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83" r:id="rId5"/>
  </p:sldIdLst>
  <p:sldSz cx="43891200" cy="21945600"/>
  <p:notesSz cx="39600188" cy="39600188"/>
  <p:custDataLst>
    <p:tags r:id="rId8"/>
  </p:custDataLst>
  <p:defaultTextStyle>
    <a:defPPr>
      <a:defRPr lang="en-AU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Times" charset="0"/>
        <a:ea typeface="+mn-ea"/>
        <a:cs typeface="+mn-cs"/>
      </a:defRPr>
    </a:lvl1pPr>
    <a:lvl2pPr marL="30477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Times" charset="0"/>
        <a:ea typeface="+mn-ea"/>
        <a:cs typeface="+mn-cs"/>
      </a:defRPr>
    </a:lvl2pPr>
    <a:lvl3pPr marL="609539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Times" charset="0"/>
        <a:ea typeface="+mn-ea"/>
        <a:cs typeface="+mn-cs"/>
      </a:defRPr>
    </a:lvl3pPr>
    <a:lvl4pPr marL="914309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Times" charset="0"/>
        <a:ea typeface="+mn-ea"/>
        <a:cs typeface="+mn-cs"/>
      </a:defRPr>
    </a:lvl4pPr>
    <a:lvl5pPr marL="1219078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Times" charset="0"/>
        <a:ea typeface="+mn-ea"/>
        <a:cs typeface="+mn-cs"/>
      </a:defRPr>
    </a:lvl5pPr>
    <a:lvl6pPr marL="1523848" algn="l" defTabSz="609539" rtl="0" eaLnBrk="1" latinLnBrk="0" hangingPunct="1">
      <a:defRPr sz="1600" kern="1200">
        <a:solidFill>
          <a:schemeClr val="tx1"/>
        </a:solidFill>
        <a:latin typeface="Times" charset="0"/>
        <a:ea typeface="+mn-ea"/>
        <a:cs typeface="+mn-cs"/>
      </a:defRPr>
    </a:lvl6pPr>
    <a:lvl7pPr marL="1828617" algn="l" defTabSz="609539" rtl="0" eaLnBrk="1" latinLnBrk="0" hangingPunct="1">
      <a:defRPr sz="1600" kern="1200">
        <a:solidFill>
          <a:schemeClr val="tx1"/>
        </a:solidFill>
        <a:latin typeface="Times" charset="0"/>
        <a:ea typeface="+mn-ea"/>
        <a:cs typeface="+mn-cs"/>
      </a:defRPr>
    </a:lvl7pPr>
    <a:lvl8pPr marL="2133387" algn="l" defTabSz="609539" rtl="0" eaLnBrk="1" latinLnBrk="0" hangingPunct="1">
      <a:defRPr sz="1600" kern="1200">
        <a:solidFill>
          <a:schemeClr val="tx1"/>
        </a:solidFill>
        <a:latin typeface="Times" charset="0"/>
        <a:ea typeface="+mn-ea"/>
        <a:cs typeface="+mn-cs"/>
      </a:defRPr>
    </a:lvl8pPr>
    <a:lvl9pPr marL="2438156" algn="l" defTabSz="609539" rtl="0" eaLnBrk="1" latinLnBrk="0" hangingPunct="1">
      <a:defRPr sz="1600" kern="1200">
        <a:solidFill>
          <a:schemeClr val="tx1"/>
        </a:solidFill>
        <a:latin typeface="Times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609" userDrawn="1">
          <p15:clr>
            <a:srgbClr val="A4A3A4"/>
          </p15:clr>
        </p15:guide>
        <p15:guide id="2" orient="horz" pos="1294" userDrawn="1">
          <p15:clr>
            <a:srgbClr val="A4A3A4"/>
          </p15:clr>
        </p15:guide>
        <p15:guide id="3" orient="horz" pos="3241" userDrawn="1">
          <p15:clr>
            <a:srgbClr val="A4A3A4"/>
          </p15:clr>
        </p15:guide>
        <p15:guide id="4" orient="horz" pos="10560" userDrawn="1">
          <p15:clr>
            <a:srgbClr val="A4A3A4"/>
          </p15:clr>
        </p15:guide>
        <p15:guide id="5" orient="horz" pos="2555" userDrawn="1">
          <p15:clr>
            <a:srgbClr val="A4A3A4"/>
          </p15:clr>
        </p15:guide>
        <p15:guide id="6" orient="horz" pos="13472" userDrawn="1">
          <p15:clr>
            <a:srgbClr val="A4A3A4"/>
          </p15:clr>
        </p15:guide>
        <p15:guide id="7" pos="27219" userDrawn="1">
          <p15:clr>
            <a:srgbClr val="A4A3A4"/>
          </p15:clr>
        </p15:guide>
        <p15:guide id="8" pos="18661" userDrawn="1">
          <p15:clr>
            <a:srgbClr val="A4A3A4"/>
          </p15:clr>
        </p15:guide>
        <p15:guide id="9" pos="393" userDrawn="1">
          <p15:clr>
            <a:srgbClr val="A4A3A4"/>
          </p15:clr>
        </p15:guide>
        <p15:guide id="10" pos="8951" userDrawn="1">
          <p15:clr>
            <a:srgbClr val="A4A3A4"/>
          </p15:clr>
        </p15:guide>
        <p15:guide id="11" pos="9555" userDrawn="1">
          <p15:clr>
            <a:srgbClr val="A4A3A4"/>
          </p15:clr>
        </p15:guide>
        <p15:guide id="12" pos="18112" userDrawn="1">
          <p15:clr>
            <a:srgbClr val="A4A3A4"/>
          </p15:clr>
        </p15:guide>
        <p15:guide id="13" pos="9829" userDrawn="1">
          <p15:clr>
            <a:srgbClr val="A4A3A4"/>
          </p15:clr>
        </p15:guide>
        <p15:guide id="14" pos="1783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chin Ulhas Arakeri" initials="SUA" lastIdx="1" clrIdx="0">
    <p:extLst>
      <p:ext uri="{19B8F6BF-5375-455C-9EA6-DF929625EA0E}">
        <p15:presenceInfo xmlns:p15="http://schemas.microsoft.com/office/powerpoint/2012/main" userId="Sachin Ulhas Araker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1810B"/>
    <a:srgbClr val="DDC69A"/>
    <a:srgbClr val="D9D9D9"/>
    <a:srgbClr val="B9CDE5"/>
    <a:srgbClr val="F1F1F1"/>
    <a:srgbClr val="636EFD"/>
    <a:srgbClr val="EF553A"/>
    <a:srgbClr val="14CD97"/>
    <a:srgbClr val="14CC97"/>
    <a:srgbClr val="5D6A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9549B82-5DE7-9449-9936-DE585AC64854}" v="19" dt="2023-03-31T21:16:46.616"/>
    <p1510:client id="{CAFB4E64-E5E5-4203-A7C7-D9AE0BC8F61F}" v="312" dt="2023-03-31T21:19:30.79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94"/>
  </p:normalViewPr>
  <p:slideViewPr>
    <p:cSldViewPr snapToGrid="0">
      <p:cViewPr varScale="1">
        <p:scale>
          <a:sx n="24" d="100"/>
          <a:sy n="24" d="100"/>
        </p:scale>
        <p:origin x="600" y="58"/>
      </p:cViewPr>
      <p:guideLst>
        <p:guide orient="horz" pos="13609"/>
        <p:guide orient="horz" pos="1294"/>
        <p:guide orient="horz" pos="3241"/>
        <p:guide orient="horz" pos="10560"/>
        <p:guide orient="horz" pos="2555"/>
        <p:guide orient="horz" pos="13472"/>
        <p:guide pos="27219"/>
        <p:guide pos="18661"/>
        <p:guide pos="393"/>
        <p:guide pos="8951"/>
        <p:guide pos="9555"/>
        <p:guide pos="18112"/>
        <p:guide pos="9829"/>
        <p:guide pos="1783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IN" sz="2000" b="1">
                <a:latin typeface="Arial" panose="020B0604020202020204" pitchFamily="34" charset="0"/>
                <a:cs typeface="Arial" panose="020B0604020202020204" pitchFamily="34" charset="0"/>
              </a:rPr>
              <a:t>Univariate</a:t>
            </a:r>
            <a:r>
              <a:rPr lang="en-IN" sz="2000" b="1" baseline="0">
                <a:latin typeface="Arial" panose="020B0604020202020204" pitchFamily="34" charset="0"/>
                <a:cs typeface="Arial" panose="020B0604020202020204" pitchFamily="34" charset="0"/>
              </a:rPr>
              <a:t> Distribution and Correlation Similarity with Real Data</a:t>
            </a:r>
            <a:endParaRPr lang="en-IN" sz="2000" b="1"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taSynthesizer</c:v>
                </c:pt>
              </c:strCache>
            </c:strRef>
          </c:tx>
          <c:spPr>
            <a:solidFill>
              <a:srgbClr val="14CD97"/>
            </a:solidFill>
            <a:ln>
              <a:solidFill>
                <a:srgbClr val="14CC97"/>
              </a:solidFill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Univariate Distribution Similarity</c:v>
                </c:pt>
                <c:pt idx="1">
                  <c:v>Correlation Similarity</c:v>
                </c:pt>
                <c:pt idx="2">
                  <c:v>Data Privacy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97</c:v>
                </c:pt>
                <c:pt idx="1">
                  <c:v>0.97</c:v>
                </c:pt>
                <c:pt idx="2">
                  <c:v>0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CC-4D68-8881-17CE0E098C0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aussian Copula</c:v>
                </c:pt>
              </c:strCache>
            </c:strRef>
          </c:tx>
          <c:spPr>
            <a:solidFill>
              <a:srgbClr val="EF553A"/>
            </a:solidFill>
            <a:ln>
              <a:solidFill>
                <a:srgbClr val="EF553A"/>
              </a:solidFill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Univariate Distribution Similarity</c:v>
                </c:pt>
                <c:pt idx="1">
                  <c:v>Correlation Similarity</c:v>
                </c:pt>
                <c:pt idx="2">
                  <c:v>Data Privacy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0.9</c:v>
                </c:pt>
                <c:pt idx="1">
                  <c:v>0.87</c:v>
                </c:pt>
                <c:pt idx="2">
                  <c:v>0.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CC-4D68-8881-17CE0E098C0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TGAN</c:v>
                </c:pt>
              </c:strCache>
            </c:strRef>
          </c:tx>
          <c:spPr>
            <a:solidFill>
              <a:srgbClr val="636EFD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Univariate Distribution Similarity</c:v>
                </c:pt>
                <c:pt idx="1">
                  <c:v>Correlation Similarity</c:v>
                </c:pt>
                <c:pt idx="2">
                  <c:v>Data Privacy</c:v>
                </c:pt>
              </c:strCache>
            </c:strRef>
          </c:cat>
          <c:val>
            <c:numRef>
              <c:f>Sheet1!$D$2:$D$4</c:f>
              <c:numCache>
                <c:formatCode>0%</c:formatCode>
                <c:ptCount val="3"/>
                <c:pt idx="0">
                  <c:v>0.92</c:v>
                </c:pt>
                <c:pt idx="1">
                  <c:v>0.88</c:v>
                </c:pt>
                <c:pt idx="2">
                  <c:v>0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CC-4D68-8881-17CE0E098C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41276992"/>
        <c:axId val="501580960"/>
      </c:barChart>
      <c:catAx>
        <c:axId val="841276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01580960"/>
        <c:crosses val="autoZero"/>
        <c:auto val="1"/>
        <c:lblAlgn val="ctr"/>
        <c:lblOffset val="100"/>
        <c:noMultiLvlLbl val="0"/>
      </c:catAx>
      <c:valAx>
        <c:axId val="501580960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accent1">
                  <a:alpha val="0"/>
                </a:schemeClr>
              </a:solidFill>
              <a:round/>
            </a:ln>
            <a:effectLst/>
          </c:spPr>
        </c:min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IN" sz="1600">
                    <a:latin typeface="Arial" panose="020B0604020202020204" pitchFamily="34" charset="0"/>
                    <a:cs typeface="Arial" panose="020B0604020202020204" pitchFamily="34" charset="0"/>
                  </a:rPr>
                  <a:t>Similarity/Privacy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8412769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taSynthesizer</c:v>
                </c:pt>
              </c:strCache>
            </c:strRef>
          </c:tx>
          <c:spPr>
            <a:ln w="28575" cap="rnd">
              <a:solidFill>
                <a:srgbClr val="13D29A"/>
              </a:solidFill>
              <a:round/>
            </a:ln>
            <a:effectLst/>
          </c:spPr>
          <c:marker>
            <c:symbol val="none"/>
          </c:marker>
          <c:cat>
            <c:numRef>
              <c:f>Sheet1!$A$2:$A$56071</c:f>
              <c:numCache>
                <c:formatCode>0%</c:formatCode>
                <c:ptCount val="56070"/>
                <c:pt idx="0">
                  <c:v>0</c:v>
                </c:pt>
                <c:pt idx="1">
                  <c:v>1.78348492955234E-5</c:v>
                </c:pt>
                <c:pt idx="2">
                  <c:v>3.5669698591046902E-5</c:v>
                </c:pt>
                <c:pt idx="3">
                  <c:v>5.3504547886570302E-5</c:v>
                </c:pt>
                <c:pt idx="4">
                  <c:v>7.1339397182093803E-5</c:v>
                </c:pt>
                <c:pt idx="5">
                  <c:v>8.9174246477617203E-5</c:v>
                </c:pt>
                <c:pt idx="6">
                  <c:v>1.0700909577313999E-4</c:v>
                </c:pt>
                <c:pt idx="7">
                  <c:v>1.24843945068664E-4</c:v>
                </c:pt>
                <c:pt idx="8">
                  <c:v>1.4267879436418701E-4</c:v>
                </c:pt>
                <c:pt idx="9">
                  <c:v>1.6051364365971099E-4</c:v>
                </c:pt>
                <c:pt idx="10">
                  <c:v>1.78348492955234E-4</c:v>
                </c:pt>
                <c:pt idx="11">
                  <c:v>1.9618334225075701E-4</c:v>
                </c:pt>
                <c:pt idx="12">
                  <c:v>2.1401819154628099E-4</c:v>
                </c:pt>
                <c:pt idx="13">
                  <c:v>2.31853040841804E-4</c:v>
                </c:pt>
                <c:pt idx="14">
                  <c:v>2.4968789013732801E-4</c:v>
                </c:pt>
                <c:pt idx="15">
                  <c:v>2.6752273943285101E-4</c:v>
                </c:pt>
                <c:pt idx="16">
                  <c:v>2.85357588728375E-4</c:v>
                </c:pt>
                <c:pt idx="17">
                  <c:v>3.03192438023898E-4</c:v>
                </c:pt>
                <c:pt idx="18">
                  <c:v>3.2102728731942199E-4</c:v>
                </c:pt>
                <c:pt idx="19">
                  <c:v>3.3886213661494499E-4</c:v>
                </c:pt>
                <c:pt idx="20">
                  <c:v>3.5669698591046898E-4</c:v>
                </c:pt>
                <c:pt idx="21">
                  <c:v>3.7453183520599198E-4</c:v>
                </c:pt>
                <c:pt idx="22">
                  <c:v>3.9236668450151499E-4</c:v>
                </c:pt>
                <c:pt idx="23">
                  <c:v>4.1020153379703903E-4</c:v>
                </c:pt>
                <c:pt idx="24">
                  <c:v>4.2803638309256198E-4</c:v>
                </c:pt>
                <c:pt idx="25">
                  <c:v>4.4587123238808602E-4</c:v>
                </c:pt>
                <c:pt idx="26">
                  <c:v>4.6370608168360902E-4</c:v>
                </c:pt>
                <c:pt idx="27">
                  <c:v>4.8154093097913301E-4</c:v>
                </c:pt>
                <c:pt idx="28">
                  <c:v>4.9937578027465601E-4</c:v>
                </c:pt>
                <c:pt idx="29">
                  <c:v>5.1721062957018E-4</c:v>
                </c:pt>
                <c:pt idx="30">
                  <c:v>5.35045478865703E-4</c:v>
                </c:pt>
                <c:pt idx="31">
                  <c:v>5.5288032816122698E-4</c:v>
                </c:pt>
                <c:pt idx="32">
                  <c:v>5.7071517745674999E-4</c:v>
                </c:pt>
                <c:pt idx="33">
                  <c:v>5.8855002675227397E-4</c:v>
                </c:pt>
                <c:pt idx="34">
                  <c:v>6.0638487604779698E-4</c:v>
                </c:pt>
                <c:pt idx="35">
                  <c:v>6.2421972534331999E-4</c:v>
                </c:pt>
                <c:pt idx="36">
                  <c:v>6.4205457463884397E-4</c:v>
                </c:pt>
                <c:pt idx="37">
                  <c:v>6.5988942393436698E-4</c:v>
                </c:pt>
                <c:pt idx="38">
                  <c:v>6.7772427322989096E-4</c:v>
                </c:pt>
                <c:pt idx="39">
                  <c:v>6.9555912252541397E-4</c:v>
                </c:pt>
                <c:pt idx="40">
                  <c:v>7.1339397182093795E-4</c:v>
                </c:pt>
                <c:pt idx="41">
                  <c:v>7.3122882111646096E-4</c:v>
                </c:pt>
                <c:pt idx="42">
                  <c:v>7.4906367041198505E-4</c:v>
                </c:pt>
                <c:pt idx="43">
                  <c:v>7.6689851970750795E-4</c:v>
                </c:pt>
                <c:pt idx="44">
                  <c:v>7.8473336900303095E-4</c:v>
                </c:pt>
                <c:pt idx="45">
                  <c:v>8.0256821829855505E-4</c:v>
                </c:pt>
                <c:pt idx="46">
                  <c:v>8.2040306759407805E-4</c:v>
                </c:pt>
                <c:pt idx="47">
                  <c:v>8.3823791688960203E-4</c:v>
                </c:pt>
                <c:pt idx="48">
                  <c:v>8.5607276618512504E-4</c:v>
                </c:pt>
                <c:pt idx="49">
                  <c:v>8.7390761548064902E-4</c:v>
                </c:pt>
                <c:pt idx="50">
                  <c:v>8.9174246477617203E-4</c:v>
                </c:pt>
                <c:pt idx="51">
                  <c:v>9.0957731407169601E-4</c:v>
                </c:pt>
                <c:pt idx="52">
                  <c:v>9.2741216336721902E-4</c:v>
                </c:pt>
                <c:pt idx="53">
                  <c:v>9.45247012662743E-4</c:v>
                </c:pt>
                <c:pt idx="54">
                  <c:v>9.6308186195826601E-4</c:v>
                </c:pt>
                <c:pt idx="55">
                  <c:v>9.8091671125378902E-4</c:v>
                </c:pt>
                <c:pt idx="56">
                  <c:v>9.9875156054931289E-4</c:v>
                </c:pt>
                <c:pt idx="57">
                  <c:v>1.01658640984483E-3</c:v>
                </c:pt>
                <c:pt idx="58">
                  <c:v>1.03442125914036E-3</c:v>
                </c:pt>
                <c:pt idx="59">
                  <c:v>1.05225610843588E-3</c:v>
                </c:pt>
                <c:pt idx="60">
                  <c:v>1.0700909577313999E-3</c:v>
                </c:pt>
                <c:pt idx="61">
                  <c:v>1.0879258070269301E-3</c:v>
                </c:pt>
                <c:pt idx="62">
                  <c:v>1.1057606563224501E-3</c:v>
                </c:pt>
                <c:pt idx="63">
                  <c:v>1.12359550561797E-3</c:v>
                </c:pt>
                <c:pt idx="64">
                  <c:v>1.1414303549135E-3</c:v>
                </c:pt>
                <c:pt idx="65">
                  <c:v>1.15926520420902E-3</c:v>
                </c:pt>
                <c:pt idx="66">
                  <c:v>1.1771000535045399E-3</c:v>
                </c:pt>
                <c:pt idx="67">
                  <c:v>1.1949349028000701E-3</c:v>
                </c:pt>
                <c:pt idx="68">
                  <c:v>1.2127697520955901E-3</c:v>
                </c:pt>
                <c:pt idx="69">
                  <c:v>1.23060460139111E-3</c:v>
                </c:pt>
                <c:pt idx="70">
                  <c:v>1.24843945068664E-3</c:v>
                </c:pt>
                <c:pt idx="71">
                  <c:v>1.2662742999821599E-3</c:v>
                </c:pt>
                <c:pt idx="72">
                  <c:v>1.2841091492776799E-3</c:v>
                </c:pt>
                <c:pt idx="73">
                  <c:v>1.3019439985732101E-3</c:v>
                </c:pt>
                <c:pt idx="74">
                  <c:v>1.3197788478687301E-3</c:v>
                </c:pt>
                <c:pt idx="75">
                  <c:v>1.33761369716425E-3</c:v>
                </c:pt>
                <c:pt idx="76">
                  <c:v>1.35544854645978E-3</c:v>
                </c:pt>
                <c:pt idx="77">
                  <c:v>1.3732833957552999E-3</c:v>
                </c:pt>
                <c:pt idx="78">
                  <c:v>1.3911182450508199E-3</c:v>
                </c:pt>
                <c:pt idx="79">
                  <c:v>1.4089530943463501E-3</c:v>
                </c:pt>
                <c:pt idx="80">
                  <c:v>1.42678794364187E-3</c:v>
                </c:pt>
                <c:pt idx="81">
                  <c:v>1.44462279293739E-3</c:v>
                </c:pt>
                <c:pt idx="82">
                  <c:v>1.46245764223292E-3</c:v>
                </c:pt>
                <c:pt idx="83">
                  <c:v>1.4802924915284399E-3</c:v>
                </c:pt>
                <c:pt idx="84">
                  <c:v>1.4981273408239701E-3</c:v>
                </c:pt>
                <c:pt idx="85">
                  <c:v>1.5159621901194901E-3</c:v>
                </c:pt>
                <c:pt idx="86">
                  <c:v>1.53379703941501E-3</c:v>
                </c:pt>
                <c:pt idx="87">
                  <c:v>1.55163188871054E-3</c:v>
                </c:pt>
                <c:pt idx="88">
                  <c:v>1.56946673800606E-3</c:v>
                </c:pt>
                <c:pt idx="89">
                  <c:v>1.5873015873015799E-3</c:v>
                </c:pt>
                <c:pt idx="90">
                  <c:v>1.6051364365971101E-3</c:v>
                </c:pt>
                <c:pt idx="91">
                  <c:v>1.6229712858926301E-3</c:v>
                </c:pt>
                <c:pt idx="92">
                  <c:v>1.64080613518815E-3</c:v>
                </c:pt>
                <c:pt idx="93">
                  <c:v>1.65864098448368E-3</c:v>
                </c:pt>
                <c:pt idx="94">
                  <c:v>1.6764758337791999E-3</c:v>
                </c:pt>
                <c:pt idx="95">
                  <c:v>1.6943106830747199E-3</c:v>
                </c:pt>
                <c:pt idx="96">
                  <c:v>1.7121455323702501E-3</c:v>
                </c:pt>
                <c:pt idx="97">
                  <c:v>1.7299803816657701E-3</c:v>
                </c:pt>
                <c:pt idx="98">
                  <c:v>1.74781523096129E-3</c:v>
                </c:pt>
                <c:pt idx="99">
                  <c:v>1.76565008025682E-3</c:v>
                </c:pt>
                <c:pt idx="100">
                  <c:v>1.7834849295523399E-3</c:v>
                </c:pt>
                <c:pt idx="101">
                  <c:v>1.8013197788478599E-3</c:v>
                </c:pt>
                <c:pt idx="102">
                  <c:v>1.8191546281433901E-3</c:v>
                </c:pt>
                <c:pt idx="103">
                  <c:v>1.83698947743891E-3</c:v>
                </c:pt>
                <c:pt idx="104">
                  <c:v>1.85482432673443E-3</c:v>
                </c:pt>
                <c:pt idx="105">
                  <c:v>1.87265917602996E-3</c:v>
                </c:pt>
                <c:pt idx="106">
                  <c:v>1.8904940253254799E-3</c:v>
                </c:pt>
                <c:pt idx="107">
                  <c:v>1.9083288746209999E-3</c:v>
                </c:pt>
                <c:pt idx="108">
                  <c:v>1.9261637239165301E-3</c:v>
                </c:pt>
                <c:pt idx="109">
                  <c:v>1.94399857321205E-3</c:v>
                </c:pt>
                <c:pt idx="110">
                  <c:v>1.9618334225075698E-3</c:v>
                </c:pt>
                <c:pt idx="111">
                  <c:v>1.9796682718031E-3</c:v>
                </c:pt>
                <c:pt idx="112">
                  <c:v>1.9975031210986201E-3</c:v>
                </c:pt>
                <c:pt idx="113">
                  <c:v>2.0153379703941499E-3</c:v>
                </c:pt>
                <c:pt idx="114">
                  <c:v>2.0331728196896701E-3</c:v>
                </c:pt>
                <c:pt idx="115">
                  <c:v>2.0510076689851898E-3</c:v>
                </c:pt>
                <c:pt idx="116">
                  <c:v>2.06884251828072E-3</c:v>
                </c:pt>
                <c:pt idx="117">
                  <c:v>2.0866773675762402E-3</c:v>
                </c:pt>
                <c:pt idx="118">
                  <c:v>2.1045122168717599E-3</c:v>
                </c:pt>
                <c:pt idx="119">
                  <c:v>2.1223470661672901E-3</c:v>
                </c:pt>
                <c:pt idx="120">
                  <c:v>2.1401819154628098E-3</c:v>
                </c:pt>
                <c:pt idx="121">
                  <c:v>2.15801676475833E-3</c:v>
                </c:pt>
                <c:pt idx="122">
                  <c:v>2.1758516140538602E-3</c:v>
                </c:pt>
                <c:pt idx="123">
                  <c:v>2.1936864633493799E-3</c:v>
                </c:pt>
                <c:pt idx="124">
                  <c:v>2.2115213126449001E-3</c:v>
                </c:pt>
                <c:pt idx="125">
                  <c:v>2.2293561619404299E-3</c:v>
                </c:pt>
                <c:pt idx="126">
                  <c:v>2.24719101123595E-3</c:v>
                </c:pt>
                <c:pt idx="127">
                  <c:v>2.2650258605314698E-3</c:v>
                </c:pt>
                <c:pt idx="128">
                  <c:v>2.282860709827E-3</c:v>
                </c:pt>
                <c:pt idx="129">
                  <c:v>2.3006955591225202E-3</c:v>
                </c:pt>
                <c:pt idx="130">
                  <c:v>2.3185304084180399E-3</c:v>
                </c:pt>
                <c:pt idx="131">
                  <c:v>2.3363652577135701E-3</c:v>
                </c:pt>
                <c:pt idx="132">
                  <c:v>2.3542001070090898E-3</c:v>
                </c:pt>
                <c:pt idx="133">
                  <c:v>2.37203495630461E-3</c:v>
                </c:pt>
                <c:pt idx="134">
                  <c:v>2.3898698056001402E-3</c:v>
                </c:pt>
                <c:pt idx="135">
                  <c:v>2.4077046548956599E-3</c:v>
                </c:pt>
                <c:pt idx="136">
                  <c:v>2.4255395041911801E-3</c:v>
                </c:pt>
                <c:pt idx="137">
                  <c:v>2.4433743534867098E-3</c:v>
                </c:pt>
                <c:pt idx="138">
                  <c:v>2.46120920278223E-3</c:v>
                </c:pt>
                <c:pt idx="139">
                  <c:v>2.4790440520777498E-3</c:v>
                </c:pt>
                <c:pt idx="140">
                  <c:v>2.49687890137328E-3</c:v>
                </c:pt>
                <c:pt idx="141">
                  <c:v>2.5147137506688001E-3</c:v>
                </c:pt>
                <c:pt idx="142">
                  <c:v>2.5325485999643299E-3</c:v>
                </c:pt>
                <c:pt idx="143">
                  <c:v>2.5503834492598501E-3</c:v>
                </c:pt>
                <c:pt idx="144">
                  <c:v>2.5682182985553698E-3</c:v>
                </c:pt>
                <c:pt idx="145">
                  <c:v>2.5860531478509E-3</c:v>
                </c:pt>
                <c:pt idx="146">
                  <c:v>2.6038879971464202E-3</c:v>
                </c:pt>
                <c:pt idx="147">
                  <c:v>2.6217228464419399E-3</c:v>
                </c:pt>
                <c:pt idx="148">
                  <c:v>2.6395576957374701E-3</c:v>
                </c:pt>
                <c:pt idx="149">
                  <c:v>2.6573925450329898E-3</c:v>
                </c:pt>
                <c:pt idx="150">
                  <c:v>2.67522739432851E-3</c:v>
                </c:pt>
                <c:pt idx="151">
                  <c:v>2.6930622436240402E-3</c:v>
                </c:pt>
                <c:pt idx="152">
                  <c:v>2.7108970929195599E-3</c:v>
                </c:pt>
                <c:pt idx="153">
                  <c:v>2.7287319422150801E-3</c:v>
                </c:pt>
                <c:pt idx="154">
                  <c:v>2.7465667915106099E-3</c:v>
                </c:pt>
                <c:pt idx="155">
                  <c:v>2.76440164080613E-3</c:v>
                </c:pt>
                <c:pt idx="156">
                  <c:v>2.7822364901016498E-3</c:v>
                </c:pt>
                <c:pt idx="157">
                  <c:v>2.80007133939718E-3</c:v>
                </c:pt>
                <c:pt idx="158">
                  <c:v>2.8179061886927001E-3</c:v>
                </c:pt>
                <c:pt idx="159">
                  <c:v>2.8357410379882199E-3</c:v>
                </c:pt>
                <c:pt idx="160">
                  <c:v>2.8535758872837501E-3</c:v>
                </c:pt>
                <c:pt idx="161">
                  <c:v>2.8714107365792698E-3</c:v>
                </c:pt>
                <c:pt idx="162">
                  <c:v>2.88924558587479E-3</c:v>
                </c:pt>
                <c:pt idx="163">
                  <c:v>2.9070804351703202E-3</c:v>
                </c:pt>
                <c:pt idx="164">
                  <c:v>2.9249152844658399E-3</c:v>
                </c:pt>
                <c:pt idx="165">
                  <c:v>2.9427501337613601E-3</c:v>
                </c:pt>
                <c:pt idx="166">
                  <c:v>2.9605849830568898E-3</c:v>
                </c:pt>
                <c:pt idx="167">
                  <c:v>2.97841983235241E-3</c:v>
                </c:pt>
                <c:pt idx="168">
                  <c:v>2.9962546816479402E-3</c:v>
                </c:pt>
                <c:pt idx="169">
                  <c:v>3.0140895309434599E-3</c:v>
                </c:pt>
                <c:pt idx="170">
                  <c:v>3.0319243802389801E-3</c:v>
                </c:pt>
                <c:pt idx="171">
                  <c:v>3.0497592295345099E-3</c:v>
                </c:pt>
                <c:pt idx="172">
                  <c:v>3.0675940788300301E-3</c:v>
                </c:pt>
                <c:pt idx="173">
                  <c:v>3.0854289281255498E-3</c:v>
                </c:pt>
                <c:pt idx="174">
                  <c:v>3.10326377742108E-3</c:v>
                </c:pt>
                <c:pt idx="175">
                  <c:v>3.1210986267166002E-3</c:v>
                </c:pt>
                <c:pt idx="176">
                  <c:v>3.1389334760121199E-3</c:v>
                </c:pt>
                <c:pt idx="177">
                  <c:v>3.1567683253076501E-3</c:v>
                </c:pt>
                <c:pt idx="178">
                  <c:v>3.1746031746031698E-3</c:v>
                </c:pt>
                <c:pt idx="179">
                  <c:v>3.19243802389869E-3</c:v>
                </c:pt>
                <c:pt idx="180">
                  <c:v>3.2102728731942202E-3</c:v>
                </c:pt>
                <c:pt idx="181">
                  <c:v>3.2281077224897399E-3</c:v>
                </c:pt>
                <c:pt idx="182">
                  <c:v>3.2459425717852601E-3</c:v>
                </c:pt>
                <c:pt idx="183">
                  <c:v>3.2637774210807899E-3</c:v>
                </c:pt>
                <c:pt idx="184">
                  <c:v>3.28161227037631E-3</c:v>
                </c:pt>
                <c:pt idx="185">
                  <c:v>3.2994471196718298E-3</c:v>
                </c:pt>
                <c:pt idx="186">
                  <c:v>3.31728196896736E-3</c:v>
                </c:pt>
                <c:pt idx="187">
                  <c:v>3.3351168182628801E-3</c:v>
                </c:pt>
                <c:pt idx="188">
                  <c:v>3.3529516675583999E-3</c:v>
                </c:pt>
                <c:pt idx="189">
                  <c:v>3.3707865168539301E-3</c:v>
                </c:pt>
                <c:pt idx="190">
                  <c:v>3.3886213661494498E-3</c:v>
                </c:pt>
                <c:pt idx="191">
                  <c:v>3.40645621544497E-3</c:v>
                </c:pt>
                <c:pt idx="192">
                  <c:v>3.4242910647405002E-3</c:v>
                </c:pt>
                <c:pt idx="193">
                  <c:v>3.4421259140360199E-3</c:v>
                </c:pt>
                <c:pt idx="194">
                  <c:v>3.4599607633315401E-3</c:v>
                </c:pt>
                <c:pt idx="195">
                  <c:v>3.4777956126270698E-3</c:v>
                </c:pt>
                <c:pt idx="196">
                  <c:v>3.49563046192259E-3</c:v>
                </c:pt>
                <c:pt idx="197">
                  <c:v>3.5134653112181202E-3</c:v>
                </c:pt>
                <c:pt idx="198">
                  <c:v>3.5313001605136399E-3</c:v>
                </c:pt>
                <c:pt idx="199">
                  <c:v>3.5491350098091601E-3</c:v>
                </c:pt>
                <c:pt idx="200">
                  <c:v>3.5669698591046899E-3</c:v>
                </c:pt>
                <c:pt idx="201">
                  <c:v>3.58480470840021E-3</c:v>
                </c:pt>
                <c:pt idx="202">
                  <c:v>3.6026395576957298E-3</c:v>
                </c:pt>
                <c:pt idx="203">
                  <c:v>3.62047440699126E-3</c:v>
                </c:pt>
                <c:pt idx="204">
                  <c:v>3.6383092562867802E-3</c:v>
                </c:pt>
                <c:pt idx="205">
                  <c:v>3.6561441055822999E-3</c:v>
                </c:pt>
                <c:pt idx="206">
                  <c:v>3.6739789548778301E-3</c:v>
                </c:pt>
                <c:pt idx="207">
                  <c:v>3.6918138041733498E-3</c:v>
                </c:pt>
                <c:pt idx="208">
                  <c:v>3.70964865346887E-3</c:v>
                </c:pt>
                <c:pt idx="209">
                  <c:v>3.7274835027644002E-3</c:v>
                </c:pt>
                <c:pt idx="210">
                  <c:v>3.7453183520599199E-3</c:v>
                </c:pt>
                <c:pt idx="211">
                  <c:v>3.7631532013554401E-3</c:v>
                </c:pt>
                <c:pt idx="212">
                  <c:v>3.7809880506509698E-3</c:v>
                </c:pt>
                <c:pt idx="213">
                  <c:v>3.79882289994649E-3</c:v>
                </c:pt>
                <c:pt idx="214">
                  <c:v>3.8166577492420098E-3</c:v>
                </c:pt>
                <c:pt idx="215">
                  <c:v>3.83449259853754E-3</c:v>
                </c:pt>
                <c:pt idx="216">
                  <c:v>3.8523274478330601E-3</c:v>
                </c:pt>
                <c:pt idx="217">
                  <c:v>3.8701622971285799E-3</c:v>
                </c:pt>
                <c:pt idx="218">
                  <c:v>3.8879971464241101E-3</c:v>
                </c:pt>
                <c:pt idx="219">
                  <c:v>3.9058319957196298E-3</c:v>
                </c:pt>
                <c:pt idx="220">
                  <c:v>3.92366684501515E-3</c:v>
                </c:pt>
                <c:pt idx="221">
                  <c:v>3.9415016943106802E-3</c:v>
                </c:pt>
                <c:pt idx="222">
                  <c:v>3.9593365436061999E-3</c:v>
                </c:pt>
                <c:pt idx="223">
                  <c:v>3.9771713929017301E-3</c:v>
                </c:pt>
                <c:pt idx="224">
                  <c:v>3.9950062421972498E-3</c:v>
                </c:pt>
                <c:pt idx="225">
                  <c:v>4.0128410914927696E-3</c:v>
                </c:pt>
                <c:pt idx="226">
                  <c:v>4.0306759407882998E-3</c:v>
                </c:pt>
                <c:pt idx="227">
                  <c:v>4.0485107900838204E-3</c:v>
                </c:pt>
                <c:pt idx="228">
                  <c:v>4.0663456393793401E-3</c:v>
                </c:pt>
                <c:pt idx="229">
                  <c:v>4.0841804886748703E-3</c:v>
                </c:pt>
                <c:pt idx="230">
                  <c:v>4.10201533797039E-3</c:v>
                </c:pt>
                <c:pt idx="231">
                  <c:v>4.1198501872659098E-3</c:v>
                </c:pt>
                <c:pt idx="232">
                  <c:v>4.13768503656144E-3</c:v>
                </c:pt>
                <c:pt idx="233">
                  <c:v>4.1555198858569597E-3</c:v>
                </c:pt>
                <c:pt idx="234">
                  <c:v>4.1733547351524803E-3</c:v>
                </c:pt>
                <c:pt idx="235">
                  <c:v>4.1911895844480096E-3</c:v>
                </c:pt>
                <c:pt idx="236">
                  <c:v>4.2090244337435303E-3</c:v>
                </c:pt>
                <c:pt idx="237">
                  <c:v>4.22685928303905E-3</c:v>
                </c:pt>
                <c:pt idx="238">
                  <c:v>4.2446941323345802E-3</c:v>
                </c:pt>
                <c:pt idx="239">
                  <c:v>4.2625289816300999E-3</c:v>
                </c:pt>
                <c:pt idx="240">
                  <c:v>4.2803638309256197E-3</c:v>
                </c:pt>
                <c:pt idx="241">
                  <c:v>4.2981986802211498E-3</c:v>
                </c:pt>
                <c:pt idx="242">
                  <c:v>4.3160335295166696E-3</c:v>
                </c:pt>
                <c:pt idx="243">
                  <c:v>4.3338683788121902E-3</c:v>
                </c:pt>
                <c:pt idx="244">
                  <c:v>4.3517032281077204E-3</c:v>
                </c:pt>
                <c:pt idx="245">
                  <c:v>4.3695380774032401E-3</c:v>
                </c:pt>
                <c:pt idx="246">
                  <c:v>4.3873729266987599E-3</c:v>
                </c:pt>
                <c:pt idx="247">
                  <c:v>4.4052077759942901E-3</c:v>
                </c:pt>
                <c:pt idx="248">
                  <c:v>4.4230426252898098E-3</c:v>
                </c:pt>
                <c:pt idx="249">
                  <c:v>4.44087747458534E-3</c:v>
                </c:pt>
                <c:pt idx="250">
                  <c:v>4.4587123238808597E-3</c:v>
                </c:pt>
                <c:pt idx="251">
                  <c:v>4.4765471731763803E-3</c:v>
                </c:pt>
                <c:pt idx="252">
                  <c:v>4.4943820224719096E-3</c:v>
                </c:pt>
                <c:pt idx="253">
                  <c:v>4.5122168717674303E-3</c:v>
                </c:pt>
                <c:pt idx="254">
                  <c:v>4.53005172106295E-3</c:v>
                </c:pt>
                <c:pt idx="255">
                  <c:v>4.5478865703584802E-3</c:v>
                </c:pt>
                <c:pt idx="256">
                  <c:v>4.5657214196539999E-3</c:v>
                </c:pt>
                <c:pt idx="257">
                  <c:v>4.5835562689495197E-3</c:v>
                </c:pt>
                <c:pt idx="258">
                  <c:v>4.6013911182450499E-3</c:v>
                </c:pt>
                <c:pt idx="259">
                  <c:v>4.6192259675405696E-3</c:v>
                </c:pt>
                <c:pt idx="260">
                  <c:v>4.6370608168360902E-3</c:v>
                </c:pt>
                <c:pt idx="261">
                  <c:v>4.6548956661316204E-3</c:v>
                </c:pt>
                <c:pt idx="262">
                  <c:v>4.6727305154271401E-3</c:v>
                </c:pt>
                <c:pt idx="263">
                  <c:v>4.6905653647226599E-3</c:v>
                </c:pt>
                <c:pt idx="264">
                  <c:v>4.7084002140181901E-3</c:v>
                </c:pt>
                <c:pt idx="265">
                  <c:v>4.7262350633137098E-3</c:v>
                </c:pt>
                <c:pt idx="266">
                  <c:v>4.7440699126092296E-3</c:v>
                </c:pt>
                <c:pt idx="267">
                  <c:v>4.7619047619047597E-3</c:v>
                </c:pt>
                <c:pt idx="268">
                  <c:v>4.7797396112002804E-3</c:v>
                </c:pt>
                <c:pt idx="269">
                  <c:v>4.7975744604958001E-3</c:v>
                </c:pt>
                <c:pt idx="270">
                  <c:v>4.8154093097913303E-3</c:v>
                </c:pt>
                <c:pt idx="271">
                  <c:v>4.83324415908685E-3</c:v>
                </c:pt>
                <c:pt idx="272">
                  <c:v>4.8510790083823698E-3</c:v>
                </c:pt>
                <c:pt idx="273">
                  <c:v>4.8689138576778999E-3</c:v>
                </c:pt>
                <c:pt idx="274">
                  <c:v>4.8867487069734197E-3</c:v>
                </c:pt>
                <c:pt idx="275">
                  <c:v>4.9045835562689499E-3</c:v>
                </c:pt>
                <c:pt idx="276">
                  <c:v>4.9224184055644696E-3</c:v>
                </c:pt>
                <c:pt idx="277">
                  <c:v>4.9402532548599902E-3</c:v>
                </c:pt>
                <c:pt idx="278">
                  <c:v>4.95808810415551E-3</c:v>
                </c:pt>
                <c:pt idx="279">
                  <c:v>4.9759229534510402E-3</c:v>
                </c:pt>
                <c:pt idx="280">
                  <c:v>4.9937578027465599E-3</c:v>
                </c:pt>
                <c:pt idx="281">
                  <c:v>5.0115926520420901E-3</c:v>
                </c:pt>
                <c:pt idx="282">
                  <c:v>5.0294275013376098E-3</c:v>
                </c:pt>
                <c:pt idx="283">
                  <c:v>5.0472623506331296E-3</c:v>
                </c:pt>
                <c:pt idx="284">
                  <c:v>5.0650971999286597E-3</c:v>
                </c:pt>
                <c:pt idx="285">
                  <c:v>5.0829320492241804E-3</c:v>
                </c:pt>
                <c:pt idx="286">
                  <c:v>5.1007668985197001E-3</c:v>
                </c:pt>
                <c:pt idx="287">
                  <c:v>5.1186017478152303E-3</c:v>
                </c:pt>
                <c:pt idx="288">
                  <c:v>5.13643659711075E-3</c:v>
                </c:pt>
                <c:pt idx="289">
                  <c:v>5.1542714464062698E-3</c:v>
                </c:pt>
                <c:pt idx="290">
                  <c:v>5.1721062957018E-3</c:v>
                </c:pt>
                <c:pt idx="291">
                  <c:v>5.1899411449973197E-3</c:v>
                </c:pt>
                <c:pt idx="292">
                  <c:v>5.2077759942928403E-3</c:v>
                </c:pt>
                <c:pt idx="293">
                  <c:v>5.2256108435883696E-3</c:v>
                </c:pt>
                <c:pt idx="294">
                  <c:v>5.2434456928838902E-3</c:v>
                </c:pt>
                <c:pt idx="295">
                  <c:v>5.26128054217941E-3</c:v>
                </c:pt>
                <c:pt idx="296">
                  <c:v>5.2791153914749402E-3</c:v>
                </c:pt>
                <c:pt idx="297">
                  <c:v>5.2969502407704599E-3</c:v>
                </c:pt>
                <c:pt idx="298">
                  <c:v>5.3147850900659797E-3</c:v>
                </c:pt>
                <c:pt idx="299">
                  <c:v>5.3326199393615098E-3</c:v>
                </c:pt>
                <c:pt idx="300">
                  <c:v>5.3504547886570296E-3</c:v>
                </c:pt>
                <c:pt idx="301">
                  <c:v>5.3682896379525502E-3</c:v>
                </c:pt>
                <c:pt idx="302">
                  <c:v>5.3861244872480804E-3</c:v>
                </c:pt>
                <c:pt idx="303">
                  <c:v>5.4039593365436001E-3</c:v>
                </c:pt>
                <c:pt idx="304">
                  <c:v>5.4217941858391199E-3</c:v>
                </c:pt>
                <c:pt idx="305">
                  <c:v>5.43962903513465E-3</c:v>
                </c:pt>
                <c:pt idx="306">
                  <c:v>5.4574638844301698E-3</c:v>
                </c:pt>
                <c:pt idx="307">
                  <c:v>5.4752987337257E-3</c:v>
                </c:pt>
                <c:pt idx="308">
                  <c:v>5.4931335830212197E-3</c:v>
                </c:pt>
                <c:pt idx="309">
                  <c:v>5.5109684323167403E-3</c:v>
                </c:pt>
                <c:pt idx="310">
                  <c:v>5.5288032816122696E-3</c:v>
                </c:pt>
                <c:pt idx="311">
                  <c:v>5.5466381309077903E-3</c:v>
                </c:pt>
                <c:pt idx="312">
                  <c:v>5.56447298020331E-3</c:v>
                </c:pt>
                <c:pt idx="313">
                  <c:v>5.5823078294988402E-3</c:v>
                </c:pt>
                <c:pt idx="314">
                  <c:v>5.6001426787943599E-3</c:v>
                </c:pt>
                <c:pt idx="315">
                  <c:v>5.6179775280898797E-3</c:v>
                </c:pt>
                <c:pt idx="316">
                  <c:v>5.6358123773854098E-3</c:v>
                </c:pt>
                <c:pt idx="317">
                  <c:v>5.6536472266809296E-3</c:v>
                </c:pt>
                <c:pt idx="318">
                  <c:v>5.6714820759764502E-3</c:v>
                </c:pt>
                <c:pt idx="319">
                  <c:v>5.6893169252719804E-3</c:v>
                </c:pt>
                <c:pt idx="320">
                  <c:v>5.7071517745675001E-3</c:v>
                </c:pt>
                <c:pt idx="321">
                  <c:v>5.7249866238630199E-3</c:v>
                </c:pt>
                <c:pt idx="322">
                  <c:v>5.7428214731585501E-3</c:v>
                </c:pt>
                <c:pt idx="323">
                  <c:v>5.7606563224540698E-3</c:v>
                </c:pt>
                <c:pt idx="324">
                  <c:v>5.7784911717495904E-3</c:v>
                </c:pt>
                <c:pt idx="325">
                  <c:v>5.7963260210451197E-3</c:v>
                </c:pt>
                <c:pt idx="326">
                  <c:v>5.8141608703406403E-3</c:v>
                </c:pt>
                <c:pt idx="327">
                  <c:v>5.8319957196361601E-3</c:v>
                </c:pt>
                <c:pt idx="328">
                  <c:v>5.8498305689316903E-3</c:v>
                </c:pt>
                <c:pt idx="329">
                  <c:v>5.86766541822721E-3</c:v>
                </c:pt>
                <c:pt idx="330">
                  <c:v>5.8855002675227298E-3</c:v>
                </c:pt>
                <c:pt idx="331">
                  <c:v>5.9033351168182599E-3</c:v>
                </c:pt>
                <c:pt idx="332">
                  <c:v>5.9211699661137797E-3</c:v>
                </c:pt>
                <c:pt idx="333">
                  <c:v>5.9390048154093098E-3</c:v>
                </c:pt>
                <c:pt idx="334">
                  <c:v>5.9568396647048296E-3</c:v>
                </c:pt>
                <c:pt idx="335">
                  <c:v>5.9746745140003502E-3</c:v>
                </c:pt>
                <c:pt idx="336">
                  <c:v>5.9925093632958804E-3</c:v>
                </c:pt>
                <c:pt idx="337">
                  <c:v>6.0103442125914001E-3</c:v>
                </c:pt>
                <c:pt idx="338">
                  <c:v>6.0281790618869199E-3</c:v>
                </c:pt>
                <c:pt idx="339">
                  <c:v>6.0460139111824501E-3</c:v>
                </c:pt>
                <c:pt idx="340">
                  <c:v>6.0638487604779698E-3</c:v>
                </c:pt>
                <c:pt idx="341">
                  <c:v>6.0816836097734896E-3</c:v>
                </c:pt>
                <c:pt idx="342">
                  <c:v>6.0995184590690197E-3</c:v>
                </c:pt>
                <c:pt idx="343">
                  <c:v>6.1173533083645404E-3</c:v>
                </c:pt>
                <c:pt idx="344">
                  <c:v>6.1351881576600601E-3</c:v>
                </c:pt>
                <c:pt idx="345">
                  <c:v>6.1530230069555903E-3</c:v>
                </c:pt>
                <c:pt idx="346">
                  <c:v>6.17085785625111E-3</c:v>
                </c:pt>
                <c:pt idx="347">
                  <c:v>6.1886927055466298E-3</c:v>
                </c:pt>
                <c:pt idx="348">
                  <c:v>6.2065275548421599E-3</c:v>
                </c:pt>
                <c:pt idx="349">
                  <c:v>6.2243624041376797E-3</c:v>
                </c:pt>
                <c:pt idx="350">
                  <c:v>6.2421972534332003E-3</c:v>
                </c:pt>
                <c:pt idx="351">
                  <c:v>6.2600321027287296E-3</c:v>
                </c:pt>
                <c:pt idx="352">
                  <c:v>6.2778669520242502E-3</c:v>
                </c:pt>
                <c:pt idx="353">
                  <c:v>6.29570180131977E-3</c:v>
                </c:pt>
                <c:pt idx="354">
                  <c:v>6.3135366506153002E-3</c:v>
                </c:pt>
                <c:pt idx="355">
                  <c:v>6.3313714999108199E-3</c:v>
                </c:pt>
                <c:pt idx="356">
                  <c:v>6.3492063492063397E-3</c:v>
                </c:pt>
                <c:pt idx="357">
                  <c:v>6.3670411985018698E-3</c:v>
                </c:pt>
                <c:pt idx="358">
                  <c:v>6.3848760477973896E-3</c:v>
                </c:pt>
                <c:pt idx="359">
                  <c:v>6.4027108970929197E-3</c:v>
                </c:pt>
                <c:pt idx="360">
                  <c:v>6.4205457463884404E-3</c:v>
                </c:pt>
                <c:pt idx="361">
                  <c:v>6.4383805956839601E-3</c:v>
                </c:pt>
                <c:pt idx="362">
                  <c:v>6.4562154449794903E-3</c:v>
                </c:pt>
                <c:pt idx="363">
                  <c:v>6.47405029427501E-3</c:v>
                </c:pt>
                <c:pt idx="364">
                  <c:v>6.4918851435705298E-3</c:v>
                </c:pt>
                <c:pt idx="365">
                  <c:v>6.5097199928660599E-3</c:v>
                </c:pt>
                <c:pt idx="366">
                  <c:v>6.5275548421615797E-3</c:v>
                </c:pt>
                <c:pt idx="367">
                  <c:v>6.5453896914571003E-3</c:v>
                </c:pt>
                <c:pt idx="368">
                  <c:v>6.5632245407526296E-3</c:v>
                </c:pt>
                <c:pt idx="369">
                  <c:v>6.5810593900481502E-3</c:v>
                </c:pt>
                <c:pt idx="370">
                  <c:v>6.59889423934367E-3</c:v>
                </c:pt>
                <c:pt idx="371">
                  <c:v>6.6167290886392002E-3</c:v>
                </c:pt>
                <c:pt idx="372">
                  <c:v>6.6345639379347199E-3</c:v>
                </c:pt>
                <c:pt idx="373">
                  <c:v>6.6523987872302397E-3</c:v>
                </c:pt>
                <c:pt idx="374">
                  <c:v>6.6702336365257698E-3</c:v>
                </c:pt>
                <c:pt idx="375">
                  <c:v>6.6880684858212896E-3</c:v>
                </c:pt>
                <c:pt idx="376">
                  <c:v>6.7059033351168102E-3</c:v>
                </c:pt>
                <c:pt idx="377">
                  <c:v>6.7237381844123404E-3</c:v>
                </c:pt>
                <c:pt idx="378">
                  <c:v>6.7415730337078601E-3</c:v>
                </c:pt>
                <c:pt idx="379">
                  <c:v>6.7594078830033799E-3</c:v>
                </c:pt>
                <c:pt idx="380">
                  <c:v>6.77724273229891E-3</c:v>
                </c:pt>
                <c:pt idx="381">
                  <c:v>6.7950775815944298E-3</c:v>
                </c:pt>
                <c:pt idx="382">
                  <c:v>6.8129124308899504E-3</c:v>
                </c:pt>
                <c:pt idx="383">
                  <c:v>6.8307472801854797E-3</c:v>
                </c:pt>
                <c:pt idx="384">
                  <c:v>6.8485821294810003E-3</c:v>
                </c:pt>
                <c:pt idx="385">
                  <c:v>6.8664169787765296E-3</c:v>
                </c:pt>
                <c:pt idx="386">
                  <c:v>6.8842518280720503E-3</c:v>
                </c:pt>
                <c:pt idx="387">
                  <c:v>6.90208667736757E-3</c:v>
                </c:pt>
                <c:pt idx="388">
                  <c:v>6.9199215266630898E-3</c:v>
                </c:pt>
                <c:pt idx="389">
                  <c:v>6.9377563759586199E-3</c:v>
                </c:pt>
                <c:pt idx="390">
                  <c:v>6.9555912252541397E-3</c:v>
                </c:pt>
                <c:pt idx="391">
                  <c:v>6.9734260745496698E-3</c:v>
                </c:pt>
                <c:pt idx="392">
                  <c:v>6.9912609238451896E-3</c:v>
                </c:pt>
                <c:pt idx="393">
                  <c:v>7.0090957731407102E-3</c:v>
                </c:pt>
                <c:pt idx="394">
                  <c:v>7.0269306224362404E-3</c:v>
                </c:pt>
                <c:pt idx="395">
                  <c:v>7.0447654717317601E-3</c:v>
                </c:pt>
                <c:pt idx="396">
                  <c:v>7.0626003210272799E-3</c:v>
                </c:pt>
                <c:pt idx="397">
                  <c:v>7.08043517032281E-3</c:v>
                </c:pt>
                <c:pt idx="398">
                  <c:v>7.0982700196183298E-3</c:v>
                </c:pt>
                <c:pt idx="399">
                  <c:v>7.1161048689138504E-3</c:v>
                </c:pt>
                <c:pt idx="400">
                  <c:v>7.1339397182093797E-3</c:v>
                </c:pt>
                <c:pt idx="401">
                  <c:v>7.1517745675049003E-3</c:v>
                </c:pt>
                <c:pt idx="402">
                  <c:v>7.1696094168004201E-3</c:v>
                </c:pt>
                <c:pt idx="403">
                  <c:v>7.1874442660959503E-3</c:v>
                </c:pt>
                <c:pt idx="404">
                  <c:v>7.20527911539147E-3</c:v>
                </c:pt>
                <c:pt idx="405">
                  <c:v>7.2231139646869898E-3</c:v>
                </c:pt>
                <c:pt idx="406">
                  <c:v>7.2409488139825199E-3</c:v>
                </c:pt>
                <c:pt idx="407">
                  <c:v>7.2587836632780397E-3</c:v>
                </c:pt>
                <c:pt idx="408">
                  <c:v>7.2766185125735603E-3</c:v>
                </c:pt>
                <c:pt idx="409">
                  <c:v>7.2944533618690896E-3</c:v>
                </c:pt>
                <c:pt idx="410">
                  <c:v>7.3122882111646102E-3</c:v>
                </c:pt>
                <c:pt idx="411">
                  <c:v>7.33012306046013E-3</c:v>
                </c:pt>
                <c:pt idx="412">
                  <c:v>7.3479579097556601E-3</c:v>
                </c:pt>
                <c:pt idx="413">
                  <c:v>7.3657927590511799E-3</c:v>
                </c:pt>
                <c:pt idx="414">
                  <c:v>7.3836276083466997E-3</c:v>
                </c:pt>
                <c:pt idx="415">
                  <c:v>7.4014624576422298E-3</c:v>
                </c:pt>
                <c:pt idx="416">
                  <c:v>7.4192973069377496E-3</c:v>
                </c:pt>
                <c:pt idx="417">
                  <c:v>7.4371321562332797E-3</c:v>
                </c:pt>
                <c:pt idx="418">
                  <c:v>7.4549670055288004E-3</c:v>
                </c:pt>
                <c:pt idx="419">
                  <c:v>7.4728018548243201E-3</c:v>
                </c:pt>
                <c:pt idx="420">
                  <c:v>7.4906367041198503E-3</c:v>
                </c:pt>
                <c:pt idx="421">
                  <c:v>7.50847155341537E-3</c:v>
                </c:pt>
                <c:pt idx="422">
                  <c:v>7.5263064027108898E-3</c:v>
                </c:pt>
                <c:pt idx="423">
                  <c:v>7.5441412520064199E-3</c:v>
                </c:pt>
                <c:pt idx="424">
                  <c:v>7.5619761013019397E-3</c:v>
                </c:pt>
                <c:pt idx="425">
                  <c:v>7.5798109505974603E-3</c:v>
                </c:pt>
                <c:pt idx="426">
                  <c:v>7.5976457998929896E-3</c:v>
                </c:pt>
                <c:pt idx="427">
                  <c:v>7.6154806491885102E-3</c:v>
                </c:pt>
                <c:pt idx="428">
                  <c:v>7.63331549848403E-3</c:v>
                </c:pt>
                <c:pt idx="429">
                  <c:v>7.6511503477795601E-3</c:v>
                </c:pt>
                <c:pt idx="430">
                  <c:v>7.6689851970750799E-3</c:v>
                </c:pt>
                <c:pt idx="431">
                  <c:v>7.6868200463705997E-3</c:v>
                </c:pt>
                <c:pt idx="432">
                  <c:v>7.7046548956661298E-3</c:v>
                </c:pt>
                <c:pt idx="433">
                  <c:v>7.7224897449616496E-3</c:v>
                </c:pt>
                <c:pt idx="434">
                  <c:v>7.7403245942571702E-3</c:v>
                </c:pt>
                <c:pt idx="435">
                  <c:v>7.7581594435527004E-3</c:v>
                </c:pt>
                <c:pt idx="436">
                  <c:v>7.7759942928482201E-3</c:v>
                </c:pt>
                <c:pt idx="437">
                  <c:v>7.7938291421437399E-3</c:v>
                </c:pt>
                <c:pt idx="438">
                  <c:v>7.81166399143927E-3</c:v>
                </c:pt>
                <c:pt idx="439">
                  <c:v>7.8294988407347898E-3</c:v>
                </c:pt>
                <c:pt idx="440">
                  <c:v>7.8473336900303104E-3</c:v>
                </c:pt>
                <c:pt idx="441">
                  <c:v>7.8651685393258397E-3</c:v>
                </c:pt>
                <c:pt idx="442">
                  <c:v>7.8830033886213603E-3</c:v>
                </c:pt>
                <c:pt idx="443">
                  <c:v>7.9008382379168896E-3</c:v>
                </c:pt>
                <c:pt idx="444">
                  <c:v>7.9186730872124102E-3</c:v>
                </c:pt>
                <c:pt idx="445">
                  <c:v>7.9365079365079309E-3</c:v>
                </c:pt>
                <c:pt idx="446">
                  <c:v>7.9543427858034602E-3</c:v>
                </c:pt>
                <c:pt idx="447">
                  <c:v>7.9721776350989808E-3</c:v>
                </c:pt>
                <c:pt idx="448">
                  <c:v>7.9900124843944997E-3</c:v>
                </c:pt>
                <c:pt idx="449">
                  <c:v>8.0078473336900307E-3</c:v>
                </c:pt>
                <c:pt idx="450">
                  <c:v>8.0256821829855496E-3</c:v>
                </c:pt>
                <c:pt idx="451">
                  <c:v>8.0435170322810702E-3</c:v>
                </c:pt>
                <c:pt idx="452">
                  <c:v>8.0613518815765995E-3</c:v>
                </c:pt>
                <c:pt idx="453">
                  <c:v>8.0791867308721201E-3</c:v>
                </c:pt>
                <c:pt idx="454">
                  <c:v>8.0970215801676407E-3</c:v>
                </c:pt>
                <c:pt idx="455">
                  <c:v>8.11485642946317E-3</c:v>
                </c:pt>
                <c:pt idx="456">
                  <c:v>8.1326912787586907E-3</c:v>
                </c:pt>
                <c:pt idx="457">
                  <c:v>8.1505261280542095E-3</c:v>
                </c:pt>
                <c:pt idx="458">
                  <c:v>8.1683609773497406E-3</c:v>
                </c:pt>
                <c:pt idx="459">
                  <c:v>8.1861958266452595E-3</c:v>
                </c:pt>
                <c:pt idx="460">
                  <c:v>8.2040306759407801E-3</c:v>
                </c:pt>
                <c:pt idx="461">
                  <c:v>8.2218655252363094E-3</c:v>
                </c:pt>
                <c:pt idx="462">
                  <c:v>8.23970037453183E-3</c:v>
                </c:pt>
                <c:pt idx="463">
                  <c:v>8.2575352238273593E-3</c:v>
                </c:pt>
                <c:pt idx="464">
                  <c:v>8.2753700731228799E-3</c:v>
                </c:pt>
                <c:pt idx="465">
                  <c:v>8.2932049224184005E-3</c:v>
                </c:pt>
                <c:pt idx="466">
                  <c:v>8.3110397717139298E-3</c:v>
                </c:pt>
                <c:pt idx="467">
                  <c:v>8.3288746210094505E-3</c:v>
                </c:pt>
                <c:pt idx="468">
                  <c:v>8.3467094703049693E-3</c:v>
                </c:pt>
                <c:pt idx="469">
                  <c:v>8.36454431960049E-3</c:v>
                </c:pt>
                <c:pt idx="470">
                  <c:v>8.3823791688960193E-3</c:v>
                </c:pt>
                <c:pt idx="471">
                  <c:v>8.4002140181915399E-3</c:v>
                </c:pt>
                <c:pt idx="472">
                  <c:v>8.4180488674870692E-3</c:v>
                </c:pt>
                <c:pt idx="473">
                  <c:v>8.4358837167825898E-3</c:v>
                </c:pt>
                <c:pt idx="474">
                  <c:v>8.4537185660781104E-3</c:v>
                </c:pt>
                <c:pt idx="475">
                  <c:v>8.4715534153736397E-3</c:v>
                </c:pt>
                <c:pt idx="476">
                  <c:v>8.4893882646691603E-3</c:v>
                </c:pt>
                <c:pt idx="477">
                  <c:v>8.5072231139646792E-3</c:v>
                </c:pt>
                <c:pt idx="478">
                  <c:v>8.5250579632602103E-3</c:v>
                </c:pt>
                <c:pt idx="479">
                  <c:v>8.5428928125557291E-3</c:v>
                </c:pt>
                <c:pt idx="480">
                  <c:v>8.5607276618512498E-3</c:v>
                </c:pt>
                <c:pt idx="481">
                  <c:v>8.5785625111467808E-3</c:v>
                </c:pt>
                <c:pt idx="482">
                  <c:v>8.5963973604422997E-3</c:v>
                </c:pt>
                <c:pt idx="483">
                  <c:v>8.6142322097378203E-3</c:v>
                </c:pt>
                <c:pt idx="484">
                  <c:v>8.6320670590333496E-3</c:v>
                </c:pt>
                <c:pt idx="485">
                  <c:v>8.6499019083288702E-3</c:v>
                </c:pt>
                <c:pt idx="486">
                  <c:v>8.6677367576243908E-3</c:v>
                </c:pt>
                <c:pt idx="487">
                  <c:v>8.6855716069199201E-3</c:v>
                </c:pt>
                <c:pt idx="488">
                  <c:v>8.7034064562154408E-3</c:v>
                </c:pt>
                <c:pt idx="489">
                  <c:v>8.7212413055109596E-3</c:v>
                </c:pt>
                <c:pt idx="490">
                  <c:v>8.7390761548064907E-3</c:v>
                </c:pt>
                <c:pt idx="491">
                  <c:v>8.7569110041020096E-3</c:v>
                </c:pt>
                <c:pt idx="492">
                  <c:v>8.7747458533975302E-3</c:v>
                </c:pt>
                <c:pt idx="493">
                  <c:v>8.7925807026930595E-3</c:v>
                </c:pt>
                <c:pt idx="494">
                  <c:v>8.8104155519885801E-3</c:v>
                </c:pt>
                <c:pt idx="495">
                  <c:v>8.8282504012841094E-3</c:v>
                </c:pt>
                <c:pt idx="496">
                  <c:v>8.84608525057963E-3</c:v>
                </c:pt>
                <c:pt idx="497">
                  <c:v>8.8639200998751506E-3</c:v>
                </c:pt>
                <c:pt idx="498">
                  <c:v>8.8817549491706799E-3</c:v>
                </c:pt>
                <c:pt idx="499">
                  <c:v>8.8995897984662006E-3</c:v>
                </c:pt>
                <c:pt idx="500">
                  <c:v>8.9174246477617194E-3</c:v>
                </c:pt>
                <c:pt idx="501">
                  <c:v>8.9352594970572505E-3</c:v>
                </c:pt>
                <c:pt idx="502">
                  <c:v>8.9530943463527694E-3</c:v>
                </c:pt>
                <c:pt idx="503">
                  <c:v>8.97092919564829E-3</c:v>
                </c:pt>
                <c:pt idx="504">
                  <c:v>8.9887640449438193E-3</c:v>
                </c:pt>
                <c:pt idx="505">
                  <c:v>9.0065988942393399E-3</c:v>
                </c:pt>
                <c:pt idx="506">
                  <c:v>9.0244337435348605E-3</c:v>
                </c:pt>
                <c:pt idx="507">
                  <c:v>9.0422685928303898E-3</c:v>
                </c:pt>
                <c:pt idx="508">
                  <c:v>9.0601034421259104E-3</c:v>
                </c:pt>
                <c:pt idx="509">
                  <c:v>9.0779382914214293E-3</c:v>
                </c:pt>
                <c:pt idx="510">
                  <c:v>9.0957731407169604E-3</c:v>
                </c:pt>
                <c:pt idx="511">
                  <c:v>9.1136079900124792E-3</c:v>
                </c:pt>
                <c:pt idx="512">
                  <c:v>9.1314428393079999E-3</c:v>
                </c:pt>
                <c:pt idx="513">
                  <c:v>9.1492776886035292E-3</c:v>
                </c:pt>
                <c:pt idx="514">
                  <c:v>9.1671125378990498E-3</c:v>
                </c:pt>
                <c:pt idx="515">
                  <c:v>9.1849473871945704E-3</c:v>
                </c:pt>
                <c:pt idx="516">
                  <c:v>9.2027822364900997E-3</c:v>
                </c:pt>
                <c:pt idx="517">
                  <c:v>9.2206170857856203E-3</c:v>
                </c:pt>
                <c:pt idx="518">
                  <c:v>9.2384519350811392E-3</c:v>
                </c:pt>
                <c:pt idx="519">
                  <c:v>9.2562867843766702E-3</c:v>
                </c:pt>
                <c:pt idx="520">
                  <c:v>9.2741216336721909E-3</c:v>
                </c:pt>
                <c:pt idx="521">
                  <c:v>9.2919564829677097E-3</c:v>
                </c:pt>
                <c:pt idx="522">
                  <c:v>9.3097913322632408E-3</c:v>
                </c:pt>
                <c:pt idx="523">
                  <c:v>9.3276261815587597E-3</c:v>
                </c:pt>
                <c:pt idx="524">
                  <c:v>9.3454610308542803E-3</c:v>
                </c:pt>
                <c:pt idx="525">
                  <c:v>9.3632958801498096E-3</c:v>
                </c:pt>
                <c:pt idx="526">
                  <c:v>9.3811307294453302E-3</c:v>
                </c:pt>
                <c:pt idx="527">
                  <c:v>9.3989655787408595E-3</c:v>
                </c:pt>
                <c:pt idx="528">
                  <c:v>9.4168004280363801E-3</c:v>
                </c:pt>
                <c:pt idx="529">
                  <c:v>9.4346352773319007E-3</c:v>
                </c:pt>
                <c:pt idx="530">
                  <c:v>9.45247012662743E-3</c:v>
                </c:pt>
                <c:pt idx="531">
                  <c:v>9.4703049759229507E-3</c:v>
                </c:pt>
                <c:pt idx="532">
                  <c:v>9.4881398252184695E-3</c:v>
                </c:pt>
                <c:pt idx="533">
                  <c:v>9.5059746745140006E-3</c:v>
                </c:pt>
                <c:pt idx="534">
                  <c:v>9.5238095238095195E-3</c:v>
                </c:pt>
                <c:pt idx="535">
                  <c:v>9.5416443731050401E-3</c:v>
                </c:pt>
                <c:pt idx="536">
                  <c:v>9.5594792224005694E-3</c:v>
                </c:pt>
                <c:pt idx="537">
                  <c:v>9.57731407169609E-3</c:v>
                </c:pt>
                <c:pt idx="538">
                  <c:v>9.5951489209916106E-3</c:v>
                </c:pt>
                <c:pt idx="539">
                  <c:v>9.6129837702871399E-3</c:v>
                </c:pt>
                <c:pt idx="540">
                  <c:v>9.6308186195826605E-3</c:v>
                </c:pt>
                <c:pt idx="541">
                  <c:v>9.6486534688781794E-3</c:v>
                </c:pt>
                <c:pt idx="542">
                  <c:v>9.6664883181737105E-3</c:v>
                </c:pt>
                <c:pt idx="543">
                  <c:v>9.6843231674692293E-3</c:v>
                </c:pt>
                <c:pt idx="544">
                  <c:v>9.70215801676475E-3</c:v>
                </c:pt>
                <c:pt idx="545">
                  <c:v>9.7199928660602793E-3</c:v>
                </c:pt>
                <c:pt idx="546">
                  <c:v>9.7378277153557999E-3</c:v>
                </c:pt>
                <c:pt idx="547">
                  <c:v>9.7556625646513292E-3</c:v>
                </c:pt>
                <c:pt idx="548">
                  <c:v>9.7734974139468498E-3</c:v>
                </c:pt>
                <c:pt idx="549">
                  <c:v>9.7913322632423704E-3</c:v>
                </c:pt>
                <c:pt idx="550">
                  <c:v>9.8091671125378997E-3</c:v>
                </c:pt>
                <c:pt idx="551">
                  <c:v>9.8270019618334203E-3</c:v>
                </c:pt>
                <c:pt idx="552">
                  <c:v>9.8448368111289392E-3</c:v>
                </c:pt>
                <c:pt idx="553">
                  <c:v>9.8626716604244703E-3</c:v>
                </c:pt>
                <c:pt idx="554">
                  <c:v>9.8805065097199891E-3</c:v>
                </c:pt>
                <c:pt idx="555">
                  <c:v>9.8983413590155098E-3</c:v>
                </c:pt>
                <c:pt idx="556">
                  <c:v>9.9161762083110304E-3</c:v>
                </c:pt>
                <c:pt idx="557">
                  <c:v>9.9340110576065597E-3</c:v>
                </c:pt>
                <c:pt idx="558">
                  <c:v>9.9518459069020803E-3</c:v>
                </c:pt>
                <c:pt idx="559">
                  <c:v>9.9696807561976096E-3</c:v>
                </c:pt>
                <c:pt idx="560">
                  <c:v>9.9875156054931302E-3</c:v>
                </c:pt>
                <c:pt idx="561">
                  <c:v>1.0005350454788601E-2</c:v>
                </c:pt>
                <c:pt idx="562">
                  <c:v>1.00231853040841E-2</c:v>
                </c:pt>
                <c:pt idx="563">
                  <c:v>1.0041020153379701E-2</c:v>
                </c:pt>
                <c:pt idx="564">
                  <c:v>1.0058855002675201E-2</c:v>
                </c:pt>
                <c:pt idx="565">
                  <c:v>1.00766898519707E-2</c:v>
                </c:pt>
                <c:pt idx="566">
                  <c:v>1.00945247012662E-2</c:v>
                </c:pt>
                <c:pt idx="567">
                  <c:v>1.01123595505617E-2</c:v>
                </c:pt>
                <c:pt idx="568">
                  <c:v>1.01301943998573E-2</c:v>
                </c:pt>
                <c:pt idx="569">
                  <c:v>1.01480292491528E-2</c:v>
                </c:pt>
                <c:pt idx="570">
                  <c:v>1.01658640984483E-2</c:v>
                </c:pt>
                <c:pt idx="571">
                  <c:v>1.01836989477438E-2</c:v>
                </c:pt>
                <c:pt idx="572">
                  <c:v>1.02015337970394E-2</c:v>
                </c:pt>
                <c:pt idx="573">
                  <c:v>1.02193686463349E-2</c:v>
                </c:pt>
                <c:pt idx="574">
                  <c:v>1.02372034956304E-2</c:v>
                </c:pt>
                <c:pt idx="575">
                  <c:v>1.02550383449259E-2</c:v>
                </c:pt>
                <c:pt idx="576">
                  <c:v>1.02728731942215E-2</c:v>
                </c:pt>
                <c:pt idx="577">
                  <c:v>1.0290708043517E-2</c:v>
                </c:pt>
                <c:pt idx="578">
                  <c:v>1.03085428928125E-2</c:v>
                </c:pt>
                <c:pt idx="579">
                  <c:v>1.0326377742107999E-2</c:v>
                </c:pt>
                <c:pt idx="580">
                  <c:v>1.03442125914036E-2</c:v>
                </c:pt>
                <c:pt idx="581">
                  <c:v>1.03620474406991E-2</c:v>
                </c:pt>
                <c:pt idx="582">
                  <c:v>1.03798822899946E-2</c:v>
                </c:pt>
                <c:pt idx="583">
                  <c:v>1.0397717139290099E-2</c:v>
                </c:pt>
                <c:pt idx="584">
                  <c:v>1.0415551988585601E-2</c:v>
                </c:pt>
                <c:pt idx="585">
                  <c:v>1.04333868378812E-2</c:v>
                </c:pt>
                <c:pt idx="586">
                  <c:v>1.0451221687176699E-2</c:v>
                </c:pt>
                <c:pt idx="587">
                  <c:v>1.0469056536472199E-2</c:v>
                </c:pt>
                <c:pt idx="588">
                  <c:v>1.0486891385767701E-2</c:v>
                </c:pt>
                <c:pt idx="589">
                  <c:v>1.0504726235063299E-2</c:v>
                </c:pt>
                <c:pt idx="590">
                  <c:v>1.0522561084358799E-2</c:v>
                </c:pt>
                <c:pt idx="591">
                  <c:v>1.0540395933654301E-2</c:v>
                </c:pt>
                <c:pt idx="592">
                  <c:v>1.0558230782949801E-2</c:v>
                </c:pt>
                <c:pt idx="593">
                  <c:v>1.0576065632245399E-2</c:v>
                </c:pt>
                <c:pt idx="594">
                  <c:v>1.0593900481540901E-2</c:v>
                </c:pt>
                <c:pt idx="595">
                  <c:v>1.0611735330836401E-2</c:v>
                </c:pt>
                <c:pt idx="596">
                  <c:v>1.06295701801319E-2</c:v>
                </c:pt>
                <c:pt idx="597">
                  <c:v>1.0647405029427501E-2</c:v>
                </c:pt>
                <c:pt idx="598">
                  <c:v>1.0665239878723001E-2</c:v>
                </c:pt>
                <c:pt idx="599">
                  <c:v>1.06830747280185E-2</c:v>
                </c:pt>
                <c:pt idx="600">
                  <c:v>1.0700909577314E-2</c:v>
                </c:pt>
                <c:pt idx="601">
                  <c:v>1.07187444266095E-2</c:v>
                </c:pt>
                <c:pt idx="602">
                  <c:v>1.07365792759051E-2</c:v>
                </c:pt>
                <c:pt idx="603">
                  <c:v>1.07544141252006E-2</c:v>
                </c:pt>
                <c:pt idx="604">
                  <c:v>1.07722489744961E-2</c:v>
                </c:pt>
                <c:pt idx="605">
                  <c:v>1.07900838237916E-2</c:v>
                </c:pt>
                <c:pt idx="606">
                  <c:v>1.08079186730872E-2</c:v>
                </c:pt>
                <c:pt idx="607">
                  <c:v>1.08257535223827E-2</c:v>
                </c:pt>
                <c:pt idx="608">
                  <c:v>1.08435883716782E-2</c:v>
                </c:pt>
                <c:pt idx="609">
                  <c:v>1.08614232209737E-2</c:v>
                </c:pt>
                <c:pt idx="610">
                  <c:v>1.08792580702693E-2</c:v>
                </c:pt>
                <c:pt idx="611">
                  <c:v>1.08970929195648E-2</c:v>
                </c:pt>
                <c:pt idx="612">
                  <c:v>1.09149277688603E-2</c:v>
                </c:pt>
                <c:pt idx="613">
                  <c:v>1.0932762618155799E-2</c:v>
                </c:pt>
                <c:pt idx="614">
                  <c:v>1.09505974674514E-2</c:v>
                </c:pt>
                <c:pt idx="615">
                  <c:v>1.09684323167469E-2</c:v>
                </c:pt>
                <c:pt idx="616">
                  <c:v>1.09862671660424E-2</c:v>
                </c:pt>
                <c:pt idx="617">
                  <c:v>1.1004102015337899E-2</c:v>
                </c:pt>
                <c:pt idx="618">
                  <c:v>1.1021936864633399E-2</c:v>
                </c:pt>
                <c:pt idx="619">
                  <c:v>1.1039771713929E-2</c:v>
                </c:pt>
                <c:pt idx="620">
                  <c:v>1.1057606563224499E-2</c:v>
                </c:pt>
                <c:pt idx="621">
                  <c:v>1.1075441412519999E-2</c:v>
                </c:pt>
                <c:pt idx="622">
                  <c:v>1.1093276261815501E-2</c:v>
                </c:pt>
                <c:pt idx="623">
                  <c:v>1.1111111111111099E-2</c:v>
                </c:pt>
                <c:pt idx="624">
                  <c:v>1.1128945960406599E-2</c:v>
                </c:pt>
                <c:pt idx="625">
                  <c:v>1.1146780809702101E-2</c:v>
                </c:pt>
                <c:pt idx="626">
                  <c:v>1.1164615658997601E-2</c:v>
                </c:pt>
                <c:pt idx="627">
                  <c:v>1.1182450508293199E-2</c:v>
                </c:pt>
                <c:pt idx="628">
                  <c:v>1.1200285357588701E-2</c:v>
                </c:pt>
                <c:pt idx="629">
                  <c:v>1.1218120206884201E-2</c:v>
                </c:pt>
                <c:pt idx="630">
                  <c:v>1.12359550561797E-2</c:v>
                </c:pt>
                <c:pt idx="631">
                  <c:v>1.12537899054752E-2</c:v>
                </c:pt>
                <c:pt idx="632">
                  <c:v>1.1271624754770801E-2</c:v>
                </c:pt>
                <c:pt idx="633">
                  <c:v>1.12894596040663E-2</c:v>
                </c:pt>
                <c:pt idx="634">
                  <c:v>1.13072944533618E-2</c:v>
                </c:pt>
                <c:pt idx="635">
                  <c:v>1.13251293026573E-2</c:v>
                </c:pt>
                <c:pt idx="636">
                  <c:v>1.13429641519529E-2</c:v>
                </c:pt>
                <c:pt idx="637">
                  <c:v>1.13607990012484E-2</c:v>
                </c:pt>
                <c:pt idx="638">
                  <c:v>1.13786338505439E-2</c:v>
                </c:pt>
                <c:pt idx="639">
                  <c:v>1.13964686998394E-2</c:v>
                </c:pt>
                <c:pt idx="640">
                  <c:v>1.1414303549135E-2</c:v>
                </c:pt>
                <c:pt idx="641">
                  <c:v>1.14321383984305E-2</c:v>
                </c:pt>
                <c:pt idx="642">
                  <c:v>1.1449973247726E-2</c:v>
                </c:pt>
                <c:pt idx="643">
                  <c:v>1.14678080970215E-2</c:v>
                </c:pt>
                <c:pt idx="644">
                  <c:v>1.14856429463171E-2</c:v>
                </c:pt>
                <c:pt idx="645">
                  <c:v>1.15034777956126E-2</c:v>
                </c:pt>
                <c:pt idx="646">
                  <c:v>1.15213126449081E-2</c:v>
                </c:pt>
                <c:pt idx="647">
                  <c:v>1.15391474942036E-2</c:v>
                </c:pt>
                <c:pt idx="648">
                  <c:v>1.1556982343499099E-2</c:v>
                </c:pt>
                <c:pt idx="649">
                  <c:v>1.15748171927947E-2</c:v>
                </c:pt>
                <c:pt idx="650">
                  <c:v>1.15926520420902E-2</c:v>
                </c:pt>
                <c:pt idx="651">
                  <c:v>1.1610486891385699E-2</c:v>
                </c:pt>
                <c:pt idx="652">
                  <c:v>1.1628321740681199E-2</c:v>
                </c:pt>
                <c:pt idx="653">
                  <c:v>1.16461565899768E-2</c:v>
                </c:pt>
                <c:pt idx="654">
                  <c:v>1.1663991439272299E-2</c:v>
                </c:pt>
                <c:pt idx="655">
                  <c:v>1.1681826288567799E-2</c:v>
                </c:pt>
                <c:pt idx="656">
                  <c:v>1.1699661137863301E-2</c:v>
                </c:pt>
                <c:pt idx="657">
                  <c:v>1.1717495987158899E-2</c:v>
                </c:pt>
                <c:pt idx="658">
                  <c:v>1.1735330836454399E-2</c:v>
                </c:pt>
                <c:pt idx="659">
                  <c:v>1.1753165685749901E-2</c:v>
                </c:pt>
                <c:pt idx="660">
                  <c:v>1.1771000535045401E-2</c:v>
                </c:pt>
                <c:pt idx="661">
                  <c:v>1.1788835384340999E-2</c:v>
                </c:pt>
                <c:pt idx="662">
                  <c:v>1.1806670233636501E-2</c:v>
                </c:pt>
                <c:pt idx="663">
                  <c:v>1.1824505082932001E-2</c:v>
                </c:pt>
                <c:pt idx="664">
                  <c:v>1.18423399322275E-2</c:v>
                </c:pt>
                <c:pt idx="665">
                  <c:v>1.1860174781523E-2</c:v>
                </c:pt>
                <c:pt idx="666">
                  <c:v>1.1878009630818601E-2</c:v>
                </c:pt>
                <c:pt idx="667">
                  <c:v>1.18958444801141E-2</c:v>
                </c:pt>
                <c:pt idx="668">
                  <c:v>1.19136793294096E-2</c:v>
                </c:pt>
                <c:pt idx="669">
                  <c:v>1.19315141787051E-2</c:v>
                </c:pt>
                <c:pt idx="670">
                  <c:v>1.19493490280007E-2</c:v>
                </c:pt>
                <c:pt idx="671">
                  <c:v>1.19671838772962E-2</c:v>
                </c:pt>
                <c:pt idx="672">
                  <c:v>1.19850187265917E-2</c:v>
                </c:pt>
                <c:pt idx="673">
                  <c:v>1.20028535758872E-2</c:v>
                </c:pt>
                <c:pt idx="674">
                  <c:v>1.20206884251828E-2</c:v>
                </c:pt>
                <c:pt idx="675">
                  <c:v>1.20385232744783E-2</c:v>
                </c:pt>
                <c:pt idx="676">
                  <c:v>1.20563581237738E-2</c:v>
                </c:pt>
                <c:pt idx="677">
                  <c:v>1.20741929730693E-2</c:v>
                </c:pt>
                <c:pt idx="678">
                  <c:v>1.20920278223649E-2</c:v>
                </c:pt>
                <c:pt idx="679">
                  <c:v>1.21098626716604E-2</c:v>
                </c:pt>
                <c:pt idx="680">
                  <c:v>1.21276975209559E-2</c:v>
                </c:pt>
                <c:pt idx="681">
                  <c:v>1.21455323702514E-2</c:v>
                </c:pt>
                <c:pt idx="682">
                  <c:v>1.2163367219546899E-2</c:v>
                </c:pt>
                <c:pt idx="683">
                  <c:v>1.21812020688425E-2</c:v>
                </c:pt>
                <c:pt idx="684">
                  <c:v>1.2199036918138E-2</c:v>
                </c:pt>
                <c:pt idx="685">
                  <c:v>1.2216871767433499E-2</c:v>
                </c:pt>
                <c:pt idx="686">
                  <c:v>1.2234706616728999E-2</c:v>
                </c:pt>
                <c:pt idx="687">
                  <c:v>1.22525414660246E-2</c:v>
                </c:pt>
                <c:pt idx="688">
                  <c:v>1.2270376315320099E-2</c:v>
                </c:pt>
                <c:pt idx="689">
                  <c:v>1.2288211164615599E-2</c:v>
                </c:pt>
                <c:pt idx="690">
                  <c:v>1.2306046013911101E-2</c:v>
                </c:pt>
                <c:pt idx="691">
                  <c:v>1.2323880863206699E-2</c:v>
                </c:pt>
                <c:pt idx="692">
                  <c:v>1.2341715712502199E-2</c:v>
                </c:pt>
                <c:pt idx="693">
                  <c:v>1.2359550561797701E-2</c:v>
                </c:pt>
                <c:pt idx="694">
                  <c:v>1.2377385411093201E-2</c:v>
                </c:pt>
                <c:pt idx="695">
                  <c:v>1.2395220260388799E-2</c:v>
                </c:pt>
                <c:pt idx="696">
                  <c:v>1.2413055109684301E-2</c:v>
                </c:pt>
                <c:pt idx="697">
                  <c:v>1.2430889958979801E-2</c:v>
                </c:pt>
                <c:pt idx="698">
                  <c:v>1.24487248082753E-2</c:v>
                </c:pt>
                <c:pt idx="699">
                  <c:v>1.24665596575708E-2</c:v>
                </c:pt>
                <c:pt idx="700">
                  <c:v>1.2484394506866401E-2</c:v>
                </c:pt>
                <c:pt idx="701">
                  <c:v>1.25022293561619E-2</c:v>
                </c:pt>
                <c:pt idx="702">
                  <c:v>1.25200642054574E-2</c:v>
                </c:pt>
                <c:pt idx="703">
                  <c:v>1.25378990547529E-2</c:v>
                </c:pt>
                <c:pt idx="704">
                  <c:v>1.25557339040485E-2</c:v>
                </c:pt>
                <c:pt idx="705">
                  <c:v>1.2573568753344E-2</c:v>
                </c:pt>
                <c:pt idx="706">
                  <c:v>1.25914036026395E-2</c:v>
                </c:pt>
                <c:pt idx="707">
                  <c:v>1.2609238451935E-2</c:v>
                </c:pt>
                <c:pt idx="708">
                  <c:v>1.26270733012306E-2</c:v>
                </c:pt>
                <c:pt idx="709">
                  <c:v>1.26449081505261E-2</c:v>
                </c:pt>
                <c:pt idx="710">
                  <c:v>1.26627429998216E-2</c:v>
                </c:pt>
                <c:pt idx="711">
                  <c:v>1.26805778491171E-2</c:v>
                </c:pt>
                <c:pt idx="712">
                  <c:v>1.26984126984126E-2</c:v>
                </c:pt>
                <c:pt idx="713">
                  <c:v>1.27162475477082E-2</c:v>
                </c:pt>
                <c:pt idx="714">
                  <c:v>1.27340823970037E-2</c:v>
                </c:pt>
                <c:pt idx="715">
                  <c:v>1.27519172462992E-2</c:v>
                </c:pt>
                <c:pt idx="716">
                  <c:v>1.2769752095594699E-2</c:v>
                </c:pt>
                <c:pt idx="717">
                  <c:v>1.27875869448903E-2</c:v>
                </c:pt>
                <c:pt idx="718">
                  <c:v>1.28054217941858E-2</c:v>
                </c:pt>
                <c:pt idx="719">
                  <c:v>1.2823256643481299E-2</c:v>
                </c:pt>
                <c:pt idx="720">
                  <c:v>1.2841091492776799E-2</c:v>
                </c:pt>
                <c:pt idx="721">
                  <c:v>1.28589263420724E-2</c:v>
                </c:pt>
                <c:pt idx="722">
                  <c:v>1.2876761191367899E-2</c:v>
                </c:pt>
                <c:pt idx="723">
                  <c:v>1.2894596040663399E-2</c:v>
                </c:pt>
                <c:pt idx="724">
                  <c:v>1.2912430889958901E-2</c:v>
                </c:pt>
                <c:pt idx="725">
                  <c:v>1.2930265739254499E-2</c:v>
                </c:pt>
                <c:pt idx="726">
                  <c:v>1.2948100588549999E-2</c:v>
                </c:pt>
                <c:pt idx="727">
                  <c:v>1.2965935437845501E-2</c:v>
                </c:pt>
                <c:pt idx="728">
                  <c:v>1.2983770287141001E-2</c:v>
                </c:pt>
                <c:pt idx="729">
                  <c:v>1.30016051364365E-2</c:v>
                </c:pt>
                <c:pt idx="730">
                  <c:v>1.3019439985732101E-2</c:v>
                </c:pt>
                <c:pt idx="731">
                  <c:v>1.3037274835027601E-2</c:v>
                </c:pt>
                <c:pt idx="732">
                  <c:v>1.30551096843231E-2</c:v>
                </c:pt>
                <c:pt idx="733">
                  <c:v>1.30729445336186E-2</c:v>
                </c:pt>
                <c:pt idx="734">
                  <c:v>1.3090779382914201E-2</c:v>
                </c:pt>
                <c:pt idx="735">
                  <c:v>1.31086142322097E-2</c:v>
                </c:pt>
                <c:pt idx="736">
                  <c:v>1.31264490815052E-2</c:v>
                </c:pt>
                <c:pt idx="737">
                  <c:v>1.31442839308007E-2</c:v>
                </c:pt>
                <c:pt idx="738">
                  <c:v>1.31621187800963E-2</c:v>
                </c:pt>
                <c:pt idx="739">
                  <c:v>1.31799536293918E-2</c:v>
                </c:pt>
                <c:pt idx="740">
                  <c:v>1.31977884786873E-2</c:v>
                </c:pt>
                <c:pt idx="741">
                  <c:v>1.32156233279828E-2</c:v>
                </c:pt>
                <c:pt idx="742">
                  <c:v>1.32334581772784E-2</c:v>
                </c:pt>
                <c:pt idx="743">
                  <c:v>1.32512930265739E-2</c:v>
                </c:pt>
                <c:pt idx="744">
                  <c:v>1.32691278758694E-2</c:v>
                </c:pt>
                <c:pt idx="745">
                  <c:v>1.32869627251649E-2</c:v>
                </c:pt>
                <c:pt idx="746">
                  <c:v>1.33047975744604E-2</c:v>
                </c:pt>
                <c:pt idx="747">
                  <c:v>1.3322632423756E-2</c:v>
                </c:pt>
                <c:pt idx="748">
                  <c:v>1.33404672730515E-2</c:v>
                </c:pt>
                <c:pt idx="749">
                  <c:v>1.3358302122347E-2</c:v>
                </c:pt>
                <c:pt idx="750">
                  <c:v>1.3376136971642499E-2</c:v>
                </c:pt>
                <c:pt idx="751">
                  <c:v>1.33939718209381E-2</c:v>
                </c:pt>
                <c:pt idx="752">
                  <c:v>1.34118066702336E-2</c:v>
                </c:pt>
                <c:pt idx="753">
                  <c:v>1.3429641519529099E-2</c:v>
                </c:pt>
                <c:pt idx="754">
                  <c:v>1.3447476368824599E-2</c:v>
                </c:pt>
                <c:pt idx="755">
                  <c:v>1.34653112181202E-2</c:v>
                </c:pt>
                <c:pt idx="756">
                  <c:v>1.3483146067415699E-2</c:v>
                </c:pt>
                <c:pt idx="757">
                  <c:v>1.3500980916711199E-2</c:v>
                </c:pt>
                <c:pt idx="758">
                  <c:v>1.3518815766006701E-2</c:v>
                </c:pt>
                <c:pt idx="759">
                  <c:v>1.3536650615302299E-2</c:v>
                </c:pt>
                <c:pt idx="760">
                  <c:v>1.3554485464597799E-2</c:v>
                </c:pt>
                <c:pt idx="761">
                  <c:v>1.3572320313893301E-2</c:v>
                </c:pt>
                <c:pt idx="762">
                  <c:v>1.3590155163188801E-2</c:v>
                </c:pt>
                <c:pt idx="763">
                  <c:v>1.36079900124843E-2</c:v>
                </c:pt>
                <c:pt idx="764">
                  <c:v>1.3625824861779901E-2</c:v>
                </c:pt>
                <c:pt idx="765">
                  <c:v>1.3643659711075401E-2</c:v>
                </c:pt>
                <c:pt idx="766">
                  <c:v>1.36614945603709E-2</c:v>
                </c:pt>
                <c:pt idx="767">
                  <c:v>1.36793294096664E-2</c:v>
                </c:pt>
                <c:pt idx="768">
                  <c:v>1.3697164258962001E-2</c:v>
                </c:pt>
                <c:pt idx="769">
                  <c:v>1.37149991082575E-2</c:v>
                </c:pt>
                <c:pt idx="770">
                  <c:v>1.3732833957553E-2</c:v>
                </c:pt>
                <c:pt idx="771">
                  <c:v>1.37506688068485E-2</c:v>
                </c:pt>
                <c:pt idx="772">
                  <c:v>1.3768503656144101E-2</c:v>
                </c:pt>
                <c:pt idx="773">
                  <c:v>1.37863385054396E-2</c:v>
                </c:pt>
                <c:pt idx="774">
                  <c:v>1.38041733547351E-2</c:v>
                </c:pt>
                <c:pt idx="775">
                  <c:v>1.38220082040306E-2</c:v>
                </c:pt>
                <c:pt idx="776">
                  <c:v>1.38398430533261E-2</c:v>
                </c:pt>
                <c:pt idx="777">
                  <c:v>1.38576779026217E-2</c:v>
                </c:pt>
                <c:pt idx="778">
                  <c:v>1.38755127519172E-2</c:v>
                </c:pt>
                <c:pt idx="779">
                  <c:v>1.38933476012127E-2</c:v>
                </c:pt>
                <c:pt idx="780">
                  <c:v>1.39111824505082E-2</c:v>
                </c:pt>
                <c:pt idx="781">
                  <c:v>1.39290172998038E-2</c:v>
                </c:pt>
                <c:pt idx="782">
                  <c:v>1.39468521490993E-2</c:v>
                </c:pt>
                <c:pt idx="783">
                  <c:v>1.39646869983948E-2</c:v>
                </c:pt>
                <c:pt idx="784">
                  <c:v>1.3982521847690299E-2</c:v>
                </c:pt>
                <c:pt idx="785">
                  <c:v>1.40003566969859E-2</c:v>
                </c:pt>
                <c:pt idx="786">
                  <c:v>1.40181915462814E-2</c:v>
                </c:pt>
                <c:pt idx="787">
                  <c:v>1.4036026395576899E-2</c:v>
                </c:pt>
                <c:pt idx="788">
                  <c:v>1.4053861244872399E-2</c:v>
                </c:pt>
                <c:pt idx="789">
                  <c:v>1.4071696094168E-2</c:v>
                </c:pt>
                <c:pt idx="790">
                  <c:v>1.4089530943463499E-2</c:v>
                </c:pt>
                <c:pt idx="791">
                  <c:v>1.4107365792758999E-2</c:v>
                </c:pt>
                <c:pt idx="792">
                  <c:v>1.4125200642054501E-2</c:v>
                </c:pt>
                <c:pt idx="793">
                  <c:v>1.4143035491350001E-2</c:v>
                </c:pt>
                <c:pt idx="794">
                  <c:v>1.4160870340645599E-2</c:v>
                </c:pt>
                <c:pt idx="795">
                  <c:v>1.4178705189941101E-2</c:v>
                </c:pt>
                <c:pt idx="796">
                  <c:v>1.4196540039236601E-2</c:v>
                </c:pt>
                <c:pt idx="797">
                  <c:v>1.42143748885321E-2</c:v>
                </c:pt>
                <c:pt idx="798">
                  <c:v>1.4232209737827701E-2</c:v>
                </c:pt>
                <c:pt idx="799">
                  <c:v>1.4250044587123201E-2</c:v>
                </c:pt>
                <c:pt idx="800">
                  <c:v>1.42678794364187E-2</c:v>
                </c:pt>
                <c:pt idx="801">
                  <c:v>1.42857142857142E-2</c:v>
                </c:pt>
                <c:pt idx="802">
                  <c:v>1.4303549135009801E-2</c:v>
                </c:pt>
                <c:pt idx="803">
                  <c:v>1.43213839843053E-2</c:v>
                </c:pt>
                <c:pt idx="804">
                  <c:v>1.43392188336008E-2</c:v>
                </c:pt>
                <c:pt idx="805">
                  <c:v>1.43570536828963E-2</c:v>
                </c:pt>
                <c:pt idx="806">
                  <c:v>1.4374888532191901E-2</c:v>
                </c:pt>
                <c:pt idx="807">
                  <c:v>1.43927233814874E-2</c:v>
                </c:pt>
                <c:pt idx="808">
                  <c:v>1.44105582307829E-2</c:v>
                </c:pt>
                <c:pt idx="809">
                  <c:v>1.44283930800784E-2</c:v>
                </c:pt>
                <c:pt idx="810">
                  <c:v>1.44462279293739E-2</c:v>
                </c:pt>
                <c:pt idx="811">
                  <c:v>1.44640627786695E-2</c:v>
                </c:pt>
                <c:pt idx="812">
                  <c:v>1.4481897627965E-2</c:v>
                </c:pt>
                <c:pt idx="813">
                  <c:v>1.44997324772605E-2</c:v>
                </c:pt>
                <c:pt idx="814">
                  <c:v>1.4517567326556E-2</c:v>
                </c:pt>
                <c:pt idx="815">
                  <c:v>1.45354021758516E-2</c:v>
                </c:pt>
                <c:pt idx="816">
                  <c:v>1.45532370251471E-2</c:v>
                </c:pt>
                <c:pt idx="817">
                  <c:v>1.45710718744426E-2</c:v>
                </c:pt>
                <c:pt idx="818">
                  <c:v>1.4588906723738099E-2</c:v>
                </c:pt>
                <c:pt idx="819">
                  <c:v>1.46067415730337E-2</c:v>
                </c:pt>
                <c:pt idx="820">
                  <c:v>1.46245764223292E-2</c:v>
                </c:pt>
                <c:pt idx="821">
                  <c:v>1.4642411271624699E-2</c:v>
                </c:pt>
                <c:pt idx="822">
                  <c:v>1.4660246120920199E-2</c:v>
                </c:pt>
                <c:pt idx="823">
                  <c:v>1.46780809702158E-2</c:v>
                </c:pt>
                <c:pt idx="824">
                  <c:v>1.4695915819511299E-2</c:v>
                </c:pt>
                <c:pt idx="825">
                  <c:v>1.4713750668806799E-2</c:v>
                </c:pt>
                <c:pt idx="826">
                  <c:v>1.4731585518102301E-2</c:v>
                </c:pt>
                <c:pt idx="827">
                  <c:v>1.4749420367397801E-2</c:v>
                </c:pt>
                <c:pt idx="828">
                  <c:v>1.4767255216693399E-2</c:v>
                </c:pt>
                <c:pt idx="829">
                  <c:v>1.4785090065988901E-2</c:v>
                </c:pt>
                <c:pt idx="830">
                  <c:v>1.4802924915284401E-2</c:v>
                </c:pt>
                <c:pt idx="831">
                  <c:v>1.48207597645799E-2</c:v>
                </c:pt>
                <c:pt idx="832">
                  <c:v>1.4838594613875499E-2</c:v>
                </c:pt>
                <c:pt idx="833">
                  <c:v>1.4856429463171001E-2</c:v>
                </c:pt>
                <c:pt idx="834">
                  <c:v>1.48742643124665E-2</c:v>
                </c:pt>
                <c:pt idx="835">
                  <c:v>1.4892099161762E-2</c:v>
                </c:pt>
                <c:pt idx="836">
                  <c:v>1.4909934011057601E-2</c:v>
                </c:pt>
                <c:pt idx="837">
                  <c:v>1.4927768860353101E-2</c:v>
                </c:pt>
                <c:pt idx="838">
                  <c:v>1.49456037096486E-2</c:v>
                </c:pt>
                <c:pt idx="839">
                  <c:v>1.49634385589441E-2</c:v>
                </c:pt>
                <c:pt idx="840">
                  <c:v>1.4981273408239701E-2</c:v>
                </c:pt>
                <c:pt idx="841">
                  <c:v>1.49991082575352E-2</c:v>
                </c:pt>
                <c:pt idx="842">
                  <c:v>1.50169431068307E-2</c:v>
                </c:pt>
                <c:pt idx="843">
                  <c:v>1.50347779561262E-2</c:v>
                </c:pt>
                <c:pt idx="844">
                  <c:v>1.50526128054217E-2</c:v>
                </c:pt>
                <c:pt idx="845">
                  <c:v>1.50704476547173E-2</c:v>
                </c:pt>
                <c:pt idx="846">
                  <c:v>1.50882825040128E-2</c:v>
                </c:pt>
                <c:pt idx="847">
                  <c:v>1.51061173533083E-2</c:v>
                </c:pt>
                <c:pt idx="848">
                  <c:v>1.51239522026038E-2</c:v>
                </c:pt>
                <c:pt idx="849">
                  <c:v>1.51417870518994E-2</c:v>
                </c:pt>
                <c:pt idx="850">
                  <c:v>1.51596219011949E-2</c:v>
                </c:pt>
                <c:pt idx="851">
                  <c:v>1.51774567504904E-2</c:v>
                </c:pt>
                <c:pt idx="852">
                  <c:v>1.5195291599785899E-2</c:v>
                </c:pt>
                <c:pt idx="853">
                  <c:v>1.52131264490815E-2</c:v>
                </c:pt>
                <c:pt idx="854">
                  <c:v>1.5230961298377E-2</c:v>
                </c:pt>
                <c:pt idx="855">
                  <c:v>1.5248796147672499E-2</c:v>
                </c:pt>
                <c:pt idx="856">
                  <c:v>1.5266630996967999E-2</c:v>
                </c:pt>
                <c:pt idx="857">
                  <c:v>1.52844658462636E-2</c:v>
                </c:pt>
                <c:pt idx="858">
                  <c:v>1.5302300695559099E-2</c:v>
                </c:pt>
                <c:pt idx="859">
                  <c:v>1.5320135544854599E-2</c:v>
                </c:pt>
                <c:pt idx="860">
                  <c:v>1.5337970394150101E-2</c:v>
                </c:pt>
                <c:pt idx="861">
                  <c:v>1.5355805243445601E-2</c:v>
                </c:pt>
                <c:pt idx="862">
                  <c:v>1.5373640092741199E-2</c:v>
                </c:pt>
                <c:pt idx="863">
                  <c:v>1.5391474942036701E-2</c:v>
                </c:pt>
                <c:pt idx="864">
                  <c:v>1.5409309791332201E-2</c:v>
                </c:pt>
                <c:pt idx="865">
                  <c:v>1.54271446406277E-2</c:v>
                </c:pt>
                <c:pt idx="866">
                  <c:v>1.5444979489923299E-2</c:v>
                </c:pt>
                <c:pt idx="867">
                  <c:v>1.5462814339218801E-2</c:v>
                </c:pt>
                <c:pt idx="868">
                  <c:v>1.54806491885143E-2</c:v>
                </c:pt>
                <c:pt idx="869">
                  <c:v>1.54984840378098E-2</c:v>
                </c:pt>
                <c:pt idx="870">
                  <c:v>1.5516318887105401E-2</c:v>
                </c:pt>
                <c:pt idx="871">
                  <c:v>1.5534153736400901E-2</c:v>
                </c:pt>
                <c:pt idx="872">
                  <c:v>1.55519885856964E-2</c:v>
                </c:pt>
                <c:pt idx="873">
                  <c:v>1.55698234349919E-2</c:v>
                </c:pt>
                <c:pt idx="874">
                  <c:v>1.55876582842874E-2</c:v>
                </c:pt>
                <c:pt idx="875">
                  <c:v>1.5605493133583E-2</c:v>
                </c:pt>
                <c:pt idx="876">
                  <c:v>1.56233279828785E-2</c:v>
                </c:pt>
                <c:pt idx="877">
                  <c:v>1.5641162832174E-2</c:v>
                </c:pt>
                <c:pt idx="878">
                  <c:v>1.56589976814695E-2</c:v>
                </c:pt>
                <c:pt idx="879">
                  <c:v>1.56768325307651E-2</c:v>
                </c:pt>
                <c:pt idx="880">
                  <c:v>1.56946673800606E-2</c:v>
                </c:pt>
                <c:pt idx="881">
                  <c:v>1.57125022293561E-2</c:v>
                </c:pt>
                <c:pt idx="882">
                  <c:v>1.57303370786516E-2</c:v>
                </c:pt>
                <c:pt idx="883">
                  <c:v>1.57481719279472E-2</c:v>
                </c:pt>
                <c:pt idx="884">
                  <c:v>1.57660067772427E-2</c:v>
                </c:pt>
                <c:pt idx="885">
                  <c:v>1.57838416265382E-2</c:v>
                </c:pt>
                <c:pt idx="886">
                  <c:v>1.5801676475833699E-2</c:v>
                </c:pt>
                <c:pt idx="887">
                  <c:v>1.58195113251293E-2</c:v>
                </c:pt>
                <c:pt idx="888">
                  <c:v>1.58373461744248E-2</c:v>
                </c:pt>
                <c:pt idx="889">
                  <c:v>1.5855181023720299E-2</c:v>
                </c:pt>
                <c:pt idx="890">
                  <c:v>1.5873015873015799E-2</c:v>
                </c:pt>
                <c:pt idx="891">
                  <c:v>1.5890850722311299E-2</c:v>
                </c:pt>
                <c:pt idx="892">
                  <c:v>1.59086855716069E-2</c:v>
                </c:pt>
                <c:pt idx="893">
                  <c:v>1.5926520420902399E-2</c:v>
                </c:pt>
                <c:pt idx="894">
                  <c:v>1.5944355270197899E-2</c:v>
                </c:pt>
                <c:pt idx="895">
                  <c:v>1.5962190119493399E-2</c:v>
                </c:pt>
                <c:pt idx="896">
                  <c:v>1.5980024968788999E-2</c:v>
                </c:pt>
                <c:pt idx="897">
                  <c:v>1.5997859818084499E-2</c:v>
                </c:pt>
                <c:pt idx="898">
                  <c:v>1.6015694667379999E-2</c:v>
                </c:pt>
                <c:pt idx="899">
                  <c:v>1.6033529516675499E-2</c:v>
                </c:pt>
                <c:pt idx="900">
                  <c:v>1.6051364365971099E-2</c:v>
                </c:pt>
                <c:pt idx="901">
                  <c:v>1.6069199215266599E-2</c:v>
                </c:pt>
                <c:pt idx="902">
                  <c:v>1.6087034064562099E-2</c:v>
                </c:pt>
                <c:pt idx="903">
                  <c:v>1.6104868913857599E-2</c:v>
                </c:pt>
                <c:pt idx="904">
                  <c:v>1.6122703763153199E-2</c:v>
                </c:pt>
                <c:pt idx="905">
                  <c:v>1.6140538612448699E-2</c:v>
                </c:pt>
                <c:pt idx="906">
                  <c:v>1.6158373461744199E-2</c:v>
                </c:pt>
                <c:pt idx="907">
                  <c:v>1.6176208311039698E-2</c:v>
                </c:pt>
                <c:pt idx="908">
                  <c:v>1.6194043160335202E-2</c:v>
                </c:pt>
                <c:pt idx="909">
                  <c:v>1.6211878009630799E-2</c:v>
                </c:pt>
                <c:pt idx="910">
                  <c:v>1.6229712858926298E-2</c:v>
                </c:pt>
                <c:pt idx="911">
                  <c:v>1.6247547708221802E-2</c:v>
                </c:pt>
                <c:pt idx="912">
                  <c:v>1.6265382557517302E-2</c:v>
                </c:pt>
                <c:pt idx="913">
                  <c:v>1.6283217406812898E-2</c:v>
                </c:pt>
                <c:pt idx="914">
                  <c:v>1.6301052256108398E-2</c:v>
                </c:pt>
                <c:pt idx="915">
                  <c:v>1.6318887105403902E-2</c:v>
                </c:pt>
                <c:pt idx="916">
                  <c:v>1.6336721954699401E-2</c:v>
                </c:pt>
                <c:pt idx="917">
                  <c:v>1.6354556803994998E-2</c:v>
                </c:pt>
                <c:pt idx="918">
                  <c:v>1.6372391653290502E-2</c:v>
                </c:pt>
                <c:pt idx="919">
                  <c:v>1.6390226502586001E-2</c:v>
                </c:pt>
                <c:pt idx="920">
                  <c:v>1.6408061351881501E-2</c:v>
                </c:pt>
                <c:pt idx="921">
                  <c:v>1.6425896201177102E-2</c:v>
                </c:pt>
                <c:pt idx="922">
                  <c:v>1.6443731050472601E-2</c:v>
                </c:pt>
                <c:pt idx="923">
                  <c:v>1.6461565899768101E-2</c:v>
                </c:pt>
                <c:pt idx="924">
                  <c:v>1.6479400749063601E-2</c:v>
                </c:pt>
                <c:pt idx="925">
                  <c:v>1.6497235598359101E-2</c:v>
                </c:pt>
                <c:pt idx="926">
                  <c:v>1.6515070447654701E-2</c:v>
                </c:pt>
                <c:pt idx="927">
                  <c:v>1.6532905296950201E-2</c:v>
                </c:pt>
                <c:pt idx="928">
                  <c:v>1.6550740146245701E-2</c:v>
                </c:pt>
                <c:pt idx="929">
                  <c:v>1.6568574995541201E-2</c:v>
                </c:pt>
                <c:pt idx="930">
                  <c:v>1.6586409844836801E-2</c:v>
                </c:pt>
                <c:pt idx="931">
                  <c:v>1.6604244694132301E-2</c:v>
                </c:pt>
                <c:pt idx="932">
                  <c:v>1.6622079543427801E-2</c:v>
                </c:pt>
                <c:pt idx="933">
                  <c:v>1.6639914392723301E-2</c:v>
                </c:pt>
                <c:pt idx="934">
                  <c:v>1.6657749242018901E-2</c:v>
                </c:pt>
                <c:pt idx="935">
                  <c:v>1.6675584091314401E-2</c:v>
                </c:pt>
                <c:pt idx="936">
                  <c:v>1.6693418940609901E-2</c:v>
                </c:pt>
                <c:pt idx="937">
                  <c:v>1.67112537899054E-2</c:v>
                </c:pt>
                <c:pt idx="938">
                  <c:v>1.67290886392009E-2</c:v>
                </c:pt>
                <c:pt idx="939">
                  <c:v>1.6746923488496501E-2</c:v>
                </c:pt>
                <c:pt idx="940">
                  <c:v>1.6764758337792E-2</c:v>
                </c:pt>
                <c:pt idx="941">
                  <c:v>1.67825931870875E-2</c:v>
                </c:pt>
                <c:pt idx="942">
                  <c:v>1.6800428036383E-2</c:v>
                </c:pt>
                <c:pt idx="943">
                  <c:v>1.68182628856786E-2</c:v>
                </c:pt>
                <c:pt idx="944">
                  <c:v>1.68360977349741E-2</c:v>
                </c:pt>
                <c:pt idx="945">
                  <c:v>1.68539325842696E-2</c:v>
                </c:pt>
                <c:pt idx="946">
                  <c:v>1.68717674335651E-2</c:v>
                </c:pt>
                <c:pt idx="947">
                  <c:v>1.68896022828607E-2</c:v>
                </c:pt>
                <c:pt idx="948">
                  <c:v>1.69074371321562E-2</c:v>
                </c:pt>
                <c:pt idx="949">
                  <c:v>1.69252719814517E-2</c:v>
                </c:pt>
                <c:pt idx="950">
                  <c:v>1.69431068307472E-2</c:v>
                </c:pt>
                <c:pt idx="951">
                  <c:v>1.69609416800428E-2</c:v>
                </c:pt>
                <c:pt idx="952">
                  <c:v>1.69787765293383E-2</c:v>
                </c:pt>
                <c:pt idx="953">
                  <c:v>1.69966113786338E-2</c:v>
                </c:pt>
                <c:pt idx="954">
                  <c:v>1.7014446227929299E-2</c:v>
                </c:pt>
                <c:pt idx="955">
                  <c:v>1.7032281077224799E-2</c:v>
                </c:pt>
                <c:pt idx="956">
                  <c:v>1.70501159265204E-2</c:v>
                </c:pt>
                <c:pt idx="957">
                  <c:v>1.70679507758159E-2</c:v>
                </c:pt>
                <c:pt idx="958">
                  <c:v>1.7085785625111399E-2</c:v>
                </c:pt>
                <c:pt idx="959">
                  <c:v>1.7103620474406899E-2</c:v>
                </c:pt>
                <c:pt idx="960">
                  <c:v>1.71214553237025E-2</c:v>
                </c:pt>
                <c:pt idx="961">
                  <c:v>1.7139290172997999E-2</c:v>
                </c:pt>
                <c:pt idx="962">
                  <c:v>1.7157125022293499E-2</c:v>
                </c:pt>
                <c:pt idx="963">
                  <c:v>1.7174959871588999E-2</c:v>
                </c:pt>
                <c:pt idx="964">
                  <c:v>1.7192794720884599E-2</c:v>
                </c:pt>
                <c:pt idx="965">
                  <c:v>1.7210629570180099E-2</c:v>
                </c:pt>
                <c:pt idx="966">
                  <c:v>1.7228464419475599E-2</c:v>
                </c:pt>
                <c:pt idx="967">
                  <c:v>1.7246299268771099E-2</c:v>
                </c:pt>
                <c:pt idx="968">
                  <c:v>1.7264134118066699E-2</c:v>
                </c:pt>
                <c:pt idx="969">
                  <c:v>1.7281968967362199E-2</c:v>
                </c:pt>
                <c:pt idx="970">
                  <c:v>1.7299803816657699E-2</c:v>
                </c:pt>
                <c:pt idx="971">
                  <c:v>1.7317638665953199E-2</c:v>
                </c:pt>
                <c:pt idx="972">
                  <c:v>1.7335473515248698E-2</c:v>
                </c:pt>
                <c:pt idx="973">
                  <c:v>1.7353308364544299E-2</c:v>
                </c:pt>
                <c:pt idx="974">
                  <c:v>1.7371143213839799E-2</c:v>
                </c:pt>
                <c:pt idx="975">
                  <c:v>1.7388978063135298E-2</c:v>
                </c:pt>
                <c:pt idx="976">
                  <c:v>1.7406812912430802E-2</c:v>
                </c:pt>
                <c:pt idx="977">
                  <c:v>1.7424647761726399E-2</c:v>
                </c:pt>
                <c:pt idx="978">
                  <c:v>1.7442482611021898E-2</c:v>
                </c:pt>
                <c:pt idx="979">
                  <c:v>1.7460317460317398E-2</c:v>
                </c:pt>
                <c:pt idx="980">
                  <c:v>1.7478152309612902E-2</c:v>
                </c:pt>
                <c:pt idx="981">
                  <c:v>1.7495987158908499E-2</c:v>
                </c:pt>
                <c:pt idx="982">
                  <c:v>1.7513822008203998E-2</c:v>
                </c:pt>
                <c:pt idx="983">
                  <c:v>1.7531656857499502E-2</c:v>
                </c:pt>
                <c:pt idx="984">
                  <c:v>1.7549491706795001E-2</c:v>
                </c:pt>
                <c:pt idx="985">
                  <c:v>1.7567326556090598E-2</c:v>
                </c:pt>
                <c:pt idx="986">
                  <c:v>1.7585161405386102E-2</c:v>
                </c:pt>
                <c:pt idx="987">
                  <c:v>1.7602996254681601E-2</c:v>
                </c:pt>
                <c:pt idx="988">
                  <c:v>1.7620831103977101E-2</c:v>
                </c:pt>
                <c:pt idx="989">
                  <c:v>1.7638665953272601E-2</c:v>
                </c:pt>
                <c:pt idx="990">
                  <c:v>1.7656500802568201E-2</c:v>
                </c:pt>
                <c:pt idx="991">
                  <c:v>1.7674335651863701E-2</c:v>
                </c:pt>
                <c:pt idx="992">
                  <c:v>1.7692170501159201E-2</c:v>
                </c:pt>
                <c:pt idx="993">
                  <c:v>1.7710005350454701E-2</c:v>
                </c:pt>
                <c:pt idx="994">
                  <c:v>1.7727840199750301E-2</c:v>
                </c:pt>
                <c:pt idx="995">
                  <c:v>1.7745675049045801E-2</c:v>
                </c:pt>
                <c:pt idx="996">
                  <c:v>1.7763509898341301E-2</c:v>
                </c:pt>
                <c:pt idx="997">
                  <c:v>1.7781344747636801E-2</c:v>
                </c:pt>
                <c:pt idx="998">
                  <c:v>1.7799179596932401E-2</c:v>
                </c:pt>
                <c:pt idx="999">
                  <c:v>1.7817014446227901E-2</c:v>
                </c:pt>
                <c:pt idx="1000">
                  <c:v>1.7834849295523401E-2</c:v>
                </c:pt>
                <c:pt idx="1001">
                  <c:v>1.7852684144818901E-2</c:v>
                </c:pt>
                <c:pt idx="1002">
                  <c:v>1.7870518994114501E-2</c:v>
                </c:pt>
                <c:pt idx="1003">
                  <c:v>1.7888353843410001E-2</c:v>
                </c:pt>
                <c:pt idx="1004">
                  <c:v>1.7906188692705501E-2</c:v>
                </c:pt>
                <c:pt idx="1005">
                  <c:v>1.7924023542001E-2</c:v>
                </c:pt>
                <c:pt idx="1006">
                  <c:v>1.79418583912965E-2</c:v>
                </c:pt>
                <c:pt idx="1007">
                  <c:v>1.7959693240592101E-2</c:v>
                </c:pt>
                <c:pt idx="1008">
                  <c:v>1.79775280898876E-2</c:v>
                </c:pt>
                <c:pt idx="1009">
                  <c:v>1.79953629391831E-2</c:v>
                </c:pt>
                <c:pt idx="1010">
                  <c:v>1.80131977884786E-2</c:v>
                </c:pt>
                <c:pt idx="1011">
                  <c:v>1.80310326377742E-2</c:v>
                </c:pt>
                <c:pt idx="1012">
                  <c:v>1.80488674870697E-2</c:v>
                </c:pt>
                <c:pt idx="1013">
                  <c:v>1.80667023363652E-2</c:v>
                </c:pt>
                <c:pt idx="1014">
                  <c:v>1.80845371856607E-2</c:v>
                </c:pt>
                <c:pt idx="1015">
                  <c:v>1.81023720349563E-2</c:v>
                </c:pt>
                <c:pt idx="1016">
                  <c:v>1.81202068842518E-2</c:v>
                </c:pt>
                <c:pt idx="1017">
                  <c:v>1.81380417335473E-2</c:v>
                </c:pt>
                <c:pt idx="1018">
                  <c:v>1.81558765828428E-2</c:v>
                </c:pt>
                <c:pt idx="1019">
                  <c:v>1.81737114321384E-2</c:v>
                </c:pt>
                <c:pt idx="1020">
                  <c:v>1.81915462814339E-2</c:v>
                </c:pt>
                <c:pt idx="1021">
                  <c:v>1.82093811307294E-2</c:v>
                </c:pt>
                <c:pt idx="1022">
                  <c:v>1.82272159800249E-2</c:v>
                </c:pt>
                <c:pt idx="1023">
                  <c:v>1.8245050829320399E-2</c:v>
                </c:pt>
                <c:pt idx="1024">
                  <c:v>1.8262885678616E-2</c:v>
                </c:pt>
                <c:pt idx="1025">
                  <c:v>1.82807205279115E-2</c:v>
                </c:pt>
                <c:pt idx="1026">
                  <c:v>1.8298555377206999E-2</c:v>
                </c:pt>
                <c:pt idx="1027">
                  <c:v>1.8316390226502499E-2</c:v>
                </c:pt>
                <c:pt idx="1028">
                  <c:v>1.83342250757981E-2</c:v>
                </c:pt>
                <c:pt idx="1029">
                  <c:v>1.8352059925093599E-2</c:v>
                </c:pt>
                <c:pt idx="1030">
                  <c:v>1.8369894774389099E-2</c:v>
                </c:pt>
                <c:pt idx="1031">
                  <c:v>1.8387729623684599E-2</c:v>
                </c:pt>
                <c:pt idx="1032">
                  <c:v>1.8405564472980199E-2</c:v>
                </c:pt>
                <c:pt idx="1033">
                  <c:v>1.8423399322275699E-2</c:v>
                </c:pt>
                <c:pt idx="1034">
                  <c:v>1.8441234171571199E-2</c:v>
                </c:pt>
                <c:pt idx="1035">
                  <c:v>1.8459069020866699E-2</c:v>
                </c:pt>
                <c:pt idx="1036">
                  <c:v>1.8476903870162199E-2</c:v>
                </c:pt>
                <c:pt idx="1037">
                  <c:v>1.8494738719457799E-2</c:v>
                </c:pt>
                <c:pt idx="1038">
                  <c:v>1.8512573568753299E-2</c:v>
                </c:pt>
                <c:pt idx="1039">
                  <c:v>1.8530408418048799E-2</c:v>
                </c:pt>
                <c:pt idx="1040">
                  <c:v>1.8548243267344298E-2</c:v>
                </c:pt>
                <c:pt idx="1041">
                  <c:v>1.8566078116639899E-2</c:v>
                </c:pt>
                <c:pt idx="1042">
                  <c:v>1.8583912965935399E-2</c:v>
                </c:pt>
                <c:pt idx="1043">
                  <c:v>1.8601747815230898E-2</c:v>
                </c:pt>
                <c:pt idx="1044">
                  <c:v>1.8619582664526398E-2</c:v>
                </c:pt>
                <c:pt idx="1045">
                  <c:v>1.8637417513821999E-2</c:v>
                </c:pt>
                <c:pt idx="1046">
                  <c:v>1.8655252363117499E-2</c:v>
                </c:pt>
                <c:pt idx="1047">
                  <c:v>1.8673087212412998E-2</c:v>
                </c:pt>
                <c:pt idx="1048">
                  <c:v>1.8690922061708502E-2</c:v>
                </c:pt>
                <c:pt idx="1049">
                  <c:v>1.8708756911004099E-2</c:v>
                </c:pt>
                <c:pt idx="1050">
                  <c:v>1.8726591760299598E-2</c:v>
                </c:pt>
                <c:pt idx="1051">
                  <c:v>1.8744426609595102E-2</c:v>
                </c:pt>
                <c:pt idx="1052">
                  <c:v>1.8762261458890601E-2</c:v>
                </c:pt>
                <c:pt idx="1053">
                  <c:v>1.8780096308186101E-2</c:v>
                </c:pt>
                <c:pt idx="1054">
                  <c:v>1.8797931157481702E-2</c:v>
                </c:pt>
                <c:pt idx="1055">
                  <c:v>1.8815766006777201E-2</c:v>
                </c:pt>
                <c:pt idx="1056">
                  <c:v>1.8833600856072701E-2</c:v>
                </c:pt>
                <c:pt idx="1057">
                  <c:v>1.8851435705368201E-2</c:v>
                </c:pt>
                <c:pt idx="1058">
                  <c:v>1.8869270554663801E-2</c:v>
                </c:pt>
                <c:pt idx="1059">
                  <c:v>1.8887105403959301E-2</c:v>
                </c:pt>
                <c:pt idx="1060">
                  <c:v>1.8904940253254801E-2</c:v>
                </c:pt>
                <c:pt idx="1061">
                  <c:v>1.8922775102550301E-2</c:v>
                </c:pt>
                <c:pt idx="1062">
                  <c:v>1.8940609951845901E-2</c:v>
                </c:pt>
                <c:pt idx="1063">
                  <c:v>1.8958444801141401E-2</c:v>
                </c:pt>
                <c:pt idx="1064">
                  <c:v>1.8976279650436901E-2</c:v>
                </c:pt>
                <c:pt idx="1065">
                  <c:v>1.8994114499732401E-2</c:v>
                </c:pt>
                <c:pt idx="1066">
                  <c:v>1.9011949349028001E-2</c:v>
                </c:pt>
                <c:pt idx="1067">
                  <c:v>1.9029784198323501E-2</c:v>
                </c:pt>
                <c:pt idx="1068">
                  <c:v>1.9047619047619001E-2</c:v>
                </c:pt>
                <c:pt idx="1069">
                  <c:v>1.9065453896914501E-2</c:v>
                </c:pt>
                <c:pt idx="1070">
                  <c:v>1.908328874621E-2</c:v>
                </c:pt>
                <c:pt idx="1071">
                  <c:v>1.9101123595505601E-2</c:v>
                </c:pt>
                <c:pt idx="1072">
                  <c:v>1.9118958444801101E-2</c:v>
                </c:pt>
                <c:pt idx="1073">
                  <c:v>1.91367932940966E-2</c:v>
                </c:pt>
                <c:pt idx="1074">
                  <c:v>1.91546281433921E-2</c:v>
                </c:pt>
                <c:pt idx="1075">
                  <c:v>1.9172462992687701E-2</c:v>
                </c:pt>
                <c:pt idx="1076">
                  <c:v>1.91902978419832E-2</c:v>
                </c:pt>
                <c:pt idx="1077">
                  <c:v>1.92081326912787E-2</c:v>
                </c:pt>
                <c:pt idx="1078">
                  <c:v>1.92259675405742E-2</c:v>
                </c:pt>
                <c:pt idx="1079">
                  <c:v>1.92438023898698E-2</c:v>
                </c:pt>
                <c:pt idx="1080">
                  <c:v>1.92616372391653E-2</c:v>
                </c:pt>
                <c:pt idx="1081">
                  <c:v>1.92794720884608E-2</c:v>
                </c:pt>
                <c:pt idx="1082">
                  <c:v>1.92973069377563E-2</c:v>
                </c:pt>
                <c:pt idx="1083">
                  <c:v>1.93151417870519E-2</c:v>
                </c:pt>
                <c:pt idx="1084">
                  <c:v>1.93329766363474E-2</c:v>
                </c:pt>
                <c:pt idx="1085">
                  <c:v>1.93508114856429E-2</c:v>
                </c:pt>
                <c:pt idx="1086">
                  <c:v>1.93686463349384E-2</c:v>
                </c:pt>
                <c:pt idx="1087">
                  <c:v>1.93864811842339E-2</c:v>
                </c:pt>
                <c:pt idx="1088">
                  <c:v>1.94043160335295E-2</c:v>
                </c:pt>
                <c:pt idx="1089">
                  <c:v>1.9422150882825E-2</c:v>
                </c:pt>
                <c:pt idx="1090">
                  <c:v>1.94399857321205E-2</c:v>
                </c:pt>
                <c:pt idx="1091">
                  <c:v>1.9457820581415999E-2</c:v>
                </c:pt>
                <c:pt idx="1092">
                  <c:v>1.94756554307116E-2</c:v>
                </c:pt>
                <c:pt idx="1093">
                  <c:v>1.94934902800071E-2</c:v>
                </c:pt>
                <c:pt idx="1094">
                  <c:v>1.9511325129302599E-2</c:v>
                </c:pt>
                <c:pt idx="1095">
                  <c:v>1.9529159978598099E-2</c:v>
                </c:pt>
                <c:pt idx="1096">
                  <c:v>1.95469948278937E-2</c:v>
                </c:pt>
                <c:pt idx="1097">
                  <c:v>1.9564829677189199E-2</c:v>
                </c:pt>
                <c:pt idx="1098">
                  <c:v>1.9582664526484699E-2</c:v>
                </c:pt>
                <c:pt idx="1099">
                  <c:v>1.9600499375780199E-2</c:v>
                </c:pt>
                <c:pt idx="1100">
                  <c:v>1.9618334225075799E-2</c:v>
                </c:pt>
                <c:pt idx="1101">
                  <c:v>1.9636169074371299E-2</c:v>
                </c:pt>
                <c:pt idx="1102">
                  <c:v>1.9654003923666799E-2</c:v>
                </c:pt>
                <c:pt idx="1103">
                  <c:v>1.9671838772962299E-2</c:v>
                </c:pt>
                <c:pt idx="1104">
                  <c:v>1.9689673622257799E-2</c:v>
                </c:pt>
                <c:pt idx="1105">
                  <c:v>1.9707508471553399E-2</c:v>
                </c:pt>
                <c:pt idx="1106">
                  <c:v>1.9725343320848899E-2</c:v>
                </c:pt>
                <c:pt idx="1107">
                  <c:v>1.9743178170144399E-2</c:v>
                </c:pt>
                <c:pt idx="1108">
                  <c:v>1.9761013019439898E-2</c:v>
                </c:pt>
                <c:pt idx="1109">
                  <c:v>1.9778847868735499E-2</c:v>
                </c:pt>
                <c:pt idx="1110">
                  <c:v>1.9796682718030999E-2</c:v>
                </c:pt>
                <c:pt idx="1111">
                  <c:v>1.9814517567326499E-2</c:v>
                </c:pt>
                <c:pt idx="1112">
                  <c:v>1.9832352416621998E-2</c:v>
                </c:pt>
                <c:pt idx="1113">
                  <c:v>1.9850187265917599E-2</c:v>
                </c:pt>
                <c:pt idx="1114">
                  <c:v>1.9868022115213099E-2</c:v>
                </c:pt>
                <c:pt idx="1115">
                  <c:v>1.9885856964508598E-2</c:v>
                </c:pt>
                <c:pt idx="1116">
                  <c:v>1.9903691813804102E-2</c:v>
                </c:pt>
                <c:pt idx="1117">
                  <c:v>1.9921526663099601E-2</c:v>
                </c:pt>
                <c:pt idx="1118">
                  <c:v>1.9939361512395198E-2</c:v>
                </c:pt>
                <c:pt idx="1119">
                  <c:v>1.9957196361690702E-2</c:v>
                </c:pt>
                <c:pt idx="1120">
                  <c:v>1.9975031210986201E-2</c:v>
                </c:pt>
                <c:pt idx="1121">
                  <c:v>1.9992866060281701E-2</c:v>
                </c:pt>
                <c:pt idx="1122">
                  <c:v>2.0010700909577302E-2</c:v>
                </c:pt>
                <c:pt idx="1123">
                  <c:v>2.0028535758872801E-2</c:v>
                </c:pt>
                <c:pt idx="1124">
                  <c:v>2.0046370608168301E-2</c:v>
                </c:pt>
                <c:pt idx="1125">
                  <c:v>2.0064205457463801E-2</c:v>
                </c:pt>
                <c:pt idx="1126">
                  <c:v>2.0082040306759402E-2</c:v>
                </c:pt>
                <c:pt idx="1127">
                  <c:v>2.0099875156054901E-2</c:v>
                </c:pt>
                <c:pt idx="1128">
                  <c:v>2.0117710005350401E-2</c:v>
                </c:pt>
                <c:pt idx="1129">
                  <c:v>2.0135544854645901E-2</c:v>
                </c:pt>
                <c:pt idx="1130">
                  <c:v>2.0153379703941501E-2</c:v>
                </c:pt>
                <c:pt idx="1131">
                  <c:v>2.0171214553237001E-2</c:v>
                </c:pt>
                <c:pt idx="1132">
                  <c:v>2.0189049402532501E-2</c:v>
                </c:pt>
                <c:pt idx="1133">
                  <c:v>2.0206884251828001E-2</c:v>
                </c:pt>
                <c:pt idx="1134">
                  <c:v>2.0224719101123501E-2</c:v>
                </c:pt>
                <c:pt idx="1135">
                  <c:v>2.0242553950419101E-2</c:v>
                </c:pt>
                <c:pt idx="1136">
                  <c:v>2.0260388799714601E-2</c:v>
                </c:pt>
                <c:pt idx="1137">
                  <c:v>2.0278223649010101E-2</c:v>
                </c:pt>
                <c:pt idx="1138">
                  <c:v>2.02960584983056E-2</c:v>
                </c:pt>
                <c:pt idx="1139">
                  <c:v>2.0313893347601201E-2</c:v>
                </c:pt>
                <c:pt idx="1140">
                  <c:v>2.0331728196896701E-2</c:v>
                </c:pt>
                <c:pt idx="1141">
                  <c:v>2.03495630461922E-2</c:v>
                </c:pt>
                <c:pt idx="1142">
                  <c:v>2.03673978954877E-2</c:v>
                </c:pt>
                <c:pt idx="1143">
                  <c:v>2.0385232744783301E-2</c:v>
                </c:pt>
                <c:pt idx="1144">
                  <c:v>2.04030675940788E-2</c:v>
                </c:pt>
                <c:pt idx="1145">
                  <c:v>2.04209024433743E-2</c:v>
                </c:pt>
                <c:pt idx="1146">
                  <c:v>2.04387372926698E-2</c:v>
                </c:pt>
                <c:pt idx="1147">
                  <c:v>2.04565721419654E-2</c:v>
                </c:pt>
                <c:pt idx="1148">
                  <c:v>2.04744069912609E-2</c:v>
                </c:pt>
                <c:pt idx="1149">
                  <c:v>2.04922418405564E-2</c:v>
                </c:pt>
                <c:pt idx="1150">
                  <c:v>2.05100766898519E-2</c:v>
                </c:pt>
                <c:pt idx="1151">
                  <c:v>2.05279115391474E-2</c:v>
                </c:pt>
                <c:pt idx="1152">
                  <c:v>2.0545746388443E-2</c:v>
                </c:pt>
                <c:pt idx="1153">
                  <c:v>2.05635812377385E-2</c:v>
                </c:pt>
                <c:pt idx="1154">
                  <c:v>2.0581416087034E-2</c:v>
                </c:pt>
                <c:pt idx="1155">
                  <c:v>2.05992509363295E-2</c:v>
                </c:pt>
                <c:pt idx="1156">
                  <c:v>2.06170857856251E-2</c:v>
                </c:pt>
                <c:pt idx="1157">
                  <c:v>2.06349206349206E-2</c:v>
                </c:pt>
                <c:pt idx="1158">
                  <c:v>2.06527554842161E-2</c:v>
                </c:pt>
                <c:pt idx="1159">
                  <c:v>2.0670590333511599E-2</c:v>
                </c:pt>
                <c:pt idx="1160">
                  <c:v>2.06884251828072E-2</c:v>
                </c:pt>
                <c:pt idx="1161">
                  <c:v>2.07062600321027E-2</c:v>
                </c:pt>
                <c:pt idx="1162">
                  <c:v>2.0724094881398199E-2</c:v>
                </c:pt>
                <c:pt idx="1163">
                  <c:v>2.0741929730693699E-2</c:v>
                </c:pt>
                <c:pt idx="1164">
                  <c:v>2.07597645799893E-2</c:v>
                </c:pt>
                <c:pt idx="1165">
                  <c:v>2.0777599429284799E-2</c:v>
                </c:pt>
                <c:pt idx="1166">
                  <c:v>2.0795434278580299E-2</c:v>
                </c:pt>
                <c:pt idx="1167">
                  <c:v>2.0813269127875799E-2</c:v>
                </c:pt>
                <c:pt idx="1168">
                  <c:v>2.0831103977171299E-2</c:v>
                </c:pt>
                <c:pt idx="1169">
                  <c:v>2.0848938826466899E-2</c:v>
                </c:pt>
                <c:pt idx="1170">
                  <c:v>2.0866773675762399E-2</c:v>
                </c:pt>
                <c:pt idx="1171">
                  <c:v>2.0884608525057899E-2</c:v>
                </c:pt>
                <c:pt idx="1172">
                  <c:v>2.0902443374353399E-2</c:v>
                </c:pt>
                <c:pt idx="1173">
                  <c:v>2.0920278223648999E-2</c:v>
                </c:pt>
                <c:pt idx="1174">
                  <c:v>2.0938113072944499E-2</c:v>
                </c:pt>
                <c:pt idx="1175">
                  <c:v>2.0955947922239999E-2</c:v>
                </c:pt>
                <c:pt idx="1176">
                  <c:v>2.0973782771535499E-2</c:v>
                </c:pt>
                <c:pt idx="1177">
                  <c:v>2.0991617620831099E-2</c:v>
                </c:pt>
                <c:pt idx="1178">
                  <c:v>2.1009452470126599E-2</c:v>
                </c:pt>
                <c:pt idx="1179">
                  <c:v>2.1027287319422099E-2</c:v>
                </c:pt>
                <c:pt idx="1180">
                  <c:v>2.1045122168717598E-2</c:v>
                </c:pt>
                <c:pt idx="1181">
                  <c:v>2.1062957018013199E-2</c:v>
                </c:pt>
                <c:pt idx="1182">
                  <c:v>2.1080791867308699E-2</c:v>
                </c:pt>
                <c:pt idx="1183">
                  <c:v>2.1098626716604198E-2</c:v>
                </c:pt>
                <c:pt idx="1184">
                  <c:v>2.1116461565899702E-2</c:v>
                </c:pt>
                <c:pt idx="1185">
                  <c:v>2.1134296415195201E-2</c:v>
                </c:pt>
                <c:pt idx="1186">
                  <c:v>2.1152131264490798E-2</c:v>
                </c:pt>
                <c:pt idx="1187">
                  <c:v>2.1169966113786302E-2</c:v>
                </c:pt>
                <c:pt idx="1188">
                  <c:v>2.1187800963081801E-2</c:v>
                </c:pt>
                <c:pt idx="1189">
                  <c:v>2.1205635812377301E-2</c:v>
                </c:pt>
                <c:pt idx="1190">
                  <c:v>2.1223470661672902E-2</c:v>
                </c:pt>
                <c:pt idx="1191">
                  <c:v>2.1241305510968402E-2</c:v>
                </c:pt>
                <c:pt idx="1192">
                  <c:v>2.1259140360263901E-2</c:v>
                </c:pt>
                <c:pt idx="1193">
                  <c:v>2.1276975209559401E-2</c:v>
                </c:pt>
                <c:pt idx="1194">
                  <c:v>2.1294810058855002E-2</c:v>
                </c:pt>
                <c:pt idx="1195">
                  <c:v>2.1312644908150501E-2</c:v>
                </c:pt>
                <c:pt idx="1196">
                  <c:v>2.1330479757446001E-2</c:v>
                </c:pt>
                <c:pt idx="1197">
                  <c:v>2.1348314606741501E-2</c:v>
                </c:pt>
                <c:pt idx="1198">
                  <c:v>2.1366149456037001E-2</c:v>
                </c:pt>
                <c:pt idx="1199">
                  <c:v>2.1383984305332601E-2</c:v>
                </c:pt>
                <c:pt idx="1200">
                  <c:v>2.1401819154628101E-2</c:v>
                </c:pt>
                <c:pt idx="1201">
                  <c:v>2.1419654003923601E-2</c:v>
                </c:pt>
                <c:pt idx="1202">
                  <c:v>2.1437488853219101E-2</c:v>
                </c:pt>
                <c:pt idx="1203">
                  <c:v>2.1455323702514701E-2</c:v>
                </c:pt>
                <c:pt idx="1204">
                  <c:v>2.1473158551810201E-2</c:v>
                </c:pt>
                <c:pt idx="1205">
                  <c:v>2.1490993401105701E-2</c:v>
                </c:pt>
                <c:pt idx="1206">
                  <c:v>2.15088282504012E-2</c:v>
                </c:pt>
                <c:pt idx="1207">
                  <c:v>2.1526663099696801E-2</c:v>
                </c:pt>
                <c:pt idx="1208">
                  <c:v>2.1544497948992301E-2</c:v>
                </c:pt>
                <c:pt idx="1209">
                  <c:v>2.15623327982878E-2</c:v>
                </c:pt>
                <c:pt idx="1210">
                  <c:v>2.15801676475833E-2</c:v>
                </c:pt>
                <c:pt idx="1211">
                  <c:v>2.1598002496878901E-2</c:v>
                </c:pt>
                <c:pt idx="1212">
                  <c:v>2.1615837346174401E-2</c:v>
                </c:pt>
                <c:pt idx="1213">
                  <c:v>2.16336721954699E-2</c:v>
                </c:pt>
                <c:pt idx="1214">
                  <c:v>2.16515070447654E-2</c:v>
                </c:pt>
                <c:pt idx="1215">
                  <c:v>2.16693418940609E-2</c:v>
                </c:pt>
                <c:pt idx="1216">
                  <c:v>2.16871767433565E-2</c:v>
                </c:pt>
                <c:pt idx="1217">
                  <c:v>2.1705011592652E-2</c:v>
                </c:pt>
                <c:pt idx="1218">
                  <c:v>2.17228464419475E-2</c:v>
                </c:pt>
                <c:pt idx="1219">
                  <c:v>2.1740681291243E-2</c:v>
                </c:pt>
                <c:pt idx="1220">
                  <c:v>2.17585161405386E-2</c:v>
                </c:pt>
                <c:pt idx="1221">
                  <c:v>2.17763509898341E-2</c:v>
                </c:pt>
                <c:pt idx="1222">
                  <c:v>2.17941858391296E-2</c:v>
                </c:pt>
                <c:pt idx="1223">
                  <c:v>2.18120206884251E-2</c:v>
                </c:pt>
                <c:pt idx="1224">
                  <c:v>2.18298555377207E-2</c:v>
                </c:pt>
                <c:pt idx="1225">
                  <c:v>2.18476903870162E-2</c:v>
                </c:pt>
                <c:pt idx="1226">
                  <c:v>2.18655252363117E-2</c:v>
                </c:pt>
                <c:pt idx="1227">
                  <c:v>2.1883360085607199E-2</c:v>
                </c:pt>
                <c:pt idx="1228">
                  <c:v>2.19011949349028E-2</c:v>
                </c:pt>
                <c:pt idx="1229">
                  <c:v>2.19190297841983E-2</c:v>
                </c:pt>
                <c:pt idx="1230">
                  <c:v>2.1936864633493799E-2</c:v>
                </c:pt>
                <c:pt idx="1231">
                  <c:v>2.1954699482789299E-2</c:v>
                </c:pt>
                <c:pt idx="1232">
                  <c:v>2.1972534332084799E-2</c:v>
                </c:pt>
                <c:pt idx="1233">
                  <c:v>2.1990369181380399E-2</c:v>
                </c:pt>
                <c:pt idx="1234">
                  <c:v>2.2008204030675899E-2</c:v>
                </c:pt>
                <c:pt idx="1235">
                  <c:v>2.2026038879971399E-2</c:v>
                </c:pt>
                <c:pt idx="1236">
                  <c:v>2.2043873729266899E-2</c:v>
                </c:pt>
                <c:pt idx="1237">
                  <c:v>2.2061708578562499E-2</c:v>
                </c:pt>
                <c:pt idx="1238">
                  <c:v>2.2079543427857999E-2</c:v>
                </c:pt>
                <c:pt idx="1239">
                  <c:v>2.2097378277153499E-2</c:v>
                </c:pt>
                <c:pt idx="1240">
                  <c:v>2.2115213126448999E-2</c:v>
                </c:pt>
                <c:pt idx="1241">
                  <c:v>2.2133047975744599E-2</c:v>
                </c:pt>
                <c:pt idx="1242">
                  <c:v>2.2150882825040099E-2</c:v>
                </c:pt>
                <c:pt idx="1243">
                  <c:v>2.2168717674335599E-2</c:v>
                </c:pt>
                <c:pt idx="1244">
                  <c:v>2.2186552523631099E-2</c:v>
                </c:pt>
                <c:pt idx="1245">
                  <c:v>2.2204387372926699E-2</c:v>
                </c:pt>
                <c:pt idx="1246">
                  <c:v>2.2222222222222199E-2</c:v>
                </c:pt>
                <c:pt idx="1247">
                  <c:v>2.2240057071517699E-2</c:v>
                </c:pt>
                <c:pt idx="1248">
                  <c:v>2.2257891920813198E-2</c:v>
                </c:pt>
                <c:pt idx="1249">
                  <c:v>2.2275726770108702E-2</c:v>
                </c:pt>
                <c:pt idx="1250">
                  <c:v>2.2293561619404299E-2</c:v>
                </c:pt>
                <c:pt idx="1251">
                  <c:v>2.2311396468699798E-2</c:v>
                </c:pt>
                <c:pt idx="1252">
                  <c:v>2.2329231317995302E-2</c:v>
                </c:pt>
                <c:pt idx="1253">
                  <c:v>2.2347066167290802E-2</c:v>
                </c:pt>
                <c:pt idx="1254">
                  <c:v>2.2364901016586398E-2</c:v>
                </c:pt>
                <c:pt idx="1255">
                  <c:v>2.2382735865881902E-2</c:v>
                </c:pt>
                <c:pt idx="1256">
                  <c:v>2.2400570715177402E-2</c:v>
                </c:pt>
                <c:pt idx="1257">
                  <c:v>2.2418405564472901E-2</c:v>
                </c:pt>
                <c:pt idx="1258">
                  <c:v>2.2436240413768498E-2</c:v>
                </c:pt>
                <c:pt idx="1259">
                  <c:v>2.2454075263064002E-2</c:v>
                </c:pt>
                <c:pt idx="1260">
                  <c:v>2.2471910112359501E-2</c:v>
                </c:pt>
                <c:pt idx="1261">
                  <c:v>2.2489744961655001E-2</c:v>
                </c:pt>
                <c:pt idx="1262">
                  <c:v>2.2507579810950501E-2</c:v>
                </c:pt>
                <c:pt idx="1263">
                  <c:v>2.2525414660246101E-2</c:v>
                </c:pt>
                <c:pt idx="1264">
                  <c:v>2.2543249509541601E-2</c:v>
                </c:pt>
                <c:pt idx="1265">
                  <c:v>2.2561084358837101E-2</c:v>
                </c:pt>
                <c:pt idx="1266">
                  <c:v>2.2578919208132601E-2</c:v>
                </c:pt>
                <c:pt idx="1267">
                  <c:v>2.2596754057428201E-2</c:v>
                </c:pt>
                <c:pt idx="1268">
                  <c:v>2.2614588906723701E-2</c:v>
                </c:pt>
                <c:pt idx="1269">
                  <c:v>2.2632423756019201E-2</c:v>
                </c:pt>
                <c:pt idx="1270">
                  <c:v>2.2650258605314701E-2</c:v>
                </c:pt>
                <c:pt idx="1271">
                  <c:v>2.2668093454610301E-2</c:v>
                </c:pt>
                <c:pt idx="1272">
                  <c:v>2.2685928303905801E-2</c:v>
                </c:pt>
                <c:pt idx="1273">
                  <c:v>2.2703763153201301E-2</c:v>
                </c:pt>
                <c:pt idx="1274">
                  <c:v>2.27215980024968E-2</c:v>
                </c:pt>
                <c:pt idx="1275">
                  <c:v>2.2739432851792401E-2</c:v>
                </c:pt>
                <c:pt idx="1276">
                  <c:v>2.2757267701087901E-2</c:v>
                </c:pt>
                <c:pt idx="1277">
                  <c:v>2.2775102550383401E-2</c:v>
                </c:pt>
                <c:pt idx="1278">
                  <c:v>2.27929373996789E-2</c:v>
                </c:pt>
                <c:pt idx="1279">
                  <c:v>2.28107722489744E-2</c:v>
                </c:pt>
                <c:pt idx="1280">
                  <c:v>2.2828607098270001E-2</c:v>
                </c:pt>
                <c:pt idx="1281">
                  <c:v>2.28464419475655E-2</c:v>
                </c:pt>
                <c:pt idx="1282">
                  <c:v>2.2864276796861E-2</c:v>
                </c:pt>
                <c:pt idx="1283">
                  <c:v>2.28821116461565E-2</c:v>
                </c:pt>
                <c:pt idx="1284">
                  <c:v>2.28999464954521E-2</c:v>
                </c:pt>
                <c:pt idx="1285">
                  <c:v>2.29177813447476E-2</c:v>
                </c:pt>
                <c:pt idx="1286">
                  <c:v>2.29356161940431E-2</c:v>
                </c:pt>
                <c:pt idx="1287">
                  <c:v>2.29534510433386E-2</c:v>
                </c:pt>
                <c:pt idx="1288">
                  <c:v>2.29712858926342E-2</c:v>
                </c:pt>
                <c:pt idx="1289">
                  <c:v>2.29891207419297E-2</c:v>
                </c:pt>
                <c:pt idx="1290">
                  <c:v>2.30069555912252E-2</c:v>
                </c:pt>
                <c:pt idx="1291">
                  <c:v>2.30247904405207E-2</c:v>
                </c:pt>
                <c:pt idx="1292">
                  <c:v>2.30426252898163E-2</c:v>
                </c:pt>
                <c:pt idx="1293">
                  <c:v>2.30604601391118E-2</c:v>
                </c:pt>
                <c:pt idx="1294">
                  <c:v>2.30782949884073E-2</c:v>
                </c:pt>
                <c:pt idx="1295">
                  <c:v>2.3096129837702799E-2</c:v>
                </c:pt>
                <c:pt idx="1296">
                  <c:v>2.3113964686998299E-2</c:v>
                </c:pt>
                <c:pt idx="1297">
                  <c:v>2.31317995362939E-2</c:v>
                </c:pt>
                <c:pt idx="1298">
                  <c:v>2.3149634385589399E-2</c:v>
                </c:pt>
                <c:pt idx="1299">
                  <c:v>2.3167469234884899E-2</c:v>
                </c:pt>
                <c:pt idx="1300">
                  <c:v>2.3185304084180399E-2</c:v>
                </c:pt>
                <c:pt idx="1301">
                  <c:v>2.3203138933476E-2</c:v>
                </c:pt>
                <c:pt idx="1302">
                  <c:v>2.3220973782771499E-2</c:v>
                </c:pt>
                <c:pt idx="1303">
                  <c:v>2.3238808632066999E-2</c:v>
                </c:pt>
                <c:pt idx="1304">
                  <c:v>2.3256643481362499E-2</c:v>
                </c:pt>
                <c:pt idx="1305">
                  <c:v>2.3274478330658099E-2</c:v>
                </c:pt>
                <c:pt idx="1306">
                  <c:v>2.3292313179953599E-2</c:v>
                </c:pt>
                <c:pt idx="1307">
                  <c:v>2.3310148029249099E-2</c:v>
                </c:pt>
                <c:pt idx="1308">
                  <c:v>2.3327982878544599E-2</c:v>
                </c:pt>
                <c:pt idx="1309">
                  <c:v>2.3345817727840199E-2</c:v>
                </c:pt>
                <c:pt idx="1310">
                  <c:v>2.3363652577135699E-2</c:v>
                </c:pt>
                <c:pt idx="1311">
                  <c:v>2.3381487426431199E-2</c:v>
                </c:pt>
                <c:pt idx="1312">
                  <c:v>2.3399322275726699E-2</c:v>
                </c:pt>
                <c:pt idx="1313">
                  <c:v>2.3417157125022198E-2</c:v>
                </c:pt>
                <c:pt idx="1314">
                  <c:v>2.3434991974317799E-2</c:v>
                </c:pt>
                <c:pt idx="1315">
                  <c:v>2.3452826823613299E-2</c:v>
                </c:pt>
                <c:pt idx="1316">
                  <c:v>2.3470661672908798E-2</c:v>
                </c:pt>
                <c:pt idx="1317">
                  <c:v>2.3488496522204302E-2</c:v>
                </c:pt>
                <c:pt idx="1318">
                  <c:v>2.3506331371499899E-2</c:v>
                </c:pt>
                <c:pt idx="1319">
                  <c:v>2.3524166220795398E-2</c:v>
                </c:pt>
                <c:pt idx="1320">
                  <c:v>2.3542001070090902E-2</c:v>
                </c:pt>
                <c:pt idx="1321">
                  <c:v>2.3559835919386402E-2</c:v>
                </c:pt>
                <c:pt idx="1322">
                  <c:v>2.3577670768681998E-2</c:v>
                </c:pt>
                <c:pt idx="1323">
                  <c:v>2.3595505617977498E-2</c:v>
                </c:pt>
                <c:pt idx="1324">
                  <c:v>2.3613340467273002E-2</c:v>
                </c:pt>
                <c:pt idx="1325">
                  <c:v>2.3631175316568501E-2</c:v>
                </c:pt>
                <c:pt idx="1326">
                  <c:v>2.3649010165864098E-2</c:v>
                </c:pt>
                <c:pt idx="1327">
                  <c:v>2.3666845015159602E-2</c:v>
                </c:pt>
                <c:pt idx="1328">
                  <c:v>2.3684679864455101E-2</c:v>
                </c:pt>
                <c:pt idx="1329">
                  <c:v>2.3702514713750601E-2</c:v>
                </c:pt>
                <c:pt idx="1330">
                  <c:v>2.3720349563046101E-2</c:v>
                </c:pt>
                <c:pt idx="1331">
                  <c:v>2.3738184412341701E-2</c:v>
                </c:pt>
                <c:pt idx="1332">
                  <c:v>2.3756019261637201E-2</c:v>
                </c:pt>
                <c:pt idx="1333">
                  <c:v>2.3773854110932701E-2</c:v>
                </c:pt>
                <c:pt idx="1334">
                  <c:v>2.3791688960228201E-2</c:v>
                </c:pt>
                <c:pt idx="1335">
                  <c:v>2.3809523809523801E-2</c:v>
                </c:pt>
                <c:pt idx="1336">
                  <c:v>2.3827358658819301E-2</c:v>
                </c:pt>
                <c:pt idx="1337">
                  <c:v>2.3845193508114801E-2</c:v>
                </c:pt>
                <c:pt idx="1338">
                  <c:v>2.3863028357410301E-2</c:v>
                </c:pt>
                <c:pt idx="1339">
                  <c:v>2.3880863206705901E-2</c:v>
                </c:pt>
                <c:pt idx="1340">
                  <c:v>2.3898698056001401E-2</c:v>
                </c:pt>
                <c:pt idx="1341">
                  <c:v>2.3916532905296901E-2</c:v>
                </c:pt>
                <c:pt idx="1342">
                  <c:v>2.3934367754592401E-2</c:v>
                </c:pt>
                <c:pt idx="1343">
                  <c:v>2.39522026038879E-2</c:v>
                </c:pt>
                <c:pt idx="1344">
                  <c:v>2.3970037453183501E-2</c:v>
                </c:pt>
                <c:pt idx="1345">
                  <c:v>2.3987872302479001E-2</c:v>
                </c:pt>
                <c:pt idx="1346">
                  <c:v>2.40057071517745E-2</c:v>
                </c:pt>
                <c:pt idx="1347">
                  <c:v>2.402354200107E-2</c:v>
                </c:pt>
                <c:pt idx="1348">
                  <c:v>2.4041376850365601E-2</c:v>
                </c:pt>
                <c:pt idx="1349">
                  <c:v>2.40592116996611E-2</c:v>
                </c:pt>
                <c:pt idx="1350">
                  <c:v>2.40770465489566E-2</c:v>
                </c:pt>
                <c:pt idx="1351">
                  <c:v>2.40948813982521E-2</c:v>
                </c:pt>
                <c:pt idx="1352">
                  <c:v>2.41127162475477E-2</c:v>
                </c:pt>
                <c:pt idx="1353">
                  <c:v>2.41305510968432E-2</c:v>
                </c:pt>
                <c:pt idx="1354">
                  <c:v>2.41483859461387E-2</c:v>
                </c:pt>
                <c:pt idx="1355">
                  <c:v>2.41662207954342E-2</c:v>
                </c:pt>
                <c:pt idx="1356">
                  <c:v>2.41840556447298E-2</c:v>
                </c:pt>
                <c:pt idx="1357">
                  <c:v>2.42018904940253E-2</c:v>
                </c:pt>
                <c:pt idx="1358">
                  <c:v>2.42197253433208E-2</c:v>
                </c:pt>
                <c:pt idx="1359">
                  <c:v>2.42375601926163E-2</c:v>
                </c:pt>
                <c:pt idx="1360">
                  <c:v>2.4255395041911799E-2</c:v>
                </c:pt>
                <c:pt idx="1361">
                  <c:v>2.42732298912074E-2</c:v>
                </c:pt>
                <c:pt idx="1362">
                  <c:v>2.42910647405029E-2</c:v>
                </c:pt>
                <c:pt idx="1363">
                  <c:v>2.4308899589798399E-2</c:v>
                </c:pt>
                <c:pt idx="1364">
                  <c:v>2.4326734439093899E-2</c:v>
                </c:pt>
                <c:pt idx="1365">
                  <c:v>2.43445692883895E-2</c:v>
                </c:pt>
                <c:pt idx="1366">
                  <c:v>2.4362404137685E-2</c:v>
                </c:pt>
                <c:pt idx="1367">
                  <c:v>2.4380238986980499E-2</c:v>
                </c:pt>
                <c:pt idx="1368">
                  <c:v>2.4398073836275999E-2</c:v>
                </c:pt>
                <c:pt idx="1369">
                  <c:v>2.44159086855716E-2</c:v>
                </c:pt>
                <c:pt idx="1370">
                  <c:v>2.4433743534867099E-2</c:v>
                </c:pt>
                <c:pt idx="1371">
                  <c:v>2.4451578384162599E-2</c:v>
                </c:pt>
                <c:pt idx="1372">
                  <c:v>2.4469413233458099E-2</c:v>
                </c:pt>
                <c:pt idx="1373">
                  <c:v>2.4487248082753699E-2</c:v>
                </c:pt>
                <c:pt idx="1374">
                  <c:v>2.4505082932049199E-2</c:v>
                </c:pt>
                <c:pt idx="1375">
                  <c:v>2.4522917781344699E-2</c:v>
                </c:pt>
                <c:pt idx="1376">
                  <c:v>2.4540752630640199E-2</c:v>
                </c:pt>
                <c:pt idx="1377">
                  <c:v>2.4558587479935699E-2</c:v>
                </c:pt>
                <c:pt idx="1378">
                  <c:v>2.4576422329231299E-2</c:v>
                </c:pt>
                <c:pt idx="1379">
                  <c:v>2.4594257178526799E-2</c:v>
                </c:pt>
                <c:pt idx="1380">
                  <c:v>2.4612092027822299E-2</c:v>
                </c:pt>
                <c:pt idx="1381">
                  <c:v>2.4629926877117798E-2</c:v>
                </c:pt>
                <c:pt idx="1382">
                  <c:v>2.4647761726413399E-2</c:v>
                </c:pt>
                <c:pt idx="1383">
                  <c:v>2.4665596575708899E-2</c:v>
                </c:pt>
                <c:pt idx="1384">
                  <c:v>2.4683431425004398E-2</c:v>
                </c:pt>
                <c:pt idx="1385">
                  <c:v>2.4701266274299898E-2</c:v>
                </c:pt>
                <c:pt idx="1386">
                  <c:v>2.4719101123595499E-2</c:v>
                </c:pt>
                <c:pt idx="1387">
                  <c:v>2.4736935972890998E-2</c:v>
                </c:pt>
                <c:pt idx="1388">
                  <c:v>2.4754770822186498E-2</c:v>
                </c:pt>
                <c:pt idx="1389">
                  <c:v>2.4772605671482002E-2</c:v>
                </c:pt>
                <c:pt idx="1390">
                  <c:v>2.4790440520777599E-2</c:v>
                </c:pt>
                <c:pt idx="1391">
                  <c:v>2.4808275370073098E-2</c:v>
                </c:pt>
                <c:pt idx="1392">
                  <c:v>2.4826110219368602E-2</c:v>
                </c:pt>
                <c:pt idx="1393">
                  <c:v>2.4843945068664101E-2</c:v>
                </c:pt>
                <c:pt idx="1394">
                  <c:v>2.4861779917959601E-2</c:v>
                </c:pt>
                <c:pt idx="1395">
                  <c:v>2.4879614767255202E-2</c:v>
                </c:pt>
                <c:pt idx="1396">
                  <c:v>2.4897449616550701E-2</c:v>
                </c:pt>
                <c:pt idx="1397">
                  <c:v>2.4915284465846201E-2</c:v>
                </c:pt>
                <c:pt idx="1398">
                  <c:v>2.4933119315141701E-2</c:v>
                </c:pt>
                <c:pt idx="1399">
                  <c:v>2.4950954164437301E-2</c:v>
                </c:pt>
                <c:pt idx="1400">
                  <c:v>2.4968789013732801E-2</c:v>
                </c:pt>
                <c:pt idx="1401">
                  <c:v>2.4986623863028301E-2</c:v>
                </c:pt>
                <c:pt idx="1402">
                  <c:v>2.5004458712323801E-2</c:v>
                </c:pt>
                <c:pt idx="1403">
                  <c:v>2.5022293561619401E-2</c:v>
                </c:pt>
                <c:pt idx="1404">
                  <c:v>2.5040128410914901E-2</c:v>
                </c:pt>
                <c:pt idx="1405">
                  <c:v>2.5057963260210401E-2</c:v>
                </c:pt>
                <c:pt idx="1406">
                  <c:v>2.5075798109505901E-2</c:v>
                </c:pt>
                <c:pt idx="1407">
                  <c:v>2.5093632958801401E-2</c:v>
                </c:pt>
                <c:pt idx="1408">
                  <c:v>2.5111467808097001E-2</c:v>
                </c:pt>
                <c:pt idx="1409">
                  <c:v>2.5129302657392501E-2</c:v>
                </c:pt>
                <c:pt idx="1410">
                  <c:v>2.5147137506688001E-2</c:v>
                </c:pt>
                <c:pt idx="1411">
                  <c:v>2.51649723559835E-2</c:v>
                </c:pt>
                <c:pt idx="1412">
                  <c:v>2.5182807205279101E-2</c:v>
                </c:pt>
                <c:pt idx="1413">
                  <c:v>2.5200642054574601E-2</c:v>
                </c:pt>
                <c:pt idx="1414">
                  <c:v>2.52184769038701E-2</c:v>
                </c:pt>
                <c:pt idx="1415">
                  <c:v>2.52363117531656E-2</c:v>
                </c:pt>
                <c:pt idx="1416">
                  <c:v>2.5254146602461201E-2</c:v>
                </c:pt>
                <c:pt idx="1417">
                  <c:v>2.52719814517567E-2</c:v>
                </c:pt>
                <c:pt idx="1418">
                  <c:v>2.52898163010522E-2</c:v>
                </c:pt>
                <c:pt idx="1419">
                  <c:v>2.53076511503477E-2</c:v>
                </c:pt>
                <c:pt idx="1420">
                  <c:v>2.53254859996433E-2</c:v>
                </c:pt>
                <c:pt idx="1421">
                  <c:v>2.53433208489388E-2</c:v>
                </c:pt>
                <c:pt idx="1422">
                  <c:v>2.53611556982343E-2</c:v>
                </c:pt>
                <c:pt idx="1423">
                  <c:v>2.53789905475298E-2</c:v>
                </c:pt>
                <c:pt idx="1424">
                  <c:v>2.53968253968253E-2</c:v>
                </c:pt>
                <c:pt idx="1425">
                  <c:v>2.54146602461209E-2</c:v>
                </c:pt>
                <c:pt idx="1426">
                  <c:v>2.54324950954164E-2</c:v>
                </c:pt>
                <c:pt idx="1427">
                  <c:v>2.54503299447119E-2</c:v>
                </c:pt>
                <c:pt idx="1428">
                  <c:v>2.5468164794007399E-2</c:v>
                </c:pt>
                <c:pt idx="1429">
                  <c:v>2.5485999643303E-2</c:v>
                </c:pt>
                <c:pt idx="1430">
                  <c:v>2.55038344925985E-2</c:v>
                </c:pt>
                <c:pt idx="1431">
                  <c:v>2.5521669341894E-2</c:v>
                </c:pt>
                <c:pt idx="1432">
                  <c:v>2.5539504191189499E-2</c:v>
                </c:pt>
                <c:pt idx="1433">
                  <c:v>2.55573390404851E-2</c:v>
                </c:pt>
                <c:pt idx="1434">
                  <c:v>2.55751738897806E-2</c:v>
                </c:pt>
                <c:pt idx="1435">
                  <c:v>2.5593008739076099E-2</c:v>
                </c:pt>
                <c:pt idx="1436">
                  <c:v>2.5610843588371599E-2</c:v>
                </c:pt>
                <c:pt idx="1437">
                  <c:v>2.56286784376672E-2</c:v>
                </c:pt>
                <c:pt idx="1438">
                  <c:v>2.5646513286962699E-2</c:v>
                </c:pt>
                <c:pt idx="1439">
                  <c:v>2.5664348136258199E-2</c:v>
                </c:pt>
                <c:pt idx="1440">
                  <c:v>2.5682182985553699E-2</c:v>
                </c:pt>
                <c:pt idx="1441">
                  <c:v>2.5700017834849199E-2</c:v>
                </c:pt>
                <c:pt idx="1442">
                  <c:v>2.5717852684144799E-2</c:v>
                </c:pt>
                <c:pt idx="1443">
                  <c:v>2.5735687533440299E-2</c:v>
                </c:pt>
                <c:pt idx="1444">
                  <c:v>2.5753522382735799E-2</c:v>
                </c:pt>
                <c:pt idx="1445">
                  <c:v>2.5771357232031299E-2</c:v>
                </c:pt>
                <c:pt idx="1446">
                  <c:v>2.5789192081326899E-2</c:v>
                </c:pt>
                <c:pt idx="1447">
                  <c:v>2.5807026930622399E-2</c:v>
                </c:pt>
                <c:pt idx="1448">
                  <c:v>2.5824861779917899E-2</c:v>
                </c:pt>
                <c:pt idx="1449">
                  <c:v>2.5842696629213398E-2</c:v>
                </c:pt>
                <c:pt idx="1450">
                  <c:v>2.5860531478508999E-2</c:v>
                </c:pt>
                <c:pt idx="1451">
                  <c:v>2.5878366327804499E-2</c:v>
                </c:pt>
                <c:pt idx="1452">
                  <c:v>2.5896201177099998E-2</c:v>
                </c:pt>
                <c:pt idx="1453">
                  <c:v>2.5914036026395498E-2</c:v>
                </c:pt>
                <c:pt idx="1454">
                  <c:v>2.5931870875691099E-2</c:v>
                </c:pt>
                <c:pt idx="1455">
                  <c:v>2.5949705724986599E-2</c:v>
                </c:pt>
                <c:pt idx="1456">
                  <c:v>2.5967540574282098E-2</c:v>
                </c:pt>
                <c:pt idx="1457">
                  <c:v>2.5985375423577602E-2</c:v>
                </c:pt>
                <c:pt idx="1458">
                  <c:v>2.6003210272873101E-2</c:v>
                </c:pt>
                <c:pt idx="1459">
                  <c:v>2.6021045122168698E-2</c:v>
                </c:pt>
                <c:pt idx="1460">
                  <c:v>2.6038879971464202E-2</c:v>
                </c:pt>
                <c:pt idx="1461">
                  <c:v>2.6056714820759701E-2</c:v>
                </c:pt>
                <c:pt idx="1462">
                  <c:v>2.6074549670055201E-2</c:v>
                </c:pt>
                <c:pt idx="1463">
                  <c:v>2.6092384519350802E-2</c:v>
                </c:pt>
                <c:pt idx="1464">
                  <c:v>2.6110219368646301E-2</c:v>
                </c:pt>
                <c:pt idx="1465">
                  <c:v>2.6128054217941801E-2</c:v>
                </c:pt>
                <c:pt idx="1466">
                  <c:v>2.6145889067237301E-2</c:v>
                </c:pt>
                <c:pt idx="1467">
                  <c:v>2.6163723916532901E-2</c:v>
                </c:pt>
                <c:pt idx="1468">
                  <c:v>2.6181558765828401E-2</c:v>
                </c:pt>
                <c:pt idx="1469">
                  <c:v>2.6199393615123901E-2</c:v>
                </c:pt>
                <c:pt idx="1470">
                  <c:v>2.6217228464419401E-2</c:v>
                </c:pt>
                <c:pt idx="1471">
                  <c:v>2.6235063313714901E-2</c:v>
                </c:pt>
                <c:pt idx="1472">
                  <c:v>2.6252898163010501E-2</c:v>
                </c:pt>
                <c:pt idx="1473">
                  <c:v>2.6270733012306001E-2</c:v>
                </c:pt>
                <c:pt idx="1474">
                  <c:v>2.6288567861601501E-2</c:v>
                </c:pt>
                <c:pt idx="1475">
                  <c:v>2.6306402710897001E-2</c:v>
                </c:pt>
                <c:pt idx="1476">
                  <c:v>2.6324237560192601E-2</c:v>
                </c:pt>
                <c:pt idx="1477">
                  <c:v>2.6342072409488101E-2</c:v>
                </c:pt>
                <c:pt idx="1478">
                  <c:v>2.6359907258783601E-2</c:v>
                </c:pt>
                <c:pt idx="1479">
                  <c:v>2.63777421080791E-2</c:v>
                </c:pt>
                <c:pt idx="1480">
                  <c:v>2.6395576957374701E-2</c:v>
                </c:pt>
                <c:pt idx="1481">
                  <c:v>2.6413411806670201E-2</c:v>
                </c:pt>
                <c:pt idx="1482">
                  <c:v>2.64312466559657E-2</c:v>
                </c:pt>
                <c:pt idx="1483">
                  <c:v>2.64490815052612E-2</c:v>
                </c:pt>
                <c:pt idx="1484">
                  <c:v>2.6466916354556801E-2</c:v>
                </c:pt>
                <c:pt idx="1485">
                  <c:v>2.64847512038523E-2</c:v>
                </c:pt>
                <c:pt idx="1486">
                  <c:v>2.65025860531478E-2</c:v>
                </c:pt>
                <c:pt idx="1487">
                  <c:v>2.65204209024433E-2</c:v>
                </c:pt>
                <c:pt idx="1488">
                  <c:v>2.65382557517388E-2</c:v>
                </c:pt>
                <c:pt idx="1489">
                  <c:v>2.65560906010344E-2</c:v>
                </c:pt>
                <c:pt idx="1490">
                  <c:v>2.65739254503299E-2</c:v>
                </c:pt>
                <c:pt idx="1491">
                  <c:v>2.65917602996254E-2</c:v>
                </c:pt>
                <c:pt idx="1492">
                  <c:v>2.66095951489209E-2</c:v>
                </c:pt>
                <c:pt idx="1493">
                  <c:v>2.66274299982165E-2</c:v>
                </c:pt>
                <c:pt idx="1494">
                  <c:v>2.6645264847512E-2</c:v>
                </c:pt>
                <c:pt idx="1495">
                  <c:v>2.66630996968075E-2</c:v>
                </c:pt>
                <c:pt idx="1496">
                  <c:v>2.6680934546103E-2</c:v>
                </c:pt>
                <c:pt idx="1497">
                  <c:v>2.66987693953986E-2</c:v>
                </c:pt>
                <c:pt idx="1498">
                  <c:v>2.67166042446941E-2</c:v>
                </c:pt>
                <c:pt idx="1499">
                  <c:v>2.67344390939896E-2</c:v>
                </c:pt>
                <c:pt idx="1500">
                  <c:v>2.6752273943285099E-2</c:v>
                </c:pt>
                <c:pt idx="1501">
                  <c:v>2.67701087925807E-2</c:v>
                </c:pt>
                <c:pt idx="1502">
                  <c:v>2.67879436418762E-2</c:v>
                </c:pt>
                <c:pt idx="1503">
                  <c:v>2.6805778491171699E-2</c:v>
                </c:pt>
                <c:pt idx="1504">
                  <c:v>2.6823613340467199E-2</c:v>
                </c:pt>
                <c:pt idx="1505">
                  <c:v>2.6841448189762699E-2</c:v>
                </c:pt>
                <c:pt idx="1506">
                  <c:v>2.6859283039058299E-2</c:v>
                </c:pt>
                <c:pt idx="1507">
                  <c:v>2.6877117888353799E-2</c:v>
                </c:pt>
                <c:pt idx="1508">
                  <c:v>2.6894952737649299E-2</c:v>
                </c:pt>
                <c:pt idx="1509">
                  <c:v>2.6912787586944799E-2</c:v>
                </c:pt>
                <c:pt idx="1510">
                  <c:v>2.6930622436240399E-2</c:v>
                </c:pt>
                <c:pt idx="1511">
                  <c:v>2.6948457285535899E-2</c:v>
                </c:pt>
                <c:pt idx="1512">
                  <c:v>2.6966292134831399E-2</c:v>
                </c:pt>
                <c:pt idx="1513">
                  <c:v>2.6984126984126899E-2</c:v>
                </c:pt>
                <c:pt idx="1514">
                  <c:v>2.7001961833422499E-2</c:v>
                </c:pt>
                <c:pt idx="1515">
                  <c:v>2.7019796682717999E-2</c:v>
                </c:pt>
                <c:pt idx="1516">
                  <c:v>2.7037631532013499E-2</c:v>
                </c:pt>
                <c:pt idx="1517">
                  <c:v>2.7055466381308999E-2</c:v>
                </c:pt>
                <c:pt idx="1518">
                  <c:v>2.7073301230604599E-2</c:v>
                </c:pt>
                <c:pt idx="1519">
                  <c:v>2.7091136079900099E-2</c:v>
                </c:pt>
                <c:pt idx="1520">
                  <c:v>2.7108970929195599E-2</c:v>
                </c:pt>
                <c:pt idx="1521">
                  <c:v>2.7126805778491098E-2</c:v>
                </c:pt>
                <c:pt idx="1522">
                  <c:v>2.7144640627786602E-2</c:v>
                </c:pt>
                <c:pt idx="1523">
                  <c:v>2.7162475477082199E-2</c:v>
                </c:pt>
                <c:pt idx="1524">
                  <c:v>2.7180310326377698E-2</c:v>
                </c:pt>
                <c:pt idx="1525">
                  <c:v>2.7198145175673202E-2</c:v>
                </c:pt>
                <c:pt idx="1526">
                  <c:v>2.7215980024968701E-2</c:v>
                </c:pt>
                <c:pt idx="1527">
                  <c:v>2.7233814874264298E-2</c:v>
                </c:pt>
                <c:pt idx="1528">
                  <c:v>2.7251649723559802E-2</c:v>
                </c:pt>
                <c:pt idx="1529">
                  <c:v>2.7269484572855301E-2</c:v>
                </c:pt>
                <c:pt idx="1530">
                  <c:v>2.7287319422150801E-2</c:v>
                </c:pt>
                <c:pt idx="1531">
                  <c:v>2.7305154271446402E-2</c:v>
                </c:pt>
                <c:pt idx="1532">
                  <c:v>2.7322989120741902E-2</c:v>
                </c:pt>
                <c:pt idx="1533">
                  <c:v>2.7340823970037401E-2</c:v>
                </c:pt>
                <c:pt idx="1534">
                  <c:v>2.7358658819332901E-2</c:v>
                </c:pt>
                <c:pt idx="1535">
                  <c:v>2.7376493668628502E-2</c:v>
                </c:pt>
                <c:pt idx="1536">
                  <c:v>2.7394328517924001E-2</c:v>
                </c:pt>
                <c:pt idx="1537">
                  <c:v>2.7412163367219501E-2</c:v>
                </c:pt>
                <c:pt idx="1538">
                  <c:v>2.7429998216515001E-2</c:v>
                </c:pt>
                <c:pt idx="1539">
                  <c:v>2.7447833065810501E-2</c:v>
                </c:pt>
                <c:pt idx="1540">
                  <c:v>2.7465667915106101E-2</c:v>
                </c:pt>
                <c:pt idx="1541">
                  <c:v>2.7483502764401601E-2</c:v>
                </c:pt>
                <c:pt idx="1542">
                  <c:v>2.7501337613697101E-2</c:v>
                </c:pt>
                <c:pt idx="1543">
                  <c:v>2.7519172462992601E-2</c:v>
                </c:pt>
                <c:pt idx="1544">
                  <c:v>2.7537007312288201E-2</c:v>
                </c:pt>
                <c:pt idx="1545">
                  <c:v>2.7554842161583701E-2</c:v>
                </c:pt>
                <c:pt idx="1546">
                  <c:v>2.7572677010879201E-2</c:v>
                </c:pt>
                <c:pt idx="1547">
                  <c:v>2.75905118601747E-2</c:v>
                </c:pt>
                <c:pt idx="1548">
                  <c:v>2.7608346709470301E-2</c:v>
                </c:pt>
                <c:pt idx="1549">
                  <c:v>2.7626181558765801E-2</c:v>
                </c:pt>
                <c:pt idx="1550">
                  <c:v>2.76440164080613E-2</c:v>
                </c:pt>
                <c:pt idx="1551">
                  <c:v>2.76618512573568E-2</c:v>
                </c:pt>
                <c:pt idx="1552">
                  <c:v>2.76796861066523E-2</c:v>
                </c:pt>
                <c:pt idx="1553">
                  <c:v>2.76975209559479E-2</c:v>
                </c:pt>
                <c:pt idx="1554">
                  <c:v>2.77153558052434E-2</c:v>
                </c:pt>
                <c:pt idx="1555">
                  <c:v>2.77331906545389E-2</c:v>
                </c:pt>
                <c:pt idx="1556">
                  <c:v>2.77510255038344E-2</c:v>
                </c:pt>
                <c:pt idx="1557">
                  <c:v>2.776886035313E-2</c:v>
                </c:pt>
                <c:pt idx="1558">
                  <c:v>2.77866952024255E-2</c:v>
                </c:pt>
                <c:pt idx="1559">
                  <c:v>2.7804530051721E-2</c:v>
                </c:pt>
                <c:pt idx="1560">
                  <c:v>2.78223649010165E-2</c:v>
                </c:pt>
                <c:pt idx="1561">
                  <c:v>2.78401997503121E-2</c:v>
                </c:pt>
                <c:pt idx="1562">
                  <c:v>2.78580345996076E-2</c:v>
                </c:pt>
                <c:pt idx="1563">
                  <c:v>2.78758694489031E-2</c:v>
                </c:pt>
                <c:pt idx="1564">
                  <c:v>2.78937042981986E-2</c:v>
                </c:pt>
                <c:pt idx="1565">
                  <c:v>2.79115391474942E-2</c:v>
                </c:pt>
                <c:pt idx="1566">
                  <c:v>2.79293739967897E-2</c:v>
                </c:pt>
                <c:pt idx="1567">
                  <c:v>2.79472088460852E-2</c:v>
                </c:pt>
                <c:pt idx="1568">
                  <c:v>2.7965043695380699E-2</c:v>
                </c:pt>
                <c:pt idx="1569">
                  <c:v>2.7982878544676199E-2</c:v>
                </c:pt>
                <c:pt idx="1570">
                  <c:v>2.80007133939718E-2</c:v>
                </c:pt>
                <c:pt idx="1571">
                  <c:v>2.8018548243267299E-2</c:v>
                </c:pt>
                <c:pt idx="1572">
                  <c:v>2.8036383092562799E-2</c:v>
                </c:pt>
                <c:pt idx="1573">
                  <c:v>2.8054217941858299E-2</c:v>
                </c:pt>
                <c:pt idx="1574">
                  <c:v>2.8072052791153899E-2</c:v>
                </c:pt>
                <c:pt idx="1575">
                  <c:v>2.8089887640449399E-2</c:v>
                </c:pt>
                <c:pt idx="1576">
                  <c:v>2.8107722489744899E-2</c:v>
                </c:pt>
                <c:pt idx="1577">
                  <c:v>2.8125557339040399E-2</c:v>
                </c:pt>
                <c:pt idx="1578">
                  <c:v>2.8143392188335999E-2</c:v>
                </c:pt>
                <c:pt idx="1579">
                  <c:v>2.8161227037631499E-2</c:v>
                </c:pt>
                <c:pt idx="1580">
                  <c:v>2.8179061886926999E-2</c:v>
                </c:pt>
                <c:pt idx="1581">
                  <c:v>2.8196896736222499E-2</c:v>
                </c:pt>
                <c:pt idx="1582">
                  <c:v>2.8214731585518099E-2</c:v>
                </c:pt>
                <c:pt idx="1583">
                  <c:v>2.8232566434813599E-2</c:v>
                </c:pt>
                <c:pt idx="1584">
                  <c:v>2.8250401284109099E-2</c:v>
                </c:pt>
                <c:pt idx="1585">
                  <c:v>2.8268236133404599E-2</c:v>
                </c:pt>
                <c:pt idx="1586">
                  <c:v>2.8286070982700098E-2</c:v>
                </c:pt>
                <c:pt idx="1587">
                  <c:v>2.8303905831995699E-2</c:v>
                </c:pt>
                <c:pt idx="1588">
                  <c:v>2.8321740681291199E-2</c:v>
                </c:pt>
                <c:pt idx="1589">
                  <c:v>2.8339575530586698E-2</c:v>
                </c:pt>
                <c:pt idx="1590">
                  <c:v>2.8357410379882202E-2</c:v>
                </c:pt>
                <c:pt idx="1591">
                  <c:v>2.8375245229177799E-2</c:v>
                </c:pt>
                <c:pt idx="1592">
                  <c:v>2.8393080078473298E-2</c:v>
                </c:pt>
                <c:pt idx="1593">
                  <c:v>2.8410914927768802E-2</c:v>
                </c:pt>
                <c:pt idx="1594">
                  <c:v>2.8428749777064301E-2</c:v>
                </c:pt>
                <c:pt idx="1595">
                  <c:v>2.8446584626359898E-2</c:v>
                </c:pt>
                <c:pt idx="1596">
                  <c:v>2.8464419475655402E-2</c:v>
                </c:pt>
                <c:pt idx="1597">
                  <c:v>2.8482254324950902E-2</c:v>
                </c:pt>
                <c:pt idx="1598">
                  <c:v>2.8500089174246401E-2</c:v>
                </c:pt>
                <c:pt idx="1599">
                  <c:v>2.8517924023542002E-2</c:v>
                </c:pt>
                <c:pt idx="1600">
                  <c:v>2.8535758872837502E-2</c:v>
                </c:pt>
                <c:pt idx="1601">
                  <c:v>2.8553593722133001E-2</c:v>
                </c:pt>
                <c:pt idx="1602">
                  <c:v>2.8571428571428501E-2</c:v>
                </c:pt>
                <c:pt idx="1603">
                  <c:v>2.8589263420724001E-2</c:v>
                </c:pt>
                <c:pt idx="1604">
                  <c:v>2.8607098270019601E-2</c:v>
                </c:pt>
                <c:pt idx="1605">
                  <c:v>2.8624933119315101E-2</c:v>
                </c:pt>
                <c:pt idx="1606">
                  <c:v>2.8642767968610601E-2</c:v>
                </c:pt>
                <c:pt idx="1607">
                  <c:v>2.8660602817906101E-2</c:v>
                </c:pt>
                <c:pt idx="1608">
                  <c:v>2.8678437667201701E-2</c:v>
                </c:pt>
                <c:pt idx="1609">
                  <c:v>2.8696272516497201E-2</c:v>
                </c:pt>
                <c:pt idx="1610">
                  <c:v>2.8714107365792701E-2</c:v>
                </c:pt>
                <c:pt idx="1611">
                  <c:v>2.8731942215088201E-2</c:v>
                </c:pt>
                <c:pt idx="1612">
                  <c:v>2.8749777064383801E-2</c:v>
                </c:pt>
                <c:pt idx="1613">
                  <c:v>2.8767611913679301E-2</c:v>
                </c:pt>
                <c:pt idx="1614">
                  <c:v>2.8785446762974801E-2</c:v>
                </c:pt>
                <c:pt idx="1615">
                  <c:v>2.88032816122703E-2</c:v>
                </c:pt>
                <c:pt idx="1616">
                  <c:v>2.8821116461565901E-2</c:v>
                </c:pt>
                <c:pt idx="1617">
                  <c:v>2.8838951310861401E-2</c:v>
                </c:pt>
                <c:pt idx="1618">
                  <c:v>2.88567861601569E-2</c:v>
                </c:pt>
                <c:pt idx="1619">
                  <c:v>2.88746210094524E-2</c:v>
                </c:pt>
                <c:pt idx="1620">
                  <c:v>2.88924558587479E-2</c:v>
                </c:pt>
                <c:pt idx="1621">
                  <c:v>2.8910290708043501E-2</c:v>
                </c:pt>
                <c:pt idx="1622">
                  <c:v>2.8928125557339E-2</c:v>
                </c:pt>
                <c:pt idx="1623">
                  <c:v>2.89459604066345E-2</c:v>
                </c:pt>
                <c:pt idx="1624">
                  <c:v>2.896379525593E-2</c:v>
                </c:pt>
                <c:pt idx="1625">
                  <c:v>2.89816301052256E-2</c:v>
                </c:pt>
                <c:pt idx="1626">
                  <c:v>2.89994649545211E-2</c:v>
                </c:pt>
                <c:pt idx="1627">
                  <c:v>2.90172998038166E-2</c:v>
                </c:pt>
                <c:pt idx="1628">
                  <c:v>2.90351346531121E-2</c:v>
                </c:pt>
                <c:pt idx="1629">
                  <c:v>2.90529695024077E-2</c:v>
                </c:pt>
                <c:pt idx="1630">
                  <c:v>2.90708043517032E-2</c:v>
                </c:pt>
                <c:pt idx="1631">
                  <c:v>2.90886392009987E-2</c:v>
                </c:pt>
                <c:pt idx="1632">
                  <c:v>2.91064740502942E-2</c:v>
                </c:pt>
                <c:pt idx="1633">
                  <c:v>2.91243088995898E-2</c:v>
                </c:pt>
                <c:pt idx="1634">
                  <c:v>2.91421437488853E-2</c:v>
                </c:pt>
                <c:pt idx="1635">
                  <c:v>2.91599785981808E-2</c:v>
                </c:pt>
                <c:pt idx="1636">
                  <c:v>2.9177813447476299E-2</c:v>
                </c:pt>
                <c:pt idx="1637">
                  <c:v>2.9195648296771799E-2</c:v>
                </c:pt>
                <c:pt idx="1638">
                  <c:v>2.92134831460674E-2</c:v>
                </c:pt>
                <c:pt idx="1639">
                  <c:v>2.9231317995362899E-2</c:v>
                </c:pt>
                <c:pt idx="1640">
                  <c:v>2.9249152844658399E-2</c:v>
                </c:pt>
                <c:pt idx="1641">
                  <c:v>2.9266987693953899E-2</c:v>
                </c:pt>
                <c:pt idx="1642">
                  <c:v>2.9284822543249499E-2</c:v>
                </c:pt>
                <c:pt idx="1643">
                  <c:v>2.9302657392544999E-2</c:v>
                </c:pt>
                <c:pt idx="1644">
                  <c:v>2.9320492241840499E-2</c:v>
                </c:pt>
                <c:pt idx="1645">
                  <c:v>2.9338327091135999E-2</c:v>
                </c:pt>
                <c:pt idx="1646">
                  <c:v>2.9356161940431599E-2</c:v>
                </c:pt>
                <c:pt idx="1647">
                  <c:v>2.9373996789727099E-2</c:v>
                </c:pt>
                <c:pt idx="1648">
                  <c:v>2.9391831639022599E-2</c:v>
                </c:pt>
                <c:pt idx="1649">
                  <c:v>2.9409666488318099E-2</c:v>
                </c:pt>
                <c:pt idx="1650">
                  <c:v>2.9427501337613599E-2</c:v>
                </c:pt>
                <c:pt idx="1651">
                  <c:v>2.9445336186909199E-2</c:v>
                </c:pt>
                <c:pt idx="1652">
                  <c:v>2.9463171036204699E-2</c:v>
                </c:pt>
                <c:pt idx="1653">
                  <c:v>2.9481005885500199E-2</c:v>
                </c:pt>
                <c:pt idx="1654">
                  <c:v>2.9498840734795698E-2</c:v>
                </c:pt>
                <c:pt idx="1655">
                  <c:v>2.9516675584091299E-2</c:v>
                </c:pt>
                <c:pt idx="1656">
                  <c:v>2.9534510433386799E-2</c:v>
                </c:pt>
                <c:pt idx="1657">
                  <c:v>2.9552345282682298E-2</c:v>
                </c:pt>
                <c:pt idx="1658">
                  <c:v>2.9570180131977802E-2</c:v>
                </c:pt>
                <c:pt idx="1659">
                  <c:v>2.9588014981273399E-2</c:v>
                </c:pt>
                <c:pt idx="1660">
                  <c:v>2.9605849830568898E-2</c:v>
                </c:pt>
                <c:pt idx="1661">
                  <c:v>2.9623684679864402E-2</c:v>
                </c:pt>
                <c:pt idx="1662">
                  <c:v>2.9641519529159902E-2</c:v>
                </c:pt>
                <c:pt idx="1663">
                  <c:v>2.9659354378455498E-2</c:v>
                </c:pt>
                <c:pt idx="1664">
                  <c:v>2.9677189227750998E-2</c:v>
                </c:pt>
                <c:pt idx="1665">
                  <c:v>2.9695024077046502E-2</c:v>
                </c:pt>
                <c:pt idx="1666">
                  <c:v>2.9712858926342001E-2</c:v>
                </c:pt>
                <c:pt idx="1667">
                  <c:v>2.9730693775637501E-2</c:v>
                </c:pt>
                <c:pt idx="1668">
                  <c:v>2.9748528624933102E-2</c:v>
                </c:pt>
                <c:pt idx="1669">
                  <c:v>2.9766363474228601E-2</c:v>
                </c:pt>
                <c:pt idx="1670">
                  <c:v>2.9784198323524101E-2</c:v>
                </c:pt>
                <c:pt idx="1671">
                  <c:v>2.9802033172819601E-2</c:v>
                </c:pt>
                <c:pt idx="1672">
                  <c:v>2.9819868022115201E-2</c:v>
                </c:pt>
                <c:pt idx="1673">
                  <c:v>2.9837702871410701E-2</c:v>
                </c:pt>
                <c:pt idx="1674">
                  <c:v>2.9855537720706201E-2</c:v>
                </c:pt>
                <c:pt idx="1675">
                  <c:v>2.9873372570001701E-2</c:v>
                </c:pt>
                <c:pt idx="1676">
                  <c:v>2.9891207419297301E-2</c:v>
                </c:pt>
                <c:pt idx="1677">
                  <c:v>2.9909042268592801E-2</c:v>
                </c:pt>
                <c:pt idx="1678">
                  <c:v>2.9926877117888301E-2</c:v>
                </c:pt>
                <c:pt idx="1679">
                  <c:v>2.9944711967183801E-2</c:v>
                </c:pt>
                <c:pt idx="1680">
                  <c:v>2.9962546816479401E-2</c:v>
                </c:pt>
                <c:pt idx="1681">
                  <c:v>2.9980381665774901E-2</c:v>
                </c:pt>
                <c:pt idx="1682">
                  <c:v>2.9998216515070401E-2</c:v>
                </c:pt>
                <c:pt idx="1683">
                  <c:v>3.00160513643659E-2</c:v>
                </c:pt>
                <c:pt idx="1684">
                  <c:v>3.00338862136614E-2</c:v>
                </c:pt>
                <c:pt idx="1685">
                  <c:v>3.0051721062957001E-2</c:v>
                </c:pt>
                <c:pt idx="1686">
                  <c:v>3.0069555912252501E-2</c:v>
                </c:pt>
                <c:pt idx="1687">
                  <c:v>3.0087390761548E-2</c:v>
                </c:pt>
                <c:pt idx="1688">
                  <c:v>3.01052256108435E-2</c:v>
                </c:pt>
                <c:pt idx="1689">
                  <c:v>3.0123060460139101E-2</c:v>
                </c:pt>
                <c:pt idx="1690">
                  <c:v>3.01408953094346E-2</c:v>
                </c:pt>
                <c:pt idx="1691">
                  <c:v>3.01587301587301E-2</c:v>
                </c:pt>
                <c:pt idx="1692">
                  <c:v>3.01765650080256E-2</c:v>
                </c:pt>
                <c:pt idx="1693">
                  <c:v>3.01943998573212E-2</c:v>
                </c:pt>
                <c:pt idx="1694">
                  <c:v>3.02122347066167E-2</c:v>
                </c:pt>
                <c:pt idx="1695">
                  <c:v>3.02300695559122E-2</c:v>
                </c:pt>
                <c:pt idx="1696">
                  <c:v>3.02479044052077E-2</c:v>
                </c:pt>
                <c:pt idx="1697">
                  <c:v>3.02657392545033E-2</c:v>
                </c:pt>
                <c:pt idx="1698">
                  <c:v>3.02835741037988E-2</c:v>
                </c:pt>
                <c:pt idx="1699">
                  <c:v>3.03014089530943E-2</c:v>
                </c:pt>
                <c:pt idx="1700">
                  <c:v>3.03192438023898E-2</c:v>
                </c:pt>
                <c:pt idx="1701">
                  <c:v>3.0337078651685299E-2</c:v>
                </c:pt>
                <c:pt idx="1702">
                  <c:v>3.03549135009809E-2</c:v>
                </c:pt>
                <c:pt idx="1703">
                  <c:v>3.03727483502764E-2</c:v>
                </c:pt>
                <c:pt idx="1704">
                  <c:v>3.0390583199571899E-2</c:v>
                </c:pt>
                <c:pt idx="1705">
                  <c:v>3.0408418048867399E-2</c:v>
                </c:pt>
                <c:pt idx="1706">
                  <c:v>3.0426252898163E-2</c:v>
                </c:pt>
                <c:pt idx="1707">
                  <c:v>3.0444087747458499E-2</c:v>
                </c:pt>
                <c:pt idx="1708">
                  <c:v>3.0461922596753999E-2</c:v>
                </c:pt>
                <c:pt idx="1709">
                  <c:v>3.0479757446049499E-2</c:v>
                </c:pt>
                <c:pt idx="1710">
                  <c:v>3.04975922953451E-2</c:v>
                </c:pt>
                <c:pt idx="1711">
                  <c:v>3.0515427144640599E-2</c:v>
                </c:pt>
                <c:pt idx="1712">
                  <c:v>3.0533261993936099E-2</c:v>
                </c:pt>
                <c:pt idx="1713">
                  <c:v>3.0551096843231599E-2</c:v>
                </c:pt>
                <c:pt idx="1714">
                  <c:v>3.0568931692527199E-2</c:v>
                </c:pt>
                <c:pt idx="1715">
                  <c:v>3.0586766541822699E-2</c:v>
                </c:pt>
                <c:pt idx="1716">
                  <c:v>3.0604601391118199E-2</c:v>
                </c:pt>
                <c:pt idx="1717">
                  <c:v>3.0622436240413699E-2</c:v>
                </c:pt>
                <c:pt idx="1718">
                  <c:v>3.0640271089709199E-2</c:v>
                </c:pt>
                <c:pt idx="1719">
                  <c:v>3.0658105939004799E-2</c:v>
                </c:pt>
                <c:pt idx="1720">
                  <c:v>3.0675940788300299E-2</c:v>
                </c:pt>
                <c:pt idx="1721">
                  <c:v>3.0693775637595799E-2</c:v>
                </c:pt>
                <c:pt idx="1722">
                  <c:v>3.0711610486891298E-2</c:v>
                </c:pt>
                <c:pt idx="1723">
                  <c:v>3.0729445336186899E-2</c:v>
                </c:pt>
                <c:pt idx="1724">
                  <c:v>3.0747280185482399E-2</c:v>
                </c:pt>
                <c:pt idx="1725">
                  <c:v>3.0765115034777898E-2</c:v>
                </c:pt>
                <c:pt idx="1726">
                  <c:v>3.0782949884073402E-2</c:v>
                </c:pt>
                <c:pt idx="1727">
                  <c:v>3.0800784733368999E-2</c:v>
                </c:pt>
                <c:pt idx="1728">
                  <c:v>3.0818619582664498E-2</c:v>
                </c:pt>
                <c:pt idx="1729">
                  <c:v>3.0836454431959998E-2</c:v>
                </c:pt>
                <c:pt idx="1730">
                  <c:v>3.0854289281255502E-2</c:v>
                </c:pt>
                <c:pt idx="1731">
                  <c:v>3.0872124130551098E-2</c:v>
                </c:pt>
                <c:pt idx="1732">
                  <c:v>3.0889958979846598E-2</c:v>
                </c:pt>
                <c:pt idx="1733">
                  <c:v>3.0907793829142102E-2</c:v>
                </c:pt>
                <c:pt idx="1734">
                  <c:v>3.0925628678437601E-2</c:v>
                </c:pt>
                <c:pt idx="1735">
                  <c:v>3.0943463527733101E-2</c:v>
                </c:pt>
                <c:pt idx="1736">
                  <c:v>3.0961298377028702E-2</c:v>
                </c:pt>
                <c:pt idx="1737">
                  <c:v>3.0979133226324201E-2</c:v>
                </c:pt>
                <c:pt idx="1738">
                  <c:v>3.0996968075619701E-2</c:v>
                </c:pt>
                <c:pt idx="1739">
                  <c:v>3.1014802924915201E-2</c:v>
                </c:pt>
                <c:pt idx="1740">
                  <c:v>3.1032637774210801E-2</c:v>
                </c:pt>
                <c:pt idx="1741">
                  <c:v>3.1050472623506301E-2</c:v>
                </c:pt>
                <c:pt idx="1742">
                  <c:v>3.1068307472801801E-2</c:v>
                </c:pt>
                <c:pt idx="1743">
                  <c:v>3.1086142322097301E-2</c:v>
                </c:pt>
                <c:pt idx="1744">
                  <c:v>3.1103977171392901E-2</c:v>
                </c:pt>
                <c:pt idx="1745">
                  <c:v>3.1121812020688401E-2</c:v>
                </c:pt>
                <c:pt idx="1746">
                  <c:v>3.1139646869983901E-2</c:v>
                </c:pt>
                <c:pt idx="1747">
                  <c:v>3.1157481719279401E-2</c:v>
                </c:pt>
                <c:pt idx="1748">
                  <c:v>3.11753165685749E-2</c:v>
                </c:pt>
                <c:pt idx="1749">
                  <c:v>3.1193151417870501E-2</c:v>
                </c:pt>
                <c:pt idx="1750">
                  <c:v>3.1210986267166001E-2</c:v>
                </c:pt>
                <c:pt idx="1751">
                  <c:v>3.1228821116461501E-2</c:v>
                </c:pt>
                <c:pt idx="1752">
                  <c:v>3.1246655965757E-2</c:v>
                </c:pt>
                <c:pt idx="1753">
                  <c:v>3.1264490815052601E-2</c:v>
                </c:pt>
                <c:pt idx="1754">
                  <c:v>3.1282325664348097E-2</c:v>
                </c:pt>
                <c:pt idx="1755">
                  <c:v>3.13001605136436E-2</c:v>
                </c:pt>
                <c:pt idx="1756">
                  <c:v>3.1317995362939097E-2</c:v>
                </c:pt>
                <c:pt idx="1757">
                  <c:v>3.1335830212234697E-2</c:v>
                </c:pt>
                <c:pt idx="1758">
                  <c:v>3.13536650615302E-2</c:v>
                </c:pt>
                <c:pt idx="1759">
                  <c:v>3.1371499910825697E-2</c:v>
                </c:pt>
                <c:pt idx="1760">
                  <c:v>3.13893347601212E-2</c:v>
                </c:pt>
                <c:pt idx="1761">
                  <c:v>3.14071696094168E-2</c:v>
                </c:pt>
                <c:pt idx="1762">
                  <c:v>3.1425004458712297E-2</c:v>
                </c:pt>
                <c:pt idx="1763">
                  <c:v>3.14428393080078E-2</c:v>
                </c:pt>
                <c:pt idx="1764">
                  <c:v>3.1460674157303303E-2</c:v>
                </c:pt>
                <c:pt idx="1765">
                  <c:v>3.1478509006598897E-2</c:v>
                </c:pt>
                <c:pt idx="1766">
                  <c:v>3.14963438558944E-2</c:v>
                </c:pt>
                <c:pt idx="1767">
                  <c:v>3.1514178705189903E-2</c:v>
                </c:pt>
                <c:pt idx="1768">
                  <c:v>3.15320135544854E-2</c:v>
                </c:pt>
                <c:pt idx="1769">
                  <c:v>3.1549848403780903E-2</c:v>
                </c:pt>
                <c:pt idx="1770">
                  <c:v>3.1567683253076503E-2</c:v>
                </c:pt>
                <c:pt idx="1771">
                  <c:v>3.1585518102372E-2</c:v>
                </c:pt>
                <c:pt idx="1772">
                  <c:v>3.1603352951667503E-2</c:v>
                </c:pt>
                <c:pt idx="1773">
                  <c:v>3.1621187800962999E-2</c:v>
                </c:pt>
                <c:pt idx="1774">
                  <c:v>3.16390226502586E-2</c:v>
                </c:pt>
                <c:pt idx="1775">
                  <c:v>3.1656857499554103E-2</c:v>
                </c:pt>
                <c:pt idx="1776">
                  <c:v>3.1674692348849599E-2</c:v>
                </c:pt>
                <c:pt idx="1777">
                  <c:v>3.1692527198145103E-2</c:v>
                </c:pt>
                <c:pt idx="1778">
                  <c:v>3.1710362047440599E-2</c:v>
                </c:pt>
                <c:pt idx="1779">
                  <c:v>3.1728196896736199E-2</c:v>
                </c:pt>
                <c:pt idx="1780">
                  <c:v>3.1746031746031703E-2</c:v>
                </c:pt>
                <c:pt idx="1781">
                  <c:v>3.1763866595327199E-2</c:v>
                </c:pt>
                <c:pt idx="1782">
                  <c:v>3.1781701444622702E-2</c:v>
                </c:pt>
                <c:pt idx="1783">
                  <c:v>3.1799536293918303E-2</c:v>
                </c:pt>
                <c:pt idx="1784">
                  <c:v>3.1817371143213799E-2</c:v>
                </c:pt>
                <c:pt idx="1785">
                  <c:v>3.1835205992509302E-2</c:v>
                </c:pt>
                <c:pt idx="1786">
                  <c:v>3.1853040841804799E-2</c:v>
                </c:pt>
                <c:pt idx="1787">
                  <c:v>3.1870875691100399E-2</c:v>
                </c:pt>
                <c:pt idx="1788">
                  <c:v>3.1888710540395902E-2</c:v>
                </c:pt>
                <c:pt idx="1789">
                  <c:v>3.1906545389691399E-2</c:v>
                </c:pt>
                <c:pt idx="1790">
                  <c:v>3.1924380238986902E-2</c:v>
                </c:pt>
                <c:pt idx="1791">
                  <c:v>3.1942215088282502E-2</c:v>
                </c:pt>
                <c:pt idx="1792">
                  <c:v>3.1960049937577999E-2</c:v>
                </c:pt>
                <c:pt idx="1793">
                  <c:v>3.1977884786873502E-2</c:v>
                </c:pt>
                <c:pt idx="1794">
                  <c:v>3.1995719636168998E-2</c:v>
                </c:pt>
                <c:pt idx="1795">
                  <c:v>3.2013554485464599E-2</c:v>
                </c:pt>
                <c:pt idx="1796">
                  <c:v>3.2031389334760102E-2</c:v>
                </c:pt>
                <c:pt idx="1797">
                  <c:v>3.2049224184055598E-2</c:v>
                </c:pt>
                <c:pt idx="1798">
                  <c:v>3.2067059033351102E-2</c:v>
                </c:pt>
                <c:pt idx="1799">
                  <c:v>3.2084893882646598E-2</c:v>
                </c:pt>
                <c:pt idx="1800">
                  <c:v>3.2102728731942198E-2</c:v>
                </c:pt>
                <c:pt idx="1801">
                  <c:v>3.2120563581237702E-2</c:v>
                </c:pt>
                <c:pt idx="1802">
                  <c:v>3.2138398430533198E-2</c:v>
                </c:pt>
                <c:pt idx="1803">
                  <c:v>3.2156233279828701E-2</c:v>
                </c:pt>
                <c:pt idx="1804">
                  <c:v>3.2174068129124302E-2</c:v>
                </c:pt>
                <c:pt idx="1805">
                  <c:v>3.2191902978419798E-2</c:v>
                </c:pt>
                <c:pt idx="1806">
                  <c:v>3.2209737827715301E-2</c:v>
                </c:pt>
                <c:pt idx="1807">
                  <c:v>3.2227572677010798E-2</c:v>
                </c:pt>
                <c:pt idx="1808">
                  <c:v>3.2245407526306398E-2</c:v>
                </c:pt>
                <c:pt idx="1809">
                  <c:v>3.2263242375601901E-2</c:v>
                </c:pt>
                <c:pt idx="1810">
                  <c:v>3.2281077224897398E-2</c:v>
                </c:pt>
                <c:pt idx="1811">
                  <c:v>3.2298912074192901E-2</c:v>
                </c:pt>
                <c:pt idx="1812">
                  <c:v>3.2316746923488397E-2</c:v>
                </c:pt>
                <c:pt idx="1813">
                  <c:v>3.2334581772783998E-2</c:v>
                </c:pt>
                <c:pt idx="1814">
                  <c:v>3.2352416622079501E-2</c:v>
                </c:pt>
                <c:pt idx="1815">
                  <c:v>3.2370251471374997E-2</c:v>
                </c:pt>
                <c:pt idx="1816">
                  <c:v>3.2388086320670501E-2</c:v>
                </c:pt>
                <c:pt idx="1817">
                  <c:v>3.2405921169966101E-2</c:v>
                </c:pt>
                <c:pt idx="1818">
                  <c:v>3.2423756019261597E-2</c:v>
                </c:pt>
                <c:pt idx="1819">
                  <c:v>3.2441590868557101E-2</c:v>
                </c:pt>
                <c:pt idx="1820">
                  <c:v>3.2459425717852597E-2</c:v>
                </c:pt>
                <c:pt idx="1821">
                  <c:v>3.2477260567148197E-2</c:v>
                </c:pt>
                <c:pt idx="1822">
                  <c:v>3.2495095416443701E-2</c:v>
                </c:pt>
                <c:pt idx="1823">
                  <c:v>3.2512930265739197E-2</c:v>
                </c:pt>
                <c:pt idx="1824">
                  <c:v>3.25307651150347E-2</c:v>
                </c:pt>
                <c:pt idx="1825">
                  <c:v>3.2548599964330301E-2</c:v>
                </c:pt>
                <c:pt idx="1826">
                  <c:v>3.2566434813625797E-2</c:v>
                </c:pt>
                <c:pt idx="1827">
                  <c:v>3.25842696629213E-2</c:v>
                </c:pt>
                <c:pt idx="1828">
                  <c:v>3.2602104512216797E-2</c:v>
                </c:pt>
                <c:pt idx="1829">
                  <c:v>3.2619939361512397E-2</c:v>
                </c:pt>
                <c:pt idx="1830">
                  <c:v>3.26377742108079E-2</c:v>
                </c:pt>
                <c:pt idx="1831">
                  <c:v>3.2655609060103397E-2</c:v>
                </c:pt>
                <c:pt idx="1832">
                  <c:v>3.26734439093989E-2</c:v>
                </c:pt>
                <c:pt idx="1833">
                  <c:v>3.2691278758694403E-2</c:v>
                </c:pt>
                <c:pt idx="1834">
                  <c:v>3.2709113607989997E-2</c:v>
                </c:pt>
                <c:pt idx="1835">
                  <c:v>3.27269484572855E-2</c:v>
                </c:pt>
                <c:pt idx="1836">
                  <c:v>3.2744783306581003E-2</c:v>
                </c:pt>
                <c:pt idx="1837">
                  <c:v>3.27626181558765E-2</c:v>
                </c:pt>
                <c:pt idx="1838">
                  <c:v>3.27804530051721E-2</c:v>
                </c:pt>
                <c:pt idx="1839">
                  <c:v>3.2798287854467603E-2</c:v>
                </c:pt>
                <c:pt idx="1840">
                  <c:v>3.28161227037631E-2</c:v>
                </c:pt>
                <c:pt idx="1841">
                  <c:v>3.2833957553058603E-2</c:v>
                </c:pt>
                <c:pt idx="1842">
                  <c:v>3.2851792402354203E-2</c:v>
                </c:pt>
                <c:pt idx="1843">
                  <c:v>3.28696272516497E-2</c:v>
                </c:pt>
                <c:pt idx="1844">
                  <c:v>3.2887462100945203E-2</c:v>
                </c:pt>
                <c:pt idx="1845">
                  <c:v>3.2905296950240699E-2</c:v>
                </c:pt>
                <c:pt idx="1846">
                  <c:v>3.2923131799536202E-2</c:v>
                </c:pt>
                <c:pt idx="1847">
                  <c:v>3.2940966648831803E-2</c:v>
                </c:pt>
                <c:pt idx="1848">
                  <c:v>3.2958801498127299E-2</c:v>
                </c:pt>
                <c:pt idx="1849">
                  <c:v>3.2976636347422802E-2</c:v>
                </c:pt>
                <c:pt idx="1850">
                  <c:v>3.2994471196718299E-2</c:v>
                </c:pt>
                <c:pt idx="1851">
                  <c:v>3.3012306046013899E-2</c:v>
                </c:pt>
                <c:pt idx="1852">
                  <c:v>3.3030140895309403E-2</c:v>
                </c:pt>
                <c:pt idx="1853">
                  <c:v>3.3047975744604899E-2</c:v>
                </c:pt>
                <c:pt idx="1854">
                  <c:v>3.3065810593900402E-2</c:v>
                </c:pt>
                <c:pt idx="1855">
                  <c:v>3.3083645443196003E-2</c:v>
                </c:pt>
                <c:pt idx="1856">
                  <c:v>3.3101480292491499E-2</c:v>
                </c:pt>
                <c:pt idx="1857">
                  <c:v>3.3119315141787002E-2</c:v>
                </c:pt>
                <c:pt idx="1858">
                  <c:v>3.3137149991082498E-2</c:v>
                </c:pt>
                <c:pt idx="1859">
                  <c:v>3.3154984840378099E-2</c:v>
                </c:pt>
                <c:pt idx="1860">
                  <c:v>3.3172819689673602E-2</c:v>
                </c:pt>
                <c:pt idx="1861">
                  <c:v>3.3190654538969099E-2</c:v>
                </c:pt>
                <c:pt idx="1862">
                  <c:v>3.3208489388264602E-2</c:v>
                </c:pt>
                <c:pt idx="1863">
                  <c:v>3.3226324237560098E-2</c:v>
                </c:pt>
                <c:pt idx="1864">
                  <c:v>3.3244159086855699E-2</c:v>
                </c:pt>
                <c:pt idx="1865">
                  <c:v>3.3261993936151202E-2</c:v>
                </c:pt>
                <c:pt idx="1866">
                  <c:v>3.3279828785446698E-2</c:v>
                </c:pt>
                <c:pt idx="1867">
                  <c:v>3.3297663634742201E-2</c:v>
                </c:pt>
                <c:pt idx="1868">
                  <c:v>3.3315498484037802E-2</c:v>
                </c:pt>
                <c:pt idx="1869">
                  <c:v>3.3333333333333298E-2</c:v>
                </c:pt>
                <c:pt idx="1870">
                  <c:v>3.3351168182628801E-2</c:v>
                </c:pt>
                <c:pt idx="1871">
                  <c:v>3.3369003031924298E-2</c:v>
                </c:pt>
                <c:pt idx="1872">
                  <c:v>3.3386837881219898E-2</c:v>
                </c:pt>
                <c:pt idx="1873">
                  <c:v>3.3404672730515401E-2</c:v>
                </c:pt>
                <c:pt idx="1874">
                  <c:v>3.3422507579810898E-2</c:v>
                </c:pt>
                <c:pt idx="1875">
                  <c:v>3.3440342429106401E-2</c:v>
                </c:pt>
                <c:pt idx="1876">
                  <c:v>3.3458177278401897E-2</c:v>
                </c:pt>
                <c:pt idx="1877">
                  <c:v>3.3476012127697498E-2</c:v>
                </c:pt>
                <c:pt idx="1878">
                  <c:v>3.3493846976993001E-2</c:v>
                </c:pt>
                <c:pt idx="1879">
                  <c:v>3.3511681826288497E-2</c:v>
                </c:pt>
                <c:pt idx="1880">
                  <c:v>3.3529516675584001E-2</c:v>
                </c:pt>
                <c:pt idx="1881">
                  <c:v>3.3547351524879601E-2</c:v>
                </c:pt>
                <c:pt idx="1882">
                  <c:v>3.3565186374175097E-2</c:v>
                </c:pt>
                <c:pt idx="1883">
                  <c:v>3.3583021223470601E-2</c:v>
                </c:pt>
                <c:pt idx="1884">
                  <c:v>3.3600856072766097E-2</c:v>
                </c:pt>
                <c:pt idx="1885">
                  <c:v>3.3618690922061698E-2</c:v>
                </c:pt>
                <c:pt idx="1886">
                  <c:v>3.3636525771357201E-2</c:v>
                </c:pt>
                <c:pt idx="1887">
                  <c:v>3.3654360620652697E-2</c:v>
                </c:pt>
                <c:pt idx="1888">
                  <c:v>3.36721954699482E-2</c:v>
                </c:pt>
                <c:pt idx="1889">
                  <c:v>3.3690030319243801E-2</c:v>
                </c:pt>
                <c:pt idx="1890">
                  <c:v>3.3707865168539297E-2</c:v>
                </c:pt>
                <c:pt idx="1891">
                  <c:v>3.37257000178348E-2</c:v>
                </c:pt>
                <c:pt idx="1892">
                  <c:v>3.3743534867130297E-2</c:v>
                </c:pt>
                <c:pt idx="1893">
                  <c:v>3.3761369716425897E-2</c:v>
                </c:pt>
                <c:pt idx="1894">
                  <c:v>3.37792045657214E-2</c:v>
                </c:pt>
                <c:pt idx="1895">
                  <c:v>3.3797039415016897E-2</c:v>
                </c:pt>
                <c:pt idx="1896">
                  <c:v>3.38148742643124E-2</c:v>
                </c:pt>
                <c:pt idx="1897">
                  <c:v>3.3832709113607903E-2</c:v>
                </c:pt>
                <c:pt idx="1898">
                  <c:v>3.3850543962903497E-2</c:v>
                </c:pt>
                <c:pt idx="1899">
                  <c:v>3.3868378812199E-2</c:v>
                </c:pt>
                <c:pt idx="1900">
                  <c:v>3.3886213661494503E-2</c:v>
                </c:pt>
                <c:pt idx="1901">
                  <c:v>3.390404851079E-2</c:v>
                </c:pt>
                <c:pt idx="1902">
                  <c:v>3.39218833600856E-2</c:v>
                </c:pt>
                <c:pt idx="1903">
                  <c:v>3.3939718209381103E-2</c:v>
                </c:pt>
                <c:pt idx="1904">
                  <c:v>3.39575530586766E-2</c:v>
                </c:pt>
                <c:pt idx="1905">
                  <c:v>3.3975387907972103E-2</c:v>
                </c:pt>
                <c:pt idx="1906">
                  <c:v>3.3993222757267703E-2</c:v>
                </c:pt>
                <c:pt idx="1907">
                  <c:v>3.40110576065632E-2</c:v>
                </c:pt>
                <c:pt idx="1908">
                  <c:v>3.4028892455858703E-2</c:v>
                </c:pt>
                <c:pt idx="1909">
                  <c:v>3.4046727305154199E-2</c:v>
                </c:pt>
                <c:pt idx="1910">
                  <c:v>3.4064562154449703E-2</c:v>
                </c:pt>
                <c:pt idx="1911">
                  <c:v>3.4082397003745303E-2</c:v>
                </c:pt>
                <c:pt idx="1912">
                  <c:v>3.4100231853040799E-2</c:v>
                </c:pt>
                <c:pt idx="1913">
                  <c:v>3.4118066702336303E-2</c:v>
                </c:pt>
                <c:pt idx="1914">
                  <c:v>3.4135901551631799E-2</c:v>
                </c:pt>
                <c:pt idx="1915">
                  <c:v>3.4153736400927399E-2</c:v>
                </c:pt>
                <c:pt idx="1916">
                  <c:v>3.4171571250222903E-2</c:v>
                </c:pt>
                <c:pt idx="1917">
                  <c:v>3.4189406099518399E-2</c:v>
                </c:pt>
                <c:pt idx="1918">
                  <c:v>3.4207240948813902E-2</c:v>
                </c:pt>
                <c:pt idx="1919">
                  <c:v>3.4225075798109503E-2</c:v>
                </c:pt>
                <c:pt idx="1920">
                  <c:v>3.4242910647404999E-2</c:v>
                </c:pt>
                <c:pt idx="1921">
                  <c:v>3.4260745496700502E-2</c:v>
                </c:pt>
                <c:pt idx="1922">
                  <c:v>3.4278580345995999E-2</c:v>
                </c:pt>
                <c:pt idx="1923">
                  <c:v>3.4296415195291599E-2</c:v>
                </c:pt>
                <c:pt idx="1924">
                  <c:v>3.4314250044587102E-2</c:v>
                </c:pt>
                <c:pt idx="1925">
                  <c:v>3.4332084893882599E-2</c:v>
                </c:pt>
                <c:pt idx="1926">
                  <c:v>3.4349919743178102E-2</c:v>
                </c:pt>
                <c:pt idx="1927">
                  <c:v>3.4367754592473598E-2</c:v>
                </c:pt>
                <c:pt idx="1928">
                  <c:v>3.4385589441769199E-2</c:v>
                </c:pt>
                <c:pt idx="1929">
                  <c:v>3.4403424291064702E-2</c:v>
                </c:pt>
                <c:pt idx="1930">
                  <c:v>3.4421259140360198E-2</c:v>
                </c:pt>
                <c:pt idx="1931">
                  <c:v>3.4439093989655702E-2</c:v>
                </c:pt>
                <c:pt idx="1932">
                  <c:v>3.4456928838951302E-2</c:v>
                </c:pt>
                <c:pt idx="1933">
                  <c:v>3.4474763688246798E-2</c:v>
                </c:pt>
                <c:pt idx="1934">
                  <c:v>3.4492598537542302E-2</c:v>
                </c:pt>
                <c:pt idx="1935">
                  <c:v>3.4510433386837798E-2</c:v>
                </c:pt>
                <c:pt idx="1936">
                  <c:v>3.4528268236133398E-2</c:v>
                </c:pt>
                <c:pt idx="1937">
                  <c:v>3.4546103085428902E-2</c:v>
                </c:pt>
                <c:pt idx="1938">
                  <c:v>3.4563937934724398E-2</c:v>
                </c:pt>
                <c:pt idx="1939">
                  <c:v>3.4581772784019901E-2</c:v>
                </c:pt>
                <c:pt idx="1940">
                  <c:v>3.4599607633315502E-2</c:v>
                </c:pt>
                <c:pt idx="1941">
                  <c:v>3.4617442482610998E-2</c:v>
                </c:pt>
                <c:pt idx="1942">
                  <c:v>3.4635277331906501E-2</c:v>
                </c:pt>
                <c:pt idx="1943">
                  <c:v>3.4653112181201998E-2</c:v>
                </c:pt>
                <c:pt idx="1944">
                  <c:v>3.4670947030497501E-2</c:v>
                </c:pt>
                <c:pt idx="1945">
                  <c:v>3.4688781879793101E-2</c:v>
                </c:pt>
                <c:pt idx="1946">
                  <c:v>3.4706616729088598E-2</c:v>
                </c:pt>
                <c:pt idx="1947">
                  <c:v>3.4724451578384101E-2</c:v>
                </c:pt>
                <c:pt idx="1948">
                  <c:v>3.4742286427679597E-2</c:v>
                </c:pt>
                <c:pt idx="1949">
                  <c:v>3.4760121276975198E-2</c:v>
                </c:pt>
                <c:pt idx="1950">
                  <c:v>3.4777956126270701E-2</c:v>
                </c:pt>
                <c:pt idx="1951">
                  <c:v>3.4795790975566197E-2</c:v>
                </c:pt>
                <c:pt idx="1952">
                  <c:v>3.4813625824861701E-2</c:v>
                </c:pt>
                <c:pt idx="1953">
                  <c:v>3.4831460674157301E-2</c:v>
                </c:pt>
                <c:pt idx="1954">
                  <c:v>3.4849295523452797E-2</c:v>
                </c:pt>
                <c:pt idx="1955">
                  <c:v>3.4867130372748301E-2</c:v>
                </c:pt>
                <c:pt idx="1956">
                  <c:v>3.4884965222043797E-2</c:v>
                </c:pt>
                <c:pt idx="1957">
                  <c:v>3.4902800071339397E-2</c:v>
                </c:pt>
                <c:pt idx="1958">
                  <c:v>3.4920634920634901E-2</c:v>
                </c:pt>
                <c:pt idx="1959">
                  <c:v>3.4938469769930397E-2</c:v>
                </c:pt>
                <c:pt idx="1960">
                  <c:v>3.49563046192259E-2</c:v>
                </c:pt>
                <c:pt idx="1961">
                  <c:v>3.4974139468521397E-2</c:v>
                </c:pt>
                <c:pt idx="1962">
                  <c:v>3.4991974317816997E-2</c:v>
                </c:pt>
                <c:pt idx="1963">
                  <c:v>3.50098091671125E-2</c:v>
                </c:pt>
                <c:pt idx="1964">
                  <c:v>3.5027644016407997E-2</c:v>
                </c:pt>
                <c:pt idx="1965">
                  <c:v>3.50454788657035E-2</c:v>
                </c:pt>
                <c:pt idx="1966">
                  <c:v>3.50633137149991E-2</c:v>
                </c:pt>
                <c:pt idx="1967">
                  <c:v>3.5081148564294597E-2</c:v>
                </c:pt>
                <c:pt idx="1968">
                  <c:v>3.50989834135901E-2</c:v>
                </c:pt>
                <c:pt idx="1969">
                  <c:v>3.5116818262885603E-2</c:v>
                </c:pt>
                <c:pt idx="1970">
                  <c:v>3.5134653112181197E-2</c:v>
                </c:pt>
                <c:pt idx="1971">
                  <c:v>3.51524879614767E-2</c:v>
                </c:pt>
                <c:pt idx="1972">
                  <c:v>3.5170322810772203E-2</c:v>
                </c:pt>
                <c:pt idx="1973">
                  <c:v>3.51881576600677E-2</c:v>
                </c:pt>
                <c:pt idx="1974">
                  <c:v>3.5205992509363203E-2</c:v>
                </c:pt>
                <c:pt idx="1975">
                  <c:v>3.5223827358658803E-2</c:v>
                </c:pt>
                <c:pt idx="1976">
                  <c:v>3.52416622079543E-2</c:v>
                </c:pt>
                <c:pt idx="1977">
                  <c:v>3.5259497057249803E-2</c:v>
                </c:pt>
                <c:pt idx="1978">
                  <c:v>3.5277331906545299E-2</c:v>
                </c:pt>
                <c:pt idx="1979">
                  <c:v>3.52951667558409E-2</c:v>
                </c:pt>
                <c:pt idx="1980">
                  <c:v>3.5313001605136403E-2</c:v>
                </c:pt>
                <c:pt idx="1981">
                  <c:v>3.5330836454431899E-2</c:v>
                </c:pt>
                <c:pt idx="1982">
                  <c:v>3.5348671303727403E-2</c:v>
                </c:pt>
                <c:pt idx="1983">
                  <c:v>3.5366506153023003E-2</c:v>
                </c:pt>
                <c:pt idx="1984">
                  <c:v>3.5384341002318499E-2</c:v>
                </c:pt>
                <c:pt idx="1985">
                  <c:v>3.5402175851614003E-2</c:v>
                </c:pt>
                <c:pt idx="1986">
                  <c:v>3.5420010700909499E-2</c:v>
                </c:pt>
                <c:pt idx="1987">
                  <c:v>3.5437845550205099E-2</c:v>
                </c:pt>
                <c:pt idx="1988">
                  <c:v>3.5455680399500603E-2</c:v>
                </c:pt>
                <c:pt idx="1989">
                  <c:v>3.5473515248796099E-2</c:v>
                </c:pt>
                <c:pt idx="1990">
                  <c:v>3.5491350098091602E-2</c:v>
                </c:pt>
                <c:pt idx="1991">
                  <c:v>3.5509184947387099E-2</c:v>
                </c:pt>
                <c:pt idx="1992">
                  <c:v>3.5527019796682699E-2</c:v>
                </c:pt>
                <c:pt idx="1993">
                  <c:v>3.5544854645978202E-2</c:v>
                </c:pt>
                <c:pt idx="1994">
                  <c:v>3.5562689495273699E-2</c:v>
                </c:pt>
                <c:pt idx="1995">
                  <c:v>3.5580524344569202E-2</c:v>
                </c:pt>
                <c:pt idx="1996">
                  <c:v>3.5598359193864802E-2</c:v>
                </c:pt>
                <c:pt idx="1997">
                  <c:v>3.5616194043160299E-2</c:v>
                </c:pt>
                <c:pt idx="1998">
                  <c:v>3.5634028892455802E-2</c:v>
                </c:pt>
                <c:pt idx="1999">
                  <c:v>3.5651863741751298E-2</c:v>
                </c:pt>
                <c:pt idx="2000">
                  <c:v>3.5669698591046899E-2</c:v>
                </c:pt>
                <c:pt idx="2001">
                  <c:v>3.5687533440342402E-2</c:v>
                </c:pt>
                <c:pt idx="2002">
                  <c:v>3.5705368289637898E-2</c:v>
                </c:pt>
                <c:pt idx="2003">
                  <c:v>3.5723203138933401E-2</c:v>
                </c:pt>
                <c:pt idx="2004">
                  <c:v>3.5741037988229002E-2</c:v>
                </c:pt>
                <c:pt idx="2005">
                  <c:v>3.5758872837524498E-2</c:v>
                </c:pt>
                <c:pt idx="2006">
                  <c:v>3.5776707686820002E-2</c:v>
                </c:pt>
                <c:pt idx="2007">
                  <c:v>3.5794542536115498E-2</c:v>
                </c:pt>
                <c:pt idx="2008">
                  <c:v>3.5812377385411001E-2</c:v>
                </c:pt>
                <c:pt idx="2009">
                  <c:v>3.5830212234706602E-2</c:v>
                </c:pt>
                <c:pt idx="2010">
                  <c:v>3.5848047084002098E-2</c:v>
                </c:pt>
                <c:pt idx="2011">
                  <c:v>3.5865881933297601E-2</c:v>
                </c:pt>
                <c:pt idx="2012">
                  <c:v>3.5883716782593097E-2</c:v>
                </c:pt>
                <c:pt idx="2013">
                  <c:v>3.5901551631888698E-2</c:v>
                </c:pt>
                <c:pt idx="2014">
                  <c:v>3.5919386481184201E-2</c:v>
                </c:pt>
                <c:pt idx="2015">
                  <c:v>3.5937221330479698E-2</c:v>
                </c:pt>
                <c:pt idx="2016">
                  <c:v>3.5955056179775201E-2</c:v>
                </c:pt>
                <c:pt idx="2017">
                  <c:v>3.5972891029070801E-2</c:v>
                </c:pt>
                <c:pt idx="2018">
                  <c:v>3.5990725878366298E-2</c:v>
                </c:pt>
                <c:pt idx="2019">
                  <c:v>3.6008560727661801E-2</c:v>
                </c:pt>
                <c:pt idx="2020">
                  <c:v>3.6026395576957297E-2</c:v>
                </c:pt>
                <c:pt idx="2021">
                  <c:v>3.6044230426252898E-2</c:v>
                </c:pt>
                <c:pt idx="2022">
                  <c:v>3.6062065275548401E-2</c:v>
                </c:pt>
                <c:pt idx="2023">
                  <c:v>3.6079900124843897E-2</c:v>
                </c:pt>
                <c:pt idx="2024">
                  <c:v>3.60977349741394E-2</c:v>
                </c:pt>
                <c:pt idx="2025">
                  <c:v>3.6115569823434897E-2</c:v>
                </c:pt>
                <c:pt idx="2026">
                  <c:v>3.6133404672730497E-2</c:v>
                </c:pt>
                <c:pt idx="2027">
                  <c:v>3.6151239522026E-2</c:v>
                </c:pt>
                <c:pt idx="2028">
                  <c:v>3.6169074371321497E-2</c:v>
                </c:pt>
                <c:pt idx="2029">
                  <c:v>3.6186909220617E-2</c:v>
                </c:pt>
                <c:pt idx="2030">
                  <c:v>3.6204744069912601E-2</c:v>
                </c:pt>
                <c:pt idx="2031">
                  <c:v>3.6222578919208097E-2</c:v>
                </c:pt>
                <c:pt idx="2032">
                  <c:v>3.62404137685036E-2</c:v>
                </c:pt>
                <c:pt idx="2033">
                  <c:v>3.6258248617799103E-2</c:v>
                </c:pt>
                <c:pt idx="2034">
                  <c:v>3.6276083467094697E-2</c:v>
                </c:pt>
                <c:pt idx="2035">
                  <c:v>3.62939183163902E-2</c:v>
                </c:pt>
                <c:pt idx="2036">
                  <c:v>3.6311753165685703E-2</c:v>
                </c:pt>
                <c:pt idx="2037">
                  <c:v>3.63295880149812E-2</c:v>
                </c:pt>
                <c:pt idx="2038">
                  <c:v>3.63474228642768E-2</c:v>
                </c:pt>
                <c:pt idx="2039">
                  <c:v>3.6365257713572303E-2</c:v>
                </c:pt>
                <c:pt idx="2040">
                  <c:v>3.63830925628678E-2</c:v>
                </c:pt>
                <c:pt idx="2041">
                  <c:v>3.6400927412163303E-2</c:v>
                </c:pt>
                <c:pt idx="2042">
                  <c:v>3.6418762261458799E-2</c:v>
                </c:pt>
                <c:pt idx="2043">
                  <c:v>3.64365971107544E-2</c:v>
                </c:pt>
                <c:pt idx="2044">
                  <c:v>3.6454431960049903E-2</c:v>
                </c:pt>
                <c:pt idx="2045">
                  <c:v>3.6472266809345399E-2</c:v>
                </c:pt>
                <c:pt idx="2046">
                  <c:v>3.6490101658640903E-2</c:v>
                </c:pt>
                <c:pt idx="2047">
                  <c:v>3.6507936507936503E-2</c:v>
                </c:pt>
                <c:pt idx="2048">
                  <c:v>3.6525771357231999E-2</c:v>
                </c:pt>
                <c:pt idx="2049">
                  <c:v>3.6543606206527503E-2</c:v>
                </c:pt>
                <c:pt idx="2050">
                  <c:v>3.6561441055822999E-2</c:v>
                </c:pt>
                <c:pt idx="2051">
                  <c:v>3.6579275905118599E-2</c:v>
                </c:pt>
                <c:pt idx="2052">
                  <c:v>3.6597110754414103E-2</c:v>
                </c:pt>
                <c:pt idx="2053">
                  <c:v>3.6614945603709599E-2</c:v>
                </c:pt>
                <c:pt idx="2054">
                  <c:v>3.6632780453005102E-2</c:v>
                </c:pt>
                <c:pt idx="2055">
                  <c:v>3.6650615302300599E-2</c:v>
                </c:pt>
                <c:pt idx="2056">
                  <c:v>3.6668450151596199E-2</c:v>
                </c:pt>
                <c:pt idx="2057">
                  <c:v>3.6686285000891702E-2</c:v>
                </c:pt>
                <c:pt idx="2058">
                  <c:v>3.6704119850187199E-2</c:v>
                </c:pt>
                <c:pt idx="2059">
                  <c:v>3.6721954699482702E-2</c:v>
                </c:pt>
                <c:pt idx="2060">
                  <c:v>3.6739789548778302E-2</c:v>
                </c:pt>
                <c:pt idx="2061">
                  <c:v>3.6757624398073799E-2</c:v>
                </c:pt>
                <c:pt idx="2062">
                  <c:v>3.6775459247369302E-2</c:v>
                </c:pt>
                <c:pt idx="2063">
                  <c:v>3.6793294096664798E-2</c:v>
                </c:pt>
                <c:pt idx="2064">
                  <c:v>3.6811128945960399E-2</c:v>
                </c:pt>
                <c:pt idx="2065">
                  <c:v>3.6828963795255902E-2</c:v>
                </c:pt>
                <c:pt idx="2066">
                  <c:v>3.6846798644551398E-2</c:v>
                </c:pt>
                <c:pt idx="2067">
                  <c:v>3.6864633493846902E-2</c:v>
                </c:pt>
                <c:pt idx="2068">
                  <c:v>3.6882468343142502E-2</c:v>
                </c:pt>
                <c:pt idx="2069">
                  <c:v>3.6900303192437998E-2</c:v>
                </c:pt>
                <c:pt idx="2070">
                  <c:v>3.6918138041733502E-2</c:v>
                </c:pt>
                <c:pt idx="2071">
                  <c:v>3.6935972891028998E-2</c:v>
                </c:pt>
                <c:pt idx="2072">
                  <c:v>3.6953807740324501E-2</c:v>
                </c:pt>
                <c:pt idx="2073">
                  <c:v>3.6971642589620102E-2</c:v>
                </c:pt>
                <c:pt idx="2074">
                  <c:v>3.6989477438915598E-2</c:v>
                </c:pt>
                <c:pt idx="2075">
                  <c:v>3.7007312288211101E-2</c:v>
                </c:pt>
                <c:pt idx="2076">
                  <c:v>3.7025147137506598E-2</c:v>
                </c:pt>
                <c:pt idx="2077">
                  <c:v>3.7042981986802198E-2</c:v>
                </c:pt>
                <c:pt idx="2078">
                  <c:v>3.7060816836097701E-2</c:v>
                </c:pt>
                <c:pt idx="2079">
                  <c:v>3.7078651685393198E-2</c:v>
                </c:pt>
                <c:pt idx="2080">
                  <c:v>3.7096486534688701E-2</c:v>
                </c:pt>
                <c:pt idx="2081">
                  <c:v>3.7114321383984301E-2</c:v>
                </c:pt>
                <c:pt idx="2082">
                  <c:v>3.7132156233279798E-2</c:v>
                </c:pt>
                <c:pt idx="2083">
                  <c:v>3.7149991082575301E-2</c:v>
                </c:pt>
                <c:pt idx="2084">
                  <c:v>3.7167825931870797E-2</c:v>
                </c:pt>
                <c:pt idx="2085">
                  <c:v>3.7185660781166398E-2</c:v>
                </c:pt>
                <c:pt idx="2086">
                  <c:v>3.7203495630461901E-2</c:v>
                </c:pt>
                <c:pt idx="2087">
                  <c:v>3.7221330479757397E-2</c:v>
                </c:pt>
                <c:pt idx="2088">
                  <c:v>3.7239165329052901E-2</c:v>
                </c:pt>
                <c:pt idx="2089">
                  <c:v>3.7257000178348397E-2</c:v>
                </c:pt>
                <c:pt idx="2090">
                  <c:v>3.7274835027643997E-2</c:v>
                </c:pt>
                <c:pt idx="2091">
                  <c:v>3.7292669876939501E-2</c:v>
                </c:pt>
                <c:pt idx="2092">
                  <c:v>3.7310504726234997E-2</c:v>
                </c:pt>
                <c:pt idx="2093">
                  <c:v>3.73283395755305E-2</c:v>
                </c:pt>
                <c:pt idx="2094">
                  <c:v>3.7346174424826101E-2</c:v>
                </c:pt>
                <c:pt idx="2095">
                  <c:v>3.7364009274121597E-2</c:v>
                </c:pt>
                <c:pt idx="2096">
                  <c:v>3.73818441234171E-2</c:v>
                </c:pt>
                <c:pt idx="2097">
                  <c:v>3.7399678972712597E-2</c:v>
                </c:pt>
                <c:pt idx="2098">
                  <c:v>3.7417513822008197E-2</c:v>
                </c:pt>
                <c:pt idx="2099">
                  <c:v>3.74353486713037E-2</c:v>
                </c:pt>
                <c:pt idx="2100">
                  <c:v>3.7453183520599197E-2</c:v>
                </c:pt>
                <c:pt idx="2101">
                  <c:v>3.74710183698947E-2</c:v>
                </c:pt>
                <c:pt idx="2102">
                  <c:v>3.74888532191903E-2</c:v>
                </c:pt>
                <c:pt idx="2103">
                  <c:v>3.7506688068485797E-2</c:v>
                </c:pt>
                <c:pt idx="2104">
                  <c:v>3.75245229177813E-2</c:v>
                </c:pt>
                <c:pt idx="2105">
                  <c:v>3.7542357767076803E-2</c:v>
                </c:pt>
                <c:pt idx="2106">
                  <c:v>3.75601926163723E-2</c:v>
                </c:pt>
                <c:pt idx="2107">
                  <c:v>3.75780274656679E-2</c:v>
                </c:pt>
                <c:pt idx="2108">
                  <c:v>3.7595862314963403E-2</c:v>
                </c:pt>
                <c:pt idx="2109">
                  <c:v>3.76136971642589E-2</c:v>
                </c:pt>
                <c:pt idx="2110">
                  <c:v>3.7631532013554403E-2</c:v>
                </c:pt>
                <c:pt idx="2111">
                  <c:v>3.7649366862850003E-2</c:v>
                </c:pt>
                <c:pt idx="2112">
                  <c:v>3.76672017121455E-2</c:v>
                </c:pt>
                <c:pt idx="2113">
                  <c:v>3.7685036561441003E-2</c:v>
                </c:pt>
                <c:pt idx="2114">
                  <c:v>3.7702871410736499E-2</c:v>
                </c:pt>
                <c:pt idx="2115">
                  <c:v>3.77207062600321E-2</c:v>
                </c:pt>
                <c:pt idx="2116">
                  <c:v>3.7738541109327603E-2</c:v>
                </c:pt>
                <c:pt idx="2117">
                  <c:v>3.7756375958623099E-2</c:v>
                </c:pt>
                <c:pt idx="2118">
                  <c:v>3.7774210807918603E-2</c:v>
                </c:pt>
                <c:pt idx="2119">
                  <c:v>3.7792045657214099E-2</c:v>
                </c:pt>
                <c:pt idx="2120">
                  <c:v>3.7809880506509699E-2</c:v>
                </c:pt>
                <c:pt idx="2121">
                  <c:v>3.7827715355805203E-2</c:v>
                </c:pt>
                <c:pt idx="2122">
                  <c:v>3.7845550205100699E-2</c:v>
                </c:pt>
                <c:pt idx="2123">
                  <c:v>3.7863385054396202E-2</c:v>
                </c:pt>
                <c:pt idx="2124">
                  <c:v>3.7881219903691803E-2</c:v>
                </c:pt>
                <c:pt idx="2125">
                  <c:v>3.7899054752987299E-2</c:v>
                </c:pt>
                <c:pt idx="2126">
                  <c:v>3.7916889602282802E-2</c:v>
                </c:pt>
                <c:pt idx="2127">
                  <c:v>3.7934724451578299E-2</c:v>
                </c:pt>
                <c:pt idx="2128">
                  <c:v>3.7952559300873899E-2</c:v>
                </c:pt>
                <c:pt idx="2129">
                  <c:v>3.7970394150169402E-2</c:v>
                </c:pt>
                <c:pt idx="2130">
                  <c:v>3.7988228999464899E-2</c:v>
                </c:pt>
                <c:pt idx="2131">
                  <c:v>3.8006063848760402E-2</c:v>
                </c:pt>
                <c:pt idx="2132">
                  <c:v>3.8023898698056002E-2</c:v>
                </c:pt>
                <c:pt idx="2133">
                  <c:v>3.8041733547351499E-2</c:v>
                </c:pt>
                <c:pt idx="2134">
                  <c:v>3.8059568396647002E-2</c:v>
                </c:pt>
                <c:pt idx="2135">
                  <c:v>3.8077403245942498E-2</c:v>
                </c:pt>
                <c:pt idx="2136">
                  <c:v>3.8095238095238099E-2</c:v>
                </c:pt>
                <c:pt idx="2137">
                  <c:v>3.8113072944533602E-2</c:v>
                </c:pt>
                <c:pt idx="2138">
                  <c:v>3.8130907793829098E-2</c:v>
                </c:pt>
                <c:pt idx="2139">
                  <c:v>3.8148742643124602E-2</c:v>
                </c:pt>
                <c:pt idx="2140">
                  <c:v>3.8166577492420098E-2</c:v>
                </c:pt>
                <c:pt idx="2141">
                  <c:v>3.8184412341715698E-2</c:v>
                </c:pt>
                <c:pt idx="2142">
                  <c:v>3.8202247191011202E-2</c:v>
                </c:pt>
                <c:pt idx="2143">
                  <c:v>3.8220082040306698E-2</c:v>
                </c:pt>
                <c:pt idx="2144">
                  <c:v>3.8237916889602201E-2</c:v>
                </c:pt>
                <c:pt idx="2145">
                  <c:v>3.8255751738897802E-2</c:v>
                </c:pt>
                <c:pt idx="2146">
                  <c:v>3.8273586588193298E-2</c:v>
                </c:pt>
                <c:pt idx="2147">
                  <c:v>3.8291421437488801E-2</c:v>
                </c:pt>
                <c:pt idx="2148">
                  <c:v>3.8309256286784298E-2</c:v>
                </c:pt>
                <c:pt idx="2149">
                  <c:v>3.8327091136079898E-2</c:v>
                </c:pt>
                <c:pt idx="2150">
                  <c:v>3.8344925985375401E-2</c:v>
                </c:pt>
                <c:pt idx="2151">
                  <c:v>3.8362760834670898E-2</c:v>
                </c:pt>
                <c:pt idx="2152">
                  <c:v>3.8380595683966401E-2</c:v>
                </c:pt>
                <c:pt idx="2153">
                  <c:v>3.8398430533261897E-2</c:v>
                </c:pt>
                <c:pt idx="2154">
                  <c:v>3.8416265382557498E-2</c:v>
                </c:pt>
                <c:pt idx="2155">
                  <c:v>3.8434100231853001E-2</c:v>
                </c:pt>
                <c:pt idx="2156">
                  <c:v>3.8451935081148497E-2</c:v>
                </c:pt>
                <c:pt idx="2157">
                  <c:v>3.8469769930444001E-2</c:v>
                </c:pt>
                <c:pt idx="2158">
                  <c:v>3.8487604779739601E-2</c:v>
                </c:pt>
                <c:pt idx="2159">
                  <c:v>3.8505439629035097E-2</c:v>
                </c:pt>
                <c:pt idx="2160">
                  <c:v>3.8523274478330601E-2</c:v>
                </c:pt>
                <c:pt idx="2161">
                  <c:v>3.8541109327626097E-2</c:v>
                </c:pt>
                <c:pt idx="2162">
                  <c:v>3.8558944176921697E-2</c:v>
                </c:pt>
                <c:pt idx="2163">
                  <c:v>3.8576779026217201E-2</c:v>
                </c:pt>
                <c:pt idx="2164">
                  <c:v>3.8594613875512697E-2</c:v>
                </c:pt>
                <c:pt idx="2165">
                  <c:v>3.86124487248082E-2</c:v>
                </c:pt>
                <c:pt idx="2166">
                  <c:v>3.8630283574103801E-2</c:v>
                </c:pt>
                <c:pt idx="2167">
                  <c:v>3.8648118423399297E-2</c:v>
                </c:pt>
                <c:pt idx="2168">
                  <c:v>3.86659532726948E-2</c:v>
                </c:pt>
                <c:pt idx="2169">
                  <c:v>3.8683788121990297E-2</c:v>
                </c:pt>
                <c:pt idx="2170">
                  <c:v>3.87016229712858E-2</c:v>
                </c:pt>
                <c:pt idx="2171">
                  <c:v>3.87194578205814E-2</c:v>
                </c:pt>
                <c:pt idx="2172">
                  <c:v>3.8737292669876897E-2</c:v>
                </c:pt>
                <c:pt idx="2173">
                  <c:v>3.87551275191724E-2</c:v>
                </c:pt>
                <c:pt idx="2174">
                  <c:v>3.8772962368467903E-2</c:v>
                </c:pt>
                <c:pt idx="2175">
                  <c:v>3.8790797217763497E-2</c:v>
                </c:pt>
                <c:pt idx="2176">
                  <c:v>3.8808632067059E-2</c:v>
                </c:pt>
                <c:pt idx="2177">
                  <c:v>3.8826466916354503E-2</c:v>
                </c:pt>
                <c:pt idx="2178">
                  <c:v>3.8844301765649999E-2</c:v>
                </c:pt>
                <c:pt idx="2179">
                  <c:v>3.88621366149456E-2</c:v>
                </c:pt>
                <c:pt idx="2180">
                  <c:v>3.8879971464241103E-2</c:v>
                </c:pt>
                <c:pt idx="2181">
                  <c:v>3.88978063135366E-2</c:v>
                </c:pt>
                <c:pt idx="2182">
                  <c:v>3.8915641162832103E-2</c:v>
                </c:pt>
                <c:pt idx="2183">
                  <c:v>3.8933476012127599E-2</c:v>
                </c:pt>
                <c:pt idx="2184">
                  <c:v>3.89513108614232E-2</c:v>
                </c:pt>
                <c:pt idx="2185">
                  <c:v>3.8969145710718703E-2</c:v>
                </c:pt>
                <c:pt idx="2186">
                  <c:v>3.8986980560014199E-2</c:v>
                </c:pt>
                <c:pt idx="2187">
                  <c:v>3.9004815409309702E-2</c:v>
                </c:pt>
                <c:pt idx="2188">
                  <c:v>3.9022650258605303E-2</c:v>
                </c:pt>
                <c:pt idx="2189">
                  <c:v>3.9040485107900799E-2</c:v>
                </c:pt>
                <c:pt idx="2190">
                  <c:v>3.9058319957196302E-2</c:v>
                </c:pt>
                <c:pt idx="2191">
                  <c:v>3.9076154806491799E-2</c:v>
                </c:pt>
                <c:pt idx="2192">
                  <c:v>3.9093989655787399E-2</c:v>
                </c:pt>
                <c:pt idx="2193">
                  <c:v>3.9111824505082902E-2</c:v>
                </c:pt>
                <c:pt idx="2194">
                  <c:v>3.9129659354378399E-2</c:v>
                </c:pt>
                <c:pt idx="2195">
                  <c:v>3.9147494203673902E-2</c:v>
                </c:pt>
                <c:pt idx="2196">
                  <c:v>3.9165329052969503E-2</c:v>
                </c:pt>
                <c:pt idx="2197">
                  <c:v>3.9183163902264999E-2</c:v>
                </c:pt>
                <c:pt idx="2198">
                  <c:v>3.9200998751560502E-2</c:v>
                </c:pt>
                <c:pt idx="2199">
                  <c:v>3.9218833600855998E-2</c:v>
                </c:pt>
                <c:pt idx="2200">
                  <c:v>3.9236668450151599E-2</c:v>
                </c:pt>
                <c:pt idx="2201">
                  <c:v>3.9254503299447102E-2</c:v>
                </c:pt>
                <c:pt idx="2202">
                  <c:v>3.9272338148742598E-2</c:v>
                </c:pt>
                <c:pt idx="2203">
                  <c:v>3.9290172998038102E-2</c:v>
                </c:pt>
                <c:pt idx="2204">
                  <c:v>3.9308007847333598E-2</c:v>
                </c:pt>
                <c:pt idx="2205">
                  <c:v>3.9325842696629199E-2</c:v>
                </c:pt>
                <c:pt idx="2206">
                  <c:v>3.9343677545924702E-2</c:v>
                </c:pt>
                <c:pt idx="2207">
                  <c:v>3.9361512395220198E-2</c:v>
                </c:pt>
                <c:pt idx="2208">
                  <c:v>3.9379347244515701E-2</c:v>
                </c:pt>
                <c:pt idx="2209">
                  <c:v>3.9397182093811302E-2</c:v>
                </c:pt>
                <c:pt idx="2210">
                  <c:v>3.9415016943106798E-2</c:v>
                </c:pt>
                <c:pt idx="2211">
                  <c:v>3.9432851792402301E-2</c:v>
                </c:pt>
                <c:pt idx="2212">
                  <c:v>3.9450686641697798E-2</c:v>
                </c:pt>
                <c:pt idx="2213">
                  <c:v>3.9468521490993398E-2</c:v>
                </c:pt>
                <c:pt idx="2214">
                  <c:v>3.9486356340288901E-2</c:v>
                </c:pt>
                <c:pt idx="2215">
                  <c:v>3.9504191189584398E-2</c:v>
                </c:pt>
                <c:pt idx="2216">
                  <c:v>3.9522026038879901E-2</c:v>
                </c:pt>
                <c:pt idx="2217">
                  <c:v>3.9539860888175397E-2</c:v>
                </c:pt>
                <c:pt idx="2218">
                  <c:v>3.9557695737470998E-2</c:v>
                </c:pt>
                <c:pt idx="2219">
                  <c:v>3.9575530586766501E-2</c:v>
                </c:pt>
                <c:pt idx="2220">
                  <c:v>3.9593365436061997E-2</c:v>
                </c:pt>
                <c:pt idx="2221">
                  <c:v>3.9611200285357501E-2</c:v>
                </c:pt>
                <c:pt idx="2222">
                  <c:v>3.9629035134653101E-2</c:v>
                </c:pt>
                <c:pt idx="2223">
                  <c:v>3.9646869983948597E-2</c:v>
                </c:pt>
                <c:pt idx="2224">
                  <c:v>3.9664704833244101E-2</c:v>
                </c:pt>
                <c:pt idx="2225">
                  <c:v>3.9682539682539597E-2</c:v>
                </c:pt>
                <c:pt idx="2226">
                  <c:v>3.9700374531835197E-2</c:v>
                </c:pt>
                <c:pt idx="2227">
                  <c:v>3.9718209381130701E-2</c:v>
                </c:pt>
                <c:pt idx="2228">
                  <c:v>3.9736044230426197E-2</c:v>
                </c:pt>
                <c:pt idx="2229">
                  <c:v>3.97538790797217E-2</c:v>
                </c:pt>
                <c:pt idx="2230">
                  <c:v>3.9771713929017301E-2</c:v>
                </c:pt>
                <c:pt idx="2231">
                  <c:v>3.9789548778312797E-2</c:v>
                </c:pt>
                <c:pt idx="2232">
                  <c:v>3.98073836276083E-2</c:v>
                </c:pt>
                <c:pt idx="2233">
                  <c:v>3.9825218476903797E-2</c:v>
                </c:pt>
                <c:pt idx="2234">
                  <c:v>3.98430533261993E-2</c:v>
                </c:pt>
                <c:pt idx="2235">
                  <c:v>3.98608881754949E-2</c:v>
                </c:pt>
                <c:pt idx="2236">
                  <c:v>3.9878723024790397E-2</c:v>
                </c:pt>
                <c:pt idx="2237">
                  <c:v>3.98965578740859E-2</c:v>
                </c:pt>
                <c:pt idx="2238">
                  <c:v>3.9914392723381403E-2</c:v>
                </c:pt>
                <c:pt idx="2239">
                  <c:v>3.9932227572676997E-2</c:v>
                </c:pt>
                <c:pt idx="2240">
                  <c:v>3.99500624219725E-2</c:v>
                </c:pt>
                <c:pt idx="2241">
                  <c:v>3.9967897271268003E-2</c:v>
                </c:pt>
                <c:pt idx="2242">
                  <c:v>3.99857321205635E-2</c:v>
                </c:pt>
                <c:pt idx="2243">
                  <c:v>4.00035669698591E-2</c:v>
                </c:pt>
                <c:pt idx="2244">
                  <c:v>4.0021401819154603E-2</c:v>
                </c:pt>
                <c:pt idx="2245">
                  <c:v>4.00392366684501E-2</c:v>
                </c:pt>
                <c:pt idx="2246">
                  <c:v>4.0057071517745603E-2</c:v>
                </c:pt>
                <c:pt idx="2247">
                  <c:v>4.0074906367041099E-2</c:v>
                </c:pt>
                <c:pt idx="2248">
                  <c:v>4.00927412163367E-2</c:v>
                </c:pt>
                <c:pt idx="2249">
                  <c:v>4.0110576065632203E-2</c:v>
                </c:pt>
                <c:pt idx="2250">
                  <c:v>4.0128410914927699E-2</c:v>
                </c:pt>
                <c:pt idx="2251">
                  <c:v>4.0146245764223203E-2</c:v>
                </c:pt>
                <c:pt idx="2252">
                  <c:v>4.0164080613518803E-2</c:v>
                </c:pt>
                <c:pt idx="2253">
                  <c:v>4.0181915462814299E-2</c:v>
                </c:pt>
                <c:pt idx="2254">
                  <c:v>4.0199750312109803E-2</c:v>
                </c:pt>
                <c:pt idx="2255">
                  <c:v>4.0217585161405299E-2</c:v>
                </c:pt>
                <c:pt idx="2256">
                  <c:v>4.0235420010700899E-2</c:v>
                </c:pt>
                <c:pt idx="2257">
                  <c:v>4.0253254859996403E-2</c:v>
                </c:pt>
                <c:pt idx="2258">
                  <c:v>4.0271089709291899E-2</c:v>
                </c:pt>
                <c:pt idx="2259">
                  <c:v>4.0288924558587402E-2</c:v>
                </c:pt>
                <c:pt idx="2260">
                  <c:v>4.0306759407883003E-2</c:v>
                </c:pt>
                <c:pt idx="2261">
                  <c:v>4.0324594257178499E-2</c:v>
                </c:pt>
                <c:pt idx="2262">
                  <c:v>4.0342429106474002E-2</c:v>
                </c:pt>
                <c:pt idx="2263">
                  <c:v>4.0360263955769499E-2</c:v>
                </c:pt>
                <c:pt idx="2264">
                  <c:v>4.0378098805065099E-2</c:v>
                </c:pt>
                <c:pt idx="2265">
                  <c:v>4.0395933654360602E-2</c:v>
                </c:pt>
                <c:pt idx="2266">
                  <c:v>4.0413768503656099E-2</c:v>
                </c:pt>
                <c:pt idx="2267">
                  <c:v>4.0431603352951602E-2</c:v>
                </c:pt>
                <c:pt idx="2268">
                  <c:v>4.0449438202247098E-2</c:v>
                </c:pt>
                <c:pt idx="2269">
                  <c:v>4.0467273051542699E-2</c:v>
                </c:pt>
                <c:pt idx="2270">
                  <c:v>4.0485107900838202E-2</c:v>
                </c:pt>
                <c:pt idx="2271">
                  <c:v>4.0502942750133698E-2</c:v>
                </c:pt>
                <c:pt idx="2272">
                  <c:v>4.0520777599429202E-2</c:v>
                </c:pt>
                <c:pt idx="2273">
                  <c:v>4.0538612448724802E-2</c:v>
                </c:pt>
                <c:pt idx="2274">
                  <c:v>4.0556447298020298E-2</c:v>
                </c:pt>
                <c:pt idx="2275">
                  <c:v>4.0574282147315802E-2</c:v>
                </c:pt>
                <c:pt idx="2276">
                  <c:v>4.0592116996611298E-2</c:v>
                </c:pt>
                <c:pt idx="2277">
                  <c:v>4.0609951845906898E-2</c:v>
                </c:pt>
                <c:pt idx="2278">
                  <c:v>4.0627786695202402E-2</c:v>
                </c:pt>
                <c:pt idx="2279">
                  <c:v>4.0645621544497898E-2</c:v>
                </c:pt>
                <c:pt idx="2280">
                  <c:v>4.0663456393793401E-2</c:v>
                </c:pt>
                <c:pt idx="2281">
                  <c:v>4.0681291243088898E-2</c:v>
                </c:pt>
                <c:pt idx="2282">
                  <c:v>4.0699126092384498E-2</c:v>
                </c:pt>
                <c:pt idx="2283">
                  <c:v>4.0716960941680001E-2</c:v>
                </c:pt>
                <c:pt idx="2284">
                  <c:v>4.0734795790975498E-2</c:v>
                </c:pt>
                <c:pt idx="2285">
                  <c:v>4.0752630640271001E-2</c:v>
                </c:pt>
                <c:pt idx="2286">
                  <c:v>4.0770465489566601E-2</c:v>
                </c:pt>
                <c:pt idx="2287">
                  <c:v>4.0788300338862098E-2</c:v>
                </c:pt>
                <c:pt idx="2288">
                  <c:v>4.0806135188157601E-2</c:v>
                </c:pt>
                <c:pt idx="2289">
                  <c:v>4.0823970037453097E-2</c:v>
                </c:pt>
                <c:pt idx="2290">
                  <c:v>4.0841804886748698E-2</c:v>
                </c:pt>
                <c:pt idx="2291">
                  <c:v>4.0859639736044201E-2</c:v>
                </c:pt>
                <c:pt idx="2292">
                  <c:v>4.0877474585339697E-2</c:v>
                </c:pt>
                <c:pt idx="2293">
                  <c:v>4.0895309434635201E-2</c:v>
                </c:pt>
                <c:pt idx="2294">
                  <c:v>4.0913144283930801E-2</c:v>
                </c:pt>
                <c:pt idx="2295">
                  <c:v>4.0930979133226297E-2</c:v>
                </c:pt>
                <c:pt idx="2296">
                  <c:v>4.0948813982521801E-2</c:v>
                </c:pt>
                <c:pt idx="2297">
                  <c:v>4.0966648831817297E-2</c:v>
                </c:pt>
                <c:pt idx="2298">
                  <c:v>4.0984483681112897E-2</c:v>
                </c:pt>
                <c:pt idx="2299">
                  <c:v>4.1002318530408401E-2</c:v>
                </c:pt>
                <c:pt idx="2300">
                  <c:v>4.1020153379703897E-2</c:v>
                </c:pt>
                <c:pt idx="2301">
                  <c:v>4.10379882289994E-2</c:v>
                </c:pt>
                <c:pt idx="2302">
                  <c:v>4.1055823078294897E-2</c:v>
                </c:pt>
                <c:pt idx="2303">
                  <c:v>4.1073657927590497E-2</c:v>
                </c:pt>
                <c:pt idx="2304">
                  <c:v>4.1091492776886E-2</c:v>
                </c:pt>
                <c:pt idx="2305">
                  <c:v>4.1109327626181497E-2</c:v>
                </c:pt>
                <c:pt idx="2306">
                  <c:v>4.1127162475477E-2</c:v>
                </c:pt>
                <c:pt idx="2307">
                  <c:v>4.11449973247726E-2</c:v>
                </c:pt>
                <c:pt idx="2308">
                  <c:v>4.1162832174068097E-2</c:v>
                </c:pt>
                <c:pt idx="2309">
                  <c:v>4.11806670233636E-2</c:v>
                </c:pt>
                <c:pt idx="2310">
                  <c:v>4.1198501872659103E-2</c:v>
                </c:pt>
                <c:pt idx="2311">
                  <c:v>4.1216336721954697E-2</c:v>
                </c:pt>
                <c:pt idx="2312">
                  <c:v>4.12341715712502E-2</c:v>
                </c:pt>
                <c:pt idx="2313">
                  <c:v>4.1252006420545703E-2</c:v>
                </c:pt>
                <c:pt idx="2314">
                  <c:v>4.12698412698412E-2</c:v>
                </c:pt>
                <c:pt idx="2315">
                  <c:v>4.1287676119136703E-2</c:v>
                </c:pt>
                <c:pt idx="2316">
                  <c:v>4.1305510968432303E-2</c:v>
                </c:pt>
                <c:pt idx="2317">
                  <c:v>4.13233458177278E-2</c:v>
                </c:pt>
                <c:pt idx="2318">
                  <c:v>4.1341180667023303E-2</c:v>
                </c:pt>
                <c:pt idx="2319">
                  <c:v>4.1359015516318799E-2</c:v>
                </c:pt>
                <c:pt idx="2320">
                  <c:v>4.13768503656144E-2</c:v>
                </c:pt>
                <c:pt idx="2321">
                  <c:v>4.1394685214909903E-2</c:v>
                </c:pt>
                <c:pt idx="2322">
                  <c:v>4.1412520064205399E-2</c:v>
                </c:pt>
                <c:pt idx="2323">
                  <c:v>4.1430354913500902E-2</c:v>
                </c:pt>
                <c:pt idx="2324">
                  <c:v>4.1448189762796503E-2</c:v>
                </c:pt>
                <c:pt idx="2325">
                  <c:v>4.1466024612091999E-2</c:v>
                </c:pt>
                <c:pt idx="2326">
                  <c:v>4.1483859461387503E-2</c:v>
                </c:pt>
                <c:pt idx="2327">
                  <c:v>4.1501694310682999E-2</c:v>
                </c:pt>
                <c:pt idx="2328">
                  <c:v>4.1519529159978599E-2</c:v>
                </c:pt>
                <c:pt idx="2329">
                  <c:v>4.1537364009274103E-2</c:v>
                </c:pt>
                <c:pt idx="2330">
                  <c:v>4.1555198858569599E-2</c:v>
                </c:pt>
                <c:pt idx="2331">
                  <c:v>4.1573033707865102E-2</c:v>
                </c:pt>
                <c:pt idx="2332">
                  <c:v>4.1590868557160598E-2</c:v>
                </c:pt>
                <c:pt idx="2333">
                  <c:v>4.1608703406456199E-2</c:v>
                </c:pt>
                <c:pt idx="2334">
                  <c:v>4.1626538255751702E-2</c:v>
                </c:pt>
                <c:pt idx="2335">
                  <c:v>4.1644373105047199E-2</c:v>
                </c:pt>
                <c:pt idx="2336">
                  <c:v>4.1662207954342702E-2</c:v>
                </c:pt>
                <c:pt idx="2337">
                  <c:v>4.1680042803638302E-2</c:v>
                </c:pt>
                <c:pt idx="2338">
                  <c:v>4.1697877652933799E-2</c:v>
                </c:pt>
                <c:pt idx="2339">
                  <c:v>4.1715712502229302E-2</c:v>
                </c:pt>
                <c:pt idx="2340">
                  <c:v>4.1733547351524798E-2</c:v>
                </c:pt>
                <c:pt idx="2341">
                  <c:v>4.1751382200820399E-2</c:v>
                </c:pt>
                <c:pt idx="2342">
                  <c:v>4.1769217050115902E-2</c:v>
                </c:pt>
                <c:pt idx="2343">
                  <c:v>4.1787051899411398E-2</c:v>
                </c:pt>
                <c:pt idx="2344">
                  <c:v>4.1804886748706901E-2</c:v>
                </c:pt>
                <c:pt idx="2345">
                  <c:v>4.1822721598002398E-2</c:v>
                </c:pt>
                <c:pt idx="2346">
                  <c:v>4.1840556447297998E-2</c:v>
                </c:pt>
                <c:pt idx="2347">
                  <c:v>4.1858391296593501E-2</c:v>
                </c:pt>
                <c:pt idx="2348">
                  <c:v>4.1876226145888998E-2</c:v>
                </c:pt>
                <c:pt idx="2349">
                  <c:v>4.1894060995184501E-2</c:v>
                </c:pt>
                <c:pt idx="2350">
                  <c:v>4.1911895844480102E-2</c:v>
                </c:pt>
                <c:pt idx="2351">
                  <c:v>4.1929730693775598E-2</c:v>
                </c:pt>
                <c:pt idx="2352">
                  <c:v>4.1947565543071101E-2</c:v>
                </c:pt>
                <c:pt idx="2353">
                  <c:v>4.1965400392366597E-2</c:v>
                </c:pt>
                <c:pt idx="2354">
                  <c:v>4.1983235241662198E-2</c:v>
                </c:pt>
                <c:pt idx="2355">
                  <c:v>4.2001070090957701E-2</c:v>
                </c:pt>
                <c:pt idx="2356">
                  <c:v>4.2018904940253197E-2</c:v>
                </c:pt>
                <c:pt idx="2357">
                  <c:v>4.2036739789548701E-2</c:v>
                </c:pt>
                <c:pt idx="2358">
                  <c:v>4.2054574638844301E-2</c:v>
                </c:pt>
                <c:pt idx="2359">
                  <c:v>4.2072409488139798E-2</c:v>
                </c:pt>
                <c:pt idx="2360">
                  <c:v>4.2090244337435301E-2</c:v>
                </c:pt>
                <c:pt idx="2361">
                  <c:v>4.2108079186730797E-2</c:v>
                </c:pt>
                <c:pt idx="2362">
                  <c:v>4.2125914036026398E-2</c:v>
                </c:pt>
                <c:pt idx="2363">
                  <c:v>4.2143748885321901E-2</c:v>
                </c:pt>
                <c:pt idx="2364">
                  <c:v>4.2161583734617397E-2</c:v>
                </c:pt>
                <c:pt idx="2365">
                  <c:v>4.21794185839129E-2</c:v>
                </c:pt>
                <c:pt idx="2366">
                  <c:v>4.2197253433208397E-2</c:v>
                </c:pt>
                <c:pt idx="2367">
                  <c:v>4.2215088282503997E-2</c:v>
                </c:pt>
                <c:pt idx="2368">
                  <c:v>4.22329231317995E-2</c:v>
                </c:pt>
                <c:pt idx="2369">
                  <c:v>4.2250757981094997E-2</c:v>
                </c:pt>
                <c:pt idx="2370">
                  <c:v>4.22685928303905E-2</c:v>
                </c:pt>
                <c:pt idx="2371">
                  <c:v>4.2286427679686101E-2</c:v>
                </c:pt>
                <c:pt idx="2372">
                  <c:v>4.2304262528981597E-2</c:v>
                </c:pt>
                <c:pt idx="2373">
                  <c:v>4.23220973782771E-2</c:v>
                </c:pt>
                <c:pt idx="2374">
                  <c:v>4.2339932227572603E-2</c:v>
                </c:pt>
                <c:pt idx="2375">
                  <c:v>4.2357767076868197E-2</c:v>
                </c:pt>
                <c:pt idx="2376">
                  <c:v>4.23756019261637E-2</c:v>
                </c:pt>
                <c:pt idx="2377">
                  <c:v>4.2393436775459203E-2</c:v>
                </c:pt>
                <c:pt idx="2378">
                  <c:v>4.24112716247547E-2</c:v>
                </c:pt>
                <c:pt idx="2379">
                  <c:v>4.2429106474050203E-2</c:v>
                </c:pt>
                <c:pt idx="2380">
                  <c:v>4.2446941323345803E-2</c:v>
                </c:pt>
                <c:pt idx="2381">
                  <c:v>4.24647761726413E-2</c:v>
                </c:pt>
                <c:pt idx="2382">
                  <c:v>4.2482611021936803E-2</c:v>
                </c:pt>
                <c:pt idx="2383">
                  <c:v>4.2500445871232299E-2</c:v>
                </c:pt>
                <c:pt idx="2384">
                  <c:v>4.25182807205279E-2</c:v>
                </c:pt>
                <c:pt idx="2385">
                  <c:v>4.2536115569823403E-2</c:v>
                </c:pt>
                <c:pt idx="2386">
                  <c:v>4.2553950419118899E-2</c:v>
                </c:pt>
                <c:pt idx="2387">
                  <c:v>4.2571785268414403E-2</c:v>
                </c:pt>
                <c:pt idx="2388">
                  <c:v>4.2589620117710003E-2</c:v>
                </c:pt>
                <c:pt idx="2389">
                  <c:v>4.2607454967005499E-2</c:v>
                </c:pt>
                <c:pt idx="2390">
                  <c:v>4.2625289816301003E-2</c:v>
                </c:pt>
                <c:pt idx="2391">
                  <c:v>4.2643124665596499E-2</c:v>
                </c:pt>
                <c:pt idx="2392">
                  <c:v>4.2660959514892099E-2</c:v>
                </c:pt>
                <c:pt idx="2393">
                  <c:v>4.2678794364187603E-2</c:v>
                </c:pt>
                <c:pt idx="2394">
                  <c:v>4.2696629213483099E-2</c:v>
                </c:pt>
                <c:pt idx="2395">
                  <c:v>4.2714464062778602E-2</c:v>
                </c:pt>
                <c:pt idx="2396">
                  <c:v>4.2732298912074099E-2</c:v>
                </c:pt>
                <c:pt idx="2397">
                  <c:v>4.2750133761369699E-2</c:v>
                </c:pt>
                <c:pt idx="2398">
                  <c:v>4.2767968610665202E-2</c:v>
                </c:pt>
                <c:pt idx="2399">
                  <c:v>4.2785803459960699E-2</c:v>
                </c:pt>
                <c:pt idx="2400">
                  <c:v>4.2803638309256202E-2</c:v>
                </c:pt>
                <c:pt idx="2401">
                  <c:v>4.2821473158551802E-2</c:v>
                </c:pt>
                <c:pt idx="2402">
                  <c:v>4.2839308007847299E-2</c:v>
                </c:pt>
                <c:pt idx="2403">
                  <c:v>4.2857142857142802E-2</c:v>
                </c:pt>
                <c:pt idx="2404">
                  <c:v>4.2874977706438298E-2</c:v>
                </c:pt>
                <c:pt idx="2405">
                  <c:v>4.2892812555733899E-2</c:v>
                </c:pt>
                <c:pt idx="2406">
                  <c:v>4.2910647405029402E-2</c:v>
                </c:pt>
                <c:pt idx="2407">
                  <c:v>4.2928482254324898E-2</c:v>
                </c:pt>
                <c:pt idx="2408">
                  <c:v>4.2946317103620402E-2</c:v>
                </c:pt>
                <c:pt idx="2409">
                  <c:v>4.2964151952915898E-2</c:v>
                </c:pt>
                <c:pt idx="2410">
                  <c:v>4.2981986802211498E-2</c:v>
                </c:pt>
                <c:pt idx="2411">
                  <c:v>4.2999821651507002E-2</c:v>
                </c:pt>
                <c:pt idx="2412">
                  <c:v>4.3017656500802498E-2</c:v>
                </c:pt>
                <c:pt idx="2413">
                  <c:v>4.3035491350098001E-2</c:v>
                </c:pt>
                <c:pt idx="2414">
                  <c:v>4.3053326199393602E-2</c:v>
                </c:pt>
                <c:pt idx="2415">
                  <c:v>4.3071161048689098E-2</c:v>
                </c:pt>
                <c:pt idx="2416">
                  <c:v>4.3088995897984601E-2</c:v>
                </c:pt>
                <c:pt idx="2417">
                  <c:v>4.3106830747280098E-2</c:v>
                </c:pt>
                <c:pt idx="2418">
                  <c:v>4.3124665596575698E-2</c:v>
                </c:pt>
                <c:pt idx="2419">
                  <c:v>4.3142500445871201E-2</c:v>
                </c:pt>
                <c:pt idx="2420">
                  <c:v>4.3160335295166698E-2</c:v>
                </c:pt>
                <c:pt idx="2421">
                  <c:v>4.3178170144462201E-2</c:v>
                </c:pt>
                <c:pt idx="2422">
                  <c:v>4.3196004993757801E-2</c:v>
                </c:pt>
                <c:pt idx="2423">
                  <c:v>4.3213839843053298E-2</c:v>
                </c:pt>
                <c:pt idx="2424">
                  <c:v>4.3231674692348801E-2</c:v>
                </c:pt>
                <c:pt idx="2425">
                  <c:v>4.3249509541644297E-2</c:v>
                </c:pt>
                <c:pt idx="2426">
                  <c:v>4.3267344390939898E-2</c:v>
                </c:pt>
                <c:pt idx="2427">
                  <c:v>4.3285179240235401E-2</c:v>
                </c:pt>
                <c:pt idx="2428">
                  <c:v>4.3303014089530897E-2</c:v>
                </c:pt>
                <c:pt idx="2429">
                  <c:v>4.3320848938826401E-2</c:v>
                </c:pt>
                <c:pt idx="2430">
                  <c:v>4.3338683788121897E-2</c:v>
                </c:pt>
                <c:pt idx="2431">
                  <c:v>4.3356518637417497E-2</c:v>
                </c:pt>
                <c:pt idx="2432">
                  <c:v>4.3374353486713001E-2</c:v>
                </c:pt>
                <c:pt idx="2433">
                  <c:v>4.3392188336008497E-2</c:v>
                </c:pt>
                <c:pt idx="2434">
                  <c:v>4.3410023185304E-2</c:v>
                </c:pt>
                <c:pt idx="2435">
                  <c:v>4.3427858034599601E-2</c:v>
                </c:pt>
                <c:pt idx="2436">
                  <c:v>4.3445692883895097E-2</c:v>
                </c:pt>
                <c:pt idx="2437">
                  <c:v>4.34635277331906E-2</c:v>
                </c:pt>
                <c:pt idx="2438">
                  <c:v>4.3481362582486097E-2</c:v>
                </c:pt>
                <c:pt idx="2439">
                  <c:v>4.3499197431781697E-2</c:v>
                </c:pt>
                <c:pt idx="2440">
                  <c:v>4.35170322810772E-2</c:v>
                </c:pt>
                <c:pt idx="2441">
                  <c:v>4.3534867130372697E-2</c:v>
                </c:pt>
                <c:pt idx="2442">
                  <c:v>4.35527019796682E-2</c:v>
                </c:pt>
                <c:pt idx="2443">
                  <c:v>4.3570536828963703E-2</c:v>
                </c:pt>
                <c:pt idx="2444">
                  <c:v>4.3588371678259297E-2</c:v>
                </c:pt>
                <c:pt idx="2445">
                  <c:v>4.36062065275548E-2</c:v>
                </c:pt>
                <c:pt idx="2446">
                  <c:v>4.3624041376850303E-2</c:v>
                </c:pt>
                <c:pt idx="2447">
                  <c:v>4.36418762261458E-2</c:v>
                </c:pt>
                <c:pt idx="2448">
                  <c:v>4.36597110754414E-2</c:v>
                </c:pt>
                <c:pt idx="2449">
                  <c:v>4.3677545924736903E-2</c:v>
                </c:pt>
                <c:pt idx="2450">
                  <c:v>4.36953807740324E-2</c:v>
                </c:pt>
                <c:pt idx="2451">
                  <c:v>4.3713215623327903E-2</c:v>
                </c:pt>
                <c:pt idx="2452">
                  <c:v>4.3731050472623503E-2</c:v>
                </c:pt>
                <c:pt idx="2453">
                  <c:v>4.3748885321919E-2</c:v>
                </c:pt>
                <c:pt idx="2454">
                  <c:v>4.3766720171214503E-2</c:v>
                </c:pt>
                <c:pt idx="2455">
                  <c:v>4.3784555020509999E-2</c:v>
                </c:pt>
                <c:pt idx="2456">
                  <c:v>4.38023898698056E-2</c:v>
                </c:pt>
                <c:pt idx="2457">
                  <c:v>4.3820224719101103E-2</c:v>
                </c:pt>
                <c:pt idx="2458">
                  <c:v>4.3838059568396599E-2</c:v>
                </c:pt>
                <c:pt idx="2459">
                  <c:v>4.3855894417692103E-2</c:v>
                </c:pt>
                <c:pt idx="2460">
                  <c:v>4.3873729266987599E-2</c:v>
                </c:pt>
                <c:pt idx="2461">
                  <c:v>4.3891564116283199E-2</c:v>
                </c:pt>
                <c:pt idx="2462">
                  <c:v>4.3909398965578703E-2</c:v>
                </c:pt>
                <c:pt idx="2463">
                  <c:v>4.3927233814874199E-2</c:v>
                </c:pt>
                <c:pt idx="2464">
                  <c:v>4.3945068664169702E-2</c:v>
                </c:pt>
                <c:pt idx="2465">
                  <c:v>4.3962903513465303E-2</c:v>
                </c:pt>
                <c:pt idx="2466">
                  <c:v>4.3980738362760799E-2</c:v>
                </c:pt>
                <c:pt idx="2467">
                  <c:v>4.3998573212056302E-2</c:v>
                </c:pt>
                <c:pt idx="2468">
                  <c:v>4.4016408061351799E-2</c:v>
                </c:pt>
                <c:pt idx="2469">
                  <c:v>4.4034242910647399E-2</c:v>
                </c:pt>
                <c:pt idx="2470">
                  <c:v>4.4052077759942902E-2</c:v>
                </c:pt>
                <c:pt idx="2471">
                  <c:v>4.4069912609238399E-2</c:v>
                </c:pt>
                <c:pt idx="2472">
                  <c:v>4.4087747458533902E-2</c:v>
                </c:pt>
                <c:pt idx="2473">
                  <c:v>4.4105582307829502E-2</c:v>
                </c:pt>
                <c:pt idx="2474">
                  <c:v>4.4123417157124999E-2</c:v>
                </c:pt>
                <c:pt idx="2475">
                  <c:v>4.4141252006420502E-2</c:v>
                </c:pt>
                <c:pt idx="2476">
                  <c:v>4.4159086855715998E-2</c:v>
                </c:pt>
                <c:pt idx="2477">
                  <c:v>4.4176921705011502E-2</c:v>
                </c:pt>
                <c:pt idx="2478">
                  <c:v>4.4194756554307102E-2</c:v>
                </c:pt>
                <c:pt idx="2479">
                  <c:v>4.4212591403602598E-2</c:v>
                </c:pt>
                <c:pt idx="2480">
                  <c:v>4.4230426252898102E-2</c:v>
                </c:pt>
                <c:pt idx="2481">
                  <c:v>4.4248261102193598E-2</c:v>
                </c:pt>
                <c:pt idx="2482">
                  <c:v>4.4266095951489198E-2</c:v>
                </c:pt>
                <c:pt idx="2483">
                  <c:v>4.4283930800784702E-2</c:v>
                </c:pt>
                <c:pt idx="2484">
                  <c:v>4.4301765650080198E-2</c:v>
                </c:pt>
                <c:pt idx="2485">
                  <c:v>4.4319600499375701E-2</c:v>
                </c:pt>
                <c:pt idx="2486">
                  <c:v>4.4337435348671302E-2</c:v>
                </c:pt>
                <c:pt idx="2487">
                  <c:v>4.4355270197966798E-2</c:v>
                </c:pt>
                <c:pt idx="2488">
                  <c:v>4.4373105047262301E-2</c:v>
                </c:pt>
                <c:pt idx="2489">
                  <c:v>4.4390939896557798E-2</c:v>
                </c:pt>
                <c:pt idx="2490">
                  <c:v>4.4408774745853398E-2</c:v>
                </c:pt>
                <c:pt idx="2491">
                  <c:v>4.4426609595148901E-2</c:v>
                </c:pt>
                <c:pt idx="2492">
                  <c:v>4.4444444444444398E-2</c:v>
                </c:pt>
                <c:pt idx="2493">
                  <c:v>4.4462279293739901E-2</c:v>
                </c:pt>
                <c:pt idx="2494">
                  <c:v>4.4480114143035397E-2</c:v>
                </c:pt>
                <c:pt idx="2495">
                  <c:v>4.4497948992330998E-2</c:v>
                </c:pt>
                <c:pt idx="2496">
                  <c:v>4.4515783841626501E-2</c:v>
                </c:pt>
                <c:pt idx="2497">
                  <c:v>4.4533618690921997E-2</c:v>
                </c:pt>
                <c:pt idx="2498">
                  <c:v>4.45514535402175E-2</c:v>
                </c:pt>
                <c:pt idx="2499">
                  <c:v>4.4569288389513101E-2</c:v>
                </c:pt>
                <c:pt idx="2500">
                  <c:v>4.4587123238808597E-2</c:v>
                </c:pt>
                <c:pt idx="2501">
                  <c:v>4.4604958088104101E-2</c:v>
                </c:pt>
                <c:pt idx="2502">
                  <c:v>4.4622792937399597E-2</c:v>
                </c:pt>
                <c:pt idx="2503">
                  <c:v>4.4640627786695197E-2</c:v>
                </c:pt>
                <c:pt idx="2504">
                  <c:v>4.4658462635990701E-2</c:v>
                </c:pt>
                <c:pt idx="2505">
                  <c:v>4.4676297485286197E-2</c:v>
                </c:pt>
                <c:pt idx="2506">
                  <c:v>4.46941323345817E-2</c:v>
                </c:pt>
                <c:pt idx="2507">
                  <c:v>4.4711967183877203E-2</c:v>
                </c:pt>
                <c:pt idx="2508">
                  <c:v>4.4729802033172797E-2</c:v>
                </c:pt>
                <c:pt idx="2509">
                  <c:v>4.47476368824683E-2</c:v>
                </c:pt>
                <c:pt idx="2510">
                  <c:v>4.4765471731763803E-2</c:v>
                </c:pt>
                <c:pt idx="2511">
                  <c:v>4.47833065810593E-2</c:v>
                </c:pt>
                <c:pt idx="2512">
                  <c:v>4.48011414303549E-2</c:v>
                </c:pt>
                <c:pt idx="2513">
                  <c:v>4.4818976279650397E-2</c:v>
                </c:pt>
                <c:pt idx="2514">
                  <c:v>4.48368111289459E-2</c:v>
                </c:pt>
                <c:pt idx="2515">
                  <c:v>4.4854645978241403E-2</c:v>
                </c:pt>
                <c:pt idx="2516">
                  <c:v>4.4872480827536997E-2</c:v>
                </c:pt>
                <c:pt idx="2517">
                  <c:v>4.48903156768325E-2</c:v>
                </c:pt>
                <c:pt idx="2518">
                  <c:v>4.4908150526128003E-2</c:v>
                </c:pt>
                <c:pt idx="2519">
                  <c:v>4.4925985375423499E-2</c:v>
                </c:pt>
                <c:pt idx="2520">
                  <c:v>4.49438202247191E-2</c:v>
                </c:pt>
                <c:pt idx="2521">
                  <c:v>4.4961655074014603E-2</c:v>
                </c:pt>
                <c:pt idx="2522">
                  <c:v>4.4979489923310099E-2</c:v>
                </c:pt>
                <c:pt idx="2523">
                  <c:v>4.4997324772605603E-2</c:v>
                </c:pt>
                <c:pt idx="2524">
                  <c:v>4.5015159621901099E-2</c:v>
                </c:pt>
                <c:pt idx="2525">
                  <c:v>4.50329944711967E-2</c:v>
                </c:pt>
                <c:pt idx="2526">
                  <c:v>4.5050829320492203E-2</c:v>
                </c:pt>
                <c:pt idx="2527">
                  <c:v>4.5068664169787699E-2</c:v>
                </c:pt>
                <c:pt idx="2528">
                  <c:v>4.5086499019083202E-2</c:v>
                </c:pt>
                <c:pt idx="2529">
                  <c:v>4.5104333868378803E-2</c:v>
                </c:pt>
                <c:pt idx="2530">
                  <c:v>4.5122168717674299E-2</c:v>
                </c:pt>
                <c:pt idx="2531">
                  <c:v>4.5140003566969802E-2</c:v>
                </c:pt>
                <c:pt idx="2532">
                  <c:v>4.5157838416265299E-2</c:v>
                </c:pt>
                <c:pt idx="2533">
                  <c:v>4.5175673265560899E-2</c:v>
                </c:pt>
                <c:pt idx="2534">
                  <c:v>4.5193508114856402E-2</c:v>
                </c:pt>
                <c:pt idx="2535">
                  <c:v>4.5211342964151899E-2</c:v>
                </c:pt>
                <c:pt idx="2536">
                  <c:v>4.5229177813447402E-2</c:v>
                </c:pt>
                <c:pt idx="2537">
                  <c:v>4.5247012662743002E-2</c:v>
                </c:pt>
                <c:pt idx="2538">
                  <c:v>4.5264847512038499E-2</c:v>
                </c:pt>
                <c:pt idx="2539">
                  <c:v>4.5282682361334002E-2</c:v>
                </c:pt>
                <c:pt idx="2540">
                  <c:v>4.5300517210629498E-2</c:v>
                </c:pt>
                <c:pt idx="2541">
                  <c:v>4.5318352059925002E-2</c:v>
                </c:pt>
                <c:pt idx="2542">
                  <c:v>4.5336186909220602E-2</c:v>
                </c:pt>
                <c:pt idx="2543">
                  <c:v>4.5354021758516098E-2</c:v>
                </c:pt>
                <c:pt idx="2544">
                  <c:v>4.5371856607811602E-2</c:v>
                </c:pt>
                <c:pt idx="2545">
                  <c:v>4.5389691457107098E-2</c:v>
                </c:pt>
                <c:pt idx="2546">
                  <c:v>4.5407526306402698E-2</c:v>
                </c:pt>
                <c:pt idx="2547">
                  <c:v>4.5425361155698202E-2</c:v>
                </c:pt>
                <c:pt idx="2548">
                  <c:v>4.5443196004993698E-2</c:v>
                </c:pt>
                <c:pt idx="2549">
                  <c:v>4.5461030854289201E-2</c:v>
                </c:pt>
                <c:pt idx="2550">
                  <c:v>4.5478865703584802E-2</c:v>
                </c:pt>
                <c:pt idx="2551">
                  <c:v>4.5496700552880298E-2</c:v>
                </c:pt>
                <c:pt idx="2552">
                  <c:v>4.5514535402175801E-2</c:v>
                </c:pt>
                <c:pt idx="2553">
                  <c:v>4.5532370251471298E-2</c:v>
                </c:pt>
                <c:pt idx="2554">
                  <c:v>4.5550205100766898E-2</c:v>
                </c:pt>
                <c:pt idx="2555">
                  <c:v>4.5568039950062401E-2</c:v>
                </c:pt>
                <c:pt idx="2556">
                  <c:v>4.5585874799357898E-2</c:v>
                </c:pt>
                <c:pt idx="2557">
                  <c:v>4.5603709648653401E-2</c:v>
                </c:pt>
                <c:pt idx="2558">
                  <c:v>4.5621544497948897E-2</c:v>
                </c:pt>
                <c:pt idx="2559">
                  <c:v>4.5639379347244498E-2</c:v>
                </c:pt>
                <c:pt idx="2560">
                  <c:v>4.5657214196540001E-2</c:v>
                </c:pt>
                <c:pt idx="2561">
                  <c:v>4.5675049045835497E-2</c:v>
                </c:pt>
                <c:pt idx="2562">
                  <c:v>4.5692883895131001E-2</c:v>
                </c:pt>
                <c:pt idx="2563">
                  <c:v>4.5710718744426601E-2</c:v>
                </c:pt>
                <c:pt idx="2564">
                  <c:v>4.5728553593722097E-2</c:v>
                </c:pt>
                <c:pt idx="2565">
                  <c:v>4.5746388443017601E-2</c:v>
                </c:pt>
                <c:pt idx="2566">
                  <c:v>4.5764223292313097E-2</c:v>
                </c:pt>
                <c:pt idx="2567">
                  <c:v>4.5782058141608697E-2</c:v>
                </c:pt>
                <c:pt idx="2568">
                  <c:v>4.5799892990904201E-2</c:v>
                </c:pt>
                <c:pt idx="2569">
                  <c:v>4.5817727840199697E-2</c:v>
                </c:pt>
                <c:pt idx="2570">
                  <c:v>4.58355626894952E-2</c:v>
                </c:pt>
                <c:pt idx="2571">
                  <c:v>4.5853397538790697E-2</c:v>
                </c:pt>
                <c:pt idx="2572">
                  <c:v>4.5871232388086297E-2</c:v>
                </c:pt>
                <c:pt idx="2573">
                  <c:v>4.58890672373818E-2</c:v>
                </c:pt>
                <c:pt idx="2574">
                  <c:v>4.5906902086677297E-2</c:v>
                </c:pt>
                <c:pt idx="2575">
                  <c:v>4.59247369359728E-2</c:v>
                </c:pt>
                <c:pt idx="2576">
                  <c:v>4.59425717852684E-2</c:v>
                </c:pt>
                <c:pt idx="2577">
                  <c:v>4.5960406634563897E-2</c:v>
                </c:pt>
                <c:pt idx="2578">
                  <c:v>4.59782414838594E-2</c:v>
                </c:pt>
                <c:pt idx="2579">
                  <c:v>4.5996076333154903E-2</c:v>
                </c:pt>
                <c:pt idx="2580">
                  <c:v>4.6013911182450497E-2</c:v>
                </c:pt>
                <c:pt idx="2581">
                  <c:v>4.6031746031746E-2</c:v>
                </c:pt>
                <c:pt idx="2582">
                  <c:v>4.6049580881041503E-2</c:v>
                </c:pt>
                <c:pt idx="2583">
                  <c:v>4.6067415730337E-2</c:v>
                </c:pt>
                <c:pt idx="2584">
                  <c:v>4.60852505796326E-2</c:v>
                </c:pt>
                <c:pt idx="2585">
                  <c:v>4.6103085428928103E-2</c:v>
                </c:pt>
                <c:pt idx="2586">
                  <c:v>4.61209202782236E-2</c:v>
                </c:pt>
                <c:pt idx="2587">
                  <c:v>4.6138755127519103E-2</c:v>
                </c:pt>
                <c:pt idx="2588">
                  <c:v>4.6156589976814599E-2</c:v>
                </c:pt>
                <c:pt idx="2589">
                  <c:v>4.61744248261102E-2</c:v>
                </c:pt>
                <c:pt idx="2590">
                  <c:v>4.6192259675405703E-2</c:v>
                </c:pt>
                <c:pt idx="2591">
                  <c:v>4.6210094524701199E-2</c:v>
                </c:pt>
                <c:pt idx="2592">
                  <c:v>4.6227929373996703E-2</c:v>
                </c:pt>
                <c:pt idx="2593">
                  <c:v>4.6245764223292303E-2</c:v>
                </c:pt>
                <c:pt idx="2594">
                  <c:v>4.6263599072587799E-2</c:v>
                </c:pt>
                <c:pt idx="2595">
                  <c:v>4.6281433921883303E-2</c:v>
                </c:pt>
                <c:pt idx="2596">
                  <c:v>4.6299268771178799E-2</c:v>
                </c:pt>
                <c:pt idx="2597">
                  <c:v>4.6317103620474399E-2</c:v>
                </c:pt>
                <c:pt idx="2598">
                  <c:v>4.6334938469769903E-2</c:v>
                </c:pt>
                <c:pt idx="2599">
                  <c:v>4.6352773319065399E-2</c:v>
                </c:pt>
                <c:pt idx="2600">
                  <c:v>4.6370608168360902E-2</c:v>
                </c:pt>
                <c:pt idx="2601">
                  <c:v>4.6388443017656503E-2</c:v>
                </c:pt>
                <c:pt idx="2602">
                  <c:v>4.6406277866951999E-2</c:v>
                </c:pt>
                <c:pt idx="2603">
                  <c:v>4.6424112716247502E-2</c:v>
                </c:pt>
                <c:pt idx="2604">
                  <c:v>4.6441947565542999E-2</c:v>
                </c:pt>
                <c:pt idx="2605">
                  <c:v>4.6459782414838502E-2</c:v>
                </c:pt>
                <c:pt idx="2606">
                  <c:v>4.6477617264134102E-2</c:v>
                </c:pt>
                <c:pt idx="2607">
                  <c:v>4.6495452113429599E-2</c:v>
                </c:pt>
                <c:pt idx="2608">
                  <c:v>4.6513286962725102E-2</c:v>
                </c:pt>
                <c:pt idx="2609">
                  <c:v>4.6531121812020598E-2</c:v>
                </c:pt>
                <c:pt idx="2610">
                  <c:v>4.6548956661316199E-2</c:v>
                </c:pt>
                <c:pt idx="2611">
                  <c:v>4.6566791510611702E-2</c:v>
                </c:pt>
                <c:pt idx="2612">
                  <c:v>4.6584626359907198E-2</c:v>
                </c:pt>
                <c:pt idx="2613">
                  <c:v>4.6602461209202702E-2</c:v>
                </c:pt>
                <c:pt idx="2614">
                  <c:v>4.6620296058498302E-2</c:v>
                </c:pt>
                <c:pt idx="2615">
                  <c:v>4.6638130907793798E-2</c:v>
                </c:pt>
                <c:pt idx="2616">
                  <c:v>4.6655965757089302E-2</c:v>
                </c:pt>
                <c:pt idx="2617">
                  <c:v>4.6673800606384798E-2</c:v>
                </c:pt>
                <c:pt idx="2618">
                  <c:v>4.6691635455680398E-2</c:v>
                </c:pt>
                <c:pt idx="2619">
                  <c:v>4.6709470304975902E-2</c:v>
                </c:pt>
                <c:pt idx="2620">
                  <c:v>4.6727305154271398E-2</c:v>
                </c:pt>
                <c:pt idx="2621">
                  <c:v>4.6745140003566901E-2</c:v>
                </c:pt>
                <c:pt idx="2622">
                  <c:v>4.6762974852862398E-2</c:v>
                </c:pt>
                <c:pt idx="2623">
                  <c:v>4.6780809702157998E-2</c:v>
                </c:pt>
                <c:pt idx="2624">
                  <c:v>4.6798644551453501E-2</c:v>
                </c:pt>
                <c:pt idx="2625">
                  <c:v>4.6816479400748998E-2</c:v>
                </c:pt>
                <c:pt idx="2626">
                  <c:v>4.6834314250044501E-2</c:v>
                </c:pt>
                <c:pt idx="2627">
                  <c:v>4.6852149099340101E-2</c:v>
                </c:pt>
                <c:pt idx="2628">
                  <c:v>4.6869983948635598E-2</c:v>
                </c:pt>
                <c:pt idx="2629">
                  <c:v>4.6887818797931101E-2</c:v>
                </c:pt>
                <c:pt idx="2630">
                  <c:v>4.6905653647226597E-2</c:v>
                </c:pt>
                <c:pt idx="2631">
                  <c:v>4.6923488496522198E-2</c:v>
                </c:pt>
                <c:pt idx="2632">
                  <c:v>4.6941323345817701E-2</c:v>
                </c:pt>
                <c:pt idx="2633">
                  <c:v>4.6959158195113197E-2</c:v>
                </c:pt>
                <c:pt idx="2634">
                  <c:v>4.6976993044408701E-2</c:v>
                </c:pt>
                <c:pt idx="2635">
                  <c:v>4.6994827893704301E-2</c:v>
                </c:pt>
                <c:pt idx="2636">
                  <c:v>4.7012662742999797E-2</c:v>
                </c:pt>
                <c:pt idx="2637">
                  <c:v>4.7030497592295301E-2</c:v>
                </c:pt>
                <c:pt idx="2638">
                  <c:v>4.7048332441590797E-2</c:v>
                </c:pt>
                <c:pt idx="2639">
                  <c:v>4.70661672908863E-2</c:v>
                </c:pt>
                <c:pt idx="2640">
                  <c:v>4.7084002140181901E-2</c:v>
                </c:pt>
                <c:pt idx="2641">
                  <c:v>4.7101836989477397E-2</c:v>
                </c:pt>
                <c:pt idx="2642">
                  <c:v>4.71196718387729E-2</c:v>
                </c:pt>
                <c:pt idx="2643">
                  <c:v>4.7137506688068397E-2</c:v>
                </c:pt>
                <c:pt idx="2644">
                  <c:v>4.7155341537363997E-2</c:v>
                </c:pt>
                <c:pt idx="2645">
                  <c:v>4.71731763866595E-2</c:v>
                </c:pt>
                <c:pt idx="2646">
                  <c:v>4.7191011235954997E-2</c:v>
                </c:pt>
                <c:pt idx="2647">
                  <c:v>4.72088460852505E-2</c:v>
                </c:pt>
                <c:pt idx="2648">
                  <c:v>4.72266809345461E-2</c:v>
                </c:pt>
                <c:pt idx="2649">
                  <c:v>4.7244515783841597E-2</c:v>
                </c:pt>
                <c:pt idx="2650">
                  <c:v>4.72623506331371E-2</c:v>
                </c:pt>
                <c:pt idx="2651">
                  <c:v>4.7280185482432603E-2</c:v>
                </c:pt>
                <c:pt idx="2652">
                  <c:v>4.7298020331728197E-2</c:v>
                </c:pt>
                <c:pt idx="2653">
                  <c:v>4.73158551810237E-2</c:v>
                </c:pt>
                <c:pt idx="2654">
                  <c:v>4.7333690030319203E-2</c:v>
                </c:pt>
                <c:pt idx="2655">
                  <c:v>4.73515248796147E-2</c:v>
                </c:pt>
                <c:pt idx="2656">
                  <c:v>4.7369359728910203E-2</c:v>
                </c:pt>
                <c:pt idx="2657">
                  <c:v>4.7387194578205803E-2</c:v>
                </c:pt>
                <c:pt idx="2658">
                  <c:v>4.74050294275013E-2</c:v>
                </c:pt>
                <c:pt idx="2659">
                  <c:v>4.7422864276796803E-2</c:v>
                </c:pt>
                <c:pt idx="2660">
                  <c:v>4.7440699126092299E-2</c:v>
                </c:pt>
                <c:pt idx="2661">
                  <c:v>4.74585339753879E-2</c:v>
                </c:pt>
                <c:pt idx="2662">
                  <c:v>4.7476368824683403E-2</c:v>
                </c:pt>
                <c:pt idx="2663">
                  <c:v>4.7494203673978899E-2</c:v>
                </c:pt>
                <c:pt idx="2664">
                  <c:v>4.7512038523274402E-2</c:v>
                </c:pt>
                <c:pt idx="2665">
                  <c:v>4.7529873372570003E-2</c:v>
                </c:pt>
                <c:pt idx="2666">
                  <c:v>4.7547708221865499E-2</c:v>
                </c:pt>
                <c:pt idx="2667">
                  <c:v>4.7565543071161002E-2</c:v>
                </c:pt>
                <c:pt idx="2668">
                  <c:v>4.7583377920456499E-2</c:v>
                </c:pt>
                <c:pt idx="2669">
                  <c:v>4.7601212769752002E-2</c:v>
                </c:pt>
                <c:pt idx="2670">
                  <c:v>4.7619047619047603E-2</c:v>
                </c:pt>
                <c:pt idx="2671">
                  <c:v>4.7636882468343099E-2</c:v>
                </c:pt>
                <c:pt idx="2672">
                  <c:v>4.7654717317638602E-2</c:v>
                </c:pt>
                <c:pt idx="2673">
                  <c:v>4.7672552166934098E-2</c:v>
                </c:pt>
                <c:pt idx="2674">
                  <c:v>4.7690387016229699E-2</c:v>
                </c:pt>
                <c:pt idx="2675">
                  <c:v>4.7708221865525202E-2</c:v>
                </c:pt>
                <c:pt idx="2676">
                  <c:v>4.7726056714820699E-2</c:v>
                </c:pt>
                <c:pt idx="2677">
                  <c:v>4.7743891564116202E-2</c:v>
                </c:pt>
                <c:pt idx="2678">
                  <c:v>4.7761726413411802E-2</c:v>
                </c:pt>
                <c:pt idx="2679">
                  <c:v>4.7779561262707299E-2</c:v>
                </c:pt>
                <c:pt idx="2680">
                  <c:v>4.7797396112002802E-2</c:v>
                </c:pt>
                <c:pt idx="2681">
                  <c:v>4.7815230961298298E-2</c:v>
                </c:pt>
                <c:pt idx="2682">
                  <c:v>4.7833065810593899E-2</c:v>
                </c:pt>
                <c:pt idx="2683">
                  <c:v>4.7850900659889402E-2</c:v>
                </c:pt>
                <c:pt idx="2684">
                  <c:v>4.7868735509184898E-2</c:v>
                </c:pt>
                <c:pt idx="2685">
                  <c:v>4.7886570358480401E-2</c:v>
                </c:pt>
                <c:pt idx="2686">
                  <c:v>4.7904405207775898E-2</c:v>
                </c:pt>
                <c:pt idx="2687">
                  <c:v>4.7922240057071498E-2</c:v>
                </c:pt>
                <c:pt idx="2688">
                  <c:v>4.7940074906367001E-2</c:v>
                </c:pt>
                <c:pt idx="2689">
                  <c:v>4.7957909755662498E-2</c:v>
                </c:pt>
                <c:pt idx="2690">
                  <c:v>4.7975744604958001E-2</c:v>
                </c:pt>
                <c:pt idx="2691">
                  <c:v>4.7993579454253602E-2</c:v>
                </c:pt>
                <c:pt idx="2692">
                  <c:v>4.8011414303549098E-2</c:v>
                </c:pt>
                <c:pt idx="2693">
                  <c:v>4.8029249152844601E-2</c:v>
                </c:pt>
                <c:pt idx="2694">
                  <c:v>4.8047084002140097E-2</c:v>
                </c:pt>
                <c:pt idx="2695">
                  <c:v>4.8064918851435698E-2</c:v>
                </c:pt>
                <c:pt idx="2696">
                  <c:v>4.8082753700731201E-2</c:v>
                </c:pt>
                <c:pt idx="2697">
                  <c:v>4.8100588550026697E-2</c:v>
                </c:pt>
                <c:pt idx="2698">
                  <c:v>4.8118423399322201E-2</c:v>
                </c:pt>
                <c:pt idx="2699">
                  <c:v>4.8136258248617801E-2</c:v>
                </c:pt>
                <c:pt idx="2700">
                  <c:v>4.8154093097913298E-2</c:v>
                </c:pt>
                <c:pt idx="2701">
                  <c:v>4.8171927947208801E-2</c:v>
                </c:pt>
                <c:pt idx="2702">
                  <c:v>4.8189762796504297E-2</c:v>
                </c:pt>
                <c:pt idx="2703">
                  <c:v>4.82075976457998E-2</c:v>
                </c:pt>
                <c:pt idx="2704">
                  <c:v>4.8225432495095401E-2</c:v>
                </c:pt>
                <c:pt idx="2705">
                  <c:v>4.8243267344390897E-2</c:v>
                </c:pt>
                <c:pt idx="2706">
                  <c:v>4.82611021936864E-2</c:v>
                </c:pt>
                <c:pt idx="2707">
                  <c:v>4.8278937042981897E-2</c:v>
                </c:pt>
                <c:pt idx="2708">
                  <c:v>4.8296771892277497E-2</c:v>
                </c:pt>
                <c:pt idx="2709">
                  <c:v>4.8314606741573E-2</c:v>
                </c:pt>
                <c:pt idx="2710">
                  <c:v>4.8332441590868497E-2</c:v>
                </c:pt>
                <c:pt idx="2711">
                  <c:v>4.8350276440164E-2</c:v>
                </c:pt>
                <c:pt idx="2712">
                  <c:v>4.83681112894596E-2</c:v>
                </c:pt>
                <c:pt idx="2713">
                  <c:v>4.8385946138755097E-2</c:v>
                </c:pt>
                <c:pt idx="2714">
                  <c:v>4.84037809880506E-2</c:v>
                </c:pt>
                <c:pt idx="2715">
                  <c:v>4.8421615837346103E-2</c:v>
                </c:pt>
                <c:pt idx="2716">
                  <c:v>4.8439450686641697E-2</c:v>
                </c:pt>
                <c:pt idx="2717">
                  <c:v>4.84572855359372E-2</c:v>
                </c:pt>
                <c:pt idx="2718">
                  <c:v>4.8475120385232703E-2</c:v>
                </c:pt>
                <c:pt idx="2719">
                  <c:v>4.84929552345282E-2</c:v>
                </c:pt>
                <c:pt idx="2720">
                  <c:v>4.8510790083823703E-2</c:v>
                </c:pt>
                <c:pt idx="2721">
                  <c:v>4.8528624933119303E-2</c:v>
                </c:pt>
                <c:pt idx="2722">
                  <c:v>4.85464597824148E-2</c:v>
                </c:pt>
                <c:pt idx="2723">
                  <c:v>4.8564294631710303E-2</c:v>
                </c:pt>
                <c:pt idx="2724">
                  <c:v>4.8582129481005799E-2</c:v>
                </c:pt>
                <c:pt idx="2725">
                  <c:v>4.85999643303014E-2</c:v>
                </c:pt>
                <c:pt idx="2726">
                  <c:v>4.8617799179596903E-2</c:v>
                </c:pt>
                <c:pt idx="2727">
                  <c:v>4.8635634028892399E-2</c:v>
                </c:pt>
                <c:pt idx="2728">
                  <c:v>4.8653468878187903E-2</c:v>
                </c:pt>
                <c:pt idx="2729">
                  <c:v>4.8671303727483503E-2</c:v>
                </c:pt>
                <c:pt idx="2730">
                  <c:v>4.8689138576778999E-2</c:v>
                </c:pt>
                <c:pt idx="2731">
                  <c:v>4.8706973426074503E-2</c:v>
                </c:pt>
                <c:pt idx="2732">
                  <c:v>4.8724808275369999E-2</c:v>
                </c:pt>
                <c:pt idx="2733">
                  <c:v>4.8742643124665599E-2</c:v>
                </c:pt>
                <c:pt idx="2734">
                  <c:v>4.8760477973961103E-2</c:v>
                </c:pt>
                <c:pt idx="2735">
                  <c:v>4.8778312823256599E-2</c:v>
                </c:pt>
                <c:pt idx="2736">
                  <c:v>4.8796147672552102E-2</c:v>
                </c:pt>
                <c:pt idx="2737">
                  <c:v>4.8813982521847599E-2</c:v>
                </c:pt>
                <c:pt idx="2738">
                  <c:v>4.8831817371143199E-2</c:v>
                </c:pt>
                <c:pt idx="2739">
                  <c:v>4.8849652220438702E-2</c:v>
                </c:pt>
                <c:pt idx="2740">
                  <c:v>4.8867487069734199E-2</c:v>
                </c:pt>
                <c:pt idx="2741">
                  <c:v>4.8885321919029702E-2</c:v>
                </c:pt>
                <c:pt idx="2742">
                  <c:v>4.8903156768325302E-2</c:v>
                </c:pt>
                <c:pt idx="2743">
                  <c:v>4.8920991617620799E-2</c:v>
                </c:pt>
                <c:pt idx="2744">
                  <c:v>4.8938826466916302E-2</c:v>
                </c:pt>
                <c:pt idx="2745">
                  <c:v>4.8956661316211798E-2</c:v>
                </c:pt>
                <c:pt idx="2746">
                  <c:v>4.8974496165507399E-2</c:v>
                </c:pt>
                <c:pt idx="2747">
                  <c:v>4.8992331014802902E-2</c:v>
                </c:pt>
                <c:pt idx="2748">
                  <c:v>4.9010165864098398E-2</c:v>
                </c:pt>
                <c:pt idx="2749">
                  <c:v>4.9028000713393902E-2</c:v>
                </c:pt>
                <c:pt idx="2750">
                  <c:v>4.9045835562689398E-2</c:v>
                </c:pt>
                <c:pt idx="2751">
                  <c:v>4.9063670411984998E-2</c:v>
                </c:pt>
                <c:pt idx="2752">
                  <c:v>4.9081505261280502E-2</c:v>
                </c:pt>
                <c:pt idx="2753">
                  <c:v>4.9099340110575998E-2</c:v>
                </c:pt>
                <c:pt idx="2754">
                  <c:v>4.9117174959871501E-2</c:v>
                </c:pt>
                <c:pt idx="2755">
                  <c:v>4.9135009809167102E-2</c:v>
                </c:pt>
                <c:pt idx="2756">
                  <c:v>4.9152844658462598E-2</c:v>
                </c:pt>
                <c:pt idx="2757">
                  <c:v>4.9170679507758101E-2</c:v>
                </c:pt>
                <c:pt idx="2758">
                  <c:v>4.9188514357053598E-2</c:v>
                </c:pt>
                <c:pt idx="2759">
                  <c:v>4.9206349206349198E-2</c:v>
                </c:pt>
                <c:pt idx="2760">
                  <c:v>4.9224184055644701E-2</c:v>
                </c:pt>
                <c:pt idx="2761">
                  <c:v>4.9242018904940198E-2</c:v>
                </c:pt>
                <c:pt idx="2762">
                  <c:v>4.9259853754235701E-2</c:v>
                </c:pt>
                <c:pt idx="2763">
                  <c:v>4.9277688603531301E-2</c:v>
                </c:pt>
                <c:pt idx="2764">
                  <c:v>4.9295523452826798E-2</c:v>
                </c:pt>
                <c:pt idx="2765">
                  <c:v>4.9313358302122301E-2</c:v>
                </c:pt>
                <c:pt idx="2766">
                  <c:v>4.9331193151417797E-2</c:v>
                </c:pt>
                <c:pt idx="2767">
                  <c:v>4.9349028000713301E-2</c:v>
                </c:pt>
                <c:pt idx="2768">
                  <c:v>4.9366862850008901E-2</c:v>
                </c:pt>
                <c:pt idx="2769">
                  <c:v>4.9384697699304397E-2</c:v>
                </c:pt>
                <c:pt idx="2770">
                  <c:v>4.9402532548599901E-2</c:v>
                </c:pt>
                <c:pt idx="2771">
                  <c:v>4.9420367397895397E-2</c:v>
                </c:pt>
                <c:pt idx="2772">
                  <c:v>4.9438202247190997E-2</c:v>
                </c:pt>
                <c:pt idx="2773">
                  <c:v>4.9456037096486501E-2</c:v>
                </c:pt>
                <c:pt idx="2774">
                  <c:v>4.9473871945781997E-2</c:v>
                </c:pt>
                <c:pt idx="2775">
                  <c:v>4.94917067950775E-2</c:v>
                </c:pt>
                <c:pt idx="2776">
                  <c:v>4.9509541644373101E-2</c:v>
                </c:pt>
                <c:pt idx="2777">
                  <c:v>4.9527376493668597E-2</c:v>
                </c:pt>
                <c:pt idx="2778">
                  <c:v>4.95452113429641E-2</c:v>
                </c:pt>
                <c:pt idx="2779">
                  <c:v>4.9563046192259597E-2</c:v>
                </c:pt>
                <c:pt idx="2780">
                  <c:v>4.9580881041555197E-2</c:v>
                </c:pt>
                <c:pt idx="2781">
                  <c:v>4.95987158908507E-2</c:v>
                </c:pt>
                <c:pt idx="2782">
                  <c:v>4.9616550740146197E-2</c:v>
                </c:pt>
                <c:pt idx="2783">
                  <c:v>4.96343855894417E-2</c:v>
                </c:pt>
                <c:pt idx="2784">
                  <c:v>4.9652220438737203E-2</c:v>
                </c:pt>
                <c:pt idx="2785">
                  <c:v>4.9670055288032797E-2</c:v>
                </c:pt>
                <c:pt idx="2786">
                  <c:v>4.96878901373283E-2</c:v>
                </c:pt>
                <c:pt idx="2787">
                  <c:v>4.9705724986623803E-2</c:v>
                </c:pt>
                <c:pt idx="2788">
                  <c:v>4.97235598359193E-2</c:v>
                </c:pt>
                <c:pt idx="2789">
                  <c:v>4.97413946852149E-2</c:v>
                </c:pt>
                <c:pt idx="2790">
                  <c:v>4.9759229534510403E-2</c:v>
                </c:pt>
                <c:pt idx="2791">
                  <c:v>4.97770643838059E-2</c:v>
                </c:pt>
                <c:pt idx="2792">
                  <c:v>4.9794899233101403E-2</c:v>
                </c:pt>
                <c:pt idx="2793">
                  <c:v>4.9812734082397003E-2</c:v>
                </c:pt>
                <c:pt idx="2794">
                  <c:v>4.98305689316925E-2</c:v>
                </c:pt>
                <c:pt idx="2795">
                  <c:v>4.9848403780988003E-2</c:v>
                </c:pt>
                <c:pt idx="2796">
                  <c:v>4.9866238630283499E-2</c:v>
                </c:pt>
                <c:pt idx="2797">
                  <c:v>4.98840734795791E-2</c:v>
                </c:pt>
                <c:pt idx="2798">
                  <c:v>4.9901908328874603E-2</c:v>
                </c:pt>
                <c:pt idx="2799">
                  <c:v>4.9919743178170099E-2</c:v>
                </c:pt>
                <c:pt idx="2800">
                  <c:v>4.9937578027465603E-2</c:v>
                </c:pt>
                <c:pt idx="2801">
                  <c:v>4.9955412876761099E-2</c:v>
                </c:pt>
                <c:pt idx="2802">
                  <c:v>4.9973247726056699E-2</c:v>
                </c:pt>
                <c:pt idx="2803">
                  <c:v>4.9991082575352203E-2</c:v>
                </c:pt>
                <c:pt idx="2804">
                  <c:v>5.0008917424647699E-2</c:v>
                </c:pt>
                <c:pt idx="2805">
                  <c:v>5.0026752273943202E-2</c:v>
                </c:pt>
                <c:pt idx="2806">
                  <c:v>5.0044587123238803E-2</c:v>
                </c:pt>
                <c:pt idx="2807">
                  <c:v>5.0062421972534299E-2</c:v>
                </c:pt>
                <c:pt idx="2808">
                  <c:v>5.0080256821829802E-2</c:v>
                </c:pt>
                <c:pt idx="2809">
                  <c:v>5.0098091671125299E-2</c:v>
                </c:pt>
                <c:pt idx="2810">
                  <c:v>5.0115926520420899E-2</c:v>
                </c:pt>
                <c:pt idx="2811">
                  <c:v>5.0133761369716402E-2</c:v>
                </c:pt>
                <c:pt idx="2812">
                  <c:v>5.0151596219011899E-2</c:v>
                </c:pt>
                <c:pt idx="2813">
                  <c:v>5.0169431068307402E-2</c:v>
                </c:pt>
                <c:pt idx="2814">
                  <c:v>5.0187265917602898E-2</c:v>
                </c:pt>
                <c:pt idx="2815">
                  <c:v>5.0205100766898499E-2</c:v>
                </c:pt>
                <c:pt idx="2816">
                  <c:v>5.0222935616194002E-2</c:v>
                </c:pt>
                <c:pt idx="2817">
                  <c:v>5.0240770465489498E-2</c:v>
                </c:pt>
                <c:pt idx="2818">
                  <c:v>5.0258605314785001E-2</c:v>
                </c:pt>
                <c:pt idx="2819">
                  <c:v>5.0276440164080602E-2</c:v>
                </c:pt>
                <c:pt idx="2820">
                  <c:v>5.0294275013376098E-2</c:v>
                </c:pt>
                <c:pt idx="2821">
                  <c:v>5.0312109862671602E-2</c:v>
                </c:pt>
                <c:pt idx="2822">
                  <c:v>5.0329944711967098E-2</c:v>
                </c:pt>
                <c:pt idx="2823">
                  <c:v>5.0347779561262698E-2</c:v>
                </c:pt>
                <c:pt idx="2824">
                  <c:v>5.0365614410558202E-2</c:v>
                </c:pt>
                <c:pt idx="2825">
                  <c:v>5.0383449259853698E-2</c:v>
                </c:pt>
                <c:pt idx="2826">
                  <c:v>5.0401284109149201E-2</c:v>
                </c:pt>
                <c:pt idx="2827">
                  <c:v>5.0419118958444802E-2</c:v>
                </c:pt>
                <c:pt idx="2828">
                  <c:v>5.0436953807740298E-2</c:v>
                </c:pt>
                <c:pt idx="2829">
                  <c:v>5.0454788657035801E-2</c:v>
                </c:pt>
                <c:pt idx="2830">
                  <c:v>5.0472623506331298E-2</c:v>
                </c:pt>
                <c:pt idx="2831">
                  <c:v>5.0490458355626898E-2</c:v>
                </c:pt>
                <c:pt idx="2832">
                  <c:v>5.0508293204922401E-2</c:v>
                </c:pt>
                <c:pt idx="2833">
                  <c:v>5.0526128054217898E-2</c:v>
                </c:pt>
                <c:pt idx="2834">
                  <c:v>5.0543962903513401E-2</c:v>
                </c:pt>
                <c:pt idx="2835">
                  <c:v>5.0561797752808897E-2</c:v>
                </c:pt>
                <c:pt idx="2836">
                  <c:v>5.0579632602104498E-2</c:v>
                </c:pt>
                <c:pt idx="2837">
                  <c:v>5.0597467451400001E-2</c:v>
                </c:pt>
                <c:pt idx="2838">
                  <c:v>5.0615302300695497E-2</c:v>
                </c:pt>
                <c:pt idx="2839">
                  <c:v>5.0633137149991E-2</c:v>
                </c:pt>
                <c:pt idx="2840">
                  <c:v>5.0650971999286601E-2</c:v>
                </c:pt>
                <c:pt idx="2841">
                  <c:v>5.0668806848582097E-2</c:v>
                </c:pt>
                <c:pt idx="2842">
                  <c:v>5.06866416978776E-2</c:v>
                </c:pt>
                <c:pt idx="2843">
                  <c:v>5.0704476547173097E-2</c:v>
                </c:pt>
                <c:pt idx="2844">
                  <c:v>5.0722311396468697E-2</c:v>
                </c:pt>
                <c:pt idx="2845">
                  <c:v>5.0740146245764201E-2</c:v>
                </c:pt>
                <c:pt idx="2846">
                  <c:v>5.0757981095059697E-2</c:v>
                </c:pt>
                <c:pt idx="2847">
                  <c:v>5.07758159443552E-2</c:v>
                </c:pt>
                <c:pt idx="2848">
                  <c:v>5.0793650793650703E-2</c:v>
                </c:pt>
                <c:pt idx="2849">
                  <c:v>5.0811485642946297E-2</c:v>
                </c:pt>
                <c:pt idx="2850">
                  <c:v>5.08293204922418E-2</c:v>
                </c:pt>
                <c:pt idx="2851">
                  <c:v>5.0847155341537303E-2</c:v>
                </c:pt>
                <c:pt idx="2852">
                  <c:v>5.08649901908328E-2</c:v>
                </c:pt>
                <c:pt idx="2853">
                  <c:v>5.08828250401284E-2</c:v>
                </c:pt>
                <c:pt idx="2854">
                  <c:v>5.0900659889423903E-2</c:v>
                </c:pt>
                <c:pt idx="2855">
                  <c:v>5.09184947387194E-2</c:v>
                </c:pt>
                <c:pt idx="2856">
                  <c:v>5.0936329588014903E-2</c:v>
                </c:pt>
                <c:pt idx="2857">
                  <c:v>5.0954164437310497E-2</c:v>
                </c:pt>
                <c:pt idx="2858">
                  <c:v>5.0971999286606E-2</c:v>
                </c:pt>
                <c:pt idx="2859">
                  <c:v>5.0989834135901503E-2</c:v>
                </c:pt>
                <c:pt idx="2860">
                  <c:v>5.1007668985196999E-2</c:v>
                </c:pt>
                <c:pt idx="2861">
                  <c:v>5.10255038344926E-2</c:v>
                </c:pt>
                <c:pt idx="2862">
                  <c:v>5.1043338683788103E-2</c:v>
                </c:pt>
                <c:pt idx="2863">
                  <c:v>5.1061173533083599E-2</c:v>
                </c:pt>
                <c:pt idx="2864">
                  <c:v>5.1079008382379103E-2</c:v>
                </c:pt>
                <c:pt idx="2865">
                  <c:v>5.1096843231674599E-2</c:v>
                </c:pt>
                <c:pt idx="2866">
                  <c:v>5.1114678080970199E-2</c:v>
                </c:pt>
                <c:pt idx="2867">
                  <c:v>5.1132512930265703E-2</c:v>
                </c:pt>
                <c:pt idx="2868">
                  <c:v>5.1150347779561199E-2</c:v>
                </c:pt>
                <c:pt idx="2869">
                  <c:v>5.1168182628856702E-2</c:v>
                </c:pt>
                <c:pt idx="2870">
                  <c:v>5.1186017478152303E-2</c:v>
                </c:pt>
                <c:pt idx="2871">
                  <c:v>5.1203852327447799E-2</c:v>
                </c:pt>
                <c:pt idx="2872">
                  <c:v>5.1221687176743302E-2</c:v>
                </c:pt>
                <c:pt idx="2873">
                  <c:v>5.1239522026038799E-2</c:v>
                </c:pt>
                <c:pt idx="2874">
                  <c:v>5.1257356875334399E-2</c:v>
                </c:pt>
                <c:pt idx="2875">
                  <c:v>5.1275191724629902E-2</c:v>
                </c:pt>
                <c:pt idx="2876">
                  <c:v>5.1293026573925399E-2</c:v>
                </c:pt>
                <c:pt idx="2877">
                  <c:v>5.1310861423220902E-2</c:v>
                </c:pt>
                <c:pt idx="2878">
                  <c:v>5.1328696272516398E-2</c:v>
                </c:pt>
                <c:pt idx="2879">
                  <c:v>5.1346531121811999E-2</c:v>
                </c:pt>
                <c:pt idx="2880">
                  <c:v>5.1364365971107502E-2</c:v>
                </c:pt>
                <c:pt idx="2881">
                  <c:v>5.1382200820402998E-2</c:v>
                </c:pt>
                <c:pt idx="2882">
                  <c:v>5.1400035669698502E-2</c:v>
                </c:pt>
                <c:pt idx="2883">
                  <c:v>5.1417870518994102E-2</c:v>
                </c:pt>
                <c:pt idx="2884">
                  <c:v>5.1435705368289598E-2</c:v>
                </c:pt>
                <c:pt idx="2885">
                  <c:v>5.1453540217585102E-2</c:v>
                </c:pt>
                <c:pt idx="2886">
                  <c:v>5.1471375066880598E-2</c:v>
                </c:pt>
                <c:pt idx="2887">
                  <c:v>5.1489209916176198E-2</c:v>
                </c:pt>
                <c:pt idx="2888">
                  <c:v>5.1507044765471702E-2</c:v>
                </c:pt>
                <c:pt idx="2889">
                  <c:v>5.1524879614767198E-2</c:v>
                </c:pt>
                <c:pt idx="2890">
                  <c:v>5.1542714464062701E-2</c:v>
                </c:pt>
                <c:pt idx="2891">
                  <c:v>5.1560549313358302E-2</c:v>
                </c:pt>
                <c:pt idx="2892">
                  <c:v>5.1578384162653798E-2</c:v>
                </c:pt>
                <c:pt idx="2893">
                  <c:v>5.1596219011949301E-2</c:v>
                </c:pt>
                <c:pt idx="2894">
                  <c:v>5.1614053861244798E-2</c:v>
                </c:pt>
                <c:pt idx="2895">
                  <c:v>5.1631888710540398E-2</c:v>
                </c:pt>
                <c:pt idx="2896">
                  <c:v>5.1649723559835901E-2</c:v>
                </c:pt>
                <c:pt idx="2897">
                  <c:v>5.1667558409131398E-2</c:v>
                </c:pt>
                <c:pt idx="2898">
                  <c:v>5.1685393258426901E-2</c:v>
                </c:pt>
                <c:pt idx="2899">
                  <c:v>5.1703228107722397E-2</c:v>
                </c:pt>
                <c:pt idx="2900">
                  <c:v>5.1721062957017998E-2</c:v>
                </c:pt>
                <c:pt idx="2901">
                  <c:v>5.1738897806313501E-2</c:v>
                </c:pt>
                <c:pt idx="2902">
                  <c:v>5.1756732655608997E-2</c:v>
                </c:pt>
                <c:pt idx="2903">
                  <c:v>5.1774567504904501E-2</c:v>
                </c:pt>
                <c:pt idx="2904">
                  <c:v>5.1792402354200101E-2</c:v>
                </c:pt>
                <c:pt idx="2905">
                  <c:v>5.1810237203495597E-2</c:v>
                </c:pt>
                <c:pt idx="2906">
                  <c:v>5.1828072052791101E-2</c:v>
                </c:pt>
                <c:pt idx="2907">
                  <c:v>5.1845906902086597E-2</c:v>
                </c:pt>
                <c:pt idx="2908">
                  <c:v>5.1863741751382197E-2</c:v>
                </c:pt>
                <c:pt idx="2909">
                  <c:v>5.1881576600677701E-2</c:v>
                </c:pt>
                <c:pt idx="2910">
                  <c:v>5.1899411449973197E-2</c:v>
                </c:pt>
                <c:pt idx="2911">
                  <c:v>5.19172462992687E-2</c:v>
                </c:pt>
                <c:pt idx="2912">
                  <c:v>5.1935081148564197E-2</c:v>
                </c:pt>
                <c:pt idx="2913">
                  <c:v>5.1952915997859797E-2</c:v>
                </c:pt>
                <c:pt idx="2914">
                  <c:v>5.19707508471553E-2</c:v>
                </c:pt>
                <c:pt idx="2915">
                  <c:v>5.1988585696450797E-2</c:v>
                </c:pt>
                <c:pt idx="2916">
                  <c:v>5.20064205457463E-2</c:v>
                </c:pt>
                <c:pt idx="2917">
                  <c:v>5.20242553950419E-2</c:v>
                </c:pt>
                <c:pt idx="2918">
                  <c:v>5.2042090244337397E-2</c:v>
                </c:pt>
                <c:pt idx="2919">
                  <c:v>5.20599250936329E-2</c:v>
                </c:pt>
                <c:pt idx="2920">
                  <c:v>5.2077759942928403E-2</c:v>
                </c:pt>
                <c:pt idx="2921">
                  <c:v>5.2095594792223997E-2</c:v>
                </c:pt>
                <c:pt idx="2922">
                  <c:v>5.21134296415195E-2</c:v>
                </c:pt>
                <c:pt idx="2923">
                  <c:v>5.2131264490815003E-2</c:v>
                </c:pt>
                <c:pt idx="2924">
                  <c:v>5.21490993401105E-2</c:v>
                </c:pt>
                <c:pt idx="2925">
                  <c:v>5.21669341894061E-2</c:v>
                </c:pt>
                <c:pt idx="2926">
                  <c:v>5.2184769038701603E-2</c:v>
                </c:pt>
                <c:pt idx="2927">
                  <c:v>5.22026038879971E-2</c:v>
                </c:pt>
                <c:pt idx="2928">
                  <c:v>5.2220438737292603E-2</c:v>
                </c:pt>
                <c:pt idx="2929">
                  <c:v>5.2238273586588099E-2</c:v>
                </c:pt>
                <c:pt idx="2930">
                  <c:v>5.22561084358837E-2</c:v>
                </c:pt>
                <c:pt idx="2931">
                  <c:v>5.2273943285179203E-2</c:v>
                </c:pt>
                <c:pt idx="2932">
                  <c:v>5.2291778134474699E-2</c:v>
                </c:pt>
                <c:pt idx="2933">
                  <c:v>5.2309612983770203E-2</c:v>
                </c:pt>
                <c:pt idx="2934">
                  <c:v>5.2327447833065803E-2</c:v>
                </c:pt>
                <c:pt idx="2935">
                  <c:v>5.2345282682361299E-2</c:v>
                </c:pt>
                <c:pt idx="2936">
                  <c:v>5.2363117531656803E-2</c:v>
                </c:pt>
                <c:pt idx="2937">
                  <c:v>5.2380952380952299E-2</c:v>
                </c:pt>
                <c:pt idx="2938">
                  <c:v>5.2398787230247899E-2</c:v>
                </c:pt>
                <c:pt idx="2939">
                  <c:v>5.2416622079543403E-2</c:v>
                </c:pt>
                <c:pt idx="2940">
                  <c:v>5.2434456928838899E-2</c:v>
                </c:pt>
                <c:pt idx="2941">
                  <c:v>5.2452291778134402E-2</c:v>
                </c:pt>
                <c:pt idx="2942">
                  <c:v>5.2470126627429899E-2</c:v>
                </c:pt>
                <c:pt idx="2943">
                  <c:v>5.2487961476725499E-2</c:v>
                </c:pt>
                <c:pt idx="2944">
                  <c:v>5.2505796326021002E-2</c:v>
                </c:pt>
                <c:pt idx="2945">
                  <c:v>5.2523631175316499E-2</c:v>
                </c:pt>
                <c:pt idx="2946">
                  <c:v>5.2541466024612002E-2</c:v>
                </c:pt>
                <c:pt idx="2947">
                  <c:v>5.2559300873907602E-2</c:v>
                </c:pt>
                <c:pt idx="2948">
                  <c:v>5.2577135723203099E-2</c:v>
                </c:pt>
                <c:pt idx="2949">
                  <c:v>5.2594970572498602E-2</c:v>
                </c:pt>
                <c:pt idx="2950">
                  <c:v>5.2612805421794098E-2</c:v>
                </c:pt>
                <c:pt idx="2951">
                  <c:v>5.2630640271089699E-2</c:v>
                </c:pt>
                <c:pt idx="2952">
                  <c:v>5.2648475120385202E-2</c:v>
                </c:pt>
                <c:pt idx="2953">
                  <c:v>5.2666309969680698E-2</c:v>
                </c:pt>
                <c:pt idx="2954">
                  <c:v>5.2684144818976202E-2</c:v>
                </c:pt>
                <c:pt idx="2955">
                  <c:v>5.2701979668271802E-2</c:v>
                </c:pt>
                <c:pt idx="2956">
                  <c:v>5.2719814517567298E-2</c:v>
                </c:pt>
                <c:pt idx="2957">
                  <c:v>5.2737649366862802E-2</c:v>
                </c:pt>
                <c:pt idx="2958">
                  <c:v>5.2755484216158298E-2</c:v>
                </c:pt>
                <c:pt idx="2959">
                  <c:v>5.2773319065453898E-2</c:v>
                </c:pt>
                <c:pt idx="2960">
                  <c:v>5.2791153914749402E-2</c:v>
                </c:pt>
                <c:pt idx="2961">
                  <c:v>5.2808988764044898E-2</c:v>
                </c:pt>
                <c:pt idx="2962">
                  <c:v>5.2826823613340401E-2</c:v>
                </c:pt>
                <c:pt idx="2963">
                  <c:v>5.2844658462635898E-2</c:v>
                </c:pt>
                <c:pt idx="2964">
                  <c:v>5.2862493311931498E-2</c:v>
                </c:pt>
                <c:pt idx="2965">
                  <c:v>5.2880328161227001E-2</c:v>
                </c:pt>
                <c:pt idx="2966">
                  <c:v>5.2898163010522498E-2</c:v>
                </c:pt>
                <c:pt idx="2967">
                  <c:v>5.2915997859818001E-2</c:v>
                </c:pt>
                <c:pt idx="2968">
                  <c:v>5.2933832709113601E-2</c:v>
                </c:pt>
                <c:pt idx="2969">
                  <c:v>5.2951667558409098E-2</c:v>
                </c:pt>
                <c:pt idx="2970">
                  <c:v>5.2969502407704601E-2</c:v>
                </c:pt>
                <c:pt idx="2971">
                  <c:v>5.2987337257000097E-2</c:v>
                </c:pt>
                <c:pt idx="2972">
                  <c:v>5.3005172106295698E-2</c:v>
                </c:pt>
                <c:pt idx="2973">
                  <c:v>5.3023006955591201E-2</c:v>
                </c:pt>
                <c:pt idx="2974">
                  <c:v>5.3040841804886697E-2</c:v>
                </c:pt>
                <c:pt idx="2975">
                  <c:v>5.3058676654182201E-2</c:v>
                </c:pt>
                <c:pt idx="2976">
                  <c:v>5.3076511503477697E-2</c:v>
                </c:pt>
                <c:pt idx="2977">
                  <c:v>5.3094346352773297E-2</c:v>
                </c:pt>
                <c:pt idx="2978">
                  <c:v>5.3112181202068801E-2</c:v>
                </c:pt>
                <c:pt idx="2979">
                  <c:v>5.3130016051364297E-2</c:v>
                </c:pt>
                <c:pt idx="2980">
                  <c:v>5.31478509006598E-2</c:v>
                </c:pt>
                <c:pt idx="2981">
                  <c:v>5.3165685749955401E-2</c:v>
                </c:pt>
                <c:pt idx="2982">
                  <c:v>5.3183520599250897E-2</c:v>
                </c:pt>
                <c:pt idx="2983">
                  <c:v>5.32013554485464E-2</c:v>
                </c:pt>
                <c:pt idx="2984">
                  <c:v>5.3219190297841903E-2</c:v>
                </c:pt>
                <c:pt idx="2985">
                  <c:v>5.3237025147137497E-2</c:v>
                </c:pt>
                <c:pt idx="2986">
                  <c:v>5.3254859996433E-2</c:v>
                </c:pt>
                <c:pt idx="2987">
                  <c:v>5.3272694845728497E-2</c:v>
                </c:pt>
                <c:pt idx="2988">
                  <c:v>5.3290529695024E-2</c:v>
                </c:pt>
                <c:pt idx="2989">
                  <c:v>5.33083645443196E-2</c:v>
                </c:pt>
                <c:pt idx="2990">
                  <c:v>5.3326199393615097E-2</c:v>
                </c:pt>
                <c:pt idx="2991">
                  <c:v>5.33440342429106E-2</c:v>
                </c:pt>
                <c:pt idx="2992">
                  <c:v>5.3361869092206103E-2</c:v>
                </c:pt>
                <c:pt idx="2993">
                  <c:v>5.3379703941501697E-2</c:v>
                </c:pt>
                <c:pt idx="2994">
                  <c:v>5.33975387907972E-2</c:v>
                </c:pt>
                <c:pt idx="2995">
                  <c:v>5.3415373640092703E-2</c:v>
                </c:pt>
                <c:pt idx="2996">
                  <c:v>5.34332084893882E-2</c:v>
                </c:pt>
                <c:pt idx="2997">
                  <c:v>5.3451043338683703E-2</c:v>
                </c:pt>
                <c:pt idx="2998">
                  <c:v>5.3468878187979303E-2</c:v>
                </c:pt>
                <c:pt idx="2999">
                  <c:v>5.34867130372748E-2</c:v>
                </c:pt>
                <c:pt idx="3000">
                  <c:v>5.3504547886570303E-2</c:v>
                </c:pt>
                <c:pt idx="3001">
                  <c:v>5.3522382735865799E-2</c:v>
                </c:pt>
                <c:pt idx="3002">
                  <c:v>5.35402175851614E-2</c:v>
                </c:pt>
                <c:pt idx="3003">
                  <c:v>5.3558052434456903E-2</c:v>
                </c:pt>
                <c:pt idx="3004">
                  <c:v>5.3575887283752399E-2</c:v>
                </c:pt>
                <c:pt idx="3005">
                  <c:v>5.3593722133047902E-2</c:v>
                </c:pt>
                <c:pt idx="3006">
                  <c:v>5.3611556982343399E-2</c:v>
                </c:pt>
                <c:pt idx="3007">
                  <c:v>5.3629391831638999E-2</c:v>
                </c:pt>
                <c:pt idx="3008">
                  <c:v>5.3647226680934502E-2</c:v>
                </c:pt>
                <c:pt idx="3009">
                  <c:v>5.3665061530229999E-2</c:v>
                </c:pt>
                <c:pt idx="3010">
                  <c:v>5.3682896379525502E-2</c:v>
                </c:pt>
                <c:pt idx="3011">
                  <c:v>5.3700731228821103E-2</c:v>
                </c:pt>
                <c:pt idx="3012">
                  <c:v>5.3718566078116599E-2</c:v>
                </c:pt>
                <c:pt idx="3013">
                  <c:v>5.3736400927412102E-2</c:v>
                </c:pt>
                <c:pt idx="3014">
                  <c:v>5.3754235776707598E-2</c:v>
                </c:pt>
                <c:pt idx="3015">
                  <c:v>5.3772070626003199E-2</c:v>
                </c:pt>
                <c:pt idx="3016">
                  <c:v>5.3789905475298702E-2</c:v>
                </c:pt>
                <c:pt idx="3017">
                  <c:v>5.3807740324594198E-2</c:v>
                </c:pt>
                <c:pt idx="3018">
                  <c:v>5.3825575173889702E-2</c:v>
                </c:pt>
                <c:pt idx="3019">
                  <c:v>5.3843410023185302E-2</c:v>
                </c:pt>
                <c:pt idx="3020">
                  <c:v>5.3861244872480799E-2</c:v>
                </c:pt>
                <c:pt idx="3021">
                  <c:v>5.3879079721776302E-2</c:v>
                </c:pt>
                <c:pt idx="3022">
                  <c:v>5.3896914571071798E-2</c:v>
                </c:pt>
                <c:pt idx="3023">
                  <c:v>5.3914749420367399E-2</c:v>
                </c:pt>
                <c:pt idx="3024">
                  <c:v>5.3932584269662902E-2</c:v>
                </c:pt>
                <c:pt idx="3025">
                  <c:v>5.3950419118958398E-2</c:v>
                </c:pt>
                <c:pt idx="3026">
                  <c:v>5.3968253968253901E-2</c:v>
                </c:pt>
                <c:pt idx="3027">
                  <c:v>5.3986088817549398E-2</c:v>
                </c:pt>
                <c:pt idx="3028">
                  <c:v>5.4003923666844998E-2</c:v>
                </c:pt>
                <c:pt idx="3029">
                  <c:v>5.4021758516140501E-2</c:v>
                </c:pt>
                <c:pt idx="3030">
                  <c:v>5.4039593365435998E-2</c:v>
                </c:pt>
                <c:pt idx="3031">
                  <c:v>5.4057428214731501E-2</c:v>
                </c:pt>
                <c:pt idx="3032">
                  <c:v>5.4075263064027101E-2</c:v>
                </c:pt>
                <c:pt idx="3033">
                  <c:v>5.4093097913322598E-2</c:v>
                </c:pt>
                <c:pt idx="3034">
                  <c:v>5.4110932762618101E-2</c:v>
                </c:pt>
                <c:pt idx="3035">
                  <c:v>5.4128767611913597E-2</c:v>
                </c:pt>
                <c:pt idx="3036">
                  <c:v>5.4146602461209198E-2</c:v>
                </c:pt>
                <c:pt idx="3037">
                  <c:v>5.4164437310504701E-2</c:v>
                </c:pt>
                <c:pt idx="3038">
                  <c:v>5.4182272159800197E-2</c:v>
                </c:pt>
                <c:pt idx="3039">
                  <c:v>5.4200107009095701E-2</c:v>
                </c:pt>
                <c:pt idx="3040">
                  <c:v>5.4217941858391197E-2</c:v>
                </c:pt>
                <c:pt idx="3041">
                  <c:v>5.4235776707686797E-2</c:v>
                </c:pt>
                <c:pt idx="3042">
                  <c:v>5.4253611556982301E-2</c:v>
                </c:pt>
                <c:pt idx="3043">
                  <c:v>5.4271446406277797E-2</c:v>
                </c:pt>
                <c:pt idx="3044">
                  <c:v>5.42892812555733E-2</c:v>
                </c:pt>
                <c:pt idx="3045">
                  <c:v>5.4307116104868901E-2</c:v>
                </c:pt>
                <c:pt idx="3046">
                  <c:v>5.4324950954164397E-2</c:v>
                </c:pt>
                <c:pt idx="3047">
                  <c:v>5.43427858034599E-2</c:v>
                </c:pt>
                <c:pt idx="3048">
                  <c:v>5.4360620652755397E-2</c:v>
                </c:pt>
                <c:pt idx="3049">
                  <c:v>5.4378455502050997E-2</c:v>
                </c:pt>
                <c:pt idx="3050">
                  <c:v>5.43962903513465E-2</c:v>
                </c:pt>
                <c:pt idx="3051">
                  <c:v>5.4414125200641997E-2</c:v>
                </c:pt>
                <c:pt idx="3052">
                  <c:v>5.44319600499375E-2</c:v>
                </c:pt>
                <c:pt idx="3053">
                  <c:v>5.44497948992331E-2</c:v>
                </c:pt>
                <c:pt idx="3054">
                  <c:v>5.4467629748528597E-2</c:v>
                </c:pt>
                <c:pt idx="3055">
                  <c:v>5.44854645978241E-2</c:v>
                </c:pt>
                <c:pt idx="3056">
                  <c:v>5.4503299447119603E-2</c:v>
                </c:pt>
                <c:pt idx="3057">
                  <c:v>5.4521134296415197E-2</c:v>
                </c:pt>
                <c:pt idx="3058">
                  <c:v>5.45389691457107E-2</c:v>
                </c:pt>
                <c:pt idx="3059">
                  <c:v>5.4556803995006203E-2</c:v>
                </c:pt>
                <c:pt idx="3060">
                  <c:v>5.45746388443017E-2</c:v>
                </c:pt>
                <c:pt idx="3061">
                  <c:v>5.4592473693597203E-2</c:v>
                </c:pt>
                <c:pt idx="3062">
                  <c:v>5.4610308542892803E-2</c:v>
                </c:pt>
                <c:pt idx="3063">
                  <c:v>5.46281433921883E-2</c:v>
                </c:pt>
                <c:pt idx="3064">
                  <c:v>5.4645978241483803E-2</c:v>
                </c:pt>
                <c:pt idx="3065">
                  <c:v>5.4663813090779299E-2</c:v>
                </c:pt>
                <c:pt idx="3066">
                  <c:v>5.46816479400749E-2</c:v>
                </c:pt>
                <c:pt idx="3067">
                  <c:v>5.4699482789370403E-2</c:v>
                </c:pt>
                <c:pt idx="3068">
                  <c:v>5.4717317638665899E-2</c:v>
                </c:pt>
                <c:pt idx="3069">
                  <c:v>5.4735152487961403E-2</c:v>
                </c:pt>
                <c:pt idx="3070">
                  <c:v>5.4752987337257003E-2</c:v>
                </c:pt>
                <c:pt idx="3071">
                  <c:v>5.4770822186552499E-2</c:v>
                </c:pt>
                <c:pt idx="3072">
                  <c:v>5.4788657035848003E-2</c:v>
                </c:pt>
                <c:pt idx="3073">
                  <c:v>5.4806491885143499E-2</c:v>
                </c:pt>
                <c:pt idx="3074">
                  <c:v>5.4824326734439002E-2</c:v>
                </c:pt>
                <c:pt idx="3075">
                  <c:v>5.4842161583734603E-2</c:v>
                </c:pt>
                <c:pt idx="3076">
                  <c:v>5.4859996433030099E-2</c:v>
                </c:pt>
                <c:pt idx="3077">
                  <c:v>5.4877831282325602E-2</c:v>
                </c:pt>
                <c:pt idx="3078">
                  <c:v>5.4895666131621099E-2</c:v>
                </c:pt>
                <c:pt idx="3079">
                  <c:v>5.4913500980916699E-2</c:v>
                </c:pt>
                <c:pt idx="3080">
                  <c:v>5.4931335830212202E-2</c:v>
                </c:pt>
                <c:pt idx="3081">
                  <c:v>5.4949170679507699E-2</c:v>
                </c:pt>
                <c:pt idx="3082">
                  <c:v>5.4967005528803202E-2</c:v>
                </c:pt>
                <c:pt idx="3083">
                  <c:v>5.4984840378098802E-2</c:v>
                </c:pt>
                <c:pt idx="3084">
                  <c:v>5.5002675227394299E-2</c:v>
                </c:pt>
                <c:pt idx="3085">
                  <c:v>5.5020510076689802E-2</c:v>
                </c:pt>
                <c:pt idx="3086">
                  <c:v>5.5038344925985298E-2</c:v>
                </c:pt>
                <c:pt idx="3087">
                  <c:v>5.5056179775280899E-2</c:v>
                </c:pt>
                <c:pt idx="3088">
                  <c:v>5.5074014624576402E-2</c:v>
                </c:pt>
                <c:pt idx="3089">
                  <c:v>5.5091849473871898E-2</c:v>
                </c:pt>
                <c:pt idx="3090">
                  <c:v>5.5109684323167402E-2</c:v>
                </c:pt>
                <c:pt idx="3091">
                  <c:v>5.5127519172462898E-2</c:v>
                </c:pt>
                <c:pt idx="3092">
                  <c:v>5.5145354021758498E-2</c:v>
                </c:pt>
                <c:pt idx="3093">
                  <c:v>5.5163188871054002E-2</c:v>
                </c:pt>
                <c:pt idx="3094">
                  <c:v>5.5181023720349498E-2</c:v>
                </c:pt>
                <c:pt idx="3095">
                  <c:v>5.5198858569645001E-2</c:v>
                </c:pt>
                <c:pt idx="3096">
                  <c:v>5.5216693418940602E-2</c:v>
                </c:pt>
                <c:pt idx="3097">
                  <c:v>5.5234528268236098E-2</c:v>
                </c:pt>
                <c:pt idx="3098">
                  <c:v>5.5252363117531601E-2</c:v>
                </c:pt>
                <c:pt idx="3099">
                  <c:v>5.5270197966827098E-2</c:v>
                </c:pt>
                <c:pt idx="3100">
                  <c:v>5.5288032816122698E-2</c:v>
                </c:pt>
                <c:pt idx="3101">
                  <c:v>5.5305867665418201E-2</c:v>
                </c:pt>
                <c:pt idx="3102">
                  <c:v>5.5323702514713698E-2</c:v>
                </c:pt>
                <c:pt idx="3103">
                  <c:v>5.5341537364009201E-2</c:v>
                </c:pt>
                <c:pt idx="3104">
                  <c:v>5.5359372213304697E-2</c:v>
                </c:pt>
                <c:pt idx="3105">
                  <c:v>5.5377207062600298E-2</c:v>
                </c:pt>
                <c:pt idx="3106">
                  <c:v>5.5395041911895801E-2</c:v>
                </c:pt>
                <c:pt idx="3107">
                  <c:v>5.5412876761191297E-2</c:v>
                </c:pt>
                <c:pt idx="3108">
                  <c:v>5.5430711610486801E-2</c:v>
                </c:pt>
                <c:pt idx="3109">
                  <c:v>5.5448546459782401E-2</c:v>
                </c:pt>
                <c:pt idx="3110">
                  <c:v>5.5466381309077897E-2</c:v>
                </c:pt>
                <c:pt idx="3111">
                  <c:v>5.5484216158373401E-2</c:v>
                </c:pt>
                <c:pt idx="3112">
                  <c:v>5.5502051007668897E-2</c:v>
                </c:pt>
                <c:pt idx="3113">
                  <c:v>5.5519885856964497E-2</c:v>
                </c:pt>
                <c:pt idx="3114">
                  <c:v>5.5537720706260001E-2</c:v>
                </c:pt>
                <c:pt idx="3115">
                  <c:v>5.5555555555555497E-2</c:v>
                </c:pt>
                <c:pt idx="3116">
                  <c:v>5.5573390404851E-2</c:v>
                </c:pt>
                <c:pt idx="3117">
                  <c:v>5.5591225254146601E-2</c:v>
                </c:pt>
                <c:pt idx="3118">
                  <c:v>5.5609060103442097E-2</c:v>
                </c:pt>
                <c:pt idx="3119">
                  <c:v>5.56268949527376E-2</c:v>
                </c:pt>
                <c:pt idx="3120">
                  <c:v>5.5644729802033097E-2</c:v>
                </c:pt>
                <c:pt idx="3121">
                  <c:v>5.5662564651328697E-2</c:v>
                </c:pt>
                <c:pt idx="3122">
                  <c:v>5.56803995006242E-2</c:v>
                </c:pt>
                <c:pt idx="3123">
                  <c:v>5.5698234349919697E-2</c:v>
                </c:pt>
                <c:pt idx="3124">
                  <c:v>5.57160691992152E-2</c:v>
                </c:pt>
                <c:pt idx="3125">
                  <c:v>5.5733904048510703E-2</c:v>
                </c:pt>
                <c:pt idx="3126">
                  <c:v>5.5751738897806297E-2</c:v>
                </c:pt>
                <c:pt idx="3127">
                  <c:v>5.57695737471018E-2</c:v>
                </c:pt>
                <c:pt idx="3128">
                  <c:v>5.5787408596397303E-2</c:v>
                </c:pt>
                <c:pt idx="3129">
                  <c:v>5.58052434456928E-2</c:v>
                </c:pt>
                <c:pt idx="3130">
                  <c:v>5.58230782949884E-2</c:v>
                </c:pt>
                <c:pt idx="3131">
                  <c:v>5.5840913144283903E-2</c:v>
                </c:pt>
                <c:pt idx="3132">
                  <c:v>5.58587479935794E-2</c:v>
                </c:pt>
                <c:pt idx="3133">
                  <c:v>5.5876582842874903E-2</c:v>
                </c:pt>
                <c:pt idx="3134">
                  <c:v>5.5894417692170503E-2</c:v>
                </c:pt>
                <c:pt idx="3135">
                  <c:v>5.5912252541466E-2</c:v>
                </c:pt>
                <c:pt idx="3136">
                  <c:v>5.5930087390761503E-2</c:v>
                </c:pt>
                <c:pt idx="3137">
                  <c:v>5.5947922240056999E-2</c:v>
                </c:pt>
                <c:pt idx="3138">
                  <c:v>5.5965757089352502E-2</c:v>
                </c:pt>
                <c:pt idx="3139">
                  <c:v>5.5983591938648103E-2</c:v>
                </c:pt>
                <c:pt idx="3140">
                  <c:v>5.6001426787943599E-2</c:v>
                </c:pt>
                <c:pt idx="3141">
                  <c:v>5.6019261637239103E-2</c:v>
                </c:pt>
                <c:pt idx="3142">
                  <c:v>5.6037096486534599E-2</c:v>
                </c:pt>
                <c:pt idx="3143">
                  <c:v>5.6054931335830199E-2</c:v>
                </c:pt>
                <c:pt idx="3144">
                  <c:v>5.6072766185125703E-2</c:v>
                </c:pt>
                <c:pt idx="3145">
                  <c:v>5.6090601034421199E-2</c:v>
                </c:pt>
                <c:pt idx="3146">
                  <c:v>5.6108435883716702E-2</c:v>
                </c:pt>
                <c:pt idx="3147">
                  <c:v>5.6126270733012303E-2</c:v>
                </c:pt>
                <c:pt idx="3148">
                  <c:v>5.6144105582307799E-2</c:v>
                </c:pt>
                <c:pt idx="3149">
                  <c:v>5.6161940431603302E-2</c:v>
                </c:pt>
                <c:pt idx="3150">
                  <c:v>5.6179775280898799E-2</c:v>
                </c:pt>
                <c:pt idx="3151">
                  <c:v>5.6197610130194399E-2</c:v>
                </c:pt>
                <c:pt idx="3152">
                  <c:v>5.6215444979489902E-2</c:v>
                </c:pt>
                <c:pt idx="3153">
                  <c:v>5.6233279828785399E-2</c:v>
                </c:pt>
                <c:pt idx="3154">
                  <c:v>5.6251114678080902E-2</c:v>
                </c:pt>
                <c:pt idx="3155">
                  <c:v>5.6268949527376398E-2</c:v>
                </c:pt>
                <c:pt idx="3156">
                  <c:v>5.6286784376671999E-2</c:v>
                </c:pt>
                <c:pt idx="3157">
                  <c:v>5.6304619225967502E-2</c:v>
                </c:pt>
                <c:pt idx="3158">
                  <c:v>5.6322454075262998E-2</c:v>
                </c:pt>
                <c:pt idx="3159">
                  <c:v>5.6340288924558501E-2</c:v>
                </c:pt>
                <c:pt idx="3160">
                  <c:v>5.6358123773854102E-2</c:v>
                </c:pt>
                <c:pt idx="3161">
                  <c:v>5.6375958623149598E-2</c:v>
                </c:pt>
                <c:pt idx="3162">
                  <c:v>5.6393793472445101E-2</c:v>
                </c:pt>
                <c:pt idx="3163">
                  <c:v>5.6411628321740598E-2</c:v>
                </c:pt>
                <c:pt idx="3164">
                  <c:v>5.6429463171036198E-2</c:v>
                </c:pt>
                <c:pt idx="3165">
                  <c:v>5.6447298020331702E-2</c:v>
                </c:pt>
                <c:pt idx="3166">
                  <c:v>5.6465132869627198E-2</c:v>
                </c:pt>
                <c:pt idx="3167">
                  <c:v>5.6482967718922701E-2</c:v>
                </c:pt>
                <c:pt idx="3168">
                  <c:v>5.6500802568218302E-2</c:v>
                </c:pt>
                <c:pt idx="3169">
                  <c:v>5.6518637417513798E-2</c:v>
                </c:pt>
                <c:pt idx="3170">
                  <c:v>5.6536472266809301E-2</c:v>
                </c:pt>
                <c:pt idx="3171">
                  <c:v>5.6554307116104797E-2</c:v>
                </c:pt>
                <c:pt idx="3172">
                  <c:v>5.6572141965400301E-2</c:v>
                </c:pt>
                <c:pt idx="3173">
                  <c:v>5.6589976814695901E-2</c:v>
                </c:pt>
                <c:pt idx="3174">
                  <c:v>5.6607811663991398E-2</c:v>
                </c:pt>
                <c:pt idx="3175">
                  <c:v>5.6625646513286901E-2</c:v>
                </c:pt>
                <c:pt idx="3176">
                  <c:v>5.6643481362582397E-2</c:v>
                </c:pt>
                <c:pt idx="3177">
                  <c:v>5.6661316211877998E-2</c:v>
                </c:pt>
                <c:pt idx="3178">
                  <c:v>5.6679151061173501E-2</c:v>
                </c:pt>
                <c:pt idx="3179">
                  <c:v>5.6696985910468997E-2</c:v>
                </c:pt>
                <c:pt idx="3180">
                  <c:v>5.67148207597645E-2</c:v>
                </c:pt>
                <c:pt idx="3181">
                  <c:v>5.6732655609060101E-2</c:v>
                </c:pt>
                <c:pt idx="3182">
                  <c:v>5.6750490458355597E-2</c:v>
                </c:pt>
                <c:pt idx="3183">
                  <c:v>5.67683253076511E-2</c:v>
                </c:pt>
                <c:pt idx="3184">
                  <c:v>5.6786160156946597E-2</c:v>
                </c:pt>
                <c:pt idx="3185">
                  <c:v>5.6803995006242197E-2</c:v>
                </c:pt>
                <c:pt idx="3186">
                  <c:v>5.68218298555377E-2</c:v>
                </c:pt>
                <c:pt idx="3187">
                  <c:v>5.6839664704833197E-2</c:v>
                </c:pt>
                <c:pt idx="3188">
                  <c:v>5.68574995541287E-2</c:v>
                </c:pt>
                <c:pt idx="3189">
                  <c:v>5.6875334403424203E-2</c:v>
                </c:pt>
                <c:pt idx="3190">
                  <c:v>5.6893169252719797E-2</c:v>
                </c:pt>
                <c:pt idx="3191">
                  <c:v>5.69110041020153E-2</c:v>
                </c:pt>
                <c:pt idx="3192">
                  <c:v>5.6928838951310803E-2</c:v>
                </c:pt>
                <c:pt idx="3193">
                  <c:v>5.69466738006063E-2</c:v>
                </c:pt>
                <c:pt idx="3194">
                  <c:v>5.69645086499019E-2</c:v>
                </c:pt>
                <c:pt idx="3195">
                  <c:v>5.6982343499197403E-2</c:v>
                </c:pt>
                <c:pt idx="3196">
                  <c:v>5.70001783484929E-2</c:v>
                </c:pt>
                <c:pt idx="3197">
                  <c:v>5.7018013197788403E-2</c:v>
                </c:pt>
                <c:pt idx="3198">
                  <c:v>5.7035848047084003E-2</c:v>
                </c:pt>
                <c:pt idx="3199">
                  <c:v>5.70536828963795E-2</c:v>
                </c:pt>
                <c:pt idx="3200">
                  <c:v>5.7071517745675003E-2</c:v>
                </c:pt>
                <c:pt idx="3201">
                  <c:v>5.7089352594970499E-2</c:v>
                </c:pt>
                <c:pt idx="3202">
                  <c:v>5.7107187444266003E-2</c:v>
                </c:pt>
                <c:pt idx="3203">
                  <c:v>5.7125022293561603E-2</c:v>
                </c:pt>
                <c:pt idx="3204">
                  <c:v>5.7142857142857099E-2</c:v>
                </c:pt>
                <c:pt idx="3205">
                  <c:v>5.7160691992152603E-2</c:v>
                </c:pt>
                <c:pt idx="3206">
                  <c:v>5.7178526841448099E-2</c:v>
                </c:pt>
                <c:pt idx="3207">
                  <c:v>5.7196361690743699E-2</c:v>
                </c:pt>
                <c:pt idx="3208">
                  <c:v>5.7214196540039203E-2</c:v>
                </c:pt>
                <c:pt idx="3209">
                  <c:v>5.7232031389334699E-2</c:v>
                </c:pt>
                <c:pt idx="3210">
                  <c:v>5.7249866238630202E-2</c:v>
                </c:pt>
                <c:pt idx="3211">
                  <c:v>5.7267701087925803E-2</c:v>
                </c:pt>
                <c:pt idx="3212">
                  <c:v>5.7285535937221299E-2</c:v>
                </c:pt>
                <c:pt idx="3213">
                  <c:v>5.7303370786516802E-2</c:v>
                </c:pt>
                <c:pt idx="3214">
                  <c:v>5.7321205635812299E-2</c:v>
                </c:pt>
                <c:pt idx="3215">
                  <c:v>5.7339040485107899E-2</c:v>
                </c:pt>
                <c:pt idx="3216">
                  <c:v>5.7356875334403402E-2</c:v>
                </c:pt>
                <c:pt idx="3217">
                  <c:v>5.7374710183698899E-2</c:v>
                </c:pt>
                <c:pt idx="3218">
                  <c:v>5.7392545032994402E-2</c:v>
                </c:pt>
                <c:pt idx="3219">
                  <c:v>5.7410379882289898E-2</c:v>
                </c:pt>
                <c:pt idx="3220">
                  <c:v>5.7428214731585499E-2</c:v>
                </c:pt>
                <c:pt idx="3221">
                  <c:v>5.7446049580881002E-2</c:v>
                </c:pt>
                <c:pt idx="3222">
                  <c:v>5.7463884430176498E-2</c:v>
                </c:pt>
                <c:pt idx="3223">
                  <c:v>5.7481719279472002E-2</c:v>
                </c:pt>
                <c:pt idx="3224">
                  <c:v>5.7499554128767602E-2</c:v>
                </c:pt>
                <c:pt idx="3225">
                  <c:v>5.7517388978063098E-2</c:v>
                </c:pt>
                <c:pt idx="3226">
                  <c:v>5.7535223827358602E-2</c:v>
                </c:pt>
                <c:pt idx="3227">
                  <c:v>5.7553058676654098E-2</c:v>
                </c:pt>
                <c:pt idx="3228">
                  <c:v>5.7570893525949698E-2</c:v>
                </c:pt>
                <c:pt idx="3229">
                  <c:v>5.7588728375245202E-2</c:v>
                </c:pt>
                <c:pt idx="3230">
                  <c:v>5.7606563224540698E-2</c:v>
                </c:pt>
                <c:pt idx="3231">
                  <c:v>5.7624398073836201E-2</c:v>
                </c:pt>
                <c:pt idx="3232">
                  <c:v>5.7642232923131802E-2</c:v>
                </c:pt>
                <c:pt idx="3233">
                  <c:v>5.7660067772427298E-2</c:v>
                </c:pt>
                <c:pt idx="3234">
                  <c:v>5.7677902621722801E-2</c:v>
                </c:pt>
                <c:pt idx="3235">
                  <c:v>5.7695737471018298E-2</c:v>
                </c:pt>
                <c:pt idx="3236">
                  <c:v>5.7713572320313801E-2</c:v>
                </c:pt>
                <c:pt idx="3237">
                  <c:v>5.7731407169609401E-2</c:v>
                </c:pt>
                <c:pt idx="3238">
                  <c:v>5.7749242018904898E-2</c:v>
                </c:pt>
                <c:pt idx="3239">
                  <c:v>5.7767076868200401E-2</c:v>
                </c:pt>
                <c:pt idx="3240">
                  <c:v>5.7784911717495897E-2</c:v>
                </c:pt>
                <c:pt idx="3241">
                  <c:v>5.7802746566791498E-2</c:v>
                </c:pt>
                <c:pt idx="3242">
                  <c:v>5.7820581416087001E-2</c:v>
                </c:pt>
                <c:pt idx="3243">
                  <c:v>5.7838416265382497E-2</c:v>
                </c:pt>
                <c:pt idx="3244">
                  <c:v>5.7856251114678001E-2</c:v>
                </c:pt>
                <c:pt idx="3245">
                  <c:v>5.7874085963973601E-2</c:v>
                </c:pt>
                <c:pt idx="3246">
                  <c:v>5.7891920813269097E-2</c:v>
                </c:pt>
                <c:pt idx="3247">
                  <c:v>5.7909755662564601E-2</c:v>
                </c:pt>
                <c:pt idx="3248">
                  <c:v>5.7927590511860097E-2</c:v>
                </c:pt>
                <c:pt idx="3249">
                  <c:v>5.7945425361155697E-2</c:v>
                </c:pt>
                <c:pt idx="3250">
                  <c:v>5.7963260210451201E-2</c:v>
                </c:pt>
                <c:pt idx="3251">
                  <c:v>5.7981095059746697E-2</c:v>
                </c:pt>
                <c:pt idx="3252">
                  <c:v>5.79989299090422E-2</c:v>
                </c:pt>
                <c:pt idx="3253">
                  <c:v>5.8016764758337697E-2</c:v>
                </c:pt>
                <c:pt idx="3254">
                  <c:v>5.8034599607633297E-2</c:v>
                </c:pt>
                <c:pt idx="3255">
                  <c:v>5.80524344569288E-2</c:v>
                </c:pt>
                <c:pt idx="3256">
                  <c:v>5.8070269306224297E-2</c:v>
                </c:pt>
                <c:pt idx="3257">
                  <c:v>5.80881041555198E-2</c:v>
                </c:pt>
                <c:pt idx="3258">
                  <c:v>5.81059390048154E-2</c:v>
                </c:pt>
                <c:pt idx="3259">
                  <c:v>5.8123773854110897E-2</c:v>
                </c:pt>
                <c:pt idx="3260">
                  <c:v>5.81416087034064E-2</c:v>
                </c:pt>
                <c:pt idx="3261">
                  <c:v>5.8159443552701903E-2</c:v>
                </c:pt>
                <c:pt idx="3262">
                  <c:v>5.8177278401997497E-2</c:v>
                </c:pt>
                <c:pt idx="3263">
                  <c:v>5.8195113251293E-2</c:v>
                </c:pt>
                <c:pt idx="3264">
                  <c:v>5.8212948100588503E-2</c:v>
                </c:pt>
                <c:pt idx="3265">
                  <c:v>5.8230782949884E-2</c:v>
                </c:pt>
                <c:pt idx="3266">
                  <c:v>5.82486177991796E-2</c:v>
                </c:pt>
                <c:pt idx="3267">
                  <c:v>5.8266452648475103E-2</c:v>
                </c:pt>
                <c:pt idx="3268">
                  <c:v>5.82842874977706E-2</c:v>
                </c:pt>
                <c:pt idx="3269">
                  <c:v>5.8302122347066103E-2</c:v>
                </c:pt>
                <c:pt idx="3270">
                  <c:v>5.8319957196361599E-2</c:v>
                </c:pt>
                <c:pt idx="3271">
                  <c:v>5.83377920456572E-2</c:v>
                </c:pt>
                <c:pt idx="3272">
                  <c:v>5.8355626894952703E-2</c:v>
                </c:pt>
                <c:pt idx="3273">
                  <c:v>5.8373461744248199E-2</c:v>
                </c:pt>
                <c:pt idx="3274">
                  <c:v>5.8391296593543703E-2</c:v>
                </c:pt>
                <c:pt idx="3275">
                  <c:v>5.8409131442839303E-2</c:v>
                </c:pt>
                <c:pt idx="3276">
                  <c:v>5.8426966292134799E-2</c:v>
                </c:pt>
                <c:pt idx="3277">
                  <c:v>5.8444801141430303E-2</c:v>
                </c:pt>
                <c:pt idx="3278">
                  <c:v>5.8462635990725799E-2</c:v>
                </c:pt>
                <c:pt idx="3279">
                  <c:v>5.8480470840021399E-2</c:v>
                </c:pt>
                <c:pt idx="3280">
                  <c:v>5.8498305689316903E-2</c:v>
                </c:pt>
                <c:pt idx="3281">
                  <c:v>5.8516140538612399E-2</c:v>
                </c:pt>
                <c:pt idx="3282">
                  <c:v>5.8533975387907902E-2</c:v>
                </c:pt>
                <c:pt idx="3283">
                  <c:v>5.8551810237203399E-2</c:v>
                </c:pt>
                <c:pt idx="3284">
                  <c:v>5.8569645086498999E-2</c:v>
                </c:pt>
                <c:pt idx="3285">
                  <c:v>5.8587479935794502E-2</c:v>
                </c:pt>
                <c:pt idx="3286">
                  <c:v>5.8605314785089999E-2</c:v>
                </c:pt>
                <c:pt idx="3287">
                  <c:v>5.8623149634385502E-2</c:v>
                </c:pt>
                <c:pt idx="3288">
                  <c:v>5.8640984483681102E-2</c:v>
                </c:pt>
                <c:pt idx="3289">
                  <c:v>5.8658819332976599E-2</c:v>
                </c:pt>
                <c:pt idx="3290">
                  <c:v>5.8676654182272102E-2</c:v>
                </c:pt>
                <c:pt idx="3291">
                  <c:v>5.8694489031567598E-2</c:v>
                </c:pt>
                <c:pt idx="3292">
                  <c:v>5.8712323880863199E-2</c:v>
                </c:pt>
                <c:pt idx="3293">
                  <c:v>5.8730158730158702E-2</c:v>
                </c:pt>
                <c:pt idx="3294">
                  <c:v>5.8747993579454198E-2</c:v>
                </c:pt>
                <c:pt idx="3295">
                  <c:v>5.8765828428749702E-2</c:v>
                </c:pt>
                <c:pt idx="3296">
                  <c:v>5.8783663278045302E-2</c:v>
                </c:pt>
                <c:pt idx="3297">
                  <c:v>5.8801498127340798E-2</c:v>
                </c:pt>
                <c:pt idx="3298">
                  <c:v>5.8819332976636302E-2</c:v>
                </c:pt>
                <c:pt idx="3299">
                  <c:v>5.8837167825931798E-2</c:v>
                </c:pt>
                <c:pt idx="3300">
                  <c:v>5.8855002675227301E-2</c:v>
                </c:pt>
                <c:pt idx="3301">
                  <c:v>5.8872837524522902E-2</c:v>
                </c:pt>
                <c:pt idx="3302">
                  <c:v>5.8890672373818398E-2</c:v>
                </c:pt>
                <c:pt idx="3303">
                  <c:v>5.8908507223113901E-2</c:v>
                </c:pt>
                <c:pt idx="3304">
                  <c:v>5.8926342072409398E-2</c:v>
                </c:pt>
                <c:pt idx="3305">
                  <c:v>5.8944176921704998E-2</c:v>
                </c:pt>
                <c:pt idx="3306">
                  <c:v>5.8962011771000501E-2</c:v>
                </c:pt>
                <c:pt idx="3307">
                  <c:v>5.8979846620295998E-2</c:v>
                </c:pt>
                <c:pt idx="3308">
                  <c:v>5.8997681469591501E-2</c:v>
                </c:pt>
                <c:pt idx="3309">
                  <c:v>5.9015516318887101E-2</c:v>
                </c:pt>
                <c:pt idx="3310">
                  <c:v>5.9033351168182598E-2</c:v>
                </c:pt>
                <c:pt idx="3311">
                  <c:v>5.9051186017478101E-2</c:v>
                </c:pt>
                <c:pt idx="3312">
                  <c:v>5.9069020866773597E-2</c:v>
                </c:pt>
                <c:pt idx="3313">
                  <c:v>5.9086855716069198E-2</c:v>
                </c:pt>
                <c:pt idx="3314">
                  <c:v>5.9104690565364701E-2</c:v>
                </c:pt>
                <c:pt idx="3315">
                  <c:v>5.9122525414660197E-2</c:v>
                </c:pt>
                <c:pt idx="3316">
                  <c:v>5.9140360263955701E-2</c:v>
                </c:pt>
                <c:pt idx="3317">
                  <c:v>5.9158195113251197E-2</c:v>
                </c:pt>
                <c:pt idx="3318">
                  <c:v>5.9176029962546797E-2</c:v>
                </c:pt>
                <c:pt idx="3319">
                  <c:v>5.9193864811842301E-2</c:v>
                </c:pt>
                <c:pt idx="3320">
                  <c:v>5.9211699661137797E-2</c:v>
                </c:pt>
                <c:pt idx="3321">
                  <c:v>5.92295345104333E-2</c:v>
                </c:pt>
                <c:pt idx="3322">
                  <c:v>5.9247369359728901E-2</c:v>
                </c:pt>
                <c:pt idx="3323">
                  <c:v>5.9265204209024397E-2</c:v>
                </c:pt>
                <c:pt idx="3324">
                  <c:v>5.92830390583199E-2</c:v>
                </c:pt>
                <c:pt idx="3325">
                  <c:v>5.9300873907615403E-2</c:v>
                </c:pt>
                <c:pt idx="3326">
                  <c:v>5.9318708756910997E-2</c:v>
                </c:pt>
                <c:pt idx="3327">
                  <c:v>5.93365436062065E-2</c:v>
                </c:pt>
                <c:pt idx="3328">
                  <c:v>5.9354378455501997E-2</c:v>
                </c:pt>
                <c:pt idx="3329">
                  <c:v>5.93722133047975E-2</c:v>
                </c:pt>
                <c:pt idx="3330">
                  <c:v>5.93900481540931E-2</c:v>
                </c:pt>
                <c:pt idx="3331">
                  <c:v>5.9407883003388597E-2</c:v>
                </c:pt>
                <c:pt idx="3332">
                  <c:v>5.94257178526841E-2</c:v>
                </c:pt>
                <c:pt idx="3333">
                  <c:v>5.9443552701979603E-2</c:v>
                </c:pt>
                <c:pt idx="3334">
                  <c:v>5.9461387551275099E-2</c:v>
                </c:pt>
                <c:pt idx="3335">
                  <c:v>5.94792224005707E-2</c:v>
                </c:pt>
                <c:pt idx="3336">
                  <c:v>5.9497057249866203E-2</c:v>
                </c:pt>
                <c:pt idx="3337">
                  <c:v>5.9514892099161699E-2</c:v>
                </c:pt>
                <c:pt idx="3338">
                  <c:v>5.9532726948457203E-2</c:v>
                </c:pt>
                <c:pt idx="3339">
                  <c:v>5.9550561797752803E-2</c:v>
                </c:pt>
                <c:pt idx="3340">
                  <c:v>5.95683966470483E-2</c:v>
                </c:pt>
                <c:pt idx="3341">
                  <c:v>5.9586231496343803E-2</c:v>
                </c:pt>
                <c:pt idx="3342">
                  <c:v>5.9604066345639299E-2</c:v>
                </c:pt>
                <c:pt idx="3343">
                  <c:v>5.96219011949349E-2</c:v>
                </c:pt>
                <c:pt idx="3344">
                  <c:v>5.9639736044230403E-2</c:v>
                </c:pt>
                <c:pt idx="3345">
                  <c:v>5.9657570893525899E-2</c:v>
                </c:pt>
                <c:pt idx="3346">
                  <c:v>5.9675405742821402E-2</c:v>
                </c:pt>
                <c:pt idx="3347">
                  <c:v>5.9693240592116899E-2</c:v>
                </c:pt>
                <c:pt idx="3348">
                  <c:v>5.9711075441412499E-2</c:v>
                </c:pt>
                <c:pt idx="3349">
                  <c:v>5.9728910290708002E-2</c:v>
                </c:pt>
                <c:pt idx="3350">
                  <c:v>5.9746745140003499E-2</c:v>
                </c:pt>
                <c:pt idx="3351">
                  <c:v>5.9764579989299002E-2</c:v>
                </c:pt>
                <c:pt idx="3352">
                  <c:v>5.9782414838594602E-2</c:v>
                </c:pt>
                <c:pt idx="3353">
                  <c:v>5.9800249687890099E-2</c:v>
                </c:pt>
                <c:pt idx="3354">
                  <c:v>5.9818084537185602E-2</c:v>
                </c:pt>
                <c:pt idx="3355">
                  <c:v>5.9835919386481098E-2</c:v>
                </c:pt>
                <c:pt idx="3356">
                  <c:v>5.9853754235776699E-2</c:v>
                </c:pt>
                <c:pt idx="3357">
                  <c:v>5.9871589085072202E-2</c:v>
                </c:pt>
                <c:pt idx="3358">
                  <c:v>5.9889423934367698E-2</c:v>
                </c:pt>
                <c:pt idx="3359">
                  <c:v>5.9907258783663202E-2</c:v>
                </c:pt>
                <c:pt idx="3360">
                  <c:v>5.9925093632958802E-2</c:v>
                </c:pt>
                <c:pt idx="3361">
                  <c:v>5.9942928482254298E-2</c:v>
                </c:pt>
                <c:pt idx="3362">
                  <c:v>5.9960763331549802E-2</c:v>
                </c:pt>
                <c:pt idx="3363">
                  <c:v>5.9978598180845298E-2</c:v>
                </c:pt>
                <c:pt idx="3364">
                  <c:v>5.9996433030140899E-2</c:v>
                </c:pt>
                <c:pt idx="3365">
                  <c:v>6.0014267879436402E-2</c:v>
                </c:pt>
                <c:pt idx="3366">
                  <c:v>6.0032102728731898E-2</c:v>
                </c:pt>
                <c:pt idx="3367">
                  <c:v>6.0049937578027401E-2</c:v>
                </c:pt>
                <c:pt idx="3368">
                  <c:v>6.0067772427322898E-2</c:v>
                </c:pt>
                <c:pt idx="3369">
                  <c:v>6.0085607276618498E-2</c:v>
                </c:pt>
                <c:pt idx="3370">
                  <c:v>6.0103442125914001E-2</c:v>
                </c:pt>
                <c:pt idx="3371">
                  <c:v>6.0121276975209498E-2</c:v>
                </c:pt>
                <c:pt idx="3372">
                  <c:v>6.0139111824505001E-2</c:v>
                </c:pt>
                <c:pt idx="3373">
                  <c:v>6.0156946673800601E-2</c:v>
                </c:pt>
                <c:pt idx="3374">
                  <c:v>6.0174781523096098E-2</c:v>
                </c:pt>
                <c:pt idx="3375">
                  <c:v>6.0192616372391601E-2</c:v>
                </c:pt>
                <c:pt idx="3376">
                  <c:v>6.0210451221687097E-2</c:v>
                </c:pt>
                <c:pt idx="3377">
                  <c:v>6.0228286070982698E-2</c:v>
                </c:pt>
                <c:pt idx="3378">
                  <c:v>6.0246120920278201E-2</c:v>
                </c:pt>
                <c:pt idx="3379">
                  <c:v>6.0263955769573697E-2</c:v>
                </c:pt>
                <c:pt idx="3380">
                  <c:v>6.0281790618869201E-2</c:v>
                </c:pt>
                <c:pt idx="3381">
                  <c:v>6.0299625468164697E-2</c:v>
                </c:pt>
                <c:pt idx="3382">
                  <c:v>6.0317460317460297E-2</c:v>
                </c:pt>
                <c:pt idx="3383">
                  <c:v>6.0335295166755801E-2</c:v>
                </c:pt>
                <c:pt idx="3384">
                  <c:v>6.0353130016051297E-2</c:v>
                </c:pt>
                <c:pt idx="3385">
                  <c:v>6.03709648653468E-2</c:v>
                </c:pt>
                <c:pt idx="3386">
                  <c:v>6.0388799714642401E-2</c:v>
                </c:pt>
                <c:pt idx="3387">
                  <c:v>6.0406634563937897E-2</c:v>
                </c:pt>
                <c:pt idx="3388">
                  <c:v>6.04244694132334E-2</c:v>
                </c:pt>
                <c:pt idx="3389">
                  <c:v>6.0442304262528897E-2</c:v>
                </c:pt>
                <c:pt idx="3390">
                  <c:v>6.0460139111824497E-2</c:v>
                </c:pt>
                <c:pt idx="3391">
                  <c:v>6.047797396112E-2</c:v>
                </c:pt>
                <c:pt idx="3392">
                  <c:v>6.0495808810415497E-2</c:v>
                </c:pt>
                <c:pt idx="3393">
                  <c:v>6.0513643659711E-2</c:v>
                </c:pt>
                <c:pt idx="3394">
                  <c:v>6.05314785090066E-2</c:v>
                </c:pt>
                <c:pt idx="3395">
                  <c:v>6.0549313358302097E-2</c:v>
                </c:pt>
                <c:pt idx="3396">
                  <c:v>6.05671482075976E-2</c:v>
                </c:pt>
                <c:pt idx="3397">
                  <c:v>6.0584983056893103E-2</c:v>
                </c:pt>
                <c:pt idx="3398">
                  <c:v>6.06028179061886E-2</c:v>
                </c:pt>
                <c:pt idx="3399">
                  <c:v>6.06206527554842E-2</c:v>
                </c:pt>
                <c:pt idx="3400">
                  <c:v>6.0638487604779703E-2</c:v>
                </c:pt>
                <c:pt idx="3401">
                  <c:v>6.06563224540752E-2</c:v>
                </c:pt>
                <c:pt idx="3402">
                  <c:v>6.0674157303370703E-2</c:v>
                </c:pt>
                <c:pt idx="3403">
                  <c:v>6.0691992152666303E-2</c:v>
                </c:pt>
                <c:pt idx="3404">
                  <c:v>6.07098270019618E-2</c:v>
                </c:pt>
                <c:pt idx="3405">
                  <c:v>6.0727661851257303E-2</c:v>
                </c:pt>
                <c:pt idx="3406">
                  <c:v>6.0745496700552799E-2</c:v>
                </c:pt>
                <c:pt idx="3407">
                  <c:v>6.07633315498484E-2</c:v>
                </c:pt>
                <c:pt idx="3408">
                  <c:v>6.0781166399143903E-2</c:v>
                </c:pt>
                <c:pt idx="3409">
                  <c:v>6.0799001248439399E-2</c:v>
                </c:pt>
                <c:pt idx="3410">
                  <c:v>6.0816836097734903E-2</c:v>
                </c:pt>
                <c:pt idx="3411">
                  <c:v>6.0834670947030399E-2</c:v>
                </c:pt>
                <c:pt idx="3412">
                  <c:v>6.0852505796325999E-2</c:v>
                </c:pt>
                <c:pt idx="3413">
                  <c:v>6.0870340645621503E-2</c:v>
                </c:pt>
                <c:pt idx="3414">
                  <c:v>6.0888175494916999E-2</c:v>
                </c:pt>
                <c:pt idx="3415">
                  <c:v>6.0906010344212502E-2</c:v>
                </c:pt>
                <c:pt idx="3416">
                  <c:v>6.0923845193508103E-2</c:v>
                </c:pt>
                <c:pt idx="3417">
                  <c:v>6.0941680042803599E-2</c:v>
                </c:pt>
                <c:pt idx="3418">
                  <c:v>6.0959514892099102E-2</c:v>
                </c:pt>
                <c:pt idx="3419">
                  <c:v>6.0977349741394599E-2</c:v>
                </c:pt>
                <c:pt idx="3420">
                  <c:v>6.0995184590690199E-2</c:v>
                </c:pt>
                <c:pt idx="3421">
                  <c:v>6.1013019439985702E-2</c:v>
                </c:pt>
                <c:pt idx="3422">
                  <c:v>6.1030854289281199E-2</c:v>
                </c:pt>
                <c:pt idx="3423">
                  <c:v>6.1048689138576702E-2</c:v>
                </c:pt>
                <c:pt idx="3424">
                  <c:v>6.1066523987872302E-2</c:v>
                </c:pt>
                <c:pt idx="3425">
                  <c:v>6.1084358837167799E-2</c:v>
                </c:pt>
                <c:pt idx="3426">
                  <c:v>6.1102193686463302E-2</c:v>
                </c:pt>
                <c:pt idx="3427">
                  <c:v>6.1120028535758798E-2</c:v>
                </c:pt>
                <c:pt idx="3428">
                  <c:v>6.1137863385054399E-2</c:v>
                </c:pt>
                <c:pt idx="3429">
                  <c:v>6.1155698234349902E-2</c:v>
                </c:pt>
                <c:pt idx="3430">
                  <c:v>6.1173533083645398E-2</c:v>
                </c:pt>
                <c:pt idx="3431">
                  <c:v>6.1191367932940902E-2</c:v>
                </c:pt>
                <c:pt idx="3432">
                  <c:v>6.1209202782236398E-2</c:v>
                </c:pt>
                <c:pt idx="3433">
                  <c:v>6.1227037631531998E-2</c:v>
                </c:pt>
                <c:pt idx="3434">
                  <c:v>6.1244872480827502E-2</c:v>
                </c:pt>
                <c:pt idx="3435">
                  <c:v>6.1262707330122998E-2</c:v>
                </c:pt>
                <c:pt idx="3436">
                  <c:v>6.1280542179418501E-2</c:v>
                </c:pt>
                <c:pt idx="3437">
                  <c:v>6.1298377028714102E-2</c:v>
                </c:pt>
                <c:pt idx="3438">
                  <c:v>6.1316211878009598E-2</c:v>
                </c:pt>
                <c:pt idx="3439">
                  <c:v>6.1334046727305101E-2</c:v>
                </c:pt>
                <c:pt idx="3440">
                  <c:v>6.1351881576600598E-2</c:v>
                </c:pt>
                <c:pt idx="3441">
                  <c:v>6.1369716425896198E-2</c:v>
                </c:pt>
                <c:pt idx="3442">
                  <c:v>6.1387551275191701E-2</c:v>
                </c:pt>
                <c:pt idx="3443">
                  <c:v>6.1405386124487198E-2</c:v>
                </c:pt>
                <c:pt idx="3444">
                  <c:v>6.1423220973782701E-2</c:v>
                </c:pt>
                <c:pt idx="3445">
                  <c:v>6.1441055823078197E-2</c:v>
                </c:pt>
                <c:pt idx="3446">
                  <c:v>6.1458890672373798E-2</c:v>
                </c:pt>
                <c:pt idx="3447">
                  <c:v>6.1476725521669301E-2</c:v>
                </c:pt>
                <c:pt idx="3448">
                  <c:v>6.1494560370964797E-2</c:v>
                </c:pt>
                <c:pt idx="3449">
                  <c:v>6.1512395220260301E-2</c:v>
                </c:pt>
                <c:pt idx="3450">
                  <c:v>6.1530230069555901E-2</c:v>
                </c:pt>
                <c:pt idx="3451">
                  <c:v>6.1548064918851397E-2</c:v>
                </c:pt>
                <c:pt idx="3452">
                  <c:v>6.1565899768146901E-2</c:v>
                </c:pt>
                <c:pt idx="3453">
                  <c:v>6.1583734617442397E-2</c:v>
                </c:pt>
                <c:pt idx="3454">
                  <c:v>6.1601569466737997E-2</c:v>
                </c:pt>
                <c:pt idx="3455">
                  <c:v>6.1619404316033501E-2</c:v>
                </c:pt>
                <c:pt idx="3456">
                  <c:v>6.1637239165328997E-2</c:v>
                </c:pt>
                <c:pt idx="3457">
                  <c:v>6.16550740146245E-2</c:v>
                </c:pt>
                <c:pt idx="3458">
                  <c:v>6.1672908863920101E-2</c:v>
                </c:pt>
                <c:pt idx="3459">
                  <c:v>6.1690743713215597E-2</c:v>
                </c:pt>
                <c:pt idx="3460">
                  <c:v>6.17085785625111E-2</c:v>
                </c:pt>
                <c:pt idx="3461">
                  <c:v>6.1726413411806597E-2</c:v>
                </c:pt>
                <c:pt idx="3462">
                  <c:v>6.1744248261102197E-2</c:v>
                </c:pt>
                <c:pt idx="3463">
                  <c:v>6.17620831103977E-2</c:v>
                </c:pt>
                <c:pt idx="3464">
                  <c:v>6.1779917959693197E-2</c:v>
                </c:pt>
                <c:pt idx="3465">
                  <c:v>6.17977528089887E-2</c:v>
                </c:pt>
                <c:pt idx="3466">
                  <c:v>6.1815587658284203E-2</c:v>
                </c:pt>
                <c:pt idx="3467">
                  <c:v>6.1833422507579797E-2</c:v>
                </c:pt>
                <c:pt idx="3468">
                  <c:v>6.18512573568753E-2</c:v>
                </c:pt>
                <c:pt idx="3469">
                  <c:v>6.1869092206170803E-2</c:v>
                </c:pt>
                <c:pt idx="3470">
                  <c:v>6.18869270554663E-2</c:v>
                </c:pt>
                <c:pt idx="3471">
                  <c:v>6.19047619047619E-2</c:v>
                </c:pt>
                <c:pt idx="3472">
                  <c:v>6.1922596754057403E-2</c:v>
                </c:pt>
                <c:pt idx="3473">
                  <c:v>6.19404316033529E-2</c:v>
                </c:pt>
                <c:pt idx="3474">
                  <c:v>6.1958266452648403E-2</c:v>
                </c:pt>
                <c:pt idx="3475">
                  <c:v>6.1976101301943899E-2</c:v>
                </c:pt>
                <c:pt idx="3476">
                  <c:v>6.19939361512395E-2</c:v>
                </c:pt>
                <c:pt idx="3477">
                  <c:v>6.2011771000535003E-2</c:v>
                </c:pt>
                <c:pt idx="3478">
                  <c:v>6.2029605849830499E-2</c:v>
                </c:pt>
                <c:pt idx="3479">
                  <c:v>6.2047440699126002E-2</c:v>
                </c:pt>
                <c:pt idx="3480">
                  <c:v>6.2065275548421603E-2</c:v>
                </c:pt>
                <c:pt idx="3481">
                  <c:v>6.2083110397717099E-2</c:v>
                </c:pt>
                <c:pt idx="3482">
                  <c:v>6.2100945247012602E-2</c:v>
                </c:pt>
                <c:pt idx="3483">
                  <c:v>6.2118780096308099E-2</c:v>
                </c:pt>
                <c:pt idx="3484">
                  <c:v>6.2136614945603699E-2</c:v>
                </c:pt>
                <c:pt idx="3485">
                  <c:v>6.2154449794899203E-2</c:v>
                </c:pt>
                <c:pt idx="3486">
                  <c:v>6.2172284644194699E-2</c:v>
                </c:pt>
                <c:pt idx="3487">
                  <c:v>6.2190119493490202E-2</c:v>
                </c:pt>
                <c:pt idx="3488">
                  <c:v>6.2207954342785803E-2</c:v>
                </c:pt>
                <c:pt idx="3489">
                  <c:v>6.2225789192081299E-2</c:v>
                </c:pt>
                <c:pt idx="3490">
                  <c:v>6.2243624041376802E-2</c:v>
                </c:pt>
                <c:pt idx="3491">
                  <c:v>6.2261458890672298E-2</c:v>
                </c:pt>
                <c:pt idx="3492">
                  <c:v>6.2279293739967899E-2</c:v>
                </c:pt>
                <c:pt idx="3493">
                  <c:v>6.2297128589263402E-2</c:v>
                </c:pt>
                <c:pt idx="3494">
                  <c:v>6.2314963438558899E-2</c:v>
                </c:pt>
                <c:pt idx="3495">
                  <c:v>6.2332798287854402E-2</c:v>
                </c:pt>
                <c:pt idx="3496">
                  <c:v>6.2350633137149898E-2</c:v>
                </c:pt>
                <c:pt idx="3497">
                  <c:v>6.2368467986445499E-2</c:v>
                </c:pt>
                <c:pt idx="3498">
                  <c:v>6.2386302835741002E-2</c:v>
                </c:pt>
                <c:pt idx="3499">
                  <c:v>6.2404137685036498E-2</c:v>
                </c:pt>
                <c:pt idx="3500">
                  <c:v>6.2421972534332001E-2</c:v>
                </c:pt>
                <c:pt idx="3501">
                  <c:v>6.2439807383627602E-2</c:v>
                </c:pt>
                <c:pt idx="3502">
                  <c:v>6.2457642232923098E-2</c:v>
                </c:pt>
                <c:pt idx="3503">
                  <c:v>6.2475477082218601E-2</c:v>
                </c:pt>
                <c:pt idx="3504">
                  <c:v>6.2493311931514098E-2</c:v>
                </c:pt>
                <c:pt idx="3505">
                  <c:v>6.2511146780809698E-2</c:v>
                </c:pt>
                <c:pt idx="3506">
                  <c:v>6.2528981630105201E-2</c:v>
                </c:pt>
                <c:pt idx="3507">
                  <c:v>6.2546816479400705E-2</c:v>
                </c:pt>
                <c:pt idx="3508">
                  <c:v>6.2564651328696194E-2</c:v>
                </c:pt>
                <c:pt idx="3509">
                  <c:v>6.2582486177991795E-2</c:v>
                </c:pt>
                <c:pt idx="3510">
                  <c:v>6.2600321027287298E-2</c:v>
                </c:pt>
                <c:pt idx="3511">
                  <c:v>6.2618155876582801E-2</c:v>
                </c:pt>
                <c:pt idx="3512">
                  <c:v>6.2635990725878304E-2</c:v>
                </c:pt>
                <c:pt idx="3513">
                  <c:v>6.2653825575173794E-2</c:v>
                </c:pt>
                <c:pt idx="3514">
                  <c:v>6.2671660424469394E-2</c:v>
                </c:pt>
                <c:pt idx="3515">
                  <c:v>6.2689495273764897E-2</c:v>
                </c:pt>
                <c:pt idx="3516">
                  <c:v>6.2707330123060401E-2</c:v>
                </c:pt>
                <c:pt idx="3517">
                  <c:v>6.2725164972355904E-2</c:v>
                </c:pt>
                <c:pt idx="3518">
                  <c:v>6.2742999821651504E-2</c:v>
                </c:pt>
                <c:pt idx="3519">
                  <c:v>6.2760834670946994E-2</c:v>
                </c:pt>
                <c:pt idx="3520">
                  <c:v>6.2778669520242497E-2</c:v>
                </c:pt>
                <c:pt idx="3521">
                  <c:v>6.2796504369538E-2</c:v>
                </c:pt>
                <c:pt idx="3522">
                  <c:v>6.2814339218833601E-2</c:v>
                </c:pt>
                <c:pt idx="3523">
                  <c:v>6.2832174068129104E-2</c:v>
                </c:pt>
                <c:pt idx="3524">
                  <c:v>6.2850008917424594E-2</c:v>
                </c:pt>
                <c:pt idx="3525">
                  <c:v>6.2867843766720097E-2</c:v>
                </c:pt>
                <c:pt idx="3526">
                  <c:v>6.2885678616015697E-2</c:v>
                </c:pt>
                <c:pt idx="3527">
                  <c:v>6.29035134653112E-2</c:v>
                </c:pt>
                <c:pt idx="3528">
                  <c:v>6.2921348314606704E-2</c:v>
                </c:pt>
                <c:pt idx="3529">
                  <c:v>6.2939183163902193E-2</c:v>
                </c:pt>
                <c:pt idx="3530">
                  <c:v>6.2957018013197794E-2</c:v>
                </c:pt>
                <c:pt idx="3531">
                  <c:v>6.2974852862493297E-2</c:v>
                </c:pt>
                <c:pt idx="3532">
                  <c:v>6.29926877117888E-2</c:v>
                </c:pt>
                <c:pt idx="3533">
                  <c:v>6.3010522561084303E-2</c:v>
                </c:pt>
                <c:pt idx="3534">
                  <c:v>6.3028357410379807E-2</c:v>
                </c:pt>
                <c:pt idx="3535">
                  <c:v>6.3046192259675393E-2</c:v>
                </c:pt>
                <c:pt idx="3536">
                  <c:v>6.3064027108970896E-2</c:v>
                </c:pt>
                <c:pt idx="3537">
                  <c:v>6.30818619582664E-2</c:v>
                </c:pt>
                <c:pt idx="3538">
                  <c:v>6.3099696807561903E-2</c:v>
                </c:pt>
                <c:pt idx="3539">
                  <c:v>6.3117531656857503E-2</c:v>
                </c:pt>
                <c:pt idx="3540">
                  <c:v>6.3135366506153007E-2</c:v>
                </c:pt>
                <c:pt idx="3541">
                  <c:v>6.3153201355448496E-2</c:v>
                </c:pt>
                <c:pt idx="3542">
                  <c:v>6.3171036204743999E-2</c:v>
                </c:pt>
                <c:pt idx="3543">
                  <c:v>6.31888710540396E-2</c:v>
                </c:pt>
                <c:pt idx="3544">
                  <c:v>6.3206705903335103E-2</c:v>
                </c:pt>
                <c:pt idx="3545">
                  <c:v>6.3224540752630606E-2</c:v>
                </c:pt>
                <c:pt idx="3546">
                  <c:v>6.3242375601926096E-2</c:v>
                </c:pt>
                <c:pt idx="3547">
                  <c:v>6.3260210451221599E-2</c:v>
                </c:pt>
                <c:pt idx="3548">
                  <c:v>6.3278045300517199E-2</c:v>
                </c:pt>
                <c:pt idx="3549">
                  <c:v>6.3295880149812703E-2</c:v>
                </c:pt>
                <c:pt idx="3550">
                  <c:v>6.3313714999108206E-2</c:v>
                </c:pt>
                <c:pt idx="3551">
                  <c:v>6.3331549848403695E-2</c:v>
                </c:pt>
                <c:pt idx="3552">
                  <c:v>6.3349384697699296E-2</c:v>
                </c:pt>
                <c:pt idx="3553">
                  <c:v>6.3367219546994799E-2</c:v>
                </c:pt>
                <c:pt idx="3554">
                  <c:v>6.3385054396290302E-2</c:v>
                </c:pt>
                <c:pt idx="3555">
                  <c:v>6.3402889245585806E-2</c:v>
                </c:pt>
                <c:pt idx="3556">
                  <c:v>6.3420724094881295E-2</c:v>
                </c:pt>
                <c:pt idx="3557">
                  <c:v>6.3438558944176895E-2</c:v>
                </c:pt>
                <c:pt idx="3558">
                  <c:v>6.3456393793472399E-2</c:v>
                </c:pt>
                <c:pt idx="3559">
                  <c:v>6.3474228642767902E-2</c:v>
                </c:pt>
                <c:pt idx="3560">
                  <c:v>6.3492063492063405E-2</c:v>
                </c:pt>
                <c:pt idx="3561">
                  <c:v>6.3509898341359006E-2</c:v>
                </c:pt>
                <c:pt idx="3562">
                  <c:v>6.3527733190654495E-2</c:v>
                </c:pt>
                <c:pt idx="3563">
                  <c:v>6.3545568039949998E-2</c:v>
                </c:pt>
                <c:pt idx="3564">
                  <c:v>6.3563402889245502E-2</c:v>
                </c:pt>
                <c:pt idx="3565">
                  <c:v>6.3581237738541102E-2</c:v>
                </c:pt>
                <c:pt idx="3566">
                  <c:v>6.3599072587836605E-2</c:v>
                </c:pt>
                <c:pt idx="3567">
                  <c:v>6.3616907437132095E-2</c:v>
                </c:pt>
                <c:pt idx="3568">
                  <c:v>6.3634742286427598E-2</c:v>
                </c:pt>
                <c:pt idx="3569">
                  <c:v>6.3652577135723198E-2</c:v>
                </c:pt>
                <c:pt idx="3570">
                  <c:v>6.3670411985018702E-2</c:v>
                </c:pt>
                <c:pt idx="3571">
                  <c:v>6.3688246834314205E-2</c:v>
                </c:pt>
                <c:pt idx="3572">
                  <c:v>6.3706081683609694E-2</c:v>
                </c:pt>
                <c:pt idx="3573">
                  <c:v>6.3723916532905295E-2</c:v>
                </c:pt>
                <c:pt idx="3574">
                  <c:v>6.3741751382200798E-2</c:v>
                </c:pt>
                <c:pt idx="3575">
                  <c:v>6.3759586231496301E-2</c:v>
                </c:pt>
                <c:pt idx="3576">
                  <c:v>6.3777421080791805E-2</c:v>
                </c:pt>
                <c:pt idx="3577">
                  <c:v>6.3795255930087294E-2</c:v>
                </c:pt>
                <c:pt idx="3578">
                  <c:v>6.3813090779382894E-2</c:v>
                </c:pt>
                <c:pt idx="3579">
                  <c:v>6.3830925628678398E-2</c:v>
                </c:pt>
                <c:pt idx="3580">
                  <c:v>6.3848760477973901E-2</c:v>
                </c:pt>
                <c:pt idx="3581">
                  <c:v>6.3866595327269404E-2</c:v>
                </c:pt>
                <c:pt idx="3582">
                  <c:v>6.3884430176565005E-2</c:v>
                </c:pt>
                <c:pt idx="3583">
                  <c:v>6.3902265025860494E-2</c:v>
                </c:pt>
                <c:pt idx="3584">
                  <c:v>6.3920099875155997E-2</c:v>
                </c:pt>
                <c:pt idx="3585">
                  <c:v>6.3937934724451501E-2</c:v>
                </c:pt>
                <c:pt idx="3586">
                  <c:v>6.3955769573747101E-2</c:v>
                </c:pt>
                <c:pt idx="3587">
                  <c:v>6.3973604423042604E-2</c:v>
                </c:pt>
                <c:pt idx="3588">
                  <c:v>6.3991439272338094E-2</c:v>
                </c:pt>
                <c:pt idx="3589">
                  <c:v>6.4009274121633597E-2</c:v>
                </c:pt>
                <c:pt idx="3590">
                  <c:v>6.4027108970929197E-2</c:v>
                </c:pt>
                <c:pt idx="3591">
                  <c:v>6.4044943820224701E-2</c:v>
                </c:pt>
                <c:pt idx="3592">
                  <c:v>6.4062778669520204E-2</c:v>
                </c:pt>
                <c:pt idx="3593">
                  <c:v>6.4080613518815693E-2</c:v>
                </c:pt>
                <c:pt idx="3594">
                  <c:v>6.4098448368111294E-2</c:v>
                </c:pt>
                <c:pt idx="3595">
                  <c:v>6.4116283217406797E-2</c:v>
                </c:pt>
                <c:pt idx="3596">
                  <c:v>6.41341180667023E-2</c:v>
                </c:pt>
                <c:pt idx="3597">
                  <c:v>6.4151952915997804E-2</c:v>
                </c:pt>
                <c:pt idx="3598">
                  <c:v>6.4169787765293307E-2</c:v>
                </c:pt>
                <c:pt idx="3599">
                  <c:v>6.4187622614588893E-2</c:v>
                </c:pt>
                <c:pt idx="3600">
                  <c:v>6.4205457463884397E-2</c:v>
                </c:pt>
                <c:pt idx="3601">
                  <c:v>6.42232923131799E-2</c:v>
                </c:pt>
                <c:pt idx="3602">
                  <c:v>6.4241127162475403E-2</c:v>
                </c:pt>
                <c:pt idx="3603">
                  <c:v>6.4258962011771004E-2</c:v>
                </c:pt>
                <c:pt idx="3604">
                  <c:v>6.4276796861066507E-2</c:v>
                </c:pt>
                <c:pt idx="3605">
                  <c:v>6.4294631710361996E-2</c:v>
                </c:pt>
                <c:pt idx="3606">
                  <c:v>6.43124665596575E-2</c:v>
                </c:pt>
                <c:pt idx="3607">
                  <c:v>6.43303014089531E-2</c:v>
                </c:pt>
                <c:pt idx="3608">
                  <c:v>6.4348136258248603E-2</c:v>
                </c:pt>
                <c:pt idx="3609">
                  <c:v>6.4365971107544107E-2</c:v>
                </c:pt>
                <c:pt idx="3610">
                  <c:v>6.4383805956839596E-2</c:v>
                </c:pt>
                <c:pt idx="3611">
                  <c:v>6.4401640806135099E-2</c:v>
                </c:pt>
                <c:pt idx="3612">
                  <c:v>6.44194756554307E-2</c:v>
                </c:pt>
                <c:pt idx="3613">
                  <c:v>6.4437310504726203E-2</c:v>
                </c:pt>
                <c:pt idx="3614">
                  <c:v>6.4455145354021706E-2</c:v>
                </c:pt>
                <c:pt idx="3615">
                  <c:v>6.4472980203317196E-2</c:v>
                </c:pt>
                <c:pt idx="3616">
                  <c:v>6.4490815052612796E-2</c:v>
                </c:pt>
                <c:pt idx="3617">
                  <c:v>6.4508649901908299E-2</c:v>
                </c:pt>
                <c:pt idx="3618">
                  <c:v>6.4526484751203803E-2</c:v>
                </c:pt>
                <c:pt idx="3619">
                  <c:v>6.4544319600499306E-2</c:v>
                </c:pt>
                <c:pt idx="3620">
                  <c:v>6.4562154449794795E-2</c:v>
                </c:pt>
                <c:pt idx="3621">
                  <c:v>6.4579989299090396E-2</c:v>
                </c:pt>
                <c:pt idx="3622">
                  <c:v>6.4597824148385899E-2</c:v>
                </c:pt>
                <c:pt idx="3623">
                  <c:v>6.4615658997681402E-2</c:v>
                </c:pt>
                <c:pt idx="3624">
                  <c:v>6.4633493846976905E-2</c:v>
                </c:pt>
                <c:pt idx="3625">
                  <c:v>6.4651328696272506E-2</c:v>
                </c:pt>
                <c:pt idx="3626">
                  <c:v>6.4669163545567995E-2</c:v>
                </c:pt>
                <c:pt idx="3627">
                  <c:v>6.4686998394863499E-2</c:v>
                </c:pt>
                <c:pt idx="3628">
                  <c:v>6.4704833244159002E-2</c:v>
                </c:pt>
                <c:pt idx="3629">
                  <c:v>6.4722668093454602E-2</c:v>
                </c:pt>
                <c:pt idx="3630">
                  <c:v>6.4740502942750106E-2</c:v>
                </c:pt>
                <c:pt idx="3631">
                  <c:v>6.4758337792045595E-2</c:v>
                </c:pt>
                <c:pt idx="3632">
                  <c:v>6.4776172641341098E-2</c:v>
                </c:pt>
                <c:pt idx="3633">
                  <c:v>6.4794007490636699E-2</c:v>
                </c:pt>
                <c:pt idx="3634">
                  <c:v>6.4811842339932202E-2</c:v>
                </c:pt>
                <c:pt idx="3635">
                  <c:v>6.4829677189227705E-2</c:v>
                </c:pt>
                <c:pt idx="3636">
                  <c:v>6.4847512038523195E-2</c:v>
                </c:pt>
                <c:pt idx="3637">
                  <c:v>6.4865346887818795E-2</c:v>
                </c:pt>
                <c:pt idx="3638">
                  <c:v>6.4883181737114298E-2</c:v>
                </c:pt>
                <c:pt idx="3639">
                  <c:v>6.4901016586409802E-2</c:v>
                </c:pt>
                <c:pt idx="3640">
                  <c:v>6.4918851435705305E-2</c:v>
                </c:pt>
                <c:pt idx="3641">
                  <c:v>6.4936686285000794E-2</c:v>
                </c:pt>
                <c:pt idx="3642">
                  <c:v>6.4954521134296395E-2</c:v>
                </c:pt>
                <c:pt idx="3643">
                  <c:v>6.4972355983591898E-2</c:v>
                </c:pt>
                <c:pt idx="3644">
                  <c:v>6.4990190832887401E-2</c:v>
                </c:pt>
                <c:pt idx="3645">
                  <c:v>6.5008025682182904E-2</c:v>
                </c:pt>
                <c:pt idx="3646">
                  <c:v>6.5025860531478505E-2</c:v>
                </c:pt>
                <c:pt idx="3647">
                  <c:v>6.5043695380773994E-2</c:v>
                </c:pt>
                <c:pt idx="3648">
                  <c:v>6.5061530230069498E-2</c:v>
                </c:pt>
                <c:pt idx="3649">
                  <c:v>6.5079365079365001E-2</c:v>
                </c:pt>
                <c:pt idx="3650">
                  <c:v>6.5097199928660601E-2</c:v>
                </c:pt>
                <c:pt idx="3651">
                  <c:v>6.5115034777956105E-2</c:v>
                </c:pt>
                <c:pt idx="3652">
                  <c:v>6.5132869627251594E-2</c:v>
                </c:pt>
                <c:pt idx="3653">
                  <c:v>6.5150704476547097E-2</c:v>
                </c:pt>
                <c:pt idx="3654">
                  <c:v>6.5168539325842698E-2</c:v>
                </c:pt>
                <c:pt idx="3655">
                  <c:v>6.5186374175138201E-2</c:v>
                </c:pt>
                <c:pt idx="3656">
                  <c:v>6.5204209024433704E-2</c:v>
                </c:pt>
                <c:pt idx="3657">
                  <c:v>6.5222043873729194E-2</c:v>
                </c:pt>
                <c:pt idx="3658">
                  <c:v>6.5239878723024794E-2</c:v>
                </c:pt>
                <c:pt idx="3659">
                  <c:v>6.5257713572320297E-2</c:v>
                </c:pt>
                <c:pt idx="3660">
                  <c:v>6.5275548421615801E-2</c:v>
                </c:pt>
                <c:pt idx="3661">
                  <c:v>6.5293383270911304E-2</c:v>
                </c:pt>
                <c:pt idx="3662">
                  <c:v>6.5311218120206793E-2</c:v>
                </c:pt>
                <c:pt idx="3663">
                  <c:v>6.5329052969502394E-2</c:v>
                </c:pt>
                <c:pt idx="3664">
                  <c:v>6.5346887818797897E-2</c:v>
                </c:pt>
                <c:pt idx="3665">
                  <c:v>6.53647226680934E-2</c:v>
                </c:pt>
                <c:pt idx="3666">
                  <c:v>6.5382557517388903E-2</c:v>
                </c:pt>
                <c:pt idx="3667">
                  <c:v>6.5400392366684504E-2</c:v>
                </c:pt>
                <c:pt idx="3668">
                  <c:v>6.5418227215979993E-2</c:v>
                </c:pt>
                <c:pt idx="3669">
                  <c:v>6.5436062065275497E-2</c:v>
                </c:pt>
                <c:pt idx="3670">
                  <c:v>6.5453896914571E-2</c:v>
                </c:pt>
                <c:pt idx="3671">
                  <c:v>6.54717317638666E-2</c:v>
                </c:pt>
                <c:pt idx="3672">
                  <c:v>6.5489566613162103E-2</c:v>
                </c:pt>
                <c:pt idx="3673">
                  <c:v>6.5507401462457607E-2</c:v>
                </c:pt>
                <c:pt idx="3674">
                  <c:v>6.5525236311753096E-2</c:v>
                </c:pt>
                <c:pt idx="3675">
                  <c:v>6.5543071161048599E-2</c:v>
                </c:pt>
                <c:pt idx="3676">
                  <c:v>6.55609060103442E-2</c:v>
                </c:pt>
                <c:pt idx="3677">
                  <c:v>6.5578740859639703E-2</c:v>
                </c:pt>
                <c:pt idx="3678">
                  <c:v>6.5596575708935206E-2</c:v>
                </c:pt>
                <c:pt idx="3679">
                  <c:v>6.5614410558230696E-2</c:v>
                </c:pt>
                <c:pt idx="3680">
                  <c:v>6.5632245407526296E-2</c:v>
                </c:pt>
                <c:pt idx="3681">
                  <c:v>6.5650080256821799E-2</c:v>
                </c:pt>
                <c:pt idx="3682">
                  <c:v>6.5667915106117303E-2</c:v>
                </c:pt>
                <c:pt idx="3683">
                  <c:v>6.5685749955412806E-2</c:v>
                </c:pt>
                <c:pt idx="3684">
                  <c:v>6.5703584804708406E-2</c:v>
                </c:pt>
                <c:pt idx="3685">
                  <c:v>6.5721419654003896E-2</c:v>
                </c:pt>
                <c:pt idx="3686">
                  <c:v>6.5739254503299399E-2</c:v>
                </c:pt>
                <c:pt idx="3687">
                  <c:v>6.5757089352594902E-2</c:v>
                </c:pt>
                <c:pt idx="3688">
                  <c:v>6.5774924201890406E-2</c:v>
                </c:pt>
                <c:pt idx="3689">
                  <c:v>6.5792759051186006E-2</c:v>
                </c:pt>
                <c:pt idx="3690">
                  <c:v>6.5810593900481495E-2</c:v>
                </c:pt>
                <c:pt idx="3691">
                  <c:v>6.5828428749776999E-2</c:v>
                </c:pt>
                <c:pt idx="3692">
                  <c:v>6.5846263599072502E-2</c:v>
                </c:pt>
                <c:pt idx="3693">
                  <c:v>6.5864098448368102E-2</c:v>
                </c:pt>
                <c:pt idx="3694">
                  <c:v>6.5881933297663606E-2</c:v>
                </c:pt>
                <c:pt idx="3695">
                  <c:v>6.5899768146959095E-2</c:v>
                </c:pt>
                <c:pt idx="3696">
                  <c:v>6.5917602996254598E-2</c:v>
                </c:pt>
                <c:pt idx="3697">
                  <c:v>6.5935437845550199E-2</c:v>
                </c:pt>
                <c:pt idx="3698">
                  <c:v>6.5953272694845702E-2</c:v>
                </c:pt>
                <c:pt idx="3699">
                  <c:v>6.5971107544141205E-2</c:v>
                </c:pt>
                <c:pt idx="3700">
                  <c:v>6.5988942393436695E-2</c:v>
                </c:pt>
                <c:pt idx="3701">
                  <c:v>6.6006777242732295E-2</c:v>
                </c:pt>
                <c:pt idx="3702">
                  <c:v>6.6024612092027798E-2</c:v>
                </c:pt>
                <c:pt idx="3703">
                  <c:v>6.6042446941323302E-2</c:v>
                </c:pt>
                <c:pt idx="3704">
                  <c:v>6.6060281790618805E-2</c:v>
                </c:pt>
                <c:pt idx="3705">
                  <c:v>6.6078116639914294E-2</c:v>
                </c:pt>
                <c:pt idx="3706">
                  <c:v>6.6095951489209895E-2</c:v>
                </c:pt>
                <c:pt idx="3707">
                  <c:v>6.6113786338505398E-2</c:v>
                </c:pt>
                <c:pt idx="3708">
                  <c:v>6.6131621187800901E-2</c:v>
                </c:pt>
                <c:pt idx="3709">
                  <c:v>6.6149456037096405E-2</c:v>
                </c:pt>
                <c:pt idx="3710">
                  <c:v>6.6167290886392005E-2</c:v>
                </c:pt>
                <c:pt idx="3711">
                  <c:v>6.6185125735687494E-2</c:v>
                </c:pt>
                <c:pt idx="3712">
                  <c:v>6.6202960584982998E-2</c:v>
                </c:pt>
                <c:pt idx="3713">
                  <c:v>6.6220795434278501E-2</c:v>
                </c:pt>
                <c:pt idx="3714">
                  <c:v>6.6238630283574101E-2</c:v>
                </c:pt>
                <c:pt idx="3715">
                  <c:v>6.6256465132869605E-2</c:v>
                </c:pt>
                <c:pt idx="3716">
                  <c:v>6.6274299982165094E-2</c:v>
                </c:pt>
                <c:pt idx="3717">
                  <c:v>6.6292134831460597E-2</c:v>
                </c:pt>
                <c:pt idx="3718">
                  <c:v>6.6309969680756198E-2</c:v>
                </c:pt>
                <c:pt idx="3719">
                  <c:v>6.6327804530051701E-2</c:v>
                </c:pt>
                <c:pt idx="3720">
                  <c:v>6.6345639379347204E-2</c:v>
                </c:pt>
                <c:pt idx="3721">
                  <c:v>6.6363474228642694E-2</c:v>
                </c:pt>
                <c:pt idx="3722">
                  <c:v>6.6381309077938294E-2</c:v>
                </c:pt>
                <c:pt idx="3723">
                  <c:v>6.6399143927233797E-2</c:v>
                </c:pt>
                <c:pt idx="3724">
                  <c:v>6.6416978776529301E-2</c:v>
                </c:pt>
                <c:pt idx="3725">
                  <c:v>6.6434813625824804E-2</c:v>
                </c:pt>
                <c:pt idx="3726">
                  <c:v>6.6452648475120293E-2</c:v>
                </c:pt>
                <c:pt idx="3727">
                  <c:v>6.6470483324415894E-2</c:v>
                </c:pt>
                <c:pt idx="3728">
                  <c:v>6.6488318173711397E-2</c:v>
                </c:pt>
                <c:pt idx="3729">
                  <c:v>6.65061530230069E-2</c:v>
                </c:pt>
                <c:pt idx="3730">
                  <c:v>6.6523987872302404E-2</c:v>
                </c:pt>
                <c:pt idx="3731">
                  <c:v>6.6541822721598004E-2</c:v>
                </c:pt>
                <c:pt idx="3732">
                  <c:v>6.6559657570893493E-2</c:v>
                </c:pt>
                <c:pt idx="3733">
                  <c:v>6.6577492420188997E-2</c:v>
                </c:pt>
                <c:pt idx="3734">
                  <c:v>6.65953272694845E-2</c:v>
                </c:pt>
                <c:pt idx="3735">
                  <c:v>6.66131621187801E-2</c:v>
                </c:pt>
                <c:pt idx="3736">
                  <c:v>6.6630996968075604E-2</c:v>
                </c:pt>
                <c:pt idx="3737">
                  <c:v>6.6648831817371093E-2</c:v>
                </c:pt>
                <c:pt idx="3738">
                  <c:v>6.6666666666666596E-2</c:v>
                </c:pt>
                <c:pt idx="3739">
                  <c:v>6.6684501515962197E-2</c:v>
                </c:pt>
                <c:pt idx="3740">
                  <c:v>6.67023363652577E-2</c:v>
                </c:pt>
                <c:pt idx="3741">
                  <c:v>6.6720171214553203E-2</c:v>
                </c:pt>
                <c:pt idx="3742">
                  <c:v>6.6738006063848707E-2</c:v>
                </c:pt>
                <c:pt idx="3743">
                  <c:v>6.6755840913144196E-2</c:v>
                </c:pt>
                <c:pt idx="3744">
                  <c:v>6.6773675762439796E-2</c:v>
                </c:pt>
                <c:pt idx="3745">
                  <c:v>6.67915106117353E-2</c:v>
                </c:pt>
                <c:pt idx="3746">
                  <c:v>6.6809345461030803E-2</c:v>
                </c:pt>
                <c:pt idx="3747">
                  <c:v>6.6827180310326306E-2</c:v>
                </c:pt>
                <c:pt idx="3748">
                  <c:v>6.6845015159621907E-2</c:v>
                </c:pt>
                <c:pt idx="3749">
                  <c:v>6.6862850008917396E-2</c:v>
                </c:pt>
                <c:pt idx="3750">
                  <c:v>6.6880684858212899E-2</c:v>
                </c:pt>
                <c:pt idx="3751">
                  <c:v>6.6898519707508403E-2</c:v>
                </c:pt>
                <c:pt idx="3752">
                  <c:v>6.6916354556803906E-2</c:v>
                </c:pt>
                <c:pt idx="3753">
                  <c:v>6.6934189406099506E-2</c:v>
                </c:pt>
                <c:pt idx="3754">
                  <c:v>6.6952024255394996E-2</c:v>
                </c:pt>
                <c:pt idx="3755">
                  <c:v>6.6969859104690499E-2</c:v>
                </c:pt>
                <c:pt idx="3756">
                  <c:v>6.6987693953986002E-2</c:v>
                </c:pt>
                <c:pt idx="3757">
                  <c:v>6.7005528803281603E-2</c:v>
                </c:pt>
                <c:pt idx="3758">
                  <c:v>6.7023363652577106E-2</c:v>
                </c:pt>
                <c:pt idx="3759">
                  <c:v>6.7041198501872595E-2</c:v>
                </c:pt>
                <c:pt idx="3760">
                  <c:v>6.7059033351168099E-2</c:v>
                </c:pt>
                <c:pt idx="3761">
                  <c:v>6.7076868200463699E-2</c:v>
                </c:pt>
                <c:pt idx="3762">
                  <c:v>6.7094703049759202E-2</c:v>
                </c:pt>
                <c:pt idx="3763">
                  <c:v>6.7112537899054706E-2</c:v>
                </c:pt>
                <c:pt idx="3764">
                  <c:v>6.7130372748350195E-2</c:v>
                </c:pt>
                <c:pt idx="3765">
                  <c:v>6.7148207597645795E-2</c:v>
                </c:pt>
                <c:pt idx="3766">
                  <c:v>6.7166042446941299E-2</c:v>
                </c:pt>
                <c:pt idx="3767">
                  <c:v>6.7183877296236802E-2</c:v>
                </c:pt>
                <c:pt idx="3768">
                  <c:v>6.7201712145532305E-2</c:v>
                </c:pt>
                <c:pt idx="3769">
                  <c:v>6.7219546994827795E-2</c:v>
                </c:pt>
                <c:pt idx="3770">
                  <c:v>6.7237381844123395E-2</c:v>
                </c:pt>
                <c:pt idx="3771">
                  <c:v>6.7255216693418898E-2</c:v>
                </c:pt>
                <c:pt idx="3772">
                  <c:v>6.7273051542714402E-2</c:v>
                </c:pt>
                <c:pt idx="3773">
                  <c:v>6.7290886392009905E-2</c:v>
                </c:pt>
                <c:pt idx="3774">
                  <c:v>6.7308721241305505E-2</c:v>
                </c:pt>
                <c:pt idx="3775">
                  <c:v>6.7326556090600995E-2</c:v>
                </c:pt>
                <c:pt idx="3776">
                  <c:v>6.7344390939896498E-2</c:v>
                </c:pt>
                <c:pt idx="3777">
                  <c:v>6.7362225789192001E-2</c:v>
                </c:pt>
                <c:pt idx="3778">
                  <c:v>6.7380060638487602E-2</c:v>
                </c:pt>
                <c:pt idx="3779">
                  <c:v>6.7397895487783105E-2</c:v>
                </c:pt>
                <c:pt idx="3780">
                  <c:v>6.7415730337078594E-2</c:v>
                </c:pt>
                <c:pt idx="3781">
                  <c:v>6.7433565186374098E-2</c:v>
                </c:pt>
                <c:pt idx="3782">
                  <c:v>6.7451400035669698E-2</c:v>
                </c:pt>
                <c:pt idx="3783">
                  <c:v>6.7469234884965201E-2</c:v>
                </c:pt>
                <c:pt idx="3784">
                  <c:v>6.7487069734260705E-2</c:v>
                </c:pt>
                <c:pt idx="3785">
                  <c:v>6.7504904583556194E-2</c:v>
                </c:pt>
                <c:pt idx="3786">
                  <c:v>6.7522739432851794E-2</c:v>
                </c:pt>
                <c:pt idx="3787">
                  <c:v>6.7540574282147298E-2</c:v>
                </c:pt>
                <c:pt idx="3788">
                  <c:v>6.7558409131442801E-2</c:v>
                </c:pt>
                <c:pt idx="3789">
                  <c:v>6.7576243980738304E-2</c:v>
                </c:pt>
                <c:pt idx="3790">
                  <c:v>6.7594078830033794E-2</c:v>
                </c:pt>
                <c:pt idx="3791">
                  <c:v>6.7611913679329394E-2</c:v>
                </c:pt>
                <c:pt idx="3792">
                  <c:v>6.7629748528624897E-2</c:v>
                </c:pt>
                <c:pt idx="3793">
                  <c:v>6.7647583377920401E-2</c:v>
                </c:pt>
                <c:pt idx="3794">
                  <c:v>6.7665418227215904E-2</c:v>
                </c:pt>
                <c:pt idx="3795">
                  <c:v>6.7683253076511504E-2</c:v>
                </c:pt>
                <c:pt idx="3796">
                  <c:v>6.7701087925806994E-2</c:v>
                </c:pt>
                <c:pt idx="3797">
                  <c:v>6.7718922775102497E-2</c:v>
                </c:pt>
                <c:pt idx="3798">
                  <c:v>6.7736757624398E-2</c:v>
                </c:pt>
                <c:pt idx="3799">
                  <c:v>6.7754592473693601E-2</c:v>
                </c:pt>
                <c:pt idx="3800">
                  <c:v>6.7772427322989104E-2</c:v>
                </c:pt>
                <c:pt idx="3801">
                  <c:v>6.7790262172284593E-2</c:v>
                </c:pt>
                <c:pt idx="3802">
                  <c:v>6.7808097021580097E-2</c:v>
                </c:pt>
                <c:pt idx="3803">
                  <c:v>6.7825931870875697E-2</c:v>
                </c:pt>
                <c:pt idx="3804">
                  <c:v>6.78437667201712E-2</c:v>
                </c:pt>
                <c:pt idx="3805">
                  <c:v>6.7861601569466704E-2</c:v>
                </c:pt>
                <c:pt idx="3806">
                  <c:v>6.7879436418762207E-2</c:v>
                </c:pt>
                <c:pt idx="3807">
                  <c:v>6.7897271268057696E-2</c:v>
                </c:pt>
                <c:pt idx="3808">
                  <c:v>6.7915106117353297E-2</c:v>
                </c:pt>
                <c:pt idx="3809">
                  <c:v>6.79329409666488E-2</c:v>
                </c:pt>
                <c:pt idx="3810">
                  <c:v>6.7950775815944303E-2</c:v>
                </c:pt>
                <c:pt idx="3811">
                  <c:v>6.7968610665239806E-2</c:v>
                </c:pt>
                <c:pt idx="3812">
                  <c:v>6.7986445514535407E-2</c:v>
                </c:pt>
                <c:pt idx="3813">
                  <c:v>6.8004280363830896E-2</c:v>
                </c:pt>
                <c:pt idx="3814">
                  <c:v>6.80221152131264E-2</c:v>
                </c:pt>
                <c:pt idx="3815">
                  <c:v>6.8039950062421903E-2</c:v>
                </c:pt>
                <c:pt idx="3816">
                  <c:v>6.8057784911717406E-2</c:v>
                </c:pt>
                <c:pt idx="3817">
                  <c:v>6.8075619761013006E-2</c:v>
                </c:pt>
                <c:pt idx="3818">
                  <c:v>6.8093454610308496E-2</c:v>
                </c:pt>
                <c:pt idx="3819">
                  <c:v>6.8111289459603999E-2</c:v>
                </c:pt>
                <c:pt idx="3820">
                  <c:v>6.8129124308899502E-2</c:v>
                </c:pt>
                <c:pt idx="3821">
                  <c:v>6.8146959158195103E-2</c:v>
                </c:pt>
                <c:pt idx="3822">
                  <c:v>6.8164794007490606E-2</c:v>
                </c:pt>
                <c:pt idx="3823">
                  <c:v>6.8182628856786096E-2</c:v>
                </c:pt>
                <c:pt idx="3824">
                  <c:v>6.8200463706081599E-2</c:v>
                </c:pt>
                <c:pt idx="3825">
                  <c:v>6.8218298555377199E-2</c:v>
                </c:pt>
                <c:pt idx="3826">
                  <c:v>6.8236133404672702E-2</c:v>
                </c:pt>
                <c:pt idx="3827">
                  <c:v>6.8253968253968206E-2</c:v>
                </c:pt>
                <c:pt idx="3828">
                  <c:v>6.8271803103263695E-2</c:v>
                </c:pt>
                <c:pt idx="3829">
                  <c:v>6.8289637952559296E-2</c:v>
                </c:pt>
                <c:pt idx="3830">
                  <c:v>6.8307472801854799E-2</c:v>
                </c:pt>
                <c:pt idx="3831">
                  <c:v>6.8325307651150302E-2</c:v>
                </c:pt>
                <c:pt idx="3832">
                  <c:v>6.8343142500445805E-2</c:v>
                </c:pt>
                <c:pt idx="3833">
                  <c:v>6.8360977349741295E-2</c:v>
                </c:pt>
                <c:pt idx="3834">
                  <c:v>6.8378812199036895E-2</c:v>
                </c:pt>
                <c:pt idx="3835">
                  <c:v>6.8396647048332398E-2</c:v>
                </c:pt>
                <c:pt idx="3836">
                  <c:v>6.8414481897627902E-2</c:v>
                </c:pt>
                <c:pt idx="3837">
                  <c:v>6.8432316746923405E-2</c:v>
                </c:pt>
                <c:pt idx="3838">
                  <c:v>6.8450151596219005E-2</c:v>
                </c:pt>
                <c:pt idx="3839">
                  <c:v>6.8467986445514495E-2</c:v>
                </c:pt>
                <c:pt idx="3840">
                  <c:v>6.8485821294809998E-2</c:v>
                </c:pt>
                <c:pt idx="3841">
                  <c:v>6.8503656144105501E-2</c:v>
                </c:pt>
                <c:pt idx="3842">
                  <c:v>6.8521490993401102E-2</c:v>
                </c:pt>
                <c:pt idx="3843">
                  <c:v>6.8539325842696605E-2</c:v>
                </c:pt>
                <c:pt idx="3844">
                  <c:v>6.8557160691992095E-2</c:v>
                </c:pt>
                <c:pt idx="3845">
                  <c:v>6.8574995541287598E-2</c:v>
                </c:pt>
                <c:pt idx="3846">
                  <c:v>6.8592830390583198E-2</c:v>
                </c:pt>
                <c:pt idx="3847">
                  <c:v>6.8610665239878701E-2</c:v>
                </c:pt>
                <c:pt idx="3848">
                  <c:v>6.8628500089174205E-2</c:v>
                </c:pt>
                <c:pt idx="3849">
                  <c:v>6.8646334938469694E-2</c:v>
                </c:pt>
                <c:pt idx="3850">
                  <c:v>6.8664169787765295E-2</c:v>
                </c:pt>
                <c:pt idx="3851">
                  <c:v>6.8682004637060798E-2</c:v>
                </c:pt>
                <c:pt idx="3852">
                  <c:v>6.8699839486356301E-2</c:v>
                </c:pt>
                <c:pt idx="3853">
                  <c:v>6.8717674335651804E-2</c:v>
                </c:pt>
                <c:pt idx="3854">
                  <c:v>6.8735509184947294E-2</c:v>
                </c:pt>
                <c:pt idx="3855">
                  <c:v>6.8753344034242894E-2</c:v>
                </c:pt>
                <c:pt idx="3856">
                  <c:v>6.8771178883538397E-2</c:v>
                </c:pt>
                <c:pt idx="3857">
                  <c:v>6.8789013732833901E-2</c:v>
                </c:pt>
                <c:pt idx="3858">
                  <c:v>6.8806848582129404E-2</c:v>
                </c:pt>
                <c:pt idx="3859">
                  <c:v>6.8824683431425004E-2</c:v>
                </c:pt>
                <c:pt idx="3860">
                  <c:v>6.8842518280720494E-2</c:v>
                </c:pt>
                <c:pt idx="3861">
                  <c:v>6.8860353130015997E-2</c:v>
                </c:pt>
                <c:pt idx="3862">
                  <c:v>6.88781879793115E-2</c:v>
                </c:pt>
                <c:pt idx="3863">
                  <c:v>6.8896022828607101E-2</c:v>
                </c:pt>
                <c:pt idx="3864">
                  <c:v>6.8913857677902604E-2</c:v>
                </c:pt>
                <c:pt idx="3865">
                  <c:v>6.8931692527198093E-2</c:v>
                </c:pt>
                <c:pt idx="3866">
                  <c:v>6.8949527376493597E-2</c:v>
                </c:pt>
                <c:pt idx="3867">
                  <c:v>6.8967362225789197E-2</c:v>
                </c:pt>
                <c:pt idx="3868">
                  <c:v>6.89851970750847E-2</c:v>
                </c:pt>
                <c:pt idx="3869">
                  <c:v>6.9003031924380204E-2</c:v>
                </c:pt>
                <c:pt idx="3870">
                  <c:v>6.9020866773675693E-2</c:v>
                </c:pt>
                <c:pt idx="3871">
                  <c:v>6.9038701622971196E-2</c:v>
                </c:pt>
                <c:pt idx="3872">
                  <c:v>6.9056536472266797E-2</c:v>
                </c:pt>
                <c:pt idx="3873">
                  <c:v>6.90743713215623E-2</c:v>
                </c:pt>
                <c:pt idx="3874">
                  <c:v>6.9092206170857803E-2</c:v>
                </c:pt>
                <c:pt idx="3875">
                  <c:v>6.9110041020153307E-2</c:v>
                </c:pt>
                <c:pt idx="3876">
                  <c:v>6.9127875869448893E-2</c:v>
                </c:pt>
                <c:pt idx="3877">
                  <c:v>6.9145710718744396E-2</c:v>
                </c:pt>
                <c:pt idx="3878">
                  <c:v>6.91635455680399E-2</c:v>
                </c:pt>
                <c:pt idx="3879">
                  <c:v>6.9181380417335403E-2</c:v>
                </c:pt>
                <c:pt idx="3880">
                  <c:v>6.9199215266631003E-2</c:v>
                </c:pt>
                <c:pt idx="3881">
                  <c:v>6.9217050115926507E-2</c:v>
                </c:pt>
                <c:pt idx="3882">
                  <c:v>6.9234884965221996E-2</c:v>
                </c:pt>
                <c:pt idx="3883">
                  <c:v>6.9252719814517499E-2</c:v>
                </c:pt>
                <c:pt idx="3884">
                  <c:v>6.9270554663813003E-2</c:v>
                </c:pt>
                <c:pt idx="3885">
                  <c:v>6.9288389513108603E-2</c:v>
                </c:pt>
                <c:pt idx="3886">
                  <c:v>6.9306224362404106E-2</c:v>
                </c:pt>
                <c:pt idx="3887">
                  <c:v>6.9324059211699596E-2</c:v>
                </c:pt>
                <c:pt idx="3888">
                  <c:v>6.9341894060995099E-2</c:v>
                </c:pt>
                <c:pt idx="3889">
                  <c:v>6.9359728910290699E-2</c:v>
                </c:pt>
                <c:pt idx="3890">
                  <c:v>6.9377563759586203E-2</c:v>
                </c:pt>
                <c:pt idx="3891">
                  <c:v>6.9395398608881706E-2</c:v>
                </c:pt>
                <c:pt idx="3892">
                  <c:v>6.9413233458177195E-2</c:v>
                </c:pt>
                <c:pt idx="3893">
                  <c:v>6.9431068307472796E-2</c:v>
                </c:pt>
                <c:pt idx="3894">
                  <c:v>6.9448903156768299E-2</c:v>
                </c:pt>
                <c:pt idx="3895">
                  <c:v>6.9466738006063802E-2</c:v>
                </c:pt>
                <c:pt idx="3896">
                  <c:v>6.9484572855359306E-2</c:v>
                </c:pt>
                <c:pt idx="3897">
                  <c:v>6.9502407704654795E-2</c:v>
                </c:pt>
                <c:pt idx="3898">
                  <c:v>6.9520242553950395E-2</c:v>
                </c:pt>
                <c:pt idx="3899">
                  <c:v>6.9538077403245899E-2</c:v>
                </c:pt>
                <c:pt idx="3900">
                  <c:v>6.9555912252541402E-2</c:v>
                </c:pt>
                <c:pt idx="3901">
                  <c:v>6.9573747101836905E-2</c:v>
                </c:pt>
                <c:pt idx="3902">
                  <c:v>6.9591581951132506E-2</c:v>
                </c:pt>
                <c:pt idx="3903">
                  <c:v>6.9609416800427995E-2</c:v>
                </c:pt>
                <c:pt idx="3904">
                  <c:v>6.9627251649723498E-2</c:v>
                </c:pt>
                <c:pt idx="3905">
                  <c:v>6.9645086499019002E-2</c:v>
                </c:pt>
                <c:pt idx="3906">
                  <c:v>6.9662921348314602E-2</c:v>
                </c:pt>
                <c:pt idx="3907">
                  <c:v>6.9680756197610105E-2</c:v>
                </c:pt>
                <c:pt idx="3908">
                  <c:v>6.9698591046905595E-2</c:v>
                </c:pt>
                <c:pt idx="3909">
                  <c:v>6.9716425896201098E-2</c:v>
                </c:pt>
                <c:pt idx="3910">
                  <c:v>6.9734260745496698E-2</c:v>
                </c:pt>
                <c:pt idx="3911">
                  <c:v>6.9752095594792202E-2</c:v>
                </c:pt>
                <c:pt idx="3912">
                  <c:v>6.9769930444087705E-2</c:v>
                </c:pt>
                <c:pt idx="3913">
                  <c:v>6.9787765293383194E-2</c:v>
                </c:pt>
                <c:pt idx="3914">
                  <c:v>6.9805600142678795E-2</c:v>
                </c:pt>
                <c:pt idx="3915">
                  <c:v>6.9823434991974298E-2</c:v>
                </c:pt>
                <c:pt idx="3916">
                  <c:v>6.9841269841269801E-2</c:v>
                </c:pt>
                <c:pt idx="3917">
                  <c:v>6.9859104690565305E-2</c:v>
                </c:pt>
                <c:pt idx="3918">
                  <c:v>6.9876939539860794E-2</c:v>
                </c:pt>
                <c:pt idx="3919">
                  <c:v>6.9894774389156394E-2</c:v>
                </c:pt>
                <c:pt idx="3920">
                  <c:v>6.9912609238451898E-2</c:v>
                </c:pt>
                <c:pt idx="3921">
                  <c:v>6.9930444087747401E-2</c:v>
                </c:pt>
                <c:pt idx="3922">
                  <c:v>6.9948278937042904E-2</c:v>
                </c:pt>
                <c:pt idx="3923">
                  <c:v>6.9966113786338505E-2</c:v>
                </c:pt>
                <c:pt idx="3924">
                  <c:v>6.9983948635633994E-2</c:v>
                </c:pt>
                <c:pt idx="3925">
                  <c:v>7.0001783484929497E-2</c:v>
                </c:pt>
                <c:pt idx="3926">
                  <c:v>7.0019618334225001E-2</c:v>
                </c:pt>
                <c:pt idx="3927">
                  <c:v>7.0037453183520601E-2</c:v>
                </c:pt>
                <c:pt idx="3928">
                  <c:v>7.0055288032816104E-2</c:v>
                </c:pt>
                <c:pt idx="3929">
                  <c:v>7.0073122882111594E-2</c:v>
                </c:pt>
                <c:pt idx="3930">
                  <c:v>7.0090957731407097E-2</c:v>
                </c:pt>
                <c:pt idx="3931">
                  <c:v>7.0108792580702697E-2</c:v>
                </c:pt>
                <c:pt idx="3932">
                  <c:v>7.0126627429998201E-2</c:v>
                </c:pt>
                <c:pt idx="3933">
                  <c:v>7.0144462279293704E-2</c:v>
                </c:pt>
                <c:pt idx="3934">
                  <c:v>7.0162297128589193E-2</c:v>
                </c:pt>
                <c:pt idx="3935">
                  <c:v>7.0180131977884794E-2</c:v>
                </c:pt>
                <c:pt idx="3936">
                  <c:v>7.0197966827180297E-2</c:v>
                </c:pt>
                <c:pt idx="3937">
                  <c:v>7.02158016764758E-2</c:v>
                </c:pt>
                <c:pt idx="3938">
                  <c:v>7.0233636525771304E-2</c:v>
                </c:pt>
                <c:pt idx="3939">
                  <c:v>7.0251471375066807E-2</c:v>
                </c:pt>
                <c:pt idx="3940">
                  <c:v>7.0269306224362393E-2</c:v>
                </c:pt>
                <c:pt idx="3941">
                  <c:v>7.0287141073657897E-2</c:v>
                </c:pt>
                <c:pt idx="3942">
                  <c:v>7.03049759229534E-2</c:v>
                </c:pt>
                <c:pt idx="3943">
                  <c:v>7.0322810772248903E-2</c:v>
                </c:pt>
                <c:pt idx="3944">
                  <c:v>7.0340645621544504E-2</c:v>
                </c:pt>
                <c:pt idx="3945">
                  <c:v>7.0358480470840007E-2</c:v>
                </c:pt>
                <c:pt idx="3946">
                  <c:v>7.0376315320135496E-2</c:v>
                </c:pt>
                <c:pt idx="3947">
                  <c:v>7.0394150169431E-2</c:v>
                </c:pt>
                <c:pt idx="3948">
                  <c:v>7.0411985018726503E-2</c:v>
                </c:pt>
                <c:pt idx="3949">
                  <c:v>7.0429819868022103E-2</c:v>
                </c:pt>
                <c:pt idx="3950">
                  <c:v>7.0447654717317607E-2</c:v>
                </c:pt>
                <c:pt idx="3951">
                  <c:v>7.0465489566613096E-2</c:v>
                </c:pt>
                <c:pt idx="3952">
                  <c:v>7.0483324415908599E-2</c:v>
                </c:pt>
                <c:pt idx="3953">
                  <c:v>7.05011592652042E-2</c:v>
                </c:pt>
                <c:pt idx="3954">
                  <c:v>7.0518994114499703E-2</c:v>
                </c:pt>
                <c:pt idx="3955">
                  <c:v>7.0536828963795206E-2</c:v>
                </c:pt>
                <c:pt idx="3956">
                  <c:v>7.0554663813090696E-2</c:v>
                </c:pt>
                <c:pt idx="3957">
                  <c:v>7.0572498662386296E-2</c:v>
                </c:pt>
                <c:pt idx="3958">
                  <c:v>7.0590333511681799E-2</c:v>
                </c:pt>
                <c:pt idx="3959">
                  <c:v>7.0608168360977303E-2</c:v>
                </c:pt>
                <c:pt idx="3960">
                  <c:v>7.0626003210272806E-2</c:v>
                </c:pt>
                <c:pt idx="3961">
                  <c:v>7.0643838059568295E-2</c:v>
                </c:pt>
                <c:pt idx="3962">
                  <c:v>7.0661672908863896E-2</c:v>
                </c:pt>
                <c:pt idx="3963">
                  <c:v>7.0679507758159399E-2</c:v>
                </c:pt>
                <c:pt idx="3964">
                  <c:v>7.0697342607454902E-2</c:v>
                </c:pt>
                <c:pt idx="3965">
                  <c:v>7.0715177456750405E-2</c:v>
                </c:pt>
                <c:pt idx="3966">
                  <c:v>7.0733012306046006E-2</c:v>
                </c:pt>
                <c:pt idx="3967">
                  <c:v>7.0750847155341495E-2</c:v>
                </c:pt>
                <c:pt idx="3968">
                  <c:v>7.0768682004636999E-2</c:v>
                </c:pt>
                <c:pt idx="3969">
                  <c:v>7.0786516853932502E-2</c:v>
                </c:pt>
                <c:pt idx="3970">
                  <c:v>7.0804351703228102E-2</c:v>
                </c:pt>
                <c:pt idx="3971">
                  <c:v>7.0822186552523606E-2</c:v>
                </c:pt>
                <c:pt idx="3972">
                  <c:v>7.0840021401819095E-2</c:v>
                </c:pt>
                <c:pt idx="3973">
                  <c:v>7.0857856251114598E-2</c:v>
                </c:pt>
                <c:pt idx="3974">
                  <c:v>7.0875691100410199E-2</c:v>
                </c:pt>
                <c:pt idx="3975">
                  <c:v>7.0893525949705702E-2</c:v>
                </c:pt>
                <c:pt idx="3976">
                  <c:v>7.0911360799001205E-2</c:v>
                </c:pt>
                <c:pt idx="3977">
                  <c:v>7.0929195648296695E-2</c:v>
                </c:pt>
                <c:pt idx="3978">
                  <c:v>7.0947030497592295E-2</c:v>
                </c:pt>
                <c:pt idx="3979">
                  <c:v>7.0964865346887798E-2</c:v>
                </c:pt>
                <c:pt idx="3980">
                  <c:v>7.0982700196183302E-2</c:v>
                </c:pt>
                <c:pt idx="3981">
                  <c:v>7.1000535045478805E-2</c:v>
                </c:pt>
                <c:pt idx="3982">
                  <c:v>7.1018369894774294E-2</c:v>
                </c:pt>
                <c:pt idx="3983">
                  <c:v>7.1036204744069895E-2</c:v>
                </c:pt>
                <c:pt idx="3984">
                  <c:v>7.1054039593365398E-2</c:v>
                </c:pt>
                <c:pt idx="3985">
                  <c:v>7.1071874442660901E-2</c:v>
                </c:pt>
                <c:pt idx="3986">
                  <c:v>7.1089709291956404E-2</c:v>
                </c:pt>
                <c:pt idx="3987">
                  <c:v>7.1107544141252005E-2</c:v>
                </c:pt>
                <c:pt idx="3988">
                  <c:v>7.1125378990547494E-2</c:v>
                </c:pt>
                <c:pt idx="3989">
                  <c:v>7.1143213839842998E-2</c:v>
                </c:pt>
                <c:pt idx="3990">
                  <c:v>7.1161048689138501E-2</c:v>
                </c:pt>
                <c:pt idx="3991">
                  <c:v>7.1178883538434101E-2</c:v>
                </c:pt>
                <c:pt idx="3992">
                  <c:v>7.1196718387729604E-2</c:v>
                </c:pt>
                <c:pt idx="3993">
                  <c:v>7.1214553237025094E-2</c:v>
                </c:pt>
                <c:pt idx="3994">
                  <c:v>7.1232388086320597E-2</c:v>
                </c:pt>
                <c:pt idx="3995">
                  <c:v>7.1250222935616198E-2</c:v>
                </c:pt>
                <c:pt idx="3996">
                  <c:v>7.1268057784911701E-2</c:v>
                </c:pt>
                <c:pt idx="3997">
                  <c:v>7.1285892634207204E-2</c:v>
                </c:pt>
                <c:pt idx="3998">
                  <c:v>7.1303727483502694E-2</c:v>
                </c:pt>
                <c:pt idx="3999">
                  <c:v>7.1321562332798294E-2</c:v>
                </c:pt>
                <c:pt idx="4000">
                  <c:v>7.1339397182093797E-2</c:v>
                </c:pt>
                <c:pt idx="4001">
                  <c:v>7.13572320313893E-2</c:v>
                </c:pt>
                <c:pt idx="4002">
                  <c:v>7.1375066880684804E-2</c:v>
                </c:pt>
                <c:pt idx="4003">
                  <c:v>7.1392901729980293E-2</c:v>
                </c:pt>
                <c:pt idx="4004">
                  <c:v>7.1410736579275894E-2</c:v>
                </c:pt>
                <c:pt idx="4005">
                  <c:v>7.1428571428571397E-2</c:v>
                </c:pt>
                <c:pt idx="4006">
                  <c:v>7.14464062778669E-2</c:v>
                </c:pt>
                <c:pt idx="4007">
                  <c:v>7.1464241127162403E-2</c:v>
                </c:pt>
                <c:pt idx="4008">
                  <c:v>7.1482075976458004E-2</c:v>
                </c:pt>
                <c:pt idx="4009">
                  <c:v>7.1499910825753493E-2</c:v>
                </c:pt>
                <c:pt idx="4010">
                  <c:v>7.1517745675048996E-2</c:v>
                </c:pt>
                <c:pt idx="4011">
                  <c:v>7.15355805243445E-2</c:v>
                </c:pt>
                <c:pt idx="4012">
                  <c:v>7.1553415373640003E-2</c:v>
                </c:pt>
                <c:pt idx="4013">
                  <c:v>7.1571250222935603E-2</c:v>
                </c:pt>
                <c:pt idx="4014">
                  <c:v>7.1589085072231107E-2</c:v>
                </c:pt>
                <c:pt idx="4015">
                  <c:v>7.1606919921526596E-2</c:v>
                </c:pt>
                <c:pt idx="4016">
                  <c:v>7.1624754770822099E-2</c:v>
                </c:pt>
                <c:pt idx="4017">
                  <c:v>7.16425896201177E-2</c:v>
                </c:pt>
                <c:pt idx="4018">
                  <c:v>7.1660424469413203E-2</c:v>
                </c:pt>
                <c:pt idx="4019">
                  <c:v>7.1678259318708706E-2</c:v>
                </c:pt>
                <c:pt idx="4020">
                  <c:v>7.1696094168004196E-2</c:v>
                </c:pt>
                <c:pt idx="4021">
                  <c:v>7.1713929017299796E-2</c:v>
                </c:pt>
                <c:pt idx="4022">
                  <c:v>7.1731763866595299E-2</c:v>
                </c:pt>
                <c:pt idx="4023">
                  <c:v>7.1749598715890803E-2</c:v>
                </c:pt>
                <c:pt idx="4024">
                  <c:v>7.1767433565186306E-2</c:v>
                </c:pt>
                <c:pt idx="4025">
                  <c:v>7.1785268414481795E-2</c:v>
                </c:pt>
                <c:pt idx="4026">
                  <c:v>7.1803103263777396E-2</c:v>
                </c:pt>
                <c:pt idx="4027">
                  <c:v>7.1820938113072899E-2</c:v>
                </c:pt>
                <c:pt idx="4028">
                  <c:v>7.1838772962368402E-2</c:v>
                </c:pt>
                <c:pt idx="4029">
                  <c:v>7.1856607811663906E-2</c:v>
                </c:pt>
                <c:pt idx="4030">
                  <c:v>7.1874442660959506E-2</c:v>
                </c:pt>
                <c:pt idx="4031">
                  <c:v>7.1892277510254995E-2</c:v>
                </c:pt>
                <c:pt idx="4032">
                  <c:v>7.1910112359550499E-2</c:v>
                </c:pt>
                <c:pt idx="4033">
                  <c:v>7.1927947208846002E-2</c:v>
                </c:pt>
                <c:pt idx="4034">
                  <c:v>7.1945782058141602E-2</c:v>
                </c:pt>
                <c:pt idx="4035">
                  <c:v>7.1963616907437106E-2</c:v>
                </c:pt>
                <c:pt idx="4036">
                  <c:v>7.1981451756732595E-2</c:v>
                </c:pt>
                <c:pt idx="4037">
                  <c:v>7.1999286606028098E-2</c:v>
                </c:pt>
                <c:pt idx="4038">
                  <c:v>7.2017121455323699E-2</c:v>
                </c:pt>
                <c:pt idx="4039">
                  <c:v>7.2034956304619202E-2</c:v>
                </c:pt>
                <c:pt idx="4040">
                  <c:v>7.2052791153914705E-2</c:v>
                </c:pt>
                <c:pt idx="4041">
                  <c:v>7.2070626003210195E-2</c:v>
                </c:pt>
                <c:pt idx="4042">
                  <c:v>7.2088460852505795E-2</c:v>
                </c:pt>
                <c:pt idx="4043">
                  <c:v>7.2106295701801298E-2</c:v>
                </c:pt>
                <c:pt idx="4044">
                  <c:v>7.2124130551096802E-2</c:v>
                </c:pt>
                <c:pt idx="4045">
                  <c:v>7.2141965400392305E-2</c:v>
                </c:pt>
                <c:pt idx="4046">
                  <c:v>7.2159800249687794E-2</c:v>
                </c:pt>
                <c:pt idx="4047">
                  <c:v>7.2177635098983395E-2</c:v>
                </c:pt>
                <c:pt idx="4048">
                  <c:v>7.2195469948278898E-2</c:v>
                </c:pt>
                <c:pt idx="4049">
                  <c:v>7.2213304797574401E-2</c:v>
                </c:pt>
                <c:pt idx="4050">
                  <c:v>7.2231139646869905E-2</c:v>
                </c:pt>
                <c:pt idx="4051">
                  <c:v>7.2248974496165505E-2</c:v>
                </c:pt>
                <c:pt idx="4052">
                  <c:v>7.2266809345460994E-2</c:v>
                </c:pt>
                <c:pt idx="4053">
                  <c:v>7.2284644194756498E-2</c:v>
                </c:pt>
                <c:pt idx="4054">
                  <c:v>7.2302479044052001E-2</c:v>
                </c:pt>
                <c:pt idx="4055">
                  <c:v>7.2320313893347601E-2</c:v>
                </c:pt>
                <c:pt idx="4056">
                  <c:v>7.2338148742643105E-2</c:v>
                </c:pt>
                <c:pt idx="4057">
                  <c:v>7.2355983591938594E-2</c:v>
                </c:pt>
                <c:pt idx="4058">
                  <c:v>7.2373818441234097E-2</c:v>
                </c:pt>
                <c:pt idx="4059">
                  <c:v>7.2391653290529698E-2</c:v>
                </c:pt>
                <c:pt idx="4060">
                  <c:v>7.2409488139825201E-2</c:v>
                </c:pt>
                <c:pt idx="4061">
                  <c:v>7.2427322989120704E-2</c:v>
                </c:pt>
                <c:pt idx="4062">
                  <c:v>7.2445157838416194E-2</c:v>
                </c:pt>
                <c:pt idx="4063">
                  <c:v>7.2462992687711794E-2</c:v>
                </c:pt>
                <c:pt idx="4064">
                  <c:v>7.2480827537007297E-2</c:v>
                </c:pt>
                <c:pt idx="4065">
                  <c:v>7.2498662386302801E-2</c:v>
                </c:pt>
                <c:pt idx="4066">
                  <c:v>7.2516497235598304E-2</c:v>
                </c:pt>
                <c:pt idx="4067">
                  <c:v>7.2534332084893793E-2</c:v>
                </c:pt>
                <c:pt idx="4068">
                  <c:v>7.2552166934189394E-2</c:v>
                </c:pt>
                <c:pt idx="4069">
                  <c:v>7.2570001783484897E-2</c:v>
                </c:pt>
                <c:pt idx="4070">
                  <c:v>7.25878366327804E-2</c:v>
                </c:pt>
                <c:pt idx="4071">
                  <c:v>7.2605671482075904E-2</c:v>
                </c:pt>
                <c:pt idx="4072">
                  <c:v>7.2623506331371504E-2</c:v>
                </c:pt>
                <c:pt idx="4073">
                  <c:v>7.2641341180666993E-2</c:v>
                </c:pt>
                <c:pt idx="4074">
                  <c:v>7.2659176029962497E-2</c:v>
                </c:pt>
                <c:pt idx="4075">
                  <c:v>7.2677010879258E-2</c:v>
                </c:pt>
                <c:pt idx="4076">
                  <c:v>7.26948457285536E-2</c:v>
                </c:pt>
                <c:pt idx="4077">
                  <c:v>7.2712680577849104E-2</c:v>
                </c:pt>
                <c:pt idx="4078">
                  <c:v>7.2730515427144607E-2</c:v>
                </c:pt>
                <c:pt idx="4079">
                  <c:v>7.2748350276440096E-2</c:v>
                </c:pt>
                <c:pt idx="4080">
                  <c:v>7.27661851257356E-2</c:v>
                </c:pt>
                <c:pt idx="4081">
                  <c:v>7.27840199750312E-2</c:v>
                </c:pt>
                <c:pt idx="4082">
                  <c:v>7.2801854824326703E-2</c:v>
                </c:pt>
                <c:pt idx="4083">
                  <c:v>7.2819689673622207E-2</c:v>
                </c:pt>
                <c:pt idx="4084">
                  <c:v>7.2837524522917696E-2</c:v>
                </c:pt>
                <c:pt idx="4085">
                  <c:v>7.2855359372213296E-2</c:v>
                </c:pt>
                <c:pt idx="4086">
                  <c:v>7.28731942215088E-2</c:v>
                </c:pt>
                <c:pt idx="4087">
                  <c:v>7.2891029070804303E-2</c:v>
                </c:pt>
                <c:pt idx="4088">
                  <c:v>7.2908863920099806E-2</c:v>
                </c:pt>
                <c:pt idx="4089">
                  <c:v>7.2926698769395296E-2</c:v>
                </c:pt>
                <c:pt idx="4090">
                  <c:v>7.2944533618690896E-2</c:v>
                </c:pt>
                <c:pt idx="4091">
                  <c:v>7.2962368467986399E-2</c:v>
                </c:pt>
                <c:pt idx="4092">
                  <c:v>7.2980203317281903E-2</c:v>
                </c:pt>
                <c:pt idx="4093">
                  <c:v>7.2998038166577406E-2</c:v>
                </c:pt>
                <c:pt idx="4094">
                  <c:v>7.3015873015873006E-2</c:v>
                </c:pt>
                <c:pt idx="4095">
                  <c:v>7.3033707865168496E-2</c:v>
                </c:pt>
                <c:pt idx="4096">
                  <c:v>7.3051542714463999E-2</c:v>
                </c:pt>
                <c:pt idx="4097">
                  <c:v>7.3069377563759502E-2</c:v>
                </c:pt>
                <c:pt idx="4098">
                  <c:v>7.3087212413055103E-2</c:v>
                </c:pt>
                <c:pt idx="4099">
                  <c:v>7.3105047262350606E-2</c:v>
                </c:pt>
                <c:pt idx="4100">
                  <c:v>7.3122882111646095E-2</c:v>
                </c:pt>
                <c:pt idx="4101">
                  <c:v>7.3140716960941599E-2</c:v>
                </c:pt>
                <c:pt idx="4102">
                  <c:v>7.3158551810237199E-2</c:v>
                </c:pt>
                <c:pt idx="4103">
                  <c:v>7.3176386659532702E-2</c:v>
                </c:pt>
                <c:pt idx="4104">
                  <c:v>7.3194221508828206E-2</c:v>
                </c:pt>
                <c:pt idx="4105">
                  <c:v>7.3212056358123695E-2</c:v>
                </c:pt>
                <c:pt idx="4106">
                  <c:v>7.3229891207419295E-2</c:v>
                </c:pt>
                <c:pt idx="4107">
                  <c:v>7.3247726056714799E-2</c:v>
                </c:pt>
                <c:pt idx="4108">
                  <c:v>7.3265560906010302E-2</c:v>
                </c:pt>
                <c:pt idx="4109">
                  <c:v>7.3283395755305805E-2</c:v>
                </c:pt>
                <c:pt idx="4110">
                  <c:v>7.3301230604601295E-2</c:v>
                </c:pt>
                <c:pt idx="4111">
                  <c:v>7.3319065453896895E-2</c:v>
                </c:pt>
                <c:pt idx="4112">
                  <c:v>7.3336900303192398E-2</c:v>
                </c:pt>
                <c:pt idx="4113">
                  <c:v>7.3354735152487902E-2</c:v>
                </c:pt>
                <c:pt idx="4114">
                  <c:v>7.3372570001783405E-2</c:v>
                </c:pt>
                <c:pt idx="4115">
                  <c:v>7.3390404851079005E-2</c:v>
                </c:pt>
                <c:pt idx="4116">
                  <c:v>7.3408239700374495E-2</c:v>
                </c:pt>
                <c:pt idx="4117">
                  <c:v>7.3426074549669998E-2</c:v>
                </c:pt>
                <c:pt idx="4118">
                  <c:v>7.3443909398965501E-2</c:v>
                </c:pt>
                <c:pt idx="4119">
                  <c:v>7.3461744248261102E-2</c:v>
                </c:pt>
                <c:pt idx="4120">
                  <c:v>7.3479579097556605E-2</c:v>
                </c:pt>
                <c:pt idx="4121">
                  <c:v>7.3497413946852094E-2</c:v>
                </c:pt>
                <c:pt idx="4122">
                  <c:v>7.3515248796147598E-2</c:v>
                </c:pt>
                <c:pt idx="4123">
                  <c:v>7.3533083645443198E-2</c:v>
                </c:pt>
                <c:pt idx="4124">
                  <c:v>7.3550918494738701E-2</c:v>
                </c:pt>
                <c:pt idx="4125">
                  <c:v>7.3568753344034205E-2</c:v>
                </c:pt>
                <c:pt idx="4126">
                  <c:v>7.3586588193329694E-2</c:v>
                </c:pt>
                <c:pt idx="4127">
                  <c:v>7.3604423042625294E-2</c:v>
                </c:pt>
                <c:pt idx="4128">
                  <c:v>7.3622257891920798E-2</c:v>
                </c:pt>
                <c:pt idx="4129">
                  <c:v>7.3640092741216301E-2</c:v>
                </c:pt>
                <c:pt idx="4130">
                  <c:v>7.3657927590511804E-2</c:v>
                </c:pt>
                <c:pt idx="4131">
                  <c:v>7.3675762439807294E-2</c:v>
                </c:pt>
                <c:pt idx="4132">
                  <c:v>7.3693597289102894E-2</c:v>
                </c:pt>
                <c:pt idx="4133">
                  <c:v>7.3711432138398397E-2</c:v>
                </c:pt>
                <c:pt idx="4134">
                  <c:v>7.3729266987693901E-2</c:v>
                </c:pt>
                <c:pt idx="4135">
                  <c:v>7.3747101836989404E-2</c:v>
                </c:pt>
                <c:pt idx="4136">
                  <c:v>7.3764936686285004E-2</c:v>
                </c:pt>
                <c:pt idx="4137">
                  <c:v>7.3782771535580494E-2</c:v>
                </c:pt>
                <c:pt idx="4138">
                  <c:v>7.3800606384875997E-2</c:v>
                </c:pt>
                <c:pt idx="4139">
                  <c:v>7.38184412341715E-2</c:v>
                </c:pt>
                <c:pt idx="4140">
                  <c:v>7.3836276083467101E-2</c:v>
                </c:pt>
                <c:pt idx="4141">
                  <c:v>7.3854110932762604E-2</c:v>
                </c:pt>
                <c:pt idx="4142">
                  <c:v>7.3871945782058093E-2</c:v>
                </c:pt>
                <c:pt idx="4143">
                  <c:v>7.3889780631353597E-2</c:v>
                </c:pt>
                <c:pt idx="4144">
                  <c:v>7.39076154806491E-2</c:v>
                </c:pt>
                <c:pt idx="4145">
                  <c:v>7.39254503299447E-2</c:v>
                </c:pt>
                <c:pt idx="4146">
                  <c:v>7.3943285179240203E-2</c:v>
                </c:pt>
                <c:pt idx="4147">
                  <c:v>7.3961120028535707E-2</c:v>
                </c:pt>
                <c:pt idx="4148">
                  <c:v>7.3978954877831196E-2</c:v>
                </c:pt>
                <c:pt idx="4149">
                  <c:v>7.3996789727126797E-2</c:v>
                </c:pt>
                <c:pt idx="4150">
                  <c:v>7.40146245764223E-2</c:v>
                </c:pt>
                <c:pt idx="4151">
                  <c:v>7.4032459425717803E-2</c:v>
                </c:pt>
                <c:pt idx="4152">
                  <c:v>7.4050294275013306E-2</c:v>
                </c:pt>
                <c:pt idx="4153">
                  <c:v>7.4068129124308796E-2</c:v>
                </c:pt>
                <c:pt idx="4154">
                  <c:v>7.4085963973604396E-2</c:v>
                </c:pt>
                <c:pt idx="4155">
                  <c:v>7.41037988228999E-2</c:v>
                </c:pt>
                <c:pt idx="4156">
                  <c:v>7.4121633672195403E-2</c:v>
                </c:pt>
                <c:pt idx="4157">
                  <c:v>7.4139468521490906E-2</c:v>
                </c:pt>
                <c:pt idx="4158">
                  <c:v>7.4157303370786506E-2</c:v>
                </c:pt>
                <c:pt idx="4159">
                  <c:v>7.4175138220081996E-2</c:v>
                </c:pt>
                <c:pt idx="4160">
                  <c:v>7.4192973069377499E-2</c:v>
                </c:pt>
                <c:pt idx="4161">
                  <c:v>7.4210807918673002E-2</c:v>
                </c:pt>
                <c:pt idx="4162">
                  <c:v>7.4228642767968603E-2</c:v>
                </c:pt>
                <c:pt idx="4163">
                  <c:v>7.4246477617264106E-2</c:v>
                </c:pt>
                <c:pt idx="4164">
                  <c:v>7.4264312466559596E-2</c:v>
                </c:pt>
                <c:pt idx="4165">
                  <c:v>7.4282147315855099E-2</c:v>
                </c:pt>
                <c:pt idx="4166">
                  <c:v>7.4299982165150699E-2</c:v>
                </c:pt>
                <c:pt idx="4167">
                  <c:v>7.4317817014446202E-2</c:v>
                </c:pt>
                <c:pt idx="4168">
                  <c:v>7.4335651863741706E-2</c:v>
                </c:pt>
                <c:pt idx="4169">
                  <c:v>7.4353486713037195E-2</c:v>
                </c:pt>
                <c:pt idx="4170">
                  <c:v>7.4371321562332796E-2</c:v>
                </c:pt>
                <c:pt idx="4171">
                  <c:v>7.4389156411628299E-2</c:v>
                </c:pt>
                <c:pt idx="4172">
                  <c:v>7.4406991260923802E-2</c:v>
                </c:pt>
                <c:pt idx="4173">
                  <c:v>7.4424826110219305E-2</c:v>
                </c:pt>
                <c:pt idx="4174">
                  <c:v>7.4442660959514795E-2</c:v>
                </c:pt>
                <c:pt idx="4175">
                  <c:v>7.4460495808810395E-2</c:v>
                </c:pt>
                <c:pt idx="4176">
                  <c:v>7.4478330658105898E-2</c:v>
                </c:pt>
                <c:pt idx="4177">
                  <c:v>7.4496165507401402E-2</c:v>
                </c:pt>
                <c:pt idx="4178">
                  <c:v>7.4514000356696905E-2</c:v>
                </c:pt>
                <c:pt idx="4179">
                  <c:v>7.4531835205992505E-2</c:v>
                </c:pt>
                <c:pt idx="4180">
                  <c:v>7.4549670055287995E-2</c:v>
                </c:pt>
                <c:pt idx="4181">
                  <c:v>7.4567504904583498E-2</c:v>
                </c:pt>
                <c:pt idx="4182">
                  <c:v>7.4585339753879001E-2</c:v>
                </c:pt>
                <c:pt idx="4183">
                  <c:v>7.4603174603174602E-2</c:v>
                </c:pt>
                <c:pt idx="4184">
                  <c:v>7.4621009452470105E-2</c:v>
                </c:pt>
                <c:pt idx="4185">
                  <c:v>7.4638844301765594E-2</c:v>
                </c:pt>
                <c:pt idx="4186">
                  <c:v>7.4656679151061098E-2</c:v>
                </c:pt>
                <c:pt idx="4187">
                  <c:v>7.4674514000356698E-2</c:v>
                </c:pt>
                <c:pt idx="4188">
                  <c:v>7.4692348849652201E-2</c:v>
                </c:pt>
                <c:pt idx="4189">
                  <c:v>7.4710183698947705E-2</c:v>
                </c:pt>
                <c:pt idx="4190">
                  <c:v>7.4728018548243194E-2</c:v>
                </c:pt>
                <c:pt idx="4191">
                  <c:v>7.4745853397538795E-2</c:v>
                </c:pt>
                <c:pt idx="4192">
                  <c:v>7.4763688246834298E-2</c:v>
                </c:pt>
                <c:pt idx="4193">
                  <c:v>7.4781523096129801E-2</c:v>
                </c:pt>
                <c:pt idx="4194">
                  <c:v>7.4799357945425304E-2</c:v>
                </c:pt>
                <c:pt idx="4195">
                  <c:v>7.4817192794720794E-2</c:v>
                </c:pt>
                <c:pt idx="4196">
                  <c:v>7.4835027644016394E-2</c:v>
                </c:pt>
                <c:pt idx="4197">
                  <c:v>7.4852862493311897E-2</c:v>
                </c:pt>
                <c:pt idx="4198">
                  <c:v>7.4870697342607401E-2</c:v>
                </c:pt>
                <c:pt idx="4199">
                  <c:v>7.4888532191902904E-2</c:v>
                </c:pt>
                <c:pt idx="4200">
                  <c:v>7.4906367041198504E-2</c:v>
                </c:pt>
                <c:pt idx="4201">
                  <c:v>7.4924201890493994E-2</c:v>
                </c:pt>
                <c:pt idx="4202">
                  <c:v>7.4942036739789497E-2</c:v>
                </c:pt>
                <c:pt idx="4203">
                  <c:v>7.4959871589085E-2</c:v>
                </c:pt>
                <c:pt idx="4204">
                  <c:v>7.4977706438380601E-2</c:v>
                </c:pt>
                <c:pt idx="4205">
                  <c:v>7.4995541287676104E-2</c:v>
                </c:pt>
                <c:pt idx="4206">
                  <c:v>7.5013376136971593E-2</c:v>
                </c:pt>
                <c:pt idx="4207">
                  <c:v>7.5031210986267097E-2</c:v>
                </c:pt>
                <c:pt idx="4208">
                  <c:v>7.50490458355626E-2</c:v>
                </c:pt>
                <c:pt idx="4209">
                  <c:v>7.50668806848582E-2</c:v>
                </c:pt>
                <c:pt idx="4210">
                  <c:v>7.5084715534153704E-2</c:v>
                </c:pt>
                <c:pt idx="4211">
                  <c:v>7.5102550383449193E-2</c:v>
                </c:pt>
                <c:pt idx="4212">
                  <c:v>7.5120385232744696E-2</c:v>
                </c:pt>
                <c:pt idx="4213">
                  <c:v>7.5138220082040297E-2</c:v>
                </c:pt>
                <c:pt idx="4214">
                  <c:v>7.51560549313358E-2</c:v>
                </c:pt>
                <c:pt idx="4215">
                  <c:v>7.5173889780631303E-2</c:v>
                </c:pt>
                <c:pt idx="4216">
                  <c:v>7.5191724629926807E-2</c:v>
                </c:pt>
                <c:pt idx="4217">
                  <c:v>7.5209559479222393E-2</c:v>
                </c:pt>
                <c:pt idx="4218">
                  <c:v>7.5227394328517896E-2</c:v>
                </c:pt>
                <c:pt idx="4219">
                  <c:v>7.52452291778134E-2</c:v>
                </c:pt>
                <c:pt idx="4220">
                  <c:v>7.5263064027108903E-2</c:v>
                </c:pt>
                <c:pt idx="4221">
                  <c:v>7.5280898876404406E-2</c:v>
                </c:pt>
                <c:pt idx="4222">
                  <c:v>7.5298733725700007E-2</c:v>
                </c:pt>
                <c:pt idx="4223">
                  <c:v>7.5316568574995496E-2</c:v>
                </c:pt>
                <c:pt idx="4224">
                  <c:v>7.5334403424290999E-2</c:v>
                </c:pt>
                <c:pt idx="4225">
                  <c:v>7.5352238273586503E-2</c:v>
                </c:pt>
                <c:pt idx="4226">
                  <c:v>7.5370073122882103E-2</c:v>
                </c:pt>
                <c:pt idx="4227">
                  <c:v>7.5387907972177606E-2</c:v>
                </c:pt>
                <c:pt idx="4228">
                  <c:v>7.5405742821473096E-2</c:v>
                </c:pt>
                <c:pt idx="4229">
                  <c:v>7.5423577670768599E-2</c:v>
                </c:pt>
                <c:pt idx="4230">
                  <c:v>7.5441412520064199E-2</c:v>
                </c:pt>
                <c:pt idx="4231">
                  <c:v>7.5459247369359703E-2</c:v>
                </c:pt>
                <c:pt idx="4232">
                  <c:v>7.5477082218655206E-2</c:v>
                </c:pt>
                <c:pt idx="4233">
                  <c:v>7.5494917067950695E-2</c:v>
                </c:pt>
                <c:pt idx="4234">
                  <c:v>7.5512751917246296E-2</c:v>
                </c:pt>
                <c:pt idx="4235">
                  <c:v>7.5530586766541799E-2</c:v>
                </c:pt>
                <c:pt idx="4236">
                  <c:v>7.5548421615837302E-2</c:v>
                </c:pt>
                <c:pt idx="4237">
                  <c:v>7.5566256465132806E-2</c:v>
                </c:pt>
                <c:pt idx="4238">
                  <c:v>7.5584091314428295E-2</c:v>
                </c:pt>
                <c:pt idx="4239">
                  <c:v>7.5601926163723895E-2</c:v>
                </c:pt>
                <c:pt idx="4240">
                  <c:v>7.5619761013019399E-2</c:v>
                </c:pt>
                <c:pt idx="4241">
                  <c:v>7.5637595862314902E-2</c:v>
                </c:pt>
                <c:pt idx="4242">
                  <c:v>7.5655430711610405E-2</c:v>
                </c:pt>
                <c:pt idx="4243">
                  <c:v>7.5673265560906006E-2</c:v>
                </c:pt>
                <c:pt idx="4244">
                  <c:v>7.5691100410201495E-2</c:v>
                </c:pt>
                <c:pt idx="4245">
                  <c:v>7.5708935259496998E-2</c:v>
                </c:pt>
                <c:pt idx="4246">
                  <c:v>7.5726770108792502E-2</c:v>
                </c:pt>
                <c:pt idx="4247">
                  <c:v>7.5744604958088102E-2</c:v>
                </c:pt>
                <c:pt idx="4248">
                  <c:v>7.5762439807383605E-2</c:v>
                </c:pt>
                <c:pt idx="4249">
                  <c:v>7.5780274656679095E-2</c:v>
                </c:pt>
                <c:pt idx="4250">
                  <c:v>7.5798109505974598E-2</c:v>
                </c:pt>
                <c:pt idx="4251">
                  <c:v>7.5815944355270198E-2</c:v>
                </c:pt>
                <c:pt idx="4252">
                  <c:v>7.5833779204565702E-2</c:v>
                </c:pt>
                <c:pt idx="4253">
                  <c:v>7.5851614053861205E-2</c:v>
                </c:pt>
                <c:pt idx="4254">
                  <c:v>7.5869448903156694E-2</c:v>
                </c:pt>
                <c:pt idx="4255">
                  <c:v>7.5887283752452295E-2</c:v>
                </c:pt>
                <c:pt idx="4256">
                  <c:v>7.5905118601747798E-2</c:v>
                </c:pt>
                <c:pt idx="4257">
                  <c:v>7.5922953451043301E-2</c:v>
                </c:pt>
                <c:pt idx="4258">
                  <c:v>7.5940788300338805E-2</c:v>
                </c:pt>
                <c:pt idx="4259">
                  <c:v>7.5958623149634294E-2</c:v>
                </c:pt>
                <c:pt idx="4260">
                  <c:v>7.5976457998929894E-2</c:v>
                </c:pt>
                <c:pt idx="4261">
                  <c:v>7.5994292848225398E-2</c:v>
                </c:pt>
                <c:pt idx="4262">
                  <c:v>7.6012127697520901E-2</c:v>
                </c:pt>
                <c:pt idx="4263">
                  <c:v>7.6029962546816404E-2</c:v>
                </c:pt>
                <c:pt idx="4264">
                  <c:v>7.6047797396112005E-2</c:v>
                </c:pt>
                <c:pt idx="4265">
                  <c:v>7.6065632245407494E-2</c:v>
                </c:pt>
                <c:pt idx="4266">
                  <c:v>7.6083467094702997E-2</c:v>
                </c:pt>
                <c:pt idx="4267">
                  <c:v>7.6101301943998501E-2</c:v>
                </c:pt>
                <c:pt idx="4268">
                  <c:v>7.6119136793294101E-2</c:v>
                </c:pt>
                <c:pt idx="4269">
                  <c:v>7.6136971642589604E-2</c:v>
                </c:pt>
                <c:pt idx="4270">
                  <c:v>7.6154806491885094E-2</c:v>
                </c:pt>
                <c:pt idx="4271">
                  <c:v>7.6172641341180597E-2</c:v>
                </c:pt>
                <c:pt idx="4272">
                  <c:v>7.6190476190476197E-2</c:v>
                </c:pt>
                <c:pt idx="4273">
                  <c:v>7.6208311039771701E-2</c:v>
                </c:pt>
                <c:pt idx="4274">
                  <c:v>7.6226145889067204E-2</c:v>
                </c:pt>
                <c:pt idx="4275">
                  <c:v>7.6243980738362693E-2</c:v>
                </c:pt>
                <c:pt idx="4276">
                  <c:v>7.6261815587658197E-2</c:v>
                </c:pt>
                <c:pt idx="4277">
                  <c:v>7.6279650436953797E-2</c:v>
                </c:pt>
                <c:pt idx="4278">
                  <c:v>7.62974852862493E-2</c:v>
                </c:pt>
                <c:pt idx="4279">
                  <c:v>7.6315320135544804E-2</c:v>
                </c:pt>
                <c:pt idx="4280">
                  <c:v>7.6333154984840307E-2</c:v>
                </c:pt>
                <c:pt idx="4281">
                  <c:v>7.6350989834135893E-2</c:v>
                </c:pt>
                <c:pt idx="4282">
                  <c:v>7.6368824683431397E-2</c:v>
                </c:pt>
                <c:pt idx="4283">
                  <c:v>7.63866595327269E-2</c:v>
                </c:pt>
                <c:pt idx="4284">
                  <c:v>7.6404494382022403E-2</c:v>
                </c:pt>
                <c:pt idx="4285">
                  <c:v>7.6422329231317906E-2</c:v>
                </c:pt>
                <c:pt idx="4286">
                  <c:v>7.6440164080613507E-2</c:v>
                </c:pt>
                <c:pt idx="4287">
                  <c:v>7.6457998929908996E-2</c:v>
                </c:pt>
                <c:pt idx="4288">
                  <c:v>7.64758337792045E-2</c:v>
                </c:pt>
                <c:pt idx="4289">
                  <c:v>7.6493668628500003E-2</c:v>
                </c:pt>
                <c:pt idx="4290">
                  <c:v>7.6511503477795603E-2</c:v>
                </c:pt>
                <c:pt idx="4291">
                  <c:v>7.6529338327091107E-2</c:v>
                </c:pt>
                <c:pt idx="4292">
                  <c:v>7.6547173176386596E-2</c:v>
                </c:pt>
                <c:pt idx="4293">
                  <c:v>7.6565008025682099E-2</c:v>
                </c:pt>
                <c:pt idx="4294">
                  <c:v>7.65828428749777E-2</c:v>
                </c:pt>
                <c:pt idx="4295">
                  <c:v>7.6600677724273203E-2</c:v>
                </c:pt>
                <c:pt idx="4296">
                  <c:v>7.6618512573568706E-2</c:v>
                </c:pt>
                <c:pt idx="4297">
                  <c:v>7.6636347422864196E-2</c:v>
                </c:pt>
                <c:pt idx="4298">
                  <c:v>7.6654182272159796E-2</c:v>
                </c:pt>
                <c:pt idx="4299">
                  <c:v>7.6672017121455299E-2</c:v>
                </c:pt>
                <c:pt idx="4300">
                  <c:v>7.6689851970750803E-2</c:v>
                </c:pt>
                <c:pt idx="4301">
                  <c:v>7.6707686820046306E-2</c:v>
                </c:pt>
                <c:pt idx="4302">
                  <c:v>7.6725521669341795E-2</c:v>
                </c:pt>
                <c:pt idx="4303">
                  <c:v>7.6743356518637396E-2</c:v>
                </c:pt>
                <c:pt idx="4304">
                  <c:v>7.6761191367932899E-2</c:v>
                </c:pt>
                <c:pt idx="4305">
                  <c:v>7.6779026217228402E-2</c:v>
                </c:pt>
                <c:pt idx="4306">
                  <c:v>7.6796861066523905E-2</c:v>
                </c:pt>
                <c:pt idx="4307">
                  <c:v>7.6814695915819506E-2</c:v>
                </c:pt>
                <c:pt idx="4308">
                  <c:v>7.6832530765114995E-2</c:v>
                </c:pt>
                <c:pt idx="4309">
                  <c:v>7.6850365614410499E-2</c:v>
                </c:pt>
                <c:pt idx="4310">
                  <c:v>7.6868200463706002E-2</c:v>
                </c:pt>
                <c:pt idx="4311">
                  <c:v>7.6886035313001602E-2</c:v>
                </c:pt>
                <c:pt idx="4312">
                  <c:v>7.6903870162297105E-2</c:v>
                </c:pt>
                <c:pt idx="4313">
                  <c:v>7.6921705011592595E-2</c:v>
                </c:pt>
                <c:pt idx="4314">
                  <c:v>7.6939539860888098E-2</c:v>
                </c:pt>
                <c:pt idx="4315">
                  <c:v>7.6957374710183699E-2</c:v>
                </c:pt>
                <c:pt idx="4316">
                  <c:v>7.6975209559479202E-2</c:v>
                </c:pt>
                <c:pt idx="4317">
                  <c:v>7.6993044408774705E-2</c:v>
                </c:pt>
                <c:pt idx="4318">
                  <c:v>7.7010879258070195E-2</c:v>
                </c:pt>
                <c:pt idx="4319">
                  <c:v>7.7028714107365795E-2</c:v>
                </c:pt>
                <c:pt idx="4320">
                  <c:v>7.7046548956661298E-2</c:v>
                </c:pt>
                <c:pt idx="4321">
                  <c:v>7.7064383805956801E-2</c:v>
                </c:pt>
                <c:pt idx="4322">
                  <c:v>7.7082218655252305E-2</c:v>
                </c:pt>
                <c:pt idx="4323">
                  <c:v>7.7100053504547794E-2</c:v>
                </c:pt>
                <c:pt idx="4324">
                  <c:v>7.7117888353843395E-2</c:v>
                </c:pt>
                <c:pt idx="4325">
                  <c:v>7.7135723203138898E-2</c:v>
                </c:pt>
                <c:pt idx="4326">
                  <c:v>7.7153558052434401E-2</c:v>
                </c:pt>
                <c:pt idx="4327">
                  <c:v>7.7171392901729904E-2</c:v>
                </c:pt>
                <c:pt idx="4328">
                  <c:v>7.7189227751025505E-2</c:v>
                </c:pt>
                <c:pt idx="4329">
                  <c:v>7.7207062600320994E-2</c:v>
                </c:pt>
                <c:pt idx="4330">
                  <c:v>7.7224897449616497E-2</c:v>
                </c:pt>
                <c:pt idx="4331">
                  <c:v>7.7242732298912001E-2</c:v>
                </c:pt>
                <c:pt idx="4332">
                  <c:v>7.7260567148207601E-2</c:v>
                </c:pt>
                <c:pt idx="4333">
                  <c:v>7.7278401997503104E-2</c:v>
                </c:pt>
                <c:pt idx="4334">
                  <c:v>7.7296236846798594E-2</c:v>
                </c:pt>
                <c:pt idx="4335">
                  <c:v>7.7314071696094097E-2</c:v>
                </c:pt>
                <c:pt idx="4336">
                  <c:v>7.7331906545389698E-2</c:v>
                </c:pt>
                <c:pt idx="4337">
                  <c:v>7.7349741394685201E-2</c:v>
                </c:pt>
                <c:pt idx="4338">
                  <c:v>7.7367576243980704E-2</c:v>
                </c:pt>
                <c:pt idx="4339">
                  <c:v>7.7385411093276193E-2</c:v>
                </c:pt>
                <c:pt idx="4340">
                  <c:v>7.7403245942571697E-2</c:v>
                </c:pt>
                <c:pt idx="4341">
                  <c:v>7.7421080791867297E-2</c:v>
                </c:pt>
                <c:pt idx="4342">
                  <c:v>7.74389156411628E-2</c:v>
                </c:pt>
                <c:pt idx="4343">
                  <c:v>7.7456750490458304E-2</c:v>
                </c:pt>
                <c:pt idx="4344">
                  <c:v>7.7474585339753793E-2</c:v>
                </c:pt>
                <c:pt idx="4345">
                  <c:v>7.7492420189049394E-2</c:v>
                </c:pt>
                <c:pt idx="4346">
                  <c:v>7.7510255038344897E-2</c:v>
                </c:pt>
                <c:pt idx="4347">
                  <c:v>7.75280898876404E-2</c:v>
                </c:pt>
                <c:pt idx="4348">
                  <c:v>7.7545924736935903E-2</c:v>
                </c:pt>
                <c:pt idx="4349">
                  <c:v>7.7563759586231407E-2</c:v>
                </c:pt>
                <c:pt idx="4350">
                  <c:v>7.7581594435526993E-2</c:v>
                </c:pt>
                <c:pt idx="4351">
                  <c:v>7.7599429284822496E-2</c:v>
                </c:pt>
                <c:pt idx="4352">
                  <c:v>7.7617264134118E-2</c:v>
                </c:pt>
                <c:pt idx="4353">
                  <c:v>7.7635098983413503E-2</c:v>
                </c:pt>
                <c:pt idx="4354">
                  <c:v>7.7652933832709103E-2</c:v>
                </c:pt>
                <c:pt idx="4355">
                  <c:v>7.7670768682004607E-2</c:v>
                </c:pt>
                <c:pt idx="4356">
                  <c:v>7.7688603531300096E-2</c:v>
                </c:pt>
                <c:pt idx="4357">
                  <c:v>7.7706438380595599E-2</c:v>
                </c:pt>
                <c:pt idx="4358">
                  <c:v>7.77242732298912E-2</c:v>
                </c:pt>
                <c:pt idx="4359">
                  <c:v>7.7742108079186703E-2</c:v>
                </c:pt>
                <c:pt idx="4360">
                  <c:v>7.7759942928482206E-2</c:v>
                </c:pt>
                <c:pt idx="4361">
                  <c:v>7.7777777777777696E-2</c:v>
                </c:pt>
                <c:pt idx="4362">
                  <c:v>7.7795612627073296E-2</c:v>
                </c:pt>
                <c:pt idx="4363">
                  <c:v>7.7813447476368799E-2</c:v>
                </c:pt>
                <c:pt idx="4364">
                  <c:v>7.7831282325664303E-2</c:v>
                </c:pt>
                <c:pt idx="4365">
                  <c:v>7.7849117174959806E-2</c:v>
                </c:pt>
                <c:pt idx="4366">
                  <c:v>7.7866952024255295E-2</c:v>
                </c:pt>
                <c:pt idx="4367">
                  <c:v>7.7884786873550896E-2</c:v>
                </c:pt>
                <c:pt idx="4368">
                  <c:v>7.7902621722846399E-2</c:v>
                </c:pt>
                <c:pt idx="4369">
                  <c:v>7.7920456572141902E-2</c:v>
                </c:pt>
                <c:pt idx="4370">
                  <c:v>7.7938291421437406E-2</c:v>
                </c:pt>
                <c:pt idx="4371">
                  <c:v>7.7956126270733006E-2</c:v>
                </c:pt>
                <c:pt idx="4372">
                  <c:v>7.7973961120028495E-2</c:v>
                </c:pt>
                <c:pt idx="4373">
                  <c:v>7.7991795969323999E-2</c:v>
                </c:pt>
                <c:pt idx="4374">
                  <c:v>7.8009630818619502E-2</c:v>
                </c:pt>
                <c:pt idx="4375">
                  <c:v>7.8027465667915102E-2</c:v>
                </c:pt>
                <c:pt idx="4376">
                  <c:v>7.8045300517210606E-2</c:v>
                </c:pt>
                <c:pt idx="4377">
                  <c:v>7.8063135366506095E-2</c:v>
                </c:pt>
                <c:pt idx="4378">
                  <c:v>7.8080970215801598E-2</c:v>
                </c:pt>
                <c:pt idx="4379">
                  <c:v>7.8098805065097199E-2</c:v>
                </c:pt>
                <c:pt idx="4380">
                  <c:v>7.8116639914392702E-2</c:v>
                </c:pt>
                <c:pt idx="4381">
                  <c:v>7.8134474763688205E-2</c:v>
                </c:pt>
                <c:pt idx="4382">
                  <c:v>7.8152309612983695E-2</c:v>
                </c:pt>
                <c:pt idx="4383">
                  <c:v>7.8170144462279295E-2</c:v>
                </c:pt>
                <c:pt idx="4384">
                  <c:v>7.8187979311574798E-2</c:v>
                </c:pt>
                <c:pt idx="4385">
                  <c:v>7.8205814160870302E-2</c:v>
                </c:pt>
                <c:pt idx="4386">
                  <c:v>7.8223649010165805E-2</c:v>
                </c:pt>
                <c:pt idx="4387">
                  <c:v>7.8241483859461294E-2</c:v>
                </c:pt>
                <c:pt idx="4388">
                  <c:v>7.8259318708756895E-2</c:v>
                </c:pt>
                <c:pt idx="4389">
                  <c:v>7.8277153558052398E-2</c:v>
                </c:pt>
                <c:pt idx="4390">
                  <c:v>7.8294988407347901E-2</c:v>
                </c:pt>
                <c:pt idx="4391">
                  <c:v>7.8312823256643405E-2</c:v>
                </c:pt>
                <c:pt idx="4392">
                  <c:v>7.8330658105939005E-2</c:v>
                </c:pt>
                <c:pt idx="4393">
                  <c:v>7.8348492955234494E-2</c:v>
                </c:pt>
                <c:pt idx="4394">
                  <c:v>7.8366327804529998E-2</c:v>
                </c:pt>
                <c:pt idx="4395">
                  <c:v>7.8384162653825501E-2</c:v>
                </c:pt>
                <c:pt idx="4396">
                  <c:v>7.8401997503121101E-2</c:v>
                </c:pt>
                <c:pt idx="4397">
                  <c:v>7.8419832352416605E-2</c:v>
                </c:pt>
                <c:pt idx="4398">
                  <c:v>7.8437667201712094E-2</c:v>
                </c:pt>
                <c:pt idx="4399">
                  <c:v>7.8455502051007597E-2</c:v>
                </c:pt>
                <c:pt idx="4400">
                  <c:v>7.8473336900303198E-2</c:v>
                </c:pt>
                <c:pt idx="4401">
                  <c:v>7.8491171749598701E-2</c:v>
                </c:pt>
                <c:pt idx="4402">
                  <c:v>7.8509006598894204E-2</c:v>
                </c:pt>
                <c:pt idx="4403">
                  <c:v>7.8526841448189694E-2</c:v>
                </c:pt>
                <c:pt idx="4404">
                  <c:v>7.8544676297485197E-2</c:v>
                </c:pt>
                <c:pt idx="4405">
                  <c:v>7.8562511146780797E-2</c:v>
                </c:pt>
                <c:pt idx="4406">
                  <c:v>7.8580345996076301E-2</c:v>
                </c:pt>
                <c:pt idx="4407">
                  <c:v>7.8598180845371804E-2</c:v>
                </c:pt>
                <c:pt idx="4408">
                  <c:v>7.8616015694667293E-2</c:v>
                </c:pt>
                <c:pt idx="4409">
                  <c:v>7.8633850543962894E-2</c:v>
                </c:pt>
                <c:pt idx="4410">
                  <c:v>7.8651685393258397E-2</c:v>
                </c:pt>
                <c:pt idx="4411">
                  <c:v>7.86695202425539E-2</c:v>
                </c:pt>
                <c:pt idx="4412">
                  <c:v>7.8687355091849404E-2</c:v>
                </c:pt>
                <c:pt idx="4413">
                  <c:v>7.8705189941145004E-2</c:v>
                </c:pt>
                <c:pt idx="4414">
                  <c:v>7.8723024790440493E-2</c:v>
                </c:pt>
                <c:pt idx="4415">
                  <c:v>7.8740859639735997E-2</c:v>
                </c:pt>
                <c:pt idx="4416">
                  <c:v>7.87586944890315E-2</c:v>
                </c:pt>
                <c:pt idx="4417">
                  <c:v>7.8776529338327003E-2</c:v>
                </c:pt>
                <c:pt idx="4418">
                  <c:v>7.8794364187622604E-2</c:v>
                </c:pt>
                <c:pt idx="4419">
                  <c:v>7.8812199036918107E-2</c:v>
                </c:pt>
                <c:pt idx="4420">
                  <c:v>7.8830033886213596E-2</c:v>
                </c:pt>
                <c:pt idx="4421">
                  <c:v>7.88478687355091E-2</c:v>
                </c:pt>
                <c:pt idx="4422">
                  <c:v>7.88657035848047E-2</c:v>
                </c:pt>
                <c:pt idx="4423">
                  <c:v>7.8883538434100203E-2</c:v>
                </c:pt>
                <c:pt idx="4424">
                  <c:v>7.8901373283395707E-2</c:v>
                </c:pt>
                <c:pt idx="4425">
                  <c:v>7.8919208132691196E-2</c:v>
                </c:pt>
                <c:pt idx="4426">
                  <c:v>7.8937042981986796E-2</c:v>
                </c:pt>
                <c:pt idx="4427">
                  <c:v>7.89548778312823E-2</c:v>
                </c:pt>
                <c:pt idx="4428">
                  <c:v>7.8972712680577803E-2</c:v>
                </c:pt>
                <c:pt idx="4429">
                  <c:v>7.8990547529873306E-2</c:v>
                </c:pt>
                <c:pt idx="4430">
                  <c:v>7.9008382379168796E-2</c:v>
                </c:pt>
                <c:pt idx="4431">
                  <c:v>7.9026217228464396E-2</c:v>
                </c:pt>
                <c:pt idx="4432">
                  <c:v>7.9044052077759899E-2</c:v>
                </c:pt>
                <c:pt idx="4433">
                  <c:v>7.9061886927055403E-2</c:v>
                </c:pt>
                <c:pt idx="4434">
                  <c:v>7.9079721776350906E-2</c:v>
                </c:pt>
                <c:pt idx="4435">
                  <c:v>7.9097556625646506E-2</c:v>
                </c:pt>
                <c:pt idx="4436">
                  <c:v>7.9115391474941996E-2</c:v>
                </c:pt>
                <c:pt idx="4437">
                  <c:v>7.9133226324237499E-2</c:v>
                </c:pt>
                <c:pt idx="4438">
                  <c:v>7.9151061173533002E-2</c:v>
                </c:pt>
                <c:pt idx="4439">
                  <c:v>7.9168896022828603E-2</c:v>
                </c:pt>
                <c:pt idx="4440">
                  <c:v>7.9186730872124106E-2</c:v>
                </c:pt>
                <c:pt idx="4441">
                  <c:v>7.9204565721419595E-2</c:v>
                </c:pt>
                <c:pt idx="4442">
                  <c:v>7.9222400570715099E-2</c:v>
                </c:pt>
                <c:pt idx="4443">
                  <c:v>7.9240235420010699E-2</c:v>
                </c:pt>
                <c:pt idx="4444">
                  <c:v>7.9258070269306202E-2</c:v>
                </c:pt>
                <c:pt idx="4445">
                  <c:v>7.9275905118601706E-2</c:v>
                </c:pt>
                <c:pt idx="4446">
                  <c:v>7.9293739967897195E-2</c:v>
                </c:pt>
                <c:pt idx="4447">
                  <c:v>7.9311574817192795E-2</c:v>
                </c:pt>
                <c:pt idx="4448">
                  <c:v>7.9329409666488299E-2</c:v>
                </c:pt>
                <c:pt idx="4449">
                  <c:v>7.9347244515783802E-2</c:v>
                </c:pt>
                <c:pt idx="4450">
                  <c:v>7.9365079365079305E-2</c:v>
                </c:pt>
                <c:pt idx="4451">
                  <c:v>7.9382914214374795E-2</c:v>
                </c:pt>
                <c:pt idx="4452">
                  <c:v>7.9400749063670395E-2</c:v>
                </c:pt>
                <c:pt idx="4453">
                  <c:v>7.9418583912965898E-2</c:v>
                </c:pt>
                <c:pt idx="4454">
                  <c:v>7.9436418762261402E-2</c:v>
                </c:pt>
                <c:pt idx="4455">
                  <c:v>7.9454253611556905E-2</c:v>
                </c:pt>
                <c:pt idx="4456">
                  <c:v>7.9472088460852505E-2</c:v>
                </c:pt>
                <c:pt idx="4457">
                  <c:v>7.9489923310147995E-2</c:v>
                </c:pt>
                <c:pt idx="4458">
                  <c:v>7.9507758159443498E-2</c:v>
                </c:pt>
                <c:pt idx="4459">
                  <c:v>7.9525593008739001E-2</c:v>
                </c:pt>
                <c:pt idx="4460">
                  <c:v>7.9543427858034602E-2</c:v>
                </c:pt>
                <c:pt idx="4461">
                  <c:v>7.9561262707330105E-2</c:v>
                </c:pt>
                <c:pt idx="4462">
                  <c:v>7.9579097556625594E-2</c:v>
                </c:pt>
                <c:pt idx="4463">
                  <c:v>7.9596932405921098E-2</c:v>
                </c:pt>
                <c:pt idx="4464">
                  <c:v>7.9614767255216698E-2</c:v>
                </c:pt>
                <c:pt idx="4465">
                  <c:v>7.9632602104512201E-2</c:v>
                </c:pt>
                <c:pt idx="4466">
                  <c:v>7.9650436953807704E-2</c:v>
                </c:pt>
                <c:pt idx="4467">
                  <c:v>7.9668271803103194E-2</c:v>
                </c:pt>
                <c:pt idx="4468">
                  <c:v>7.9686106652398697E-2</c:v>
                </c:pt>
                <c:pt idx="4469">
                  <c:v>7.9703941501694298E-2</c:v>
                </c:pt>
                <c:pt idx="4470">
                  <c:v>7.9721776350989801E-2</c:v>
                </c:pt>
                <c:pt idx="4471">
                  <c:v>7.9739611200285304E-2</c:v>
                </c:pt>
                <c:pt idx="4472">
                  <c:v>7.9757446049580794E-2</c:v>
                </c:pt>
                <c:pt idx="4473">
                  <c:v>7.9775280898876394E-2</c:v>
                </c:pt>
                <c:pt idx="4474">
                  <c:v>7.9793115748171897E-2</c:v>
                </c:pt>
                <c:pt idx="4475">
                  <c:v>7.9810950597467401E-2</c:v>
                </c:pt>
                <c:pt idx="4476">
                  <c:v>7.9828785446762904E-2</c:v>
                </c:pt>
                <c:pt idx="4477">
                  <c:v>7.9846620296058504E-2</c:v>
                </c:pt>
                <c:pt idx="4478">
                  <c:v>7.9864455145353994E-2</c:v>
                </c:pt>
                <c:pt idx="4479">
                  <c:v>7.9882289994649497E-2</c:v>
                </c:pt>
                <c:pt idx="4480">
                  <c:v>7.9900124843945E-2</c:v>
                </c:pt>
                <c:pt idx="4481">
                  <c:v>7.9917959693240503E-2</c:v>
                </c:pt>
                <c:pt idx="4482">
                  <c:v>7.9935794542536104E-2</c:v>
                </c:pt>
                <c:pt idx="4483">
                  <c:v>7.9953629391831593E-2</c:v>
                </c:pt>
                <c:pt idx="4484">
                  <c:v>7.9971464241127097E-2</c:v>
                </c:pt>
                <c:pt idx="4485">
                  <c:v>7.99892990904226E-2</c:v>
                </c:pt>
                <c:pt idx="4486">
                  <c:v>8.00071339397182E-2</c:v>
                </c:pt>
                <c:pt idx="4487">
                  <c:v>8.0024968789013703E-2</c:v>
                </c:pt>
                <c:pt idx="4488">
                  <c:v>8.0042803638309207E-2</c:v>
                </c:pt>
                <c:pt idx="4489">
                  <c:v>8.0060638487604696E-2</c:v>
                </c:pt>
                <c:pt idx="4490">
                  <c:v>8.0078473336900297E-2</c:v>
                </c:pt>
                <c:pt idx="4491">
                  <c:v>8.00963081861958E-2</c:v>
                </c:pt>
                <c:pt idx="4492">
                  <c:v>8.0114143035491303E-2</c:v>
                </c:pt>
                <c:pt idx="4493">
                  <c:v>8.0131977884786806E-2</c:v>
                </c:pt>
                <c:pt idx="4494">
                  <c:v>8.0149812734082296E-2</c:v>
                </c:pt>
                <c:pt idx="4495">
                  <c:v>8.0167647583377896E-2</c:v>
                </c:pt>
                <c:pt idx="4496">
                  <c:v>8.0185482432673399E-2</c:v>
                </c:pt>
                <c:pt idx="4497">
                  <c:v>8.0203317281968903E-2</c:v>
                </c:pt>
                <c:pt idx="4498">
                  <c:v>8.0221152131264406E-2</c:v>
                </c:pt>
                <c:pt idx="4499">
                  <c:v>8.0238986980560006E-2</c:v>
                </c:pt>
                <c:pt idx="4500">
                  <c:v>8.0256821829855496E-2</c:v>
                </c:pt>
                <c:pt idx="4501">
                  <c:v>8.0274656679150999E-2</c:v>
                </c:pt>
                <c:pt idx="4502">
                  <c:v>8.0292491528446502E-2</c:v>
                </c:pt>
                <c:pt idx="4503">
                  <c:v>8.0310326377742103E-2</c:v>
                </c:pt>
                <c:pt idx="4504">
                  <c:v>8.0328161227037606E-2</c:v>
                </c:pt>
                <c:pt idx="4505">
                  <c:v>8.0345996076333095E-2</c:v>
                </c:pt>
                <c:pt idx="4506">
                  <c:v>8.0363830925628599E-2</c:v>
                </c:pt>
                <c:pt idx="4507">
                  <c:v>8.0381665774924199E-2</c:v>
                </c:pt>
                <c:pt idx="4508">
                  <c:v>8.0399500624219702E-2</c:v>
                </c:pt>
                <c:pt idx="4509">
                  <c:v>8.0417335473515206E-2</c:v>
                </c:pt>
                <c:pt idx="4510">
                  <c:v>8.0435170322810695E-2</c:v>
                </c:pt>
                <c:pt idx="4511">
                  <c:v>8.0453005172106296E-2</c:v>
                </c:pt>
                <c:pt idx="4512">
                  <c:v>8.0470840021401799E-2</c:v>
                </c:pt>
                <c:pt idx="4513">
                  <c:v>8.0488674870697302E-2</c:v>
                </c:pt>
                <c:pt idx="4514">
                  <c:v>8.0506509719992805E-2</c:v>
                </c:pt>
                <c:pt idx="4515">
                  <c:v>8.0524344569288295E-2</c:v>
                </c:pt>
                <c:pt idx="4516">
                  <c:v>8.0542179418583895E-2</c:v>
                </c:pt>
                <c:pt idx="4517">
                  <c:v>8.0560014267879398E-2</c:v>
                </c:pt>
                <c:pt idx="4518">
                  <c:v>8.0577849117174902E-2</c:v>
                </c:pt>
                <c:pt idx="4519">
                  <c:v>8.0595683966470405E-2</c:v>
                </c:pt>
                <c:pt idx="4520">
                  <c:v>8.0613518815766005E-2</c:v>
                </c:pt>
                <c:pt idx="4521">
                  <c:v>8.0631353665061495E-2</c:v>
                </c:pt>
                <c:pt idx="4522">
                  <c:v>8.0649188514356998E-2</c:v>
                </c:pt>
                <c:pt idx="4523">
                  <c:v>8.0667023363652501E-2</c:v>
                </c:pt>
                <c:pt idx="4524">
                  <c:v>8.0684858212948102E-2</c:v>
                </c:pt>
                <c:pt idx="4525">
                  <c:v>8.0702693062243605E-2</c:v>
                </c:pt>
                <c:pt idx="4526">
                  <c:v>8.0720527911539094E-2</c:v>
                </c:pt>
                <c:pt idx="4527">
                  <c:v>8.0738362760834598E-2</c:v>
                </c:pt>
                <c:pt idx="4528">
                  <c:v>8.0756197610130198E-2</c:v>
                </c:pt>
                <c:pt idx="4529">
                  <c:v>8.0774032459425701E-2</c:v>
                </c:pt>
                <c:pt idx="4530">
                  <c:v>8.0791867308721205E-2</c:v>
                </c:pt>
                <c:pt idx="4531">
                  <c:v>8.0809702158016694E-2</c:v>
                </c:pt>
                <c:pt idx="4532">
                  <c:v>8.0827537007312295E-2</c:v>
                </c:pt>
                <c:pt idx="4533">
                  <c:v>8.0845371856607798E-2</c:v>
                </c:pt>
                <c:pt idx="4534">
                  <c:v>8.0863206705903301E-2</c:v>
                </c:pt>
                <c:pt idx="4535">
                  <c:v>8.0881041555198804E-2</c:v>
                </c:pt>
                <c:pt idx="4536">
                  <c:v>8.0898876404494294E-2</c:v>
                </c:pt>
                <c:pt idx="4537">
                  <c:v>8.0916711253789894E-2</c:v>
                </c:pt>
                <c:pt idx="4538">
                  <c:v>8.0934546103085397E-2</c:v>
                </c:pt>
                <c:pt idx="4539">
                  <c:v>8.0952380952380901E-2</c:v>
                </c:pt>
                <c:pt idx="4540">
                  <c:v>8.0970215801676404E-2</c:v>
                </c:pt>
                <c:pt idx="4541">
                  <c:v>8.0988050650972004E-2</c:v>
                </c:pt>
                <c:pt idx="4542">
                  <c:v>8.1005885500267494E-2</c:v>
                </c:pt>
                <c:pt idx="4543">
                  <c:v>8.1023720349562997E-2</c:v>
                </c:pt>
                <c:pt idx="4544">
                  <c:v>8.10415551988585E-2</c:v>
                </c:pt>
                <c:pt idx="4545">
                  <c:v>8.1059390048154004E-2</c:v>
                </c:pt>
                <c:pt idx="4546">
                  <c:v>8.1077224897449604E-2</c:v>
                </c:pt>
                <c:pt idx="4547">
                  <c:v>8.1095059746745093E-2</c:v>
                </c:pt>
                <c:pt idx="4548">
                  <c:v>8.1112894596040597E-2</c:v>
                </c:pt>
                <c:pt idx="4549">
                  <c:v>8.11307294453361E-2</c:v>
                </c:pt>
                <c:pt idx="4550">
                  <c:v>8.11485642946317E-2</c:v>
                </c:pt>
                <c:pt idx="4551">
                  <c:v>8.1166399143927204E-2</c:v>
                </c:pt>
                <c:pt idx="4552">
                  <c:v>8.1184233993222693E-2</c:v>
                </c:pt>
                <c:pt idx="4553">
                  <c:v>8.1202068842518196E-2</c:v>
                </c:pt>
                <c:pt idx="4554">
                  <c:v>8.1219903691813797E-2</c:v>
                </c:pt>
                <c:pt idx="4555">
                  <c:v>8.12377385411093E-2</c:v>
                </c:pt>
                <c:pt idx="4556">
                  <c:v>8.1255573390404803E-2</c:v>
                </c:pt>
                <c:pt idx="4557">
                  <c:v>8.1273408239700307E-2</c:v>
                </c:pt>
                <c:pt idx="4558">
                  <c:v>8.1291243088995893E-2</c:v>
                </c:pt>
                <c:pt idx="4559">
                  <c:v>8.1309077938291396E-2</c:v>
                </c:pt>
                <c:pt idx="4560">
                  <c:v>8.13269127875869E-2</c:v>
                </c:pt>
                <c:pt idx="4561">
                  <c:v>8.1344747636882403E-2</c:v>
                </c:pt>
                <c:pt idx="4562">
                  <c:v>8.1362582486177906E-2</c:v>
                </c:pt>
                <c:pt idx="4563">
                  <c:v>8.1380417335473507E-2</c:v>
                </c:pt>
                <c:pt idx="4564">
                  <c:v>8.1398252184768996E-2</c:v>
                </c:pt>
                <c:pt idx="4565">
                  <c:v>8.1416087034064499E-2</c:v>
                </c:pt>
                <c:pt idx="4566">
                  <c:v>8.1433921883360003E-2</c:v>
                </c:pt>
                <c:pt idx="4567">
                  <c:v>8.1451756732655603E-2</c:v>
                </c:pt>
                <c:pt idx="4568">
                  <c:v>8.1469591581951106E-2</c:v>
                </c:pt>
                <c:pt idx="4569">
                  <c:v>8.1487426431246596E-2</c:v>
                </c:pt>
                <c:pt idx="4570">
                  <c:v>8.1505261280542099E-2</c:v>
                </c:pt>
                <c:pt idx="4571">
                  <c:v>8.1523096129837699E-2</c:v>
                </c:pt>
                <c:pt idx="4572">
                  <c:v>8.1540930979133203E-2</c:v>
                </c:pt>
                <c:pt idx="4573">
                  <c:v>8.1558765828428706E-2</c:v>
                </c:pt>
                <c:pt idx="4574">
                  <c:v>8.1576600677724195E-2</c:v>
                </c:pt>
                <c:pt idx="4575">
                  <c:v>8.1594435527019796E-2</c:v>
                </c:pt>
                <c:pt idx="4576">
                  <c:v>8.1612270376315299E-2</c:v>
                </c:pt>
                <c:pt idx="4577">
                  <c:v>8.1630105225610802E-2</c:v>
                </c:pt>
                <c:pt idx="4578">
                  <c:v>8.1647940074906306E-2</c:v>
                </c:pt>
                <c:pt idx="4579">
                  <c:v>8.1665774924201795E-2</c:v>
                </c:pt>
                <c:pt idx="4580">
                  <c:v>8.1683609773497395E-2</c:v>
                </c:pt>
                <c:pt idx="4581">
                  <c:v>8.1701444622792899E-2</c:v>
                </c:pt>
                <c:pt idx="4582">
                  <c:v>8.1719279472088402E-2</c:v>
                </c:pt>
                <c:pt idx="4583">
                  <c:v>8.1737114321383905E-2</c:v>
                </c:pt>
                <c:pt idx="4584">
                  <c:v>8.1754949170679506E-2</c:v>
                </c:pt>
                <c:pt idx="4585">
                  <c:v>8.1772784019974995E-2</c:v>
                </c:pt>
                <c:pt idx="4586">
                  <c:v>8.1790618869270498E-2</c:v>
                </c:pt>
                <c:pt idx="4587">
                  <c:v>8.1808453718566002E-2</c:v>
                </c:pt>
                <c:pt idx="4588">
                  <c:v>8.1826288567861602E-2</c:v>
                </c:pt>
                <c:pt idx="4589">
                  <c:v>8.1844123417157105E-2</c:v>
                </c:pt>
                <c:pt idx="4590">
                  <c:v>8.1861958266452595E-2</c:v>
                </c:pt>
                <c:pt idx="4591">
                  <c:v>8.1879793115748098E-2</c:v>
                </c:pt>
                <c:pt idx="4592">
                  <c:v>8.1897627965043698E-2</c:v>
                </c:pt>
                <c:pt idx="4593">
                  <c:v>8.1915462814339202E-2</c:v>
                </c:pt>
                <c:pt idx="4594">
                  <c:v>8.1933297663634705E-2</c:v>
                </c:pt>
                <c:pt idx="4595">
                  <c:v>8.1951132512930194E-2</c:v>
                </c:pt>
                <c:pt idx="4596">
                  <c:v>8.1968967362225795E-2</c:v>
                </c:pt>
                <c:pt idx="4597">
                  <c:v>8.1986802211521298E-2</c:v>
                </c:pt>
                <c:pt idx="4598">
                  <c:v>8.2004637060816801E-2</c:v>
                </c:pt>
                <c:pt idx="4599">
                  <c:v>8.2022471910112305E-2</c:v>
                </c:pt>
                <c:pt idx="4600">
                  <c:v>8.2040306759407794E-2</c:v>
                </c:pt>
                <c:pt idx="4601">
                  <c:v>8.2058141608703394E-2</c:v>
                </c:pt>
                <c:pt idx="4602">
                  <c:v>8.2075976457998898E-2</c:v>
                </c:pt>
                <c:pt idx="4603">
                  <c:v>8.2093811307294401E-2</c:v>
                </c:pt>
                <c:pt idx="4604">
                  <c:v>8.2111646156589904E-2</c:v>
                </c:pt>
                <c:pt idx="4605">
                  <c:v>8.2129481005885505E-2</c:v>
                </c:pt>
                <c:pt idx="4606">
                  <c:v>8.2147315855180994E-2</c:v>
                </c:pt>
                <c:pt idx="4607">
                  <c:v>8.2165150704476497E-2</c:v>
                </c:pt>
                <c:pt idx="4608">
                  <c:v>8.2182985553772001E-2</c:v>
                </c:pt>
                <c:pt idx="4609">
                  <c:v>8.2200820403067601E-2</c:v>
                </c:pt>
                <c:pt idx="4610">
                  <c:v>8.2218655252363104E-2</c:v>
                </c:pt>
                <c:pt idx="4611">
                  <c:v>8.2236490101658594E-2</c:v>
                </c:pt>
                <c:pt idx="4612">
                  <c:v>8.2254324950954097E-2</c:v>
                </c:pt>
                <c:pt idx="4613">
                  <c:v>8.22721598002496E-2</c:v>
                </c:pt>
                <c:pt idx="4614">
                  <c:v>8.2289994649545201E-2</c:v>
                </c:pt>
                <c:pt idx="4615">
                  <c:v>8.2307829498840704E-2</c:v>
                </c:pt>
                <c:pt idx="4616">
                  <c:v>8.2325664348136193E-2</c:v>
                </c:pt>
                <c:pt idx="4617">
                  <c:v>8.2343499197431697E-2</c:v>
                </c:pt>
                <c:pt idx="4618">
                  <c:v>8.2361334046727297E-2</c:v>
                </c:pt>
                <c:pt idx="4619">
                  <c:v>8.23791688960228E-2</c:v>
                </c:pt>
                <c:pt idx="4620">
                  <c:v>8.2397003745318304E-2</c:v>
                </c:pt>
                <c:pt idx="4621">
                  <c:v>8.2414838594613807E-2</c:v>
                </c:pt>
                <c:pt idx="4622">
                  <c:v>8.2432673443909393E-2</c:v>
                </c:pt>
                <c:pt idx="4623">
                  <c:v>8.2450508293204897E-2</c:v>
                </c:pt>
                <c:pt idx="4624">
                  <c:v>8.24683431425004E-2</c:v>
                </c:pt>
                <c:pt idx="4625">
                  <c:v>8.2486177991795903E-2</c:v>
                </c:pt>
                <c:pt idx="4626">
                  <c:v>8.2504012841091406E-2</c:v>
                </c:pt>
                <c:pt idx="4627">
                  <c:v>8.2521847690387007E-2</c:v>
                </c:pt>
                <c:pt idx="4628">
                  <c:v>8.2539682539682496E-2</c:v>
                </c:pt>
                <c:pt idx="4629">
                  <c:v>8.2557517388978E-2</c:v>
                </c:pt>
                <c:pt idx="4630">
                  <c:v>8.2575352238273503E-2</c:v>
                </c:pt>
                <c:pt idx="4631">
                  <c:v>8.2593187087569103E-2</c:v>
                </c:pt>
                <c:pt idx="4632">
                  <c:v>8.2611021936864606E-2</c:v>
                </c:pt>
                <c:pt idx="4633">
                  <c:v>8.2628856786160096E-2</c:v>
                </c:pt>
                <c:pt idx="4634">
                  <c:v>8.2646691635455599E-2</c:v>
                </c:pt>
                <c:pt idx="4635">
                  <c:v>8.26645264847512E-2</c:v>
                </c:pt>
                <c:pt idx="4636">
                  <c:v>8.2682361334046703E-2</c:v>
                </c:pt>
                <c:pt idx="4637">
                  <c:v>8.2700196183342206E-2</c:v>
                </c:pt>
                <c:pt idx="4638">
                  <c:v>8.2718031032637696E-2</c:v>
                </c:pt>
                <c:pt idx="4639">
                  <c:v>8.2735865881933296E-2</c:v>
                </c:pt>
                <c:pt idx="4640">
                  <c:v>8.2753700731228799E-2</c:v>
                </c:pt>
                <c:pt idx="4641">
                  <c:v>8.2771535580524302E-2</c:v>
                </c:pt>
                <c:pt idx="4642">
                  <c:v>8.2789370429819806E-2</c:v>
                </c:pt>
                <c:pt idx="4643">
                  <c:v>8.2807205279115295E-2</c:v>
                </c:pt>
                <c:pt idx="4644">
                  <c:v>8.2825040128410896E-2</c:v>
                </c:pt>
                <c:pt idx="4645">
                  <c:v>8.2842874977706399E-2</c:v>
                </c:pt>
                <c:pt idx="4646">
                  <c:v>8.2860709827001902E-2</c:v>
                </c:pt>
                <c:pt idx="4647">
                  <c:v>8.2878544676297405E-2</c:v>
                </c:pt>
                <c:pt idx="4648">
                  <c:v>8.2896379525593006E-2</c:v>
                </c:pt>
                <c:pt idx="4649">
                  <c:v>8.2914214374888495E-2</c:v>
                </c:pt>
                <c:pt idx="4650">
                  <c:v>8.2932049224183998E-2</c:v>
                </c:pt>
                <c:pt idx="4651">
                  <c:v>8.2949884073479502E-2</c:v>
                </c:pt>
                <c:pt idx="4652">
                  <c:v>8.2967718922775102E-2</c:v>
                </c:pt>
                <c:pt idx="4653">
                  <c:v>8.2985553772070605E-2</c:v>
                </c:pt>
                <c:pt idx="4654">
                  <c:v>8.3003388621366095E-2</c:v>
                </c:pt>
                <c:pt idx="4655">
                  <c:v>8.3021223470661598E-2</c:v>
                </c:pt>
                <c:pt idx="4656">
                  <c:v>8.3039058319957199E-2</c:v>
                </c:pt>
                <c:pt idx="4657">
                  <c:v>8.3056893169252702E-2</c:v>
                </c:pt>
                <c:pt idx="4658">
                  <c:v>8.3074728018548205E-2</c:v>
                </c:pt>
                <c:pt idx="4659">
                  <c:v>8.3092562867843694E-2</c:v>
                </c:pt>
                <c:pt idx="4660">
                  <c:v>8.3110397717139295E-2</c:v>
                </c:pt>
                <c:pt idx="4661">
                  <c:v>8.3128232566434798E-2</c:v>
                </c:pt>
                <c:pt idx="4662">
                  <c:v>8.3146067415730301E-2</c:v>
                </c:pt>
                <c:pt idx="4663">
                  <c:v>8.3163902265025805E-2</c:v>
                </c:pt>
                <c:pt idx="4664">
                  <c:v>8.3181737114321294E-2</c:v>
                </c:pt>
                <c:pt idx="4665">
                  <c:v>8.3199571963616895E-2</c:v>
                </c:pt>
                <c:pt idx="4666">
                  <c:v>8.3217406812912398E-2</c:v>
                </c:pt>
                <c:pt idx="4667">
                  <c:v>8.3235241662207901E-2</c:v>
                </c:pt>
                <c:pt idx="4668">
                  <c:v>8.3253076511503404E-2</c:v>
                </c:pt>
                <c:pt idx="4669">
                  <c:v>8.3270911360799005E-2</c:v>
                </c:pt>
                <c:pt idx="4670">
                  <c:v>8.3288746210094494E-2</c:v>
                </c:pt>
                <c:pt idx="4671">
                  <c:v>8.3306581059389997E-2</c:v>
                </c:pt>
                <c:pt idx="4672">
                  <c:v>8.3324415908685501E-2</c:v>
                </c:pt>
                <c:pt idx="4673">
                  <c:v>8.3342250757981101E-2</c:v>
                </c:pt>
                <c:pt idx="4674">
                  <c:v>8.3360085607276604E-2</c:v>
                </c:pt>
                <c:pt idx="4675">
                  <c:v>8.3377920456572094E-2</c:v>
                </c:pt>
                <c:pt idx="4676">
                  <c:v>8.3395755305867597E-2</c:v>
                </c:pt>
                <c:pt idx="4677">
                  <c:v>8.34135901551631E-2</c:v>
                </c:pt>
                <c:pt idx="4678">
                  <c:v>8.3431425004458701E-2</c:v>
                </c:pt>
                <c:pt idx="4679">
                  <c:v>8.3449259853754204E-2</c:v>
                </c:pt>
                <c:pt idx="4680">
                  <c:v>8.3467094703049693E-2</c:v>
                </c:pt>
                <c:pt idx="4681">
                  <c:v>8.3484929552345197E-2</c:v>
                </c:pt>
                <c:pt idx="4682">
                  <c:v>8.3502764401640797E-2</c:v>
                </c:pt>
                <c:pt idx="4683">
                  <c:v>8.35205992509363E-2</c:v>
                </c:pt>
                <c:pt idx="4684">
                  <c:v>8.3538434100231804E-2</c:v>
                </c:pt>
                <c:pt idx="4685">
                  <c:v>8.3556268949527293E-2</c:v>
                </c:pt>
                <c:pt idx="4686">
                  <c:v>8.3574103798822894E-2</c:v>
                </c:pt>
                <c:pt idx="4687">
                  <c:v>8.3591938648118397E-2</c:v>
                </c:pt>
                <c:pt idx="4688">
                  <c:v>8.36097734974139E-2</c:v>
                </c:pt>
                <c:pt idx="4689">
                  <c:v>8.3627608346709403E-2</c:v>
                </c:pt>
                <c:pt idx="4690">
                  <c:v>8.3645443196004907E-2</c:v>
                </c:pt>
                <c:pt idx="4691">
                  <c:v>8.3663278045300493E-2</c:v>
                </c:pt>
                <c:pt idx="4692">
                  <c:v>8.3681112894595996E-2</c:v>
                </c:pt>
                <c:pt idx="4693">
                  <c:v>8.36989477438915E-2</c:v>
                </c:pt>
                <c:pt idx="4694">
                  <c:v>8.3716782593187003E-2</c:v>
                </c:pt>
                <c:pt idx="4695">
                  <c:v>8.3734617442482603E-2</c:v>
                </c:pt>
                <c:pt idx="4696">
                  <c:v>8.3752452291778107E-2</c:v>
                </c:pt>
                <c:pt idx="4697">
                  <c:v>8.3770287141073596E-2</c:v>
                </c:pt>
                <c:pt idx="4698">
                  <c:v>8.3788121990369099E-2</c:v>
                </c:pt>
                <c:pt idx="4699">
                  <c:v>8.38059568396647E-2</c:v>
                </c:pt>
                <c:pt idx="4700">
                  <c:v>8.3823791688960203E-2</c:v>
                </c:pt>
                <c:pt idx="4701">
                  <c:v>8.3841626538255706E-2</c:v>
                </c:pt>
                <c:pt idx="4702">
                  <c:v>8.3859461387551196E-2</c:v>
                </c:pt>
                <c:pt idx="4703">
                  <c:v>8.3877296236846796E-2</c:v>
                </c:pt>
                <c:pt idx="4704">
                  <c:v>8.3895131086142299E-2</c:v>
                </c:pt>
                <c:pt idx="4705">
                  <c:v>8.3912965935437803E-2</c:v>
                </c:pt>
                <c:pt idx="4706">
                  <c:v>8.3930800784733306E-2</c:v>
                </c:pt>
                <c:pt idx="4707">
                  <c:v>8.3948635634028795E-2</c:v>
                </c:pt>
                <c:pt idx="4708">
                  <c:v>8.3966470483324396E-2</c:v>
                </c:pt>
                <c:pt idx="4709">
                  <c:v>8.3984305332619899E-2</c:v>
                </c:pt>
                <c:pt idx="4710">
                  <c:v>8.4002140181915402E-2</c:v>
                </c:pt>
                <c:pt idx="4711">
                  <c:v>8.4019975031210906E-2</c:v>
                </c:pt>
                <c:pt idx="4712">
                  <c:v>8.4037809880506506E-2</c:v>
                </c:pt>
                <c:pt idx="4713">
                  <c:v>8.4055644729801995E-2</c:v>
                </c:pt>
                <c:pt idx="4714">
                  <c:v>8.4073479579097499E-2</c:v>
                </c:pt>
                <c:pt idx="4715">
                  <c:v>8.4091314428393002E-2</c:v>
                </c:pt>
                <c:pt idx="4716">
                  <c:v>8.4109149277688602E-2</c:v>
                </c:pt>
                <c:pt idx="4717">
                  <c:v>8.4126984126984106E-2</c:v>
                </c:pt>
                <c:pt idx="4718">
                  <c:v>8.4144818976279595E-2</c:v>
                </c:pt>
                <c:pt idx="4719">
                  <c:v>8.4162653825575098E-2</c:v>
                </c:pt>
                <c:pt idx="4720">
                  <c:v>8.4180488674870699E-2</c:v>
                </c:pt>
                <c:pt idx="4721">
                  <c:v>8.4198323524166202E-2</c:v>
                </c:pt>
                <c:pt idx="4722">
                  <c:v>8.4216158373461705E-2</c:v>
                </c:pt>
                <c:pt idx="4723">
                  <c:v>8.4233993222757195E-2</c:v>
                </c:pt>
                <c:pt idx="4724">
                  <c:v>8.4251828072052795E-2</c:v>
                </c:pt>
                <c:pt idx="4725">
                  <c:v>8.4269662921348298E-2</c:v>
                </c:pt>
                <c:pt idx="4726">
                  <c:v>8.4287497770643802E-2</c:v>
                </c:pt>
                <c:pt idx="4727">
                  <c:v>8.4305332619939305E-2</c:v>
                </c:pt>
                <c:pt idx="4728">
                  <c:v>8.4323167469234794E-2</c:v>
                </c:pt>
                <c:pt idx="4729">
                  <c:v>8.4341002318530395E-2</c:v>
                </c:pt>
                <c:pt idx="4730">
                  <c:v>8.4358837167825898E-2</c:v>
                </c:pt>
                <c:pt idx="4731">
                  <c:v>8.4376672017121401E-2</c:v>
                </c:pt>
                <c:pt idx="4732">
                  <c:v>8.4394506866416905E-2</c:v>
                </c:pt>
                <c:pt idx="4733">
                  <c:v>8.4412341715712505E-2</c:v>
                </c:pt>
                <c:pt idx="4734">
                  <c:v>8.4430176565007994E-2</c:v>
                </c:pt>
                <c:pt idx="4735">
                  <c:v>8.4448011414303498E-2</c:v>
                </c:pt>
                <c:pt idx="4736">
                  <c:v>8.4465846263599001E-2</c:v>
                </c:pt>
                <c:pt idx="4737">
                  <c:v>8.4483681112894601E-2</c:v>
                </c:pt>
                <c:pt idx="4738">
                  <c:v>8.4501515962190105E-2</c:v>
                </c:pt>
                <c:pt idx="4739">
                  <c:v>8.4519350811485594E-2</c:v>
                </c:pt>
                <c:pt idx="4740">
                  <c:v>8.4537185660781097E-2</c:v>
                </c:pt>
                <c:pt idx="4741">
                  <c:v>8.4555020510076601E-2</c:v>
                </c:pt>
                <c:pt idx="4742">
                  <c:v>8.4572855359372201E-2</c:v>
                </c:pt>
                <c:pt idx="4743">
                  <c:v>8.4590690208667704E-2</c:v>
                </c:pt>
                <c:pt idx="4744">
                  <c:v>8.4608525057963194E-2</c:v>
                </c:pt>
                <c:pt idx="4745">
                  <c:v>8.4626359907258697E-2</c:v>
                </c:pt>
                <c:pt idx="4746">
                  <c:v>8.4644194756554297E-2</c:v>
                </c:pt>
                <c:pt idx="4747">
                  <c:v>8.4662029605849801E-2</c:v>
                </c:pt>
                <c:pt idx="4748">
                  <c:v>8.4679864455145304E-2</c:v>
                </c:pt>
                <c:pt idx="4749">
                  <c:v>8.4697699304440793E-2</c:v>
                </c:pt>
                <c:pt idx="4750">
                  <c:v>8.4715534153736394E-2</c:v>
                </c:pt>
                <c:pt idx="4751">
                  <c:v>8.4733369003031897E-2</c:v>
                </c:pt>
                <c:pt idx="4752">
                  <c:v>8.47512038523274E-2</c:v>
                </c:pt>
                <c:pt idx="4753">
                  <c:v>8.4769038701622904E-2</c:v>
                </c:pt>
                <c:pt idx="4754">
                  <c:v>8.4786873550918407E-2</c:v>
                </c:pt>
                <c:pt idx="4755">
                  <c:v>8.4804708400213993E-2</c:v>
                </c:pt>
                <c:pt idx="4756">
                  <c:v>8.4822543249509497E-2</c:v>
                </c:pt>
                <c:pt idx="4757">
                  <c:v>8.4840378098805E-2</c:v>
                </c:pt>
                <c:pt idx="4758">
                  <c:v>8.4858212948100503E-2</c:v>
                </c:pt>
                <c:pt idx="4759">
                  <c:v>8.4876047797396104E-2</c:v>
                </c:pt>
                <c:pt idx="4760">
                  <c:v>8.4893882646691607E-2</c:v>
                </c:pt>
                <c:pt idx="4761">
                  <c:v>8.4911717495987096E-2</c:v>
                </c:pt>
                <c:pt idx="4762">
                  <c:v>8.49295523452826E-2</c:v>
                </c:pt>
                <c:pt idx="4763">
                  <c:v>8.49473871945782E-2</c:v>
                </c:pt>
                <c:pt idx="4764">
                  <c:v>8.4965222043873703E-2</c:v>
                </c:pt>
                <c:pt idx="4765">
                  <c:v>8.4983056893169207E-2</c:v>
                </c:pt>
                <c:pt idx="4766">
                  <c:v>8.5000891742464696E-2</c:v>
                </c:pt>
                <c:pt idx="4767">
                  <c:v>8.5018726591760296E-2</c:v>
                </c:pt>
                <c:pt idx="4768">
                  <c:v>8.50365614410558E-2</c:v>
                </c:pt>
                <c:pt idx="4769">
                  <c:v>8.5054396290351303E-2</c:v>
                </c:pt>
                <c:pt idx="4770">
                  <c:v>8.5072231139646806E-2</c:v>
                </c:pt>
                <c:pt idx="4771">
                  <c:v>8.5090065988942296E-2</c:v>
                </c:pt>
                <c:pt idx="4772">
                  <c:v>8.5107900838237896E-2</c:v>
                </c:pt>
                <c:pt idx="4773">
                  <c:v>8.5125735687533399E-2</c:v>
                </c:pt>
                <c:pt idx="4774">
                  <c:v>8.5143570536828903E-2</c:v>
                </c:pt>
                <c:pt idx="4775">
                  <c:v>8.5161405386124406E-2</c:v>
                </c:pt>
                <c:pt idx="4776">
                  <c:v>8.5179240235420006E-2</c:v>
                </c:pt>
                <c:pt idx="4777">
                  <c:v>8.5197075084715496E-2</c:v>
                </c:pt>
                <c:pt idx="4778">
                  <c:v>8.5214909934010999E-2</c:v>
                </c:pt>
                <c:pt idx="4779">
                  <c:v>8.5232744783306502E-2</c:v>
                </c:pt>
                <c:pt idx="4780">
                  <c:v>8.5250579632602103E-2</c:v>
                </c:pt>
                <c:pt idx="4781">
                  <c:v>8.5268414481897606E-2</c:v>
                </c:pt>
                <c:pt idx="4782">
                  <c:v>8.5286249331193095E-2</c:v>
                </c:pt>
                <c:pt idx="4783">
                  <c:v>8.5304084180488599E-2</c:v>
                </c:pt>
                <c:pt idx="4784">
                  <c:v>8.5321919029784199E-2</c:v>
                </c:pt>
                <c:pt idx="4785">
                  <c:v>8.5339753879079702E-2</c:v>
                </c:pt>
                <c:pt idx="4786">
                  <c:v>8.5357588728375206E-2</c:v>
                </c:pt>
                <c:pt idx="4787">
                  <c:v>8.5375423577670695E-2</c:v>
                </c:pt>
                <c:pt idx="4788">
                  <c:v>8.5393258426966295E-2</c:v>
                </c:pt>
                <c:pt idx="4789">
                  <c:v>8.5411093276261799E-2</c:v>
                </c:pt>
                <c:pt idx="4790">
                  <c:v>8.5428928125557302E-2</c:v>
                </c:pt>
                <c:pt idx="4791">
                  <c:v>8.5446762974852805E-2</c:v>
                </c:pt>
                <c:pt idx="4792">
                  <c:v>8.5464597824148295E-2</c:v>
                </c:pt>
                <c:pt idx="4793">
                  <c:v>8.5482432673443895E-2</c:v>
                </c:pt>
                <c:pt idx="4794">
                  <c:v>8.5500267522739398E-2</c:v>
                </c:pt>
                <c:pt idx="4795">
                  <c:v>8.5518102372034902E-2</c:v>
                </c:pt>
                <c:pt idx="4796">
                  <c:v>8.5535937221330405E-2</c:v>
                </c:pt>
                <c:pt idx="4797">
                  <c:v>8.5553772070626005E-2</c:v>
                </c:pt>
                <c:pt idx="4798">
                  <c:v>8.5571606919921495E-2</c:v>
                </c:pt>
                <c:pt idx="4799">
                  <c:v>8.5589441769216998E-2</c:v>
                </c:pt>
                <c:pt idx="4800">
                  <c:v>8.5607276618512501E-2</c:v>
                </c:pt>
                <c:pt idx="4801">
                  <c:v>8.5625111467808102E-2</c:v>
                </c:pt>
                <c:pt idx="4802">
                  <c:v>8.5642946317103605E-2</c:v>
                </c:pt>
                <c:pt idx="4803">
                  <c:v>8.5660781166399094E-2</c:v>
                </c:pt>
                <c:pt idx="4804">
                  <c:v>8.5678616015694598E-2</c:v>
                </c:pt>
                <c:pt idx="4805">
                  <c:v>8.5696450864990101E-2</c:v>
                </c:pt>
                <c:pt idx="4806">
                  <c:v>8.5714285714285701E-2</c:v>
                </c:pt>
                <c:pt idx="4807">
                  <c:v>8.5732120563581204E-2</c:v>
                </c:pt>
                <c:pt idx="4808">
                  <c:v>8.5749955412876694E-2</c:v>
                </c:pt>
                <c:pt idx="4809">
                  <c:v>8.5767790262172197E-2</c:v>
                </c:pt>
                <c:pt idx="4810">
                  <c:v>8.5785625111467798E-2</c:v>
                </c:pt>
                <c:pt idx="4811">
                  <c:v>8.5803459960763301E-2</c:v>
                </c:pt>
                <c:pt idx="4812">
                  <c:v>8.5821294810058804E-2</c:v>
                </c:pt>
                <c:pt idx="4813">
                  <c:v>8.5839129659354294E-2</c:v>
                </c:pt>
                <c:pt idx="4814">
                  <c:v>8.5856964508649894E-2</c:v>
                </c:pt>
                <c:pt idx="4815">
                  <c:v>8.5874799357945397E-2</c:v>
                </c:pt>
                <c:pt idx="4816">
                  <c:v>8.58926342072409E-2</c:v>
                </c:pt>
                <c:pt idx="4817">
                  <c:v>8.5910469056536404E-2</c:v>
                </c:pt>
                <c:pt idx="4818">
                  <c:v>8.5928303905831893E-2</c:v>
                </c:pt>
                <c:pt idx="4819">
                  <c:v>8.5946138755127494E-2</c:v>
                </c:pt>
                <c:pt idx="4820">
                  <c:v>8.5963973604422997E-2</c:v>
                </c:pt>
                <c:pt idx="4821">
                  <c:v>8.59818084537185E-2</c:v>
                </c:pt>
                <c:pt idx="4822">
                  <c:v>8.5999643303014003E-2</c:v>
                </c:pt>
                <c:pt idx="4823">
                  <c:v>8.6017478152309604E-2</c:v>
                </c:pt>
                <c:pt idx="4824">
                  <c:v>8.6035313001605093E-2</c:v>
                </c:pt>
                <c:pt idx="4825">
                  <c:v>8.6053147850900596E-2</c:v>
                </c:pt>
                <c:pt idx="4826">
                  <c:v>8.60709827001961E-2</c:v>
                </c:pt>
                <c:pt idx="4827">
                  <c:v>8.60888175494917E-2</c:v>
                </c:pt>
                <c:pt idx="4828">
                  <c:v>8.6106652398787203E-2</c:v>
                </c:pt>
                <c:pt idx="4829">
                  <c:v>8.6124487248082707E-2</c:v>
                </c:pt>
                <c:pt idx="4830">
                  <c:v>8.6142322097378196E-2</c:v>
                </c:pt>
                <c:pt idx="4831">
                  <c:v>8.6160156946673797E-2</c:v>
                </c:pt>
                <c:pt idx="4832">
                  <c:v>8.61779917959693E-2</c:v>
                </c:pt>
                <c:pt idx="4833">
                  <c:v>8.6195826645264803E-2</c:v>
                </c:pt>
                <c:pt idx="4834">
                  <c:v>8.6213661494560306E-2</c:v>
                </c:pt>
                <c:pt idx="4835">
                  <c:v>8.6231496343855796E-2</c:v>
                </c:pt>
                <c:pt idx="4836">
                  <c:v>8.6249331193151396E-2</c:v>
                </c:pt>
                <c:pt idx="4837">
                  <c:v>8.6267166042446899E-2</c:v>
                </c:pt>
                <c:pt idx="4838">
                  <c:v>8.6285000891742403E-2</c:v>
                </c:pt>
                <c:pt idx="4839">
                  <c:v>8.6302835741037906E-2</c:v>
                </c:pt>
                <c:pt idx="4840">
                  <c:v>8.6320670590333506E-2</c:v>
                </c:pt>
                <c:pt idx="4841">
                  <c:v>8.6338505439628996E-2</c:v>
                </c:pt>
                <c:pt idx="4842">
                  <c:v>8.6356340288924499E-2</c:v>
                </c:pt>
                <c:pt idx="4843">
                  <c:v>8.6374175138220002E-2</c:v>
                </c:pt>
                <c:pt idx="4844">
                  <c:v>8.6392009987515603E-2</c:v>
                </c:pt>
                <c:pt idx="4845">
                  <c:v>8.6409844836811106E-2</c:v>
                </c:pt>
                <c:pt idx="4846">
                  <c:v>8.6427679686106595E-2</c:v>
                </c:pt>
                <c:pt idx="4847">
                  <c:v>8.6445514535402099E-2</c:v>
                </c:pt>
                <c:pt idx="4848">
                  <c:v>8.6463349384697699E-2</c:v>
                </c:pt>
                <c:pt idx="4849">
                  <c:v>8.6481184233993202E-2</c:v>
                </c:pt>
                <c:pt idx="4850">
                  <c:v>8.6499019083288706E-2</c:v>
                </c:pt>
                <c:pt idx="4851">
                  <c:v>8.6516853932584195E-2</c:v>
                </c:pt>
                <c:pt idx="4852">
                  <c:v>8.6534688781879796E-2</c:v>
                </c:pt>
                <c:pt idx="4853">
                  <c:v>8.6552523631175299E-2</c:v>
                </c:pt>
                <c:pt idx="4854">
                  <c:v>8.6570358480470802E-2</c:v>
                </c:pt>
                <c:pt idx="4855">
                  <c:v>8.6588193329766305E-2</c:v>
                </c:pt>
                <c:pt idx="4856">
                  <c:v>8.6606028179061795E-2</c:v>
                </c:pt>
                <c:pt idx="4857">
                  <c:v>8.6623863028357395E-2</c:v>
                </c:pt>
                <c:pt idx="4858">
                  <c:v>8.6641697877652898E-2</c:v>
                </c:pt>
                <c:pt idx="4859">
                  <c:v>8.6659532726948402E-2</c:v>
                </c:pt>
                <c:pt idx="4860">
                  <c:v>8.6677367576243905E-2</c:v>
                </c:pt>
                <c:pt idx="4861">
                  <c:v>8.6695202425539505E-2</c:v>
                </c:pt>
                <c:pt idx="4862">
                  <c:v>8.6713037274834995E-2</c:v>
                </c:pt>
                <c:pt idx="4863">
                  <c:v>8.6730872124130498E-2</c:v>
                </c:pt>
                <c:pt idx="4864">
                  <c:v>8.6748706973426001E-2</c:v>
                </c:pt>
                <c:pt idx="4865">
                  <c:v>8.6766541822721602E-2</c:v>
                </c:pt>
                <c:pt idx="4866">
                  <c:v>8.6784376672017105E-2</c:v>
                </c:pt>
                <c:pt idx="4867">
                  <c:v>8.6802211521312594E-2</c:v>
                </c:pt>
                <c:pt idx="4868">
                  <c:v>8.6820046370608098E-2</c:v>
                </c:pt>
                <c:pt idx="4869">
                  <c:v>8.6837881219903698E-2</c:v>
                </c:pt>
                <c:pt idx="4870">
                  <c:v>8.6855716069199201E-2</c:v>
                </c:pt>
                <c:pt idx="4871">
                  <c:v>8.6873550918494705E-2</c:v>
                </c:pt>
                <c:pt idx="4872">
                  <c:v>8.6891385767790194E-2</c:v>
                </c:pt>
                <c:pt idx="4873">
                  <c:v>8.6909220617085697E-2</c:v>
                </c:pt>
                <c:pt idx="4874">
                  <c:v>8.6927055466381298E-2</c:v>
                </c:pt>
                <c:pt idx="4875">
                  <c:v>8.6944890315676801E-2</c:v>
                </c:pt>
                <c:pt idx="4876">
                  <c:v>8.6962725164972304E-2</c:v>
                </c:pt>
                <c:pt idx="4877">
                  <c:v>8.6980560014267794E-2</c:v>
                </c:pt>
                <c:pt idx="4878">
                  <c:v>8.6998394863563394E-2</c:v>
                </c:pt>
                <c:pt idx="4879">
                  <c:v>8.7016229712858897E-2</c:v>
                </c:pt>
                <c:pt idx="4880">
                  <c:v>8.7034064562154401E-2</c:v>
                </c:pt>
                <c:pt idx="4881">
                  <c:v>8.7051899411449904E-2</c:v>
                </c:pt>
                <c:pt idx="4882">
                  <c:v>8.7069734260745393E-2</c:v>
                </c:pt>
                <c:pt idx="4883">
                  <c:v>8.7087569110040994E-2</c:v>
                </c:pt>
                <c:pt idx="4884">
                  <c:v>8.7105403959336497E-2</c:v>
                </c:pt>
                <c:pt idx="4885">
                  <c:v>8.7123238808632E-2</c:v>
                </c:pt>
                <c:pt idx="4886">
                  <c:v>8.7141073657927504E-2</c:v>
                </c:pt>
                <c:pt idx="4887">
                  <c:v>8.7158908507223104E-2</c:v>
                </c:pt>
                <c:pt idx="4888">
                  <c:v>8.7176743356518593E-2</c:v>
                </c:pt>
                <c:pt idx="4889">
                  <c:v>8.7194578205814097E-2</c:v>
                </c:pt>
                <c:pt idx="4890">
                  <c:v>8.72124130551096E-2</c:v>
                </c:pt>
                <c:pt idx="4891">
                  <c:v>8.72302479044052E-2</c:v>
                </c:pt>
                <c:pt idx="4892">
                  <c:v>8.7248082753700704E-2</c:v>
                </c:pt>
                <c:pt idx="4893">
                  <c:v>8.7265917602996207E-2</c:v>
                </c:pt>
                <c:pt idx="4894">
                  <c:v>8.7283752452291696E-2</c:v>
                </c:pt>
                <c:pt idx="4895">
                  <c:v>8.7301587301587297E-2</c:v>
                </c:pt>
                <c:pt idx="4896">
                  <c:v>8.73194221508828E-2</c:v>
                </c:pt>
                <c:pt idx="4897">
                  <c:v>8.7337257000178303E-2</c:v>
                </c:pt>
                <c:pt idx="4898">
                  <c:v>8.7355091849473807E-2</c:v>
                </c:pt>
                <c:pt idx="4899">
                  <c:v>8.7372926698769393E-2</c:v>
                </c:pt>
                <c:pt idx="4900">
                  <c:v>8.7390761548064896E-2</c:v>
                </c:pt>
                <c:pt idx="4901">
                  <c:v>8.74085963973604E-2</c:v>
                </c:pt>
                <c:pt idx="4902">
                  <c:v>8.7426431246655903E-2</c:v>
                </c:pt>
                <c:pt idx="4903">
                  <c:v>8.7444266095951406E-2</c:v>
                </c:pt>
                <c:pt idx="4904">
                  <c:v>8.7462100945247007E-2</c:v>
                </c:pt>
                <c:pt idx="4905">
                  <c:v>8.7479935794542496E-2</c:v>
                </c:pt>
                <c:pt idx="4906">
                  <c:v>8.7497770643837999E-2</c:v>
                </c:pt>
                <c:pt idx="4907">
                  <c:v>8.7515605493133503E-2</c:v>
                </c:pt>
                <c:pt idx="4908">
                  <c:v>8.7533440342429103E-2</c:v>
                </c:pt>
                <c:pt idx="4909">
                  <c:v>8.7551275191724606E-2</c:v>
                </c:pt>
                <c:pt idx="4910">
                  <c:v>8.7569110041020096E-2</c:v>
                </c:pt>
                <c:pt idx="4911">
                  <c:v>8.7586944890315599E-2</c:v>
                </c:pt>
                <c:pt idx="4912">
                  <c:v>8.7604779739611199E-2</c:v>
                </c:pt>
                <c:pt idx="4913">
                  <c:v>8.7622614588906703E-2</c:v>
                </c:pt>
                <c:pt idx="4914">
                  <c:v>8.7640449438202206E-2</c:v>
                </c:pt>
                <c:pt idx="4915">
                  <c:v>8.7658284287497695E-2</c:v>
                </c:pt>
                <c:pt idx="4916">
                  <c:v>8.7676119136793296E-2</c:v>
                </c:pt>
                <c:pt idx="4917">
                  <c:v>8.7693953986088799E-2</c:v>
                </c:pt>
                <c:pt idx="4918">
                  <c:v>8.7711788835384302E-2</c:v>
                </c:pt>
                <c:pt idx="4919">
                  <c:v>8.7729623684679806E-2</c:v>
                </c:pt>
                <c:pt idx="4920">
                  <c:v>8.7747458533975295E-2</c:v>
                </c:pt>
                <c:pt idx="4921">
                  <c:v>8.7765293383270895E-2</c:v>
                </c:pt>
                <c:pt idx="4922">
                  <c:v>8.7783128232566399E-2</c:v>
                </c:pt>
                <c:pt idx="4923">
                  <c:v>8.7800963081861902E-2</c:v>
                </c:pt>
                <c:pt idx="4924">
                  <c:v>8.7818797931157405E-2</c:v>
                </c:pt>
                <c:pt idx="4925">
                  <c:v>8.7836632780453006E-2</c:v>
                </c:pt>
                <c:pt idx="4926">
                  <c:v>8.7854467629748495E-2</c:v>
                </c:pt>
                <c:pt idx="4927">
                  <c:v>8.7872302479043998E-2</c:v>
                </c:pt>
                <c:pt idx="4928">
                  <c:v>8.7890137328339502E-2</c:v>
                </c:pt>
                <c:pt idx="4929">
                  <c:v>8.7907972177635102E-2</c:v>
                </c:pt>
                <c:pt idx="4930">
                  <c:v>8.7925807026930605E-2</c:v>
                </c:pt>
                <c:pt idx="4931">
                  <c:v>8.7943641876226095E-2</c:v>
                </c:pt>
                <c:pt idx="4932">
                  <c:v>8.7961476725521598E-2</c:v>
                </c:pt>
                <c:pt idx="4933">
                  <c:v>8.7979311574817198E-2</c:v>
                </c:pt>
                <c:pt idx="4934">
                  <c:v>8.7997146424112702E-2</c:v>
                </c:pt>
                <c:pt idx="4935">
                  <c:v>8.8014981273408205E-2</c:v>
                </c:pt>
                <c:pt idx="4936">
                  <c:v>8.8032816122703694E-2</c:v>
                </c:pt>
                <c:pt idx="4937">
                  <c:v>8.8050650971999198E-2</c:v>
                </c:pt>
                <c:pt idx="4938">
                  <c:v>8.8068485821294798E-2</c:v>
                </c:pt>
                <c:pt idx="4939">
                  <c:v>8.8086320670590301E-2</c:v>
                </c:pt>
                <c:pt idx="4940">
                  <c:v>8.8104155519885805E-2</c:v>
                </c:pt>
                <c:pt idx="4941">
                  <c:v>8.8121990369181294E-2</c:v>
                </c:pt>
                <c:pt idx="4942">
                  <c:v>8.8139825218476894E-2</c:v>
                </c:pt>
                <c:pt idx="4943">
                  <c:v>8.8157660067772398E-2</c:v>
                </c:pt>
                <c:pt idx="4944">
                  <c:v>8.8175494917067901E-2</c:v>
                </c:pt>
                <c:pt idx="4945">
                  <c:v>8.8193329766363404E-2</c:v>
                </c:pt>
                <c:pt idx="4946">
                  <c:v>8.8211164615659005E-2</c:v>
                </c:pt>
                <c:pt idx="4947">
                  <c:v>8.8228999464954494E-2</c:v>
                </c:pt>
                <c:pt idx="4948">
                  <c:v>8.8246834314249997E-2</c:v>
                </c:pt>
                <c:pt idx="4949">
                  <c:v>8.8264669163545501E-2</c:v>
                </c:pt>
                <c:pt idx="4950">
                  <c:v>8.8282504012841004E-2</c:v>
                </c:pt>
                <c:pt idx="4951">
                  <c:v>8.8300338862136604E-2</c:v>
                </c:pt>
                <c:pt idx="4952">
                  <c:v>8.8318173711432094E-2</c:v>
                </c:pt>
                <c:pt idx="4953">
                  <c:v>8.8336008560727597E-2</c:v>
                </c:pt>
                <c:pt idx="4954">
                  <c:v>8.83538434100231E-2</c:v>
                </c:pt>
                <c:pt idx="4955">
                  <c:v>8.8371678259318701E-2</c:v>
                </c:pt>
                <c:pt idx="4956">
                  <c:v>8.8389513108614204E-2</c:v>
                </c:pt>
                <c:pt idx="4957">
                  <c:v>8.8407347957909693E-2</c:v>
                </c:pt>
                <c:pt idx="4958">
                  <c:v>8.8425182807205197E-2</c:v>
                </c:pt>
                <c:pt idx="4959">
                  <c:v>8.8443017656500797E-2</c:v>
                </c:pt>
                <c:pt idx="4960">
                  <c:v>8.84608525057963E-2</c:v>
                </c:pt>
                <c:pt idx="4961">
                  <c:v>8.8478687355091803E-2</c:v>
                </c:pt>
                <c:pt idx="4962">
                  <c:v>8.8496522204387307E-2</c:v>
                </c:pt>
                <c:pt idx="4963">
                  <c:v>8.8514357053682893E-2</c:v>
                </c:pt>
                <c:pt idx="4964">
                  <c:v>8.8532191902978397E-2</c:v>
                </c:pt>
                <c:pt idx="4965">
                  <c:v>8.85500267522739E-2</c:v>
                </c:pt>
                <c:pt idx="4966">
                  <c:v>8.8567861601569403E-2</c:v>
                </c:pt>
                <c:pt idx="4967">
                  <c:v>8.8585696450864906E-2</c:v>
                </c:pt>
                <c:pt idx="4968">
                  <c:v>8.8603531300160507E-2</c:v>
                </c:pt>
                <c:pt idx="4969">
                  <c:v>8.8621366149455996E-2</c:v>
                </c:pt>
                <c:pt idx="4970">
                  <c:v>8.8639200998751499E-2</c:v>
                </c:pt>
                <c:pt idx="4971">
                  <c:v>8.8657035848047003E-2</c:v>
                </c:pt>
                <c:pt idx="4972">
                  <c:v>8.8674870697342603E-2</c:v>
                </c:pt>
                <c:pt idx="4973">
                  <c:v>8.8692705546638106E-2</c:v>
                </c:pt>
                <c:pt idx="4974">
                  <c:v>8.8710540395933596E-2</c:v>
                </c:pt>
                <c:pt idx="4975">
                  <c:v>8.8728375245229099E-2</c:v>
                </c:pt>
                <c:pt idx="4976">
                  <c:v>8.87462100945247E-2</c:v>
                </c:pt>
                <c:pt idx="4977">
                  <c:v>8.8764044943820203E-2</c:v>
                </c:pt>
                <c:pt idx="4978">
                  <c:v>8.8781879793115706E-2</c:v>
                </c:pt>
                <c:pt idx="4979">
                  <c:v>8.8799714642411195E-2</c:v>
                </c:pt>
                <c:pt idx="4980">
                  <c:v>8.8817549491706796E-2</c:v>
                </c:pt>
                <c:pt idx="4981">
                  <c:v>8.8835384341002299E-2</c:v>
                </c:pt>
                <c:pt idx="4982">
                  <c:v>8.8853219190297802E-2</c:v>
                </c:pt>
                <c:pt idx="4983">
                  <c:v>8.8871054039593306E-2</c:v>
                </c:pt>
                <c:pt idx="4984">
                  <c:v>8.8888888888888795E-2</c:v>
                </c:pt>
                <c:pt idx="4985">
                  <c:v>8.8906723738184396E-2</c:v>
                </c:pt>
                <c:pt idx="4986">
                  <c:v>8.8924558587479899E-2</c:v>
                </c:pt>
                <c:pt idx="4987">
                  <c:v>8.8942393436775402E-2</c:v>
                </c:pt>
                <c:pt idx="4988">
                  <c:v>8.8960228286070905E-2</c:v>
                </c:pt>
                <c:pt idx="4989">
                  <c:v>8.8978063135366506E-2</c:v>
                </c:pt>
                <c:pt idx="4990">
                  <c:v>8.8995897984661995E-2</c:v>
                </c:pt>
                <c:pt idx="4991">
                  <c:v>8.9013732833957498E-2</c:v>
                </c:pt>
                <c:pt idx="4992">
                  <c:v>8.9031567683253002E-2</c:v>
                </c:pt>
                <c:pt idx="4993">
                  <c:v>8.9049402532548602E-2</c:v>
                </c:pt>
                <c:pt idx="4994">
                  <c:v>8.9067237381844105E-2</c:v>
                </c:pt>
                <c:pt idx="4995">
                  <c:v>8.9085072231139595E-2</c:v>
                </c:pt>
                <c:pt idx="4996">
                  <c:v>8.9102907080435098E-2</c:v>
                </c:pt>
                <c:pt idx="4997">
                  <c:v>8.9120741929730699E-2</c:v>
                </c:pt>
                <c:pt idx="4998">
                  <c:v>8.9138576779026202E-2</c:v>
                </c:pt>
                <c:pt idx="4999">
                  <c:v>8.9156411628321705E-2</c:v>
                </c:pt>
                <c:pt idx="5000">
                  <c:v>8.9174246477617194E-2</c:v>
                </c:pt>
                <c:pt idx="5001">
                  <c:v>8.9192081326912698E-2</c:v>
                </c:pt>
                <c:pt idx="5002">
                  <c:v>8.9209916176208298E-2</c:v>
                </c:pt>
                <c:pt idx="5003">
                  <c:v>8.9227751025503801E-2</c:v>
                </c:pt>
                <c:pt idx="5004">
                  <c:v>8.9245585874799305E-2</c:v>
                </c:pt>
                <c:pt idx="5005">
                  <c:v>8.9263420724094794E-2</c:v>
                </c:pt>
                <c:pt idx="5006">
                  <c:v>8.9281255573390395E-2</c:v>
                </c:pt>
                <c:pt idx="5007">
                  <c:v>8.9299090422685898E-2</c:v>
                </c:pt>
                <c:pt idx="5008">
                  <c:v>8.9316925271981401E-2</c:v>
                </c:pt>
                <c:pt idx="5009">
                  <c:v>8.9334760121276904E-2</c:v>
                </c:pt>
                <c:pt idx="5010">
                  <c:v>8.9352594970572505E-2</c:v>
                </c:pt>
                <c:pt idx="5011">
                  <c:v>8.9370429819867994E-2</c:v>
                </c:pt>
                <c:pt idx="5012">
                  <c:v>8.9388264669163497E-2</c:v>
                </c:pt>
                <c:pt idx="5013">
                  <c:v>8.9406099518459001E-2</c:v>
                </c:pt>
                <c:pt idx="5014">
                  <c:v>8.9423934367754504E-2</c:v>
                </c:pt>
                <c:pt idx="5015">
                  <c:v>8.9441769217050104E-2</c:v>
                </c:pt>
                <c:pt idx="5016">
                  <c:v>8.9459604066345594E-2</c:v>
                </c:pt>
                <c:pt idx="5017">
                  <c:v>8.9477438915641097E-2</c:v>
                </c:pt>
                <c:pt idx="5018">
                  <c:v>8.94952737649366E-2</c:v>
                </c:pt>
                <c:pt idx="5019">
                  <c:v>8.9513108614232201E-2</c:v>
                </c:pt>
                <c:pt idx="5020">
                  <c:v>8.9530943463527704E-2</c:v>
                </c:pt>
                <c:pt idx="5021">
                  <c:v>8.9548778312823193E-2</c:v>
                </c:pt>
                <c:pt idx="5022">
                  <c:v>8.9566613162118697E-2</c:v>
                </c:pt>
                <c:pt idx="5023">
                  <c:v>8.9584448011414297E-2</c:v>
                </c:pt>
                <c:pt idx="5024">
                  <c:v>8.96022828607098E-2</c:v>
                </c:pt>
                <c:pt idx="5025">
                  <c:v>8.9620117710005304E-2</c:v>
                </c:pt>
                <c:pt idx="5026">
                  <c:v>8.9637952559300793E-2</c:v>
                </c:pt>
                <c:pt idx="5027">
                  <c:v>8.9655787408596394E-2</c:v>
                </c:pt>
                <c:pt idx="5028">
                  <c:v>8.9673622257891897E-2</c:v>
                </c:pt>
                <c:pt idx="5029">
                  <c:v>8.96914571071874E-2</c:v>
                </c:pt>
                <c:pt idx="5030">
                  <c:v>8.9709291956482903E-2</c:v>
                </c:pt>
                <c:pt idx="5031">
                  <c:v>8.9727126805778407E-2</c:v>
                </c:pt>
                <c:pt idx="5032">
                  <c:v>8.9744961655073993E-2</c:v>
                </c:pt>
                <c:pt idx="5033">
                  <c:v>8.9762796504369496E-2</c:v>
                </c:pt>
                <c:pt idx="5034">
                  <c:v>8.9780631353665E-2</c:v>
                </c:pt>
                <c:pt idx="5035">
                  <c:v>8.9798466202960503E-2</c:v>
                </c:pt>
                <c:pt idx="5036">
                  <c:v>8.9816301052256103E-2</c:v>
                </c:pt>
                <c:pt idx="5037">
                  <c:v>8.9834135901551607E-2</c:v>
                </c:pt>
                <c:pt idx="5038">
                  <c:v>8.9851970750847096E-2</c:v>
                </c:pt>
                <c:pt idx="5039">
                  <c:v>8.9869805600142599E-2</c:v>
                </c:pt>
                <c:pt idx="5040">
                  <c:v>8.98876404494382E-2</c:v>
                </c:pt>
                <c:pt idx="5041">
                  <c:v>8.9905475298733703E-2</c:v>
                </c:pt>
                <c:pt idx="5042">
                  <c:v>8.9923310148029206E-2</c:v>
                </c:pt>
                <c:pt idx="5043">
                  <c:v>8.9941144997324696E-2</c:v>
                </c:pt>
                <c:pt idx="5044">
                  <c:v>8.9958979846620296E-2</c:v>
                </c:pt>
                <c:pt idx="5045">
                  <c:v>8.9976814695915799E-2</c:v>
                </c:pt>
                <c:pt idx="5046">
                  <c:v>8.9994649545211303E-2</c:v>
                </c:pt>
                <c:pt idx="5047">
                  <c:v>9.0012484394506806E-2</c:v>
                </c:pt>
                <c:pt idx="5048">
                  <c:v>9.0030319243802295E-2</c:v>
                </c:pt>
                <c:pt idx="5049">
                  <c:v>9.0048154093097896E-2</c:v>
                </c:pt>
                <c:pt idx="5050">
                  <c:v>9.0065988942393399E-2</c:v>
                </c:pt>
                <c:pt idx="5051">
                  <c:v>9.0083823791688902E-2</c:v>
                </c:pt>
                <c:pt idx="5052">
                  <c:v>9.0101658640984406E-2</c:v>
                </c:pt>
                <c:pt idx="5053">
                  <c:v>9.0119493490280006E-2</c:v>
                </c:pt>
                <c:pt idx="5054">
                  <c:v>9.0137328339575495E-2</c:v>
                </c:pt>
                <c:pt idx="5055">
                  <c:v>9.0155163188870999E-2</c:v>
                </c:pt>
                <c:pt idx="5056">
                  <c:v>9.0172998038166502E-2</c:v>
                </c:pt>
                <c:pt idx="5057">
                  <c:v>9.0190832887462102E-2</c:v>
                </c:pt>
                <c:pt idx="5058">
                  <c:v>9.0208667736757606E-2</c:v>
                </c:pt>
                <c:pt idx="5059">
                  <c:v>9.0226502586053095E-2</c:v>
                </c:pt>
                <c:pt idx="5060">
                  <c:v>9.0244337435348598E-2</c:v>
                </c:pt>
                <c:pt idx="5061">
                  <c:v>9.0262172284644199E-2</c:v>
                </c:pt>
                <c:pt idx="5062">
                  <c:v>9.0280007133939702E-2</c:v>
                </c:pt>
                <c:pt idx="5063">
                  <c:v>9.0297841983235205E-2</c:v>
                </c:pt>
                <c:pt idx="5064">
                  <c:v>9.0315676832530695E-2</c:v>
                </c:pt>
                <c:pt idx="5065">
                  <c:v>9.0333511681826295E-2</c:v>
                </c:pt>
                <c:pt idx="5066">
                  <c:v>9.0351346531121798E-2</c:v>
                </c:pt>
                <c:pt idx="5067">
                  <c:v>9.0369181380417302E-2</c:v>
                </c:pt>
                <c:pt idx="5068">
                  <c:v>9.0387016229712805E-2</c:v>
                </c:pt>
                <c:pt idx="5069">
                  <c:v>9.0404851079008294E-2</c:v>
                </c:pt>
                <c:pt idx="5070">
                  <c:v>9.0422685928303895E-2</c:v>
                </c:pt>
                <c:pt idx="5071">
                  <c:v>9.0440520777599398E-2</c:v>
                </c:pt>
                <c:pt idx="5072">
                  <c:v>9.0458355626894901E-2</c:v>
                </c:pt>
                <c:pt idx="5073">
                  <c:v>9.0476190476190405E-2</c:v>
                </c:pt>
                <c:pt idx="5074">
                  <c:v>9.0494025325486005E-2</c:v>
                </c:pt>
                <c:pt idx="5075">
                  <c:v>9.0511860174781494E-2</c:v>
                </c:pt>
                <c:pt idx="5076">
                  <c:v>9.0529695024076998E-2</c:v>
                </c:pt>
                <c:pt idx="5077">
                  <c:v>9.0547529873372501E-2</c:v>
                </c:pt>
                <c:pt idx="5078">
                  <c:v>9.0565364722668004E-2</c:v>
                </c:pt>
                <c:pt idx="5079">
                  <c:v>9.0583199571963605E-2</c:v>
                </c:pt>
                <c:pt idx="5080">
                  <c:v>9.0601034421259094E-2</c:v>
                </c:pt>
                <c:pt idx="5081">
                  <c:v>9.0618869270554597E-2</c:v>
                </c:pt>
                <c:pt idx="5082">
                  <c:v>9.0636704119850101E-2</c:v>
                </c:pt>
                <c:pt idx="5083">
                  <c:v>9.0654538969145701E-2</c:v>
                </c:pt>
                <c:pt idx="5084">
                  <c:v>9.0672373818441204E-2</c:v>
                </c:pt>
                <c:pt idx="5085">
                  <c:v>9.0690208667736694E-2</c:v>
                </c:pt>
                <c:pt idx="5086">
                  <c:v>9.0708043517032197E-2</c:v>
                </c:pt>
                <c:pt idx="5087">
                  <c:v>9.0725878366327797E-2</c:v>
                </c:pt>
                <c:pt idx="5088">
                  <c:v>9.0743713215623301E-2</c:v>
                </c:pt>
                <c:pt idx="5089">
                  <c:v>9.0761548064918804E-2</c:v>
                </c:pt>
                <c:pt idx="5090">
                  <c:v>9.0779382914214293E-2</c:v>
                </c:pt>
                <c:pt idx="5091">
                  <c:v>9.0797217763509894E-2</c:v>
                </c:pt>
                <c:pt idx="5092">
                  <c:v>9.0815052612805397E-2</c:v>
                </c:pt>
                <c:pt idx="5093">
                  <c:v>9.08328874621009E-2</c:v>
                </c:pt>
                <c:pt idx="5094">
                  <c:v>9.0850722311396404E-2</c:v>
                </c:pt>
                <c:pt idx="5095">
                  <c:v>9.0868557160691907E-2</c:v>
                </c:pt>
                <c:pt idx="5096">
                  <c:v>9.0886392009987493E-2</c:v>
                </c:pt>
                <c:pt idx="5097">
                  <c:v>9.0904226859282997E-2</c:v>
                </c:pt>
                <c:pt idx="5098">
                  <c:v>9.09220617085785E-2</c:v>
                </c:pt>
                <c:pt idx="5099">
                  <c:v>9.0939896557874003E-2</c:v>
                </c:pt>
                <c:pt idx="5100">
                  <c:v>9.0957731407169604E-2</c:v>
                </c:pt>
                <c:pt idx="5101">
                  <c:v>9.0975566256465107E-2</c:v>
                </c:pt>
                <c:pt idx="5102">
                  <c:v>9.0993401105760596E-2</c:v>
                </c:pt>
                <c:pt idx="5103">
                  <c:v>9.10112359550561E-2</c:v>
                </c:pt>
                <c:pt idx="5104">
                  <c:v>9.10290708043517E-2</c:v>
                </c:pt>
                <c:pt idx="5105">
                  <c:v>9.1046905653647203E-2</c:v>
                </c:pt>
                <c:pt idx="5106">
                  <c:v>9.1064740502942707E-2</c:v>
                </c:pt>
                <c:pt idx="5107">
                  <c:v>9.1082575352238196E-2</c:v>
                </c:pt>
                <c:pt idx="5108">
                  <c:v>9.1100410201533796E-2</c:v>
                </c:pt>
                <c:pt idx="5109">
                  <c:v>9.11182450508293E-2</c:v>
                </c:pt>
                <c:pt idx="5110">
                  <c:v>9.1136079900124803E-2</c:v>
                </c:pt>
                <c:pt idx="5111">
                  <c:v>9.1153914749420306E-2</c:v>
                </c:pt>
                <c:pt idx="5112">
                  <c:v>9.1171749598715796E-2</c:v>
                </c:pt>
                <c:pt idx="5113">
                  <c:v>9.1189584448011396E-2</c:v>
                </c:pt>
                <c:pt idx="5114">
                  <c:v>9.1207419297306899E-2</c:v>
                </c:pt>
                <c:pt idx="5115">
                  <c:v>9.1225254146602403E-2</c:v>
                </c:pt>
                <c:pt idx="5116">
                  <c:v>9.1243088995897906E-2</c:v>
                </c:pt>
                <c:pt idx="5117">
                  <c:v>9.1260923845193506E-2</c:v>
                </c:pt>
                <c:pt idx="5118">
                  <c:v>9.1278758694488996E-2</c:v>
                </c:pt>
                <c:pt idx="5119">
                  <c:v>9.1296593543784499E-2</c:v>
                </c:pt>
                <c:pt idx="5120">
                  <c:v>9.1314428393080002E-2</c:v>
                </c:pt>
                <c:pt idx="5121">
                  <c:v>9.1332263242375603E-2</c:v>
                </c:pt>
                <c:pt idx="5122">
                  <c:v>9.1350098091671106E-2</c:v>
                </c:pt>
                <c:pt idx="5123">
                  <c:v>9.1367932940966595E-2</c:v>
                </c:pt>
                <c:pt idx="5124">
                  <c:v>9.1385767790262099E-2</c:v>
                </c:pt>
                <c:pt idx="5125">
                  <c:v>9.1403602639557699E-2</c:v>
                </c:pt>
                <c:pt idx="5126">
                  <c:v>9.1421437488853202E-2</c:v>
                </c:pt>
                <c:pt idx="5127">
                  <c:v>9.1439272338148705E-2</c:v>
                </c:pt>
                <c:pt idx="5128">
                  <c:v>9.1457107187444195E-2</c:v>
                </c:pt>
                <c:pt idx="5129">
                  <c:v>9.1474942036739795E-2</c:v>
                </c:pt>
                <c:pt idx="5130">
                  <c:v>9.1492776886035299E-2</c:v>
                </c:pt>
                <c:pt idx="5131">
                  <c:v>9.1510611735330802E-2</c:v>
                </c:pt>
                <c:pt idx="5132">
                  <c:v>9.1528446584626305E-2</c:v>
                </c:pt>
                <c:pt idx="5133">
                  <c:v>9.1546281433921795E-2</c:v>
                </c:pt>
                <c:pt idx="5134">
                  <c:v>9.1564116283217395E-2</c:v>
                </c:pt>
                <c:pt idx="5135">
                  <c:v>9.1581951132512898E-2</c:v>
                </c:pt>
                <c:pt idx="5136">
                  <c:v>9.1599785981808401E-2</c:v>
                </c:pt>
                <c:pt idx="5137">
                  <c:v>9.1617620831103905E-2</c:v>
                </c:pt>
                <c:pt idx="5138">
                  <c:v>9.1635455680399505E-2</c:v>
                </c:pt>
                <c:pt idx="5139">
                  <c:v>9.1653290529694995E-2</c:v>
                </c:pt>
                <c:pt idx="5140">
                  <c:v>9.1671125378990498E-2</c:v>
                </c:pt>
                <c:pt idx="5141">
                  <c:v>9.1688960228286001E-2</c:v>
                </c:pt>
                <c:pt idx="5142">
                  <c:v>9.1706795077581504E-2</c:v>
                </c:pt>
                <c:pt idx="5143">
                  <c:v>9.1724629926877105E-2</c:v>
                </c:pt>
                <c:pt idx="5144">
                  <c:v>9.1742464776172594E-2</c:v>
                </c:pt>
                <c:pt idx="5145">
                  <c:v>9.1760299625468097E-2</c:v>
                </c:pt>
                <c:pt idx="5146">
                  <c:v>9.1778134474763601E-2</c:v>
                </c:pt>
                <c:pt idx="5147">
                  <c:v>9.1795969324059201E-2</c:v>
                </c:pt>
                <c:pt idx="5148">
                  <c:v>9.1813804173354704E-2</c:v>
                </c:pt>
                <c:pt idx="5149">
                  <c:v>9.1831639022650194E-2</c:v>
                </c:pt>
                <c:pt idx="5150">
                  <c:v>9.1849473871945697E-2</c:v>
                </c:pt>
                <c:pt idx="5151">
                  <c:v>9.1867308721241298E-2</c:v>
                </c:pt>
                <c:pt idx="5152">
                  <c:v>9.1885143570536801E-2</c:v>
                </c:pt>
                <c:pt idx="5153">
                  <c:v>9.1902978419832304E-2</c:v>
                </c:pt>
                <c:pt idx="5154">
                  <c:v>9.1920813269127793E-2</c:v>
                </c:pt>
                <c:pt idx="5155">
                  <c:v>9.1938648118423394E-2</c:v>
                </c:pt>
                <c:pt idx="5156">
                  <c:v>9.1956482967718897E-2</c:v>
                </c:pt>
                <c:pt idx="5157">
                  <c:v>9.19743178170144E-2</c:v>
                </c:pt>
                <c:pt idx="5158">
                  <c:v>9.1992152666309904E-2</c:v>
                </c:pt>
                <c:pt idx="5159">
                  <c:v>9.2009987515605393E-2</c:v>
                </c:pt>
                <c:pt idx="5160">
                  <c:v>9.2027822364900994E-2</c:v>
                </c:pt>
                <c:pt idx="5161">
                  <c:v>9.2045657214196497E-2</c:v>
                </c:pt>
                <c:pt idx="5162">
                  <c:v>9.2063492063492E-2</c:v>
                </c:pt>
                <c:pt idx="5163">
                  <c:v>9.2081326912787503E-2</c:v>
                </c:pt>
                <c:pt idx="5164">
                  <c:v>9.2099161762083104E-2</c:v>
                </c:pt>
                <c:pt idx="5165">
                  <c:v>9.2116996611378593E-2</c:v>
                </c:pt>
                <c:pt idx="5166">
                  <c:v>9.2134831460674096E-2</c:v>
                </c:pt>
                <c:pt idx="5167">
                  <c:v>9.21526663099696E-2</c:v>
                </c:pt>
                <c:pt idx="5168">
                  <c:v>9.21705011592652E-2</c:v>
                </c:pt>
                <c:pt idx="5169">
                  <c:v>9.2188336008560703E-2</c:v>
                </c:pt>
                <c:pt idx="5170">
                  <c:v>9.2206170857856207E-2</c:v>
                </c:pt>
                <c:pt idx="5171">
                  <c:v>9.2224005707151696E-2</c:v>
                </c:pt>
                <c:pt idx="5172">
                  <c:v>9.2241840556447297E-2</c:v>
                </c:pt>
                <c:pt idx="5173">
                  <c:v>9.22596754057428E-2</c:v>
                </c:pt>
                <c:pt idx="5174">
                  <c:v>9.2277510255038303E-2</c:v>
                </c:pt>
                <c:pt idx="5175">
                  <c:v>9.2295345104333806E-2</c:v>
                </c:pt>
                <c:pt idx="5176">
                  <c:v>9.2313179953629296E-2</c:v>
                </c:pt>
                <c:pt idx="5177">
                  <c:v>9.2331014802924896E-2</c:v>
                </c:pt>
                <c:pt idx="5178">
                  <c:v>9.2348849652220399E-2</c:v>
                </c:pt>
                <c:pt idx="5179">
                  <c:v>9.2366684501515903E-2</c:v>
                </c:pt>
                <c:pt idx="5180">
                  <c:v>9.2384519350811406E-2</c:v>
                </c:pt>
                <c:pt idx="5181">
                  <c:v>9.2402354200107006E-2</c:v>
                </c:pt>
                <c:pt idx="5182">
                  <c:v>9.2420189049402496E-2</c:v>
                </c:pt>
                <c:pt idx="5183">
                  <c:v>9.2438023898697999E-2</c:v>
                </c:pt>
                <c:pt idx="5184">
                  <c:v>9.2455858747993502E-2</c:v>
                </c:pt>
                <c:pt idx="5185">
                  <c:v>9.2473693597289103E-2</c:v>
                </c:pt>
                <c:pt idx="5186">
                  <c:v>9.2491528446584606E-2</c:v>
                </c:pt>
                <c:pt idx="5187">
                  <c:v>9.2509363295880095E-2</c:v>
                </c:pt>
                <c:pt idx="5188">
                  <c:v>9.2527198145175599E-2</c:v>
                </c:pt>
                <c:pt idx="5189">
                  <c:v>9.2545032994471199E-2</c:v>
                </c:pt>
                <c:pt idx="5190">
                  <c:v>9.2562867843766702E-2</c:v>
                </c:pt>
                <c:pt idx="5191">
                  <c:v>9.2580702693062206E-2</c:v>
                </c:pt>
                <c:pt idx="5192">
                  <c:v>9.2598537542357695E-2</c:v>
                </c:pt>
                <c:pt idx="5193">
                  <c:v>9.2616372391653295E-2</c:v>
                </c:pt>
                <c:pt idx="5194">
                  <c:v>9.2634207240948799E-2</c:v>
                </c:pt>
                <c:pt idx="5195">
                  <c:v>9.2652042090244302E-2</c:v>
                </c:pt>
                <c:pt idx="5196">
                  <c:v>9.2669876939539805E-2</c:v>
                </c:pt>
                <c:pt idx="5197">
                  <c:v>9.2687711788835295E-2</c:v>
                </c:pt>
                <c:pt idx="5198">
                  <c:v>9.2705546638130895E-2</c:v>
                </c:pt>
                <c:pt idx="5199">
                  <c:v>9.2723381487426398E-2</c:v>
                </c:pt>
                <c:pt idx="5200">
                  <c:v>9.2741216336721902E-2</c:v>
                </c:pt>
                <c:pt idx="5201">
                  <c:v>9.2759051186017405E-2</c:v>
                </c:pt>
                <c:pt idx="5202">
                  <c:v>9.2776886035313005E-2</c:v>
                </c:pt>
                <c:pt idx="5203">
                  <c:v>9.2794720884608495E-2</c:v>
                </c:pt>
                <c:pt idx="5204">
                  <c:v>9.2812555733903998E-2</c:v>
                </c:pt>
                <c:pt idx="5205">
                  <c:v>9.2830390583199501E-2</c:v>
                </c:pt>
                <c:pt idx="5206">
                  <c:v>9.2848225432495102E-2</c:v>
                </c:pt>
                <c:pt idx="5207">
                  <c:v>9.2866060281790605E-2</c:v>
                </c:pt>
                <c:pt idx="5208">
                  <c:v>9.2883895131086094E-2</c:v>
                </c:pt>
                <c:pt idx="5209">
                  <c:v>9.2901729980381598E-2</c:v>
                </c:pt>
                <c:pt idx="5210">
                  <c:v>9.2919564829677101E-2</c:v>
                </c:pt>
                <c:pt idx="5211">
                  <c:v>9.2937399678972701E-2</c:v>
                </c:pt>
                <c:pt idx="5212">
                  <c:v>9.2955234528268205E-2</c:v>
                </c:pt>
                <c:pt idx="5213">
                  <c:v>9.2973069377563694E-2</c:v>
                </c:pt>
                <c:pt idx="5214">
                  <c:v>9.2990904226859197E-2</c:v>
                </c:pt>
                <c:pt idx="5215">
                  <c:v>9.3008739076154798E-2</c:v>
                </c:pt>
                <c:pt idx="5216">
                  <c:v>9.3026573925450301E-2</c:v>
                </c:pt>
                <c:pt idx="5217">
                  <c:v>9.3044408774745804E-2</c:v>
                </c:pt>
                <c:pt idx="5218">
                  <c:v>9.3062243624041294E-2</c:v>
                </c:pt>
                <c:pt idx="5219">
                  <c:v>9.3080078473336894E-2</c:v>
                </c:pt>
                <c:pt idx="5220">
                  <c:v>9.3097913322632397E-2</c:v>
                </c:pt>
                <c:pt idx="5221">
                  <c:v>9.3115748171927901E-2</c:v>
                </c:pt>
                <c:pt idx="5222">
                  <c:v>9.3133583021223404E-2</c:v>
                </c:pt>
                <c:pt idx="5223">
                  <c:v>9.3151417870518893E-2</c:v>
                </c:pt>
                <c:pt idx="5224">
                  <c:v>9.3169252719814494E-2</c:v>
                </c:pt>
                <c:pt idx="5225">
                  <c:v>9.3187087569109997E-2</c:v>
                </c:pt>
                <c:pt idx="5226">
                  <c:v>9.32049224184055E-2</c:v>
                </c:pt>
                <c:pt idx="5227">
                  <c:v>9.3222757267701004E-2</c:v>
                </c:pt>
                <c:pt idx="5228">
                  <c:v>9.3240592116996604E-2</c:v>
                </c:pt>
                <c:pt idx="5229">
                  <c:v>9.3258426966292093E-2</c:v>
                </c:pt>
                <c:pt idx="5230">
                  <c:v>9.3276261815587597E-2</c:v>
                </c:pt>
                <c:pt idx="5231">
                  <c:v>9.32940966648831E-2</c:v>
                </c:pt>
                <c:pt idx="5232">
                  <c:v>9.33119315141787E-2</c:v>
                </c:pt>
                <c:pt idx="5233">
                  <c:v>9.3329766363474204E-2</c:v>
                </c:pt>
                <c:pt idx="5234">
                  <c:v>9.3347601212769707E-2</c:v>
                </c:pt>
                <c:pt idx="5235">
                  <c:v>9.3365436062065196E-2</c:v>
                </c:pt>
                <c:pt idx="5236">
                  <c:v>9.3383270911360797E-2</c:v>
                </c:pt>
                <c:pt idx="5237">
                  <c:v>9.34011057606563E-2</c:v>
                </c:pt>
                <c:pt idx="5238">
                  <c:v>9.3418940609951803E-2</c:v>
                </c:pt>
                <c:pt idx="5239">
                  <c:v>9.3436775459247307E-2</c:v>
                </c:pt>
                <c:pt idx="5240">
                  <c:v>9.3454610308542893E-2</c:v>
                </c:pt>
                <c:pt idx="5241">
                  <c:v>9.3472445157838396E-2</c:v>
                </c:pt>
                <c:pt idx="5242">
                  <c:v>9.34902800071339E-2</c:v>
                </c:pt>
                <c:pt idx="5243">
                  <c:v>9.3508114856429403E-2</c:v>
                </c:pt>
                <c:pt idx="5244">
                  <c:v>9.3525949705724906E-2</c:v>
                </c:pt>
                <c:pt idx="5245">
                  <c:v>9.3543784555020507E-2</c:v>
                </c:pt>
                <c:pt idx="5246">
                  <c:v>9.3561619404315996E-2</c:v>
                </c:pt>
                <c:pt idx="5247">
                  <c:v>9.3579454253611499E-2</c:v>
                </c:pt>
                <c:pt idx="5248">
                  <c:v>9.3597289102907003E-2</c:v>
                </c:pt>
                <c:pt idx="5249">
                  <c:v>9.3615123952202603E-2</c:v>
                </c:pt>
                <c:pt idx="5250">
                  <c:v>9.3632958801498106E-2</c:v>
                </c:pt>
                <c:pt idx="5251">
                  <c:v>9.3650793650793596E-2</c:v>
                </c:pt>
                <c:pt idx="5252">
                  <c:v>9.3668628500089099E-2</c:v>
                </c:pt>
                <c:pt idx="5253">
                  <c:v>9.3686463349384699E-2</c:v>
                </c:pt>
                <c:pt idx="5254">
                  <c:v>9.3704298198680203E-2</c:v>
                </c:pt>
                <c:pt idx="5255">
                  <c:v>9.3722133047975706E-2</c:v>
                </c:pt>
                <c:pt idx="5256">
                  <c:v>9.3739967897271195E-2</c:v>
                </c:pt>
                <c:pt idx="5257">
                  <c:v>9.3757802746566796E-2</c:v>
                </c:pt>
                <c:pt idx="5258">
                  <c:v>9.3775637595862299E-2</c:v>
                </c:pt>
                <c:pt idx="5259">
                  <c:v>9.3793472445157802E-2</c:v>
                </c:pt>
                <c:pt idx="5260">
                  <c:v>9.3811307294453306E-2</c:v>
                </c:pt>
                <c:pt idx="5261">
                  <c:v>9.3829142143748795E-2</c:v>
                </c:pt>
                <c:pt idx="5262">
                  <c:v>9.3846976993044395E-2</c:v>
                </c:pt>
                <c:pt idx="5263">
                  <c:v>9.3864811842339899E-2</c:v>
                </c:pt>
                <c:pt idx="5264">
                  <c:v>9.3882646691635402E-2</c:v>
                </c:pt>
                <c:pt idx="5265">
                  <c:v>9.3900481540930905E-2</c:v>
                </c:pt>
                <c:pt idx="5266">
                  <c:v>9.3918316390226506E-2</c:v>
                </c:pt>
                <c:pt idx="5267">
                  <c:v>9.3936151239521995E-2</c:v>
                </c:pt>
                <c:pt idx="5268">
                  <c:v>9.3953986088817498E-2</c:v>
                </c:pt>
                <c:pt idx="5269">
                  <c:v>9.3971820938113002E-2</c:v>
                </c:pt>
                <c:pt idx="5270">
                  <c:v>9.3989655787408602E-2</c:v>
                </c:pt>
                <c:pt idx="5271">
                  <c:v>9.4007490636704105E-2</c:v>
                </c:pt>
                <c:pt idx="5272">
                  <c:v>9.4025325485999595E-2</c:v>
                </c:pt>
                <c:pt idx="5273">
                  <c:v>9.4043160335295098E-2</c:v>
                </c:pt>
                <c:pt idx="5274">
                  <c:v>9.4060995184590601E-2</c:v>
                </c:pt>
                <c:pt idx="5275">
                  <c:v>9.4078830033886202E-2</c:v>
                </c:pt>
                <c:pt idx="5276">
                  <c:v>9.4096664883181705E-2</c:v>
                </c:pt>
                <c:pt idx="5277">
                  <c:v>9.4114499732477194E-2</c:v>
                </c:pt>
                <c:pt idx="5278">
                  <c:v>9.4132334581772698E-2</c:v>
                </c:pt>
                <c:pt idx="5279">
                  <c:v>9.4150169431068298E-2</c:v>
                </c:pt>
                <c:pt idx="5280">
                  <c:v>9.4168004280363801E-2</c:v>
                </c:pt>
                <c:pt idx="5281">
                  <c:v>9.4185839129659304E-2</c:v>
                </c:pt>
                <c:pt idx="5282">
                  <c:v>9.4203673978954794E-2</c:v>
                </c:pt>
                <c:pt idx="5283">
                  <c:v>9.4221508828250394E-2</c:v>
                </c:pt>
                <c:pt idx="5284">
                  <c:v>9.4239343677545898E-2</c:v>
                </c:pt>
                <c:pt idx="5285">
                  <c:v>9.4257178526841401E-2</c:v>
                </c:pt>
                <c:pt idx="5286">
                  <c:v>9.4275013376136904E-2</c:v>
                </c:pt>
                <c:pt idx="5287">
                  <c:v>9.4292848225432394E-2</c:v>
                </c:pt>
                <c:pt idx="5288">
                  <c:v>9.4310683074727994E-2</c:v>
                </c:pt>
                <c:pt idx="5289">
                  <c:v>9.4328517924023497E-2</c:v>
                </c:pt>
                <c:pt idx="5290">
                  <c:v>9.4346352773319E-2</c:v>
                </c:pt>
                <c:pt idx="5291">
                  <c:v>9.4364187622614504E-2</c:v>
                </c:pt>
                <c:pt idx="5292">
                  <c:v>9.4382022471910104E-2</c:v>
                </c:pt>
                <c:pt idx="5293">
                  <c:v>9.4399857321205594E-2</c:v>
                </c:pt>
                <c:pt idx="5294">
                  <c:v>9.4417692170501097E-2</c:v>
                </c:pt>
                <c:pt idx="5295">
                  <c:v>9.44355270197966E-2</c:v>
                </c:pt>
                <c:pt idx="5296">
                  <c:v>9.4453361869092201E-2</c:v>
                </c:pt>
                <c:pt idx="5297">
                  <c:v>9.4471196718387704E-2</c:v>
                </c:pt>
                <c:pt idx="5298">
                  <c:v>9.4489031567683193E-2</c:v>
                </c:pt>
                <c:pt idx="5299">
                  <c:v>9.4506866416978696E-2</c:v>
                </c:pt>
                <c:pt idx="5300">
                  <c:v>9.4524701266274297E-2</c:v>
                </c:pt>
                <c:pt idx="5301">
                  <c:v>9.45425361155698E-2</c:v>
                </c:pt>
                <c:pt idx="5302">
                  <c:v>9.4560370964865303E-2</c:v>
                </c:pt>
                <c:pt idx="5303">
                  <c:v>9.4578205814160807E-2</c:v>
                </c:pt>
                <c:pt idx="5304">
                  <c:v>9.4596040663456393E-2</c:v>
                </c:pt>
                <c:pt idx="5305">
                  <c:v>9.4613875512751897E-2</c:v>
                </c:pt>
                <c:pt idx="5306">
                  <c:v>9.46317103620474E-2</c:v>
                </c:pt>
                <c:pt idx="5307">
                  <c:v>9.4649545211342903E-2</c:v>
                </c:pt>
                <c:pt idx="5308">
                  <c:v>9.4667380060638406E-2</c:v>
                </c:pt>
                <c:pt idx="5309">
                  <c:v>9.4685214909934007E-2</c:v>
                </c:pt>
                <c:pt idx="5310">
                  <c:v>9.4703049759229496E-2</c:v>
                </c:pt>
                <c:pt idx="5311">
                  <c:v>9.4720884608524999E-2</c:v>
                </c:pt>
                <c:pt idx="5312">
                  <c:v>9.4738719457820503E-2</c:v>
                </c:pt>
                <c:pt idx="5313">
                  <c:v>9.4756554307116103E-2</c:v>
                </c:pt>
                <c:pt idx="5314">
                  <c:v>9.4774389156411606E-2</c:v>
                </c:pt>
                <c:pt idx="5315">
                  <c:v>9.4792224005707096E-2</c:v>
                </c:pt>
                <c:pt idx="5316">
                  <c:v>9.4810058855002599E-2</c:v>
                </c:pt>
                <c:pt idx="5317">
                  <c:v>9.48278937042982E-2</c:v>
                </c:pt>
                <c:pt idx="5318">
                  <c:v>9.4845728553593703E-2</c:v>
                </c:pt>
                <c:pt idx="5319">
                  <c:v>9.4863563402889206E-2</c:v>
                </c:pt>
                <c:pt idx="5320">
                  <c:v>9.4881398252184695E-2</c:v>
                </c:pt>
                <c:pt idx="5321">
                  <c:v>9.4899233101480296E-2</c:v>
                </c:pt>
                <c:pt idx="5322">
                  <c:v>9.4917067950775799E-2</c:v>
                </c:pt>
                <c:pt idx="5323">
                  <c:v>9.4934902800071302E-2</c:v>
                </c:pt>
                <c:pt idx="5324">
                  <c:v>9.4952737649366806E-2</c:v>
                </c:pt>
                <c:pt idx="5325">
                  <c:v>9.4970572498662295E-2</c:v>
                </c:pt>
                <c:pt idx="5326">
                  <c:v>9.4988407347957896E-2</c:v>
                </c:pt>
                <c:pt idx="5327">
                  <c:v>9.5006242197253399E-2</c:v>
                </c:pt>
                <c:pt idx="5328">
                  <c:v>9.5024077046548902E-2</c:v>
                </c:pt>
                <c:pt idx="5329">
                  <c:v>9.5041911895844405E-2</c:v>
                </c:pt>
                <c:pt idx="5330">
                  <c:v>9.5059746745140006E-2</c:v>
                </c:pt>
                <c:pt idx="5331">
                  <c:v>9.5077581594435495E-2</c:v>
                </c:pt>
                <c:pt idx="5332">
                  <c:v>9.5095416443730998E-2</c:v>
                </c:pt>
                <c:pt idx="5333">
                  <c:v>9.5113251293026502E-2</c:v>
                </c:pt>
                <c:pt idx="5334">
                  <c:v>9.5131086142322102E-2</c:v>
                </c:pt>
                <c:pt idx="5335">
                  <c:v>9.5148920991617605E-2</c:v>
                </c:pt>
                <c:pt idx="5336">
                  <c:v>9.5166755840913095E-2</c:v>
                </c:pt>
                <c:pt idx="5337">
                  <c:v>9.5184590690208598E-2</c:v>
                </c:pt>
                <c:pt idx="5338">
                  <c:v>9.5202425539504101E-2</c:v>
                </c:pt>
                <c:pt idx="5339">
                  <c:v>9.5220260388799702E-2</c:v>
                </c:pt>
                <c:pt idx="5340">
                  <c:v>9.5238095238095205E-2</c:v>
                </c:pt>
                <c:pt idx="5341">
                  <c:v>9.5255930087390694E-2</c:v>
                </c:pt>
                <c:pt idx="5342">
                  <c:v>9.5273764936686198E-2</c:v>
                </c:pt>
                <c:pt idx="5343">
                  <c:v>9.5291599785981798E-2</c:v>
                </c:pt>
                <c:pt idx="5344">
                  <c:v>9.5309434635277301E-2</c:v>
                </c:pt>
                <c:pt idx="5345">
                  <c:v>9.5327269484572805E-2</c:v>
                </c:pt>
                <c:pt idx="5346">
                  <c:v>9.5345104333868294E-2</c:v>
                </c:pt>
                <c:pt idx="5347">
                  <c:v>9.5362939183163895E-2</c:v>
                </c:pt>
                <c:pt idx="5348">
                  <c:v>9.5380774032459398E-2</c:v>
                </c:pt>
                <c:pt idx="5349">
                  <c:v>9.5398608881754901E-2</c:v>
                </c:pt>
                <c:pt idx="5350">
                  <c:v>9.5416443731050404E-2</c:v>
                </c:pt>
                <c:pt idx="5351">
                  <c:v>9.5434278580345894E-2</c:v>
                </c:pt>
                <c:pt idx="5352">
                  <c:v>9.5452113429641494E-2</c:v>
                </c:pt>
                <c:pt idx="5353">
                  <c:v>9.5469948278936997E-2</c:v>
                </c:pt>
                <c:pt idx="5354">
                  <c:v>9.5487783128232501E-2</c:v>
                </c:pt>
                <c:pt idx="5355">
                  <c:v>9.5505617977528004E-2</c:v>
                </c:pt>
                <c:pt idx="5356">
                  <c:v>9.5523452826823604E-2</c:v>
                </c:pt>
                <c:pt idx="5357">
                  <c:v>9.5541287676119094E-2</c:v>
                </c:pt>
                <c:pt idx="5358">
                  <c:v>9.5559122525414597E-2</c:v>
                </c:pt>
                <c:pt idx="5359">
                  <c:v>9.55769573747101E-2</c:v>
                </c:pt>
                <c:pt idx="5360">
                  <c:v>9.5594792224005701E-2</c:v>
                </c:pt>
                <c:pt idx="5361">
                  <c:v>9.5612627073301204E-2</c:v>
                </c:pt>
                <c:pt idx="5362">
                  <c:v>9.5630461922596693E-2</c:v>
                </c:pt>
                <c:pt idx="5363">
                  <c:v>9.5648296771892197E-2</c:v>
                </c:pt>
                <c:pt idx="5364">
                  <c:v>9.5666131621187797E-2</c:v>
                </c:pt>
                <c:pt idx="5365">
                  <c:v>9.56839664704833E-2</c:v>
                </c:pt>
                <c:pt idx="5366">
                  <c:v>9.5701801319778804E-2</c:v>
                </c:pt>
                <c:pt idx="5367">
                  <c:v>9.5719636169074293E-2</c:v>
                </c:pt>
                <c:pt idx="5368">
                  <c:v>9.5737471018369893E-2</c:v>
                </c:pt>
                <c:pt idx="5369">
                  <c:v>9.5755305867665397E-2</c:v>
                </c:pt>
                <c:pt idx="5370">
                  <c:v>9.57731407169609E-2</c:v>
                </c:pt>
                <c:pt idx="5371">
                  <c:v>9.5790975566256403E-2</c:v>
                </c:pt>
                <c:pt idx="5372">
                  <c:v>9.5808810415551907E-2</c:v>
                </c:pt>
                <c:pt idx="5373">
                  <c:v>9.5826645264847493E-2</c:v>
                </c:pt>
                <c:pt idx="5374">
                  <c:v>9.5844480114142996E-2</c:v>
                </c:pt>
                <c:pt idx="5375">
                  <c:v>9.58623149634385E-2</c:v>
                </c:pt>
                <c:pt idx="5376">
                  <c:v>9.5880149812734003E-2</c:v>
                </c:pt>
                <c:pt idx="5377">
                  <c:v>9.5897984662029603E-2</c:v>
                </c:pt>
                <c:pt idx="5378">
                  <c:v>9.5915819511325107E-2</c:v>
                </c:pt>
                <c:pt idx="5379">
                  <c:v>9.5933654360620596E-2</c:v>
                </c:pt>
                <c:pt idx="5380">
                  <c:v>9.5951489209916099E-2</c:v>
                </c:pt>
                <c:pt idx="5381">
                  <c:v>9.59693240592117E-2</c:v>
                </c:pt>
                <c:pt idx="5382">
                  <c:v>9.5987158908507203E-2</c:v>
                </c:pt>
                <c:pt idx="5383">
                  <c:v>9.6004993757802706E-2</c:v>
                </c:pt>
                <c:pt idx="5384">
                  <c:v>9.6022828607098196E-2</c:v>
                </c:pt>
                <c:pt idx="5385">
                  <c:v>9.6040663456393796E-2</c:v>
                </c:pt>
                <c:pt idx="5386">
                  <c:v>9.6058498305689299E-2</c:v>
                </c:pt>
                <c:pt idx="5387">
                  <c:v>9.6076333154984803E-2</c:v>
                </c:pt>
                <c:pt idx="5388">
                  <c:v>9.6094168004280306E-2</c:v>
                </c:pt>
                <c:pt idx="5389">
                  <c:v>9.6112002853575795E-2</c:v>
                </c:pt>
                <c:pt idx="5390">
                  <c:v>9.6129837702871396E-2</c:v>
                </c:pt>
                <c:pt idx="5391">
                  <c:v>9.6147672552166899E-2</c:v>
                </c:pt>
                <c:pt idx="5392">
                  <c:v>9.6165507401462402E-2</c:v>
                </c:pt>
                <c:pt idx="5393">
                  <c:v>9.6183342250757906E-2</c:v>
                </c:pt>
                <c:pt idx="5394">
                  <c:v>9.6201177100053506E-2</c:v>
                </c:pt>
                <c:pt idx="5395">
                  <c:v>9.6219011949348995E-2</c:v>
                </c:pt>
                <c:pt idx="5396">
                  <c:v>9.6236846798644499E-2</c:v>
                </c:pt>
                <c:pt idx="5397">
                  <c:v>9.6254681647940002E-2</c:v>
                </c:pt>
                <c:pt idx="5398">
                  <c:v>9.6272516497235602E-2</c:v>
                </c:pt>
                <c:pt idx="5399">
                  <c:v>9.6290351346531106E-2</c:v>
                </c:pt>
                <c:pt idx="5400">
                  <c:v>9.6308186195826595E-2</c:v>
                </c:pt>
                <c:pt idx="5401">
                  <c:v>9.6326021045122098E-2</c:v>
                </c:pt>
                <c:pt idx="5402">
                  <c:v>9.6343855894417699E-2</c:v>
                </c:pt>
                <c:pt idx="5403">
                  <c:v>9.6361690743713202E-2</c:v>
                </c:pt>
                <c:pt idx="5404">
                  <c:v>9.6379525593008705E-2</c:v>
                </c:pt>
                <c:pt idx="5405">
                  <c:v>9.6397360442304195E-2</c:v>
                </c:pt>
                <c:pt idx="5406">
                  <c:v>9.6415195291599698E-2</c:v>
                </c:pt>
                <c:pt idx="5407">
                  <c:v>9.6433030140895298E-2</c:v>
                </c:pt>
                <c:pt idx="5408">
                  <c:v>9.6450864990190802E-2</c:v>
                </c:pt>
                <c:pt idx="5409">
                  <c:v>9.6468699839486305E-2</c:v>
                </c:pt>
                <c:pt idx="5410">
                  <c:v>9.6486534688781794E-2</c:v>
                </c:pt>
                <c:pt idx="5411">
                  <c:v>9.6504369538077395E-2</c:v>
                </c:pt>
                <c:pt idx="5412">
                  <c:v>9.6522204387372898E-2</c:v>
                </c:pt>
                <c:pt idx="5413">
                  <c:v>9.6540039236668401E-2</c:v>
                </c:pt>
                <c:pt idx="5414">
                  <c:v>9.6557874085963905E-2</c:v>
                </c:pt>
                <c:pt idx="5415">
                  <c:v>9.6575708935259394E-2</c:v>
                </c:pt>
                <c:pt idx="5416">
                  <c:v>9.6593543784554994E-2</c:v>
                </c:pt>
                <c:pt idx="5417">
                  <c:v>9.6611378633850498E-2</c:v>
                </c:pt>
                <c:pt idx="5418">
                  <c:v>9.6629213483146001E-2</c:v>
                </c:pt>
                <c:pt idx="5419">
                  <c:v>9.6647048332441504E-2</c:v>
                </c:pt>
                <c:pt idx="5420">
                  <c:v>9.6664883181737105E-2</c:v>
                </c:pt>
                <c:pt idx="5421">
                  <c:v>9.6682718031032594E-2</c:v>
                </c:pt>
                <c:pt idx="5422">
                  <c:v>9.6700552880328097E-2</c:v>
                </c:pt>
                <c:pt idx="5423">
                  <c:v>9.6718387729623601E-2</c:v>
                </c:pt>
                <c:pt idx="5424">
                  <c:v>9.6736222578919201E-2</c:v>
                </c:pt>
                <c:pt idx="5425">
                  <c:v>9.6754057428214704E-2</c:v>
                </c:pt>
                <c:pt idx="5426">
                  <c:v>9.6771892277510194E-2</c:v>
                </c:pt>
                <c:pt idx="5427">
                  <c:v>9.6789727126805697E-2</c:v>
                </c:pt>
                <c:pt idx="5428">
                  <c:v>9.6807561976101297E-2</c:v>
                </c:pt>
                <c:pt idx="5429">
                  <c:v>9.6825396825396801E-2</c:v>
                </c:pt>
                <c:pt idx="5430">
                  <c:v>9.6843231674692304E-2</c:v>
                </c:pt>
                <c:pt idx="5431">
                  <c:v>9.6861066523987793E-2</c:v>
                </c:pt>
                <c:pt idx="5432">
                  <c:v>9.6878901373283394E-2</c:v>
                </c:pt>
                <c:pt idx="5433">
                  <c:v>9.6896736222578897E-2</c:v>
                </c:pt>
                <c:pt idx="5434">
                  <c:v>9.69145710718744E-2</c:v>
                </c:pt>
                <c:pt idx="5435">
                  <c:v>9.6932405921169904E-2</c:v>
                </c:pt>
                <c:pt idx="5436">
                  <c:v>9.6950240770465407E-2</c:v>
                </c:pt>
                <c:pt idx="5437">
                  <c:v>9.6968075619760993E-2</c:v>
                </c:pt>
                <c:pt idx="5438">
                  <c:v>9.6985910469056497E-2</c:v>
                </c:pt>
                <c:pt idx="5439">
                  <c:v>9.7003745318352E-2</c:v>
                </c:pt>
                <c:pt idx="5440">
                  <c:v>9.7021580167647503E-2</c:v>
                </c:pt>
                <c:pt idx="5441">
                  <c:v>9.7039415016943104E-2</c:v>
                </c:pt>
                <c:pt idx="5442">
                  <c:v>9.7057249866238607E-2</c:v>
                </c:pt>
                <c:pt idx="5443">
                  <c:v>9.7075084715534096E-2</c:v>
                </c:pt>
                <c:pt idx="5444">
                  <c:v>9.70929195648296E-2</c:v>
                </c:pt>
                <c:pt idx="5445">
                  <c:v>9.71107544141252E-2</c:v>
                </c:pt>
                <c:pt idx="5446">
                  <c:v>9.7128589263420703E-2</c:v>
                </c:pt>
                <c:pt idx="5447">
                  <c:v>9.7146424112716206E-2</c:v>
                </c:pt>
                <c:pt idx="5448">
                  <c:v>9.7164258962011696E-2</c:v>
                </c:pt>
                <c:pt idx="5449">
                  <c:v>9.7182093811307296E-2</c:v>
                </c:pt>
                <c:pt idx="5450">
                  <c:v>9.71999286606028E-2</c:v>
                </c:pt>
                <c:pt idx="5451">
                  <c:v>9.7217763509898303E-2</c:v>
                </c:pt>
                <c:pt idx="5452">
                  <c:v>9.7235598359193806E-2</c:v>
                </c:pt>
                <c:pt idx="5453">
                  <c:v>9.7253433208489296E-2</c:v>
                </c:pt>
                <c:pt idx="5454">
                  <c:v>9.7271268057784896E-2</c:v>
                </c:pt>
                <c:pt idx="5455">
                  <c:v>9.7289102907080399E-2</c:v>
                </c:pt>
                <c:pt idx="5456">
                  <c:v>9.7306937756375902E-2</c:v>
                </c:pt>
                <c:pt idx="5457">
                  <c:v>9.7324772605671406E-2</c:v>
                </c:pt>
                <c:pt idx="5458">
                  <c:v>9.7342607454967006E-2</c:v>
                </c:pt>
                <c:pt idx="5459">
                  <c:v>9.7360442304262496E-2</c:v>
                </c:pt>
                <c:pt idx="5460">
                  <c:v>9.7378277153557999E-2</c:v>
                </c:pt>
                <c:pt idx="5461">
                  <c:v>9.7396112002853502E-2</c:v>
                </c:pt>
                <c:pt idx="5462">
                  <c:v>9.7413946852149103E-2</c:v>
                </c:pt>
                <c:pt idx="5463">
                  <c:v>9.7431781701444606E-2</c:v>
                </c:pt>
                <c:pt idx="5464">
                  <c:v>9.7449616550740095E-2</c:v>
                </c:pt>
                <c:pt idx="5465">
                  <c:v>9.7467451400035598E-2</c:v>
                </c:pt>
                <c:pt idx="5466">
                  <c:v>9.7485286249331199E-2</c:v>
                </c:pt>
                <c:pt idx="5467">
                  <c:v>9.7503121098626702E-2</c:v>
                </c:pt>
                <c:pt idx="5468">
                  <c:v>9.7520955947922205E-2</c:v>
                </c:pt>
                <c:pt idx="5469">
                  <c:v>9.7538790797217695E-2</c:v>
                </c:pt>
                <c:pt idx="5470">
                  <c:v>9.7556625646513198E-2</c:v>
                </c:pt>
                <c:pt idx="5471">
                  <c:v>9.7574460495808799E-2</c:v>
                </c:pt>
                <c:pt idx="5472">
                  <c:v>9.7592295345104302E-2</c:v>
                </c:pt>
                <c:pt idx="5473">
                  <c:v>9.7610130194399805E-2</c:v>
                </c:pt>
                <c:pt idx="5474">
                  <c:v>9.7627965043695294E-2</c:v>
                </c:pt>
                <c:pt idx="5475">
                  <c:v>9.7645799892990895E-2</c:v>
                </c:pt>
                <c:pt idx="5476">
                  <c:v>9.7663634742286398E-2</c:v>
                </c:pt>
                <c:pt idx="5477">
                  <c:v>9.7681469591581901E-2</c:v>
                </c:pt>
                <c:pt idx="5478">
                  <c:v>9.7699304440877405E-2</c:v>
                </c:pt>
                <c:pt idx="5479">
                  <c:v>9.7717139290172894E-2</c:v>
                </c:pt>
                <c:pt idx="5480">
                  <c:v>9.7734974139468495E-2</c:v>
                </c:pt>
                <c:pt idx="5481">
                  <c:v>9.7752808988763998E-2</c:v>
                </c:pt>
                <c:pt idx="5482">
                  <c:v>9.7770643838059501E-2</c:v>
                </c:pt>
                <c:pt idx="5483">
                  <c:v>9.7788478687355004E-2</c:v>
                </c:pt>
                <c:pt idx="5484">
                  <c:v>9.7806313536650605E-2</c:v>
                </c:pt>
                <c:pt idx="5485">
                  <c:v>9.7824148385946094E-2</c:v>
                </c:pt>
                <c:pt idx="5486">
                  <c:v>9.7841983235241597E-2</c:v>
                </c:pt>
                <c:pt idx="5487">
                  <c:v>9.7859818084537101E-2</c:v>
                </c:pt>
                <c:pt idx="5488">
                  <c:v>9.7877652933832701E-2</c:v>
                </c:pt>
                <c:pt idx="5489">
                  <c:v>9.7895487783128204E-2</c:v>
                </c:pt>
                <c:pt idx="5490">
                  <c:v>9.7913322632423694E-2</c:v>
                </c:pt>
                <c:pt idx="5491">
                  <c:v>9.7931157481719197E-2</c:v>
                </c:pt>
                <c:pt idx="5492">
                  <c:v>9.7948992331014798E-2</c:v>
                </c:pt>
                <c:pt idx="5493">
                  <c:v>9.7966827180310301E-2</c:v>
                </c:pt>
                <c:pt idx="5494">
                  <c:v>9.7984662029605804E-2</c:v>
                </c:pt>
                <c:pt idx="5495">
                  <c:v>9.8002496878901293E-2</c:v>
                </c:pt>
                <c:pt idx="5496">
                  <c:v>9.8020331728196894E-2</c:v>
                </c:pt>
                <c:pt idx="5497">
                  <c:v>9.8038166577492397E-2</c:v>
                </c:pt>
                <c:pt idx="5498">
                  <c:v>9.80560014267879E-2</c:v>
                </c:pt>
                <c:pt idx="5499">
                  <c:v>9.8073836276083404E-2</c:v>
                </c:pt>
                <c:pt idx="5500">
                  <c:v>9.8091671125378893E-2</c:v>
                </c:pt>
                <c:pt idx="5501">
                  <c:v>9.8109505974674494E-2</c:v>
                </c:pt>
                <c:pt idx="5502">
                  <c:v>9.8127340823969997E-2</c:v>
                </c:pt>
                <c:pt idx="5503">
                  <c:v>9.81451756732655E-2</c:v>
                </c:pt>
                <c:pt idx="5504">
                  <c:v>9.8163010522561003E-2</c:v>
                </c:pt>
                <c:pt idx="5505">
                  <c:v>9.8180845371856604E-2</c:v>
                </c:pt>
                <c:pt idx="5506">
                  <c:v>9.8198680221152093E-2</c:v>
                </c:pt>
                <c:pt idx="5507">
                  <c:v>9.8216515070447596E-2</c:v>
                </c:pt>
                <c:pt idx="5508">
                  <c:v>9.82343499197431E-2</c:v>
                </c:pt>
                <c:pt idx="5509">
                  <c:v>9.82521847690387E-2</c:v>
                </c:pt>
                <c:pt idx="5510">
                  <c:v>9.8270019618334203E-2</c:v>
                </c:pt>
                <c:pt idx="5511">
                  <c:v>9.8287854467629707E-2</c:v>
                </c:pt>
                <c:pt idx="5512">
                  <c:v>9.8305689316925196E-2</c:v>
                </c:pt>
                <c:pt idx="5513">
                  <c:v>9.8323524166220796E-2</c:v>
                </c:pt>
                <c:pt idx="5514">
                  <c:v>9.83413590155163E-2</c:v>
                </c:pt>
                <c:pt idx="5515">
                  <c:v>9.8359193864811803E-2</c:v>
                </c:pt>
                <c:pt idx="5516">
                  <c:v>9.8377028714107306E-2</c:v>
                </c:pt>
                <c:pt idx="5517">
                  <c:v>9.8394863563402796E-2</c:v>
                </c:pt>
                <c:pt idx="5518">
                  <c:v>9.8412698412698396E-2</c:v>
                </c:pt>
                <c:pt idx="5519">
                  <c:v>9.8430533261993899E-2</c:v>
                </c:pt>
                <c:pt idx="5520">
                  <c:v>9.8448368111289403E-2</c:v>
                </c:pt>
                <c:pt idx="5521">
                  <c:v>9.8466202960584906E-2</c:v>
                </c:pt>
                <c:pt idx="5522">
                  <c:v>9.8484037809880506E-2</c:v>
                </c:pt>
                <c:pt idx="5523">
                  <c:v>9.8501872659175996E-2</c:v>
                </c:pt>
                <c:pt idx="5524">
                  <c:v>9.8519707508471499E-2</c:v>
                </c:pt>
                <c:pt idx="5525">
                  <c:v>9.8537542357767002E-2</c:v>
                </c:pt>
                <c:pt idx="5526">
                  <c:v>9.8555377207062603E-2</c:v>
                </c:pt>
                <c:pt idx="5527">
                  <c:v>9.8573212056358106E-2</c:v>
                </c:pt>
                <c:pt idx="5528">
                  <c:v>9.8591046905653595E-2</c:v>
                </c:pt>
                <c:pt idx="5529">
                  <c:v>9.8608881754949099E-2</c:v>
                </c:pt>
                <c:pt idx="5530">
                  <c:v>9.8626716604244699E-2</c:v>
                </c:pt>
                <c:pt idx="5531">
                  <c:v>9.8644551453540202E-2</c:v>
                </c:pt>
                <c:pt idx="5532">
                  <c:v>9.8662386302835706E-2</c:v>
                </c:pt>
                <c:pt idx="5533">
                  <c:v>9.8680221152131195E-2</c:v>
                </c:pt>
                <c:pt idx="5534">
                  <c:v>9.8698056001426698E-2</c:v>
                </c:pt>
                <c:pt idx="5535">
                  <c:v>9.8715890850722299E-2</c:v>
                </c:pt>
                <c:pt idx="5536">
                  <c:v>9.8733725700017802E-2</c:v>
                </c:pt>
                <c:pt idx="5537">
                  <c:v>9.8751560549313305E-2</c:v>
                </c:pt>
                <c:pt idx="5538">
                  <c:v>9.8769395398608795E-2</c:v>
                </c:pt>
                <c:pt idx="5539">
                  <c:v>9.8787230247904395E-2</c:v>
                </c:pt>
                <c:pt idx="5540">
                  <c:v>9.8805065097199898E-2</c:v>
                </c:pt>
                <c:pt idx="5541">
                  <c:v>9.8822899946495402E-2</c:v>
                </c:pt>
                <c:pt idx="5542">
                  <c:v>9.8840734795790905E-2</c:v>
                </c:pt>
                <c:pt idx="5543">
                  <c:v>9.8858569645086505E-2</c:v>
                </c:pt>
                <c:pt idx="5544">
                  <c:v>9.8876404494381995E-2</c:v>
                </c:pt>
                <c:pt idx="5545">
                  <c:v>9.8894239343677498E-2</c:v>
                </c:pt>
                <c:pt idx="5546">
                  <c:v>9.8912074192973001E-2</c:v>
                </c:pt>
                <c:pt idx="5547">
                  <c:v>9.8929909042268505E-2</c:v>
                </c:pt>
                <c:pt idx="5548">
                  <c:v>9.8947743891564105E-2</c:v>
                </c:pt>
                <c:pt idx="5549">
                  <c:v>9.8965578740859594E-2</c:v>
                </c:pt>
                <c:pt idx="5550">
                  <c:v>9.8983413590155098E-2</c:v>
                </c:pt>
                <c:pt idx="5551">
                  <c:v>9.9001248439450601E-2</c:v>
                </c:pt>
                <c:pt idx="5552">
                  <c:v>9.9019083288746201E-2</c:v>
                </c:pt>
                <c:pt idx="5553">
                  <c:v>9.9036918138041705E-2</c:v>
                </c:pt>
                <c:pt idx="5554">
                  <c:v>9.9054752987337194E-2</c:v>
                </c:pt>
                <c:pt idx="5555">
                  <c:v>9.9072587836632697E-2</c:v>
                </c:pt>
                <c:pt idx="5556">
                  <c:v>9.9090422685928298E-2</c:v>
                </c:pt>
                <c:pt idx="5557">
                  <c:v>9.9108257535223801E-2</c:v>
                </c:pt>
                <c:pt idx="5558">
                  <c:v>9.9126092384519304E-2</c:v>
                </c:pt>
                <c:pt idx="5559">
                  <c:v>9.9143927233814794E-2</c:v>
                </c:pt>
                <c:pt idx="5560">
                  <c:v>9.9161762083110394E-2</c:v>
                </c:pt>
                <c:pt idx="5561">
                  <c:v>9.9179596932405897E-2</c:v>
                </c:pt>
                <c:pt idx="5562">
                  <c:v>9.9197431781701401E-2</c:v>
                </c:pt>
                <c:pt idx="5563">
                  <c:v>9.9215266630996904E-2</c:v>
                </c:pt>
                <c:pt idx="5564">
                  <c:v>9.9233101480292393E-2</c:v>
                </c:pt>
                <c:pt idx="5565">
                  <c:v>9.9250936329587994E-2</c:v>
                </c:pt>
                <c:pt idx="5566">
                  <c:v>9.9268771178883497E-2</c:v>
                </c:pt>
                <c:pt idx="5567">
                  <c:v>9.9286606028179E-2</c:v>
                </c:pt>
                <c:pt idx="5568">
                  <c:v>9.9304440877474504E-2</c:v>
                </c:pt>
                <c:pt idx="5569">
                  <c:v>9.9322275726770104E-2</c:v>
                </c:pt>
                <c:pt idx="5570">
                  <c:v>9.9340110576065593E-2</c:v>
                </c:pt>
                <c:pt idx="5571">
                  <c:v>9.9357945425361097E-2</c:v>
                </c:pt>
                <c:pt idx="5572">
                  <c:v>9.93757802746566E-2</c:v>
                </c:pt>
                <c:pt idx="5573">
                  <c:v>9.93936151239522E-2</c:v>
                </c:pt>
                <c:pt idx="5574">
                  <c:v>9.9411449973247704E-2</c:v>
                </c:pt>
                <c:pt idx="5575">
                  <c:v>9.9429284822543207E-2</c:v>
                </c:pt>
                <c:pt idx="5576">
                  <c:v>9.9447119671838696E-2</c:v>
                </c:pt>
                <c:pt idx="5577">
                  <c:v>9.9464954521134297E-2</c:v>
                </c:pt>
                <c:pt idx="5578">
                  <c:v>9.94827893704298E-2</c:v>
                </c:pt>
                <c:pt idx="5579">
                  <c:v>9.9500624219725303E-2</c:v>
                </c:pt>
                <c:pt idx="5580">
                  <c:v>9.9518459069020807E-2</c:v>
                </c:pt>
                <c:pt idx="5581">
                  <c:v>9.9536293918316296E-2</c:v>
                </c:pt>
                <c:pt idx="5582">
                  <c:v>9.9554128767611896E-2</c:v>
                </c:pt>
                <c:pt idx="5583">
                  <c:v>9.95719636169074E-2</c:v>
                </c:pt>
                <c:pt idx="5584">
                  <c:v>9.9589798466202903E-2</c:v>
                </c:pt>
                <c:pt idx="5585">
                  <c:v>9.9607633315498406E-2</c:v>
                </c:pt>
                <c:pt idx="5586">
                  <c:v>9.9625468164794007E-2</c:v>
                </c:pt>
                <c:pt idx="5587">
                  <c:v>9.9643303014089496E-2</c:v>
                </c:pt>
                <c:pt idx="5588">
                  <c:v>9.9661137863384999E-2</c:v>
                </c:pt>
                <c:pt idx="5589">
                  <c:v>9.9678972712680503E-2</c:v>
                </c:pt>
                <c:pt idx="5590">
                  <c:v>9.9696807561976103E-2</c:v>
                </c:pt>
                <c:pt idx="5591">
                  <c:v>9.9714642411271606E-2</c:v>
                </c:pt>
                <c:pt idx="5592">
                  <c:v>9.9732477260567096E-2</c:v>
                </c:pt>
                <c:pt idx="5593">
                  <c:v>9.9750312109862599E-2</c:v>
                </c:pt>
                <c:pt idx="5594">
                  <c:v>9.9768146959158199E-2</c:v>
                </c:pt>
                <c:pt idx="5595">
                  <c:v>9.9785981808453703E-2</c:v>
                </c:pt>
                <c:pt idx="5596">
                  <c:v>9.9803816657749206E-2</c:v>
                </c:pt>
                <c:pt idx="5597">
                  <c:v>9.9821651507044695E-2</c:v>
                </c:pt>
                <c:pt idx="5598">
                  <c:v>9.9839486356340296E-2</c:v>
                </c:pt>
                <c:pt idx="5599">
                  <c:v>9.9857321205635799E-2</c:v>
                </c:pt>
                <c:pt idx="5600">
                  <c:v>9.9875156054931302E-2</c:v>
                </c:pt>
                <c:pt idx="5601">
                  <c:v>9.9892990904226805E-2</c:v>
                </c:pt>
                <c:pt idx="5602">
                  <c:v>9.9910825753522295E-2</c:v>
                </c:pt>
                <c:pt idx="5603">
                  <c:v>9.9928660602817895E-2</c:v>
                </c:pt>
                <c:pt idx="5604">
                  <c:v>9.9946495452113399E-2</c:v>
                </c:pt>
                <c:pt idx="5605">
                  <c:v>9.9964330301408902E-2</c:v>
                </c:pt>
                <c:pt idx="5606">
                  <c:v>9.9982165150704405E-2</c:v>
                </c:pt>
                <c:pt idx="5607">
                  <c:v>0.1</c:v>
                </c:pt>
                <c:pt idx="5608">
                  <c:v>0.100017834849295</c:v>
                </c:pt>
                <c:pt idx="5609">
                  <c:v>0.100035669698591</c:v>
                </c:pt>
                <c:pt idx="5610">
                  <c:v>0.100053504547886</c:v>
                </c:pt>
                <c:pt idx="5611">
                  <c:v>0.100071339397182</c:v>
                </c:pt>
                <c:pt idx="5612">
                  <c:v>0.10008917424647699</c:v>
                </c:pt>
                <c:pt idx="5613">
                  <c:v>0.100107009095773</c:v>
                </c:pt>
                <c:pt idx="5614">
                  <c:v>0.100124843945068</c:v>
                </c:pt>
                <c:pt idx="5615">
                  <c:v>0.100142678794364</c:v>
                </c:pt>
                <c:pt idx="5616">
                  <c:v>0.10016051364365899</c:v>
                </c:pt>
                <c:pt idx="5617">
                  <c:v>0.100178348492955</c:v>
                </c:pt>
                <c:pt idx="5618">
                  <c:v>0.10019618334225</c:v>
                </c:pt>
                <c:pt idx="5619">
                  <c:v>0.100214018191546</c:v>
                </c:pt>
                <c:pt idx="5620">
                  <c:v>0.10023185304084101</c:v>
                </c:pt>
                <c:pt idx="5621">
                  <c:v>0.100249687890137</c:v>
                </c:pt>
                <c:pt idx="5622">
                  <c:v>0.100267522739432</c:v>
                </c:pt>
                <c:pt idx="5623">
                  <c:v>0.100285357588728</c:v>
                </c:pt>
                <c:pt idx="5624">
                  <c:v>0.10030319243802301</c:v>
                </c:pt>
                <c:pt idx="5625">
                  <c:v>0.100321027287319</c:v>
                </c:pt>
                <c:pt idx="5626">
                  <c:v>0.100338862136614</c:v>
                </c:pt>
                <c:pt idx="5627">
                  <c:v>0.10035669698591</c:v>
                </c:pt>
                <c:pt idx="5628">
                  <c:v>0.10037453183520501</c:v>
                </c:pt>
                <c:pt idx="5629">
                  <c:v>0.10039236668450099</c:v>
                </c:pt>
                <c:pt idx="5630">
                  <c:v>0.100410201533797</c:v>
                </c:pt>
                <c:pt idx="5631">
                  <c:v>0.100428036383092</c:v>
                </c:pt>
                <c:pt idx="5632">
                  <c:v>0.100445871232388</c:v>
                </c:pt>
                <c:pt idx="5633">
                  <c:v>0.10046370608168299</c:v>
                </c:pt>
                <c:pt idx="5634">
                  <c:v>0.100481540930979</c:v>
                </c:pt>
                <c:pt idx="5635">
                  <c:v>0.100499375780274</c:v>
                </c:pt>
                <c:pt idx="5636">
                  <c:v>0.10051721062957</c:v>
                </c:pt>
                <c:pt idx="5637">
                  <c:v>0.10053504547886501</c:v>
                </c:pt>
                <c:pt idx="5638">
                  <c:v>0.100552880328161</c:v>
                </c:pt>
                <c:pt idx="5639">
                  <c:v>0.100570715177456</c:v>
                </c:pt>
                <c:pt idx="5640">
                  <c:v>0.100588550026752</c:v>
                </c:pt>
                <c:pt idx="5641">
                  <c:v>0.10060638487604701</c:v>
                </c:pt>
                <c:pt idx="5642">
                  <c:v>0.10062421972534299</c:v>
                </c:pt>
                <c:pt idx="5643">
                  <c:v>0.100642054574638</c:v>
                </c:pt>
                <c:pt idx="5644">
                  <c:v>0.100659889423934</c:v>
                </c:pt>
                <c:pt idx="5645">
                  <c:v>0.10067772427322901</c:v>
                </c:pt>
                <c:pt idx="5646">
                  <c:v>0.10069555912252499</c:v>
                </c:pt>
                <c:pt idx="5647">
                  <c:v>0.10071339397182</c:v>
                </c:pt>
                <c:pt idx="5648">
                  <c:v>0.100731228821116</c:v>
                </c:pt>
                <c:pt idx="5649">
                  <c:v>0.100749063670411</c:v>
                </c:pt>
                <c:pt idx="5650">
                  <c:v>0.10076689851970699</c:v>
                </c:pt>
                <c:pt idx="5651">
                  <c:v>0.100784733369003</c:v>
                </c:pt>
                <c:pt idx="5652">
                  <c:v>0.100802568218298</c:v>
                </c:pt>
                <c:pt idx="5653">
                  <c:v>0.100820403067594</c:v>
                </c:pt>
                <c:pt idx="5654">
                  <c:v>0.10083823791688901</c:v>
                </c:pt>
                <c:pt idx="5655">
                  <c:v>0.100856072766185</c:v>
                </c:pt>
                <c:pt idx="5656">
                  <c:v>0.10087390761548</c:v>
                </c:pt>
                <c:pt idx="5657">
                  <c:v>0.100891742464776</c:v>
                </c:pt>
                <c:pt idx="5658">
                  <c:v>0.10090957731407101</c:v>
                </c:pt>
                <c:pt idx="5659">
                  <c:v>0.10092741216336699</c:v>
                </c:pt>
                <c:pt idx="5660">
                  <c:v>0.100945247012662</c:v>
                </c:pt>
                <c:pt idx="5661">
                  <c:v>0.100963081861958</c:v>
                </c:pt>
                <c:pt idx="5662">
                  <c:v>0.100980916711253</c:v>
                </c:pt>
                <c:pt idx="5663">
                  <c:v>0.10099875156054899</c:v>
                </c:pt>
                <c:pt idx="5664">
                  <c:v>0.101016586409844</c:v>
                </c:pt>
                <c:pt idx="5665">
                  <c:v>0.10103442125914</c:v>
                </c:pt>
                <c:pt idx="5666">
                  <c:v>0.101052256108435</c:v>
                </c:pt>
                <c:pt idx="5667">
                  <c:v>0.10107009095773101</c:v>
                </c:pt>
                <c:pt idx="5668">
                  <c:v>0.101087925807026</c:v>
                </c:pt>
                <c:pt idx="5669">
                  <c:v>0.101105760656322</c:v>
                </c:pt>
                <c:pt idx="5670">
                  <c:v>0.101123595505617</c:v>
                </c:pt>
                <c:pt idx="5671">
                  <c:v>0.10114143035491301</c:v>
                </c:pt>
                <c:pt idx="5672">
                  <c:v>0.101159265204209</c:v>
                </c:pt>
                <c:pt idx="5673">
                  <c:v>0.101177100053504</c:v>
                </c:pt>
                <c:pt idx="5674">
                  <c:v>0.1011949349028</c:v>
                </c:pt>
                <c:pt idx="5675">
                  <c:v>0.10121276975209501</c:v>
                </c:pt>
                <c:pt idx="5676">
                  <c:v>0.10123060460139099</c:v>
                </c:pt>
                <c:pt idx="5677">
                  <c:v>0.101248439450686</c:v>
                </c:pt>
                <c:pt idx="5678">
                  <c:v>0.101266274299982</c:v>
                </c:pt>
                <c:pt idx="5679">
                  <c:v>0.101284109149277</c:v>
                </c:pt>
                <c:pt idx="5680">
                  <c:v>0.10130194399857299</c:v>
                </c:pt>
                <c:pt idx="5681">
                  <c:v>0.101319778847868</c:v>
                </c:pt>
                <c:pt idx="5682">
                  <c:v>0.101337613697164</c:v>
                </c:pt>
                <c:pt idx="5683">
                  <c:v>0.101355448546459</c:v>
                </c:pt>
                <c:pt idx="5684">
                  <c:v>0.10137328339575501</c:v>
                </c:pt>
                <c:pt idx="5685">
                  <c:v>0.10139111824505</c:v>
                </c:pt>
                <c:pt idx="5686">
                  <c:v>0.101408953094346</c:v>
                </c:pt>
                <c:pt idx="5687">
                  <c:v>0.101426787943641</c:v>
                </c:pt>
                <c:pt idx="5688">
                  <c:v>0.10144462279293701</c:v>
                </c:pt>
                <c:pt idx="5689">
                  <c:v>0.101462457642232</c:v>
                </c:pt>
                <c:pt idx="5690">
                  <c:v>0.101480292491528</c:v>
                </c:pt>
                <c:pt idx="5691">
                  <c:v>0.101498127340823</c:v>
                </c:pt>
                <c:pt idx="5692">
                  <c:v>0.10151596219011901</c:v>
                </c:pt>
                <c:pt idx="5693">
                  <c:v>0.10153379703941499</c:v>
                </c:pt>
                <c:pt idx="5694">
                  <c:v>0.10155163188871</c:v>
                </c:pt>
                <c:pt idx="5695">
                  <c:v>0.101569466738006</c:v>
                </c:pt>
                <c:pt idx="5696">
                  <c:v>0.101587301587301</c:v>
                </c:pt>
                <c:pt idx="5697">
                  <c:v>0.10160513643659699</c:v>
                </c:pt>
                <c:pt idx="5698">
                  <c:v>0.101622971285892</c:v>
                </c:pt>
                <c:pt idx="5699">
                  <c:v>0.101640806135188</c:v>
                </c:pt>
                <c:pt idx="5700">
                  <c:v>0.101658640984483</c:v>
                </c:pt>
                <c:pt idx="5701">
                  <c:v>0.10167647583377901</c:v>
                </c:pt>
                <c:pt idx="5702">
                  <c:v>0.101694310683074</c:v>
                </c:pt>
                <c:pt idx="5703">
                  <c:v>0.10171214553237</c:v>
                </c:pt>
                <c:pt idx="5704">
                  <c:v>0.101729980381665</c:v>
                </c:pt>
                <c:pt idx="5705">
                  <c:v>0.10174781523096101</c:v>
                </c:pt>
                <c:pt idx="5706">
                  <c:v>0.101765650080256</c:v>
                </c:pt>
                <c:pt idx="5707">
                  <c:v>0.101783484929552</c:v>
                </c:pt>
                <c:pt idx="5708">
                  <c:v>0.101801319778847</c:v>
                </c:pt>
                <c:pt idx="5709">
                  <c:v>0.101819154628143</c:v>
                </c:pt>
                <c:pt idx="5710">
                  <c:v>0.10183698947743799</c:v>
                </c:pt>
                <c:pt idx="5711">
                  <c:v>0.101854824326734</c:v>
                </c:pt>
                <c:pt idx="5712">
                  <c:v>0.101872659176029</c:v>
                </c:pt>
                <c:pt idx="5713">
                  <c:v>0.101890494025325</c:v>
                </c:pt>
                <c:pt idx="5714">
                  <c:v>0.10190832887462099</c:v>
                </c:pt>
                <c:pt idx="5715">
                  <c:v>0.101926163723916</c:v>
                </c:pt>
                <c:pt idx="5716">
                  <c:v>0.101943998573212</c:v>
                </c:pt>
                <c:pt idx="5717">
                  <c:v>0.101961833422507</c:v>
                </c:pt>
                <c:pt idx="5718">
                  <c:v>0.10197966827180301</c:v>
                </c:pt>
                <c:pt idx="5719">
                  <c:v>0.101997503121098</c:v>
                </c:pt>
                <c:pt idx="5720">
                  <c:v>0.102015337970394</c:v>
                </c:pt>
                <c:pt idx="5721">
                  <c:v>0.102033172819689</c:v>
                </c:pt>
                <c:pt idx="5722">
                  <c:v>0.10205100766898501</c:v>
                </c:pt>
                <c:pt idx="5723">
                  <c:v>0.10206884251828</c:v>
                </c:pt>
                <c:pt idx="5724">
                  <c:v>0.102086677367576</c:v>
                </c:pt>
                <c:pt idx="5725">
                  <c:v>0.102104512216871</c:v>
                </c:pt>
                <c:pt idx="5726">
                  <c:v>0.102122347066167</c:v>
                </c:pt>
                <c:pt idx="5727">
                  <c:v>0.10214018191546199</c:v>
                </c:pt>
                <c:pt idx="5728">
                  <c:v>0.102158016764758</c:v>
                </c:pt>
                <c:pt idx="5729">
                  <c:v>0.102175851614053</c:v>
                </c:pt>
                <c:pt idx="5730">
                  <c:v>0.102193686463349</c:v>
                </c:pt>
                <c:pt idx="5731">
                  <c:v>0.10221152131264399</c:v>
                </c:pt>
                <c:pt idx="5732">
                  <c:v>0.10222935616194</c:v>
                </c:pt>
                <c:pt idx="5733">
                  <c:v>0.102247191011235</c:v>
                </c:pt>
                <c:pt idx="5734">
                  <c:v>0.102265025860531</c:v>
                </c:pt>
                <c:pt idx="5735">
                  <c:v>0.10228286070982701</c:v>
                </c:pt>
                <c:pt idx="5736">
                  <c:v>0.102300695559122</c:v>
                </c:pt>
                <c:pt idx="5737">
                  <c:v>0.102318530408418</c:v>
                </c:pt>
                <c:pt idx="5738">
                  <c:v>0.102336365257713</c:v>
                </c:pt>
                <c:pt idx="5739">
                  <c:v>0.10235420010700901</c:v>
                </c:pt>
                <c:pt idx="5740">
                  <c:v>0.10237203495630399</c:v>
                </c:pt>
                <c:pt idx="5741">
                  <c:v>0.1023898698056</c:v>
                </c:pt>
                <c:pt idx="5742">
                  <c:v>0.102407704654895</c:v>
                </c:pt>
                <c:pt idx="5743">
                  <c:v>0.102425539504191</c:v>
                </c:pt>
                <c:pt idx="5744">
                  <c:v>0.10244337435348599</c:v>
                </c:pt>
                <c:pt idx="5745">
                  <c:v>0.102461209202782</c:v>
                </c:pt>
                <c:pt idx="5746">
                  <c:v>0.102479044052077</c:v>
                </c:pt>
                <c:pt idx="5747">
                  <c:v>0.102496878901373</c:v>
                </c:pt>
                <c:pt idx="5748">
                  <c:v>0.10251471375066799</c:v>
                </c:pt>
                <c:pt idx="5749">
                  <c:v>0.102532548599964</c:v>
                </c:pt>
                <c:pt idx="5750">
                  <c:v>0.102550383449259</c:v>
                </c:pt>
                <c:pt idx="5751">
                  <c:v>0.102568218298555</c:v>
                </c:pt>
                <c:pt idx="5752">
                  <c:v>0.10258605314785001</c:v>
                </c:pt>
                <c:pt idx="5753">
                  <c:v>0.102603887997146</c:v>
                </c:pt>
                <c:pt idx="5754">
                  <c:v>0.102621722846441</c:v>
                </c:pt>
                <c:pt idx="5755">
                  <c:v>0.102639557695737</c:v>
                </c:pt>
                <c:pt idx="5756">
                  <c:v>0.10265739254503201</c:v>
                </c:pt>
                <c:pt idx="5757">
                  <c:v>0.10267522739432799</c:v>
                </c:pt>
                <c:pt idx="5758">
                  <c:v>0.102693062243624</c:v>
                </c:pt>
                <c:pt idx="5759">
                  <c:v>0.102710897092919</c:v>
                </c:pt>
                <c:pt idx="5760">
                  <c:v>0.102728731942215</c:v>
                </c:pt>
                <c:pt idx="5761">
                  <c:v>0.10274656679150999</c:v>
                </c:pt>
                <c:pt idx="5762">
                  <c:v>0.102764401640806</c:v>
                </c:pt>
                <c:pt idx="5763">
                  <c:v>0.102782236490101</c:v>
                </c:pt>
                <c:pt idx="5764">
                  <c:v>0.102800071339397</c:v>
                </c:pt>
                <c:pt idx="5765">
                  <c:v>0.10281790618869199</c:v>
                </c:pt>
                <c:pt idx="5766">
                  <c:v>0.102835741037988</c:v>
                </c:pt>
                <c:pt idx="5767">
                  <c:v>0.102853575887283</c:v>
                </c:pt>
                <c:pt idx="5768">
                  <c:v>0.102871410736579</c:v>
                </c:pt>
                <c:pt idx="5769">
                  <c:v>0.10288924558587401</c:v>
                </c:pt>
                <c:pt idx="5770">
                  <c:v>0.10290708043517</c:v>
                </c:pt>
                <c:pt idx="5771">
                  <c:v>0.102924915284465</c:v>
                </c:pt>
                <c:pt idx="5772">
                  <c:v>0.102942750133761</c:v>
                </c:pt>
                <c:pt idx="5773">
                  <c:v>0.10296058498305601</c:v>
                </c:pt>
                <c:pt idx="5774">
                  <c:v>0.10297841983235199</c:v>
                </c:pt>
                <c:pt idx="5775">
                  <c:v>0.102996254681647</c:v>
                </c:pt>
                <c:pt idx="5776">
                  <c:v>0.103014089530943</c:v>
                </c:pt>
                <c:pt idx="5777">
                  <c:v>0.103031924380238</c:v>
                </c:pt>
                <c:pt idx="5778">
                  <c:v>0.10304975922953399</c:v>
                </c:pt>
                <c:pt idx="5779">
                  <c:v>0.10306759407883</c:v>
                </c:pt>
                <c:pt idx="5780">
                  <c:v>0.103085428928125</c:v>
                </c:pt>
                <c:pt idx="5781">
                  <c:v>0.103103263777421</c:v>
                </c:pt>
                <c:pt idx="5782">
                  <c:v>0.10312109862671601</c:v>
                </c:pt>
                <c:pt idx="5783">
                  <c:v>0.103138933476012</c:v>
                </c:pt>
                <c:pt idx="5784">
                  <c:v>0.103156768325307</c:v>
                </c:pt>
                <c:pt idx="5785">
                  <c:v>0.103174603174603</c:v>
                </c:pt>
                <c:pt idx="5786">
                  <c:v>0.10319243802389801</c:v>
                </c:pt>
                <c:pt idx="5787">
                  <c:v>0.103210272873194</c:v>
                </c:pt>
                <c:pt idx="5788">
                  <c:v>0.103228107722489</c:v>
                </c:pt>
                <c:pt idx="5789">
                  <c:v>0.103245942571785</c:v>
                </c:pt>
                <c:pt idx="5790">
                  <c:v>0.10326377742108001</c:v>
                </c:pt>
                <c:pt idx="5791">
                  <c:v>0.10328161227037599</c:v>
                </c:pt>
                <c:pt idx="5792">
                  <c:v>0.103299447119671</c:v>
                </c:pt>
                <c:pt idx="5793">
                  <c:v>0.103317281968967</c:v>
                </c:pt>
                <c:pt idx="5794">
                  <c:v>0.103335116818262</c:v>
                </c:pt>
                <c:pt idx="5795">
                  <c:v>0.10335295166755799</c:v>
                </c:pt>
                <c:pt idx="5796">
                  <c:v>0.103370786516853</c:v>
                </c:pt>
                <c:pt idx="5797">
                  <c:v>0.103388621366149</c:v>
                </c:pt>
                <c:pt idx="5798">
                  <c:v>0.103406456215444</c:v>
                </c:pt>
                <c:pt idx="5799">
                  <c:v>0.10342429106474001</c:v>
                </c:pt>
                <c:pt idx="5800">
                  <c:v>0.103442125914036</c:v>
                </c:pt>
                <c:pt idx="5801">
                  <c:v>0.103459960763331</c:v>
                </c:pt>
                <c:pt idx="5802">
                  <c:v>0.103477795612627</c:v>
                </c:pt>
                <c:pt idx="5803">
                  <c:v>0.10349563046192201</c:v>
                </c:pt>
                <c:pt idx="5804">
                  <c:v>0.10351346531121799</c:v>
                </c:pt>
                <c:pt idx="5805">
                  <c:v>0.103531300160513</c:v>
                </c:pt>
                <c:pt idx="5806">
                  <c:v>0.103549135009809</c:v>
                </c:pt>
                <c:pt idx="5807">
                  <c:v>0.103566969859104</c:v>
                </c:pt>
                <c:pt idx="5808">
                  <c:v>0.10358480470839999</c:v>
                </c:pt>
                <c:pt idx="5809">
                  <c:v>0.103602639557695</c:v>
                </c:pt>
                <c:pt idx="5810">
                  <c:v>0.103620474406991</c:v>
                </c:pt>
                <c:pt idx="5811">
                  <c:v>0.103638309256286</c:v>
                </c:pt>
                <c:pt idx="5812">
                  <c:v>0.10365614410558199</c:v>
                </c:pt>
                <c:pt idx="5813">
                  <c:v>0.103673978954877</c:v>
                </c:pt>
                <c:pt idx="5814">
                  <c:v>0.103691813804173</c:v>
                </c:pt>
                <c:pt idx="5815">
                  <c:v>0.103709648653468</c:v>
                </c:pt>
                <c:pt idx="5816">
                  <c:v>0.10372748350276401</c:v>
                </c:pt>
                <c:pt idx="5817">
                  <c:v>0.103745318352059</c:v>
                </c:pt>
                <c:pt idx="5818">
                  <c:v>0.103763153201355</c:v>
                </c:pt>
                <c:pt idx="5819">
                  <c:v>0.10378098805065</c:v>
                </c:pt>
                <c:pt idx="5820">
                  <c:v>0.10379882289994601</c:v>
                </c:pt>
                <c:pt idx="5821">
                  <c:v>0.10381665774924199</c:v>
                </c:pt>
                <c:pt idx="5822">
                  <c:v>0.103834492598537</c:v>
                </c:pt>
                <c:pt idx="5823">
                  <c:v>0.103852327447833</c:v>
                </c:pt>
                <c:pt idx="5824">
                  <c:v>0.103870162297128</c:v>
                </c:pt>
                <c:pt idx="5825">
                  <c:v>0.10388799714642399</c:v>
                </c:pt>
                <c:pt idx="5826">
                  <c:v>0.103905831995719</c:v>
                </c:pt>
                <c:pt idx="5827">
                  <c:v>0.103923666845015</c:v>
                </c:pt>
                <c:pt idx="5828">
                  <c:v>0.10394150169431</c:v>
                </c:pt>
                <c:pt idx="5829">
                  <c:v>0.10395933654360601</c:v>
                </c:pt>
                <c:pt idx="5830">
                  <c:v>0.103977171392901</c:v>
                </c:pt>
                <c:pt idx="5831">
                  <c:v>0.103995006242197</c:v>
                </c:pt>
                <c:pt idx="5832">
                  <c:v>0.104012841091492</c:v>
                </c:pt>
                <c:pt idx="5833">
                  <c:v>0.10403067594078801</c:v>
                </c:pt>
                <c:pt idx="5834">
                  <c:v>0.104048510790083</c:v>
                </c:pt>
                <c:pt idx="5835">
                  <c:v>0.104066345639379</c:v>
                </c:pt>
                <c:pt idx="5836">
                  <c:v>0.104084180488674</c:v>
                </c:pt>
                <c:pt idx="5837">
                  <c:v>0.10410201533797001</c:v>
                </c:pt>
                <c:pt idx="5838">
                  <c:v>0.104119850187265</c:v>
                </c:pt>
                <c:pt idx="5839">
                  <c:v>0.104137685036561</c:v>
                </c:pt>
                <c:pt idx="5840">
                  <c:v>0.104155519885856</c:v>
                </c:pt>
                <c:pt idx="5841">
                  <c:v>0.104173354735152</c:v>
                </c:pt>
                <c:pt idx="5842">
                  <c:v>0.10419118958444799</c:v>
                </c:pt>
                <c:pt idx="5843">
                  <c:v>0.104209024433743</c:v>
                </c:pt>
                <c:pt idx="5844">
                  <c:v>0.104226859283039</c:v>
                </c:pt>
                <c:pt idx="5845">
                  <c:v>0.104244694132334</c:v>
                </c:pt>
                <c:pt idx="5846">
                  <c:v>0.10426252898163001</c:v>
                </c:pt>
                <c:pt idx="5847">
                  <c:v>0.104280363830925</c:v>
                </c:pt>
                <c:pt idx="5848">
                  <c:v>0.104298198680221</c:v>
                </c:pt>
                <c:pt idx="5849">
                  <c:v>0.104316033529516</c:v>
                </c:pt>
                <c:pt idx="5850">
                  <c:v>0.10433386837881201</c:v>
                </c:pt>
                <c:pt idx="5851">
                  <c:v>0.104351703228107</c:v>
                </c:pt>
                <c:pt idx="5852">
                  <c:v>0.104369538077403</c:v>
                </c:pt>
                <c:pt idx="5853">
                  <c:v>0.104387372926698</c:v>
                </c:pt>
                <c:pt idx="5854">
                  <c:v>0.10440520777599401</c:v>
                </c:pt>
                <c:pt idx="5855">
                  <c:v>0.10442304262528899</c:v>
                </c:pt>
                <c:pt idx="5856">
                  <c:v>0.104440877474585</c:v>
                </c:pt>
                <c:pt idx="5857">
                  <c:v>0.10445871232388</c:v>
                </c:pt>
                <c:pt idx="5858">
                  <c:v>0.104476547173176</c:v>
                </c:pt>
                <c:pt idx="5859">
                  <c:v>0.10449438202247099</c:v>
                </c:pt>
                <c:pt idx="5860">
                  <c:v>0.104512216871767</c:v>
                </c:pt>
                <c:pt idx="5861">
                  <c:v>0.104530051721062</c:v>
                </c:pt>
                <c:pt idx="5862">
                  <c:v>0.104547886570358</c:v>
                </c:pt>
                <c:pt idx="5863">
                  <c:v>0.10456572141965401</c:v>
                </c:pt>
                <c:pt idx="5864">
                  <c:v>0.104583556268949</c:v>
                </c:pt>
                <c:pt idx="5865">
                  <c:v>0.104601391118245</c:v>
                </c:pt>
                <c:pt idx="5866">
                  <c:v>0.10461922596754</c:v>
                </c:pt>
                <c:pt idx="5867">
                  <c:v>0.10463706081683601</c:v>
                </c:pt>
                <c:pt idx="5868">
                  <c:v>0.104654895666131</c:v>
                </c:pt>
                <c:pt idx="5869">
                  <c:v>0.104672730515427</c:v>
                </c:pt>
                <c:pt idx="5870">
                  <c:v>0.104690565364722</c:v>
                </c:pt>
                <c:pt idx="5871">
                  <c:v>0.104708400214018</c:v>
                </c:pt>
                <c:pt idx="5872">
                  <c:v>0.10472623506331299</c:v>
                </c:pt>
                <c:pt idx="5873">
                  <c:v>0.104744069912609</c:v>
                </c:pt>
                <c:pt idx="5874">
                  <c:v>0.104761904761904</c:v>
                </c:pt>
                <c:pt idx="5875">
                  <c:v>0.1047797396112</c:v>
                </c:pt>
                <c:pt idx="5876">
                  <c:v>0.10479757446049499</c:v>
                </c:pt>
                <c:pt idx="5877">
                  <c:v>0.104815409309791</c:v>
                </c:pt>
                <c:pt idx="5878">
                  <c:v>0.104833244159086</c:v>
                </c:pt>
                <c:pt idx="5879">
                  <c:v>0.104851079008382</c:v>
                </c:pt>
                <c:pt idx="5880">
                  <c:v>0.10486891385767701</c:v>
                </c:pt>
                <c:pt idx="5881">
                  <c:v>0.104886748706973</c:v>
                </c:pt>
                <c:pt idx="5882">
                  <c:v>0.104904583556268</c:v>
                </c:pt>
                <c:pt idx="5883">
                  <c:v>0.104922418405564</c:v>
                </c:pt>
                <c:pt idx="5884">
                  <c:v>0.10494025325485901</c:v>
                </c:pt>
                <c:pt idx="5885">
                  <c:v>0.104958088104155</c:v>
                </c:pt>
                <c:pt idx="5886">
                  <c:v>0.104975922953451</c:v>
                </c:pt>
                <c:pt idx="5887">
                  <c:v>0.104993757802746</c:v>
                </c:pt>
                <c:pt idx="5888">
                  <c:v>0.105011592652042</c:v>
                </c:pt>
                <c:pt idx="5889">
                  <c:v>0.10502942750133699</c:v>
                </c:pt>
                <c:pt idx="5890">
                  <c:v>0.105047262350633</c:v>
                </c:pt>
                <c:pt idx="5891">
                  <c:v>0.105065097199928</c:v>
                </c:pt>
                <c:pt idx="5892">
                  <c:v>0.105082932049224</c:v>
                </c:pt>
                <c:pt idx="5893">
                  <c:v>0.10510076689851899</c:v>
                </c:pt>
                <c:pt idx="5894">
                  <c:v>0.105118601747815</c:v>
                </c:pt>
                <c:pt idx="5895">
                  <c:v>0.10513643659711</c:v>
                </c:pt>
                <c:pt idx="5896">
                  <c:v>0.105154271446406</c:v>
                </c:pt>
                <c:pt idx="5897">
                  <c:v>0.10517210629570101</c:v>
                </c:pt>
                <c:pt idx="5898">
                  <c:v>0.105189941144997</c:v>
                </c:pt>
                <c:pt idx="5899">
                  <c:v>0.105207775994292</c:v>
                </c:pt>
                <c:pt idx="5900">
                  <c:v>0.105225610843588</c:v>
                </c:pt>
                <c:pt idx="5901">
                  <c:v>0.10524344569288301</c:v>
                </c:pt>
                <c:pt idx="5902">
                  <c:v>0.10526128054217899</c:v>
                </c:pt>
                <c:pt idx="5903">
                  <c:v>0.105279115391474</c:v>
                </c:pt>
                <c:pt idx="5904">
                  <c:v>0.10529695024077</c:v>
                </c:pt>
                <c:pt idx="5905">
                  <c:v>0.10531478509006501</c:v>
                </c:pt>
                <c:pt idx="5906">
                  <c:v>0.10533261993936099</c:v>
                </c:pt>
                <c:pt idx="5907">
                  <c:v>0.105350454788657</c:v>
                </c:pt>
                <c:pt idx="5908">
                  <c:v>0.105368289637952</c:v>
                </c:pt>
                <c:pt idx="5909">
                  <c:v>0.105386124487248</c:v>
                </c:pt>
                <c:pt idx="5910">
                  <c:v>0.10540395933654299</c:v>
                </c:pt>
                <c:pt idx="5911">
                  <c:v>0.105421794185839</c:v>
                </c:pt>
                <c:pt idx="5912">
                  <c:v>0.105439629035134</c:v>
                </c:pt>
                <c:pt idx="5913">
                  <c:v>0.10545746388443</c:v>
                </c:pt>
                <c:pt idx="5914">
                  <c:v>0.10547529873372501</c:v>
                </c:pt>
                <c:pt idx="5915">
                  <c:v>0.105493133583021</c:v>
                </c:pt>
                <c:pt idx="5916">
                  <c:v>0.105510968432316</c:v>
                </c:pt>
                <c:pt idx="5917">
                  <c:v>0.105528803281612</c:v>
                </c:pt>
                <c:pt idx="5918">
                  <c:v>0.10554663813090701</c:v>
                </c:pt>
                <c:pt idx="5919">
                  <c:v>0.10556447298020299</c:v>
                </c:pt>
                <c:pt idx="5920">
                  <c:v>0.105582307829498</c:v>
                </c:pt>
                <c:pt idx="5921">
                  <c:v>0.105600142678794</c:v>
                </c:pt>
                <c:pt idx="5922">
                  <c:v>0.105617977528089</c:v>
                </c:pt>
                <c:pt idx="5923">
                  <c:v>0.10563581237738499</c:v>
                </c:pt>
                <c:pt idx="5924">
                  <c:v>0.10565364722668</c:v>
                </c:pt>
                <c:pt idx="5925">
                  <c:v>0.105671482075976</c:v>
                </c:pt>
                <c:pt idx="5926">
                  <c:v>0.105689316925271</c:v>
                </c:pt>
                <c:pt idx="5927">
                  <c:v>0.10570715177456699</c:v>
                </c:pt>
                <c:pt idx="5928">
                  <c:v>0.105724986623863</c:v>
                </c:pt>
                <c:pt idx="5929">
                  <c:v>0.105742821473158</c:v>
                </c:pt>
                <c:pt idx="5930">
                  <c:v>0.105760656322454</c:v>
                </c:pt>
                <c:pt idx="5931">
                  <c:v>0.10577849117174901</c:v>
                </c:pt>
                <c:pt idx="5932">
                  <c:v>0.105796326021045</c:v>
                </c:pt>
                <c:pt idx="5933">
                  <c:v>0.10581416087034</c:v>
                </c:pt>
                <c:pt idx="5934">
                  <c:v>0.105831995719636</c:v>
                </c:pt>
                <c:pt idx="5935">
                  <c:v>0.10584983056893101</c:v>
                </c:pt>
                <c:pt idx="5936">
                  <c:v>0.10586766541822699</c:v>
                </c:pt>
                <c:pt idx="5937">
                  <c:v>0.105885500267522</c:v>
                </c:pt>
                <c:pt idx="5938">
                  <c:v>0.105903335116818</c:v>
                </c:pt>
                <c:pt idx="5939">
                  <c:v>0.105921169966113</c:v>
                </c:pt>
                <c:pt idx="5940">
                  <c:v>0.10593900481540899</c:v>
                </c:pt>
                <c:pt idx="5941">
                  <c:v>0.105956839664704</c:v>
                </c:pt>
                <c:pt idx="5942">
                  <c:v>0.105974674514</c:v>
                </c:pt>
                <c:pt idx="5943">
                  <c:v>0.105992509363295</c:v>
                </c:pt>
                <c:pt idx="5944">
                  <c:v>0.10601034421259101</c:v>
                </c:pt>
                <c:pt idx="5945">
                  <c:v>0.106028179061886</c:v>
                </c:pt>
                <c:pt idx="5946">
                  <c:v>0.106046013911182</c:v>
                </c:pt>
                <c:pt idx="5947">
                  <c:v>0.106063848760477</c:v>
                </c:pt>
                <c:pt idx="5948">
                  <c:v>0.10608168360977301</c:v>
                </c:pt>
                <c:pt idx="5949">
                  <c:v>0.10609951845906899</c:v>
                </c:pt>
                <c:pt idx="5950">
                  <c:v>0.106117353308364</c:v>
                </c:pt>
                <c:pt idx="5951">
                  <c:v>0.10613518815766</c:v>
                </c:pt>
                <c:pt idx="5952">
                  <c:v>0.10615302300695501</c:v>
                </c:pt>
                <c:pt idx="5953">
                  <c:v>0.10617085785625099</c:v>
                </c:pt>
                <c:pt idx="5954">
                  <c:v>0.106188692705546</c:v>
                </c:pt>
                <c:pt idx="5955">
                  <c:v>0.106206527554842</c:v>
                </c:pt>
                <c:pt idx="5956">
                  <c:v>0.106224362404137</c:v>
                </c:pt>
                <c:pt idx="5957">
                  <c:v>0.10624219725343299</c:v>
                </c:pt>
                <c:pt idx="5958">
                  <c:v>0.106260032102728</c:v>
                </c:pt>
                <c:pt idx="5959">
                  <c:v>0.106277866952024</c:v>
                </c:pt>
                <c:pt idx="5960">
                  <c:v>0.106295701801319</c:v>
                </c:pt>
                <c:pt idx="5961">
                  <c:v>0.10631353665061501</c:v>
                </c:pt>
                <c:pt idx="5962">
                  <c:v>0.10633137149991</c:v>
                </c:pt>
                <c:pt idx="5963">
                  <c:v>0.106349206349206</c:v>
                </c:pt>
                <c:pt idx="5964">
                  <c:v>0.106367041198501</c:v>
                </c:pt>
                <c:pt idx="5965">
                  <c:v>0.10638487604779701</c:v>
                </c:pt>
                <c:pt idx="5966">
                  <c:v>0.106402710897092</c:v>
                </c:pt>
                <c:pt idx="5967">
                  <c:v>0.106420545746388</c:v>
                </c:pt>
                <c:pt idx="5968">
                  <c:v>0.106438380595683</c:v>
                </c:pt>
                <c:pt idx="5969">
                  <c:v>0.106456215444979</c:v>
                </c:pt>
                <c:pt idx="5970">
                  <c:v>0.10647405029427499</c:v>
                </c:pt>
                <c:pt idx="5971">
                  <c:v>0.10649188514357</c:v>
                </c:pt>
                <c:pt idx="5972">
                  <c:v>0.106509719992866</c:v>
                </c:pt>
                <c:pt idx="5973">
                  <c:v>0.106527554842161</c:v>
                </c:pt>
                <c:pt idx="5974">
                  <c:v>0.10654538969145699</c:v>
                </c:pt>
                <c:pt idx="5975">
                  <c:v>0.106563224540752</c:v>
                </c:pt>
                <c:pt idx="5976">
                  <c:v>0.106581059390048</c:v>
                </c:pt>
                <c:pt idx="5977">
                  <c:v>0.106598894239343</c:v>
                </c:pt>
                <c:pt idx="5978">
                  <c:v>0.10661672908863901</c:v>
                </c:pt>
                <c:pt idx="5979">
                  <c:v>0.106634563937934</c:v>
                </c:pt>
                <c:pt idx="5980">
                  <c:v>0.10665239878723</c:v>
                </c:pt>
                <c:pt idx="5981">
                  <c:v>0.106670233636525</c:v>
                </c:pt>
                <c:pt idx="5982">
                  <c:v>0.10668806848582101</c:v>
                </c:pt>
                <c:pt idx="5983">
                  <c:v>0.106705903335116</c:v>
                </c:pt>
                <c:pt idx="5984">
                  <c:v>0.106723738184412</c:v>
                </c:pt>
                <c:pt idx="5985">
                  <c:v>0.106741573033707</c:v>
                </c:pt>
                <c:pt idx="5986">
                  <c:v>0.106759407883003</c:v>
                </c:pt>
                <c:pt idx="5987">
                  <c:v>0.10677724273229799</c:v>
                </c:pt>
                <c:pt idx="5988">
                  <c:v>0.106795077581594</c:v>
                </c:pt>
                <c:pt idx="5989">
                  <c:v>0.106812912430889</c:v>
                </c:pt>
                <c:pt idx="5990">
                  <c:v>0.106830747280185</c:v>
                </c:pt>
                <c:pt idx="5991">
                  <c:v>0.10684858212948101</c:v>
                </c:pt>
                <c:pt idx="5992">
                  <c:v>0.106866416978776</c:v>
                </c:pt>
                <c:pt idx="5993">
                  <c:v>0.106884251828072</c:v>
                </c:pt>
                <c:pt idx="5994">
                  <c:v>0.106902086677367</c:v>
                </c:pt>
                <c:pt idx="5995">
                  <c:v>0.10691992152666301</c:v>
                </c:pt>
                <c:pt idx="5996">
                  <c:v>0.106937756375958</c:v>
                </c:pt>
                <c:pt idx="5997">
                  <c:v>0.106955591225254</c:v>
                </c:pt>
                <c:pt idx="5998">
                  <c:v>0.106973426074549</c:v>
                </c:pt>
                <c:pt idx="5999">
                  <c:v>0.10699126092384501</c:v>
                </c:pt>
                <c:pt idx="6000">
                  <c:v>0.10700909577313999</c:v>
                </c:pt>
                <c:pt idx="6001">
                  <c:v>0.107026930622436</c:v>
                </c:pt>
                <c:pt idx="6002">
                  <c:v>0.107044765471731</c:v>
                </c:pt>
                <c:pt idx="6003">
                  <c:v>0.107062600321027</c:v>
                </c:pt>
                <c:pt idx="6004">
                  <c:v>0.10708043517032199</c:v>
                </c:pt>
                <c:pt idx="6005">
                  <c:v>0.107098270019618</c:v>
                </c:pt>
                <c:pt idx="6006">
                  <c:v>0.107116104868913</c:v>
                </c:pt>
                <c:pt idx="6007">
                  <c:v>0.107133939718209</c:v>
                </c:pt>
                <c:pt idx="6008">
                  <c:v>0.10715177456750399</c:v>
                </c:pt>
                <c:pt idx="6009">
                  <c:v>0.1071696094168</c:v>
                </c:pt>
                <c:pt idx="6010">
                  <c:v>0.107187444266095</c:v>
                </c:pt>
                <c:pt idx="6011">
                  <c:v>0.107205279115391</c:v>
                </c:pt>
                <c:pt idx="6012">
                  <c:v>0.10722311396468601</c:v>
                </c:pt>
                <c:pt idx="6013">
                  <c:v>0.107240948813982</c:v>
                </c:pt>
                <c:pt idx="6014">
                  <c:v>0.107258783663278</c:v>
                </c:pt>
                <c:pt idx="6015">
                  <c:v>0.107276618512573</c:v>
                </c:pt>
                <c:pt idx="6016">
                  <c:v>0.107294453361869</c:v>
                </c:pt>
                <c:pt idx="6017">
                  <c:v>0.10731228821116399</c:v>
                </c:pt>
                <c:pt idx="6018">
                  <c:v>0.10733012306046</c:v>
                </c:pt>
                <c:pt idx="6019">
                  <c:v>0.107347957909755</c:v>
                </c:pt>
                <c:pt idx="6020">
                  <c:v>0.107365792759051</c:v>
                </c:pt>
                <c:pt idx="6021">
                  <c:v>0.10738362760834599</c:v>
                </c:pt>
                <c:pt idx="6022">
                  <c:v>0.107401462457642</c:v>
                </c:pt>
                <c:pt idx="6023">
                  <c:v>0.107419297306937</c:v>
                </c:pt>
                <c:pt idx="6024">
                  <c:v>0.107437132156233</c:v>
                </c:pt>
                <c:pt idx="6025">
                  <c:v>0.10745496700552799</c:v>
                </c:pt>
                <c:pt idx="6026">
                  <c:v>0.107472801854824</c:v>
                </c:pt>
                <c:pt idx="6027">
                  <c:v>0.107490636704119</c:v>
                </c:pt>
                <c:pt idx="6028">
                  <c:v>0.107508471553415</c:v>
                </c:pt>
                <c:pt idx="6029">
                  <c:v>0.10752630640271001</c:v>
                </c:pt>
                <c:pt idx="6030">
                  <c:v>0.107544141252006</c:v>
                </c:pt>
                <c:pt idx="6031">
                  <c:v>0.107561976101301</c:v>
                </c:pt>
                <c:pt idx="6032">
                  <c:v>0.107579810950597</c:v>
                </c:pt>
                <c:pt idx="6033">
                  <c:v>0.10759764579989201</c:v>
                </c:pt>
                <c:pt idx="6034">
                  <c:v>0.10761548064918799</c:v>
                </c:pt>
                <c:pt idx="6035">
                  <c:v>0.107633315498484</c:v>
                </c:pt>
                <c:pt idx="6036">
                  <c:v>0.107651150347779</c:v>
                </c:pt>
                <c:pt idx="6037">
                  <c:v>0.107668985197075</c:v>
                </c:pt>
                <c:pt idx="6038">
                  <c:v>0.10768682004636999</c:v>
                </c:pt>
                <c:pt idx="6039">
                  <c:v>0.107704654895666</c:v>
                </c:pt>
                <c:pt idx="6040">
                  <c:v>0.107722489744961</c:v>
                </c:pt>
                <c:pt idx="6041">
                  <c:v>0.107740324594257</c:v>
                </c:pt>
                <c:pt idx="6042">
                  <c:v>0.10775815944355201</c:v>
                </c:pt>
                <c:pt idx="6043">
                  <c:v>0.107775994292848</c:v>
                </c:pt>
                <c:pt idx="6044">
                  <c:v>0.107793829142143</c:v>
                </c:pt>
                <c:pt idx="6045">
                  <c:v>0.107811663991439</c:v>
                </c:pt>
                <c:pt idx="6046">
                  <c:v>0.10782949884073401</c:v>
                </c:pt>
                <c:pt idx="6047">
                  <c:v>0.10784733369003</c:v>
                </c:pt>
                <c:pt idx="6048">
                  <c:v>0.107865168539325</c:v>
                </c:pt>
                <c:pt idx="6049">
                  <c:v>0.107883003388621</c:v>
                </c:pt>
                <c:pt idx="6050">
                  <c:v>0.10790083823791601</c:v>
                </c:pt>
                <c:pt idx="6051">
                  <c:v>0.10791867308721199</c:v>
                </c:pt>
                <c:pt idx="6052">
                  <c:v>0.107936507936507</c:v>
                </c:pt>
                <c:pt idx="6053">
                  <c:v>0.107954342785803</c:v>
                </c:pt>
                <c:pt idx="6054">
                  <c:v>0.107972177635098</c:v>
                </c:pt>
                <c:pt idx="6055">
                  <c:v>0.10799001248439399</c:v>
                </c:pt>
                <c:pt idx="6056">
                  <c:v>0.10800784733369</c:v>
                </c:pt>
                <c:pt idx="6057">
                  <c:v>0.108025682182985</c:v>
                </c:pt>
                <c:pt idx="6058">
                  <c:v>0.108043517032281</c:v>
                </c:pt>
                <c:pt idx="6059">
                  <c:v>0.10806135188157601</c:v>
                </c:pt>
                <c:pt idx="6060">
                  <c:v>0.108079186730872</c:v>
                </c:pt>
                <c:pt idx="6061">
                  <c:v>0.108097021580167</c:v>
                </c:pt>
                <c:pt idx="6062">
                  <c:v>0.108114856429463</c:v>
                </c:pt>
                <c:pt idx="6063">
                  <c:v>0.10813269127875801</c:v>
                </c:pt>
                <c:pt idx="6064">
                  <c:v>0.10815052612805399</c:v>
                </c:pt>
                <c:pt idx="6065">
                  <c:v>0.108168360977349</c:v>
                </c:pt>
                <c:pt idx="6066">
                  <c:v>0.108186195826645</c:v>
                </c:pt>
                <c:pt idx="6067">
                  <c:v>0.10820403067594001</c:v>
                </c:pt>
                <c:pt idx="6068">
                  <c:v>0.10822186552523599</c:v>
                </c:pt>
                <c:pt idx="6069">
                  <c:v>0.108239700374531</c:v>
                </c:pt>
                <c:pt idx="6070">
                  <c:v>0.108257535223827</c:v>
                </c:pt>
                <c:pt idx="6071">
                  <c:v>0.108275370073122</c:v>
                </c:pt>
                <c:pt idx="6072">
                  <c:v>0.10829320492241799</c:v>
                </c:pt>
                <c:pt idx="6073">
                  <c:v>0.108311039771713</c:v>
                </c:pt>
                <c:pt idx="6074">
                  <c:v>0.108328874621009</c:v>
                </c:pt>
                <c:pt idx="6075">
                  <c:v>0.108346709470304</c:v>
                </c:pt>
                <c:pt idx="6076">
                  <c:v>0.10836454431960001</c:v>
                </c:pt>
                <c:pt idx="6077">
                  <c:v>0.108382379168896</c:v>
                </c:pt>
                <c:pt idx="6078">
                  <c:v>0.108400214018191</c:v>
                </c:pt>
                <c:pt idx="6079">
                  <c:v>0.108418048867487</c:v>
                </c:pt>
                <c:pt idx="6080">
                  <c:v>0.10843588371678201</c:v>
                </c:pt>
                <c:pt idx="6081">
                  <c:v>0.10845371856607799</c:v>
                </c:pt>
                <c:pt idx="6082">
                  <c:v>0.108471553415373</c:v>
                </c:pt>
                <c:pt idx="6083">
                  <c:v>0.108489388264669</c:v>
                </c:pt>
                <c:pt idx="6084">
                  <c:v>0.108507223113964</c:v>
                </c:pt>
                <c:pt idx="6085">
                  <c:v>0.10852505796325999</c:v>
                </c:pt>
                <c:pt idx="6086">
                  <c:v>0.108542892812555</c:v>
                </c:pt>
                <c:pt idx="6087">
                  <c:v>0.108560727661851</c:v>
                </c:pt>
                <c:pt idx="6088">
                  <c:v>0.108578562511146</c:v>
                </c:pt>
                <c:pt idx="6089">
                  <c:v>0.10859639736044201</c:v>
                </c:pt>
                <c:pt idx="6090">
                  <c:v>0.108614232209737</c:v>
                </c:pt>
                <c:pt idx="6091">
                  <c:v>0.108632067059033</c:v>
                </c:pt>
                <c:pt idx="6092">
                  <c:v>0.108649901908328</c:v>
                </c:pt>
                <c:pt idx="6093">
                  <c:v>0.10866773675762401</c:v>
                </c:pt>
                <c:pt idx="6094">
                  <c:v>0.108685571606919</c:v>
                </c:pt>
                <c:pt idx="6095">
                  <c:v>0.108703406456215</c:v>
                </c:pt>
                <c:pt idx="6096">
                  <c:v>0.10872124130551</c:v>
                </c:pt>
                <c:pt idx="6097">
                  <c:v>0.10873907615480601</c:v>
                </c:pt>
                <c:pt idx="6098">
                  <c:v>0.10875691100410199</c:v>
                </c:pt>
                <c:pt idx="6099">
                  <c:v>0.108774745853397</c:v>
                </c:pt>
                <c:pt idx="6100">
                  <c:v>0.108792580702693</c:v>
                </c:pt>
                <c:pt idx="6101">
                  <c:v>0.108810415551988</c:v>
                </c:pt>
                <c:pt idx="6102">
                  <c:v>0.10882825040128399</c:v>
                </c:pt>
                <c:pt idx="6103">
                  <c:v>0.108846085250579</c:v>
                </c:pt>
                <c:pt idx="6104">
                  <c:v>0.108863920099875</c:v>
                </c:pt>
                <c:pt idx="6105">
                  <c:v>0.10888175494917</c:v>
                </c:pt>
                <c:pt idx="6106">
                  <c:v>0.10889958979846601</c:v>
                </c:pt>
                <c:pt idx="6107">
                  <c:v>0.108917424647761</c:v>
                </c:pt>
                <c:pt idx="6108">
                  <c:v>0.108935259497057</c:v>
                </c:pt>
                <c:pt idx="6109">
                  <c:v>0.108953094346352</c:v>
                </c:pt>
                <c:pt idx="6110">
                  <c:v>0.10897092919564801</c:v>
                </c:pt>
                <c:pt idx="6111">
                  <c:v>0.108988764044943</c:v>
                </c:pt>
                <c:pt idx="6112">
                  <c:v>0.109006598894239</c:v>
                </c:pt>
                <c:pt idx="6113">
                  <c:v>0.109024433743534</c:v>
                </c:pt>
                <c:pt idx="6114">
                  <c:v>0.10904226859283001</c:v>
                </c:pt>
                <c:pt idx="6115">
                  <c:v>0.10906010344212499</c:v>
                </c:pt>
                <c:pt idx="6116">
                  <c:v>0.109077938291421</c:v>
                </c:pt>
                <c:pt idx="6117">
                  <c:v>0.109095773140716</c:v>
                </c:pt>
                <c:pt idx="6118">
                  <c:v>0.109113607990012</c:v>
                </c:pt>
                <c:pt idx="6119">
                  <c:v>0.10913144283930799</c:v>
                </c:pt>
                <c:pt idx="6120">
                  <c:v>0.109149277688603</c:v>
                </c:pt>
                <c:pt idx="6121">
                  <c:v>0.109167112537899</c:v>
                </c:pt>
                <c:pt idx="6122">
                  <c:v>0.109184947387194</c:v>
                </c:pt>
                <c:pt idx="6123">
                  <c:v>0.10920278223649001</c:v>
                </c:pt>
                <c:pt idx="6124">
                  <c:v>0.109220617085785</c:v>
                </c:pt>
                <c:pt idx="6125">
                  <c:v>0.109238451935081</c:v>
                </c:pt>
                <c:pt idx="6126">
                  <c:v>0.109256286784376</c:v>
                </c:pt>
                <c:pt idx="6127">
                  <c:v>0.10927412163367201</c:v>
                </c:pt>
                <c:pt idx="6128">
                  <c:v>0.109291956482967</c:v>
                </c:pt>
                <c:pt idx="6129">
                  <c:v>0.109309791332263</c:v>
                </c:pt>
                <c:pt idx="6130">
                  <c:v>0.109327626181558</c:v>
                </c:pt>
                <c:pt idx="6131">
                  <c:v>0.109345461030854</c:v>
                </c:pt>
                <c:pt idx="6132">
                  <c:v>0.10936329588014899</c:v>
                </c:pt>
                <c:pt idx="6133">
                  <c:v>0.109381130729445</c:v>
                </c:pt>
                <c:pt idx="6134">
                  <c:v>0.10939896557874</c:v>
                </c:pt>
                <c:pt idx="6135">
                  <c:v>0.109416800428036</c:v>
                </c:pt>
                <c:pt idx="6136">
                  <c:v>0.10943463527733099</c:v>
                </c:pt>
                <c:pt idx="6137">
                  <c:v>0.109452470126627</c:v>
                </c:pt>
                <c:pt idx="6138">
                  <c:v>0.109470304975922</c:v>
                </c:pt>
                <c:pt idx="6139">
                  <c:v>0.109488139825218</c:v>
                </c:pt>
                <c:pt idx="6140">
                  <c:v>0.10950597467451401</c:v>
                </c:pt>
                <c:pt idx="6141">
                  <c:v>0.109523809523809</c:v>
                </c:pt>
                <c:pt idx="6142">
                  <c:v>0.109541644373105</c:v>
                </c:pt>
                <c:pt idx="6143">
                  <c:v>0.1095594792224</c:v>
                </c:pt>
                <c:pt idx="6144">
                  <c:v>0.10957731407169601</c:v>
                </c:pt>
                <c:pt idx="6145">
                  <c:v>0.109595148920991</c:v>
                </c:pt>
                <c:pt idx="6146">
                  <c:v>0.109612983770287</c:v>
                </c:pt>
                <c:pt idx="6147">
                  <c:v>0.109630818619582</c:v>
                </c:pt>
                <c:pt idx="6148">
                  <c:v>0.109648653468878</c:v>
                </c:pt>
                <c:pt idx="6149">
                  <c:v>0.10966648831817299</c:v>
                </c:pt>
                <c:pt idx="6150">
                  <c:v>0.109684323167469</c:v>
                </c:pt>
                <c:pt idx="6151">
                  <c:v>0.109702158016764</c:v>
                </c:pt>
                <c:pt idx="6152">
                  <c:v>0.10971999286606</c:v>
                </c:pt>
                <c:pt idx="6153">
                  <c:v>0.10973782771535499</c:v>
                </c:pt>
                <c:pt idx="6154">
                  <c:v>0.109755662564651</c:v>
                </c:pt>
                <c:pt idx="6155">
                  <c:v>0.109773497413946</c:v>
                </c:pt>
                <c:pt idx="6156">
                  <c:v>0.109791332263242</c:v>
                </c:pt>
                <c:pt idx="6157">
                  <c:v>0.10980916711253701</c:v>
                </c:pt>
                <c:pt idx="6158">
                  <c:v>0.109827001961833</c:v>
                </c:pt>
                <c:pt idx="6159">
                  <c:v>0.109844836811128</c:v>
                </c:pt>
                <c:pt idx="6160">
                  <c:v>0.109862671660424</c:v>
                </c:pt>
                <c:pt idx="6161">
                  <c:v>0.10988050650971901</c:v>
                </c:pt>
                <c:pt idx="6162">
                  <c:v>0.10989834135901499</c:v>
                </c:pt>
                <c:pt idx="6163">
                  <c:v>0.109916176208311</c:v>
                </c:pt>
                <c:pt idx="6164">
                  <c:v>0.109934011057606</c:v>
                </c:pt>
                <c:pt idx="6165">
                  <c:v>0.109951845906902</c:v>
                </c:pt>
                <c:pt idx="6166">
                  <c:v>0.10996968075619699</c:v>
                </c:pt>
                <c:pt idx="6167">
                  <c:v>0.109987515605493</c:v>
                </c:pt>
                <c:pt idx="6168">
                  <c:v>0.110005350454788</c:v>
                </c:pt>
                <c:pt idx="6169">
                  <c:v>0.110023185304084</c:v>
                </c:pt>
                <c:pt idx="6170">
                  <c:v>0.11004102015337899</c:v>
                </c:pt>
                <c:pt idx="6171">
                  <c:v>0.110058855002675</c:v>
                </c:pt>
                <c:pt idx="6172">
                  <c:v>0.11007668985197</c:v>
                </c:pt>
                <c:pt idx="6173">
                  <c:v>0.110094524701266</c:v>
                </c:pt>
                <c:pt idx="6174">
                  <c:v>0.11011235955056101</c:v>
                </c:pt>
                <c:pt idx="6175">
                  <c:v>0.110130194399857</c:v>
                </c:pt>
                <c:pt idx="6176">
                  <c:v>0.110148029249152</c:v>
                </c:pt>
                <c:pt idx="6177">
                  <c:v>0.110165864098448</c:v>
                </c:pt>
                <c:pt idx="6178">
                  <c:v>0.11018369894774301</c:v>
                </c:pt>
                <c:pt idx="6179">
                  <c:v>0.11020153379703899</c:v>
                </c:pt>
                <c:pt idx="6180">
                  <c:v>0.110219368646334</c:v>
                </c:pt>
                <c:pt idx="6181">
                  <c:v>0.11023720349563</c:v>
                </c:pt>
                <c:pt idx="6182">
                  <c:v>0.110255038344925</c:v>
                </c:pt>
                <c:pt idx="6183">
                  <c:v>0.11027287319422099</c:v>
                </c:pt>
                <c:pt idx="6184">
                  <c:v>0.110290708043517</c:v>
                </c:pt>
                <c:pt idx="6185">
                  <c:v>0.110308542892812</c:v>
                </c:pt>
                <c:pt idx="6186">
                  <c:v>0.110326377742108</c:v>
                </c:pt>
                <c:pt idx="6187">
                  <c:v>0.11034421259140299</c:v>
                </c:pt>
                <c:pt idx="6188">
                  <c:v>0.110362047440699</c:v>
                </c:pt>
                <c:pt idx="6189">
                  <c:v>0.110379882289994</c:v>
                </c:pt>
                <c:pt idx="6190">
                  <c:v>0.11039771713929</c:v>
                </c:pt>
                <c:pt idx="6191">
                  <c:v>0.11041555198858501</c:v>
                </c:pt>
                <c:pt idx="6192">
                  <c:v>0.110433386837881</c:v>
                </c:pt>
                <c:pt idx="6193">
                  <c:v>0.110451221687176</c:v>
                </c:pt>
                <c:pt idx="6194">
                  <c:v>0.110469056536472</c:v>
                </c:pt>
                <c:pt idx="6195">
                  <c:v>0.11048689138576701</c:v>
                </c:pt>
                <c:pt idx="6196">
                  <c:v>0.11050472623506299</c:v>
                </c:pt>
                <c:pt idx="6197">
                  <c:v>0.110522561084358</c:v>
                </c:pt>
                <c:pt idx="6198">
                  <c:v>0.110540395933654</c:v>
                </c:pt>
                <c:pt idx="6199">
                  <c:v>0.110558230782949</c:v>
                </c:pt>
                <c:pt idx="6200">
                  <c:v>0.11057606563224499</c:v>
                </c:pt>
                <c:pt idx="6201">
                  <c:v>0.11059390048154</c:v>
                </c:pt>
                <c:pt idx="6202">
                  <c:v>0.110611735330836</c:v>
                </c:pt>
                <c:pt idx="6203">
                  <c:v>0.110629570180131</c:v>
                </c:pt>
                <c:pt idx="6204">
                  <c:v>0.11064740502942701</c:v>
                </c:pt>
                <c:pt idx="6205">
                  <c:v>0.110665239878723</c:v>
                </c:pt>
                <c:pt idx="6206">
                  <c:v>0.110683074728018</c:v>
                </c:pt>
                <c:pt idx="6207">
                  <c:v>0.110700909577314</c:v>
                </c:pt>
                <c:pt idx="6208">
                  <c:v>0.11071874442660901</c:v>
                </c:pt>
                <c:pt idx="6209">
                  <c:v>0.11073657927590499</c:v>
                </c:pt>
                <c:pt idx="6210">
                  <c:v>0.1107544141252</c:v>
                </c:pt>
                <c:pt idx="6211">
                  <c:v>0.110772248974496</c:v>
                </c:pt>
                <c:pt idx="6212">
                  <c:v>0.11079008382379101</c:v>
                </c:pt>
                <c:pt idx="6213">
                  <c:v>0.11080791867308699</c:v>
                </c:pt>
                <c:pt idx="6214">
                  <c:v>0.110825753522382</c:v>
                </c:pt>
                <c:pt idx="6215">
                  <c:v>0.110843588371678</c:v>
                </c:pt>
                <c:pt idx="6216">
                  <c:v>0.110861423220973</c:v>
                </c:pt>
                <c:pt idx="6217">
                  <c:v>0.11087925807026899</c:v>
                </c:pt>
                <c:pt idx="6218">
                  <c:v>0.110897092919564</c:v>
                </c:pt>
                <c:pt idx="6219">
                  <c:v>0.11091492776886</c:v>
                </c:pt>
                <c:pt idx="6220">
                  <c:v>0.110932762618155</c:v>
                </c:pt>
                <c:pt idx="6221">
                  <c:v>0.11095059746745101</c:v>
                </c:pt>
                <c:pt idx="6222">
                  <c:v>0.110968432316746</c:v>
                </c:pt>
                <c:pt idx="6223">
                  <c:v>0.110986267166042</c:v>
                </c:pt>
                <c:pt idx="6224">
                  <c:v>0.111004102015337</c:v>
                </c:pt>
                <c:pt idx="6225">
                  <c:v>0.11102193686463301</c:v>
                </c:pt>
                <c:pt idx="6226">
                  <c:v>0.11103977171392899</c:v>
                </c:pt>
                <c:pt idx="6227">
                  <c:v>0.111057606563224</c:v>
                </c:pt>
                <c:pt idx="6228">
                  <c:v>0.11107544141252</c:v>
                </c:pt>
                <c:pt idx="6229">
                  <c:v>0.111093276261815</c:v>
                </c:pt>
                <c:pt idx="6230">
                  <c:v>0.11111111111111099</c:v>
                </c:pt>
                <c:pt idx="6231">
                  <c:v>0.111128945960406</c:v>
                </c:pt>
                <c:pt idx="6232">
                  <c:v>0.111146780809702</c:v>
                </c:pt>
                <c:pt idx="6233">
                  <c:v>0.111164615658997</c:v>
                </c:pt>
                <c:pt idx="6234">
                  <c:v>0.11118245050829299</c:v>
                </c:pt>
                <c:pt idx="6235">
                  <c:v>0.111200285357588</c:v>
                </c:pt>
                <c:pt idx="6236">
                  <c:v>0.111218120206884</c:v>
                </c:pt>
                <c:pt idx="6237">
                  <c:v>0.111235955056179</c:v>
                </c:pt>
                <c:pt idx="6238">
                  <c:v>0.11125378990547501</c:v>
                </c:pt>
                <c:pt idx="6239">
                  <c:v>0.11127162475477</c:v>
                </c:pt>
                <c:pt idx="6240">
                  <c:v>0.111289459604066</c:v>
                </c:pt>
                <c:pt idx="6241">
                  <c:v>0.111307294453361</c:v>
                </c:pt>
                <c:pt idx="6242">
                  <c:v>0.11132512930265701</c:v>
                </c:pt>
                <c:pt idx="6243">
                  <c:v>0.111342964151952</c:v>
                </c:pt>
                <c:pt idx="6244">
                  <c:v>0.111360799001248</c:v>
                </c:pt>
                <c:pt idx="6245">
                  <c:v>0.111378633850543</c:v>
                </c:pt>
                <c:pt idx="6246">
                  <c:v>0.111396468699839</c:v>
                </c:pt>
                <c:pt idx="6247">
                  <c:v>0.11141430354913499</c:v>
                </c:pt>
                <c:pt idx="6248">
                  <c:v>0.11143213839843</c:v>
                </c:pt>
                <c:pt idx="6249">
                  <c:v>0.111449973247726</c:v>
                </c:pt>
                <c:pt idx="6250">
                  <c:v>0.111467808097021</c:v>
                </c:pt>
                <c:pt idx="6251">
                  <c:v>0.11148564294631701</c:v>
                </c:pt>
                <c:pt idx="6252">
                  <c:v>0.111503477795612</c:v>
                </c:pt>
                <c:pt idx="6253">
                  <c:v>0.111521312644908</c:v>
                </c:pt>
                <c:pt idx="6254">
                  <c:v>0.111539147494203</c:v>
                </c:pt>
                <c:pt idx="6255">
                  <c:v>0.11155698234349901</c:v>
                </c:pt>
                <c:pt idx="6256">
                  <c:v>0.111574817192794</c:v>
                </c:pt>
                <c:pt idx="6257">
                  <c:v>0.11159265204209</c:v>
                </c:pt>
                <c:pt idx="6258">
                  <c:v>0.111610486891385</c:v>
                </c:pt>
                <c:pt idx="6259">
                  <c:v>0.11162832174068101</c:v>
                </c:pt>
                <c:pt idx="6260">
                  <c:v>0.111646156589976</c:v>
                </c:pt>
                <c:pt idx="6261">
                  <c:v>0.111663991439272</c:v>
                </c:pt>
                <c:pt idx="6262">
                  <c:v>0.111681826288567</c:v>
                </c:pt>
                <c:pt idx="6263">
                  <c:v>0.111699661137863</c:v>
                </c:pt>
                <c:pt idx="6264">
                  <c:v>0.11171749598715799</c:v>
                </c:pt>
                <c:pt idx="6265">
                  <c:v>0.111735330836454</c:v>
                </c:pt>
                <c:pt idx="6266">
                  <c:v>0.111753165685749</c:v>
                </c:pt>
                <c:pt idx="6267">
                  <c:v>0.111771000535045</c:v>
                </c:pt>
                <c:pt idx="6268">
                  <c:v>0.11178883538434101</c:v>
                </c:pt>
                <c:pt idx="6269">
                  <c:v>0.111806670233636</c:v>
                </c:pt>
                <c:pt idx="6270">
                  <c:v>0.111824505082932</c:v>
                </c:pt>
                <c:pt idx="6271">
                  <c:v>0.111842339932227</c:v>
                </c:pt>
                <c:pt idx="6272">
                  <c:v>0.11186017478152301</c:v>
                </c:pt>
                <c:pt idx="6273">
                  <c:v>0.111878009630818</c:v>
                </c:pt>
                <c:pt idx="6274">
                  <c:v>0.111895844480114</c:v>
                </c:pt>
                <c:pt idx="6275">
                  <c:v>0.111913679329409</c:v>
                </c:pt>
                <c:pt idx="6276">
                  <c:v>0.111931514178705</c:v>
                </c:pt>
                <c:pt idx="6277">
                  <c:v>0.11194934902799999</c:v>
                </c:pt>
                <c:pt idx="6278">
                  <c:v>0.111967183877296</c:v>
                </c:pt>
                <c:pt idx="6279">
                  <c:v>0.111985018726591</c:v>
                </c:pt>
                <c:pt idx="6280">
                  <c:v>0.112002853575887</c:v>
                </c:pt>
                <c:pt idx="6281">
                  <c:v>0.11202068842518199</c:v>
                </c:pt>
                <c:pt idx="6282">
                  <c:v>0.112038523274478</c:v>
                </c:pt>
                <c:pt idx="6283">
                  <c:v>0.112056358123773</c:v>
                </c:pt>
                <c:pt idx="6284">
                  <c:v>0.112074192973069</c:v>
                </c:pt>
                <c:pt idx="6285">
                  <c:v>0.11209202782236399</c:v>
                </c:pt>
                <c:pt idx="6286">
                  <c:v>0.11210986267166</c:v>
                </c:pt>
                <c:pt idx="6287">
                  <c:v>0.112127697520955</c:v>
                </c:pt>
                <c:pt idx="6288">
                  <c:v>0.112145532370251</c:v>
                </c:pt>
                <c:pt idx="6289">
                  <c:v>0.11216336721954601</c:v>
                </c:pt>
                <c:pt idx="6290">
                  <c:v>0.112181202068842</c:v>
                </c:pt>
                <c:pt idx="6291">
                  <c:v>0.112199036918138</c:v>
                </c:pt>
                <c:pt idx="6292">
                  <c:v>0.112216871767433</c:v>
                </c:pt>
                <c:pt idx="6293">
                  <c:v>0.112234706616729</c:v>
                </c:pt>
                <c:pt idx="6294">
                  <c:v>0.11225254146602399</c:v>
                </c:pt>
                <c:pt idx="6295">
                  <c:v>0.11227037631532</c:v>
                </c:pt>
                <c:pt idx="6296">
                  <c:v>0.112288211164615</c:v>
                </c:pt>
                <c:pt idx="6297">
                  <c:v>0.112306046013911</c:v>
                </c:pt>
                <c:pt idx="6298">
                  <c:v>0.11232388086320599</c:v>
                </c:pt>
                <c:pt idx="6299">
                  <c:v>0.112341715712502</c:v>
                </c:pt>
                <c:pt idx="6300">
                  <c:v>0.112359550561797</c:v>
                </c:pt>
                <c:pt idx="6301">
                  <c:v>0.112377385411093</c:v>
                </c:pt>
                <c:pt idx="6302">
                  <c:v>0.11239522026038801</c:v>
                </c:pt>
                <c:pt idx="6303">
                  <c:v>0.112413055109684</c:v>
                </c:pt>
                <c:pt idx="6304">
                  <c:v>0.112430889958979</c:v>
                </c:pt>
                <c:pt idx="6305">
                  <c:v>0.112448724808275</c:v>
                </c:pt>
                <c:pt idx="6306">
                  <c:v>0.11246655965757001</c:v>
                </c:pt>
                <c:pt idx="6307">
                  <c:v>0.112484394506866</c:v>
                </c:pt>
                <c:pt idx="6308">
                  <c:v>0.112502229356161</c:v>
                </c:pt>
                <c:pt idx="6309">
                  <c:v>0.112520064205457</c:v>
                </c:pt>
                <c:pt idx="6310">
                  <c:v>0.11253789905475201</c:v>
                </c:pt>
                <c:pt idx="6311">
                  <c:v>0.11255573390404799</c:v>
                </c:pt>
                <c:pt idx="6312">
                  <c:v>0.112573568753344</c:v>
                </c:pt>
                <c:pt idx="6313">
                  <c:v>0.112591403602639</c:v>
                </c:pt>
                <c:pt idx="6314">
                  <c:v>0.112609238451935</c:v>
                </c:pt>
                <c:pt idx="6315">
                  <c:v>0.11262707330122999</c:v>
                </c:pt>
                <c:pt idx="6316">
                  <c:v>0.112644908150526</c:v>
                </c:pt>
                <c:pt idx="6317">
                  <c:v>0.112662742999821</c:v>
                </c:pt>
                <c:pt idx="6318">
                  <c:v>0.112680577849117</c:v>
                </c:pt>
                <c:pt idx="6319">
                  <c:v>0.11269841269841201</c:v>
                </c:pt>
                <c:pt idx="6320">
                  <c:v>0.112716247547708</c:v>
                </c:pt>
                <c:pt idx="6321">
                  <c:v>0.112734082397003</c:v>
                </c:pt>
                <c:pt idx="6322">
                  <c:v>0.112751917246299</c:v>
                </c:pt>
                <c:pt idx="6323">
                  <c:v>0.11276975209559401</c:v>
                </c:pt>
                <c:pt idx="6324">
                  <c:v>0.11278758694488999</c:v>
                </c:pt>
                <c:pt idx="6325">
                  <c:v>0.112805421794185</c:v>
                </c:pt>
                <c:pt idx="6326">
                  <c:v>0.112823256643481</c:v>
                </c:pt>
                <c:pt idx="6327">
                  <c:v>0.11284109149277601</c:v>
                </c:pt>
                <c:pt idx="6328">
                  <c:v>0.11285892634207199</c:v>
                </c:pt>
                <c:pt idx="6329">
                  <c:v>0.112876761191367</c:v>
                </c:pt>
                <c:pt idx="6330">
                  <c:v>0.112894596040663</c:v>
                </c:pt>
                <c:pt idx="6331">
                  <c:v>0.112912430889958</c:v>
                </c:pt>
                <c:pt idx="6332">
                  <c:v>0.11293026573925399</c:v>
                </c:pt>
                <c:pt idx="6333">
                  <c:v>0.11294810058855</c:v>
                </c:pt>
                <c:pt idx="6334">
                  <c:v>0.112965935437845</c:v>
                </c:pt>
                <c:pt idx="6335">
                  <c:v>0.112983770287141</c:v>
                </c:pt>
                <c:pt idx="6336">
                  <c:v>0.11300160513643601</c:v>
                </c:pt>
                <c:pt idx="6337">
                  <c:v>0.113019439985732</c:v>
                </c:pt>
                <c:pt idx="6338">
                  <c:v>0.113037274835027</c:v>
                </c:pt>
                <c:pt idx="6339">
                  <c:v>0.113055109684323</c:v>
                </c:pt>
                <c:pt idx="6340">
                  <c:v>0.11307294453361801</c:v>
                </c:pt>
                <c:pt idx="6341">
                  <c:v>0.11309077938291399</c:v>
                </c:pt>
                <c:pt idx="6342">
                  <c:v>0.113108614232209</c:v>
                </c:pt>
                <c:pt idx="6343">
                  <c:v>0.113126449081505</c:v>
                </c:pt>
                <c:pt idx="6344">
                  <c:v>0.1131442839308</c:v>
                </c:pt>
                <c:pt idx="6345">
                  <c:v>0.11316211878009599</c:v>
                </c:pt>
                <c:pt idx="6346">
                  <c:v>0.113179953629391</c:v>
                </c:pt>
                <c:pt idx="6347">
                  <c:v>0.113197788478687</c:v>
                </c:pt>
                <c:pt idx="6348">
                  <c:v>0.113215623327982</c:v>
                </c:pt>
                <c:pt idx="6349">
                  <c:v>0.11323345817727801</c:v>
                </c:pt>
                <c:pt idx="6350">
                  <c:v>0.113251293026573</c:v>
                </c:pt>
                <c:pt idx="6351">
                  <c:v>0.113269127875869</c:v>
                </c:pt>
                <c:pt idx="6352">
                  <c:v>0.113286962725164</c:v>
                </c:pt>
                <c:pt idx="6353">
                  <c:v>0.11330479757446001</c:v>
                </c:pt>
                <c:pt idx="6354">
                  <c:v>0.113322632423756</c:v>
                </c:pt>
                <c:pt idx="6355">
                  <c:v>0.113340467273051</c:v>
                </c:pt>
                <c:pt idx="6356">
                  <c:v>0.113358302122347</c:v>
                </c:pt>
                <c:pt idx="6357">
                  <c:v>0.11337613697164201</c:v>
                </c:pt>
                <c:pt idx="6358">
                  <c:v>0.11339397182093799</c:v>
                </c:pt>
                <c:pt idx="6359">
                  <c:v>0.113411806670233</c:v>
                </c:pt>
                <c:pt idx="6360">
                  <c:v>0.113429641519529</c:v>
                </c:pt>
                <c:pt idx="6361">
                  <c:v>0.113447476368824</c:v>
                </c:pt>
                <c:pt idx="6362">
                  <c:v>0.11346531121811999</c:v>
                </c:pt>
                <c:pt idx="6363">
                  <c:v>0.113483146067415</c:v>
                </c:pt>
                <c:pt idx="6364">
                  <c:v>0.113500980916711</c:v>
                </c:pt>
                <c:pt idx="6365">
                  <c:v>0.113518815766006</c:v>
                </c:pt>
                <c:pt idx="6366">
                  <c:v>0.11353665061530201</c:v>
                </c:pt>
                <c:pt idx="6367">
                  <c:v>0.113554485464597</c:v>
                </c:pt>
                <c:pt idx="6368">
                  <c:v>0.113572320313893</c:v>
                </c:pt>
                <c:pt idx="6369">
                  <c:v>0.113590155163188</c:v>
                </c:pt>
                <c:pt idx="6370">
                  <c:v>0.11360799001248401</c:v>
                </c:pt>
                <c:pt idx="6371">
                  <c:v>0.113625824861779</c:v>
                </c:pt>
                <c:pt idx="6372">
                  <c:v>0.113643659711075</c:v>
                </c:pt>
                <c:pt idx="6373">
                  <c:v>0.11366149456037</c:v>
                </c:pt>
                <c:pt idx="6374">
                  <c:v>0.11367932940966601</c:v>
                </c:pt>
                <c:pt idx="6375">
                  <c:v>0.11369716425896199</c:v>
                </c:pt>
                <c:pt idx="6376">
                  <c:v>0.113714999108257</c:v>
                </c:pt>
                <c:pt idx="6377">
                  <c:v>0.113732833957553</c:v>
                </c:pt>
                <c:pt idx="6378">
                  <c:v>0.113750668806848</c:v>
                </c:pt>
                <c:pt idx="6379">
                  <c:v>0.11376850365614399</c:v>
                </c:pt>
                <c:pt idx="6380">
                  <c:v>0.113786338505439</c:v>
                </c:pt>
                <c:pt idx="6381">
                  <c:v>0.113804173354735</c:v>
                </c:pt>
                <c:pt idx="6382">
                  <c:v>0.11382200820403</c:v>
                </c:pt>
                <c:pt idx="6383">
                  <c:v>0.11383984305332601</c:v>
                </c:pt>
                <c:pt idx="6384">
                  <c:v>0.113857677902621</c:v>
                </c:pt>
                <c:pt idx="6385">
                  <c:v>0.113875512751917</c:v>
                </c:pt>
                <c:pt idx="6386">
                  <c:v>0.113893347601212</c:v>
                </c:pt>
                <c:pt idx="6387">
                  <c:v>0.11391118245050801</c:v>
                </c:pt>
                <c:pt idx="6388">
                  <c:v>0.113929017299803</c:v>
                </c:pt>
                <c:pt idx="6389">
                  <c:v>0.113946852149099</c:v>
                </c:pt>
                <c:pt idx="6390">
                  <c:v>0.113964686998394</c:v>
                </c:pt>
                <c:pt idx="6391">
                  <c:v>0.11398252184769</c:v>
                </c:pt>
                <c:pt idx="6392">
                  <c:v>0.11400035669698499</c:v>
                </c:pt>
                <c:pt idx="6393">
                  <c:v>0.114018191546281</c:v>
                </c:pt>
                <c:pt idx="6394">
                  <c:v>0.114036026395576</c:v>
                </c:pt>
                <c:pt idx="6395">
                  <c:v>0.114053861244872</c:v>
                </c:pt>
                <c:pt idx="6396">
                  <c:v>0.11407169609416801</c:v>
                </c:pt>
                <c:pt idx="6397">
                  <c:v>0.114089530943463</c:v>
                </c:pt>
                <c:pt idx="6398">
                  <c:v>0.114107365792759</c:v>
                </c:pt>
                <c:pt idx="6399">
                  <c:v>0.114125200642054</c:v>
                </c:pt>
                <c:pt idx="6400">
                  <c:v>0.11414303549135001</c:v>
                </c:pt>
                <c:pt idx="6401">
                  <c:v>0.114160870340645</c:v>
                </c:pt>
                <c:pt idx="6402">
                  <c:v>0.114178705189941</c:v>
                </c:pt>
                <c:pt idx="6403">
                  <c:v>0.114196540039236</c:v>
                </c:pt>
                <c:pt idx="6404">
                  <c:v>0.11421437488853201</c:v>
                </c:pt>
                <c:pt idx="6405">
                  <c:v>0.114232209737827</c:v>
                </c:pt>
                <c:pt idx="6406">
                  <c:v>0.114250044587123</c:v>
                </c:pt>
                <c:pt idx="6407">
                  <c:v>0.114267879436418</c:v>
                </c:pt>
                <c:pt idx="6408">
                  <c:v>0.114285714285714</c:v>
                </c:pt>
                <c:pt idx="6409">
                  <c:v>0.11430354913500899</c:v>
                </c:pt>
                <c:pt idx="6410">
                  <c:v>0.114321383984305</c:v>
                </c:pt>
                <c:pt idx="6411">
                  <c:v>0.1143392188336</c:v>
                </c:pt>
                <c:pt idx="6412">
                  <c:v>0.114357053682896</c:v>
                </c:pt>
                <c:pt idx="6413">
                  <c:v>0.11437488853219099</c:v>
                </c:pt>
                <c:pt idx="6414">
                  <c:v>0.114392723381487</c:v>
                </c:pt>
                <c:pt idx="6415">
                  <c:v>0.114410558230782</c:v>
                </c:pt>
                <c:pt idx="6416">
                  <c:v>0.114428393080078</c:v>
                </c:pt>
                <c:pt idx="6417">
                  <c:v>0.11444622792937301</c:v>
                </c:pt>
                <c:pt idx="6418">
                  <c:v>0.114464062778669</c:v>
                </c:pt>
                <c:pt idx="6419">
                  <c:v>0.114481897627965</c:v>
                </c:pt>
                <c:pt idx="6420">
                  <c:v>0.11449973247726</c:v>
                </c:pt>
                <c:pt idx="6421">
                  <c:v>0.11451756732655601</c:v>
                </c:pt>
                <c:pt idx="6422">
                  <c:v>0.11453540217585099</c:v>
                </c:pt>
                <c:pt idx="6423">
                  <c:v>0.114553237025147</c:v>
                </c:pt>
                <c:pt idx="6424">
                  <c:v>0.114571071874442</c:v>
                </c:pt>
                <c:pt idx="6425">
                  <c:v>0.114588906723738</c:v>
                </c:pt>
                <c:pt idx="6426">
                  <c:v>0.11460674157303299</c:v>
                </c:pt>
                <c:pt idx="6427">
                  <c:v>0.114624576422329</c:v>
                </c:pt>
                <c:pt idx="6428">
                  <c:v>0.114642411271624</c:v>
                </c:pt>
                <c:pt idx="6429">
                  <c:v>0.11466024612092</c:v>
                </c:pt>
                <c:pt idx="6430">
                  <c:v>0.11467808097021499</c:v>
                </c:pt>
                <c:pt idx="6431">
                  <c:v>0.114695915819511</c:v>
                </c:pt>
                <c:pt idx="6432">
                  <c:v>0.114713750668806</c:v>
                </c:pt>
                <c:pt idx="6433">
                  <c:v>0.114731585518102</c:v>
                </c:pt>
                <c:pt idx="6434">
                  <c:v>0.11474942036739701</c:v>
                </c:pt>
                <c:pt idx="6435">
                  <c:v>0.114767255216693</c:v>
                </c:pt>
                <c:pt idx="6436">
                  <c:v>0.114785090065988</c:v>
                </c:pt>
                <c:pt idx="6437">
                  <c:v>0.114802924915284</c:v>
                </c:pt>
                <c:pt idx="6438">
                  <c:v>0.11482075976457901</c:v>
                </c:pt>
                <c:pt idx="6439">
                  <c:v>0.11483859461387499</c:v>
                </c:pt>
                <c:pt idx="6440">
                  <c:v>0.114856429463171</c:v>
                </c:pt>
                <c:pt idx="6441">
                  <c:v>0.114874264312466</c:v>
                </c:pt>
                <c:pt idx="6442">
                  <c:v>0.114892099161762</c:v>
                </c:pt>
                <c:pt idx="6443">
                  <c:v>0.11490993401105699</c:v>
                </c:pt>
                <c:pt idx="6444">
                  <c:v>0.114927768860353</c:v>
                </c:pt>
                <c:pt idx="6445">
                  <c:v>0.114945603709648</c:v>
                </c:pt>
                <c:pt idx="6446">
                  <c:v>0.114963438558944</c:v>
                </c:pt>
                <c:pt idx="6447">
                  <c:v>0.11498127340823899</c:v>
                </c:pt>
                <c:pt idx="6448">
                  <c:v>0.114999108257535</c:v>
                </c:pt>
                <c:pt idx="6449">
                  <c:v>0.11501694310683</c:v>
                </c:pt>
                <c:pt idx="6450">
                  <c:v>0.115034777956126</c:v>
                </c:pt>
                <c:pt idx="6451">
                  <c:v>0.11505261280542101</c:v>
                </c:pt>
                <c:pt idx="6452">
                  <c:v>0.115070447654717</c:v>
                </c:pt>
                <c:pt idx="6453">
                  <c:v>0.115088282504012</c:v>
                </c:pt>
                <c:pt idx="6454">
                  <c:v>0.115106117353308</c:v>
                </c:pt>
                <c:pt idx="6455">
                  <c:v>0.11512395220260301</c:v>
                </c:pt>
                <c:pt idx="6456">
                  <c:v>0.11514178705189899</c:v>
                </c:pt>
                <c:pt idx="6457">
                  <c:v>0.115159621901194</c:v>
                </c:pt>
                <c:pt idx="6458">
                  <c:v>0.11517745675049</c:v>
                </c:pt>
                <c:pt idx="6459">
                  <c:v>0.115195291599785</c:v>
                </c:pt>
                <c:pt idx="6460">
                  <c:v>0.11521312644908099</c:v>
                </c:pt>
                <c:pt idx="6461">
                  <c:v>0.115230961298377</c:v>
                </c:pt>
                <c:pt idx="6462">
                  <c:v>0.115248796147672</c:v>
                </c:pt>
                <c:pt idx="6463">
                  <c:v>0.115266630996968</c:v>
                </c:pt>
                <c:pt idx="6464">
                  <c:v>0.11528446584626301</c:v>
                </c:pt>
                <c:pt idx="6465">
                  <c:v>0.115302300695559</c:v>
                </c:pt>
                <c:pt idx="6466">
                  <c:v>0.115320135544854</c:v>
                </c:pt>
                <c:pt idx="6467">
                  <c:v>0.11533797039415</c:v>
                </c:pt>
                <c:pt idx="6468">
                  <c:v>0.11535580524344501</c:v>
                </c:pt>
                <c:pt idx="6469">
                  <c:v>0.11537364009274099</c:v>
                </c:pt>
                <c:pt idx="6470">
                  <c:v>0.115391474942036</c:v>
                </c:pt>
                <c:pt idx="6471">
                  <c:v>0.115409309791332</c:v>
                </c:pt>
                <c:pt idx="6472">
                  <c:v>0.11542714464062701</c:v>
                </c:pt>
                <c:pt idx="6473">
                  <c:v>0.11544497948992299</c:v>
                </c:pt>
                <c:pt idx="6474">
                  <c:v>0.115462814339218</c:v>
                </c:pt>
                <c:pt idx="6475">
                  <c:v>0.115480649188514</c:v>
                </c:pt>
                <c:pt idx="6476">
                  <c:v>0.115498484037809</c:v>
                </c:pt>
                <c:pt idx="6477">
                  <c:v>0.11551631888710499</c:v>
                </c:pt>
                <c:pt idx="6478">
                  <c:v>0.1155341537364</c:v>
                </c:pt>
                <c:pt idx="6479">
                  <c:v>0.115551988585696</c:v>
                </c:pt>
                <c:pt idx="6480">
                  <c:v>0.115569823434991</c:v>
                </c:pt>
                <c:pt idx="6481">
                  <c:v>0.11558765828428701</c:v>
                </c:pt>
                <c:pt idx="6482">
                  <c:v>0.115605493133583</c:v>
                </c:pt>
                <c:pt idx="6483">
                  <c:v>0.115623327982878</c:v>
                </c:pt>
                <c:pt idx="6484">
                  <c:v>0.115641162832174</c:v>
                </c:pt>
                <c:pt idx="6485">
                  <c:v>0.11565899768146901</c:v>
                </c:pt>
                <c:pt idx="6486">
                  <c:v>0.11567683253076499</c:v>
                </c:pt>
                <c:pt idx="6487">
                  <c:v>0.11569466738006</c:v>
                </c:pt>
                <c:pt idx="6488">
                  <c:v>0.115712502229356</c:v>
                </c:pt>
                <c:pt idx="6489">
                  <c:v>0.115730337078651</c:v>
                </c:pt>
                <c:pt idx="6490">
                  <c:v>0.11574817192794699</c:v>
                </c:pt>
                <c:pt idx="6491">
                  <c:v>0.115766006777242</c:v>
                </c:pt>
                <c:pt idx="6492">
                  <c:v>0.115783841626538</c:v>
                </c:pt>
                <c:pt idx="6493">
                  <c:v>0.115801676475833</c:v>
                </c:pt>
                <c:pt idx="6494">
                  <c:v>0.11581951132512899</c:v>
                </c:pt>
                <c:pt idx="6495">
                  <c:v>0.115837346174424</c:v>
                </c:pt>
                <c:pt idx="6496">
                  <c:v>0.11585518102372</c:v>
                </c:pt>
                <c:pt idx="6497">
                  <c:v>0.115873015873015</c:v>
                </c:pt>
                <c:pt idx="6498">
                  <c:v>0.11589085072231101</c:v>
                </c:pt>
                <c:pt idx="6499">
                  <c:v>0.115908685571606</c:v>
                </c:pt>
                <c:pt idx="6500">
                  <c:v>0.115926520420902</c:v>
                </c:pt>
                <c:pt idx="6501">
                  <c:v>0.115944355270197</c:v>
                </c:pt>
                <c:pt idx="6502">
                  <c:v>0.11596219011949301</c:v>
                </c:pt>
                <c:pt idx="6503">
                  <c:v>0.11598002496878899</c:v>
                </c:pt>
                <c:pt idx="6504">
                  <c:v>0.115997859818084</c:v>
                </c:pt>
                <c:pt idx="6505">
                  <c:v>0.11601569466738</c:v>
                </c:pt>
                <c:pt idx="6506">
                  <c:v>0.116033529516675</c:v>
                </c:pt>
                <c:pt idx="6507">
                  <c:v>0.11605136436597099</c:v>
                </c:pt>
                <c:pt idx="6508">
                  <c:v>0.116069199215266</c:v>
                </c:pt>
                <c:pt idx="6509">
                  <c:v>0.116087034064562</c:v>
                </c:pt>
                <c:pt idx="6510">
                  <c:v>0.116104868913857</c:v>
                </c:pt>
                <c:pt idx="6511">
                  <c:v>0.11612270376315301</c:v>
                </c:pt>
                <c:pt idx="6512">
                  <c:v>0.116140538612448</c:v>
                </c:pt>
                <c:pt idx="6513">
                  <c:v>0.116158373461744</c:v>
                </c:pt>
                <c:pt idx="6514">
                  <c:v>0.116176208311039</c:v>
                </c:pt>
                <c:pt idx="6515">
                  <c:v>0.11619404316033501</c:v>
                </c:pt>
                <c:pt idx="6516">
                  <c:v>0.11621187800963</c:v>
                </c:pt>
                <c:pt idx="6517">
                  <c:v>0.116229712858926</c:v>
                </c:pt>
                <c:pt idx="6518">
                  <c:v>0.116247547708221</c:v>
                </c:pt>
                <c:pt idx="6519">
                  <c:v>0.11626538255751701</c:v>
                </c:pt>
                <c:pt idx="6520">
                  <c:v>0.116283217406812</c:v>
                </c:pt>
                <c:pt idx="6521">
                  <c:v>0.116301052256108</c:v>
                </c:pt>
                <c:pt idx="6522">
                  <c:v>0.116318887105403</c:v>
                </c:pt>
                <c:pt idx="6523">
                  <c:v>0.116336721954699</c:v>
                </c:pt>
                <c:pt idx="6524">
                  <c:v>0.11635455680399499</c:v>
                </c:pt>
                <c:pt idx="6525">
                  <c:v>0.11637239165329</c:v>
                </c:pt>
                <c:pt idx="6526">
                  <c:v>0.116390226502586</c:v>
                </c:pt>
                <c:pt idx="6527">
                  <c:v>0.116408061351881</c:v>
                </c:pt>
                <c:pt idx="6528">
                  <c:v>0.11642589620117701</c:v>
                </c:pt>
                <c:pt idx="6529">
                  <c:v>0.116443731050472</c:v>
                </c:pt>
                <c:pt idx="6530">
                  <c:v>0.116461565899768</c:v>
                </c:pt>
                <c:pt idx="6531">
                  <c:v>0.116479400749063</c:v>
                </c:pt>
                <c:pt idx="6532">
                  <c:v>0.11649723559835901</c:v>
                </c:pt>
                <c:pt idx="6533">
                  <c:v>0.116515070447654</c:v>
                </c:pt>
                <c:pt idx="6534">
                  <c:v>0.11653290529695</c:v>
                </c:pt>
                <c:pt idx="6535">
                  <c:v>0.116550740146245</c:v>
                </c:pt>
                <c:pt idx="6536">
                  <c:v>0.116568574995541</c:v>
                </c:pt>
                <c:pt idx="6537">
                  <c:v>0.11658640984483599</c:v>
                </c:pt>
                <c:pt idx="6538">
                  <c:v>0.116604244694132</c:v>
                </c:pt>
                <c:pt idx="6539">
                  <c:v>0.116622079543427</c:v>
                </c:pt>
                <c:pt idx="6540">
                  <c:v>0.116639914392723</c:v>
                </c:pt>
                <c:pt idx="6541">
                  <c:v>0.11665774924201799</c:v>
                </c:pt>
                <c:pt idx="6542">
                  <c:v>0.116675584091314</c:v>
                </c:pt>
                <c:pt idx="6543">
                  <c:v>0.116693418940609</c:v>
                </c:pt>
                <c:pt idx="6544">
                  <c:v>0.116711253789905</c:v>
                </c:pt>
                <c:pt idx="6545">
                  <c:v>0.11672908863919999</c:v>
                </c:pt>
                <c:pt idx="6546">
                  <c:v>0.116746923488496</c:v>
                </c:pt>
                <c:pt idx="6547">
                  <c:v>0.116764758337792</c:v>
                </c:pt>
                <c:pt idx="6548">
                  <c:v>0.116782593187087</c:v>
                </c:pt>
                <c:pt idx="6549">
                  <c:v>0.11680042803638301</c:v>
                </c:pt>
                <c:pt idx="6550">
                  <c:v>0.116818262885678</c:v>
                </c:pt>
                <c:pt idx="6551">
                  <c:v>0.116836097734974</c:v>
                </c:pt>
                <c:pt idx="6552">
                  <c:v>0.116853932584269</c:v>
                </c:pt>
                <c:pt idx="6553">
                  <c:v>0.116871767433565</c:v>
                </c:pt>
                <c:pt idx="6554">
                  <c:v>0.11688960228285999</c:v>
                </c:pt>
                <c:pt idx="6555">
                  <c:v>0.116907437132156</c:v>
                </c:pt>
                <c:pt idx="6556">
                  <c:v>0.116925271981451</c:v>
                </c:pt>
                <c:pt idx="6557">
                  <c:v>0.116943106830747</c:v>
                </c:pt>
                <c:pt idx="6558">
                  <c:v>0.11696094168004199</c:v>
                </c:pt>
                <c:pt idx="6559">
                  <c:v>0.116978776529338</c:v>
                </c:pt>
                <c:pt idx="6560">
                  <c:v>0.116996611378633</c:v>
                </c:pt>
                <c:pt idx="6561">
                  <c:v>0.117014446227929</c:v>
                </c:pt>
                <c:pt idx="6562">
                  <c:v>0.11703228107722401</c:v>
                </c:pt>
                <c:pt idx="6563">
                  <c:v>0.11705011592652</c:v>
                </c:pt>
                <c:pt idx="6564">
                  <c:v>0.117067950775815</c:v>
                </c:pt>
                <c:pt idx="6565">
                  <c:v>0.117085785625111</c:v>
                </c:pt>
                <c:pt idx="6566">
                  <c:v>0.11710362047440601</c:v>
                </c:pt>
                <c:pt idx="6567">
                  <c:v>0.117121455323702</c:v>
                </c:pt>
                <c:pt idx="6568">
                  <c:v>0.117139290172998</c:v>
                </c:pt>
                <c:pt idx="6569">
                  <c:v>0.117157125022293</c:v>
                </c:pt>
                <c:pt idx="6570">
                  <c:v>0.117174959871589</c:v>
                </c:pt>
                <c:pt idx="6571">
                  <c:v>0.11719279472088399</c:v>
                </c:pt>
                <c:pt idx="6572">
                  <c:v>0.11721062957018</c:v>
                </c:pt>
                <c:pt idx="6573">
                  <c:v>0.117228464419475</c:v>
                </c:pt>
                <c:pt idx="6574">
                  <c:v>0.117246299268771</c:v>
                </c:pt>
                <c:pt idx="6575">
                  <c:v>0.11726413411806599</c:v>
                </c:pt>
                <c:pt idx="6576">
                  <c:v>0.117281968967362</c:v>
                </c:pt>
                <c:pt idx="6577">
                  <c:v>0.117299803816657</c:v>
                </c:pt>
                <c:pt idx="6578">
                  <c:v>0.117317638665953</c:v>
                </c:pt>
                <c:pt idx="6579">
                  <c:v>0.11733547351524801</c:v>
                </c:pt>
                <c:pt idx="6580">
                  <c:v>0.117353308364544</c:v>
                </c:pt>
                <c:pt idx="6581">
                  <c:v>0.117371143213839</c:v>
                </c:pt>
                <c:pt idx="6582">
                  <c:v>0.117388978063135</c:v>
                </c:pt>
                <c:pt idx="6583">
                  <c:v>0.11740681291243001</c:v>
                </c:pt>
                <c:pt idx="6584">
                  <c:v>0.11742464776172599</c:v>
                </c:pt>
                <c:pt idx="6585">
                  <c:v>0.117442482611021</c:v>
                </c:pt>
                <c:pt idx="6586">
                  <c:v>0.117460317460317</c:v>
                </c:pt>
                <c:pt idx="6587">
                  <c:v>0.11747815230961201</c:v>
                </c:pt>
                <c:pt idx="6588">
                  <c:v>0.11749598715890799</c:v>
                </c:pt>
                <c:pt idx="6589">
                  <c:v>0.117513822008204</c:v>
                </c:pt>
                <c:pt idx="6590">
                  <c:v>0.117531656857499</c:v>
                </c:pt>
                <c:pt idx="6591">
                  <c:v>0.117549491706795</c:v>
                </c:pt>
                <c:pt idx="6592">
                  <c:v>0.11756732655608999</c:v>
                </c:pt>
                <c:pt idx="6593">
                  <c:v>0.117585161405386</c:v>
                </c:pt>
                <c:pt idx="6594">
                  <c:v>0.117602996254681</c:v>
                </c:pt>
                <c:pt idx="6595">
                  <c:v>0.117620831103977</c:v>
                </c:pt>
                <c:pt idx="6596">
                  <c:v>0.11763866595327201</c:v>
                </c:pt>
                <c:pt idx="6597">
                  <c:v>0.117656500802568</c:v>
                </c:pt>
                <c:pt idx="6598">
                  <c:v>0.117674335651863</c:v>
                </c:pt>
                <c:pt idx="6599">
                  <c:v>0.117692170501159</c:v>
                </c:pt>
                <c:pt idx="6600">
                  <c:v>0.11771000535045401</c:v>
                </c:pt>
                <c:pt idx="6601">
                  <c:v>0.11772784019974999</c:v>
                </c:pt>
                <c:pt idx="6602">
                  <c:v>0.117745675049045</c:v>
                </c:pt>
                <c:pt idx="6603">
                  <c:v>0.117763509898341</c:v>
                </c:pt>
                <c:pt idx="6604">
                  <c:v>0.117781344747636</c:v>
                </c:pt>
                <c:pt idx="6605">
                  <c:v>0.11779917959693199</c:v>
                </c:pt>
                <c:pt idx="6606">
                  <c:v>0.117817014446227</c:v>
                </c:pt>
                <c:pt idx="6607">
                  <c:v>0.117834849295523</c:v>
                </c:pt>
                <c:pt idx="6608">
                  <c:v>0.117852684144818</c:v>
                </c:pt>
                <c:pt idx="6609">
                  <c:v>0.11787051899411401</c:v>
                </c:pt>
                <c:pt idx="6610">
                  <c:v>0.11788835384341</c:v>
                </c:pt>
                <c:pt idx="6611">
                  <c:v>0.117906188692705</c:v>
                </c:pt>
                <c:pt idx="6612">
                  <c:v>0.117924023542001</c:v>
                </c:pt>
                <c:pt idx="6613">
                  <c:v>0.11794185839129601</c:v>
                </c:pt>
                <c:pt idx="6614">
                  <c:v>0.117959693240592</c:v>
                </c:pt>
                <c:pt idx="6615">
                  <c:v>0.117977528089887</c:v>
                </c:pt>
                <c:pt idx="6616">
                  <c:v>0.117995362939183</c:v>
                </c:pt>
                <c:pt idx="6617">
                  <c:v>0.11801319778847801</c:v>
                </c:pt>
                <c:pt idx="6618">
                  <c:v>0.11803103263777399</c:v>
                </c:pt>
                <c:pt idx="6619">
                  <c:v>0.118048867487069</c:v>
                </c:pt>
                <c:pt idx="6620">
                  <c:v>0.118066702336365</c:v>
                </c:pt>
                <c:pt idx="6621">
                  <c:v>0.11808453718566</c:v>
                </c:pt>
                <c:pt idx="6622">
                  <c:v>0.11810237203495599</c:v>
                </c:pt>
                <c:pt idx="6623">
                  <c:v>0.118120206884251</c:v>
                </c:pt>
                <c:pt idx="6624">
                  <c:v>0.118138041733547</c:v>
                </c:pt>
                <c:pt idx="6625">
                  <c:v>0.118155876582842</c:v>
                </c:pt>
                <c:pt idx="6626">
                  <c:v>0.11817371143213801</c:v>
                </c:pt>
                <c:pt idx="6627">
                  <c:v>0.118191546281433</c:v>
                </c:pt>
                <c:pt idx="6628">
                  <c:v>0.118209381130729</c:v>
                </c:pt>
                <c:pt idx="6629">
                  <c:v>0.118227215980024</c:v>
                </c:pt>
                <c:pt idx="6630">
                  <c:v>0.11824505082932001</c:v>
                </c:pt>
                <c:pt idx="6631">
                  <c:v>0.11826288567861599</c:v>
                </c:pt>
                <c:pt idx="6632">
                  <c:v>0.118280720527911</c:v>
                </c:pt>
                <c:pt idx="6633">
                  <c:v>0.118298555377207</c:v>
                </c:pt>
                <c:pt idx="6634">
                  <c:v>0.11831639022650201</c:v>
                </c:pt>
                <c:pt idx="6635">
                  <c:v>0.11833422507579799</c:v>
                </c:pt>
                <c:pt idx="6636">
                  <c:v>0.118352059925093</c:v>
                </c:pt>
                <c:pt idx="6637">
                  <c:v>0.118369894774389</c:v>
                </c:pt>
                <c:pt idx="6638">
                  <c:v>0.118387729623684</c:v>
                </c:pt>
                <c:pt idx="6639">
                  <c:v>0.11840556447297999</c:v>
                </c:pt>
                <c:pt idx="6640">
                  <c:v>0.118423399322275</c:v>
                </c:pt>
                <c:pt idx="6641">
                  <c:v>0.118441234171571</c:v>
                </c:pt>
                <c:pt idx="6642">
                  <c:v>0.118459069020866</c:v>
                </c:pt>
                <c:pt idx="6643">
                  <c:v>0.11847690387016201</c:v>
                </c:pt>
                <c:pt idx="6644">
                  <c:v>0.118494738719457</c:v>
                </c:pt>
                <c:pt idx="6645">
                  <c:v>0.118512573568753</c:v>
                </c:pt>
                <c:pt idx="6646">
                  <c:v>0.118530408418048</c:v>
                </c:pt>
                <c:pt idx="6647">
                  <c:v>0.11854824326734401</c:v>
                </c:pt>
                <c:pt idx="6648">
                  <c:v>0.118566078116639</c:v>
                </c:pt>
                <c:pt idx="6649">
                  <c:v>0.118583912965935</c:v>
                </c:pt>
                <c:pt idx="6650">
                  <c:v>0.11860174781523</c:v>
                </c:pt>
                <c:pt idx="6651">
                  <c:v>0.118619582664526</c:v>
                </c:pt>
                <c:pt idx="6652">
                  <c:v>0.11863741751382199</c:v>
                </c:pt>
                <c:pt idx="6653">
                  <c:v>0.118655252363117</c:v>
                </c:pt>
                <c:pt idx="6654">
                  <c:v>0.118673087212413</c:v>
                </c:pt>
                <c:pt idx="6655">
                  <c:v>0.118690922061708</c:v>
                </c:pt>
                <c:pt idx="6656">
                  <c:v>0.11870875691100399</c:v>
                </c:pt>
                <c:pt idx="6657">
                  <c:v>0.118726591760299</c:v>
                </c:pt>
                <c:pt idx="6658">
                  <c:v>0.118744426609595</c:v>
                </c:pt>
                <c:pt idx="6659">
                  <c:v>0.11876226145889</c:v>
                </c:pt>
                <c:pt idx="6660">
                  <c:v>0.11878009630818601</c:v>
                </c:pt>
                <c:pt idx="6661">
                  <c:v>0.118797931157481</c:v>
                </c:pt>
                <c:pt idx="6662">
                  <c:v>0.118815766006777</c:v>
                </c:pt>
                <c:pt idx="6663">
                  <c:v>0.118833600856072</c:v>
                </c:pt>
                <c:pt idx="6664">
                  <c:v>0.11885143570536801</c:v>
                </c:pt>
                <c:pt idx="6665">
                  <c:v>0.118869270554663</c:v>
                </c:pt>
                <c:pt idx="6666">
                  <c:v>0.118887105403959</c:v>
                </c:pt>
                <c:pt idx="6667">
                  <c:v>0.118904940253254</c:v>
                </c:pt>
                <c:pt idx="6668">
                  <c:v>0.11892277510255</c:v>
                </c:pt>
                <c:pt idx="6669">
                  <c:v>0.11894060995184499</c:v>
                </c:pt>
                <c:pt idx="6670">
                  <c:v>0.118958444801141</c:v>
                </c:pt>
                <c:pt idx="6671">
                  <c:v>0.118976279650436</c:v>
                </c:pt>
                <c:pt idx="6672">
                  <c:v>0.118994114499732</c:v>
                </c:pt>
                <c:pt idx="6673">
                  <c:v>0.11901194934902801</c:v>
                </c:pt>
                <c:pt idx="6674">
                  <c:v>0.119029784198323</c:v>
                </c:pt>
                <c:pt idx="6675">
                  <c:v>0.119047619047619</c:v>
                </c:pt>
                <c:pt idx="6676">
                  <c:v>0.119065453896914</c:v>
                </c:pt>
                <c:pt idx="6677">
                  <c:v>0.11908328874621001</c:v>
                </c:pt>
                <c:pt idx="6678">
                  <c:v>0.119101123595505</c:v>
                </c:pt>
                <c:pt idx="6679">
                  <c:v>0.119118958444801</c:v>
                </c:pt>
                <c:pt idx="6680">
                  <c:v>0.119136793294096</c:v>
                </c:pt>
                <c:pt idx="6681">
                  <c:v>0.11915462814339201</c:v>
                </c:pt>
                <c:pt idx="6682">
                  <c:v>0.11917246299268699</c:v>
                </c:pt>
                <c:pt idx="6683">
                  <c:v>0.119190297841983</c:v>
                </c:pt>
                <c:pt idx="6684">
                  <c:v>0.119208132691278</c:v>
                </c:pt>
                <c:pt idx="6685">
                  <c:v>0.119225967540574</c:v>
                </c:pt>
                <c:pt idx="6686">
                  <c:v>0.11924380238986899</c:v>
                </c:pt>
                <c:pt idx="6687">
                  <c:v>0.119261637239165</c:v>
                </c:pt>
                <c:pt idx="6688">
                  <c:v>0.11927947208846</c:v>
                </c:pt>
                <c:pt idx="6689">
                  <c:v>0.119297306937756</c:v>
                </c:pt>
                <c:pt idx="6690">
                  <c:v>0.11931514178705099</c:v>
                </c:pt>
                <c:pt idx="6691">
                  <c:v>0.119332976636347</c:v>
                </c:pt>
                <c:pt idx="6692">
                  <c:v>0.119350811485642</c:v>
                </c:pt>
                <c:pt idx="6693">
                  <c:v>0.119368646334938</c:v>
                </c:pt>
                <c:pt idx="6694">
                  <c:v>0.11938648118423301</c:v>
                </c:pt>
                <c:pt idx="6695">
                  <c:v>0.119404316033529</c:v>
                </c:pt>
                <c:pt idx="6696">
                  <c:v>0.119422150882825</c:v>
                </c:pt>
                <c:pt idx="6697">
                  <c:v>0.11943998573212</c:v>
                </c:pt>
                <c:pt idx="6698">
                  <c:v>0.119457820581416</c:v>
                </c:pt>
                <c:pt idx="6699">
                  <c:v>0.11947565543071099</c:v>
                </c:pt>
                <c:pt idx="6700">
                  <c:v>0.119493490280007</c:v>
                </c:pt>
                <c:pt idx="6701">
                  <c:v>0.119511325129302</c:v>
                </c:pt>
                <c:pt idx="6702">
                  <c:v>0.119529159978598</c:v>
                </c:pt>
                <c:pt idx="6703">
                  <c:v>0.11954699482789299</c:v>
                </c:pt>
                <c:pt idx="6704">
                  <c:v>0.119564829677189</c:v>
                </c:pt>
                <c:pt idx="6705">
                  <c:v>0.119582664526484</c:v>
                </c:pt>
                <c:pt idx="6706">
                  <c:v>0.11960049937578</c:v>
                </c:pt>
                <c:pt idx="6707">
                  <c:v>0.11961833422507499</c:v>
                </c:pt>
                <c:pt idx="6708">
                  <c:v>0.119636169074371</c:v>
                </c:pt>
                <c:pt idx="6709">
                  <c:v>0.119654003923666</c:v>
                </c:pt>
                <c:pt idx="6710">
                  <c:v>0.119671838772962</c:v>
                </c:pt>
                <c:pt idx="6711">
                  <c:v>0.11968967362225701</c:v>
                </c:pt>
                <c:pt idx="6712">
                  <c:v>0.119707508471553</c:v>
                </c:pt>
                <c:pt idx="6713">
                  <c:v>0.119725343320848</c:v>
                </c:pt>
                <c:pt idx="6714">
                  <c:v>0.119743178170144</c:v>
                </c:pt>
                <c:pt idx="6715">
                  <c:v>0.11976101301943901</c:v>
                </c:pt>
                <c:pt idx="6716">
                  <c:v>0.11977884786873499</c:v>
                </c:pt>
                <c:pt idx="6717">
                  <c:v>0.119796682718031</c:v>
                </c:pt>
                <c:pt idx="6718">
                  <c:v>0.119814517567326</c:v>
                </c:pt>
                <c:pt idx="6719">
                  <c:v>0.119832352416622</c:v>
                </c:pt>
                <c:pt idx="6720">
                  <c:v>0.11985018726591699</c:v>
                </c:pt>
                <c:pt idx="6721">
                  <c:v>0.119868022115213</c:v>
                </c:pt>
                <c:pt idx="6722">
                  <c:v>0.119885856964508</c:v>
                </c:pt>
                <c:pt idx="6723">
                  <c:v>0.119903691813804</c:v>
                </c:pt>
                <c:pt idx="6724">
                  <c:v>0.11992152666309901</c:v>
                </c:pt>
                <c:pt idx="6725">
                  <c:v>0.119939361512395</c:v>
                </c:pt>
                <c:pt idx="6726">
                  <c:v>0.11995719636169</c:v>
                </c:pt>
                <c:pt idx="6727">
                  <c:v>0.119975031210986</c:v>
                </c:pt>
                <c:pt idx="6728">
                  <c:v>0.11999286606028101</c:v>
                </c:pt>
                <c:pt idx="6729">
                  <c:v>0.12001070090957699</c:v>
                </c:pt>
                <c:pt idx="6730">
                  <c:v>0.120028535758872</c:v>
                </c:pt>
                <c:pt idx="6731">
                  <c:v>0.120046370608168</c:v>
                </c:pt>
                <c:pt idx="6732">
                  <c:v>0.12006420545746301</c:v>
                </c:pt>
                <c:pt idx="6733">
                  <c:v>0.12008204030675899</c:v>
                </c:pt>
                <c:pt idx="6734">
                  <c:v>0.120099875156054</c:v>
                </c:pt>
                <c:pt idx="6735">
                  <c:v>0.12011771000535</c:v>
                </c:pt>
                <c:pt idx="6736">
                  <c:v>0.120135544854645</c:v>
                </c:pt>
                <c:pt idx="6737">
                  <c:v>0.12015337970394099</c:v>
                </c:pt>
                <c:pt idx="6738">
                  <c:v>0.120171214553237</c:v>
                </c:pt>
                <c:pt idx="6739">
                  <c:v>0.120189049402532</c:v>
                </c:pt>
                <c:pt idx="6740">
                  <c:v>0.120206884251828</c:v>
                </c:pt>
                <c:pt idx="6741">
                  <c:v>0.12022471910112301</c:v>
                </c:pt>
                <c:pt idx="6742">
                  <c:v>0.120242553950419</c:v>
                </c:pt>
                <c:pt idx="6743">
                  <c:v>0.120260388799714</c:v>
                </c:pt>
                <c:pt idx="6744">
                  <c:v>0.12027822364901</c:v>
                </c:pt>
                <c:pt idx="6745">
                  <c:v>0.12029605849830501</c:v>
                </c:pt>
                <c:pt idx="6746">
                  <c:v>0.12031389334760099</c:v>
                </c:pt>
                <c:pt idx="6747">
                  <c:v>0.120331728196896</c:v>
                </c:pt>
                <c:pt idx="6748">
                  <c:v>0.120349563046192</c:v>
                </c:pt>
                <c:pt idx="6749">
                  <c:v>0.120367397895487</c:v>
                </c:pt>
                <c:pt idx="6750">
                  <c:v>0.12038523274478299</c:v>
                </c:pt>
                <c:pt idx="6751">
                  <c:v>0.120403067594078</c:v>
                </c:pt>
                <c:pt idx="6752">
                  <c:v>0.120420902443374</c:v>
                </c:pt>
                <c:pt idx="6753">
                  <c:v>0.120438737292669</c:v>
                </c:pt>
                <c:pt idx="6754">
                  <c:v>0.12045657214196499</c:v>
                </c:pt>
                <c:pt idx="6755">
                  <c:v>0.12047440699126</c:v>
                </c:pt>
                <c:pt idx="6756">
                  <c:v>0.120492241840556</c:v>
                </c:pt>
                <c:pt idx="6757">
                  <c:v>0.120510076689851</c:v>
                </c:pt>
                <c:pt idx="6758">
                  <c:v>0.12052791153914701</c:v>
                </c:pt>
                <c:pt idx="6759">
                  <c:v>0.120545746388443</c:v>
                </c:pt>
                <c:pt idx="6760">
                  <c:v>0.120563581237738</c:v>
                </c:pt>
                <c:pt idx="6761">
                  <c:v>0.120581416087034</c:v>
                </c:pt>
                <c:pt idx="6762">
                  <c:v>0.12059925093632901</c:v>
                </c:pt>
                <c:pt idx="6763">
                  <c:v>0.12061708578562499</c:v>
                </c:pt>
                <c:pt idx="6764">
                  <c:v>0.12063492063492</c:v>
                </c:pt>
                <c:pt idx="6765">
                  <c:v>0.120652755484216</c:v>
                </c:pt>
                <c:pt idx="6766">
                  <c:v>0.120670590333511</c:v>
                </c:pt>
                <c:pt idx="6767">
                  <c:v>0.12068842518280699</c:v>
                </c:pt>
                <c:pt idx="6768">
                  <c:v>0.120706260032102</c:v>
                </c:pt>
                <c:pt idx="6769">
                  <c:v>0.120724094881398</c:v>
                </c:pt>
                <c:pt idx="6770">
                  <c:v>0.120741929730693</c:v>
                </c:pt>
                <c:pt idx="6771">
                  <c:v>0.12075976457998901</c:v>
                </c:pt>
                <c:pt idx="6772">
                  <c:v>0.120777599429284</c:v>
                </c:pt>
                <c:pt idx="6773">
                  <c:v>0.12079543427858</c:v>
                </c:pt>
                <c:pt idx="6774">
                  <c:v>0.120813269127875</c:v>
                </c:pt>
                <c:pt idx="6775">
                  <c:v>0.12083110397717101</c:v>
                </c:pt>
                <c:pt idx="6776">
                  <c:v>0.120848938826466</c:v>
                </c:pt>
                <c:pt idx="6777">
                  <c:v>0.120866773675762</c:v>
                </c:pt>
                <c:pt idx="6778">
                  <c:v>0.120884608525057</c:v>
                </c:pt>
                <c:pt idx="6779">
                  <c:v>0.12090244337435301</c:v>
                </c:pt>
                <c:pt idx="6780">
                  <c:v>0.12092027822364899</c:v>
                </c:pt>
                <c:pt idx="6781">
                  <c:v>0.120938113072944</c:v>
                </c:pt>
                <c:pt idx="6782">
                  <c:v>0.12095594792224</c:v>
                </c:pt>
                <c:pt idx="6783">
                  <c:v>0.120973782771535</c:v>
                </c:pt>
                <c:pt idx="6784">
                  <c:v>0.12099161762083099</c:v>
                </c:pt>
                <c:pt idx="6785">
                  <c:v>0.121009452470126</c:v>
                </c:pt>
                <c:pt idx="6786">
                  <c:v>0.121027287319422</c:v>
                </c:pt>
                <c:pt idx="6787">
                  <c:v>0.121045122168717</c:v>
                </c:pt>
                <c:pt idx="6788">
                  <c:v>0.12106295701801301</c:v>
                </c:pt>
                <c:pt idx="6789">
                  <c:v>0.121080791867308</c:v>
                </c:pt>
                <c:pt idx="6790">
                  <c:v>0.121098626716604</c:v>
                </c:pt>
                <c:pt idx="6791">
                  <c:v>0.121116461565899</c:v>
                </c:pt>
                <c:pt idx="6792">
                  <c:v>0.12113429641519501</c:v>
                </c:pt>
                <c:pt idx="6793">
                  <c:v>0.12115213126449</c:v>
                </c:pt>
                <c:pt idx="6794">
                  <c:v>0.121169966113786</c:v>
                </c:pt>
                <c:pt idx="6795">
                  <c:v>0.121187800963081</c:v>
                </c:pt>
                <c:pt idx="6796">
                  <c:v>0.12120563581237701</c:v>
                </c:pt>
                <c:pt idx="6797">
                  <c:v>0.12122347066167199</c:v>
                </c:pt>
                <c:pt idx="6798">
                  <c:v>0.121241305510968</c:v>
                </c:pt>
                <c:pt idx="6799">
                  <c:v>0.121259140360263</c:v>
                </c:pt>
                <c:pt idx="6800">
                  <c:v>0.121276975209559</c:v>
                </c:pt>
                <c:pt idx="6801">
                  <c:v>0.12129481005885499</c:v>
                </c:pt>
                <c:pt idx="6802">
                  <c:v>0.12131264490815</c:v>
                </c:pt>
                <c:pt idx="6803">
                  <c:v>0.121330479757446</c:v>
                </c:pt>
                <c:pt idx="6804">
                  <c:v>0.121348314606741</c:v>
                </c:pt>
                <c:pt idx="6805">
                  <c:v>0.12136614945603701</c:v>
                </c:pt>
                <c:pt idx="6806">
                  <c:v>0.121383984305332</c:v>
                </c:pt>
                <c:pt idx="6807">
                  <c:v>0.121401819154628</c:v>
                </c:pt>
                <c:pt idx="6808">
                  <c:v>0.121419654003923</c:v>
                </c:pt>
                <c:pt idx="6809">
                  <c:v>0.12143748885321901</c:v>
                </c:pt>
                <c:pt idx="6810">
                  <c:v>0.121455323702514</c:v>
                </c:pt>
                <c:pt idx="6811">
                  <c:v>0.12147315855181</c:v>
                </c:pt>
                <c:pt idx="6812">
                  <c:v>0.121490993401105</c:v>
                </c:pt>
                <c:pt idx="6813">
                  <c:v>0.121508828250401</c:v>
                </c:pt>
                <c:pt idx="6814">
                  <c:v>0.12152666309969599</c:v>
                </c:pt>
                <c:pt idx="6815">
                  <c:v>0.121544497948992</c:v>
                </c:pt>
                <c:pt idx="6816">
                  <c:v>0.121562332798287</c:v>
                </c:pt>
                <c:pt idx="6817">
                  <c:v>0.121580167647583</c:v>
                </c:pt>
                <c:pt idx="6818">
                  <c:v>0.12159800249687799</c:v>
                </c:pt>
                <c:pt idx="6819">
                  <c:v>0.121615837346174</c:v>
                </c:pt>
                <c:pt idx="6820">
                  <c:v>0.121633672195469</c:v>
                </c:pt>
                <c:pt idx="6821">
                  <c:v>0.121651507044765</c:v>
                </c:pt>
                <c:pt idx="6822">
                  <c:v>0.12166934189406001</c:v>
                </c:pt>
                <c:pt idx="6823">
                  <c:v>0.121687176743356</c:v>
                </c:pt>
                <c:pt idx="6824">
                  <c:v>0.121705011592652</c:v>
                </c:pt>
                <c:pt idx="6825">
                  <c:v>0.121722846441947</c:v>
                </c:pt>
                <c:pt idx="6826">
                  <c:v>0.12174068129124301</c:v>
                </c:pt>
                <c:pt idx="6827">
                  <c:v>0.121758516140538</c:v>
                </c:pt>
                <c:pt idx="6828">
                  <c:v>0.121776350989834</c:v>
                </c:pt>
                <c:pt idx="6829">
                  <c:v>0.121794185839129</c:v>
                </c:pt>
                <c:pt idx="6830">
                  <c:v>0.121812020688425</c:v>
                </c:pt>
                <c:pt idx="6831">
                  <c:v>0.12182985553771999</c:v>
                </c:pt>
                <c:pt idx="6832">
                  <c:v>0.121847690387016</c:v>
                </c:pt>
                <c:pt idx="6833">
                  <c:v>0.121865525236311</c:v>
                </c:pt>
                <c:pt idx="6834">
                  <c:v>0.121883360085607</c:v>
                </c:pt>
                <c:pt idx="6835">
                  <c:v>0.12190119493490199</c:v>
                </c:pt>
                <c:pt idx="6836">
                  <c:v>0.121919029784198</c:v>
                </c:pt>
                <c:pt idx="6837">
                  <c:v>0.121936864633493</c:v>
                </c:pt>
                <c:pt idx="6838">
                  <c:v>0.121954699482789</c:v>
                </c:pt>
                <c:pt idx="6839">
                  <c:v>0.12197253433208401</c:v>
                </c:pt>
                <c:pt idx="6840">
                  <c:v>0.12199036918138</c:v>
                </c:pt>
                <c:pt idx="6841">
                  <c:v>0.122008204030675</c:v>
                </c:pt>
                <c:pt idx="6842">
                  <c:v>0.122026038879971</c:v>
                </c:pt>
                <c:pt idx="6843">
                  <c:v>0.12204387372926601</c:v>
                </c:pt>
                <c:pt idx="6844">
                  <c:v>0.12206170857856199</c:v>
                </c:pt>
                <c:pt idx="6845">
                  <c:v>0.122079543427858</c:v>
                </c:pt>
                <c:pt idx="6846">
                  <c:v>0.122097378277153</c:v>
                </c:pt>
                <c:pt idx="6847">
                  <c:v>0.122115213126449</c:v>
                </c:pt>
                <c:pt idx="6848">
                  <c:v>0.12213304797574399</c:v>
                </c:pt>
                <c:pt idx="6849">
                  <c:v>0.12215088282504</c:v>
                </c:pt>
                <c:pt idx="6850">
                  <c:v>0.122168717674335</c:v>
                </c:pt>
                <c:pt idx="6851">
                  <c:v>0.122186552523631</c:v>
                </c:pt>
                <c:pt idx="6852">
                  <c:v>0.12220438737292599</c:v>
                </c:pt>
                <c:pt idx="6853">
                  <c:v>0.122222222222222</c:v>
                </c:pt>
                <c:pt idx="6854">
                  <c:v>0.122240057071517</c:v>
                </c:pt>
                <c:pt idx="6855">
                  <c:v>0.122257891920813</c:v>
                </c:pt>
                <c:pt idx="6856">
                  <c:v>0.12227572677010801</c:v>
                </c:pt>
                <c:pt idx="6857">
                  <c:v>0.122293561619404</c:v>
                </c:pt>
                <c:pt idx="6858">
                  <c:v>0.122311396468699</c:v>
                </c:pt>
                <c:pt idx="6859">
                  <c:v>0.122329231317995</c:v>
                </c:pt>
                <c:pt idx="6860">
                  <c:v>0.12234706616729001</c:v>
                </c:pt>
                <c:pt idx="6861">
                  <c:v>0.12236490101658599</c:v>
                </c:pt>
                <c:pt idx="6862">
                  <c:v>0.122382735865881</c:v>
                </c:pt>
                <c:pt idx="6863">
                  <c:v>0.122400570715177</c:v>
                </c:pt>
                <c:pt idx="6864">
                  <c:v>0.122418405564472</c:v>
                </c:pt>
                <c:pt idx="6865">
                  <c:v>0.12243624041376799</c:v>
                </c:pt>
                <c:pt idx="6866">
                  <c:v>0.122454075263064</c:v>
                </c:pt>
                <c:pt idx="6867">
                  <c:v>0.122471910112359</c:v>
                </c:pt>
                <c:pt idx="6868">
                  <c:v>0.122489744961655</c:v>
                </c:pt>
                <c:pt idx="6869">
                  <c:v>0.12250757981095001</c:v>
                </c:pt>
                <c:pt idx="6870">
                  <c:v>0.122525414660246</c:v>
                </c:pt>
                <c:pt idx="6871">
                  <c:v>0.122543249509541</c:v>
                </c:pt>
                <c:pt idx="6872">
                  <c:v>0.122561084358837</c:v>
                </c:pt>
                <c:pt idx="6873">
                  <c:v>0.12257891920813201</c:v>
                </c:pt>
                <c:pt idx="6874">
                  <c:v>0.122596754057428</c:v>
                </c:pt>
                <c:pt idx="6875">
                  <c:v>0.122614588906723</c:v>
                </c:pt>
                <c:pt idx="6876">
                  <c:v>0.122632423756019</c:v>
                </c:pt>
                <c:pt idx="6877">
                  <c:v>0.12265025860531401</c:v>
                </c:pt>
                <c:pt idx="6878">
                  <c:v>0.12266809345460999</c:v>
                </c:pt>
                <c:pt idx="6879">
                  <c:v>0.122685928303905</c:v>
                </c:pt>
                <c:pt idx="6880">
                  <c:v>0.122703763153201</c:v>
                </c:pt>
                <c:pt idx="6881">
                  <c:v>0.122721598002496</c:v>
                </c:pt>
                <c:pt idx="6882">
                  <c:v>0.12273943285179199</c:v>
                </c:pt>
                <c:pt idx="6883">
                  <c:v>0.122757267701087</c:v>
                </c:pt>
                <c:pt idx="6884">
                  <c:v>0.122775102550383</c:v>
                </c:pt>
                <c:pt idx="6885">
                  <c:v>0.122792937399678</c:v>
                </c:pt>
                <c:pt idx="6886">
                  <c:v>0.12281077224897401</c:v>
                </c:pt>
                <c:pt idx="6887">
                  <c:v>0.12282860709827</c:v>
                </c:pt>
                <c:pt idx="6888">
                  <c:v>0.122846441947565</c:v>
                </c:pt>
                <c:pt idx="6889">
                  <c:v>0.122864276796861</c:v>
                </c:pt>
                <c:pt idx="6890">
                  <c:v>0.12288211164615601</c:v>
                </c:pt>
                <c:pt idx="6891">
                  <c:v>0.12289994649545199</c:v>
                </c:pt>
                <c:pt idx="6892">
                  <c:v>0.122917781344747</c:v>
                </c:pt>
                <c:pt idx="6893">
                  <c:v>0.122935616194043</c:v>
                </c:pt>
                <c:pt idx="6894">
                  <c:v>0.12295345104333801</c:v>
                </c:pt>
                <c:pt idx="6895">
                  <c:v>0.12297128589263399</c:v>
                </c:pt>
                <c:pt idx="6896">
                  <c:v>0.122989120741929</c:v>
                </c:pt>
                <c:pt idx="6897">
                  <c:v>0.123006955591225</c:v>
                </c:pt>
                <c:pt idx="6898">
                  <c:v>0.12302479044052</c:v>
                </c:pt>
                <c:pt idx="6899">
                  <c:v>0.12304262528981599</c:v>
                </c:pt>
                <c:pt idx="6900">
                  <c:v>0.123060460139111</c:v>
                </c:pt>
                <c:pt idx="6901">
                  <c:v>0.123078294988407</c:v>
                </c:pt>
                <c:pt idx="6902">
                  <c:v>0.123096129837702</c:v>
                </c:pt>
                <c:pt idx="6903">
                  <c:v>0.12311396468699801</c:v>
                </c:pt>
                <c:pt idx="6904">
                  <c:v>0.123131799536293</c:v>
                </c:pt>
                <c:pt idx="6905">
                  <c:v>0.123149634385589</c:v>
                </c:pt>
                <c:pt idx="6906">
                  <c:v>0.123167469234884</c:v>
                </c:pt>
                <c:pt idx="6907">
                  <c:v>0.12318530408418001</c:v>
                </c:pt>
                <c:pt idx="6908">
                  <c:v>0.12320313893347599</c:v>
                </c:pt>
                <c:pt idx="6909">
                  <c:v>0.123220973782771</c:v>
                </c:pt>
                <c:pt idx="6910">
                  <c:v>0.123238808632067</c:v>
                </c:pt>
                <c:pt idx="6911">
                  <c:v>0.123256643481362</c:v>
                </c:pt>
                <c:pt idx="6912">
                  <c:v>0.12327447833065799</c:v>
                </c:pt>
                <c:pt idx="6913">
                  <c:v>0.123292313179953</c:v>
                </c:pt>
                <c:pt idx="6914">
                  <c:v>0.123310148029249</c:v>
                </c:pt>
                <c:pt idx="6915">
                  <c:v>0.123327982878544</c:v>
                </c:pt>
                <c:pt idx="6916">
                  <c:v>0.12334581772783999</c:v>
                </c:pt>
                <c:pt idx="6917">
                  <c:v>0.123363652577135</c:v>
                </c:pt>
                <c:pt idx="6918">
                  <c:v>0.123381487426431</c:v>
                </c:pt>
                <c:pt idx="6919">
                  <c:v>0.123399322275726</c:v>
                </c:pt>
                <c:pt idx="6920">
                  <c:v>0.12341715712502201</c:v>
                </c:pt>
                <c:pt idx="6921">
                  <c:v>0.123434991974317</c:v>
                </c:pt>
                <c:pt idx="6922">
                  <c:v>0.123452826823613</c:v>
                </c:pt>
                <c:pt idx="6923">
                  <c:v>0.123470661672908</c:v>
                </c:pt>
                <c:pt idx="6924">
                  <c:v>0.12348849652220401</c:v>
                </c:pt>
                <c:pt idx="6925">
                  <c:v>0.123506331371499</c:v>
                </c:pt>
                <c:pt idx="6926">
                  <c:v>0.123524166220795</c:v>
                </c:pt>
                <c:pt idx="6927">
                  <c:v>0.12354200107009</c:v>
                </c:pt>
                <c:pt idx="6928">
                  <c:v>0.123559835919386</c:v>
                </c:pt>
                <c:pt idx="6929">
                  <c:v>0.12357767076868199</c:v>
                </c:pt>
                <c:pt idx="6930">
                  <c:v>0.123595505617977</c:v>
                </c:pt>
                <c:pt idx="6931">
                  <c:v>0.123613340467273</c:v>
                </c:pt>
                <c:pt idx="6932">
                  <c:v>0.123631175316568</c:v>
                </c:pt>
                <c:pt idx="6933">
                  <c:v>0.12364901016586401</c:v>
                </c:pt>
                <c:pt idx="6934">
                  <c:v>0.123666845015159</c:v>
                </c:pt>
                <c:pt idx="6935">
                  <c:v>0.123684679864455</c:v>
                </c:pt>
                <c:pt idx="6936">
                  <c:v>0.12370251471375</c:v>
                </c:pt>
                <c:pt idx="6937">
                  <c:v>0.12372034956304601</c:v>
                </c:pt>
                <c:pt idx="6938">
                  <c:v>0.123738184412341</c:v>
                </c:pt>
                <c:pt idx="6939">
                  <c:v>0.123756019261637</c:v>
                </c:pt>
                <c:pt idx="6940">
                  <c:v>0.123773854110932</c:v>
                </c:pt>
                <c:pt idx="6941">
                  <c:v>0.12379168896022801</c:v>
                </c:pt>
                <c:pt idx="6942">
                  <c:v>0.12380952380952299</c:v>
                </c:pt>
                <c:pt idx="6943">
                  <c:v>0.123827358658819</c:v>
                </c:pt>
                <c:pt idx="6944">
                  <c:v>0.123845193508114</c:v>
                </c:pt>
                <c:pt idx="6945">
                  <c:v>0.12386302835741</c:v>
                </c:pt>
                <c:pt idx="6946">
                  <c:v>0.12388086320670499</c:v>
                </c:pt>
                <c:pt idx="6947">
                  <c:v>0.123898698056001</c:v>
                </c:pt>
                <c:pt idx="6948">
                  <c:v>0.123916532905296</c:v>
                </c:pt>
                <c:pt idx="6949">
                  <c:v>0.123934367754592</c:v>
                </c:pt>
                <c:pt idx="6950">
                  <c:v>0.12395220260388699</c:v>
                </c:pt>
                <c:pt idx="6951">
                  <c:v>0.123970037453183</c:v>
                </c:pt>
                <c:pt idx="6952">
                  <c:v>0.123987872302479</c:v>
                </c:pt>
                <c:pt idx="6953">
                  <c:v>0.124005707151774</c:v>
                </c:pt>
                <c:pt idx="6954">
                  <c:v>0.12402354200107001</c:v>
                </c:pt>
                <c:pt idx="6955">
                  <c:v>0.124041376850365</c:v>
                </c:pt>
                <c:pt idx="6956">
                  <c:v>0.124059211699661</c:v>
                </c:pt>
                <c:pt idx="6957">
                  <c:v>0.124077046548956</c:v>
                </c:pt>
                <c:pt idx="6958">
                  <c:v>0.124094881398252</c:v>
                </c:pt>
                <c:pt idx="6959">
                  <c:v>0.12411271624754699</c:v>
                </c:pt>
                <c:pt idx="6960">
                  <c:v>0.124130551096843</c:v>
                </c:pt>
                <c:pt idx="6961">
                  <c:v>0.124148385946138</c:v>
                </c:pt>
                <c:pt idx="6962">
                  <c:v>0.124166220795434</c:v>
                </c:pt>
                <c:pt idx="6963">
                  <c:v>0.12418405564472899</c:v>
                </c:pt>
                <c:pt idx="6964">
                  <c:v>0.124201890494025</c:v>
                </c:pt>
                <c:pt idx="6965">
                  <c:v>0.12421972534332</c:v>
                </c:pt>
                <c:pt idx="6966">
                  <c:v>0.124237560192616</c:v>
                </c:pt>
                <c:pt idx="6967">
                  <c:v>0.12425539504191099</c:v>
                </c:pt>
                <c:pt idx="6968">
                  <c:v>0.124273229891207</c:v>
                </c:pt>
                <c:pt idx="6969">
                  <c:v>0.124291064740502</c:v>
                </c:pt>
                <c:pt idx="6970">
                  <c:v>0.124308899589798</c:v>
                </c:pt>
                <c:pt idx="6971">
                  <c:v>0.12432673443909301</c:v>
                </c:pt>
                <c:pt idx="6972">
                  <c:v>0.124344569288389</c:v>
                </c:pt>
                <c:pt idx="6973">
                  <c:v>0.124362404137685</c:v>
                </c:pt>
                <c:pt idx="6974">
                  <c:v>0.12438023898698</c:v>
                </c:pt>
                <c:pt idx="6975">
                  <c:v>0.124398073836276</c:v>
                </c:pt>
                <c:pt idx="6976">
                  <c:v>0.12441590868557099</c:v>
                </c:pt>
                <c:pt idx="6977">
                  <c:v>0.124433743534867</c:v>
                </c:pt>
                <c:pt idx="6978">
                  <c:v>0.124451578384162</c:v>
                </c:pt>
                <c:pt idx="6979">
                  <c:v>0.124469413233458</c:v>
                </c:pt>
                <c:pt idx="6980">
                  <c:v>0.12448724808275299</c:v>
                </c:pt>
                <c:pt idx="6981">
                  <c:v>0.124505082932049</c:v>
                </c:pt>
                <c:pt idx="6982">
                  <c:v>0.124522917781344</c:v>
                </c:pt>
                <c:pt idx="6983">
                  <c:v>0.12454075263064</c:v>
                </c:pt>
                <c:pt idx="6984">
                  <c:v>0.12455858747993501</c:v>
                </c:pt>
                <c:pt idx="6985">
                  <c:v>0.124576422329231</c:v>
                </c:pt>
                <c:pt idx="6986">
                  <c:v>0.124594257178526</c:v>
                </c:pt>
                <c:pt idx="6987">
                  <c:v>0.124612092027822</c:v>
                </c:pt>
                <c:pt idx="6988">
                  <c:v>0.12462992687711701</c:v>
                </c:pt>
                <c:pt idx="6989">
                  <c:v>0.124647761726413</c:v>
                </c:pt>
                <c:pt idx="6990">
                  <c:v>0.124665596575708</c:v>
                </c:pt>
                <c:pt idx="6991">
                  <c:v>0.124683431425004</c:v>
                </c:pt>
                <c:pt idx="6992">
                  <c:v>0.12470126627429901</c:v>
                </c:pt>
                <c:pt idx="6993">
                  <c:v>0.12471910112359499</c:v>
                </c:pt>
                <c:pt idx="6994">
                  <c:v>0.124736935972891</c:v>
                </c:pt>
                <c:pt idx="6995">
                  <c:v>0.124754770822186</c:v>
                </c:pt>
                <c:pt idx="6996">
                  <c:v>0.124772605671482</c:v>
                </c:pt>
                <c:pt idx="6997">
                  <c:v>0.12479044052077699</c:v>
                </c:pt>
                <c:pt idx="6998">
                  <c:v>0.124808275370073</c:v>
                </c:pt>
                <c:pt idx="6999">
                  <c:v>0.124826110219368</c:v>
                </c:pt>
                <c:pt idx="7000">
                  <c:v>0.124843945068664</c:v>
                </c:pt>
                <c:pt idx="7001">
                  <c:v>0.12486177991795901</c:v>
                </c:pt>
                <c:pt idx="7002">
                  <c:v>0.124879614767255</c:v>
                </c:pt>
                <c:pt idx="7003">
                  <c:v>0.12489744961655</c:v>
                </c:pt>
                <c:pt idx="7004">
                  <c:v>0.124915284465846</c:v>
                </c:pt>
                <c:pt idx="7005">
                  <c:v>0.12493311931514101</c:v>
                </c:pt>
                <c:pt idx="7006">
                  <c:v>0.12495095416443699</c:v>
                </c:pt>
                <c:pt idx="7007">
                  <c:v>0.124968789013732</c:v>
                </c:pt>
                <c:pt idx="7008">
                  <c:v>0.124986623863028</c:v>
                </c:pt>
                <c:pt idx="7009">
                  <c:v>0.12500445871232299</c:v>
                </c:pt>
                <c:pt idx="7010">
                  <c:v>0.12502229356161901</c:v>
                </c:pt>
                <c:pt idx="7011">
                  <c:v>0.125040128410914</c:v>
                </c:pt>
                <c:pt idx="7012">
                  <c:v>0.12505796326020999</c:v>
                </c:pt>
                <c:pt idx="7013">
                  <c:v>0.125075798109505</c:v>
                </c:pt>
                <c:pt idx="7014">
                  <c:v>0.12509363295880099</c:v>
                </c:pt>
                <c:pt idx="7015">
                  <c:v>0.12511146780809701</c:v>
                </c:pt>
                <c:pt idx="7016">
                  <c:v>0.125129302657392</c:v>
                </c:pt>
                <c:pt idx="7017">
                  <c:v>0.12514713750668799</c:v>
                </c:pt>
                <c:pt idx="7018">
                  <c:v>0.12516497235598301</c:v>
                </c:pt>
                <c:pt idx="7019">
                  <c:v>0.125182807205279</c:v>
                </c:pt>
                <c:pt idx="7020">
                  <c:v>0.12520064205457401</c:v>
                </c:pt>
                <c:pt idx="7021">
                  <c:v>0.12521847690387</c:v>
                </c:pt>
                <c:pt idx="7022">
                  <c:v>0.12523631175316499</c:v>
                </c:pt>
                <c:pt idx="7023">
                  <c:v>0.12525414660246101</c:v>
                </c:pt>
                <c:pt idx="7024">
                  <c:v>0.125271981451756</c:v>
                </c:pt>
                <c:pt idx="7025">
                  <c:v>0.12528981630105199</c:v>
                </c:pt>
                <c:pt idx="7026">
                  <c:v>0.125307651150347</c:v>
                </c:pt>
                <c:pt idx="7027">
                  <c:v>0.12532548599964299</c:v>
                </c:pt>
                <c:pt idx="7028">
                  <c:v>0.12534332084893801</c:v>
                </c:pt>
                <c:pt idx="7029">
                  <c:v>0.125361155698234</c:v>
                </c:pt>
                <c:pt idx="7030">
                  <c:v>0.12537899054752899</c:v>
                </c:pt>
                <c:pt idx="7031">
                  <c:v>0.12539682539682501</c:v>
                </c:pt>
                <c:pt idx="7032">
                  <c:v>0.12541466024612</c:v>
                </c:pt>
                <c:pt idx="7033">
                  <c:v>0.12543249509541601</c:v>
                </c:pt>
                <c:pt idx="7034">
                  <c:v>0.125450329944711</c:v>
                </c:pt>
                <c:pt idx="7035">
                  <c:v>0.12546816479400699</c:v>
                </c:pt>
                <c:pt idx="7036">
                  <c:v>0.12548599964330301</c:v>
                </c:pt>
                <c:pt idx="7037">
                  <c:v>0.125503834492598</c:v>
                </c:pt>
                <c:pt idx="7038">
                  <c:v>0.12552166934189399</c:v>
                </c:pt>
                <c:pt idx="7039">
                  <c:v>0.12553950419118901</c:v>
                </c:pt>
                <c:pt idx="7040">
                  <c:v>0.12555733904048499</c:v>
                </c:pt>
                <c:pt idx="7041">
                  <c:v>0.12557517388978001</c:v>
                </c:pt>
                <c:pt idx="7042">
                  <c:v>0.125593008739076</c:v>
                </c:pt>
                <c:pt idx="7043">
                  <c:v>0.12561084358837099</c:v>
                </c:pt>
                <c:pt idx="7044">
                  <c:v>0.12562867843766701</c:v>
                </c:pt>
                <c:pt idx="7045">
                  <c:v>0.125646513286962</c:v>
                </c:pt>
                <c:pt idx="7046">
                  <c:v>0.12566434813625799</c:v>
                </c:pt>
                <c:pt idx="7047">
                  <c:v>0.125682182985553</c:v>
                </c:pt>
                <c:pt idx="7048">
                  <c:v>0.12570001783484899</c:v>
                </c:pt>
                <c:pt idx="7049">
                  <c:v>0.12571785268414401</c:v>
                </c:pt>
                <c:pt idx="7050">
                  <c:v>0.12573568753344</c:v>
                </c:pt>
                <c:pt idx="7051">
                  <c:v>0.12575352238273499</c:v>
                </c:pt>
                <c:pt idx="7052">
                  <c:v>0.12577135723203101</c:v>
                </c:pt>
                <c:pt idx="7053">
                  <c:v>0.125789192081326</c:v>
                </c:pt>
                <c:pt idx="7054">
                  <c:v>0.12580702693062201</c:v>
                </c:pt>
                <c:pt idx="7055">
                  <c:v>0.125824861779917</c:v>
                </c:pt>
                <c:pt idx="7056">
                  <c:v>0.12584269662921299</c:v>
                </c:pt>
                <c:pt idx="7057">
                  <c:v>0.12586053147850901</c:v>
                </c:pt>
                <c:pt idx="7058">
                  <c:v>0.125878366327804</c:v>
                </c:pt>
                <c:pt idx="7059">
                  <c:v>0.12589620117709999</c:v>
                </c:pt>
                <c:pt idx="7060">
                  <c:v>0.125914036026395</c:v>
                </c:pt>
                <c:pt idx="7061">
                  <c:v>0.12593187087569099</c:v>
                </c:pt>
                <c:pt idx="7062">
                  <c:v>0.12594970572498601</c:v>
                </c:pt>
                <c:pt idx="7063">
                  <c:v>0.125967540574282</c:v>
                </c:pt>
                <c:pt idx="7064">
                  <c:v>0.12598537542357699</c:v>
                </c:pt>
                <c:pt idx="7065">
                  <c:v>0.12600321027287301</c:v>
                </c:pt>
                <c:pt idx="7066">
                  <c:v>0.126021045122168</c:v>
                </c:pt>
                <c:pt idx="7067">
                  <c:v>0.12603887997146401</c:v>
                </c:pt>
                <c:pt idx="7068">
                  <c:v>0.126056714820759</c:v>
                </c:pt>
                <c:pt idx="7069">
                  <c:v>0.12607454967005499</c:v>
                </c:pt>
                <c:pt idx="7070">
                  <c:v>0.12609238451935001</c:v>
                </c:pt>
                <c:pt idx="7071">
                  <c:v>0.126110219368646</c:v>
                </c:pt>
                <c:pt idx="7072">
                  <c:v>0.12612805421794099</c:v>
                </c:pt>
                <c:pt idx="7073">
                  <c:v>0.126145889067237</c:v>
                </c:pt>
                <c:pt idx="7074">
                  <c:v>0.12616372391653199</c:v>
                </c:pt>
                <c:pt idx="7075">
                  <c:v>0.12618155876582801</c:v>
                </c:pt>
                <c:pt idx="7076">
                  <c:v>0.126199393615123</c:v>
                </c:pt>
                <c:pt idx="7077">
                  <c:v>0.12621722846441899</c:v>
                </c:pt>
                <c:pt idx="7078">
                  <c:v>0.12623506331371501</c:v>
                </c:pt>
                <c:pt idx="7079">
                  <c:v>0.12625289816301</c:v>
                </c:pt>
                <c:pt idx="7080">
                  <c:v>0.12627073301230601</c:v>
                </c:pt>
                <c:pt idx="7081">
                  <c:v>0.126288567861601</c:v>
                </c:pt>
                <c:pt idx="7082">
                  <c:v>0.12630640271089699</c:v>
                </c:pt>
                <c:pt idx="7083">
                  <c:v>0.12632423756019201</c:v>
                </c:pt>
                <c:pt idx="7084">
                  <c:v>0.126342072409488</c:v>
                </c:pt>
                <c:pt idx="7085">
                  <c:v>0.12635990725878299</c:v>
                </c:pt>
                <c:pt idx="7086">
                  <c:v>0.12637774210807901</c:v>
                </c:pt>
                <c:pt idx="7087">
                  <c:v>0.126395576957374</c:v>
                </c:pt>
                <c:pt idx="7088">
                  <c:v>0.12641341180667001</c:v>
                </c:pt>
                <c:pt idx="7089">
                  <c:v>0.126431246655965</c:v>
                </c:pt>
                <c:pt idx="7090">
                  <c:v>0.12644908150526099</c:v>
                </c:pt>
                <c:pt idx="7091">
                  <c:v>0.12646691635455601</c:v>
                </c:pt>
                <c:pt idx="7092">
                  <c:v>0.126484751203852</c:v>
                </c:pt>
                <c:pt idx="7093">
                  <c:v>0.12650258605314699</c:v>
                </c:pt>
                <c:pt idx="7094">
                  <c:v>0.126520420902443</c:v>
                </c:pt>
                <c:pt idx="7095">
                  <c:v>0.12653825575173799</c:v>
                </c:pt>
                <c:pt idx="7096">
                  <c:v>0.12655609060103401</c:v>
                </c:pt>
                <c:pt idx="7097">
                  <c:v>0.126573925450329</c:v>
                </c:pt>
                <c:pt idx="7098">
                  <c:v>0.12659176029962499</c:v>
                </c:pt>
                <c:pt idx="7099">
                  <c:v>0.12660959514892001</c:v>
                </c:pt>
                <c:pt idx="7100">
                  <c:v>0.126627429998216</c:v>
                </c:pt>
                <c:pt idx="7101">
                  <c:v>0.12664526484751201</c:v>
                </c:pt>
                <c:pt idx="7102">
                  <c:v>0.126663099696807</c:v>
                </c:pt>
                <c:pt idx="7103">
                  <c:v>0.12668093454610299</c:v>
                </c:pt>
                <c:pt idx="7104">
                  <c:v>0.12669876939539801</c:v>
                </c:pt>
                <c:pt idx="7105">
                  <c:v>0.126716604244694</c:v>
                </c:pt>
                <c:pt idx="7106">
                  <c:v>0.12673443909398899</c:v>
                </c:pt>
                <c:pt idx="7107">
                  <c:v>0.126752273943285</c:v>
                </c:pt>
                <c:pt idx="7108">
                  <c:v>0.12677010879257999</c:v>
                </c:pt>
                <c:pt idx="7109">
                  <c:v>0.12678794364187601</c:v>
                </c:pt>
                <c:pt idx="7110">
                  <c:v>0.126805778491171</c:v>
                </c:pt>
                <c:pt idx="7111">
                  <c:v>0.12682361334046699</c:v>
                </c:pt>
                <c:pt idx="7112">
                  <c:v>0.12684144818976201</c:v>
                </c:pt>
                <c:pt idx="7113">
                  <c:v>0.126859283039058</c:v>
                </c:pt>
                <c:pt idx="7114">
                  <c:v>0.12687711788835301</c:v>
                </c:pt>
                <c:pt idx="7115">
                  <c:v>0.126894952737649</c:v>
                </c:pt>
                <c:pt idx="7116">
                  <c:v>0.12691278758694399</c:v>
                </c:pt>
                <c:pt idx="7117">
                  <c:v>0.12693062243624001</c:v>
                </c:pt>
                <c:pt idx="7118">
                  <c:v>0.126948457285535</c:v>
                </c:pt>
                <c:pt idx="7119">
                  <c:v>0.12696629213483099</c:v>
                </c:pt>
                <c:pt idx="7120">
                  <c:v>0.12698412698412601</c:v>
                </c:pt>
                <c:pt idx="7121">
                  <c:v>0.12700196183342199</c:v>
                </c:pt>
                <c:pt idx="7122">
                  <c:v>0.12701979668271801</c:v>
                </c:pt>
                <c:pt idx="7123">
                  <c:v>0.127037631532013</c:v>
                </c:pt>
                <c:pt idx="7124">
                  <c:v>0.12705546638130899</c:v>
                </c:pt>
                <c:pt idx="7125">
                  <c:v>0.12707330123060401</c:v>
                </c:pt>
                <c:pt idx="7126">
                  <c:v>0.1270911360799</c:v>
                </c:pt>
                <c:pt idx="7127">
                  <c:v>0.12710897092919499</c:v>
                </c:pt>
                <c:pt idx="7128">
                  <c:v>0.127126805778491</c:v>
                </c:pt>
                <c:pt idx="7129">
                  <c:v>0.12714464062778599</c:v>
                </c:pt>
                <c:pt idx="7130">
                  <c:v>0.12716247547708201</c:v>
                </c:pt>
                <c:pt idx="7131">
                  <c:v>0.127180310326377</c:v>
                </c:pt>
                <c:pt idx="7132">
                  <c:v>0.12719814517567299</c:v>
                </c:pt>
                <c:pt idx="7133">
                  <c:v>0.12721598002496801</c:v>
                </c:pt>
                <c:pt idx="7134">
                  <c:v>0.127233814874264</c:v>
                </c:pt>
                <c:pt idx="7135">
                  <c:v>0.12725164972355901</c:v>
                </c:pt>
                <c:pt idx="7136">
                  <c:v>0.127269484572855</c:v>
                </c:pt>
                <c:pt idx="7137">
                  <c:v>0.12728731942214999</c:v>
                </c:pt>
                <c:pt idx="7138">
                  <c:v>0.12730515427144601</c:v>
                </c:pt>
                <c:pt idx="7139">
                  <c:v>0.127322989120741</c:v>
                </c:pt>
                <c:pt idx="7140">
                  <c:v>0.12734082397003699</c:v>
                </c:pt>
                <c:pt idx="7141">
                  <c:v>0.127358658819332</c:v>
                </c:pt>
                <c:pt idx="7142">
                  <c:v>0.12737649366862799</c:v>
                </c:pt>
                <c:pt idx="7143">
                  <c:v>0.12739432851792401</c:v>
                </c:pt>
                <c:pt idx="7144">
                  <c:v>0.127412163367219</c:v>
                </c:pt>
                <c:pt idx="7145">
                  <c:v>0.12742999821651499</c:v>
                </c:pt>
                <c:pt idx="7146">
                  <c:v>0.12744783306581001</c:v>
                </c:pt>
                <c:pt idx="7147">
                  <c:v>0.127465667915106</c:v>
                </c:pt>
                <c:pt idx="7148">
                  <c:v>0.12748350276440101</c:v>
                </c:pt>
                <c:pt idx="7149">
                  <c:v>0.127501337613697</c:v>
                </c:pt>
                <c:pt idx="7150">
                  <c:v>0.12751917246299199</c:v>
                </c:pt>
                <c:pt idx="7151">
                  <c:v>0.12753700731228801</c:v>
                </c:pt>
                <c:pt idx="7152">
                  <c:v>0.127554842161583</c:v>
                </c:pt>
                <c:pt idx="7153">
                  <c:v>0.12757267701087899</c:v>
                </c:pt>
                <c:pt idx="7154">
                  <c:v>0.12759051186017401</c:v>
                </c:pt>
                <c:pt idx="7155">
                  <c:v>0.12760834670946999</c:v>
                </c:pt>
                <c:pt idx="7156">
                  <c:v>0.12762618155876501</c:v>
                </c:pt>
                <c:pt idx="7157">
                  <c:v>0.127644016408061</c:v>
                </c:pt>
                <c:pt idx="7158">
                  <c:v>0.12766185125735599</c:v>
                </c:pt>
                <c:pt idx="7159">
                  <c:v>0.12767968610665201</c:v>
                </c:pt>
                <c:pt idx="7160">
                  <c:v>0.127697520955947</c:v>
                </c:pt>
                <c:pt idx="7161">
                  <c:v>0.12771535580524301</c:v>
                </c:pt>
                <c:pt idx="7162">
                  <c:v>0.127733190654538</c:v>
                </c:pt>
                <c:pt idx="7163">
                  <c:v>0.12775102550383399</c:v>
                </c:pt>
                <c:pt idx="7164">
                  <c:v>0.12776886035313001</c:v>
                </c:pt>
                <c:pt idx="7165">
                  <c:v>0.127786695202425</c:v>
                </c:pt>
                <c:pt idx="7166">
                  <c:v>0.12780453005172099</c:v>
                </c:pt>
                <c:pt idx="7167">
                  <c:v>0.12782236490101601</c:v>
                </c:pt>
                <c:pt idx="7168">
                  <c:v>0.12784019975031199</c:v>
                </c:pt>
                <c:pt idx="7169">
                  <c:v>0.12785803459960701</c:v>
                </c:pt>
                <c:pt idx="7170">
                  <c:v>0.127875869448903</c:v>
                </c:pt>
                <c:pt idx="7171">
                  <c:v>0.12789370429819799</c:v>
                </c:pt>
                <c:pt idx="7172">
                  <c:v>0.12791153914749401</c:v>
                </c:pt>
                <c:pt idx="7173">
                  <c:v>0.127929373996789</c:v>
                </c:pt>
                <c:pt idx="7174">
                  <c:v>0.12794720884608499</c:v>
                </c:pt>
                <c:pt idx="7175">
                  <c:v>0.12796504369538</c:v>
                </c:pt>
                <c:pt idx="7176">
                  <c:v>0.12798287854467599</c:v>
                </c:pt>
                <c:pt idx="7177">
                  <c:v>0.12800071339397101</c:v>
                </c:pt>
                <c:pt idx="7178">
                  <c:v>0.128018548243267</c:v>
                </c:pt>
                <c:pt idx="7179">
                  <c:v>0.12803638309256199</c:v>
                </c:pt>
                <c:pt idx="7180">
                  <c:v>0.12805421794185801</c:v>
                </c:pt>
                <c:pt idx="7181">
                  <c:v>0.128072052791153</c:v>
                </c:pt>
                <c:pt idx="7182">
                  <c:v>0.12808988764044901</c:v>
                </c:pt>
                <c:pt idx="7183">
                  <c:v>0.128107722489744</c:v>
                </c:pt>
                <c:pt idx="7184">
                  <c:v>0.12812555733903999</c:v>
                </c:pt>
                <c:pt idx="7185">
                  <c:v>0.12814339218833601</c:v>
                </c:pt>
                <c:pt idx="7186">
                  <c:v>0.128161227037631</c:v>
                </c:pt>
                <c:pt idx="7187">
                  <c:v>0.12817906188692699</c:v>
                </c:pt>
                <c:pt idx="7188">
                  <c:v>0.128196896736222</c:v>
                </c:pt>
                <c:pt idx="7189">
                  <c:v>0.12821473158551799</c:v>
                </c:pt>
                <c:pt idx="7190">
                  <c:v>0.12823256643481301</c:v>
                </c:pt>
                <c:pt idx="7191">
                  <c:v>0.128250401284109</c:v>
                </c:pt>
                <c:pt idx="7192">
                  <c:v>0.12826823613340399</c:v>
                </c:pt>
                <c:pt idx="7193">
                  <c:v>0.12828607098270001</c:v>
                </c:pt>
                <c:pt idx="7194">
                  <c:v>0.128303905831995</c:v>
                </c:pt>
                <c:pt idx="7195">
                  <c:v>0.12832174068129101</c:v>
                </c:pt>
                <c:pt idx="7196">
                  <c:v>0.128339575530586</c:v>
                </c:pt>
                <c:pt idx="7197">
                  <c:v>0.12835741037988199</c:v>
                </c:pt>
                <c:pt idx="7198">
                  <c:v>0.12837524522917701</c:v>
                </c:pt>
                <c:pt idx="7199">
                  <c:v>0.128393080078473</c:v>
                </c:pt>
                <c:pt idx="7200">
                  <c:v>0.12841091492776799</c:v>
                </c:pt>
                <c:pt idx="7201">
                  <c:v>0.12842874977706401</c:v>
                </c:pt>
                <c:pt idx="7202">
                  <c:v>0.12844658462635899</c:v>
                </c:pt>
                <c:pt idx="7203">
                  <c:v>0.12846441947565501</c:v>
                </c:pt>
                <c:pt idx="7204">
                  <c:v>0.12848225432495</c:v>
                </c:pt>
                <c:pt idx="7205">
                  <c:v>0.12850008917424599</c:v>
                </c:pt>
                <c:pt idx="7206">
                  <c:v>0.12851792402354201</c:v>
                </c:pt>
                <c:pt idx="7207">
                  <c:v>0.128535758872837</c:v>
                </c:pt>
                <c:pt idx="7208">
                  <c:v>0.12855359372213301</c:v>
                </c:pt>
                <c:pt idx="7209">
                  <c:v>0.128571428571428</c:v>
                </c:pt>
                <c:pt idx="7210">
                  <c:v>0.12858926342072399</c:v>
                </c:pt>
                <c:pt idx="7211">
                  <c:v>0.12860709827001901</c:v>
                </c:pt>
                <c:pt idx="7212">
                  <c:v>0.128624933119315</c:v>
                </c:pt>
                <c:pt idx="7213">
                  <c:v>0.12864276796860999</c:v>
                </c:pt>
                <c:pt idx="7214">
                  <c:v>0.12866060281790601</c:v>
                </c:pt>
                <c:pt idx="7215">
                  <c:v>0.128678437667201</c:v>
                </c:pt>
                <c:pt idx="7216">
                  <c:v>0.12869627251649701</c:v>
                </c:pt>
                <c:pt idx="7217">
                  <c:v>0.128714107365792</c:v>
                </c:pt>
                <c:pt idx="7218">
                  <c:v>0.12873194221508799</c:v>
                </c:pt>
                <c:pt idx="7219">
                  <c:v>0.12874977706438301</c:v>
                </c:pt>
                <c:pt idx="7220">
                  <c:v>0.128767611913679</c:v>
                </c:pt>
                <c:pt idx="7221">
                  <c:v>0.12878544676297399</c:v>
                </c:pt>
                <c:pt idx="7222">
                  <c:v>0.12880328161227</c:v>
                </c:pt>
                <c:pt idx="7223">
                  <c:v>0.12882111646156499</c:v>
                </c:pt>
                <c:pt idx="7224">
                  <c:v>0.12883895131086101</c:v>
                </c:pt>
                <c:pt idx="7225">
                  <c:v>0.128856786160156</c:v>
                </c:pt>
                <c:pt idx="7226">
                  <c:v>0.12887462100945199</c:v>
                </c:pt>
                <c:pt idx="7227">
                  <c:v>0.12889245585874801</c:v>
                </c:pt>
                <c:pt idx="7228">
                  <c:v>0.128910290708043</c:v>
                </c:pt>
                <c:pt idx="7229">
                  <c:v>0.12892812555733901</c:v>
                </c:pt>
                <c:pt idx="7230">
                  <c:v>0.128945960406634</c:v>
                </c:pt>
                <c:pt idx="7231">
                  <c:v>0.12896379525592999</c:v>
                </c:pt>
                <c:pt idx="7232">
                  <c:v>0.12898163010522501</c:v>
                </c:pt>
                <c:pt idx="7233">
                  <c:v>0.128999464954521</c:v>
                </c:pt>
                <c:pt idx="7234">
                  <c:v>0.12901729980381599</c:v>
                </c:pt>
                <c:pt idx="7235">
                  <c:v>0.129035134653112</c:v>
                </c:pt>
                <c:pt idx="7236">
                  <c:v>0.12905296950240699</c:v>
                </c:pt>
                <c:pt idx="7237">
                  <c:v>0.12907080435170301</c:v>
                </c:pt>
                <c:pt idx="7238">
                  <c:v>0.129088639200998</c:v>
                </c:pt>
                <c:pt idx="7239">
                  <c:v>0.12910647405029399</c:v>
                </c:pt>
                <c:pt idx="7240">
                  <c:v>0.12912430889958901</c:v>
                </c:pt>
                <c:pt idx="7241">
                  <c:v>0.129142143748885</c:v>
                </c:pt>
                <c:pt idx="7242">
                  <c:v>0.12915997859817999</c:v>
                </c:pt>
                <c:pt idx="7243">
                  <c:v>0.129177813447476</c:v>
                </c:pt>
                <c:pt idx="7244">
                  <c:v>0.12919564829677099</c:v>
                </c:pt>
                <c:pt idx="7245">
                  <c:v>0.12921348314606701</c:v>
                </c:pt>
                <c:pt idx="7246">
                  <c:v>0.129231317995362</c:v>
                </c:pt>
                <c:pt idx="7247">
                  <c:v>0.12924915284465799</c:v>
                </c:pt>
                <c:pt idx="7248">
                  <c:v>0.12926698769395301</c:v>
                </c:pt>
                <c:pt idx="7249">
                  <c:v>0.129284822543249</c:v>
                </c:pt>
                <c:pt idx="7250">
                  <c:v>0.12930265739254501</c:v>
                </c:pt>
                <c:pt idx="7251">
                  <c:v>0.12932049224184</c:v>
                </c:pt>
                <c:pt idx="7252">
                  <c:v>0.12933832709113599</c:v>
                </c:pt>
                <c:pt idx="7253">
                  <c:v>0.12935616194043101</c:v>
                </c:pt>
                <c:pt idx="7254">
                  <c:v>0.129373996789727</c:v>
                </c:pt>
                <c:pt idx="7255">
                  <c:v>0.12939183163902199</c:v>
                </c:pt>
                <c:pt idx="7256">
                  <c:v>0.129409666488318</c:v>
                </c:pt>
                <c:pt idx="7257">
                  <c:v>0.12942750133761299</c:v>
                </c:pt>
                <c:pt idx="7258">
                  <c:v>0.12944533618690901</c:v>
                </c:pt>
                <c:pt idx="7259">
                  <c:v>0.129463171036204</c:v>
                </c:pt>
                <c:pt idx="7260">
                  <c:v>0.12948100588549999</c:v>
                </c:pt>
                <c:pt idx="7261">
                  <c:v>0.12949884073479501</c:v>
                </c:pt>
                <c:pt idx="7262">
                  <c:v>0.129516675584091</c:v>
                </c:pt>
                <c:pt idx="7263">
                  <c:v>0.12953451043338601</c:v>
                </c:pt>
                <c:pt idx="7264">
                  <c:v>0.129552345282682</c:v>
                </c:pt>
                <c:pt idx="7265">
                  <c:v>0.12957018013197699</c:v>
                </c:pt>
                <c:pt idx="7266">
                  <c:v>0.12958801498127301</c:v>
                </c:pt>
                <c:pt idx="7267">
                  <c:v>0.129605849830568</c:v>
                </c:pt>
                <c:pt idx="7268">
                  <c:v>0.12962368467986399</c:v>
                </c:pt>
                <c:pt idx="7269">
                  <c:v>0.12964151952915901</c:v>
                </c:pt>
                <c:pt idx="7270">
                  <c:v>0.12965935437845499</c:v>
                </c:pt>
                <c:pt idx="7271">
                  <c:v>0.12967718922775101</c:v>
                </c:pt>
                <c:pt idx="7272">
                  <c:v>0.129695024077046</c:v>
                </c:pt>
                <c:pt idx="7273">
                  <c:v>0.12971285892634199</c:v>
                </c:pt>
                <c:pt idx="7274">
                  <c:v>0.12973069377563701</c:v>
                </c:pt>
                <c:pt idx="7275">
                  <c:v>0.129748528624933</c:v>
                </c:pt>
                <c:pt idx="7276">
                  <c:v>0.12976636347422801</c:v>
                </c:pt>
                <c:pt idx="7277">
                  <c:v>0.129784198323524</c:v>
                </c:pt>
                <c:pt idx="7278">
                  <c:v>0.12980203317281899</c:v>
                </c:pt>
                <c:pt idx="7279">
                  <c:v>0.12981986802211501</c:v>
                </c:pt>
                <c:pt idx="7280">
                  <c:v>0.12983770287141</c:v>
                </c:pt>
                <c:pt idx="7281">
                  <c:v>0.12985553772070599</c:v>
                </c:pt>
                <c:pt idx="7282">
                  <c:v>0.12987337257000101</c:v>
                </c:pt>
                <c:pt idx="7283">
                  <c:v>0.12989120741929699</c:v>
                </c:pt>
                <c:pt idx="7284">
                  <c:v>0.12990904226859201</c:v>
                </c:pt>
                <c:pt idx="7285">
                  <c:v>0.129926877117888</c:v>
                </c:pt>
                <c:pt idx="7286">
                  <c:v>0.12994471196718299</c:v>
                </c:pt>
                <c:pt idx="7287">
                  <c:v>0.12996254681647901</c:v>
                </c:pt>
                <c:pt idx="7288">
                  <c:v>0.129980381665774</c:v>
                </c:pt>
                <c:pt idx="7289">
                  <c:v>0.12999821651506999</c:v>
                </c:pt>
                <c:pt idx="7290">
                  <c:v>0.130016051364365</c:v>
                </c:pt>
                <c:pt idx="7291">
                  <c:v>0.13003388621366099</c:v>
                </c:pt>
                <c:pt idx="7292">
                  <c:v>0.13005172106295701</c:v>
                </c:pt>
                <c:pt idx="7293">
                  <c:v>0.130069555912252</c:v>
                </c:pt>
                <c:pt idx="7294">
                  <c:v>0.13008739076154799</c:v>
                </c:pt>
                <c:pt idx="7295">
                  <c:v>0.13010522561084301</c:v>
                </c:pt>
                <c:pt idx="7296">
                  <c:v>0.130123060460139</c:v>
                </c:pt>
                <c:pt idx="7297">
                  <c:v>0.13014089530943401</c:v>
                </c:pt>
                <c:pt idx="7298">
                  <c:v>0.13015873015873</c:v>
                </c:pt>
                <c:pt idx="7299">
                  <c:v>0.13017656500802499</c:v>
                </c:pt>
                <c:pt idx="7300">
                  <c:v>0.13019439985732101</c:v>
                </c:pt>
                <c:pt idx="7301">
                  <c:v>0.130212234706616</c:v>
                </c:pt>
                <c:pt idx="7302">
                  <c:v>0.13023006955591199</c:v>
                </c:pt>
                <c:pt idx="7303">
                  <c:v>0.130247904405207</c:v>
                </c:pt>
                <c:pt idx="7304">
                  <c:v>0.13026573925450299</c:v>
                </c:pt>
                <c:pt idx="7305">
                  <c:v>0.13028357410379801</c:v>
                </c:pt>
                <c:pt idx="7306">
                  <c:v>0.130301408953094</c:v>
                </c:pt>
                <c:pt idx="7307">
                  <c:v>0.13031924380238899</c:v>
                </c:pt>
                <c:pt idx="7308">
                  <c:v>0.13033707865168501</c:v>
                </c:pt>
                <c:pt idx="7309">
                  <c:v>0.13035491350098</c:v>
                </c:pt>
                <c:pt idx="7310">
                  <c:v>0.13037274835027601</c:v>
                </c:pt>
                <c:pt idx="7311">
                  <c:v>0.130390583199571</c:v>
                </c:pt>
                <c:pt idx="7312">
                  <c:v>0.13040841804886699</c:v>
                </c:pt>
                <c:pt idx="7313">
                  <c:v>0.13042625289816301</c:v>
                </c:pt>
                <c:pt idx="7314">
                  <c:v>0.130444087747458</c:v>
                </c:pt>
                <c:pt idx="7315">
                  <c:v>0.13046192259675399</c:v>
                </c:pt>
                <c:pt idx="7316">
                  <c:v>0.13047975744604901</c:v>
                </c:pt>
                <c:pt idx="7317">
                  <c:v>0.13049759229534499</c:v>
                </c:pt>
                <c:pt idx="7318">
                  <c:v>0.13051542714464001</c:v>
                </c:pt>
                <c:pt idx="7319">
                  <c:v>0.130533261993936</c:v>
                </c:pt>
                <c:pt idx="7320">
                  <c:v>0.13055109684323099</c:v>
                </c:pt>
                <c:pt idx="7321">
                  <c:v>0.13056893169252701</c:v>
                </c:pt>
                <c:pt idx="7322">
                  <c:v>0.130586766541822</c:v>
                </c:pt>
                <c:pt idx="7323">
                  <c:v>0.13060460139111801</c:v>
                </c:pt>
                <c:pt idx="7324">
                  <c:v>0.130622436240413</c:v>
                </c:pt>
                <c:pt idx="7325">
                  <c:v>0.13064027108970899</c:v>
                </c:pt>
                <c:pt idx="7326">
                  <c:v>0.13065810593900401</c:v>
                </c:pt>
                <c:pt idx="7327">
                  <c:v>0.1306759407883</c:v>
                </c:pt>
                <c:pt idx="7328">
                  <c:v>0.13069377563759499</c:v>
                </c:pt>
                <c:pt idx="7329">
                  <c:v>0.13071161048689101</c:v>
                </c:pt>
                <c:pt idx="7330">
                  <c:v>0.130729445336186</c:v>
                </c:pt>
                <c:pt idx="7331">
                  <c:v>0.13074728018548201</c:v>
                </c:pt>
                <c:pt idx="7332">
                  <c:v>0.130765115034777</c:v>
                </c:pt>
                <c:pt idx="7333">
                  <c:v>0.13078294988407299</c:v>
                </c:pt>
                <c:pt idx="7334">
                  <c:v>0.13080078473336901</c:v>
                </c:pt>
                <c:pt idx="7335">
                  <c:v>0.130818619582664</c:v>
                </c:pt>
                <c:pt idx="7336">
                  <c:v>0.13083645443195999</c:v>
                </c:pt>
                <c:pt idx="7337">
                  <c:v>0.130854289281255</c:v>
                </c:pt>
                <c:pt idx="7338">
                  <c:v>0.13087212413055099</c:v>
                </c:pt>
                <c:pt idx="7339">
                  <c:v>0.13088995897984601</c:v>
                </c:pt>
                <c:pt idx="7340">
                  <c:v>0.130907793829142</c:v>
                </c:pt>
                <c:pt idx="7341">
                  <c:v>0.13092562867843699</c:v>
                </c:pt>
                <c:pt idx="7342">
                  <c:v>0.13094346352773301</c:v>
                </c:pt>
                <c:pt idx="7343">
                  <c:v>0.130961298377028</c:v>
                </c:pt>
                <c:pt idx="7344">
                  <c:v>0.13097913322632401</c:v>
                </c:pt>
                <c:pt idx="7345">
                  <c:v>0.130996968075619</c:v>
                </c:pt>
                <c:pt idx="7346">
                  <c:v>0.13101480292491499</c:v>
                </c:pt>
                <c:pt idx="7347">
                  <c:v>0.13103263777421001</c:v>
                </c:pt>
                <c:pt idx="7348">
                  <c:v>0.131050472623506</c:v>
                </c:pt>
                <c:pt idx="7349">
                  <c:v>0.13106830747280099</c:v>
                </c:pt>
                <c:pt idx="7350">
                  <c:v>0.131086142322097</c:v>
                </c:pt>
                <c:pt idx="7351">
                  <c:v>0.13110397717139199</c:v>
                </c:pt>
                <c:pt idx="7352">
                  <c:v>0.13112181202068801</c:v>
                </c:pt>
                <c:pt idx="7353">
                  <c:v>0.131139646869983</c:v>
                </c:pt>
                <c:pt idx="7354">
                  <c:v>0.13115748171927899</c:v>
                </c:pt>
                <c:pt idx="7355">
                  <c:v>0.13117531656857501</c:v>
                </c:pt>
                <c:pt idx="7356">
                  <c:v>0.13119315141787</c:v>
                </c:pt>
                <c:pt idx="7357">
                  <c:v>0.13121098626716601</c:v>
                </c:pt>
                <c:pt idx="7358">
                  <c:v>0.131228821116461</c:v>
                </c:pt>
                <c:pt idx="7359">
                  <c:v>0.13124665596575699</c:v>
                </c:pt>
                <c:pt idx="7360">
                  <c:v>0.13126449081505201</c:v>
                </c:pt>
                <c:pt idx="7361">
                  <c:v>0.131282325664348</c:v>
                </c:pt>
                <c:pt idx="7362">
                  <c:v>0.13130016051364299</c:v>
                </c:pt>
                <c:pt idx="7363">
                  <c:v>0.13131799536293901</c:v>
                </c:pt>
                <c:pt idx="7364">
                  <c:v>0.13133583021223399</c:v>
                </c:pt>
                <c:pt idx="7365">
                  <c:v>0.13135366506153001</c:v>
                </c:pt>
                <c:pt idx="7366">
                  <c:v>0.131371499910825</c:v>
                </c:pt>
                <c:pt idx="7367">
                  <c:v>0.13138933476012099</c:v>
                </c:pt>
                <c:pt idx="7368">
                  <c:v>0.13140716960941601</c:v>
                </c:pt>
                <c:pt idx="7369">
                  <c:v>0.131425004458712</c:v>
                </c:pt>
                <c:pt idx="7370">
                  <c:v>0.13144283930800699</c:v>
                </c:pt>
                <c:pt idx="7371">
                  <c:v>0.131460674157303</c:v>
                </c:pt>
                <c:pt idx="7372">
                  <c:v>0.13147850900659799</c:v>
                </c:pt>
                <c:pt idx="7373">
                  <c:v>0.13149634385589401</c:v>
                </c:pt>
                <c:pt idx="7374">
                  <c:v>0.131514178705189</c:v>
                </c:pt>
                <c:pt idx="7375">
                  <c:v>0.13153201355448499</c:v>
                </c:pt>
                <c:pt idx="7376">
                  <c:v>0.13154984840378001</c:v>
                </c:pt>
                <c:pt idx="7377">
                  <c:v>0.131567683253076</c:v>
                </c:pt>
                <c:pt idx="7378">
                  <c:v>0.13158551810237201</c:v>
                </c:pt>
                <c:pt idx="7379">
                  <c:v>0.131603352951667</c:v>
                </c:pt>
                <c:pt idx="7380">
                  <c:v>0.13162118780096299</c:v>
                </c:pt>
                <c:pt idx="7381">
                  <c:v>0.13163902265025801</c:v>
                </c:pt>
                <c:pt idx="7382">
                  <c:v>0.131656857499554</c:v>
                </c:pt>
                <c:pt idx="7383">
                  <c:v>0.13167469234884899</c:v>
                </c:pt>
                <c:pt idx="7384">
                  <c:v>0.131692527198145</c:v>
                </c:pt>
                <c:pt idx="7385">
                  <c:v>0.13171036204743999</c:v>
                </c:pt>
                <c:pt idx="7386">
                  <c:v>0.13172819689673601</c:v>
                </c:pt>
                <c:pt idx="7387">
                  <c:v>0.131746031746031</c:v>
                </c:pt>
                <c:pt idx="7388">
                  <c:v>0.13176386659532699</c:v>
                </c:pt>
                <c:pt idx="7389">
                  <c:v>0.13178170144462201</c:v>
                </c:pt>
                <c:pt idx="7390">
                  <c:v>0.131799536293918</c:v>
                </c:pt>
                <c:pt idx="7391">
                  <c:v>0.13181737114321301</c:v>
                </c:pt>
                <c:pt idx="7392">
                  <c:v>0.131835205992509</c:v>
                </c:pt>
                <c:pt idx="7393">
                  <c:v>0.13185304084180399</c:v>
                </c:pt>
                <c:pt idx="7394">
                  <c:v>0.13187087569110001</c:v>
                </c:pt>
                <c:pt idx="7395">
                  <c:v>0.131888710540395</c:v>
                </c:pt>
                <c:pt idx="7396">
                  <c:v>0.13190654538969099</c:v>
                </c:pt>
                <c:pt idx="7397">
                  <c:v>0.13192438023898601</c:v>
                </c:pt>
                <c:pt idx="7398">
                  <c:v>0.13194221508828199</c:v>
                </c:pt>
                <c:pt idx="7399">
                  <c:v>0.13196004993757801</c:v>
                </c:pt>
                <c:pt idx="7400">
                  <c:v>0.131977884786873</c:v>
                </c:pt>
                <c:pt idx="7401">
                  <c:v>0.13199571963616899</c:v>
                </c:pt>
                <c:pt idx="7402">
                  <c:v>0.13201355448546401</c:v>
                </c:pt>
                <c:pt idx="7403">
                  <c:v>0.13203138933476</c:v>
                </c:pt>
                <c:pt idx="7404">
                  <c:v>0.13204922418405499</c:v>
                </c:pt>
                <c:pt idx="7405">
                  <c:v>0.132067059033351</c:v>
                </c:pt>
                <c:pt idx="7406">
                  <c:v>0.13208489388264599</c:v>
                </c:pt>
                <c:pt idx="7407">
                  <c:v>0.13210272873194201</c:v>
                </c:pt>
                <c:pt idx="7408">
                  <c:v>0.132120563581237</c:v>
                </c:pt>
                <c:pt idx="7409">
                  <c:v>0.13213839843053299</c:v>
                </c:pt>
                <c:pt idx="7410">
                  <c:v>0.13215623327982801</c:v>
                </c:pt>
                <c:pt idx="7411">
                  <c:v>0.13217406812912399</c:v>
                </c:pt>
                <c:pt idx="7412">
                  <c:v>0.13219190297841901</c:v>
                </c:pt>
                <c:pt idx="7413">
                  <c:v>0.132209737827715</c:v>
                </c:pt>
                <c:pt idx="7414">
                  <c:v>0.13222757267700999</c:v>
                </c:pt>
                <c:pt idx="7415">
                  <c:v>0.13224540752630601</c:v>
                </c:pt>
                <c:pt idx="7416">
                  <c:v>0.132263242375601</c:v>
                </c:pt>
                <c:pt idx="7417">
                  <c:v>0.13228107722489699</c:v>
                </c:pt>
                <c:pt idx="7418">
                  <c:v>0.132298912074192</c:v>
                </c:pt>
                <c:pt idx="7419">
                  <c:v>0.13231674692348799</c:v>
                </c:pt>
                <c:pt idx="7420">
                  <c:v>0.13233458177278401</c:v>
                </c:pt>
                <c:pt idx="7421">
                  <c:v>0.132352416622079</c:v>
                </c:pt>
                <c:pt idx="7422">
                  <c:v>0.13237025147137499</c:v>
                </c:pt>
                <c:pt idx="7423">
                  <c:v>0.13238808632067001</c:v>
                </c:pt>
                <c:pt idx="7424">
                  <c:v>0.132405921169966</c:v>
                </c:pt>
                <c:pt idx="7425">
                  <c:v>0.13242375601926101</c:v>
                </c:pt>
                <c:pt idx="7426">
                  <c:v>0.132441590868557</c:v>
                </c:pt>
                <c:pt idx="7427">
                  <c:v>0.13245942571785199</c:v>
                </c:pt>
                <c:pt idx="7428">
                  <c:v>0.13247726056714801</c:v>
                </c:pt>
                <c:pt idx="7429">
                  <c:v>0.132495095416443</c:v>
                </c:pt>
                <c:pt idx="7430">
                  <c:v>0.13251293026573899</c:v>
                </c:pt>
                <c:pt idx="7431">
                  <c:v>0.132530765115034</c:v>
                </c:pt>
                <c:pt idx="7432">
                  <c:v>0.13254859996432999</c:v>
                </c:pt>
                <c:pt idx="7433">
                  <c:v>0.13256643481362501</c:v>
                </c:pt>
                <c:pt idx="7434">
                  <c:v>0.132584269662921</c:v>
                </c:pt>
                <c:pt idx="7435">
                  <c:v>0.13260210451221599</c:v>
                </c:pt>
                <c:pt idx="7436">
                  <c:v>0.13261993936151201</c:v>
                </c:pt>
                <c:pt idx="7437">
                  <c:v>0.132637774210807</c:v>
                </c:pt>
                <c:pt idx="7438">
                  <c:v>0.13265560906010301</c:v>
                </c:pt>
                <c:pt idx="7439">
                  <c:v>0.132673443909398</c:v>
                </c:pt>
                <c:pt idx="7440">
                  <c:v>0.13269127875869399</c:v>
                </c:pt>
                <c:pt idx="7441">
                  <c:v>0.13270911360799001</c:v>
                </c:pt>
                <c:pt idx="7442">
                  <c:v>0.132726948457285</c:v>
                </c:pt>
                <c:pt idx="7443">
                  <c:v>0.13274478330658099</c:v>
                </c:pt>
                <c:pt idx="7444">
                  <c:v>0.13276261815587601</c:v>
                </c:pt>
                <c:pt idx="7445">
                  <c:v>0.13278045300517199</c:v>
                </c:pt>
                <c:pt idx="7446">
                  <c:v>0.13279828785446701</c:v>
                </c:pt>
                <c:pt idx="7447">
                  <c:v>0.132816122703763</c:v>
                </c:pt>
                <c:pt idx="7448">
                  <c:v>0.13283395755305799</c:v>
                </c:pt>
                <c:pt idx="7449">
                  <c:v>0.13285179240235401</c:v>
                </c:pt>
                <c:pt idx="7450">
                  <c:v>0.132869627251649</c:v>
                </c:pt>
                <c:pt idx="7451">
                  <c:v>0.13288746210094499</c:v>
                </c:pt>
                <c:pt idx="7452">
                  <c:v>0.13290529695024</c:v>
                </c:pt>
                <c:pt idx="7453">
                  <c:v>0.13292313179953599</c:v>
                </c:pt>
                <c:pt idx="7454">
                  <c:v>0.13294096664883101</c:v>
                </c:pt>
                <c:pt idx="7455">
                  <c:v>0.132958801498127</c:v>
                </c:pt>
                <c:pt idx="7456">
                  <c:v>0.13297663634742199</c:v>
                </c:pt>
                <c:pt idx="7457">
                  <c:v>0.13299447119671801</c:v>
                </c:pt>
                <c:pt idx="7458">
                  <c:v>0.133012306046013</c:v>
                </c:pt>
                <c:pt idx="7459">
                  <c:v>0.13303014089530901</c:v>
                </c:pt>
                <c:pt idx="7460">
                  <c:v>0.133047975744604</c:v>
                </c:pt>
                <c:pt idx="7461">
                  <c:v>0.13306581059389999</c:v>
                </c:pt>
                <c:pt idx="7462">
                  <c:v>0.13308364544319601</c:v>
                </c:pt>
                <c:pt idx="7463">
                  <c:v>0.133101480292491</c:v>
                </c:pt>
                <c:pt idx="7464">
                  <c:v>0.13311931514178699</c:v>
                </c:pt>
                <c:pt idx="7465">
                  <c:v>0.133137149991082</c:v>
                </c:pt>
                <c:pt idx="7466">
                  <c:v>0.13315498484037799</c:v>
                </c:pt>
                <c:pt idx="7467">
                  <c:v>0.13317281968967301</c:v>
                </c:pt>
                <c:pt idx="7468">
                  <c:v>0.133190654538969</c:v>
                </c:pt>
                <c:pt idx="7469">
                  <c:v>0.13320848938826399</c:v>
                </c:pt>
                <c:pt idx="7470">
                  <c:v>0.13322632423756001</c:v>
                </c:pt>
                <c:pt idx="7471">
                  <c:v>0.133244159086855</c:v>
                </c:pt>
                <c:pt idx="7472">
                  <c:v>0.13326199393615101</c:v>
                </c:pt>
                <c:pt idx="7473">
                  <c:v>0.133279828785446</c:v>
                </c:pt>
                <c:pt idx="7474">
                  <c:v>0.13329766363474199</c:v>
                </c:pt>
                <c:pt idx="7475">
                  <c:v>0.13331549848403701</c:v>
                </c:pt>
                <c:pt idx="7476">
                  <c:v>0.133333333333333</c:v>
                </c:pt>
                <c:pt idx="7477">
                  <c:v>0.13335116818262799</c:v>
                </c:pt>
                <c:pt idx="7478">
                  <c:v>0.133369003031924</c:v>
                </c:pt>
                <c:pt idx="7479">
                  <c:v>0.13338683788121899</c:v>
                </c:pt>
                <c:pt idx="7480">
                  <c:v>0.13340467273051501</c:v>
                </c:pt>
                <c:pt idx="7481">
                  <c:v>0.13342250757981</c:v>
                </c:pt>
                <c:pt idx="7482">
                  <c:v>0.13344034242910599</c:v>
                </c:pt>
                <c:pt idx="7483">
                  <c:v>0.13345817727840201</c:v>
                </c:pt>
                <c:pt idx="7484">
                  <c:v>0.133476012127697</c:v>
                </c:pt>
                <c:pt idx="7485">
                  <c:v>0.13349384697699301</c:v>
                </c:pt>
                <c:pt idx="7486">
                  <c:v>0.133511681826288</c:v>
                </c:pt>
                <c:pt idx="7487">
                  <c:v>0.13352951667558399</c:v>
                </c:pt>
                <c:pt idx="7488">
                  <c:v>0.13354735152487901</c:v>
                </c:pt>
                <c:pt idx="7489">
                  <c:v>0.133565186374175</c:v>
                </c:pt>
                <c:pt idx="7490">
                  <c:v>0.13358302122346999</c:v>
                </c:pt>
                <c:pt idx="7491">
                  <c:v>0.13360085607276601</c:v>
                </c:pt>
                <c:pt idx="7492">
                  <c:v>0.133618690922061</c:v>
                </c:pt>
                <c:pt idx="7493">
                  <c:v>0.13363652577135701</c:v>
                </c:pt>
                <c:pt idx="7494">
                  <c:v>0.133654360620652</c:v>
                </c:pt>
                <c:pt idx="7495">
                  <c:v>0.13367219546994799</c:v>
                </c:pt>
                <c:pt idx="7496">
                  <c:v>0.13369003031924301</c:v>
                </c:pt>
                <c:pt idx="7497">
                  <c:v>0.133707865168539</c:v>
                </c:pt>
                <c:pt idx="7498">
                  <c:v>0.13372570001783399</c:v>
                </c:pt>
                <c:pt idx="7499">
                  <c:v>0.13374353486713</c:v>
                </c:pt>
                <c:pt idx="7500">
                  <c:v>0.13376136971642499</c:v>
                </c:pt>
                <c:pt idx="7501">
                  <c:v>0.13377920456572101</c:v>
                </c:pt>
                <c:pt idx="7502">
                  <c:v>0.133797039415016</c:v>
                </c:pt>
                <c:pt idx="7503">
                  <c:v>0.13381487426431199</c:v>
                </c:pt>
                <c:pt idx="7504">
                  <c:v>0.13383270911360701</c:v>
                </c:pt>
                <c:pt idx="7505">
                  <c:v>0.133850543962903</c:v>
                </c:pt>
                <c:pt idx="7506">
                  <c:v>0.13386837881219901</c:v>
                </c:pt>
                <c:pt idx="7507">
                  <c:v>0.133886213661494</c:v>
                </c:pt>
                <c:pt idx="7508">
                  <c:v>0.13390404851078999</c:v>
                </c:pt>
                <c:pt idx="7509">
                  <c:v>0.13392188336008501</c:v>
                </c:pt>
                <c:pt idx="7510">
                  <c:v>0.133939718209381</c:v>
                </c:pt>
                <c:pt idx="7511">
                  <c:v>0.13395755305867599</c:v>
                </c:pt>
                <c:pt idx="7512">
                  <c:v>0.133975387907972</c:v>
                </c:pt>
                <c:pt idx="7513">
                  <c:v>0.13399322275726699</c:v>
                </c:pt>
                <c:pt idx="7514">
                  <c:v>0.13401105760656301</c:v>
                </c:pt>
                <c:pt idx="7515">
                  <c:v>0.134028892455858</c:v>
                </c:pt>
                <c:pt idx="7516">
                  <c:v>0.13404672730515399</c:v>
                </c:pt>
                <c:pt idx="7517">
                  <c:v>0.13406456215444901</c:v>
                </c:pt>
                <c:pt idx="7518">
                  <c:v>0.134082397003745</c:v>
                </c:pt>
                <c:pt idx="7519">
                  <c:v>0.13410023185303999</c:v>
                </c:pt>
                <c:pt idx="7520">
                  <c:v>0.134118066702336</c:v>
                </c:pt>
                <c:pt idx="7521">
                  <c:v>0.13413590155163099</c:v>
                </c:pt>
                <c:pt idx="7522">
                  <c:v>0.13415373640092701</c:v>
                </c:pt>
                <c:pt idx="7523">
                  <c:v>0.134171571250222</c:v>
                </c:pt>
                <c:pt idx="7524">
                  <c:v>0.13418940609951799</c:v>
                </c:pt>
                <c:pt idx="7525">
                  <c:v>0.13420724094881301</c:v>
                </c:pt>
                <c:pt idx="7526">
                  <c:v>0.13422507579810899</c:v>
                </c:pt>
                <c:pt idx="7527">
                  <c:v>0.13424291064740501</c:v>
                </c:pt>
                <c:pt idx="7528">
                  <c:v>0.1342607454967</c:v>
                </c:pt>
                <c:pt idx="7529">
                  <c:v>0.13427858034599599</c:v>
                </c:pt>
                <c:pt idx="7530">
                  <c:v>0.13429641519529101</c:v>
                </c:pt>
                <c:pt idx="7531">
                  <c:v>0.134314250044587</c:v>
                </c:pt>
                <c:pt idx="7532">
                  <c:v>0.13433208489388199</c:v>
                </c:pt>
                <c:pt idx="7533">
                  <c:v>0.134349919743178</c:v>
                </c:pt>
                <c:pt idx="7534">
                  <c:v>0.13436775459247299</c:v>
                </c:pt>
                <c:pt idx="7535">
                  <c:v>0.13438558944176901</c:v>
                </c:pt>
                <c:pt idx="7536">
                  <c:v>0.134403424291064</c:v>
                </c:pt>
                <c:pt idx="7537">
                  <c:v>0.13442125914035999</c:v>
                </c:pt>
                <c:pt idx="7538">
                  <c:v>0.13443909398965501</c:v>
                </c:pt>
                <c:pt idx="7539">
                  <c:v>0.134456928838951</c:v>
                </c:pt>
                <c:pt idx="7540">
                  <c:v>0.13447476368824601</c:v>
                </c:pt>
                <c:pt idx="7541">
                  <c:v>0.134492598537542</c:v>
                </c:pt>
                <c:pt idx="7542">
                  <c:v>0.13451043338683699</c:v>
                </c:pt>
                <c:pt idx="7543">
                  <c:v>0.13452826823613301</c:v>
                </c:pt>
                <c:pt idx="7544">
                  <c:v>0.134546103085428</c:v>
                </c:pt>
                <c:pt idx="7545">
                  <c:v>0.13456393793472399</c:v>
                </c:pt>
                <c:pt idx="7546">
                  <c:v>0.134581772784019</c:v>
                </c:pt>
                <c:pt idx="7547">
                  <c:v>0.13459960763331499</c:v>
                </c:pt>
                <c:pt idx="7548">
                  <c:v>0.13461744248261101</c:v>
                </c:pt>
                <c:pt idx="7549">
                  <c:v>0.134635277331906</c:v>
                </c:pt>
                <c:pt idx="7550">
                  <c:v>0.13465311218120199</c:v>
                </c:pt>
                <c:pt idx="7551">
                  <c:v>0.13467094703049701</c:v>
                </c:pt>
                <c:pt idx="7552">
                  <c:v>0.134688781879793</c:v>
                </c:pt>
                <c:pt idx="7553">
                  <c:v>0.13470661672908801</c:v>
                </c:pt>
                <c:pt idx="7554">
                  <c:v>0.134724451578384</c:v>
                </c:pt>
                <c:pt idx="7555">
                  <c:v>0.13474228642767899</c:v>
                </c:pt>
                <c:pt idx="7556">
                  <c:v>0.13476012127697501</c:v>
                </c:pt>
                <c:pt idx="7557">
                  <c:v>0.13477795612627</c:v>
                </c:pt>
                <c:pt idx="7558">
                  <c:v>0.13479579097556599</c:v>
                </c:pt>
                <c:pt idx="7559">
                  <c:v>0.13481362582486101</c:v>
                </c:pt>
                <c:pt idx="7560">
                  <c:v>0.13483146067415699</c:v>
                </c:pt>
                <c:pt idx="7561">
                  <c:v>0.13484929552345201</c:v>
                </c:pt>
                <c:pt idx="7562">
                  <c:v>0.134867130372748</c:v>
                </c:pt>
                <c:pt idx="7563">
                  <c:v>0.13488496522204299</c:v>
                </c:pt>
                <c:pt idx="7564">
                  <c:v>0.13490280007133901</c:v>
                </c:pt>
                <c:pt idx="7565">
                  <c:v>0.134920634920634</c:v>
                </c:pt>
                <c:pt idx="7566">
                  <c:v>0.13493846976992999</c:v>
                </c:pt>
                <c:pt idx="7567">
                  <c:v>0.134956304619225</c:v>
                </c:pt>
                <c:pt idx="7568">
                  <c:v>0.13497413946852099</c:v>
                </c:pt>
                <c:pt idx="7569">
                  <c:v>0.13499197431781701</c:v>
                </c:pt>
                <c:pt idx="7570">
                  <c:v>0.135009809167112</c:v>
                </c:pt>
                <c:pt idx="7571">
                  <c:v>0.13502764401640799</c:v>
                </c:pt>
                <c:pt idx="7572">
                  <c:v>0.13504547886570301</c:v>
                </c:pt>
                <c:pt idx="7573">
                  <c:v>0.13506331371499899</c:v>
                </c:pt>
                <c:pt idx="7574">
                  <c:v>0.13508114856429401</c:v>
                </c:pt>
                <c:pt idx="7575">
                  <c:v>0.13509898341359</c:v>
                </c:pt>
                <c:pt idx="7576">
                  <c:v>0.13511681826288499</c:v>
                </c:pt>
                <c:pt idx="7577">
                  <c:v>0.13513465311218101</c:v>
                </c:pt>
                <c:pt idx="7578">
                  <c:v>0.135152487961476</c:v>
                </c:pt>
                <c:pt idx="7579">
                  <c:v>0.13517032281077199</c:v>
                </c:pt>
                <c:pt idx="7580">
                  <c:v>0.135188157660067</c:v>
                </c:pt>
                <c:pt idx="7581">
                  <c:v>0.13520599250936299</c:v>
                </c:pt>
                <c:pt idx="7582">
                  <c:v>0.13522382735865801</c:v>
                </c:pt>
                <c:pt idx="7583">
                  <c:v>0.135241662207954</c:v>
                </c:pt>
                <c:pt idx="7584">
                  <c:v>0.13525949705724899</c:v>
                </c:pt>
                <c:pt idx="7585">
                  <c:v>0.13527733190654501</c:v>
                </c:pt>
                <c:pt idx="7586">
                  <c:v>0.13529516675584</c:v>
                </c:pt>
                <c:pt idx="7587">
                  <c:v>0.13531300160513601</c:v>
                </c:pt>
                <c:pt idx="7588">
                  <c:v>0.135330836454431</c:v>
                </c:pt>
                <c:pt idx="7589">
                  <c:v>0.13534867130372699</c:v>
                </c:pt>
                <c:pt idx="7590">
                  <c:v>0.13536650615302301</c:v>
                </c:pt>
                <c:pt idx="7591">
                  <c:v>0.135384341002318</c:v>
                </c:pt>
                <c:pt idx="7592">
                  <c:v>0.13540217585161399</c:v>
                </c:pt>
                <c:pt idx="7593">
                  <c:v>0.135420010700909</c:v>
                </c:pt>
                <c:pt idx="7594">
                  <c:v>0.13543784555020499</c:v>
                </c:pt>
                <c:pt idx="7595">
                  <c:v>0.13545568039950001</c:v>
                </c:pt>
                <c:pt idx="7596">
                  <c:v>0.135473515248796</c:v>
                </c:pt>
                <c:pt idx="7597">
                  <c:v>0.13549135009809099</c:v>
                </c:pt>
                <c:pt idx="7598">
                  <c:v>0.13550918494738701</c:v>
                </c:pt>
                <c:pt idx="7599">
                  <c:v>0.135527019796682</c:v>
                </c:pt>
                <c:pt idx="7600">
                  <c:v>0.13554485464597801</c:v>
                </c:pt>
                <c:pt idx="7601">
                  <c:v>0.135562689495273</c:v>
                </c:pt>
                <c:pt idx="7602">
                  <c:v>0.13558052434456899</c:v>
                </c:pt>
                <c:pt idx="7603">
                  <c:v>0.13559835919386401</c:v>
                </c:pt>
                <c:pt idx="7604">
                  <c:v>0.13561619404316</c:v>
                </c:pt>
                <c:pt idx="7605">
                  <c:v>0.13563402889245499</c:v>
                </c:pt>
                <c:pt idx="7606">
                  <c:v>0.13565186374175101</c:v>
                </c:pt>
                <c:pt idx="7607">
                  <c:v>0.135669698591046</c:v>
                </c:pt>
                <c:pt idx="7608">
                  <c:v>0.13568753344034201</c:v>
                </c:pt>
                <c:pt idx="7609">
                  <c:v>0.135705368289637</c:v>
                </c:pt>
                <c:pt idx="7610">
                  <c:v>0.13572320313893299</c:v>
                </c:pt>
                <c:pt idx="7611">
                  <c:v>0.13574103798822901</c:v>
                </c:pt>
                <c:pt idx="7612">
                  <c:v>0.135758872837524</c:v>
                </c:pt>
                <c:pt idx="7613">
                  <c:v>0.13577670768681999</c:v>
                </c:pt>
                <c:pt idx="7614">
                  <c:v>0.135794542536115</c:v>
                </c:pt>
                <c:pt idx="7615">
                  <c:v>0.13581237738541099</c:v>
                </c:pt>
                <c:pt idx="7616">
                  <c:v>0.13583021223470601</c:v>
                </c:pt>
                <c:pt idx="7617">
                  <c:v>0.135848047084002</c:v>
                </c:pt>
                <c:pt idx="7618">
                  <c:v>0.13586588193329699</c:v>
                </c:pt>
                <c:pt idx="7619">
                  <c:v>0.13588371678259301</c:v>
                </c:pt>
                <c:pt idx="7620">
                  <c:v>0.135901551631888</c:v>
                </c:pt>
                <c:pt idx="7621">
                  <c:v>0.13591938648118401</c:v>
                </c:pt>
                <c:pt idx="7622">
                  <c:v>0.135937221330479</c:v>
                </c:pt>
                <c:pt idx="7623">
                  <c:v>0.13595505617977499</c:v>
                </c:pt>
                <c:pt idx="7624">
                  <c:v>0.13597289102907001</c:v>
                </c:pt>
                <c:pt idx="7625">
                  <c:v>0.135990725878366</c:v>
                </c:pt>
                <c:pt idx="7626">
                  <c:v>0.13600856072766099</c:v>
                </c:pt>
                <c:pt idx="7627">
                  <c:v>0.136026395576957</c:v>
                </c:pt>
                <c:pt idx="7628">
                  <c:v>0.13604423042625199</c:v>
                </c:pt>
                <c:pt idx="7629">
                  <c:v>0.13606206527554801</c:v>
                </c:pt>
                <c:pt idx="7630">
                  <c:v>0.136079900124843</c:v>
                </c:pt>
                <c:pt idx="7631">
                  <c:v>0.13609773497413899</c:v>
                </c:pt>
                <c:pt idx="7632">
                  <c:v>0.13611556982343401</c:v>
                </c:pt>
                <c:pt idx="7633">
                  <c:v>0.13613340467273</c:v>
                </c:pt>
                <c:pt idx="7634">
                  <c:v>0.13615123952202601</c:v>
                </c:pt>
                <c:pt idx="7635">
                  <c:v>0.136169074371321</c:v>
                </c:pt>
                <c:pt idx="7636">
                  <c:v>0.13618690922061699</c:v>
                </c:pt>
                <c:pt idx="7637">
                  <c:v>0.13620474406991201</c:v>
                </c:pt>
                <c:pt idx="7638">
                  <c:v>0.136222578919208</c:v>
                </c:pt>
                <c:pt idx="7639">
                  <c:v>0.13624041376850299</c:v>
                </c:pt>
                <c:pt idx="7640">
                  <c:v>0.136258248617799</c:v>
                </c:pt>
                <c:pt idx="7641">
                  <c:v>0.13627608346709399</c:v>
                </c:pt>
                <c:pt idx="7642">
                  <c:v>0.13629391831639001</c:v>
                </c:pt>
                <c:pt idx="7643">
                  <c:v>0.136311753165685</c:v>
                </c:pt>
                <c:pt idx="7644">
                  <c:v>0.13632958801498099</c:v>
                </c:pt>
                <c:pt idx="7645">
                  <c:v>0.13634742286427601</c:v>
                </c:pt>
                <c:pt idx="7646">
                  <c:v>0.136365257713572</c:v>
                </c:pt>
                <c:pt idx="7647">
                  <c:v>0.13638309256286699</c:v>
                </c:pt>
                <c:pt idx="7648">
                  <c:v>0.136400927412163</c:v>
                </c:pt>
                <c:pt idx="7649">
                  <c:v>0.13641876226145799</c:v>
                </c:pt>
                <c:pt idx="7650">
                  <c:v>0.13643659711075401</c:v>
                </c:pt>
                <c:pt idx="7651">
                  <c:v>0.136454431960049</c:v>
                </c:pt>
                <c:pt idx="7652">
                  <c:v>0.13647226680934499</c:v>
                </c:pt>
                <c:pt idx="7653">
                  <c:v>0.13649010165864001</c:v>
                </c:pt>
                <c:pt idx="7654">
                  <c:v>0.136507936507936</c:v>
                </c:pt>
                <c:pt idx="7655">
                  <c:v>0.13652577135723201</c:v>
                </c:pt>
                <c:pt idx="7656">
                  <c:v>0.136543606206527</c:v>
                </c:pt>
                <c:pt idx="7657">
                  <c:v>0.13656144105582299</c:v>
                </c:pt>
                <c:pt idx="7658">
                  <c:v>0.13657927590511801</c:v>
                </c:pt>
                <c:pt idx="7659">
                  <c:v>0.136597110754414</c:v>
                </c:pt>
                <c:pt idx="7660">
                  <c:v>0.13661494560370899</c:v>
                </c:pt>
                <c:pt idx="7661">
                  <c:v>0.136632780453005</c:v>
                </c:pt>
                <c:pt idx="7662">
                  <c:v>0.13665061530229999</c:v>
                </c:pt>
                <c:pt idx="7663">
                  <c:v>0.13666845015159601</c:v>
                </c:pt>
                <c:pt idx="7664">
                  <c:v>0.136686285000891</c:v>
                </c:pt>
                <c:pt idx="7665">
                  <c:v>0.13670411985018699</c:v>
                </c:pt>
                <c:pt idx="7666">
                  <c:v>0.13672195469948201</c:v>
                </c:pt>
                <c:pt idx="7667">
                  <c:v>0.136739789548778</c:v>
                </c:pt>
                <c:pt idx="7668">
                  <c:v>0.13675762439807301</c:v>
                </c:pt>
                <c:pt idx="7669">
                  <c:v>0.136775459247369</c:v>
                </c:pt>
                <c:pt idx="7670">
                  <c:v>0.13679329409666399</c:v>
                </c:pt>
                <c:pt idx="7671">
                  <c:v>0.13681112894596001</c:v>
                </c:pt>
                <c:pt idx="7672">
                  <c:v>0.136828963795255</c:v>
                </c:pt>
                <c:pt idx="7673">
                  <c:v>0.13684679864455099</c:v>
                </c:pt>
                <c:pt idx="7674">
                  <c:v>0.13686463349384601</c:v>
                </c:pt>
                <c:pt idx="7675">
                  <c:v>0.13688246834314199</c:v>
                </c:pt>
                <c:pt idx="7676">
                  <c:v>0.13690030319243801</c:v>
                </c:pt>
                <c:pt idx="7677">
                  <c:v>0.136918138041733</c:v>
                </c:pt>
                <c:pt idx="7678">
                  <c:v>0.13693597289102899</c:v>
                </c:pt>
                <c:pt idx="7679">
                  <c:v>0.13695380774032401</c:v>
                </c:pt>
                <c:pt idx="7680">
                  <c:v>0.13697164258962</c:v>
                </c:pt>
                <c:pt idx="7681">
                  <c:v>0.13698947743891501</c:v>
                </c:pt>
                <c:pt idx="7682">
                  <c:v>0.137007312288211</c:v>
                </c:pt>
                <c:pt idx="7683">
                  <c:v>0.13702514713750599</c:v>
                </c:pt>
                <c:pt idx="7684">
                  <c:v>0.13704298198680201</c:v>
                </c:pt>
                <c:pt idx="7685">
                  <c:v>0.137060816836097</c:v>
                </c:pt>
                <c:pt idx="7686">
                  <c:v>0.13707865168539299</c:v>
                </c:pt>
                <c:pt idx="7687">
                  <c:v>0.13709648653468801</c:v>
                </c:pt>
                <c:pt idx="7688">
                  <c:v>0.13711432138398399</c:v>
                </c:pt>
                <c:pt idx="7689">
                  <c:v>0.13713215623327901</c:v>
                </c:pt>
                <c:pt idx="7690">
                  <c:v>0.137149991082575</c:v>
                </c:pt>
                <c:pt idx="7691">
                  <c:v>0.13716782593186999</c:v>
                </c:pt>
                <c:pt idx="7692">
                  <c:v>0.13718566078116601</c:v>
                </c:pt>
                <c:pt idx="7693">
                  <c:v>0.137203495630461</c:v>
                </c:pt>
                <c:pt idx="7694">
                  <c:v>0.13722133047975699</c:v>
                </c:pt>
                <c:pt idx="7695">
                  <c:v>0.137239165329052</c:v>
                </c:pt>
                <c:pt idx="7696">
                  <c:v>0.13725700017834799</c:v>
                </c:pt>
                <c:pt idx="7697">
                  <c:v>0.13727483502764401</c:v>
                </c:pt>
                <c:pt idx="7698">
                  <c:v>0.137292669876939</c:v>
                </c:pt>
                <c:pt idx="7699">
                  <c:v>0.13731050472623499</c:v>
                </c:pt>
                <c:pt idx="7700">
                  <c:v>0.13732833957553001</c:v>
                </c:pt>
                <c:pt idx="7701">
                  <c:v>0.137346174424826</c:v>
                </c:pt>
                <c:pt idx="7702">
                  <c:v>0.13736400927412101</c:v>
                </c:pt>
                <c:pt idx="7703">
                  <c:v>0.137381844123417</c:v>
                </c:pt>
                <c:pt idx="7704">
                  <c:v>0.13739967897271199</c:v>
                </c:pt>
                <c:pt idx="7705">
                  <c:v>0.13741751382200801</c:v>
                </c:pt>
                <c:pt idx="7706">
                  <c:v>0.137435348671303</c:v>
                </c:pt>
                <c:pt idx="7707">
                  <c:v>0.13745318352059899</c:v>
                </c:pt>
                <c:pt idx="7708">
                  <c:v>0.137471018369894</c:v>
                </c:pt>
                <c:pt idx="7709">
                  <c:v>0.13748885321918999</c:v>
                </c:pt>
                <c:pt idx="7710">
                  <c:v>0.13750668806848501</c:v>
                </c:pt>
                <c:pt idx="7711">
                  <c:v>0.137524522917781</c:v>
                </c:pt>
                <c:pt idx="7712">
                  <c:v>0.13754235776707599</c:v>
                </c:pt>
                <c:pt idx="7713">
                  <c:v>0.13756019261637201</c:v>
                </c:pt>
                <c:pt idx="7714">
                  <c:v>0.137578027465667</c:v>
                </c:pt>
                <c:pt idx="7715">
                  <c:v>0.13759586231496301</c:v>
                </c:pt>
                <c:pt idx="7716">
                  <c:v>0.137613697164258</c:v>
                </c:pt>
                <c:pt idx="7717">
                  <c:v>0.13763153201355399</c:v>
                </c:pt>
                <c:pt idx="7718">
                  <c:v>0.13764936686285001</c:v>
                </c:pt>
                <c:pt idx="7719">
                  <c:v>0.137667201712145</c:v>
                </c:pt>
                <c:pt idx="7720">
                  <c:v>0.13768503656144099</c:v>
                </c:pt>
                <c:pt idx="7721">
                  <c:v>0.13770287141073601</c:v>
                </c:pt>
                <c:pt idx="7722">
                  <c:v>0.13772070626003199</c:v>
                </c:pt>
                <c:pt idx="7723">
                  <c:v>0.13773854110932701</c:v>
                </c:pt>
                <c:pt idx="7724">
                  <c:v>0.137756375958623</c:v>
                </c:pt>
                <c:pt idx="7725">
                  <c:v>0.13777421080791799</c:v>
                </c:pt>
                <c:pt idx="7726">
                  <c:v>0.13779204565721401</c:v>
                </c:pt>
                <c:pt idx="7727">
                  <c:v>0.137809880506509</c:v>
                </c:pt>
                <c:pt idx="7728">
                  <c:v>0.13782771535580501</c:v>
                </c:pt>
                <c:pt idx="7729">
                  <c:v>0.1378455502051</c:v>
                </c:pt>
                <c:pt idx="7730">
                  <c:v>0.13786338505439599</c:v>
                </c:pt>
                <c:pt idx="7731">
                  <c:v>0.13788121990369101</c:v>
                </c:pt>
                <c:pt idx="7732">
                  <c:v>0.137899054752987</c:v>
                </c:pt>
                <c:pt idx="7733">
                  <c:v>0.13791688960228199</c:v>
                </c:pt>
                <c:pt idx="7734">
                  <c:v>0.13793472445157801</c:v>
                </c:pt>
                <c:pt idx="7735">
                  <c:v>0.137952559300873</c:v>
                </c:pt>
                <c:pt idx="7736">
                  <c:v>0.13797039415016901</c:v>
                </c:pt>
                <c:pt idx="7737">
                  <c:v>0.137988228999464</c:v>
                </c:pt>
                <c:pt idx="7738">
                  <c:v>0.13800606384875999</c:v>
                </c:pt>
                <c:pt idx="7739">
                  <c:v>0.13802389869805601</c:v>
                </c:pt>
                <c:pt idx="7740">
                  <c:v>0.138041733547351</c:v>
                </c:pt>
                <c:pt idx="7741">
                  <c:v>0.13805956839664699</c:v>
                </c:pt>
                <c:pt idx="7742">
                  <c:v>0.138077403245942</c:v>
                </c:pt>
                <c:pt idx="7743">
                  <c:v>0.13809523809523799</c:v>
                </c:pt>
                <c:pt idx="7744">
                  <c:v>0.13811307294453301</c:v>
                </c:pt>
                <c:pt idx="7745">
                  <c:v>0.138130907793829</c:v>
                </c:pt>
                <c:pt idx="7746">
                  <c:v>0.13814874264312399</c:v>
                </c:pt>
                <c:pt idx="7747">
                  <c:v>0.13816657749242001</c:v>
                </c:pt>
                <c:pt idx="7748">
                  <c:v>0.138184412341715</c:v>
                </c:pt>
                <c:pt idx="7749">
                  <c:v>0.13820224719101101</c:v>
                </c:pt>
                <c:pt idx="7750">
                  <c:v>0.138220082040306</c:v>
                </c:pt>
                <c:pt idx="7751">
                  <c:v>0.13823791688960199</c:v>
                </c:pt>
                <c:pt idx="7752">
                  <c:v>0.13825575173889701</c:v>
                </c:pt>
                <c:pt idx="7753">
                  <c:v>0.138273586588193</c:v>
                </c:pt>
                <c:pt idx="7754">
                  <c:v>0.13829142143748799</c:v>
                </c:pt>
                <c:pt idx="7755">
                  <c:v>0.138309256286784</c:v>
                </c:pt>
                <c:pt idx="7756">
                  <c:v>0.13832709113607899</c:v>
                </c:pt>
                <c:pt idx="7757">
                  <c:v>0.13834492598537501</c:v>
                </c:pt>
                <c:pt idx="7758">
                  <c:v>0.13836276083467</c:v>
                </c:pt>
                <c:pt idx="7759">
                  <c:v>0.13838059568396599</c:v>
                </c:pt>
                <c:pt idx="7760">
                  <c:v>0.13839843053326201</c:v>
                </c:pt>
                <c:pt idx="7761">
                  <c:v>0.138416265382557</c:v>
                </c:pt>
                <c:pt idx="7762">
                  <c:v>0.13843410023185301</c:v>
                </c:pt>
                <c:pt idx="7763">
                  <c:v>0.138451935081148</c:v>
                </c:pt>
                <c:pt idx="7764">
                  <c:v>0.13846976993044399</c:v>
                </c:pt>
                <c:pt idx="7765">
                  <c:v>0.13848760477973901</c:v>
                </c:pt>
                <c:pt idx="7766">
                  <c:v>0.138505439629035</c:v>
                </c:pt>
                <c:pt idx="7767">
                  <c:v>0.13852327447832999</c:v>
                </c:pt>
                <c:pt idx="7768">
                  <c:v>0.13854110932762601</c:v>
                </c:pt>
                <c:pt idx="7769">
                  <c:v>0.138558944176921</c:v>
                </c:pt>
                <c:pt idx="7770">
                  <c:v>0.13857677902621701</c:v>
                </c:pt>
                <c:pt idx="7771">
                  <c:v>0.138594613875512</c:v>
                </c:pt>
                <c:pt idx="7772">
                  <c:v>0.13861244872480799</c:v>
                </c:pt>
                <c:pt idx="7773">
                  <c:v>0.13863028357410301</c:v>
                </c:pt>
                <c:pt idx="7774">
                  <c:v>0.138648118423399</c:v>
                </c:pt>
                <c:pt idx="7775">
                  <c:v>0.13866595327269399</c:v>
                </c:pt>
                <c:pt idx="7776">
                  <c:v>0.13868378812199</c:v>
                </c:pt>
                <c:pt idx="7777">
                  <c:v>0.13870162297128499</c:v>
                </c:pt>
                <c:pt idx="7778">
                  <c:v>0.13871945782058101</c:v>
                </c:pt>
                <c:pt idx="7779">
                  <c:v>0.138737292669876</c:v>
                </c:pt>
                <c:pt idx="7780">
                  <c:v>0.13875512751917199</c:v>
                </c:pt>
                <c:pt idx="7781">
                  <c:v>0.13877296236846701</c:v>
                </c:pt>
                <c:pt idx="7782">
                  <c:v>0.138790797217763</c:v>
                </c:pt>
                <c:pt idx="7783">
                  <c:v>0.13880863206705901</c:v>
                </c:pt>
                <c:pt idx="7784">
                  <c:v>0.138826466916354</c:v>
                </c:pt>
                <c:pt idx="7785">
                  <c:v>0.13884430176564999</c:v>
                </c:pt>
                <c:pt idx="7786">
                  <c:v>0.13886213661494501</c:v>
                </c:pt>
                <c:pt idx="7787">
                  <c:v>0.138879971464241</c:v>
                </c:pt>
                <c:pt idx="7788">
                  <c:v>0.13889780631353599</c:v>
                </c:pt>
                <c:pt idx="7789">
                  <c:v>0.138915641162832</c:v>
                </c:pt>
                <c:pt idx="7790">
                  <c:v>0.13893347601212699</c:v>
                </c:pt>
                <c:pt idx="7791">
                  <c:v>0.13895131086142301</c:v>
                </c:pt>
                <c:pt idx="7792">
                  <c:v>0.138969145710718</c:v>
                </c:pt>
                <c:pt idx="7793">
                  <c:v>0.13898698056001399</c:v>
                </c:pt>
                <c:pt idx="7794">
                  <c:v>0.13900481540930901</c:v>
                </c:pt>
                <c:pt idx="7795">
                  <c:v>0.139022650258605</c:v>
                </c:pt>
                <c:pt idx="7796">
                  <c:v>0.13904048510790001</c:v>
                </c:pt>
                <c:pt idx="7797">
                  <c:v>0.139058319957196</c:v>
                </c:pt>
                <c:pt idx="7798">
                  <c:v>0.13907615480649099</c:v>
                </c:pt>
                <c:pt idx="7799">
                  <c:v>0.13909398965578701</c:v>
                </c:pt>
                <c:pt idx="7800">
                  <c:v>0.139111824505082</c:v>
                </c:pt>
                <c:pt idx="7801">
                  <c:v>0.13912965935437799</c:v>
                </c:pt>
                <c:pt idx="7802">
                  <c:v>0.13914749420367301</c:v>
                </c:pt>
                <c:pt idx="7803">
                  <c:v>0.13916532905296899</c:v>
                </c:pt>
                <c:pt idx="7804">
                  <c:v>0.13918316390226501</c:v>
                </c:pt>
                <c:pt idx="7805">
                  <c:v>0.13920099875156</c:v>
                </c:pt>
                <c:pt idx="7806">
                  <c:v>0.13921883360085599</c:v>
                </c:pt>
                <c:pt idx="7807">
                  <c:v>0.13923666845015101</c:v>
                </c:pt>
                <c:pt idx="7808">
                  <c:v>0.139254503299447</c:v>
                </c:pt>
                <c:pt idx="7809">
                  <c:v>0.13927233814874199</c:v>
                </c:pt>
                <c:pt idx="7810">
                  <c:v>0.139290172998038</c:v>
                </c:pt>
                <c:pt idx="7811">
                  <c:v>0.13930800784733299</c:v>
                </c:pt>
                <c:pt idx="7812">
                  <c:v>0.13932584269662901</c:v>
                </c:pt>
                <c:pt idx="7813">
                  <c:v>0.139343677545924</c:v>
                </c:pt>
                <c:pt idx="7814">
                  <c:v>0.13936151239521999</c:v>
                </c:pt>
                <c:pt idx="7815">
                  <c:v>0.13937934724451501</c:v>
                </c:pt>
                <c:pt idx="7816">
                  <c:v>0.139397182093811</c:v>
                </c:pt>
                <c:pt idx="7817">
                  <c:v>0.13941501694310601</c:v>
                </c:pt>
                <c:pt idx="7818">
                  <c:v>0.139432851792402</c:v>
                </c:pt>
                <c:pt idx="7819">
                  <c:v>0.13945068664169699</c:v>
                </c:pt>
                <c:pt idx="7820">
                  <c:v>0.13946852149099301</c:v>
                </c:pt>
                <c:pt idx="7821">
                  <c:v>0.139486356340288</c:v>
                </c:pt>
                <c:pt idx="7822">
                  <c:v>0.13950419118958399</c:v>
                </c:pt>
                <c:pt idx="7823">
                  <c:v>0.139522026038879</c:v>
                </c:pt>
                <c:pt idx="7824">
                  <c:v>0.13953986088817499</c:v>
                </c:pt>
                <c:pt idx="7825">
                  <c:v>0.13955769573747101</c:v>
                </c:pt>
                <c:pt idx="7826">
                  <c:v>0.139575530586766</c:v>
                </c:pt>
                <c:pt idx="7827">
                  <c:v>0.13959336543606199</c:v>
                </c:pt>
                <c:pt idx="7828">
                  <c:v>0.13961120028535701</c:v>
                </c:pt>
                <c:pt idx="7829">
                  <c:v>0.139629035134653</c:v>
                </c:pt>
                <c:pt idx="7830">
                  <c:v>0.13964686998394801</c:v>
                </c:pt>
                <c:pt idx="7831">
                  <c:v>0.139664704833244</c:v>
                </c:pt>
                <c:pt idx="7832">
                  <c:v>0.13968253968253899</c:v>
                </c:pt>
                <c:pt idx="7833">
                  <c:v>0.13970037453183501</c:v>
                </c:pt>
                <c:pt idx="7834">
                  <c:v>0.13971820938113</c:v>
                </c:pt>
                <c:pt idx="7835">
                  <c:v>0.13973604423042599</c:v>
                </c:pt>
                <c:pt idx="7836">
                  <c:v>0.13975387907972101</c:v>
                </c:pt>
                <c:pt idx="7837">
                  <c:v>0.13977171392901699</c:v>
                </c:pt>
                <c:pt idx="7838">
                  <c:v>0.13978954877831201</c:v>
                </c:pt>
                <c:pt idx="7839">
                  <c:v>0.139807383627608</c:v>
                </c:pt>
                <c:pt idx="7840">
                  <c:v>0.13982521847690299</c:v>
                </c:pt>
                <c:pt idx="7841">
                  <c:v>0.13984305332619901</c:v>
                </c:pt>
                <c:pt idx="7842">
                  <c:v>0.139860888175494</c:v>
                </c:pt>
                <c:pt idx="7843">
                  <c:v>0.13987872302479001</c:v>
                </c:pt>
                <c:pt idx="7844">
                  <c:v>0.139896557874085</c:v>
                </c:pt>
                <c:pt idx="7845">
                  <c:v>0.13991439272338099</c:v>
                </c:pt>
                <c:pt idx="7846">
                  <c:v>0.13993222757267701</c:v>
                </c:pt>
                <c:pt idx="7847">
                  <c:v>0.139950062421972</c:v>
                </c:pt>
                <c:pt idx="7848">
                  <c:v>0.13996789727126799</c:v>
                </c:pt>
                <c:pt idx="7849">
                  <c:v>0.13998573212056301</c:v>
                </c:pt>
                <c:pt idx="7850">
                  <c:v>0.14000356696985899</c:v>
                </c:pt>
                <c:pt idx="7851">
                  <c:v>0.14002140181915401</c:v>
                </c:pt>
                <c:pt idx="7852">
                  <c:v>0.14003923666845</c:v>
                </c:pt>
                <c:pt idx="7853">
                  <c:v>0.14005707151774499</c:v>
                </c:pt>
                <c:pt idx="7854">
                  <c:v>0.14007490636704101</c:v>
                </c:pt>
                <c:pt idx="7855">
                  <c:v>0.140092741216336</c:v>
                </c:pt>
                <c:pt idx="7856">
                  <c:v>0.14011057606563199</c:v>
                </c:pt>
                <c:pt idx="7857">
                  <c:v>0.140128410914927</c:v>
                </c:pt>
                <c:pt idx="7858">
                  <c:v>0.14014624576422299</c:v>
                </c:pt>
                <c:pt idx="7859">
                  <c:v>0.14016408061351801</c:v>
                </c:pt>
                <c:pt idx="7860">
                  <c:v>0.140181915462814</c:v>
                </c:pt>
                <c:pt idx="7861">
                  <c:v>0.14019975031210899</c:v>
                </c:pt>
                <c:pt idx="7862">
                  <c:v>0.14021758516140501</c:v>
                </c:pt>
                <c:pt idx="7863">
                  <c:v>0.1402354200107</c:v>
                </c:pt>
                <c:pt idx="7864">
                  <c:v>0.14025325485999601</c:v>
                </c:pt>
                <c:pt idx="7865">
                  <c:v>0.140271089709291</c:v>
                </c:pt>
                <c:pt idx="7866">
                  <c:v>0.14028892455858699</c:v>
                </c:pt>
                <c:pt idx="7867">
                  <c:v>0.14030675940788301</c:v>
                </c:pt>
                <c:pt idx="7868">
                  <c:v>0.140324594257178</c:v>
                </c:pt>
                <c:pt idx="7869">
                  <c:v>0.14034242910647399</c:v>
                </c:pt>
                <c:pt idx="7870">
                  <c:v>0.140360263955769</c:v>
                </c:pt>
                <c:pt idx="7871">
                  <c:v>0.14037809880506499</c:v>
                </c:pt>
                <c:pt idx="7872">
                  <c:v>0.14039593365436001</c:v>
                </c:pt>
                <c:pt idx="7873">
                  <c:v>0.140413768503656</c:v>
                </c:pt>
                <c:pt idx="7874">
                  <c:v>0.14043160335295099</c:v>
                </c:pt>
                <c:pt idx="7875">
                  <c:v>0.14044943820224701</c:v>
                </c:pt>
                <c:pt idx="7876">
                  <c:v>0.140467273051542</c:v>
                </c:pt>
                <c:pt idx="7877">
                  <c:v>0.14048510790083801</c:v>
                </c:pt>
                <c:pt idx="7878">
                  <c:v>0.140502942750133</c:v>
                </c:pt>
                <c:pt idx="7879">
                  <c:v>0.14052077759942899</c:v>
                </c:pt>
                <c:pt idx="7880">
                  <c:v>0.14053861244872401</c:v>
                </c:pt>
                <c:pt idx="7881">
                  <c:v>0.14055644729802</c:v>
                </c:pt>
                <c:pt idx="7882">
                  <c:v>0.14057428214731499</c:v>
                </c:pt>
                <c:pt idx="7883">
                  <c:v>0.14059211699661101</c:v>
                </c:pt>
                <c:pt idx="7884">
                  <c:v>0.14060995184590599</c:v>
                </c:pt>
                <c:pt idx="7885">
                  <c:v>0.14062778669520201</c:v>
                </c:pt>
                <c:pt idx="7886">
                  <c:v>0.140645621544497</c:v>
                </c:pt>
                <c:pt idx="7887">
                  <c:v>0.14066345639379299</c:v>
                </c:pt>
                <c:pt idx="7888">
                  <c:v>0.14068129124308901</c:v>
                </c:pt>
                <c:pt idx="7889">
                  <c:v>0.140699126092384</c:v>
                </c:pt>
                <c:pt idx="7890">
                  <c:v>0.14071696094168001</c:v>
                </c:pt>
                <c:pt idx="7891">
                  <c:v>0.140734795790975</c:v>
                </c:pt>
                <c:pt idx="7892">
                  <c:v>0.14075263064027099</c:v>
                </c:pt>
                <c:pt idx="7893">
                  <c:v>0.14077046548956601</c:v>
                </c:pt>
                <c:pt idx="7894">
                  <c:v>0.140788300338862</c:v>
                </c:pt>
                <c:pt idx="7895">
                  <c:v>0.14080613518815699</c:v>
                </c:pt>
                <c:pt idx="7896">
                  <c:v>0.14082397003745301</c:v>
                </c:pt>
                <c:pt idx="7897">
                  <c:v>0.140841804886748</c:v>
                </c:pt>
                <c:pt idx="7898">
                  <c:v>0.14085963973604401</c:v>
                </c:pt>
                <c:pt idx="7899">
                  <c:v>0.140877474585339</c:v>
                </c:pt>
                <c:pt idx="7900">
                  <c:v>0.14089530943463499</c:v>
                </c:pt>
                <c:pt idx="7901">
                  <c:v>0.14091314428393001</c:v>
                </c:pt>
                <c:pt idx="7902">
                  <c:v>0.140930979133226</c:v>
                </c:pt>
                <c:pt idx="7903">
                  <c:v>0.14094881398252099</c:v>
                </c:pt>
                <c:pt idx="7904">
                  <c:v>0.140966648831817</c:v>
                </c:pt>
                <c:pt idx="7905">
                  <c:v>0.14098448368111199</c:v>
                </c:pt>
                <c:pt idx="7906">
                  <c:v>0.14100231853040801</c:v>
                </c:pt>
                <c:pt idx="7907">
                  <c:v>0.141020153379703</c:v>
                </c:pt>
                <c:pt idx="7908">
                  <c:v>0.14103798822899899</c:v>
                </c:pt>
                <c:pt idx="7909">
                  <c:v>0.14105582307829401</c:v>
                </c:pt>
                <c:pt idx="7910">
                  <c:v>0.14107365792759</c:v>
                </c:pt>
                <c:pt idx="7911">
                  <c:v>0.14109149277688601</c:v>
                </c:pt>
                <c:pt idx="7912">
                  <c:v>0.141109327626181</c:v>
                </c:pt>
                <c:pt idx="7913">
                  <c:v>0.14112716247547699</c:v>
                </c:pt>
                <c:pt idx="7914">
                  <c:v>0.14114499732477201</c:v>
                </c:pt>
                <c:pt idx="7915">
                  <c:v>0.141162832174068</c:v>
                </c:pt>
                <c:pt idx="7916">
                  <c:v>0.14118066702336299</c:v>
                </c:pt>
                <c:pt idx="7917">
                  <c:v>0.141198501872659</c:v>
                </c:pt>
                <c:pt idx="7918">
                  <c:v>0.14121633672195399</c:v>
                </c:pt>
                <c:pt idx="7919">
                  <c:v>0.14123417157125001</c:v>
                </c:pt>
                <c:pt idx="7920">
                  <c:v>0.141252006420545</c:v>
                </c:pt>
                <c:pt idx="7921">
                  <c:v>0.14126984126984099</c:v>
                </c:pt>
                <c:pt idx="7922">
                  <c:v>0.14128767611913601</c:v>
                </c:pt>
                <c:pt idx="7923">
                  <c:v>0.141305510968432</c:v>
                </c:pt>
                <c:pt idx="7924">
                  <c:v>0.14132334581772699</c:v>
                </c:pt>
                <c:pt idx="7925">
                  <c:v>0.141341180667023</c:v>
                </c:pt>
                <c:pt idx="7926">
                  <c:v>0.14135901551631799</c:v>
                </c:pt>
                <c:pt idx="7927">
                  <c:v>0.14137685036561401</c:v>
                </c:pt>
                <c:pt idx="7928">
                  <c:v>0.141394685214909</c:v>
                </c:pt>
                <c:pt idx="7929">
                  <c:v>0.14141252006420499</c:v>
                </c:pt>
                <c:pt idx="7930">
                  <c:v>0.14143035491350001</c:v>
                </c:pt>
                <c:pt idx="7931">
                  <c:v>0.14144818976279599</c:v>
                </c:pt>
                <c:pt idx="7932">
                  <c:v>0.14146602461209201</c:v>
                </c:pt>
                <c:pt idx="7933">
                  <c:v>0.141483859461387</c:v>
                </c:pt>
                <c:pt idx="7934">
                  <c:v>0.14150169431068299</c:v>
                </c:pt>
                <c:pt idx="7935">
                  <c:v>0.14151952915997801</c:v>
                </c:pt>
                <c:pt idx="7936">
                  <c:v>0.141537364009274</c:v>
                </c:pt>
                <c:pt idx="7937">
                  <c:v>0.14155519885856899</c:v>
                </c:pt>
                <c:pt idx="7938">
                  <c:v>0.141573033707865</c:v>
                </c:pt>
                <c:pt idx="7939">
                  <c:v>0.14159086855715999</c:v>
                </c:pt>
                <c:pt idx="7940">
                  <c:v>0.14160870340645601</c:v>
                </c:pt>
                <c:pt idx="7941">
                  <c:v>0.141626538255751</c:v>
                </c:pt>
                <c:pt idx="7942">
                  <c:v>0.14164437310504699</c:v>
                </c:pt>
                <c:pt idx="7943">
                  <c:v>0.14166220795434201</c:v>
                </c:pt>
                <c:pt idx="7944">
                  <c:v>0.141680042803638</c:v>
                </c:pt>
                <c:pt idx="7945">
                  <c:v>0.14169787765293301</c:v>
                </c:pt>
                <c:pt idx="7946">
                  <c:v>0.141715712502229</c:v>
                </c:pt>
                <c:pt idx="7947">
                  <c:v>0.14173354735152399</c:v>
                </c:pt>
                <c:pt idx="7948">
                  <c:v>0.14175138220082001</c:v>
                </c:pt>
                <c:pt idx="7949">
                  <c:v>0.141769217050115</c:v>
                </c:pt>
                <c:pt idx="7950">
                  <c:v>0.14178705189941099</c:v>
                </c:pt>
                <c:pt idx="7951">
                  <c:v>0.141804886748706</c:v>
                </c:pt>
                <c:pt idx="7952">
                  <c:v>0.14182272159800199</c:v>
                </c:pt>
                <c:pt idx="7953">
                  <c:v>0.14184055644729801</c:v>
                </c:pt>
                <c:pt idx="7954">
                  <c:v>0.141858391296593</c:v>
                </c:pt>
                <c:pt idx="7955">
                  <c:v>0.14187622614588899</c:v>
                </c:pt>
                <c:pt idx="7956">
                  <c:v>0.14189406099518401</c:v>
                </c:pt>
                <c:pt idx="7957">
                  <c:v>0.14191189584448</c:v>
                </c:pt>
                <c:pt idx="7958">
                  <c:v>0.14192973069377501</c:v>
                </c:pt>
                <c:pt idx="7959">
                  <c:v>0.141947565543071</c:v>
                </c:pt>
                <c:pt idx="7960">
                  <c:v>0.14196540039236599</c:v>
                </c:pt>
                <c:pt idx="7961">
                  <c:v>0.14198323524166201</c:v>
                </c:pt>
                <c:pt idx="7962">
                  <c:v>0.142001070090957</c:v>
                </c:pt>
                <c:pt idx="7963">
                  <c:v>0.14201890494025299</c:v>
                </c:pt>
                <c:pt idx="7964">
                  <c:v>0.14203673978954801</c:v>
                </c:pt>
                <c:pt idx="7965">
                  <c:v>0.14205457463884399</c:v>
                </c:pt>
                <c:pt idx="7966">
                  <c:v>0.14207240948813901</c:v>
                </c:pt>
                <c:pt idx="7967">
                  <c:v>0.142090244337435</c:v>
                </c:pt>
                <c:pt idx="7968">
                  <c:v>0.14210807918672999</c:v>
                </c:pt>
                <c:pt idx="7969">
                  <c:v>0.14212591403602601</c:v>
                </c:pt>
                <c:pt idx="7970">
                  <c:v>0.142143748885321</c:v>
                </c:pt>
                <c:pt idx="7971">
                  <c:v>0.14216158373461699</c:v>
                </c:pt>
                <c:pt idx="7972">
                  <c:v>0.142179418583912</c:v>
                </c:pt>
                <c:pt idx="7973">
                  <c:v>0.14219725343320799</c:v>
                </c:pt>
                <c:pt idx="7974">
                  <c:v>0.14221508828250401</c:v>
                </c:pt>
                <c:pt idx="7975">
                  <c:v>0.142232923131799</c:v>
                </c:pt>
                <c:pt idx="7976">
                  <c:v>0.14225075798109499</c:v>
                </c:pt>
                <c:pt idx="7977">
                  <c:v>0.14226859283039001</c:v>
                </c:pt>
                <c:pt idx="7978">
                  <c:v>0.142286427679686</c:v>
                </c:pt>
                <c:pt idx="7979">
                  <c:v>0.14230426252898101</c:v>
                </c:pt>
                <c:pt idx="7980">
                  <c:v>0.142322097378277</c:v>
                </c:pt>
                <c:pt idx="7981">
                  <c:v>0.14233993222757199</c:v>
                </c:pt>
                <c:pt idx="7982">
                  <c:v>0.14235776707686801</c:v>
                </c:pt>
                <c:pt idx="7983">
                  <c:v>0.142375601926163</c:v>
                </c:pt>
                <c:pt idx="7984">
                  <c:v>0.14239343677545899</c:v>
                </c:pt>
                <c:pt idx="7985">
                  <c:v>0.142411271624754</c:v>
                </c:pt>
                <c:pt idx="7986">
                  <c:v>0.14242910647404999</c:v>
                </c:pt>
                <c:pt idx="7987">
                  <c:v>0.14244694132334501</c:v>
                </c:pt>
                <c:pt idx="7988">
                  <c:v>0.142464776172641</c:v>
                </c:pt>
                <c:pt idx="7989">
                  <c:v>0.14248261102193599</c:v>
                </c:pt>
                <c:pt idx="7990">
                  <c:v>0.14250044587123201</c:v>
                </c:pt>
                <c:pt idx="7991">
                  <c:v>0.142518280720527</c:v>
                </c:pt>
                <c:pt idx="7992">
                  <c:v>0.14253611556982301</c:v>
                </c:pt>
                <c:pt idx="7993">
                  <c:v>0.142553950419118</c:v>
                </c:pt>
                <c:pt idx="7994">
                  <c:v>0.14257178526841399</c:v>
                </c:pt>
                <c:pt idx="7995">
                  <c:v>0.14258962011771001</c:v>
                </c:pt>
                <c:pt idx="7996">
                  <c:v>0.142607454967005</c:v>
                </c:pt>
                <c:pt idx="7997">
                  <c:v>0.14262528981630099</c:v>
                </c:pt>
                <c:pt idx="7998">
                  <c:v>0.14264312466559601</c:v>
                </c:pt>
                <c:pt idx="7999">
                  <c:v>0.14266095951489199</c:v>
                </c:pt>
                <c:pt idx="8000">
                  <c:v>0.14267879436418701</c:v>
                </c:pt>
                <c:pt idx="8001">
                  <c:v>0.142696629213483</c:v>
                </c:pt>
                <c:pt idx="8002">
                  <c:v>0.14271446406277799</c:v>
                </c:pt>
                <c:pt idx="8003">
                  <c:v>0.14273229891207401</c:v>
                </c:pt>
                <c:pt idx="8004">
                  <c:v>0.142750133761369</c:v>
                </c:pt>
                <c:pt idx="8005">
                  <c:v>0.14276796861066501</c:v>
                </c:pt>
                <c:pt idx="8006">
                  <c:v>0.14278580345996</c:v>
                </c:pt>
                <c:pt idx="8007">
                  <c:v>0.14280363830925599</c:v>
                </c:pt>
                <c:pt idx="8008">
                  <c:v>0.14282147315855101</c:v>
                </c:pt>
                <c:pt idx="8009">
                  <c:v>0.142839308007847</c:v>
                </c:pt>
                <c:pt idx="8010">
                  <c:v>0.14285714285714199</c:v>
                </c:pt>
                <c:pt idx="8011">
                  <c:v>0.14287497770643801</c:v>
                </c:pt>
                <c:pt idx="8012">
                  <c:v>0.142892812555733</c:v>
                </c:pt>
                <c:pt idx="8013">
                  <c:v>0.14291064740502901</c:v>
                </c:pt>
                <c:pt idx="8014">
                  <c:v>0.142928482254324</c:v>
                </c:pt>
                <c:pt idx="8015">
                  <c:v>0.14294631710361999</c:v>
                </c:pt>
                <c:pt idx="8016">
                  <c:v>0.14296415195291601</c:v>
                </c:pt>
                <c:pt idx="8017">
                  <c:v>0.142981986802211</c:v>
                </c:pt>
                <c:pt idx="8018">
                  <c:v>0.14299982165150699</c:v>
                </c:pt>
                <c:pt idx="8019">
                  <c:v>0.143017656500802</c:v>
                </c:pt>
                <c:pt idx="8020">
                  <c:v>0.14303549135009799</c:v>
                </c:pt>
                <c:pt idx="8021">
                  <c:v>0.14305332619939301</c:v>
                </c:pt>
                <c:pt idx="8022">
                  <c:v>0.143071161048689</c:v>
                </c:pt>
                <c:pt idx="8023">
                  <c:v>0.14308899589798399</c:v>
                </c:pt>
                <c:pt idx="8024">
                  <c:v>0.14310683074728001</c:v>
                </c:pt>
                <c:pt idx="8025">
                  <c:v>0.143124665596575</c:v>
                </c:pt>
                <c:pt idx="8026">
                  <c:v>0.14314250044587101</c:v>
                </c:pt>
                <c:pt idx="8027">
                  <c:v>0.143160335295166</c:v>
                </c:pt>
                <c:pt idx="8028">
                  <c:v>0.14317817014446199</c:v>
                </c:pt>
                <c:pt idx="8029">
                  <c:v>0.14319600499375701</c:v>
                </c:pt>
                <c:pt idx="8030">
                  <c:v>0.143213839843053</c:v>
                </c:pt>
                <c:pt idx="8031">
                  <c:v>0.14323167469234799</c:v>
                </c:pt>
                <c:pt idx="8032">
                  <c:v>0.143249509541644</c:v>
                </c:pt>
                <c:pt idx="8033">
                  <c:v>0.14326734439093899</c:v>
                </c:pt>
                <c:pt idx="8034">
                  <c:v>0.14328517924023501</c:v>
                </c:pt>
                <c:pt idx="8035">
                  <c:v>0.14330301408953</c:v>
                </c:pt>
                <c:pt idx="8036">
                  <c:v>0.14332084893882599</c:v>
                </c:pt>
                <c:pt idx="8037">
                  <c:v>0.14333868378812101</c:v>
                </c:pt>
                <c:pt idx="8038">
                  <c:v>0.143356518637417</c:v>
                </c:pt>
                <c:pt idx="8039">
                  <c:v>0.14337435348671301</c:v>
                </c:pt>
                <c:pt idx="8040">
                  <c:v>0.143392188336008</c:v>
                </c:pt>
                <c:pt idx="8041">
                  <c:v>0.14341002318530399</c:v>
                </c:pt>
                <c:pt idx="8042">
                  <c:v>0.14342785803459901</c:v>
                </c:pt>
                <c:pt idx="8043">
                  <c:v>0.143445692883895</c:v>
                </c:pt>
                <c:pt idx="8044">
                  <c:v>0.14346352773318999</c:v>
                </c:pt>
                <c:pt idx="8045">
                  <c:v>0.14348136258248601</c:v>
                </c:pt>
                <c:pt idx="8046">
                  <c:v>0.14349919743178099</c:v>
                </c:pt>
                <c:pt idx="8047">
                  <c:v>0.14351703228107701</c:v>
                </c:pt>
                <c:pt idx="8048">
                  <c:v>0.143534867130372</c:v>
                </c:pt>
                <c:pt idx="8049">
                  <c:v>0.14355270197966799</c:v>
                </c:pt>
                <c:pt idx="8050">
                  <c:v>0.14357053682896301</c:v>
                </c:pt>
                <c:pt idx="8051">
                  <c:v>0.143588371678259</c:v>
                </c:pt>
                <c:pt idx="8052">
                  <c:v>0.14360620652755399</c:v>
                </c:pt>
                <c:pt idx="8053">
                  <c:v>0.14362404137685</c:v>
                </c:pt>
                <c:pt idx="8054">
                  <c:v>0.14364187622614499</c:v>
                </c:pt>
                <c:pt idx="8055">
                  <c:v>0.14365971107544101</c:v>
                </c:pt>
                <c:pt idx="8056">
                  <c:v>0.143677545924736</c:v>
                </c:pt>
                <c:pt idx="8057">
                  <c:v>0.14369538077403199</c:v>
                </c:pt>
                <c:pt idx="8058">
                  <c:v>0.14371321562332701</c:v>
                </c:pt>
                <c:pt idx="8059">
                  <c:v>0.143731050472623</c:v>
                </c:pt>
                <c:pt idx="8060">
                  <c:v>0.14374888532191901</c:v>
                </c:pt>
                <c:pt idx="8061">
                  <c:v>0.143766720171214</c:v>
                </c:pt>
                <c:pt idx="8062">
                  <c:v>0.14378455502050999</c:v>
                </c:pt>
                <c:pt idx="8063">
                  <c:v>0.14380238986980501</c:v>
                </c:pt>
                <c:pt idx="8064">
                  <c:v>0.143820224719101</c:v>
                </c:pt>
                <c:pt idx="8065">
                  <c:v>0.14383805956839599</c:v>
                </c:pt>
                <c:pt idx="8066">
                  <c:v>0.143855894417692</c:v>
                </c:pt>
                <c:pt idx="8067">
                  <c:v>0.14387372926698699</c:v>
                </c:pt>
                <c:pt idx="8068">
                  <c:v>0.14389156411628301</c:v>
                </c:pt>
                <c:pt idx="8069">
                  <c:v>0.143909398965578</c:v>
                </c:pt>
                <c:pt idx="8070">
                  <c:v>0.14392723381487399</c:v>
                </c:pt>
                <c:pt idx="8071">
                  <c:v>0.14394506866416901</c:v>
                </c:pt>
                <c:pt idx="8072">
                  <c:v>0.143962903513465</c:v>
                </c:pt>
                <c:pt idx="8073">
                  <c:v>0.14398073836276001</c:v>
                </c:pt>
                <c:pt idx="8074">
                  <c:v>0.143998573212056</c:v>
                </c:pt>
                <c:pt idx="8075">
                  <c:v>0.14401640806135099</c:v>
                </c:pt>
                <c:pt idx="8076">
                  <c:v>0.14403424291064701</c:v>
                </c:pt>
                <c:pt idx="8077">
                  <c:v>0.144052077759942</c:v>
                </c:pt>
                <c:pt idx="8078">
                  <c:v>0.14406991260923799</c:v>
                </c:pt>
                <c:pt idx="8079">
                  <c:v>0.14408774745853301</c:v>
                </c:pt>
                <c:pt idx="8080">
                  <c:v>0.14410558230782899</c:v>
                </c:pt>
                <c:pt idx="8081">
                  <c:v>0.14412341715712501</c:v>
                </c:pt>
                <c:pt idx="8082">
                  <c:v>0.14414125200642</c:v>
                </c:pt>
                <c:pt idx="8083">
                  <c:v>0.14415908685571599</c:v>
                </c:pt>
                <c:pt idx="8084">
                  <c:v>0.14417692170501101</c:v>
                </c:pt>
                <c:pt idx="8085">
                  <c:v>0.144194756554307</c:v>
                </c:pt>
                <c:pt idx="8086">
                  <c:v>0.14421259140360199</c:v>
                </c:pt>
                <c:pt idx="8087">
                  <c:v>0.144230426252898</c:v>
                </c:pt>
                <c:pt idx="8088">
                  <c:v>0.14424826110219299</c:v>
                </c:pt>
                <c:pt idx="8089">
                  <c:v>0.14426609595148901</c:v>
                </c:pt>
                <c:pt idx="8090">
                  <c:v>0.144283930800784</c:v>
                </c:pt>
                <c:pt idx="8091">
                  <c:v>0.14430176565007999</c:v>
                </c:pt>
                <c:pt idx="8092">
                  <c:v>0.14431960049937501</c:v>
                </c:pt>
                <c:pt idx="8093">
                  <c:v>0.14433743534867099</c:v>
                </c:pt>
                <c:pt idx="8094">
                  <c:v>0.14435527019796601</c:v>
                </c:pt>
                <c:pt idx="8095">
                  <c:v>0.144373105047262</c:v>
                </c:pt>
                <c:pt idx="8096">
                  <c:v>0.14439093989655699</c:v>
                </c:pt>
                <c:pt idx="8097">
                  <c:v>0.14440877474585301</c:v>
                </c:pt>
                <c:pt idx="8098">
                  <c:v>0.144426609595148</c:v>
                </c:pt>
                <c:pt idx="8099">
                  <c:v>0.14444444444444399</c:v>
                </c:pt>
                <c:pt idx="8100">
                  <c:v>0.144462279293739</c:v>
                </c:pt>
                <c:pt idx="8101">
                  <c:v>0.14448011414303499</c:v>
                </c:pt>
                <c:pt idx="8102">
                  <c:v>0.14449794899233101</c:v>
                </c:pt>
                <c:pt idx="8103">
                  <c:v>0.144515783841626</c:v>
                </c:pt>
                <c:pt idx="8104">
                  <c:v>0.14453361869092199</c:v>
                </c:pt>
                <c:pt idx="8105">
                  <c:v>0.14455145354021701</c:v>
                </c:pt>
                <c:pt idx="8106">
                  <c:v>0.144569288389513</c:v>
                </c:pt>
                <c:pt idx="8107">
                  <c:v>0.14458712323880801</c:v>
                </c:pt>
                <c:pt idx="8108">
                  <c:v>0.144604958088104</c:v>
                </c:pt>
                <c:pt idx="8109">
                  <c:v>0.14462279293739899</c:v>
                </c:pt>
                <c:pt idx="8110">
                  <c:v>0.14464062778669501</c:v>
                </c:pt>
                <c:pt idx="8111">
                  <c:v>0.14465846263599</c:v>
                </c:pt>
                <c:pt idx="8112">
                  <c:v>0.14467629748528599</c:v>
                </c:pt>
                <c:pt idx="8113">
                  <c:v>0.144694132334581</c:v>
                </c:pt>
                <c:pt idx="8114">
                  <c:v>0.14471196718387699</c:v>
                </c:pt>
                <c:pt idx="8115">
                  <c:v>0.14472980203317201</c:v>
                </c:pt>
                <c:pt idx="8116">
                  <c:v>0.144747636882468</c:v>
                </c:pt>
                <c:pt idx="8117">
                  <c:v>0.14476547173176299</c:v>
                </c:pt>
                <c:pt idx="8118">
                  <c:v>0.14478330658105901</c:v>
                </c:pt>
                <c:pt idx="8119">
                  <c:v>0.144801141430354</c:v>
                </c:pt>
                <c:pt idx="8120">
                  <c:v>0.14481897627965001</c:v>
                </c:pt>
                <c:pt idx="8121">
                  <c:v>0.144836811128945</c:v>
                </c:pt>
                <c:pt idx="8122">
                  <c:v>0.14485464597824099</c:v>
                </c:pt>
                <c:pt idx="8123">
                  <c:v>0.14487248082753701</c:v>
                </c:pt>
                <c:pt idx="8124">
                  <c:v>0.144890315676832</c:v>
                </c:pt>
                <c:pt idx="8125">
                  <c:v>0.14490815052612799</c:v>
                </c:pt>
                <c:pt idx="8126">
                  <c:v>0.14492598537542301</c:v>
                </c:pt>
                <c:pt idx="8127">
                  <c:v>0.14494382022471899</c:v>
                </c:pt>
                <c:pt idx="8128">
                  <c:v>0.14496165507401401</c:v>
                </c:pt>
                <c:pt idx="8129">
                  <c:v>0.14497948992331</c:v>
                </c:pt>
                <c:pt idx="8130">
                  <c:v>0.14499732477260499</c:v>
                </c:pt>
                <c:pt idx="8131">
                  <c:v>0.14501515962190101</c:v>
                </c:pt>
                <c:pt idx="8132">
                  <c:v>0.145032994471196</c:v>
                </c:pt>
                <c:pt idx="8133">
                  <c:v>0.14505082932049199</c:v>
                </c:pt>
                <c:pt idx="8134">
                  <c:v>0.145068664169787</c:v>
                </c:pt>
                <c:pt idx="8135">
                  <c:v>0.14508649901908299</c:v>
                </c:pt>
                <c:pt idx="8136">
                  <c:v>0.14510433386837801</c:v>
                </c:pt>
                <c:pt idx="8137">
                  <c:v>0.145122168717674</c:v>
                </c:pt>
                <c:pt idx="8138">
                  <c:v>0.14514000356696899</c:v>
                </c:pt>
                <c:pt idx="8139">
                  <c:v>0.14515783841626501</c:v>
                </c:pt>
                <c:pt idx="8140">
                  <c:v>0.14517567326556</c:v>
                </c:pt>
                <c:pt idx="8141">
                  <c:v>0.14519350811485601</c:v>
                </c:pt>
                <c:pt idx="8142">
                  <c:v>0.145211342964151</c:v>
                </c:pt>
                <c:pt idx="8143">
                  <c:v>0.14522917781344699</c:v>
                </c:pt>
                <c:pt idx="8144">
                  <c:v>0.14524701266274301</c:v>
                </c:pt>
                <c:pt idx="8145">
                  <c:v>0.145264847512038</c:v>
                </c:pt>
                <c:pt idx="8146">
                  <c:v>0.14528268236133399</c:v>
                </c:pt>
                <c:pt idx="8147">
                  <c:v>0.145300517210629</c:v>
                </c:pt>
                <c:pt idx="8148">
                  <c:v>0.14531835205992499</c:v>
                </c:pt>
                <c:pt idx="8149">
                  <c:v>0.14533618690922001</c:v>
                </c:pt>
                <c:pt idx="8150">
                  <c:v>0.145354021758516</c:v>
                </c:pt>
                <c:pt idx="8151">
                  <c:v>0.14537185660781099</c:v>
                </c:pt>
                <c:pt idx="8152">
                  <c:v>0.14538969145710701</c:v>
                </c:pt>
                <c:pt idx="8153">
                  <c:v>0.145407526306402</c:v>
                </c:pt>
                <c:pt idx="8154">
                  <c:v>0.14542536115569801</c:v>
                </c:pt>
                <c:pt idx="8155">
                  <c:v>0.145443196004993</c:v>
                </c:pt>
                <c:pt idx="8156">
                  <c:v>0.14546103085428899</c:v>
                </c:pt>
                <c:pt idx="8157">
                  <c:v>0.14547886570358401</c:v>
                </c:pt>
                <c:pt idx="8158">
                  <c:v>0.14549670055288</c:v>
                </c:pt>
                <c:pt idx="8159">
                  <c:v>0.14551453540217499</c:v>
                </c:pt>
                <c:pt idx="8160">
                  <c:v>0.145532370251471</c:v>
                </c:pt>
                <c:pt idx="8161">
                  <c:v>0.14555020510076599</c:v>
                </c:pt>
                <c:pt idx="8162">
                  <c:v>0.14556803995006201</c:v>
                </c:pt>
                <c:pt idx="8163">
                  <c:v>0.145585874799357</c:v>
                </c:pt>
                <c:pt idx="8164">
                  <c:v>0.14560370964865299</c:v>
                </c:pt>
                <c:pt idx="8165">
                  <c:v>0.14562154449794801</c:v>
                </c:pt>
                <c:pt idx="8166">
                  <c:v>0.145639379347244</c:v>
                </c:pt>
                <c:pt idx="8167">
                  <c:v>0.14565721419654001</c:v>
                </c:pt>
                <c:pt idx="8168">
                  <c:v>0.145675049045835</c:v>
                </c:pt>
                <c:pt idx="8169">
                  <c:v>0.14569288389513099</c:v>
                </c:pt>
                <c:pt idx="8170">
                  <c:v>0.14571071874442601</c:v>
                </c:pt>
                <c:pt idx="8171">
                  <c:v>0.145728553593722</c:v>
                </c:pt>
                <c:pt idx="8172">
                  <c:v>0.14574638844301699</c:v>
                </c:pt>
                <c:pt idx="8173">
                  <c:v>0.14576422329231301</c:v>
                </c:pt>
                <c:pt idx="8174">
                  <c:v>0.145782058141608</c:v>
                </c:pt>
                <c:pt idx="8175">
                  <c:v>0.14579989299090401</c:v>
                </c:pt>
                <c:pt idx="8176">
                  <c:v>0.145817727840199</c:v>
                </c:pt>
                <c:pt idx="8177">
                  <c:v>0.14583556268949499</c:v>
                </c:pt>
                <c:pt idx="8178">
                  <c:v>0.14585339753879001</c:v>
                </c:pt>
                <c:pt idx="8179">
                  <c:v>0.145871232388086</c:v>
                </c:pt>
                <c:pt idx="8180">
                  <c:v>0.14588906723738099</c:v>
                </c:pt>
                <c:pt idx="8181">
                  <c:v>0.145906902086677</c:v>
                </c:pt>
                <c:pt idx="8182">
                  <c:v>0.14592473693597199</c:v>
                </c:pt>
                <c:pt idx="8183">
                  <c:v>0.14594257178526801</c:v>
                </c:pt>
                <c:pt idx="8184">
                  <c:v>0.145960406634563</c:v>
                </c:pt>
                <c:pt idx="8185">
                  <c:v>0.14597824148385899</c:v>
                </c:pt>
                <c:pt idx="8186">
                  <c:v>0.14599607633315401</c:v>
                </c:pt>
                <c:pt idx="8187">
                  <c:v>0.14601391118245</c:v>
                </c:pt>
                <c:pt idx="8188">
                  <c:v>0.14603174603174601</c:v>
                </c:pt>
                <c:pt idx="8189">
                  <c:v>0.146049580881041</c:v>
                </c:pt>
                <c:pt idx="8190">
                  <c:v>0.14606741573033699</c:v>
                </c:pt>
                <c:pt idx="8191">
                  <c:v>0.14608525057963201</c:v>
                </c:pt>
                <c:pt idx="8192">
                  <c:v>0.146103085428928</c:v>
                </c:pt>
                <c:pt idx="8193">
                  <c:v>0.14612092027822299</c:v>
                </c:pt>
                <c:pt idx="8194">
                  <c:v>0.146138755127519</c:v>
                </c:pt>
                <c:pt idx="8195">
                  <c:v>0.14615658997681399</c:v>
                </c:pt>
                <c:pt idx="8196">
                  <c:v>0.14617442482611001</c:v>
                </c:pt>
                <c:pt idx="8197">
                  <c:v>0.146192259675405</c:v>
                </c:pt>
                <c:pt idx="8198">
                  <c:v>0.14621009452470099</c:v>
                </c:pt>
                <c:pt idx="8199">
                  <c:v>0.14622792937399601</c:v>
                </c:pt>
                <c:pt idx="8200">
                  <c:v>0.146245764223292</c:v>
                </c:pt>
                <c:pt idx="8201">
                  <c:v>0.14626359907258701</c:v>
                </c:pt>
                <c:pt idx="8202">
                  <c:v>0.146281433921883</c:v>
                </c:pt>
                <c:pt idx="8203">
                  <c:v>0.14629926877117799</c:v>
                </c:pt>
                <c:pt idx="8204">
                  <c:v>0.14631710362047401</c:v>
                </c:pt>
                <c:pt idx="8205">
                  <c:v>0.146334938469769</c:v>
                </c:pt>
                <c:pt idx="8206">
                  <c:v>0.14635277331906499</c:v>
                </c:pt>
                <c:pt idx="8207">
                  <c:v>0.14637060816836001</c:v>
                </c:pt>
                <c:pt idx="8208">
                  <c:v>0.14638844301765599</c:v>
                </c:pt>
                <c:pt idx="8209">
                  <c:v>0.14640627786695201</c:v>
                </c:pt>
                <c:pt idx="8210">
                  <c:v>0.146424112716247</c:v>
                </c:pt>
                <c:pt idx="8211">
                  <c:v>0.14644194756554299</c:v>
                </c:pt>
                <c:pt idx="8212">
                  <c:v>0.14645978241483801</c:v>
                </c:pt>
                <c:pt idx="8213">
                  <c:v>0.146477617264134</c:v>
                </c:pt>
                <c:pt idx="8214">
                  <c:v>0.14649545211342899</c:v>
                </c:pt>
                <c:pt idx="8215">
                  <c:v>0.146513286962725</c:v>
                </c:pt>
                <c:pt idx="8216">
                  <c:v>0.14653112181201999</c:v>
                </c:pt>
                <c:pt idx="8217">
                  <c:v>0.14654895666131601</c:v>
                </c:pt>
                <c:pt idx="8218">
                  <c:v>0.146566791510611</c:v>
                </c:pt>
                <c:pt idx="8219">
                  <c:v>0.14658462635990699</c:v>
                </c:pt>
                <c:pt idx="8220">
                  <c:v>0.14660246120920201</c:v>
                </c:pt>
                <c:pt idx="8221">
                  <c:v>0.146620296058498</c:v>
                </c:pt>
                <c:pt idx="8222">
                  <c:v>0.14663813090779301</c:v>
                </c:pt>
                <c:pt idx="8223">
                  <c:v>0.146655965757089</c:v>
                </c:pt>
                <c:pt idx="8224">
                  <c:v>0.14667380060638399</c:v>
                </c:pt>
                <c:pt idx="8225">
                  <c:v>0.14669163545568001</c:v>
                </c:pt>
                <c:pt idx="8226">
                  <c:v>0.146709470304975</c:v>
                </c:pt>
                <c:pt idx="8227">
                  <c:v>0.14672730515427099</c:v>
                </c:pt>
                <c:pt idx="8228">
                  <c:v>0.146745140003566</c:v>
                </c:pt>
                <c:pt idx="8229">
                  <c:v>0.14676297485286199</c:v>
                </c:pt>
                <c:pt idx="8230">
                  <c:v>0.14678080970215801</c:v>
                </c:pt>
                <c:pt idx="8231">
                  <c:v>0.146798644551453</c:v>
                </c:pt>
                <c:pt idx="8232">
                  <c:v>0.14681647940074899</c:v>
                </c:pt>
                <c:pt idx="8233">
                  <c:v>0.14683431425004401</c:v>
                </c:pt>
                <c:pt idx="8234">
                  <c:v>0.14685214909934</c:v>
                </c:pt>
                <c:pt idx="8235">
                  <c:v>0.14686998394863501</c:v>
                </c:pt>
                <c:pt idx="8236">
                  <c:v>0.146887818797931</c:v>
                </c:pt>
                <c:pt idx="8237">
                  <c:v>0.14690565364722599</c:v>
                </c:pt>
                <c:pt idx="8238">
                  <c:v>0.14692348849652201</c:v>
                </c:pt>
                <c:pt idx="8239">
                  <c:v>0.146941323345817</c:v>
                </c:pt>
                <c:pt idx="8240">
                  <c:v>0.14695915819511299</c:v>
                </c:pt>
                <c:pt idx="8241">
                  <c:v>0.14697699304440801</c:v>
                </c:pt>
                <c:pt idx="8242">
                  <c:v>0.14699482789370399</c:v>
                </c:pt>
                <c:pt idx="8243">
                  <c:v>0.14701266274299901</c:v>
                </c:pt>
                <c:pt idx="8244">
                  <c:v>0.147030497592295</c:v>
                </c:pt>
                <c:pt idx="8245">
                  <c:v>0.14704833244158999</c:v>
                </c:pt>
                <c:pt idx="8246">
                  <c:v>0.14706616729088601</c:v>
                </c:pt>
                <c:pt idx="8247">
                  <c:v>0.147084002140181</c:v>
                </c:pt>
                <c:pt idx="8248">
                  <c:v>0.14710183698947699</c:v>
                </c:pt>
                <c:pt idx="8249">
                  <c:v>0.147119671838772</c:v>
                </c:pt>
                <c:pt idx="8250">
                  <c:v>0.14713750668806799</c:v>
                </c:pt>
                <c:pt idx="8251">
                  <c:v>0.14715534153736401</c:v>
                </c:pt>
                <c:pt idx="8252">
                  <c:v>0.147173176386659</c:v>
                </c:pt>
                <c:pt idx="8253">
                  <c:v>0.14719101123595499</c:v>
                </c:pt>
                <c:pt idx="8254">
                  <c:v>0.14720884608525001</c:v>
                </c:pt>
                <c:pt idx="8255">
                  <c:v>0.14722668093454599</c:v>
                </c:pt>
                <c:pt idx="8256">
                  <c:v>0.14724451578384101</c:v>
                </c:pt>
                <c:pt idx="8257">
                  <c:v>0.147262350633137</c:v>
                </c:pt>
                <c:pt idx="8258">
                  <c:v>0.14728018548243199</c:v>
                </c:pt>
                <c:pt idx="8259">
                  <c:v>0.14729802033172801</c:v>
                </c:pt>
                <c:pt idx="8260">
                  <c:v>0.147315855181023</c:v>
                </c:pt>
                <c:pt idx="8261">
                  <c:v>0.14733369003031899</c:v>
                </c:pt>
                <c:pt idx="8262">
                  <c:v>0.147351524879614</c:v>
                </c:pt>
                <c:pt idx="8263">
                  <c:v>0.14736935972890999</c:v>
                </c:pt>
                <c:pt idx="8264">
                  <c:v>0.14738719457820501</c:v>
                </c:pt>
                <c:pt idx="8265">
                  <c:v>0.147405029427501</c:v>
                </c:pt>
                <c:pt idx="8266">
                  <c:v>0.14742286427679599</c:v>
                </c:pt>
                <c:pt idx="8267">
                  <c:v>0.14744069912609201</c:v>
                </c:pt>
                <c:pt idx="8268">
                  <c:v>0.147458533975387</c:v>
                </c:pt>
                <c:pt idx="8269">
                  <c:v>0.14747636882468301</c:v>
                </c:pt>
                <c:pt idx="8270">
                  <c:v>0.147494203673978</c:v>
                </c:pt>
                <c:pt idx="8271">
                  <c:v>0.14751203852327399</c:v>
                </c:pt>
                <c:pt idx="8272">
                  <c:v>0.14752987337257001</c:v>
                </c:pt>
                <c:pt idx="8273">
                  <c:v>0.147547708221865</c:v>
                </c:pt>
                <c:pt idx="8274">
                  <c:v>0.14756554307116099</c:v>
                </c:pt>
                <c:pt idx="8275">
                  <c:v>0.147583377920456</c:v>
                </c:pt>
                <c:pt idx="8276">
                  <c:v>0.14760121276975199</c:v>
                </c:pt>
                <c:pt idx="8277">
                  <c:v>0.14761904761904701</c:v>
                </c:pt>
                <c:pt idx="8278">
                  <c:v>0.147636882468343</c:v>
                </c:pt>
                <c:pt idx="8279">
                  <c:v>0.14765471731763799</c:v>
                </c:pt>
                <c:pt idx="8280">
                  <c:v>0.14767255216693401</c:v>
                </c:pt>
                <c:pt idx="8281">
                  <c:v>0.147690387016229</c:v>
                </c:pt>
                <c:pt idx="8282">
                  <c:v>0.14770822186552501</c:v>
                </c:pt>
                <c:pt idx="8283">
                  <c:v>0.14772605671482</c:v>
                </c:pt>
                <c:pt idx="8284">
                  <c:v>0.14774389156411599</c:v>
                </c:pt>
                <c:pt idx="8285">
                  <c:v>0.14776172641341101</c:v>
                </c:pt>
                <c:pt idx="8286">
                  <c:v>0.147779561262707</c:v>
                </c:pt>
                <c:pt idx="8287">
                  <c:v>0.14779739611200199</c:v>
                </c:pt>
                <c:pt idx="8288">
                  <c:v>0.14781523096129801</c:v>
                </c:pt>
                <c:pt idx="8289">
                  <c:v>0.147833065810593</c:v>
                </c:pt>
                <c:pt idx="8290">
                  <c:v>0.14785090065988901</c:v>
                </c:pt>
                <c:pt idx="8291">
                  <c:v>0.147868735509184</c:v>
                </c:pt>
                <c:pt idx="8292">
                  <c:v>0.14788657035847999</c:v>
                </c:pt>
                <c:pt idx="8293">
                  <c:v>0.14790440520777601</c:v>
                </c:pt>
                <c:pt idx="8294">
                  <c:v>0.147922240057071</c:v>
                </c:pt>
                <c:pt idx="8295">
                  <c:v>0.14794007490636699</c:v>
                </c:pt>
                <c:pt idx="8296">
                  <c:v>0.147957909755662</c:v>
                </c:pt>
                <c:pt idx="8297">
                  <c:v>0.14797574460495799</c:v>
                </c:pt>
                <c:pt idx="8298">
                  <c:v>0.14799357945425301</c:v>
                </c:pt>
                <c:pt idx="8299">
                  <c:v>0.148011414303549</c:v>
                </c:pt>
                <c:pt idx="8300">
                  <c:v>0.14802924915284399</c:v>
                </c:pt>
                <c:pt idx="8301">
                  <c:v>0.14804708400214001</c:v>
                </c:pt>
                <c:pt idx="8302">
                  <c:v>0.148064918851435</c:v>
                </c:pt>
                <c:pt idx="8303">
                  <c:v>0.14808275370073101</c:v>
                </c:pt>
                <c:pt idx="8304">
                  <c:v>0.148100588550026</c:v>
                </c:pt>
                <c:pt idx="8305">
                  <c:v>0.14811842339932199</c:v>
                </c:pt>
                <c:pt idx="8306">
                  <c:v>0.14813625824861701</c:v>
                </c:pt>
                <c:pt idx="8307">
                  <c:v>0.148154093097913</c:v>
                </c:pt>
                <c:pt idx="8308">
                  <c:v>0.14817192794720799</c:v>
                </c:pt>
                <c:pt idx="8309">
                  <c:v>0.148189762796504</c:v>
                </c:pt>
                <c:pt idx="8310">
                  <c:v>0.14820759764579899</c:v>
                </c:pt>
                <c:pt idx="8311">
                  <c:v>0.14822543249509501</c:v>
                </c:pt>
                <c:pt idx="8312">
                  <c:v>0.14824326734439</c:v>
                </c:pt>
                <c:pt idx="8313">
                  <c:v>0.14826110219368599</c:v>
                </c:pt>
                <c:pt idx="8314">
                  <c:v>0.14827893704298101</c:v>
                </c:pt>
                <c:pt idx="8315">
                  <c:v>0.148296771892277</c:v>
                </c:pt>
                <c:pt idx="8316">
                  <c:v>0.14831460674157301</c:v>
                </c:pt>
                <c:pt idx="8317">
                  <c:v>0.148332441590868</c:v>
                </c:pt>
                <c:pt idx="8318">
                  <c:v>0.14835027644016399</c:v>
                </c:pt>
                <c:pt idx="8319">
                  <c:v>0.14836811128945901</c:v>
                </c:pt>
                <c:pt idx="8320">
                  <c:v>0.148385946138755</c:v>
                </c:pt>
                <c:pt idx="8321">
                  <c:v>0.14840378098804999</c:v>
                </c:pt>
                <c:pt idx="8322">
                  <c:v>0.148421615837346</c:v>
                </c:pt>
                <c:pt idx="8323">
                  <c:v>0.14843945068664099</c:v>
                </c:pt>
                <c:pt idx="8324">
                  <c:v>0.14845728553593701</c:v>
                </c:pt>
                <c:pt idx="8325">
                  <c:v>0.148475120385232</c:v>
                </c:pt>
                <c:pt idx="8326">
                  <c:v>0.14849295523452799</c:v>
                </c:pt>
                <c:pt idx="8327">
                  <c:v>0.14851079008382301</c:v>
                </c:pt>
                <c:pt idx="8328">
                  <c:v>0.148528624933119</c:v>
                </c:pt>
                <c:pt idx="8329">
                  <c:v>0.14854645978241399</c:v>
                </c:pt>
                <c:pt idx="8330">
                  <c:v>0.14856429463171</c:v>
                </c:pt>
                <c:pt idx="8331">
                  <c:v>0.14858212948100499</c:v>
                </c:pt>
                <c:pt idx="8332">
                  <c:v>0.14859996433030101</c:v>
                </c:pt>
                <c:pt idx="8333">
                  <c:v>0.148617799179596</c:v>
                </c:pt>
                <c:pt idx="8334">
                  <c:v>0.14863563402889199</c:v>
                </c:pt>
                <c:pt idx="8335">
                  <c:v>0.14865346887818701</c:v>
                </c:pt>
                <c:pt idx="8336">
                  <c:v>0.148671303727483</c:v>
                </c:pt>
                <c:pt idx="8337">
                  <c:v>0.14868913857677901</c:v>
                </c:pt>
                <c:pt idx="8338">
                  <c:v>0.148706973426074</c:v>
                </c:pt>
                <c:pt idx="8339">
                  <c:v>0.14872480827536999</c:v>
                </c:pt>
                <c:pt idx="8340">
                  <c:v>0.14874264312466501</c:v>
                </c:pt>
                <c:pt idx="8341">
                  <c:v>0.148760477973961</c:v>
                </c:pt>
                <c:pt idx="8342">
                  <c:v>0.14877831282325599</c:v>
                </c:pt>
                <c:pt idx="8343">
                  <c:v>0.148796147672552</c:v>
                </c:pt>
                <c:pt idx="8344">
                  <c:v>0.14881398252184699</c:v>
                </c:pt>
                <c:pt idx="8345">
                  <c:v>0.14883181737114301</c:v>
                </c:pt>
                <c:pt idx="8346">
                  <c:v>0.148849652220438</c:v>
                </c:pt>
                <c:pt idx="8347">
                  <c:v>0.14886748706973399</c:v>
                </c:pt>
                <c:pt idx="8348">
                  <c:v>0.14888532191902901</c:v>
                </c:pt>
                <c:pt idx="8349">
                  <c:v>0.148903156768325</c:v>
                </c:pt>
                <c:pt idx="8350">
                  <c:v>0.14892099161762001</c:v>
                </c:pt>
                <c:pt idx="8351">
                  <c:v>0.148938826466916</c:v>
                </c:pt>
                <c:pt idx="8352">
                  <c:v>0.14895666131621099</c:v>
                </c:pt>
                <c:pt idx="8353">
                  <c:v>0.14897449616550701</c:v>
                </c:pt>
                <c:pt idx="8354">
                  <c:v>0.148992331014802</c:v>
                </c:pt>
                <c:pt idx="8355">
                  <c:v>0.14901016586409799</c:v>
                </c:pt>
                <c:pt idx="8356">
                  <c:v>0.14902800071339301</c:v>
                </c:pt>
                <c:pt idx="8357">
                  <c:v>0.14904583556268899</c:v>
                </c:pt>
                <c:pt idx="8358">
                  <c:v>0.14906367041198501</c:v>
                </c:pt>
                <c:pt idx="8359">
                  <c:v>0.14908150526128</c:v>
                </c:pt>
                <c:pt idx="8360">
                  <c:v>0.14909934011057599</c:v>
                </c:pt>
                <c:pt idx="8361">
                  <c:v>0.14911717495987101</c:v>
                </c:pt>
                <c:pt idx="8362">
                  <c:v>0.149135009809167</c:v>
                </c:pt>
                <c:pt idx="8363">
                  <c:v>0.14915284465846201</c:v>
                </c:pt>
                <c:pt idx="8364">
                  <c:v>0.149170679507758</c:v>
                </c:pt>
                <c:pt idx="8365">
                  <c:v>0.14918851435705299</c:v>
                </c:pt>
                <c:pt idx="8366">
                  <c:v>0.14920634920634901</c:v>
                </c:pt>
                <c:pt idx="8367">
                  <c:v>0.149224184055644</c:v>
                </c:pt>
                <c:pt idx="8368">
                  <c:v>0.14924201890493999</c:v>
                </c:pt>
                <c:pt idx="8369">
                  <c:v>0.14925985375423501</c:v>
                </c:pt>
                <c:pt idx="8370">
                  <c:v>0.14927768860353099</c:v>
                </c:pt>
                <c:pt idx="8371">
                  <c:v>0.14929552345282601</c:v>
                </c:pt>
                <c:pt idx="8372">
                  <c:v>0.149313358302122</c:v>
                </c:pt>
                <c:pt idx="8373">
                  <c:v>0.14933119315141699</c:v>
                </c:pt>
                <c:pt idx="8374">
                  <c:v>0.14934902800071301</c:v>
                </c:pt>
                <c:pt idx="8375">
                  <c:v>0.149366862850008</c:v>
                </c:pt>
                <c:pt idx="8376">
                  <c:v>0.14938469769930399</c:v>
                </c:pt>
                <c:pt idx="8377">
                  <c:v>0.149402532548599</c:v>
                </c:pt>
                <c:pt idx="8378">
                  <c:v>0.14942036739789499</c:v>
                </c:pt>
                <c:pt idx="8379">
                  <c:v>0.14943820224719101</c:v>
                </c:pt>
                <c:pt idx="8380">
                  <c:v>0.149456037096486</c:v>
                </c:pt>
                <c:pt idx="8381">
                  <c:v>0.14947387194578199</c:v>
                </c:pt>
                <c:pt idx="8382">
                  <c:v>0.14949170679507701</c:v>
                </c:pt>
                <c:pt idx="8383">
                  <c:v>0.149509541644373</c:v>
                </c:pt>
                <c:pt idx="8384">
                  <c:v>0.14952737649366801</c:v>
                </c:pt>
                <c:pt idx="8385">
                  <c:v>0.149545211342964</c:v>
                </c:pt>
                <c:pt idx="8386">
                  <c:v>0.14956304619225899</c:v>
                </c:pt>
                <c:pt idx="8387">
                  <c:v>0.14958088104155501</c:v>
                </c:pt>
                <c:pt idx="8388">
                  <c:v>0.14959871589085</c:v>
                </c:pt>
                <c:pt idx="8389">
                  <c:v>0.14961655074014599</c:v>
                </c:pt>
                <c:pt idx="8390">
                  <c:v>0.149634385589441</c:v>
                </c:pt>
                <c:pt idx="8391">
                  <c:v>0.14965222043873699</c:v>
                </c:pt>
                <c:pt idx="8392">
                  <c:v>0.14967005528803201</c:v>
                </c:pt>
                <c:pt idx="8393">
                  <c:v>0.149687890137328</c:v>
                </c:pt>
                <c:pt idx="8394">
                  <c:v>0.14970572498662299</c:v>
                </c:pt>
                <c:pt idx="8395">
                  <c:v>0.14972355983591901</c:v>
                </c:pt>
                <c:pt idx="8396">
                  <c:v>0.149741394685214</c:v>
                </c:pt>
                <c:pt idx="8397">
                  <c:v>0.14975922953451001</c:v>
                </c:pt>
                <c:pt idx="8398">
                  <c:v>0.149777064383805</c:v>
                </c:pt>
                <c:pt idx="8399">
                  <c:v>0.14979489923310099</c:v>
                </c:pt>
                <c:pt idx="8400">
                  <c:v>0.14981273408239701</c:v>
                </c:pt>
                <c:pt idx="8401">
                  <c:v>0.149830568931692</c:v>
                </c:pt>
                <c:pt idx="8402">
                  <c:v>0.14984840378098799</c:v>
                </c:pt>
                <c:pt idx="8403">
                  <c:v>0.14986623863028301</c:v>
                </c:pt>
                <c:pt idx="8404">
                  <c:v>0.14988407347957899</c:v>
                </c:pt>
                <c:pt idx="8405">
                  <c:v>0.14990190832887401</c:v>
                </c:pt>
                <c:pt idx="8406">
                  <c:v>0.14991974317817</c:v>
                </c:pt>
                <c:pt idx="8407">
                  <c:v>0.14993757802746499</c:v>
                </c:pt>
                <c:pt idx="8408">
                  <c:v>0.14995541287676101</c:v>
                </c:pt>
                <c:pt idx="8409">
                  <c:v>0.149973247726056</c:v>
                </c:pt>
                <c:pt idx="8410">
                  <c:v>0.14999108257535201</c:v>
                </c:pt>
                <c:pt idx="8411">
                  <c:v>0.150008917424647</c:v>
                </c:pt>
                <c:pt idx="8412">
                  <c:v>0.15002675227394299</c:v>
                </c:pt>
                <c:pt idx="8413">
                  <c:v>0.15004458712323801</c:v>
                </c:pt>
                <c:pt idx="8414">
                  <c:v>0.150062421972534</c:v>
                </c:pt>
                <c:pt idx="8415">
                  <c:v>0.15008025682182899</c:v>
                </c:pt>
                <c:pt idx="8416">
                  <c:v>0.15009809167112501</c:v>
                </c:pt>
                <c:pt idx="8417">
                  <c:v>0.15011592652042</c:v>
                </c:pt>
                <c:pt idx="8418">
                  <c:v>0.15013376136971601</c:v>
                </c:pt>
                <c:pt idx="8419">
                  <c:v>0.150151596219011</c:v>
                </c:pt>
                <c:pt idx="8420">
                  <c:v>0.15016943106830699</c:v>
                </c:pt>
                <c:pt idx="8421">
                  <c:v>0.15018726591760301</c:v>
                </c:pt>
                <c:pt idx="8422">
                  <c:v>0.150205100766898</c:v>
                </c:pt>
                <c:pt idx="8423">
                  <c:v>0.15022293561619399</c:v>
                </c:pt>
                <c:pt idx="8424">
                  <c:v>0.150240770465489</c:v>
                </c:pt>
                <c:pt idx="8425">
                  <c:v>0.15025860531478499</c:v>
                </c:pt>
                <c:pt idx="8426">
                  <c:v>0.15027644016408001</c:v>
                </c:pt>
                <c:pt idx="8427">
                  <c:v>0.150294275013376</c:v>
                </c:pt>
                <c:pt idx="8428">
                  <c:v>0.15031210986267099</c:v>
                </c:pt>
                <c:pt idx="8429">
                  <c:v>0.15032994471196701</c:v>
                </c:pt>
                <c:pt idx="8430">
                  <c:v>0.150347779561262</c:v>
                </c:pt>
                <c:pt idx="8431">
                  <c:v>0.15036561441055801</c:v>
                </c:pt>
                <c:pt idx="8432">
                  <c:v>0.150383449259853</c:v>
                </c:pt>
                <c:pt idx="8433">
                  <c:v>0.15040128410914899</c:v>
                </c:pt>
                <c:pt idx="8434">
                  <c:v>0.15041911895844401</c:v>
                </c:pt>
                <c:pt idx="8435">
                  <c:v>0.15043695380774</c:v>
                </c:pt>
                <c:pt idx="8436">
                  <c:v>0.15045478865703499</c:v>
                </c:pt>
                <c:pt idx="8437">
                  <c:v>0.150472623506331</c:v>
                </c:pt>
                <c:pt idx="8438">
                  <c:v>0.15049045835562599</c:v>
                </c:pt>
                <c:pt idx="8439">
                  <c:v>0.15050829320492201</c:v>
                </c:pt>
                <c:pt idx="8440">
                  <c:v>0.150526128054217</c:v>
                </c:pt>
                <c:pt idx="8441">
                  <c:v>0.15054396290351299</c:v>
                </c:pt>
                <c:pt idx="8442">
                  <c:v>0.15056179775280801</c:v>
                </c:pt>
                <c:pt idx="8443">
                  <c:v>0.150579632602104</c:v>
                </c:pt>
                <c:pt idx="8444">
                  <c:v>0.15059746745140001</c:v>
                </c:pt>
                <c:pt idx="8445">
                  <c:v>0.150615302300695</c:v>
                </c:pt>
                <c:pt idx="8446">
                  <c:v>0.15063313714999099</c:v>
                </c:pt>
                <c:pt idx="8447">
                  <c:v>0.15065097199928601</c:v>
                </c:pt>
                <c:pt idx="8448">
                  <c:v>0.150668806848582</c:v>
                </c:pt>
                <c:pt idx="8449">
                  <c:v>0.15068664169787699</c:v>
                </c:pt>
                <c:pt idx="8450">
                  <c:v>0.15070447654717301</c:v>
                </c:pt>
                <c:pt idx="8451">
                  <c:v>0.150722311396468</c:v>
                </c:pt>
                <c:pt idx="8452">
                  <c:v>0.15074014624576401</c:v>
                </c:pt>
                <c:pt idx="8453">
                  <c:v>0.150757981095059</c:v>
                </c:pt>
                <c:pt idx="8454">
                  <c:v>0.15077581594435499</c:v>
                </c:pt>
                <c:pt idx="8455">
                  <c:v>0.15079365079365001</c:v>
                </c:pt>
                <c:pt idx="8456">
                  <c:v>0.150811485642946</c:v>
                </c:pt>
                <c:pt idx="8457">
                  <c:v>0.15082932049224099</c:v>
                </c:pt>
                <c:pt idx="8458">
                  <c:v>0.150847155341537</c:v>
                </c:pt>
                <c:pt idx="8459">
                  <c:v>0.15086499019083199</c:v>
                </c:pt>
                <c:pt idx="8460">
                  <c:v>0.15088282504012801</c:v>
                </c:pt>
                <c:pt idx="8461">
                  <c:v>0.150900659889423</c:v>
                </c:pt>
                <c:pt idx="8462">
                  <c:v>0.15091849473871899</c:v>
                </c:pt>
                <c:pt idx="8463">
                  <c:v>0.15093632958801401</c:v>
                </c:pt>
                <c:pt idx="8464">
                  <c:v>0.15095416443731</c:v>
                </c:pt>
                <c:pt idx="8465">
                  <c:v>0.15097199928660601</c:v>
                </c:pt>
                <c:pt idx="8466">
                  <c:v>0.150989834135901</c:v>
                </c:pt>
                <c:pt idx="8467">
                  <c:v>0.15100766898519699</c:v>
                </c:pt>
                <c:pt idx="8468">
                  <c:v>0.15102550383449201</c:v>
                </c:pt>
                <c:pt idx="8469">
                  <c:v>0.151043338683788</c:v>
                </c:pt>
                <c:pt idx="8470">
                  <c:v>0.15106117353308299</c:v>
                </c:pt>
                <c:pt idx="8471">
                  <c:v>0.151079008382379</c:v>
                </c:pt>
                <c:pt idx="8472">
                  <c:v>0.15109684323167399</c:v>
                </c:pt>
                <c:pt idx="8473">
                  <c:v>0.15111467808097001</c:v>
                </c:pt>
                <c:pt idx="8474">
                  <c:v>0.151132512930265</c:v>
                </c:pt>
                <c:pt idx="8475">
                  <c:v>0.15115034777956099</c:v>
                </c:pt>
                <c:pt idx="8476">
                  <c:v>0.15116818262885601</c:v>
                </c:pt>
                <c:pt idx="8477">
                  <c:v>0.151186017478152</c:v>
                </c:pt>
                <c:pt idx="8478">
                  <c:v>0.15120385232744701</c:v>
                </c:pt>
                <c:pt idx="8479">
                  <c:v>0.151221687176743</c:v>
                </c:pt>
                <c:pt idx="8480">
                  <c:v>0.15123952202603799</c:v>
                </c:pt>
                <c:pt idx="8481">
                  <c:v>0.15125735687533401</c:v>
                </c:pt>
                <c:pt idx="8482">
                  <c:v>0.151275191724629</c:v>
                </c:pt>
                <c:pt idx="8483">
                  <c:v>0.15129302657392499</c:v>
                </c:pt>
                <c:pt idx="8484">
                  <c:v>0.15131086142322001</c:v>
                </c:pt>
                <c:pt idx="8485">
                  <c:v>0.15132869627251599</c:v>
                </c:pt>
                <c:pt idx="8486">
                  <c:v>0.15134653112181201</c:v>
                </c:pt>
                <c:pt idx="8487">
                  <c:v>0.151364365971107</c:v>
                </c:pt>
                <c:pt idx="8488">
                  <c:v>0.15138220082040299</c:v>
                </c:pt>
                <c:pt idx="8489">
                  <c:v>0.15140003566969801</c:v>
                </c:pt>
                <c:pt idx="8490">
                  <c:v>0.151417870518994</c:v>
                </c:pt>
                <c:pt idx="8491">
                  <c:v>0.15143570536828899</c:v>
                </c:pt>
                <c:pt idx="8492">
                  <c:v>0.151453540217585</c:v>
                </c:pt>
                <c:pt idx="8493">
                  <c:v>0.15147137506687999</c:v>
                </c:pt>
                <c:pt idx="8494">
                  <c:v>0.15148920991617601</c:v>
                </c:pt>
                <c:pt idx="8495">
                  <c:v>0.151507044765471</c:v>
                </c:pt>
                <c:pt idx="8496">
                  <c:v>0.15152487961476699</c:v>
                </c:pt>
                <c:pt idx="8497">
                  <c:v>0.15154271446406201</c:v>
                </c:pt>
                <c:pt idx="8498">
                  <c:v>0.151560549313358</c:v>
                </c:pt>
                <c:pt idx="8499">
                  <c:v>0.15157838416265301</c:v>
                </c:pt>
                <c:pt idx="8500">
                  <c:v>0.151596219011949</c:v>
                </c:pt>
                <c:pt idx="8501">
                  <c:v>0.15161405386124399</c:v>
                </c:pt>
                <c:pt idx="8502">
                  <c:v>0.15163188871054001</c:v>
                </c:pt>
                <c:pt idx="8503">
                  <c:v>0.151649723559835</c:v>
                </c:pt>
                <c:pt idx="8504">
                  <c:v>0.15166755840913099</c:v>
                </c:pt>
                <c:pt idx="8505">
                  <c:v>0.151685393258426</c:v>
                </c:pt>
                <c:pt idx="8506">
                  <c:v>0.15170322810772199</c:v>
                </c:pt>
                <c:pt idx="8507">
                  <c:v>0.15172106295701801</c:v>
                </c:pt>
                <c:pt idx="8508">
                  <c:v>0.151738897806313</c:v>
                </c:pt>
                <c:pt idx="8509">
                  <c:v>0.15175673265560899</c:v>
                </c:pt>
                <c:pt idx="8510">
                  <c:v>0.15177456750490401</c:v>
                </c:pt>
                <c:pt idx="8511">
                  <c:v>0.1517924023542</c:v>
                </c:pt>
                <c:pt idx="8512">
                  <c:v>0.15181023720349501</c:v>
                </c:pt>
                <c:pt idx="8513">
                  <c:v>0.151828072052791</c:v>
                </c:pt>
                <c:pt idx="8514">
                  <c:v>0.15184590690208599</c:v>
                </c:pt>
                <c:pt idx="8515">
                  <c:v>0.15186374175138201</c:v>
                </c:pt>
                <c:pt idx="8516">
                  <c:v>0.151881576600677</c:v>
                </c:pt>
                <c:pt idx="8517">
                  <c:v>0.15189941144997299</c:v>
                </c:pt>
                <c:pt idx="8518">
                  <c:v>0.15191724629926801</c:v>
                </c:pt>
                <c:pt idx="8519">
                  <c:v>0.15193508114856399</c:v>
                </c:pt>
                <c:pt idx="8520">
                  <c:v>0.15195291599785901</c:v>
                </c:pt>
                <c:pt idx="8521">
                  <c:v>0.151970750847155</c:v>
                </c:pt>
                <c:pt idx="8522">
                  <c:v>0.15198858569644999</c:v>
                </c:pt>
                <c:pt idx="8523">
                  <c:v>0.15200642054574601</c:v>
                </c:pt>
                <c:pt idx="8524">
                  <c:v>0.152024255395041</c:v>
                </c:pt>
                <c:pt idx="8525">
                  <c:v>0.15204209024433701</c:v>
                </c:pt>
                <c:pt idx="8526">
                  <c:v>0.152059925093632</c:v>
                </c:pt>
                <c:pt idx="8527">
                  <c:v>0.15207775994292799</c:v>
                </c:pt>
                <c:pt idx="8528">
                  <c:v>0.15209559479222401</c:v>
                </c:pt>
                <c:pt idx="8529">
                  <c:v>0.152113429641519</c:v>
                </c:pt>
                <c:pt idx="8530">
                  <c:v>0.15213126449081499</c:v>
                </c:pt>
                <c:pt idx="8531">
                  <c:v>0.15214909934011001</c:v>
                </c:pt>
                <c:pt idx="8532">
                  <c:v>0.15216693418940599</c:v>
                </c:pt>
                <c:pt idx="8533">
                  <c:v>0.15218476903870101</c:v>
                </c:pt>
                <c:pt idx="8534">
                  <c:v>0.152202603887997</c:v>
                </c:pt>
                <c:pt idx="8535">
                  <c:v>0.15222043873729199</c:v>
                </c:pt>
                <c:pt idx="8536">
                  <c:v>0.15223827358658801</c:v>
                </c:pt>
                <c:pt idx="8537">
                  <c:v>0.152256108435883</c:v>
                </c:pt>
                <c:pt idx="8538">
                  <c:v>0.15227394328517899</c:v>
                </c:pt>
                <c:pt idx="8539">
                  <c:v>0.152291778134474</c:v>
                </c:pt>
                <c:pt idx="8540">
                  <c:v>0.15230961298376999</c:v>
                </c:pt>
                <c:pt idx="8541">
                  <c:v>0.15232744783306501</c:v>
                </c:pt>
                <c:pt idx="8542">
                  <c:v>0.152345282682361</c:v>
                </c:pt>
                <c:pt idx="8543">
                  <c:v>0.15236311753165599</c:v>
                </c:pt>
                <c:pt idx="8544">
                  <c:v>0.15238095238095201</c:v>
                </c:pt>
                <c:pt idx="8545">
                  <c:v>0.152398787230247</c:v>
                </c:pt>
                <c:pt idx="8546">
                  <c:v>0.15241662207954301</c:v>
                </c:pt>
                <c:pt idx="8547">
                  <c:v>0.152434456928838</c:v>
                </c:pt>
                <c:pt idx="8548">
                  <c:v>0.15245229177813399</c:v>
                </c:pt>
                <c:pt idx="8549">
                  <c:v>0.15247012662743001</c:v>
                </c:pt>
                <c:pt idx="8550">
                  <c:v>0.152487961476725</c:v>
                </c:pt>
                <c:pt idx="8551">
                  <c:v>0.15250579632602099</c:v>
                </c:pt>
                <c:pt idx="8552">
                  <c:v>0.152523631175316</c:v>
                </c:pt>
                <c:pt idx="8553">
                  <c:v>0.15254146602461199</c:v>
                </c:pt>
                <c:pt idx="8554">
                  <c:v>0.15255930087390701</c:v>
                </c:pt>
                <c:pt idx="8555">
                  <c:v>0.152577135723203</c:v>
                </c:pt>
                <c:pt idx="8556">
                  <c:v>0.15259497057249799</c:v>
                </c:pt>
                <c:pt idx="8557">
                  <c:v>0.15261280542179401</c:v>
                </c:pt>
                <c:pt idx="8558">
                  <c:v>0.152630640271089</c:v>
                </c:pt>
                <c:pt idx="8559">
                  <c:v>0.15264847512038501</c:v>
                </c:pt>
                <c:pt idx="8560">
                  <c:v>0.15266630996968</c:v>
                </c:pt>
                <c:pt idx="8561">
                  <c:v>0.15268414481897599</c:v>
                </c:pt>
                <c:pt idx="8562">
                  <c:v>0.15270197966827101</c:v>
                </c:pt>
                <c:pt idx="8563">
                  <c:v>0.152719814517567</c:v>
                </c:pt>
                <c:pt idx="8564">
                  <c:v>0.15273764936686199</c:v>
                </c:pt>
                <c:pt idx="8565">
                  <c:v>0.15275548421615801</c:v>
                </c:pt>
                <c:pt idx="8566">
                  <c:v>0.15277331906545299</c:v>
                </c:pt>
                <c:pt idx="8567">
                  <c:v>0.15279115391474901</c:v>
                </c:pt>
                <c:pt idx="8568">
                  <c:v>0.152808988764044</c:v>
                </c:pt>
                <c:pt idx="8569">
                  <c:v>0.15282682361333999</c:v>
                </c:pt>
                <c:pt idx="8570">
                  <c:v>0.15284465846263501</c:v>
                </c:pt>
                <c:pt idx="8571">
                  <c:v>0.152862493311931</c:v>
                </c:pt>
                <c:pt idx="8572">
                  <c:v>0.15288032816122701</c:v>
                </c:pt>
                <c:pt idx="8573">
                  <c:v>0.152898163010522</c:v>
                </c:pt>
                <c:pt idx="8574">
                  <c:v>0.15291599785981799</c:v>
                </c:pt>
                <c:pt idx="8575">
                  <c:v>0.15293383270911301</c:v>
                </c:pt>
                <c:pt idx="8576">
                  <c:v>0.152951667558409</c:v>
                </c:pt>
                <c:pt idx="8577">
                  <c:v>0.15296950240770399</c:v>
                </c:pt>
                <c:pt idx="8578">
                  <c:v>0.15298733725700001</c:v>
                </c:pt>
                <c:pt idx="8579">
                  <c:v>0.153005172106295</c:v>
                </c:pt>
                <c:pt idx="8580">
                  <c:v>0.15302300695559101</c:v>
                </c:pt>
                <c:pt idx="8581">
                  <c:v>0.153040841804886</c:v>
                </c:pt>
                <c:pt idx="8582">
                  <c:v>0.15305867665418199</c:v>
                </c:pt>
                <c:pt idx="8583">
                  <c:v>0.15307651150347701</c:v>
                </c:pt>
                <c:pt idx="8584">
                  <c:v>0.153094346352773</c:v>
                </c:pt>
                <c:pt idx="8585">
                  <c:v>0.15311218120206799</c:v>
                </c:pt>
                <c:pt idx="8586">
                  <c:v>0.153130016051364</c:v>
                </c:pt>
                <c:pt idx="8587">
                  <c:v>0.15314785090065899</c:v>
                </c:pt>
                <c:pt idx="8588">
                  <c:v>0.15316568574995501</c:v>
                </c:pt>
                <c:pt idx="8589">
                  <c:v>0.15318352059925</c:v>
                </c:pt>
                <c:pt idx="8590">
                  <c:v>0.15320135544854599</c:v>
                </c:pt>
                <c:pt idx="8591">
                  <c:v>0.15321919029784101</c:v>
                </c:pt>
                <c:pt idx="8592">
                  <c:v>0.153237025147137</c:v>
                </c:pt>
                <c:pt idx="8593">
                  <c:v>0.15325485999643301</c:v>
                </c:pt>
                <c:pt idx="8594">
                  <c:v>0.153272694845728</c:v>
                </c:pt>
                <c:pt idx="8595">
                  <c:v>0.15329052969502399</c:v>
                </c:pt>
                <c:pt idx="8596">
                  <c:v>0.15330836454431901</c:v>
                </c:pt>
                <c:pt idx="8597">
                  <c:v>0.153326199393615</c:v>
                </c:pt>
                <c:pt idx="8598">
                  <c:v>0.15334403424290999</c:v>
                </c:pt>
                <c:pt idx="8599">
                  <c:v>0.153361869092206</c:v>
                </c:pt>
                <c:pt idx="8600">
                  <c:v>0.15337970394150099</c:v>
                </c:pt>
                <c:pt idx="8601">
                  <c:v>0.15339753879079701</c:v>
                </c:pt>
                <c:pt idx="8602">
                  <c:v>0.153415373640092</c:v>
                </c:pt>
                <c:pt idx="8603">
                  <c:v>0.15343320848938799</c:v>
                </c:pt>
                <c:pt idx="8604">
                  <c:v>0.15345104333868301</c:v>
                </c:pt>
                <c:pt idx="8605">
                  <c:v>0.153468878187979</c:v>
                </c:pt>
                <c:pt idx="8606">
                  <c:v>0.15348671303727399</c:v>
                </c:pt>
                <c:pt idx="8607">
                  <c:v>0.15350454788657</c:v>
                </c:pt>
                <c:pt idx="8608">
                  <c:v>0.15352238273586499</c:v>
                </c:pt>
                <c:pt idx="8609">
                  <c:v>0.15354021758516101</c:v>
                </c:pt>
                <c:pt idx="8610">
                  <c:v>0.153558052434456</c:v>
                </c:pt>
                <c:pt idx="8611">
                  <c:v>0.15357588728375199</c:v>
                </c:pt>
                <c:pt idx="8612">
                  <c:v>0.15359372213304701</c:v>
                </c:pt>
                <c:pt idx="8613">
                  <c:v>0.15361155698234299</c:v>
                </c:pt>
                <c:pt idx="8614">
                  <c:v>0.15362939183163901</c:v>
                </c:pt>
                <c:pt idx="8615">
                  <c:v>0.153647226680934</c:v>
                </c:pt>
                <c:pt idx="8616">
                  <c:v>0.15366506153022999</c:v>
                </c:pt>
                <c:pt idx="8617">
                  <c:v>0.15368289637952501</c:v>
                </c:pt>
                <c:pt idx="8618">
                  <c:v>0.153700731228821</c:v>
                </c:pt>
                <c:pt idx="8619">
                  <c:v>0.15371856607811599</c:v>
                </c:pt>
                <c:pt idx="8620">
                  <c:v>0.153736400927412</c:v>
                </c:pt>
                <c:pt idx="8621">
                  <c:v>0.15375423577670699</c:v>
                </c:pt>
                <c:pt idx="8622">
                  <c:v>0.15377207062600301</c:v>
                </c:pt>
                <c:pt idx="8623">
                  <c:v>0.153789905475298</c:v>
                </c:pt>
                <c:pt idx="8624">
                  <c:v>0.15380774032459399</c:v>
                </c:pt>
                <c:pt idx="8625">
                  <c:v>0.15382557517388901</c:v>
                </c:pt>
                <c:pt idx="8626">
                  <c:v>0.153843410023185</c:v>
                </c:pt>
                <c:pt idx="8627">
                  <c:v>0.15386124487248001</c:v>
                </c:pt>
                <c:pt idx="8628">
                  <c:v>0.153879079721776</c:v>
                </c:pt>
                <c:pt idx="8629">
                  <c:v>0.15389691457107099</c:v>
                </c:pt>
                <c:pt idx="8630">
                  <c:v>0.15391474942036701</c:v>
                </c:pt>
                <c:pt idx="8631">
                  <c:v>0.153932584269662</c:v>
                </c:pt>
                <c:pt idx="8632">
                  <c:v>0.15395041911895799</c:v>
                </c:pt>
                <c:pt idx="8633">
                  <c:v>0.153968253968253</c:v>
                </c:pt>
                <c:pt idx="8634">
                  <c:v>0.15398608881754899</c:v>
                </c:pt>
                <c:pt idx="8635">
                  <c:v>0.15400392366684501</c:v>
                </c:pt>
                <c:pt idx="8636">
                  <c:v>0.15402175851614</c:v>
                </c:pt>
                <c:pt idx="8637">
                  <c:v>0.15403959336543599</c:v>
                </c:pt>
                <c:pt idx="8638">
                  <c:v>0.15405742821473101</c:v>
                </c:pt>
                <c:pt idx="8639">
                  <c:v>0.154075263064027</c:v>
                </c:pt>
                <c:pt idx="8640">
                  <c:v>0.15409309791332201</c:v>
                </c:pt>
                <c:pt idx="8641">
                  <c:v>0.154110932762618</c:v>
                </c:pt>
                <c:pt idx="8642">
                  <c:v>0.15412876761191299</c:v>
                </c:pt>
                <c:pt idx="8643">
                  <c:v>0.15414660246120901</c:v>
                </c:pt>
                <c:pt idx="8644">
                  <c:v>0.154164437310504</c:v>
                </c:pt>
                <c:pt idx="8645">
                  <c:v>0.15418227215979999</c:v>
                </c:pt>
                <c:pt idx="8646">
                  <c:v>0.15420010700909501</c:v>
                </c:pt>
                <c:pt idx="8647">
                  <c:v>0.15421794185839099</c:v>
                </c:pt>
                <c:pt idx="8648">
                  <c:v>0.15423577670768601</c:v>
                </c:pt>
                <c:pt idx="8649">
                  <c:v>0.154253611556982</c:v>
                </c:pt>
                <c:pt idx="8650">
                  <c:v>0.15427144640627699</c:v>
                </c:pt>
                <c:pt idx="8651">
                  <c:v>0.15428928125557301</c:v>
                </c:pt>
                <c:pt idx="8652">
                  <c:v>0.154307116104868</c:v>
                </c:pt>
                <c:pt idx="8653">
                  <c:v>0.15432495095416399</c:v>
                </c:pt>
                <c:pt idx="8654">
                  <c:v>0.154342785803459</c:v>
                </c:pt>
                <c:pt idx="8655">
                  <c:v>0.15436062065275499</c:v>
                </c:pt>
                <c:pt idx="8656">
                  <c:v>0.15437845550205101</c:v>
                </c:pt>
                <c:pt idx="8657">
                  <c:v>0.154396290351346</c:v>
                </c:pt>
                <c:pt idx="8658">
                  <c:v>0.15441412520064199</c:v>
                </c:pt>
                <c:pt idx="8659">
                  <c:v>0.15443196004993701</c:v>
                </c:pt>
                <c:pt idx="8660">
                  <c:v>0.15444979489923299</c:v>
                </c:pt>
                <c:pt idx="8661">
                  <c:v>0.15446762974852801</c:v>
                </c:pt>
                <c:pt idx="8662">
                  <c:v>0.154485464597824</c:v>
                </c:pt>
                <c:pt idx="8663">
                  <c:v>0.15450329944711899</c:v>
                </c:pt>
                <c:pt idx="8664">
                  <c:v>0.15452113429641501</c:v>
                </c:pt>
                <c:pt idx="8665">
                  <c:v>0.15453896914571</c:v>
                </c:pt>
                <c:pt idx="8666">
                  <c:v>0.15455680399500599</c:v>
                </c:pt>
                <c:pt idx="8667">
                  <c:v>0.154574638844301</c:v>
                </c:pt>
                <c:pt idx="8668">
                  <c:v>0.15459247369359699</c:v>
                </c:pt>
                <c:pt idx="8669">
                  <c:v>0.15461030854289201</c:v>
                </c:pt>
                <c:pt idx="8670">
                  <c:v>0.154628143392188</c:v>
                </c:pt>
                <c:pt idx="8671">
                  <c:v>0.15464597824148299</c:v>
                </c:pt>
                <c:pt idx="8672">
                  <c:v>0.15466381309077901</c:v>
                </c:pt>
                <c:pt idx="8673">
                  <c:v>0.154681647940074</c:v>
                </c:pt>
                <c:pt idx="8674">
                  <c:v>0.15469948278937001</c:v>
                </c:pt>
                <c:pt idx="8675">
                  <c:v>0.154717317638665</c:v>
                </c:pt>
                <c:pt idx="8676">
                  <c:v>0.15473515248796099</c:v>
                </c:pt>
                <c:pt idx="8677">
                  <c:v>0.15475298733725701</c:v>
                </c:pt>
                <c:pt idx="8678">
                  <c:v>0.154770822186552</c:v>
                </c:pt>
                <c:pt idx="8679">
                  <c:v>0.15478865703584799</c:v>
                </c:pt>
                <c:pt idx="8680">
                  <c:v>0.154806491885143</c:v>
                </c:pt>
                <c:pt idx="8681">
                  <c:v>0.15482432673443899</c:v>
                </c:pt>
                <c:pt idx="8682">
                  <c:v>0.15484216158373401</c:v>
                </c:pt>
                <c:pt idx="8683">
                  <c:v>0.15485999643303</c:v>
                </c:pt>
                <c:pt idx="8684">
                  <c:v>0.15487783128232499</c:v>
                </c:pt>
                <c:pt idx="8685">
                  <c:v>0.15489566613162101</c:v>
                </c:pt>
                <c:pt idx="8686">
                  <c:v>0.154913500980916</c:v>
                </c:pt>
                <c:pt idx="8687">
                  <c:v>0.15493133583021201</c:v>
                </c:pt>
                <c:pt idx="8688">
                  <c:v>0.154949170679507</c:v>
                </c:pt>
                <c:pt idx="8689">
                  <c:v>0.15496700552880299</c:v>
                </c:pt>
                <c:pt idx="8690">
                  <c:v>0.15498484037809801</c:v>
                </c:pt>
                <c:pt idx="8691">
                  <c:v>0.155002675227394</c:v>
                </c:pt>
                <c:pt idx="8692">
                  <c:v>0.15502051007668899</c:v>
                </c:pt>
                <c:pt idx="8693">
                  <c:v>0.15503834492598501</c:v>
                </c:pt>
                <c:pt idx="8694">
                  <c:v>0.15505617977528</c:v>
                </c:pt>
                <c:pt idx="8695">
                  <c:v>0.15507401462457601</c:v>
                </c:pt>
                <c:pt idx="8696">
                  <c:v>0.155091849473871</c:v>
                </c:pt>
                <c:pt idx="8697">
                  <c:v>0.15510968432316699</c:v>
                </c:pt>
                <c:pt idx="8698">
                  <c:v>0.15512751917246201</c:v>
                </c:pt>
                <c:pt idx="8699">
                  <c:v>0.155145354021758</c:v>
                </c:pt>
                <c:pt idx="8700">
                  <c:v>0.15516318887105399</c:v>
                </c:pt>
                <c:pt idx="8701">
                  <c:v>0.155181023720349</c:v>
                </c:pt>
                <c:pt idx="8702">
                  <c:v>0.15519885856964499</c:v>
                </c:pt>
                <c:pt idx="8703">
                  <c:v>0.15521669341894001</c:v>
                </c:pt>
                <c:pt idx="8704">
                  <c:v>0.155234528268236</c:v>
                </c:pt>
                <c:pt idx="8705">
                  <c:v>0.15525236311753099</c:v>
                </c:pt>
                <c:pt idx="8706">
                  <c:v>0.15527019796682701</c:v>
                </c:pt>
                <c:pt idx="8707">
                  <c:v>0.155288032816122</c:v>
                </c:pt>
                <c:pt idx="8708">
                  <c:v>0.15530586766541801</c:v>
                </c:pt>
                <c:pt idx="8709">
                  <c:v>0.155323702514713</c:v>
                </c:pt>
                <c:pt idx="8710">
                  <c:v>0.15534153736400899</c:v>
                </c:pt>
                <c:pt idx="8711">
                  <c:v>0.15535937221330401</c:v>
                </c:pt>
                <c:pt idx="8712">
                  <c:v>0.1553772070626</c:v>
                </c:pt>
                <c:pt idx="8713">
                  <c:v>0.15539504191189499</c:v>
                </c:pt>
                <c:pt idx="8714">
                  <c:v>0.155412876761191</c:v>
                </c:pt>
                <c:pt idx="8715">
                  <c:v>0.15543071161048599</c:v>
                </c:pt>
                <c:pt idx="8716">
                  <c:v>0.15544854645978201</c:v>
                </c:pt>
                <c:pt idx="8717">
                  <c:v>0.155466381309077</c:v>
                </c:pt>
                <c:pt idx="8718">
                  <c:v>0.15548421615837299</c:v>
                </c:pt>
                <c:pt idx="8719">
                  <c:v>0.15550205100766801</c:v>
                </c:pt>
                <c:pt idx="8720">
                  <c:v>0.155519885856964</c:v>
                </c:pt>
                <c:pt idx="8721">
                  <c:v>0.15553772070626001</c:v>
                </c:pt>
                <c:pt idx="8722">
                  <c:v>0.155555555555555</c:v>
                </c:pt>
                <c:pt idx="8723">
                  <c:v>0.15557339040485099</c:v>
                </c:pt>
                <c:pt idx="8724">
                  <c:v>0.15559122525414601</c:v>
                </c:pt>
                <c:pt idx="8725">
                  <c:v>0.155609060103442</c:v>
                </c:pt>
                <c:pt idx="8726">
                  <c:v>0.15562689495273699</c:v>
                </c:pt>
                <c:pt idx="8727">
                  <c:v>0.15564472980203301</c:v>
                </c:pt>
                <c:pt idx="8728">
                  <c:v>0.15566256465132799</c:v>
                </c:pt>
                <c:pt idx="8729">
                  <c:v>0.15568039950062401</c:v>
                </c:pt>
                <c:pt idx="8730">
                  <c:v>0.155698234349919</c:v>
                </c:pt>
                <c:pt idx="8731">
                  <c:v>0.15571606919921499</c:v>
                </c:pt>
                <c:pt idx="8732">
                  <c:v>0.15573390404851001</c:v>
                </c:pt>
                <c:pt idx="8733">
                  <c:v>0.155751738897806</c:v>
                </c:pt>
                <c:pt idx="8734">
                  <c:v>0.15576957374710099</c:v>
                </c:pt>
                <c:pt idx="8735">
                  <c:v>0.155787408596397</c:v>
                </c:pt>
                <c:pt idx="8736">
                  <c:v>0.15580524344569199</c:v>
                </c:pt>
                <c:pt idx="8737">
                  <c:v>0.15582307829498801</c:v>
                </c:pt>
                <c:pt idx="8738">
                  <c:v>0.155840913144283</c:v>
                </c:pt>
                <c:pt idx="8739">
                  <c:v>0.15585874799357899</c:v>
                </c:pt>
                <c:pt idx="8740">
                  <c:v>0.15587658284287401</c:v>
                </c:pt>
                <c:pt idx="8741">
                  <c:v>0.15589441769217</c:v>
                </c:pt>
                <c:pt idx="8742">
                  <c:v>0.15591225254146601</c:v>
                </c:pt>
                <c:pt idx="8743">
                  <c:v>0.155930087390761</c:v>
                </c:pt>
                <c:pt idx="8744">
                  <c:v>0.15594792224005699</c:v>
                </c:pt>
                <c:pt idx="8745">
                  <c:v>0.15596575708935201</c:v>
                </c:pt>
                <c:pt idx="8746">
                  <c:v>0.155983591938648</c:v>
                </c:pt>
                <c:pt idx="8747">
                  <c:v>0.15600142678794299</c:v>
                </c:pt>
                <c:pt idx="8748">
                  <c:v>0.156019261637239</c:v>
                </c:pt>
                <c:pt idx="8749">
                  <c:v>0.15603709648653399</c:v>
                </c:pt>
                <c:pt idx="8750">
                  <c:v>0.15605493133583001</c:v>
                </c:pt>
                <c:pt idx="8751">
                  <c:v>0.156072766185125</c:v>
                </c:pt>
                <c:pt idx="8752">
                  <c:v>0.15609060103442099</c:v>
                </c:pt>
                <c:pt idx="8753">
                  <c:v>0.15610843588371601</c:v>
                </c:pt>
                <c:pt idx="8754">
                  <c:v>0.156126270733012</c:v>
                </c:pt>
                <c:pt idx="8755">
                  <c:v>0.15614410558230701</c:v>
                </c:pt>
                <c:pt idx="8756">
                  <c:v>0.156161940431603</c:v>
                </c:pt>
                <c:pt idx="8757">
                  <c:v>0.15617977528089799</c:v>
                </c:pt>
                <c:pt idx="8758">
                  <c:v>0.15619761013019401</c:v>
                </c:pt>
                <c:pt idx="8759">
                  <c:v>0.156215444979489</c:v>
                </c:pt>
                <c:pt idx="8760">
                  <c:v>0.15623327982878499</c:v>
                </c:pt>
                <c:pt idx="8761">
                  <c:v>0.15625111467808001</c:v>
                </c:pt>
                <c:pt idx="8762">
                  <c:v>0.15626894952737599</c:v>
                </c:pt>
                <c:pt idx="8763">
                  <c:v>0.15628678437667201</c:v>
                </c:pt>
                <c:pt idx="8764">
                  <c:v>0.156304619225967</c:v>
                </c:pt>
                <c:pt idx="8765">
                  <c:v>0.15632245407526299</c:v>
                </c:pt>
                <c:pt idx="8766">
                  <c:v>0.15634028892455801</c:v>
                </c:pt>
                <c:pt idx="8767">
                  <c:v>0.156358123773854</c:v>
                </c:pt>
                <c:pt idx="8768">
                  <c:v>0.15637595862314899</c:v>
                </c:pt>
                <c:pt idx="8769">
                  <c:v>0.156393793472445</c:v>
                </c:pt>
                <c:pt idx="8770">
                  <c:v>0.15641162832173999</c:v>
                </c:pt>
                <c:pt idx="8771">
                  <c:v>0.15642946317103601</c:v>
                </c:pt>
                <c:pt idx="8772">
                  <c:v>0.156447298020331</c:v>
                </c:pt>
                <c:pt idx="8773">
                  <c:v>0.15646513286962699</c:v>
                </c:pt>
                <c:pt idx="8774">
                  <c:v>0.15648296771892201</c:v>
                </c:pt>
                <c:pt idx="8775">
                  <c:v>0.15650080256821799</c:v>
                </c:pt>
                <c:pt idx="8776">
                  <c:v>0.15651863741751301</c:v>
                </c:pt>
                <c:pt idx="8777">
                  <c:v>0.156536472266809</c:v>
                </c:pt>
                <c:pt idx="8778">
                  <c:v>0.15655430711610399</c:v>
                </c:pt>
                <c:pt idx="8779">
                  <c:v>0.15657214196540001</c:v>
                </c:pt>
                <c:pt idx="8780">
                  <c:v>0.156589976814695</c:v>
                </c:pt>
                <c:pt idx="8781">
                  <c:v>0.15660781166399099</c:v>
                </c:pt>
                <c:pt idx="8782">
                  <c:v>0.156625646513286</c:v>
                </c:pt>
                <c:pt idx="8783">
                  <c:v>0.15664348136258199</c:v>
                </c:pt>
                <c:pt idx="8784">
                  <c:v>0.15666131621187801</c:v>
                </c:pt>
                <c:pt idx="8785">
                  <c:v>0.156679151061173</c:v>
                </c:pt>
                <c:pt idx="8786">
                  <c:v>0.15669698591046899</c:v>
                </c:pt>
                <c:pt idx="8787">
                  <c:v>0.15671482075976401</c:v>
                </c:pt>
                <c:pt idx="8788">
                  <c:v>0.15673265560906</c:v>
                </c:pt>
                <c:pt idx="8789">
                  <c:v>0.15675049045835501</c:v>
                </c:pt>
                <c:pt idx="8790">
                  <c:v>0.156768325307651</c:v>
                </c:pt>
                <c:pt idx="8791">
                  <c:v>0.15678616015694599</c:v>
                </c:pt>
                <c:pt idx="8792">
                  <c:v>0.15680399500624201</c:v>
                </c:pt>
                <c:pt idx="8793">
                  <c:v>0.156821829855537</c:v>
                </c:pt>
                <c:pt idx="8794">
                  <c:v>0.15683966470483299</c:v>
                </c:pt>
                <c:pt idx="8795">
                  <c:v>0.156857499554128</c:v>
                </c:pt>
                <c:pt idx="8796">
                  <c:v>0.15687533440342399</c:v>
                </c:pt>
                <c:pt idx="8797">
                  <c:v>0.15689316925271901</c:v>
                </c:pt>
                <c:pt idx="8798">
                  <c:v>0.156911004102015</c:v>
                </c:pt>
                <c:pt idx="8799">
                  <c:v>0.15692883895130999</c:v>
                </c:pt>
                <c:pt idx="8800">
                  <c:v>0.15694667380060601</c:v>
                </c:pt>
                <c:pt idx="8801">
                  <c:v>0.156964508649901</c:v>
                </c:pt>
                <c:pt idx="8802">
                  <c:v>0.15698234349919701</c:v>
                </c:pt>
                <c:pt idx="8803">
                  <c:v>0.157000178348492</c:v>
                </c:pt>
                <c:pt idx="8804">
                  <c:v>0.15701801319778799</c:v>
                </c:pt>
                <c:pt idx="8805">
                  <c:v>0.15703584804708401</c:v>
                </c:pt>
                <c:pt idx="8806">
                  <c:v>0.157053682896379</c:v>
                </c:pt>
                <c:pt idx="8807">
                  <c:v>0.15707151774567499</c:v>
                </c:pt>
                <c:pt idx="8808">
                  <c:v>0.15708935259497001</c:v>
                </c:pt>
                <c:pt idx="8809">
                  <c:v>0.15710718744426599</c:v>
                </c:pt>
                <c:pt idx="8810">
                  <c:v>0.15712502229356101</c:v>
                </c:pt>
                <c:pt idx="8811">
                  <c:v>0.157142857142857</c:v>
                </c:pt>
                <c:pt idx="8812">
                  <c:v>0.15716069199215199</c:v>
                </c:pt>
                <c:pt idx="8813">
                  <c:v>0.15717852684144801</c:v>
                </c:pt>
                <c:pt idx="8814">
                  <c:v>0.157196361690743</c:v>
                </c:pt>
                <c:pt idx="8815">
                  <c:v>0.15721419654003899</c:v>
                </c:pt>
                <c:pt idx="8816">
                  <c:v>0.157232031389334</c:v>
                </c:pt>
                <c:pt idx="8817">
                  <c:v>0.15724986623862999</c:v>
                </c:pt>
                <c:pt idx="8818">
                  <c:v>0.15726770108792501</c:v>
                </c:pt>
                <c:pt idx="8819">
                  <c:v>0.157285535937221</c:v>
                </c:pt>
                <c:pt idx="8820">
                  <c:v>0.15730337078651599</c:v>
                </c:pt>
                <c:pt idx="8821">
                  <c:v>0.15732120563581201</c:v>
                </c:pt>
                <c:pt idx="8822">
                  <c:v>0.157339040485107</c:v>
                </c:pt>
                <c:pt idx="8823">
                  <c:v>0.15735687533440301</c:v>
                </c:pt>
                <c:pt idx="8824">
                  <c:v>0.157374710183698</c:v>
                </c:pt>
                <c:pt idx="8825">
                  <c:v>0.15739254503299399</c:v>
                </c:pt>
                <c:pt idx="8826">
                  <c:v>0.15741037988229001</c:v>
                </c:pt>
                <c:pt idx="8827">
                  <c:v>0.157428214731585</c:v>
                </c:pt>
                <c:pt idx="8828">
                  <c:v>0.15744604958088099</c:v>
                </c:pt>
                <c:pt idx="8829">
                  <c:v>0.157463884430176</c:v>
                </c:pt>
                <c:pt idx="8830">
                  <c:v>0.15748171927947199</c:v>
                </c:pt>
                <c:pt idx="8831">
                  <c:v>0.15749955412876701</c:v>
                </c:pt>
                <c:pt idx="8832">
                  <c:v>0.157517388978063</c:v>
                </c:pt>
                <c:pt idx="8833">
                  <c:v>0.15753522382735799</c:v>
                </c:pt>
                <c:pt idx="8834">
                  <c:v>0.15755305867665401</c:v>
                </c:pt>
                <c:pt idx="8835">
                  <c:v>0.157570893525949</c:v>
                </c:pt>
                <c:pt idx="8836">
                  <c:v>0.15758872837524501</c:v>
                </c:pt>
                <c:pt idx="8837">
                  <c:v>0.15760656322454</c:v>
                </c:pt>
                <c:pt idx="8838">
                  <c:v>0.15762439807383599</c:v>
                </c:pt>
                <c:pt idx="8839">
                  <c:v>0.15764223292313101</c:v>
                </c:pt>
                <c:pt idx="8840">
                  <c:v>0.157660067772427</c:v>
                </c:pt>
                <c:pt idx="8841">
                  <c:v>0.15767790262172199</c:v>
                </c:pt>
                <c:pt idx="8842">
                  <c:v>0.157695737471018</c:v>
                </c:pt>
                <c:pt idx="8843">
                  <c:v>0.15771357232031299</c:v>
                </c:pt>
                <c:pt idx="8844">
                  <c:v>0.15773140716960901</c:v>
                </c:pt>
                <c:pt idx="8845">
                  <c:v>0.157749242018904</c:v>
                </c:pt>
                <c:pt idx="8846">
                  <c:v>0.15776707686819999</c:v>
                </c:pt>
                <c:pt idx="8847">
                  <c:v>0.15778491171749501</c:v>
                </c:pt>
                <c:pt idx="8848">
                  <c:v>0.157802746566791</c:v>
                </c:pt>
                <c:pt idx="8849">
                  <c:v>0.15782058141608701</c:v>
                </c:pt>
                <c:pt idx="8850">
                  <c:v>0.157838416265382</c:v>
                </c:pt>
                <c:pt idx="8851">
                  <c:v>0.15785625111467799</c:v>
                </c:pt>
                <c:pt idx="8852">
                  <c:v>0.15787408596397301</c:v>
                </c:pt>
                <c:pt idx="8853">
                  <c:v>0.157891920813269</c:v>
                </c:pt>
                <c:pt idx="8854">
                  <c:v>0.15790975566256399</c:v>
                </c:pt>
                <c:pt idx="8855">
                  <c:v>0.15792759051186001</c:v>
                </c:pt>
                <c:pt idx="8856">
                  <c:v>0.157945425361155</c:v>
                </c:pt>
                <c:pt idx="8857">
                  <c:v>0.15796326021045101</c:v>
                </c:pt>
                <c:pt idx="8858">
                  <c:v>0.157981095059746</c:v>
                </c:pt>
                <c:pt idx="8859">
                  <c:v>0.15799892990904199</c:v>
                </c:pt>
                <c:pt idx="8860">
                  <c:v>0.15801676475833701</c:v>
                </c:pt>
                <c:pt idx="8861">
                  <c:v>0.158034599607633</c:v>
                </c:pt>
                <c:pt idx="8862">
                  <c:v>0.15805243445692799</c:v>
                </c:pt>
                <c:pt idx="8863">
                  <c:v>0.158070269306224</c:v>
                </c:pt>
                <c:pt idx="8864">
                  <c:v>0.15808810415551899</c:v>
                </c:pt>
                <c:pt idx="8865">
                  <c:v>0.15810593900481501</c:v>
                </c:pt>
                <c:pt idx="8866">
                  <c:v>0.15812377385411</c:v>
                </c:pt>
                <c:pt idx="8867">
                  <c:v>0.15814160870340599</c:v>
                </c:pt>
                <c:pt idx="8868">
                  <c:v>0.15815944355270101</c:v>
                </c:pt>
                <c:pt idx="8869">
                  <c:v>0.158177278401997</c:v>
                </c:pt>
                <c:pt idx="8870">
                  <c:v>0.15819511325129301</c:v>
                </c:pt>
                <c:pt idx="8871">
                  <c:v>0.158212948100588</c:v>
                </c:pt>
                <c:pt idx="8872">
                  <c:v>0.15823078294988399</c:v>
                </c:pt>
                <c:pt idx="8873">
                  <c:v>0.15824861779917901</c:v>
                </c:pt>
                <c:pt idx="8874">
                  <c:v>0.158266452648475</c:v>
                </c:pt>
                <c:pt idx="8875">
                  <c:v>0.15828428749776999</c:v>
                </c:pt>
                <c:pt idx="8876">
                  <c:v>0.158302122347066</c:v>
                </c:pt>
                <c:pt idx="8877">
                  <c:v>0.15831995719636099</c:v>
                </c:pt>
                <c:pt idx="8878">
                  <c:v>0.15833779204565701</c:v>
                </c:pt>
                <c:pt idx="8879">
                  <c:v>0.158355626894952</c:v>
                </c:pt>
                <c:pt idx="8880">
                  <c:v>0.15837346174424799</c:v>
                </c:pt>
                <c:pt idx="8881">
                  <c:v>0.15839129659354301</c:v>
                </c:pt>
                <c:pt idx="8882">
                  <c:v>0.158409131442839</c:v>
                </c:pt>
                <c:pt idx="8883">
                  <c:v>0.15842696629213401</c:v>
                </c:pt>
                <c:pt idx="8884">
                  <c:v>0.15844480114143</c:v>
                </c:pt>
                <c:pt idx="8885">
                  <c:v>0.15846263599072499</c:v>
                </c:pt>
                <c:pt idx="8886">
                  <c:v>0.15848047084002101</c:v>
                </c:pt>
                <c:pt idx="8887">
                  <c:v>0.158498305689316</c:v>
                </c:pt>
                <c:pt idx="8888">
                  <c:v>0.15851614053861199</c:v>
                </c:pt>
                <c:pt idx="8889">
                  <c:v>0.15853397538790701</c:v>
                </c:pt>
                <c:pt idx="8890">
                  <c:v>0.15855181023720299</c:v>
                </c:pt>
                <c:pt idx="8891">
                  <c:v>0.15856964508649901</c:v>
                </c:pt>
                <c:pt idx="8892">
                  <c:v>0.158587479935794</c:v>
                </c:pt>
                <c:pt idx="8893">
                  <c:v>0.15860531478508999</c:v>
                </c:pt>
                <c:pt idx="8894">
                  <c:v>0.15862314963438501</c:v>
                </c:pt>
                <c:pt idx="8895">
                  <c:v>0.158640984483681</c:v>
                </c:pt>
                <c:pt idx="8896">
                  <c:v>0.15865881933297599</c:v>
                </c:pt>
                <c:pt idx="8897">
                  <c:v>0.158676654182272</c:v>
                </c:pt>
                <c:pt idx="8898">
                  <c:v>0.15869448903156699</c:v>
                </c:pt>
                <c:pt idx="8899">
                  <c:v>0.15871232388086301</c:v>
                </c:pt>
                <c:pt idx="8900">
                  <c:v>0.158730158730158</c:v>
                </c:pt>
                <c:pt idx="8901">
                  <c:v>0.15874799357945399</c:v>
                </c:pt>
                <c:pt idx="8902">
                  <c:v>0.15876582842874901</c:v>
                </c:pt>
                <c:pt idx="8903">
                  <c:v>0.158783663278045</c:v>
                </c:pt>
                <c:pt idx="8904">
                  <c:v>0.15880149812734001</c:v>
                </c:pt>
                <c:pt idx="8905">
                  <c:v>0.158819332976636</c:v>
                </c:pt>
                <c:pt idx="8906">
                  <c:v>0.15883716782593099</c:v>
                </c:pt>
                <c:pt idx="8907">
                  <c:v>0.15885500267522701</c:v>
                </c:pt>
                <c:pt idx="8908">
                  <c:v>0.158872837524522</c:v>
                </c:pt>
                <c:pt idx="8909">
                  <c:v>0.15889067237381799</c:v>
                </c:pt>
                <c:pt idx="8910">
                  <c:v>0.158908507223113</c:v>
                </c:pt>
                <c:pt idx="8911">
                  <c:v>0.15892634207240899</c:v>
                </c:pt>
                <c:pt idx="8912">
                  <c:v>0.15894417692170501</c:v>
                </c:pt>
                <c:pt idx="8913">
                  <c:v>0.158962011771</c:v>
                </c:pt>
                <c:pt idx="8914">
                  <c:v>0.15897984662029599</c:v>
                </c:pt>
                <c:pt idx="8915">
                  <c:v>0.15899768146959101</c:v>
                </c:pt>
                <c:pt idx="8916">
                  <c:v>0.159015516318887</c:v>
                </c:pt>
                <c:pt idx="8917">
                  <c:v>0.15903335116818201</c:v>
                </c:pt>
                <c:pt idx="8918">
                  <c:v>0.159051186017478</c:v>
                </c:pt>
                <c:pt idx="8919">
                  <c:v>0.15906902086677299</c:v>
                </c:pt>
                <c:pt idx="8920">
                  <c:v>0.15908685571606901</c:v>
                </c:pt>
                <c:pt idx="8921">
                  <c:v>0.159104690565364</c:v>
                </c:pt>
                <c:pt idx="8922">
                  <c:v>0.15912252541465999</c:v>
                </c:pt>
                <c:pt idx="8923">
                  <c:v>0.15914036026395501</c:v>
                </c:pt>
                <c:pt idx="8924">
                  <c:v>0.15915819511325099</c:v>
                </c:pt>
                <c:pt idx="8925">
                  <c:v>0.15917602996254601</c:v>
                </c:pt>
                <c:pt idx="8926">
                  <c:v>0.159193864811842</c:v>
                </c:pt>
                <c:pt idx="8927">
                  <c:v>0.15921169966113699</c:v>
                </c:pt>
                <c:pt idx="8928">
                  <c:v>0.15922953451043301</c:v>
                </c:pt>
                <c:pt idx="8929">
                  <c:v>0.159247369359728</c:v>
                </c:pt>
                <c:pt idx="8930">
                  <c:v>0.15926520420902401</c:v>
                </c:pt>
                <c:pt idx="8931">
                  <c:v>0.159283039058319</c:v>
                </c:pt>
                <c:pt idx="8932">
                  <c:v>0.15930087390761499</c:v>
                </c:pt>
                <c:pt idx="8933">
                  <c:v>0.15931870875691101</c:v>
                </c:pt>
                <c:pt idx="8934">
                  <c:v>0.159336543606206</c:v>
                </c:pt>
                <c:pt idx="8935">
                  <c:v>0.15935437845550199</c:v>
                </c:pt>
                <c:pt idx="8936">
                  <c:v>0.15937221330479701</c:v>
                </c:pt>
                <c:pt idx="8937">
                  <c:v>0.15939004815409299</c:v>
                </c:pt>
                <c:pt idx="8938">
                  <c:v>0.15940788300338801</c:v>
                </c:pt>
                <c:pt idx="8939">
                  <c:v>0.159425717852684</c:v>
                </c:pt>
                <c:pt idx="8940">
                  <c:v>0.15944355270197899</c:v>
                </c:pt>
                <c:pt idx="8941">
                  <c:v>0.15946138755127501</c:v>
                </c:pt>
                <c:pt idx="8942">
                  <c:v>0.15947922240057</c:v>
                </c:pt>
                <c:pt idx="8943">
                  <c:v>0.15949705724986599</c:v>
                </c:pt>
                <c:pt idx="8944">
                  <c:v>0.159514892099161</c:v>
                </c:pt>
                <c:pt idx="8945">
                  <c:v>0.15953272694845699</c:v>
                </c:pt>
                <c:pt idx="8946">
                  <c:v>0.15955056179775201</c:v>
                </c:pt>
                <c:pt idx="8947">
                  <c:v>0.159568396647048</c:v>
                </c:pt>
                <c:pt idx="8948">
                  <c:v>0.15958623149634299</c:v>
                </c:pt>
                <c:pt idx="8949">
                  <c:v>0.15960406634563901</c:v>
                </c:pt>
                <c:pt idx="8950">
                  <c:v>0.159621901194934</c:v>
                </c:pt>
                <c:pt idx="8951">
                  <c:v>0.15963973604423001</c:v>
                </c:pt>
                <c:pt idx="8952">
                  <c:v>0.159657570893525</c:v>
                </c:pt>
                <c:pt idx="8953">
                  <c:v>0.15967540574282099</c:v>
                </c:pt>
                <c:pt idx="8954">
                  <c:v>0.15969324059211701</c:v>
                </c:pt>
                <c:pt idx="8955">
                  <c:v>0.159711075441412</c:v>
                </c:pt>
                <c:pt idx="8956">
                  <c:v>0.15972891029070799</c:v>
                </c:pt>
                <c:pt idx="8957">
                  <c:v>0.159746745140003</c:v>
                </c:pt>
                <c:pt idx="8958">
                  <c:v>0.15976457998929899</c:v>
                </c:pt>
                <c:pt idx="8959">
                  <c:v>0.15978241483859401</c:v>
                </c:pt>
                <c:pt idx="8960">
                  <c:v>0.15980024968789</c:v>
                </c:pt>
                <c:pt idx="8961">
                  <c:v>0.15981808453718499</c:v>
                </c:pt>
                <c:pt idx="8962">
                  <c:v>0.15983591938648101</c:v>
                </c:pt>
                <c:pt idx="8963">
                  <c:v>0.159853754235776</c:v>
                </c:pt>
                <c:pt idx="8964">
                  <c:v>0.15987158908507201</c:v>
                </c:pt>
                <c:pt idx="8965">
                  <c:v>0.159889423934367</c:v>
                </c:pt>
                <c:pt idx="8966">
                  <c:v>0.15990725878366299</c:v>
                </c:pt>
                <c:pt idx="8967">
                  <c:v>0.15992509363295801</c:v>
                </c:pt>
                <c:pt idx="8968">
                  <c:v>0.159942928482254</c:v>
                </c:pt>
                <c:pt idx="8969">
                  <c:v>0.15996076333154899</c:v>
                </c:pt>
                <c:pt idx="8970">
                  <c:v>0.15997859818084501</c:v>
                </c:pt>
                <c:pt idx="8971">
                  <c:v>0.15999643303014</c:v>
                </c:pt>
                <c:pt idx="8972">
                  <c:v>0.16001426787943601</c:v>
                </c:pt>
                <c:pt idx="8973">
                  <c:v>0.160032102728731</c:v>
                </c:pt>
                <c:pt idx="8974">
                  <c:v>0.16004993757802699</c:v>
                </c:pt>
                <c:pt idx="8975">
                  <c:v>0.16006777242732201</c:v>
                </c:pt>
                <c:pt idx="8976">
                  <c:v>0.160085607276618</c:v>
                </c:pt>
                <c:pt idx="8977">
                  <c:v>0.16010344212591399</c:v>
                </c:pt>
                <c:pt idx="8978">
                  <c:v>0.160121276975209</c:v>
                </c:pt>
                <c:pt idx="8979">
                  <c:v>0.16013911182450499</c:v>
                </c:pt>
                <c:pt idx="8980">
                  <c:v>0.16015694667380001</c:v>
                </c:pt>
                <c:pt idx="8981">
                  <c:v>0.160174781523096</c:v>
                </c:pt>
                <c:pt idx="8982">
                  <c:v>0.16019261637239099</c:v>
                </c:pt>
                <c:pt idx="8983">
                  <c:v>0.16021045122168701</c:v>
                </c:pt>
                <c:pt idx="8984">
                  <c:v>0.160228286070982</c:v>
                </c:pt>
                <c:pt idx="8985">
                  <c:v>0.16024612092027801</c:v>
                </c:pt>
                <c:pt idx="8986">
                  <c:v>0.160263955769573</c:v>
                </c:pt>
                <c:pt idx="8987">
                  <c:v>0.16028179061886899</c:v>
                </c:pt>
                <c:pt idx="8988">
                  <c:v>0.16029962546816401</c:v>
                </c:pt>
                <c:pt idx="8989">
                  <c:v>0.16031746031746</c:v>
                </c:pt>
                <c:pt idx="8990">
                  <c:v>0.16033529516675499</c:v>
                </c:pt>
                <c:pt idx="8991">
                  <c:v>0.160353130016051</c:v>
                </c:pt>
                <c:pt idx="8992">
                  <c:v>0.16037096486534599</c:v>
                </c:pt>
                <c:pt idx="8993">
                  <c:v>0.16038879971464201</c:v>
                </c:pt>
                <c:pt idx="8994">
                  <c:v>0.160406634563937</c:v>
                </c:pt>
                <c:pt idx="8995">
                  <c:v>0.16042446941323299</c:v>
                </c:pt>
                <c:pt idx="8996">
                  <c:v>0.16044230426252801</c:v>
                </c:pt>
                <c:pt idx="8997">
                  <c:v>0.160460139111824</c:v>
                </c:pt>
                <c:pt idx="8998">
                  <c:v>0.16047797396112001</c:v>
                </c:pt>
                <c:pt idx="8999">
                  <c:v>0.160495808810415</c:v>
                </c:pt>
                <c:pt idx="9000">
                  <c:v>0.16051364365971099</c:v>
                </c:pt>
                <c:pt idx="9001">
                  <c:v>0.16053147850900601</c:v>
                </c:pt>
                <c:pt idx="9002">
                  <c:v>0.160549313358302</c:v>
                </c:pt>
                <c:pt idx="9003">
                  <c:v>0.16056714820759699</c:v>
                </c:pt>
                <c:pt idx="9004">
                  <c:v>0.160584983056893</c:v>
                </c:pt>
                <c:pt idx="9005">
                  <c:v>0.16060281790618799</c:v>
                </c:pt>
                <c:pt idx="9006">
                  <c:v>0.16062065275548401</c:v>
                </c:pt>
                <c:pt idx="9007">
                  <c:v>0.160638487604779</c:v>
                </c:pt>
                <c:pt idx="9008">
                  <c:v>0.16065632245407499</c:v>
                </c:pt>
                <c:pt idx="9009">
                  <c:v>0.16067415730337001</c:v>
                </c:pt>
                <c:pt idx="9010">
                  <c:v>0.160691992152666</c:v>
                </c:pt>
                <c:pt idx="9011">
                  <c:v>0.16070982700196099</c:v>
                </c:pt>
                <c:pt idx="9012">
                  <c:v>0.160727661851257</c:v>
                </c:pt>
                <c:pt idx="9013">
                  <c:v>0.16074549670055199</c:v>
                </c:pt>
                <c:pt idx="9014">
                  <c:v>0.16076333154984801</c:v>
                </c:pt>
                <c:pt idx="9015">
                  <c:v>0.160781166399143</c:v>
                </c:pt>
                <c:pt idx="9016">
                  <c:v>0.16079900124843899</c:v>
                </c:pt>
                <c:pt idx="9017">
                  <c:v>0.16081683609773401</c:v>
                </c:pt>
                <c:pt idx="9018">
                  <c:v>0.16083467094703</c:v>
                </c:pt>
                <c:pt idx="9019">
                  <c:v>0.16085250579632601</c:v>
                </c:pt>
                <c:pt idx="9020">
                  <c:v>0.160870340645621</c:v>
                </c:pt>
                <c:pt idx="9021">
                  <c:v>0.16088817549491699</c:v>
                </c:pt>
                <c:pt idx="9022">
                  <c:v>0.16090601034421201</c:v>
                </c:pt>
                <c:pt idx="9023">
                  <c:v>0.160923845193508</c:v>
                </c:pt>
                <c:pt idx="9024">
                  <c:v>0.16094168004280299</c:v>
                </c:pt>
                <c:pt idx="9025">
                  <c:v>0.160959514892099</c:v>
                </c:pt>
                <c:pt idx="9026">
                  <c:v>0.16097734974139399</c:v>
                </c:pt>
                <c:pt idx="9027">
                  <c:v>0.16099518459069001</c:v>
                </c:pt>
                <c:pt idx="9028">
                  <c:v>0.161013019439985</c:v>
                </c:pt>
                <c:pt idx="9029">
                  <c:v>0.16103085428928099</c:v>
                </c:pt>
                <c:pt idx="9030">
                  <c:v>0.16104868913857601</c:v>
                </c:pt>
                <c:pt idx="9031">
                  <c:v>0.161066523987872</c:v>
                </c:pt>
                <c:pt idx="9032">
                  <c:v>0.16108435883716701</c:v>
                </c:pt>
                <c:pt idx="9033">
                  <c:v>0.161102193686463</c:v>
                </c:pt>
                <c:pt idx="9034">
                  <c:v>0.16112002853575799</c:v>
                </c:pt>
                <c:pt idx="9035">
                  <c:v>0.16113786338505401</c:v>
                </c:pt>
                <c:pt idx="9036">
                  <c:v>0.161155698234349</c:v>
                </c:pt>
                <c:pt idx="9037">
                  <c:v>0.16117353308364499</c:v>
                </c:pt>
                <c:pt idx="9038">
                  <c:v>0.16119136793294001</c:v>
                </c:pt>
                <c:pt idx="9039">
                  <c:v>0.16120920278223599</c:v>
                </c:pt>
                <c:pt idx="9040">
                  <c:v>0.16122703763153201</c:v>
                </c:pt>
                <c:pt idx="9041">
                  <c:v>0.161244872480827</c:v>
                </c:pt>
                <c:pt idx="9042">
                  <c:v>0.16126270733012299</c:v>
                </c:pt>
                <c:pt idx="9043">
                  <c:v>0.16128054217941801</c:v>
                </c:pt>
                <c:pt idx="9044">
                  <c:v>0.161298377028714</c:v>
                </c:pt>
                <c:pt idx="9045">
                  <c:v>0.16131621187800901</c:v>
                </c:pt>
                <c:pt idx="9046">
                  <c:v>0.161334046727305</c:v>
                </c:pt>
                <c:pt idx="9047">
                  <c:v>0.16135188157659999</c:v>
                </c:pt>
                <c:pt idx="9048">
                  <c:v>0.16136971642589601</c:v>
                </c:pt>
                <c:pt idx="9049">
                  <c:v>0.161387551275191</c:v>
                </c:pt>
                <c:pt idx="9050">
                  <c:v>0.16140538612448699</c:v>
                </c:pt>
                <c:pt idx="9051">
                  <c:v>0.16142322097378201</c:v>
                </c:pt>
                <c:pt idx="9052">
                  <c:v>0.16144105582307799</c:v>
                </c:pt>
                <c:pt idx="9053">
                  <c:v>0.16145889067237301</c:v>
                </c:pt>
                <c:pt idx="9054">
                  <c:v>0.161476725521669</c:v>
                </c:pt>
                <c:pt idx="9055">
                  <c:v>0.16149456037096399</c:v>
                </c:pt>
                <c:pt idx="9056">
                  <c:v>0.16151239522026001</c:v>
                </c:pt>
                <c:pt idx="9057">
                  <c:v>0.161530230069555</c:v>
                </c:pt>
                <c:pt idx="9058">
                  <c:v>0.16154806491885099</c:v>
                </c:pt>
                <c:pt idx="9059">
                  <c:v>0.161565899768146</c:v>
                </c:pt>
                <c:pt idx="9060">
                  <c:v>0.16158373461744199</c:v>
                </c:pt>
                <c:pt idx="9061">
                  <c:v>0.16160156946673801</c:v>
                </c:pt>
                <c:pt idx="9062">
                  <c:v>0.161619404316033</c:v>
                </c:pt>
                <c:pt idx="9063">
                  <c:v>0.16163723916532899</c:v>
                </c:pt>
                <c:pt idx="9064">
                  <c:v>0.16165507401462401</c:v>
                </c:pt>
                <c:pt idx="9065">
                  <c:v>0.16167290886392</c:v>
                </c:pt>
                <c:pt idx="9066">
                  <c:v>0.16169074371321501</c:v>
                </c:pt>
                <c:pt idx="9067">
                  <c:v>0.161708578562511</c:v>
                </c:pt>
                <c:pt idx="9068">
                  <c:v>0.16172641341180599</c:v>
                </c:pt>
                <c:pt idx="9069">
                  <c:v>0.16174424826110201</c:v>
                </c:pt>
                <c:pt idx="9070">
                  <c:v>0.161762083110397</c:v>
                </c:pt>
                <c:pt idx="9071">
                  <c:v>0.16177991795969299</c:v>
                </c:pt>
                <c:pt idx="9072">
                  <c:v>0.161797752808988</c:v>
                </c:pt>
                <c:pt idx="9073">
                  <c:v>0.16181558765828399</c:v>
                </c:pt>
                <c:pt idx="9074">
                  <c:v>0.16183342250757901</c:v>
                </c:pt>
                <c:pt idx="9075">
                  <c:v>0.161851257356875</c:v>
                </c:pt>
                <c:pt idx="9076">
                  <c:v>0.16186909220616999</c:v>
                </c:pt>
                <c:pt idx="9077">
                  <c:v>0.16188692705546601</c:v>
                </c:pt>
                <c:pt idx="9078">
                  <c:v>0.161904761904761</c:v>
                </c:pt>
                <c:pt idx="9079">
                  <c:v>0.16192259675405701</c:v>
                </c:pt>
                <c:pt idx="9080">
                  <c:v>0.161940431603352</c:v>
                </c:pt>
                <c:pt idx="9081">
                  <c:v>0.16195826645264799</c:v>
                </c:pt>
                <c:pt idx="9082">
                  <c:v>0.16197610130194401</c:v>
                </c:pt>
                <c:pt idx="9083">
                  <c:v>0.161993936151239</c:v>
                </c:pt>
                <c:pt idx="9084">
                  <c:v>0.16201177100053499</c:v>
                </c:pt>
                <c:pt idx="9085">
                  <c:v>0.16202960584983001</c:v>
                </c:pt>
                <c:pt idx="9086">
                  <c:v>0.16204744069912599</c:v>
                </c:pt>
                <c:pt idx="9087">
                  <c:v>0.16206527554842101</c:v>
                </c:pt>
                <c:pt idx="9088">
                  <c:v>0.162083110397717</c:v>
                </c:pt>
                <c:pt idx="9089">
                  <c:v>0.16210094524701199</c:v>
                </c:pt>
                <c:pt idx="9090">
                  <c:v>0.16211878009630801</c:v>
                </c:pt>
                <c:pt idx="9091">
                  <c:v>0.162136614945603</c:v>
                </c:pt>
                <c:pt idx="9092">
                  <c:v>0.16215444979489901</c:v>
                </c:pt>
                <c:pt idx="9093">
                  <c:v>0.162172284644194</c:v>
                </c:pt>
                <c:pt idx="9094">
                  <c:v>0.16219011949348999</c:v>
                </c:pt>
                <c:pt idx="9095">
                  <c:v>0.16220795434278501</c:v>
                </c:pt>
                <c:pt idx="9096">
                  <c:v>0.162225789192081</c:v>
                </c:pt>
                <c:pt idx="9097">
                  <c:v>0.16224362404137599</c:v>
                </c:pt>
                <c:pt idx="9098">
                  <c:v>0.16226145889067201</c:v>
                </c:pt>
                <c:pt idx="9099">
                  <c:v>0.162279293739967</c:v>
                </c:pt>
                <c:pt idx="9100">
                  <c:v>0.16229712858926301</c:v>
                </c:pt>
                <c:pt idx="9101">
                  <c:v>0.162314963438558</c:v>
                </c:pt>
                <c:pt idx="9102">
                  <c:v>0.16233279828785399</c:v>
                </c:pt>
                <c:pt idx="9103">
                  <c:v>0.16235063313714901</c:v>
                </c:pt>
                <c:pt idx="9104">
                  <c:v>0.162368467986445</c:v>
                </c:pt>
                <c:pt idx="9105">
                  <c:v>0.16238630283574099</c:v>
                </c:pt>
                <c:pt idx="9106">
                  <c:v>0.162404137685036</c:v>
                </c:pt>
                <c:pt idx="9107">
                  <c:v>0.16242197253433199</c:v>
                </c:pt>
                <c:pt idx="9108">
                  <c:v>0.16243980738362701</c:v>
                </c:pt>
                <c:pt idx="9109">
                  <c:v>0.162457642232923</c:v>
                </c:pt>
                <c:pt idx="9110">
                  <c:v>0.16247547708221799</c:v>
                </c:pt>
                <c:pt idx="9111">
                  <c:v>0.16249331193151401</c:v>
                </c:pt>
                <c:pt idx="9112">
                  <c:v>0.162511146780809</c:v>
                </c:pt>
                <c:pt idx="9113">
                  <c:v>0.16252898163010501</c:v>
                </c:pt>
                <c:pt idx="9114">
                  <c:v>0.1625468164794</c:v>
                </c:pt>
                <c:pt idx="9115">
                  <c:v>0.16256465132869599</c:v>
                </c:pt>
                <c:pt idx="9116">
                  <c:v>0.16258248617799101</c:v>
                </c:pt>
                <c:pt idx="9117">
                  <c:v>0.162600321027287</c:v>
                </c:pt>
                <c:pt idx="9118">
                  <c:v>0.16261815587658199</c:v>
                </c:pt>
                <c:pt idx="9119">
                  <c:v>0.162635990725878</c:v>
                </c:pt>
                <c:pt idx="9120">
                  <c:v>0.16265382557517299</c:v>
                </c:pt>
                <c:pt idx="9121">
                  <c:v>0.16267166042446901</c:v>
                </c:pt>
                <c:pt idx="9122">
                  <c:v>0.162689495273764</c:v>
                </c:pt>
                <c:pt idx="9123">
                  <c:v>0.16270733012305999</c:v>
                </c:pt>
                <c:pt idx="9124">
                  <c:v>0.16272516497235501</c:v>
                </c:pt>
                <c:pt idx="9125">
                  <c:v>0.162742999821651</c:v>
                </c:pt>
                <c:pt idx="9126">
                  <c:v>0.16276083467094701</c:v>
                </c:pt>
                <c:pt idx="9127">
                  <c:v>0.162778669520242</c:v>
                </c:pt>
                <c:pt idx="9128">
                  <c:v>0.16279650436953799</c:v>
                </c:pt>
                <c:pt idx="9129">
                  <c:v>0.16281433921883301</c:v>
                </c:pt>
                <c:pt idx="9130">
                  <c:v>0.162832174068129</c:v>
                </c:pt>
                <c:pt idx="9131">
                  <c:v>0.16285000891742399</c:v>
                </c:pt>
                <c:pt idx="9132">
                  <c:v>0.16286784376672001</c:v>
                </c:pt>
                <c:pt idx="9133">
                  <c:v>0.16288567861601499</c:v>
                </c:pt>
                <c:pt idx="9134">
                  <c:v>0.16290351346531101</c:v>
                </c:pt>
                <c:pt idx="9135">
                  <c:v>0.162921348314606</c:v>
                </c:pt>
                <c:pt idx="9136">
                  <c:v>0.16293918316390199</c:v>
                </c:pt>
                <c:pt idx="9137">
                  <c:v>0.16295701801319701</c:v>
                </c:pt>
                <c:pt idx="9138">
                  <c:v>0.162974852862493</c:v>
                </c:pt>
                <c:pt idx="9139">
                  <c:v>0.16299268771178799</c:v>
                </c:pt>
                <c:pt idx="9140">
                  <c:v>0.163010522561084</c:v>
                </c:pt>
                <c:pt idx="9141">
                  <c:v>0.16302835741037899</c:v>
                </c:pt>
                <c:pt idx="9142">
                  <c:v>0.16304619225967501</c:v>
                </c:pt>
                <c:pt idx="9143">
                  <c:v>0.16306402710897</c:v>
                </c:pt>
                <c:pt idx="9144">
                  <c:v>0.16308186195826599</c:v>
                </c:pt>
                <c:pt idx="9145">
                  <c:v>0.16309969680756101</c:v>
                </c:pt>
                <c:pt idx="9146">
                  <c:v>0.163117531656857</c:v>
                </c:pt>
                <c:pt idx="9147">
                  <c:v>0.16313536650615301</c:v>
                </c:pt>
                <c:pt idx="9148">
                  <c:v>0.163153201355448</c:v>
                </c:pt>
                <c:pt idx="9149">
                  <c:v>0.16317103620474399</c:v>
                </c:pt>
                <c:pt idx="9150">
                  <c:v>0.16318887105403901</c:v>
                </c:pt>
                <c:pt idx="9151">
                  <c:v>0.163206705903335</c:v>
                </c:pt>
                <c:pt idx="9152">
                  <c:v>0.16322454075262999</c:v>
                </c:pt>
                <c:pt idx="9153">
                  <c:v>0.163242375601926</c:v>
                </c:pt>
                <c:pt idx="9154">
                  <c:v>0.16326021045122099</c:v>
                </c:pt>
                <c:pt idx="9155">
                  <c:v>0.16327804530051701</c:v>
                </c:pt>
                <c:pt idx="9156">
                  <c:v>0.163295880149812</c:v>
                </c:pt>
                <c:pt idx="9157">
                  <c:v>0.16331371499910799</c:v>
                </c:pt>
                <c:pt idx="9158">
                  <c:v>0.16333154984840301</c:v>
                </c:pt>
                <c:pt idx="9159">
                  <c:v>0.163349384697699</c:v>
                </c:pt>
                <c:pt idx="9160">
                  <c:v>0.16336721954699401</c:v>
                </c:pt>
                <c:pt idx="9161">
                  <c:v>0.16338505439629</c:v>
                </c:pt>
                <c:pt idx="9162">
                  <c:v>0.16340288924558499</c:v>
                </c:pt>
                <c:pt idx="9163">
                  <c:v>0.16342072409488101</c:v>
                </c:pt>
                <c:pt idx="9164">
                  <c:v>0.163438558944176</c:v>
                </c:pt>
                <c:pt idx="9165">
                  <c:v>0.16345639379347199</c:v>
                </c:pt>
                <c:pt idx="9166">
                  <c:v>0.16347422864276701</c:v>
                </c:pt>
                <c:pt idx="9167">
                  <c:v>0.16349206349206299</c:v>
                </c:pt>
                <c:pt idx="9168">
                  <c:v>0.16350989834135901</c:v>
                </c:pt>
                <c:pt idx="9169">
                  <c:v>0.163527733190654</c:v>
                </c:pt>
                <c:pt idx="9170">
                  <c:v>0.16354556803994999</c:v>
                </c:pt>
                <c:pt idx="9171">
                  <c:v>0.16356340288924501</c:v>
                </c:pt>
                <c:pt idx="9172">
                  <c:v>0.163581237738541</c:v>
                </c:pt>
                <c:pt idx="9173">
                  <c:v>0.16359907258783599</c:v>
                </c:pt>
                <c:pt idx="9174">
                  <c:v>0.163616907437132</c:v>
                </c:pt>
                <c:pt idx="9175">
                  <c:v>0.16363474228642699</c:v>
                </c:pt>
                <c:pt idx="9176">
                  <c:v>0.16365257713572301</c:v>
                </c:pt>
                <c:pt idx="9177">
                  <c:v>0.163670411985018</c:v>
                </c:pt>
                <c:pt idx="9178">
                  <c:v>0.16368824683431399</c:v>
                </c:pt>
                <c:pt idx="9179">
                  <c:v>0.16370608168360901</c:v>
                </c:pt>
                <c:pt idx="9180">
                  <c:v>0.163723916532905</c:v>
                </c:pt>
                <c:pt idx="9181">
                  <c:v>0.16374175138220001</c:v>
                </c:pt>
                <c:pt idx="9182">
                  <c:v>0.163759586231496</c:v>
                </c:pt>
                <c:pt idx="9183">
                  <c:v>0.16377742108079099</c:v>
                </c:pt>
                <c:pt idx="9184">
                  <c:v>0.16379525593008701</c:v>
                </c:pt>
                <c:pt idx="9185">
                  <c:v>0.163813090779382</c:v>
                </c:pt>
                <c:pt idx="9186">
                  <c:v>0.16383092562867799</c:v>
                </c:pt>
                <c:pt idx="9187">
                  <c:v>0.163848760477973</c:v>
                </c:pt>
                <c:pt idx="9188">
                  <c:v>0.16386659532726899</c:v>
                </c:pt>
                <c:pt idx="9189">
                  <c:v>0.16388443017656501</c:v>
                </c:pt>
                <c:pt idx="9190">
                  <c:v>0.16390226502586</c:v>
                </c:pt>
                <c:pt idx="9191">
                  <c:v>0.16392009987515599</c:v>
                </c:pt>
                <c:pt idx="9192">
                  <c:v>0.16393793472445101</c:v>
                </c:pt>
                <c:pt idx="9193">
                  <c:v>0.163955769573747</c:v>
                </c:pt>
                <c:pt idx="9194">
                  <c:v>0.16397360442304201</c:v>
                </c:pt>
                <c:pt idx="9195">
                  <c:v>0.163991439272338</c:v>
                </c:pt>
                <c:pt idx="9196">
                  <c:v>0.16400927412163299</c:v>
                </c:pt>
                <c:pt idx="9197">
                  <c:v>0.16402710897092901</c:v>
                </c:pt>
                <c:pt idx="9198">
                  <c:v>0.164044943820224</c:v>
                </c:pt>
                <c:pt idx="9199">
                  <c:v>0.16406277866951999</c:v>
                </c:pt>
                <c:pt idx="9200">
                  <c:v>0.16408061351881501</c:v>
                </c:pt>
                <c:pt idx="9201">
                  <c:v>0.16409844836811099</c:v>
                </c:pt>
                <c:pt idx="9202">
                  <c:v>0.16411628321740601</c:v>
                </c:pt>
                <c:pt idx="9203">
                  <c:v>0.164134118066702</c:v>
                </c:pt>
                <c:pt idx="9204">
                  <c:v>0.16415195291599699</c:v>
                </c:pt>
                <c:pt idx="9205">
                  <c:v>0.16416978776529301</c:v>
                </c:pt>
                <c:pt idx="9206">
                  <c:v>0.164187622614588</c:v>
                </c:pt>
                <c:pt idx="9207">
                  <c:v>0.16420545746388401</c:v>
                </c:pt>
                <c:pt idx="9208">
                  <c:v>0.164223292313179</c:v>
                </c:pt>
                <c:pt idx="9209">
                  <c:v>0.16424112716247499</c:v>
                </c:pt>
                <c:pt idx="9210">
                  <c:v>0.16425896201177101</c:v>
                </c:pt>
                <c:pt idx="9211">
                  <c:v>0.164276796861066</c:v>
                </c:pt>
                <c:pt idx="9212">
                  <c:v>0.16429463171036199</c:v>
                </c:pt>
                <c:pt idx="9213">
                  <c:v>0.16431246655965701</c:v>
                </c:pt>
                <c:pt idx="9214">
                  <c:v>0.16433030140895299</c:v>
                </c:pt>
                <c:pt idx="9215">
                  <c:v>0.16434813625824801</c:v>
                </c:pt>
                <c:pt idx="9216">
                  <c:v>0.164365971107544</c:v>
                </c:pt>
                <c:pt idx="9217">
                  <c:v>0.16438380595683899</c:v>
                </c:pt>
                <c:pt idx="9218">
                  <c:v>0.16440164080613501</c:v>
                </c:pt>
                <c:pt idx="9219">
                  <c:v>0.16441947565543</c:v>
                </c:pt>
                <c:pt idx="9220">
                  <c:v>0.16443731050472599</c:v>
                </c:pt>
                <c:pt idx="9221">
                  <c:v>0.164455145354021</c:v>
                </c:pt>
                <c:pt idx="9222">
                  <c:v>0.16447298020331699</c:v>
                </c:pt>
                <c:pt idx="9223">
                  <c:v>0.16449081505261201</c:v>
                </c:pt>
                <c:pt idx="9224">
                  <c:v>0.164508649901908</c:v>
                </c:pt>
                <c:pt idx="9225">
                  <c:v>0.16452648475120299</c:v>
                </c:pt>
                <c:pt idx="9226">
                  <c:v>0.16454431960049901</c:v>
                </c:pt>
                <c:pt idx="9227">
                  <c:v>0.164562154449794</c:v>
                </c:pt>
                <c:pt idx="9228">
                  <c:v>0.16457998929909001</c:v>
                </c:pt>
                <c:pt idx="9229">
                  <c:v>0.164597824148385</c:v>
                </c:pt>
                <c:pt idx="9230">
                  <c:v>0.16461565899768099</c:v>
                </c:pt>
                <c:pt idx="9231">
                  <c:v>0.16463349384697601</c:v>
                </c:pt>
                <c:pt idx="9232">
                  <c:v>0.164651328696272</c:v>
                </c:pt>
                <c:pt idx="9233">
                  <c:v>0.16466916354556799</c:v>
                </c:pt>
                <c:pt idx="9234">
                  <c:v>0.164686998394863</c:v>
                </c:pt>
                <c:pt idx="9235">
                  <c:v>0.16470483324415899</c:v>
                </c:pt>
                <c:pt idx="9236">
                  <c:v>0.16472266809345401</c:v>
                </c:pt>
                <c:pt idx="9237">
                  <c:v>0.16474050294275</c:v>
                </c:pt>
                <c:pt idx="9238">
                  <c:v>0.16475833779204499</c:v>
                </c:pt>
                <c:pt idx="9239">
                  <c:v>0.16477617264134101</c:v>
                </c:pt>
                <c:pt idx="9240">
                  <c:v>0.164794007490636</c:v>
                </c:pt>
                <c:pt idx="9241">
                  <c:v>0.16481184233993201</c:v>
                </c:pt>
                <c:pt idx="9242">
                  <c:v>0.164829677189227</c:v>
                </c:pt>
                <c:pt idx="9243">
                  <c:v>0.16484751203852299</c:v>
                </c:pt>
                <c:pt idx="9244">
                  <c:v>0.16486534688781801</c:v>
                </c:pt>
                <c:pt idx="9245">
                  <c:v>0.164883181737114</c:v>
                </c:pt>
                <c:pt idx="9246">
                  <c:v>0.16490101658640899</c:v>
                </c:pt>
                <c:pt idx="9247">
                  <c:v>0.16491885143570501</c:v>
                </c:pt>
                <c:pt idx="9248">
                  <c:v>0.16493668628499999</c:v>
                </c:pt>
                <c:pt idx="9249">
                  <c:v>0.16495452113429601</c:v>
                </c:pt>
                <c:pt idx="9250">
                  <c:v>0.164972355983591</c:v>
                </c:pt>
                <c:pt idx="9251">
                  <c:v>0.16499019083288699</c:v>
                </c:pt>
                <c:pt idx="9252">
                  <c:v>0.16500802568218201</c:v>
                </c:pt>
                <c:pt idx="9253">
                  <c:v>0.165025860531478</c:v>
                </c:pt>
                <c:pt idx="9254">
                  <c:v>0.16504369538077401</c:v>
                </c:pt>
                <c:pt idx="9255">
                  <c:v>0.165061530230069</c:v>
                </c:pt>
                <c:pt idx="9256">
                  <c:v>0.16507936507936499</c:v>
                </c:pt>
                <c:pt idx="9257">
                  <c:v>0.16509719992866001</c:v>
                </c:pt>
                <c:pt idx="9258">
                  <c:v>0.165115034777956</c:v>
                </c:pt>
                <c:pt idx="9259">
                  <c:v>0.16513286962725099</c:v>
                </c:pt>
                <c:pt idx="9260">
                  <c:v>0.16515070447654701</c:v>
                </c:pt>
                <c:pt idx="9261">
                  <c:v>0.165168539325842</c:v>
                </c:pt>
                <c:pt idx="9262">
                  <c:v>0.16518637417513801</c:v>
                </c:pt>
                <c:pt idx="9263">
                  <c:v>0.165204209024433</c:v>
                </c:pt>
                <c:pt idx="9264">
                  <c:v>0.16522204387372899</c:v>
                </c:pt>
                <c:pt idx="9265">
                  <c:v>0.16523987872302401</c:v>
                </c:pt>
                <c:pt idx="9266">
                  <c:v>0.16525771357232</c:v>
                </c:pt>
                <c:pt idx="9267">
                  <c:v>0.16527554842161499</c:v>
                </c:pt>
                <c:pt idx="9268">
                  <c:v>0.165293383270911</c:v>
                </c:pt>
                <c:pt idx="9269">
                  <c:v>0.16531121812020599</c:v>
                </c:pt>
                <c:pt idx="9270">
                  <c:v>0.16532905296950201</c:v>
                </c:pt>
                <c:pt idx="9271">
                  <c:v>0.165346887818797</c:v>
                </c:pt>
                <c:pt idx="9272">
                  <c:v>0.16536472266809299</c:v>
                </c:pt>
                <c:pt idx="9273">
                  <c:v>0.16538255751738801</c:v>
                </c:pt>
                <c:pt idx="9274">
                  <c:v>0.165400392366684</c:v>
                </c:pt>
                <c:pt idx="9275">
                  <c:v>0.16541822721598001</c:v>
                </c:pt>
                <c:pt idx="9276">
                  <c:v>0.165436062065275</c:v>
                </c:pt>
                <c:pt idx="9277">
                  <c:v>0.16545389691457099</c:v>
                </c:pt>
                <c:pt idx="9278">
                  <c:v>0.16547173176386601</c:v>
                </c:pt>
                <c:pt idx="9279">
                  <c:v>0.165489566613162</c:v>
                </c:pt>
                <c:pt idx="9280">
                  <c:v>0.16550740146245699</c:v>
                </c:pt>
                <c:pt idx="9281">
                  <c:v>0.165525236311753</c:v>
                </c:pt>
                <c:pt idx="9282">
                  <c:v>0.16554307116104799</c:v>
                </c:pt>
                <c:pt idx="9283">
                  <c:v>0.16556090601034401</c:v>
                </c:pt>
                <c:pt idx="9284">
                  <c:v>0.165578740859639</c:v>
                </c:pt>
                <c:pt idx="9285">
                  <c:v>0.16559657570893499</c:v>
                </c:pt>
                <c:pt idx="9286">
                  <c:v>0.16561441055823001</c:v>
                </c:pt>
                <c:pt idx="9287">
                  <c:v>0.165632245407526</c:v>
                </c:pt>
                <c:pt idx="9288">
                  <c:v>0.16565008025682099</c:v>
                </c:pt>
                <c:pt idx="9289">
                  <c:v>0.165667915106117</c:v>
                </c:pt>
                <c:pt idx="9290">
                  <c:v>0.16568574995541199</c:v>
                </c:pt>
                <c:pt idx="9291">
                  <c:v>0.16570358480470801</c:v>
                </c:pt>
                <c:pt idx="9292">
                  <c:v>0.165721419654003</c:v>
                </c:pt>
                <c:pt idx="9293">
                  <c:v>0.16573925450329899</c:v>
                </c:pt>
                <c:pt idx="9294">
                  <c:v>0.16575708935259401</c:v>
                </c:pt>
                <c:pt idx="9295">
                  <c:v>0.16577492420188999</c:v>
                </c:pt>
                <c:pt idx="9296">
                  <c:v>0.16579275905118601</c:v>
                </c:pt>
                <c:pt idx="9297">
                  <c:v>0.165810593900481</c:v>
                </c:pt>
                <c:pt idx="9298">
                  <c:v>0.16582842874977699</c:v>
                </c:pt>
                <c:pt idx="9299">
                  <c:v>0.16584626359907201</c:v>
                </c:pt>
                <c:pt idx="9300">
                  <c:v>0.165864098448368</c:v>
                </c:pt>
                <c:pt idx="9301">
                  <c:v>0.16588193329766299</c:v>
                </c:pt>
                <c:pt idx="9302">
                  <c:v>0.165899768146959</c:v>
                </c:pt>
                <c:pt idx="9303">
                  <c:v>0.16591760299625399</c:v>
                </c:pt>
                <c:pt idx="9304">
                  <c:v>0.16593543784555001</c:v>
                </c:pt>
                <c:pt idx="9305">
                  <c:v>0.165953272694845</c:v>
                </c:pt>
                <c:pt idx="9306">
                  <c:v>0.16597110754414099</c:v>
                </c:pt>
                <c:pt idx="9307">
                  <c:v>0.16598894239343601</c:v>
                </c:pt>
                <c:pt idx="9308">
                  <c:v>0.166006777242732</c:v>
                </c:pt>
                <c:pt idx="9309">
                  <c:v>0.16602461209202701</c:v>
                </c:pt>
                <c:pt idx="9310">
                  <c:v>0.166042446941323</c:v>
                </c:pt>
                <c:pt idx="9311">
                  <c:v>0.16606028179061799</c:v>
                </c:pt>
                <c:pt idx="9312">
                  <c:v>0.16607811663991401</c:v>
                </c:pt>
                <c:pt idx="9313">
                  <c:v>0.166095951489209</c:v>
                </c:pt>
                <c:pt idx="9314">
                  <c:v>0.16611378633850499</c:v>
                </c:pt>
                <c:pt idx="9315">
                  <c:v>0.1661316211878</c:v>
                </c:pt>
                <c:pt idx="9316">
                  <c:v>0.16614945603709599</c:v>
                </c:pt>
                <c:pt idx="9317">
                  <c:v>0.16616729088639201</c:v>
                </c:pt>
                <c:pt idx="9318">
                  <c:v>0.166185125735687</c:v>
                </c:pt>
                <c:pt idx="9319">
                  <c:v>0.16620296058498299</c:v>
                </c:pt>
                <c:pt idx="9320">
                  <c:v>0.16622079543427801</c:v>
                </c:pt>
                <c:pt idx="9321">
                  <c:v>0.166238630283574</c:v>
                </c:pt>
                <c:pt idx="9322">
                  <c:v>0.16625646513286901</c:v>
                </c:pt>
                <c:pt idx="9323">
                  <c:v>0.166274299982165</c:v>
                </c:pt>
                <c:pt idx="9324">
                  <c:v>0.16629213483145999</c:v>
                </c:pt>
                <c:pt idx="9325">
                  <c:v>0.16630996968075601</c:v>
                </c:pt>
                <c:pt idx="9326">
                  <c:v>0.166327804530051</c:v>
                </c:pt>
                <c:pt idx="9327">
                  <c:v>0.16634563937934699</c:v>
                </c:pt>
                <c:pt idx="9328">
                  <c:v>0.16636347422864201</c:v>
                </c:pt>
                <c:pt idx="9329">
                  <c:v>0.16638130907793799</c:v>
                </c:pt>
                <c:pt idx="9330">
                  <c:v>0.16639914392723301</c:v>
                </c:pt>
                <c:pt idx="9331">
                  <c:v>0.166416978776529</c:v>
                </c:pt>
                <c:pt idx="9332">
                  <c:v>0.16643481362582399</c:v>
                </c:pt>
                <c:pt idx="9333">
                  <c:v>0.16645264847512001</c:v>
                </c:pt>
                <c:pt idx="9334">
                  <c:v>0.166470483324415</c:v>
                </c:pt>
                <c:pt idx="9335">
                  <c:v>0.16648831817371099</c:v>
                </c:pt>
                <c:pt idx="9336">
                  <c:v>0.166506153023006</c:v>
                </c:pt>
                <c:pt idx="9337">
                  <c:v>0.16652398787230199</c:v>
                </c:pt>
                <c:pt idx="9338">
                  <c:v>0.16654182272159801</c:v>
                </c:pt>
                <c:pt idx="9339">
                  <c:v>0.166559657570893</c:v>
                </c:pt>
                <c:pt idx="9340">
                  <c:v>0.16657749242018899</c:v>
                </c:pt>
                <c:pt idx="9341">
                  <c:v>0.16659532726948401</c:v>
                </c:pt>
                <c:pt idx="9342">
                  <c:v>0.16661316211877999</c:v>
                </c:pt>
                <c:pt idx="9343">
                  <c:v>0.16663099696807501</c:v>
                </c:pt>
                <c:pt idx="9344">
                  <c:v>0.166648831817371</c:v>
                </c:pt>
                <c:pt idx="9345">
                  <c:v>0.16666666666666599</c:v>
                </c:pt>
                <c:pt idx="9346">
                  <c:v>0.16668450151596201</c:v>
                </c:pt>
                <c:pt idx="9347">
                  <c:v>0.166702336365257</c:v>
                </c:pt>
                <c:pt idx="9348">
                  <c:v>0.16672017121455299</c:v>
                </c:pt>
                <c:pt idx="9349">
                  <c:v>0.166738006063848</c:v>
                </c:pt>
                <c:pt idx="9350">
                  <c:v>0.16675584091314399</c:v>
                </c:pt>
                <c:pt idx="9351">
                  <c:v>0.16677367576243901</c:v>
                </c:pt>
                <c:pt idx="9352">
                  <c:v>0.166791510611735</c:v>
                </c:pt>
                <c:pt idx="9353">
                  <c:v>0.16680934546102999</c:v>
                </c:pt>
                <c:pt idx="9354">
                  <c:v>0.16682718031032601</c:v>
                </c:pt>
                <c:pt idx="9355">
                  <c:v>0.166845015159621</c:v>
                </c:pt>
                <c:pt idx="9356">
                  <c:v>0.16686285000891701</c:v>
                </c:pt>
                <c:pt idx="9357">
                  <c:v>0.166880684858212</c:v>
                </c:pt>
                <c:pt idx="9358">
                  <c:v>0.16689851970750799</c:v>
                </c:pt>
                <c:pt idx="9359">
                  <c:v>0.16691635455680401</c:v>
                </c:pt>
                <c:pt idx="9360">
                  <c:v>0.166934189406099</c:v>
                </c:pt>
                <c:pt idx="9361">
                  <c:v>0.16695202425539499</c:v>
                </c:pt>
                <c:pt idx="9362">
                  <c:v>0.16696985910469</c:v>
                </c:pt>
                <c:pt idx="9363">
                  <c:v>0.16698769395398599</c:v>
                </c:pt>
                <c:pt idx="9364">
                  <c:v>0.16700552880328101</c:v>
                </c:pt>
                <c:pt idx="9365">
                  <c:v>0.167023363652577</c:v>
                </c:pt>
                <c:pt idx="9366">
                  <c:v>0.16704119850187199</c:v>
                </c:pt>
                <c:pt idx="9367">
                  <c:v>0.16705903335116801</c:v>
                </c:pt>
                <c:pt idx="9368">
                  <c:v>0.167076868200463</c:v>
                </c:pt>
                <c:pt idx="9369">
                  <c:v>0.16709470304975901</c:v>
                </c:pt>
                <c:pt idx="9370">
                  <c:v>0.167112537899054</c:v>
                </c:pt>
                <c:pt idx="9371">
                  <c:v>0.16713037274834999</c:v>
                </c:pt>
                <c:pt idx="9372">
                  <c:v>0.16714820759764501</c:v>
                </c:pt>
                <c:pt idx="9373">
                  <c:v>0.167166042446941</c:v>
                </c:pt>
                <c:pt idx="9374">
                  <c:v>0.16718387729623599</c:v>
                </c:pt>
                <c:pt idx="9375">
                  <c:v>0.16720171214553201</c:v>
                </c:pt>
                <c:pt idx="9376">
                  <c:v>0.167219546994827</c:v>
                </c:pt>
                <c:pt idx="9377">
                  <c:v>0.16723738184412301</c:v>
                </c:pt>
                <c:pt idx="9378">
                  <c:v>0.167255216693418</c:v>
                </c:pt>
                <c:pt idx="9379">
                  <c:v>0.16727305154271399</c:v>
                </c:pt>
                <c:pt idx="9380">
                  <c:v>0.16729088639200901</c:v>
                </c:pt>
                <c:pt idx="9381">
                  <c:v>0.167308721241305</c:v>
                </c:pt>
                <c:pt idx="9382">
                  <c:v>0.16732655609060099</c:v>
                </c:pt>
                <c:pt idx="9383">
                  <c:v>0.167344390939896</c:v>
                </c:pt>
                <c:pt idx="9384">
                  <c:v>0.16736222578919199</c:v>
                </c:pt>
                <c:pt idx="9385">
                  <c:v>0.16738006063848701</c:v>
                </c:pt>
                <c:pt idx="9386">
                  <c:v>0.167397895487783</c:v>
                </c:pt>
                <c:pt idx="9387">
                  <c:v>0.16741573033707799</c:v>
                </c:pt>
                <c:pt idx="9388">
                  <c:v>0.16743356518637401</c:v>
                </c:pt>
                <c:pt idx="9389">
                  <c:v>0.167451400035669</c:v>
                </c:pt>
                <c:pt idx="9390">
                  <c:v>0.16746923488496501</c:v>
                </c:pt>
                <c:pt idx="9391">
                  <c:v>0.16748706973426</c:v>
                </c:pt>
                <c:pt idx="9392">
                  <c:v>0.16750490458355599</c:v>
                </c:pt>
                <c:pt idx="9393">
                  <c:v>0.16752273943285101</c:v>
                </c:pt>
                <c:pt idx="9394">
                  <c:v>0.167540574282147</c:v>
                </c:pt>
                <c:pt idx="9395">
                  <c:v>0.16755840913144199</c:v>
                </c:pt>
                <c:pt idx="9396">
                  <c:v>0.167576243980738</c:v>
                </c:pt>
                <c:pt idx="9397">
                  <c:v>0.16759407883003299</c:v>
                </c:pt>
                <c:pt idx="9398">
                  <c:v>0.16761191367932901</c:v>
                </c:pt>
                <c:pt idx="9399">
                  <c:v>0.167629748528624</c:v>
                </c:pt>
                <c:pt idx="9400">
                  <c:v>0.16764758337791999</c:v>
                </c:pt>
                <c:pt idx="9401">
                  <c:v>0.16766541822721501</c:v>
                </c:pt>
                <c:pt idx="9402">
                  <c:v>0.167683253076511</c:v>
                </c:pt>
                <c:pt idx="9403">
                  <c:v>0.16770108792580701</c:v>
                </c:pt>
                <c:pt idx="9404">
                  <c:v>0.167718922775102</c:v>
                </c:pt>
                <c:pt idx="9405">
                  <c:v>0.16773675762439799</c:v>
                </c:pt>
                <c:pt idx="9406">
                  <c:v>0.16775459247369301</c:v>
                </c:pt>
                <c:pt idx="9407">
                  <c:v>0.167772427322989</c:v>
                </c:pt>
                <c:pt idx="9408">
                  <c:v>0.16779026217228399</c:v>
                </c:pt>
                <c:pt idx="9409">
                  <c:v>0.16780809702158</c:v>
                </c:pt>
                <c:pt idx="9410">
                  <c:v>0.16782593187087499</c:v>
                </c:pt>
                <c:pt idx="9411">
                  <c:v>0.16784376672017101</c:v>
                </c:pt>
                <c:pt idx="9412">
                  <c:v>0.167861601569466</c:v>
                </c:pt>
                <c:pt idx="9413">
                  <c:v>0.16787943641876199</c:v>
                </c:pt>
                <c:pt idx="9414">
                  <c:v>0.16789727126805701</c:v>
                </c:pt>
                <c:pt idx="9415">
                  <c:v>0.167915106117353</c:v>
                </c:pt>
                <c:pt idx="9416">
                  <c:v>0.16793294096664799</c:v>
                </c:pt>
                <c:pt idx="9417">
                  <c:v>0.167950775815944</c:v>
                </c:pt>
                <c:pt idx="9418">
                  <c:v>0.16796861066523899</c:v>
                </c:pt>
                <c:pt idx="9419">
                  <c:v>0.16798644551453501</c:v>
                </c:pt>
                <c:pt idx="9420">
                  <c:v>0.16800428036383</c:v>
                </c:pt>
                <c:pt idx="9421">
                  <c:v>0.16802211521312599</c:v>
                </c:pt>
                <c:pt idx="9422">
                  <c:v>0.16803995006242101</c:v>
                </c:pt>
                <c:pt idx="9423">
                  <c:v>0.168057784911717</c:v>
                </c:pt>
                <c:pt idx="9424">
                  <c:v>0.16807561976101301</c:v>
                </c:pt>
                <c:pt idx="9425">
                  <c:v>0.168093454610308</c:v>
                </c:pt>
                <c:pt idx="9426">
                  <c:v>0.16811128945960399</c:v>
                </c:pt>
                <c:pt idx="9427">
                  <c:v>0.16812912430889901</c:v>
                </c:pt>
                <c:pt idx="9428">
                  <c:v>0.168146959158195</c:v>
                </c:pt>
                <c:pt idx="9429">
                  <c:v>0.16816479400748999</c:v>
                </c:pt>
                <c:pt idx="9430">
                  <c:v>0.168182628856786</c:v>
                </c:pt>
                <c:pt idx="9431">
                  <c:v>0.16820046370608099</c:v>
                </c:pt>
                <c:pt idx="9432">
                  <c:v>0.16821829855537701</c:v>
                </c:pt>
                <c:pt idx="9433">
                  <c:v>0.168236133404672</c:v>
                </c:pt>
                <c:pt idx="9434">
                  <c:v>0.16825396825396799</c:v>
                </c:pt>
                <c:pt idx="9435">
                  <c:v>0.16827180310326301</c:v>
                </c:pt>
                <c:pt idx="9436">
                  <c:v>0.168289637952559</c:v>
                </c:pt>
                <c:pt idx="9437">
                  <c:v>0.16830747280185401</c:v>
                </c:pt>
                <c:pt idx="9438">
                  <c:v>0.16832530765115</c:v>
                </c:pt>
                <c:pt idx="9439">
                  <c:v>0.16834314250044499</c:v>
                </c:pt>
                <c:pt idx="9440">
                  <c:v>0.16836097734974101</c:v>
                </c:pt>
                <c:pt idx="9441">
                  <c:v>0.168378812199036</c:v>
                </c:pt>
                <c:pt idx="9442">
                  <c:v>0.16839664704833199</c:v>
                </c:pt>
                <c:pt idx="9443">
                  <c:v>0.16841448189762701</c:v>
                </c:pt>
                <c:pt idx="9444">
                  <c:v>0.16843231674692299</c:v>
                </c:pt>
                <c:pt idx="9445">
                  <c:v>0.16845015159621901</c:v>
                </c:pt>
                <c:pt idx="9446">
                  <c:v>0.168467986445514</c:v>
                </c:pt>
                <c:pt idx="9447">
                  <c:v>0.16848582129480999</c:v>
                </c:pt>
                <c:pt idx="9448">
                  <c:v>0.16850365614410501</c:v>
                </c:pt>
                <c:pt idx="9449">
                  <c:v>0.168521490993401</c:v>
                </c:pt>
                <c:pt idx="9450">
                  <c:v>0.16853932584269599</c:v>
                </c:pt>
                <c:pt idx="9451">
                  <c:v>0.168557160691992</c:v>
                </c:pt>
                <c:pt idx="9452">
                  <c:v>0.16857499554128699</c:v>
                </c:pt>
                <c:pt idx="9453">
                  <c:v>0.16859283039058301</c:v>
                </c:pt>
                <c:pt idx="9454">
                  <c:v>0.168610665239878</c:v>
                </c:pt>
                <c:pt idx="9455">
                  <c:v>0.16862850008917399</c:v>
                </c:pt>
                <c:pt idx="9456">
                  <c:v>0.16864633493846901</c:v>
                </c:pt>
                <c:pt idx="9457">
                  <c:v>0.16866416978776499</c:v>
                </c:pt>
                <c:pt idx="9458">
                  <c:v>0.16868200463706001</c:v>
                </c:pt>
                <c:pt idx="9459">
                  <c:v>0.168699839486356</c:v>
                </c:pt>
                <c:pt idx="9460">
                  <c:v>0.16871767433565099</c:v>
                </c:pt>
                <c:pt idx="9461">
                  <c:v>0.16873550918494701</c:v>
                </c:pt>
                <c:pt idx="9462">
                  <c:v>0.168753344034242</c:v>
                </c:pt>
                <c:pt idx="9463">
                  <c:v>0.16877117888353799</c:v>
                </c:pt>
                <c:pt idx="9464">
                  <c:v>0.168789013732833</c:v>
                </c:pt>
                <c:pt idx="9465">
                  <c:v>0.16880684858212899</c:v>
                </c:pt>
                <c:pt idx="9466">
                  <c:v>0.16882468343142501</c:v>
                </c:pt>
                <c:pt idx="9467">
                  <c:v>0.16884251828072</c:v>
                </c:pt>
                <c:pt idx="9468">
                  <c:v>0.16886035313001599</c:v>
                </c:pt>
                <c:pt idx="9469">
                  <c:v>0.16887818797931101</c:v>
                </c:pt>
                <c:pt idx="9470">
                  <c:v>0.168896022828607</c:v>
                </c:pt>
                <c:pt idx="9471">
                  <c:v>0.16891385767790201</c:v>
                </c:pt>
                <c:pt idx="9472">
                  <c:v>0.168931692527198</c:v>
                </c:pt>
                <c:pt idx="9473">
                  <c:v>0.16894952737649299</c:v>
                </c:pt>
                <c:pt idx="9474">
                  <c:v>0.16896736222578901</c:v>
                </c:pt>
                <c:pt idx="9475">
                  <c:v>0.168985197075084</c:v>
                </c:pt>
                <c:pt idx="9476">
                  <c:v>0.16900303192437999</c:v>
                </c:pt>
                <c:pt idx="9477">
                  <c:v>0.169020866773675</c:v>
                </c:pt>
                <c:pt idx="9478">
                  <c:v>0.16903870162297099</c:v>
                </c:pt>
                <c:pt idx="9479">
                  <c:v>0.16905653647226601</c:v>
                </c:pt>
                <c:pt idx="9480">
                  <c:v>0.169074371321562</c:v>
                </c:pt>
                <c:pt idx="9481">
                  <c:v>0.16909220617085699</c:v>
                </c:pt>
                <c:pt idx="9482">
                  <c:v>0.16911004102015301</c:v>
                </c:pt>
                <c:pt idx="9483">
                  <c:v>0.169127875869448</c:v>
                </c:pt>
                <c:pt idx="9484">
                  <c:v>0.16914571071874401</c:v>
                </c:pt>
                <c:pt idx="9485">
                  <c:v>0.169163545568039</c:v>
                </c:pt>
                <c:pt idx="9486">
                  <c:v>0.16918138041733499</c:v>
                </c:pt>
                <c:pt idx="9487">
                  <c:v>0.16919921526663101</c:v>
                </c:pt>
                <c:pt idx="9488">
                  <c:v>0.169217050115926</c:v>
                </c:pt>
                <c:pt idx="9489">
                  <c:v>0.16923488496522199</c:v>
                </c:pt>
                <c:pt idx="9490">
                  <c:v>0.16925271981451701</c:v>
                </c:pt>
                <c:pt idx="9491">
                  <c:v>0.16927055466381299</c:v>
                </c:pt>
                <c:pt idx="9492">
                  <c:v>0.16928838951310801</c:v>
                </c:pt>
                <c:pt idx="9493">
                  <c:v>0.169306224362404</c:v>
                </c:pt>
                <c:pt idx="9494">
                  <c:v>0.16932405921169899</c:v>
                </c:pt>
                <c:pt idx="9495">
                  <c:v>0.16934189406099501</c:v>
                </c:pt>
                <c:pt idx="9496">
                  <c:v>0.16935972891029</c:v>
                </c:pt>
                <c:pt idx="9497">
                  <c:v>0.16937756375958599</c:v>
                </c:pt>
                <c:pt idx="9498">
                  <c:v>0.169395398608881</c:v>
                </c:pt>
                <c:pt idx="9499">
                  <c:v>0.16941323345817699</c:v>
                </c:pt>
                <c:pt idx="9500">
                  <c:v>0.16943106830747201</c:v>
                </c:pt>
                <c:pt idx="9501">
                  <c:v>0.169448903156768</c:v>
                </c:pt>
                <c:pt idx="9502">
                  <c:v>0.16946673800606299</c:v>
                </c:pt>
                <c:pt idx="9503">
                  <c:v>0.16948457285535901</c:v>
                </c:pt>
                <c:pt idx="9504">
                  <c:v>0.169502407704654</c:v>
                </c:pt>
                <c:pt idx="9505">
                  <c:v>0.16952024255395001</c:v>
                </c:pt>
                <c:pt idx="9506">
                  <c:v>0.169538077403245</c:v>
                </c:pt>
                <c:pt idx="9507">
                  <c:v>0.16955591225254099</c:v>
                </c:pt>
                <c:pt idx="9508">
                  <c:v>0.16957374710183601</c:v>
                </c:pt>
                <c:pt idx="9509">
                  <c:v>0.169591581951132</c:v>
                </c:pt>
                <c:pt idx="9510">
                  <c:v>0.16960941680042799</c:v>
                </c:pt>
                <c:pt idx="9511">
                  <c:v>0.169627251649723</c:v>
                </c:pt>
                <c:pt idx="9512">
                  <c:v>0.16964508649901899</c:v>
                </c:pt>
                <c:pt idx="9513">
                  <c:v>0.16966292134831401</c:v>
                </c:pt>
                <c:pt idx="9514">
                  <c:v>0.16968075619761</c:v>
                </c:pt>
                <c:pt idx="9515">
                  <c:v>0.16969859104690499</c:v>
                </c:pt>
                <c:pt idx="9516">
                  <c:v>0.16971642589620101</c:v>
                </c:pt>
                <c:pt idx="9517">
                  <c:v>0.169734260745496</c:v>
                </c:pt>
                <c:pt idx="9518">
                  <c:v>0.16975209559479201</c:v>
                </c:pt>
                <c:pt idx="9519">
                  <c:v>0.169769930444087</c:v>
                </c:pt>
                <c:pt idx="9520">
                  <c:v>0.16978776529338299</c:v>
                </c:pt>
                <c:pt idx="9521">
                  <c:v>0.16980560014267801</c:v>
                </c:pt>
                <c:pt idx="9522">
                  <c:v>0.169823434991974</c:v>
                </c:pt>
                <c:pt idx="9523">
                  <c:v>0.16984126984126899</c:v>
                </c:pt>
                <c:pt idx="9524">
                  <c:v>0.169859104690565</c:v>
                </c:pt>
                <c:pt idx="9525">
                  <c:v>0.16987693953985999</c:v>
                </c:pt>
                <c:pt idx="9526">
                  <c:v>0.16989477438915601</c:v>
                </c:pt>
                <c:pt idx="9527">
                  <c:v>0.169912609238451</c:v>
                </c:pt>
                <c:pt idx="9528">
                  <c:v>0.16993044408774699</c:v>
                </c:pt>
                <c:pt idx="9529">
                  <c:v>0.16994827893704201</c:v>
                </c:pt>
                <c:pt idx="9530">
                  <c:v>0.169966113786338</c:v>
                </c:pt>
                <c:pt idx="9531">
                  <c:v>0.16998394863563401</c:v>
                </c:pt>
                <c:pt idx="9532">
                  <c:v>0.170001783484929</c:v>
                </c:pt>
                <c:pt idx="9533">
                  <c:v>0.17001961833422499</c:v>
                </c:pt>
                <c:pt idx="9534">
                  <c:v>0.17003745318352001</c:v>
                </c:pt>
                <c:pt idx="9535">
                  <c:v>0.170055288032816</c:v>
                </c:pt>
                <c:pt idx="9536">
                  <c:v>0.17007312288211099</c:v>
                </c:pt>
                <c:pt idx="9537">
                  <c:v>0.17009095773140701</c:v>
                </c:pt>
                <c:pt idx="9538">
                  <c:v>0.170108792580702</c:v>
                </c:pt>
                <c:pt idx="9539">
                  <c:v>0.17012662742999801</c:v>
                </c:pt>
                <c:pt idx="9540">
                  <c:v>0.170144462279293</c:v>
                </c:pt>
                <c:pt idx="9541">
                  <c:v>0.17016229712858899</c:v>
                </c:pt>
                <c:pt idx="9542">
                  <c:v>0.17018013197788401</c:v>
                </c:pt>
                <c:pt idx="9543">
                  <c:v>0.17019796682718</c:v>
                </c:pt>
                <c:pt idx="9544">
                  <c:v>0.17021580167647499</c:v>
                </c:pt>
                <c:pt idx="9545">
                  <c:v>0.170233636525771</c:v>
                </c:pt>
                <c:pt idx="9546">
                  <c:v>0.17025147137506599</c:v>
                </c:pt>
                <c:pt idx="9547">
                  <c:v>0.17026930622436201</c:v>
                </c:pt>
                <c:pt idx="9548">
                  <c:v>0.170287141073657</c:v>
                </c:pt>
                <c:pt idx="9549">
                  <c:v>0.17030497592295299</c:v>
                </c:pt>
                <c:pt idx="9550">
                  <c:v>0.17032281077224801</c:v>
                </c:pt>
                <c:pt idx="9551">
                  <c:v>0.170340645621544</c:v>
                </c:pt>
                <c:pt idx="9552">
                  <c:v>0.17035848047084001</c:v>
                </c:pt>
                <c:pt idx="9553">
                  <c:v>0.170376315320135</c:v>
                </c:pt>
                <c:pt idx="9554">
                  <c:v>0.17039415016943099</c:v>
                </c:pt>
                <c:pt idx="9555">
                  <c:v>0.17041198501872601</c:v>
                </c:pt>
                <c:pt idx="9556">
                  <c:v>0.170429819868022</c:v>
                </c:pt>
                <c:pt idx="9557">
                  <c:v>0.17044765471731699</c:v>
                </c:pt>
                <c:pt idx="9558">
                  <c:v>0.170465489566613</c:v>
                </c:pt>
                <c:pt idx="9559">
                  <c:v>0.17048332441590799</c:v>
                </c:pt>
                <c:pt idx="9560">
                  <c:v>0.17050115926520401</c:v>
                </c:pt>
                <c:pt idx="9561">
                  <c:v>0.170518994114499</c:v>
                </c:pt>
                <c:pt idx="9562">
                  <c:v>0.17053682896379499</c:v>
                </c:pt>
                <c:pt idx="9563">
                  <c:v>0.17055466381309001</c:v>
                </c:pt>
                <c:pt idx="9564">
                  <c:v>0.170572498662386</c:v>
                </c:pt>
                <c:pt idx="9565">
                  <c:v>0.17059033351168101</c:v>
                </c:pt>
                <c:pt idx="9566">
                  <c:v>0.170608168360977</c:v>
                </c:pt>
                <c:pt idx="9567">
                  <c:v>0.17062600321027199</c:v>
                </c:pt>
                <c:pt idx="9568">
                  <c:v>0.17064383805956801</c:v>
                </c:pt>
                <c:pt idx="9569">
                  <c:v>0.170661672908863</c:v>
                </c:pt>
                <c:pt idx="9570">
                  <c:v>0.17067950775815899</c:v>
                </c:pt>
                <c:pt idx="9571">
                  <c:v>0.17069734260745401</c:v>
                </c:pt>
                <c:pt idx="9572">
                  <c:v>0.17071517745674999</c:v>
                </c:pt>
                <c:pt idx="9573">
                  <c:v>0.17073301230604601</c:v>
                </c:pt>
                <c:pt idx="9574">
                  <c:v>0.170750847155341</c:v>
                </c:pt>
                <c:pt idx="9575">
                  <c:v>0.17076868200463699</c:v>
                </c:pt>
                <c:pt idx="9576">
                  <c:v>0.17078651685393201</c:v>
                </c:pt>
                <c:pt idx="9577">
                  <c:v>0.170804351703228</c:v>
                </c:pt>
                <c:pt idx="9578">
                  <c:v>0.17082218655252299</c:v>
                </c:pt>
                <c:pt idx="9579">
                  <c:v>0.170840021401819</c:v>
                </c:pt>
                <c:pt idx="9580">
                  <c:v>0.17085785625111399</c:v>
                </c:pt>
                <c:pt idx="9581">
                  <c:v>0.17087569110041001</c:v>
                </c:pt>
                <c:pt idx="9582">
                  <c:v>0.170893525949705</c:v>
                </c:pt>
                <c:pt idx="9583">
                  <c:v>0.17091136079900099</c:v>
                </c:pt>
                <c:pt idx="9584">
                  <c:v>0.17092919564829601</c:v>
                </c:pt>
                <c:pt idx="9585">
                  <c:v>0.170947030497592</c:v>
                </c:pt>
                <c:pt idx="9586">
                  <c:v>0.17096486534688701</c:v>
                </c:pt>
                <c:pt idx="9587">
                  <c:v>0.170982700196183</c:v>
                </c:pt>
                <c:pt idx="9588">
                  <c:v>0.17100053504547799</c:v>
                </c:pt>
                <c:pt idx="9589">
                  <c:v>0.17101836989477401</c:v>
                </c:pt>
                <c:pt idx="9590">
                  <c:v>0.171036204744069</c:v>
                </c:pt>
                <c:pt idx="9591">
                  <c:v>0.17105403959336499</c:v>
                </c:pt>
                <c:pt idx="9592">
                  <c:v>0.17107187444266</c:v>
                </c:pt>
                <c:pt idx="9593">
                  <c:v>0.17108970929195599</c:v>
                </c:pt>
                <c:pt idx="9594">
                  <c:v>0.17110754414125201</c:v>
                </c:pt>
                <c:pt idx="9595">
                  <c:v>0.171125378990547</c:v>
                </c:pt>
                <c:pt idx="9596">
                  <c:v>0.17114321383984299</c:v>
                </c:pt>
                <c:pt idx="9597">
                  <c:v>0.17116104868913801</c:v>
                </c:pt>
                <c:pt idx="9598">
                  <c:v>0.171178883538434</c:v>
                </c:pt>
                <c:pt idx="9599">
                  <c:v>0.17119671838772901</c:v>
                </c:pt>
                <c:pt idx="9600">
                  <c:v>0.171214553237025</c:v>
                </c:pt>
                <c:pt idx="9601">
                  <c:v>0.17123238808631999</c:v>
                </c:pt>
                <c:pt idx="9602">
                  <c:v>0.17125022293561601</c:v>
                </c:pt>
                <c:pt idx="9603">
                  <c:v>0.171268057784911</c:v>
                </c:pt>
                <c:pt idx="9604">
                  <c:v>0.17128589263420699</c:v>
                </c:pt>
                <c:pt idx="9605">
                  <c:v>0.17130372748350201</c:v>
                </c:pt>
                <c:pt idx="9606">
                  <c:v>0.17132156233279799</c:v>
                </c:pt>
                <c:pt idx="9607">
                  <c:v>0.17133939718209301</c:v>
                </c:pt>
                <c:pt idx="9608">
                  <c:v>0.171357232031389</c:v>
                </c:pt>
                <c:pt idx="9609">
                  <c:v>0.17137506688068399</c:v>
                </c:pt>
                <c:pt idx="9610">
                  <c:v>0.17139290172998001</c:v>
                </c:pt>
                <c:pt idx="9611">
                  <c:v>0.171410736579275</c:v>
                </c:pt>
                <c:pt idx="9612">
                  <c:v>0.17142857142857101</c:v>
                </c:pt>
                <c:pt idx="9613">
                  <c:v>0.171446406277866</c:v>
                </c:pt>
                <c:pt idx="9614">
                  <c:v>0.17146424112716199</c:v>
                </c:pt>
                <c:pt idx="9615">
                  <c:v>0.17148207597645801</c:v>
                </c:pt>
                <c:pt idx="9616">
                  <c:v>0.171499910825753</c:v>
                </c:pt>
                <c:pt idx="9617">
                  <c:v>0.17151774567504899</c:v>
                </c:pt>
                <c:pt idx="9618">
                  <c:v>0.17153558052434401</c:v>
                </c:pt>
                <c:pt idx="9619">
                  <c:v>0.17155341537363999</c:v>
                </c:pt>
                <c:pt idx="9620">
                  <c:v>0.17157125022293501</c:v>
                </c:pt>
                <c:pt idx="9621">
                  <c:v>0.171589085072231</c:v>
                </c:pt>
                <c:pt idx="9622">
                  <c:v>0.17160691992152599</c:v>
                </c:pt>
                <c:pt idx="9623">
                  <c:v>0.17162475477082201</c:v>
                </c:pt>
                <c:pt idx="9624">
                  <c:v>0.171642589620117</c:v>
                </c:pt>
                <c:pt idx="9625">
                  <c:v>0.17166042446941299</c:v>
                </c:pt>
                <c:pt idx="9626">
                  <c:v>0.171678259318708</c:v>
                </c:pt>
                <c:pt idx="9627">
                  <c:v>0.17169609416800399</c:v>
                </c:pt>
                <c:pt idx="9628">
                  <c:v>0.17171392901729901</c:v>
                </c:pt>
                <c:pt idx="9629">
                  <c:v>0.171731763866595</c:v>
                </c:pt>
                <c:pt idx="9630">
                  <c:v>0.17174959871588999</c:v>
                </c:pt>
                <c:pt idx="9631">
                  <c:v>0.17176743356518601</c:v>
                </c:pt>
                <c:pt idx="9632">
                  <c:v>0.171785268414481</c:v>
                </c:pt>
                <c:pt idx="9633">
                  <c:v>0.17180310326377701</c:v>
                </c:pt>
                <c:pt idx="9634">
                  <c:v>0.171820938113072</c:v>
                </c:pt>
                <c:pt idx="9635">
                  <c:v>0.17183877296236799</c:v>
                </c:pt>
                <c:pt idx="9636">
                  <c:v>0.17185660781166301</c:v>
                </c:pt>
                <c:pt idx="9637">
                  <c:v>0.171874442660959</c:v>
                </c:pt>
                <c:pt idx="9638">
                  <c:v>0.17189227751025499</c:v>
                </c:pt>
                <c:pt idx="9639">
                  <c:v>0.17191011235955</c:v>
                </c:pt>
                <c:pt idx="9640">
                  <c:v>0.17192794720884599</c:v>
                </c:pt>
                <c:pt idx="9641">
                  <c:v>0.17194578205814101</c:v>
                </c:pt>
                <c:pt idx="9642">
                  <c:v>0.171963616907437</c:v>
                </c:pt>
                <c:pt idx="9643">
                  <c:v>0.17198145175673199</c:v>
                </c:pt>
                <c:pt idx="9644">
                  <c:v>0.17199928660602801</c:v>
                </c:pt>
                <c:pt idx="9645">
                  <c:v>0.172017121455323</c:v>
                </c:pt>
                <c:pt idx="9646">
                  <c:v>0.17203495630461901</c:v>
                </c:pt>
                <c:pt idx="9647">
                  <c:v>0.172052791153914</c:v>
                </c:pt>
                <c:pt idx="9648">
                  <c:v>0.17207062600320999</c:v>
                </c:pt>
                <c:pt idx="9649">
                  <c:v>0.17208846085250501</c:v>
                </c:pt>
                <c:pt idx="9650">
                  <c:v>0.172106295701801</c:v>
                </c:pt>
                <c:pt idx="9651">
                  <c:v>0.17212413055109599</c:v>
                </c:pt>
                <c:pt idx="9652">
                  <c:v>0.17214196540039201</c:v>
                </c:pt>
                <c:pt idx="9653">
                  <c:v>0.172159800249687</c:v>
                </c:pt>
                <c:pt idx="9654">
                  <c:v>0.17217763509898301</c:v>
                </c:pt>
                <c:pt idx="9655">
                  <c:v>0.172195469948278</c:v>
                </c:pt>
                <c:pt idx="9656">
                  <c:v>0.17221330479757399</c:v>
                </c:pt>
                <c:pt idx="9657">
                  <c:v>0.17223113964686901</c:v>
                </c:pt>
                <c:pt idx="9658">
                  <c:v>0.172248974496165</c:v>
                </c:pt>
                <c:pt idx="9659">
                  <c:v>0.17226680934546101</c:v>
                </c:pt>
                <c:pt idx="9660">
                  <c:v>0.172284644194756</c:v>
                </c:pt>
                <c:pt idx="9661">
                  <c:v>0.17230247904405199</c:v>
                </c:pt>
                <c:pt idx="9662">
                  <c:v>0.17232031389334701</c:v>
                </c:pt>
                <c:pt idx="9663">
                  <c:v>0.172338148742643</c:v>
                </c:pt>
                <c:pt idx="9664">
                  <c:v>0.17235598359193799</c:v>
                </c:pt>
                <c:pt idx="9665">
                  <c:v>0.17237381844123401</c:v>
                </c:pt>
                <c:pt idx="9666">
                  <c:v>0.172391653290529</c:v>
                </c:pt>
                <c:pt idx="9667">
                  <c:v>0.17240948813982501</c:v>
                </c:pt>
                <c:pt idx="9668">
                  <c:v>0.17242732298912</c:v>
                </c:pt>
                <c:pt idx="9669">
                  <c:v>0.17244515783841599</c:v>
                </c:pt>
                <c:pt idx="9670">
                  <c:v>0.17246299268771101</c:v>
                </c:pt>
                <c:pt idx="9671">
                  <c:v>0.172480827537007</c:v>
                </c:pt>
                <c:pt idx="9672">
                  <c:v>0.17249866238630199</c:v>
                </c:pt>
                <c:pt idx="9673">
                  <c:v>0.172516497235598</c:v>
                </c:pt>
                <c:pt idx="9674">
                  <c:v>0.17253433208489299</c:v>
                </c:pt>
                <c:pt idx="9675">
                  <c:v>0.17255216693418901</c:v>
                </c:pt>
                <c:pt idx="9676">
                  <c:v>0.172570001783484</c:v>
                </c:pt>
                <c:pt idx="9677">
                  <c:v>0.17258783663277999</c:v>
                </c:pt>
                <c:pt idx="9678">
                  <c:v>0.17260567148207501</c:v>
                </c:pt>
                <c:pt idx="9679">
                  <c:v>0.172623506331371</c:v>
                </c:pt>
                <c:pt idx="9680">
                  <c:v>0.17264134118066701</c:v>
                </c:pt>
                <c:pt idx="9681">
                  <c:v>0.172659176029962</c:v>
                </c:pt>
                <c:pt idx="9682">
                  <c:v>0.17267701087925799</c:v>
                </c:pt>
                <c:pt idx="9683">
                  <c:v>0.17269484572855301</c:v>
                </c:pt>
                <c:pt idx="9684">
                  <c:v>0.172712680577849</c:v>
                </c:pt>
                <c:pt idx="9685">
                  <c:v>0.17273051542714399</c:v>
                </c:pt>
                <c:pt idx="9686">
                  <c:v>0.17274835027644</c:v>
                </c:pt>
                <c:pt idx="9687">
                  <c:v>0.17276618512573499</c:v>
                </c:pt>
                <c:pt idx="9688">
                  <c:v>0.17278401997503101</c:v>
                </c:pt>
                <c:pt idx="9689">
                  <c:v>0.172801854824326</c:v>
                </c:pt>
                <c:pt idx="9690">
                  <c:v>0.17281968967362199</c:v>
                </c:pt>
                <c:pt idx="9691">
                  <c:v>0.17283752452291701</c:v>
                </c:pt>
                <c:pt idx="9692">
                  <c:v>0.172855359372213</c:v>
                </c:pt>
                <c:pt idx="9693">
                  <c:v>0.17287319422150799</c:v>
                </c:pt>
                <c:pt idx="9694">
                  <c:v>0.172891029070804</c:v>
                </c:pt>
                <c:pt idx="9695">
                  <c:v>0.17290886392009899</c:v>
                </c:pt>
                <c:pt idx="9696">
                  <c:v>0.17292669876939501</c:v>
                </c:pt>
                <c:pt idx="9697">
                  <c:v>0.17294453361869</c:v>
                </c:pt>
                <c:pt idx="9698">
                  <c:v>0.17296236846798599</c:v>
                </c:pt>
                <c:pt idx="9699">
                  <c:v>0.17298020331728101</c:v>
                </c:pt>
                <c:pt idx="9700">
                  <c:v>0.172998038166577</c:v>
                </c:pt>
                <c:pt idx="9701">
                  <c:v>0.17301587301587301</c:v>
                </c:pt>
                <c:pt idx="9702">
                  <c:v>0.173033707865168</c:v>
                </c:pt>
                <c:pt idx="9703">
                  <c:v>0.17305154271446399</c:v>
                </c:pt>
                <c:pt idx="9704">
                  <c:v>0.17306937756375901</c:v>
                </c:pt>
                <c:pt idx="9705">
                  <c:v>0.173087212413055</c:v>
                </c:pt>
                <c:pt idx="9706">
                  <c:v>0.17310504726234999</c:v>
                </c:pt>
                <c:pt idx="9707">
                  <c:v>0.173122882111646</c:v>
                </c:pt>
                <c:pt idx="9708">
                  <c:v>0.17314071696094099</c:v>
                </c:pt>
                <c:pt idx="9709">
                  <c:v>0.17315855181023701</c:v>
                </c:pt>
                <c:pt idx="9710">
                  <c:v>0.173176386659532</c:v>
                </c:pt>
                <c:pt idx="9711">
                  <c:v>0.17319422150882799</c:v>
                </c:pt>
                <c:pt idx="9712">
                  <c:v>0.17321205635812301</c:v>
                </c:pt>
                <c:pt idx="9713">
                  <c:v>0.173229891207419</c:v>
                </c:pt>
                <c:pt idx="9714">
                  <c:v>0.17324772605671401</c:v>
                </c:pt>
                <c:pt idx="9715">
                  <c:v>0.17326556090601</c:v>
                </c:pt>
                <c:pt idx="9716">
                  <c:v>0.17328339575530499</c:v>
                </c:pt>
                <c:pt idx="9717">
                  <c:v>0.17330123060460101</c:v>
                </c:pt>
                <c:pt idx="9718">
                  <c:v>0.173319065453896</c:v>
                </c:pt>
                <c:pt idx="9719">
                  <c:v>0.17333690030319199</c:v>
                </c:pt>
                <c:pt idx="9720">
                  <c:v>0.17335473515248701</c:v>
                </c:pt>
                <c:pt idx="9721">
                  <c:v>0.17337257000178299</c:v>
                </c:pt>
                <c:pt idx="9722">
                  <c:v>0.17339040485107901</c:v>
                </c:pt>
                <c:pt idx="9723">
                  <c:v>0.173408239700374</c:v>
                </c:pt>
                <c:pt idx="9724">
                  <c:v>0.17342607454966999</c:v>
                </c:pt>
                <c:pt idx="9725">
                  <c:v>0.17344390939896501</c:v>
                </c:pt>
                <c:pt idx="9726">
                  <c:v>0.173461744248261</c:v>
                </c:pt>
                <c:pt idx="9727">
                  <c:v>0.17347957909755601</c:v>
                </c:pt>
                <c:pt idx="9728">
                  <c:v>0.173497413946852</c:v>
                </c:pt>
                <c:pt idx="9729">
                  <c:v>0.17351524879614699</c:v>
                </c:pt>
                <c:pt idx="9730">
                  <c:v>0.17353308364544301</c:v>
                </c:pt>
                <c:pt idx="9731">
                  <c:v>0.173550918494738</c:v>
                </c:pt>
                <c:pt idx="9732">
                  <c:v>0.17356875334403399</c:v>
                </c:pt>
                <c:pt idx="9733">
                  <c:v>0.17358658819332901</c:v>
                </c:pt>
                <c:pt idx="9734">
                  <c:v>0.17360442304262499</c:v>
                </c:pt>
                <c:pt idx="9735">
                  <c:v>0.17362225789192001</c:v>
                </c:pt>
                <c:pt idx="9736">
                  <c:v>0.173640092741216</c:v>
                </c:pt>
                <c:pt idx="9737">
                  <c:v>0.17365792759051099</c:v>
                </c:pt>
                <c:pt idx="9738">
                  <c:v>0.17367576243980701</c:v>
                </c:pt>
                <c:pt idx="9739">
                  <c:v>0.173693597289102</c:v>
                </c:pt>
                <c:pt idx="9740">
                  <c:v>0.17371143213839799</c:v>
                </c:pt>
                <c:pt idx="9741">
                  <c:v>0.173729266987693</c:v>
                </c:pt>
                <c:pt idx="9742">
                  <c:v>0.17374710183698899</c:v>
                </c:pt>
                <c:pt idx="9743">
                  <c:v>0.17376493668628501</c:v>
                </c:pt>
                <c:pt idx="9744">
                  <c:v>0.17378277153558</c:v>
                </c:pt>
                <c:pt idx="9745">
                  <c:v>0.17380060638487599</c:v>
                </c:pt>
                <c:pt idx="9746">
                  <c:v>0.17381844123417101</c:v>
                </c:pt>
                <c:pt idx="9747">
                  <c:v>0.173836276083467</c:v>
                </c:pt>
                <c:pt idx="9748">
                  <c:v>0.17385411093276201</c:v>
                </c:pt>
                <c:pt idx="9749">
                  <c:v>0.173871945782058</c:v>
                </c:pt>
                <c:pt idx="9750">
                  <c:v>0.17388978063135299</c:v>
                </c:pt>
                <c:pt idx="9751">
                  <c:v>0.17390761548064901</c:v>
                </c:pt>
                <c:pt idx="9752">
                  <c:v>0.173925450329944</c:v>
                </c:pt>
                <c:pt idx="9753">
                  <c:v>0.17394328517923999</c:v>
                </c:pt>
                <c:pt idx="9754">
                  <c:v>0.173961120028535</c:v>
                </c:pt>
                <c:pt idx="9755">
                  <c:v>0.17397895487783099</c:v>
                </c:pt>
                <c:pt idx="9756">
                  <c:v>0.17399678972712601</c:v>
                </c:pt>
                <c:pt idx="9757">
                  <c:v>0.174014624576422</c:v>
                </c:pt>
                <c:pt idx="9758">
                  <c:v>0.17403245942571699</c:v>
                </c:pt>
                <c:pt idx="9759">
                  <c:v>0.17405029427501301</c:v>
                </c:pt>
                <c:pt idx="9760">
                  <c:v>0.174068129124308</c:v>
                </c:pt>
                <c:pt idx="9761">
                  <c:v>0.17408596397360401</c:v>
                </c:pt>
                <c:pt idx="9762">
                  <c:v>0.174103798822899</c:v>
                </c:pt>
                <c:pt idx="9763">
                  <c:v>0.17412163367219499</c:v>
                </c:pt>
                <c:pt idx="9764">
                  <c:v>0.17413946852149001</c:v>
                </c:pt>
                <c:pt idx="9765">
                  <c:v>0.174157303370786</c:v>
                </c:pt>
                <c:pt idx="9766">
                  <c:v>0.17417513822008199</c:v>
                </c:pt>
                <c:pt idx="9767">
                  <c:v>0.17419297306937701</c:v>
                </c:pt>
                <c:pt idx="9768">
                  <c:v>0.17421080791867299</c:v>
                </c:pt>
                <c:pt idx="9769">
                  <c:v>0.17422864276796801</c:v>
                </c:pt>
                <c:pt idx="9770">
                  <c:v>0.174246477617264</c:v>
                </c:pt>
                <c:pt idx="9771">
                  <c:v>0.17426431246655899</c:v>
                </c:pt>
                <c:pt idx="9772">
                  <c:v>0.17428214731585501</c:v>
                </c:pt>
                <c:pt idx="9773">
                  <c:v>0.17429998216515</c:v>
                </c:pt>
                <c:pt idx="9774">
                  <c:v>0.17431781701444601</c:v>
                </c:pt>
                <c:pt idx="9775">
                  <c:v>0.174335651863741</c:v>
                </c:pt>
                <c:pt idx="9776">
                  <c:v>0.17435348671303699</c:v>
                </c:pt>
                <c:pt idx="9777">
                  <c:v>0.17437132156233201</c:v>
                </c:pt>
                <c:pt idx="9778">
                  <c:v>0.174389156411628</c:v>
                </c:pt>
                <c:pt idx="9779">
                  <c:v>0.17440699126092299</c:v>
                </c:pt>
                <c:pt idx="9780">
                  <c:v>0.17442482611021901</c:v>
                </c:pt>
                <c:pt idx="9781">
                  <c:v>0.174442660959514</c:v>
                </c:pt>
                <c:pt idx="9782">
                  <c:v>0.17446049580881001</c:v>
                </c:pt>
                <c:pt idx="9783">
                  <c:v>0.174478330658105</c:v>
                </c:pt>
                <c:pt idx="9784">
                  <c:v>0.17449616550740099</c:v>
                </c:pt>
                <c:pt idx="9785">
                  <c:v>0.17451400035669601</c:v>
                </c:pt>
                <c:pt idx="9786">
                  <c:v>0.174531835205992</c:v>
                </c:pt>
                <c:pt idx="9787">
                  <c:v>0.17454967005528799</c:v>
                </c:pt>
                <c:pt idx="9788">
                  <c:v>0.174567504904583</c:v>
                </c:pt>
                <c:pt idx="9789">
                  <c:v>0.17458533975387899</c:v>
                </c:pt>
                <c:pt idx="9790">
                  <c:v>0.17460317460317401</c:v>
                </c:pt>
                <c:pt idx="9791">
                  <c:v>0.17462100945247</c:v>
                </c:pt>
                <c:pt idx="9792">
                  <c:v>0.17463884430176499</c:v>
                </c:pt>
                <c:pt idx="9793">
                  <c:v>0.17465667915106101</c:v>
                </c:pt>
                <c:pt idx="9794">
                  <c:v>0.174674514000356</c:v>
                </c:pt>
                <c:pt idx="9795">
                  <c:v>0.17469234884965201</c:v>
                </c:pt>
                <c:pt idx="9796">
                  <c:v>0.174710183698947</c:v>
                </c:pt>
                <c:pt idx="9797">
                  <c:v>0.17472801854824299</c:v>
                </c:pt>
                <c:pt idx="9798">
                  <c:v>0.17474585339753801</c:v>
                </c:pt>
                <c:pt idx="9799">
                  <c:v>0.174763688246834</c:v>
                </c:pt>
                <c:pt idx="9800">
                  <c:v>0.17478152309612899</c:v>
                </c:pt>
                <c:pt idx="9801">
                  <c:v>0.174799357945425</c:v>
                </c:pt>
                <c:pt idx="9802">
                  <c:v>0.17481719279471999</c:v>
                </c:pt>
                <c:pt idx="9803">
                  <c:v>0.17483502764401601</c:v>
                </c:pt>
                <c:pt idx="9804">
                  <c:v>0.174852862493311</c:v>
                </c:pt>
                <c:pt idx="9805">
                  <c:v>0.17487069734260699</c:v>
                </c:pt>
                <c:pt idx="9806">
                  <c:v>0.17488853219190201</c:v>
                </c:pt>
                <c:pt idx="9807">
                  <c:v>0.174906367041198</c:v>
                </c:pt>
                <c:pt idx="9808">
                  <c:v>0.17492420189049401</c:v>
                </c:pt>
                <c:pt idx="9809">
                  <c:v>0.174942036739789</c:v>
                </c:pt>
                <c:pt idx="9810">
                  <c:v>0.17495987158908499</c:v>
                </c:pt>
                <c:pt idx="9811">
                  <c:v>0.17497770643838001</c:v>
                </c:pt>
                <c:pt idx="9812">
                  <c:v>0.174995541287676</c:v>
                </c:pt>
                <c:pt idx="9813">
                  <c:v>0.17501337613697099</c:v>
                </c:pt>
                <c:pt idx="9814">
                  <c:v>0.17503121098626701</c:v>
                </c:pt>
                <c:pt idx="9815">
                  <c:v>0.17504904583556199</c:v>
                </c:pt>
                <c:pt idx="9816">
                  <c:v>0.17506688068485801</c:v>
                </c:pt>
                <c:pt idx="9817">
                  <c:v>0.175084715534153</c:v>
                </c:pt>
                <c:pt idx="9818">
                  <c:v>0.17510255038344899</c:v>
                </c:pt>
                <c:pt idx="9819">
                  <c:v>0.17512038523274401</c:v>
                </c:pt>
                <c:pt idx="9820">
                  <c:v>0.17513822008204</c:v>
                </c:pt>
                <c:pt idx="9821">
                  <c:v>0.17515605493133499</c:v>
                </c:pt>
                <c:pt idx="9822">
                  <c:v>0.175173889780631</c:v>
                </c:pt>
                <c:pt idx="9823">
                  <c:v>0.17519172462992599</c:v>
                </c:pt>
                <c:pt idx="9824">
                  <c:v>0.17520955947922201</c:v>
                </c:pt>
                <c:pt idx="9825">
                  <c:v>0.175227394328517</c:v>
                </c:pt>
                <c:pt idx="9826">
                  <c:v>0.17524522917781299</c:v>
                </c:pt>
                <c:pt idx="9827">
                  <c:v>0.17526306402710801</c:v>
                </c:pt>
                <c:pt idx="9828">
                  <c:v>0.175280898876404</c:v>
                </c:pt>
                <c:pt idx="9829">
                  <c:v>0.17529873372570001</c:v>
                </c:pt>
                <c:pt idx="9830">
                  <c:v>0.175316568574995</c:v>
                </c:pt>
                <c:pt idx="9831">
                  <c:v>0.17533440342429099</c:v>
                </c:pt>
                <c:pt idx="9832">
                  <c:v>0.17535223827358601</c:v>
                </c:pt>
                <c:pt idx="9833">
                  <c:v>0.175370073122882</c:v>
                </c:pt>
                <c:pt idx="9834">
                  <c:v>0.17538790797217699</c:v>
                </c:pt>
                <c:pt idx="9835">
                  <c:v>0.175405742821473</c:v>
                </c:pt>
                <c:pt idx="9836">
                  <c:v>0.17542357767076799</c:v>
                </c:pt>
                <c:pt idx="9837">
                  <c:v>0.17544141252006401</c:v>
                </c:pt>
                <c:pt idx="9838">
                  <c:v>0.175459247369359</c:v>
                </c:pt>
                <c:pt idx="9839">
                  <c:v>0.17547708221865499</c:v>
                </c:pt>
                <c:pt idx="9840">
                  <c:v>0.17549491706795001</c:v>
                </c:pt>
                <c:pt idx="9841">
                  <c:v>0.175512751917246</c:v>
                </c:pt>
                <c:pt idx="9842">
                  <c:v>0.17553058676654101</c:v>
                </c:pt>
                <c:pt idx="9843">
                  <c:v>0.175548421615837</c:v>
                </c:pt>
                <c:pt idx="9844">
                  <c:v>0.17556625646513199</c:v>
                </c:pt>
                <c:pt idx="9845">
                  <c:v>0.17558409131442801</c:v>
                </c:pt>
                <c:pt idx="9846">
                  <c:v>0.175601926163723</c:v>
                </c:pt>
                <c:pt idx="9847">
                  <c:v>0.17561976101301899</c:v>
                </c:pt>
                <c:pt idx="9848">
                  <c:v>0.17563759586231401</c:v>
                </c:pt>
                <c:pt idx="9849">
                  <c:v>0.17565543071160999</c:v>
                </c:pt>
                <c:pt idx="9850">
                  <c:v>0.17567326556090601</c:v>
                </c:pt>
                <c:pt idx="9851">
                  <c:v>0.175691100410201</c:v>
                </c:pt>
                <c:pt idx="9852">
                  <c:v>0.17570893525949699</c:v>
                </c:pt>
                <c:pt idx="9853">
                  <c:v>0.17572677010879201</c:v>
                </c:pt>
                <c:pt idx="9854">
                  <c:v>0.175744604958088</c:v>
                </c:pt>
                <c:pt idx="9855">
                  <c:v>0.17576243980738299</c:v>
                </c:pt>
                <c:pt idx="9856">
                  <c:v>0.175780274656679</c:v>
                </c:pt>
                <c:pt idx="9857">
                  <c:v>0.17579810950597399</c:v>
                </c:pt>
                <c:pt idx="9858">
                  <c:v>0.17581594435527001</c:v>
                </c:pt>
                <c:pt idx="9859">
                  <c:v>0.175833779204565</c:v>
                </c:pt>
                <c:pt idx="9860">
                  <c:v>0.17585161405386099</c:v>
                </c:pt>
                <c:pt idx="9861">
                  <c:v>0.17586944890315601</c:v>
                </c:pt>
                <c:pt idx="9862">
                  <c:v>0.17588728375245199</c:v>
                </c:pt>
                <c:pt idx="9863">
                  <c:v>0.17590511860174701</c:v>
                </c:pt>
                <c:pt idx="9864">
                  <c:v>0.175922953451043</c:v>
                </c:pt>
                <c:pt idx="9865">
                  <c:v>0.17594078830033799</c:v>
                </c:pt>
                <c:pt idx="9866">
                  <c:v>0.17595862314963401</c:v>
                </c:pt>
                <c:pt idx="9867">
                  <c:v>0.175976457998929</c:v>
                </c:pt>
                <c:pt idx="9868">
                  <c:v>0.17599429284822499</c:v>
                </c:pt>
                <c:pt idx="9869">
                  <c:v>0.17601212769752</c:v>
                </c:pt>
                <c:pt idx="9870">
                  <c:v>0.17602996254681599</c:v>
                </c:pt>
                <c:pt idx="9871">
                  <c:v>0.17604779739611201</c:v>
                </c:pt>
                <c:pt idx="9872">
                  <c:v>0.176065632245407</c:v>
                </c:pt>
                <c:pt idx="9873">
                  <c:v>0.17608346709470299</c:v>
                </c:pt>
                <c:pt idx="9874">
                  <c:v>0.17610130194399801</c:v>
                </c:pt>
                <c:pt idx="9875">
                  <c:v>0.176119136793294</c:v>
                </c:pt>
                <c:pt idx="9876">
                  <c:v>0.17613697164258901</c:v>
                </c:pt>
                <c:pt idx="9877">
                  <c:v>0.176154806491885</c:v>
                </c:pt>
                <c:pt idx="9878">
                  <c:v>0.17617264134117999</c:v>
                </c:pt>
                <c:pt idx="9879">
                  <c:v>0.17619047619047601</c:v>
                </c:pt>
                <c:pt idx="9880">
                  <c:v>0.176208311039771</c:v>
                </c:pt>
                <c:pt idx="9881">
                  <c:v>0.17622614588906699</c:v>
                </c:pt>
                <c:pt idx="9882">
                  <c:v>0.176243980738362</c:v>
                </c:pt>
                <c:pt idx="9883">
                  <c:v>0.17626181558765799</c:v>
                </c:pt>
                <c:pt idx="9884">
                  <c:v>0.17627965043695301</c:v>
                </c:pt>
                <c:pt idx="9885">
                  <c:v>0.176297485286249</c:v>
                </c:pt>
                <c:pt idx="9886">
                  <c:v>0.17631532013554399</c:v>
                </c:pt>
                <c:pt idx="9887">
                  <c:v>0.17633315498484001</c:v>
                </c:pt>
                <c:pt idx="9888">
                  <c:v>0.176350989834135</c:v>
                </c:pt>
                <c:pt idx="9889">
                  <c:v>0.17636882468343101</c:v>
                </c:pt>
                <c:pt idx="9890">
                  <c:v>0.176386659532726</c:v>
                </c:pt>
                <c:pt idx="9891">
                  <c:v>0.17640449438202199</c:v>
                </c:pt>
                <c:pt idx="9892">
                  <c:v>0.17642232923131801</c:v>
                </c:pt>
                <c:pt idx="9893">
                  <c:v>0.176440164080613</c:v>
                </c:pt>
                <c:pt idx="9894">
                  <c:v>0.17645799892990899</c:v>
                </c:pt>
                <c:pt idx="9895">
                  <c:v>0.17647583377920401</c:v>
                </c:pt>
                <c:pt idx="9896">
                  <c:v>0.17649366862849999</c:v>
                </c:pt>
                <c:pt idx="9897">
                  <c:v>0.17651150347779501</c:v>
                </c:pt>
                <c:pt idx="9898">
                  <c:v>0.176529338327091</c:v>
                </c:pt>
                <c:pt idx="9899">
                  <c:v>0.17654717317638599</c:v>
                </c:pt>
                <c:pt idx="9900">
                  <c:v>0.17656500802568201</c:v>
                </c:pt>
                <c:pt idx="9901">
                  <c:v>0.176582842874977</c:v>
                </c:pt>
                <c:pt idx="9902">
                  <c:v>0.17660067772427299</c:v>
                </c:pt>
                <c:pt idx="9903">
                  <c:v>0.176618512573568</c:v>
                </c:pt>
                <c:pt idx="9904">
                  <c:v>0.17663634742286399</c:v>
                </c:pt>
                <c:pt idx="9905">
                  <c:v>0.17665418227215901</c:v>
                </c:pt>
                <c:pt idx="9906">
                  <c:v>0.176672017121455</c:v>
                </c:pt>
                <c:pt idx="9907">
                  <c:v>0.17668985197074999</c:v>
                </c:pt>
                <c:pt idx="9908">
                  <c:v>0.17670768682004601</c:v>
                </c:pt>
                <c:pt idx="9909">
                  <c:v>0.176725521669341</c:v>
                </c:pt>
                <c:pt idx="9910">
                  <c:v>0.17674335651863701</c:v>
                </c:pt>
                <c:pt idx="9911">
                  <c:v>0.176761191367932</c:v>
                </c:pt>
                <c:pt idx="9912">
                  <c:v>0.17677902621722799</c:v>
                </c:pt>
                <c:pt idx="9913">
                  <c:v>0.17679686106652301</c:v>
                </c:pt>
                <c:pt idx="9914">
                  <c:v>0.176814695915819</c:v>
                </c:pt>
                <c:pt idx="9915">
                  <c:v>0.17683253076511499</c:v>
                </c:pt>
                <c:pt idx="9916">
                  <c:v>0.17685036561441</c:v>
                </c:pt>
                <c:pt idx="9917">
                  <c:v>0.17686820046370599</c:v>
                </c:pt>
                <c:pt idx="9918">
                  <c:v>0.17688603531300101</c:v>
                </c:pt>
                <c:pt idx="9919">
                  <c:v>0.176903870162297</c:v>
                </c:pt>
                <c:pt idx="9920">
                  <c:v>0.17692170501159199</c:v>
                </c:pt>
                <c:pt idx="9921">
                  <c:v>0.17693953986088801</c:v>
                </c:pt>
                <c:pt idx="9922">
                  <c:v>0.176957374710183</c:v>
                </c:pt>
                <c:pt idx="9923">
                  <c:v>0.17697520955947901</c:v>
                </c:pt>
                <c:pt idx="9924">
                  <c:v>0.176993044408774</c:v>
                </c:pt>
                <c:pt idx="9925">
                  <c:v>0.17701087925806999</c:v>
                </c:pt>
                <c:pt idx="9926">
                  <c:v>0.17702871410736501</c:v>
                </c:pt>
                <c:pt idx="9927">
                  <c:v>0.177046548956661</c:v>
                </c:pt>
                <c:pt idx="9928">
                  <c:v>0.17706438380595599</c:v>
                </c:pt>
                <c:pt idx="9929">
                  <c:v>0.17708221865525201</c:v>
                </c:pt>
                <c:pt idx="9930">
                  <c:v>0.17710005350454699</c:v>
                </c:pt>
                <c:pt idx="9931">
                  <c:v>0.17711788835384301</c:v>
                </c:pt>
                <c:pt idx="9932">
                  <c:v>0.177135723203138</c:v>
                </c:pt>
                <c:pt idx="9933">
                  <c:v>0.17715355805243399</c:v>
                </c:pt>
                <c:pt idx="9934">
                  <c:v>0.17717139290172901</c:v>
                </c:pt>
                <c:pt idx="9935">
                  <c:v>0.177189227751025</c:v>
                </c:pt>
                <c:pt idx="9936">
                  <c:v>0.17720706260032101</c:v>
                </c:pt>
                <c:pt idx="9937">
                  <c:v>0.177224897449616</c:v>
                </c:pt>
                <c:pt idx="9938">
                  <c:v>0.17724273229891199</c:v>
                </c:pt>
                <c:pt idx="9939">
                  <c:v>0.17726056714820701</c:v>
                </c:pt>
                <c:pt idx="9940">
                  <c:v>0.177278401997503</c:v>
                </c:pt>
                <c:pt idx="9941">
                  <c:v>0.17729623684679799</c:v>
                </c:pt>
                <c:pt idx="9942">
                  <c:v>0.17731407169609401</c:v>
                </c:pt>
                <c:pt idx="9943">
                  <c:v>0.177331906545389</c:v>
                </c:pt>
                <c:pt idx="9944">
                  <c:v>0.17734974139468501</c:v>
                </c:pt>
                <c:pt idx="9945">
                  <c:v>0.17736757624398</c:v>
                </c:pt>
                <c:pt idx="9946">
                  <c:v>0.17738541109327599</c:v>
                </c:pt>
                <c:pt idx="9947">
                  <c:v>0.17740324594257101</c:v>
                </c:pt>
                <c:pt idx="9948">
                  <c:v>0.177421080791867</c:v>
                </c:pt>
                <c:pt idx="9949">
                  <c:v>0.17743891564116199</c:v>
                </c:pt>
                <c:pt idx="9950">
                  <c:v>0.177456750490458</c:v>
                </c:pt>
                <c:pt idx="9951">
                  <c:v>0.17747458533975299</c:v>
                </c:pt>
                <c:pt idx="9952">
                  <c:v>0.17749242018904901</c:v>
                </c:pt>
                <c:pt idx="9953">
                  <c:v>0.177510255038344</c:v>
                </c:pt>
                <c:pt idx="9954">
                  <c:v>0.17752808988763999</c:v>
                </c:pt>
                <c:pt idx="9955">
                  <c:v>0.17754592473693501</c:v>
                </c:pt>
                <c:pt idx="9956">
                  <c:v>0.177563759586231</c:v>
                </c:pt>
                <c:pt idx="9957">
                  <c:v>0.17758159443552701</c:v>
                </c:pt>
                <c:pt idx="9958">
                  <c:v>0.177599429284822</c:v>
                </c:pt>
                <c:pt idx="9959">
                  <c:v>0.17761726413411799</c:v>
                </c:pt>
                <c:pt idx="9960">
                  <c:v>0.17763509898341301</c:v>
                </c:pt>
                <c:pt idx="9961">
                  <c:v>0.177652933832709</c:v>
                </c:pt>
                <c:pt idx="9962">
                  <c:v>0.17767076868200399</c:v>
                </c:pt>
                <c:pt idx="9963">
                  <c:v>0.1776886035313</c:v>
                </c:pt>
                <c:pt idx="9964">
                  <c:v>0.17770643838059499</c:v>
                </c:pt>
                <c:pt idx="9965">
                  <c:v>0.17772427322989101</c:v>
                </c:pt>
                <c:pt idx="9966">
                  <c:v>0.177742108079186</c:v>
                </c:pt>
                <c:pt idx="9967">
                  <c:v>0.17775994292848199</c:v>
                </c:pt>
                <c:pt idx="9968">
                  <c:v>0.17777777777777701</c:v>
                </c:pt>
                <c:pt idx="9969">
                  <c:v>0.177795612627073</c:v>
                </c:pt>
                <c:pt idx="9970">
                  <c:v>0.17781344747636799</c:v>
                </c:pt>
                <c:pt idx="9971">
                  <c:v>0.177831282325664</c:v>
                </c:pt>
                <c:pt idx="9972">
                  <c:v>0.17784911717495899</c:v>
                </c:pt>
                <c:pt idx="9973">
                  <c:v>0.17786695202425501</c:v>
                </c:pt>
                <c:pt idx="9974">
                  <c:v>0.17788478687355</c:v>
                </c:pt>
                <c:pt idx="9975">
                  <c:v>0.17790262172284599</c:v>
                </c:pt>
                <c:pt idx="9976">
                  <c:v>0.17792045657214101</c:v>
                </c:pt>
                <c:pt idx="9977">
                  <c:v>0.17793829142143699</c:v>
                </c:pt>
                <c:pt idx="9978">
                  <c:v>0.17795612627073301</c:v>
                </c:pt>
                <c:pt idx="9979">
                  <c:v>0.177973961120028</c:v>
                </c:pt>
                <c:pt idx="9980">
                  <c:v>0.17799179596932399</c:v>
                </c:pt>
                <c:pt idx="9981">
                  <c:v>0.17800963081861901</c:v>
                </c:pt>
                <c:pt idx="9982">
                  <c:v>0.178027465667915</c:v>
                </c:pt>
                <c:pt idx="9983">
                  <c:v>0.17804530051720999</c:v>
                </c:pt>
                <c:pt idx="9984">
                  <c:v>0.178063135366506</c:v>
                </c:pt>
                <c:pt idx="9985">
                  <c:v>0.17808097021580099</c:v>
                </c:pt>
                <c:pt idx="9986">
                  <c:v>0.17809880506509701</c:v>
                </c:pt>
                <c:pt idx="9987">
                  <c:v>0.178116639914392</c:v>
                </c:pt>
                <c:pt idx="9988">
                  <c:v>0.17813447476368799</c:v>
                </c:pt>
                <c:pt idx="9989">
                  <c:v>0.17815230961298301</c:v>
                </c:pt>
                <c:pt idx="9990">
                  <c:v>0.178170144462279</c:v>
                </c:pt>
                <c:pt idx="9991">
                  <c:v>0.17818797931157401</c:v>
                </c:pt>
                <c:pt idx="9992">
                  <c:v>0.17820581416087</c:v>
                </c:pt>
                <c:pt idx="9993">
                  <c:v>0.17822364901016499</c:v>
                </c:pt>
                <c:pt idx="9994">
                  <c:v>0.17824148385946101</c:v>
                </c:pt>
                <c:pt idx="9995">
                  <c:v>0.178259318708756</c:v>
                </c:pt>
                <c:pt idx="9996">
                  <c:v>0.17827715355805199</c:v>
                </c:pt>
                <c:pt idx="9997">
                  <c:v>0.178294988407347</c:v>
                </c:pt>
                <c:pt idx="9998">
                  <c:v>0.17831282325664299</c:v>
                </c:pt>
                <c:pt idx="9999">
                  <c:v>0.17833065810593901</c:v>
                </c:pt>
                <c:pt idx="10000">
                  <c:v>0.178348492955234</c:v>
                </c:pt>
                <c:pt idx="10001">
                  <c:v>0.17836632780452999</c:v>
                </c:pt>
                <c:pt idx="10002">
                  <c:v>0.17838416265382501</c:v>
                </c:pt>
                <c:pt idx="10003">
                  <c:v>0.178401997503121</c:v>
                </c:pt>
                <c:pt idx="10004">
                  <c:v>0.17841983235241601</c:v>
                </c:pt>
                <c:pt idx="10005">
                  <c:v>0.178437667201712</c:v>
                </c:pt>
                <c:pt idx="10006">
                  <c:v>0.17845550205100699</c:v>
                </c:pt>
                <c:pt idx="10007">
                  <c:v>0.17847333690030301</c:v>
                </c:pt>
                <c:pt idx="10008">
                  <c:v>0.178491171749598</c:v>
                </c:pt>
                <c:pt idx="10009">
                  <c:v>0.17850900659889399</c:v>
                </c:pt>
                <c:pt idx="10010">
                  <c:v>0.17852684144818901</c:v>
                </c:pt>
                <c:pt idx="10011">
                  <c:v>0.17854467629748499</c:v>
                </c:pt>
                <c:pt idx="10012">
                  <c:v>0.17856251114678001</c:v>
                </c:pt>
                <c:pt idx="10013">
                  <c:v>0.178580345996076</c:v>
                </c:pt>
                <c:pt idx="10014">
                  <c:v>0.17859818084537099</c:v>
                </c:pt>
                <c:pt idx="10015">
                  <c:v>0.17861601569466701</c:v>
                </c:pt>
                <c:pt idx="10016">
                  <c:v>0.178633850543962</c:v>
                </c:pt>
                <c:pt idx="10017">
                  <c:v>0.17865168539325799</c:v>
                </c:pt>
                <c:pt idx="10018">
                  <c:v>0.178669520242553</c:v>
                </c:pt>
                <c:pt idx="10019">
                  <c:v>0.17868735509184899</c:v>
                </c:pt>
                <c:pt idx="10020">
                  <c:v>0.17870518994114501</c:v>
                </c:pt>
                <c:pt idx="10021">
                  <c:v>0.17872302479044</c:v>
                </c:pt>
                <c:pt idx="10022">
                  <c:v>0.17874085963973599</c:v>
                </c:pt>
                <c:pt idx="10023">
                  <c:v>0.17875869448903101</c:v>
                </c:pt>
                <c:pt idx="10024">
                  <c:v>0.17877652933832699</c:v>
                </c:pt>
                <c:pt idx="10025">
                  <c:v>0.17879436418762201</c:v>
                </c:pt>
                <c:pt idx="10026">
                  <c:v>0.178812199036918</c:v>
                </c:pt>
                <c:pt idx="10027">
                  <c:v>0.17883003388621299</c:v>
                </c:pt>
                <c:pt idx="10028">
                  <c:v>0.17884786873550901</c:v>
                </c:pt>
                <c:pt idx="10029">
                  <c:v>0.178865703584804</c:v>
                </c:pt>
                <c:pt idx="10030">
                  <c:v>0.17888353843409999</c:v>
                </c:pt>
                <c:pt idx="10031">
                  <c:v>0.178901373283395</c:v>
                </c:pt>
                <c:pt idx="10032">
                  <c:v>0.17891920813269099</c:v>
                </c:pt>
                <c:pt idx="10033">
                  <c:v>0.17893704298198601</c:v>
                </c:pt>
                <c:pt idx="10034">
                  <c:v>0.178954877831282</c:v>
                </c:pt>
                <c:pt idx="10035">
                  <c:v>0.17897271268057699</c:v>
                </c:pt>
                <c:pt idx="10036">
                  <c:v>0.17899054752987301</c:v>
                </c:pt>
                <c:pt idx="10037">
                  <c:v>0.179008382379168</c:v>
                </c:pt>
                <c:pt idx="10038">
                  <c:v>0.17902621722846401</c:v>
                </c:pt>
                <c:pt idx="10039">
                  <c:v>0.179044052077759</c:v>
                </c:pt>
                <c:pt idx="10040">
                  <c:v>0.17906188692705499</c:v>
                </c:pt>
                <c:pt idx="10041">
                  <c:v>0.17907972177635001</c:v>
                </c:pt>
                <c:pt idx="10042">
                  <c:v>0.179097556625646</c:v>
                </c:pt>
                <c:pt idx="10043">
                  <c:v>0.17911539147494199</c:v>
                </c:pt>
                <c:pt idx="10044">
                  <c:v>0.179133226324237</c:v>
                </c:pt>
                <c:pt idx="10045">
                  <c:v>0.17915106117353299</c:v>
                </c:pt>
                <c:pt idx="10046">
                  <c:v>0.17916889602282801</c:v>
                </c:pt>
                <c:pt idx="10047">
                  <c:v>0.179186730872124</c:v>
                </c:pt>
                <c:pt idx="10048">
                  <c:v>0.17920456572141899</c:v>
                </c:pt>
                <c:pt idx="10049">
                  <c:v>0.17922240057071501</c:v>
                </c:pt>
                <c:pt idx="10050">
                  <c:v>0.17924023542001</c:v>
                </c:pt>
                <c:pt idx="10051">
                  <c:v>0.17925807026930601</c:v>
                </c:pt>
                <c:pt idx="10052">
                  <c:v>0.179275905118601</c:v>
                </c:pt>
                <c:pt idx="10053">
                  <c:v>0.17929373996789699</c:v>
                </c:pt>
                <c:pt idx="10054">
                  <c:v>0.17931157481719201</c:v>
                </c:pt>
                <c:pt idx="10055">
                  <c:v>0.179329409666488</c:v>
                </c:pt>
                <c:pt idx="10056">
                  <c:v>0.17934724451578299</c:v>
                </c:pt>
                <c:pt idx="10057">
                  <c:v>0.17936507936507901</c:v>
                </c:pt>
                <c:pt idx="10058">
                  <c:v>0.179382914214374</c:v>
                </c:pt>
                <c:pt idx="10059">
                  <c:v>0.17940074906367001</c:v>
                </c:pt>
                <c:pt idx="10060">
                  <c:v>0.179418583912965</c:v>
                </c:pt>
                <c:pt idx="10061">
                  <c:v>0.17943641876226099</c:v>
                </c:pt>
                <c:pt idx="10062">
                  <c:v>0.17945425361155601</c:v>
                </c:pt>
                <c:pt idx="10063">
                  <c:v>0.179472088460852</c:v>
                </c:pt>
                <c:pt idx="10064">
                  <c:v>0.17948992331014799</c:v>
                </c:pt>
                <c:pt idx="10065">
                  <c:v>0.179507758159443</c:v>
                </c:pt>
                <c:pt idx="10066">
                  <c:v>0.17952559300873899</c:v>
                </c:pt>
                <c:pt idx="10067">
                  <c:v>0.17954342785803401</c:v>
                </c:pt>
                <c:pt idx="10068">
                  <c:v>0.17956126270733</c:v>
                </c:pt>
                <c:pt idx="10069">
                  <c:v>0.17957909755662499</c:v>
                </c:pt>
                <c:pt idx="10070">
                  <c:v>0.17959693240592101</c:v>
                </c:pt>
                <c:pt idx="10071">
                  <c:v>0.179614767255216</c:v>
                </c:pt>
                <c:pt idx="10072">
                  <c:v>0.17963260210451201</c:v>
                </c:pt>
                <c:pt idx="10073">
                  <c:v>0.179650436953807</c:v>
                </c:pt>
                <c:pt idx="10074">
                  <c:v>0.17966827180310299</c:v>
                </c:pt>
                <c:pt idx="10075">
                  <c:v>0.17968610665239801</c:v>
                </c:pt>
                <c:pt idx="10076">
                  <c:v>0.179703941501694</c:v>
                </c:pt>
                <c:pt idx="10077">
                  <c:v>0.17972177635098899</c:v>
                </c:pt>
                <c:pt idx="10078">
                  <c:v>0.179739611200285</c:v>
                </c:pt>
                <c:pt idx="10079">
                  <c:v>0.17975744604957999</c:v>
                </c:pt>
                <c:pt idx="10080">
                  <c:v>0.17977528089887601</c:v>
                </c:pt>
                <c:pt idx="10081">
                  <c:v>0.179793115748171</c:v>
                </c:pt>
                <c:pt idx="10082">
                  <c:v>0.17981095059746699</c:v>
                </c:pt>
                <c:pt idx="10083">
                  <c:v>0.17982878544676201</c:v>
                </c:pt>
                <c:pt idx="10084">
                  <c:v>0.179846620296058</c:v>
                </c:pt>
                <c:pt idx="10085">
                  <c:v>0.17986445514535401</c:v>
                </c:pt>
                <c:pt idx="10086">
                  <c:v>0.179882289994649</c:v>
                </c:pt>
                <c:pt idx="10087">
                  <c:v>0.17990012484394499</c:v>
                </c:pt>
                <c:pt idx="10088">
                  <c:v>0.17991795969324001</c:v>
                </c:pt>
                <c:pt idx="10089">
                  <c:v>0.179935794542536</c:v>
                </c:pt>
                <c:pt idx="10090">
                  <c:v>0.17995362939183099</c:v>
                </c:pt>
                <c:pt idx="10091">
                  <c:v>0.179971464241127</c:v>
                </c:pt>
                <c:pt idx="10092">
                  <c:v>0.17998929909042199</c:v>
                </c:pt>
                <c:pt idx="10093">
                  <c:v>0.18000713393971801</c:v>
                </c:pt>
                <c:pt idx="10094">
                  <c:v>0.180024968789013</c:v>
                </c:pt>
                <c:pt idx="10095">
                  <c:v>0.18004280363830899</c:v>
                </c:pt>
                <c:pt idx="10096">
                  <c:v>0.18006063848760401</c:v>
                </c:pt>
                <c:pt idx="10097">
                  <c:v>0.1800784733369</c:v>
                </c:pt>
                <c:pt idx="10098">
                  <c:v>0.18009630818619499</c:v>
                </c:pt>
                <c:pt idx="10099">
                  <c:v>0.180114143035491</c:v>
                </c:pt>
                <c:pt idx="10100">
                  <c:v>0.18013197788478599</c:v>
                </c:pt>
                <c:pt idx="10101">
                  <c:v>0.18014981273408201</c:v>
                </c:pt>
                <c:pt idx="10102">
                  <c:v>0.180167647583377</c:v>
                </c:pt>
                <c:pt idx="10103">
                  <c:v>0.18018548243267299</c:v>
                </c:pt>
                <c:pt idx="10104">
                  <c:v>0.18020331728196801</c:v>
                </c:pt>
                <c:pt idx="10105">
                  <c:v>0.180221152131264</c:v>
                </c:pt>
                <c:pt idx="10106">
                  <c:v>0.18023898698056001</c:v>
                </c:pt>
                <c:pt idx="10107">
                  <c:v>0.180256821829855</c:v>
                </c:pt>
                <c:pt idx="10108">
                  <c:v>0.18027465667915099</c:v>
                </c:pt>
                <c:pt idx="10109">
                  <c:v>0.18029249152844601</c:v>
                </c:pt>
                <c:pt idx="10110">
                  <c:v>0.180310326377742</c:v>
                </c:pt>
                <c:pt idx="10111">
                  <c:v>0.18032816122703699</c:v>
                </c:pt>
                <c:pt idx="10112">
                  <c:v>0.180345996076333</c:v>
                </c:pt>
                <c:pt idx="10113">
                  <c:v>0.18036383092562799</c:v>
                </c:pt>
                <c:pt idx="10114">
                  <c:v>0.18038166577492401</c:v>
                </c:pt>
                <c:pt idx="10115">
                  <c:v>0.180399500624219</c:v>
                </c:pt>
                <c:pt idx="10116">
                  <c:v>0.18041733547351499</c:v>
                </c:pt>
                <c:pt idx="10117">
                  <c:v>0.18043517032281001</c:v>
                </c:pt>
                <c:pt idx="10118">
                  <c:v>0.180453005172106</c:v>
                </c:pt>
                <c:pt idx="10119">
                  <c:v>0.18047084002140101</c:v>
                </c:pt>
                <c:pt idx="10120">
                  <c:v>0.180488674870697</c:v>
                </c:pt>
                <c:pt idx="10121">
                  <c:v>0.18050650971999199</c:v>
                </c:pt>
                <c:pt idx="10122">
                  <c:v>0.18052434456928801</c:v>
                </c:pt>
                <c:pt idx="10123">
                  <c:v>0.180542179418583</c:v>
                </c:pt>
                <c:pt idx="10124">
                  <c:v>0.18056001426787899</c:v>
                </c:pt>
                <c:pt idx="10125">
                  <c:v>0.18057784911717401</c:v>
                </c:pt>
                <c:pt idx="10126">
                  <c:v>0.18059568396646999</c:v>
                </c:pt>
                <c:pt idx="10127">
                  <c:v>0.18061351881576601</c:v>
                </c:pt>
                <c:pt idx="10128">
                  <c:v>0.180631353665061</c:v>
                </c:pt>
                <c:pt idx="10129">
                  <c:v>0.18064918851435699</c:v>
                </c:pt>
                <c:pt idx="10130">
                  <c:v>0.18066702336365201</c:v>
                </c:pt>
                <c:pt idx="10131">
                  <c:v>0.180684858212948</c:v>
                </c:pt>
                <c:pt idx="10132">
                  <c:v>0.18070269306224301</c:v>
                </c:pt>
                <c:pt idx="10133">
                  <c:v>0.180720527911539</c:v>
                </c:pt>
                <c:pt idx="10134">
                  <c:v>0.18073836276083399</c:v>
                </c:pt>
                <c:pt idx="10135">
                  <c:v>0.18075619761013001</c:v>
                </c:pt>
                <c:pt idx="10136">
                  <c:v>0.180774032459425</c:v>
                </c:pt>
                <c:pt idx="10137">
                  <c:v>0.18079186730872099</c:v>
                </c:pt>
                <c:pt idx="10138">
                  <c:v>0.18080970215801601</c:v>
                </c:pt>
                <c:pt idx="10139">
                  <c:v>0.18082753700731199</c:v>
                </c:pt>
                <c:pt idx="10140">
                  <c:v>0.18084537185660701</c:v>
                </c:pt>
                <c:pt idx="10141">
                  <c:v>0.180863206705903</c:v>
                </c:pt>
                <c:pt idx="10142">
                  <c:v>0.18088104155519799</c:v>
                </c:pt>
                <c:pt idx="10143">
                  <c:v>0.18089887640449401</c:v>
                </c:pt>
                <c:pt idx="10144">
                  <c:v>0.180916711253789</c:v>
                </c:pt>
                <c:pt idx="10145">
                  <c:v>0.18093454610308499</c:v>
                </c:pt>
                <c:pt idx="10146">
                  <c:v>0.18095238095238</c:v>
                </c:pt>
                <c:pt idx="10147">
                  <c:v>0.18097021580167599</c:v>
                </c:pt>
                <c:pt idx="10148">
                  <c:v>0.18098805065097201</c:v>
                </c:pt>
                <c:pt idx="10149">
                  <c:v>0.181005885500267</c:v>
                </c:pt>
                <c:pt idx="10150">
                  <c:v>0.18102372034956299</c:v>
                </c:pt>
                <c:pt idx="10151">
                  <c:v>0.18104155519885801</c:v>
                </c:pt>
                <c:pt idx="10152">
                  <c:v>0.181059390048154</c:v>
                </c:pt>
                <c:pt idx="10153">
                  <c:v>0.18107722489744901</c:v>
                </c:pt>
                <c:pt idx="10154">
                  <c:v>0.181095059746745</c:v>
                </c:pt>
                <c:pt idx="10155">
                  <c:v>0.18111289459603999</c:v>
                </c:pt>
                <c:pt idx="10156">
                  <c:v>0.18113072944533601</c:v>
                </c:pt>
                <c:pt idx="10157">
                  <c:v>0.181148564294631</c:v>
                </c:pt>
                <c:pt idx="10158">
                  <c:v>0.18116639914392699</c:v>
                </c:pt>
                <c:pt idx="10159">
                  <c:v>0.181184233993222</c:v>
                </c:pt>
                <c:pt idx="10160">
                  <c:v>0.18120206884251799</c:v>
                </c:pt>
                <c:pt idx="10161">
                  <c:v>0.18121990369181301</c:v>
                </c:pt>
                <c:pt idx="10162">
                  <c:v>0.181237738541109</c:v>
                </c:pt>
                <c:pt idx="10163">
                  <c:v>0.18125557339040399</c:v>
                </c:pt>
                <c:pt idx="10164">
                  <c:v>0.18127340823970001</c:v>
                </c:pt>
                <c:pt idx="10165">
                  <c:v>0.181291243088995</c:v>
                </c:pt>
                <c:pt idx="10166">
                  <c:v>0.18130907793829101</c:v>
                </c:pt>
                <c:pt idx="10167">
                  <c:v>0.181326912787586</c:v>
                </c:pt>
                <c:pt idx="10168">
                  <c:v>0.18134474763688199</c:v>
                </c:pt>
                <c:pt idx="10169">
                  <c:v>0.18136258248617701</c:v>
                </c:pt>
                <c:pt idx="10170">
                  <c:v>0.181380417335473</c:v>
                </c:pt>
                <c:pt idx="10171">
                  <c:v>0.18139825218476899</c:v>
                </c:pt>
                <c:pt idx="10172">
                  <c:v>0.18141608703406401</c:v>
                </c:pt>
                <c:pt idx="10173">
                  <c:v>0.18143392188335999</c:v>
                </c:pt>
                <c:pt idx="10174">
                  <c:v>0.18145175673265501</c:v>
                </c:pt>
                <c:pt idx="10175">
                  <c:v>0.181469591581951</c:v>
                </c:pt>
                <c:pt idx="10176">
                  <c:v>0.18148742643124599</c:v>
                </c:pt>
                <c:pt idx="10177">
                  <c:v>0.18150526128054201</c:v>
                </c:pt>
                <c:pt idx="10178">
                  <c:v>0.181523096129837</c:v>
                </c:pt>
                <c:pt idx="10179">
                  <c:v>0.18154093097913299</c:v>
                </c:pt>
                <c:pt idx="10180">
                  <c:v>0.181558765828428</c:v>
                </c:pt>
                <c:pt idx="10181">
                  <c:v>0.18157660067772399</c:v>
                </c:pt>
                <c:pt idx="10182">
                  <c:v>0.18159443552701901</c:v>
                </c:pt>
                <c:pt idx="10183">
                  <c:v>0.181612270376315</c:v>
                </c:pt>
                <c:pt idx="10184">
                  <c:v>0.18163010522560999</c:v>
                </c:pt>
                <c:pt idx="10185">
                  <c:v>0.18164794007490601</c:v>
                </c:pt>
                <c:pt idx="10186">
                  <c:v>0.181665774924201</c:v>
                </c:pt>
                <c:pt idx="10187">
                  <c:v>0.18168360977349701</c:v>
                </c:pt>
                <c:pt idx="10188">
                  <c:v>0.181701444622792</c:v>
                </c:pt>
                <c:pt idx="10189">
                  <c:v>0.18171927947208799</c:v>
                </c:pt>
                <c:pt idx="10190">
                  <c:v>0.18173711432138301</c:v>
                </c:pt>
                <c:pt idx="10191">
                  <c:v>0.181754949170679</c:v>
                </c:pt>
                <c:pt idx="10192">
                  <c:v>0.18177278401997499</c:v>
                </c:pt>
                <c:pt idx="10193">
                  <c:v>0.18179061886927</c:v>
                </c:pt>
                <c:pt idx="10194">
                  <c:v>0.18180845371856599</c:v>
                </c:pt>
                <c:pt idx="10195">
                  <c:v>0.18182628856786101</c:v>
                </c:pt>
                <c:pt idx="10196">
                  <c:v>0.181844123417157</c:v>
                </c:pt>
                <c:pt idx="10197">
                  <c:v>0.18186195826645199</c:v>
                </c:pt>
                <c:pt idx="10198">
                  <c:v>0.18187979311574801</c:v>
                </c:pt>
                <c:pt idx="10199">
                  <c:v>0.181897627965043</c:v>
                </c:pt>
                <c:pt idx="10200">
                  <c:v>0.18191546281433901</c:v>
                </c:pt>
                <c:pt idx="10201">
                  <c:v>0.181933297663634</c:v>
                </c:pt>
                <c:pt idx="10202">
                  <c:v>0.18195113251292999</c:v>
                </c:pt>
                <c:pt idx="10203">
                  <c:v>0.18196896736222501</c:v>
                </c:pt>
                <c:pt idx="10204">
                  <c:v>0.181986802211521</c:v>
                </c:pt>
                <c:pt idx="10205">
                  <c:v>0.18200463706081599</c:v>
                </c:pt>
                <c:pt idx="10206">
                  <c:v>0.182022471910112</c:v>
                </c:pt>
                <c:pt idx="10207">
                  <c:v>0.18204030675940699</c:v>
                </c:pt>
                <c:pt idx="10208">
                  <c:v>0.18205814160870301</c:v>
                </c:pt>
                <c:pt idx="10209">
                  <c:v>0.182075976457998</c:v>
                </c:pt>
                <c:pt idx="10210">
                  <c:v>0.18209381130729399</c:v>
                </c:pt>
                <c:pt idx="10211">
                  <c:v>0.18211164615658901</c:v>
                </c:pt>
                <c:pt idx="10212">
                  <c:v>0.182129481005885</c:v>
                </c:pt>
                <c:pt idx="10213">
                  <c:v>0.18214731585518101</c:v>
                </c:pt>
                <c:pt idx="10214">
                  <c:v>0.182165150704476</c:v>
                </c:pt>
                <c:pt idx="10215">
                  <c:v>0.18218298555377199</c:v>
                </c:pt>
                <c:pt idx="10216">
                  <c:v>0.18220082040306701</c:v>
                </c:pt>
                <c:pt idx="10217">
                  <c:v>0.182218655252363</c:v>
                </c:pt>
                <c:pt idx="10218">
                  <c:v>0.18223649010165799</c:v>
                </c:pt>
                <c:pt idx="10219">
                  <c:v>0.18225432495095401</c:v>
                </c:pt>
                <c:pt idx="10220">
                  <c:v>0.182272159800249</c:v>
                </c:pt>
                <c:pt idx="10221">
                  <c:v>0.18228999464954501</c:v>
                </c:pt>
                <c:pt idx="10222">
                  <c:v>0.18230782949884</c:v>
                </c:pt>
                <c:pt idx="10223">
                  <c:v>0.18232566434813599</c:v>
                </c:pt>
                <c:pt idx="10224">
                  <c:v>0.18234349919743101</c:v>
                </c:pt>
                <c:pt idx="10225">
                  <c:v>0.182361334046727</c:v>
                </c:pt>
                <c:pt idx="10226">
                  <c:v>0.18237916889602199</c:v>
                </c:pt>
                <c:pt idx="10227">
                  <c:v>0.182397003745318</c:v>
                </c:pt>
                <c:pt idx="10228">
                  <c:v>0.18241483859461299</c:v>
                </c:pt>
                <c:pt idx="10229">
                  <c:v>0.18243267344390901</c:v>
                </c:pt>
                <c:pt idx="10230">
                  <c:v>0.182450508293204</c:v>
                </c:pt>
                <c:pt idx="10231">
                  <c:v>0.18246834314249999</c:v>
                </c:pt>
                <c:pt idx="10232">
                  <c:v>0.18248617799179501</c:v>
                </c:pt>
                <c:pt idx="10233">
                  <c:v>0.182504012841091</c:v>
                </c:pt>
                <c:pt idx="10234">
                  <c:v>0.18252184769038701</c:v>
                </c:pt>
                <c:pt idx="10235">
                  <c:v>0.182539682539682</c:v>
                </c:pt>
                <c:pt idx="10236">
                  <c:v>0.18255751738897799</c:v>
                </c:pt>
                <c:pt idx="10237">
                  <c:v>0.18257535223827301</c:v>
                </c:pt>
                <c:pt idx="10238">
                  <c:v>0.182593187087569</c:v>
                </c:pt>
                <c:pt idx="10239">
                  <c:v>0.18261102193686399</c:v>
                </c:pt>
                <c:pt idx="10240">
                  <c:v>0.18262885678616</c:v>
                </c:pt>
                <c:pt idx="10241">
                  <c:v>0.18264669163545499</c:v>
                </c:pt>
                <c:pt idx="10242">
                  <c:v>0.18266452648475101</c:v>
                </c:pt>
                <c:pt idx="10243">
                  <c:v>0.182682361334046</c:v>
                </c:pt>
                <c:pt idx="10244">
                  <c:v>0.18270019618334199</c:v>
                </c:pt>
                <c:pt idx="10245">
                  <c:v>0.18271803103263701</c:v>
                </c:pt>
                <c:pt idx="10246">
                  <c:v>0.182735865881933</c:v>
                </c:pt>
                <c:pt idx="10247">
                  <c:v>0.18275370073122801</c:v>
                </c:pt>
                <c:pt idx="10248">
                  <c:v>0.182771535580524</c:v>
                </c:pt>
                <c:pt idx="10249">
                  <c:v>0.18278937042981899</c:v>
                </c:pt>
                <c:pt idx="10250">
                  <c:v>0.18280720527911501</c:v>
                </c:pt>
                <c:pt idx="10251">
                  <c:v>0.18282504012841</c:v>
                </c:pt>
                <c:pt idx="10252">
                  <c:v>0.18284287497770599</c:v>
                </c:pt>
                <c:pt idx="10253">
                  <c:v>0.18286070982700101</c:v>
                </c:pt>
                <c:pt idx="10254">
                  <c:v>0.18287854467629699</c:v>
                </c:pt>
                <c:pt idx="10255">
                  <c:v>0.18289637952559301</c:v>
                </c:pt>
                <c:pt idx="10256">
                  <c:v>0.182914214374888</c:v>
                </c:pt>
                <c:pt idx="10257">
                  <c:v>0.18293204922418399</c:v>
                </c:pt>
                <c:pt idx="10258">
                  <c:v>0.18294988407347901</c:v>
                </c:pt>
                <c:pt idx="10259">
                  <c:v>0.182967718922775</c:v>
                </c:pt>
                <c:pt idx="10260">
                  <c:v>0.18298555377206999</c:v>
                </c:pt>
                <c:pt idx="10261">
                  <c:v>0.183003388621366</c:v>
                </c:pt>
                <c:pt idx="10262">
                  <c:v>0.18302122347066099</c:v>
                </c:pt>
                <c:pt idx="10263">
                  <c:v>0.18303905831995701</c:v>
                </c:pt>
                <c:pt idx="10264">
                  <c:v>0.183056893169252</c:v>
                </c:pt>
                <c:pt idx="10265">
                  <c:v>0.18307472801854799</c:v>
                </c:pt>
                <c:pt idx="10266">
                  <c:v>0.18309256286784301</c:v>
                </c:pt>
                <c:pt idx="10267">
                  <c:v>0.183110397717139</c:v>
                </c:pt>
                <c:pt idx="10268">
                  <c:v>0.18312823256643401</c:v>
                </c:pt>
                <c:pt idx="10269">
                  <c:v>0.18314606741573</c:v>
                </c:pt>
                <c:pt idx="10270">
                  <c:v>0.18316390226502499</c:v>
                </c:pt>
                <c:pt idx="10271">
                  <c:v>0.18318173711432101</c:v>
                </c:pt>
                <c:pt idx="10272">
                  <c:v>0.183199571963616</c:v>
                </c:pt>
                <c:pt idx="10273">
                  <c:v>0.18321740681291199</c:v>
                </c:pt>
                <c:pt idx="10274">
                  <c:v>0.183235241662207</c:v>
                </c:pt>
                <c:pt idx="10275">
                  <c:v>0.18325307651150299</c:v>
                </c:pt>
                <c:pt idx="10276">
                  <c:v>0.18327091136079901</c:v>
                </c:pt>
                <c:pt idx="10277">
                  <c:v>0.183288746210094</c:v>
                </c:pt>
                <c:pt idx="10278">
                  <c:v>0.18330658105938999</c:v>
                </c:pt>
                <c:pt idx="10279">
                  <c:v>0.18332441590868501</c:v>
                </c:pt>
                <c:pt idx="10280">
                  <c:v>0.183342250757981</c:v>
                </c:pt>
                <c:pt idx="10281">
                  <c:v>0.18336008560727601</c:v>
                </c:pt>
                <c:pt idx="10282">
                  <c:v>0.183377920456572</c:v>
                </c:pt>
                <c:pt idx="10283">
                  <c:v>0.18339575530586699</c:v>
                </c:pt>
                <c:pt idx="10284">
                  <c:v>0.18341359015516301</c:v>
                </c:pt>
                <c:pt idx="10285">
                  <c:v>0.183431425004458</c:v>
                </c:pt>
                <c:pt idx="10286">
                  <c:v>0.18344925985375399</c:v>
                </c:pt>
                <c:pt idx="10287">
                  <c:v>0.18346709470304901</c:v>
                </c:pt>
                <c:pt idx="10288">
                  <c:v>0.18348492955234499</c:v>
                </c:pt>
                <c:pt idx="10289">
                  <c:v>0.18350276440164001</c:v>
                </c:pt>
                <c:pt idx="10290">
                  <c:v>0.183520599250936</c:v>
                </c:pt>
                <c:pt idx="10291">
                  <c:v>0.18353843410023099</c:v>
                </c:pt>
                <c:pt idx="10292">
                  <c:v>0.18355626894952701</c:v>
                </c:pt>
                <c:pt idx="10293">
                  <c:v>0.183574103798822</c:v>
                </c:pt>
                <c:pt idx="10294">
                  <c:v>0.18359193864811801</c:v>
                </c:pt>
                <c:pt idx="10295">
                  <c:v>0.183609773497413</c:v>
                </c:pt>
                <c:pt idx="10296">
                  <c:v>0.18362760834670899</c:v>
                </c:pt>
                <c:pt idx="10297">
                  <c:v>0.18364544319600401</c:v>
                </c:pt>
                <c:pt idx="10298">
                  <c:v>0.1836632780453</c:v>
                </c:pt>
                <c:pt idx="10299">
                  <c:v>0.18368111289459599</c:v>
                </c:pt>
                <c:pt idx="10300">
                  <c:v>0.18369894774389101</c:v>
                </c:pt>
                <c:pt idx="10301">
                  <c:v>0.18371678259318699</c:v>
                </c:pt>
                <c:pt idx="10302">
                  <c:v>0.18373461744248201</c:v>
                </c:pt>
                <c:pt idx="10303">
                  <c:v>0.183752452291778</c:v>
                </c:pt>
                <c:pt idx="10304">
                  <c:v>0.18377028714107299</c:v>
                </c:pt>
                <c:pt idx="10305">
                  <c:v>0.18378812199036901</c:v>
                </c:pt>
                <c:pt idx="10306">
                  <c:v>0.183805956839664</c:v>
                </c:pt>
                <c:pt idx="10307">
                  <c:v>0.18382379168895999</c:v>
                </c:pt>
                <c:pt idx="10308">
                  <c:v>0.183841626538255</c:v>
                </c:pt>
                <c:pt idx="10309">
                  <c:v>0.18385946138755099</c:v>
                </c:pt>
                <c:pt idx="10310">
                  <c:v>0.18387729623684601</c:v>
                </c:pt>
                <c:pt idx="10311">
                  <c:v>0.183895131086142</c:v>
                </c:pt>
                <c:pt idx="10312">
                  <c:v>0.18391296593543699</c:v>
                </c:pt>
                <c:pt idx="10313">
                  <c:v>0.18393080078473301</c:v>
                </c:pt>
                <c:pt idx="10314">
                  <c:v>0.183948635634028</c:v>
                </c:pt>
                <c:pt idx="10315">
                  <c:v>0.18396647048332401</c:v>
                </c:pt>
                <c:pt idx="10316">
                  <c:v>0.183984305332619</c:v>
                </c:pt>
                <c:pt idx="10317">
                  <c:v>0.18400214018191499</c:v>
                </c:pt>
                <c:pt idx="10318">
                  <c:v>0.18401997503121001</c:v>
                </c:pt>
                <c:pt idx="10319">
                  <c:v>0.184037809880506</c:v>
                </c:pt>
                <c:pt idx="10320">
                  <c:v>0.18405564472980199</c:v>
                </c:pt>
                <c:pt idx="10321">
                  <c:v>0.184073479579097</c:v>
                </c:pt>
                <c:pt idx="10322">
                  <c:v>0.18409131442839299</c:v>
                </c:pt>
                <c:pt idx="10323">
                  <c:v>0.18410914927768801</c:v>
                </c:pt>
                <c:pt idx="10324">
                  <c:v>0.184126984126984</c:v>
                </c:pt>
                <c:pt idx="10325">
                  <c:v>0.18414481897627899</c:v>
                </c:pt>
                <c:pt idx="10326">
                  <c:v>0.18416265382557501</c:v>
                </c:pt>
                <c:pt idx="10327">
                  <c:v>0.18418048867487</c:v>
                </c:pt>
                <c:pt idx="10328">
                  <c:v>0.18419832352416601</c:v>
                </c:pt>
                <c:pt idx="10329">
                  <c:v>0.184216158373461</c:v>
                </c:pt>
                <c:pt idx="10330">
                  <c:v>0.18423399322275699</c:v>
                </c:pt>
                <c:pt idx="10331">
                  <c:v>0.18425182807205201</c:v>
                </c:pt>
                <c:pt idx="10332">
                  <c:v>0.184269662921348</c:v>
                </c:pt>
                <c:pt idx="10333">
                  <c:v>0.18428749777064299</c:v>
                </c:pt>
                <c:pt idx="10334">
                  <c:v>0.18430533261993901</c:v>
                </c:pt>
                <c:pt idx="10335">
                  <c:v>0.18432316746923399</c:v>
                </c:pt>
                <c:pt idx="10336">
                  <c:v>0.18434100231853001</c:v>
                </c:pt>
                <c:pt idx="10337">
                  <c:v>0.184358837167825</c:v>
                </c:pt>
                <c:pt idx="10338">
                  <c:v>0.18437667201712099</c:v>
                </c:pt>
                <c:pt idx="10339">
                  <c:v>0.18439450686641601</c:v>
                </c:pt>
                <c:pt idx="10340">
                  <c:v>0.184412341715712</c:v>
                </c:pt>
                <c:pt idx="10341">
                  <c:v>0.18443017656500801</c:v>
                </c:pt>
                <c:pt idx="10342">
                  <c:v>0.184448011414303</c:v>
                </c:pt>
                <c:pt idx="10343">
                  <c:v>0.18446584626359899</c:v>
                </c:pt>
                <c:pt idx="10344">
                  <c:v>0.18448368111289401</c:v>
                </c:pt>
                <c:pt idx="10345">
                  <c:v>0.18450151596219</c:v>
                </c:pt>
                <c:pt idx="10346">
                  <c:v>0.18451935081148499</c:v>
                </c:pt>
                <c:pt idx="10347">
                  <c:v>0.18453718566078101</c:v>
                </c:pt>
                <c:pt idx="10348">
                  <c:v>0.184555020510076</c:v>
                </c:pt>
                <c:pt idx="10349">
                  <c:v>0.18457285535937201</c:v>
                </c:pt>
                <c:pt idx="10350">
                  <c:v>0.184590690208667</c:v>
                </c:pt>
                <c:pt idx="10351">
                  <c:v>0.18460852505796299</c:v>
                </c:pt>
                <c:pt idx="10352">
                  <c:v>0.18462635990725801</c:v>
                </c:pt>
                <c:pt idx="10353">
                  <c:v>0.184644194756554</c:v>
                </c:pt>
                <c:pt idx="10354">
                  <c:v>0.18466202960584899</c:v>
                </c:pt>
                <c:pt idx="10355">
                  <c:v>0.184679864455145</c:v>
                </c:pt>
                <c:pt idx="10356">
                  <c:v>0.18469769930443999</c:v>
                </c:pt>
                <c:pt idx="10357">
                  <c:v>0.18471553415373601</c:v>
                </c:pt>
                <c:pt idx="10358">
                  <c:v>0.184733369003031</c:v>
                </c:pt>
                <c:pt idx="10359">
                  <c:v>0.18475120385232699</c:v>
                </c:pt>
                <c:pt idx="10360">
                  <c:v>0.18476903870162201</c:v>
                </c:pt>
                <c:pt idx="10361">
                  <c:v>0.184786873550918</c:v>
                </c:pt>
                <c:pt idx="10362">
                  <c:v>0.18480470840021401</c:v>
                </c:pt>
                <c:pt idx="10363">
                  <c:v>0.184822543249509</c:v>
                </c:pt>
                <c:pt idx="10364">
                  <c:v>0.18484037809880499</c:v>
                </c:pt>
                <c:pt idx="10365">
                  <c:v>0.18485821294810001</c:v>
                </c:pt>
                <c:pt idx="10366">
                  <c:v>0.184876047797396</c:v>
                </c:pt>
                <c:pt idx="10367">
                  <c:v>0.18489388264669099</c:v>
                </c:pt>
                <c:pt idx="10368">
                  <c:v>0.184911717495987</c:v>
                </c:pt>
                <c:pt idx="10369">
                  <c:v>0.18492955234528199</c:v>
                </c:pt>
                <c:pt idx="10370">
                  <c:v>0.18494738719457801</c:v>
                </c:pt>
                <c:pt idx="10371">
                  <c:v>0.184965222043873</c:v>
                </c:pt>
                <c:pt idx="10372">
                  <c:v>0.18498305689316899</c:v>
                </c:pt>
                <c:pt idx="10373">
                  <c:v>0.18500089174246401</c:v>
                </c:pt>
                <c:pt idx="10374">
                  <c:v>0.18501872659176</c:v>
                </c:pt>
                <c:pt idx="10375">
                  <c:v>0.18503656144105499</c:v>
                </c:pt>
                <c:pt idx="10376">
                  <c:v>0.185054396290351</c:v>
                </c:pt>
                <c:pt idx="10377">
                  <c:v>0.18507223113964599</c:v>
                </c:pt>
                <c:pt idx="10378">
                  <c:v>0.18509006598894201</c:v>
                </c:pt>
                <c:pt idx="10379">
                  <c:v>0.185107900838237</c:v>
                </c:pt>
                <c:pt idx="10380">
                  <c:v>0.18512573568753299</c:v>
                </c:pt>
                <c:pt idx="10381">
                  <c:v>0.18514357053682801</c:v>
                </c:pt>
                <c:pt idx="10382">
                  <c:v>0.185161405386124</c:v>
                </c:pt>
                <c:pt idx="10383">
                  <c:v>0.18517924023542001</c:v>
                </c:pt>
                <c:pt idx="10384">
                  <c:v>0.185197075084715</c:v>
                </c:pt>
                <c:pt idx="10385">
                  <c:v>0.18521490993401099</c:v>
                </c:pt>
                <c:pt idx="10386">
                  <c:v>0.18523274478330601</c:v>
                </c:pt>
                <c:pt idx="10387">
                  <c:v>0.185250579632602</c:v>
                </c:pt>
                <c:pt idx="10388">
                  <c:v>0.18526841448189699</c:v>
                </c:pt>
                <c:pt idx="10389">
                  <c:v>0.185286249331193</c:v>
                </c:pt>
                <c:pt idx="10390">
                  <c:v>0.18530408418048799</c:v>
                </c:pt>
                <c:pt idx="10391">
                  <c:v>0.18532191902978401</c:v>
                </c:pt>
                <c:pt idx="10392">
                  <c:v>0.185339753879079</c:v>
                </c:pt>
                <c:pt idx="10393">
                  <c:v>0.18535758872837499</c:v>
                </c:pt>
                <c:pt idx="10394">
                  <c:v>0.18537542357767001</c:v>
                </c:pt>
                <c:pt idx="10395">
                  <c:v>0.185393258426966</c:v>
                </c:pt>
                <c:pt idx="10396">
                  <c:v>0.18541109327626101</c:v>
                </c:pt>
                <c:pt idx="10397">
                  <c:v>0.185428928125557</c:v>
                </c:pt>
                <c:pt idx="10398">
                  <c:v>0.18544676297485199</c:v>
                </c:pt>
                <c:pt idx="10399">
                  <c:v>0.18546459782414801</c:v>
                </c:pt>
                <c:pt idx="10400">
                  <c:v>0.185482432673443</c:v>
                </c:pt>
                <c:pt idx="10401">
                  <c:v>0.18550026752273899</c:v>
                </c:pt>
                <c:pt idx="10402">
                  <c:v>0.185518102372034</c:v>
                </c:pt>
                <c:pt idx="10403">
                  <c:v>0.18553593722132999</c:v>
                </c:pt>
                <c:pt idx="10404">
                  <c:v>0.18555377207062601</c:v>
                </c:pt>
                <c:pt idx="10405">
                  <c:v>0.185571606919921</c:v>
                </c:pt>
                <c:pt idx="10406">
                  <c:v>0.18558944176921699</c:v>
                </c:pt>
                <c:pt idx="10407">
                  <c:v>0.18560727661851201</c:v>
                </c:pt>
                <c:pt idx="10408">
                  <c:v>0.185625111467808</c:v>
                </c:pt>
                <c:pt idx="10409">
                  <c:v>0.18564294631710301</c:v>
                </c:pt>
                <c:pt idx="10410">
                  <c:v>0.185660781166399</c:v>
                </c:pt>
                <c:pt idx="10411">
                  <c:v>0.18567861601569399</c:v>
                </c:pt>
                <c:pt idx="10412">
                  <c:v>0.18569645086499001</c:v>
                </c:pt>
                <c:pt idx="10413">
                  <c:v>0.185714285714285</c:v>
                </c:pt>
                <c:pt idx="10414">
                  <c:v>0.18573212056358099</c:v>
                </c:pt>
                <c:pt idx="10415">
                  <c:v>0.18574995541287601</c:v>
                </c:pt>
                <c:pt idx="10416">
                  <c:v>0.18576779026217199</c:v>
                </c:pt>
                <c:pt idx="10417">
                  <c:v>0.18578562511146701</c:v>
                </c:pt>
                <c:pt idx="10418">
                  <c:v>0.185803459960763</c:v>
                </c:pt>
                <c:pt idx="10419">
                  <c:v>0.18582129481005799</c:v>
                </c:pt>
                <c:pt idx="10420">
                  <c:v>0.18583912965935401</c:v>
                </c:pt>
                <c:pt idx="10421">
                  <c:v>0.185856964508649</c:v>
                </c:pt>
                <c:pt idx="10422">
                  <c:v>0.18587479935794499</c:v>
                </c:pt>
                <c:pt idx="10423">
                  <c:v>0.18589263420724</c:v>
                </c:pt>
                <c:pt idx="10424">
                  <c:v>0.18591046905653599</c:v>
                </c:pt>
                <c:pt idx="10425">
                  <c:v>0.18592830390583101</c:v>
                </c:pt>
                <c:pt idx="10426">
                  <c:v>0.185946138755127</c:v>
                </c:pt>
                <c:pt idx="10427">
                  <c:v>0.18596397360442299</c:v>
                </c:pt>
                <c:pt idx="10428">
                  <c:v>0.18598180845371801</c:v>
                </c:pt>
                <c:pt idx="10429">
                  <c:v>0.185999643303014</c:v>
                </c:pt>
                <c:pt idx="10430">
                  <c:v>0.18601747815230901</c:v>
                </c:pt>
                <c:pt idx="10431">
                  <c:v>0.186035313001605</c:v>
                </c:pt>
                <c:pt idx="10432">
                  <c:v>0.18605314785089999</c:v>
                </c:pt>
                <c:pt idx="10433">
                  <c:v>0.18607098270019601</c:v>
                </c:pt>
                <c:pt idx="10434">
                  <c:v>0.186088817549491</c:v>
                </c:pt>
                <c:pt idx="10435">
                  <c:v>0.18610665239878699</c:v>
                </c:pt>
                <c:pt idx="10436">
                  <c:v>0.186124487248082</c:v>
                </c:pt>
                <c:pt idx="10437">
                  <c:v>0.18614232209737799</c:v>
                </c:pt>
                <c:pt idx="10438">
                  <c:v>0.18616015694667301</c:v>
                </c:pt>
                <c:pt idx="10439">
                  <c:v>0.186177991795969</c:v>
                </c:pt>
                <c:pt idx="10440">
                  <c:v>0.18619582664526399</c:v>
                </c:pt>
                <c:pt idx="10441">
                  <c:v>0.18621366149456001</c:v>
                </c:pt>
                <c:pt idx="10442">
                  <c:v>0.186231496343855</c:v>
                </c:pt>
                <c:pt idx="10443">
                  <c:v>0.18624933119315101</c:v>
                </c:pt>
                <c:pt idx="10444">
                  <c:v>0.186267166042446</c:v>
                </c:pt>
                <c:pt idx="10445">
                  <c:v>0.18628500089174199</c:v>
                </c:pt>
                <c:pt idx="10446">
                  <c:v>0.18630283574103701</c:v>
                </c:pt>
                <c:pt idx="10447">
                  <c:v>0.186320670590333</c:v>
                </c:pt>
                <c:pt idx="10448">
                  <c:v>0.18633850543962899</c:v>
                </c:pt>
                <c:pt idx="10449">
                  <c:v>0.18635634028892401</c:v>
                </c:pt>
                <c:pt idx="10450">
                  <c:v>0.18637417513821999</c:v>
                </c:pt>
                <c:pt idx="10451">
                  <c:v>0.18639200998751501</c:v>
                </c:pt>
                <c:pt idx="10452">
                  <c:v>0.186409844836811</c:v>
                </c:pt>
                <c:pt idx="10453">
                  <c:v>0.18642767968610599</c:v>
                </c:pt>
                <c:pt idx="10454">
                  <c:v>0.18644551453540201</c:v>
                </c:pt>
                <c:pt idx="10455">
                  <c:v>0.186463349384697</c:v>
                </c:pt>
                <c:pt idx="10456">
                  <c:v>0.18648118423399301</c:v>
                </c:pt>
                <c:pt idx="10457">
                  <c:v>0.186499019083288</c:v>
                </c:pt>
                <c:pt idx="10458">
                  <c:v>0.18651685393258399</c:v>
                </c:pt>
                <c:pt idx="10459">
                  <c:v>0.18653468878187901</c:v>
                </c:pt>
                <c:pt idx="10460">
                  <c:v>0.186552523631175</c:v>
                </c:pt>
                <c:pt idx="10461">
                  <c:v>0.18657035848046999</c:v>
                </c:pt>
                <c:pt idx="10462">
                  <c:v>0.18658819332976601</c:v>
                </c:pt>
                <c:pt idx="10463">
                  <c:v>0.186606028179061</c:v>
                </c:pt>
                <c:pt idx="10464">
                  <c:v>0.18662386302835701</c:v>
                </c:pt>
                <c:pt idx="10465">
                  <c:v>0.186641697877652</c:v>
                </c:pt>
                <c:pt idx="10466">
                  <c:v>0.18665953272694799</c:v>
                </c:pt>
                <c:pt idx="10467">
                  <c:v>0.18667736757624301</c:v>
                </c:pt>
                <c:pt idx="10468">
                  <c:v>0.186695202425539</c:v>
                </c:pt>
                <c:pt idx="10469">
                  <c:v>0.18671303727483499</c:v>
                </c:pt>
                <c:pt idx="10470">
                  <c:v>0.18673087212413</c:v>
                </c:pt>
                <c:pt idx="10471">
                  <c:v>0.18674870697342599</c:v>
                </c:pt>
                <c:pt idx="10472">
                  <c:v>0.18676654182272101</c:v>
                </c:pt>
                <c:pt idx="10473">
                  <c:v>0.186784376672017</c:v>
                </c:pt>
                <c:pt idx="10474">
                  <c:v>0.18680221152131199</c:v>
                </c:pt>
                <c:pt idx="10475">
                  <c:v>0.18682004637060801</c:v>
                </c:pt>
                <c:pt idx="10476">
                  <c:v>0.186837881219903</c:v>
                </c:pt>
                <c:pt idx="10477">
                  <c:v>0.18685571606919901</c:v>
                </c:pt>
                <c:pt idx="10478">
                  <c:v>0.186873550918494</c:v>
                </c:pt>
                <c:pt idx="10479">
                  <c:v>0.18689138576778999</c:v>
                </c:pt>
                <c:pt idx="10480">
                  <c:v>0.18690922061708501</c:v>
                </c:pt>
                <c:pt idx="10481">
                  <c:v>0.186927055466381</c:v>
                </c:pt>
                <c:pt idx="10482">
                  <c:v>0.18694489031567599</c:v>
                </c:pt>
                <c:pt idx="10483">
                  <c:v>0.186962725164972</c:v>
                </c:pt>
                <c:pt idx="10484">
                  <c:v>0.18698056001426699</c:v>
                </c:pt>
                <c:pt idx="10485">
                  <c:v>0.18699839486356301</c:v>
                </c:pt>
                <c:pt idx="10486">
                  <c:v>0.187016229712858</c:v>
                </c:pt>
                <c:pt idx="10487">
                  <c:v>0.18703406456215399</c:v>
                </c:pt>
                <c:pt idx="10488">
                  <c:v>0.18705189941144901</c:v>
                </c:pt>
                <c:pt idx="10489">
                  <c:v>0.187069734260745</c:v>
                </c:pt>
                <c:pt idx="10490">
                  <c:v>0.18708756911004101</c:v>
                </c:pt>
                <c:pt idx="10491">
                  <c:v>0.187105403959336</c:v>
                </c:pt>
                <c:pt idx="10492">
                  <c:v>0.18712323880863199</c:v>
                </c:pt>
                <c:pt idx="10493">
                  <c:v>0.18714107365792701</c:v>
                </c:pt>
                <c:pt idx="10494">
                  <c:v>0.187158908507223</c:v>
                </c:pt>
                <c:pt idx="10495">
                  <c:v>0.18717674335651799</c:v>
                </c:pt>
                <c:pt idx="10496">
                  <c:v>0.18719457820581401</c:v>
                </c:pt>
                <c:pt idx="10497">
                  <c:v>0.18721241305510899</c:v>
                </c:pt>
                <c:pt idx="10498">
                  <c:v>0.18723024790440501</c:v>
                </c:pt>
                <c:pt idx="10499">
                  <c:v>0.1872480827537</c:v>
                </c:pt>
                <c:pt idx="10500">
                  <c:v>0.18726591760299599</c:v>
                </c:pt>
                <c:pt idx="10501">
                  <c:v>0.18728375245229101</c:v>
                </c:pt>
                <c:pt idx="10502">
                  <c:v>0.187301587301587</c:v>
                </c:pt>
                <c:pt idx="10503">
                  <c:v>0.18731942215088199</c:v>
                </c:pt>
                <c:pt idx="10504">
                  <c:v>0.187337257000178</c:v>
                </c:pt>
                <c:pt idx="10505">
                  <c:v>0.18735509184947299</c:v>
                </c:pt>
                <c:pt idx="10506">
                  <c:v>0.18737292669876901</c:v>
                </c:pt>
                <c:pt idx="10507">
                  <c:v>0.187390761548064</c:v>
                </c:pt>
                <c:pt idx="10508">
                  <c:v>0.18740859639735999</c:v>
                </c:pt>
                <c:pt idx="10509">
                  <c:v>0.18742643124665501</c:v>
                </c:pt>
                <c:pt idx="10510">
                  <c:v>0.187444266095951</c:v>
                </c:pt>
                <c:pt idx="10511">
                  <c:v>0.18746210094524701</c:v>
                </c:pt>
                <c:pt idx="10512">
                  <c:v>0.187479935794542</c:v>
                </c:pt>
                <c:pt idx="10513">
                  <c:v>0.18749777064383799</c:v>
                </c:pt>
                <c:pt idx="10514">
                  <c:v>0.18751560549313301</c:v>
                </c:pt>
                <c:pt idx="10515">
                  <c:v>0.187533440342429</c:v>
                </c:pt>
                <c:pt idx="10516">
                  <c:v>0.18755127519172399</c:v>
                </c:pt>
                <c:pt idx="10517">
                  <c:v>0.18756911004102</c:v>
                </c:pt>
                <c:pt idx="10518">
                  <c:v>0.18758694489031499</c:v>
                </c:pt>
                <c:pt idx="10519">
                  <c:v>0.18760477973961101</c:v>
                </c:pt>
                <c:pt idx="10520">
                  <c:v>0.187622614588906</c:v>
                </c:pt>
                <c:pt idx="10521">
                  <c:v>0.18764044943820199</c:v>
                </c:pt>
                <c:pt idx="10522">
                  <c:v>0.18765828428749701</c:v>
                </c:pt>
                <c:pt idx="10523">
                  <c:v>0.187676119136793</c:v>
                </c:pt>
                <c:pt idx="10524">
                  <c:v>0.18769395398608801</c:v>
                </c:pt>
                <c:pt idx="10525">
                  <c:v>0.187711788835384</c:v>
                </c:pt>
                <c:pt idx="10526">
                  <c:v>0.18772962368467899</c:v>
                </c:pt>
                <c:pt idx="10527">
                  <c:v>0.18774745853397501</c:v>
                </c:pt>
                <c:pt idx="10528">
                  <c:v>0.18776529338327</c:v>
                </c:pt>
                <c:pt idx="10529">
                  <c:v>0.18778312823256599</c:v>
                </c:pt>
                <c:pt idx="10530">
                  <c:v>0.18780096308186101</c:v>
                </c:pt>
                <c:pt idx="10531">
                  <c:v>0.18781879793115699</c:v>
                </c:pt>
                <c:pt idx="10532">
                  <c:v>0.18783663278045301</c:v>
                </c:pt>
                <c:pt idx="10533">
                  <c:v>0.187854467629748</c:v>
                </c:pt>
                <c:pt idx="10534">
                  <c:v>0.18787230247904399</c:v>
                </c:pt>
                <c:pt idx="10535">
                  <c:v>0.18789013732833901</c:v>
                </c:pt>
                <c:pt idx="10536">
                  <c:v>0.187907972177635</c:v>
                </c:pt>
                <c:pt idx="10537">
                  <c:v>0.18792580702692999</c:v>
                </c:pt>
                <c:pt idx="10538">
                  <c:v>0.187943641876226</c:v>
                </c:pt>
                <c:pt idx="10539">
                  <c:v>0.18796147672552099</c:v>
                </c:pt>
                <c:pt idx="10540">
                  <c:v>0.18797931157481701</c:v>
                </c:pt>
                <c:pt idx="10541">
                  <c:v>0.187997146424112</c:v>
                </c:pt>
                <c:pt idx="10542">
                  <c:v>0.18801498127340799</c:v>
                </c:pt>
                <c:pt idx="10543">
                  <c:v>0.18803281612270301</c:v>
                </c:pt>
                <c:pt idx="10544">
                  <c:v>0.18805065097199899</c:v>
                </c:pt>
                <c:pt idx="10545">
                  <c:v>0.18806848582129401</c:v>
                </c:pt>
                <c:pt idx="10546">
                  <c:v>0.18808632067059</c:v>
                </c:pt>
                <c:pt idx="10547">
                  <c:v>0.18810415551988499</c:v>
                </c:pt>
                <c:pt idx="10548">
                  <c:v>0.18812199036918101</c:v>
                </c:pt>
                <c:pt idx="10549">
                  <c:v>0.188139825218476</c:v>
                </c:pt>
                <c:pt idx="10550">
                  <c:v>0.18815766006777199</c:v>
                </c:pt>
                <c:pt idx="10551">
                  <c:v>0.188175494917067</c:v>
                </c:pt>
                <c:pt idx="10552">
                  <c:v>0.18819332976636299</c:v>
                </c:pt>
                <c:pt idx="10553">
                  <c:v>0.18821116461565901</c:v>
                </c:pt>
                <c:pt idx="10554">
                  <c:v>0.188228999464954</c:v>
                </c:pt>
                <c:pt idx="10555">
                  <c:v>0.18824683431424999</c:v>
                </c:pt>
                <c:pt idx="10556">
                  <c:v>0.18826466916354501</c:v>
                </c:pt>
                <c:pt idx="10557">
                  <c:v>0.188282504012841</c:v>
                </c:pt>
                <c:pt idx="10558">
                  <c:v>0.18830033886213601</c:v>
                </c:pt>
                <c:pt idx="10559">
                  <c:v>0.188318173711432</c:v>
                </c:pt>
                <c:pt idx="10560">
                  <c:v>0.18833600856072699</c:v>
                </c:pt>
                <c:pt idx="10561">
                  <c:v>0.18835384341002301</c:v>
                </c:pt>
                <c:pt idx="10562">
                  <c:v>0.188371678259318</c:v>
                </c:pt>
                <c:pt idx="10563">
                  <c:v>0.18838951310861399</c:v>
                </c:pt>
                <c:pt idx="10564">
                  <c:v>0.188407347957909</c:v>
                </c:pt>
                <c:pt idx="10565">
                  <c:v>0.18842518280720499</c:v>
                </c:pt>
                <c:pt idx="10566">
                  <c:v>0.18844301765650001</c:v>
                </c:pt>
                <c:pt idx="10567">
                  <c:v>0.188460852505796</c:v>
                </c:pt>
                <c:pt idx="10568">
                  <c:v>0.18847868735509099</c:v>
                </c:pt>
                <c:pt idx="10569">
                  <c:v>0.18849652220438701</c:v>
                </c:pt>
                <c:pt idx="10570">
                  <c:v>0.188514357053682</c:v>
                </c:pt>
                <c:pt idx="10571">
                  <c:v>0.18853219190297801</c:v>
                </c:pt>
                <c:pt idx="10572">
                  <c:v>0.188550026752273</c:v>
                </c:pt>
                <c:pt idx="10573">
                  <c:v>0.18856786160156899</c:v>
                </c:pt>
                <c:pt idx="10574">
                  <c:v>0.18858569645086401</c:v>
                </c:pt>
                <c:pt idx="10575">
                  <c:v>0.18860353130016</c:v>
                </c:pt>
                <c:pt idx="10576">
                  <c:v>0.18862136614945599</c:v>
                </c:pt>
                <c:pt idx="10577">
                  <c:v>0.18863920099875101</c:v>
                </c:pt>
                <c:pt idx="10578">
                  <c:v>0.18865703584804699</c:v>
                </c:pt>
                <c:pt idx="10579">
                  <c:v>0.18867487069734201</c:v>
                </c:pt>
                <c:pt idx="10580">
                  <c:v>0.188692705546638</c:v>
                </c:pt>
                <c:pt idx="10581">
                  <c:v>0.18871054039593299</c:v>
                </c:pt>
                <c:pt idx="10582">
                  <c:v>0.18872837524522901</c:v>
                </c:pt>
                <c:pt idx="10583">
                  <c:v>0.188746210094524</c:v>
                </c:pt>
                <c:pt idx="10584">
                  <c:v>0.18876404494381999</c:v>
                </c:pt>
                <c:pt idx="10585">
                  <c:v>0.188781879793115</c:v>
                </c:pt>
                <c:pt idx="10586">
                  <c:v>0.18879971464241099</c:v>
                </c:pt>
                <c:pt idx="10587">
                  <c:v>0.18881754949170601</c:v>
                </c:pt>
                <c:pt idx="10588">
                  <c:v>0.188835384341002</c:v>
                </c:pt>
                <c:pt idx="10589">
                  <c:v>0.18885321919029699</c:v>
                </c:pt>
                <c:pt idx="10590">
                  <c:v>0.18887105403959301</c:v>
                </c:pt>
                <c:pt idx="10591">
                  <c:v>0.188888888888888</c:v>
                </c:pt>
                <c:pt idx="10592">
                  <c:v>0.18890672373818401</c:v>
                </c:pt>
                <c:pt idx="10593">
                  <c:v>0.188924558587479</c:v>
                </c:pt>
                <c:pt idx="10594">
                  <c:v>0.18894239343677499</c:v>
                </c:pt>
                <c:pt idx="10595">
                  <c:v>0.18896022828607001</c:v>
                </c:pt>
                <c:pt idx="10596">
                  <c:v>0.188978063135366</c:v>
                </c:pt>
                <c:pt idx="10597">
                  <c:v>0.18899589798466199</c:v>
                </c:pt>
                <c:pt idx="10598">
                  <c:v>0.189013732833957</c:v>
                </c:pt>
                <c:pt idx="10599">
                  <c:v>0.18903156768325299</c:v>
                </c:pt>
                <c:pt idx="10600">
                  <c:v>0.18904940253254801</c:v>
                </c:pt>
                <c:pt idx="10601">
                  <c:v>0.189067237381844</c:v>
                </c:pt>
                <c:pt idx="10602">
                  <c:v>0.18908507223113899</c:v>
                </c:pt>
                <c:pt idx="10603">
                  <c:v>0.18910290708043501</c:v>
                </c:pt>
                <c:pt idx="10604">
                  <c:v>0.18912074192973</c:v>
                </c:pt>
                <c:pt idx="10605">
                  <c:v>0.18913857677902601</c:v>
                </c:pt>
                <c:pt idx="10606">
                  <c:v>0.189156411628321</c:v>
                </c:pt>
                <c:pt idx="10607">
                  <c:v>0.18917424647761699</c:v>
                </c:pt>
                <c:pt idx="10608">
                  <c:v>0.18919208132691201</c:v>
                </c:pt>
                <c:pt idx="10609">
                  <c:v>0.189209916176208</c:v>
                </c:pt>
                <c:pt idx="10610">
                  <c:v>0.18922775102550299</c:v>
                </c:pt>
                <c:pt idx="10611">
                  <c:v>0.189245585874799</c:v>
                </c:pt>
                <c:pt idx="10612">
                  <c:v>0.18926342072409399</c:v>
                </c:pt>
                <c:pt idx="10613">
                  <c:v>0.18928125557339001</c:v>
                </c:pt>
                <c:pt idx="10614">
                  <c:v>0.189299090422685</c:v>
                </c:pt>
                <c:pt idx="10615">
                  <c:v>0.18931692527198099</c:v>
                </c:pt>
                <c:pt idx="10616">
                  <c:v>0.18933476012127601</c:v>
                </c:pt>
                <c:pt idx="10617">
                  <c:v>0.189352594970572</c:v>
                </c:pt>
                <c:pt idx="10618">
                  <c:v>0.18937042981986801</c:v>
                </c:pt>
                <c:pt idx="10619">
                  <c:v>0.189388264669163</c:v>
                </c:pt>
                <c:pt idx="10620">
                  <c:v>0.18940609951845899</c:v>
                </c:pt>
                <c:pt idx="10621">
                  <c:v>0.18942393436775401</c:v>
                </c:pt>
                <c:pt idx="10622">
                  <c:v>0.18944176921705</c:v>
                </c:pt>
                <c:pt idx="10623">
                  <c:v>0.18945960406634499</c:v>
                </c:pt>
                <c:pt idx="10624">
                  <c:v>0.18947743891564101</c:v>
                </c:pt>
                <c:pt idx="10625">
                  <c:v>0.189495273764936</c:v>
                </c:pt>
                <c:pt idx="10626">
                  <c:v>0.18951310861423201</c:v>
                </c:pt>
                <c:pt idx="10627">
                  <c:v>0.189530943463527</c:v>
                </c:pt>
                <c:pt idx="10628">
                  <c:v>0.18954877831282299</c:v>
                </c:pt>
                <c:pt idx="10629">
                  <c:v>0.18956661316211801</c:v>
                </c:pt>
                <c:pt idx="10630">
                  <c:v>0.189584448011414</c:v>
                </c:pt>
                <c:pt idx="10631">
                  <c:v>0.18960228286070899</c:v>
                </c:pt>
                <c:pt idx="10632">
                  <c:v>0.189620117710005</c:v>
                </c:pt>
                <c:pt idx="10633">
                  <c:v>0.18963795255929999</c:v>
                </c:pt>
                <c:pt idx="10634">
                  <c:v>0.18965578740859601</c:v>
                </c:pt>
                <c:pt idx="10635">
                  <c:v>0.189673622257891</c:v>
                </c:pt>
                <c:pt idx="10636">
                  <c:v>0.18969145710718699</c:v>
                </c:pt>
                <c:pt idx="10637">
                  <c:v>0.18970929195648201</c:v>
                </c:pt>
                <c:pt idx="10638">
                  <c:v>0.189727126805778</c:v>
                </c:pt>
                <c:pt idx="10639">
                  <c:v>0.18974496165507401</c:v>
                </c:pt>
                <c:pt idx="10640">
                  <c:v>0.189762796504369</c:v>
                </c:pt>
                <c:pt idx="10641">
                  <c:v>0.18978063135366499</c:v>
                </c:pt>
                <c:pt idx="10642">
                  <c:v>0.18979846620296001</c:v>
                </c:pt>
                <c:pt idx="10643">
                  <c:v>0.189816301052256</c:v>
                </c:pt>
                <c:pt idx="10644">
                  <c:v>0.18983413590155099</c:v>
                </c:pt>
                <c:pt idx="10645">
                  <c:v>0.189851970750847</c:v>
                </c:pt>
                <c:pt idx="10646">
                  <c:v>0.18986980560014199</c:v>
                </c:pt>
                <c:pt idx="10647">
                  <c:v>0.18988764044943801</c:v>
                </c:pt>
                <c:pt idx="10648">
                  <c:v>0.189905475298733</c:v>
                </c:pt>
                <c:pt idx="10649">
                  <c:v>0.18992331014802899</c:v>
                </c:pt>
                <c:pt idx="10650">
                  <c:v>0.18994114499732401</c:v>
                </c:pt>
                <c:pt idx="10651">
                  <c:v>0.18995897984662</c:v>
                </c:pt>
                <c:pt idx="10652">
                  <c:v>0.18997681469591499</c:v>
                </c:pt>
                <c:pt idx="10653">
                  <c:v>0.189994649545211</c:v>
                </c:pt>
                <c:pt idx="10654">
                  <c:v>0.19001248439450599</c:v>
                </c:pt>
                <c:pt idx="10655">
                  <c:v>0.19003031924380201</c:v>
                </c:pt>
                <c:pt idx="10656">
                  <c:v>0.190048154093097</c:v>
                </c:pt>
                <c:pt idx="10657">
                  <c:v>0.19006598894239299</c:v>
                </c:pt>
                <c:pt idx="10658">
                  <c:v>0.19008382379168801</c:v>
                </c:pt>
                <c:pt idx="10659">
                  <c:v>0.19010165864098399</c:v>
                </c:pt>
                <c:pt idx="10660">
                  <c:v>0.19011949349028001</c:v>
                </c:pt>
                <c:pt idx="10661">
                  <c:v>0.190137328339575</c:v>
                </c:pt>
                <c:pt idx="10662">
                  <c:v>0.19015516318887099</c:v>
                </c:pt>
                <c:pt idx="10663">
                  <c:v>0.19017299803816601</c:v>
                </c:pt>
                <c:pt idx="10664">
                  <c:v>0.190190832887462</c:v>
                </c:pt>
                <c:pt idx="10665">
                  <c:v>0.19020866773675699</c:v>
                </c:pt>
                <c:pt idx="10666">
                  <c:v>0.190226502586053</c:v>
                </c:pt>
                <c:pt idx="10667">
                  <c:v>0.19024433743534799</c:v>
                </c:pt>
                <c:pt idx="10668">
                  <c:v>0.19026217228464401</c:v>
                </c:pt>
                <c:pt idx="10669">
                  <c:v>0.190280007133939</c:v>
                </c:pt>
                <c:pt idx="10670">
                  <c:v>0.19029784198323499</c:v>
                </c:pt>
                <c:pt idx="10671">
                  <c:v>0.19031567683253001</c:v>
                </c:pt>
                <c:pt idx="10672">
                  <c:v>0.190333511681826</c:v>
                </c:pt>
                <c:pt idx="10673">
                  <c:v>0.19035134653112101</c:v>
                </c:pt>
                <c:pt idx="10674">
                  <c:v>0.190369181380417</c:v>
                </c:pt>
                <c:pt idx="10675">
                  <c:v>0.19038701622971199</c:v>
                </c:pt>
                <c:pt idx="10676">
                  <c:v>0.19040485107900801</c:v>
                </c:pt>
                <c:pt idx="10677">
                  <c:v>0.190422685928303</c:v>
                </c:pt>
                <c:pt idx="10678">
                  <c:v>0.19044052077759899</c:v>
                </c:pt>
                <c:pt idx="10679">
                  <c:v>0.190458355626894</c:v>
                </c:pt>
                <c:pt idx="10680">
                  <c:v>0.19047619047618999</c:v>
                </c:pt>
                <c:pt idx="10681">
                  <c:v>0.19049402532548601</c:v>
                </c:pt>
                <c:pt idx="10682">
                  <c:v>0.190511860174781</c:v>
                </c:pt>
                <c:pt idx="10683">
                  <c:v>0.19052969502407699</c:v>
                </c:pt>
                <c:pt idx="10684">
                  <c:v>0.19054752987337201</c:v>
                </c:pt>
                <c:pt idx="10685">
                  <c:v>0.190565364722668</c:v>
                </c:pt>
                <c:pt idx="10686">
                  <c:v>0.19058319957196301</c:v>
                </c:pt>
                <c:pt idx="10687">
                  <c:v>0.190601034421259</c:v>
                </c:pt>
                <c:pt idx="10688">
                  <c:v>0.19061886927055399</c:v>
                </c:pt>
                <c:pt idx="10689">
                  <c:v>0.19063670411985001</c:v>
                </c:pt>
                <c:pt idx="10690">
                  <c:v>0.190654538969145</c:v>
                </c:pt>
                <c:pt idx="10691">
                  <c:v>0.19067237381844099</c:v>
                </c:pt>
                <c:pt idx="10692">
                  <c:v>0.19069020866773601</c:v>
                </c:pt>
                <c:pt idx="10693">
                  <c:v>0.19070804351703199</c:v>
                </c:pt>
                <c:pt idx="10694">
                  <c:v>0.19072587836632701</c:v>
                </c:pt>
                <c:pt idx="10695">
                  <c:v>0.190743713215623</c:v>
                </c:pt>
                <c:pt idx="10696">
                  <c:v>0.19076154806491799</c:v>
                </c:pt>
                <c:pt idx="10697">
                  <c:v>0.19077938291421401</c:v>
                </c:pt>
                <c:pt idx="10698">
                  <c:v>0.190797217763509</c:v>
                </c:pt>
                <c:pt idx="10699">
                  <c:v>0.19081505261280499</c:v>
                </c:pt>
                <c:pt idx="10700">
                  <c:v>0.1908328874621</c:v>
                </c:pt>
                <c:pt idx="10701">
                  <c:v>0.19085072231139599</c:v>
                </c:pt>
                <c:pt idx="10702">
                  <c:v>0.19086855716069101</c:v>
                </c:pt>
                <c:pt idx="10703">
                  <c:v>0.190886392009987</c:v>
                </c:pt>
                <c:pt idx="10704">
                  <c:v>0.19090422685928299</c:v>
                </c:pt>
                <c:pt idx="10705">
                  <c:v>0.19092206170857801</c:v>
                </c:pt>
                <c:pt idx="10706">
                  <c:v>0.19093989655787399</c:v>
                </c:pt>
                <c:pt idx="10707">
                  <c:v>0.19095773140716901</c:v>
                </c:pt>
                <c:pt idx="10708">
                  <c:v>0.190975566256465</c:v>
                </c:pt>
                <c:pt idx="10709">
                  <c:v>0.19099340110575999</c:v>
                </c:pt>
                <c:pt idx="10710">
                  <c:v>0.19101123595505601</c:v>
                </c:pt>
                <c:pt idx="10711">
                  <c:v>0.191029070804351</c:v>
                </c:pt>
                <c:pt idx="10712">
                  <c:v>0.19104690565364699</c:v>
                </c:pt>
                <c:pt idx="10713">
                  <c:v>0.191064740502942</c:v>
                </c:pt>
                <c:pt idx="10714">
                  <c:v>0.19108257535223799</c:v>
                </c:pt>
                <c:pt idx="10715">
                  <c:v>0.19110041020153301</c:v>
                </c:pt>
                <c:pt idx="10716">
                  <c:v>0.191118245050829</c:v>
                </c:pt>
                <c:pt idx="10717">
                  <c:v>0.19113607990012399</c:v>
                </c:pt>
                <c:pt idx="10718">
                  <c:v>0.19115391474942001</c:v>
                </c:pt>
                <c:pt idx="10719">
                  <c:v>0.191171749598715</c:v>
                </c:pt>
                <c:pt idx="10720">
                  <c:v>0.19118958444801101</c:v>
                </c:pt>
                <c:pt idx="10721">
                  <c:v>0.191207419297306</c:v>
                </c:pt>
                <c:pt idx="10722">
                  <c:v>0.19122525414660199</c:v>
                </c:pt>
                <c:pt idx="10723">
                  <c:v>0.19124308899589701</c:v>
                </c:pt>
                <c:pt idx="10724">
                  <c:v>0.191260923845193</c:v>
                </c:pt>
                <c:pt idx="10725">
                  <c:v>0.19127875869448899</c:v>
                </c:pt>
                <c:pt idx="10726">
                  <c:v>0.191296593543784</c:v>
                </c:pt>
                <c:pt idx="10727">
                  <c:v>0.19131442839307999</c:v>
                </c:pt>
                <c:pt idx="10728">
                  <c:v>0.19133226324237501</c:v>
                </c:pt>
                <c:pt idx="10729">
                  <c:v>0.191350098091671</c:v>
                </c:pt>
                <c:pt idx="10730">
                  <c:v>0.19136793294096599</c:v>
                </c:pt>
                <c:pt idx="10731">
                  <c:v>0.19138576779026201</c:v>
                </c:pt>
                <c:pt idx="10732">
                  <c:v>0.191403602639557</c:v>
                </c:pt>
                <c:pt idx="10733">
                  <c:v>0.19142143748885301</c:v>
                </c:pt>
                <c:pt idx="10734">
                  <c:v>0.191439272338148</c:v>
                </c:pt>
                <c:pt idx="10735">
                  <c:v>0.19145710718744399</c:v>
                </c:pt>
                <c:pt idx="10736">
                  <c:v>0.19147494203673901</c:v>
                </c:pt>
                <c:pt idx="10737">
                  <c:v>0.191492776886035</c:v>
                </c:pt>
                <c:pt idx="10738">
                  <c:v>0.19151061173532999</c:v>
                </c:pt>
                <c:pt idx="10739">
                  <c:v>0.19152844658462601</c:v>
                </c:pt>
                <c:pt idx="10740">
                  <c:v>0.191546281433921</c:v>
                </c:pt>
                <c:pt idx="10741">
                  <c:v>0.19156411628321701</c:v>
                </c:pt>
                <c:pt idx="10742">
                  <c:v>0.191581951132512</c:v>
                </c:pt>
                <c:pt idx="10743">
                  <c:v>0.19159978598180799</c:v>
                </c:pt>
                <c:pt idx="10744">
                  <c:v>0.19161762083110301</c:v>
                </c:pt>
                <c:pt idx="10745">
                  <c:v>0.191635455680399</c:v>
                </c:pt>
                <c:pt idx="10746">
                  <c:v>0.19165329052969499</c:v>
                </c:pt>
                <c:pt idx="10747">
                  <c:v>0.19167112537899</c:v>
                </c:pt>
                <c:pt idx="10748">
                  <c:v>0.19168896022828599</c:v>
                </c:pt>
                <c:pt idx="10749">
                  <c:v>0.19170679507758101</c:v>
                </c:pt>
                <c:pt idx="10750">
                  <c:v>0.191724629926877</c:v>
                </c:pt>
                <c:pt idx="10751">
                  <c:v>0.19174246477617199</c:v>
                </c:pt>
                <c:pt idx="10752">
                  <c:v>0.19176029962546801</c:v>
                </c:pt>
                <c:pt idx="10753">
                  <c:v>0.191778134474763</c:v>
                </c:pt>
                <c:pt idx="10754">
                  <c:v>0.19179596932405901</c:v>
                </c:pt>
                <c:pt idx="10755">
                  <c:v>0.191813804173354</c:v>
                </c:pt>
                <c:pt idx="10756">
                  <c:v>0.19183163902264999</c:v>
                </c:pt>
                <c:pt idx="10757">
                  <c:v>0.19184947387194501</c:v>
                </c:pt>
                <c:pt idx="10758">
                  <c:v>0.191867308721241</c:v>
                </c:pt>
                <c:pt idx="10759">
                  <c:v>0.19188514357053599</c:v>
                </c:pt>
                <c:pt idx="10760">
                  <c:v>0.191902978419832</c:v>
                </c:pt>
                <c:pt idx="10761">
                  <c:v>0.19192081326912699</c:v>
                </c:pt>
                <c:pt idx="10762">
                  <c:v>0.19193864811842301</c:v>
                </c:pt>
                <c:pt idx="10763">
                  <c:v>0.191956482967718</c:v>
                </c:pt>
                <c:pt idx="10764">
                  <c:v>0.19197431781701399</c:v>
                </c:pt>
                <c:pt idx="10765">
                  <c:v>0.19199215266630901</c:v>
                </c:pt>
                <c:pt idx="10766">
                  <c:v>0.192009987515605</c:v>
                </c:pt>
                <c:pt idx="10767">
                  <c:v>0.19202782236490101</c:v>
                </c:pt>
                <c:pt idx="10768">
                  <c:v>0.192045657214196</c:v>
                </c:pt>
                <c:pt idx="10769">
                  <c:v>0.19206349206349199</c:v>
                </c:pt>
                <c:pt idx="10770">
                  <c:v>0.19208132691278701</c:v>
                </c:pt>
                <c:pt idx="10771">
                  <c:v>0.192099161762083</c:v>
                </c:pt>
                <c:pt idx="10772">
                  <c:v>0.19211699661137799</c:v>
                </c:pt>
                <c:pt idx="10773">
                  <c:v>0.192134831460674</c:v>
                </c:pt>
                <c:pt idx="10774">
                  <c:v>0.19215266630996899</c:v>
                </c:pt>
                <c:pt idx="10775">
                  <c:v>0.19217050115926501</c:v>
                </c:pt>
                <c:pt idx="10776">
                  <c:v>0.19218833600856</c:v>
                </c:pt>
                <c:pt idx="10777">
                  <c:v>0.19220617085785599</c:v>
                </c:pt>
                <c:pt idx="10778">
                  <c:v>0.19222400570715101</c:v>
                </c:pt>
                <c:pt idx="10779">
                  <c:v>0.192241840556447</c:v>
                </c:pt>
                <c:pt idx="10780">
                  <c:v>0.19225967540574199</c:v>
                </c:pt>
                <c:pt idx="10781">
                  <c:v>0.192277510255038</c:v>
                </c:pt>
                <c:pt idx="10782">
                  <c:v>0.19229534510433299</c:v>
                </c:pt>
                <c:pt idx="10783">
                  <c:v>0.19231317995362901</c:v>
                </c:pt>
                <c:pt idx="10784">
                  <c:v>0.192331014802924</c:v>
                </c:pt>
                <c:pt idx="10785">
                  <c:v>0.19234884965221999</c:v>
                </c:pt>
                <c:pt idx="10786">
                  <c:v>0.19236668450151501</c:v>
                </c:pt>
                <c:pt idx="10787">
                  <c:v>0.192384519350811</c:v>
                </c:pt>
                <c:pt idx="10788">
                  <c:v>0.19240235420010701</c:v>
                </c:pt>
                <c:pt idx="10789">
                  <c:v>0.192420189049402</c:v>
                </c:pt>
                <c:pt idx="10790">
                  <c:v>0.19243802389869799</c:v>
                </c:pt>
                <c:pt idx="10791">
                  <c:v>0.19245585874799301</c:v>
                </c:pt>
                <c:pt idx="10792">
                  <c:v>0.192473693597289</c:v>
                </c:pt>
                <c:pt idx="10793">
                  <c:v>0.19249152844658399</c:v>
                </c:pt>
                <c:pt idx="10794">
                  <c:v>0.19250936329588</c:v>
                </c:pt>
                <c:pt idx="10795">
                  <c:v>0.19252719814517499</c:v>
                </c:pt>
                <c:pt idx="10796">
                  <c:v>0.19254503299447101</c:v>
                </c:pt>
                <c:pt idx="10797">
                  <c:v>0.192562867843766</c:v>
                </c:pt>
                <c:pt idx="10798">
                  <c:v>0.19258070269306199</c:v>
                </c:pt>
                <c:pt idx="10799">
                  <c:v>0.19259853754235701</c:v>
                </c:pt>
                <c:pt idx="10800">
                  <c:v>0.192616372391653</c:v>
                </c:pt>
                <c:pt idx="10801">
                  <c:v>0.19263420724094801</c:v>
                </c:pt>
                <c:pt idx="10802">
                  <c:v>0.192652042090244</c:v>
                </c:pt>
                <c:pt idx="10803">
                  <c:v>0.19266987693953899</c:v>
                </c:pt>
                <c:pt idx="10804">
                  <c:v>0.19268771178883501</c:v>
                </c:pt>
                <c:pt idx="10805">
                  <c:v>0.19270554663813</c:v>
                </c:pt>
                <c:pt idx="10806">
                  <c:v>0.19272338148742599</c:v>
                </c:pt>
                <c:pt idx="10807">
                  <c:v>0.19274121633672101</c:v>
                </c:pt>
                <c:pt idx="10808">
                  <c:v>0.19275905118601699</c:v>
                </c:pt>
                <c:pt idx="10809">
                  <c:v>0.19277688603531301</c:v>
                </c:pt>
                <c:pt idx="10810">
                  <c:v>0.192794720884608</c:v>
                </c:pt>
                <c:pt idx="10811">
                  <c:v>0.19281255573390399</c:v>
                </c:pt>
                <c:pt idx="10812">
                  <c:v>0.19283039058319901</c:v>
                </c:pt>
                <c:pt idx="10813">
                  <c:v>0.192848225432495</c:v>
                </c:pt>
                <c:pt idx="10814">
                  <c:v>0.19286606028179001</c:v>
                </c:pt>
                <c:pt idx="10815">
                  <c:v>0.192883895131086</c:v>
                </c:pt>
                <c:pt idx="10816">
                  <c:v>0.19290172998038099</c:v>
                </c:pt>
                <c:pt idx="10817">
                  <c:v>0.19291956482967701</c:v>
                </c:pt>
                <c:pt idx="10818">
                  <c:v>0.192937399678972</c:v>
                </c:pt>
                <c:pt idx="10819">
                  <c:v>0.19295523452826799</c:v>
                </c:pt>
                <c:pt idx="10820">
                  <c:v>0.19297306937756301</c:v>
                </c:pt>
                <c:pt idx="10821">
                  <c:v>0.19299090422685899</c:v>
                </c:pt>
                <c:pt idx="10822">
                  <c:v>0.19300873907615401</c:v>
                </c:pt>
                <c:pt idx="10823">
                  <c:v>0.19302657392545</c:v>
                </c:pt>
                <c:pt idx="10824">
                  <c:v>0.19304440877474499</c:v>
                </c:pt>
                <c:pt idx="10825">
                  <c:v>0.19306224362404101</c:v>
                </c:pt>
                <c:pt idx="10826">
                  <c:v>0.193080078473336</c:v>
                </c:pt>
                <c:pt idx="10827">
                  <c:v>0.19309791332263199</c:v>
                </c:pt>
                <c:pt idx="10828">
                  <c:v>0.193115748171927</c:v>
                </c:pt>
                <c:pt idx="10829">
                  <c:v>0.19313358302122299</c:v>
                </c:pt>
                <c:pt idx="10830">
                  <c:v>0.19315141787051801</c:v>
                </c:pt>
                <c:pt idx="10831">
                  <c:v>0.193169252719814</c:v>
                </c:pt>
                <c:pt idx="10832">
                  <c:v>0.19318708756910999</c:v>
                </c:pt>
                <c:pt idx="10833">
                  <c:v>0.19320492241840501</c:v>
                </c:pt>
                <c:pt idx="10834">
                  <c:v>0.193222757267701</c:v>
                </c:pt>
                <c:pt idx="10835">
                  <c:v>0.19324059211699601</c:v>
                </c:pt>
                <c:pt idx="10836">
                  <c:v>0.193258426966292</c:v>
                </c:pt>
                <c:pt idx="10837">
                  <c:v>0.19327626181558699</c:v>
                </c:pt>
                <c:pt idx="10838">
                  <c:v>0.19329409666488301</c:v>
                </c:pt>
                <c:pt idx="10839">
                  <c:v>0.193311931514178</c:v>
                </c:pt>
                <c:pt idx="10840">
                  <c:v>0.19332976636347399</c:v>
                </c:pt>
                <c:pt idx="10841">
                  <c:v>0.193347601212769</c:v>
                </c:pt>
                <c:pt idx="10842">
                  <c:v>0.19336543606206499</c:v>
                </c:pt>
                <c:pt idx="10843">
                  <c:v>0.19338327091136001</c:v>
                </c:pt>
                <c:pt idx="10844">
                  <c:v>0.193401105760656</c:v>
                </c:pt>
                <c:pt idx="10845">
                  <c:v>0.19341894060995099</c:v>
                </c:pt>
                <c:pt idx="10846">
                  <c:v>0.19343677545924701</c:v>
                </c:pt>
                <c:pt idx="10847">
                  <c:v>0.193454610308542</c:v>
                </c:pt>
                <c:pt idx="10848">
                  <c:v>0.19347244515783801</c:v>
                </c:pt>
                <c:pt idx="10849">
                  <c:v>0.193490280007133</c:v>
                </c:pt>
                <c:pt idx="10850">
                  <c:v>0.19350811485642899</c:v>
                </c:pt>
                <c:pt idx="10851">
                  <c:v>0.19352594970572401</c:v>
                </c:pt>
                <c:pt idx="10852">
                  <c:v>0.19354378455502</c:v>
                </c:pt>
                <c:pt idx="10853">
                  <c:v>0.19356161940431599</c:v>
                </c:pt>
                <c:pt idx="10854">
                  <c:v>0.19357945425361101</c:v>
                </c:pt>
                <c:pt idx="10855">
                  <c:v>0.19359728910290699</c:v>
                </c:pt>
                <c:pt idx="10856">
                  <c:v>0.19361512395220201</c:v>
                </c:pt>
                <c:pt idx="10857">
                  <c:v>0.193632958801498</c:v>
                </c:pt>
                <c:pt idx="10858">
                  <c:v>0.19365079365079299</c:v>
                </c:pt>
                <c:pt idx="10859">
                  <c:v>0.19366862850008901</c:v>
                </c:pt>
                <c:pt idx="10860">
                  <c:v>0.193686463349384</c:v>
                </c:pt>
                <c:pt idx="10861">
                  <c:v>0.19370429819868001</c:v>
                </c:pt>
                <c:pt idx="10862">
                  <c:v>0.193722133047975</c:v>
                </c:pt>
                <c:pt idx="10863">
                  <c:v>0.19373996789727099</c:v>
                </c:pt>
                <c:pt idx="10864">
                  <c:v>0.19375780274656601</c:v>
                </c:pt>
                <c:pt idx="10865">
                  <c:v>0.193775637595862</c:v>
                </c:pt>
                <c:pt idx="10866">
                  <c:v>0.19379347244515699</c:v>
                </c:pt>
                <c:pt idx="10867">
                  <c:v>0.19381130729445301</c:v>
                </c:pt>
                <c:pt idx="10868">
                  <c:v>0.193829142143748</c:v>
                </c:pt>
                <c:pt idx="10869">
                  <c:v>0.19384697699304401</c:v>
                </c:pt>
                <c:pt idx="10870">
                  <c:v>0.193864811842339</c:v>
                </c:pt>
                <c:pt idx="10871">
                  <c:v>0.19388264669163499</c:v>
                </c:pt>
                <c:pt idx="10872">
                  <c:v>0.19390048154093001</c:v>
                </c:pt>
                <c:pt idx="10873">
                  <c:v>0.193918316390226</c:v>
                </c:pt>
                <c:pt idx="10874">
                  <c:v>0.19393615123952199</c:v>
                </c:pt>
                <c:pt idx="10875">
                  <c:v>0.193953986088817</c:v>
                </c:pt>
                <c:pt idx="10876">
                  <c:v>0.19397182093811299</c:v>
                </c:pt>
                <c:pt idx="10877">
                  <c:v>0.19398965578740801</c:v>
                </c:pt>
                <c:pt idx="10878">
                  <c:v>0.194007490636704</c:v>
                </c:pt>
                <c:pt idx="10879">
                  <c:v>0.19402532548599899</c:v>
                </c:pt>
                <c:pt idx="10880">
                  <c:v>0.19404316033529501</c:v>
                </c:pt>
                <c:pt idx="10881">
                  <c:v>0.19406099518459</c:v>
                </c:pt>
                <c:pt idx="10882">
                  <c:v>0.19407883003388601</c:v>
                </c:pt>
                <c:pt idx="10883">
                  <c:v>0.194096664883181</c:v>
                </c:pt>
                <c:pt idx="10884">
                  <c:v>0.19411449973247699</c:v>
                </c:pt>
                <c:pt idx="10885">
                  <c:v>0.19413233458177201</c:v>
                </c:pt>
                <c:pt idx="10886">
                  <c:v>0.194150169431068</c:v>
                </c:pt>
                <c:pt idx="10887">
                  <c:v>0.19416800428036299</c:v>
                </c:pt>
                <c:pt idx="10888">
                  <c:v>0.194185839129659</c:v>
                </c:pt>
                <c:pt idx="10889">
                  <c:v>0.19420367397895399</c:v>
                </c:pt>
                <c:pt idx="10890">
                  <c:v>0.19422150882825001</c:v>
                </c:pt>
                <c:pt idx="10891">
                  <c:v>0.194239343677545</c:v>
                </c:pt>
                <c:pt idx="10892">
                  <c:v>0.19425717852684099</c:v>
                </c:pt>
                <c:pt idx="10893">
                  <c:v>0.19427501337613601</c:v>
                </c:pt>
                <c:pt idx="10894">
                  <c:v>0.194292848225432</c:v>
                </c:pt>
                <c:pt idx="10895">
                  <c:v>0.19431068307472801</c:v>
                </c:pt>
                <c:pt idx="10896">
                  <c:v>0.194328517924023</c:v>
                </c:pt>
                <c:pt idx="10897">
                  <c:v>0.19434635277331899</c:v>
                </c:pt>
                <c:pt idx="10898">
                  <c:v>0.19436418762261401</c:v>
                </c:pt>
                <c:pt idx="10899">
                  <c:v>0.19438202247191</c:v>
                </c:pt>
                <c:pt idx="10900">
                  <c:v>0.19439985732120499</c:v>
                </c:pt>
                <c:pt idx="10901">
                  <c:v>0.19441769217050101</c:v>
                </c:pt>
                <c:pt idx="10902">
                  <c:v>0.194435527019796</c:v>
                </c:pt>
                <c:pt idx="10903">
                  <c:v>0.19445336186909201</c:v>
                </c:pt>
                <c:pt idx="10904">
                  <c:v>0.194471196718387</c:v>
                </c:pt>
                <c:pt idx="10905">
                  <c:v>0.19448903156768299</c:v>
                </c:pt>
                <c:pt idx="10906">
                  <c:v>0.19450686641697801</c:v>
                </c:pt>
                <c:pt idx="10907">
                  <c:v>0.194524701266274</c:v>
                </c:pt>
                <c:pt idx="10908">
                  <c:v>0.19454253611556899</c:v>
                </c:pt>
                <c:pt idx="10909">
                  <c:v>0.194560370964865</c:v>
                </c:pt>
                <c:pt idx="10910">
                  <c:v>0.19457820581415999</c:v>
                </c:pt>
                <c:pt idx="10911">
                  <c:v>0.19459604066345601</c:v>
                </c:pt>
                <c:pt idx="10912">
                  <c:v>0.194613875512751</c:v>
                </c:pt>
                <c:pt idx="10913">
                  <c:v>0.19463171036204699</c:v>
                </c:pt>
                <c:pt idx="10914">
                  <c:v>0.19464954521134201</c:v>
                </c:pt>
                <c:pt idx="10915">
                  <c:v>0.194667380060638</c:v>
                </c:pt>
                <c:pt idx="10916">
                  <c:v>0.19468521490993401</c:v>
                </c:pt>
                <c:pt idx="10917">
                  <c:v>0.194703049759229</c:v>
                </c:pt>
                <c:pt idx="10918">
                  <c:v>0.19472088460852499</c:v>
                </c:pt>
                <c:pt idx="10919">
                  <c:v>0.19473871945782001</c:v>
                </c:pt>
                <c:pt idx="10920">
                  <c:v>0.194756554307116</c:v>
                </c:pt>
                <c:pt idx="10921">
                  <c:v>0.19477438915641099</c:v>
                </c:pt>
                <c:pt idx="10922">
                  <c:v>0.194792224005707</c:v>
                </c:pt>
                <c:pt idx="10923">
                  <c:v>0.19481005885500199</c:v>
                </c:pt>
                <c:pt idx="10924">
                  <c:v>0.19482789370429801</c:v>
                </c:pt>
                <c:pt idx="10925">
                  <c:v>0.194845728553593</c:v>
                </c:pt>
                <c:pt idx="10926">
                  <c:v>0.19486356340288899</c:v>
                </c:pt>
                <c:pt idx="10927">
                  <c:v>0.19488139825218401</c:v>
                </c:pt>
                <c:pt idx="10928">
                  <c:v>0.19489923310148</c:v>
                </c:pt>
                <c:pt idx="10929">
                  <c:v>0.19491706795077501</c:v>
                </c:pt>
                <c:pt idx="10930">
                  <c:v>0.194934902800071</c:v>
                </c:pt>
                <c:pt idx="10931">
                  <c:v>0.19495273764936599</c:v>
                </c:pt>
                <c:pt idx="10932">
                  <c:v>0.19497057249866201</c:v>
                </c:pt>
                <c:pt idx="10933">
                  <c:v>0.194988407347957</c:v>
                </c:pt>
                <c:pt idx="10934">
                  <c:v>0.19500624219725299</c:v>
                </c:pt>
                <c:pt idx="10935">
                  <c:v>0.19502407704654801</c:v>
                </c:pt>
                <c:pt idx="10936">
                  <c:v>0.19504191189584399</c:v>
                </c:pt>
                <c:pt idx="10937">
                  <c:v>0.19505974674514001</c:v>
                </c:pt>
                <c:pt idx="10938">
                  <c:v>0.195077581594435</c:v>
                </c:pt>
                <c:pt idx="10939">
                  <c:v>0.19509541644373099</c:v>
                </c:pt>
                <c:pt idx="10940">
                  <c:v>0.19511325129302601</c:v>
                </c:pt>
                <c:pt idx="10941">
                  <c:v>0.195131086142322</c:v>
                </c:pt>
                <c:pt idx="10942">
                  <c:v>0.19514892099161699</c:v>
                </c:pt>
                <c:pt idx="10943">
                  <c:v>0.195166755840913</c:v>
                </c:pt>
                <c:pt idx="10944">
                  <c:v>0.19518459069020799</c:v>
                </c:pt>
                <c:pt idx="10945">
                  <c:v>0.19520242553950401</c:v>
                </c:pt>
                <c:pt idx="10946">
                  <c:v>0.195220260388799</c:v>
                </c:pt>
                <c:pt idx="10947">
                  <c:v>0.19523809523809499</c:v>
                </c:pt>
                <c:pt idx="10948">
                  <c:v>0.19525593008739001</c:v>
                </c:pt>
                <c:pt idx="10949">
                  <c:v>0.195273764936686</c:v>
                </c:pt>
                <c:pt idx="10950">
                  <c:v>0.19529159978598101</c:v>
                </c:pt>
                <c:pt idx="10951">
                  <c:v>0.195309434635277</c:v>
                </c:pt>
                <c:pt idx="10952">
                  <c:v>0.19532726948457199</c:v>
                </c:pt>
                <c:pt idx="10953">
                  <c:v>0.19534510433386801</c:v>
                </c:pt>
                <c:pt idx="10954">
                  <c:v>0.195362939183163</c:v>
                </c:pt>
                <c:pt idx="10955">
                  <c:v>0.19538077403245899</c:v>
                </c:pt>
                <c:pt idx="10956">
                  <c:v>0.195398608881754</c:v>
                </c:pt>
                <c:pt idx="10957">
                  <c:v>0.19541644373104999</c:v>
                </c:pt>
                <c:pt idx="10958">
                  <c:v>0.19543427858034501</c:v>
                </c:pt>
                <c:pt idx="10959">
                  <c:v>0.195452113429641</c:v>
                </c:pt>
                <c:pt idx="10960">
                  <c:v>0.19546994827893699</c:v>
                </c:pt>
                <c:pt idx="10961">
                  <c:v>0.19548778312823201</c:v>
                </c:pt>
                <c:pt idx="10962">
                  <c:v>0.195505617977528</c:v>
                </c:pt>
                <c:pt idx="10963">
                  <c:v>0.19552345282682301</c:v>
                </c:pt>
                <c:pt idx="10964">
                  <c:v>0.195541287676119</c:v>
                </c:pt>
                <c:pt idx="10965">
                  <c:v>0.19555912252541399</c:v>
                </c:pt>
                <c:pt idx="10966">
                  <c:v>0.19557695737471001</c:v>
                </c:pt>
                <c:pt idx="10967">
                  <c:v>0.195594792224005</c:v>
                </c:pt>
                <c:pt idx="10968">
                  <c:v>0.19561262707330099</c:v>
                </c:pt>
                <c:pt idx="10969">
                  <c:v>0.19563046192259601</c:v>
                </c:pt>
                <c:pt idx="10970">
                  <c:v>0.19564829677189199</c:v>
                </c:pt>
                <c:pt idx="10971">
                  <c:v>0.19566613162118701</c:v>
                </c:pt>
                <c:pt idx="10972">
                  <c:v>0.195683966470483</c:v>
                </c:pt>
                <c:pt idx="10973">
                  <c:v>0.19570180131977799</c:v>
                </c:pt>
                <c:pt idx="10974">
                  <c:v>0.19571963616907401</c:v>
                </c:pt>
                <c:pt idx="10975">
                  <c:v>0.195737471018369</c:v>
                </c:pt>
                <c:pt idx="10976">
                  <c:v>0.19575530586766501</c:v>
                </c:pt>
                <c:pt idx="10977">
                  <c:v>0.19577314071696</c:v>
                </c:pt>
                <c:pt idx="10978">
                  <c:v>0.19579097556625599</c:v>
                </c:pt>
                <c:pt idx="10979">
                  <c:v>0.19580881041555101</c:v>
                </c:pt>
                <c:pt idx="10980">
                  <c:v>0.195826645264847</c:v>
                </c:pt>
                <c:pt idx="10981">
                  <c:v>0.19584448011414299</c:v>
                </c:pt>
                <c:pt idx="10982">
                  <c:v>0.19586231496343801</c:v>
                </c:pt>
                <c:pt idx="10983">
                  <c:v>0.19588014981273399</c:v>
                </c:pt>
                <c:pt idx="10984">
                  <c:v>0.19589798466202901</c:v>
                </c:pt>
                <c:pt idx="10985">
                  <c:v>0.195915819511325</c:v>
                </c:pt>
                <c:pt idx="10986">
                  <c:v>0.19593365436061999</c:v>
                </c:pt>
                <c:pt idx="10987">
                  <c:v>0.19595148920991601</c:v>
                </c:pt>
                <c:pt idx="10988">
                  <c:v>0.195969324059211</c:v>
                </c:pt>
                <c:pt idx="10989">
                  <c:v>0.19598715890850699</c:v>
                </c:pt>
                <c:pt idx="10990">
                  <c:v>0.196004993757802</c:v>
                </c:pt>
                <c:pt idx="10991">
                  <c:v>0.19602282860709799</c:v>
                </c:pt>
                <c:pt idx="10992">
                  <c:v>0.19604066345639301</c:v>
                </c:pt>
                <c:pt idx="10993">
                  <c:v>0.196058498305689</c:v>
                </c:pt>
                <c:pt idx="10994">
                  <c:v>0.19607633315498399</c:v>
                </c:pt>
                <c:pt idx="10995">
                  <c:v>0.19609416800428001</c:v>
                </c:pt>
                <c:pt idx="10996">
                  <c:v>0.196112002853575</c:v>
                </c:pt>
                <c:pt idx="10997">
                  <c:v>0.19612983770287101</c:v>
                </c:pt>
                <c:pt idx="10998">
                  <c:v>0.196147672552166</c:v>
                </c:pt>
                <c:pt idx="10999">
                  <c:v>0.19616550740146199</c:v>
                </c:pt>
                <c:pt idx="11000">
                  <c:v>0.19618334225075701</c:v>
                </c:pt>
                <c:pt idx="11001">
                  <c:v>0.196201177100053</c:v>
                </c:pt>
                <c:pt idx="11002">
                  <c:v>0.19621901194934899</c:v>
                </c:pt>
                <c:pt idx="11003">
                  <c:v>0.196236846798644</c:v>
                </c:pt>
                <c:pt idx="11004">
                  <c:v>0.19625468164793999</c:v>
                </c:pt>
                <c:pt idx="11005">
                  <c:v>0.19627251649723501</c:v>
                </c:pt>
                <c:pt idx="11006">
                  <c:v>0.196290351346531</c:v>
                </c:pt>
                <c:pt idx="11007">
                  <c:v>0.19630818619582599</c:v>
                </c:pt>
                <c:pt idx="11008">
                  <c:v>0.19632602104512201</c:v>
                </c:pt>
                <c:pt idx="11009">
                  <c:v>0.196343855894417</c:v>
                </c:pt>
                <c:pt idx="11010">
                  <c:v>0.19636169074371301</c:v>
                </c:pt>
                <c:pt idx="11011">
                  <c:v>0.196379525593008</c:v>
                </c:pt>
                <c:pt idx="11012">
                  <c:v>0.19639736044230399</c:v>
                </c:pt>
                <c:pt idx="11013">
                  <c:v>0.19641519529159901</c:v>
                </c:pt>
                <c:pt idx="11014">
                  <c:v>0.196433030140895</c:v>
                </c:pt>
                <c:pt idx="11015">
                  <c:v>0.19645086499018999</c:v>
                </c:pt>
                <c:pt idx="11016">
                  <c:v>0.19646869983948601</c:v>
                </c:pt>
                <c:pt idx="11017">
                  <c:v>0.19648653468878099</c:v>
                </c:pt>
                <c:pt idx="11018">
                  <c:v>0.19650436953807701</c:v>
                </c:pt>
                <c:pt idx="11019">
                  <c:v>0.196522204387372</c:v>
                </c:pt>
                <c:pt idx="11020">
                  <c:v>0.19654003923666799</c:v>
                </c:pt>
                <c:pt idx="11021">
                  <c:v>0.19655787408596301</c:v>
                </c:pt>
                <c:pt idx="11022">
                  <c:v>0.196575708935259</c:v>
                </c:pt>
                <c:pt idx="11023">
                  <c:v>0.19659354378455501</c:v>
                </c:pt>
                <c:pt idx="11024">
                  <c:v>0.19661137863385</c:v>
                </c:pt>
                <c:pt idx="11025">
                  <c:v>0.19662921348314599</c:v>
                </c:pt>
                <c:pt idx="11026">
                  <c:v>0.19664704833244101</c:v>
                </c:pt>
                <c:pt idx="11027">
                  <c:v>0.196664883181737</c:v>
                </c:pt>
                <c:pt idx="11028">
                  <c:v>0.19668271803103199</c:v>
                </c:pt>
                <c:pt idx="11029">
                  <c:v>0.19670055288032801</c:v>
                </c:pt>
                <c:pt idx="11030">
                  <c:v>0.196718387729623</c:v>
                </c:pt>
                <c:pt idx="11031">
                  <c:v>0.19673622257891901</c:v>
                </c:pt>
                <c:pt idx="11032">
                  <c:v>0.196754057428214</c:v>
                </c:pt>
                <c:pt idx="11033">
                  <c:v>0.19677189227750999</c:v>
                </c:pt>
                <c:pt idx="11034">
                  <c:v>0.19678972712680501</c:v>
                </c:pt>
                <c:pt idx="11035">
                  <c:v>0.196807561976101</c:v>
                </c:pt>
                <c:pt idx="11036">
                  <c:v>0.19682539682539599</c:v>
                </c:pt>
                <c:pt idx="11037">
                  <c:v>0.196843231674692</c:v>
                </c:pt>
                <c:pt idx="11038">
                  <c:v>0.19686106652398699</c:v>
                </c:pt>
                <c:pt idx="11039">
                  <c:v>0.19687890137328301</c:v>
                </c:pt>
                <c:pt idx="11040">
                  <c:v>0.196896736222578</c:v>
                </c:pt>
                <c:pt idx="11041">
                  <c:v>0.19691457107187399</c:v>
                </c:pt>
                <c:pt idx="11042">
                  <c:v>0.19693240592116901</c:v>
                </c:pt>
                <c:pt idx="11043">
                  <c:v>0.196950240770465</c:v>
                </c:pt>
                <c:pt idx="11044">
                  <c:v>0.19696807561976101</c:v>
                </c:pt>
                <c:pt idx="11045">
                  <c:v>0.196985910469056</c:v>
                </c:pt>
                <c:pt idx="11046">
                  <c:v>0.19700374531835199</c:v>
                </c:pt>
                <c:pt idx="11047">
                  <c:v>0.19702158016764701</c:v>
                </c:pt>
                <c:pt idx="11048">
                  <c:v>0.197039415016943</c:v>
                </c:pt>
                <c:pt idx="11049">
                  <c:v>0.19705724986623799</c:v>
                </c:pt>
                <c:pt idx="11050">
                  <c:v>0.197075084715534</c:v>
                </c:pt>
                <c:pt idx="11051">
                  <c:v>0.19709291956482899</c:v>
                </c:pt>
                <c:pt idx="11052">
                  <c:v>0.19711075441412501</c:v>
                </c:pt>
                <c:pt idx="11053">
                  <c:v>0.19712858926342</c:v>
                </c:pt>
                <c:pt idx="11054">
                  <c:v>0.19714642411271599</c:v>
                </c:pt>
                <c:pt idx="11055">
                  <c:v>0.19716425896201101</c:v>
                </c:pt>
                <c:pt idx="11056">
                  <c:v>0.197182093811307</c:v>
                </c:pt>
                <c:pt idx="11057">
                  <c:v>0.19719992866060199</c:v>
                </c:pt>
                <c:pt idx="11058">
                  <c:v>0.197217763509898</c:v>
                </c:pt>
                <c:pt idx="11059">
                  <c:v>0.19723559835919299</c:v>
                </c:pt>
                <c:pt idx="11060">
                  <c:v>0.19725343320848901</c:v>
                </c:pt>
                <c:pt idx="11061">
                  <c:v>0.197271268057784</c:v>
                </c:pt>
                <c:pt idx="11062">
                  <c:v>0.19728910290707999</c:v>
                </c:pt>
                <c:pt idx="11063">
                  <c:v>0.19730693775637501</c:v>
                </c:pt>
                <c:pt idx="11064">
                  <c:v>0.19732477260567099</c:v>
                </c:pt>
                <c:pt idx="11065">
                  <c:v>0.19734260745496701</c:v>
                </c:pt>
                <c:pt idx="11066">
                  <c:v>0.197360442304262</c:v>
                </c:pt>
                <c:pt idx="11067">
                  <c:v>0.19737827715355799</c:v>
                </c:pt>
                <c:pt idx="11068">
                  <c:v>0.19739611200285301</c:v>
                </c:pt>
                <c:pt idx="11069">
                  <c:v>0.197413946852149</c:v>
                </c:pt>
                <c:pt idx="11070">
                  <c:v>0.19743178170144399</c:v>
                </c:pt>
                <c:pt idx="11071">
                  <c:v>0.19744961655074</c:v>
                </c:pt>
                <c:pt idx="11072">
                  <c:v>0.19746745140003499</c:v>
                </c:pt>
                <c:pt idx="11073">
                  <c:v>0.19748528624933101</c:v>
                </c:pt>
                <c:pt idx="11074">
                  <c:v>0.197503121098626</c:v>
                </c:pt>
                <c:pt idx="11075">
                  <c:v>0.19752095594792199</c:v>
                </c:pt>
                <c:pt idx="11076">
                  <c:v>0.19753879079721701</c:v>
                </c:pt>
                <c:pt idx="11077">
                  <c:v>0.197556625646513</c:v>
                </c:pt>
                <c:pt idx="11078">
                  <c:v>0.19757446049580801</c:v>
                </c:pt>
                <c:pt idx="11079">
                  <c:v>0.197592295345104</c:v>
                </c:pt>
                <c:pt idx="11080">
                  <c:v>0.19761013019439899</c:v>
                </c:pt>
                <c:pt idx="11081">
                  <c:v>0.19762796504369501</c:v>
                </c:pt>
                <c:pt idx="11082">
                  <c:v>0.19764579989299</c:v>
                </c:pt>
                <c:pt idx="11083">
                  <c:v>0.19766363474228599</c:v>
                </c:pt>
                <c:pt idx="11084">
                  <c:v>0.197681469591581</c:v>
                </c:pt>
                <c:pt idx="11085">
                  <c:v>0.19769930444087699</c:v>
                </c:pt>
                <c:pt idx="11086">
                  <c:v>0.19771713929017301</c:v>
                </c:pt>
                <c:pt idx="11087">
                  <c:v>0.197734974139468</c:v>
                </c:pt>
                <c:pt idx="11088">
                  <c:v>0.19775280898876399</c:v>
                </c:pt>
                <c:pt idx="11089">
                  <c:v>0.19777064383805901</c:v>
                </c:pt>
                <c:pt idx="11090">
                  <c:v>0.197788478687355</c:v>
                </c:pt>
                <c:pt idx="11091">
                  <c:v>0.19780631353665001</c:v>
                </c:pt>
                <c:pt idx="11092">
                  <c:v>0.197824148385946</c:v>
                </c:pt>
                <c:pt idx="11093">
                  <c:v>0.19784198323524099</c:v>
                </c:pt>
                <c:pt idx="11094">
                  <c:v>0.19785981808453701</c:v>
                </c:pt>
                <c:pt idx="11095">
                  <c:v>0.197877652933832</c:v>
                </c:pt>
                <c:pt idx="11096">
                  <c:v>0.19789548778312799</c:v>
                </c:pt>
                <c:pt idx="11097">
                  <c:v>0.19791332263242301</c:v>
                </c:pt>
                <c:pt idx="11098">
                  <c:v>0.19793115748171899</c:v>
                </c:pt>
                <c:pt idx="11099">
                  <c:v>0.19794899233101401</c:v>
                </c:pt>
                <c:pt idx="11100">
                  <c:v>0.19796682718031</c:v>
                </c:pt>
                <c:pt idx="11101">
                  <c:v>0.19798466202960499</c:v>
                </c:pt>
                <c:pt idx="11102">
                  <c:v>0.19800249687890101</c:v>
                </c:pt>
                <c:pt idx="11103">
                  <c:v>0.198020331728196</c:v>
                </c:pt>
                <c:pt idx="11104">
                  <c:v>0.19803816657749199</c:v>
                </c:pt>
                <c:pt idx="11105">
                  <c:v>0.198056001426787</c:v>
                </c:pt>
                <c:pt idx="11106">
                  <c:v>0.19807383627608299</c:v>
                </c:pt>
                <c:pt idx="11107">
                  <c:v>0.19809167112537801</c:v>
                </c:pt>
                <c:pt idx="11108">
                  <c:v>0.198109505974674</c:v>
                </c:pt>
                <c:pt idx="11109">
                  <c:v>0.19812734082396999</c:v>
                </c:pt>
                <c:pt idx="11110">
                  <c:v>0.19814517567326501</c:v>
                </c:pt>
                <c:pt idx="11111">
                  <c:v>0.198163010522561</c:v>
                </c:pt>
                <c:pt idx="11112">
                  <c:v>0.19818084537185601</c:v>
                </c:pt>
                <c:pt idx="11113">
                  <c:v>0.198198680221152</c:v>
                </c:pt>
                <c:pt idx="11114">
                  <c:v>0.19821651507044699</c:v>
                </c:pt>
                <c:pt idx="11115">
                  <c:v>0.19823434991974301</c:v>
                </c:pt>
                <c:pt idx="11116">
                  <c:v>0.198252184769038</c:v>
                </c:pt>
                <c:pt idx="11117">
                  <c:v>0.19827001961833399</c:v>
                </c:pt>
                <c:pt idx="11118">
                  <c:v>0.198287854467629</c:v>
                </c:pt>
                <c:pt idx="11119">
                  <c:v>0.19830568931692499</c:v>
                </c:pt>
                <c:pt idx="11120">
                  <c:v>0.19832352416622001</c:v>
                </c:pt>
                <c:pt idx="11121">
                  <c:v>0.198341359015516</c:v>
                </c:pt>
                <c:pt idx="11122">
                  <c:v>0.19835919386481099</c:v>
                </c:pt>
                <c:pt idx="11123">
                  <c:v>0.19837702871410701</c:v>
                </c:pt>
                <c:pt idx="11124">
                  <c:v>0.198394863563402</c:v>
                </c:pt>
                <c:pt idx="11125">
                  <c:v>0.19841269841269801</c:v>
                </c:pt>
                <c:pt idx="11126">
                  <c:v>0.198430533261993</c:v>
                </c:pt>
                <c:pt idx="11127">
                  <c:v>0.19844836811128899</c:v>
                </c:pt>
                <c:pt idx="11128">
                  <c:v>0.19846620296058401</c:v>
                </c:pt>
                <c:pt idx="11129">
                  <c:v>0.19848403780988</c:v>
                </c:pt>
                <c:pt idx="11130">
                  <c:v>0.19850187265917599</c:v>
                </c:pt>
                <c:pt idx="11131">
                  <c:v>0.198519707508471</c:v>
                </c:pt>
                <c:pt idx="11132">
                  <c:v>0.19853754235776699</c:v>
                </c:pt>
                <c:pt idx="11133">
                  <c:v>0.19855537720706201</c:v>
                </c:pt>
                <c:pt idx="11134">
                  <c:v>0.198573212056358</c:v>
                </c:pt>
                <c:pt idx="11135">
                  <c:v>0.19859104690565299</c:v>
                </c:pt>
                <c:pt idx="11136">
                  <c:v>0.19860888175494901</c:v>
                </c:pt>
                <c:pt idx="11137">
                  <c:v>0.198626716604244</c:v>
                </c:pt>
                <c:pt idx="11138">
                  <c:v>0.19864455145354001</c:v>
                </c:pt>
                <c:pt idx="11139">
                  <c:v>0.198662386302835</c:v>
                </c:pt>
                <c:pt idx="11140">
                  <c:v>0.19868022115213099</c:v>
                </c:pt>
                <c:pt idx="11141">
                  <c:v>0.19869805600142601</c:v>
                </c:pt>
                <c:pt idx="11142">
                  <c:v>0.198715890850722</c:v>
                </c:pt>
                <c:pt idx="11143">
                  <c:v>0.19873372570001699</c:v>
                </c:pt>
                <c:pt idx="11144">
                  <c:v>0.19875156054931301</c:v>
                </c:pt>
                <c:pt idx="11145">
                  <c:v>0.198769395398608</c:v>
                </c:pt>
                <c:pt idx="11146">
                  <c:v>0.19878723024790401</c:v>
                </c:pt>
                <c:pt idx="11147">
                  <c:v>0.198805065097199</c:v>
                </c:pt>
                <c:pt idx="11148">
                  <c:v>0.19882289994649499</c:v>
                </c:pt>
                <c:pt idx="11149">
                  <c:v>0.19884073479579001</c:v>
                </c:pt>
                <c:pt idx="11150">
                  <c:v>0.198858569645086</c:v>
                </c:pt>
                <c:pt idx="11151">
                  <c:v>0.19887640449438199</c:v>
                </c:pt>
                <c:pt idx="11152">
                  <c:v>0.198894239343677</c:v>
                </c:pt>
                <c:pt idx="11153">
                  <c:v>0.19891207419297299</c:v>
                </c:pt>
                <c:pt idx="11154">
                  <c:v>0.19892990904226801</c:v>
                </c:pt>
                <c:pt idx="11155">
                  <c:v>0.198947743891564</c:v>
                </c:pt>
                <c:pt idx="11156">
                  <c:v>0.19896557874085899</c:v>
                </c:pt>
                <c:pt idx="11157">
                  <c:v>0.19898341359015501</c:v>
                </c:pt>
                <c:pt idx="11158">
                  <c:v>0.19900124843945</c:v>
                </c:pt>
                <c:pt idx="11159">
                  <c:v>0.19901908328874601</c:v>
                </c:pt>
                <c:pt idx="11160">
                  <c:v>0.199036918138041</c:v>
                </c:pt>
                <c:pt idx="11161">
                  <c:v>0.19905475298733699</c:v>
                </c:pt>
                <c:pt idx="11162">
                  <c:v>0.19907258783663201</c:v>
                </c:pt>
                <c:pt idx="11163">
                  <c:v>0.199090422685928</c:v>
                </c:pt>
                <c:pt idx="11164">
                  <c:v>0.19910825753522299</c:v>
                </c:pt>
                <c:pt idx="11165">
                  <c:v>0.199126092384519</c:v>
                </c:pt>
                <c:pt idx="11166">
                  <c:v>0.19914392723381399</c:v>
                </c:pt>
                <c:pt idx="11167">
                  <c:v>0.19916176208311001</c:v>
                </c:pt>
                <c:pt idx="11168">
                  <c:v>0.199179596932405</c:v>
                </c:pt>
                <c:pt idx="11169">
                  <c:v>0.19919743178170099</c:v>
                </c:pt>
                <c:pt idx="11170">
                  <c:v>0.19921526663099601</c:v>
                </c:pt>
                <c:pt idx="11171">
                  <c:v>0.199233101480292</c:v>
                </c:pt>
                <c:pt idx="11172">
                  <c:v>0.19925093632958801</c:v>
                </c:pt>
                <c:pt idx="11173">
                  <c:v>0.199268771178883</c:v>
                </c:pt>
                <c:pt idx="11174">
                  <c:v>0.19928660602817899</c:v>
                </c:pt>
                <c:pt idx="11175">
                  <c:v>0.19930444087747401</c:v>
                </c:pt>
                <c:pt idx="11176">
                  <c:v>0.19932227572677</c:v>
                </c:pt>
                <c:pt idx="11177">
                  <c:v>0.19934011057606499</c:v>
                </c:pt>
                <c:pt idx="11178">
                  <c:v>0.19935794542536101</c:v>
                </c:pt>
                <c:pt idx="11179">
                  <c:v>0.19937578027465599</c:v>
                </c:pt>
                <c:pt idx="11180">
                  <c:v>0.19939361512395201</c:v>
                </c:pt>
                <c:pt idx="11181">
                  <c:v>0.199411449973247</c:v>
                </c:pt>
                <c:pt idx="11182">
                  <c:v>0.19942928482254299</c:v>
                </c:pt>
                <c:pt idx="11183">
                  <c:v>0.19944711967183801</c:v>
                </c:pt>
                <c:pt idx="11184">
                  <c:v>0.199464954521134</c:v>
                </c:pt>
                <c:pt idx="11185">
                  <c:v>0.19948278937042899</c:v>
                </c:pt>
                <c:pt idx="11186">
                  <c:v>0.199500624219725</c:v>
                </c:pt>
                <c:pt idx="11187">
                  <c:v>0.19951845906901999</c:v>
                </c:pt>
                <c:pt idx="11188">
                  <c:v>0.19953629391831601</c:v>
                </c:pt>
                <c:pt idx="11189">
                  <c:v>0.199554128767611</c:v>
                </c:pt>
                <c:pt idx="11190">
                  <c:v>0.19957196361690699</c:v>
                </c:pt>
                <c:pt idx="11191">
                  <c:v>0.19958979846620201</c:v>
                </c:pt>
                <c:pt idx="11192">
                  <c:v>0.199607633315498</c:v>
                </c:pt>
                <c:pt idx="11193">
                  <c:v>0.19962546816479401</c:v>
                </c:pt>
                <c:pt idx="11194">
                  <c:v>0.199643303014089</c:v>
                </c:pt>
                <c:pt idx="11195">
                  <c:v>0.19966113786338499</c:v>
                </c:pt>
                <c:pt idx="11196">
                  <c:v>0.19967897271268001</c:v>
                </c:pt>
                <c:pt idx="11197">
                  <c:v>0.199696807561976</c:v>
                </c:pt>
                <c:pt idx="11198">
                  <c:v>0.19971464241127099</c:v>
                </c:pt>
                <c:pt idx="11199">
                  <c:v>0.199732477260567</c:v>
                </c:pt>
                <c:pt idx="11200">
                  <c:v>0.19975031210986199</c:v>
                </c:pt>
                <c:pt idx="11201">
                  <c:v>0.19976814695915801</c:v>
                </c:pt>
                <c:pt idx="11202">
                  <c:v>0.199785981808453</c:v>
                </c:pt>
                <c:pt idx="11203">
                  <c:v>0.19980381665774899</c:v>
                </c:pt>
                <c:pt idx="11204">
                  <c:v>0.19982165150704401</c:v>
                </c:pt>
                <c:pt idx="11205">
                  <c:v>0.19983948635634</c:v>
                </c:pt>
                <c:pt idx="11206">
                  <c:v>0.19985732120563501</c:v>
                </c:pt>
                <c:pt idx="11207">
                  <c:v>0.199875156054931</c:v>
                </c:pt>
                <c:pt idx="11208">
                  <c:v>0.19989299090422599</c:v>
                </c:pt>
                <c:pt idx="11209">
                  <c:v>0.19991082575352201</c:v>
                </c:pt>
                <c:pt idx="11210">
                  <c:v>0.199928660602817</c:v>
                </c:pt>
                <c:pt idx="11211">
                  <c:v>0.19994649545211299</c:v>
                </c:pt>
                <c:pt idx="11212">
                  <c:v>0.19996433030140801</c:v>
                </c:pt>
                <c:pt idx="11213">
                  <c:v>0.19998216515070399</c:v>
                </c:pt>
                <c:pt idx="11214">
                  <c:v>0.2</c:v>
                </c:pt>
                <c:pt idx="11215">
                  <c:v>0.200017834849295</c:v>
                </c:pt>
                <c:pt idx="11216">
                  <c:v>0.20003566969859099</c:v>
                </c:pt>
                <c:pt idx="11217">
                  <c:v>0.20005350454788601</c:v>
                </c:pt>
                <c:pt idx="11218">
                  <c:v>0.200071339397182</c:v>
                </c:pt>
                <c:pt idx="11219">
                  <c:v>0.20008917424647699</c:v>
                </c:pt>
                <c:pt idx="11220">
                  <c:v>0.200107009095773</c:v>
                </c:pt>
                <c:pt idx="11221">
                  <c:v>0.20012484394506799</c:v>
                </c:pt>
                <c:pt idx="11222">
                  <c:v>0.20014267879436401</c:v>
                </c:pt>
                <c:pt idx="11223">
                  <c:v>0.200160513643659</c:v>
                </c:pt>
                <c:pt idx="11224">
                  <c:v>0.20017834849295499</c:v>
                </c:pt>
                <c:pt idx="11225">
                  <c:v>0.20019618334225001</c:v>
                </c:pt>
                <c:pt idx="11226">
                  <c:v>0.20021401819154599</c:v>
                </c:pt>
                <c:pt idx="11227">
                  <c:v>0.20023185304084101</c:v>
                </c:pt>
                <c:pt idx="11228">
                  <c:v>0.200249687890137</c:v>
                </c:pt>
                <c:pt idx="11229">
                  <c:v>0.20026752273943199</c:v>
                </c:pt>
                <c:pt idx="11230">
                  <c:v>0.20028535758872801</c:v>
                </c:pt>
                <c:pt idx="11231">
                  <c:v>0.200303192438023</c:v>
                </c:pt>
                <c:pt idx="11232">
                  <c:v>0.20032102728731899</c:v>
                </c:pt>
                <c:pt idx="11233">
                  <c:v>0.200338862136614</c:v>
                </c:pt>
                <c:pt idx="11234">
                  <c:v>0.20035669698590999</c:v>
                </c:pt>
                <c:pt idx="11235">
                  <c:v>0.20037453183520501</c:v>
                </c:pt>
                <c:pt idx="11236">
                  <c:v>0.200392366684501</c:v>
                </c:pt>
                <c:pt idx="11237">
                  <c:v>0.20041020153379699</c:v>
                </c:pt>
                <c:pt idx="11238">
                  <c:v>0.20042803638309201</c:v>
                </c:pt>
                <c:pt idx="11239">
                  <c:v>0.200445871232388</c:v>
                </c:pt>
                <c:pt idx="11240">
                  <c:v>0.20046370608168301</c:v>
                </c:pt>
                <c:pt idx="11241">
                  <c:v>0.200481540930979</c:v>
                </c:pt>
                <c:pt idx="11242">
                  <c:v>0.20049937578027399</c:v>
                </c:pt>
                <c:pt idx="11243">
                  <c:v>0.20051721062957001</c:v>
                </c:pt>
                <c:pt idx="11244">
                  <c:v>0.200535045478865</c:v>
                </c:pt>
                <c:pt idx="11245">
                  <c:v>0.20055288032816099</c:v>
                </c:pt>
                <c:pt idx="11246">
                  <c:v>0.200570715177456</c:v>
                </c:pt>
                <c:pt idx="11247">
                  <c:v>0.20058855002675199</c:v>
                </c:pt>
                <c:pt idx="11248">
                  <c:v>0.20060638487604701</c:v>
                </c:pt>
                <c:pt idx="11249">
                  <c:v>0.200624219725343</c:v>
                </c:pt>
                <c:pt idx="11250">
                  <c:v>0.20064205457463799</c:v>
                </c:pt>
                <c:pt idx="11251">
                  <c:v>0.20065988942393401</c:v>
                </c:pt>
                <c:pt idx="11252">
                  <c:v>0.200677724273229</c:v>
                </c:pt>
                <c:pt idx="11253">
                  <c:v>0.20069555912252501</c:v>
                </c:pt>
                <c:pt idx="11254">
                  <c:v>0.20071339397182</c:v>
                </c:pt>
                <c:pt idx="11255">
                  <c:v>0.20073122882111599</c:v>
                </c:pt>
                <c:pt idx="11256">
                  <c:v>0.20074906367041101</c:v>
                </c:pt>
                <c:pt idx="11257">
                  <c:v>0.200766898519707</c:v>
                </c:pt>
                <c:pt idx="11258">
                  <c:v>0.20078473336900299</c:v>
                </c:pt>
                <c:pt idx="11259">
                  <c:v>0.20080256821829801</c:v>
                </c:pt>
                <c:pt idx="11260">
                  <c:v>0.20082040306759399</c:v>
                </c:pt>
                <c:pt idx="11261">
                  <c:v>0.20083823791688901</c:v>
                </c:pt>
                <c:pt idx="11262">
                  <c:v>0.200856072766185</c:v>
                </c:pt>
                <c:pt idx="11263">
                  <c:v>0.20087390761547999</c:v>
                </c:pt>
                <c:pt idx="11264">
                  <c:v>0.20089174246477601</c:v>
                </c:pt>
                <c:pt idx="11265">
                  <c:v>0.200909577314071</c:v>
                </c:pt>
                <c:pt idx="11266">
                  <c:v>0.20092741216336699</c:v>
                </c:pt>
                <c:pt idx="11267">
                  <c:v>0.200945247012662</c:v>
                </c:pt>
                <c:pt idx="11268">
                  <c:v>0.20096308186195799</c:v>
                </c:pt>
                <c:pt idx="11269">
                  <c:v>0.20098091671125301</c:v>
                </c:pt>
                <c:pt idx="11270">
                  <c:v>0.200998751560549</c:v>
                </c:pt>
                <c:pt idx="11271">
                  <c:v>0.20101658640984399</c:v>
                </c:pt>
                <c:pt idx="11272">
                  <c:v>0.20103442125914001</c:v>
                </c:pt>
                <c:pt idx="11273">
                  <c:v>0.201052256108435</c:v>
                </c:pt>
                <c:pt idx="11274">
                  <c:v>0.20107009095773101</c:v>
                </c:pt>
                <c:pt idx="11275">
                  <c:v>0.201087925807026</c:v>
                </c:pt>
                <c:pt idx="11276">
                  <c:v>0.20110576065632199</c:v>
                </c:pt>
                <c:pt idx="11277">
                  <c:v>0.20112359550561701</c:v>
                </c:pt>
                <c:pt idx="11278">
                  <c:v>0.201141430354913</c:v>
                </c:pt>
                <c:pt idx="11279">
                  <c:v>0.20115926520420899</c:v>
                </c:pt>
                <c:pt idx="11280">
                  <c:v>0.201177100053504</c:v>
                </c:pt>
                <c:pt idx="11281">
                  <c:v>0.20119493490279999</c:v>
                </c:pt>
                <c:pt idx="11282">
                  <c:v>0.20121276975209501</c:v>
                </c:pt>
                <c:pt idx="11283">
                  <c:v>0.201230604601391</c:v>
                </c:pt>
                <c:pt idx="11284">
                  <c:v>0.20124843945068599</c:v>
                </c:pt>
                <c:pt idx="11285">
                  <c:v>0.20126627429998201</c:v>
                </c:pt>
                <c:pt idx="11286">
                  <c:v>0.201284109149277</c:v>
                </c:pt>
                <c:pt idx="11287">
                  <c:v>0.20130194399857301</c:v>
                </c:pt>
                <c:pt idx="11288">
                  <c:v>0.201319778847868</c:v>
                </c:pt>
                <c:pt idx="11289">
                  <c:v>0.20133761369716399</c:v>
                </c:pt>
                <c:pt idx="11290">
                  <c:v>0.20135544854645901</c:v>
                </c:pt>
                <c:pt idx="11291">
                  <c:v>0.201373283395755</c:v>
                </c:pt>
                <c:pt idx="11292">
                  <c:v>0.20139111824504999</c:v>
                </c:pt>
                <c:pt idx="11293">
                  <c:v>0.201408953094346</c:v>
                </c:pt>
                <c:pt idx="11294">
                  <c:v>0.20142678794364099</c:v>
                </c:pt>
                <c:pt idx="11295">
                  <c:v>0.20144462279293701</c:v>
                </c:pt>
                <c:pt idx="11296">
                  <c:v>0.201462457642232</c:v>
                </c:pt>
                <c:pt idx="11297">
                  <c:v>0.20148029249152799</c:v>
                </c:pt>
                <c:pt idx="11298">
                  <c:v>0.20149812734082301</c:v>
                </c:pt>
                <c:pt idx="11299">
                  <c:v>0.201515962190119</c:v>
                </c:pt>
                <c:pt idx="11300">
                  <c:v>0.20153379703941501</c:v>
                </c:pt>
                <c:pt idx="11301">
                  <c:v>0.20155163188871</c:v>
                </c:pt>
                <c:pt idx="11302">
                  <c:v>0.20156946673800599</c:v>
                </c:pt>
                <c:pt idx="11303">
                  <c:v>0.20158730158730101</c:v>
                </c:pt>
                <c:pt idx="11304">
                  <c:v>0.201605136436597</c:v>
                </c:pt>
                <c:pt idx="11305">
                  <c:v>0.20162297128589199</c:v>
                </c:pt>
                <c:pt idx="11306">
                  <c:v>0.20164080613518801</c:v>
                </c:pt>
                <c:pt idx="11307">
                  <c:v>0.201658640984483</c:v>
                </c:pt>
                <c:pt idx="11308">
                  <c:v>0.20167647583377901</c:v>
                </c:pt>
                <c:pt idx="11309">
                  <c:v>0.201694310683074</c:v>
                </c:pt>
                <c:pt idx="11310">
                  <c:v>0.20171214553236999</c:v>
                </c:pt>
                <c:pt idx="11311">
                  <c:v>0.20172998038166501</c:v>
                </c:pt>
                <c:pt idx="11312">
                  <c:v>0.201747815230961</c:v>
                </c:pt>
                <c:pt idx="11313">
                  <c:v>0.20176565008025599</c:v>
                </c:pt>
                <c:pt idx="11314">
                  <c:v>0.201783484929552</c:v>
                </c:pt>
                <c:pt idx="11315">
                  <c:v>0.20180131977884699</c:v>
                </c:pt>
                <c:pt idx="11316">
                  <c:v>0.20181915462814301</c:v>
                </c:pt>
                <c:pt idx="11317">
                  <c:v>0.201836989477438</c:v>
                </c:pt>
                <c:pt idx="11318">
                  <c:v>0.20185482432673399</c:v>
                </c:pt>
                <c:pt idx="11319">
                  <c:v>0.20187265917602901</c:v>
                </c:pt>
                <c:pt idx="11320">
                  <c:v>0.201890494025325</c:v>
                </c:pt>
                <c:pt idx="11321">
                  <c:v>0.20190832887462101</c:v>
                </c:pt>
                <c:pt idx="11322">
                  <c:v>0.201926163723916</c:v>
                </c:pt>
                <c:pt idx="11323">
                  <c:v>0.20194399857321199</c:v>
                </c:pt>
                <c:pt idx="11324">
                  <c:v>0.20196183342250701</c:v>
                </c:pt>
                <c:pt idx="11325">
                  <c:v>0.201979668271803</c:v>
                </c:pt>
                <c:pt idx="11326">
                  <c:v>0.20199750312109799</c:v>
                </c:pt>
                <c:pt idx="11327">
                  <c:v>0.202015337970394</c:v>
                </c:pt>
                <c:pt idx="11328">
                  <c:v>0.20203317281968899</c:v>
                </c:pt>
                <c:pt idx="11329">
                  <c:v>0.20205100766898501</c:v>
                </c:pt>
                <c:pt idx="11330">
                  <c:v>0.20206884251828</c:v>
                </c:pt>
                <c:pt idx="11331">
                  <c:v>0.20208667736757599</c:v>
                </c:pt>
                <c:pt idx="11332">
                  <c:v>0.20210451221687101</c:v>
                </c:pt>
                <c:pt idx="11333">
                  <c:v>0.202122347066167</c:v>
                </c:pt>
                <c:pt idx="11334">
                  <c:v>0.20214018191546201</c:v>
                </c:pt>
                <c:pt idx="11335">
                  <c:v>0.202158016764758</c:v>
                </c:pt>
                <c:pt idx="11336">
                  <c:v>0.20217585161405299</c:v>
                </c:pt>
                <c:pt idx="11337">
                  <c:v>0.20219368646334901</c:v>
                </c:pt>
                <c:pt idx="11338">
                  <c:v>0.202211521312644</c:v>
                </c:pt>
                <c:pt idx="11339">
                  <c:v>0.20222935616193999</c:v>
                </c:pt>
                <c:pt idx="11340">
                  <c:v>0.20224719101123501</c:v>
                </c:pt>
                <c:pt idx="11341">
                  <c:v>0.20226502586053099</c:v>
                </c:pt>
                <c:pt idx="11342">
                  <c:v>0.20228286070982701</c:v>
                </c:pt>
                <c:pt idx="11343">
                  <c:v>0.202300695559122</c:v>
                </c:pt>
                <c:pt idx="11344">
                  <c:v>0.20231853040841799</c:v>
                </c:pt>
                <c:pt idx="11345">
                  <c:v>0.20233636525771301</c:v>
                </c:pt>
                <c:pt idx="11346">
                  <c:v>0.202354200107009</c:v>
                </c:pt>
                <c:pt idx="11347">
                  <c:v>0.20237203495630399</c:v>
                </c:pt>
                <c:pt idx="11348">
                  <c:v>0.2023898698056</c:v>
                </c:pt>
                <c:pt idx="11349">
                  <c:v>0.20240770465489499</c:v>
                </c:pt>
                <c:pt idx="11350">
                  <c:v>0.20242553950419101</c:v>
                </c:pt>
                <c:pt idx="11351">
                  <c:v>0.202443374353486</c:v>
                </c:pt>
                <c:pt idx="11352">
                  <c:v>0.20246120920278199</c:v>
                </c:pt>
                <c:pt idx="11353">
                  <c:v>0.20247904405207701</c:v>
                </c:pt>
                <c:pt idx="11354">
                  <c:v>0.202496878901373</c:v>
                </c:pt>
                <c:pt idx="11355">
                  <c:v>0.20251471375066801</c:v>
                </c:pt>
                <c:pt idx="11356">
                  <c:v>0.202532548599964</c:v>
                </c:pt>
                <c:pt idx="11357">
                  <c:v>0.20255038344925899</c:v>
                </c:pt>
                <c:pt idx="11358">
                  <c:v>0.20256821829855501</c:v>
                </c:pt>
                <c:pt idx="11359">
                  <c:v>0.20258605314785</c:v>
                </c:pt>
                <c:pt idx="11360">
                  <c:v>0.20260388799714599</c:v>
                </c:pt>
                <c:pt idx="11361">
                  <c:v>0.202621722846441</c:v>
                </c:pt>
                <c:pt idx="11362">
                  <c:v>0.20263955769573699</c:v>
                </c:pt>
                <c:pt idx="11363">
                  <c:v>0.20265739254503201</c:v>
                </c:pt>
                <c:pt idx="11364">
                  <c:v>0.202675227394328</c:v>
                </c:pt>
                <c:pt idx="11365">
                  <c:v>0.20269306224362399</c:v>
                </c:pt>
                <c:pt idx="11366">
                  <c:v>0.20271089709291901</c:v>
                </c:pt>
                <c:pt idx="11367">
                  <c:v>0.202728731942215</c:v>
                </c:pt>
                <c:pt idx="11368">
                  <c:v>0.20274656679151001</c:v>
                </c:pt>
                <c:pt idx="11369">
                  <c:v>0.202764401640806</c:v>
                </c:pt>
                <c:pt idx="11370">
                  <c:v>0.20278223649010099</c:v>
                </c:pt>
                <c:pt idx="11371">
                  <c:v>0.20280007133939701</c:v>
                </c:pt>
                <c:pt idx="11372">
                  <c:v>0.202817906188692</c:v>
                </c:pt>
                <c:pt idx="11373">
                  <c:v>0.20283574103798799</c:v>
                </c:pt>
                <c:pt idx="11374">
                  <c:v>0.20285357588728301</c:v>
                </c:pt>
                <c:pt idx="11375">
                  <c:v>0.20287141073657899</c:v>
                </c:pt>
                <c:pt idx="11376">
                  <c:v>0.20288924558587401</c:v>
                </c:pt>
                <c:pt idx="11377">
                  <c:v>0.20290708043517</c:v>
                </c:pt>
                <c:pt idx="11378">
                  <c:v>0.20292491528446499</c:v>
                </c:pt>
                <c:pt idx="11379">
                  <c:v>0.20294275013376101</c:v>
                </c:pt>
                <c:pt idx="11380">
                  <c:v>0.202960584983056</c:v>
                </c:pt>
                <c:pt idx="11381">
                  <c:v>0.20297841983235199</c:v>
                </c:pt>
                <c:pt idx="11382">
                  <c:v>0.202996254681647</c:v>
                </c:pt>
                <c:pt idx="11383">
                  <c:v>0.20301408953094299</c:v>
                </c:pt>
                <c:pt idx="11384">
                  <c:v>0.20303192438023801</c:v>
                </c:pt>
                <c:pt idx="11385">
                  <c:v>0.203049759229534</c:v>
                </c:pt>
                <c:pt idx="11386">
                  <c:v>0.20306759407882999</c:v>
                </c:pt>
                <c:pt idx="11387">
                  <c:v>0.20308542892812501</c:v>
                </c:pt>
                <c:pt idx="11388">
                  <c:v>0.20310326377742099</c:v>
                </c:pt>
                <c:pt idx="11389">
                  <c:v>0.20312109862671601</c:v>
                </c:pt>
                <c:pt idx="11390">
                  <c:v>0.203138933476012</c:v>
                </c:pt>
                <c:pt idx="11391">
                  <c:v>0.20315676832530699</c:v>
                </c:pt>
                <c:pt idx="11392">
                  <c:v>0.20317460317460301</c:v>
                </c:pt>
                <c:pt idx="11393">
                  <c:v>0.203192438023898</c:v>
                </c:pt>
                <c:pt idx="11394">
                  <c:v>0.20321027287319399</c:v>
                </c:pt>
                <c:pt idx="11395">
                  <c:v>0.203228107722489</c:v>
                </c:pt>
                <c:pt idx="11396">
                  <c:v>0.20324594257178499</c:v>
                </c:pt>
                <c:pt idx="11397">
                  <c:v>0.20326377742108001</c:v>
                </c:pt>
                <c:pt idx="11398">
                  <c:v>0.203281612270376</c:v>
                </c:pt>
                <c:pt idx="11399">
                  <c:v>0.20329944711967099</c:v>
                </c:pt>
                <c:pt idx="11400">
                  <c:v>0.20331728196896701</c:v>
                </c:pt>
                <c:pt idx="11401">
                  <c:v>0.203335116818262</c:v>
                </c:pt>
                <c:pt idx="11402">
                  <c:v>0.20335295166755801</c:v>
                </c:pt>
                <c:pt idx="11403">
                  <c:v>0.203370786516853</c:v>
                </c:pt>
                <c:pt idx="11404">
                  <c:v>0.20338862136614899</c:v>
                </c:pt>
                <c:pt idx="11405">
                  <c:v>0.20340645621544401</c:v>
                </c:pt>
                <c:pt idx="11406">
                  <c:v>0.20342429106474</c:v>
                </c:pt>
                <c:pt idx="11407">
                  <c:v>0.20344212591403599</c:v>
                </c:pt>
                <c:pt idx="11408">
                  <c:v>0.203459960763331</c:v>
                </c:pt>
                <c:pt idx="11409">
                  <c:v>0.20347779561262699</c:v>
                </c:pt>
                <c:pt idx="11410">
                  <c:v>0.20349563046192201</c:v>
                </c:pt>
                <c:pt idx="11411">
                  <c:v>0.203513465311218</c:v>
                </c:pt>
                <c:pt idx="11412">
                  <c:v>0.20353130016051299</c:v>
                </c:pt>
                <c:pt idx="11413">
                  <c:v>0.20354913500980901</c:v>
                </c:pt>
                <c:pt idx="11414">
                  <c:v>0.203566969859104</c:v>
                </c:pt>
                <c:pt idx="11415">
                  <c:v>0.20358480470840001</c:v>
                </c:pt>
                <c:pt idx="11416">
                  <c:v>0.203602639557695</c:v>
                </c:pt>
                <c:pt idx="11417">
                  <c:v>0.20362047440699099</c:v>
                </c:pt>
                <c:pt idx="11418">
                  <c:v>0.20363830925628601</c:v>
                </c:pt>
                <c:pt idx="11419">
                  <c:v>0.203656144105582</c:v>
                </c:pt>
                <c:pt idx="11420">
                  <c:v>0.20367397895487699</c:v>
                </c:pt>
                <c:pt idx="11421">
                  <c:v>0.20369181380417301</c:v>
                </c:pt>
                <c:pt idx="11422">
                  <c:v>0.203709648653468</c:v>
                </c:pt>
                <c:pt idx="11423">
                  <c:v>0.20372748350276401</c:v>
                </c:pt>
                <c:pt idx="11424">
                  <c:v>0.203745318352059</c:v>
                </c:pt>
                <c:pt idx="11425">
                  <c:v>0.20376315320135499</c:v>
                </c:pt>
                <c:pt idx="11426">
                  <c:v>0.20378098805065001</c:v>
                </c:pt>
                <c:pt idx="11427">
                  <c:v>0.203798822899946</c:v>
                </c:pt>
                <c:pt idx="11428">
                  <c:v>0.20381665774924199</c:v>
                </c:pt>
                <c:pt idx="11429">
                  <c:v>0.203834492598537</c:v>
                </c:pt>
                <c:pt idx="11430">
                  <c:v>0.20385232744783299</c:v>
                </c:pt>
                <c:pt idx="11431">
                  <c:v>0.20387016229712801</c:v>
                </c:pt>
                <c:pt idx="11432">
                  <c:v>0.203887997146424</c:v>
                </c:pt>
                <c:pt idx="11433">
                  <c:v>0.20390583199571899</c:v>
                </c:pt>
                <c:pt idx="11434">
                  <c:v>0.20392366684501501</c:v>
                </c:pt>
                <c:pt idx="11435">
                  <c:v>0.20394150169431</c:v>
                </c:pt>
                <c:pt idx="11436">
                  <c:v>0.20395933654360601</c:v>
                </c:pt>
                <c:pt idx="11437">
                  <c:v>0.203977171392901</c:v>
                </c:pt>
                <c:pt idx="11438">
                  <c:v>0.20399500624219699</c:v>
                </c:pt>
                <c:pt idx="11439">
                  <c:v>0.20401284109149201</c:v>
                </c:pt>
                <c:pt idx="11440">
                  <c:v>0.204030675940788</c:v>
                </c:pt>
                <c:pt idx="11441">
                  <c:v>0.20404851079008299</c:v>
                </c:pt>
                <c:pt idx="11442">
                  <c:v>0.204066345639379</c:v>
                </c:pt>
                <c:pt idx="11443">
                  <c:v>0.20408418048867399</c:v>
                </c:pt>
                <c:pt idx="11444">
                  <c:v>0.20410201533797001</c:v>
                </c:pt>
                <c:pt idx="11445">
                  <c:v>0.204119850187265</c:v>
                </c:pt>
                <c:pt idx="11446">
                  <c:v>0.20413768503656099</c:v>
                </c:pt>
                <c:pt idx="11447">
                  <c:v>0.20415551988585601</c:v>
                </c:pt>
                <c:pt idx="11448">
                  <c:v>0.204173354735152</c:v>
                </c:pt>
                <c:pt idx="11449">
                  <c:v>0.20419118958444801</c:v>
                </c:pt>
                <c:pt idx="11450">
                  <c:v>0.204209024433743</c:v>
                </c:pt>
                <c:pt idx="11451">
                  <c:v>0.20422685928303899</c:v>
                </c:pt>
                <c:pt idx="11452">
                  <c:v>0.20424469413233401</c:v>
                </c:pt>
                <c:pt idx="11453">
                  <c:v>0.20426252898163</c:v>
                </c:pt>
                <c:pt idx="11454">
                  <c:v>0.20428036383092499</c:v>
                </c:pt>
                <c:pt idx="11455">
                  <c:v>0.204298198680221</c:v>
                </c:pt>
                <c:pt idx="11456">
                  <c:v>0.20431603352951599</c:v>
                </c:pt>
                <c:pt idx="11457">
                  <c:v>0.20433386837881201</c:v>
                </c:pt>
                <c:pt idx="11458">
                  <c:v>0.204351703228107</c:v>
                </c:pt>
                <c:pt idx="11459">
                  <c:v>0.20436953807740299</c:v>
                </c:pt>
                <c:pt idx="11460">
                  <c:v>0.20438737292669801</c:v>
                </c:pt>
                <c:pt idx="11461">
                  <c:v>0.204405207775994</c:v>
                </c:pt>
                <c:pt idx="11462">
                  <c:v>0.20442304262528899</c:v>
                </c:pt>
                <c:pt idx="11463">
                  <c:v>0.204440877474585</c:v>
                </c:pt>
                <c:pt idx="11464">
                  <c:v>0.20445871232387999</c:v>
                </c:pt>
                <c:pt idx="11465">
                  <c:v>0.20447654717317601</c:v>
                </c:pt>
                <c:pt idx="11466">
                  <c:v>0.204494382022471</c:v>
                </c:pt>
                <c:pt idx="11467">
                  <c:v>0.20451221687176699</c:v>
                </c:pt>
                <c:pt idx="11468">
                  <c:v>0.20453005172106201</c:v>
                </c:pt>
                <c:pt idx="11469">
                  <c:v>0.204547886570358</c:v>
                </c:pt>
                <c:pt idx="11470">
                  <c:v>0.20456572141965401</c:v>
                </c:pt>
                <c:pt idx="11471">
                  <c:v>0.204583556268949</c:v>
                </c:pt>
                <c:pt idx="11472">
                  <c:v>0.20460139111824499</c:v>
                </c:pt>
                <c:pt idx="11473">
                  <c:v>0.20461922596754001</c:v>
                </c:pt>
                <c:pt idx="11474">
                  <c:v>0.204637060816836</c:v>
                </c:pt>
                <c:pt idx="11475">
                  <c:v>0.20465489566613099</c:v>
                </c:pt>
                <c:pt idx="11476">
                  <c:v>0.204672730515427</c:v>
                </c:pt>
                <c:pt idx="11477">
                  <c:v>0.20469056536472199</c:v>
                </c:pt>
                <c:pt idx="11478">
                  <c:v>0.20470840021401801</c:v>
                </c:pt>
                <c:pt idx="11479">
                  <c:v>0.204726235063313</c:v>
                </c:pt>
                <c:pt idx="11480">
                  <c:v>0.20474406991260899</c:v>
                </c:pt>
                <c:pt idx="11481">
                  <c:v>0.20476190476190401</c:v>
                </c:pt>
                <c:pt idx="11482">
                  <c:v>0.2047797396112</c:v>
                </c:pt>
                <c:pt idx="11483">
                  <c:v>0.20479757446049501</c:v>
                </c:pt>
                <c:pt idx="11484">
                  <c:v>0.204815409309791</c:v>
                </c:pt>
                <c:pt idx="11485">
                  <c:v>0.20483324415908599</c:v>
                </c:pt>
                <c:pt idx="11486">
                  <c:v>0.20485107900838201</c:v>
                </c:pt>
                <c:pt idx="11487">
                  <c:v>0.204868913857677</c:v>
                </c:pt>
                <c:pt idx="11488">
                  <c:v>0.20488674870697299</c:v>
                </c:pt>
                <c:pt idx="11489">
                  <c:v>0.20490458355626801</c:v>
                </c:pt>
                <c:pt idx="11490">
                  <c:v>0.20492241840556399</c:v>
                </c:pt>
                <c:pt idx="11491">
                  <c:v>0.20494025325485901</c:v>
                </c:pt>
                <c:pt idx="11492">
                  <c:v>0.204958088104155</c:v>
                </c:pt>
                <c:pt idx="11493">
                  <c:v>0.20497592295345099</c:v>
                </c:pt>
                <c:pt idx="11494">
                  <c:v>0.20499375780274601</c:v>
                </c:pt>
                <c:pt idx="11495">
                  <c:v>0.205011592652042</c:v>
                </c:pt>
                <c:pt idx="11496">
                  <c:v>0.20502942750133701</c:v>
                </c:pt>
                <c:pt idx="11497">
                  <c:v>0.205047262350633</c:v>
                </c:pt>
                <c:pt idx="11498">
                  <c:v>0.20506509719992799</c:v>
                </c:pt>
                <c:pt idx="11499">
                  <c:v>0.20508293204922401</c:v>
                </c:pt>
                <c:pt idx="11500">
                  <c:v>0.205100766898519</c:v>
                </c:pt>
                <c:pt idx="11501">
                  <c:v>0.20511860174781499</c:v>
                </c:pt>
                <c:pt idx="11502">
                  <c:v>0.20513643659711001</c:v>
                </c:pt>
                <c:pt idx="11503">
                  <c:v>0.20515427144640599</c:v>
                </c:pt>
                <c:pt idx="11504">
                  <c:v>0.20517210629570101</c:v>
                </c:pt>
                <c:pt idx="11505">
                  <c:v>0.205189941144997</c:v>
                </c:pt>
                <c:pt idx="11506">
                  <c:v>0.20520777599429199</c:v>
                </c:pt>
                <c:pt idx="11507">
                  <c:v>0.20522561084358801</c:v>
                </c:pt>
                <c:pt idx="11508">
                  <c:v>0.205243445692883</c:v>
                </c:pt>
                <c:pt idx="11509">
                  <c:v>0.20526128054217899</c:v>
                </c:pt>
                <c:pt idx="11510">
                  <c:v>0.205279115391474</c:v>
                </c:pt>
                <c:pt idx="11511">
                  <c:v>0.20529695024076999</c:v>
                </c:pt>
                <c:pt idx="11512">
                  <c:v>0.20531478509006501</c:v>
                </c:pt>
                <c:pt idx="11513">
                  <c:v>0.205332619939361</c:v>
                </c:pt>
                <c:pt idx="11514">
                  <c:v>0.20535045478865699</c:v>
                </c:pt>
                <c:pt idx="11515">
                  <c:v>0.20536828963795201</c:v>
                </c:pt>
                <c:pt idx="11516">
                  <c:v>0.205386124487248</c:v>
                </c:pt>
                <c:pt idx="11517">
                  <c:v>0.20540395933654301</c:v>
                </c:pt>
                <c:pt idx="11518">
                  <c:v>0.205421794185839</c:v>
                </c:pt>
                <c:pt idx="11519">
                  <c:v>0.20543962903513399</c:v>
                </c:pt>
                <c:pt idx="11520">
                  <c:v>0.20545746388443001</c:v>
                </c:pt>
                <c:pt idx="11521">
                  <c:v>0.205475298733725</c:v>
                </c:pt>
                <c:pt idx="11522">
                  <c:v>0.20549313358302099</c:v>
                </c:pt>
                <c:pt idx="11523">
                  <c:v>0.205510968432316</c:v>
                </c:pt>
                <c:pt idx="11524">
                  <c:v>0.20552880328161199</c:v>
                </c:pt>
                <c:pt idx="11525">
                  <c:v>0.20554663813090701</c:v>
                </c:pt>
                <c:pt idx="11526">
                  <c:v>0.205564472980203</c:v>
                </c:pt>
                <c:pt idx="11527">
                  <c:v>0.20558230782949799</c:v>
                </c:pt>
                <c:pt idx="11528">
                  <c:v>0.20560014267879401</c:v>
                </c:pt>
                <c:pt idx="11529">
                  <c:v>0.205617977528089</c:v>
                </c:pt>
                <c:pt idx="11530">
                  <c:v>0.20563581237738501</c:v>
                </c:pt>
                <c:pt idx="11531">
                  <c:v>0.20565364722668</c:v>
                </c:pt>
                <c:pt idx="11532">
                  <c:v>0.20567148207597599</c:v>
                </c:pt>
                <c:pt idx="11533">
                  <c:v>0.20568931692527101</c:v>
                </c:pt>
                <c:pt idx="11534">
                  <c:v>0.205707151774567</c:v>
                </c:pt>
                <c:pt idx="11535">
                  <c:v>0.20572498662386299</c:v>
                </c:pt>
                <c:pt idx="11536">
                  <c:v>0.20574282147315801</c:v>
                </c:pt>
                <c:pt idx="11537">
                  <c:v>0.20576065632245399</c:v>
                </c:pt>
                <c:pt idx="11538">
                  <c:v>0.20577849117174901</c:v>
                </c:pt>
                <c:pt idx="11539">
                  <c:v>0.205796326021045</c:v>
                </c:pt>
                <c:pt idx="11540">
                  <c:v>0.20581416087033999</c:v>
                </c:pt>
                <c:pt idx="11541">
                  <c:v>0.20583199571963601</c:v>
                </c:pt>
                <c:pt idx="11542">
                  <c:v>0.205849830568931</c:v>
                </c:pt>
                <c:pt idx="11543">
                  <c:v>0.20586766541822701</c:v>
                </c:pt>
                <c:pt idx="11544">
                  <c:v>0.205885500267522</c:v>
                </c:pt>
                <c:pt idx="11545">
                  <c:v>0.20590333511681799</c:v>
                </c:pt>
                <c:pt idx="11546">
                  <c:v>0.20592116996611301</c:v>
                </c:pt>
                <c:pt idx="11547">
                  <c:v>0.205939004815409</c:v>
                </c:pt>
                <c:pt idx="11548">
                  <c:v>0.20595683966470399</c:v>
                </c:pt>
                <c:pt idx="11549">
                  <c:v>0.20597467451400001</c:v>
                </c:pt>
                <c:pt idx="11550">
                  <c:v>0.205992509363295</c:v>
                </c:pt>
                <c:pt idx="11551">
                  <c:v>0.20601034421259101</c:v>
                </c:pt>
                <c:pt idx="11552">
                  <c:v>0.206028179061886</c:v>
                </c:pt>
                <c:pt idx="11553">
                  <c:v>0.20604601391118199</c:v>
                </c:pt>
                <c:pt idx="11554">
                  <c:v>0.20606384876047701</c:v>
                </c:pt>
                <c:pt idx="11555">
                  <c:v>0.206081683609773</c:v>
                </c:pt>
                <c:pt idx="11556">
                  <c:v>0.20609951845906899</c:v>
                </c:pt>
                <c:pt idx="11557">
                  <c:v>0.206117353308364</c:v>
                </c:pt>
                <c:pt idx="11558">
                  <c:v>0.20613518815765999</c:v>
                </c:pt>
                <c:pt idx="11559">
                  <c:v>0.20615302300695501</c:v>
                </c:pt>
                <c:pt idx="11560">
                  <c:v>0.206170857856251</c:v>
                </c:pt>
                <c:pt idx="11561">
                  <c:v>0.20618869270554599</c:v>
                </c:pt>
                <c:pt idx="11562">
                  <c:v>0.20620652755484201</c:v>
                </c:pt>
                <c:pt idx="11563">
                  <c:v>0.206224362404137</c:v>
                </c:pt>
                <c:pt idx="11564">
                  <c:v>0.20624219725343301</c:v>
                </c:pt>
                <c:pt idx="11565">
                  <c:v>0.206260032102728</c:v>
                </c:pt>
                <c:pt idx="11566">
                  <c:v>0.20627786695202399</c:v>
                </c:pt>
                <c:pt idx="11567">
                  <c:v>0.20629570180131901</c:v>
                </c:pt>
                <c:pt idx="11568">
                  <c:v>0.206313536650615</c:v>
                </c:pt>
                <c:pt idx="11569">
                  <c:v>0.20633137149990999</c:v>
                </c:pt>
                <c:pt idx="11570">
                  <c:v>0.206349206349206</c:v>
                </c:pt>
                <c:pt idx="11571">
                  <c:v>0.20636704119850099</c:v>
                </c:pt>
                <c:pt idx="11572">
                  <c:v>0.20638487604779701</c:v>
                </c:pt>
                <c:pt idx="11573">
                  <c:v>0.206402710897092</c:v>
                </c:pt>
                <c:pt idx="11574">
                  <c:v>0.20642054574638799</c:v>
                </c:pt>
                <c:pt idx="11575">
                  <c:v>0.20643838059568301</c:v>
                </c:pt>
                <c:pt idx="11576">
                  <c:v>0.206456215444979</c:v>
                </c:pt>
                <c:pt idx="11577">
                  <c:v>0.20647405029427501</c:v>
                </c:pt>
                <c:pt idx="11578">
                  <c:v>0.20649188514357</c:v>
                </c:pt>
                <c:pt idx="11579">
                  <c:v>0.20650971999286599</c:v>
                </c:pt>
                <c:pt idx="11580">
                  <c:v>0.20652755484216101</c:v>
                </c:pt>
                <c:pt idx="11581">
                  <c:v>0.206545389691457</c:v>
                </c:pt>
                <c:pt idx="11582">
                  <c:v>0.20656322454075199</c:v>
                </c:pt>
                <c:pt idx="11583">
                  <c:v>0.20658105939004801</c:v>
                </c:pt>
                <c:pt idx="11584">
                  <c:v>0.206598894239343</c:v>
                </c:pt>
                <c:pt idx="11585">
                  <c:v>0.20661672908863901</c:v>
                </c:pt>
                <c:pt idx="11586">
                  <c:v>0.206634563937934</c:v>
                </c:pt>
                <c:pt idx="11587">
                  <c:v>0.20665239878722999</c:v>
                </c:pt>
                <c:pt idx="11588">
                  <c:v>0.20667023363652501</c:v>
                </c:pt>
                <c:pt idx="11589">
                  <c:v>0.206688068485821</c:v>
                </c:pt>
                <c:pt idx="11590">
                  <c:v>0.20670590333511599</c:v>
                </c:pt>
                <c:pt idx="11591">
                  <c:v>0.206723738184412</c:v>
                </c:pt>
                <c:pt idx="11592">
                  <c:v>0.20674157303370699</c:v>
                </c:pt>
                <c:pt idx="11593">
                  <c:v>0.20675940788300301</c:v>
                </c:pt>
                <c:pt idx="11594">
                  <c:v>0.206777242732298</c:v>
                </c:pt>
                <c:pt idx="11595">
                  <c:v>0.20679507758159399</c:v>
                </c:pt>
                <c:pt idx="11596">
                  <c:v>0.20681291243088901</c:v>
                </c:pt>
                <c:pt idx="11597">
                  <c:v>0.206830747280185</c:v>
                </c:pt>
                <c:pt idx="11598">
                  <c:v>0.20684858212948101</c:v>
                </c:pt>
                <c:pt idx="11599">
                  <c:v>0.206866416978776</c:v>
                </c:pt>
                <c:pt idx="11600">
                  <c:v>0.20688425182807199</c:v>
                </c:pt>
                <c:pt idx="11601">
                  <c:v>0.20690208667736701</c:v>
                </c:pt>
                <c:pt idx="11602">
                  <c:v>0.206919921526663</c:v>
                </c:pt>
                <c:pt idx="11603">
                  <c:v>0.20693775637595799</c:v>
                </c:pt>
                <c:pt idx="11604">
                  <c:v>0.206955591225254</c:v>
                </c:pt>
                <c:pt idx="11605">
                  <c:v>0.20697342607454899</c:v>
                </c:pt>
                <c:pt idx="11606">
                  <c:v>0.20699126092384501</c:v>
                </c:pt>
                <c:pt idx="11607">
                  <c:v>0.20700909577314</c:v>
                </c:pt>
                <c:pt idx="11608">
                  <c:v>0.20702693062243599</c:v>
                </c:pt>
                <c:pt idx="11609">
                  <c:v>0.20704476547173101</c:v>
                </c:pt>
                <c:pt idx="11610">
                  <c:v>0.207062600321027</c:v>
                </c:pt>
                <c:pt idx="11611">
                  <c:v>0.20708043517032201</c:v>
                </c:pt>
                <c:pt idx="11612">
                  <c:v>0.207098270019618</c:v>
                </c:pt>
                <c:pt idx="11613">
                  <c:v>0.20711610486891299</c:v>
                </c:pt>
                <c:pt idx="11614">
                  <c:v>0.20713393971820901</c:v>
                </c:pt>
                <c:pt idx="11615">
                  <c:v>0.207151774567504</c:v>
                </c:pt>
                <c:pt idx="11616">
                  <c:v>0.20716960941679999</c:v>
                </c:pt>
                <c:pt idx="11617">
                  <c:v>0.20718744426609501</c:v>
                </c:pt>
                <c:pt idx="11618">
                  <c:v>0.20720527911539099</c:v>
                </c:pt>
                <c:pt idx="11619">
                  <c:v>0.20722311396468701</c:v>
                </c:pt>
                <c:pt idx="11620">
                  <c:v>0.207240948813982</c:v>
                </c:pt>
                <c:pt idx="11621">
                  <c:v>0.20725878366327799</c:v>
                </c:pt>
                <c:pt idx="11622">
                  <c:v>0.20727661851257301</c:v>
                </c:pt>
                <c:pt idx="11623">
                  <c:v>0.207294453361869</c:v>
                </c:pt>
                <c:pt idx="11624">
                  <c:v>0.20731228821116399</c:v>
                </c:pt>
                <c:pt idx="11625">
                  <c:v>0.20733012306046</c:v>
                </c:pt>
                <c:pt idx="11626">
                  <c:v>0.20734795790975499</c:v>
                </c:pt>
                <c:pt idx="11627">
                  <c:v>0.20736579275905101</c:v>
                </c:pt>
                <c:pt idx="11628">
                  <c:v>0.207383627608346</c:v>
                </c:pt>
                <c:pt idx="11629">
                  <c:v>0.20740146245764199</c:v>
                </c:pt>
                <c:pt idx="11630">
                  <c:v>0.20741929730693701</c:v>
                </c:pt>
                <c:pt idx="11631">
                  <c:v>0.207437132156233</c:v>
                </c:pt>
                <c:pt idx="11632">
                  <c:v>0.20745496700552801</c:v>
                </c:pt>
                <c:pt idx="11633">
                  <c:v>0.207472801854824</c:v>
                </c:pt>
                <c:pt idx="11634">
                  <c:v>0.20749063670411899</c:v>
                </c:pt>
                <c:pt idx="11635">
                  <c:v>0.20750847155341501</c:v>
                </c:pt>
                <c:pt idx="11636">
                  <c:v>0.20752630640271</c:v>
                </c:pt>
                <c:pt idx="11637">
                  <c:v>0.20754414125200599</c:v>
                </c:pt>
                <c:pt idx="11638">
                  <c:v>0.207561976101301</c:v>
                </c:pt>
                <c:pt idx="11639">
                  <c:v>0.20757981095059699</c:v>
                </c:pt>
                <c:pt idx="11640">
                  <c:v>0.20759764579989201</c:v>
                </c:pt>
                <c:pt idx="11641">
                  <c:v>0.207615480649188</c:v>
                </c:pt>
                <c:pt idx="11642">
                  <c:v>0.20763331549848399</c:v>
                </c:pt>
                <c:pt idx="11643">
                  <c:v>0.20765115034777901</c:v>
                </c:pt>
                <c:pt idx="11644">
                  <c:v>0.207668985197075</c:v>
                </c:pt>
                <c:pt idx="11645">
                  <c:v>0.20768682004637001</c:v>
                </c:pt>
                <c:pt idx="11646">
                  <c:v>0.207704654895666</c:v>
                </c:pt>
                <c:pt idx="11647">
                  <c:v>0.20772248974496099</c:v>
                </c:pt>
                <c:pt idx="11648">
                  <c:v>0.20774032459425701</c:v>
                </c:pt>
                <c:pt idx="11649">
                  <c:v>0.207758159443552</c:v>
                </c:pt>
                <c:pt idx="11650">
                  <c:v>0.20777599429284799</c:v>
                </c:pt>
                <c:pt idx="11651">
                  <c:v>0.20779382914214301</c:v>
                </c:pt>
                <c:pt idx="11652">
                  <c:v>0.20781166399143899</c:v>
                </c:pt>
                <c:pt idx="11653">
                  <c:v>0.20782949884073401</c:v>
                </c:pt>
                <c:pt idx="11654">
                  <c:v>0.20784733369003</c:v>
                </c:pt>
                <c:pt idx="11655">
                  <c:v>0.20786516853932499</c:v>
                </c:pt>
                <c:pt idx="11656">
                  <c:v>0.20788300338862101</c:v>
                </c:pt>
                <c:pt idx="11657">
                  <c:v>0.207900838237916</c:v>
                </c:pt>
                <c:pt idx="11658">
                  <c:v>0.20791867308721201</c:v>
                </c:pt>
                <c:pt idx="11659">
                  <c:v>0.207936507936507</c:v>
                </c:pt>
                <c:pt idx="11660">
                  <c:v>0.20795434278580299</c:v>
                </c:pt>
                <c:pt idx="11661">
                  <c:v>0.20797217763509801</c:v>
                </c:pt>
                <c:pt idx="11662">
                  <c:v>0.207990012484394</c:v>
                </c:pt>
                <c:pt idx="11663">
                  <c:v>0.20800784733368999</c:v>
                </c:pt>
                <c:pt idx="11664">
                  <c:v>0.20802568218298501</c:v>
                </c:pt>
                <c:pt idx="11665">
                  <c:v>0.20804351703228099</c:v>
                </c:pt>
                <c:pt idx="11666">
                  <c:v>0.20806135188157601</c:v>
                </c:pt>
                <c:pt idx="11667">
                  <c:v>0.208079186730872</c:v>
                </c:pt>
                <c:pt idx="11668">
                  <c:v>0.20809702158016699</c:v>
                </c:pt>
                <c:pt idx="11669">
                  <c:v>0.20811485642946301</c:v>
                </c:pt>
                <c:pt idx="11670">
                  <c:v>0.208132691278758</c:v>
                </c:pt>
                <c:pt idx="11671">
                  <c:v>0.20815052612805399</c:v>
                </c:pt>
                <c:pt idx="11672">
                  <c:v>0.208168360977349</c:v>
                </c:pt>
                <c:pt idx="11673">
                  <c:v>0.20818619582664499</c:v>
                </c:pt>
                <c:pt idx="11674">
                  <c:v>0.20820403067594001</c:v>
                </c:pt>
                <c:pt idx="11675">
                  <c:v>0.208221865525236</c:v>
                </c:pt>
                <c:pt idx="11676">
                  <c:v>0.20823970037453099</c:v>
                </c:pt>
                <c:pt idx="11677">
                  <c:v>0.20825753522382701</c:v>
                </c:pt>
                <c:pt idx="11678">
                  <c:v>0.208275370073122</c:v>
                </c:pt>
                <c:pt idx="11679">
                  <c:v>0.20829320492241801</c:v>
                </c:pt>
                <c:pt idx="11680">
                  <c:v>0.208311039771713</c:v>
                </c:pt>
                <c:pt idx="11681">
                  <c:v>0.20832887462100899</c:v>
                </c:pt>
                <c:pt idx="11682">
                  <c:v>0.20834670947030401</c:v>
                </c:pt>
                <c:pt idx="11683">
                  <c:v>0.2083645443196</c:v>
                </c:pt>
                <c:pt idx="11684">
                  <c:v>0.20838237916889599</c:v>
                </c:pt>
                <c:pt idx="11685">
                  <c:v>0.208400214018191</c:v>
                </c:pt>
                <c:pt idx="11686">
                  <c:v>0.20841804886748699</c:v>
                </c:pt>
                <c:pt idx="11687">
                  <c:v>0.20843588371678201</c:v>
                </c:pt>
                <c:pt idx="11688">
                  <c:v>0.208453718566078</c:v>
                </c:pt>
                <c:pt idx="11689">
                  <c:v>0.20847155341537299</c:v>
                </c:pt>
                <c:pt idx="11690">
                  <c:v>0.20848938826466901</c:v>
                </c:pt>
                <c:pt idx="11691">
                  <c:v>0.208507223113964</c:v>
                </c:pt>
                <c:pt idx="11692">
                  <c:v>0.20852505796326001</c:v>
                </c:pt>
                <c:pt idx="11693">
                  <c:v>0.208542892812555</c:v>
                </c:pt>
                <c:pt idx="11694">
                  <c:v>0.20856072766185099</c:v>
                </c:pt>
                <c:pt idx="11695">
                  <c:v>0.20857856251114601</c:v>
                </c:pt>
                <c:pt idx="11696">
                  <c:v>0.208596397360442</c:v>
                </c:pt>
                <c:pt idx="11697">
                  <c:v>0.20861423220973699</c:v>
                </c:pt>
                <c:pt idx="11698">
                  <c:v>0.20863206705903301</c:v>
                </c:pt>
                <c:pt idx="11699">
                  <c:v>0.20864990190832799</c:v>
                </c:pt>
                <c:pt idx="11700">
                  <c:v>0.20866773675762401</c:v>
                </c:pt>
                <c:pt idx="11701">
                  <c:v>0.208685571606919</c:v>
                </c:pt>
                <c:pt idx="11702">
                  <c:v>0.20870340645621499</c:v>
                </c:pt>
                <c:pt idx="11703">
                  <c:v>0.20872124130551001</c:v>
                </c:pt>
                <c:pt idx="11704">
                  <c:v>0.208739076154806</c:v>
                </c:pt>
                <c:pt idx="11705">
                  <c:v>0.20875691100410201</c:v>
                </c:pt>
                <c:pt idx="11706">
                  <c:v>0.208774745853397</c:v>
                </c:pt>
                <c:pt idx="11707">
                  <c:v>0.20879258070269299</c:v>
                </c:pt>
                <c:pt idx="11708">
                  <c:v>0.20881041555198801</c:v>
                </c:pt>
                <c:pt idx="11709">
                  <c:v>0.208828250401284</c:v>
                </c:pt>
                <c:pt idx="11710">
                  <c:v>0.20884608525057899</c:v>
                </c:pt>
                <c:pt idx="11711">
                  <c:v>0.20886392009987501</c:v>
                </c:pt>
                <c:pt idx="11712">
                  <c:v>0.20888175494917</c:v>
                </c:pt>
                <c:pt idx="11713">
                  <c:v>0.20889958979846601</c:v>
                </c:pt>
                <c:pt idx="11714">
                  <c:v>0.208917424647761</c:v>
                </c:pt>
                <c:pt idx="11715">
                  <c:v>0.20893525949705699</c:v>
                </c:pt>
                <c:pt idx="11716">
                  <c:v>0.20895309434635201</c:v>
                </c:pt>
                <c:pt idx="11717">
                  <c:v>0.208970929195648</c:v>
                </c:pt>
                <c:pt idx="11718">
                  <c:v>0.20898876404494299</c:v>
                </c:pt>
                <c:pt idx="11719">
                  <c:v>0.209006598894239</c:v>
                </c:pt>
                <c:pt idx="11720">
                  <c:v>0.20902443374353399</c:v>
                </c:pt>
                <c:pt idx="11721">
                  <c:v>0.20904226859283001</c:v>
                </c:pt>
                <c:pt idx="11722">
                  <c:v>0.209060103442125</c:v>
                </c:pt>
                <c:pt idx="11723">
                  <c:v>0.20907793829142099</c:v>
                </c:pt>
                <c:pt idx="11724">
                  <c:v>0.20909577314071601</c:v>
                </c:pt>
                <c:pt idx="11725">
                  <c:v>0.209113607990012</c:v>
                </c:pt>
                <c:pt idx="11726">
                  <c:v>0.20913144283930801</c:v>
                </c:pt>
                <c:pt idx="11727">
                  <c:v>0.209149277688603</c:v>
                </c:pt>
                <c:pt idx="11728">
                  <c:v>0.20916711253789899</c:v>
                </c:pt>
                <c:pt idx="11729">
                  <c:v>0.20918494738719401</c:v>
                </c:pt>
                <c:pt idx="11730">
                  <c:v>0.20920278223649</c:v>
                </c:pt>
                <c:pt idx="11731">
                  <c:v>0.20922061708578499</c:v>
                </c:pt>
                <c:pt idx="11732">
                  <c:v>0.209238451935081</c:v>
                </c:pt>
                <c:pt idx="11733">
                  <c:v>0.20925628678437599</c:v>
                </c:pt>
                <c:pt idx="11734">
                  <c:v>0.20927412163367201</c:v>
                </c:pt>
                <c:pt idx="11735">
                  <c:v>0.209291956482967</c:v>
                </c:pt>
                <c:pt idx="11736">
                  <c:v>0.20930979133226299</c:v>
                </c:pt>
                <c:pt idx="11737">
                  <c:v>0.20932762618155801</c:v>
                </c:pt>
                <c:pt idx="11738">
                  <c:v>0.209345461030854</c:v>
                </c:pt>
                <c:pt idx="11739">
                  <c:v>0.20936329588014899</c:v>
                </c:pt>
                <c:pt idx="11740">
                  <c:v>0.209381130729445</c:v>
                </c:pt>
                <c:pt idx="11741">
                  <c:v>0.20939896557873999</c:v>
                </c:pt>
                <c:pt idx="11742">
                  <c:v>0.20941680042803601</c:v>
                </c:pt>
                <c:pt idx="11743">
                  <c:v>0.209434635277331</c:v>
                </c:pt>
                <c:pt idx="11744">
                  <c:v>0.20945247012662699</c:v>
                </c:pt>
                <c:pt idx="11745">
                  <c:v>0.20947030497592201</c:v>
                </c:pt>
                <c:pt idx="11746">
                  <c:v>0.20948813982521799</c:v>
                </c:pt>
                <c:pt idx="11747">
                  <c:v>0.20950597467451401</c:v>
                </c:pt>
                <c:pt idx="11748">
                  <c:v>0.209523809523809</c:v>
                </c:pt>
                <c:pt idx="11749">
                  <c:v>0.20954164437310499</c:v>
                </c:pt>
                <c:pt idx="11750">
                  <c:v>0.20955947922240001</c:v>
                </c:pt>
                <c:pt idx="11751">
                  <c:v>0.209577314071696</c:v>
                </c:pt>
                <c:pt idx="11752">
                  <c:v>0.20959514892099099</c:v>
                </c:pt>
                <c:pt idx="11753">
                  <c:v>0.209612983770287</c:v>
                </c:pt>
                <c:pt idx="11754">
                  <c:v>0.20963081861958199</c:v>
                </c:pt>
                <c:pt idx="11755">
                  <c:v>0.20964865346887801</c:v>
                </c:pt>
                <c:pt idx="11756">
                  <c:v>0.209666488318173</c:v>
                </c:pt>
                <c:pt idx="11757">
                  <c:v>0.20968432316746899</c:v>
                </c:pt>
                <c:pt idx="11758">
                  <c:v>0.20970215801676401</c:v>
                </c:pt>
                <c:pt idx="11759">
                  <c:v>0.20971999286606</c:v>
                </c:pt>
                <c:pt idx="11760">
                  <c:v>0.20973782771535501</c:v>
                </c:pt>
                <c:pt idx="11761">
                  <c:v>0.209755662564651</c:v>
                </c:pt>
                <c:pt idx="11762">
                  <c:v>0.20977349741394599</c:v>
                </c:pt>
                <c:pt idx="11763">
                  <c:v>0.20979133226324201</c:v>
                </c:pt>
                <c:pt idx="11764">
                  <c:v>0.209809167112537</c:v>
                </c:pt>
                <c:pt idx="11765">
                  <c:v>0.20982700196183299</c:v>
                </c:pt>
                <c:pt idx="11766">
                  <c:v>0.209844836811128</c:v>
                </c:pt>
                <c:pt idx="11767">
                  <c:v>0.20986267166042399</c:v>
                </c:pt>
                <c:pt idx="11768">
                  <c:v>0.20988050650971901</c:v>
                </c:pt>
                <c:pt idx="11769">
                  <c:v>0.209898341359015</c:v>
                </c:pt>
                <c:pt idx="11770">
                  <c:v>0.20991617620831099</c:v>
                </c:pt>
                <c:pt idx="11771">
                  <c:v>0.20993401105760601</c:v>
                </c:pt>
                <c:pt idx="11772">
                  <c:v>0.209951845906902</c:v>
                </c:pt>
                <c:pt idx="11773">
                  <c:v>0.20996968075619701</c:v>
                </c:pt>
                <c:pt idx="11774">
                  <c:v>0.209987515605493</c:v>
                </c:pt>
                <c:pt idx="11775">
                  <c:v>0.21000535045478799</c:v>
                </c:pt>
                <c:pt idx="11776">
                  <c:v>0.21002318530408401</c:v>
                </c:pt>
                <c:pt idx="11777">
                  <c:v>0.210041020153379</c:v>
                </c:pt>
                <c:pt idx="11778">
                  <c:v>0.21005885500267499</c:v>
                </c:pt>
                <c:pt idx="11779">
                  <c:v>0.21007668985197001</c:v>
                </c:pt>
                <c:pt idx="11780">
                  <c:v>0.21009452470126599</c:v>
                </c:pt>
                <c:pt idx="11781">
                  <c:v>0.21011235955056101</c:v>
                </c:pt>
                <c:pt idx="11782">
                  <c:v>0.210130194399857</c:v>
                </c:pt>
                <c:pt idx="11783">
                  <c:v>0.21014802924915199</c:v>
                </c:pt>
                <c:pt idx="11784">
                  <c:v>0.21016586409844801</c:v>
                </c:pt>
                <c:pt idx="11785">
                  <c:v>0.210183698947743</c:v>
                </c:pt>
                <c:pt idx="11786">
                  <c:v>0.21020153379703899</c:v>
                </c:pt>
                <c:pt idx="11787">
                  <c:v>0.210219368646334</c:v>
                </c:pt>
                <c:pt idx="11788">
                  <c:v>0.21023720349562999</c:v>
                </c:pt>
                <c:pt idx="11789">
                  <c:v>0.21025503834492501</c:v>
                </c:pt>
                <c:pt idx="11790">
                  <c:v>0.210272873194221</c:v>
                </c:pt>
                <c:pt idx="11791">
                  <c:v>0.21029070804351699</c:v>
                </c:pt>
                <c:pt idx="11792">
                  <c:v>0.21030854289281201</c:v>
                </c:pt>
                <c:pt idx="11793">
                  <c:v>0.21032637774210799</c:v>
                </c:pt>
                <c:pt idx="11794">
                  <c:v>0.21034421259140301</c:v>
                </c:pt>
                <c:pt idx="11795">
                  <c:v>0.210362047440699</c:v>
                </c:pt>
                <c:pt idx="11796">
                  <c:v>0.21037988228999399</c:v>
                </c:pt>
                <c:pt idx="11797">
                  <c:v>0.21039771713929001</c:v>
                </c:pt>
                <c:pt idx="11798">
                  <c:v>0.210415551988585</c:v>
                </c:pt>
                <c:pt idx="11799">
                  <c:v>0.21043338683788099</c:v>
                </c:pt>
                <c:pt idx="11800">
                  <c:v>0.210451221687176</c:v>
                </c:pt>
                <c:pt idx="11801">
                  <c:v>0.21046905653647199</c:v>
                </c:pt>
                <c:pt idx="11802">
                  <c:v>0.21048689138576701</c:v>
                </c:pt>
                <c:pt idx="11803">
                  <c:v>0.210504726235063</c:v>
                </c:pt>
                <c:pt idx="11804">
                  <c:v>0.21052256108435799</c:v>
                </c:pt>
                <c:pt idx="11805">
                  <c:v>0.21054039593365401</c:v>
                </c:pt>
                <c:pt idx="11806">
                  <c:v>0.210558230782949</c:v>
                </c:pt>
                <c:pt idx="11807">
                  <c:v>0.21057606563224501</c:v>
                </c:pt>
                <c:pt idx="11808">
                  <c:v>0.21059390048154</c:v>
                </c:pt>
                <c:pt idx="11809">
                  <c:v>0.21061173533083599</c:v>
                </c:pt>
                <c:pt idx="11810">
                  <c:v>0.21062957018013101</c:v>
                </c:pt>
                <c:pt idx="11811">
                  <c:v>0.210647405029427</c:v>
                </c:pt>
                <c:pt idx="11812">
                  <c:v>0.21066523987872299</c:v>
                </c:pt>
                <c:pt idx="11813">
                  <c:v>0.210683074728018</c:v>
                </c:pt>
                <c:pt idx="11814">
                  <c:v>0.21070090957731399</c:v>
                </c:pt>
                <c:pt idx="11815">
                  <c:v>0.21071874442660901</c:v>
                </c:pt>
                <c:pt idx="11816">
                  <c:v>0.210736579275905</c:v>
                </c:pt>
                <c:pt idx="11817">
                  <c:v>0.21075441412519999</c:v>
                </c:pt>
                <c:pt idx="11818">
                  <c:v>0.21077224897449601</c:v>
                </c:pt>
                <c:pt idx="11819">
                  <c:v>0.210790083823791</c:v>
                </c:pt>
                <c:pt idx="11820">
                  <c:v>0.21080791867308701</c:v>
                </c:pt>
                <c:pt idx="11821">
                  <c:v>0.210825753522382</c:v>
                </c:pt>
                <c:pt idx="11822">
                  <c:v>0.21084358837167799</c:v>
                </c:pt>
                <c:pt idx="11823">
                  <c:v>0.21086142322097301</c:v>
                </c:pt>
                <c:pt idx="11824">
                  <c:v>0.210879258070269</c:v>
                </c:pt>
                <c:pt idx="11825">
                  <c:v>0.21089709291956399</c:v>
                </c:pt>
                <c:pt idx="11826">
                  <c:v>0.21091492776886001</c:v>
                </c:pt>
                <c:pt idx="11827">
                  <c:v>0.210932762618155</c:v>
                </c:pt>
                <c:pt idx="11828">
                  <c:v>0.21095059746745101</c:v>
                </c:pt>
                <c:pt idx="11829">
                  <c:v>0.210968432316746</c:v>
                </c:pt>
                <c:pt idx="11830">
                  <c:v>0.21098626716604199</c:v>
                </c:pt>
                <c:pt idx="11831">
                  <c:v>0.21100410201533701</c:v>
                </c:pt>
                <c:pt idx="11832">
                  <c:v>0.211021936864633</c:v>
                </c:pt>
                <c:pt idx="11833">
                  <c:v>0.21103977171392899</c:v>
                </c:pt>
                <c:pt idx="11834">
                  <c:v>0.211057606563224</c:v>
                </c:pt>
                <c:pt idx="11835">
                  <c:v>0.21107544141251999</c:v>
                </c:pt>
                <c:pt idx="11836">
                  <c:v>0.21109327626181501</c:v>
                </c:pt>
                <c:pt idx="11837">
                  <c:v>0.211111111111111</c:v>
                </c:pt>
                <c:pt idx="11838">
                  <c:v>0.21112894596040599</c:v>
                </c:pt>
                <c:pt idx="11839">
                  <c:v>0.21114678080970201</c:v>
                </c:pt>
                <c:pt idx="11840">
                  <c:v>0.211164615658997</c:v>
                </c:pt>
                <c:pt idx="11841">
                  <c:v>0.21118245050829301</c:v>
                </c:pt>
                <c:pt idx="11842">
                  <c:v>0.211200285357588</c:v>
                </c:pt>
                <c:pt idx="11843">
                  <c:v>0.21121812020688399</c:v>
                </c:pt>
                <c:pt idx="11844">
                  <c:v>0.21123595505617901</c:v>
                </c:pt>
                <c:pt idx="11845">
                  <c:v>0.211253789905475</c:v>
                </c:pt>
                <c:pt idx="11846">
                  <c:v>0.21127162475476999</c:v>
                </c:pt>
                <c:pt idx="11847">
                  <c:v>0.211289459604066</c:v>
                </c:pt>
                <c:pt idx="11848">
                  <c:v>0.21130729445336099</c:v>
                </c:pt>
                <c:pt idx="11849">
                  <c:v>0.21132512930265701</c:v>
                </c:pt>
                <c:pt idx="11850">
                  <c:v>0.211342964151952</c:v>
                </c:pt>
                <c:pt idx="11851">
                  <c:v>0.21136079900124799</c:v>
                </c:pt>
                <c:pt idx="11852">
                  <c:v>0.21137863385054301</c:v>
                </c:pt>
                <c:pt idx="11853">
                  <c:v>0.211396468699839</c:v>
                </c:pt>
                <c:pt idx="11854">
                  <c:v>0.21141430354913501</c:v>
                </c:pt>
                <c:pt idx="11855">
                  <c:v>0.21143213839843</c:v>
                </c:pt>
                <c:pt idx="11856">
                  <c:v>0.21144997324772599</c:v>
                </c:pt>
                <c:pt idx="11857">
                  <c:v>0.21146780809702101</c:v>
                </c:pt>
                <c:pt idx="11858">
                  <c:v>0.211485642946317</c:v>
                </c:pt>
                <c:pt idx="11859">
                  <c:v>0.21150347779561199</c:v>
                </c:pt>
                <c:pt idx="11860">
                  <c:v>0.211521312644908</c:v>
                </c:pt>
                <c:pt idx="11861">
                  <c:v>0.21153914749420299</c:v>
                </c:pt>
                <c:pt idx="11862">
                  <c:v>0.21155698234349901</c:v>
                </c:pt>
                <c:pt idx="11863">
                  <c:v>0.211574817192794</c:v>
                </c:pt>
                <c:pt idx="11864">
                  <c:v>0.21159265204208999</c:v>
                </c:pt>
                <c:pt idx="11865">
                  <c:v>0.21161048689138501</c:v>
                </c:pt>
                <c:pt idx="11866">
                  <c:v>0.211628321740681</c:v>
                </c:pt>
                <c:pt idx="11867">
                  <c:v>0.21164615658997599</c:v>
                </c:pt>
                <c:pt idx="11868">
                  <c:v>0.211663991439272</c:v>
                </c:pt>
                <c:pt idx="11869">
                  <c:v>0.21168182628856699</c:v>
                </c:pt>
                <c:pt idx="11870">
                  <c:v>0.21169966113786301</c:v>
                </c:pt>
                <c:pt idx="11871">
                  <c:v>0.211717495987158</c:v>
                </c:pt>
                <c:pt idx="11872">
                  <c:v>0.21173533083645399</c:v>
                </c:pt>
                <c:pt idx="11873">
                  <c:v>0.21175316568574901</c:v>
                </c:pt>
                <c:pt idx="11874">
                  <c:v>0.211771000535045</c:v>
                </c:pt>
                <c:pt idx="11875">
                  <c:v>0.21178883538434101</c:v>
                </c:pt>
                <c:pt idx="11876">
                  <c:v>0.211806670233636</c:v>
                </c:pt>
                <c:pt idx="11877">
                  <c:v>0.21182450508293199</c:v>
                </c:pt>
                <c:pt idx="11878">
                  <c:v>0.21184233993222701</c:v>
                </c:pt>
                <c:pt idx="11879">
                  <c:v>0.211860174781523</c:v>
                </c:pt>
                <c:pt idx="11880">
                  <c:v>0.21187800963081799</c:v>
                </c:pt>
                <c:pt idx="11881">
                  <c:v>0.211895844480114</c:v>
                </c:pt>
                <c:pt idx="11882">
                  <c:v>0.21191367932940899</c:v>
                </c:pt>
                <c:pt idx="11883">
                  <c:v>0.21193151417870501</c:v>
                </c:pt>
                <c:pt idx="11884">
                  <c:v>0.211949349028</c:v>
                </c:pt>
                <c:pt idx="11885">
                  <c:v>0.21196718387729599</c:v>
                </c:pt>
                <c:pt idx="11886">
                  <c:v>0.21198501872659101</c:v>
                </c:pt>
                <c:pt idx="11887">
                  <c:v>0.212002853575887</c:v>
                </c:pt>
                <c:pt idx="11888">
                  <c:v>0.21202068842518201</c:v>
                </c:pt>
                <c:pt idx="11889">
                  <c:v>0.212038523274478</c:v>
                </c:pt>
                <c:pt idx="11890">
                  <c:v>0.21205635812377299</c:v>
                </c:pt>
                <c:pt idx="11891">
                  <c:v>0.21207419297306901</c:v>
                </c:pt>
                <c:pt idx="11892">
                  <c:v>0.212092027822364</c:v>
                </c:pt>
                <c:pt idx="11893">
                  <c:v>0.21210986267165999</c:v>
                </c:pt>
                <c:pt idx="11894">
                  <c:v>0.21212769752095501</c:v>
                </c:pt>
                <c:pt idx="11895">
                  <c:v>0.21214553237025099</c:v>
                </c:pt>
                <c:pt idx="11896">
                  <c:v>0.21216336721954601</c:v>
                </c:pt>
                <c:pt idx="11897">
                  <c:v>0.212181202068842</c:v>
                </c:pt>
                <c:pt idx="11898">
                  <c:v>0.21219903691813799</c:v>
                </c:pt>
                <c:pt idx="11899">
                  <c:v>0.21221687176743301</c:v>
                </c:pt>
                <c:pt idx="11900">
                  <c:v>0.212234706616729</c:v>
                </c:pt>
                <c:pt idx="11901">
                  <c:v>0.21225254146602399</c:v>
                </c:pt>
                <c:pt idx="11902">
                  <c:v>0.21227037631532</c:v>
                </c:pt>
                <c:pt idx="11903">
                  <c:v>0.21228821116461499</c:v>
                </c:pt>
                <c:pt idx="11904">
                  <c:v>0.21230604601391101</c:v>
                </c:pt>
                <c:pt idx="11905">
                  <c:v>0.212323880863206</c:v>
                </c:pt>
                <c:pt idx="11906">
                  <c:v>0.21234171571250199</c:v>
                </c:pt>
                <c:pt idx="11907">
                  <c:v>0.21235955056179701</c:v>
                </c:pt>
                <c:pt idx="11908">
                  <c:v>0.21237738541109299</c:v>
                </c:pt>
                <c:pt idx="11909">
                  <c:v>0.21239522026038801</c:v>
                </c:pt>
                <c:pt idx="11910">
                  <c:v>0.212413055109684</c:v>
                </c:pt>
                <c:pt idx="11911">
                  <c:v>0.21243088995897899</c:v>
                </c:pt>
                <c:pt idx="11912">
                  <c:v>0.21244872480827501</c:v>
                </c:pt>
                <c:pt idx="11913">
                  <c:v>0.21246655965757</c:v>
                </c:pt>
                <c:pt idx="11914">
                  <c:v>0.21248439450686599</c:v>
                </c:pt>
                <c:pt idx="11915">
                  <c:v>0.212502229356161</c:v>
                </c:pt>
                <c:pt idx="11916">
                  <c:v>0.21252006420545699</c:v>
                </c:pt>
                <c:pt idx="11917">
                  <c:v>0.21253789905475201</c:v>
                </c:pt>
                <c:pt idx="11918">
                  <c:v>0.212555733904048</c:v>
                </c:pt>
                <c:pt idx="11919">
                  <c:v>0.21257356875334399</c:v>
                </c:pt>
                <c:pt idx="11920">
                  <c:v>0.21259140360263901</c:v>
                </c:pt>
                <c:pt idx="11921">
                  <c:v>0.212609238451935</c:v>
                </c:pt>
                <c:pt idx="11922">
                  <c:v>0.21262707330123001</c:v>
                </c:pt>
                <c:pt idx="11923">
                  <c:v>0.212644908150526</c:v>
                </c:pt>
                <c:pt idx="11924">
                  <c:v>0.21266274299982099</c:v>
                </c:pt>
                <c:pt idx="11925">
                  <c:v>0.21268057784911701</c:v>
                </c:pt>
                <c:pt idx="11926">
                  <c:v>0.212698412698412</c:v>
                </c:pt>
                <c:pt idx="11927">
                  <c:v>0.21271624754770799</c:v>
                </c:pt>
                <c:pt idx="11928">
                  <c:v>0.212734082397003</c:v>
                </c:pt>
                <c:pt idx="11929">
                  <c:v>0.21275191724629899</c:v>
                </c:pt>
                <c:pt idx="11930">
                  <c:v>0.21276975209559401</c:v>
                </c:pt>
                <c:pt idx="11931">
                  <c:v>0.21278758694489</c:v>
                </c:pt>
                <c:pt idx="11932">
                  <c:v>0.21280542179418499</c:v>
                </c:pt>
                <c:pt idx="11933">
                  <c:v>0.21282325664348101</c:v>
                </c:pt>
                <c:pt idx="11934">
                  <c:v>0.212841091492776</c:v>
                </c:pt>
                <c:pt idx="11935">
                  <c:v>0.21285892634207201</c:v>
                </c:pt>
                <c:pt idx="11936">
                  <c:v>0.212876761191367</c:v>
                </c:pt>
                <c:pt idx="11937">
                  <c:v>0.21289459604066299</c:v>
                </c:pt>
                <c:pt idx="11938">
                  <c:v>0.21291243088995801</c:v>
                </c:pt>
                <c:pt idx="11939">
                  <c:v>0.212930265739254</c:v>
                </c:pt>
                <c:pt idx="11940">
                  <c:v>0.21294810058854999</c:v>
                </c:pt>
                <c:pt idx="11941">
                  <c:v>0.21296593543784501</c:v>
                </c:pt>
                <c:pt idx="11942">
                  <c:v>0.21298377028714099</c:v>
                </c:pt>
                <c:pt idx="11943">
                  <c:v>0.21300160513643601</c:v>
                </c:pt>
                <c:pt idx="11944">
                  <c:v>0.213019439985732</c:v>
                </c:pt>
                <c:pt idx="11945">
                  <c:v>0.21303727483502699</c:v>
                </c:pt>
                <c:pt idx="11946">
                  <c:v>0.21305510968432301</c:v>
                </c:pt>
                <c:pt idx="11947">
                  <c:v>0.213072944533618</c:v>
                </c:pt>
                <c:pt idx="11948">
                  <c:v>0.21309077938291399</c:v>
                </c:pt>
                <c:pt idx="11949">
                  <c:v>0.213108614232209</c:v>
                </c:pt>
                <c:pt idx="11950">
                  <c:v>0.21312644908150499</c:v>
                </c:pt>
                <c:pt idx="11951">
                  <c:v>0.21314428393080001</c:v>
                </c:pt>
                <c:pt idx="11952">
                  <c:v>0.213162118780096</c:v>
                </c:pt>
                <c:pt idx="11953">
                  <c:v>0.21317995362939099</c:v>
                </c:pt>
                <c:pt idx="11954">
                  <c:v>0.21319778847868701</c:v>
                </c:pt>
                <c:pt idx="11955">
                  <c:v>0.213215623327982</c:v>
                </c:pt>
                <c:pt idx="11956">
                  <c:v>0.21323345817727801</c:v>
                </c:pt>
                <c:pt idx="11957">
                  <c:v>0.213251293026573</c:v>
                </c:pt>
                <c:pt idx="11958">
                  <c:v>0.21326912787586899</c:v>
                </c:pt>
                <c:pt idx="11959">
                  <c:v>0.21328696272516401</c:v>
                </c:pt>
                <c:pt idx="11960">
                  <c:v>0.21330479757446</c:v>
                </c:pt>
                <c:pt idx="11961">
                  <c:v>0.21332263242375599</c:v>
                </c:pt>
                <c:pt idx="11962">
                  <c:v>0.213340467273051</c:v>
                </c:pt>
                <c:pt idx="11963">
                  <c:v>0.21335830212234699</c:v>
                </c:pt>
                <c:pt idx="11964">
                  <c:v>0.21337613697164201</c:v>
                </c:pt>
                <c:pt idx="11965">
                  <c:v>0.213393971820938</c:v>
                </c:pt>
                <c:pt idx="11966">
                  <c:v>0.21341180667023299</c:v>
                </c:pt>
                <c:pt idx="11967">
                  <c:v>0.21342964151952901</c:v>
                </c:pt>
                <c:pt idx="11968">
                  <c:v>0.213447476368824</c:v>
                </c:pt>
                <c:pt idx="11969">
                  <c:v>0.21346531121812001</c:v>
                </c:pt>
                <c:pt idx="11970">
                  <c:v>0.213483146067415</c:v>
                </c:pt>
                <c:pt idx="11971">
                  <c:v>0.21350098091671099</c:v>
                </c:pt>
                <c:pt idx="11972">
                  <c:v>0.21351881576600601</c:v>
                </c:pt>
                <c:pt idx="11973">
                  <c:v>0.213536650615302</c:v>
                </c:pt>
                <c:pt idx="11974">
                  <c:v>0.21355448546459699</c:v>
                </c:pt>
                <c:pt idx="11975">
                  <c:v>0.213572320313893</c:v>
                </c:pt>
                <c:pt idx="11976">
                  <c:v>0.21359015516318799</c:v>
                </c:pt>
                <c:pt idx="11977">
                  <c:v>0.21360799001248401</c:v>
                </c:pt>
                <c:pt idx="11978">
                  <c:v>0.213625824861779</c:v>
                </c:pt>
                <c:pt idx="11979">
                  <c:v>0.21364365971107499</c:v>
                </c:pt>
                <c:pt idx="11980">
                  <c:v>0.21366149456037001</c:v>
                </c:pt>
                <c:pt idx="11981">
                  <c:v>0.213679329409666</c:v>
                </c:pt>
                <c:pt idx="11982">
                  <c:v>0.21369716425896201</c:v>
                </c:pt>
                <c:pt idx="11983">
                  <c:v>0.213714999108257</c:v>
                </c:pt>
                <c:pt idx="11984">
                  <c:v>0.21373283395755299</c:v>
                </c:pt>
                <c:pt idx="11985">
                  <c:v>0.21375066880684801</c:v>
                </c:pt>
                <c:pt idx="11986">
                  <c:v>0.213768503656144</c:v>
                </c:pt>
                <c:pt idx="11987">
                  <c:v>0.21378633850543899</c:v>
                </c:pt>
                <c:pt idx="11988">
                  <c:v>0.21380417335473501</c:v>
                </c:pt>
                <c:pt idx="11989">
                  <c:v>0.21382200820403</c:v>
                </c:pt>
                <c:pt idx="11990">
                  <c:v>0.21383984305332601</c:v>
                </c:pt>
                <c:pt idx="11991">
                  <c:v>0.213857677902621</c:v>
                </c:pt>
                <c:pt idx="11992">
                  <c:v>0.21387551275191699</c:v>
                </c:pt>
                <c:pt idx="11993">
                  <c:v>0.21389334760121201</c:v>
                </c:pt>
                <c:pt idx="11994">
                  <c:v>0.213911182450508</c:v>
                </c:pt>
                <c:pt idx="11995">
                  <c:v>0.21392901729980299</c:v>
                </c:pt>
                <c:pt idx="11996">
                  <c:v>0.213946852149099</c:v>
                </c:pt>
                <c:pt idx="11997">
                  <c:v>0.21396468699839399</c:v>
                </c:pt>
                <c:pt idx="11998">
                  <c:v>0.21398252184769001</c:v>
                </c:pt>
                <c:pt idx="11999">
                  <c:v>0.214000356696985</c:v>
                </c:pt>
                <c:pt idx="12000">
                  <c:v>0.21401819154628099</c:v>
                </c:pt>
                <c:pt idx="12001">
                  <c:v>0.21403602639557601</c:v>
                </c:pt>
                <c:pt idx="12002">
                  <c:v>0.214053861244872</c:v>
                </c:pt>
                <c:pt idx="12003">
                  <c:v>0.21407169609416801</c:v>
                </c:pt>
                <c:pt idx="12004">
                  <c:v>0.214089530943463</c:v>
                </c:pt>
                <c:pt idx="12005">
                  <c:v>0.21410736579275899</c:v>
                </c:pt>
                <c:pt idx="12006">
                  <c:v>0.21412520064205401</c:v>
                </c:pt>
                <c:pt idx="12007">
                  <c:v>0.21414303549135</c:v>
                </c:pt>
                <c:pt idx="12008">
                  <c:v>0.21416087034064499</c:v>
                </c:pt>
                <c:pt idx="12009">
                  <c:v>0.214178705189941</c:v>
                </c:pt>
                <c:pt idx="12010">
                  <c:v>0.21419654003923599</c:v>
                </c:pt>
                <c:pt idx="12011">
                  <c:v>0.21421437488853201</c:v>
                </c:pt>
                <c:pt idx="12012">
                  <c:v>0.214232209737827</c:v>
                </c:pt>
                <c:pt idx="12013">
                  <c:v>0.21425004458712299</c:v>
                </c:pt>
                <c:pt idx="12014">
                  <c:v>0.21426787943641801</c:v>
                </c:pt>
                <c:pt idx="12015">
                  <c:v>0.214285714285714</c:v>
                </c:pt>
                <c:pt idx="12016">
                  <c:v>0.21430354913500901</c:v>
                </c:pt>
                <c:pt idx="12017">
                  <c:v>0.214321383984305</c:v>
                </c:pt>
                <c:pt idx="12018">
                  <c:v>0.21433921883359999</c:v>
                </c:pt>
                <c:pt idx="12019">
                  <c:v>0.21435705368289601</c:v>
                </c:pt>
                <c:pt idx="12020">
                  <c:v>0.214374888532191</c:v>
                </c:pt>
                <c:pt idx="12021">
                  <c:v>0.21439272338148699</c:v>
                </c:pt>
                <c:pt idx="12022">
                  <c:v>0.21441055823078201</c:v>
                </c:pt>
                <c:pt idx="12023">
                  <c:v>0.21442839308007799</c:v>
                </c:pt>
                <c:pt idx="12024">
                  <c:v>0.21444622792937301</c:v>
                </c:pt>
                <c:pt idx="12025">
                  <c:v>0.214464062778669</c:v>
                </c:pt>
                <c:pt idx="12026">
                  <c:v>0.21448189762796499</c:v>
                </c:pt>
                <c:pt idx="12027">
                  <c:v>0.21449973247726001</c:v>
                </c:pt>
                <c:pt idx="12028">
                  <c:v>0.214517567326556</c:v>
                </c:pt>
                <c:pt idx="12029">
                  <c:v>0.21453540217585099</c:v>
                </c:pt>
                <c:pt idx="12030">
                  <c:v>0.214553237025147</c:v>
                </c:pt>
                <c:pt idx="12031">
                  <c:v>0.21457107187444199</c:v>
                </c:pt>
                <c:pt idx="12032">
                  <c:v>0.21458890672373801</c:v>
                </c:pt>
                <c:pt idx="12033">
                  <c:v>0.214606741573033</c:v>
                </c:pt>
                <c:pt idx="12034">
                  <c:v>0.21462457642232899</c:v>
                </c:pt>
                <c:pt idx="12035">
                  <c:v>0.21464241127162401</c:v>
                </c:pt>
                <c:pt idx="12036">
                  <c:v>0.21466024612092</c:v>
                </c:pt>
                <c:pt idx="12037">
                  <c:v>0.21467808097021501</c:v>
                </c:pt>
                <c:pt idx="12038">
                  <c:v>0.214695915819511</c:v>
                </c:pt>
                <c:pt idx="12039">
                  <c:v>0.21471375066880599</c:v>
                </c:pt>
                <c:pt idx="12040">
                  <c:v>0.21473158551810201</c:v>
                </c:pt>
                <c:pt idx="12041">
                  <c:v>0.214749420367397</c:v>
                </c:pt>
                <c:pt idx="12042">
                  <c:v>0.21476725521669299</c:v>
                </c:pt>
                <c:pt idx="12043">
                  <c:v>0.214785090065988</c:v>
                </c:pt>
                <c:pt idx="12044">
                  <c:v>0.21480292491528399</c:v>
                </c:pt>
                <c:pt idx="12045">
                  <c:v>0.21482075976457901</c:v>
                </c:pt>
                <c:pt idx="12046">
                  <c:v>0.214838594613875</c:v>
                </c:pt>
                <c:pt idx="12047">
                  <c:v>0.21485642946317099</c:v>
                </c:pt>
                <c:pt idx="12048">
                  <c:v>0.21487426431246601</c:v>
                </c:pt>
                <c:pt idx="12049">
                  <c:v>0.214892099161762</c:v>
                </c:pt>
                <c:pt idx="12050">
                  <c:v>0.21490993401105701</c:v>
                </c:pt>
                <c:pt idx="12051">
                  <c:v>0.214927768860353</c:v>
                </c:pt>
                <c:pt idx="12052">
                  <c:v>0.21494560370964799</c:v>
                </c:pt>
                <c:pt idx="12053">
                  <c:v>0.21496343855894401</c:v>
                </c:pt>
                <c:pt idx="12054">
                  <c:v>0.214981273408239</c:v>
                </c:pt>
                <c:pt idx="12055">
                  <c:v>0.21499910825753499</c:v>
                </c:pt>
                <c:pt idx="12056">
                  <c:v>0.21501694310683001</c:v>
                </c:pt>
                <c:pt idx="12057">
                  <c:v>0.21503477795612599</c:v>
                </c:pt>
                <c:pt idx="12058">
                  <c:v>0.21505261280542101</c:v>
                </c:pt>
                <c:pt idx="12059">
                  <c:v>0.215070447654717</c:v>
                </c:pt>
                <c:pt idx="12060">
                  <c:v>0.21508828250401199</c:v>
                </c:pt>
                <c:pt idx="12061">
                  <c:v>0.21510611735330801</c:v>
                </c:pt>
                <c:pt idx="12062">
                  <c:v>0.215123952202603</c:v>
                </c:pt>
                <c:pt idx="12063">
                  <c:v>0.21514178705189901</c:v>
                </c:pt>
                <c:pt idx="12064">
                  <c:v>0.215159621901194</c:v>
                </c:pt>
                <c:pt idx="12065">
                  <c:v>0.21517745675048999</c:v>
                </c:pt>
                <c:pt idx="12066">
                  <c:v>0.21519529159978501</c:v>
                </c:pt>
                <c:pt idx="12067">
                  <c:v>0.215213126449081</c:v>
                </c:pt>
                <c:pt idx="12068">
                  <c:v>0.21523096129837699</c:v>
                </c:pt>
                <c:pt idx="12069">
                  <c:v>0.21524879614767201</c:v>
                </c:pt>
                <c:pt idx="12070">
                  <c:v>0.21526663099696799</c:v>
                </c:pt>
                <c:pt idx="12071">
                  <c:v>0.21528446584626301</c:v>
                </c:pt>
                <c:pt idx="12072">
                  <c:v>0.215302300695559</c:v>
                </c:pt>
                <c:pt idx="12073">
                  <c:v>0.21532013554485399</c:v>
                </c:pt>
                <c:pt idx="12074">
                  <c:v>0.21533797039415001</c:v>
                </c:pt>
                <c:pt idx="12075">
                  <c:v>0.215355805243445</c:v>
                </c:pt>
                <c:pt idx="12076">
                  <c:v>0.21537364009274099</c:v>
                </c:pt>
                <c:pt idx="12077">
                  <c:v>0.215391474942036</c:v>
                </c:pt>
                <c:pt idx="12078">
                  <c:v>0.21540930979133199</c:v>
                </c:pt>
                <c:pt idx="12079">
                  <c:v>0.21542714464062701</c:v>
                </c:pt>
                <c:pt idx="12080">
                  <c:v>0.215444979489923</c:v>
                </c:pt>
                <c:pt idx="12081">
                  <c:v>0.21546281433921799</c:v>
                </c:pt>
                <c:pt idx="12082">
                  <c:v>0.21548064918851401</c:v>
                </c:pt>
                <c:pt idx="12083">
                  <c:v>0.215498484037809</c:v>
                </c:pt>
                <c:pt idx="12084">
                  <c:v>0.21551631888710501</c:v>
                </c:pt>
                <c:pt idx="12085">
                  <c:v>0.2155341537364</c:v>
                </c:pt>
                <c:pt idx="12086">
                  <c:v>0.21555198858569599</c:v>
                </c:pt>
                <c:pt idx="12087">
                  <c:v>0.21556982343499101</c:v>
                </c:pt>
                <c:pt idx="12088">
                  <c:v>0.215587658284287</c:v>
                </c:pt>
                <c:pt idx="12089">
                  <c:v>0.21560549313358299</c:v>
                </c:pt>
                <c:pt idx="12090">
                  <c:v>0.215623327982878</c:v>
                </c:pt>
                <c:pt idx="12091">
                  <c:v>0.21564116283217399</c:v>
                </c:pt>
                <c:pt idx="12092">
                  <c:v>0.21565899768146901</c:v>
                </c:pt>
                <c:pt idx="12093">
                  <c:v>0.215676832530765</c:v>
                </c:pt>
                <c:pt idx="12094">
                  <c:v>0.21569466738005999</c:v>
                </c:pt>
                <c:pt idx="12095">
                  <c:v>0.21571250222935601</c:v>
                </c:pt>
                <c:pt idx="12096">
                  <c:v>0.215730337078651</c:v>
                </c:pt>
                <c:pt idx="12097">
                  <c:v>0.21574817192794701</c:v>
                </c:pt>
                <c:pt idx="12098">
                  <c:v>0.215766006777242</c:v>
                </c:pt>
                <c:pt idx="12099">
                  <c:v>0.21578384162653799</c:v>
                </c:pt>
                <c:pt idx="12100">
                  <c:v>0.21580167647583301</c:v>
                </c:pt>
                <c:pt idx="12101">
                  <c:v>0.215819511325129</c:v>
                </c:pt>
                <c:pt idx="12102">
                  <c:v>0.21583734617442399</c:v>
                </c:pt>
                <c:pt idx="12103">
                  <c:v>0.21585518102372001</c:v>
                </c:pt>
                <c:pt idx="12104">
                  <c:v>0.215873015873015</c:v>
                </c:pt>
                <c:pt idx="12105">
                  <c:v>0.21589085072231101</c:v>
                </c:pt>
                <c:pt idx="12106">
                  <c:v>0.215908685571606</c:v>
                </c:pt>
                <c:pt idx="12107">
                  <c:v>0.21592652042090199</c:v>
                </c:pt>
                <c:pt idx="12108">
                  <c:v>0.21594435527019701</c:v>
                </c:pt>
                <c:pt idx="12109">
                  <c:v>0.215962190119493</c:v>
                </c:pt>
                <c:pt idx="12110">
                  <c:v>0.21598002496878899</c:v>
                </c:pt>
                <c:pt idx="12111">
                  <c:v>0.215997859818084</c:v>
                </c:pt>
                <c:pt idx="12112">
                  <c:v>0.21601569466737999</c:v>
                </c:pt>
                <c:pt idx="12113">
                  <c:v>0.21603352951667501</c:v>
                </c:pt>
                <c:pt idx="12114">
                  <c:v>0.216051364365971</c:v>
                </c:pt>
                <c:pt idx="12115">
                  <c:v>0.21606919921526599</c:v>
                </c:pt>
                <c:pt idx="12116">
                  <c:v>0.21608703406456201</c:v>
                </c:pt>
                <c:pt idx="12117">
                  <c:v>0.216104868913857</c:v>
                </c:pt>
                <c:pt idx="12118">
                  <c:v>0.21612270376315301</c:v>
                </c:pt>
                <c:pt idx="12119">
                  <c:v>0.216140538612448</c:v>
                </c:pt>
                <c:pt idx="12120">
                  <c:v>0.21615837346174399</c:v>
                </c:pt>
                <c:pt idx="12121">
                  <c:v>0.21617620831103901</c:v>
                </c:pt>
                <c:pt idx="12122">
                  <c:v>0.216194043160335</c:v>
                </c:pt>
                <c:pt idx="12123">
                  <c:v>0.21621187800962999</c:v>
                </c:pt>
                <c:pt idx="12124">
                  <c:v>0.216229712858926</c:v>
                </c:pt>
                <c:pt idx="12125">
                  <c:v>0.21624754770822099</c:v>
                </c:pt>
                <c:pt idx="12126">
                  <c:v>0.21626538255751701</c:v>
                </c:pt>
                <c:pt idx="12127">
                  <c:v>0.216283217406812</c:v>
                </c:pt>
                <c:pt idx="12128">
                  <c:v>0.21630105225610799</c:v>
                </c:pt>
                <c:pt idx="12129">
                  <c:v>0.21631888710540301</c:v>
                </c:pt>
                <c:pt idx="12130">
                  <c:v>0.216336721954699</c:v>
                </c:pt>
                <c:pt idx="12131">
                  <c:v>0.21635455680399501</c:v>
                </c:pt>
                <c:pt idx="12132">
                  <c:v>0.21637239165329</c:v>
                </c:pt>
                <c:pt idx="12133">
                  <c:v>0.21639022650258599</c:v>
                </c:pt>
                <c:pt idx="12134">
                  <c:v>0.21640806135188101</c:v>
                </c:pt>
                <c:pt idx="12135">
                  <c:v>0.216425896201177</c:v>
                </c:pt>
                <c:pt idx="12136">
                  <c:v>0.21644373105047199</c:v>
                </c:pt>
                <c:pt idx="12137">
                  <c:v>0.216461565899768</c:v>
                </c:pt>
                <c:pt idx="12138">
                  <c:v>0.21647940074906299</c:v>
                </c:pt>
                <c:pt idx="12139">
                  <c:v>0.21649723559835901</c:v>
                </c:pt>
                <c:pt idx="12140">
                  <c:v>0.216515070447654</c:v>
                </c:pt>
                <c:pt idx="12141">
                  <c:v>0.21653290529694999</c:v>
                </c:pt>
                <c:pt idx="12142">
                  <c:v>0.21655074014624501</c:v>
                </c:pt>
                <c:pt idx="12143">
                  <c:v>0.216568574995541</c:v>
                </c:pt>
                <c:pt idx="12144">
                  <c:v>0.21658640984483599</c:v>
                </c:pt>
                <c:pt idx="12145">
                  <c:v>0.216604244694132</c:v>
                </c:pt>
                <c:pt idx="12146">
                  <c:v>0.21662207954342699</c:v>
                </c:pt>
                <c:pt idx="12147">
                  <c:v>0.21663991439272301</c:v>
                </c:pt>
                <c:pt idx="12148">
                  <c:v>0.216657749242018</c:v>
                </c:pt>
                <c:pt idx="12149">
                  <c:v>0.21667558409131399</c:v>
                </c:pt>
                <c:pt idx="12150">
                  <c:v>0.21669341894060901</c:v>
                </c:pt>
                <c:pt idx="12151">
                  <c:v>0.216711253789905</c:v>
                </c:pt>
                <c:pt idx="12152">
                  <c:v>0.21672908863920101</c:v>
                </c:pt>
                <c:pt idx="12153">
                  <c:v>0.216746923488496</c:v>
                </c:pt>
                <c:pt idx="12154">
                  <c:v>0.21676475833779199</c:v>
                </c:pt>
                <c:pt idx="12155">
                  <c:v>0.21678259318708701</c:v>
                </c:pt>
                <c:pt idx="12156">
                  <c:v>0.216800428036383</c:v>
                </c:pt>
                <c:pt idx="12157">
                  <c:v>0.21681826288567799</c:v>
                </c:pt>
                <c:pt idx="12158">
                  <c:v>0.216836097734974</c:v>
                </c:pt>
                <c:pt idx="12159">
                  <c:v>0.21685393258426899</c:v>
                </c:pt>
                <c:pt idx="12160">
                  <c:v>0.21687176743356501</c:v>
                </c:pt>
                <c:pt idx="12161">
                  <c:v>0.21688960228286</c:v>
                </c:pt>
                <c:pt idx="12162">
                  <c:v>0.21690743713215599</c:v>
                </c:pt>
                <c:pt idx="12163">
                  <c:v>0.21692527198145101</c:v>
                </c:pt>
                <c:pt idx="12164">
                  <c:v>0.216943106830747</c:v>
                </c:pt>
                <c:pt idx="12165">
                  <c:v>0.21696094168004201</c:v>
                </c:pt>
                <c:pt idx="12166">
                  <c:v>0.216978776529338</c:v>
                </c:pt>
                <c:pt idx="12167">
                  <c:v>0.21699661137863299</c:v>
                </c:pt>
                <c:pt idx="12168">
                  <c:v>0.21701444622792901</c:v>
                </c:pt>
                <c:pt idx="12169">
                  <c:v>0.217032281077224</c:v>
                </c:pt>
                <c:pt idx="12170">
                  <c:v>0.21705011592651999</c:v>
                </c:pt>
                <c:pt idx="12171">
                  <c:v>0.21706795077581501</c:v>
                </c:pt>
                <c:pt idx="12172">
                  <c:v>0.21708578562511099</c:v>
                </c:pt>
                <c:pt idx="12173">
                  <c:v>0.21710362047440601</c:v>
                </c:pt>
                <c:pt idx="12174">
                  <c:v>0.217121455323702</c:v>
                </c:pt>
                <c:pt idx="12175">
                  <c:v>0.21713929017299799</c:v>
                </c:pt>
                <c:pt idx="12176">
                  <c:v>0.21715712502229301</c:v>
                </c:pt>
                <c:pt idx="12177">
                  <c:v>0.217174959871589</c:v>
                </c:pt>
                <c:pt idx="12178">
                  <c:v>0.21719279472088401</c:v>
                </c:pt>
                <c:pt idx="12179">
                  <c:v>0.21721062957018</c:v>
                </c:pt>
                <c:pt idx="12180">
                  <c:v>0.21722846441947499</c:v>
                </c:pt>
                <c:pt idx="12181">
                  <c:v>0.21724629926877101</c:v>
                </c:pt>
                <c:pt idx="12182">
                  <c:v>0.217264134118066</c:v>
                </c:pt>
                <c:pt idx="12183">
                  <c:v>0.21728196896736199</c:v>
                </c:pt>
                <c:pt idx="12184">
                  <c:v>0.21729980381665701</c:v>
                </c:pt>
                <c:pt idx="12185">
                  <c:v>0.21731763866595299</c:v>
                </c:pt>
                <c:pt idx="12186">
                  <c:v>0.21733547351524801</c:v>
                </c:pt>
                <c:pt idx="12187">
                  <c:v>0.217353308364544</c:v>
                </c:pt>
                <c:pt idx="12188">
                  <c:v>0.21737114321383899</c:v>
                </c:pt>
                <c:pt idx="12189">
                  <c:v>0.21738897806313501</c:v>
                </c:pt>
                <c:pt idx="12190">
                  <c:v>0.21740681291243</c:v>
                </c:pt>
                <c:pt idx="12191">
                  <c:v>0.21742464776172599</c:v>
                </c:pt>
                <c:pt idx="12192">
                  <c:v>0.217442482611021</c:v>
                </c:pt>
                <c:pt idx="12193">
                  <c:v>0.21746031746031699</c:v>
                </c:pt>
                <c:pt idx="12194">
                  <c:v>0.21747815230961201</c:v>
                </c:pt>
                <c:pt idx="12195">
                  <c:v>0.217495987158908</c:v>
                </c:pt>
                <c:pt idx="12196">
                  <c:v>0.21751382200820399</c:v>
                </c:pt>
                <c:pt idx="12197">
                  <c:v>0.21753165685749901</c:v>
                </c:pt>
                <c:pt idx="12198">
                  <c:v>0.217549491706795</c:v>
                </c:pt>
                <c:pt idx="12199">
                  <c:v>0.21756732655609001</c:v>
                </c:pt>
                <c:pt idx="12200">
                  <c:v>0.217585161405386</c:v>
                </c:pt>
                <c:pt idx="12201">
                  <c:v>0.21760299625468099</c:v>
                </c:pt>
                <c:pt idx="12202">
                  <c:v>0.21762083110397701</c:v>
                </c:pt>
                <c:pt idx="12203">
                  <c:v>0.217638665953272</c:v>
                </c:pt>
                <c:pt idx="12204">
                  <c:v>0.21765650080256799</c:v>
                </c:pt>
                <c:pt idx="12205">
                  <c:v>0.217674335651863</c:v>
                </c:pt>
                <c:pt idx="12206">
                  <c:v>0.21769217050115899</c:v>
                </c:pt>
                <c:pt idx="12207">
                  <c:v>0.21771000535045401</c:v>
                </c:pt>
                <c:pt idx="12208">
                  <c:v>0.21772784019975</c:v>
                </c:pt>
                <c:pt idx="12209">
                  <c:v>0.21774567504904499</c:v>
                </c:pt>
                <c:pt idx="12210">
                  <c:v>0.21776350989834101</c:v>
                </c:pt>
                <c:pt idx="12211">
                  <c:v>0.217781344747636</c:v>
                </c:pt>
                <c:pt idx="12212">
                  <c:v>0.21779917959693201</c:v>
                </c:pt>
                <c:pt idx="12213">
                  <c:v>0.217817014446227</c:v>
                </c:pt>
                <c:pt idx="12214">
                  <c:v>0.21783484929552299</c:v>
                </c:pt>
                <c:pt idx="12215">
                  <c:v>0.21785268414481801</c:v>
                </c:pt>
                <c:pt idx="12216">
                  <c:v>0.217870518994114</c:v>
                </c:pt>
                <c:pt idx="12217">
                  <c:v>0.21788835384340999</c:v>
                </c:pt>
                <c:pt idx="12218">
                  <c:v>0.21790618869270501</c:v>
                </c:pt>
                <c:pt idx="12219">
                  <c:v>0.21792402354200099</c:v>
                </c:pt>
                <c:pt idx="12220">
                  <c:v>0.21794185839129601</c:v>
                </c:pt>
                <c:pt idx="12221">
                  <c:v>0.217959693240592</c:v>
                </c:pt>
                <c:pt idx="12222">
                  <c:v>0.21797752808988699</c:v>
                </c:pt>
                <c:pt idx="12223">
                  <c:v>0.21799536293918301</c:v>
                </c:pt>
                <c:pt idx="12224">
                  <c:v>0.218013197788478</c:v>
                </c:pt>
                <c:pt idx="12225">
                  <c:v>0.21803103263777401</c:v>
                </c:pt>
                <c:pt idx="12226">
                  <c:v>0.218048867487069</c:v>
                </c:pt>
                <c:pt idx="12227">
                  <c:v>0.21806670233636499</c:v>
                </c:pt>
                <c:pt idx="12228">
                  <c:v>0.21808453718566001</c:v>
                </c:pt>
                <c:pt idx="12229">
                  <c:v>0.218102372034956</c:v>
                </c:pt>
                <c:pt idx="12230">
                  <c:v>0.21812020688425099</c:v>
                </c:pt>
                <c:pt idx="12231">
                  <c:v>0.21813804173354701</c:v>
                </c:pt>
                <c:pt idx="12232">
                  <c:v>0.218155876582842</c:v>
                </c:pt>
                <c:pt idx="12233">
                  <c:v>0.21817371143213801</c:v>
                </c:pt>
                <c:pt idx="12234">
                  <c:v>0.218191546281433</c:v>
                </c:pt>
                <c:pt idx="12235">
                  <c:v>0.21820938113072899</c:v>
                </c:pt>
                <c:pt idx="12236">
                  <c:v>0.21822721598002401</c:v>
                </c:pt>
                <c:pt idx="12237">
                  <c:v>0.21824505082932</c:v>
                </c:pt>
                <c:pt idx="12238">
                  <c:v>0.21826288567861599</c:v>
                </c:pt>
                <c:pt idx="12239">
                  <c:v>0.218280720527911</c:v>
                </c:pt>
                <c:pt idx="12240">
                  <c:v>0.21829855537720699</c:v>
                </c:pt>
                <c:pt idx="12241">
                  <c:v>0.21831639022650201</c:v>
                </c:pt>
                <c:pt idx="12242">
                  <c:v>0.218334225075798</c:v>
                </c:pt>
                <c:pt idx="12243">
                  <c:v>0.21835205992509299</c:v>
                </c:pt>
                <c:pt idx="12244">
                  <c:v>0.21836989477438901</c:v>
                </c:pt>
                <c:pt idx="12245">
                  <c:v>0.218387729623684</c:v>
                </c:pt>
                <c:pt idx="12246">
                  <c:v>0.21840556447298001</c:v>
                </c:pt>
                <c:pt idx="12247">
                  <c:v>0.218423399322275</c:v>
                </c:pt>
                <c:pt idx="12248">
                  <c:v>0.21844123417157099</c:v>
                </c:pt>
                <c:pt idx="12249">
                  <c:v>0.21845906902086601</c:v>
                </c:pt>
                <c:pt idx="12250">
                  <c:v>0.218476903870162</c:v>
                </c:pt>
                <c:pt idx="12251">
                  <c:v>0.21849473871945699</c:v>
                </c:pt>
                <c:pt idx="12252">
                  <c:v>0.218512573568753</c:v>
                </c:pt>
                <c:pt idx="12253">
                  <c:v>0.21853040841804799</c:v>
                </c:pt>
                <c:pt idx="12254">
                  <c:v>0.21854824326734401</c:v>
                </c:pt>
                <c:pt idx="12255">
                  <c:v>0.218566078116639</c:v>
                </c:pt>
                <c:pt idx="12256">
                  <c:v>0.21858391296593499</c:v>
                </c:pt>
                <c:pt idx="12257">
                  <c:v>0.21860174781523001</c:v>
                </c:pt>
                <c:pt idx="12258">
                  <c:v>0.218619582664526</c:v>
                </c:pt>
                <c:pt idx="12259">
                  <c:v>0.21863741751382201</c:v>
                </c:pt>
                <c:pt idx="12260">
                  <c:v>0.218655252363117</c:v>
                </c:pt>
                <c:pt idx="12261">
                  <c:v>0.21867308721241299</c:v>
                </c:pt>
                <c:pt idx="12262">
                  <c:v>0.21869092206170801</c:v>
                </c:pt>
                <c:pt idx="12263">
                  <c:v>0.218708756911004</c:v>
                </c:pt>
                <c:pt idx="12264">
                  <c:v>0.21872659176029899</c:v>
                </c:pt>
                <c:pt idx="12265">
                  <c:v>0.21874442660959501</c:v>
                </c:pt>
                <c:pt idx="12266">
                  <c:v>0.21876226145888999</c:v>
                </c:pt>
                <c:pt idx="12267">
                  <c:v>0.21878009630818601</c:v>
                </c:pt>
                <c:pt idx="12268">
                  <c:v>0.218797931157481</c:v>
                </c:pt>
                <c:pt idx="12269">
                  <c:v>0.21881576600677699</c:v>
                </c:pt>
                <c:pt idx="12270">
                  <c:v>0.21883360085607201</c:v>
                </c:pt>
                <c:pt idx="12271">
                  <c:v>0.218851435705368</c:v>
                </c:pt>
                <c:pt idx="12272">
                  <c:v>0.21886927055466299</c:v>
                </c:pt>
                <c:pt idx="12273">
                  <c:v>0.218887105403959</c:v>
                </c:pt>
                <c:pt idx="12274">
                  <c:v>0.21890494025325399</c:v>
                </c:pt>
                <c:pt idx="12275">
                  <c:v>0.21892277510255001</c:v>
                </c:pt>
                <c:pt idx="12276">
                  <c:v>0.218940609951845</c:v>
                </c:pt>
                <c:pt idx="12277">
                  <c:v>0.21895844480114099</c:v>
                </c:pt>
                <c:pt idx="12278">
                  <c:v>0.21897627965043601</c:v>
                </c:pt>
                <c:pt idx="12279">
                  <c:v>0.218994114499732</c:v>
                </c:pt>
                <c:pt idx="12280">
                  <c:v>0.21901194934902801</c:v>
                </c:pt>
                <c:pt idx="12281">
                  <c:v>0.219029784198323</c:v>
                </c:pt>
                <c:pt idx="12282">
                  <c:v>0.21904761904761899</c:v>
                </c:pt>
                <c:pt idx="12283">
                  <c:v>0.21906545389691401</c:v>
                </c:pt>
                <c:pt idx="12284">
                  <c:v>0.21908328874621</c:v>
                </c:pt>
                <c:pt idx="12285">
                  <c:v>0.21910112359550499</c:v>
                </c:pt>
                <c:pt idx="12286">
                  <c:v>0.219118958444801</c:v>
                </c:pt>
                <c:pt idx="12287">
                  <c:v>0.21913679329409599</c:v>
                </c:pt>
                <c:pt idx="12288">
                  <c:v>0.21915462814339201</c:v>
                </c:pt>
                <c:pt idx="12289">
                  <c:v>0.219172462992687</c:v>
                </c:pt>
                <c:pt idx="12290">
                  <c:v>0.21919029784198299</c:v>
                </c:pt>
                <c:pt idx="12291">
                  <c:v>0.21920813269127801</c:v>
                </c:pt>
                <c:pt idx="12292">
                  <c:v>0.219225967540574</c:v>
                </c:pt>
                <c:pt idx="12293">
                  <c:v>0.21924380238986901</c:v>
                </c:pt>
                <c:pt idx="12294">
                  <c:v>0.219261637239165</c:v>
                </c:pt>
                <c:pt idx="12295">
                  <c:v>0.21927947208845999</c:v>
                </c:pt>
                <c:pt idx="12296">
                  <c:v>0.21929730693775601</c:v>
                </c:pt>
                <c:pt idx="12297">
                  <c:v>0.219315141787051</c:v>
                </c:pt>
                <c:pt idx="12298">
                  <c:v>0.21933297663634699</c:v>
                </c:pt>
                <c:pt idx="12299">
                  <c:v>0.21935081148564201</c:v>
                </c:pt>
                <c:pt idx="12300">
                  <c:v>0.21936864633493799</c:v>
                </c:pt>
                <c:pt idx="12301">
                  <c:v>0.21938648118423301</c:v>
                </c:pt>
                <c:pt idx="12302">
                  <c:v>0.219404316033529</c:v>
                </c:pt>
                <c:pt idx="12303">
                  <c:v>0.21942215088282499</c:v>
                </c:pt>
                <c:pt idx="12304">
                  <c:v>0.21943998573212001</c:v>
                </c:pt>
                <c:pt idx="12305">
                  <c:v>0.219457820581416</c:v>
                </c:pt>
                <c:pt idx="12306">
                  <c:v>0.21947565543071099</c:v>
                </c:pt>
                <c:pt idx="12307">
                  <c:v>0.219493490280007</c:v>
                </c:pt>
                <c:pt idx="12308">
                  <c:v>0.21951132512930199</c:v>
                </c:pt>
                <c:pt idx="12309">
                  <c:v>0.21952915997859801</c:v>
                </c:pt>
                <c:pt idx="12310">
                  <c:v>0.219546994827893</c:v>
                </c:pt>
                <c:pt idx="12311">
                  <c:v>0.21956482967718899</c:v>
                </c:pt>
                <c:pt idx="12312">
                  <c:v>0.21958266452648401</c:v>
                </c:pt>
                <c:pt idx="12313">
                  <c:v>0.21960049937578</c:v>
                </c:pt>
                <c:pt idx="12314">
                  <c:v>0.21961833422507501</c:v>
                </c:pt>
                <c:pt idx="12315">
                  <c:v>0.219636169074371</c:v>
                </c:pt>
                <c:pt idx="12316">
                  <c:v>0.21965400392366599</c:v>
                </c:pt>
                <c:pt idx="12317">
                  <c:v>0.21967183877296201</c:v>
                </c:pt>
                <c:pt idx="12318">
                  <c:v>0.219689673622257</c:v>
                </c:pt>
                <c:pt idx="12319">
                  <c:v>0.21970750847155299</c:v>
                </c:pt>
                <c:pt idx="12320">
                  <c:v>0.219725343320848</c:v>
                </c:pt>
                <c:pt idx="12321">
                  <c:v>0.21974317817014399</c:v>
                </c:pt>
                <c:pt idx="12322">
                  <c:v>0.21976101301943901</c:v>
                </c:pt>
                <c:pt idx="12323">
                  <c:v>0.219778847868735</c:v>
                </c:pt>
                <c:pt idx="12324">
                  <c:v>0.21979668271803099</c:v>
                </c:pt>
                <c:pt idx="12325">
                  <c:v>0.21981451756732601</c:v>
                </c:pt>
                <c:pt idx="12326">
                  <c:v>0.219832352416622</c:v>
                </c:pt>
                <c:pt idx="12327">
                  <c:v>0.21985018726591701</c:v>
                </c:pt>
                <c:pt idx="12328">
                  <c:v>0.219868022115213</c:v>
                </c:pt>
                <c:pt idx="12329">
                  <c:v>0.21988585696450799</c:v>
                </c:pt>
                <c:pt idx="12330">
                  <c:v>0.21990369181380401</c:v>
                </c:pt>
                <c:pt idx="12331">
                  <c:v>0.219921526663099</c:v>
                </c:pt>
                <c:pt idx="12332">
                  <c:v>0.21993936151239499</c:v>
                </c:pt>
                <c:pt idx="12333">
                  <c:v>0.21995719636169</c:v>
                </c:pt>
                <c:pt idx="12334">
                  <c:v>0.21997503121098599</c:v>
                </c:pt>
                <c:pt idx="12335">
                  <c:v>0.21999286606028101</c:v>
                </c:pt>
                <c:pt idx="12336">
                  <c:v>0.220010700909577</c:v>
                </c:pt>
                <c:pt idx="12337">
                  <c:v>0.22002853575887199</c:v>
                </c:pt>
                <c:pt idx="12338">
                  <c:v>0.22004637060816801</c:v>
                </c:pt>
                <c:pt idx="12339">
                  <c:v>0.220064205457463</c:v>
                </c:pt>
                <c:pt idx="12340">
                  <c:v>0.22008204030675901</c:v>
                </c:pt>
                <c:pt idx="12341">
                  <c:v>0.220099875156054</c:v>
                </c:pt>
                <c:pt idx="12342">
                  <c:v>0.22011771000534999</c:v>
                </c:pt>
                <c:pt idx="12343">
                  <c:v>0.22013554485464501</c:v>
                </c:pt>
                <c:pt idx="12344">
                  <c:v>0.220153379703941</c:v>
                </c:pt>
                <c:pt idx="12345">
                  <c:v>0.22017121455323699</c:v>
                </c:pt>
                <c:pt idx="12346">
                  <c:v>0.22018904940253201</c:v>
                </c:pt>
                <c:pt idx="12347">
                  <c:v>0.22020688425182799</c:v>
                </c:pt>
                <c:pt idx="12348">
                  <c:v>0.22022471910112301</c:v>
                </c:pt>
                <c:pt idx="12349">
                  <c:v>0.220242553950419</c:v>
                </c:pt>
                <c:pt idx="12350">
                  <c:v>0.22026038879971399</c:v>
                </c:pt>
                <c:pt idx="12351">
                  <c:v>0.22027822364901001</c:v>
                </c:pt>
                <c:pt idx="12352">
                  <c:v>0.220296058498305</c:v>
                </c:pt>
                <c:pt idx="12353">
                  <c:v>0.22031389334760099</c:v>
                </c:pt>
                <c:pt idx="12354">
                  <c:v>0.220331728196896</c:v>
                </c:pt>
                <c:pt idx="12355">
                  <c:v>0.22034956304619199</c:v>
                </c:pt>
                <c:pt idx="12356">
                  <c:v>0.22036739789548701</c:v>
                </c:pt>
                <c:pt idx="12357">
                  <c:v>0.220385232744783</c:v>
                </c:pt>
                <c:pt idx="12358">
                  <c:v>0.22040306759407799</c:v>
                </c:pt>
                <c:pt idx="12359">
                  <c:v>0.22042090244337401</c:v>
                </c:pt>
                <c:pt idx="12360">
                  <c:v>0.220438737292669</c:v>
                </c:pt>
                <c:pt idx="12361">
                  <c:v>0.22045657214196501</c:v>
                </c:pt>
                <c:pt idx="12362">
                  <c:v>0.22047440699126</c:v>
                </c:pt>
                <c:pt idx="12363">
                  <c:v>0.22049224184055599</c:v>
                </c:pt>
                <c:pt idx="12364">
                  <c:v>0.22051007668985101</c:v>
                </c:pt>
                <c:pt idx="12365">
                  <c:v>0.220527911539147</c:v>
                </c:pt>
                <c:pt idx="12366">
                  <c:v>0.22054574638844299</c:v>
                </c:pt>
                <c:pt idx="12367">
                  <c:v>0.220563581237738</c:v>
                </c:pt>
                <c:pt idx="12368">
                  <c:v>0.22058141608703399</c:v>
                </c:pt>
                <c:pt idx="12369">
                  <c:v>0.22059925093632901</c:v>
                </c:pt>
                <c:pt idx="12370">
                  <c:v>0.220617085785625</c:v>
                </c:pt>
                <c:pt idx="12371">
                  <c:v>0.22063492063491999</c:v>
                </c:pt>
                <c:pt idx="12372">
                  <c:v>0.22065275548421601</c:v>
                </c:pt>
                <c:pt idx="12373">
                  <c:v>0.220670590333511</c:v>
                </c:pt>
                <c:pt idx="12374">
                  <c:v>0.22068842518280701</c:v>
                </c:pt>
                <c:pt idx="12375">
                  <c:v>0.220706260032102</c:v>
                </c:pt>
                <c:pt idx="12376">
                  <c:v>0.22072409488139799</c:v>
                </c:pt>
                <c:pt idx="12377">
                  <c:v>0.22074192973069301</c:v>
                </c:pt>
                <c:pt idx="12378">
                  <c:v>0.220759764579989</c:v>
                </c:pt>
                <c:pt idx="12379">
                  <c:v>0.22077759942928399</c:v>
                </c:pt>
                <c:pt idx="12380">
                  <c:v>0.22079543427858001</c:v>
                </c:pt>
                <c:pt idx="12381">
                  <c:v>0.22081326912787499</c:v>
                </c:pt>
                <c:pt idx="12382">
                  <c:v>0.22083110397717101</c:v>
                </c:pt>
                <c:pt idx="12383">
                  <c:v>0.220848938826466</c:v>
                </c:pt>
                <c:pt idx="12384">
                  <c:v>0.22086677367576199</c:v>
                </c:pt>
                <c:pt idx="12385">
                  <c:v>0.22088460852505701</c:v>
                </c:pt>
                <c:pt idx="12386">
                  <c:v>0.220902443374353</c:v>
                </c:pt>
                <c:pt idx="12387">
                  <c:v>0.22092027822364901</c:v>
                </c:pt>
                <c:pt idx="12388">
                  <c:v>0.220938113072944</c:v>
                </c:pt>
                <c:pt idx="12389">
                  <c:v>0.22095594792223999</c:v>
                </c:pt>
                <c:pt idx="12390">
                  <c:v>0.22097378277153501</c:v>
                </c:pt>
                <c:pt idx="12391">
                  <c:v>0.220991617620831</c:v>
                </c:pt>
                <c:pt idx="12392">
                  <c:v>0.22100945247012599</c:v>
                </c:pt>
                <c:pt idx="12393">
                  <c:v>0.22102728731942201</c:v>
                </c:pt>
                <c:pt idx="12394">
                  <c:v>0.221045122168717</c:v>
                </c:pt>
                <c:pt idx="12395">
                  <c:v>0.22106295701801301</c:v>
                </c:pt>
                <c:pt idx="12396">
                  <c:v>0.221080791867308</c:v>
                </c:pt>
                <c:pt idx="12397">
                  <c:v>0.22109862671660399</c:v>
                </c:pt>
                <c:pt idx="12398">
                  <c:v>0.22111646156589901</c:v>
                </c:pt>
                <c:pt idx="12399">
                  <c:v>0.221134296415195</c:v>
                </c:pt>
                <c:pt idx="12400">
                  <c:v>0.22115213126448999</c:v>
                </c:pt>
                <c:pt idx="12401">
                  <c:v>0.221169966113786</c:v>
                </c:pt>
                <c:pt idx="12402">
                  <c:v>0.22118780096308099</c:v>
                </c:pt>
                <c:pt idx="12403">
                  <c:v>0.22120563581237701</c:v>
                </c:pt>
                <c:pt idx="12404">
                  <c:v>0.221223470661672</c:v>
                </c:pt>
                <c:pt idx="12405">
                  <c:v>0.22124130551096799</c:v>
                </c:pt>
                <c:pt idx="12406">
                  <c:v>0.22125914036026301</c:v>
                </c:pt>
                <c:pt idx="12407">
                  <c:v>0.221276975209559</c:v>
                </c:pt>
                <c:pt idx="12408">
                  <c:v>0.22129481005885501</c:v>
                </c:pt>
                <c:pt idx="12409">
                  <c:v>0.22131264490815</c:v>
                </c:pt>
                <c:pt idx="12410">
                  <c:v>0.22133047975744599</c:v>
                </c:pt>
                <c:pt idx="12411">
                  <c:v>0.22134831460674101</c:v>
                </c:pt>
                <c:pt idx="12412">
                  <c:v>0.221366149456037</c:v>
                </c:pt>
                <c:pt idx="12413">
                  <c:v>0.22138398430533199</c:v>
                </c:pt>
                <c:pt idx="12414">
                  <c:v>0.221401819154628</c:v>
                </c:pt>
                <c:pt idx="12415">
                  <c:v>0.22141965400392299</c:v>
                </c:pt>
                <c:pt idx="12416">
                  <c:v>0.22143748885321901</c:v>
                </c:pt>
                <c:pt idx="12417">
                  <c:v>0.221455323702514</c:v>
                </c:pt>
                <c:pt idx="12418">
                  <c:v>0.22147315855180999</c:v>
                </c:pt>
                <c:pt idx="12419">
                  <c:v>0.22149099340110501</c:v>
                </c:pt>
                <c:pt idx="12420">
                  <c:v>0.221508828250401</c:v>
                </c:pt>
                <c:pt idx="12421">
                  <c:v>0.22152666309969599</c:v>
                </c:pt>
                <c:pt idx="12422">
                  <c:v>0.221544497948992</c:v>
                </c:pt>
                <c:pt idx="12423">
                  <c:v>0.22156233279828699</c:v>
                </c:pt>
                <c:pt idx="12424">
                  <c:v>0.22158016764758301</c:v>
                </c:pt>
                <c:pt idx="12425">
                  <c:v>0.221598002496878</c:v>
                </c:pt>
                <c:pt idx="12426">
                  <c:v>0.22161583734617399</c:v>
                </c:pt>
                <c:pt idx="12427">
                  <c:v>0.22163367219546901</c:v>
                </c:pt>
                <c:pt idx="12428">
                  <c:v>0.22165150704476499</c:v>
                </c:pt>
                <c:pt idx="12429">
                  <c:v>0.22166934189406001</c:v>
                </c:pt>
                <c:pt idx="12430">
                  <c:v>0.221687176743356</c:v>
                </c:pt>
                <c:pt idx="12431">
                  <c:v>0.22170501159265199</c:v>
                </c:pt>
                <c:pt idx="12432">
                  <c:v>0.22172284644194701</c:v>
                </c:pt>
                <c:pt idx="12433">
                  <c:v>0.221740681291243</c:v>
                </c:pt>
                <c:pt idx="12434">
                  <c:v>0.22175851614053799</c:v>
                </c:pt>
                <c:pt idx="12435">
                  <c:v>0.221776350989834</c:v>
                </c:pt>
                <c:pt idx="12436">
                  <c:v>0.22179418583912899</c:v>
                </c:pt>
                <c:pt idx="12437">
                  <c:v>0.22181202068842501</c:v>
                </c:pt>
                <c:pt idx="12438">
                  <c:v>0.22182985553772</c:v>
                </c:pt>
                <c:pt idx="12439">
                  <c:v>0.22184769038701599</c:v>
                </c:pt>
                <c:pt idx="12440">
                  <c:v>0.22186552523631101</c:v>
                </c:pt>
                <c:pt idx="12441">
                  <c:v>0.221883360085607</c:v>
                </c:pt>
                <c:pt idx="12442">
                  <c:v>0.22190119493490201</c:v>
                </c:pt>
                <c:pt idx="12443">
                  <c:v>0.221919029784198</c:v>
                </c:pt>
                <c:pt idx="12444">
                  <c:v>0.22193686463349299</c:v>
                </c:pt>
                <c:pt idx="12445">
                  <c:v>0.22195469948278901</c:v>
                </c:pt>
                <c:pt idx="12446">
                  <c:v>0.221972534332084</c:v>
                </c:pt>
                <c:pt idx="12447">
                  <c:v>0.22199036918137999</c:v>
                </c:pt>
                <c:pt idx="12448">
                  <c:v>0.222008204030675</c:v>
                </c:pt>
                <c:pt idx="12449">
                  <c:v>0.22202603887997099</c:v>
                </c:pt>
                <c:pt idx="12450">
                  <c:v>0.22204387372926601</c:v>
                </c:pt>
                <c:pt idx="12451">
                  <c:v>0.222061708578562</c:v>
                </c:pt>
                <c:pt idx="12452">
                  <c:v>0.22207954342785799</c:v>
                </c:pt>
                <c:pt idx="12453">
                  <c:v>0.22209737827715301</c:v>
                </c:pt>
                <c:pt idx="12454">
                  <c:v>0.222115213126449</c:v>
                </c:pt>
                <c:pt idx="12455">
                  <c:v>0.22213304797574401</c:v>
                </c:pt>
                <c:pt idx="12456">
                  <c:v>0.22215088282504</c:v>
                </c:pt>
                <c:pt idx="12457">
                  <c:v>0.22216871767433499</c:v>
                </c:pt>
                <c:pt idx="12458">
                  <c:v>0.22218655252363101</c:v>
                </c:pt>
                <c:pt idx="12459">
                  <c:v>0.222204387372926</c:v>
                </c:pt>
                <c:pt idx="12460">
                  <c:v>0.22222222222222199</c:v>
                </c:pt>
                <c:pt idx="12461">
                  <c:v>0.22224005707151701</c:v>
                </c:pt>
                <c:pt idx="12462">
                  <c:v>0.22225789192081299</c:v>
                </c:pt>
                <c:pt idx="12463">
                  <c:v>0.22227572677010801</c:v>
                </c:pt>
                <c:pt idx="12464">
                  <c:v>0.222293561619404</c:v>
                </c:pt>
                <c:pt idx="12465">
                  <c:v>0.22231139646869899</c:v>
                </c:pt>
                <c:pt idx="12466">
                  <c:v>0.22232923131799501</c:v>
                </c:pt>
                <c:pt idx="12467">
                  <c:v>0.22234706616729</c:v>
                </c:pt>
                <c:pt idx="12468">
                  <c:v>0.22236490101658599</c:v>
                </c:pt>
                <c:pt idx="12469">
                  <c:v>0.222382735865881</c:v>
                </c:pt>
                <c:pt idx="12470">
                  <c:v>0.22240057071517699</c:v>
                </c:pt>
                <c:pt idx="12471">
                  <c:v>0.22241840556447201</c:v>
                </c:pt>
                <c:pt idx="12472">
                  <c:v>0.222436240413768</c:v>
                </c:pt>
                <c:pt idx="12473">
                  <c:v>0.22245407526306399</c:v>
                </c:pt>
                <c:pt idx="12474">
                  <c:v>0.22247191011235901</c:v>
                </c:pt>
                <c:pt idx="12475">
                  <c:v>0.22248974496165499</c:v>
                </c:pt>
                <c:pt idx="12476">
                  <c:v>0.22250757981095001</c:v>
                </c:pt>
                <c:pt idx="12477">
                  <c:v>0.222525414660246</c:v>
                </c:pt>
                <c:pt idx="12478">
                  <c:v>0.22254324950954099</c:v>
                </c:pt>
                <c:pt idx="12479">
                  <c:v>0.22256108435883701</c:v>
                </c:pt>
                <c:pt idx="12480">
                  <c:v>0.222578919208132</c:v>
                </c:pt>
                <c:pt idx="12481">
                  <c:v>0.22259675405742799</c:v>
                </c:pt>
                <c:pt idx="12482">
                  <c:v>0.222614588906723</c:v>
                </c:pt>
                <c:pt idx="12483">
                  <c:v>0.22263242375601899</c:v>
                </c:pt>
                <c:pt idx="12484">
                  <c:v>0.22265025860531401</c:v>
                </c:pt>
                <c:pt idx="12485">
                  <c:v>0.22266809345461</c:v>
                </c:pt>
                <c:pt idx="12486">
                  <c:v>0.22268592830390499</c:v>
                </c:pt>
                <c:pt idx="12487">
                  <c:v>0.22270376315320101</c:v>
                </c:pt>
                <c:pt idx="12488">
                  <c:v>0.222721598002496</c:v>
                </c:pt>
                <c:pt idx="12489">
                  <c:v>0.22273943285179201</c:v>
                </c:pt>
                <c:pt idx="12490">
                  <c:v>0.222757267701087</c:v>
                </c:pt>
                <c:pt idx="12491">
                  <c:v>0.22277510255038299</c:v>
                </c:pt>
                <c:pt idx="12492">
                  <c:v>0.22279293739967801</c:v>
                </c:pt>
                <c:pt idx="12493">
                  <c:v>0.222810772248974</c:v>
                </c:pt>
                <c:pt idx="12494">
                  <c:v>0.22282860709826999</c:v>
                </c:pt>
                <c:pt idx="12495">
                  <c:v>0.222846441947565</c:v>
                </c:pt>
                <c:pt idx="12496">
                  <c:v>0.22286427679686099</c:v>
                </c:pt>
                <c:pt idx="12497">
                  <c:v>0.22288211164615601</c:v>
                </c:pt>
                <c:pt idx="12498">
                  <c:v>0.222899946495452</c:v>
                </c:pt>
                <c:pt idx="12499">
                  <c:v>0.22291778134474699</c:v>
                </c:pt>
                <c:pt idx="12500">
                  <c:v>0.22293561619404301</c:v>
                </c:pt>
                <c:pt idx="12501">
                  <c:v>0.222953451043338</c:v>
                </c:pt>
                <c:pt idx="12502">
                  <c:v>0.22297128589263401</c:v>
                </c:pt>
                <c:pt idx="12503">
                  <c:v>0.222989120741929</c:v>
                </c:pt>
                <c:pt idx="12504">
                  <c:v>0.22300695559122499</c:v>
                </c:pt>
                <c:pt idx="12505">
                  <c:v>0.22302479044052001</c:v>
                </c:pt>
                <c:pt idx="12506">
                  <c:v>0.223042625289816</c:v>
                </c:pt>
                <c:pt idx="12507">
                  <c:v>0.22306046013911099</c:v>
                </c:pt>
                <c:pt idx="12508">
                  <c:v>0.22307829498840701</c:v>
                </c:pt>
                <c:pt idx="12509">
                  <c:v>0.223096129837702</c:v>
                </c:pt>
                <c:pt idx="12510">
                  <c:v>0.22311396468699801</c:v>
                </c:pt>
                <c:pt idx="12511">
                  <c:v>0.223131799536293</c:v>
                </c:pt>
                <c:pt idx="12512">
                  <c:v>0.22314963438558899</c:v>
                </c:pt>
                <c:pt idx="12513">
                  <c:v>0.22316746923488401</c:v>
                </c:pt>
                <c:pt idx="12514">
                  <c:v>0.22318530408418</c:v>
                </c:pt>
                <c:pt idx="12515">
                  <c:v>0.22320313893347599</c:v>
                </c:pt>
                <c:pt idx="12516">
                  <c:v>0.223220973782771</c:v>
                </c:pt>
                <c:pt idx="12517">
                  <c:v>0.22323880863206699</c:v>
                </c:pt>
                <c:pt idx="12518">
                  <c:v>0.22325664348136201</c:v>
                </c:pt>
                <c:pt idx="12519">
                  <c:v>0.223274478330658</c:v>
                </c:pt>
                <c:pt idx="12520">
                  <c:v>0.22329231317995299</c:v>
                </c:pt>
                <c:pt idx="12521">
                  <c:v>0.22331014802924901</c:v>
                </c:pt>
                <c:pt idx="12522">
                  <c:v>0.223327982878544</c:v>
                </c:pt>
                <c:pt idx="12523">
                  <c:v>0.22334581772784001</c:v>
                </c:pt>
                <c:pt idx="12524">
                  <c:v>0.223363652577135</c:v>
                </c:pt>
                <c:pt idx="12525">
                  <c:v>0.22338148742643099</c:v>
                </c:pt>
                <c:pt idx="12526">
                  <c:v>0.22339932227572601</c:v>
                </c:pt>
                <c:pt idx="12527">
                  <c:v>0.223417157125022</c:v>
                </c:pt>
                <c:pt idx="12528">
                  <c:v>0.22343499197431699</c:v>
                </c:pt>
                <c:pt idx="12529">
                  <c:v>0.223452826823613</c:v>
                </c:pt>
                <c:pt idx="12530">
                  <c:v>0.22347066167290799</c:v>
                </c:pt>
                <c:pt idx="12531">
                  <c:v>0.22348849652220401</c:v>
                </c:pt>
                <c:pt idx="12532">
                  <c:v>0.223506331371499</c:v>
                </c:pt>
                <c:pt idx="12533">
                  <c:v>0.22352416622079499</c:v>
                </c:pt>
                <c:pt idx="12534">
                  <c:v>0.22354200107009001</c:v>
                </c:pt>
                <c:pt idx="12535">
                  <c:v>0.223559835919386</c:v>
                </c:pt>
                <c:pt idx="12536">
                  <c:v>0.22357767076868201</c:v>
                </c:pt>
                <c:pt idx="12537">
                  <c:v>0.223595505617977</c:v>
                </c:pt>
                <c:pt idx="12538">
                  <c:v>0.22361334046727299</c:v>
                </c:pt>
                <c:pt idx="12539">
                  <c:v>0.22363117531656801</c:v>
                </c:pt>
                <c:pt idx="12540">
                  <c:v>0.223649010165864</c:v>
                </c:pt>
                <c:pt idx="12541">
                  <c:v>0.22366684501515899</c:v>
                </c:pt>
                <c:pt idx="12542">
                  <c:v>0.223684679864455</c:v>
                </c:pt>
                <c:pt idx="12543">
                  <c:v>0.22370251471374999</c:v>
                </c:pt>
                <c:pt idx="12544">
                  <c:v>0.22372034956304601</c:v>
                </c:pt>
                <c:pt idx="12545">
                  <c:v>0.223738184412341</c:v>
                </c:pt>
                <c:pt idx="12546">
                  <c:v>0.22375601926163699</c:v>
                </c:pt>
                <c:pt idx="12547">
                  <c:v>0.22377385411093201</c:v>
                </c:pt>
                <c:pt idx="12548">
                  <c:v>0.223791688960228</c:v>
                </c:pt>
                <c:pt idx="12549">
                  <c:v>0.22380952380952299</c:v>
                </c:pt>
                <c:pt idx="12550">
                  <c:v>0.223827358658819</c:v>
                </c:pt>
                <c:pt idx="12551">
                  <c:v>0.22384519350811399</c:v>
                </c:pt>
                <c:pt idx="12552">
                  <c:v>0.22386302835741001</c:v>
                </c:pt>
                <c:pt idx="12553">
                  <c:v>0.223880863206705</c:v>
                </c:pt>
                <c:pt idx="12554">
                  <c:v>0.22389869805600099</c:v>
                </c:pt>
                <c:pt idx="12555">
                  <c:v>0.22391653290529601</c:v>
                </c:pt>
                <c:pt idx="12556">
                  <c:v>0.223934367754592</c:v>
                </c:pt>
                <c:pt idx="12557">
                  <c:v>0.22395220260388701</c:v>
                </c:pt>
                <c:pt idx="12558">
                  <c:v>0.223970037453183</c:v>
                </c:pt>
                <c:pt idx="12559">
                  <c:v>0.22398787230247899</c:v>
                </c:pt>
                <c:pt idx="12560">
                  <c:v>0.22400570715177401</c:v>
                </c:pt>
                <c:pt idx="12561">
                  <c:v>0.22402354200107</c:v>
                </c:pt>
                <c:pt idx="12562">
                  <c:v>0.22404137685036499</c:v>
                </c:pt>
                <c:pt idx="12563">
                  <c:v>0.224059211699661</c:v>
                </c:pt>
                <c:pt idx="12564">
                  <c:v>0.22407704654895599</c:v>
                </c:pt>
                <c:pt idx="12565">
                  <c:v>0.22409488139825201</c:v>
                </c:pt>
                <c:pt idx="12566">
                  <c:v>0.224112716247547</c:v>
                </c:pt>
                <c:pt idx="12567">
                  <c:v>0.22413055109684299</c:v>
                </c:pt>
                <c:pt idx="12568">
                  <c:v>0.22414838594613801</c:v>
                </c:pt>
                <c:pt idx="12569">
                  <c:v>0.224166220795434</c:v>
                </c:pt>
                <c:pt idx="12570">
                  <c:v>0.22418405564472901</c:v>
                </c:pt>
                <c:pt idx="12571">
                  <c:v>0.224201890494025</c:v>
                </c:pt>
                <c:pt idx="12572">
                  <c:v>0.22421972534331999</c:v>
                </c:pt>
                <c:pt idx="12573">
                  <c:v>0.22423756019261601</c:v>
                </c:pt>
                <c:pt idx="12574">
                  <c:v>0.224255395041911</c:v>
                </c:pt>
                <c:pt idx="12575">
                  <c:v>0.22427322989120699</c:v>
                </c:pt>
                <c:pt idx="12576">
                  <c:v>0.22429106474050201</c:v>
                </c:pt>
                <c:pt idx="12577">
                  <c:v>0.22430889958979799</c:v>
                </c:pt>
                <c:pt idx="12578">
                  <c:v>0.22432673443909301</c:v>
                </c:pt>
                <c:pt idx="12579">
                  <c:v>0.224344569288389</c:v>
                </c:pt>
                <c:pt idx="12580">
                  <c:v>0.22436240413768499</c:v>
                </c:pt>
                <c:pt idx="12581">
                  <c:v>0.22438023898698001</c:v>
                </c:pt>
                <c:pt idx="12582">
                  <c:v>0.224398073836276</c:v>
                </c:pt>
                <c:pt idx="12583">
                  <c:v>0.22441590868557099</c:v>
                </c:pt>
                <c:pt idx="12584">
                  <c:v>0.224433743534867</c:v>
                </c:pt>
                <c:pt idx="12585">
                  <c:v>0.22445157838416199</c:v>
                </c:pt>
                <c:pt idx="12586">
                  <c:v>0.22446941323345801</c:v>
                </c:pt>
                <c:pt idx="12587">
                  <c:v>0.224487248082753</c:v>
                </c:pt>
                <c:pt idx="12588">
                  <c:v>0.22450508293204899</c:v>
                </c:pt>
                <c:pt idx="12589">
                  <c:v>0.22452291778134401</c:v>
                </c:pt>
                <c:pt idx="12590">
                  <c:v>0.22454075263063999</c:v>
                </c:pt>
                <c:pt idx="12591">
                  <c:v>0.22455858747993501</c:v>
                </c:pt>
                <c:pt idx="12592">
                  <c:v>0.224576422329231</c:v>
                </c:pt>
                <c:pt idx="12593">
                  <c:v>0.22459425717852599</c:v>
                </c:pt>
                <c:pt idx="12594">
                  <c:v>0.22461209202782201</c:v>
                </c:pt>
                <c:pt idx="12595">
                  <c:v>0.224629926877117</c:v>
                </c:pt>
                <c:pt idx="12596">
                  <c:v>0.22464776172641299</c:v>
                </c:pt>
                <c:pt idx="12597">
                  <c:v>0.224665596575708</c:v>
                </c:pt>
                <c:pt idx="12598">
                  <c:v>0.22468343142500399</c:v>
                </c:pt>
                <c:pt idx="12599">
                  <c:v>0.22470126627429901</c:v>
                </c:pt>
                <c:pt idx="12600">
                  <c:v>0.224719101123595</c:v>
                </c:pt>
                <c:pt idx="12601">
                  <c:v>0.22473693597289099</c:v>
                </c:pt>
                <c:pt idx="12602">
                  <c:v>0.22475477082218601</c:v>
                </c:pt>
                <c:pt idx="12603">
                  <c:v>0.224772605671482</c:v>
                </c:pt>
                <c:pt idx="12604">
                  <c:v>0.22479044052077701</c:v>
                </c:pt>
                <c:pt idx="12605">
                  <c:v>0.224808275370073</c:v>
                </c:pt>
                <c:pt idx="12606">
                  <c:v>0.22482611021936799</c:v>
                </c:pt>
                <c:pt idx="12607">
                  <c:v>0.22484394506866401</c:v>
                </c:pt>
                <c:pt idx="12608">
                  <c:v>0.224861779917959</c:v>
                </c:pt>
                <c:pt idx="12609">
                  <c:v>0.22487961476725499</c:v>
                </c:pt>
                <c:pt idx="12610">
                  <c:v>0.22489744961655</c:v>
                </c:pt>
                <c:pt idx="12611">
                  <c:v>0.22491528446584599</c:v>
                </c:pt>
                <c:pt idx="12612">
                  <c:v>0.22493311931514101</c:v>
                </c:pt>
                <c:pt idx="12613">
                  <c:v>0.224950954164437</c:v>
                </c:pt>
                <c:pt idx="12614">
                  <c:v>0.22496878901373199</c:v>
                </c:pt>
                <c:pt idx="12615">
                  <c:v>0.22498662386302801</c:v>
                </c:pt>
                <c:pt idx="12616">
                  <c:v>0.225004458712323</c:v>
                </c:pt>
                <c:pt idx="12617">
                  <c:v>0.22502229356161901</c:v>
                </c:pt>
                <c:pt idx="12618">
                  <c:v>0.225040128410914</c:v>
                </c:pt>
                <c:pt idx="12619">
                  <c:v>0.22505796326020999</c:v>
                </c:pt>
                <c:pt idx="12620">
                  <c:v>0.22507579810950501</c:v>
                </c:pt>
                <c:pt idx="12621">
                  <c:v>0.225093632958801</c:v>
                </c:pt>
                <c:pt idx="12622">
                  <c:v>0.22511146780809699</c:v>
                </c:pt>
                <c:pt idx="12623">
                  <c:v>0.22512930265739201</c:v>
                </c:pt>
                <c:pt idx="12624">
                  <c:v>0.22514713750668799</c:v>
                </c:pt>
                <c:pt idx="12625">
                  <c:v>0.22516497235598301</c:v>
                </c:pt>
                <c:pt idx="12626">
                  <c:v>0.225182807205279</c:v>
                </c:pt>
                <c:pt idx="12627">
                  <c:v>0.22520064205457399</c:v>
                </c:pt>
                <c:pt idx="12628">
                  <c:v>0.22521847690387001</c:v>
                </c:pt>
                <c:pt idx="12629">
                  <c:v>0.225236311753165</c:v>
                </c:pt>
                <c:pt idx="12630">
                  <c:v>0.22525414660246099</c:v>
                </c:pt>
                <c:pt idx="12631">
                  <c:v>0.225271981451756</c:v>
                </c:pt>
                <c:pt idx="12632">
                  <c:v>0.22528981630105199</c:v>
                </c:pt>
                <c:pt idx="12633">
                  <c:v>0.22530765115034701</c:v>
                </c:pt>
                <c:pt idx="12634">
                  <c:v>0.225325485999643</c:v>
                </c:pt>
                <c:pt idx="12635">
                  <c:v>0.22534332084893799</c:v>
                </c:pt>
                <c:pt idx="12636">
                  <c:v>0.22536115569823401</c:v>
                </c:pt>
                <c:pt idx="12637">
                  <c:v>0.225378990547529</c:v>
                </c:pt>
                <c:pt idx="12638">
                  <c:v>0.22539682539682501</c:v>
                </c:pt>
                <c:pt idx="12639">
                  <c:v>0.22541466024612</c:v>
                </c:pt>
                <c:pt idx="12640">
                  <c:v>0.22543249509541599</c:v>
                </c:pt>
                <c:pt idx="12641">
                  <c:v>0.22545032994471101</c:v>
                </c:pt>
                <c:pt idx="12642">
                  <c:v>0.225468164794007</c:v>
                </c:pt>
                <c:pt idx="12643">
                  <c:v>0.22548599964330299</c:v>
                </c:pt>
                <c:pt idx="12644">
                  <c:v>0.225503834492598</c:v>
                </c:pt>
                <c:pt idx="12645">
                  <c:v>0.22552166934189399</c:v>
                </c:pt>
                <c:pt idx="12646">
                  <c:v>0.22553950419118901</c:v>
                </c:pt>
                <c:pt idx="12647">
                  <c:v>0.225557339040485</c:v>
                </c:pt>
                <c:pt idx="12648">
                  <c:v>0.22557517388977999</c:v>
                </c:pt>
                <c:pt idx="12649">
                  <c:v>0.22559300873907601</c:v>
                </c:pt>
                <c:pt idx="12650">
                  <c:v>0.225610843588371</c:v>
                </c:pt>
                <c:pt idx="12651">
                  <c:v>0.22562867843766701</c:v>
                </c:pt>
                <c:pt idx="12652">
                  <c:v>0.225646513286962</c:v>
                </c:pt>
                <c:pt idx="12653">
                  <c:v>0.22566434813625799</c:v>
                </c:pt>
                <c:pt idx="12654">
                  <c:v>0.22568218298555301</c:v>
                </c:pt>
                <c:pt idx="12655">
                  <c:v>0.225700017834849</c:v>
                </c:pt>
                <c:pt idx="12656">
                  <c:v>0.22571785268414399</c:v>
                </c:pt>
                <c:pt idx="12657">
                  <c:v>0.22573568753344</c:v>
                </c:pt>
                <c:pt idx="12658">
                  <c:v>0.22575352238273499</c:v>
                </c:pt>
                <c:pt idx="12659">
                  <c:v>0.22577135723203101</c:v>
                </c:pt>
                <c:pt idx="12660">
                  <c:v>0.225789192081326</c:v>
                </c:pt>
                <c:pt idx="12661">
                  <c:v>0.22580702693062199</c:v>
                </c:pt>
                <c:pt idx="12662">
                  <c:v>0.22582486177991701</c:v>
                </c:pt>
                <c:pt idx="12663">
                  <c:v>0.225842696629213</c:v>
                </c:pt>
                <c:pt idx="12664">
                  <c:v>0.22586053147850901</c:v>
                </c:pt>
                <c:pt idx="12665">
                  <c:v>0.225878366327804</c:v>
                </c:pt>
                <c:pt idx="12666">
                  <c:v>0.22589620117709999</c:v>
                </c:pt>
                <c:pt idx="12667">
                  <c:v>0.22591403602639501</c:v>
                </c:pt>
                <c:pt idx="12668">
                  <c:v>0.225931870875691</c:v>
                </c:pt>
                <c:pt idx="12669">
                  <c:v>0.22594970572498599</c:v>
                </c:pt>
                <c:pt idx="12670">
                  <c:v>0.22596754057428201</c:v>
                </c:pt>
                <c:pt idx="12671">
                  <c:v>0.225985375423577</c:v>
                </c:pt>
                <c:pt idx="12672">
                  <c:v>0.22600321027287301</c:v>
                </c:pt>
                <c:pt idx="12673">
                  <c:v>0.226021045122168</c:v>
                </c:pt>
                <c:pt idx="12674">
                  <c:v>0.22603887997146399</c:v>
                </c:pt>
                <c:pt idx="12675">
                  <c:v>0.22605671482075901</c:v>
                </c:pt>
                <c:pt idx="12676">
                  <c:v>0.226074549670055</c:v>
                </c:pt>
                <c:pt idx="12677">
                  <c:v>0.22609238451934999</c:v>
                </c:pt>
                <c:pt idx="12678">
                  <c:v>0.226110219368646</c:v>
                </c:pt>
                <c:pt idx="12679">
                  <c:v>0.22612805421794099</c:v>
                </c:pt>
                <c:pt idx="12680">
                  <c:v>0.22614588906723701</c:v>
                </c:pt>
                <c:pt idx="12681">
                  <c:v>0.226163723916532</c:v>
                </c:pt>
                <c:pt idx="12682">
                  <c:v>0.22618155876582799</c:v>
                </c:pt>
                <c:pt idx="12683">
                  <c:v>0.22619939361512301</c:v>
                </c:pt>
                <c:pt idx="12684">
                  <c:v>0.226217228464419</c:v>
                </c:pt>
                <c:pt idx="12685">
                  <c:v>0.22623506331371501</c:v>
                </c:pt>
                <c:pt idx="12686">
                  <c:v>0.22625289816301</c:v>
                </c:pt>
                <c:pt idx="12687">
                  <c:v>0.22627073301230599</c:v>
                </c:pt>
                <c:pt idx="12688">
                  <c:v>0.22628856786160101</c:v>
                </c:pt>
                <c:pt idx="12689">
                  <c:v>0.226306402710897</c:v>
                </c:pt>
                <c:pt idx="12690">
                  <c:v>0.22632423756019199</c:v>
                </c:pt>
                <c:pt idx="12691">
                  <c:v>0.226342072409488</c:v>
                </c:pt>
                <c:pt idx="12692">
                  <c:v>0.22635990725878299</c:v>
                </c:pt>
                <c:pt idx="12693">
                  <c:v>0.22637774210807901</c:v>
                </c:pt>
                <c:pt idx="12694">
                  <c:v>0.226395576957374</c:v>
                </c:pt>
                <c:pt idx="12695">
                  <c:v>0.22641341180666999</c:v>
                </c:pt>
                <c:pt idx="12696">
                  <c:v>0.22643124665596501</c:v>
                </c:pt>
                <c:pt idx="12697">
                  <c:v>0.226449081505261</c:v>
                </c:pt>
                <c:pt idx="12698">
                  <c:v>0.22646691635455601</c:v>
                </c:pt>
                <c:pt idx="12699">
                  <c:v>0.226484751203852</c:v>
                </c:pt>
                <c:pt idx="12700">
                  <c:v>0.22650258605314699</c:v>
                </c:pt>
                <c:pt idx="12701">
                  <c:v>0.22652042090244301</c:v>
                </c:pt>
                <c:pt idx="12702">
                  <c:v>0.226538255751738</c:v>
                </c:pt>
                <c:pt idx="12703">
                  <c:v>0.22655609060103399</c:v>
                </c:pt>
                <c:pt idx="12704">
                  <c:v>0.22657392545032901</c:v>
                </c:pt>
                <c:pt idx="12705">
                  <c:v>0.22659176029962499</c:v>
                </c:pt>
                <c:pt idx="12706">
                  <c:v>0.22660959514892001</c:v>
                </c:pt>
                <c:pt idx="12707">
                  <c:v>0.226627429998216</c:v>
                </c:pt>
                <c:pt idx="12708">
                  <c:v>0.22664526484751199</c:v>
                </c:pt>
                <c:pt idx="12709">
                  <c:v>0.22666309969680701</c:v>
                </c:pt>
                <c:pt idx="12710">
                  <c:v>0.226680934546103</c:v>
                </c:pt>
                <c:pt idx="12711">
                  <c:v>0.22669876939539799</c:v>
                </c:pt>
                <c:pt idx="12712">
                  <c:v>0.226716604244694</c:v>
                </c:pt>
                <c:pt idx="12713">
                  <c:v>0.22673443909398899</c:v>
                </c:pt>
                <c:pt idx="12714">
                  <c:v>0.22675227394328501</c:v>
                </c:pt>
                <c:pt idx="12715">
                  <c:v>0.22677010879258</c:v>
                </c:pt>
                <c:pt idx="12716">
                  <c:v>0.22678794364187599</c:v>
                </c:pt>
                <c:pt idx="12717">
                  <c:v>0.22680577849117101</c:v>
                </c:pt>
                <c:pt idx="12718">
                  <c:v>0.226823613340467</c:v>
                </c:pt>
                <c:pt idx="12719">
                  <c:v>0.22684144818976201</c:v>
                </c:pt>
                <c:pt idx="12720">
                  <c:v>0.226859283039058</c:v>
                </c:pt>
                <c:pt idx="12721">
                  <c:v>0.22687711788835299</c:v>
                </c:pt>
                <c:pt idx="12722">
                  <c:v>0.22689495273764901</c:v>
                </c:pt>
                <c:pt idx="12723">
                  <c:v>0.226912787586944</c:v>
                </c:pt>
                <c:pt idx="12724">
                  <c:v>0.22693062243623999</c:v>
                </c:pt>
                <c:pt idx="12725">
                  <c:v>0.226948457285535</c:v>
                </c:pt>
                <c:pt idx="12726">
                  <c:v>0.22696629213483099</c:v>
                </c:pt>
                <c:pt idx="12727">
                  <c:v>0.22698412698412601</c:v>
                </c:pt>
                <c:pt idx="12728">
                  <c:v>0.227001961833422</c:v>
                </c:pt>
                <c:pt idx="12729">
                  <c:v>0.22701979668271799</c:v>
                </c:pt>
                <c:pt idx="12730">
                  <c:v>0.22703763153201301</c:v>
                </c:pt>
                <c:pt idx="12731">
                  <c:v>0.227055466381309</c:v>
                </c:pt>
                <c:pt idx="12732">
                  <c:v>0.22707330123060401</c:v>
                </c:pt>
                <c:pt idx="12733">
                  <c:v>0.2270911360799</c:v>
                </c:pt>
                <c:pt idx="12734">
                  <c:v>0.22710897092919499</c:v>
                </c:pt>
                <c:pt idx="12735">
                  <c:v>0.22712680577849101</c:v>
                </c:pt>
                <c:pt idx="12736">
                  <c:v>0.227144640627786</c:v>
                </c:pt>
                <c:pt idx="12737">
                  <c:v>0.22716247547708199</c:v>
                </c:pt>
                <c:pt idx="12738">
                  <c:v>0.22718031032637701</c:v>
                </c:pt>
                <c:pt idx="12739">
                  <c:v>0.22719814517567299</c:v>
                </c:pt>
                <c:pt idx="12740">
                  <c:v>0.22721598002496801</c:v>
                </c:pt>
                <c:pt idx="12741">
                  <c:v>0.227233814874264</c:v>
                </c:pt>
                <c:pt idx="12742">
                  <c:v>0.22725164972355899</c:v>
                </c:pt>
                <c:pt idx="12743">
                  <c:v>0.22726948457285501</c:v>
                </c:pt>
                <c:pt idx="12744">
                  <c:v>0.22728731942215</c:v>
                </c:pt>
                <c:pt idx="12745">
                  <c:v>0.22730515427144601</c:v>
                </c:pt>
                <c:pt idx="12746">
                  <c:v>0.227322989120741</c:v>
                </c:pt>
                <c:pt idx="12747">
                  <c:v>0.22734082397003699</c:v>
                </c:pt>
                <c:pt idx="12748">
                  <c:v>0.22735865881933201</c:v>
                </c:pt>
                <c:pt idx="12749">
                  <c:v>0.227376493668628</c:v>
                </c:pt>
                <c:pt idx="12750">
                  <c:v>0.22739432851792399</c:v>
                </c:pt>
                <c:pt idx="12751">
                  <c:v>0.22741216336721901</c:v>
                </c:pt>
                <c:pt idx="12752">
                  <c:v>0.22742999821651499</c:v>
                </c:pt>
                <c:pt idx="12753">
                  <c:v>0.22744783306581001</c:v>
                </c:pt>
                <c:pt idx="12754">
                  <c:v>0.227465667915106</c:v>
                </c:pt>
                <c:pt idx="12755">
                  <c:v>0.22748350276440099</c:v>
                </c:pt>
                <c:pt idx="12756">
                  <c:v>0.22750133761369701</c:v>
                </c:pt>
                <c:pt idx="12757">
                  <c:v>0.227519172462992</c:v>
                </c:pt>
                <c:pt idx="12758">
                  <c:v>0.22753700731228799</c:v>
                </c:pt>
                <c:pt idx="12759">
                  <c:v>0.227554842161583</c:v>
                </c:pt>
                <c:pt idx="12760">
                  <c:v>0.22757267701087899</c:v>
                </c:pt>
                <c:pt idx="12761">
                  <c:v>0.22759051186017401</c:v>
                </c:pt>
                <c:pt idx="12762">
                  <c:v>0.22760834670947</c:v>
                </c:pt>
                <c:pt idx="12763">
                  <c:v>0.22762618155876499</c:v>
                </c:pt>
                <c:pt idx="12764">
                  <c:v>0.22764401640806101</c:v>
                </c:pt>
                <c:pt idx="12765">
                  <c:v>0.227661851257356</c:v>
                </c:pt>
                <c:pt idx="12766">
                  <c:v>0.22767968610665201</c:v>
                </c:pt>
                <c:pt idx="12767">
                  <c:v>0.227697520955947</c:v>
                </c:pt>
                <c:pt idx="12768">
                  <c:v>0.22771535580524299</c:v>
                </c:pt>
                <c:pt idx="12769">
                  <c:v>0.22773319065453801</c:v>
                </c:pt>
                <c:pt idx="12770">
                  <c:v>0.227751025503834</c:v>
                </c:pt>
                <c:pt idx="12771">
                  <c:v>0.22776886035312999</c:v>
                </c:pt>
                <c:pt idx="12772">
                  <c:v>0.227786695202425</c:v>
                </c:pt>
                <c:pt idx="12773">
                  <c:v>0.22780453005172099</c:v>
                </c:pt>
                <c:pt idx="12774">
                  <c:v>0.22782236490101601</c:v>
                </c:pt>
                <c:pt idx="12775">
                  <c:v>0.227840199750312</c:v>
                </c:pt>
                <c:pt idx="12776">
                  <c:v>0.22785803459960699</c:v>
                </c:pt>
                <c:pt idx="12777">
                  <c:v>0.22787586944890301</c:v>
                </c:pt>
                <c:pt idx="12778">
                  <c:v>0.227893704298198</c:v>
                </c:pt>
                <c:pt idx="12779">
                  <c:v>0.22791153914749401</c:v>
                </c:pt>
                <c:pt idx="12780">
                  <c:v>0.227929373996789</c:v>
                </c:pt>
                <c:pt idx="12781">
                  <c:v>0.22794720884608499</c:v>
                </c:pt>
                <c:pt idx="12782">
                  <c:v>0.22796504369538001</c:v>
                </c:pt>
                <c:pt idx="12783">
                  <c:v>0.227982878544676</c:v>
                </c:pt>
                <c:pt idx="12784">
                  <c:v>0.22800071339397099</c:v>
                </c:pt>
                <c:pt idx="12785">
                  <c:v>0.22801854824326701</c:v>
                </c:pt>
                <c:pt idx="12786">
                  <c:v>0.228036383092562</c:v>
                </c:pt>
                <c:pt idx="12787">
                  <c:v>0.22805421794185801</c:v>
                </c:pt>
                <c:pt idx="12788">
                  <c:v>0.228072052791153</c:v>
                </c:pt>
                <c:pt idx="12789">
                  <c:v>0.22808988764044899</c:v>
                </c:pt>
                <c:pt idx="12790">
                  <c:v>0.22810772248974401</c:v>
                </c:pt>
                <c:pt idx="12791">
                  <c:v>0.22812555733904</c:v>
                </c:pt>
                <c:pt idx="12792">
                  <c:v>0.22814339218833601</c:v>
                </c:pt>
                <c:pt idx="12793">
                  <c:v>0.228161227037631</c:v>
                </c:pt>
                <c:pt idx="12794">
                  <c:v>0.22817906188692699</c:v>
                </c:pt>
                <c:pt idx="12795">
                  <c:v>0.22819689673622201</c:v>
                </c:pt>
                <c:pt idx="12796">
                  <c:v>0.228214731585518</c:v>
                </c:pt>
                <c:pt idx="12797">
                  <c:v>0.22823256643481299</c:v>
                </c:pt>
                <c:pt idx="12798">
                  <c:v>0.22825040128410901</c:v>
                </c:pt>
                <c:pt idx="12799">
                  <c:v>0.228268236133404</c:v>
                </c:pt>
                <c:pt idx="12800">
                  <c:v>0.22828607098270001</c:v>
                </c:pt>
                <c:pt idx="12801">
                  <c:v>0.228303905831995</c:v>
                </c:pt>
                <c:pt idx="12802">
                  <c:v>0.22832174068129099</c:v>
                </c:pt>
                <c:pt idx="12803">
                  <c:v>0.22833957553058601</c:v>
                </c:pt>
                <c:pt idx="12804">
                  <c:v>0.228357410379882</c:v>
                </c:pt>
                <c:pt idx="12805">
                  <c:v>0.22837524522917699</c:v>
                </c:pt>
                <c:pt idx="12806">
                  <c:v>0.228393080078473</c:v>
                </c:pt>
                <c:pt idx="12807">
                  <c:v>0.22841091492776799</c:v>
                </c:pt>
                <c:pt idx="12808">
                  <c:v>0.22842874977706401</c:v>
                </c:pt>
                <c:pt idx="12809">
                  <c:v>0.228446584626359</c:v>
                </c:pt>
                <c:pt idx="12810">
                  <c:v>0.22846441947565499</c:v>
                </c:pt>
                <c:pt idx="12811">
                  <c:v>0.22848225432495001</c:v>
                </c:pt>
                <c:pt idx="12812">
                  <c:v>0.228500089174246</c:v>
                </c:pt>
                <c:pt idx="12813">
                  <c:v>0.22851792402354201</c:v>
                </c:pt>
                <c:pt idx="12814">
                  <c:v>0.228535758872837</c:v>
                </c:pt>
                <c:pt idx="12815">
                  <c:v>0.22855359372213299</c:v>
                </c:pt>
                <c:pt idx="12816">
                  <c:v>0.22857142857142801</c:v>
                </c:pt>
                <c:pt idx="12817">
                  <c:v>0.228589263420724</c:v>
                </c:pt>
                <c:pt idx="12818">
                  <c:v>0.22860709827001899</c:v>
                </c:pt>
                <c:pt idx="12819">
                  <c:v>0.228624933119315</c:v>
                </c:pt>
                <c:pt idx="12820">
                  <c:v>0.22864276796860999</c:v>
                </c:pt>
                <c:pt idx="12821">
                  <c:v>0.22866060281790601</c:v>
                </c:pt>
                <c:pt idx="12822">
                  <c:v>0.228678437667201</c:v>
                </c:pt>
                <c:pt idx="12823">
                  <c:v>0.22869627251649699</c:v>
                </c:pt>
                <c:pt idx="12824">
                  <c:v>0.22871410736579201</c:v>
                </c:pt>
                <c:pt idx="12825">
                  <c:v>0.228731942215088</c:v>
                </c:pt>
                <c:pt idx="12826">
                  <c:v>0.22874977706438299</c:v>
                </c:pt>
                <c:pt idx="12827">
                  <c:v>0.228767611913679</c:v>
                </c:pt>
                <c:pt idx="12828">
                  <c:v>0.22878544676297399</c:v>
                </c:pt>
                <c:pt idx="12829">
                  <c:v>0.22880328161227001</c:v>
                </c:pt>
                <c:pt idx="12830">
                  <c:v>0.228821116461565</c:v>
                </c:pt>
                <c:pt idx="12831">
                  <c:v>0.22883895131086099</c:v>
                </c:pt>
                <c:pt idx="12832">
                  <c:v>0.22885678616015601</c:v>
                </c:pt>
                <c:pt idx="12833">
                  <c:v>0.228874621009452</c:v>
                </c:pt>
                <c:pt idx="12834">
                  <c:v>0.22889245585874701</c:v>
                </c:pt>
                <c:pt idx="12835">
                  <c:v>0.228910290708043</c:v>
                </c:pt>
                <c:pt idx="12836">
                  <c:v>0.22892812555733899</c:v>
                </c:pt>
                <c:pt idx="12837">
                  <c:v>0.22894596040663401</c:v>
                </c:pt>
                <c:pt idx="12838">
                  <c:v>0.22896379525593</c:v>
                </c:pt>
                <c:pt idx="12839">
                  <c:v>0.22898163010522499</c:v>
                </c:pt>
                <c:pt idx="12840">
                  <c:v>0.228999464954521</c:v>
                </c:pt>
                <c:pt idx="12841">
                  <c:v>0.22901729980381599</c:v>
                </c:pt>
                <c:pt idx="12842">
                  <c:v>0.22903513465311201</c:v>
                </c:pt>
                <c:pt idx="12843">
                  <c:v>0.229052969502407</c:v>
                </c:pt>
                <c:pt idx="12844">
                  <c:v>0.22907080435170299</c:v>
                </c:pt>
                <c:pt idx="12845">
                  <c:v>0.22908863920099801</c:v>
                </c:pt>
                <c:pt idx="12846">
                  <c:v>0.229106474050294</c:v>
                </c:pt>
                <c:pt idx="12847">
                  <c:v>0.22912430889958901</c:v>
                </c:pt>
                <c:pt idx="12848">
                  <c:v>0.229142143748885</c:v>
                </c:pt>
                <c:pt idx="12849">
                  <c:v>0.22915997859817999</c:v>
                </c:pt>
                <c:pt idx="12850">
                  <c:v>0.22917781344747601</c:v>
                </c:pt>
                <c:pt idx="12851">
                  <c:v>0.229195648296771</c:v>
                </c:pt>
                <c:pt idx="12852">
                  <c:v>0.22921348314606699</c:v>
                </c:pt>
                <c:pt idx="12853">
                  <c:v>0.22923131799536201</c:v>
                </c:pt>
                <c:pt idx="12854">
                  <c:v>0.22924915284465799</c:v>
                </c:pt>
                <c:pt idx="12855">
                  <c:v>0.22926698769395301</c:v>
                </c:pt>
                <c:pt idx="12856">
                  <c:v>0.229284822543249</c:v>
                </c:pt>
                <c:pt idx="12857">
                  <c:v>0.22930265739254499</c:v>
                </c:pt>
                <c:pt idx="12858">
                  <c:v>0.22932049224184001</c:v>
                </c:pt>
                <c:pt idx="12859">
                  <c:v>0.229338327091136</c:v>
                </c:pt>
                <c:pt idx="12860">
                  <c:v>0.22935616194043101</c:v>
                </c:pt>
                <c:pt idx="12861">
                  <c:v>0.229373996789727</c:v>
                </c:pt>
                <c:pt idx="12862">
                  <c:v>0.22939183163902199</c:v>
                </c:pt>
                <c:pt idx="12863">
                  <c:v>0.22940966648831801</c:v>
                </c:pt>
                <c:pt idx="12864">
                  <c:v>0.229427501337613</c:v>
                </c:pt>
                <c:pt idx="12865">
                  <c:v>0.22944533618690899</c:v>
                </c:pt>
                <c:pt idx="12866">
                  <c:v>0.22946317103620401</c:v>
                </c:pt>
                <c:pt idx="12867">
                  <c:v>0.22948100588549999</c:v>
                </c:pt>
                <c:pt idx="12868">
                  <c:v>0.22949884073479501</c:v>
                </c:pt>
                <c:pt idx="12869">
                  <c:v>0.229516675584091</c:v>
                </c:pt>
                <c:pt idx="12870">
                  <c:v>0.22953451043338599</c:v>
                </c:pt>
                <c:pt idx="12871">
                  <c:v>0.22955234528268201</c:v>
                </c:pt>
                <c:pt idx="12872">
                  <c:v>0.229570180131977</c:v>
                </c:pt>
                <c:pt idx="12873">
                  <c:v>0.22958801498127299</c:v>
                </c:pt>
                <c:pt idx="12874">
                  <c:v>0.229605849830568</c:v>
                </c:pt>
                <c:pt idx="12875">
                  <c:v>0.22962368467986399</c:v>
                </c:pt>
                <c:pt idx="12876">
                  <c:v>0.22964151952915901</c:v>
                </c:pt>
                <c:pt idx="12877">
                  <c:v>0.229659354378455</c:v>
                </c:pt>
                <c:pt idx="12878">
                  <c:v>0.22967718922775099</c:v>
                </c:pt>
                <c:pt idx="12879">
                  <c:v>0.22969502407704601</c:v>
                </c:pt>
                <c:pt idx="12880">
                  <c:v>0.229712858926342</c:v>
                </c:pt>
                <c:pt idx="12881">
                  <c:v>0.22973069377563701</c:v>
                </c:pt>
                <c:pt idx="12882">
                  <c:v>0.229748528624933</c:v>
                </c:pt>
                <c:pt idx="12883">
                  <c:v>0.22976636347422799</c:v>
                </c:pt>
                <c:pt idx="12884">
                  <c:v>0.22978419832352401</c:v>
                </c:pt>
                <c:pt idx="12885">
                  <c:v>0.229802033172819</c:v>
                </c:pt>
                <c:pt idx="12886">
                  <c:v>0.22981986802211499</c:v>
                </c:pt>
                <c:pt idx="12887">
                  <c:v>0.22983770287141</c:v>
                </c:pt>
                <c:pt idx="12888">
                  <c:v>0.22985553772070599</c:v>
                </c:pt>
                <c:pt idx="12889">
                  <c:v>0.22987337257000101</c:v>
                </c:pt>
                <c:pt idx="12890">
                  <c:v>0.229891207419297</c:v>
                </c:pt>
                <c:pt idx="12891">
                  <c:v>0.22990904226859199</c:v>
                </c:pt>
                <c:pt idx="12892">
                  <c:v>0.22992687711788801</c:v>
                </c:pt>
                <c:pt idx="12893">
                  <c:v>0.229944711967183</c:v>
                </c:pt>
                <c:pt idx="12894">
                  <c:v>0.22996254681647901</c:v>
                </c:pt>
                <c:pt idx="12895">
                  <c:v>0.229980381665774</c:v>
                </c:pt>
                <c:pt idx="12896">
                  <c:v>0.22999821651506999</c:v>
                </c:pt>
                <c:pt idx="12897">
                  <c:v>0.23001605136436501</c:v>
                </c:pt>
                <c:pt idx="12898">
                  <c:v>0.230033886213661</c:v>
                </c:pt>
                <c:pt idx="12899">
                  <c:v>0.23005172106295699</c:v>
                </c:pt>
                <c:pt idx="12900">
                  <c:v>0.23006955591225201</c:v>
                </c:pt>
                <c:pt idx="12901">
                  <c:v>0.23008739076154799</c:v>
                </c:pt>
                <c:pt idx="12902">
                  <c:v>0.23010522561084301</c:v>
                </c:pt>
                <c:pt idx="12903">
                  <c:v>0.230123060460139</c:v>
                </c:pt>
                <c:pt idx="12904">
                  <c:v>0.23014089530943399</c:v>
                </c:pt>
                <c:pt idx="12905">
                  <c:v>0.23015873015873001</c:v>
                </c:pt>
                <c:pt idx="12906">
                  <c:v>0.230176565008025</c:v>
                </c:pt>
                <c:pt idx="12907">
                  <c:v>0.23019439985732101</c:v>
                </c:pt>
                <c:pt idx="12908">
                  <c:v>0.230212234706616</c:v>
                </c:pt>
                <c:pt idx="12909">
                  <c:v>0.23023006955591199</c:v>
                </c:pt>
                <c:pt idx="12910">
                  <c:v>0.23024790440520701</c:v>
                </c:pt>
                <c:pt idx="12911">
                  <c:v>0.230265739254503</c:v>
                </c:pt>
                <c:pt idx="12912">
                  <c:v>0.23028357410379799</c:v>
                </c:pt>
                <c:pt idx="12913">
                  <c:v>0.23030140895309401</c:v>
                </c:pt>
                <c:pt idx="12914">
                  <c:v>0.230319243802389</c:v>
                </c:pt>
                <c:pt idx="12915">
                  <c:v>0.23033707865168501</c:v>
                </c:pt>
                <c:pt idx="12916">
                  <c:v>0.23035491350098</c:v>
                </c:pt>
                <c:pt idx="12917">
                  <c:v>0.23037274835027599</c:v>
                </c:pt>
                <c:pt idx="12918">
                  <c:v>0.23039058319957101</c:v>
                </c:pt>
                <c:pt idx="12919">
                  <c:v>0.230408418048867</c:v>
                </c:pt>
                <c:pt idx="12920">
                  <c:v>0.23042625289816299</c:v>
                </c:pt>
                <c:pt idx="12921">
                  <c:v>0.230444087747458</c:v>
                </c:pt>
                <c:pt idx="12922">
                  <c:v>0.23046192259675399</c:v>
                </c:pt>
                <c:pt idx="12923">
                  <c:v>0.23047975744604901</c:v>
                </c:pt>
                <c:pt idx="12924">
                  <c:v>0.230497592295345</c:v>
                </c:pt>
                <c:pt idx="12925">
                  <c:v>0.23051542714463999</c:v>
                </c:pt>
                <c:pt idx="12926">
                  <c:v>0.23053326199393601</c:v>
                </c:pt>
                <c:pt idx="12927">
                  <c:v>0.230551096843231</c:v>
                </c:pt>
                <c:pt idx="12928">
                  <c:v>0.23056893169252701</c:v>
                </c:pt>
                <c:pt idx="12929">
                  <c:v>0.230586766541822</c:v>
                </c:pt>
                <c:pt idx="12930">
                  <c:v>0.23060460139111799</c:v>
                </c:pt>
                <c:pt idx="12931">
                  <c:v>0.23062243624041301</c:v>
                </c:pt>
                <c:pt idx="12932">
                  <c:v>0.230640271089709</c:v>
                </c:pt>
                <c:pt idx="12933">
                  <c:v>0.23065810593900399</c:v>
                </c:pt>
                <c:pt idx="12934">
                  <c:v>0.2306759407883</c:v>
                </c:pt>
                <c:pt idx="12935">
                  <c:v>0.23069377563759499</c:v>
                </c:pt>
                <c:pt idx="12936">
                  <c:v>0.23071161048689101</c:v>
                </c:pt>
                <c:pt idx="12937">
                  <c:v>0.230729445336186</c:v>
                </c:pt>
                <c:pt idx="12938">
                  <c:v>0.23074728018548199</c:v>
                </c:pt>
                <c:pt idx="12939">
                  <c:v>0.23076511503477701</c:v>
                </c:pt>
                <c:pt idx="12940">
                  <c:v>0.230782949884073</c:v>
                </c:pt>
                <c:pt idx="12941">
                  <c:v>0.23080078473336901</c:v>
                </c:pt>
                <c:pt idx="12942">
                  <c:v>0.230818619582664</c:v>
                </c:pt>
                <c:pt idx="12943">
                  <c:v>0.23083645443195999</c:v>
                </c:pt>
                <c:pt idx="12944">
                  <c:v>0.23085428928125501</c:v>
                </c:pt>
                <c:pt idx="12945">
                  <c:v>0.230872124130551</c:v>
                </c:pt>
                <c:pt idx="12946">
                  <c:v>0.23088995897984599</c:v>
                </c:pt>
                <c:pt idx="12947">
                  <c:v>0.23090779382914201</c:v>
                </c:pt>
                <c:pt idx="12948">
                  <c:v>0.23092562867843699</c:v>
                </c:pt>
                <c:pt idx="12949">
                  <c:v>0.23094346352773301</c:v>
                </c:pt>
                <c:pt idx="12950">
                  <c:v>0.230961298377028</c:v>
                </c:pt>
                <c:pt idx="12951">
                  <c:v>0.23097913322632399</c:v>
                </c:pt>
                <c:pt idx="12952">
                  <c:v>0.23099696807561901</c:v>
                </c:pt>
                <c:pt idx="12953">
                  <c:v>0.231014802924915</c:v>
                </c:pt>
                <c:pt idx="12954">
                  <c:v>0.23103263777420999</c:v>
                </c:pt>
                <c:pt idx="12955">
                  <c:v>0.231050472623506</c:v>
                </c:pt>
                <c:pt idx="12956">
                  <c:v>0.23106830747280099</c:v>
                </c:pt>
                <c:pt idx="12957">
                  <c:v>0.23108614232209701</c:v>
                </c:pt>
                <c:pt idx="12958">
                  <c:v>0.231103977171392</c:v>
                </c:pt>
                <c:pt idx="12959">
                  <c:v>0.23112181202068799</c:v>
                </c:pt>
                <c:pt idx="12960">
                  <c:v>0.23113964686998301</c:v>
                </c:pt>
                <c:pt idx="12961">
                  <c:v>0.231157481719279</c:v>
                </c:pt>
                <c:pt idx="12962">
                  <c:v>0.23117531656857401</c:v>
                </c:pt>
                <c:pt idx="12963">
                  <c:v>0.23119315141787</c:v>
                </c:pt>
                <c:pt idx="12964">
                  <c:v>0.23121098626716599</c:v>
                </c:pt>
                <c:pt idx="12965">
                  <c:v>0.23122882111646101</c:v>
                </c:pt>
                <c:pt idx="12966">
                  <c:v>0.231246655965757</c:v>
                </c:pt>
                <c:pt idx="12967">
                  <c:v>0.23126449081505199</c:v>
                </c:pt>
                <c:pt idx="12968">
                  <c:v>0.231282325664348</c:v>
                </c:pt>
                <c:pt idx="12969">
                  <c:v>0.23130016051364299</c:v>
                </c:pt>
                <c:pt idx="12970">
                  <c:v>0.23131799536293901</c:v>
                </c:pt>
                <c:pt idx="12971">
                  <c:v>0.231335830212234</c:v>
                </c:pt>
                <c:pt idx="12972">
                  <c:v>0.23135366506152999</c:v>
                </c:pt>
                <c:pt idx="12973">
                  <c:v>0.23137149991082501</c:v>
                </c:pt>
                <c:pt idx="12974">
                  <c:v>0.231389334760121</c:v>
                </c:pt>
                <c:pt idx="12975">
                  <c:v>0.23140716960941601</c:v>
                </c:pt>
                <c:pt idx="12976">
                  <c:v>0.231425004458712</c:v>
                </c:pt>
                <c:pt idx="12977">
                  <c:v>0.23144283930800699</c:v>
                </c:pt>
                <c:pt idx="12978">
                  <c:v>0.23146067415730301</c:v>
                </c:pt>
                <c:pt idx="12979">
                  <c:v>0.231478509006598</c:v>
                </c:pt>
                <c:pt idx="12980">
                  <c:v>0.23149634385589399</c:v>
                </c:pt>
                <c:pt idx="12981">
                  <c:v>0.23151417870518901</c:v>
                </c:pt>
                <c:pt idx="12982">
                  <c:v>0.23153201355448499</c:v>
                </c:pt>
                <c:pt idx="12983">
                  <c:v>0.23154984840378001</c:v>
                </c:pt>
                <c:pt idx="12984">
                  <c:v>0.231567683253076</c:v>
                </c:pt>
                <c:pt idx="12985">
                  <c:v>0.23158551810237199</c:v>
                </c:pt>
                <c:pt idx="12986">
                  <c:v>0.23160335295166701</c:v>
                </c:pt>
                <c:pt idx="12987">
                  <c:v>0.231621187800963</c:v>
                </c:pt>
                <c:pt idx="12988">
                  <c:v>0.23163902265025799</c:v>
                </c:pt>
                <c:pt idx="12989">
                  <c:v>0.231656857499554</c:v>
                </c:pt>
                <c:pt idx="12990">
                  <c:v>0.23167469234884899</c:v>
                </c:pt>
                <c:pt idx="12991">
                  <c:v>0.23169252719814501</c:v>
                </c:pt>
                <c:pt idx="12992">
                  <c:v>0.23171036204744</c:v>
                </c:pt>
                <c:pt idx="12993">
                  <c:v>0.23172819689673599</c:v>
                </c:pt>
                <c:pt idx="12994">
                  <c:v>0.23174603174603101</c:v>
                </c:pt>
                <c:pt idx="12995">
                  <c:v>0.23176386659532699</c:v>
                </c:pt>
                <c:pt idx="12996">
                  <c:v>0.23178170144462201</c:v>
                </c:pt>
                <c:pt idx="12997">
                  <c:v>0.231799536293918</c:v>
                </c:pt>
                <c:pt idx="12998">
                  <c:v>0.23181737114321299</c:v>
                </c:pt>
                <c:pt idx="12999">
                  <c:v>0.23183520599250901</c:v>
                </c:pt>
                <c:pt idx="13000">
                  <c:v>0.231853040841804</c:v>
                </c:pt>
                <c:pt idx="13001">
                  <c:v>0.23187087569109999</c:v>
                </c:pt>
                <c:pt idx="13002">
                  <c:v>0.231888710540395</c:v>
                </c:pt>
                <c:pt idx="13003">
                  <c:v>0.23190654538969099</c:v>
                </c:pt>
                <c:pt idx="13004">
                  <c:v>0.23192438023898601</c:v>
                </c:pt>
                <c:pt idx="13005">
                  <c:v>0.231942215088282</c:v>
                </c:pt>
                <c:pt idx="13006">
                  <c:v>0.23196004993757799</c:v>
                </c:pt>
                <c:pt idx="13007">
                  <c:v>0.23197788478687301</c:v>
                </c:pt>
                <c:pt idx="13008">
                  <c:v>0.231995719636169</c:v>
                </c:pt>
                <c:pt idx="13009">
                  <c:v>0.23201355448546401</c:v>
                </c:pt>
                <c:pt idx="13010">
                  <c:v>0.23203138933476</c:v>
                </c:pt>
                <c:pt idx="13011">
                  <c:v>0.23204922418405499</c:v>
                </c:pt>
                <c:pt idx="13012">
                  <c:v>0.23206705903335101</c:v>
                </c:pt>
                <c:pt idx="13013">
                  <c:v>0.232084893882646</c:v>
                </c:pt>
                <c:pt idx="13014">
                  <c:v>0.23210272873194199</c:v>
                </c:pt>
                <c:pt idx="13015">
                  <c:v>0.232120563581237</c:v>
                </c:pt>
                <c:pt idx="13016">
                  <c:v>0.23213839843053299</c:v>
                </c:pt>
                <c:pt idx="13017">
                  <c:v>0.23215623327982801</c:v>
                </c:pt>
                <c:pt idx="13018">
                  <c:v>0.232174068129124</c:v>
                </c:pt>
                <c:pt idx="13019">
                  <c:v>0.23219190297841899</c:v>
                </c:pt>
                <c:pt idx="13020">
                  <c:v>0.23220973782771501</c:v>
                </c:pt>
                <c:pt idx="13021">
                  <c:v>0.23222757267701</c:v>
                </c:pt>
                <c:pt idx="13022">
                  <c:v>0.23224540752630601</c:v>
                </c:pt>
                <c:pt idx="13023">
                  <c:v>0.232263242375601</c:v>
                </c:pt>
                <c:pt idx="13024">
                  <c:v>0.23228107722489699</c:v>
                </c:pt>
                <c:pt idx="13025">
                  <c:v>0.23229891207419201</c:v>
                </c:pt>
                <c:pt idx="13026">
                  <c:v>0.232316746923488</c:v>
                </c:pt>
                <c:pt idx="13027">
                  <c:v>0.23233458177278399</c:v>
                </c:pt>
                <c:pt idx="13028">
                  <c:v>0.23235241662207901</c:v>
                </c:pt>
                <c:pt idx="13029">
                  <c:v>0.23237025147137499</c:v>
                </c:pt>
                <c:pt idx="13030">
                  <c:v>0.23238808632067001</c:v>
                </c:pt>
                <c:pt idx="13031">
                  <c:v>0.232405921169966</c:v>
                </c:pt>
                <c:pt idx="13032">
                  <c:v>0.23242375601926099</c:v>
                </c:pt>
                <c:pt idx="13033">
                  <c:v>0.23244159086855701</c:v>
                </c:pt>
                <c:pt idx="13034">
                  <c:v>0.232459425717852</c:v>
                </c:pt>
                <c:pt idx="13035">
                  <c:v>0.23247726056714799</c:v>
                </c:pt>
                <c:pt idx="13036">
                  <c:v>0.232495095416443</c:v>
                </c:pt>
                <c:pt idx="13037">
                  <c:v>0.23251293026573899</c:v>
                </c:pt>
                <c:pt idx="13038">
                  <c:v>0.23253076511503401</c:v>
                </c:pt>
                <c:pt idx="13039">
                  <c:v>0.23254859996433</c:v>
                </c:pt>
                <c:pt idx="13040">
                  <c:v>0.23256643481362499</c:v>
                </c:pt>
                <c:pt idx="13041">
                  <c:v>0.23258426966292101</c:v>
                </c:pt>
                <c:pt idx="13042">
                  <c:v>0.232602104512216</c:v>
                </c:pt>
                <c:pt idx="13043">
                  <c:v>0.23261993936151201</c:v>
                </c:pt>
                <c:pt idx="13044">
                  <c:v>0.232637774210807</c:v>
                </c:pt>
                <c:pt idx="13045">
                  <c:v>0.23265560906010299</c:v>
                </c:pt>
                <c:pt idx="13046">
                  <c:v>0.23267344390939801</c:v>
                </c:pt>
                <c:pt idx="13047">
                  <c:v>0.232691278758694</c:v>
                </c:pt>
                <c:pt idx="13048">
                  <c:v>0.23270911360798999</c:v>
                </c:pt>
                <c:pt idx="13049">
                  <c:v>0.232726948457285</c:v>
                </c:pt>
                <c:pt idx="13050">
                  <c:v>0.23274478330658099</c:v>
                </c:pt>
                <c:pt idx="13051">
                  <c:v>0.23276261815587601</c:v>
                </c:pt>
                <c:pt idx="13052">
                  <c:v>0.232780453005172</c:v>
                </c:pt>
                <c:pt idx="13053">
                  <c:v>0.23279828785446699</c:v>
                </c:pt>
                <c:pt idx="13054">
                  <c:v>0.23281612270376301</c:v>
                </c:pt>
                <c:pt idx="13055">
                  <c:v>0.232833957553058</c:v>
                </c:pt>
                <c:pt idx="13056">
                  <c:v>0.23285179240235401</c:v>
                </c:pt>
                <c:pt idx="13057">
                  <c:v>0.232869627251649</c:v>
                </c:pt>
                <c:pt idx="13058">
                  <c:v>0.23288746210094499</c:v>
                </c:pt>
                <c:pt idx="13059">
                  <c:v>0.23290529695024001</c:v>
                </c:pt>
                <c:pt idx="13060">
                  <c:v>0.232923131799536</c:v>
                </c:pt>
                <c:pt idx="13061">
                  <c:v>0.23294096664883099</c:v>
                </c:pt>
                <c:pt idx="13062">
                  <c:v>0.232958801498127</c:v>
                </c:pt>
                <c:pt idx="13063">
                  <c:v>0.23297663634742199</c:v>
                </c:pt>
                <c:pt idx="13064">
                  <c:v>0.23299447119671801</c:v>
                </c:pt>
                <c:pt idx="13065">
                  <c:v>0.233012306046013</c:v>
                </c:pt>
                <c:pt idx="13066">
                  <c:v>0.23303014089530899</c:v>
                </c:pt>
                <c:pt idx="13067">
                  <c:v>0.23304797574460401</c:v>
                </c:pt>
                <c:pt idx="13068">
                  <c:v>0.2330658105939</c:v>
                </c:pt>
                <c:pt idx="13069">
                  <c:v>0.23308364544319601</c:v>
                </c:pt>
                <c:pt idx="13070">
                  <c:v>0.233101480292491</c:v>
                </c:pt>
                <c:pt idx="13071">
                  <c:v>0.23311931514178699</c:v>
                </c:pt>
                <c:pt idx="13072">
                  <c:v>0.23313714999108201</c:v>
                </c:pt>
                <c:pt idx="13073">
                  <c:v>0.233154984840378</c:v>
                </c:pt>
                <c:pt idx="13074">
                  <c:v>0.23317281968967299</c:v>
                </c:pt>
                <c:pt idx="13075">
                  <c:v>0.23319065453896901</c:v>
                </c:pt>
                <c:pt idx="13076">
                  <c:v>0.233208489388264</c:v>
                </c:pt>
                <c:pt idx="13077">
                  <c:v>0.23322632423756001</c:v>
                </c:pt>
                <c:pt idx="13078">
                  <c:v>0.233244159086855</c:v>
                </c:pt>
                <c:pt idx="13079">
                  <c:v>0.23326199393615099</c:v>
                </c:pt>
                <c:pt idx="13080">
                  <c:v>0.23327982878544601</c:v>
                </c:pt>
                <c:pt idx="13081">
                  <c:v>0.233297663634742</c:v>
                </c:pt>
                <c:pt idx="13082">
                  <c:v>0.23331549848403699</c:v>
                </c:pt>
                <c:pt idx="13083">
                  <c:v>0.233333333333333</c:v>
                </c:pt>
                <c:pt idx="13084">
                  <c:v>0.23335116818262799</c:v>
                </c:pt>
                <c:pt idx="13085">
                  <c:v>0.23336900303192401</c:v>
                </c:pt>
                <c:pt idx="13086">
                  <c:v>0.233386837881219</c:v>
                </c:pt>
                <c:pt idx="13087">
                  <c:v>0.23340467273051499</c:v>
                </c:pt>
                <c:pt idx="13088">
                  <c:v>0.23342250757981001</c:v>
                </c:pt>
                <c:pt idx="13089">
                  <c:v>0.233440342429106</c:v>
                </c:pt>
                <c:pt idx="13090">
                  <c:v>0.23345817727840101</c:v>
                </c:pt>
                <c:pt idx="13091">
                  <c:v>0.233476012127697</c:v>
                </c:pt>
                <c:pt idx="13092">
                  <c:v>0.23349384697699299</c:v>
                </c:pt>
                <c:pt idx="13093">
                  <c:v>0.23351168182628801</c:v>
                </c:pt>
                <c:pt idx="13094">
                  <c:v>0.233529516675584</c:v>
                </c:pt>
                <c:pt idx="13095">
                  <c:v>0.23354735152487899</c:v>
                </c:pt>
                <c:pt idx="13096">
                  <c:v>0.233565186374175</c:v>
                </c:pt>
                <c:pt idx="13097">
                  <c:v>0.23358302122346999</c:v>
                </c:pt>
                <c:pt idx="13098">
                  <c:v>0.23360085607276601</c:v>
                </c:pt>
                <c:pt idx="13099">
                  <c:v>0.233618690922061</c:v>
                </c:pt>
                <c:pt idx="13100">
                  <c:v>0.23363652577135699</c:v>
                </c:pt>
                <c:pt idx="13101">
                  <c:v>0.23365436062065201</c:v>
                </c:pt>
                <c:pt idx="13102">
                  <c:v>0.233672195469948</c:v>
                </c:pt>
                <c:pt idx="13103">
                  <c:v>0.23369003031924299</c:v>
                </c:pt>
                <c:pt idx="13104">
                  <c:v>0.233707865168539</c:v>
                </c:pt>
                <c:pt idx="13105">
                  <c:v>0.23372570001783399</c:v>
                </c:pt>
                <c:pt idx="13106">
                  <c:v>0.23374353486713001</c:v>
                </c:pt>
                <c:pt idx="13107">
                  <c:v>0.233761369716425</c:v>
                </c:pt>
                <c:pt idx="13108">
                  <c:v>0.23377920456572099</c:v>
                </c:pt>
                <c:pt idx="13109">
                  <c:v>0.23379703941501601</c:v>
                </c:pt>
                <c:pt idx="13110">
                  <c:v>0.23381487426431199</c:v>
                </c:pt>
                <c:pt idx="13111">
                  <c:v>0.23383270911360701</c:v>
                </c:pt>
                <c:pt idx="13112">
                  <c:v>0.233850543962903</c:v>
                </c:pt>
                <c:pt idx="13113">
                  <c:v>0.23386837881219899</c:v>
                </c:pt>
                <c:pt idx="13114">
                  <c:v>0.23388621366149401</c:v>
                </c:pt>
                <c:pt idx="13115">
                  <c:v>0.23390404851079</c:v>
                </c:pt>
                <c:pt idx="13116">
                  <c:v>0.23392188336008499</c:v>
                </c:pt>
                <c:pt idx="13117">
                  <c:v>0.233939718209381</c:v>
                </c:pt>
                <c:pt idx="13118">
                  <c:v>0.23395755305867599</c:v>
                </c:pt>
                <c:pt idx="13119">
                  <c:v>0.23397538790797201</c:v>
                </c:pt>
                <c:pt idx="13120">
                  <c:v>0.233993222757267</c:v>
                </c:pt>
                <c:pt idx="13121">
                  <c:v>0.23401105760656299</c:v>
                </c:pt>
                <c:pt idx="13122">
                  <c:v>0.23402889245585801</c:v>
                </c:pt>
                <c:pt idx="13123">
                  <c:v>0.234046727305154</c:v>
                </c:pt>
                <c:pt idx="13124">
                  <c:v>0.23406456215444901</c:v>
                </c:pt>
                <c:pt idx="13125">
                  <c:v>0.234082397003745</c:v>
                </c:pt>
                <c:pt idx="13126">
                  <c:v>0.23410023185303999</c:v>
                </c:pt>
                <c:pt idx="13127">
                  <c:v>0.23411806670233601</c:v>
                </c:pt>
                <c:pt idx="13128">
                  <c:v>0.234135901551631</c:v>
                </c:pt>
                <c:pt idx="13129">
                  <c:v>0.23415373640092699</c:v>
                </c:pt>
                <c:pt idx="13130">
                  <c:v>0.234171571250222</c:v>
                </c:pt>
                <c:pt idx="13131">
                  <c:v>0.23418940609951799</c:v>
                </c:pt>
                <c:pt idx="13132">
                  <c:v>0.23420724094881301</c:v>
                </c:pt>
                <c:pt idx="13133">
                  <c:v>0.234225075798109</c:v>
                </c:pt>
                <c:pt idx="13134">
                  <c:v>0.23424291064740499</c:v>
                </c:pt>
                <c:pt idx="13135">
                  <c:v>0.23426074549670001</c:v>
                </c:pt>
                <c:pt idx="13136">
                  <c:v>0.234278580345996</c:v>
                </c:pt>
                <c:pt idx="13137">
                  <c:v>0.23429641519529101</c:v>
                </c:pt>
                <c:pt idx="13138">
                  <c:v>0.234314250044587</c:v>
                </c:pt>
                <c:pt idx="13139">
                  <c:v>0.23433208489388199</c:v>
                </c:pt>
                <c:pt idx="13140">
                  <c:v>0.23434991974317801</c:v>
                </c:pt>
                <c:pt idx="13141">
                  <c:v>0.234367754592473</c:v>
                </c:pt>
                <c:pt idx="13142">
                  <c:v>0.23438558944176899</c:v>
                </c:pt>
                <c:pt idx="13143">
                  <c:v>0.23440342429106401</c:v>
                </c:pt>
                <c:pt idx="13144">
                  <c:v>0.23442125914035999</c:v>
                </c:pt>
                <c:pt idx="13145">
                  <c:v>0.23443909398965501</c:v>
                </c:pt>
                <c:pt idx="13146">
                  <c:v>0.234456928838951</c:v>
                </c:pt>
                <c:pt idx="13147">
                  <c:v>0.23447476368824599</c:v>
                </c:pt>
                <c:pt idx="13148">
                  <c:v>0.23449259853754201</c:v>
                </c:pt>
                <c:pt idx="13149">
                  <c:v>0.234510433386837</c:v>
                </c:pt>
                <c:pt idx="13150">
                  <c:v>0.23452826823613299</c:v>
                </c:pt>
                <c:pt idx="13151">
                  <c:v>0.234546103085428</c:v>
                </c:pt>
                <c:pt idx="13152">
                  <c:v>0.23456393793472399</c:v>
                </c:pt>
                <c:pt idx="13153">
                  <c:v>0.23458177278401901</c:v>
                </c:pt>
                <c:pt idx="13154">
                  <c:v>0.234599607633315</c:v>
                </c:pt>
                <c:pt idx="13155">
                  <c:v>0.23461744248261099</c:v>
                </c:pt>
                <c:pt idx="13156">
                  <c:v>0.23463527733190601</c:v>
                </c:pt>
                <c:pt idx="13157">
                  <c:v>0.23465311218120199</c:v>
                </c:pt>
                <c:pt idx="13158">
                  <c:v>0.23467094703049701</c:v>
                </c:pt>
                <c:pt idx="13159">
                  <c:v>0.234688781879793</c:v>
                </c:pt>
                <c:pt idx="13160">
                  <c:v>0.23470661672908799</c:v>
                </c:pt>
                <c:pt idx="13161">
                  <c:v>0.23472445157838401</c:v>
                </c:pt>
                <c:pt idx="13162">
                  <c:v>0.234742286427679</c:v>
                </c:pt>
                <c:pt idx="13163">
                  <c:v>0.23476012127697499</c:v>
                </c:pt>
                <c:pt idx="13164">
                  <c:v>0.23477795612627</c:v>
                </c:pt>
                <c:pt idx="13165">
                  <c:v>0.23479579097556599</c:v>
                </c:pt>
                <c:pt idx="13166">
                  <c:v>0.23481362582486101</c:v>
                </c:pt>
                <c:pt idx="13167">
                  <c:v>0.234831460674157</c:v>
                </c:pt>
                <c:pt idx="13168">
                  <c:v>0.23484929552345199</c:v>
                </c:pt>
                <c:pt idx="13169">
                  <c:v>0.23486713037274801</c:v>
                </c:pt>
                <c:pt idx="13170">
                  <c:v>0.234884965222043</c:v>
                </c:pt>
                <c:pt idx="13171">
                  <c:v>0.23490280007133901</c:v>
                </c:pt>
                <c:pt idx="13172">
                  <c:v>0.234920634920634</c:v>
                </c:pt>
                <c:pt idx="13173">
                  <c:v>0.23493846976992999</c:v>
                </c:pt>
                <c:pt idx="13174">
                  <c:v>0.23495630461922501</c:v>
                </c:pt>
                <c:pt idx="13175">
                  <c:v>0.234974139468521</c:v>
                </c:pt>
                <c:pt idx="13176">
                  <c:v>0.23499197431781699</c:v>
                </c:pt>
                <c:pt idx="13177">
                  <c:v>0.235009809167112</c:v>
                </c:pt>
                <c:pt idx="13178">
                  <c:v>0.23502764401640799</c:v>
                </c:pt>
                <c:pt idx="13179">
                  <c:v>0.23504547886570301</c:v>
                </c:pt>
                <c:pt idx="13180">
                  <c:v>0.235063313714999</c:v>
                </c:pt>
                <c:pt idx="13181">
                  <c:v>0.23508114856429399</c:v>
                </c:pt>
                <c:pt idx="13182">
                  <c:v>0.23509898341359001</c:v>
                </c:pt>
                <c:pt idx="13183">
                  <c:v>0.235116818262885</c:v>
                </c:pt>
                <c:pt idx="13184">
                  <c:v>0.23513465311218101</c:v>
                </c:pt>
                <c:pt idx="13185">
                  <c:v>0.235152487961476</c:v>
                </c:pt>
                <c:pt idx="13186">
                  <c:v>0.23517032281077199</c:v>
                </c:pt>
                <c:pt idx="13187">
                  <c:v>0.23518815766006701</c:v>
                </c:pt>
                <c:pt idx="13188">
                  <c:v>0.235205992509363</c:v>
                </c:pt>
                <c:pt idx="13189">
                  <c:v>0.23522382735865799</c:v>
                </c:pt>
                <c:pt idx="13190">
                  <c:v>0.23524166220795401</c:v>
                </c:pt>
                <c:pt idx="13191">
                  <c:v>0.235259497057249</c:v>
                </c:pt>
                <c:pt idx="13192">
                  <c:v>0.23527733190654501</c:v>
                </c:pt>
                <c:pt idx="13193">
                  <c:v>0.23529516675584</c:v>
                </c:pt>
                <c:pt idx="13194">
                  <c:v>0.23531300160513599</c:v>
                </c:pt>
                <c:pt idx="13195">
                  <c:v>0.23533083645443101</c:v>
                </c:pt>
                <c:pt idx="13196">
                  <c:v>0.235348671303727</c:v>
                </c:pt>
                <c:pt idx="13197">
                  <c:v>0.23536650615302299</c:v>
                </c:pt>
                <c:pt idx="13198">
                  <c:v>0.235384341002318</c:v>
                </c:pt>
                <c:pt idx="13199">
                  <c:v>0.23540217585161399</c:v>
                </c:pt>
                <c:pt idx="13200">
                  <c:v>0.23542001070090901</c:v>
                </c:pt>
                <c:pt idx="13201">
                  <c:v>0.235437845550205</c:v>
                </c:pt>
                <c:pt idx="13202">
                  <c:v>0.23545568039949999</c:v>
                </c:pt>
                <c:pt idx="13203">
                  <c:v>0.23547351524879601</c:v>
                </c:pt>
                <c:pt idx="13204">
                  <c:v>0.235491350098091</c:v>
                </c:pt>
                <c:pt idx="13205">
                  <c:v>0.23550918494738701</c:v>
                </c:pt>
                <c:pt idx="13206">
                  <c:v>0.235527019796682</c:v>
                </c:pt>
                <c:pt idx="13207">
                  <c:v>0.23554485464597799</c:v>
                </c:pt>
                <c:pt idx="13208">
                  <c:v>0.23556268949527301</c:v>
                </c:pt>
                <c:pt idx="13209">
                  <c:v>0.235580524344569</c:v>
                </c:pt>
                <c:pt idx="13210">
                  <c:v>0.23559835919386399</c:v>
                </c:pt>
                <c:pt idx="13211">
                  <c:v>0.23561619404316</c:v>
                </c:pt>
                <c:pt idx="13212">
                  <c:v>0.23563402889245499</c:v>
                </c:pt>
                <c:pt idx="13213">
                  <c:v>0.23565186374175101</c:v>
                </c:pt>
                <c:pt idx="13214">
                  <c:v>0.235669698591046</c:v>
                </c:pt>
                <c:pt idx="13215">
                  <c:v>0.23568753344034199</c:v>
                </c:pt>
                <c:pt idx="13216">
                  <c:v>0.23570536828963701</c:v>
                </c:pt>
                <c:pt idx="13217">
                  <c:v>0.235723203138933</c:v>
                </c:pt>
                <c:pt idx="13218">
                  <c:v>0.23574103798822901</c:v>
                </c:pt>
                <c:pt idx="13219">
                  <c:v>0.235758872837524</c:v>
                </c:pt>
                <c:pt idx="13220">
                  <c:v>0.23577670768681999</c:v>
                </c:pt>
                <c:pt idx="13221">
                  <c:v>0.23579454253611501</c:v>
                </c:pt>
                <c:pt idx="13222">
                  <c:v>0.235812377385411</c:v>
                </c:pt>
                <c:pt idx="13223">
                  <c:v>0.23583021223470599</c:v>
                </c:pt>
                <c:pt idx="13224">
                  <c:v>0.235848047084002</c:v>
                </c:pt>
                <c:pt idx="13225">
                  <c:v>0.23586588193329699</c:v>
                </c:pt>
                <c:pt idx="13226">
                  <c:v>0.23588371678259301</c:v>
                </c:pt>
                <c:pt idx="13227">
                  <c:v>0.235901551631888</c:v>
                </c:pt>
                <c:pt idx="13228">
                  <c:v>0.23591938648118399</c:v>
                </c:pt>
                <c:pt idx="13229">
                  <c:v>0.23593722133047901</c:v>
                </c:pt>
                <c:pt idx="13230">
                  <c:v>0.235955056179775</c:v>
                </c:pt>
                <c:pt idx="13231">
                  <c:v>0.23597289102906999</c:v>
                </c:pt>
                <c:pt idx="13232">
                  <c:v>0.235990725878366</c:v>
                </c:pt>
                <c:pt idx="13233">
                  <c:v>0.23600856072766099</c:v>
                </c:pt>
                <c:pt idx="13234">
                  <c:v>0.23602639557695701</c:v>
                </c:pt>
                <c:pt idx="13235">
                  <c:v>0.236044230426252</c:v>
                </c:pt>
                <c:pt idx="13236">
                  <c:v>0.23606206527554799</c:v>
                </c:pt>
                <c:pt idx="13237">
                  <c:v>0.23607990012484301</c:v>
                </c:pt>
                <c:pt idx="13238">
                  <c:v>0.236097734974139</c:v>
                </c:pt>
                <c:pt idx="13239">
                  <c:v>0.23611556982343401</c:v>
                </c:pt>
                <c:pt idx="13240">
                  <c:v>0.23613340467273</c:v>
                </c:pt>
                <c:pt idx="13241">
                  <c:v>0.23615123952202599</c:v>
                </c:pt>
                <c:pt idx="13242">
                  <c:v>0.23616907437132101</c:v>
                </c:pt>
                <c:pt idx="13243">
                  <c:v>0.236186909220617</c:v>
                </c:pt>
                <c:pt idx="13244">
                  <c:v>0.23620474406991199</c:v>
                </c:pt>
                <c:pt idx="13245">
                  <c:v>0.236222578919208</c:v>
                </c:pt>
                <c:pt idx="13246">
                  <c:v>0.23624041376850299</c:v>
                </c:pt>
                <c:pt idx="13247">
                  <c:v>0.23625824861779901</c:v>
                </c:pt>
                <c:pt idx="13248">
                  <c:v>0.236276083467094</c:v>
                </c:pt>
                <c:pt idx="13249">
                  <c:v>0.23629391831638999</c:v>
                </c:pt>
                <c:pt idx="13250">
                  <c:v>0.23631175316568501</c:v>
                </c:pt>
                <c:pt idx="13251">
                  <c:v>0.236329588014981</c:v>
                </c:pt>
                <c:pt idx="13252">
                  <c:v>0.23634742286427601</c:v>
                </c:pt>
                <c:pt idx="13253">
                  <c:v>0.236365257713572</c:v>
                </c:pt>
                <c:pt idx="13254">
                  <c:v>0.23638309256286699</c:v>
                </c:pt>
                <c:pt idx="13255">
                  <c:v>0.23640092741216301</c:v>
                </c:pt>
                <c:pt idx="13256">
                  <c:v>0.236418762261458</c:v>
                </c:pt>
                <c:pt idx="13257">
                  <c:v>0.23643659711075399</c:v>
                </c:pt>
                <c:pt idx="13258">
                  <c:v>0.23645443196004901</c:v>
                </c:pt>
                <c:pt idx="13259">
                  <c:v>0.23647226680934499</c:v>
                </c:pt>
                <c:pt idx="13260">
                  <c:v>0.23649010165864001</c:v>
                </c:pt>
                <c:pt idx="13261">
                  <c:v>0.236507936507936</c:v>
                </c:pt>
                <c:pt idx="13262">
                  <c:v>0.23652577135723199</c:v>
                </c:pt>
                <c:pt idx="13263">
                  <c:v>0.23654360620652701</c:v>
                </c:pt>
                <c:pt idx="13264">
                  <c:v>0.236561441055823</c:v>
                </c:pt>
                <c:pt idx="13265">
                  <c:v>0.23657927590511801</c:v>
                </c:pt>
                <c:pt idx="13266">
                  <c:v>0.236597110754414</c:v>
                </c:pt>
                <c:pt idx="13267">
                  <c:v>0.23661494560370899</c:v>
                </c:pt>
                <c:pt idx="13268">
                  <c:v>0.23663278045300501</c:v>
                </c:pt>
                <c:pt idx="13269">
                  <c:v>0.2366506153023</c:v>
                </c:pt>
                <c:pt idx="13270">
                  <c:v>0.23666845015159599</c:v>
                </c:pt>
                <c:pt idx="13271">
                  <c:v>0.23668628500089101</c:v>
                </c:pt>
                <c:pt idx="13272">
                  <c:v>0.23670411985018699</c:v>
                </c:pt>
                <c:pt idx="13273">
                  <c:v>0.23672195469948201</c:v>
                </c:pt>
                <c:pt idx="13274">
                  <c:v>0.236739789548778</c:v>
                </c:pt>
                <c:pt idx="13275">
                  <c:v>0.23675762439807299</c:v>
                </c:pt>
                <c:pt idx="13276">
                  <c:v>0.23677545924736901</c:v>
                </c:pt>
                <c:pt idx="13277">
                  <c:v>0.236793294096664</c:v>
                </c:pt>
                <c:pt idx="13278">
                  <c:v>0.23681112894595999</c:v>
                </c:pt>
                <c:pt idx="13279">
                  <c:v>0.236828963795255</c:v>
                </c:pt>
                <c:pt idx="13280">
                  <c:v>0.23684679864455099</c:v>
                </c:pt>
                <c:pt idx="13281">
                  <c:v>0.23686463349384601</c:v>
                </c:pt>
                <c:pt idx="13282">
                  <c:v>0.236882468343142</c:v>
                </c:pt>
                <c:pt idx="13283">
                  <c:v>0.23690030319243799</c:v>
                </c:pt>
                <c:pt idx="13284">
                  <c:v>0.23691813804173301</c:v>
                </c:pt>
                <c:pt idx="13285">
                  <c:v>0.236935972891029</c:v>
                </c:pt>
                <c:pt idx="13286">
                  <c:v>0.23695380774032401</c:v>
                </c:pt>
                <c:pt idx="13287">
                  <c:v>0.23697164258962</c:v>
                </c:pt>
                <c:pt idx="13288">
                  <c:v>0.23698947743891499</c:v>
                </c:pt>
                <c:pt idx="13289">
                  <c:v>0.23700731228821101</c:v>
                </c:pt>
                <c:pt idx="13290">
                  <c:v>0.237025147137506</c:v>
                </c:pt>
                <c:pt idx="13291">
                  <c:v>0.23704298198680199</c:v>
                </c:pt>
                <c:pt idx="13292">
                  <c:v>0.237060816836097</c:v>
                </c:pt>
                <c:pt idx="13293">
                  <c:v>0.23707865168539299</c:v>
                </c:pt>
                <c:pt idx="13294">
                  <c:v>0.23709648653468801</c:v>
                </c:pt>
                <c:pt idx="13295">
                  <c:v>0.237114321383984</c:v>
                </c:pt>
                <c:pt idx="13296">
                  <c:v>0.23713215623327899</c:v>
                </c:pt>
                <c:pt idx="13297">
                  <c:v>0.23714999108257501</c:v>
                </c:pt>
                <c:pt idx="13298">
                  <c:v>0.23716782593187</c:v>
                </c:pt>
                <c:pt idx="13299">
                  <c:v>0.23718566078116601</c:v>
                </c:pt>
                <c:pt idx="13300">
                  <c:v>0.237203495630461</c:v>
                </c:pt>
                <c:pt idx="13301">
                  <c:v>0.23722133047975699</c:v>
                </c:pt>
                <c:pt idx="13302">
                  <c:v>0.23723916532905201</c:v>
                </c:pt>
                <c:pt idx="13303">
                  <c:v>0.237257000178348</c:v>
                </c:pt>
                <c:pt idx="13304">
                  <c:v>0.23727483502764399</c:v>
                </c:pt>
                <c:pt idx="13305">
                  <c:v>0.23729266987693901</c:v>
                </c:pt>
                <c:pt idx="13306">
                  <c:v>0.23731050472623499</c:v>
                </c:pt>
                <c:pt idx="13307">
                  <c:v>0.23732833957553001</c:v>
                </c:pt>
                <c:pt idx="13308">
                  <c:v>0.237346174424826</c:v>
                </c:pt>
                <c:pt idx="13309">
                  <c:v>0.23736400927412099</c:v>
                </c:pt>
                <c:pt idx="13310">
                  <c:v>0.23738184412341701</c:v>
                </c:pt>
                <c:pt idx="13311">
                  <c:v>0.237399678972712</c:v>
                </c:pt>
                <c:pt idx="13312">
                  <c:v>0.23741751382200799</c:v>
                </c:pt>
                <c:pt idx="13313">
                  <c:v>0.237435348671303</c:v>
                </c:pt>
                <c:pt idx="13314">
                  <c:v>0.23745318352059899</c:v>
                </c:pt>
                <c:pt idx="13315">
                  <c:v>0.23747101836989401</c:v>
                </c:pt>
                <c:pt idx="13316">
                  <c:v>0.23748885321919</c:v>
                </c:pt>
                <c:pt idx="13317">
                  <c:v>0.23750668806848499</c:v>
                </c:pt>
                <c:pt idx="13318">
                  <c:v>0.23752452291778101</c:v>
                </c:pt>
                <c:pt idx="13319">
                  <c:v>0.237542357767076</c:v>
                </c:pt>
                <c:pt idx="13320">
                  <c:v>0.23756019261637201</c:v>
                </c:pt>
                <c:pt idx="13321">
                  <c:v>0.237578027465667</c:v>
                </c:pt>
                <c:pt idx="13322">
                  <c:v>0.23759586231496299</c:v>
                </c:pt>
                <c:pt idx="13323">
                  <c:v>0.23761369716425801</c:v>
                </c:pt>
                <c:pt idx="13324">
                  <c:v>0.237631532013554</c:v>
                </c:pt>
                <c:pt idx="13325">
                  <c:v>0.23764936686284999</c:v>
                </c:pt>
                <c:pt idx="13326">
                  <c:v>0.237667201712145</c:v>
                </c:pt>
                <c:pt idx="13327">
                  <c:v>0.23768503656144099</c:v>
                </c:pt>
                <c:pt idx="13328">
                  <c:v>0.23770287141073601</c:v>
                </c:pt>
                <c:pt idx="13329">
                  <c:v>0.237720706260032</c:v>
                </c:pt>
                <c:pt idx="13330">
                  <c:v>0.23773854110932699</c:v>
                </c:pt>
                <c:pt idx="13331">
                  <c:v>0.23775637595862301</c:v>
                </c:pt>
                <c:pt idx="13332">
                  <c:v>0.237774210807918</c:v>
                </c:pt>
                <c:pt idx="13333">
                  <c:v>0.23779204565721401</c:v>
                </c:pt>
                <c:pt idx="13334">
                  <c:v>0.237809880506509</c:v>
                </c:pt>
                <c:pt idx="13335">
                  <c:v>0.23782771535580499</c:v>
                </c:pt>
                <c:pt idx="13336">
                  <c:v>0.23784555020510001</c:v>
                </c:pt>
                <c:pt idx="13337">
                  <c:v>0.237863385054396</c:v>
                </c:pt>
                <c:pt idx="13338">
                  <c:v>0.23788121990369099</c:v>
                </c:pt>
                <c:pt idx="13339">
                  <c:v>0.237899054752987</c:v>
                </c:pt>
                <c:pt idx="13340">
                  <c:v>0.23791688960228199</c:v>
                </c:pt>
                <c:pt idx="13341">
                  <c:v>0.23793472445157801</c:v>
                </c:pt>
                <c:pt idx="13342">
                  <c:v>0.237952559300873</c:v>
                </c:pt>
                <c:pt idx="13343">
                  <c:v>0.23797039415016899</c:v>
                </c:pt>
                <c:pt idx="13344">
                  <c:v>0.23798822899946401</c:v>
                </c:pt>
                <c:pt idx="13345">
                  <c:v>0.23800606384876</c:v>
                </c:pt>
                <c:pt idx="13346">
                  <c:v>0.23802389869805601</c:v>
                </c:pt>
                <c:pt idx="13347">
                  <c:v>0.238041733547351</c:v>
                </c:pt>
                <c:pt idx="13348">
                  <c:v>0.23805956839664699</c:v>
                </c:pt>
                <c:pt idx="13349">
                  <c:v>0.23807740324594201</c:v>
                </c:pt>
                <c:pt idx="13350">
                  <c:v>0.238095238095238</c:v>
                </c:pt>
                <c:pt idx="13351">
                  <c:v>0.23811307294453299</c:v>
                </c:pt>
                <c:pt idx="13352">
                  <c:v>0.23813090779382901</c:v>
                </c:pt>
                <c:pt idx="13353">
                  <c:v>0.238148742643124</c:v>
                </c:pt>
                <c:pt idx="13354">
                  <c:v>0.23816657749242001</c:v>
                </c:pt>
                <c:pt idx="13355">
                  <c:v>0.238184412341715</c:v>
                </c:pt>
                <c:pt idx="13356">
                  <c:v>0.23820224719101099</c:v>
                </c:pt>
                <c:pt idx="13357">
                  <c:v>0.23822008204030601</c:v>
                </c:pt>
                <c:pt idx="13358">
                  <c:v>0.238237916889602</c:v>
                </c:pt>
                <c:pt idx="13359">
                  <c:v>0.23825575173889699</c:v>
                </c:pt>
                <c:pt idx="13360">
                  <c:v>0.238273586588193</c:v>
                </c:pt>
                <c:pt idx="13361">
                  <c:v>0.23829142143748799</c:v>
                </c:pt>
                <c:pt idx="13362">
                  <c:v>0.23830925628678401</c:v>
                </c:pt>
                <c:pt idx="13363">
                  <c:v>0.238327091136079</c:v>
                </c:pt>
                <c:pt idx="13364">
                  <c:v>0.23834492598537499</c:v>
                </c:pt>
                <c:pt idx="13365">
                  <c:v>0.23836276083467001</c:v>
                </c:pt>
                <c:pt idx="13366">
                  <c:v>0.238380595683966</c:v>
                </c:pt>
                <c:pt idx="13367">
                  <c:v>0.23839843053326101</c:v>
                </c:pt>
                <c:pt idx="13368">
                  <c:v>0.238416265382557</c:v>
                </c:pt>
                <c:pt idx="13369">
                  <c:v>0.23843410023185299</c:v>
                </c:pt>
                <c:pt idx="13370">
                  <c:v>0.23845193508114801</c:v>
                </c:pt>
                <c:pt idx="13371">
                  <c:v>0.238469769930444</c:v>
                </c:pt>
                <c:pt idx="13372">
                  <c:v>0.23848760477973899</c:v>
                </c:pt>
                <c:pt idx="13373">
                  <c:v>0.238505439629035</c:v>
                </c:pt>
                <c:pt idx="13374">
                  <c:v>0.23852327447832999</c:v>
                </c:pt>
                <c:pt idx="13375">
                  <c:v>0.23854110932762601</c:v>
                </c:pt>
                <c:pt idx="13376">
                  <c:v>0.238558944176921</c:v>
                </c:pt>
                <c:pt idx="13377">
                  <c:v>0.23857677902621699</c:v>
                </c:pt>
                <c:pt idx="13378">
                  <c:v>0.23859461387551201</c:v>
                </c:pt>
                <c:pt idx="13379">
                  <c:v>0.238612448724808</c:v>
                </c:pt>
                <c:pt idx="13380">
                  <c:v>0.23863028357410301</c:v>
                </c:pt>
                <c:pt idx="13381">
                  <c:v>0.238648118423399</c:v>
                </c:pt>
                <c:pt idx="13382">
                  <c:v>0.23866595327269399</c:v>
                </c:pt>
                <c:pt idx="13383">
                  <c:v>0.23868378812199001</c:v>
                </c:pt>
                <c:pt idx="13384">
                  <c:v>0.238701622971285</c:v>
                </c:pt>
                <c:pt idx="13385">
                  <c:v>0.23871945782058099</c:v>
                </c:pt>
                <c:pt idx="13386">
                  <c:v>0.23873729266987601</c:v>
                </c:pt>
                <c:pt idx="13387">
                  <c:v>0.23875512751917199</c:v>
                </c:pt>
                <c:pt idx="13388">
                  <c:v>0.23877296236846701</c:v>
                </c:pt>
                <c:pt idx="13389">
                  <c:v>0.238790797217763</c:v>
                </c:pt>
                <c:pt idx="13390">
                  <c:v>0.23880863206705899</c:v>
                </c:pt>
                <c:pt idx="13391">
                  <c:v>0.23882646691635401</c:v>
                </c:pt>
                <c:pt idx="13392">
                  <c:v>0.23884430176565</c:v>
                </c:pt>
                <c:pt idx="13393">
                  <c:v>0.23886213661494499</c:v>
                </c:pt>
                <c:pt idx="13394">
                  <c:v>0.238879971464241</c:v>
                </c:pt>
                <c:pt idx="13395">
                  <c:v>0.23889780631353599</c:v>
                </c:pt>
                <c:pt idx="13396">
                  <c:v>0.23891564116283201</c:v>
                </c:pt>
                <c:pt idx="13397">
                  <c:v>0.238933476012127</c:v>
                </c:pt>
                <c:pt idx="13398">
                  <c:v>0.23895131086142299</c:v>
                </c:pt>
                <c:pt idx="13399">
                  <c:v>0.23896914571071801</c:v>
                </c:pt>
                <c:pt idx="13400">
                  <c:v>0.238986980560014</c:v>
                </c:pt>
                <c:pt idx="13401">
                  <c:v>0.23900481540930901</c:v>
                </c:pt>
                <c:pt idx="13402">
                  <c:v>0.239022650258605</c:v>
                </c:pt>
                <c:pt idx="13403">
                  <c:v>0.23904048510789999</c:v>
                </c:pt>
                <c:pt idx="13404">
                  <c:v>0.23905831995719601</c:v>
                </c:pt>
                <c:pt idx="13405">
                  <c:v>0.239076154806491</c:v>
                </c:pt>
                <c:pt idx="13406">
                  <c:v>0.23909398965578699</c:v>
                </c:pt>
                <c:pt idx="13407">
                  <c:v>0.239111824505082</c:v>
                </c:pt>
                <c:pt idx="13408">
                  <c:v>0.23912965935437799</c:v>
                </c:pt>
                <c:pt idx="13409">
                  <c:v>0.23914749420367301</c:v>
                </c:pt>
                <c:pt idx="13410">
                  <c:v>0.239165329052969</c:v>
                </c:pt>
                <c:pt idx="13411">
                  <c:v>0.23918316390226499</c:v>
                </c:pt>
                <c:pt idx="13412">
                  <c:v>0.23920099875156001</c:v>
                </c:pt>
                <c:pt idx="13413">
                  <c:v>0.239218833600856</c:v>
                </c:pt>
                <c:pt idx="13414">
                  <c:v>0.23923666845015101</c:v>
                </c:pt>
                <c:pt idx="13415">
                  <c:v>0.239254503299447</c:v>
                </c:pt>
                <c:pt idx="13416">
                  <c:v>0.23927233814874199</c:v>
                </c:pt>
                <c:pt idx="13417">
                  <c:v>0.23929017299803801</c:v>
                </c:pt>
                <c:pt idx="13418">
                  <c:v>0.239308007847333</c:v>
                </c:pt>
                <c:pt idx="13419">
                  <c:v>0.23932584269662899</c:v>
                </c:pt>
                <c:pt idx="13420">
                  <c:v>0.23934367754592401</c:v>
                </c:pt>
                <c:pt idx="13421">
                  <c:v>0.23936151239521999</c:v>
                </c:pt>
                <c:pt idx="13422">
                  <c:v>0.23937934724451501</c:v>
                </c:pt>
                <c:pt idx="13423">
                  <c:v>0.239397182093811</c:v>
                </c:pt>
                <c:pt idx="13424">
                  <c:v>0.23941501694310599</c:v>
                </c:pt>
                <c:pt idx="13425">
                  <c:v>0.23943285179240201</c:v>
                </c:pt>
                <c:pt idx="13426">
                  <c:v>0.239450686641697</c:v>
                </c:pt>
                <c:pt idx="13427">
                  <c:v>0.23946852149099301</c:v>
                </c:pt>
                <c:pt idx="13428">
                  <c:v>0.239486356340288</c:v>
                </c:pt>
                <c:pt idx="13429">
                  <c:v>0.23950419118958399</c:v>
                </c:pt>
                <c:pt idx="13430">
                  <c:v>0.23952202603887901</c:v>
                </c:pt>
                <c:pt idx="13431">
                  <c:v>0.239539860888175</c:v>
                </c:pt>
                <c:pt idx="13432">
                  <c:v>0.23955769573747099</c:v>
                </c:pt>
                <c:pt idx="13433">
                  <c:v>0.23957553058676601</c:v>
                </c:pt>
                <c:pt idx="13434">
                  <c:v>0.23959336543606199</c:v>
                </c:pt>
                <c:pt idx="13435">
                  <c:v>0.23961120028535701</c:v>
                </c:pt>
                <c:pt idx="13436">
                  <c:v>0.239629035134653</c:v>
                </c:pt>
                <c:pt idx="13437">
                  <c:v>0.23964686998394799</c:v>
                </c:pt>
                <c:pt idx="13438">
                  <c:v>0.23966470483324401</c:v>
                </c:pt>
                <c:pt idx="13439">
                  <c:v>0.239682539682539</c:v>
                </c:pt>
                <c:pt idx="13440">
                  <c:v>0.23970037453183499</c:v>
                </c:pt>
                <c:pt idx="13441">
                  <c:v>0.23971820938113</c:v>
                </c:pt>
                <c:pt idx="13442">
                  <c:v>0.23973604423042599</c:v>
                </c:pt>
                <c:pt idx="13443">
                  <c:v>0.23975387907972101</c:v>
                </c:pt>
                <c:pt idx="13444">
                  <c:v>0.239771713929017</c:v>
                </c:pt>
                <c:pt idx="13445">
                  <c:v>0.23978954877831199</c:v>
                </c:pt>
                <c:pt idx="13446">
                  <c:v>0.23980738362760801</c:v>
                </c:pt>
                <c:pt idx="13447">
                  <c:v>0.239825218476903</c:v>
                </c:pt>
                <c:pt idx="13448">
                  <c:v>0.23984305332619901</c:v>
                </c:pt>
                <c:pt idx="13449">
                  <c:v>0.239860888175494</c:v>
                </c:pt>
                <c:pt idx="13450">
                  <c:v>0.23987872302478999</c:v>
                </c:pt>
                <c:pt idx="13451">
                  <c:v>0.23989655787408501</c:v>
                </c:pt>
                <c:pt idx="13452">
                  <c:v>0.239914392723381</c:v>
                </c:pt>
                <c:pt idx="13453">
                  <c:v>0.23993222757267699</c:v>
                </c:pt>
                <c:pt idx="13454">
                  <c:v>0.239950062421972</c:v>
                </c:pt>
                <c:pt idx="13455">
                  <c:v>0.23996789727126799</c:v>
                </c:pt>
                <c:pt idx="13456">
                  <c:v>0.23998573212056301</c:v>
                </c:pt>
                <c:pt idx="13457">
                  <c:v>0.240003566969859</c:v>
                </c:pt>
                <c:pt idx="13458">
                  <c:v>0.24002140181915399</c:v>
                </c:pt>
                <c:pt idx="13459">
                  <c:v>0.24003923666845001</c:v>
                </c:pt>
                <c:pt idx="13460">
                  <c:v>0.240057071517745</c:v>
                </c:pt>
                <c:pt idx="13461">
                  <c:v>0.24007490636704101</c:v>
                </c:pt>
                <c:pt idx="13462">
                  <c:v>0.240092741216336</c:v>
                </c:pt>
                <c:pt idx="13463">
                  <c:v>0.24011057606563199</c:v>
                </c:pt>
                <c:pt idx="13464">
                  <c:v>0.24012841091492701</c:v>
                </c:pt>
                <c:pt idx="13465">
                  <c:v>0.240146245764223</c:v>
                </c:pt>
                <c:pt idx="13466">
                  <c:v>0.24016408061351799</c:v>
                </c:pt>
                <c:pt idx="13467">
                  <c:v>0.24018191546281401</c:v>
                </c:pt>
                <c:pt idx="13468">
                  <c:v>0.24019975031210899</c:v>
                </c:pt>
                <c:pt idx="13469">
                  <c:v>0.24021758516140501</c:v>
                </c:pt>
                <c:pt idx="13470">
                  <c:v>0.2402354200107</c:v>
                </c:pt>
                <c:pt idx="13471">
                  <c:v>0.24025325485999599</c:v>
                </c:pt>
                <c:pt idx="13472">
                  <c:v>0.24027108970929101</c:v>
                </c:pt>
                <c:pt idx="13473">
                  <c:v>0.240288924558587</c:v>
                </c:pt>
                <c:pt idx="13474">
                  <c:v>0.24030675940788301</c:v>
                </c:pt>
                <c:pt idx="13475">
                  <c:v>0.240324594257178</c:v>
                </c:pt>
                <c:pt idx="13476">
                  <c:v>0.24034242910647399</c:v>
                </c:pt>
                <c:pt idx="13477">
                  <c:v>0.24036026395576901</c:v>
                </c:pt>
                <c:pt idx="13478">
                  <c:v>0.240378098805065</c:v>
                </c:pt>
                <c:pt idx="13479">
                  <c:v>0.24039593365435999</c:v>
                </c:pt>
                <c:pt idx="13480">
                  <c:v>0.24041376850365601</c:v>
                </c:pt>
                <c:pt idx="13481">
                  <c:v>0.240431603352951</c:v>
                </c:pt>
                <c:pt idx="13482">
                  <c:v>0.24044943820224701</c:v>
                </c:pt>
                <c:pt idx="13483">
                  <c:v>0.240467273051542</c:v>
                </c:pt>
                <c:pt idx="13484">
                  <c:v>0.24048510790083799</c:v>
                </c:pt>
                <c:pt idx="13485">
                  <c:v>0.24050294275013301</c:v>
                </c:pt>
                <c:pt idx="13486">
                  <c:v>0.240520777599429</c:v>
                </c:pt>
                <c:pt idx="13487">
                  <c:v>0.24053861244872399</c:v>
                </c:pt>
                <c:pt idx="13488">
                  <c:v>0.24055644729802</c:v>
                </c:pt>
                <c:pt idx="13489">
                  <c:v>0.24057428214731499</c:v>
                </c:pt>
                <c:pt idx="13490">
                  <c:v>0.24059211699661101</c:v>
                </c:pt>
                <c:pt idx="13491">
                  <c:v>0.240609951845906</c:v>
                </c:pt>
                <c:pt idx="13492">
                  <c:v>0.24062778669520199</c:v>
                </c:pt>
                <c:pt idx="13493">
                  <c:v>0.24064562154449701</c:v>
                </c:pt>
                <c:pt idx="13494">
                  <c:v>0.240663456393793</c:v>
                </c:pt>
                <c:pt idx="13495">
                  <c:v>0.24068129124308801</c:v>
                </c:pt>
                <c:pt idx="13496">
                  <c:v>0.240699126092384</c:v>
                </c:pt>
                <c:pt idx="13497">
                  <c:v>0.24071696094167999</c:v>
                </c:pt>
                <c:pt idx="13498">
                  <c:v>0.24073479579097501</c:v>
                </c:pt>
                <c:pt idx="13499">
                  <c:v>0.240752630640271</c:v>
                </c:pt>
                <c:pt idx="13500">
                  <c:v>0.24077046548956599</c:v>
                </c:pt>
                <c:pt idx="13501">
                  <c:v>0.240788300338862</c:v>
                </c:pt>
                <c:pt idx="13502">
                  <c:v>0.24080613518815699</c:v>
                </c:pt>
                <c:pt idx="13503">
                  <c:v>0.24082397003745301</c:v>
                </c:pt>
                <c:pt idx="13504">
                  <c:v>0.240841804886748</c:v>
                </c:pt>
                <c:pt idx="13505">
                  <c:v>0.24085963973604399</c:v>
                </c:pt>
                <c:pt idx="13506">
                  <c:v>0.24087747458533901</c:v>
                </c:pt>
                <c:pt idx="13507">
                  <c:v>0.240895309434635</c:v>
                </c:pt>
                <c:pt idx="13508">
                  <c:v>0.24091314428392999</c:v>
                </c:pt>
                <c:pt idx="13509">
                  <c:v>0.240930979133226</c:v>
                </c:pt>
                <c:pt idx="13510">
                  <c:v>0.24094881398252099</c:v>
                </c:pt>
                <c:pt idx="13511">
                  <c:v>0.24096664883181701</c:v>
                </c:pt>
                <c:pt idx="13512">
                  <c:v>0.240984483681112</c:v>
                </c:pt>
                <c:pt idx="13513">
                  <c:v>0.24100231853040799</c:v>
                </c:pt>
                <c:pt idx="13514">
                  <c:v>0.24102015337970301</c:v>
                </c:pt>
                <c:pt idx="13515">
                  <c:v>0.241037988228999</c:v>
                </c:pt>
                <c:pt idx="13516">
                  <c:v>0.24105582307829401</c:v>
                </c:pt>
                <c:pt idx="13517">
                  <c:v>0.24107365792759</c:v>
                </c:pt>
                <c:pt idx="13518">
                  <c:v>0.24109149277688599</c:v>
                </c:pt>
                <c:pt idx="13519">
                  <c:v>0.24110932762618101</c:v>
                </c:pt>
                <c:pt idx="13520">
                  <c:v>0.241127162475477</c:v>
                </c:pt>
                <c:pt idx="13521">
                  <c:v>0.24114499732477199</c:v>
                </c:pt>
                <c:pt idx="13522">
                  <c:v>0.241162832174068</c:v>
                </c:pt>
                <c:pt idx="13523">
                  <c:v>0.24118066702336299</c:v>
                </c:pt>
                <c:pt idx="13524">
                  <c:v>0.24119850187265901</c:v>
                </c:pt>
                <c:pt idx="13525">
                  <c:v>0.241216336721954</c:v>
                </c:pt>
                <c:pt idx="13526">
                  <c:v>0.24123417157124999</c:v>
                </c:pt>
                <c:pt idx="13527">
                  <c:v>0.24125200642054501</c:v>
                </c:pt>
                <c:pt idx="13528">
                  <c:v>0.241269841269841</c:v>
                </c:pt>
                <c:pt idx="13529">
                  <c:v>0.24128767611913601</c:v>
                </c:pt>
                <c:pt idx="13530">
                  <c:v>0.241305510968432</c:v>
                </c:pt>
                <c:pt idx="13531">
                  <c:v>0.24132334581772699</c:v>
                </c:pt>
                <c:pt idx="13532">
                  <c:v>0.24134118066702301</c:v>
                </c:pt>
                <c:pt idx="13533">
                  <c:v>0.241359015516318</c:v>
                </c:pt>
                <c:pt idx="13534">
                  <c:v>0.24137685036561399</c:v>
                </c:pt>
                <c:pt idx="13535">
                  <c:v>0.241394685214909</c:v>
                </c:pt>
                <c:pt idx="13536">
                  <c:v>0.24141252006420499</c:v>
                </c:pt>
                <c:pt idx="13537">
                  <c:v>0.24143035491350001</c:v>
                </c:pt>
                <c:pt idx="13538">
                  <c:v>0.241448189762796</c:v>
                </c:pt>
                <c:pt idx="13539">
                  <c:v>0.24146602461209199</c:v>
                </c:pt>
                <c:pt idx="13540">
                  <c:v>0.24148385946138701</c:v>
                </c:pt>
                <c:pt idx="13541">
                  <c:v>0.241501694310683</c:v>
                </c:pt>
                <c:pt idx="13542">
                  <c:v>0.24151952915997801</c:v>
                </c:pt>
                <c:pt idx="13543">
                  <c:v>0.241537364009274</c:v>
                </c:pt>
                <c:pt idx="13544">
                  <c:v>0.24155519885856899</c:v>
                </c:pt>
                <c:pt idx="13545">
                  <c:v>0.24157303370786501</c:v>
                </c:pt>
                <c:pt idx="13546">
                  <c:v>0.24159086855716</c:v>
                </c:pt>
                <c:pt idx="13547">
                  <c:v>0.24160870340645599</c:v>
                </c:pt>
                <c:pt idx="13548">
                  <c:v>0.24162653825575101</c:v>
                </c:pt>
                <c:pt idx="13549">
                  <c:v>0.24164437310504699</c:v>
                </c:pt>
                <c:pt idx="13550">
                  <c:v>0.24166220795434201</c:v>
                </c:pt>
                <c:pt idx="13551">
                  <c:v>0.241680042803638</c:v>
                </c:pt>
                <c:pt idx="13552">
                  <c:v>0.24169787765293299</c:v>
                </c:pt>
                <c:pt idx="13553">
                  <c:v>0.24171571250222901</c:v>
                </c:pt>
                <c:pt idx="13554">
                  <c:v>0.241733547351524</c:v>
                </c:pt>
                <c:pt idx="13555">
                  <c:v>0.24175138220081999</c:v>
                </c:pt>
                <c:pt idx="13556">
                  <c:v>0.241769217050115</c:v>
                </c:pt>
                <c:pt idx="13557">
                  <c:v>0.24178705189941099</c:v>
                </c:pt>
                <c:pt idx="13558">
                  <c:v>0.24180488674870601</c:v>
                </c:pt>
                <c:pt idx="13559">
                  <c:v>0.241822721598002</c:v>
                </c:pt>
                <c:pt idx="13560">
                  <c:v>0.24184055644729799</c:v>
                </c:pt>
                <c:pt idx="13561">
                  <c:v>0.24185839129659301</c:v>
                </c:pt>
                <c:pt idx="13562">
                  <c:v>0.241876226145889</c:v>
                </c:pt>
                <c:pt idx="13563">
                  <c:v>0.24189406099518401</c:v>
                </c:pt>
                <c:pt idx="13564">
                  <c:v>0.24191189584448</c:v>
                </c:pt>
                <c:pt idx="13565">
                  <c:v>0.24192973069377499</c:v>
                </c:pt>
                <c:pt idx="13566">
                  <c:v>0.24194756554307101</c:v>
                </c:pt>
                <c:pt idx="13567">
                  <c:v>0.241965400392366</c:v>
                </c:pt>
                <c:pt idx="13568">
                  <c:v>0.24198323524166199</c:v>
                </c:pt>
                <c:pt idx="13569">
                  <c:v>0.242001070090957</c:v>
                </c:pt>
                <c:pt idx="13570">
                  <c:v>0.24201890494025299</c:v>
                </c:pt>
                <c:pt idx="13571">
                  <c:v>0.24203673978954801</c:v>
                </c:pt>
                <c:pt idx="13572">
                  <c:v>0.242054574638844</c:v>
                </c:pt>
                <c:pt idx="13573">
                  <c:v>0.24207240948813899</c:v>
                </c:pt>
                <c:pt idx="13574">
                  <c:v>0.24209024433743501</c:v>
                </c:pt>
                <c:pt idx="13575">
                  <c:v>0.24210807918673</c:v>
                </c:pt>
                <c:pt idx="13576">
                  <c:v>0.24212591403602601</c:v>
                </c:pt>
                <c:pt idx="13577">
                  <c:v>0.242143748885321</c:v>
                </c:pt>
                <c:pt idx="13578">
                  <c:v>0.24216158373461699</c:v>
                </c:pt>
                <c:pt idx="13579">
                  <c:v>0.24217941858391201</c:v>
                </c:pt>
                <c:pt idx="13580">
                  <c:v>0.242197253433208</c:v>
                </c:pt>
                <c:pt idx="13581">
                  <c:v>0.24221508828250399</c:v>
                </c:pt>
                <c:pt idx="13582">
                  <c:v>0.24223292313179901</c:v>
                </c:pt>
                <c:pt idx="13583">
                  <c:v>0.24225075798109499</c:v>
                </c:pt>
                <c:pt idx="13584">
                  <c:v>0.24226859283039001</c:v>
                </c:pt>
                <c:pt idx="13585">
                  <c:v>0.242286427679686</c:v>
                </c:pt>
                <c:pt idx="13586">
                  <c:v>0.24230426252898099</c:v>
                </c:pt>
                <c:pt idx="13587">
                  <c:v>0.24232209737827701</c:v>
                </c:pt>
                <c:pt idx="13588">
                  <c:v>0.242339932227572</c:v>
                </c:pt>
                <c:pt idx="13589">
                  <c:v>0.24235776707686801</c:v>
                </c:pt>
                <c:pt idx="13590">
                  <c:v>0.242375601926163</c:v>
                </c:pt>
                <c:pt idx="13591">
                  <c:v>0.24239343677545899</c:v>
                </c:pt>
                <c:pt idx="13592">
                  <c:v>0.24241127162475401</c:v>
                </c:pt>
                <c:pt idx="13593">
                  <c:v>0.24242910647405</c:v>
                </c:pt>
                <c:pt idx="13594">
                  <c:v>0.24244694132334499</c:v>
                </c:pt>
                <c:pt idx="13595">
                  <c:v>0.24246477617264101</c:v>
                </c:pt>
                <c:pt idx="13596">
                  <c:v>0.242482611021936</c:v>
                </c:pt>
                <c:pt idx="13597">
                  <c:v>0.24250044587123201</c:v>
                </c:pt>
                <c:pt idx="13598">
                  <c:v>0.242518280720527</c:v>
                </c:pt>
                <c:pt idx="13599">
                  <c:v>0.24253611556982299</c:v>
                </c:pt>
                <c:pt idx="13600">
                  <c:v>0.24255395041911801</c:v>
                </c:pt>
                <c:pt idx="13601">
                  <c:v>0.242571785268414</c:v>
                </c:pt>
                <c:pt idx="13602">
                  <c:v>0.24258962011770999</c:v>
                </c:pt>
                <c:pt idx="13603">
                  <c:v>0.242607454967005</c:v>
                </c:pt>
                <c:pt idx="13604">
                  <c:v>0.24262528981630099</c:v>
                </c:pt>
                <c:pt idx="13605">
                  <c:v>0.24264312466559601</c:v>
                </c:pt>
                <c:pt idx="13606">
                  <c:v>0.242660959514892</c:v>
                </c:pt>
                <c:pt idx="13607">
                  <c:v>0.24267879436418699</c:v>
                </c:pt>
                <c:pt idx="13608">
                  <c:v>0.24269662921348301</c:v>
                </c:pt>
                <c:pt idx="13609">
                  <c:v>0.242714464062778</c:v>
                </c:pt>
                <c:pt idx="13610">
                  <c:v>0.24273229891207401</c:v>
                </c:pt>
                <c:pt idx="13611">
                  <c:v>0.242750133761369</c:v>
                </c:pt>
                <c:pt idx="13612">
                  <c:v>0.24276796861066499</c:v>
                </c:pt>
                <c:pt idx="13613">
                  <c:v>0.24278580345996001</c:v>
                </c:pt>
                <c:pt idx="13614">
                  <c:v>0.242803638309256</c:v>
                </c:pt>
                <c:pt idx="13615">
                  <c:v>0.24282147315855099</c:v>
                </c:pt>
                <c:pt idx="13616">
                  <c:v>0.242839308007847</c:v>
                </c:pt>
                <c:pt idx="13617">
                  <c:v>0.24285714285714199</c:v>
                </c:pt>
                <c:pt idx="13618">
                  <c:v>0.24287497770643801</c:v>
                </c:pt>
                <c:pt idx="13619">
                  <c:v>0.242892812555733</c:v>
                </c:pt>
                <c:pt idx="13620">
                  <c:v>0.24291064740502899</c:v>
                </c:pt>
                <c:pt idx="13621">
                  <c:v>0.24292848225432401</c:v>
                </c:pt>
                <c:pt idx="13622">
                  <c:v>0.24294631710362</c:v>
                </c:pt>
                <c:pt idx="13623">
                  <c:v>0.24296415195291499</c:v>
                </c:pt>
                <c:pt idx="13624">
                  <c:v>0.242981986802211</c:v>
                </c:pt>
                <c:pt idx="13625">
                  <c:v>0.24299982165150699</c:v>
                </c:pt>
                <c:pt idx="13626">
                  <c:v>0.24301765650080201</c:v>
                </c:pt>
                <c:pt idx="13627">
                  <c:v>0.243035491350098</c:v>
                </c:pt>
                <c:pt idx="13628">
                  <c:v>0.24305332619939299</c:v>
                </c:pt>
                <c:pt idx="13629">
                  <c:v>0.24307116104868901</c:v>
                </c:pt>
                <c:pt idx="13630">
                  <c:v>0.24308899589798399</c:v>
                </c:pt>
                <c:pt idx="13631">
                  <c:v>0.24310683074728001</c:v>
                </c:pt>
                <c:pt idx="13632">
                  <c:v>0.243124665596575</c:v>
                </c:pt>
                <c:pt idx="13633">
                  <c:v>0.24314250044587099</c:v>
                </c:pt>
                <c:pt idx="13634">
                  <c:v>0.24316033529516601</c:v>
                </c:pt>
                <c:pt idx="13635">
                  <c:v>0.243178170144462</c:v>
                </c:pt>
                <c:pt idx="13636">
                  <c:v>0.24319600499375699</c:v>
                </c:pt>
                <c:pt idx="13637">
                  <c:v>0.243213839843053</c:v>
                </c:pt>
                <c:pt idx="13638">
                  <c:v>0.24323167469234799</c:v>
                </c:pt>
                <c:pt idx="13639">
                  <c:v>0.24324950954164401</c:v>
                </c:pt>
                <c:pt idx="13640">
                  <c:v>0.243267344390939</c:v>
                </c:pt>
                <c:pt idx="13641">
                  <c:v>0.24328517924023499</c:v>
                </c:pt>
                <c:pt idx="13642">
                  <c:v>0.24330301408953001</c:v>
                </c:pt>
                <c:pt idx="13643">
                  <c:v>0.243320848938826</c:v>
                </c:pt>
                <c:pt idx="13644">
                  <c:v>0.24333868378812101</c:v>
                </c:pt>
                <c:pt idx="13645">
                  <c:v>0.243356518637417</c:v>
                </c:pt>
                <c:pt idx="13646">
                  <c:v>0.24337435348671299</c:v>
                </c:pt>
                <c:pt idx="13647">
                  <c:v>0.24339218833600801</c:v>
                </c:pt>
                <c:pt idx="13648">
                  <c:v>0.243410023185304</c:v>
                </c:pt>
                <c:pt idx="13649">
                  <c:v>0.24342785803459899</c:v>
                </c:pt>
                <c:pt idx="13650">
                  <c:v>0.243445692883895</c:v>
                </c:pt>
                <c:pt idx="13651">
                  <c:v>0.24346352773318999</c:v>
                </c:pt>
                <c:pt idx="13652">
                  <c:v>0.24348136258248601</c:v>
                </c:pt>
                <c:pt idx="13653">
                  <c:v>0.243499197431781</c:v>
                </c:pt>
                <c:pt idx="13654">
                  <c:v>0.24351703228107699</c:v>
                </c:pt>
                <c:pt idx="13655">
                  <c:v>0.24353486713037201</c:v>
                </c:pt>
                <c:pt idx="13656">
                  <c:v>0.243552701979668</c:v>
                </c:pt>
                <c:pt idx="13657">
                  <c:v>0.24357053682896301</c:v>
                </c:pt>
                <c:pt idx="13658">
                  <c:v>0.243588371678259</c:v>
                </c:pt>
                <c:pt idx="13659">
                  <c:v>0.24360620652755399</c:v>
                </c:pt>
                <c:pt idx="13660">
                  <c:v>0.24362404137685001</c:v>
                </c:pt>
                <c:pt idx="13661">
                  <c:v>0.243641876226145</c:v>
                </c:pt>
                <c:pt idx="13662">
                  <c:v>0.24365971107544099</c:v>
                </c:pt>
                <c:pt idx="13663">
                  <c:v>0.24367754592473601</c:v>
                </c:pt>
                <c:pt idx="13664">
                  <c:v>0.24369538077403199</c:v>
                </c:pt>
                <c:pt idx="13665">
                  <c:v>0.24371321562332701</c:v>
                </c:pt>
                <c:pt idx="13666">
                  <c:v>0.243731050472623</c:v>
                </c:pt>
                <c:pt idx="13667">
                  <c:v>0.24374888532191899</c:v>
                </c:pt>
                <c:pt idx="13668">
                  <c:v>0.24376672017121401</c:v>
                </c:pt>
                <c:pt idx="13669">
                  <c:v>0.24378455502051</c:v>
                </c:pt>
                <c:pt idx="13670">
                  <c:v>0.24380238986980499</c:v>
                </c:pt>
                <c:pt idx="13671">
                  <c:v>0.243820224719101</c:v>
                </c:pt>
                <c:pt idx="13672">
                  <c:v>0.24383805956839599</c:v>
                </c:pt>
                <c:pt idx="13673">
                  <c:v>0.24385589441769201</c:v>
                </c:pt>
                <c:pt idx="13674">
                  <c:v>0.243873729266987</c:v>
                </c:pt>
                <c:pt idx="13675">
                  <c:v>0.24389156411628299</c:v>
                </c:pt>
                <c:pt idx="13676">
                  <c:v>0.24390939896557801</c:v>
                </c:pt>
                <c:pt idx="13677">
                  <c:v>0.24392723381487399</c:v>
                </c:pt>
                <c:pt idx="13678">
                  <c:v>0.24394506866416901</c:v>
                </c:pt>
                <c:pt idx="13679">
                  <c:v>0.243962903513465</c:v>
                </c:pt>
                <c:pt idx="13680">
                  <c:v>0.24398073836275999</c:v>
                </c:pt>
                <c:pt idx="13681">
                  <c:v>0.24399857321205601</c:v>
                </c:pt>
                <c:pt idx="13682">
                  <c:v>0.244016408061351</c:v>
                </c:pt>
                <c:pt idx="13683">
                  <c:v>0.24403424291064699</c:v>
                </c:pt>
                <c:pt idx="13684">
                  <c:v>0.244052077759942</c:v>
                </c:pt>
                <c:pt idx="13685">
                  <c:v>0.24406991260923799</c:v>
                </c:pt>
                <c:pt idx="13686">
                  <c:v>0.24408774745853301</c:v>
                </c:pt>
                <c:pt idx="13687">
                  <c:v>0.244105582307829</c:v>
                </c:pt>
                <c:pt idx="13688">
                  <c:v>0.24412341715712499</c:v>
                </c:pt>
                <c:pt idx="13689">
                  <c:v>0.24414125200642001</c:v>
                </c:pt>
                <c:pt idx="13690">
                  <c:v>0.244159086855716</c:v>
                </c:pt>
                <c:pt idx="13691">
                  <c:v>0.24417692170501101</c:v>
                </c:pt>
                <c:pt idx="13692">
                  <c:v>0.244194756554307</c:v>
                </c:pt>
                <c:pt idx="13693">
                  <c:v>0.24421259140360199</c:v>
                </c:pt>
                <c:pt idx="13694">
                  <c:v>0.24423042625289801</c:v>
                </c:pt>
                <c:pt idx="13695">
                  <c:v>0.244248261102193</c:v>
                </c:pt>
                <c:pt idx="13696">
                  <c:v>0.24426609595148899</c:v>
                </c:pt>
                <c:pt idx="13697">
                  <c:v>0.244283930800784</c:v>
                </c:pt>
                <c:pt idx="13698">
                  <c:v>0.24430176565007999</c:v>
                </c:pt>
                <c:pt idx="13699">
                  <c:v>0.24431960049937501</c:v>
                </c:pt>
                <c:pt idx="13700">
                  <c:v>0.244337435348671</c:v>
                </c:pt>
                <c:pt idx="13701">
                  <c:v>0.24435527019796599</c:v>
                </c:pt>
                <c:pt idx="13702">
                  <c:v>0.24437310504726201</c:v>
                </c:pt>
                <c:pt idx="13703">
                  <c:v>0.244390939896557</c:v>
                </c:pt>
                <c:pt idx="13704">
                  <c:v>0.24440877474585301</c:v>
                </c:pt>
                <c:pt idx="13705">
                  <c:v>0.244426609595148</c:v>
                </c:pt>
                <c:pt idx="13706">
                  <c:v>0.24444444444444399</c:v>
                </c:pt>
                <c:pt idx="13707">
                  <c:v>0.24446227929373901</c:v>
                </c:pt>
                <c:pt idx="13708">
                  <c:v>0.244480114143035</c:v>
                </c:pt>
                <c:pt idx="13709">
                  <c:v>0.24449794899233099</c:v>
                </c:pt>
                <c:pt idx="13710">
                  <c:v>0.24451578384162601</c:v>
                </c:pt>
                <c:pt idx="13711">
                  <c:v>0.24453361869092199</c:v>
                </c:pt>
                <c:pt idx="13712">
                  <c:v>0.24455145354021701</c:v>
                </c:pt>
                <c:pt idx="13713">
                  <c:v>0.244569288389513</c:v>
                </c:pt>
                <c:pt idx="13714">
                  <c:v>0.24458712323880799</c:v>
                </c:pt>
                <c:pt idx="13715">
                  <c:v>0.24460495808810401</c:v>
                </c:pt>
                <c:pt idx="13716">
                  <c:v>0.244622792937399</c:v>
                </c:pt>
                <c:pt idx="13717">
                  <c:v>0.24464062778669499</c:v>
                </c:pt>
                <c:pt idx="13718">
                  <c:v>0.24465846263599</c:v>
                </c:pt>
                <c:pt idx="13719">
                  <c:v>0.24467629748528599</c:v>
                </c:pt>
                <c:pt idx="13720">
                  <c:v>0.24469413233458101</c:v>
                </c:pt>
                <c:pt idx="13721">
                  <c:v>0.244711967183877</c:v>
                </c:pt>
                <c:pt idx="13722">
                  <c:v>0.24472980203317199</c:v>
                </c:pt>
                <c:pt idx="13723">
                  <c:v>0.24474763688246801</c:v>
                </c:pt>
                <c:pt idx="13724">
                  <c:v>0.244765471731763</c:v>
                </c:pt>
                <c:pt idx="13725">
                  <c:v>0.24478330658105901</c:v>
                </c:pt>
                <c:pt idx="13726">
                  <c:v>0.244801141430354</c:v>
                </c:pt>
                <c:pt idx="13727">
                  <c:v>0.24481897627964999</c:v>
                </c:pt>
                <c:pt idx="13728">
                  <c:v>0.24483681112894501</c:v>
                </c:pt>
                <c:pt idx="13729">
                  <c:v>0.244854645978241</c:v>
                </c:pt>
                <c:pt idx="13730">
                  <c:v>0.24487248082753699</c:v>
                </c:pt>
                <c:pt idx="13731">
                  <c:v>0.244890315676832</c:v>
                </c:pt>
                <c:pt idx="13732">
                  <c:v>0.24490815052612799</c:v>
                </c:pt>
                <c:pt idx="13733">
                  <c:v>0.24492598537542301</c:v>
                </c:pt>
                <c:pt idx="13734">
                  <c:v>0.244943820224719</c:v>
                </c:pt>
                <c:pt idx="13735">
                  <c:v>0.24496165507401399</c:v>
                </c:pt>
                <c:pt idx="13736">
                  <c:v>0.24497948992331001</c:v>
                </c:pt>
                <c:pt idx="13737">
                  <c:v>0.244997324772605</c:v>
                </c:pt>
                <c:pt idx="13738">
                  <c:v>0.24501515962190101</c:v>
                </c:pt>
                <c:pt idx="13739">
                  <c:v>0.245032994471196</c:v>
                </c:pt>
                <c:pt idx="13740">
                  <c:v>0.24505082932049199</c:v>
                </c:pt>
                <c:pt idx="13741">
                  <c:v>0.24506866416978701</c:v>
                </c:pt>
                <c:pt idx="13742">
                  <c:v>0.245086499019083</c:v>
                </c:pt>
                <c:pt idx="13743">
                  <c:v>0.24510433386837799</c:v>
                </c:pt>
                <c:pt idx="13744">
                  <c:v>0.245122168717674</c:v>
                </c:pt>
                <c:pt idx="13745">
                  <c:v>0.24514000356696899</c:v>
                </c:pt>
                <c:pt idx="13746">
                  <c:v>0.24515783841626501</c:v>
                </c:pt>
                <c:pt idx="13747">
                  <c:v>0.24517567326556</c:v>
                </c:pt>
                <c:pt idx="13748">
                  <c:v>0.24519350811485599</c:v>
                </c:pt>
                <c:pt idx="13749">
                  <c:v>0.24521134296415101</c:v>
                </c:pt>
                <c:pt idx="13750">
                  <c:v>0.245229177813447</c:v>
                </c:pt>
                <c:pt idx="13751">
                  <c:v>0.24524701266274301</c:v>
                </c:pt>
                <c:pt idx="13752">
                  <c:v>0.245264847512038</c:v>
                </c:pt>
                <c:pt idx="13753">
                  <c:v>0.24528268236133399</c:v>
                </c:pt>
                <c:pt idx="13754">
                  <c:v>0.24530051721062901</c:v>
                </c:pt>
                <c:pt idx="13755">
                  <c:v>0.245318352059925</c:v>
                </c:pt>
                <c:pt idx="13756">
                  <c:v>0.24533618690921999</c:v>
                </c:pt>
                <c:pt idx="13757">
                  <c:v>0.24535402175851601</c:v>
                </c:pt>
                <c:pt idx="13758">
                  <c:v>0.245371856607811</c:v>
                </c:pt>
                <c:pt idx="13759">
                  <c:v>0.24538969145710701</c:v>
                </c:pt>
                <c:pt idx="13760">
                  <c:v>0.245407526306402</c:v>
                </c:pt>
                <c:pt idx="13761">
                  <c:v>0.24542536115569799</c:v>
                </c:pt>
                <c:pt idx="13762">
                  <c:v>0.24544319600499301</c:v>
                </c:pt>
                <c:pt idx="13763">
                  <c:v>0.245461030854289</c:v>
                </c:pt>
                <c:pt idx="13764">
                  <c:v>0.24547886570358399</c:v>
                </c:pt>
                <c:pt idx="13765">
                  <c:v>0.24549670055288</c:v>
                </c:pt>
                <c:pt idx="13766">
                  <c:v>0.24551453540217499</c:v>
                </c:pt>
                <c:pt idx="13767">
                  <c:v>0.24553237025147101</c:v>
                </c:pt>
                <c:pt idx="13768">
                  <c:v>0.245550205100766</c:v>
                </c:pt>
                <c:pt idx="13769">
                  <c:v>0.24556803995006199</c:v>
                </c:pt>
                <c:pt idx="13770">
                  <c:v>0.24558587479935701</c:v>
                </c:pt>
                <c:pt idx="13771">
                  <c:v>0.245603709648653</c:v>
                </c:pt>
                <c:pt idx="13772">
                  <c:v>0.24562154449794801</c:v>
                </c:pt>
                <c:pt idx="13773">
                  <c:v>0.245639379347244</c:v>
                </c:pt>
                <c:pt idx="13774">
                  <c:v>0.24565721419653999</c:v>
                </c:pt>
                <c:pt idx="13775">
                  <c:v>0.24567504904583501</c:v>
                </c:pt>
                <c:pt idx="13776">
                  <c:v>0.245692883895131</c:v>
                </c:pt>
                <c:pt idx="13777">
                  <c:v>0.24571071874442599</c:v>
                </c:pt>
                <c:pt idx="13778">
                  <c:v>0.245728553593722</c:v>
                </c:pt>
                <c:pt idx="13779">
                  <c:v>0.24574638844301699</c:v>
                </c:pt>
                <c:pt idx="13780">
                  <c:v>0.24576422329231301</c:v>
                </c:pt>
                <c:pt idx="13781">
                  <c:v>0.245782058141608</c:v>
                </c:pt>
                <c:pt idx="13782">
                  <c:v>0.24579989299090399</c:v>
                </c:pt>
                <c:pt idx="13783">
                  <c:v>0.24581772784019901</c:v>
                </c:pt>
                <c:pt idx="13784">
                  <c:v>0.245835562689495</c:v>
                </c:pt>
                <c:pt idx="13785">
                  <c:v>0.24585339753878999</c:v>
                </c:pt>
                <c:pt idx="13786">
                  <c:v>0.245871232388086</c:v>
                </c:pt>
                <c:pt idx="13787">
                  <c:v>0.24588906723738099</c:v>
                </c:pt>
                <c:pt idx="13788">
                  <c:v>0.24590690208667701</c:v>
                </c:pt>
                <c:pt idx="13789">
                  <c:v>0.245924736935972</c:v>
                </c:pt>
                <c:pt idx="13790">
                  <c:v>0.24594257178526799</c:v>
                </c:pt>
                <c:pt idx="13791">
                  <c:v>0.24596040663456301</c:v>
                </c:pt>
                <c:pt idx="13792">
                  <c:v>0.24597824148385899</c:v>
                </c:pt>
                <c:pt idx="13793">
                  <c:v>0.24599607633315401</c:v>
                </c:pt>
                <c:pt idx="13794">
                  <c:v>0.24601391118245</c:v>
                </c:pt>
                <c:pt idx="13795">
                  <c:v>0.24603174603174599</c:v>
                </c:pt>
                <c:pt idx="13796">
                  <c:v>0.24604958088104101</c:v>
                </c:pt>
                <c:pt idx="13797">
                  <c:v>0.246067415730337</c:v>
                </c:pt>
                <c:pt idx="13798">
                  <c:v>0.24608525057963199</c:v>
                </c:pt>
                <c:pt idx="13799">
                  <c:v>0.246103085428928</c:v>
                </c:pt>
                <c:pt idx="13800">
                  <c:v>0.24612092027822299</c:v>
                </c:pt>
                <c:pt idx="13801">
                  <c:v>0.24613875512751901</c:v>
                </c:pt>
                <c:pt idx="13802">
                  <c:v>0.246156589976814</c:v>
                </c:pt>
                <c:pt idx="13803">
                  <c:v>0.24617442482610999</c:v>
                </c:pt>
                <c:pt idx="13804">
                  <c:v>0.24619225967540501</c:v>
                </c:pt>
                <c:pt idx="13805">
                  <c:v>0.246210094524701</c:v>
                </c:pt>
                <c:pt idx="13806">
                  <c:v>0.24622792937399601</c:v>
                </c:pt>
                <c:pt idx="13807">
                  <c:v>0.246245764223292</c:v>
                </c:pt>
                <c:pt idx="13808">
                  <c:v>0.24626359907258699</c:v>
                </c:pt>
                <c:pt idx="13809">
                  <c:v>0.24628143392188301</c:v>
                </c:pt>
                <c:pt idx="13810">
                  <c:v>0.246299268771178</c:v>
                </c:pt>
                <c:pt idx="13811">
                  <c:v>0.24631710362047399</c:v>
                </c:pt>
                <c:pt idx="13812">
                  <c:v>0.246334938469769</c:v>
                </c:pt>
                <c:pt idx="13813">
                  <c:v>0.24635277331906499</c:v>
                </c:pt>
                <c:pt idx="13814">
                  <c:v>0.24637060816836001</c:v>
                </c:pt>
                <c:pt idx="13815">
                  <c:v>0.246388443017656</c:v>
                </c:pt>
                <c:pt idx="13816">
                  <c:v>0.24640627786695199</c:v>
                </c:pt>
                <c:pt idx="13817">
                  <c:v>0.24642411271624701</c:v>
                </c:pt>
                <c:pt idx="13818">
                  <c:v>0.246441947565543</c:v>
                </c:pt>
                <c:pt idx="13819">
                  <c:v>0.24645978241483801</c:v>
                </c:pt>
                <c:pt idx="13820">
                  <c:v>0.246477617264134</c:v>
                </c:pt>
                <c:pt idx="13821">
                  <c:v>0.24649545211342899</c:v>
                </c:pt>
                <c:pt idx="13822">
                  <c:v>0.24651328696272501</c:v>
                </c:pt>
                <c:pt idx="13823">
                  <c:v>0.24653112181202</c:v>
                </c:pt>
                <c:pt idx="13824">
                  <c:v>0.24654895666131599</c:v>
                </c:pt>
                <c:pt idx="13825">
                  <c:v>0.24656679151061101</c:v>
                </c:pt>
                <c:pt idx="13826">
                  <c:v>0.24658462635990699</c:v>
                </c:pt>
                <c:pt idx="13827">
                  <c:v>0.24660246120920201</c:v>
                </c:pt>
                <c:pt idx="13828">
                  <c:v>0.246620296058498</c:v>
                </c:pt>
                <c:pt idx="13829">
                  <c:v>0.24663813090779299</c:v>
                </c:pt>
                <c:pt idx="13830">
                  <c:v>0.24665596575708901</c:v>
                </c:pt>
                <c:pt idx="13831">
                  <c:v>0.246673800606384</c:v>
                </c:pt>
                <c:pt idx="13832">
                  <c:v>0.24669163545567999</c:v>
                </c:pt>
                <c:pt idx="13833">
                  <c:v>0.246709470304975</c:v>
                </c:pt>
                <c:pt idx="13834">
                  <c:v>0.24672730515427099</c:v>
                </c:pt>
                <c:pt idx="13835">
                  <c:v>0.24674514000356601</c:v>
                </c:pt>
                <c:pt idx="13836">
                  <c:v>0.246762974852862</c:v>
                </c:pt>
                <c:pt idx="13837">
                  <c:v>0.24678080970215799</c:v>
                </c:pt>
                <c:pt idx="13838">
                  <c:v>0.24679864455145301</c:v>
                </c:pt>
                <c:pt idx="13839">
                  <c:v>0.24681647940074899</c:v>
                </c:pt>
                <c:pt idx="13840">
                  <c:v>0.24683431425004401</c:v>
                </c:pt>
                <c:pt idx="13841">
                  <c:v>0.24685214909934</c:v>
                </c:pt>
                <c:pt idx="13842">
                  <c:v>0.24686998394863499</c:v>
                </c:pt>
                <c:pt idx="13843">
                  <c:v>0.24688781879793101</c:v>
                </c:pt>
                <c:pt idx="13844">
                  <c:v>0.246905653647226</c:v>
                </c:pt>
                <c:pt idx="13845">
                  <c:v>0.24692348849652199</c:v>
                </c:pt>
                <c:pt idx="13846">
                  <c:v>0.246941323345817</c:v>
                </c:pt>
                <c:pt idx="13847">
                  <c:v>0.24695915819511299</c:v>
                </c:pt>
                <c:pt idx="13848">
                  <c:v>0.24697699304440801</c:v>
                </c:pt>
                <c:pt idx="13849">
                  <c:v>0.246994827893704</c:v>
                </c:pt>
                <c:pt idx="13850">
                  <c:v>0.24701266274299899</c:v>
                </c:pt>
                <c:pt idx="13851">
                  <c:v>0.24703049759229501</c:v>
                </c:pt>
                <c:pt idx="13852">
                  <c:v>0.24704833244159</c:v>
                </c:pt>
                <c:pt idx="13853">
                  <c:v>0.24706616729088601</c:v>
                </c:pt>
                <c:pt idx="13854">
                  <c:v>0.247084002140181</c:v>
                </c:pt>
                <c:pt idx="13855">
                  <c:v>0.24710183698947699</c:v>
                </c:pt>
                <c:pt idx="13856">
                  <c:v>0.24711967183877201</c:v>
                </c:pt>
                <c:pt idx="13857">
                  <c:v>0.247137506688068</c:v>
                </c:pt>
                <c:pt idx="13858">
                  <c:v>0.24715534153736399</c:v>
                </c:pt>
                <c:pt idx="13859">
                  <c:v>0.247173176386659</c:v>
                </c:pt>
                <c:pt idx="13860">
                  <c:v>0.24719101123595499</c:v>
                </c:pt>
                <c:pt idx="13861">
                  <c:v>0.24720884608525001</c:v>
                </c:pt>
                <c:pt idx="13862">
                  <c:v>0.247226680934546</c:v>
                </c:pt>
                <c:pt idx="13863">
                  <c:v>0.24724451578384099</c:v>
                </c:pt>
                <c:pt idx="13864">
                  <c:v>0.24726235063313701</c:v>
                </c:pt>
                <c:pt idx="13865">
                  <c:v>0.247280185482432</c:v>
                </c:pt>
                <c:pt idx="13866">
                  <c:v>0.24729802033172801</c:v>
                </c:pt>
                <c:pt idx="13867">
                  <c:v>0.247315855181023</c:v>
                </c:pt>
                <c:pt idx="13868">
                  <c:v>0.24733369003031899</c:v>
                </c:pt>
                <c:pt idx="13869">
                  <c:v>0.24735152487961401</c:v>
                </c:pt>
                <c:pt idx="13870">
                  <c:v>0.24736935972891</c:v>
                </c:pt>
                <c:pt idx="13871">
                  <c:v>0.24738719457820499</c:v>
                </c:pt>
                <c:pt idx="13872">
                  <c:v>0.24740502942750101</c:v>
                </c:pt>
                <c:pt idx="13873">
                  <c:v>0.247422864276796</c:v>
                </c:pt>
                <c:pt idx="13874">
                  <c:v>0.24744069912609201</c:v>
                </c:pt>
                <c:pt idx="13875">
                  <c:v>0.247458533975387</c:v>
                </c:pt>
                <c:pt idx="13876">
                  <c:v>0.24747636882468299</c:v>
                </c:pt>
                <c:pt idx="13877">
                  <c:v>0.24749420367397801</c:v>
                </c:pt>
                <c:pt idx="13878">
                  <c:v>0.247512038523274</c:v>
                </c:pt>
                <c:pt idx="13879">
                  <c:v>0.24752987337256999</c:v>
                </c:pt>
                <c:pt idx="13880">
                  <c:v>0.247547708221865</c:v>
                </c:pt>
                <c:pt idx="13881">
                  <c:v>0.24756554307116099</c:v>
                </c:pt>
                <c:pt idx="13882">
                  <c:v>0.24758337792045601</c:v>
                </c:pt>
                <c:pt idx="13883">
                  <c:v>0.247601212769752</c:v>
                </c:pt>
                <c:pt idx="13884">
                  <c:v>0.24761904761904699</c:v>
                </c:pt>
                <c:pt idx="13885">
                  <c:v>0.24763688246834301</c:v>
                </c:pt>
                <c:pt idx="13886">
                  <c:v>0.247654717317638</c:v>
                </c:pt>
                <c:pt idx="13887">
                  <c:v>0.24767255216693401</c:v>
                </c:pt>
                <c:pt idx="13888">
                  <c:v>0.247690387016229</c:v>
                </c:pt>
                <c:pt idx="13889">
                  <c:v>0.24770822186552499</c:v>
                </c:pt>
                <c:pt idx="13890">
                  <c:v>0.24772605671482001</c:v>
                </c:pt>
                <c:pt idx="13891">
                  <c:v>0.247743891564116</c:v>
                </c:pt>
                <c:pt idx="13892">
                  <c:v>0.24776172641341099</c:v>
                </c:pt>
                <c:pt idx="13893">
                  <c:v>0.247779561262707</c:v>
                </c:pt>
                <c:pt idx="13894">
                  <c:v>0.24779739611200199</c:v>
                </c:pt>
                <c:pt idx="13895">
                  <c:v>0.24781523096129801</c:v>
                </c:pt>
                <c:pt idx="13896">
                  <c:v>0.247833065810593</c:v>
                </c:pt>
                <c:pt idx="13897">
                  <c:v>0.24785090065988899</c:v>
                </c:pt>
                <c:pt idx="13898">
                  <c:v>0.24786873550918401</c:v>
                </c:pt>
                <c:pt idx="13899">
                  <c:v>0.24788657035848</c:v>
                </c:pt>
                <c:pt idx="13900">
                  <c:v>0.24790440520777501</c:v>
                </c:pt>
                <c:pt idx="13901">
                  <c:v>0.247922240057071</c:v>
                </c:pt>
                <c:pt idx="13902">
                  <c:v>0.24794007490636699</c:v>
                </c:pt>
                <c:pt idx="13903">
                  <c:v>0.24795790975566201</c:v>
                </c:pt>
                <c:pt idx="13904">
                  <c:v>0.247975744604958</c:v>
                </c:pt>
                <c:pt idx="13905">
                  <c:v>0.24799357945425299</c:v>
                </c:pt>
                <c:pt idx="13906">
                  <c:v>0.248011414303549</c:v>
                </c:pt>
                <c:pt idx="13907">
                  <c:v>0.24802924915284399</c:v>
                </c:pt>
                <c:pt idx="13908">
                  <c:v>0.24804708400214001</c:v>
                </c:pt>
                <c:pt idx="13909">
                  <c:v>0.248064918851435</c:v>
                </c:pt>
                <c:pt idx="13910">
                  <c:v>0.24808275370073099</c:v>
                </c:pt>
                <c:pt idx="13911">
                  <c:v>0.24810058855002601</c:v>
                </c:pt>
                <c:pt idx="13912">
                  <c:v>0.248118423399322</c:v>
                </c:pt>
                <c:pt idx="13913">
                  <c:v>0.24813625824861699</c:v>
                </c:pt>
                <c:pt idx="13914">
                  <c:v>0.248154093097913</c:v>
                </c:pt>
                <c:pt idx="13915">
                  <c:v>0.24817192794720799</c:v>
                </c:pt>
                <c:pt idx="13916">
                  <c:v>0.24818976279650401</c:v>
                </c:pt>
                <c:pt idx="13917">
                  <c:v>0.248207597645799</c:v>
                </c:pt>
                <c:pt idx="13918">
                  <c:v>0.24822543249509499</c:v>
                </c:pt>
                <c:pt idx="13919">
                  <c:v>0.24824326734439001</c:v>
                </c:pt>
                <c:pt idx="13920">
                  <c:v>0.248261102193686</c:v>
                </c:pt>
                <c:pt idx="13921">
                  <c:v>0.24827893704298101</c:v>
                </c:pt>
                <c:pt idx="13922">
                  <c:v>0.248296771892277</c:v>
                </c:pt>
                <c:pt idx="13923">
                  <c:v>0.24831460674157299</c:v>
                </c:pt>
                <c:pt idx="13924">
                  <c:v>0.24833244159086801</c:v>
                </c:pt>
                <c:pt idx="13925">
                  <c:v>0.248350276440164</c:v>
                </c:pt>
                <c:pt idx="13926">
                  <c:v>0.24836811128945899</c:v>
                </c:pt>
                <c:pt idx="13927">
                  <c:v>0.248385946138755</c:v>
                </c:pt>
                <c:pt idx="13928">
                  <c:v>0.24840378098804999</c:v>
                </c:pt>
                <c:pt idx="13929">
                  <c:v>0.24842161583734601</c:v>
                </c:pt>
                <c:pt idx="13930">
                  <c:v>0.248439450686641</c:v>
                </c:pt>
                <c:pt idx="13931">
                  <c:v>0.24845728553593699</c:v>
                </c:pt>
                <c:pt idx="13932">
                  <c:v>0.24847512038523201</c:v>
                </c:pt>
                <c:pt idx="13933">
                  <c:v>0.248492955234528</c:v>
                </c:pt>
                <c:pt idx="13934">
                  <c:v>0.24851079008382301</c:v>
                </c:pt>
                <c:pt idx="13935">
                  <c:v>0.248528624933119</c:v>
                </c:pt>
                <c:pt idx="13936">
                  <c:v>0.24854645978241399</c:v>
                </c:pt>
                <c:pt idx="13937">
                  <c:v>0.24856429463171001</c:v>
                </c:pt>
                <c:pt idx="13938">
                  <c:v>0.248582129481005</c:v>
                </c:pt>
                <c:pt idx="13939">
                  <c:v>0.24859996433030099</c:v>
                </c:pt>
                <c:pt idx="13940">
                  <c:v>0.24861779917959601</c:v>
                </c:pt>
                <c:pt idx="13941">
                  <c:v>0.24863563402889199</c:v>
                </c:pt>
                <c:pt idx="13942">
                  <c:v>0.24865346887818701</c:v>
                </c:pt>
                <c:pt idx="13943">
                  <c:v>0.248671303727483</c:v>
                </c:pt>
                <c:pt idx="13944">
                  <c:v>0.24868913857677899</c:v>
                </c:pt>
                <c:pt idx="13945">
                  <c:v>0.24870697342607401</c:v>
                </c:pt>
                <c:pt idx="13946">
                  <c:v>0.24872480827537</c:v>
                </c:pt>
                <c:pt idx="13947">
                  <c:v>0.24874264312466501</c:v>
                </c:pt>
                <c:pt idx="13948">
                  <c:v>0.248760477973961</c:v>
                </c:pt>
                <c:pt idx="13949">
                  <c:v>0.24877831282325599</c:v>
                </c:pt>
                <c:pt idx="13950">
                  <c:v>0.24879614767255201</c:v>
                </c:pt>
                <c:pt idx="13951">
                  <c:v>0.248813982521847</c:v>
                </c:pt>
                <c:pt idx="13952">
                  <c:v>0.24883181737114299</c:v>
                </c:pt>
                <c:pt idx="13953">
                  <c:v>0.24884965222043801</c:v>
                </c:pt>
                <c:pt idx="13954">
                  <c:v>0.24886748706973399</c:v>
                </c:pt>
                <c:pt idx="13955">
                  <c:v>0.24888532191902901</c:v>
                </c:pt>
                <c:pt idx="13956">
                  <c:v>0.248903156768325</c:v>
                </c:pt>
                <c:pt idx="13957">
                  <c:v>0.24892099161761999</c:v>
                </c:pt>
                <c:pt idx="13958">
                  <c:v>0.24893882646691601</c:v>
                </c:pt>
                <c:pt idx="13959">
                  <c:v>0.248956661316211</c:v>
                </c:pt>
                <c:pt idx="13960">
                  <c:v>0.24897449616550699</c:v>
                </c:pt>
                <c:pt idx="13961">
                  <c:v>0.248992331014802</c:v>
                </c:pt>
                <c:pt idx="13962">
                  <c:v>0.24901016586409799</c:v>
                </c:pt>
                <c:pt idx="13963">
                  <c:v>0.24902800071339301</c:v>
                </c:pt>
                <c:pt idx="13964">
                  <c:v>0.249045835562689</c:v>
                </c:pt>
                <c:pt idx="13965">
                  <c:v>0.24906367041198499</c:v>
                </c:pt>
                <c:pt idx="13966">
                  <c:v>0.24908150526128001</c:v>
                </c:pt>
                <c:pt idx="13967">
                  <c:v>0.249099340110576</c:v>
                </c:pt>
                <c:pt idx="13968">
                  <c:v>0.24911717495987101</c:v>
                </c:pt>
                <c:pt idx="13969">
                  <c:v>0.249135009809167</c:v>
                </c:pt>
                <c:pt idx="13970">
                  <c:v>0.24915284465846199</c:v>
                </c:pt>
                <c:pt idx="13971">
                  <c:v>0.24917067950775801</c:v>
                </c:pt>
                <c:pt idx="13972">
                  <c:v>0.249188514357053</c:v>
                </c:pt>
                <c:pt idx="13973">
                  <c:v>0.24920634920634899</c:v>
                </c:pt>
                <c:pt idx="13974">
                  <c:v>0.249224184055644</c:v>
                </c:pt>
                <c:pt idx="13975">
                  <c:v>0.24924201890493999</c:v>
                </c:pt>
                <c:pt idx="13976">
                  <c:v>0.24925985375423501</c:v>
                </c:pt>
                <c:pt idx="13977">
                  <c:v>0.249277688603531</c:v>
                </c:pt>
                <c:pt idx="13978">
                  <c:v>0.24929552345282599</c:v>
                </c:pt>
                <c:pt idx="13979">
                  <c:v>0.24931335830212201</c:v>
                </c:pt>
                <c:pt idx="13980">
                  <c:v>0.249331193151417</c:v>
                </c:pt>
                <c:pt idx="13981">
                  <c:v>0.24934902800071301</c:v>
                </c:pt>
                <c:pt idx="13982">
                  <c:v>0.249366862850008</c:v>
                </c:pt>
                <c:pt idx="13983">
                  <c:v>0.24938469769930399</c:v>
                </c:pt>
                <c:pt idx="13984">
                  <c:v>0.24940253254859901</c:v>
                </c:pt>
                <c:pt idx="13985">
                  <c:v>0.249420367397895</c:v>
                </c:pt>
                <c:pt idx="13986">
                  <c:v>0.24943820224719099</c:v>
                </c:pt>
                <c:pt idx="13987">
                  <c:v>0.24945603709648601</c:v>
                </c:pt>
                <c:pt idx="13988">
                  <c:v>0.24947387194578199</c:v>
                </c:pt>
                <c:pt idx="13989">
                  <c:v>0.24949170679507701</c:v>
                </c:pt>
                <c:pt idx="13990">
                  <c:v>0.249509541644373</c:v>
                </c:pt>
                <c:pt idx="13991">
                  <c:v>0.24952737649366799</c:v>
                </c:pt>
                <c:pt idx="13992">
                  <c:v>0.24954521134296401</c:v>
                </c:pt>
                <c:pt idx="13993">
                  <c:v>0.249563046192259</c:v>
                </c:pt>
                <c:pt idx="13994">
                  <c:v>0.24958088104155501</c:v>
                </c:pt>
                <c:pt idx="13995">
                  <c:v>0.24959871589085</c:v>
                </c:pt>
                <c:pt idx="13996">
                  <c:v>0.24961655074014599</c:v>
                </c:pt>
                <c:pt idx="13997">
                  <c:v>0.24963438558944101</c:v>
                </c:pt>
                <c:pt idx="13998">
                  <c:v>0.249652220438737</c:v>
                </c:pt>
                <c:pt idx="13999">
                  <c:v>0.24967005528803199</c:v>
                </c:pt>
                <c:pt idx="14000">
                  <c:v>0.24968789013732801</c:v>
                </c:pt>
                <c:pt idx="14001">
                  <c:v>0.249705724986623</c:v>
                </c:pt>
                <c:pt idx="14002">
                  <c:v>0.24972355983591901</c:v>
                </c:pt>
                <c:pt idx="14003">
                  <c:v>0.249741394685214</c:v>
                </c:pt>
                <c:pt idx="14004">
                  <c:v>0.24975922953450999</c:v>
                </c:pt>
                <c:pt idx="14005">
                  <c:v>0.24977706438380501</c:v>
                </c:pt>
                <c:pt idx="14006">
                  <c:v>0.249794899233101</c:v>
                </c:pt>
                <c:pt idx="14007">
                  <c:v>0.24981273408239699</c:v>
                </c:pt>
                <c:pt idx="14008">
                  <c:v>0.249830568931692</c:v>
                </c:pt>
                <c:pt idx="14009">
                  <c:v>0.24984840378098799</c:v>
                </c:pt>
                <c:pt idx="14010">
                  <c:v>0.24986623863028301</c:v>
                </c:pt>
                <c:pt idx="14011">
                  <c:v>0.249884073479579</c:v>
                </c:pt>
                <c:pt idx="14012">
                  <c:v>0.24990190832887399</c:v>
                </c:pt>
                <c:pt idx="14013">
                  <c:v>0.24991974317817001</c:v>
                </c:pt>
                <c:pt idx="14014">
                  <c:v>0.249937578027465</c:v>
                </c:pt>
                <c:pt idx="14015">
                  <c:v>0.24995541287676101</c:v>
                </c:pt>
                <c:pt idx="14016">
                  <c:v>0.249973247726056</c:v>
                </c:pt>
                <c:pt idx="14017">
                  <c:v>0.24999108257535199</c:v>
                </c:pt>
                <c:pt idx="14018">
                  <c:v>0.25000891742464698</c:v>
                </c:pt>
                <c:pt idx="14019">
                  <c:v>0.250026752273943</c:v>
                </c:pt>
                <c:pt idx="14020">
                  <c:v>0.25004458712323802</c:v>
                </c:pt>
                <c:pt idx="14021">
                  <c:v>0.25006242197253398</c:v>
                </c:pt>
                <c:pt idx="14022">
                  <c:v>0.25008025682182899</c:v>
                </c:pt>
                <c:pt idx="14023">
                  <c:v>0.25009809167112501</c:v>
                </c:pt>
                <c:pt idx="14024">
                  <c:v>0.25011592652041997</c:v>
                </c:pt>
                <c:pt idx="14025">
                  <c:v>0.25013376136971599</c:v>
                </c:pt>
                <c:pt idx="14026">
                  <c:v>0.25015159621901101</c:v>
                </c:pt>
                <c:pt idx="14027">
                  <c:v>0.25016943106830702</c:v>
                </c:pt>
                <c:pt idx="14028">
                  <c:v>0.25018726591760299</c:v>
                </c:pt>
                <c:pt idx="14029">
                  <c:v>0.250205100766898</c:v>
                </c:pt>
                <c:pt idx="14030">
                  <c:v>0.25022293561619402</c:v>
                </c:pt>
                <c:pt idx="14031">
                  <c:v>0.25024077046548898</c:v>
                </c:pt>
                <c:pt idx="14032">
                  <c:v>0.250258605314785</c:v>
                </c:pt>
                <c:pt idx="14033">
                  <c:v>0.25027644016408002</c:v>
                </c:pt>
                <c:pt idx="14034">
                  <c:v>0.25029427501337598</c:v>
                </c:pt>
                <c:pt idx="14035">
                  <c:v>0.250312109862671</c:v>
                </c:pt>
                <c:pt idx="14036">
                  <c:v>0.25032994471196701</c:v>
                </c:pt>
                <c:pt idx="14037">
                  <c:v>0.25034777956126197</c:v>
                </c:pt>
                <c:pt idx="14038">
                  <c:v>0.25036561441055799</c:v>
                </c:pt>
                <c:pt idx="14039">
                  <c:v>0.25038344925985301</c:v>
                </c:pt>
                <c:pt idx="14040">
                  <c:v>0.25040128410914902</c:v>
                </c:pt>
                <c:pt idx="14041">
                  <c:v>0.25041911895844399</c:v>
                </c:pt>
                <c:pt idx="14042">
                  <c:v>0.25043695380774</c:v>
                </c:pt>
                <c:pt idx="14043">
                  <c:v>0.25045478865703502</c:v>
                </c:pt>
                <c:pt idx="14044">
                  <c:v>0.25047262350633098</c:v>
                </c:pt>
                <c:pt idx="14045">
                  <c:v>0.250490458355626</c:v>
                </c:pt>
                <c:pt idx="14046">
                  <c:v>0.25050829320492202</c:v>
                </c:pt>
                <c:pt idx="14047">
                  <c:v>0.25052612805421698</c:v>
                </c:pt>
                <c:pt idx="14048">
                  <c:v>0.250543962903513</c:v>
                </c:pt>
                <c:pt idx="14049">
                  <c:v>0.25056179775280901</c:v>
                </c:pt>
                <c:pt idx="14050">
                  <c:v>0.25057963260210397</c:v>
                </c:pt>
                <c:pt idx="14051">
                  <c:v>0.25059746745139999</c:v>
                </c:pt>
                <c:pt idx="14052">
                  <c:v>0.25061530230069501</c:v>
                </c:pt>
                <c:pt idx="14053">
                  <c:v>0.25063313714999103</c:v>
                </c:pt>
                <c:pt idx="14054">
                  <c:v>0.25065097199928599</c:v>
                </c:pt>
                <c:pt idx="14055">
                  <c:v>0.250668806848582</c:v>
                </c:pt>
                <c:pt idx="14056">
                  <c:v>0.25068664169787702</c:v>
                </c:pt>
                <c:pt idx="14057">
                  <c:v>0.25070447654717298</c:v>
                </c:pt>
                <c:pt idx="14058">
                  <c:v>0.250722311396468</c:v>
                </c:pt>
                <c:pt idx="14059">
                  <c:v>0.25074014624576402</c:v>
                </c:pt>
                <c:pt idx="14060">
                  <c:v>0.25075798109505898</c:v>
                </c:pt>
                <c:pt idx="14061">
                  <c:v>0.250775815944355</c:v>
                </c:pt>
                <c:pt idx="14062">
                  <c:v>0.25079365079365001</c:v>
                </c:pt>
                <c:pt idx="14063">
                  <c:v>0.25081148564294597</c:v>
                </c:pt>
                <c:pt idx="14064">
                  <c:v>0.25082932049224099</c:v>
                </c:pt>
                <c:pt idx="14065">
                  <c:v>0.25084715534153701</c:v>
                </c:pt>
                <c:pt idx="14066">
                  <c:v>0.25086499019083203</c:v>
                </c:pt>
                <c:pt idx="14067">
                  <c:v>0.25088282504012799</c:v>
                </c:pt>
                <c:pt idx="14068">
                  <c:v>0.25090065988942301</c:v>
                </c:pt>
                <c:pt idx="14069">
                  <c:v>0.25091849473871902</c:v>
                </c:pt>
                <c:pt idx="14070">
                  <c:v>0.25093632958801498</c:v>
                </c:pt>
                <c:pt idx="14071">
                  <c:v>0.25095416443731</c:v>
                </c:pt>
                <c:pt idx="14072">
                  <c:v>0.25097199928660602</c:v>
                </c:pt>
                <c:pt idx="14073">
                  <c:v>0.25098983413590098</c:v>
                </c:pt>
                <c:pt idx="14074">
                  <c:v>0.251007668985197</c:v>
                </c:pt>
                <c:pt idx="14075">
                  <c:v>0.25102550383449201</c:v>
                </c:pt>
                <c:pt idx="14076">
                  <c:v>0.25104333868378798</c:v>
                </c:pt>
                <c:pt idx="14077">
                  <c:v>0.25106117353308299</c:v>
                </c:pt>
                <c:pt idx="14078">
                  <c:v>0.25107900838237901</c:v>
                </c:pt>
                <c:pt idx="14079">
                  <c:v>0.25109684323167403</c:v>
                </c:pt>
                <c:pt idx="14080">
                  <c:v>0.25111467808096999</c:v>
                </c:pt>
                <c:pt idx="14081">
                  <c:v>0.25113251293026501</c:v>
                </c:pt>
                <c:pt idx="14082">
                  <c:v>0.25115034777956102</c:v>
                </c:pt>
                <c:pt idx="14083">
                  <c:v>0.25116818262885598</c:v>
                </c:pt>
                <c:pt idx="14084">
                  <c:v>0.251186017478152</c:v>
                </c:pt>
                <c:pt idx="14085">
                  <c:v>0.25120385232744702</c:v>
                </c:pt>
                <c:pt idx="14086">
                  <c:v>0.25122168717674298</c:v>
                </c:pt>
                <c:pt idx="14087">
                  <c:v>0.251239522026038</c:v>
                </c:pt>
                <c:pt idx="14088">
                  <c:v>0.25125735687533401</c:v>
                </c:pt>
                <c:pt idx="14089">
                  <c:v>0.25127519172462898</c:v>
                </c:pt>
                <c:pt idx="14090">
                  <c:v>0.25129302657392499</c:v>
                </c:pt>
                <c:pt idx="14091">
                  <c:v>0.25131086142322001</c:v>
                </c:pt>
                <c:pt idx="14092">
                  <c:v>0.25132869627251597</c:v>
                </c:pt>
                <c:pt idx="14093">
                  <c:v>0.25134653112181199</c:v>
                </c:pt>
                <c:pt idx="14094">
                  <c:v>0.25136436597110701</c:v>
                </c:pt>
                <c:pt idx="14095">
                  <c:v>0.25138220082040302</c:v>
                </c:pt>
                <c:pt idx="14096">
                  <c:v>0.25140003566969799</c:v>
                </c:pt>
                <c:pt idx="14097">
                  <c:v>0.251417870518994</c:v>
                </c:pt>
                <c:pt idx="14098">
                  <c:v>0.25143570536828902</c:v>
                </c:pt>
                <c:pt idx="14099">
                  <c:v>0.25145354021758498</c:v>
                </c:pt>
                <c:pt idx="14100">
                  <c:v>0.25147137506688</c:v>
                </c:pt>
                <c:pt idx="14101">
                  <c:v>0.25148920991617602</c:v>
                </c:pt>
                <c:pt idx="14102">
                  <c:v>0.25150704476547098</c:v>
                </c:pt>
                <c:pt idx="14103">
                  <c:v>0.25152487961476699</c:v>
                </c:pt>
                <c:pt idx="14104">
                  <c:v>0.25154271446406201</c:v>
                </c:pt>
                <c:pt idx="14105">
                  <c:v>0.25156054931335797</c:v>
                </c:pt>
                <c:pt idx="14106">
                  <c:v>0.25157838416265299</c:v>
                </c:pt>
                <c:pt idx="14107">
                  <c:v>0.25159621901194901</c:v>
                </c:pt>
                <c:pt idx="14108">
                  <c:v>0.25161405386124402</c:v>
                </c:pt>
                <c:pt idx="14109">
                  <c:v>0.25163188871053999</c:v>
                </c:pt>
                <c:pt idx="14110">
                  <c:v>0.251649723559835</c:v>
                </c:pt>
                <c:pt idx="14111">
                  <c:v>0.25166755840913102</c:v>
                </c:pt>
                <c:pt idx="14112">
                  <c:v>0.25168539325842698</c:v>
                </c:pt>
                <c:pt idx="14113">
                  <c:v>0.251703228107722</c:v>
                </c:pt>
                <c:pt idx="14114">
                  <c:v>0.25172106295701802</c:v>
                </c:pt>
                <c:pt idx="14115">
                  <c:v>0.25173889780631298</c:v>
                </c:pt>
                <c:pt idx="14116">
                  <c:v>0.25175673265560899</c:v>
                </c:pt>
                <c:pt idx="14117">
                  <c:v>0.25177456750490401</c:v>
                </c:pt>
                <c:pt idx="14118">
                  <c:v>0.25179240235419997</c:v>
                </c:pt>
                <c:pt idx="14119">
                  <c:v>0.25181023720349499</c:v>
                </c:pt>
                <c:pt idx="14120">
                  <c:v>0.25182807205279101</c:v>
                </c:pt>
                <c:pt idx="14121">
                  <c:v>0.25184590690208603</c:v>
                </c:pt>
                <c:pt idx="14122">
                  <c:v>0.25186374175138199</c:v>
                </c:pt>
                <c:pt idx="14123">
                  <c:v>0.251881576600677</c:v>
                </c:pt>
                <c:pt idx="14124">
                  <c:v>0.25189941144997302</c:v>
                </c:pt>
                <c:pt idx="14125">
                  <c:v>0.25191724629926798</c:v>
                </c:pt>
                <c:pt idx="14126">
                  <c:v>0.251935081148564</c:v>
                </c:pt>
                <c:pt idx="14127">
                  <c:v>0.25195291599785902</c:v>
                </c:pt>
                <c:pt idx="14128">
                  <c:v>0.25197075084715498</c:v>
                </c:pt>
                <c:pt idx="14129">
                  <c:v>0.25198858569645</c:v>
                </c:pt>
                <c:pt idx="14130">
                  <c:v>0.25200642054574601</c:v>
                </c:pt>
                <c:pt idx="14131">
                  <c:v>0.25202425539504097</c:v>
                </c:pt>
                <c:pt idx="14132">
                  <c:v>0.25204209024433699</c:v>
                </c:pt>
                <c:pt idx="14133">
                  <c:v>0.25205992509363201</c:v>
                </c:pt>
                <c:pt idx="14134">
                  <c:v>0.25207775994292803</c:v>
                </c:pt>
                <c:pt idx="14135">
                  <c:v>0.25209559479222399</c:v>
                </c:pt>
                <c:pt idx="14136">
                  <c:v>0.252113429641519</c:v>
                </c:pt>
                <c:pt idx="14137">
                  <c:v>0.25213126449081502</c:v>
                </c:pt>
                <c:pt idx="14138">
                  <c:v>0.25214909934010998</c:v>
                </c:pt>
                <c:pt idx="14139">
                  <c:v>0.252166934189406</c:v>
                </c:pt>
                <c:pt idx="14140">
                  <c:v>0.25218476903870102</c:v>
                </c:pt>
                <c:pt idx="14141">
                  <c:v>0.25220260388799698</c:v>
                </c:pt>
                <c:pt idx="14142">
                  <c:v>0.252220438737292</c:v>
                </c:pt>
                <c:pt idx="14143">
                  <c:v>0.25223827358658801</c:v>
                </c:pt>
                <c:pt idx="14144">
                  <c:v>0.25225610843588298</c:v>
                </c:pt>
                <c:pt idx="14145">
                  <c:v>0.25227394328517899</c:v>
                </c:pt>
                <c:pt idx="14146">
                  <c:v>0.25229177813447401</c:v>
                </c:pt>
                <c:pt idx="14147">
                  <c:v>0.25230961298377003</c:v>
                </c:pt>
                <c:pt idx="14148">
                  <c:v>0.25232744783306499</c:v>
                </c:pt>
                <c:pt idx="14149">
                  <c:v>0.25234528268236101</c:v>
                </c:pt>
                <c:pt idx="14150">
                  <c:v>0.25236311753165602</c:v>
                </c:pt>
                <c:pt idx="14151">
                  <c:v>0.25238095238095198</c:v>
                </c:pt>
                <c:pt idx="14152">
                  <c:v>0.252398787230247</c:v>
                </c:pt>
                <c:pt idx="14153">
                  <c:v>0.25241662207954302</c:v>
                </c:pt>
                <c:pt idx="14154">
                  <c:v>0.25243445692883798</c:v>
                </c:pt>
                <c:pt idx="14155">
                  <c:v>0.252452291778134</c:v>
                </c:pt>
                <c:pt idx="14156">
                  <c:v>0.25247012662743001</c:v>
                </c:pt>
                <c:pt idx="14157">
                  <c:v>0.25248796147672498</c:v>
                </c:pt>
                <c:pt idx="14158">
                  <c:v>0.25250579632602099</c:v>
                </c:pt>
                <c:pt idx="14159">
                  <c:v>0.25252363117531601</c:v>
                </c:pt>
                <c:pt idx="14160">
                  <c:v>0.25254146602461203</c:v>
                </c:pt>
                <c:pt idx="14161">
                  <c:v>0.25255930087390699</c:v>
                </c:pt>
                <c:pt idx="14162">
                  <c:v>0.25257713572320301</c:v>
                </c:pt>
                <c:pt idx="14163">
                  <c:v>0.25259497057249802</c:v>
                </c:pt>
                <c:pt idx="14164">
                  <c:v>0.25261280542179398</c:v>
                </c:pt>
                <c:pt idx="14165">
                  <c:v>0.252630640271089</c:v>
                </c:pt>
                <c:pt idx="14166">
                  <c:v>0.25264847512038502</c:v>
                </c:pt>
                <c:pt idx="14167">
                  <c:v>0.25266630996967998</c:v>
                </c:pt>
                <c:pt idx="14168">
                  <c:v>0.252684144818976</c:v>
                </c:pt>
                <c:pt idx="14169">
                  <c:v>0.25270197966827102</c:v>
                </c:pt>
                <c:pt idx="14170">
                  <c:v>0.25271981451756698</c:v>
                </c:pt>
                <c:pt idx="14171">
                  <c:v>0.25273764936686199</c:v>
                </c:pt>
                <c:pt idx="14172">
                  <c:v>0.25275548421615801</c:v>
                </c:pt>
                <c:pt idx="14173">
                  <c:v>0.25277331906545297</c:v>
                </c:pt>
                <c:pt idx="14174">
                  <c:v>0.25279115391474899</c:v>
                </c:pt>
                <c:pt idx="14175">
                  <c:v>0.25280898876404401</c:v>
                </c:pt>
                <c:pt idx="14176">
                  <c:v>0.25282682361334002</c:v>
                </c:pt>
                <c:pt idx="14177">
                  <c:v>0.25284465846263598</c:v>
                </c:pt>
                <c:pt idx="14178">
                  <c:v>0.252862493311931</c:v>
                </c:pt>
                <c:pt idx="14179">
                  <c:v>0.25288032816122702</c:v>
                </c:pt>
                <c:pt idx="14180">
                  <c:v>0.25289816301052198</c:v>
                </c:pt>
                <c:pt idx="14181">
                  <c:v>0.252915997859818</c:v>
                </c:pt>
                <c:pt idx="14182">
                  <c:v>0.25293383270911302</c:v>
                </c:pt>
                <c:pt idx="14183">
                  <c:v>0.25295166755840898</c:v>
                </c:pt>
                <c:pt idx="14184">
                  <c:v>0.25296950240770399</c:v>
                </c:pt>
                <c:pt idx="14185">
                  <c:v>0.25298733725700001</c:v>
                </c:pt>
                <c:pt idx="14186">
                  <c:v>0.25300517210629497</c:v>
                </c:pt>
                <c:pt idx="14187">
                  <c:v>0.25302300695559099</c:v>
                </c:pt>
                <c:pt idx="14188">
                  <c:v>0.25304084180488601</c:v>
                </c:pt>
                <c:pt idx="14189">
                  <c:v>0.25305867665418202</c:v>
                </c:pt>
                <c:pt idx="14190">
                  <c:v>0.25307651150347699</c:v>
                </c:pt>
                <c:pt idx="14191">
                  <c:v>0.253094346352773</c:v>
                </c:pt>
                <c:pt idx="14192">
                  <c:v>0.25311218120206802</c:v>
                </c:pt>
                <c:pt idx="14193">
                  <c:v>0.25313001605136398</c:v>
                </c:pt>
                <c:pt idx="14194">
                  <c:v>0.253147850900659</c:v>
                </c:pt>
                <c:pt idx="14195">
                  <c:v>0.25316568574995502</c:v>
                </c:pt>
                <c:pt idx="14196">
                  <c:v>0.25318352059924998</c:v>
                </c:pt>
                <c:pt idx="14197">
                  <c:v>0.25320135544854599</c:v>
                </c:pt>
                <c:pt idx="14198">
                  <c:v>0.25321919029784101</c:v>
                </c:pt>
                <c:pt idx="14199">
                  <c:v>0.25323702514713697</c:v>
                </c:pt>
                <c:pt idx="14200">
                  <c:v>0.25325485999643299</c:v>
                </c:pt>
                <c:pt idx="14201">
                  <c:v>0.25327269484572801</c:v>
                </c:pt>
                <c:pt idx="14202">
                  <c:v>0.25329052969502402</c:v>
                </c:pt>
                <c:pt idx="14203">
                  <c:v>0.25330836454431899</c:v>
                </c:pt>
                <c:pt idx="14204">
                  <c:v>0.253326199393615</c:v>
                </c:pt>
                <c:pt idx="14205">
                  <c:v>0.25334403424291002</c:v>
                </c:pt>
                <c:pt idx="14206">
                  <c:v>0.25336186909220598</c:v>
                </c:pt>
                <c:pt idx="14207">
                  <c:v>0.253379703941501</c:v>
                </c:pt>
                <c:pt idx="14208">
                  <c:v>0.25339753879079702</c:v>
                </c:pt>
                <c:pt idx="14209">
                  <c:v>0.25341537364009198</c:v>
                </c:pt>
                <c:pt idx="14210">
                  <c:v>0.253433208489388</c:v>
                </c:pt>
                <c:pt idx="14211">
                  <c:v>0.25345104333868301</c:v>
                </c:pt>
                <c:pt idx="14212">
                  <c:v>0.25346887818797897</c:v>
                </c:pt>
                <c:pt idx="14213">
                  <c:v>0.25348671303727399</c:v>
                </c:pt>
                <c:pt idx="14214">
                  <c:v>0.25350454788657001</c:v>
                </c:pt>
                <c:pt idx="14215">
                  <c:v>0.25352238273586503</c:v>
                </c:pt>
                <c:pt idx="14216">
                  <c:v>0.25354021758516099</c:v>
                </c:pt>
                <c:pt idx="14217">
                  <c:v>0.253558052434456</c:v>
                </c:pt>
                <c:pt idx="14218">
                  <c:v>0.25357588728375202</c:v>
                </c:pt>
                <c:pt idx="14219">
                  <c:v>0.25359372213304798</c:v>
                </c:pt>
                <c:pt idx="14220">
                  <c:v>0.253611556982343</c:v>
                </c:pt>
                <c:pt idx="14221">
                  <c:v>0.25362939183163902</c:v>
                </c:pt>
                <c:pt idx="14222">
                  <c:v>0.25364722668093398</c:v>
                </c:pt>
                <c:pt idx="14223">
                  <c:v>0.25366506153023</c:v>
                </c:pt>
                <c:pt idx="14224">
                  <c:v>0.25368289637952501</c:v>
                </c:pt>
                <c:pt idx="14225">
                  <c:v>0.25370073122882097</c:v>
                </c:pt>
                <c:pt idx="14226">
                  <c:v>0.25371856607811599</c:v>
                </c:pt>
                <c:pt idx="14227">
                  <c:v>0.25373640092741201</c:v>
                </c:pt>
                <c:pt idx="14228">
                  <c:v>0.25375423577670703</c:v>
                </c:pt>
                <c:pt idx="14229">
                  <c:v>0.25377207062600299</c:v>
                </c:pt>
                <c:pt idx="14230">
                  <c:v>0.25378990547529801</c:v>
                </c:pt>
                <c:pt idx="14231">
                  <c:v>0.25380774032459402</c:v>
                </c:pt>
                <c:pt idx="14232">
                  <c:v>0.25382557517388898</c:v>
                </c:pt>
                <c:pt idx="14233">
                  <c:v>0.253843410023185</c:v>
                </c:pt>
                <c:pt idx="14234">
                  <c:v>0.25386124487248002</c:v>
                </c:pt>
                <c:pt idx="14235">
                  <c:v>0.25387907972177598</c:v>
                </c:pt>
                <c:pt idx="14236">
                  <c:v>0.253896914571071</c:v>
                </c:pt>
                <c:pt idx="14237">
                  <c:v>0.25391474942036701</c:v>
                </c:pt>
                <c:pt idx="14238">
                  <c:v>0.25393258426966198</c:v>
                </c:pt>
                <c:pt idx="14239">
                  <c:v>0.25395041911895799</c:v>
                </c:pt>
                <c:pt idx="14240">
                  <c:v>0.25396825396825301</c:v>
                </c:pt>
                <c:pt idx="14241">
                  <c:v>0.25398608881754903</c:v>
                </c:pt>
                <c:pt idx="14242">
                  <c:v>0.25400392366684499</c:v>
                </c:pt>
                <c:pt idx="14243">
                  <c:v>0.25402175851614001</c:v>
                </c:pt>
                <c:pt idx="14244">
                  <c:v>0.25403959336543602</c:v>
                </c:pt>
                <c:pt idx="14245">
                  <c:v>0.25405742821473098</c:v>
                </c:pt>
                <c:pt idx="14246">
                  <c:v>0.254075263064027</c:v>
                </c:pt>
                <c:pt idx="14247">
                  <c:v>0.25409309791332202</c:v>
                </c:pt>
                <c:pt idx="14248">
                  <c:v>0.25411093276261798</c:v>
                </c:pt>
                <c:pt idx="14249">
                  <c:v>0.254128767611913</c:v>
                </c:pt>
                <c:pt idx="14250">
                  <c:v>0.25414660246120901</c:v>
                </c:pt>
                <c:pt idx="14251">
                  <c:v>0.25416443731050398</c:v>
                </c:pt>
                <c:pt idx="14252">
                  <c:v>0.25418227215979999</c:v>
                </c:pt>
                <c:pt idx="14253">
                  <c:v>0.25420010700909501</c:v>
                </c:pt>
                <c:pt idx="14254">
                  <c:v>0.25421794185839097</c:v>
                </c:pt>
                <c:pt idx="14255">
                  <c:v>0.25423577670768599</c:v>
                </c:pt>
                <c:pt idx="14256">
                  <c:v>0.25425361155698201</c:v>
                </c:pt>
                <c:pt idx="14257">
                  <c:v>0.25427144640627702</c:v>
                </c:pt>
                <c:pt idx="14258">
                  <c:v>0.25428928125557299</c:v>
                </c:pt>
                <c:pt idx="14259">
                  <c:v>0.254307116104868</c:v>
                </c:pt>
                <c:pt idx="14260">
                  <c:v>0.25432495095416402</c:v>
                </c:pt>
                <c:pt idx="14261">
                  <c:v>0.25434278580345998</c:v>
                </c:pt>
                <c:pt idx="14262">
                  <c:v>0.254360620652755</c:v>
                </c:pt>
                <c:pt idx="14263">
                  <c:v>0.25437845550205102</c:v>
                </c:pt>
                <c:pt idx="14264">
                  <c:v>0.25439629035134598</c:v>
                </c:pt>
                <c:pt idx="14265">
                  <c:v>0.25441412520064199</c:v>
                </c:pt>
                <c:pt idx="14266">
                  <c:v>0.25443196004993701</c:v>
                </c:pt>
                <c:pt idx="14267">
                  <c:v>0.25444979489923297</c:v>
                </c:pt>
                <c:pt idx="14268">
                  <c:v>0.25446762974852799</c:v>
                </c:pt>
                <c:pt idx="14269">
                  <c:v>0.25448546459782401</c:v>
                </c:pt>
                <c:pt idx="14270">
                  <c:v>0.25450329944711902</c:v>
                </c:pt>
                <c:pt idx="14271">
                  <c:v>0.25452113429641499</c:v>
                </c:pt>
                <c:pt idx="14272">
                  <c:v>0.25453896914571</c:v>
                </c:pt>
                <c:pt idx="14273">
                  <c:v>0.25455680399500602</c:v>
                </c:pt>
                <c:pt idx="14274">
                  <c:v>0.25457463884430098</c:v>
                </c:pt>
                <c:pt idx="14275">
                  <c:v>0.254592473693597</c:v>
                </c:pt>
                <c:pt idx="14276">
                  <c:v>0.25461030854289202</c:v>
                </c:pt>
                <c:pt idx="14277">
                  <c:v>0.25462814339218798</c:v>
                </c:pt>
                <c:pt idx="14278">
                  <c:v>0.254645978241483</c:v>
                </c:pt>
                <c:pt idx="14279">
                  <c:v>0.25466381309077901</c:v>
                </c:pt>
                <c:pt idx="14280">
                  <c:v>0.25468164794007397</c:v>
                </c:pt>
                <c:pt idx="14281">
                  <c:v>0.25469948278936999</c:v>
                </c:pt>
                <c:pt idx="14282">
                  <c:v>0.25471731763866501</c:v>
                </c:pt>
                <c:pt idx="14283">
                  <c:v>0.25473515248796103</c:v>
                </c:pt>
                <c:pt idx="14284">
                  <c:v>0.25475298733725699</c:v>
                </c:pt>
                <c:pt idx="14285">
                  <c:v>0.254770822186552</c:v>
                </c:pt>
                <c:pt idx="14286">
                  <c:v>0.25478865703584802</c:v>
                </c:pt>
                <c:pt idx="14287">
                  <c:v>0.25480649188514298</c:v>
                </c:pt>
                <c:pt idx="14288">
                  <c:v>0.254824326734439</c:v>
                </c:pt>
                <c:pt idx="14289">
                  <c:v>0.25484216158373402</c:v>
                </c:pt>
                <c:pt idx="14290">
                  <c:v>0.25485999643302998</c:v>
                </c:pt>
                <c:pt idx="14291">
                  <c:v>0.254877831282325</c:v>
                </c:pt>
                <c:pt idx="14292">
                  <c:v>0.25489566613162101</c:v>
                </c:pt>
                <c:pt idx="14293">
                  <c:v>0.25491350098091597</c:v>
                </c:pt>
                <c:pt idx="14294">
                  <c:v>0.25493133583021199</c:v>
                </c:pt>
                <c:pt idx="14295">
                  <c:v>0.25494917067950701</c:v>
                </c:pt>
                <c:pt idx="14296">
                  <c:v>0.25496700552880303</c:v>
                </c:pt>
                <c:pt idx="14297">
                  <c:v>0.25498484037809799</c:v>
                </c:pt>
                <c:pt idx="14298">
                  <c:v>0.255002675227394</c:v>
                </c:pt>
                <c:pt idx="14299">
                  <c:v>0.25502051007668902</c:v>
                </c:pt>
                <c:pt idx="14300">
                  <c:v>0.25503834492598498</c:v>
                </c:pt>
                <c:pt idx="14301">
                  <c:v>0.25505617977528</c:v>
                </c:pt>
                <c:pt idx="14302">
                  <c:v>0.25507401462457602</c:v>
                </c:pt>
                <c:pt idx="14303">
                  <c:v>0.25509184947387098</c:v>
                </c:pt>
                <c:pt idx="14304">
                  <c:v>0.255109684323167</c:v>
                </c:pt>
                <c:pt idx="14305">
                  <c:v>0.25512751917246301</c:v>
                </c:pt>
                <c:pt idx="14306">
                  <c:v>0.25514535402175798</c:v>
                </c:pt>
                <c:pt idx="14307">
                  <c:v>0.25516318887105399</c:v>
                </c:pt>
                <c:pt idx="14308">
                  <c:v>0.25518102372034901</c:v>
                </c:pt>
                <c:pt idx="14309">
                  <c:v>0.25519885856964503</c:v>
                </c:pt>
                <c:pt idx="14310">
                  <c:v>0.25521669341893999</c:v>
                </c:pt>
                <c:pt idx="14311">
                  <c:v>0.25523452826823601</c:v>
                </c:pt>
                <c:pt idx="14312">
                  <c:v>0.25525236311753102</c:v>
                </c:pt>
                <c:pt idx="14313">
                  <c:v>0.25527019796682698</c:v>
                </c:pt>
                <c:pt idx="14314">
                  <c:v>0.255288032816122</c:v>
                </c:pt>
                <c:pt idx="14315">
                  <c:v>0.25530586766541802</c:v>
                </c:pt>
                <c:pt idx="14316">
                  <c:v>0.25532370251471298</c:v>
                </c:pt>
                <c:pt idx="14317">
                  <c:v>0.255341537364009</c:v>
                </c:pt>
                <c:pt idx="14318">
                  <c:v>0.25535937221330401</c:v>
                </c:pt>
                <c:pt idx="14319">
                  <c:v>0.25537720706259998</c:v>
                </c:pt>
                <c:pt idx="14320">
                  <c:v>0.25539504191189499</c:v>
                </c:pt>
                <c:pt idx="14321">
                  <c:v>0.25541287676119101</c:v>
                </c:pt>
                <c:pt idx="14322">
                  <c:v>0.25543071161048603</c:v>
                </c:pt>
                <c:pt idx="14323">
                  <c:v>0.25544854645978199</c:v>
                </c:pt>
                <c:pt idx="14324">
                  <c:v>0.25546638130907701</c:v>
                </c:pt>
                <c:pt idx="14325">
                  <c:v>0.25548421615837302</c:v>
                </c:pt>
                <c:pt idx="14326">
                  <c:v>0.25550205100766898</c:v>
                </c:pt>
                <c:pt idx="14327">
                  <c:v>0.255519885856964</c:v>
                </c:pt>
                <c:pt idx="14328">
                  <c:v>0.25553772070626002</c:v>
                </c:pt>
                <c:pt idx="14329">
                  <c:v>0.25555555555555498</c:v>
                </c:pt>
                <c:pt idx="14330">
                  <c:v>0.255573390404851</c:v>
                </c:pt>
                <c:pt idx="14331">
                  <c:v>0.25559122525414602</c:v>
                </c:pt>
                <c:pt idx="14332">
                  <c:v>0.25560906010344198</c:v>
                </c:pt>
                <c:pt idx="14333">
                  <c:v>0.25562689495273699</c:v>
                </c:pt>
                <c:pt idx="14334">
                  <c:v>0.25564472980203301</c:v>
                </c:pt>
                <c:pt idx="14335">
                  <c:v>0.25566256465132797</c:v>
                </c:pt>
                <c:pt idx="14336">
                  <c:v>0.25568039950062399</c:v>
                </c:pt>
                <c:pt idx="14337">
                  <c:v>0.25569823434991901</c:v>
                </c:pt>
                <c:pt idx="14338">
                  <c:v>0.25571606919921502</c:v>
                </c:pt>
                <c:pt idx="14339">
                  <c:v>0.25573390404850999</c:v>
                </c:pt>
                <c:pt idx="14340">
                  <c:v>0.255751738897806</c:v>
                </c:pt>
                <c:pt idx="14341">
                  <c:v>0.25576957374710102</c:v>
                </c:pt>
                <c:pt idx="14342">
                  <c:v>0.25578740859639698</c:v>
                </c:pt>
                <c:pt idx="14343">
                  <c:v>0.255805243445692</c:v>
                </c:pt>
                <c:pt idx="14344">
                  <c:v>0.25582307829498802</c:v>
                </c:pt>
                <c:pt idx="14345">
                  <c:v>0.25584091314428298</c:v>
                </c:pt>
                <c:pt idx="14346">
                  <c:v>0.25585874799357899</c:v>
                </c:pt>
                <c:pt idx="14347">
                  <c:v>0.25587658284287401</c:v>
                </c:pt>
                <c:pt idx="14348">
                  <c:v>0.25589441769216997</c:v>
                </c:pt>
                <c:pt idx="14349">
                  <c:v>0.25591225254146599</c:v>
                </c:pt>
                <c:pt idx="14350">
                  <c:v>0.25593008739076101</c:v>
                </c:pt>
                <c:pt idx="14351">
                  <c:v>0.25594792224005702</c:v>
                </c:pt>
                <c:pt idx="14352">
                  <c:v>0.25596575708935199</c:v>
                </c:pt>
                <c:pt idx="14353">
                  <c:v>0.255983591938648</c:v>
                </c:pt>
                <c:pt idx="14354">
                  <c:v>0.25600142678794302</c:v>
                </c:pt>
                <c:pt idx="14355">
                  <c:v>0.25601926163723898</c:v>
                </c:pt>
                <c:pt idx="14356">
                  <c:v>0.256037096486534</c:v>
                </c:pt>
                <c:pt idx="14357">
                  <c:v>0.25605493133583002</c:v>
                </c:pt>
                <c:pt idx="14358">
                  <c:v>0.25607276618512498</c:v>
                </c:pt>
                <c:pt idx="14359">
                  <c:v>0.25609060103442099</c:v>
                </c:pt>
                <c:pt idx="14360">
                  <c:v>0.25610843588371601</c:v>
                </c:pt>
                <c:pt idx="14361">
                  <c:v>0.25612627073301197</c:v>
                </c:pt>
                <c:pt idx="14362">
                  <c:v>0.25614410558230699</c:v>
                </c:pt>
                <c:pt idx="14363">
                  <c:v>0.25616194043160301</c:v>
                </c:pt>
                <c:pt idx="14364">
                  <c:v>0.25617977528089803</c:v>
                </c:pt>
                <c:pt idx="14365">
                  <c:v>0.25619761013019399</c:v>
                </c:pt>
                <c:pt idx="14366">
                  <c:v>0.256215444979489</c:v>
                </c:pt>
                <c:pt idx="14367">
                  <c:v>0.25623327982878502</c:v>
                </c:pt>
                <c:pt idx="14368">
                  <c:v>0.25625111467808098</c:v>
                </c:pt>
                <c:pt idx="14369">
                  <c:v>0.256268949527376</c:v>
                </c:pt>
                <c:pt idx="14370">
                  <c:v>0.25628678437667202</c:v>
                </c:pt>
                <c:pt idx="14371">
                  <c:v>0.25630461922596698</c:v>
                </c:pt>
                <c:pt idx="14372">
                  <c:v>0.256322454075263</c:v>
                </c:pt>
                <c:pt idx="14373">
                  <c:v>0.25634028892455801</c:v>
                </c:pt>
                <c:pt idx="14374">
                  <c:v>0.25635812377385397</c:v>
                </c:pt>
                <c:pt idx="14375">
                  <c:v>0.25637595862314899</c:v>
                </c:pt>
                <c:pt idx="14376">
                  <c:v>0.25639379347244501</c:v>
                </c:pt>
                <c:pt idx="14377">
                  <c:v>0.25641162832174003</c:v>
                </c:pt>
                <c:pt idx="14378">
                  <c:v>0.25642946317103599</c:v>
                </c:pt>
                <c:pt idx="14379">
                  <c:v>0.256447298020331</c:v>
                </c:pt>
                <c:pt idx="14380">
                  <c:v>0.25646513286962702</c:v>
                </c:pt>
                <c:pt idx="14381">
                  <c:v>0.25648296771892198</c:v>
                </c:pt>
                <c:pt idx="14382">
                  <c:v>0.256500802568218</c:v>
                </c:pt>
                <c:pt idx="14383">
                  <c:v>0.25651863741751302</c:v>
                </c:pt>
                <c:pt idx="14384">
                  <c:v>0.25653647226680898</c:v>
                </c:pt>
                <c:pt idx="14385">
                  <c:v>0.256554307116104</c:v>
                </c:pt>
                <c:pt idx="14386">
                  <c:v>0.25657214196540001</c:v>
                </c:pt>
                <c:pt idx="14387">
                  <c:v>0.25658997681469498</c:v>
                </c:pt>
                <c:pt idx="14388">
                  <c:v>0.25660781166399099</c:v>
                </c:pt>
                <c:pt idx="14389">
                  <c:v>0.25662564651328601</c:v>
                </c:pt>
                <c:pt idx="14390">
                  <c:v>0.25664348136258203</c:v>
                </c:pt>
                <c:pt idx="14391">
                  <c:v>0.25666131621187799</c:v>
                </c:pt>
                <c:pt idx="14392">
                  <c:v>0.25667915106117301</c:v>
                </c:pt>
                <c:pt idx="14393">
                  <c:v>0.25669698591046902</c:v>
                </c:pt>
                <c:pt idx="14394">
                  <c:v>0.25671482075976398</c:v>
                </c:pt>
                <c:pt idx="14395">
                  <c:v>0.25673265560906</c:v>
                </c:pt>
                <c:pt idx="14396">
                  <c:v>0.25675049045835502</c:v>
                </c:pt>
                <c:pt idx="14397">
                  <c:v>0.25676832530765098</c:v>
                </c:pt>
                <c:pt idx="14398">
                  <c:v>0.256786160156946</c:v>
                </c:pt>
                <c:pt idx="14399">
                  <c:v>0.25680399500624201</c:v>
                </c:pt>
                <c:pt idx="14400">
                  <c:v>0.25682182985553698</c:v>
                </c:pt>
                <c:pt idx="14401">
                  <c:v>0.25683966470483299</c:v>
                </c:pt>
                <c:pt idx="14402">
                  <c:v>0.25685749955412801</c:v>
                </c:pt>
                <c:pt idx="14403">
                  <c:v>0.25687533440342403</c:v>
                </c:pt>
                <c:pt idx="14404">
                  <c:v>0.25689316925271899</c:v>
                </c:pt>
                <c:pt idx="14405">
                  <c:v>0.25691100410201501</c:v>
                </c:pt>
                <c:pt idx="14406">
                  <c:v>0.25692883895131002</c:v>
                </c:pt>
                <c:pt idx="14407">
                  <c:v>0.25694667380060598</c:v>
                </c:pt>
                <c:pt idx="14408">
                  <c:v>0.256964508649901</c:v>
                </c:pt>
                <c:pt idx="14409">
                  <c:v>0.25698234349919702</c:v>
                </c:pt>
                <c:pt idx="14410">
                  <c:v>0.25700017834849298</c:v>
                </c:pt>
                <c:pt idx="14411">
                  <c:v>0.257018013197788</c:v>
                </c:pt>
                <c:pt idx="14412">
                  <c:v>0.25703584804708401</c:v>
                </c:pt>
                <c:pt idx="14413">
                  <c:v>0.25705368289637898</c:v>
                </c:pt>
                <c:pt idx="14414">
                  <c:v>0.25707151774567499</c:v>
                </c:pt>
                <c:pt idx="14415">
                  <c:v>0.25708935259497001</c:v>
                </c:pt>
                <c:pt idx="14416">
                  <c:v>0.25710718744426603</c:v>
                </c:pt>
                <c:pt idx="14417">
                  <c:v>0.25712502229356099</c:v>
                </c:pt>
                <c:pt idx="14418">
                  <c:v>0.25714285714285701</c:v>
                </c:pt>
                <c:pt idx="14419">
                  <c:v>0.25716069199215202</c:v>
                </c:pt>
                <c:pt idx="14420">
                  <c:v>0.25717852684144799</c:v>
                </c:pt>
                <c:pt idx="14421">
                  <c:v>0.257196361690743</c:v>
                </c:pt>
                <c:pt idx="14422">
                  <c:v>0.25721419654003902</c:v>
                </c:pt>
                <c:pt idx="14423">
                  <c:v>0.25723203138933398</c:v>
                </c:pt>
                <c:pt idx="14424">
                  <c:v>0.25724986623863</c:v>
                </c:pt>
                <c:pt idx="14425">
                  <c:v>0.25726770108792502</c:v>
                </c:pt>
                <c:pt idx="14426">
                  <c:v>0.25728553593722098</c:v>
                </c:pt>
                <c:pt idx="14427">
                  <c:v>0.25730337078651599</c:v>
                </c:pt>
                <c:pt idx="14428">
                  <c:v>0.25732120563581201</c:v>
                </c:pt>
                <c:pt idx="14429">
                  <c:v>0.25733904048510697</c:v>
                </c:pt>
                <c:pt idx="14430">
                  <c:v>0.25735687533440299</c:v>
                </c:pt>
                <c:pt idx="14431">
                  <c:v>0.25737471018369801</c:v>
                </c:pt>
                <c:pt idx="14432">
                  <c:v>0.25739254503299402</c:v>
                </c:pt>
                <c:pt idx="14433">
                  <c:v>0.25741037988228999</c:v>
                </c:pt>
                <c:pt idx="14434">
                  <c:v>0.257428214731585</c:v>
                </c:pt>
                <c:pt idx="14435">
                  <c:v>0.25744604958088102</c:v>
                </c:pt>
                <c:pt idx="14436">
                  <c:v>0.25746388443017598</c:v>
                </c:pt>
                <c:pt idx="14437">
                  <c:v>0.257481719279472</c:v>
                </c:pt>
                <c:pt idx="14438">
                  <c:v>0.25749955412876702</c:v>
                </c:pt>
                <c:pt idx="14439">
                  <c:v>0.25751738897806298</c:v>
                </c:pt>
                <c:pt idx="14440">
                  <c:v>0.257535223827358</c:v>
                </c:pt>
                <c:pt idx="14441">
                  <c:v>0.25755305867665401</c:v>
                </c:pt>
                <c:pt idx="14442">
                  <c:v>0.25757089352594897</c:v>
                </c:pt>
                <c:pt idx="14443">
                  <c:v>0.25758872837524499</c:v>
                </c:pt>
                <c:pt idx="14444">
                  <c:v>0.25760656322454001</c:v>
                </c:pt>
                <c:pt idx="14445">
                  <c:v>0.25762439807383603</c:v>
                </c:pt>
                <c:pt idx="14446">
                  <c:v>0.25764223292313099</c:v>
                </c:pt>
                <c:pt idx="14447">
                  <c:v>0.257660067772427</c:v>
                </c:pt>
                <c:pt idx="14448">
                  <c:v>0.25767790262172202</c:v>
                </c:pt>
                <c:pt idx="14449">
                  <c:v>0.25769573747101798</c:v>
                </c:pt>
                <c:pt idx="14450">
                  <c:v>0.257713572320313</c:v>
                </c:pt>
                <c:pt idx="14451">
                  <c:v>0.25773140716960902</c:v>
                </c:pt>
                <c:pt idx="14452">
                  <c:v>0.25774924201890398</c:v>
                </c:pt>
                <c:pt idx="14453">
                  <c:v>0.2577670768682</c:v>
                </c:pt>
                <c:pt idx="14454">
                  <c:v>0.25778491171749601</c:v>
                </c:pt>
                <c:pt idx="14455">
                  <c:v>0.25780274656679097</c:v>
                </c:pt>
                <c:pt idx="14456">
                  <c:v>0.25782058141608699</c:v>
                </c:pt>
                <c:pt idx="14457">
                  <c:v>0.25783841626538201</c:v>
                </c:pt>
                <c:pt idx="14458">
                  <c:v>0.25785625111467803</c:v>
                </c:pt>
                <c:pt idx="14459">
                  <c:v>0.25787408596397299</c:v>
                </c:pt>
                <c:pt idx="14460">
                  <c:v>0.257891920813269</c:v>
                </c:pt>
                <c:pt idx="14461">
                  <c:v>0.25790975566256402</c:v>
                </c:pt>
                <c:pt idx="14462">
                  <c:v>0.25792759051185998</c:v>
                </c:pt>
                <c:pt idx="14463">
                  <c:v>0.257945425361155</c:v>
                </c:pt>
                <c:pt idx="14464">
                  <c:v>0.25796326021045102</c:v>
                </c:pt>
                <c:pt idx="14465">
                  <c:v>0.25798109505974598</c:v>
                </c:pt>
                <c:pt idx="14466">
                  <c:v>0.257998929909042</c:v>
                </c:pt>
                <c:pt idx="14467">
                  <c:v>0.25801676475833701</c:v>
                </c:pt>
                <c:pt idx="14468">
                  <c:v>0.25803459960763298</c:v>
                </c:pt>
                <c:pt idx="14469">
                  <c:v>0.25805243445692799</c:v>
                </c:pt>
                <c:pt idx="14470">
                  <c:v>0.25807026930622401</c:v>
                </c:pt>
                <c:pt idx="14471">
                  <c:v>0.25808810415551903</c:v>
                </c:pt>
                <c:pt idx="14472">
                  <c:v>0.25810593900481499</c:v>
                </c:pt>
                <c:pt idx="14473">
                  <c:v>0.25812377385411001</c:v>
                </c:pt>
                <c:pt idx="14474">
                  <c:v>0.25814160870340602</c:v>
                </c:pt>
                <c:pt idx="14475">
                  <c:v>0.25815944355270198</c:v>
                </c:pt>
                <c:pt idx="14476">
                  <c:v>0.258177278401997</c:v>
                </c:pt>
                <c:pt idx="14477">
                  <c:v>0.25819511325129302</c:v>
                </c:pt>
                <c:pt idx="14478">
                  <c:v>0.25821294810058798</c:v>
                </c:pt>
                <c:pt idx="14479">
                  <c:v>0.258230782949884</c:v>
                </c:pt>
                <c:pt idx="14480">
                  <c:v>0.25824861779917901</c:v>
                </c:pt>
                <c:pt idx="14481">
                  <c:v>0.25826645264847498</c:v>
                </c:pt>
                <c:pt idx="14482">
                  <c:v>0.25828428749776999</c:v>
                </c:pt>
                <c:pt idx="14483">
                  <c:v>0.25830212234706601</c:v>
                </c:pt>
                <c:pt idx="14484">
                  <c:v>0.25831995719636103</c:v>
                </c:pt>
                <c:pt idx="14485">
                  <c:v>0.25833779204565699</c:v>
                </c:pt>
                <c:pt idx="14486">
                  <c:v>0.25835562689495201</c:v>
                </c:pt>
                <c:pt idx="14487">
                  <c:v>0.25837346174424802</c:v>
                </c:pt>
                <c:pt idx="14488">
                  <c:v>0.25839129659354299</c:v>
                </c:pt>
                <c:pt idx="14489">
                  <c:v>0.258409131442839</c:v>
                </c:pt>
                <c:pt idx="14490">
                  <c:v>0.25842696629213402</c:v>
                </c:pt>
                <c:pt idx="14491">
                  <c:v>0.25844480114142998</c:v>
                </c:pt>
                <c:pt idx="14492">
                  <c:v>0.258462635990725</c:v>
                </c:pt>
                <c:pt idx="14493">
                  <c:v>0.25848047084002101</c:v>
                </c:pt>
                <c:pt idx="14494">
                  <c:v>0.25849830568931598</c:v>
                </c:pt>
                <c:pt idx="14495">
                  <c:v>0.25851614053861199</c:v>
                </c:pt>
                <c:pt idx="14496">
                  <c:v>0.25853397538790701</c:v>
                </c:pt>
                <c:pt idx="14497">
                  <c:v>0.25855181023720297</c:v>
                </c:pt>
                <c:pt idx="14498">
                  <c:v>0.25856964508649899</c:v>
                </c:pt>
                <c:pt idx="14499">
                  <c:v>0.25858747993579401</c:v>
                </c:pt>
                <c:pt idx="14500">
                  <c:v>0.25860531478509002</c:v>
                </c:pt>
                <c:pt idx="14501">
                  <c:v>0.25862314963438499</c:v>
                </c:pt>
                <c:pt idx="14502">
                  <c:v>0.258640984483681</c:v>
                </c:pt>
                <c:pt idx="14503">
                  <c:v>0.25865881933297602</c:v>
                </c:pt>
                <c:pt idx="14504">
                  <c:v>0.25867665418227198</c:v>
                </c:pt>
                <c:pt idx="14505">
                  <c:v>0.258694489031567</c:v>
                </c:pt>
                <c:pt idx="14506">
                  <c:v>0.25871232388086302</c:v>
                </c:pt>
                <c:pt idx="14507">
                  <c:v>0.25873015873015798</c:v>
                </c:pt>
                <c:pt idx="14508">
                  <c:v>0.25874799357945399</c:v>
                </c:pt>
                <c:pt idx="14509">
                  <c:v>0.25876582842874901</c:v>
                </c:pt>
                <c:pt idx="14510">
                  <c:v>0.25878366327804497</c:v>
                </c:pt>
                <c:pt idx="14511">
                  <c:v>0.25880149812733999</c:v>
                </c:pt>
                <c:pt idx="14512">
                  <c:v>0.25881933297663601</c:v>
                </c:pt>
                <c:pt idx="14513">
                  <c:v>0.25883716782593102</c:v>
                </c:pt>
                <c:pt idx="14514">
                  <c:v>0.25885500267522699</c:v>
                </c:pt>
                <c:pt idx="14515">
                  <c:v>0.258872837524522</c:v>
                </c:pt>
                <c:pt idx="14516">
                  <c:v>0.25889067237381802</c:v>
                </c:pt>
                <c:pt idx="14517">
                  <c:v>0.25890850722311398</c:v>
                </c:pt>
                <c:pt idx="14518">
                  <c:v>0.258926342072409</c:v>
                </c:pt>
                <c:pt idx="14519">
                  <c:v>0.25894417692170502</c:v>
                </c:pt>
                <c:pt idx="14520">
                  <c:v>0.25896201177099998</c:v>
                </c:pt>
                <c:pt idx="14521">
                  <c:v>0.25897984662029599</c:v>
                </c:pt>
                <c:pt idx="14522">
                  <c:v>0.25899768146959101</c:v>
                </c:pt>
                <c:pt idx="14523">
                  <c:v>0.25901551631888697</c:v>
                </c:pt>
                <c:pt idx="14524">
                  <c:v>0.25903335116818199</c:v>
                </c:pt>
                <c:pt idx="14525">
                  <c:v>0.25905118601747801</c:v>
                </c:pt>
                <c:pt idx="14526">
                  <c:v>0.25906902086677303</c:v>
                </c:pt>
                <c:pt idx="14527">
                  <c:v>0.25908685571606899</c:v>
                </c:pt>
                <c:pt idx="14528">
                  <c:v>0.259104690565364</c:v>
                </c:pt>
                <c:pt idx="14529">
                  <c:v>0.25912252541466002</c:v>
                </c:pt>
                <c:pt idx="14530">
                  <c:v>0.25914036026395498</c:v>
                </c:pt>
                <c:pt idx="14531">
                  <c:v>0.259158195113251</c:v>
                </c:pt>
                <c:pt idx="14532">
                  <c:v>0.25917602996254602</c:v>
                </c:pt>
                <c:pt idx="14533">
                  <c:v>0.25919386481184198</c:v>
                </c:pt>
                <c:pt idx="14534">
                  <c:v>0.259211699661137</c:v>
                </c:pt>
                <c:pt idx="14535">
                  <c:v>0.25922953451043301</c:v>
                </c:pt>
                <c:pt idx="14536">
                  <c:v>0.25924736935972797</c:v>
                </c:pt>
                <c:pt idx="14537">
                  <c:v>0.25926520420902399</c:v>
                </c:pt>
                <c:pt idx="14538">
                  <c:v>0.25928303905831901</c:v>
                </c:pt>
                <c:pt idx="14539">
                  <c:v>0.25930087390761503</c:v>
                </c:pt>
                <c:pt idx="14540">
                  <c:v>0.25931870875691099</c:v>
                </c:pt>
                <c:pt idx="14541">
                  <c:v>0.259336543606206</c:v>
                </c:pt>
                <c:pt idx="14542">
                  <c:v>0.25935437845550202</c:v>
                </c:pt>
                <c:pt idx="14543">
                  <c:v>0.25937221330479698</c:v>
                </c:pt>
                <c:pt idx="14544">
                  <c:v>0.259390048154093</c:v>
                </c:pt>
                <c:pt idx="14545">
                  <c:v>0.25940788300338802</c:v>
                </c:pt>
                <c:pt idx="14546">
                  <c:v>0.25942571785268398</c:v>
                </c:pt>
                <c:pt idx="14547">
                  <c:v>0.259443552701979</c:v>
                </c:pt>
                <c:pt idx="14548">
                  <c:v>0.25946138755127501</c:v>
                </c:pt>
                <c:pt idx="14549">
                  <c:v>0.25947922240056998</c:v>
                </c:pt>
                <c:pt idx="14550">
                  <c:v>0.25949705724986599</c:v>
                </c:pt>
                <c:pt idx="14551">
                  <c:v>0.25951489209916101</c:v>
                </c:pt>
                <c:pt idx="14552">
                  <c:v>0.25953272694845703</c:v>
                </c:pt>
                <c:pt idx="14553">
                  <c:v>0.25955056179775199</c:v>
                </c:pt>
                <c:pt idx="14554">
                  <c:v>0.25956839664704801</c:v>
                </c:pt>
                <c:pt idx="14555">
                  <c:v>0.25958623149634302</c:v>
                </c:pt>
                <c:pt idx="14556">
                  <c:v>0.25960406634563898</c:v>
                </c:pt>
                <c:pt idx="14557">
                  <c:v>0.259621901194934</c:v>
                </c:pt>
                <c:pt idx="14558">
                  <c:v>0.25963973604423002</c:v>
                </c:pt>
                <c:pt idx="14559">
                  <c:v>0.25965757089352498</c:v>
                </c:pt>
                <c:pt idx="14560">
                  <c:v>0.259675405742821</c:v>
                </c:pt>
                <c:pt idx="14561">
                  <c:v>0.25969324059211701</c:v>
                </c:pt>
                <c:pt idx="14562">
                  <c:v>0.25971107544141198</c:v>
                </c:pt>
                <c:pt idx="14563">
                  <c:v>0.25972891029070799</c:v>
                </c:pt>
                <c:pt idx="14564">
                  <c:v>0.25974674514000301</c:v>
                </c:pt>
                <c:pt idx="14565">
                  <c:v>0.25976457998929903</c:v>
                </c:pt>
                <c:pt idx="14566">
                  <c:v>0.25978241483859399</c:v>
                </c:pt>
                <c:pt idx="14567">
                  <c:v>0.25980024968789001</c:v>
                </c:pt>
                <c:pt idx="14568">
                  <c:v>0.25981808453718502</c:v>
                </c:pt>
                <c:pt idx="14569">
                  <c:v>0.25983591938648098</c:v>
                </c:pt>
                <c:pt idx="14570">
                  <c:v>0.259853754235776</c:v>
                </c:pt>
                <c:pt idx="14571">
                  <c:v>0.25987158908507202</c:v>
                </c:pt>
                <c:pt idx="14572">
                  <c:v>0.25988942393436698</c:v>
                </c:pt>
                <c:pt idx="14573">
                  <c:v>0.259907258783663</c:v>
                </c:pt>
                <c:pt idx="14574">
                  <c:v>0.25992509363295802</c:v>
                </c:pt>
                <c:pt idx="14575">
                  <c:v>0.25994292848225398</c:v>
                </c:pt>
                <c:pt idx="14576">
                  <c:v>0.25996076333154899</c:v>
                </c:pt>
                <c:pt idx="14577">
                  <c:v>0.25997859818084501</c:v>
                </c:pt>
                <c:pt idx="14578">
                  <c:v>0.25999643303013997</c:v>
                </c:pt>
                <c:pt idx="14579">
                  <c:v>0.26001426787943599</c:v>
                </c:pt>
                <c:pt idx="14580">
                  <c:v>0.26003210272873101</c:v>
                </c:pt>
                <c:pt idx="14581">
                  <c:v>0.26004993757802702</c:v>
                </c:pt>
                <c:pt idx="14582">
                  <c:v>0.26006777242732299</c:v>
                </c:pt>
                <c:pt idx="14583">
                  <c:v>0.260085607276618</c:v>
                </c:pt>
                <c:pt idx="14584">
                  <c:v>0.26010344212591402</c:v>
                </c:pt>
                <c:pt idx="14585">
                  <c:v>0.26012127697520898</c:v>
                </c:pt>
                <c:pt idx="14586">
                  <c:v>0.260139111824505</c:v>
                </c:pt>
                <c:pt idx="14587">
                  <c:v>0.26015694667380002</c:v>
                </c:pt>
                <c:pt idx="14588">
                  <c:v>0.26017478152309598</c:v>
                </c:pt>
                <c:pt idx="14589">
                  <c:v>0.26019261637239099</c:v>
                </c:pt>
                <c:pt idx="14590">
                  <c:v>0.26021045122168701</c:v>
                </c:pt>
                <c:pt idx="14591">
                  <c:v>0.26022828607098197</c:v>
                </c:pt>
                <c:pt idx="14592">
                  <c:v>0.26024612092027799</c:v>
                </c:pt>
                <c:pt idx="14593">
                  <c:v>0.26026395576957301</c:v>
                </c:pt>
                <c:pt idx="14594">
                  <c:v>0.26028179061886902</c:v>
                </c:pt>
                <c:pt idx="14595">
                  <c:v>0.26029962546816399</c:v>
                </c:pt>
                <c:pt idx="14596">
                  <c:v>0.26031746031746</c:v>
                </c:pt>
                <c:pt idx="14597">
                  <c:v>0.26033529516675502</c:v>
                </c:pt>
                <c:pt idx="14598">
                  <c:v>0.26035313001605098</c:v>
                </c:pt>
                <c:pt idx="14599">
                  <c:v>0.260370964865346</c:v>
                </c:pt>
                <c:pt idx="14600">
                  <c:v>0.26038879971464202</c:v>
                </c:pt>
                <c:pt idx="14601">
                  <c:v>0.26040663456393698</c:v>
                </c:pt>
                <c:pt idx="14602">
                  <c:v>0.260424469413233</c:v>
                </c:pt>
                <c:pt idx="14603">
                  <c:v>0.26044230426252801</c:v>
                </c:pt>
                <c:pt idx="14604">
                  <c:v>0.26046013911182397</c:v>
                </c:pt>
                <c:pt idx="14605">
                  <c:v>0.26047797396111999</c:v>
                </c:pt>
                <c:pt idx="14606">
                  <c:v>0.26049580881041501</c:v>
                </c:pt>
                <c:pt idx="14607">
                  <c:v>0.26051364365971102</c:v>
                </c:pt>
                <c:pt idx="14608">
                  <c:v>0.26053147850900599</c:v>
                </c:pt>
                <c:pt idx="14609">
                  <c:v>0.260549313358302</c:v>
                </c:pt>
                <c:pt idx="14610">
                  <c:v>0.26056714820759702</c:v>
                </c:pt>
                <c:pt idx="14611">
                  <c:v>0.26058498305689298</c:v>
                </c:pt>
                <c:pt idx="14612">
                  <c:v>0.260602817906188</c:v>
                </c:pt>
                <c:pt idx="14613">
                  <c:v>0.26062065275548402</c:v>
                </c:pt>
                <c:pt idx="14614">
                  <c:v>0.26063848760477898</c:v>
                </c:pt>
                <c:pt idx="14615">
                  <c:v>0.260656322454075</c:v>
                </c:pt>
                <c:pt idx="14616">
                  <c:v>0.26067415730337001</c:v>
                </c:pt>
                <c:pt idx="14617">
                  <c:v>0.26069199215266597</c:v>
                </c:pt>
                <c:pt idx="14618">
                  <c:v>0.26070982700196099</c:v>
                </c:pt>
                <c:pt idx="14619">
                  <c:v>0.26072766185125701</c:v>
                </c:pt>
                <c:pt idx="14620">
                  <c:v>0.26074549670055203</c:v>
                </c:pt>
                <c:pt idx="14621">
                  <c:v>0.26076333154984799</c:v>
                </c:pt>
                <c:pt idx="14622">
                  <c:v>0.26078116639914301</c:v>
                </c:pt>
                <c:pt idx="14623">
                  <c:v>0.26079900124843902</c:v>
                </c:pt>
                <c:pt idx="14624">
                  <c:v>0.26081683609773498</c:v>
                </c:pt>
                <c:pt idx="14625">
                  <c:v>0.26083467094703</c:v>
                </c:pt>
                <c:pt idx="14626">
                  <c:v>0.26085250579632602</c:v>
                </c:pt>
                <c:pt idx="14627">
                  <c:v>0.26087034064562098</c:v>
                </c:pt>
                <c:pt idx="14628">
                  <c:v>0.260888175494917</c:v>
                </c:pt>
                <c:pt idx="14629">
                  <c:v>0.26090601034421201</c:v>
                </c:pt>
                <c:pt idx="14630">
                  <c:v>0.26092384519350798</c:v>
                </c:pt>
                <c:pt idx="14631">
                  <c:v>0.26094168004280299</c:v>
                </c:pt>
                <c:pt idx="14632">
                  <c:v>0.26095951489209901</c:v>
                </c:pt>
                <c:pt idx="14633">
                  <c:v>0.26097734974139403</c:v>
                </c:pt>
                <c:pt idx="14634">
                  <c:v>0.26099518459068999</c:v>
                </c:pt>
                <c:pt idx="14635">
                  <c:v>0.26101301943998501</c:v>
                </c:pt>
                <c:pt idx="14636">
                  <c:v>0.26103085428928102</c:v>
                </c:pt>
                <c:pt idx="14637">
                  <c:v>0.26104868913857598</c:v>
                </c:pt>
                <c:pt idx="14638">
                  <c:v>0.261066523987872</c:v>
                </c:pt>
                <c:pt idx="14639">
                  <c:v>0.26108435883716702</c:v>
                </c:pt>
                <c:pt idx="14640">
                  <c:v>0.26110219368646298</c:v>
                </c:pt>
                <c:pt idx="14641">
                  <c:v>0.261120028535758</c:v>
                </c:pt>
                <c:pt idx="14642">
                  <c:v>0.26113786338505401</c:v>
                </c:pt>
                <c:pt idx="14643">
                  <c:v>0.26115569823434898</c:v>
                </c:pt>
                <c:pt idx="14644">
                  <c:v>0.26117353308364499</c:v>
                </c:pt>
                <c:pt idx="14645">
                  <c:v>0.26119136793294001</c:v>
                </c:pt>
                <c:pt idx="14646">
                  <c:v>0.26120920278223603</c:v>
                </c:pt>
                <c:pt idx="14647">
                  <c:v>0.26122703763153199</c:v>
                </c:pt>
                <c:pt idx="14648">
                  <c:v>0.26124487248082701</c:v>
                </c:pt>
                <c:pt idx="14649">
                  <c:v>0.26126270733012302</c:v>
                </c:pt>
                <c:pt idx="14650">
                  <c:v>0.26128054217941798</c:v>
                </c:pt>
                <c:pt idx="14651">
                  <c:v>0.261298377028714</c:v>
                </c:pt>
                <c:pt idx="14652">
                  <c:v>0.26131621187800902</c:v>
                </c:pt>
                <c:pt idx="14653">
                  <c:v>0.26133404672730498</c:v>
                </c:pt>
                <c:pt idx="14654">
                  <c:v>0.2613518815766</c:v>
                </c:pt>
                <c:pt idx="14655">
                  <c:v>0.26136971642589601</c:v>
                </c:pt>
                <c:pt idx="14656">
                  <c:v>0.26138755127519098</c:v>
                </c:pt>
                <c:pt idx="14657">
                  <c:v>0.26140538612448699</c:v>
                </c:pt>
                <c:pt idx="14658">
                  <c:v>0.26142322097378201</c:v>
                </c:pt>
                <c:pt idx="14659">
                  <c:v>0.26144105582307797</c:v>
                </c:pt>
                <c:pt idx="14660">
                  <c:v>0.26145889067237299</c:v>
                </c:pt>
                <c:pt idx="14661">
                  <c:v>0.26147672552166901</c:v>
                </c:pt>
                <c:pt idx="14662">
                  <c:v>0.26149456037096402</c:v>
                </c:pt>
                <c:pt idx="14663">
                  <c:v>0.26151239522025999</c:v>
                </c:pt>
                <c:pt idx="14664">
                  <c:v>0.261530230069555</c:v>
                </c:pt>
                <c:pt idx="14665">
                  <c:v>0.26154806491885102</c:v>
                </c:pt>
                <c:pt idx="14666">
                  <c:v>0.26156589976814698</c:v>
                </c:pt>
                <c:pt idx="14667">
                  <c:v>0.261583734617442</c:v>
                </c:pt>
                <c:pt idx="14668">
                  <c:v>0.26160156946673802</c:v>
                </c:pt>
                <c:pt idx="14669">
                  <c:v>0.26161940431603298</c:v>
                </c:pt>
                <c:pt idx="14670">
                  <c:v>0.26163723916532899</c:v>
                </c:pt>
                <c:pt idx="14671">
                  <c:v>0.26165507401462401</c:v>
                </c:pt>
                <c:pt idx="14672">
                  <c:v>0.26167290886391997</c:v>
                </c:pt>
                <c:pt idx="14673">
                  <c:v>0.26169074371321499</c:v>
                </c:pt>
                <c:pt idx="14674">
                  <c:v>0.26170857856251101</c:v>
                </c:pt>
                <c:pt idx="14675">
                  <c:v>0.26172641341180602</c:v>
                </c:pt>
                <c:pt idx="14676">
                  <c:v>0.26174424826110199</c:v>
                </c:pt>
                <c:pt idx="14677">
                  <c:v>0.261762083110397</c:v>
                </c:pt>
                <c:pt idx="14678">
                  <c:v>0.26177991795969302</c:v>
                </c:pt>
                <c:pt idx="14679">
                  <c:v>0.26179775280898798</c:v>
                </c:pt>
                <c:pt idx="14680">
                  <c:v>0.261815587658284</c:v>
                </c:pt>
                <c:pt idx="14681">
                  <c:v>0.26183342250757902</c:v>
                </c:pt>
                <c:pt idx="14682">
                  <c:v>0.26185125735687498</c:v>
                </c:pt>
                <c:pt idx="14683">
                  <c:v>0.26186909220617</c:v>
                </c:pt>
                <c:pt idx="14684">
                  <c:v>0.26188692705546601</c:v>
                </c:pt>
                <c:pt idx="14685">
                  <c:v>0.26190476190476097</c:v>
                </c:pt>
                <c:pt idx="14686">
                  <c:v>0.26192259675405699</c:v>
                </c:pt>
                <c:pt idx="14687">
                  <c:v>0.26194043160335201</c:v>
                </c:pt>
                <c:pt idx="14688">
                  <c:v>0.26195826645264803</c:v>
                </c:pt>
                <c:pt idx="14689">
                  <c:v>0.26197610130194399</c:v>
                </c:pt>
                <c:pt idx="14690">
                  <c:v>0.261993936151239</c:v>
                </c:pt>
                <c:pt idx="14691">
                  <c:v>0.26201177100053502</c:v>
                </c:pt>
                <c:pt idx="14692">
                  <c:v>0.26202960584982998</c:v>
                </c:pt>
                <c:pt idx="14693">
                  <c:v>0.262047440699126</c:v>
                </c:pt>
                <c:pt idx="14694">
                  <c:v>0.26206527554842102</c:v>
                </c:pt>
                <c:pt idx="14695">
                  <c:v>0.26208311039771698</c:v>
                </c:pt>
                <c:pt idx="14696">
                  <c:v>0.262100945247012</c:v>
                </c:pt>
                <c:pt idx="14697">
                  <c:v>0.26211878009630801</c:v>
                </c:pt>
                <c:pt idx="14698">
                  <c:v>0.26213661494560297</c:v>
                </c:pt>
                <c:pt idx="14699">
                  <c:v>0.26215444979489899</c:v>
                </c:pt>
                <c:pt idx="14700">
                  <c:v>0.26217228464419401</c:v>
                </c:pt>
                <c:pt idx="14701">
                  <c:v>0.26219011949349003</c:v>
                </c:pt>
                <c:pt idx="14702">
                  <c:v>0.26220795434278499</c:v>
                </c:pt>
                <c:pt idx="14703">
                  <c:v>0.262225789192081</c:v>
                </c:pt>
                <c:pt idx="14704">
                  <c:v>0.26224362404137602</c:v>
                </c:pt>
                <c:pt idx="14705">
                  <c:v>0.26226145889067198</c:v>
                </c:pt>
                <c:pt idx="14706">
                  <c:v>0.262279293739967</c:v>
                </c:pt>
                <c:pt idx="14707">
                  <c:v>0.26229712858926302</c:v>
                </c:pt>
                <c:pt idx="14708">
                  <c:v>0.26231496343855798</c:v>
                </c:pt>
                <c:pt idx="14709">
                  <c:v>0.262332798287854</c:v>
                </c:pt>
                <c:pt idx="14710">
                  <c:v>0.26235063313715001</c:v>
                </c:pt>
                <c:pt idx="14711">
                  <c:v>0.26236846798644498</c:v>
                </c:pt>
                <c:pt idx="14712">
                  <c:v>0.26238630283574099</c:v>
                </c:pt>
                <c:pt idx="14713">
                  <c:v>0.26240413768503601</c:v>
                </c:pt>
                <c:pt idx="14714">
                  <c:v>0.26242197253433203</c:v>
                </c:pt>
                <c:pt idx="14715">
                  <c:v>0.26243980738362699</c:v>
                </c:pt>
                <c:pt idx="14716">
                  <c:v>0.26245764223292301</c:v>
                </c:pt>
                <c:pt idx="14717">
                  <c:v>0.26247547708221802</c:v>
                </c:pt>
                <c:pt idx="14718">
                  <c:v>0.26249331193151398</c:v>
                </c:pt>
                <c:pt idx="14719">
                  <c:v>0.262511146780809</c:v>
                </c:pt>
                <c:pt idx="14720">
                  <c:v>0.26252898163010502</c:v>
                </c:pt>
                <c:pt idx="14721">
                  <c:v>0.26254681647939998</c:v>
                </c:pt>
                <c:pt idx="14722">
                  <c:v>0.262564651328696</c:v>
                </c:pt>
                <c:pt idx="14723">
                  <c:v>0.26258248617799101</c:v>
                </c:pt>
                <c:pt idx="14724">
                  <c:v>0.26260032102728698</c:v>
                </c:pt>
                <c:pt idx="14725">
                  <c:v>0.26261815587658199</c:v>
                </c:pt>
                <c:pt idx="14726">
                  <c:v>0.26263599072587801</c:v>
                </c:pt>
                <c:pt idx="14727">
                  <c:v>0.26265382557517303</c:v>
                </c:pt>
                <c:pt idx="14728">
                  <c:v>0.26267166042446899</c:v>
                </c:pt>
                <c:pt idx="14729">
                  <c:v>0.26268949527376401</c:v>
                </c:pt>
                <c:pt idx="14730">
                  <c:v>0.26270733012306002</c:v>
                </c:pt>
                <c:pt idx="14731">
                  <c:v>0.26272516497235598</c:v>
                </c:pt>
                <c:pt idx="14732">
                  <c:v>0.262742999821651</c:v>
                </c:pt>
                <c:pt idx="14733">
                  <c:v>0.26276083467094702</c:v>
                </c:pt>
                <c:pt idx="14734">
                  <c:v>0.26277866952024198</c:v>
                </c:pt>
                <c:pt idx="14735">
                  <c:v>0.262796504369538</c:v>
                </c:pt>
                <c:pt idx="14736">
                  <c:v>0.26281433921883302</c:v>
                </c:pt>
                <c:pt idx="14737">
                  <c:v>0.26283217406812898</c:v>
                </c:pt>
                <c:pt idx="14738">
                  <c:v>0.26285000891742399</c:v>
                </c:pt>
                <c:pt idx="14739">
                  <c:v>0.26286784376672001</c:v>
                </c:pt>
                <c:pt idx="14740">
                  <c:v>0.26288567861601497</c:v>
                </c:pt>
                <c:pt idx="14741">
                  <c:v>0.26290351346531099</c:v>
                </c:pt>
                <c:pt idx="14742">
                  <c:v>0.26292134831460601</c:v>
                </c:pt>
                <c:pt idx="14743">
                  <c:v>0.26293918316390202</c:v>
                </c:pt>
                <c:pt idx="14744">
                  <c:v>0.26295701801319699</c:v>
                </c:pt>
                <c:pt idx="14745">
                  <c:v>0.262974852862493</c:v>
                </c:pt>
                <c:pt idx="14746">
                  <c:v>0.26299268771178802</c:v>
                </c:pt>
                <c:pt idx="14747">
                  <c:v>0.26301052256108398</c:v>
                </c:pt>
                <c:pt idx="14748">
                  <c:v>0.263028357410379</c:v>
                </c:pt>
                <c:pt idx="14749">
                  <c:v>0.26304619225967502</c:v>
                </c:pt>
                <c:pt idx="14750">
                  <c:v>0.26306402710896998</c:v>
                </c:pt>
                <c:pt idx="14751">
                  <c:v>0.26308186195826599</c:v>
                </c:pt>
                <c:pt idx="14752">
                  <c:v>0.26309969680756101</c:v>
                </c:pt>
                <c:pt idx="14753">
                  <c:v>0.26311753165685697</c:v>
                </c:pt>
                <c:pt idx="14754">
                  <c:v>0.26313536650615299</c:v>
                </c:pt>
                <c:pt idx="14755">
                  <c:v>0.26315320135544801</c:v>
                </c:pt>
                <c:pt idx="14756">
                  <c:v>0.26317103620474402</c:v>
                </c:pt>
                <c:pt idx="14757">
                  <c:v>0.26318887105403899</c:v>
                </c:pt>
                <c:pt idx="14758">
                  <c:v>0.263206705903335</c:v>
                </c:pt>
                <c:pt idx="14759">
                  <c:v>0.26322454075263002</c:v>
                </c:pt>
                <c:pt idx="14760">
                  <c:v>0.26324237560192598</c:v>
                </c:pt>
                <c:pt idx="14761">
                  <c:v>0.263260210451221</c:v>
                </c:pt>
                <c:pt idx="14762">
                  <c:v>0.26327804530051702</c:v>
                </c:pt>
                <c:pt idx="14763">
                  <c:v>0.26329588014981198</c:v>
                </c:pt>
                <c:pt idx="14764">
                  <c:v>0.263313714999108</c:v>
                </c:pt>
                <c:pt idx="14765">
                  <c:v>0.26333154984840301</c:v>
                </c:pt>
                <c:pt idx="14766">
                  <c:v>0.26334938469769897</c:v>
                </c:pt>
                <c:pt idx="14767">
                  <c:v>0.26336721954699399</c:v>
                </c:pt>
                <c:pt idx="14768">
                  <c:v>0.26338505439629001</c:v>
                </c:pt>
                <c:pt idx="14769">
                  <c:v>0.26340288924558503</c:v>
                </c:pt>
                <c:pt idx="14770">
                  <c:v>0.26342072409488099</c:v>
                </c:pt>
                <c:pt idx="14771">
                  <c:v>0.263438558944176</c:v>
                </c:pt>
                <c:pt idx="14772">
                  <c:v>0.26345639379347202</c:v>
                </c:pt>
                <c:pt idx="14773">
                  <c:v>0.26347422864276798</c:v>
                </c:pt>
                <c:pt idx="14774">
                  <c:v>0.263492063492063</c:v>
                </c:pt>
                <c:pt idx="14775">
                  <c:v>0.26350989834135902</c:v>
                </c:pt>
                <c:pt idx="14776">
                  <c:v>0.26352773319065398</c:v>
                </c:pt>
                <c:pt idx="14777">
                  <c:v>0.26354556803995</c:v>
                </c:pt>
                <c:pt idx="14778">
                  <c:v>0.26356340288924501</c:v>
                </c:pt>
                <c:pt idx="14779">
                  <c:v>0.26358123773854097</c:v>
                </c:pt>
                <c:pt idx="14780">
                  <c:v>0.26359907258783599</c:v>
                </c:pt>
                <c:pt idx="14781">
                  <c:v>0.26361690743713201</c:v>
                </c:pt>
                <c:pt idx="14782">
                  <c:v>0.26363474228642703</c:v>
                </c:pt>
                <c:pt idx="14783">
                  <c:v>0.26365257713572299</c:v>
                </c:pt>
                <c:pt idx="14784">
                  <c:v>0.26367041198501801</c:v>
                </c:pt>
                <c:pt idx="14785">
                  <c:v>0.26368824683431402</c:v>
                </c:pt>
                <c:pt idx="14786">
                  <c:v>0.26370608168360898</c:v>
                </c:pt>
                <c:pt idx="14787">
                  <c:v>0.263723916532905</c:v>
                </c:pt>
                <c:pt idx="14788">
                  <c:v>0.26374175138220002</c:v>
                </c:pt>
                <c:pt idx="14789">
                  <c:v>0.26375958623149598</c:v>
                </c:pt>
                <c:pt idx="14790">
                  <c:v>0.263777421080791</c:v>
                </c:pt>
                <c:pt idx="14791">
                  <c:v>0.26379525593008701</c:v>
                </c:pt>
                <c:pt idx="14792">
                  <c:v>0.26381309077938198</c:v>
                </c:pt>
                <c:pt idx="14793">
                  <c:v>0.26383092562867799</c:v>
                </c:pt>
                <c:pt idx="14794">
                  <c:v>0.26384876047797301</c:v>
                </c:pt>
                <c:pt idx="14795">
                  <c:v>0.26386659532726903</c:v>
                </c:pt>
                <c:pt idx="14796">
                  <c:v>0.26388443017656499</c:v>
                </c:pt>
                <c:pt idx="14797">
                  <c:v>0.26390226502586001</c:v>
                </c:pt>
                <c:pt idx="14798">
                  <c:v>0.26392009987515602</c:v>
                </c:pt>
                <c:pt idx="14799">
                  <c:v>0.26393793472445098</c:v>
                </c:pt>
                <c:pt idx="14800">
                  <c:v>0.263955769573747</c:v>
                </c:pt>
                <c:pt idx="14801">
                  <c:v>0.26397360442304202</c:v>
                </c:pt>
                <c:pt idx="14802">
                  <c:v>0.26399143927233798</c:v>
                </c:pt>
                <c:pt idx="14803">
                  <c:v>0.264009274121633</c:v>
                </c:pt>
                <c:pt idx="14804">
                  <c:v>0.26402710897092901</c:v>
                </c:pt>
                <c:pt idx="14805">
                  <c:v>0.26404494382022398</c:v>
                </c:pt>
                <c:pt idx="14806">
                  <c:v>0.26406277866951999</c:v>
                </c:pt>
                <c:pt idx="14807">
                  <c:v>0.26408061351881501</c:v>
                </c:pt>
                <c:pt idx="14808">
                  <c:v>0.26409844836811103</c:v>
                </c:pt>
                <c:pt idx="14809">
                  <c:v>0.26411628321740599</c:v>
                </c:pt>
                <c:pt idx="14810">
                  <c:v>0.26413411806670201</c:v>
                </c:pt>
                <c:pt idx="14811">
                  <c:v>0.26415195291599702</c:v>
                </c:pt>
                <c:pt idx="14812">
                  <c:v>0.26416978776529298</c:v>
                </c:pt>
                <c:pt idx="14813">
                  <c:v>0.264187622614588</c:v>
                </c:pt>
                <c:pt idx="14814">
                  <c:v>0.26420545746388402</c:v>
                </c:pt>
                <c:pt idx="14815">
                  <c:v>0.26422329231317998</c:v>
                </c:pt>
                <c:pt idx="14816">
                  <c:v>0.264241127162475</c:v>
                </c:pt>
                <c:pt idx="14817">
                  <c:v>0.26425896201177101</c:v>
                </c:pt>
                <c:pt idx="14818">
                  <c:v>0.26427679686106598</c:v>
                </c:pt>
                <c:pt idx="14819">
                  <c:v>0.26429463171036199</c:v>
                </c:pt>
                <c:pt idx="14820">
                  <c:v>0.26431246655965701</c:v>
                </c:pt>
                <c:pt idx="14821">
                  <c:v>0.26433030140895297</c:v>
                </c:pt>
                <c:pt idx="14822">
                  <c:v>0.26434813625824799</c:v>
                </c:pt>
                <c:pt idx="14823">
                  <c:v>0.26436597110754401</c:v>
                </c:pt>
                <c:pt idx="14824">
                  <c:v>0.26438380595683902</c:v>
                </c:pt>
                <c:pt idx="14825">
                  <c:v>0.26440164080613499</c:v>
                </c:pt>
                <c:pt idx="14826">
                  <c:v>0.26441947565543</c:v>
                </c:pt>
                <c:pt idx="14827">
                  <c:v>0.26443731050472602</c:v>
                </c:pt>
                <c:pt idx="14828">
                  <c:v>0.26445514535402098</c:v>
                </c:pt>
                <c:pt idx="14829">
                  <c:v>0.264472980203317</c:v>
                </c:pt>
                <c:pt idx="14830">
                  <c:v>0.26449081505261202</c:v>
                </c:pt>
                <c:pt idx="14831">
                  <c:v>0.26450864990190798</c:v>
                </c:pt>
                <c:pt idx="14832">
                  <c:v>0.26452648475120299</c:v>
                </c:pt>
                <c:pt idx="14833">
                  <c:v>0.26454431960049901</c:v>
                </c:pt>
                <c:pt idx="14834">
                  <c:v>0.26456215444979397</c:v>
                </c:pt>
                <c:pt idx="14835">
                  <c:v>0.26457998929908999</c:v>
                </c:pt>
                <c:pt idx="14836">
                  <c:v>0.26459782414838501</c:v>
                </c:pt>
                <c:pt idx="14837">
                  <c:v>0.26461565899768102</c:v>
                </c:pt>
                <c:pt idx="14838">
                  <c:v>0.26463349384697699</c:v>
                </c:pt>
                <c:pt idx="14839">
                  <c:v>0.264651328696272</c:v>
                </c:pt>
                <c:pt idx="14840">
                  <c:v>0.26466916354556802</c:v>
                </c:pt>
                <c:pt idx="14841">
                  <c:v>0.26468699839486298</c:v>
                </c:pt>
                <c:pt idx="14842">
                  <c:v>0.264704833244159</c:v>
                </c:pt>
                <c:pt idx="14843">
                  <c:v>0.26472266809345402</c:v>
                </c:pt>
                <c:pt idx="14844">
                  <c:v>0.26474050294274998</c:v>
                </c:pt>
                <c:pt idx="14845">
                  <c:v>0.264758337792045</c:v>
                </c:pt>
                <c:pt idx="14846">
                  <c:v>0.26477617264134101</c:v>
                </c:pt>
                <c:pt idx="14847">
                  <c:v>0.26479400749063597</c:v>
                </c:pt>
                <c:pt idx="14848">
                  <c:v>0.26481184233993199</c:v>
                </c:pt>
                <c:pt idx="14849">
                  <c:v>0.26482967718922701</c:v>
                </c:pt>
                <c:pt idx="14850">
                  <c:v>0.26484751203852303</c:v>
                </c:pt>
                <c:pt idx="14851">
                  <c:v>0.26486534688781799</c:v>
                </c:pt>
                <c:pt idx="14852">
                  <c:v>0.264883181737114</c:v>
                </c:pt>
                <c:pt idx="14853">
                  <c:v>0.26490101658640902</c:v>
                </c:pt>
                <c:pt idx="14854">
                  <c:v>0.26491885143570498</c:v>
                </c:pt>
                <c:pt idx="14855">
                  <c:v>0.264936686285</c:v>
                </c:pt>
                <c:pt idx="14856">
                  <c:v>0.26495452113429602</c:v>
                </c:pt>
                <c:pt idx="14857">
                  <c:v>0.26497235598359098</c:v>
                </c:pt>
                <c:pt idx="14858">
                  <c:v>0.264990190832887</c:v>
                </c:pt>
                <c:pt idx="14859">
                  <c:v>0.26500802568218301</c:v>
                </c:pt>
                <c:pt idx="14860">
                  <c:v>0.26502586053147797</c:v>
                </c:pt>
                <c:pt idx="14861">
                  <c:v>0.26504369538077399</c:v>
                </c:pt>
                <c:pt idx="14862">
                  <c:v>0.26506153023006901</c:v>
                </c:pt>
                <c:pt idx="14863">
                  <c:v>0.26507936507936503</c:v>
                </c:pt>
                <c:pt idx="14864">
                  <c:v>0.26509719992865999</c:v>
                </c:pt>
                <c:pt idx="14865">
                  <c:v>0.265115034777956</c:v>
                </c:pt>
                <c:pt idx="14866">
                  <c:v>0.26513286962725102</c:v>
                </c:pt>
                <c:pt idx="14867">
                  <c:v>0.26515070447654698</c:v>
                </c:pt>
                <c:pt idx="14868">
                  <c:v>0.265168539325842</c:v>
                </c:pt>
                <c:pt idx="14869">
                  <c:v>0.26518637417513802</c:v>
                </c:pt>
                <c:pt idx="14870">
                  <c:v>0.26520420902443298</c:v>
                </c:pt>
                <c:pt idx="14871">
                  <c:v>0.265222043873729</c:v>
                </c:pt>
                <c:pt idx="14872">
                  <c:v>0.26523987872302401</c:v>
                </c:pt>
                <c:pt idx="14873">
                  <c:v>0.26525771357231998</c:v>
                </c:pt>
                <c:pt idx="14874">
                  <c:v>0.26527554842161499</c:v>
                </c:pt>
                <c:pt idx="14875">
                  <c:v>0.26529338327091101</c:v>
                </c:pt>
                <c:pt idx="14876">
                  <c:v>0.26531121812020603</c:v>
                </c:pt>
                <c:pt idx="14877">
                  <c:v>0.26532905296950199</c:v>
                </c:pt>
                <c:pt idx="14878">
                  <c:v>0.26534688781879701</c:v>
                </c:pt>
                <c:pt idx="14879">
                  <c:v>0.26536472266809302</c:v>
                </c:pt>
                <c:pt idx="14880">
                  <c:v>0.26538255751738898</c:v>
                </c:pt>
                <c:pt idx="14881">
                  <c:v>0.265400392366684</c:v>
                </c:pt>
                <c:pt idx="14882">
                  <c:v>0.26541822721598002</c:v>
                </c:pt>
                <c:pt idx="14883">
                  <c:v>0.26543606206527498</c:v>
                </c:pt>
                <c:pt idx="14884">
                  <c:v>0.265453896914571</c:v>
                </c:pt>
                <c:pt idx="14885">
                  <c:v>0.26547173176386601</c:v>
                </c:pt>
                <c:pt idx="14886">
                  <c:v>0.26548956661316198</c:v>
                </c:pt>
                <c:pt idx="14887">
                  <c:v>0.26550740146245699</c:v>
                </c:pt>
                <c:pt idx="14888">
                  <c:v>0.26552523631175301</c:v>
                </c:pt>
                <c:pt idx="14889">
                  <c:v>0.26554307116104803</c:v>
                </c:pt>
                <c:pt idx="14890">
                  <c:v>0.26556090601034399</c:v>
                </c:pt>
                <c:pt idx="14891">
                  <c:v>0.26557874085963901</c:v>
                </c:pt>
                <c:pt idx="14892">
                  <c:v>0.26559657570893502</c:v>
                </c:pt>
                <c:pt idx="14893">
                  <c:v>0.26561441055822999</c:v>
                </c:pt>
                <c:pt idx="14894">
                  <c:v>0.265632245407526</c:v>
                </c:pt>
                <c:pt idx="14895">
                  <c:v>0.26565008025682102</c:v>
                </c:pt>
                <c:pt idx="14896">
                  <c:v>0.26566791510611698</c:v>
                </c:pt>
                <c:pt idx="14897">
                  <c:v>0.265685749955412</c:v>
                </c:pt>
                <c:pt idx="14898">
                  <c:v>0.26570358480470802</c:v>
                </c:pt>
                <c:pt idx="14899">
                  <c:v>0.26572141965400298</c:v>
                </c:pt>
                <c:pt idx="14900">
                  <c:v>0.26573925450329899</c:v>
                </c:pt>
                <c:pt idx="14901">
                  <c:v>0.26575708935259401</c:v>
                </c:pt>
                <c:pt idx="14902">
                  <c:v>0.26577492420188997</c:v>
                </c:pt>
                <c:pt idx="14903">
                  <c:v>0.26579275905118599</c:v>
                </c:pt>
                <c:pt idx="14904">
                  <c:v>0.26581059390048101</c:v>
                </c:pt>
                <c:pt idx="14905">
                  <c:v>0.26582842874977702</c:v>
                </c:pt>
                <c:pt idx="14906">
                  <c:v>0.26584626359907199</c:v>
                </c:pt>
                <c:pt idx="14907">
                  <c:v>0.265864098448368</c:v>
                </c:pt>
                <c:pt idx="14908">
                  <c:v>0.26588193329766302</c:v>
                </c:pt>
                <c:pt idx="14909">
                  <c:v>0.26589976814695898</c:v>
                </c:pt>
                <c:pt idx="14910">
                  <c:v>0.265917602996254</c:v>
                </c:pt>
                <c:pt idx="14911">
                  <c:v>0.26593543784555002</c:v>
                </c:pt>
                <c:pt idx="14912">
                  <c:v>0.26595327269484498</c:v>
                </c:pt>
                <c:pt idx="14913">
                  <c:v>0.26597110754414099</c:v>
                </c:pt>
                <c:pt idx="14914">
                  <c:v>0.26598894239343601</c:v>
                </c:pt>
                <c:pt idx="14915">
                  <c:v>0.26600677724273197</c:v>
                </c:pt>
                <c:pt idx="14916">
                  <c:v>0.26602461209202699</c:v>
                </c:pt>
                <c:pt idx="14917">
                  <c:v>0.26604244694132301</c:v>
                </c:pt>
                <c:pt idx="14918">
                  <c:v>0.26606028179061803</c:v>
                </c:pt>
                <c:pt idx="14919">
                  <c:v>0.26607811663991399</c:v>
                </c:pt>
                <c:pt idx="14920">
                  <c:v>0.266095951489209</c:v>
                </c:pt>
                <c:pt idx="14921">
                  <c:v>0.26611378633850502</c:v>
                </c:pt>
                <c:pt idx="14922">
                  <c:v>0.26613162118780098</c:v>
                </c:pt>
                <c:pt idx="14923">
                  <c:v>0.266149456037096</c:v>
                </c:pt>
                <c:pt idx="14924">
                  <c:v>0.26616729088639202</c:v>
                </c:pt>
                <c:pt idx="14925">
                  <c:v>0.26618512573568698</c:v>
                </c:pt>
                <c:pt idx="14926">
                  <c:v>0.26620296058498299</c:v>
                </c:pt>
                <c:pt idx="14927">
                  <c:v>0.26622079543427801</c:v>
                </c:pt>
                <c:pt idx="14928">
                  <c:v>0.26623863028357397</c:v>
                </c:pt>
                <c:pt idx="14929">
                  <c:v>0.26625646513286899</c:v>
                </c:pt>
                <c:pt idx="14930">
                  <c:v>0.26627429998216501</c:v>
                </c:pt>
                <c:pt idx="14931">
                  <c:v>0.26629213483146003</c:v>
                </c:pt>
                <c:pt idx="14932">
                  <c:v>0.26630996968075599</c:v>
                </c:pt>
                <c:pt idx="14933">
                  <c:v>0.266327804530051</c:v>
                </c:pt>
                <c:pt idx="14934">
                  <c:v>0.26634563937934702</c:v>
                </c:pt>
                <c:pt idx="14935">
                  <c:v>0.26636347422864198</c:v>
                </c:pt>
                <c:pt idx="14936">
                  <c:v>0.266381309077938</c:v>
                </c:pt>
                <c:pt idx="14937">
                  <c:v>0.26639914392723302</c:v>
                </c:pt>
                <c:pt idx="14938">
                  <c:v>0.26641697877652898</c:v>
                </c:pt>
                <c:pt idx="14939">
                  <c:v>0.266434813625824</c:v>
                </c:pt>
                <c:pt idx="14940">
                  <c:v>0.26645264847512001</c:v>
                </c:pt>
                <c:pt idx="14941">
                  <c:v>0.26647048332441498</c:v>
                </c:pt>
                <c:pt idx="14942">
                  <c:v>0.26648831817371099</c:v>
                </c:pt>
                <c:pt idx="14943">
                  <c:v>0.26650615302300601</c:v>
                </c:pt>
                <c:pt idx="14944">
                  <c:v>0.26652398787230203</c:v>
                </c:pt>
                <c:pt idx="14945">
                  <c:v>0.26654182272159799</c:v>
                </c:pt>
                <c:pt idx="14946">
                  <c:v>0.266559657570893</c:v>
                </c:pt>
                <c:pt idx="14947">
                  <c:v>0.26657749242018902</c:v>
                </c:pt>
                <c:pt idx="14948">
                  <c:v>0.26659532726948398</c:v>
                </c:pt>
                <c:pt idx="14949">
                  <c:v>0.26661316211878</c:v>
                </c:pt>
                <c:pt idx="14950">
                  <c:v>0.26663099696807502</c:v>
                </c:pt>
                <c:pt idx="14951">
                  <c:v>0.26664883181737098</c:v>
                </c:pt>
                <c:pt idx="14952">
                  <c:v>0.266666666666666</c:v>
                </c:pt>
                <c:pt idx="14953">
                  <c:v>0.26668450151596201</c:v>
                </c:pt>
                <c:pt idx="14954">
                  <c:v>0.26670233636525698</c:v>
                </c:pt>
                <c:pt idx="14955">
                  <c:v>0.26672017121455299</c:v>
                </c:pt>
                <c:pt idx="14956">
                  <c:v>0.26673800606384801</c:v>
                </c:pt>
                <c:pt idx="14957">
                  <c:v>0.26675584091314403</c:v>
                </c:pt>
                <c:pt idx="14958">
                  <c:v>0.26677367576243899</c:v>
                </c:pt>
                <c:pt idx="14959">
                  <c:v>0.26679151061173501</c:v>
                </c:pt>
                <c:pt idx="14960">
                  <c:v>0.26680934546103002</c:v>
                </c:pt>
                <c:pt idx="14961">
                  <c:v>0.26682718031032598</c:v>
                </c:pt>
                <c:pt idx="14962">
                  <c:v>0.266845015159621</c:v>
                </c:pt>
                <c:pt idx="14963">
                  <c:v>0.26686285000891702</c:v>
                </c:pt>
                <c:pt idx="14964">
                  <c:v>0.26688068485821198</c:v>
                </c:pt>
                <c:pt idx="14965">
                  <c:v>0.266898519707508</c:v>
                </c:pt>
                <c:pt idx="14966">
                  <c:v>0.26691635455680401</c:v>
                </c:pt>
                <c:pt idx="14967">
                  <c:v>0.26693418940609898</c:v>
                </c:pt>
                <c:pt idx="14968">
                  <c:v>0.26695202425539499</c:v>
                </c:pt>
                <c:pt idx="14969">
                  <c:v>0.26696985910469001</c:v>
                </c:pt>
                <c:pt idx="14970">
                  <c:v>0.26698769395398603</c:v>
                </c:pt>
                <c:pt idx="14971">
                  <c:v>0.26700552880328099</c:v>
                </c:pt>
                <c:pt idx="14972">
                  <c:v>0.26702336365257701</c:v>
                </c:pt>
                <c:pt idx="14973">
                  <c:v>0.26704119850187202</c:v>
                </c:pt>
                <c:pt idx="14974">
                  <c:v>0.26705903335116798</c:v>
                </c:pt>
                <c:pt idx="14975">
                  <c:v>0.267076868200463</c:v>
                </c:pt>
                <c:pt idx="14976">
                  <c:v>0.26709470304975902</c:v>
                </c:pt>
                <c:pt idx="14977">
                  <c:v>0.26711253789905398</c:v>
                </c:pt>
                <c:pt idx="14978">
                  <c:v>0.26713037274835</c:v>
                </c:pt>
                <c:pt idx="14979">
                  <c:v>0.26714820759764502</c:v>
                </c:pt>
                <c:pt idx="14980">
                  <c:v>0.26716604244694098</c:v>
                </c:pt>
                <c:pt idx="14981">
                  <c:v>0.26718387729623599</c:v>
                </c:pt>
                <c:pt idx="14982">
                  <c:v>0.26720171214553201</c:v>
                </c:pt>
                <c:pt idx="14983">
                  <c:v>0.26721954699482697</c:v>
                </c:pt>
                <c:pt idx="14984">
                  <c:v>0.26723738184412299</c:v>
                </c:pt>
                <c:pt idx="14985">
                  <c:v>0.26725521669341801</c:v>
                </c:pt>
                <c:pt idx="14986">
                  <c:v>0.26727305154271402</c:v>
                </c:pt>
                <c:pt idx="14987">
                  <c:v>0.26729088639200999</c:v>
                </c:pt>
                <c:pt idx="14988">
                  <c:v>0.267308721241305</c:v>
                </c:pt>
                <c:pt idx="14989">
                  <c:v>0.26732655609060102</c:v>
                </c:pt>
                <c:pt idx="14990">
                  <c:v>0.26734439093989598</c:v>
                </c:pt>
                <c:pt idx="14991">
                  <c:v>0.267362225789192</c:v>
                </c:pt>
                <c:pt idx="14992">
                  <c:v>0.26738006063848702</c:v>
                </c:pt>
                <c:pt idx="14993">
                  <c:v>0.26739789548778298</c:v>
                </c:pt>
                <c:pt idx="14994">
                  <c:v>0.26741573033707799</c:v>
                </c:pt>
                <c:pt idx="14995">
                  <c:v>0.26743356518637401</c:v>
                </c:pt>
                <c:pt idx="14996">
                  <c:v>0.26745140003566897</c:v>
                </c:pt>
                <c:pt idx="14997">
                  <c:v>0.26746923488496499</c:v>
                </c:pt>
                <c:pt idx="14998">
                  <c:v>0.26748706973426001</c:v>
                </c:pt>
                <c:pt idx="14999">
                  <c:v>0.26750490458355602</c:v>
                </c:pt>
                <c:pt idx="15000">
                  <c:v>0.26752273943285099</c:v>
                </c:pt>
                <c:pt idx="15001">
                  <c:v>0.267540574282147</c:v>
                </c:pt>
                <c:pt idx="15002">
                  <c:v>0.26755840913144202</c:v>
                </c:pt>
                <c:pt idx="15003">
                  <c:v>0.26757624398073798</c:v>
                </c:pt>
                <c:pt idx="15004">
                  <c:v>0.267594078830033</c:v>
                </c:pt>
                <c:pt idx="15005">
                  <c:v>0.26761191367932902</c:v>
                </c:pt>
                <c:pt idx="15006">
                  <c:v>0.26762974852862398</c:v>
                </c:pt>
                <c:pt idx="15007">
                  <c:v>0.26764758337792</c:v>
                </c:pt>
                <c:pt idx="15008">
                  <c:v>0.26766541822721501</c:v>
                </c:pt>
                <c:pt idx="15009">
                  <c:v>0.26768325307651097</c:v>
                </c:pt>
                <c:pt idx="15010">
                  <c:v>0.26770108792580699</c:v>
                </c:pt>
                <c:pt idx="15011">
                  <c:v>0.26771892277510201</c:v>
                </c:pt>
                <c:pt idx="15012">
                  <c:v>0.26773675762439803</c:v>
                </c:pt>
                <c:pt idx="15013">
                  <c:v>0.26775459247369299</c:v>
                </c:pt>
                <c:pt idx="15014">
                  <c:v>0.267772427322989</c:v>
                </c:pt>
                <c:pt idx="15015">
                  <c:v>0.26779026217228402</c:v>
                </c:pt>
                <c:pt idx="15016">
                  <c:v>0.26780809702157998</c:v>
                </c:pt>
                <c:pt idx="15017">
                  <c:v>0.267825931870875</c:v>
                </c:pt>
                <c:pt idx="15018">
                  <c:v>0.26784376672017102</c:v>
                </c:pt>
                <c:pt idx="15019">
                  <c:v>0.26786160156946598</c:v>
                </c:pt>
                <c:pt idx="15020">
                  <c:v>0.267879436418762</c:v>
                </c:pt>
                <c:pt idx="15021">
                  <c:v>0.26789727126805701</c:v>
                </c:pt>
                <c:pt idx="15022">
                  <c:v>0.26791510611735297</c:v>
                </c:pt>
                <c:pt idx="15023">
                  <c:v>0.26793294096664799</c:v>
                </c:pt>
                <c:pt idx="15024">
                  <c:v>0.26795077581594401</c:v>
                </c:pt>
                <c:pt idx="15025">
                  <c:v>0.26796861066523903</c:v>
                </c:pt>
                <c:pt idx="15026">
                  <c:v>0.26798644551453499</c:v>
                </c:pt>
                <c:pt idx="15027">
                  <c:v>0.26800428036383001</c:v>
                </c:pt>
                <c:pt idx="15028">
                  <c:v>0.26802211521312602</c:v>
                </c:pt>
                <c:pt idx="15029">
                  <c:v>0.26803995006242198</c:v>
                </c:pt>
                <c:pt idx="15030">
                  <c:v>0.268057784911717</c:v>
                </c:pt>
                <c:pt idx="15031">
                  <c:v>0.26807561976101302</c:v>
                </c:pt>
                <c:pt idx="15032">
                  <c:v>0.26809345461030798</c:v>
                </c:pt>
                <c:pt idx="15033">
                  <c:v>0.268111289459604</c:v>
                </c:pt>
                <c:pt idx="15034">
                  <c:v>0.26812912430889901</c:v>
                </c:pt>
                <c:pt idx="15035">
                  <c:v>0.26814695915819498</c:v>
                </c:pt>
                <c:pt idx="15036">
                  <c:v>0.26816479400748999</c:v>
                </c:pt>
                <c:pt idx="15037">
                  <c:v>0.26818262885678601</c:v>
                </c:pt>
                <c:pt idx="15038">
                  <c:v>0.26820046370608103</c:v>
                </c:pt>
                <c:pt idx="15039">
                  <c:v>0.26821829855537699</c:v>
                </c:pt>
                <c:pt idx="15040">
                  <c:v>0.26823613340467201</c:v>
                </c:pt>
                <c:pt idx="15041">
                  <c:v>0.26825396825396802</c:v>
                </c:pt>
                <c:pt idx="15042">
                  <c:v>0.26827180310326298</c:v>
                </c:pt>
                <c:pt idx="15043">
                  <c:v>0.268289637952559</c:v>
                </c:pt>
                <c:pt idx="15044">
                  <c:v>0.26830747280185402</c:v>
                </c:pt>
                <c:pt idx="15045">
                  <c:v>0.26832530765114998</c:v>
                </c:pt>
                <c:pt idx="15046">
                  <c:v>0.268343142500445</c:v>
                </c:pt>
                <c:pt idx="15047">
                  <c:v>0.26836097734974101</c:v>
                </c:pt>
                <c:pt idx="15048">
                  <c:v>0.26837881219903598</c:v>
                </c:pt>
                <c:pt idx="15049">
                  <c:v>0.26839664704833199</c:v>
                </c:pt>
                <c:pt idx="15050">
                  <c:v>0.26841448189762701</c:v>
                </c:pt>
                <c:pt idx="15051">
                  <c:v>0.26843231674692303</c:v>
                </c:pt>
                <c:pt idx="15052">
                  <c:v>0.26845015159621899</c:v>
                </c:pt>
                <c:pt idx="15053">
                  <c:v>0.26846798644551401</c:v>
                </c:pt>
                <c:pt idx="15054">
                  <c:v>0.26848582129481002</c:v>
                </c:pt>
                <c:pt idx="15055">
                  <c:v>0.26850365614410499</c:v>
                </c:pt>
                <c:pt idx="15056">
                  <c:v>0.268521490993401</c:v>
                </c:pt>
                <c:pt idx="15057">
                  <c:v>0.26853932584269602</c:v>
                </c:pt>
                <c:pt idx="15058">
                  <c:v>0.26855716069199198</c:v>
                </c:pt>
                <c:pt idx="15059">
                  <c:v>0.268574995541287</c:v>
                </c:pt>
                <c:pt idx="15060">
                  <c:v>0.26859283039058302</c:v>
                </c:pt>
                <c:pt idx="15061">
                  <c:v>0.26861066523987798</c:v>
                </c:pt>
                <c:pt idx="15062">
                  <c:v>0.26862850008917399</c:v>
                </c:pt>
                <c:pt idx="15063">
                  <c:v>0.26864633493846901</c:v>
                </c:pt>
                <c:pt idx="15064">
                  <c:v>0.26866416978776497</c:v>
                </c:pt>
                <c:pt idx="15065">
                  <c:v>0.26868200463705999</c:v>
                </c:pt>
                <c:pt idx="15066">
                  <c:v>0.26869983948635601</c:v>
                </c:pt>
                <c:pt idx="15067">
                  <c:v>0.26871767433565102</c:v>
                </c:pt>
                <c:pt idx="15068">
                  <c:v>0.26873550918494699</c:v>
                </c:pt>
                <c:pt idx="15069">
                  <c:v>0.268753344034242</c:v>
                </c:pt>
                <c:pt idx="15070">
                  <c:v>0.26877117888353802</c:v>
                </c:pt>
                <c:pt idx="15071">
                  <c:v>0.26878901373283398</c:v>
                </c:pt>
                <c:pt idx="15072">
                  <c:v>0.268806848582129</c:v>
                </c:pt>
                <c:pt idx="15073">
                  <c:v>0.26882468343142502</c:v>
                </c:pt>
                <c:pt idx="15074">
                  <c:v>0.26884251828071998</c:v>
                </c:pt>
                <c:pt idx="15075">
                  <c:v>0.26886035313001599</c:v>
                </c:pt>
                <c:pt idx="15076">
                  <c:v>0.26887818797931101</c:v>
                </c:pt>
                <c:pt idx="15077">
                  <c:v>0.26889602282860697</c:v>
                </c:pt>
                <c:pt idx="15078">
                  <c:v>0.26891385767790199</c:v>
                </c:pt>
                <c:pt idx="15079">
                  <c:v>0.26893169252719801</c:v>
                </c:pt>
                <c:pt idx="15080">
                  <c:v>0.26894952737649302</c:v>
                </c:pt>
                <c:pt idx="15081">
                  <c:v>0.26896736222578899</c:v>
                </c:pt>
                <c:pt idx="15082">
                  <c:v>0.268985197075084</c:v>
                </c:pt>
                <c:pt idx="15083">
                  <c:v>0.26900303192438002</c:v>
                </c:pt>
                <c:pt idx="15084">
                  <c:v>0.26902086677367498</c:v>
                </c:pt>
                <c:pt idx="15085">
                  <c:v>0.269038701622971</c:v>
                </c:pt>
                <c:pt idx="15086">
                  <c:v>0.26905653647226602</c:v>
                </c:pt>
                <c:pt idx="15087">
                  <c:v>0.26907437132156198</c:v>
                </c:pt>
                <c:pt idx="15088">
                  <c:v>0.269092206170857</c:v>
                </c:pt>
                <c:pt idx="15089">
                  <c:v>0.26911004102015301</c:v>
                </c:pt>
                <c:pt idx="15090">
                  <c:v>0.26912787586944797</c:v>
                </c:pt>
                <c:pt idx="15091">
                  <c:v>0.26914571071874399</c:v>
                </c:pt>
                <c:pt idx="15092">
                  <c:v>0.26916354556803901</c:v>
                </c:pt>
                <c:pt idx="15093">
                  <c:v>0.26918138041733503</c:v>
                </c:pt>
                <c:pt idx="15094">
                  <c:v>0.26919921526663099</c:v>
                </c:pt>
                <c:pt idx="15095">
                  <c:v>0.269217050115926</c:v>
                </c:pt>
                <c:pt idx="15096">
                  <c:v>0.26923488496522202</c:v>
                </c:pt>
                <c:pt idx="15097">
                  <c:v>0.26925271981451698</c:v>
                </c:pt>
                <c:pt idx="15098">
                  <c:v>0.269270554663813</c:v>
                </c:pt>
                <c:pt idx="15099">
                  <c:v>0.26928838951310802</c:v>
                </c:pt>
                <c:pt idx="15100">
                  <c:v>0.26930622436240398</c:v>
                </c:pt>
                <c:pt idx="15101">
                  <c:v>0.269324059211699</c:v>
                </c:pt>
                <c:pt idx="15102">
                  <c:v>0.26934189406099501</c:v>
                </c:pt>
                <c:pt idx="15103">
                  <c:v>0.26935972891028998</c:v>
                </c:pt>
                <c:pt idx="15104">
                  <c:v>0.26937756375958599</c:v>
                </c:pt>
                <c:pt idx="15105">
                  <c:v>0.26939539860888101</c:v>
                </c:pt>
                <c:pt idx="15106">
                  <c:v>0.26941323345817703</c:v>
                </c:pt>
                <c:pt idx="15107">
                  <c:v>0.26943106830747199</c:v>
                </c:pt>
                <c:pt idx="15108">
                  <c:v>0.269448903156768</c:v>
                </c:pt>
                <c:pt idx="15109">
                  <c:v>0.26946673800606302</c:v>
                </c:pt>
                <c:pt idx="15110">
                  <c:v>0.26948457285535898</c:v>
                </c:pt>
                <c:pt idx="15111">
                  <c:v>0.269502407704654</c:v>
                </c:pt>
                <c:pt idx="15112">
                  <c:v>0.26952024255395002</c:v>
                </c:pt>
                <c:pt idx="15113">
                  <c:v>0.26953807740324498</c:v>
                </c:pt>
                <c:pt idx="15114">
                  <c:v>0.269555912252541</c:v>
                </c:pt>
                <c:pt idx="15115">
                  <c:v>0.26957374710183701</c:v>
                </c:pt>
                <c:pt idx="15116">
                  <c:v>0.26959158195113198</c:v>
                </c:pt>
                <c:pt idx="15117">
                  <c:v>0.26960941680042799</c:v>
                </c:pt>
                <c:pt idx="15118">
                  <c:v>0.26962725164972301</c:v>
                </c:pt>
                <c:pt idx="15119">
                  <c:v>0.26964508649901903</c:v>
                </c:pt>
                <c:pt idx="15120">
                  <c:v>0.26966292134831399</c:v>
                </c:pt>
                <c:pt idx="15121">
                  <c:v>0.26968075619761001</c:v>
                </c:pt>
                <c:pt idx="15122">
                  <c:v>0.26969859104690502</c:v>
                </c:pt>
                <c:pt idx="15123">
                  <c:v>0.26971642589620098</c:v>
                </c:pt>
                <c:pt idx="15124">
                  <c:v>0.269734260745496</c:v>
                </c:pt>
                <c:pt idx="15125">
                  <c:v>0.26975209559479202</c:v>
                </c:pt>
                <c:pt idx="15126">
                  <c:v>0.26976993044408698</c:v>
                </c:pt>
                <c:pt idx="15127">
                  <c:v>0.269787765293383</c:v>
                </c:pt>
                <c:pt idx="15128">
                  <c:v>0.26980560014267801</c:v>
                </c:pt>
                <c:pt idx="15129">
                  <c:v>0.26982343499197398</c:v>
                </c:pt>
                <c:pt idx="15130">
                  <c:v>0.26984126984126899</c:v>
                </c:pt>
                <c:pt idx="15131">
                  <c:v>0.26985910469056501</c:v>
                </c:pt>
                <c:pt idx="15132">
                  <c:v>0.26987693953985997</c:v>
                </c:pt>
                <c:pt idx="15133">
                  <c:v>0.26989477438915599</c:v>
                </c:pt>
                <c:pt idx="15134">
                  <c:v>0.26991260923845101</c:v>
                </c:pt>
                <c:pt idx="15135">
                  <c:v>0.26993044408774702</c:v>
                </c:pt>
                <c:pt idx="15136">
                  <c:v>0.26994827893704298</c:v>
                </c:pt>
                <c:pt idx="15137">
                  <c:v>0.269966113786338</c:v>
                </c:pt>
                <c:pt idx="15138">
                  <c:v>0.26998394863563402</c:v>
                </c:pt>
                <c:pt idx="15139">
                  <c:v>0.27000178348492898</c:v>
                </c:pt>
                <c:pt idx="15140">
                  <c:v>0.270019618334225</c:v>
                </c:pt>
                <c:pt idx="15141">
                  <c:v>0.27003745318352002</c:v>
                </c:pt>
                <c:pt idx="15142">
                  <c:v>0.27005528803281598</c:v>
                </c:pt>
                <c:pt idx="15143">
                  <c:v>0.27007312288211099</c:v>
                </c:pt>
                <c:pt idx="15144">
                  <c:v>0.27009095773140701</c:v>
                </c:pt>
                <c:pt idx="15145">
                  <c:v>0.27010879258070197</c:v>
                </c:pt>
                <c:pt idx="15146">
                  <c:v>0.27012662742999799</c:v>
                </c:pt>
                <c:pt idx="15147">
                  <c:v>0.27014446227929301</c:v>
                </c:pt>
                <c:pt idx="15148">
                  <c:v>0.27016229712858902</c:v>
                </c:pt>
                <c:pt idx="15149">
                  <c:v>0.27018013197788399</c:v>
                </c:pt>
                <c:pt idx="15150">
                  <c:v>0.27019796682718</c:v>
                </c:pt>
                <c:pt idx="15151">
                  <c:v>0.27021580167647502</c:v>
                </c:pt>
                <c:pt idx="15152">
                  <c:v>0.27023363652577098</c:v>
                </c:pt>
                <c:pt idx="15153">
                  <c:v>0.270251471375066</c:v>
                </c:pt>
                <c:pt idx="15154">
                  <c:v>0.27026930622436202</c:v>
                </c:pt>
                <c:pt idx="15155">
                  <c:v>0.27028714107365698</c:v>
                </c:pt>
                <c:pt idx="15156">
                  <c:v>0.27030497592295299</c:v>
                </c:pt>
                <c:pt idx="15157">
                  <c:v>0.27032281077224801</c:v>
                </c:pt>
                <c:pt idx="15158">
                  <c:v>0.27034064562154397</c:v>
                </c:pt>
                <c:pt idx="15159">
                  <c:v>0.27035848047083999</c:v>
                </c:pt>
                <c:pt idx="15160">
                  <c:v>0.27037631532013501</c:v>
                </c:pt>
                <c:pt idx="15161">
                  <c:v>0.27039415016943102</c:v>
                </c:pt>
                <c:pt idx="15162">
                  <c:v>0.27041198501872599</c:v>
                </c:pt>
                <c:pt idx="15163">
                  <c:v>0.270429819868022</c:v>
                </c:pt>
                <c:pt idx="15164">
                  <c:v>0.27044765471731702</c:v>
                </c:pt>
                <c:pt idx="15165">
                  <c:v>0.27046548956661298</c:v>
                </c:pt>
                <c:pt idx="15166">
                  <c:v>0.270483324415908</c:v>
                </c:pt>
                <c:pt idx="15167">
                  <c:v>0.27050115926520402</c:v>
                </c:pt>
                <c:pt idx="15168">
                  <c:v>0.27051899411449898</c:v>
                </c:pt>
                <c:pt idx="15169">
                  <c:v>0.270536828963795</c:v>
                </c:pt>
                <c:pt idx="15170">
                  <c:v>0.27055466381309001</c:v>
                </c:pt>
                <c:pt idx="15171">
                  <c:v>0.27057249866238597</c:v>
                </c:pt>
                <c:pt idx="15172">
                  <c:v>0.27059033351168099</c:v>
                </c:pt>
                <c:pt idx="15173">
                  <c:v>0.27060816836097701</c:v>
                </c:pt>
                <c:pt idx="15174">
                  <c:v>0.27062600321027203</c:v>
                </c:pt>
                <c:pt idx="15175">
                  <c:v>0.27064383805956799</c:v>
                </c:pt>
                <c:pt idx="15176">
                  <c:v>0.270661672908863</c:v>
                </c:pt>
                <c:pt idx="15177">
                  <c:v>0.27067950775815902</c:v>
                </c:pt>
                <c:pt idx="15178">
                  <c:v>0.27069734260745498</c:v>
                </c:pt>
                <c:pt idx="15179">
                  <c:v>0.27071517745675</c:v>
                </c:pt>
                <c:pt idx="15180">
                  <c:v>0.27073301230604602</c:v>
                </c:pt>
                <c:pt idx="15181">
                  <c:v>0.27075084715534098</c:v>
                </c:pt>
                <c:pt idx="15182">
                  <c:v>0.270768682004637</c:v>
                </c:pt>
                <c:pt idx="15183">
                  <c:v>0.27078651685393201</c:v>
                </c:pt>
                <c:pt idx="15184">
                  <c:v>0.27080435170322797</c:v>
                </c:pt>
                <c:pt idx="15185">
                  <c:v>0.27082218655252299</c:v>
                </c:pt>
                <c:pt idx="15186">
                  <c:v>0.27084002140181901</c:v>
                </c:pt>
                <c:pt idx="15187">
                  <c:v>0.27085785625111403</c:v>
                </c:pt>
                <c:pt idx="15188">
                  <c:v>0.27087569110040999</c:v>
                </c:pt>
                <c:pt idx="15189">
                  <c:v>0.27089352594970501</c:v>
                </c:pt>
                <c:pt idx="15190">
                  <c:v>0.27091136079900102</c:v>
                </c:pt>
                <c:pt idx="15191">
                  <c:v>0.27092919564829598</c:v>
                </c:pt>
                <c:pt idx="15192">
                  <c:v>0.270947030497592</c:v>
                </c:pt>
                <c:pt idx="15193">
                  <c:v>0.27096486534688702</c:v>
                </c:pt>
                <c:pt idx="15194">
                  <c:v>0.27098270019618298</c:v>
                </c:pt>
                <c:pt idx="15195">
                  <c:v>0.271000535045478</c:v>
                </c:pt>
                <c:pt idx="15196">
                  <c:v>0.27101836989477401</c:v>
                </c:pt>
                <c:pt idx="15197">
                  <c:v>0.27103620474406898</c:v>
                </c:pt>
                <c:pt idx="15198">
                  <c:v>0.27105403959336499</c:v>
                </c:pt>
                <c:pt idx="15199">
                  <c:v>0.27107187444266001</c:v>
                </c:pt>
                <c:pt idx="15200">
                  <c:v>0.27108970929195603</c:v>
                </c:pt>
                <c:pt idx="15201">
                  <c:v>0.27110754414125199</c:v>
                </c:pt>
                <c:pt idx="15202">
                  <c:v>0.27112537899054701</c:v>
                </c:pt>
                <c:pt idx="15203">
                  <c:v>0.27114321383984302</c:v>
                </c:pt>
                <c:pt idx="15204">
                  <c:v>0.27116104868913798</c:v>
                </c:pt>
                <c:pt idx="15205">
                  <c:v>0.271178883538434</c:v>
                </c:pt>
                <c:pt idx="15206">
                  <c:v>0.27119671838772902</c:v>
                </c:pt>
                <c:pt idx="15207">
                  <c:v>0.27121455323702498</c:v>
                </c:pt>
                <c:pt idx="15208">
                  <c:v>0.27123238808632</c:v>
                </c:pt>
                <c:pt idx="15209">
                  <c:v>0.27125022293561601</c:v>
                </c:pt>
                <c:pt idx="15210">
                  <c:v>0.27126805778491098</c:v>
                </c:pt>
                <c:pt idx="15211">
                  <c:v>0.27128589263420699</c:v>
                </c:pt>
                <c:pt idx="15212">
                  <c:v>0.27130372748350201</c:v>
                </c:pt>
                <c:pt idx="15213">
                  <c:v>0.27132156233279803</c:v>
                </c:pt>
                <c:pt idx="15214">
                  <c:v>0.27133939718209299</c:v>
                </c:pt>
                <c:pt idx="15215">
                  <c:v>0.27135723203138901</c:v>
                </c:pt>
                <c:pt idx="15216">
                  <c:v>0.27137506688068402</c:v>
                </c:pt>
                <c:pt idx="15217">
                  <c:v>0.27139290172997999</c:v>
                </c:pt>
                <c:pt idx="15218">
                  <c:v>0.271410736579275</c:v>
                </c:pt>
                <c:pt idx="15219">
                  <c:v>0.27142857142857102</c:v>
                </c:pt>
                <c:pt idx="15220">
                  <c:v>0.27144640627786598</c:v>
                </c:pt>
                <c:pt idx="15221">
                  <c:v>0.271464241127162</c:v>
                </c:pt>
                <c:pt idx="15222">
                  <c:v>0.27148207597645801</c:v>
                </c:pt>
                <c:pt idx="15223">
                  <c:v>0.27149991082575298</c:v>
                </c:pt>
                <c:pt idx="15224">
                  <c:v>0.27151774567504899</c:v>
                </c:pt>
                <c:pt idx="15225">
                  <c:v>0.27153558052434401</c:v>
                </c:pt>
                <c:pt idx="15226">
                  <c:v>0.27155341537363997</c:v>
                </c:pt>
                <c:pt idx="15227">
                  <c:v>0.27157125022293499</c:v>
                </c:pt>
                <c:pt idx="15228">
                  <c:v>0.27158908507223101</c:v>
                </c:pt>
                <c:pt idx="15229">
                  <c:v>0.27160691992152602</c:v>
                </c:pt>
                <c:pt idx="15230">
                  <c:v>0.27162475477082199</c:v>
                </c:pt>
                <c:pt idx="15231">
                  <c:v>0.271642589620117</c:v>
                </c:pt>
                <c:pt idx="15232">
                  <c:v>0.27166042446941302</c:v>
                </c:pt>
                <c:pt idx="15233">
                  <c:v>0.27167825931870798</c:v>
                </c:pt>
                <c:pt idx="15234">
                  <c:v>0.271696094168004</c:v>
                </c:pt>
                <c:pt idx="15235">
                  <c:v>0.27171392901729902</c:v>
                </c:pt>
                <c:pt idx="15236">
                  <c:v>0.27173176386659498</c:v>
                </c:pt>
                <c:pt idx="15237">
                  <c:v>0.27174959871589</c:v>
                </c:pt>
                <c:pt idx="15238">
                  <c:v>0.27176743356518601</c:v>
                </c:pt>
                <c:pt idx="15239">
                  <c:v>0.27178526841448097</c:v>
                </c:pt>
                <c:pt idx="15240">
                  <c:v>0.27180310326377699</c:v>
                </c:pt>
                <c:pt idx="15241">
                  <c:v>0.27182093811307201</c:v>
                </c:pt>
                <c:pt idx="15242">
                  <c:v>0.27183877296236802</c:v>
                </c:pt>
                <c:pt idx="15243">
                  <c:v>0.27185660781166399</c:v>
                </c:pt>
                <c:pt idx="15244">
                  <c:v>0.271874442660959</c:v>
                </c:pt>
                <c:pt idx="15245">
                  <c:v>0.27189227751025502</c:v>
                </c:pt>
                <c:pt idx="15246">
                  <c:v>0.27191011235954998</c:v>
                </c:pt>
                <c:pt idx="15247">
                  <c:v>0.271927947208846</c:v>
                </c:pt>
                <c:pt idx="15248">
                  <c:v>0.27194578205814102</c:v>
                </c:pt>
                <c:pt idx="15249">
                  <c:v>0.27196361690743698</c:v>
                </c:pt>
                <c:pt idx="15250">
                  <c:v>0.271981451756732</c:v>
                </c:pt>
                <c:pt idx="15251">
                  <c:v>0.27199928660602801</c:v>
                </c:pt>
                <c:pt idx="15252">
                  <c:v>0.27201712145532297</c:v>
                </c:pt>
                <c:pt idx="15253">
                  <c:v>0.27203495630461899</c:v>
                </c:pt>
                <c:pt idx="15254">
                  <c:v>0.27205279115391401</c:v>
                </c:pt>
                <c:pt idx="15255">
                  <c:v>0.27207062600321003</c:v>
                </c:pt>
                <c:pt idx="15256">
                  <c:v>0.27208846085250499</c:v>
                </c:pt>
                <c:pt idx="15257">
                  <c:v>0.272106295701801</c:v>
                </c:pt>
                <c:pt idx="15258">
                  <c:v>0.27212413055109602</c:v>
                </c:pt>
                <c:pt idx="15259">
                  <c:v>0.27214196540039198</c:v>
                </c:pt>
                <c:pt idx="15260">
                  <c:v>0.272159800249687</c:v>
                </c:pt>
                <c:pt idx="15261">
                  <c:v>0.27217763509898302</c:v>
                </c:pt>
                <c:pt idx="15262">
                  <c:v>0.27219546994827798</c:v>
                </c:pt>
                <c:pt idx="15263">
                  <c:v>0.272213304797574</c:v>
                </c:pt>
                <c:pt idx="15264">
                  <c:v>0.27223113964686901</c:v>
                </c:pt>
                <c:pt idx="15265">
                  <c:v>0.27224897449616497</c:v>
                </c:pt>
                <c:pt idx="15266">
                  <c:v>0.27226680934546099</c:v>
                </c:pt>
                <c:pt idx="15267">
                  <c:v>0.27228464419475601</c:v>
                </c:pt>
                <c:pt idx="15268">
                  <c:v>0.27230247904405203</c:v>
                </c:pt>
                <c:pt idx="15269">
                  <c:v>0.27232031389334699</c:v>
                </c:pt>
                <c:pt idx="15270">
                  <c:v>0.272338148742643</c:v>
                </c:pt>
                <c:pt idx="15271">
                  <c:v>0.27235598359193802</c:v>
                </c:pt>
                <c:pt idx="15272">
                  <c:v>0.27237381844123398</c:v>
                </c:pt>
                <c:pt idx="15273">
                  <c:v>0.272391653290529</c:v>
                </c:pt>
                <c:pt idx="15274">
                  <c:v>0.27240948813982502</c:v>
                </c:pt>
                <c:pt idx="15275">
                  <c:v>0.27242732298911998</c:v>
                </c:pt>
                <c:pt idx="15276">
                  <c:v>0.272445157838416</c:v>
                </c:pt>
                <c:pt idx="15277">
                  <c:v>0.27246299268771101</c:v>
                </c:pt>
                <c:pt idx="15278">
                  <c:v>0.27248082753700698</c:v>
                </c:pt>
                <c:pt idx="15279">
                  <c:v>0.27249866238630199</c:v>
                </c:pt>
                <c:pt idx="15280">
                  <c:v>0.27251649723559801</c:v>
                </c:pt>
                <c:pt idx="15281">
                  <c:v>0.27253433208489303</c:v>
                </c:pt>
                <c:pt idx="15282">
                  <c:v>0.27255216693418899</c:v>
                </c:pt>
                <c:pt idx="15283">
                  <c:v>0.27257000178348401</c:v>
                </c:pt>
                <c:pt idx="15284">
                  <c:v>0.27258783663278002</c:v>
                </c:pt>
                <c:pt idx="15285">
                  <c:v>0.27260567148207598</c:v>
                </c:pt>
                <c:pt idx="15286">
                  <c:v>0.272623506331371</c:v>
                </c:pt>
                <c:pt idx="15287">
                  <c:v>0.27264134118066702</c:v>
                </c:pt>
                <c:pt idx="15288">
                  <c:v>0.27265917602996198</c:v>
                </c:pt>
                <c:pt idx="15289">
                  <c:v>0.272677010879258</c:v>
                </c:pt>
                <c:pt idx="15290">
                  <c:v>0.27269484572855301</c:v>
                </c:pt>
                <c:pt idx="15291">
                  <c:v>0.27271268057784898</c:v>
                </c:pt>
                <c:pt idx="15292">
                  <c:v>0.27273051542714399</c:v>
                </c:pt>
                <c:pt idx="15293">
                  <c:v>0.27274835027644001</c:v>
                </c:pt>
                <c:pt idx="15294">
                  <c:v>0.27276618512573497</c:v>
                </c:pt>
                <c:pt idx="15295">
                  <c:v>0.27278401997503099</c:v>
                </c:pt>
                <c:pt idx="15296">
                  <c:v>0.27280185482432601</c:v>
                </c:pt>
                <c:pt idx="15297">
                  <c:v>0.27281968967362202</c:v>
                </c:pt>
                <c:pt idx="15298">
                  <c:v>0.27283752452291699</c:v>
                </c:pt>
                <c:pt idx="15299">
                  <c:v>0.272855359372213</c:v>
                </c:pt>
                <c:pt idx="15300">
                  <c:v>0.27287319422150802</c:v>
                </c:pt>
                <c:pt idx="15301">
                  <c:v>0.27289102907080398</c:v>
                </c:pt>
                <c:pt idx="15302">
                  <c:v>0.272908863920099</c:v>
                </c:pt>
                <c:pt idx="15303">
                  <c:v>0.27292669876939502</c:v>
                </c:pt>
                <c:pt idx="15304">
                  <c:v>0.27294453361868998</c:v>
                </c:pt>
                <c:pt idx="15305">
                  <c:v>0.27296236846798599</c:v>
                </c:pt>
                <c:pt idx="15306">
                  <c:v>0.27298020331728101</c:v>
                </c:pt>
                <c:pt idx="15307">
                  <c:v>0.27299803816657697</c:v>
                </c:pt>
                <c:pt idx="15308">
                  <c:v>0.27301587301587299</c:v>
                </c:pt>
                <c:pt idx="15309">
                  <c:v>0.27303370786516801</c:v>
                </c:pt>
                <c:pt idx="15310">
                  <c:v>0.27305154271446402</c:v>
                </c:pt>
                <c:pt idx="15311">
                  <c:v>0.27306937756375899</c:v>
                </c:pt>
                <c:pt idx="15312">
                  <c:v>0.273087212413055</c:v>
                </c:pt>
                <c:pt idx="15313">
                  <c:v>0.27310504726235002</c:v>
                </c:pt>
                <c:pt idx="15314">
                  <c:v>0.27312288211164598</c:v>
                </c:pt>
                <c:pt idx="15315">
                  <c:v>0.273140716960941</c:v>
                </c:pt>
                <c:pt idx="15316">
                  <c:v>0.27315855181023702</c:v>
                </c:pt>
                <c:pt idx="15317">
                  <c:v>0.27317638665953198</c:v>
                </c:pt>
                <c:pt idx="15318">
                  <c:v>0.27319422150882799</c:v>
                </c:pt>
                <c:pt idx="15319">
                  <c:v>0.27321205635812301</c:v>
                </c:pt>
                <c:pt idx="15320">
                  <c:v>0.27322989120741897</c:v>
                </c:pt>
                <c:pt idx="15321">
                  <c:v>0.27324772605671399</c:v>
                </c:pt>
                <c:pt idx="15322">
                  <c:v>0.27326556090601001</c:v>
                </c:pt>
                <c:pt idx="15323">
                  <c:v>0.27328339575530503</c:v>
                </c:pt>
                <c:pt idx="15324">
                  <c:v>0.27330123060460099</c:v>
                </c:pt>
                <c:pt idx="15325">
                  <c:v>0.273319065453896</c:v>
                </c:pt>
                <c:pt idx="15326">
                  <c:v>0.27333690030319202</c:v>
                </c:pt>
                <c:pt idx="15327">
                  <c:v>0.27335473515248798</c:v>
                </c:pt>
                <c:pt idx="15328">
                  <c:v>0.273372570001783</c:v>
                </c:pt>
                <c:pt idx="15329">
                  <c:v>0.27339040485107902</c:v>
                </c:pt>
                <c:pt idx="15330">
                  <c:v>0.27340823970037398</c:v>
                </c:pt>
                <c:pt idx="15331">
                  <c:v>0.27342607454967</c:v>
                </c:pt>
                <c:pt idx="15332">
                  <c:v>0.27344390939896501</c:v>
                </c:pt>
                <c:pt idx="15333">
                  <c:v>0.27346174424826097</c:v>
                </c:pt>
                <c:pt idx="15334">
                  <c:v>0.27347957909755599</c:v>
                </c:pt>
                <c:pt idx="15335">
                  <c:v>0.27349741394685201</c:v>
                </c:pt>
                <c:pt idx="15336">
                  <c:v>0.27351524879614703</c:v>
                </c:pt>
                <c:pt idx="15337">
                  <c:v>0.27353308364544299</c:v>
                </c:pt>
                <c:pt idx="15338">
                  <c:v>0.273550918494738</c:v>
                </c:pt>
                <c:pt idx="15339">
                  <c:v>0.27356875334403402</c:v>
                </c:pt>
                <c:pt idx="15340">
                  <c:v>0.27358658819332898</c:v>
                </c:pt>
                <c:pt idx="15341">
                  <c:v>0.273604423042625</c:v>
                </c:pt>
                <c:pt idx="15342">
                  <c:v>0.27362225789192002</c:v>
                </c:pt>
                <c:pt idx="15343">
                  <c:v>0.27364009274121598</c:v>
                </c:pt>
                <c:pt idx="15344">
                  <c:v>0.273657927590511</c:v>
                </c:pt>
                <c:pt idx="15345">
                  <c:v>0.27367576243980701</c:v>
                </c:pt>
                <c:pt idx="15346">
                  <c:v>0.27369359728910198</c:v>
                </c:pt>
                <c:pt idx="15347">
                  <c:v>0.27371143213839799</c:v>
                </c:pt>
                <c:pt idx="15348">
                  <c:v>0.27372926698769301</c:v>
                </c:pt>
                <c:pt idx="15349">
                  <c:v>0.27374710183698903</c:v>
                </c:pt>
                <c:pt idx="15350">
                  <c:v>0.27376493668628499</c:v>
                </c:pt>
                <c:pt idx="15351">
                  <c:v>0.27378277153558001</c:v>
                </c:pt>
                <c:pt idx="15352">
                  <c:v>0.27380060638487602</c:v>
                </c:pt>
                <c:pt idx="15353">
                  <c:v>0.27381844123417098</c:v>
                </c:pt>
                <c:pt idx="15354">
                  <c:v>0.273836276083467</c:v>
                </c:pt>
                <c:pt idx="15355">
                  <c:v>0.27385411093276202</c:v>
                </c:pt>
                <c:pt idx="15356">
                  <c:v>0.27387194578205798</c:v>
                </c:pt>
                <c:pt idx="15357">
                  <c:v>0.273889780631353</c:v>
                </c:pt>
                <c:pt idx="15358">
                  <c:v>0.27390761548064901</c:v>
                </c:pt>
                <c:pt idx="15359">
                  <c:v>0.27392545032994398</c:v>
                </c:pt>
                <c:pt idx="15360">
                  <c:v>0.27394328517923999</c:v>
                </c:pt>
                <c:pt idx="15361">
                  <c:v>0.27396112002853501</c:v>
                </c:pt>
                <c:pt idx="15362">
                  <c:v>0.27397895487783103</c:v>
                </c:pt>
                <c:pt idx="15363">
                  <c:v>0.27399678972712599</c:v>
                </c:pt>
                <c:pt idx="15364">
                  <c:v>0.27401462457642201</c:v>
                </c:pt>
                <c:pt idx="15365">
                  <c:v>0.27403245942571702</c:v>
                </c:pt>
                <c:pt idx="15366">
                  <c:v>0.27405029427501298</c:v>
                </c:pt>
                <c:pt idx="15367">
                  <c:v>0.274068129124308</c:v>
                </c:pt>
                <c:pt idx="15368">
                  <c:v>0.27408596397360402</c:v>
                </c:pt>
                <c:pt idx="15369">
                  <c:v>0.27410379882289898</c:v>
                </c:pt>
                <c:pt idx="15370">
                  <c:v>0.274121633672195</c:v>
                </c:pt>
                <c:pt idx="15371">
                  <c:v>0.27413946852149101</c:v>
                </c:pt>
                <c:pt idx="15372">
                  <c:v>0.27415730337078598</c:v>
                </c:pt>
                <c:pt idx="15373">
                  <c:v>0.27417513822008199</c:v>
                </c:pt>
                <c:pt idx="15374">
                  <c:v>0.27419297306937701</c:v>
                </c:pt>
                <c:pt idx="15375">
                  <c:v>0.27421080791867303</c:v>
                </c:pt>
                <c:pt idx="15376">
                  <c:v>0.27422864276796799</c:v>
                </c:pt>
                <c:pt idx="15377">
                  <c:v>0.27424647761726401</c:v>
                </c:pt>
                <c:pt idx="15378">
                  <c:v>0.27426431246655902</c:v>
                </c:pt>
                <c:pt idx="15379">
                  <c:v>0.27428214731585498</c:v>
                </c:pt>
                <c:pt idx="15380">
                  <c:v>0.27429998216515</c:v>
                </c:pt>
                <c:pt idx="15381">
                  <c:v>0.27431781701444602</c:v>
                </c:pt>
                <c:pt idx="15382">
                  <c:v>0.27433565186374098</c:v>
                </c:pt>
                <c:pt idx="15383">
                  <c:v>0.274353486713037</c:v>
                </c:pt>
                <c:pt idx="15384">
                  <c:v>0.27437132156233202</c:v>
                </c:pt>
                <c:pt idx="15385">
                  <c:v>0.27438915641162798</c:v>
                </c:pt>
                <c:pt idx="15386">
                  <c:v>0.27440699126092299</c:v>
                </c:pt>
                <c:pt idx="15387">
                  <c:v>0.27442482611021901</c:v>
                </c:pt>
                <c:pt idx="15388">
                  <c:v>0.27444266095951397</c:v>
                </c:pt>
                <c:pt idx="15389">
                  <c:v>0.27446049580880999</c:v>
                </c:pt>
                <c:pt idx="15390">
                  <c:v>0.27447833065810501</c:v>
                </c:pt>
                <c:pt idx="15391">
                  <c:v>0.27449616550740102</c:v>
                </c:pt>
                <c:pt idx="15392">
                  <c:v>0.27451400035669699</c:v>
                </c:pt>
                <c:pt idx="15393">
                  <c:v>0.274531835205992</c:v>
                </c:pt>
                <c:pt idx="15394">
                  <c:v>0.27454967005528802</c:v>
                </c:pt>
                <c:pt idx="15395">
                  <c:v>0.27456750490458298</c:v>
                </c:pt>
                <c:pt idx="15396">
                  <c:v>0.274585339753879</c:v>
                </c:pt>
                <c:pt idx="15397">
                  <c:v>0.27460317460317402</c:v>
                </c:pt>
                <c:pt idx="15398">
                  <c:v>0.27462100945246998</c:v>
                </c:pt>
                <c:pt idx="15399">
                  <c:v>0.27463884430176499</c:v>
                </c:pt>
                <c:pt idx="15400">
                  <c:v>0.27465667915106101</c:v>
                </c:pt>
                <c:pt idx="15401">
                  <c:v>0.27467451400035597</c:v>
                </c:pt>
                <c:pt idx="15402">
                  <c:v>0.27469234884965199</c:v>
                </c:pt>
                <c:pt idx="15403">
                  <c:v>0.27471018369894701</c:v>
                </c:pt>
                <c:pt idx="15404">
                  <c:v>0.27472801854824302</c:v>
                </c:pt>
                <c:pt idx="15405">
                  <c:v>0.27474585339753799</c:v>
                </c:pt>
                <c:pt idx="15406">
                  <c:v>0.274763688246834</c:v>
                </c:pt>
                <c:pt idx="15407">
                  <c:v>0.27478152309612902</c:v>
                </c:pt>
                <c:pt idx="15408">
                  <c:v>0.27479935794542498</c:v>
                </c:pt>
                <c:pt idx="15409">
                  <c:v>0.27481719279472</c:v>
                </c:pt>
                <c:pt idx="15410">
                  <c:v>0.27483502764401602</c:v>
                </c:pt>
                <c:pt idx="15411">
                  <c:v>0.27485286249331098</c:v>
                </c:pt>
                <c:pt idx="15412">
                  <c:v>0.274870697342607</c:v>
                </c:pt>
                <c:pt idx="15413">
                  <c:v>0.27488853219190201</c:v>
                </c:pt>
                <c:pt idx="15414">
                  <c:v>0.27490636704119797</c:v>
                </c:pt>
                <c:pt idx="15415">
                  <c:v>0.27492420189049399</c:v>
                </c:pt>
                <c:pt idx="15416">
                  <c:v>0.27494203673978901</c:v>
                </c:pt>
                <c:pt idx="15417">
                  <c:v>0.27495987158908503</c:v>
                </c:pt>
                <c:pt idx="15418">
                  <c:v>0.27497770643837999</c:v>
                </c:pt>
                <c:pt idx="15419">
                  <c:v>0.274995541287676</c:v>
                </c:pt>
                <c:pt idx="15420">
                  <c:v>0.27501337613697102</c:v>
                </c:pt>
                <c:pt idx="15421">
                  <c:v>0.27503121098626698</c:v>
                </c:pt>
                <c:pt idx="15422">
                  <c:v>0.275049045835562</c:v>
                </c:pt>
                <c:pt idx="15423">
                  <c:v>0.27506688068485802</c:v>
                </c:pt>
                <c:pt idx="15424">
                  <c:v>0.27508471553415298</c:v>
                </c:pt>
                <c:pt idx="15425">
                  <c:v>0.275102550383449</c:v>
                </c:pt>
                <c:pt idx="15426">
                  <c:v>0.27512038523274401</c:v>
                </c:pt>
                <c:pt idx="15427">
                  <c:v>0.27513822008203997</c:v>
                </c:pt>
                <c:pt idx="15428">
                  <c:v>0.27515605493133499</c:v>
                </c:pt>
                <c:pt idx="15429">
                  <c:v>0.27517388978063101</c:v>
                </c:pt>
                <c:pt idx="15430">
                  <c:v>0.27519172462992603</c:v>
                </c:pt>
                <c:pt idx="15431">
                  <c:v>0.27520955947922199</c:v>
                </c:pt>
                <c:pt idx="15432">
                  <c:v>0.27522739432851701</c:v>
                </c:pt>
                <c:pt idx="15433">
                  <c:v>0.27524522917781302</c:v>
                </c:pt>
                <c:pt idx="15434">
                  <c:v>0.27526306402710898</c:v>
                </c:pt>
                <c:pt idx="15435">
                  <c:v>0.275280898876404</c:v>
                </c:pt>
                <c:pt idx="15436">
                  <c:v>0.27529873372570002</c:v>
                </c:pt>
                <c:pt idx="15437">
                  <c:v>0.27531656857499498</c:v>
                </c:pt>
                <c:pt idx="15438">
                  <c:v>0.275334403424291</c:v>
                </c:pt>
                <c:pt idx="15439">
                  <c:v>0.27535223827358601</c:v>
                </c:pt>
                <c:pt idx="15440">
                  <c:v>0.27537007312288198</c:v>
                </c:pt>
                <c:pt idx="15441">
                  <c:v>0.27538790797217699</c:v>
                </c:pt>
                <c:pt idx="15442">
                  <c:v>0.27540574282147301</c:v>
                </c:pt>
                <c:pt idx="15443">
                  <c:v>0.27542357767076803</c:v>
                </c:pt>
                <c:pt idx="15444">
                  <c:v>0.27544141252006399</c:v>
                </c:pt>
                <c:pt idx="15445">
                  <c:v>0.27545924736935901</c:v>
                </c:pt>
                <c:pt idx="15446">
                  <c:v>0.27547708221865502</c:v>
                </c:pt>
                <c:pt idx="15447">
                  <c:v>0.27549491706794998</c:v>
                </c:pt>
                <c:pt idx="15448">
                  <c:v>0.275512751917246</c:v>
                </c:pt>
                <c:pt idx="15449">
                  <c:v>0.27553058676654102</c:v>
                </c:pt>
                <c:pt idx="15450">
                  <c:v>0.27554842161583698</c:v>
                </c:pt>
                <c:pt idx="15451">
                  <c:v>0.275566256465132</c:v>
                </c:pt>
                <c:pt idx="15452">
                  <c:v>0.27558409131442801</c:v>
                </c:pt>
                <c:pt idx="15453">
                  <c:v>0.27560192616372298</c:v>
                </c:pt>
                <c:pt idx="15454">
                  <c:v>0.27561976101301899</c:v>
                </c:pt>
                <c:pt idx="15455">
                  <c:v>0.27563759586231401</c:v>
                </c:pt>
                <c:pt idx="15456">
                  <c:v>0.27565543071161003</c:v>
                </c:pt>
                <c:pt idx="15457">
                  <c:v>0.27567326556090599</c:v>
                </c:pt>
                <c:pt idx="15458">
                  <c:v>0.27569110041020101</c:v>
                </c:pt>
                <c:pt idx="15459">
                  <c:v>0.27570893525949702</c:v>
                </c:pt>
                <c:pt idx="15460">
                  <c:v>0.27572677010879199</c:v>
                </c:pt>
                <c:pt idx="15461">
                  <c:v>0.275744604958088</c:v>
                </c:pt>
                <c:pt idx="15462">
                  <c:v>0.27576243980738302</c:v>
                </c:pt>
                <c:pt idx="15463">
                  <c:v>0.27578027465667898</c:v>
                </c:pt>
                <c:pt idx="15464">
                  <c:v>0.275798109505974</c:v>
                </c:pt>
                <c:pt idx="15465">
                  <c:v>0.27581594435527002</c:v>
                </c:pt>
                <c:pt idx="15466">
                  <c:v>0.27583377920456498</c:v>
                </c:pt>
                <c:pt idx="15467">
                  <c:v>0.27585161405386099</c:v>
                </c:pt>
                <c:pt idx="15468">
                  <c:v>0.27586944890315601</c:v>
                </c:pt>
                <c:pt idx="15469">
                  <c:v>0.27588728375245197</c:v>
                </c:pt>
                <c:pt idx="15470">
                  <c:v>0.27590511860174699</c:v>
                </c:pt>
                <c:pt idx="15471">
                  <c:v>0.27592295345104301</c:v>
                </c:pt>
                <c:pt idx="15472">
                  <c:v>0.27594078830033802</c:v>
                </c:pt>
                <c:pt idx="15473">
                  <c:v>0.27595862314963399</c:v>
                </c:pt>
                <c:pt idx="15474">
                  <c:v>0.275976457998929</c:v>
                </c:pt>
                <c:pt idx="15475">
                  <c:v>0.27599429284822502</c:v>
                </c:pt>
                <c:pt idx="15476">
                  <c:v>0.27601212769752098</c:v>
                </c:pt>
                <c:pt idx="15477">
                  <c:v>0.276029962546816</c:v>
                </c:pt>
                <c:pt idx="15478">
                  <c:v>0.27604779739611202</c:v>
                </c:pt>
                <c:pt idx="15479">
                  <c:v>0.27606563224540698</c:v>
                </c:pt>
                <c:pt idx="15480">
                  <c:v>0.27608346709470299</c:v>
                </c:pt>
                <c:pt idx="15481">
                  <c:v>0.27610130194399801</c:v>
                </c:pt>
                <c:pt idx="15482">
                  <c:v>0.27611913679329397</c:v>
                </c:pt>
                <c:pt idx="15483">
                  <c:v>0.27613697164258899</c:v>
                </c:pt>
                <c:pt idx="15484">
                  <c:v>0.27615480649188501</c:v>
                </c:pt>
                <c:pt idx="15485">
                  <c:v>0.27617264134118003</c:v>
                </c:pt>
                <c:pt idx="15486">
                  <c:v>0.27619047619047599</c:v>
                </c:pt>
                <c:pt idx="15487">
                  <c:v>0.276208311039771</c:v>
                </c:pt>
                <c:pt idx="15488">
                  <c:v>0.27622614588906702</c:v>
                </c:pt>
                <c:pt idx="15489">
                  <c:v>0.27624398073836198</c:v>
                </c:pt>
                <c:pt idx="15490">
                  <c:v>0.276261815587658</c:v>
                </c:pt>
                <c:pt idx="15491">
                  <c:v>0.27627965043695302</c:v>
                </c:pt>
                <c:pt idx="15492">
                  <c:v>0.27629748528624898</c:v>
                </c:pt>
                <c:pt idx="15493">
                  <c:v>0.276315320135544</c:v>
                </c:pt>
                <c:pt idx="15494">
                  <c:v>0.27633315498484001</c:v>
                </c:pt>
                <c:pt idx="15495">
                  <c:v>0.27635098983413497</c:v>
                </c:pt>
                <c:pt idx="15496">
                  <c:v>0.27636882468343099</c:v>
                </c:pt>
                <c:pt idx="15497">
                  <c:v>0.27638665953272601</c:v>
                </c:pt>
                <c:pt idx="15498">
                  <c:v>0.27640449438202203</c:v>
                </c:pt>
                <c:pt idx="15499">
                  <c:v>0.27642232923131799</c:v>
                </c:pt>
                <c:pt idx="15500">
                  <c:v>0.276440164080613</c:v>
                </c:pt>
                <c:pt idx="15501">
                  <c:v>0.27645799892990902</c:v>
                </c:pt>
                <c:pt idx="15502">
                  <c:v>0.27647583377920398</c:v>
                </c:pt>
                <c:pt idx="15503">
                  <c:v>0.2764936686285</c:v>
                </c:pt>
                <c:pt idx="15504">
                  <c:v>0.27651150347779502</c:v>
                </c:pt>
                <c:pt idx="15505">
                  <c:v>0.27652933832709098</c:v>
                </c:pt>
                <c:pt idx="15506">
                  <c:v>0.276547173176386</c:v>
                </c:pt>
                <c:pt idx="15507">
                  <c:v>0.27656500802568201</c:v>
                </c:pt>
                <c:pt idx="15508">
                  <c:v>0.27658284287497698</c:v>
                </c:pt>
                <c:pt idx="15509">
                  <c:v>0.27660067772427299</c:v>
                </c:pt>
                <c:pt idx="15510">
                  <c:v>0.27661851257356801</c:v>
                </c:pt>
                <c:pt idx="15511">
                  <c:v>0.27663634742286403</c:v>
                </c:pt>
                <c:pt idx="15512">
                  <c:v>0.27665418227215899</c:v>
                </c:pt>
                <c:pt idx="15513">
                  <c:v>0.27667201712145501</c:v>
                </c:pt>
                <c:pt idx="15514">
                  <c:v>0.27668985197075002</c:v>
                </c:pt>
                <c:pt idx="15515">
                  <c:v>0.27670768682004598</c:v>
                </c:pt>
                <c:pt idx="15516">
                  <c:v>0.276725521669341</c:v>
                </c:pt>
                <c:pt idx="15517">
                  <c:v>0.27674335651863702</c:v>
                </c:pt>
                <c:pt idx="15518">
                  <c:v>0.27676119136793198</c:v>
                </c:pt>
                <c:pt idx="15519">
                  <c:v>0.276779026217228</c:v>
                </c:pt>
                <c:pt idx="15520">
                  <c:v>0.27679686106652401</c:v>
                </c:pt>
                <c:pt idx="15521">
                  <c:v>0.27681469591581898</c:v>
                </c:pt>
                <c:pt idx="15522">
                  <c:v>0.27683253076511499</c:v>
                </c:pt>
                <c:pt idx="15523">
                  <c:v>0.27685036561441001</c:v>
                </c:pt>
                <c:pt idx="15524">
                  <c:v>0.27686820046370603</c:v>
                </c:pt>
                <c:pt idx="15525">
                  <c:v>0.27688603531300099</c:v>
                </c:pt>
                <c:pt idx="15526">
                  <c:v>0.27690387016229701</c:v>
                </c:pt>
                <c:pt idx="15527">
                  <c:v>0.27692170501159202</c:v>
                </c:pt>
                <c:pt idx="15528">
                  <c:v>0.27693953986088798</c:v>
                </c:pt>
                <c:pt idx="15529">
                  <c:v>0.276957374710183</c:v>
                </c:pt>
                <c:pt idx="15530">
                  <c:v>0.27697520955947902</c:v>
                </c:pt>
                <c:pt idx="15531">
                  <c:v>0.27699304440877398</c:v>
                </c:pt>
                <c:pt idx="15532">
                  <c:v>0.27701087925807</c:v>
                </c:pt>
                <c:pt idx="15533">
                  <c:v>0.27702871410736502</c:v>
                </c:pt>
                <c:pt idx="15534">
                  <c:v>0.27704654895666098</c:v>
                </c:pt>
                <c:pt idx="15535">
                  <c:v>0.27706438380595599</c:v>
                </c:pt>
                <c:pt idx="15536">
                  <c:v>0.27708221865525201</c:v>
                </c:pt>
                <c:pt idx="15537">
                  <c:v>0.27710005350454697</c:v>
                </c:pt>
                <c:pt idx="15538">
                  <c:v>0.27711788835384299</c:v>
                </c:pt>
                <c:pt idx="15539">
                  <c:v>0.27713572320313801</c:v>
                </c:pt>
                <c:pt idx="15540">
                  <c:v>0.27715355805243402</c:v>
                </c:pt>
                <c:pt idx="15541">
                  <c:v>0.27717139290172998</c:v>
                </c:pt>
                <c:pt idx="15542">
                  <c:v>0.277189227751025</c:v>
                </c:pt>
                <c:pt idx="15543">
                  <c:v>0.27720706260032102</c:v>
                </c:pt>
                <c:pt idx="15544">
                  <c:v>0.27722489744961598</c:v>
                </c:pt>
                <c:pt idx="15545">
                  <c:v>0.277242732298912</c:v>
                </c:pt>
                <c:pt idx="15546">
                  <c:v>0.27726056714820702</c:v>
                </c:pt>
                <c:pt idx="15547">
                  <c:v>0.27727840199750298</c:v>
                </c:pt>
                <c:pt idx="15548">
                  <c:v>0.27729623684679799</c:v>
                </c:pt>
                <c:pt idx="15549">
                  <c:v>0.27731407169609401</c:v>
                </c:pt>
                <c:pt idx="15550">
                  <c:v>0.27733190654538897</c:v>
                </c:pt>
                <c:pt idx="15551">
                  <c:v>0.27734974139468499</c:v>
                </c:pt>
                <c:pt idx="15552">
                  <c:v>0.27736757624398001</c:v>
                </c:pt>
                <c:pt idx="15553">
                  <c:v>0.27738541109327602</c:v>
                </c:pt>
                <c:pt idx="15554">
                  <c:v>0.27740324594257099</c:v>
                </c:pt>
                <c:pt idx="15555">
                  <c:v>0.277421080791867</c:v>
                </c:pt>
                <c:pt idx="15556">
                  <c:v>0.27743891564116202</c:v>
                </c:pt>
                <c:pt idx="15557">
                  <c:v>0.27745675049045798</c:v>
                </c:pt>
                <c:pt idx="15558">
                  <c:v>0.277474585339753</c:v>
                </c:pt>
                <c:pt idx="15559">
                  <c:v>0.27749242018904902</c:v>
                </c:pt>
                <c:pt idx="15560">
                  <c:v>0.27751025503834398</c:v>
                </c:pt>
                <c:pt idx="15561">
                  <c:v>0.27752808988763999</c:v>
                </c:pt>
                <c:pt idx="15562">
                  <c:v>0.27754592473693501</c:v>
                </c:pt>
                <c:pt idx="15563">
                  <c:v>0.27756375958623097</c:v>
                </c:pt>
                <c:pt idx="15564">
                  <c:v>0.27758159443552699</c:v>
                </c:pt>
                <c:pt idx="15565">
                  <c:v>0.27759942928482201</c:v>
                </c:pt>
                <c:pt idx="15566">
                  <c:v>0.27761726413411802</c:v>
                </c:pt>
                <c:pt idx="15567">
                  <c:v>0.27763509898341299</c:v>
                </c:pt>
                <c:pt idx="15568">
                  <c:v>0.277652933832709</c:v>
                </c:pt>
                <c:pt idx="15569">
                  <c:v>0.27767076868200402</c:v>
                </c:pt>
                <c:pt idx="15570">
                  <c:v>0.27768860353129998</c:v>
                </c:pt>
                <c:pt idx="15571">
                  <c:v>0.277706438380595</c:v>
                </c:pt>
                <c:pt idx="15572">
                  <c:v>0.27772427322989102</c:v>
                </c:pt>
                <c:pt idx="15573">
                  <c:v>0.27774210807918598</c:v>
                </c:pt>
                <c:pt idx="15574">
                  <c:v>0.277759942928482</c:v>
                </c:pt>
                <c:pt idx="15575">
                  <c:v>0.27777777777777701</c:v>
                </c:pt>
                <c:pt idx="15576">
                  <c:v>0.27779561262707297</c:v>
                </c:pt>
                <c:pt idx="15577">
                  <c:v>0.27781344747636799</c:v>
                </c:pt>
                <c:pt idx="15578">
                  <c:v>0.27783128232566401</c:v>
                </c:pt>
                <c:pt idx="15579">
                  <c:v>0.27784911717495903</c:v>
                </c:pt>
                <c:pt idx="15580">
                  <c:v>0.27786695202425499</c:v>
                </c:pt>
                <c:pt idx="15581">
                  <c:v>0.27788478687355</c:v>
                </c:pt>
                <c:pt idx="15582">
                  <c:v>0.27790262172284602</c:v>
                </c:pt>
                <c:pt idx="15583">
                  <c:v>0.27792045657214198</c:v>
                </c:pt>
                <c:pt idx="15584">
                  <c:v>0.277938291421437</c:v>
                </c:pt>
                <c:pt idx="15585">
                  <c:v>0.27795612627073302</c:v>
                </c:pt>
                <c:pt idx="15586">
                  <c:v>0.27797396112002798</c:v>
                </c:pt>
                <c:pt idx="15587">
                  <c:v>0.277991795969324</c:v>
                </c:pt>
                <c:pt idx="15588">
                  <c:v>0.27800963081861901</c:v>
                </c:pt>
                <c:pt idx="15589">
                  <c:v>0.27802746566791497</c:v>
                </c:pt>
                <c:pt idx="15590">
                  <c:v>0.27804530051720999</c:v>
                </c:pt>
                <c:pt idx="15591">
                  <c:v>0.27806313536650601</c:v>
                </c:pt>
                <c:pt idx="15592">
                  <c:v>0.27808097021580103</c:v>
                </c:pt>
                <c:pt idx="15593">
                  <c:v>0.27809880506509699</c:v>
                </c:pt>
                <c:pt idx="15594">
                  <c:v>0.27811663991439201</c:v>
                </c:pt>
                <c:pt idx="15595">
                  <c:v>0.27813447476368802</c:v>
                </c:pt>
                <c:pt idx="15596">
                  <c:v>0.27815230961298298</c:v>
                </c:pt>
                <c:pt idx="15597">
                  <c:v>0.278170144462279</c:v>
                </c:pt>
                <c:pt idx="15598">
                  <c:v>0.27818797931157402</c:v>
                </c:pt>
                <c:pt idx="15599">
                  <c:v>0.27820581416086998</c:v>
                </c:pt>
                <c:pt idx="15600">
                  <c:v>0.278223649010165</c:v>
                </c:pt>
                <c:pt idx="15601">
                  <c:v>0.27824148385946101</c:v>
                </c:pt>
                <c:pt idx="15602">
                  <c:v>0.27825931870875598</c:v>
                </c:pt>
                <c:pt idx="15603">
                  <c:v>0.27827715355805199</c:v>
                </c:pt>
                <c:pt idx="15604">
                  <c:v>0.27829498840734701</c:v>
                </c:pt>
                <c:pt idx="15605">
                  <c:v>0.27831282325664303</c:v>
                </c:pt>
                <c:pt idx="15606">
                  <c:v>0.27833065810593899</c:v>
                </c:pt>
                <c:pt idx="15607">
                  <c:v>0.27834849295523401</c:v>
                </c:pt>
                <c:pt idx="15608">
                  <c:v>0.27836632780453002</c:v>
                </c:pt>
                <c:pt idx="15609">
                  <c:v>0.27838416265382498</c:v>
                </c:pt>
                <c:pt idx="15610">
                  <c:v>0.278401997503121</c:v>
                </c:pt>
                <c:pt idx="15611">
                  <c:v>0.27841983235241602</c:v>
                </c:pt>
                <c:pt idx="15612">
                  <c:v>0.27843766720171198</c:v>
                </c:pt>
                <c:pt idx="15613">
                  <c:v>0.278455502051007</c:v>
                </c:pt>
                <c:pt idx="15614">
                  <c:v>0.27847333690030301</c:v>
                </c:pt>
                <c:pt idx="15615">
                  <c:v>0.27849117174959798</c:v>
                </c:pt>
                <c:pt idx="15616">
                  <c:v>0.27850900659889399</c:v>
                </c:pt>
                <c:pt idx="15617">
                  <c:v>0.27852684144818901</c:v>
                </c:pt>
                <c:pt idx="15618">
                  <c:v>0.27854467629748503</c:v>
                </c:pt>
                <c:pt idx="15619">
                  <c:v>0.27856251114677999</c:v>
                </c:pt>
                <c:pt idx="15620">
                  <c:v>0.27858034599607601</c:v>
                </c:pt>
                <c:pt idx="15621">
                  <c:v>0.27859818084537102</c:v>
                </c:pt>
                <c:pt idx="15622">
                  <c:v>0.27861601569466699</c:v>
                </c:pt>
                <c:pt idx="15623">
                  <c:v>0.278633850543962</c:v>
                </c:pt>
                <c:pt idx="15624">
                  <c:v>0.27865168539325802</c:v>
                </c:pt>
                <c:pt idx="15625">
                  <c:v>0.27866952024255298</c:v>
                </c:pt>
                <c:pt idx="15626">
                  <c:v>0.278687355091849</c:v>
                </c:pt>
                <c:pt idx="15627">
                  <c:v>0.27870518994114502</c:v>
                </c:pt>
                <c:pt idx="15628">
                  <c:v>0.27872302479043998</c:v>
                </c:pt>
                <c:pt idx="15629">
                  <c:v>0.27874085963973599</c:v>
                </c:pt>
                <c:pt idx="15630">
                  <c:v>0.27875869448903101</c:v>
                </c:pt>
                <c:pt idx="15631">
                  <c:v>0.27877652933832697</c:v>
                </c:pt>
                <c:pt idx="15632">
                  <c:v>0.27879436418762199</c:v>
                </c:pt>
                <c:pt idx="15633">
                  <c:v>0.27881219903691801</c:v>
                </c:pt>
                <c:pt idx="15634">
                  <c:v>0.27883003388621302</c:v>
                </c:pt>
                <c:pt idx="15635">
                  <c:v>0.27884786873550899</c:v>
                </c:pt>
                <c:pt idx="15636">
                  <c:v>0.278865703584804</c:v>
                </c:pt>
                <c:pt idx="15637">
                  <c:v>0.27888353843410002</c:v>
                </c:pt>
                <c:pt idx="15638">
                  <c:v>0.27890137328339498</c:v>
                </c:pt>
                <c:pt idx="15639">
                  <c:v>0.278919208132691</c:v>
                </c:pt>
                <c:pt idx="15640">
                  <c:v>0.27893704298198602</c:v>
                </c:pt>
                <c:pt idx="15641">
                  <c:v>0.27895487783128198</c:v>
                </c:pt>
                <c:pt idx="15642">
                  <c:v>0.278972712680577</c:v>
                </c:pt>
                <c:pt idx="15643">
                  <c:v>0.27899054752987301</c:v>
                </c:pt>
                <c:pt idx="15644">
                  <c:v>0.27900838237916797</c:v>
                </c:pt>
                <c:pt idx="15645">
                  <c:v>0.27902621722846399</c:v>
                </c:pt>
                <c:pt idx="15646">
                  <c:v>0.27904405207775901</c:v>
                </c:pt>
                <c:pt idx="15647">
                  <c:v>0.27906188692705503</c:v>
                </c:pt>
                <c:pt idx="15648">
                  <c:v>0.27907972177635099</c:v>
                </c:pt>
                <c:pt idx="15649">
                  <c:v>0.279097556625646</c:v>
                </c:pt>
                <c:pt idx="15650">
                  <c:v>0.27911539147494202</c:v>
                </c:pt>
                <c:pt idx="15651">
                  <c:v>0.27913322632423698</c:v>
                </c:pt>
                <c:pt idx="15652">
                  <c:v>0.279151061173533</c:v>
                </c:pt>
                <c:pt idx="15653">
                  <c:v>0.27916889602282802</c:v>
                </c:pt>
                <c:pt idx="15654">
                  <c:v>0.27918673087212398</c:v>
                </c:pt>
                <c:pt idx="15655">
                  <c:v>0.279204565721419</c:v>
                </c:pt>
                <c:pt idx="15656">
                  <c:v>0.27922240057071501</c:v>
                </c:pt>
                <c:pt idx="15657">
                  <c:v>0.27924023542000997</c:v>
                </c:pt>
                <c:pt idx="15658">
                  <c:v>0.27925807026930599</c:v>
                </c:pt>
                <c:pt idx="15659">
                  <c:v>0.27927590511860101</c:v>
                </c:pt>
                <c:pt idx="15660">
                  <c:v>0.27929373996789703</c:v>
                </c:pt>
                <c:pt idx="15661">
                  <c:v>0.27931157481719199</c:v>
                </c:pt>
                <c:pt idx="15662">
                  <c:v>0.279329409666488</c:v>
                </c:pt>
                <c:pt idx="15663">
                  <c:v>0.27934724451578302</c:v>
                </c:pt>
                <c:pt idx="15664">
                  <c:v>0.27936507936507898</c:v>
                </c:pt>
                <c:pt idx="15665">
                  <c:v>0.279382914214374</c:v>
                </c:pt>
                <c:pt idx="15666">
                  <c:v>0.27940074906367002</c:v>
                </c:pt>
                <c:pt idx="15667">
                  <c:v>0.27941858391296498</c:v>
                </c:pt>
                <c:pt idx="15668">
                  <c:v>0.279436418762261</c:v>
                </c:pt>
                <c:pt idx="15669">
                  <c:v>0.27945425361155601</c:v>
                </c:pt>
                <c:pt idx="15670">
                  <c:v>0.27947208846085198</c:v>
                </c:pt>
                <c:pt idx="15671">
                  <c:v>0.27948992331014799</c:v>
                </c:pt>
                <c:pt idx="15672">
                  <c:v>0.27950775815944301</c:v>
                </c:pt>
                <c:pt idx="15673">
                  <c:v>0.27952559300873903</c:v>
                </c:pt>
                <c:pt idx="15674">
                  <c:v>0.27954342785803399</c:v>
                </c:pt>
                <c:pt idx="15675">
                  <c:v>0.27956126270733</c:v>
                </c:pt>
                <c:pt idx="15676">
                  <c:v>0.27957909755662502</c:v>
                </c:pt>
                <c:pt idx="15677">
                  <c:v>0.27959693240592098</c:v>
                </c:pt>
                <c:pt idx="15678">
                  <c:v>0.279614767255216</c:v>
                </c:pt>
                <c:pt idx="15679">
                  <c:v>0.27963260210451202</c:v>
                </c:pt>
                <c:pt idx="15680">
                  <c:v>0.27965043695380698</c:v>
                </c:pt>
                <c:pt idx="15681">
                  <c:v>0.279668271803103</c:v>
                </c:pt>
                <c:pt idx="15682">
                  <c:v>0.27968610665239801</c:v>
                </c:pt>
                <c:pt idx="15683">
                  <c:v>0.27970394150169398</c:v>
                </c:pt>
                <c:pt idx="15684">
                  <c:v>0.27972177635098899</c:v>
                </c:pt>
                <c:pt idx="15685">
                  <c:v>0.27973961120028501</c:v>
                </c:pt>
                <c:pt idx="15686">
                  <c:v>0.27975744604958003</c:v>
                </c:pt>
                <c:pt idx="15687">
                  <c:v>0.27977528089887599</c:v>
                </c:pt>
                <c:pt idx="15688">
                  <c:v>0.27979311574817101</c:v>
                </c:pt>
                <c:pt idx="15689">
                  <c:v>0.27981095059746702</c:v>
                </c:pt>
                <c:pt idx="15690">
                  <c:v>0.27982878544676298</c:v>
                </c:pt>
                <c:pt idx="15691">
                  <c:v>0.279846620296058</c:v>
                </c:pt>
                <c:pt idx="15692">
                  <c:v>0.27986445514535402</c:v>
                </c:pt>
                <c:pt idx="15693">
                  <c:v>0.27988228999464898</c:v>
                </c:pt>
                <c:pt idx="15694">
                  <c:v>0.279900124843945</c:v>
                </c:pt>
                <c:pt idx="15695">
                  <c:v>0.27991795969324001</c:v>
                </c:pt>
                <c:pt idx="15696">
                  <c:v>0.27993579454253598</c:v>
                </c:pt>
                <c:pt idx="15697">
                  <c:v>0.27995362939183099</c:v>
                </c:pt>
                <c:pt idx="15698">
                  <c:v>0.27997146424112701</c:v>
                </c:pt>
                <c:pt idx="15699">
                  <c:v>0.27998929909042197</c:v>
                </c:pt>
                <c:pt idx="15700">
                  <c:v>0.28000713393971799</c:v>
                </c:pt>
                <c:pt idx="15701">
                  <c:v>0.28002496878901301</c:v>
                </c:pt>
                <c:pt idx="15702">
                  <c:v>0.28004280363830902</c:v>
                </c:pt>
                <c:pt idx="15703">
                  <c:v>0.28006063848760399</c:v>
                </c:pt>
                <c:pt idx="15704">
                  <c:v>0.2800784733369</c:v>
                </c:pt>
                <c:pt idx="15705">
                  <c:v>0.28009630818619502</c:v>
                </c:pt>
                <c:pt idx="15706">
                  <c:v>0.28011414303549098</c:v>
                </c:pt>
                <c:pt idx="15707">
                  <c:v>0.280131977884786</c:v>
                </c:pt>
                <c:pt idx="15708">
                  <c:v>0.28014981273408202</c:v>
                </c:pt>
                <c:pt idx="15709">
                  <c:v>0.28016764758337698</c:v>
                </c:pt>
                <c:pt idx="15710">
                  <c:v>0.28018548243267299</c:v>
                </c:pt>
                <c:pt idx="15711">
                  <c:v>0.28020331728196801</c:v>
                </c:pt>
                <c:pt idx="15712">
                  <c:v>0.28022115213126397</c:v>
                </c:pt>
                <c:pt idx="15713">
                  <c:v>0.28023898698055999</c:v>
                </c:pt>
                <c:pt idx="15714">
                  <c:v>0.28025682182985501</c:v>
                </c:pt>
                <c:pt idx="15715">
                  <c:v>0.28027465667915102</c:v>
                </c:pt>
                <c:pt idx="15716">
                  <c:v>0.28029249152844599</c:v>
                </c:pt>
                <c:pt idx="15717">
                  <c:v>0.280310326377742</c:v>
                </c:pt>
                <c:pt idx="15718">
                  <c:v>0.28032816122703702</c:v>
                </c:pt>
                <c:pt idx="15719">
                  <c:v>0.28034599607633298</c:v>
                </c:pt>
                <c:pt idx="15720">
                  <c:v>0.280363830925628</c:v>
                </c:pt>
                <c:pt idx="15721">
                  <c:v>0.28038166577492402</c:v>
                </c:pt>
                <c:pt idx="15722">
                  <c:v>0.28039950062421898</c:v>
                </c:pt>
                <c:pt idx="15723">
                  <c:v>0.28041733547351499</c:v>
                </c:pt>
                <c:pt idx="15724">
                  <c:v>0.28043517032281001</c:v>
                </c:pt>
                <c:pt idx="15725">
                  <c:v>0.28045300517210597</c:v>
                </c:pt>
                <c:pt idx="15726">
                  <c:v>0.28047084002140099</c:v>
                </c:pt>
                <c:pt idx="15727">
                  <c:v>0.28048867487069701</c:v>
                </c:pt>
                <c:pt idx="15728">
                  <c:v>0.28050650971999203</c:v>
                </c:pt>
                <c:pt idx="15729">
                  <c:v>0.28052434456928799</c:v>
                </c:pt>
                <c:pt idx="15730">
                  <c:v>0.280542179418583</c:v>
                </c:pt>
                <c:pt idx="15731">
                  <c:v>0.28056001426787902</c:v>
                </c:pt>
                <c:pt idx="15732">
                  <c:v>0.28057784911717498</c:v>
                </c:pt>
                <c:pt idx="15733">
                  <c:v>0.28059568396647</c:v>
                </c:pt>
                <c:pt idx="15734">
                  <c:v>0.28061351881576602</c:v>
                </c:pt>
                <c:pt idx="15735">
                  <c:v>0.28063135366506098</c:v>
                </c:pt>
                <c:pt idx="15736">
                  <c:v>0.280649188514357</c:v>
                </c:pt>
                <c:pt idx="15737">
                  <c:v>0.28066702336365201</c:v>
                </c:pt>
                <c:pt idx="15738">
                  <c:v>0.28068485821294797</c:v>
                </c:pt>
                <c:pt idx="15739">
                  <c:v>0.28070269306224299</c:v>
                </c:pt>
                <c:pt idx="15740">
                  <c:v>0.28072052791153901</c:v>
                </c:pt>
                <c:pt idx="15741">
                  <c:v>0.28073836276083403</c:v>
                </c:pt>
                <c:pt idx="15742">
                  <c:v>0.28075619761012999</c:v>
                </c:pt>
                <c:pt idx="15743">
                  <c:v>0.280774032459425</c:v>
                </c:pt>
                <c:pt idx="15744">
                  <c:v>0.28079186730872102</c:v>
                </c:pt>
                <c:pt idx="15745">
                  <c:v>0.28080970215801598</c:v>
                </c:pt>
                <c:pt idx="15746">
                  <c:v>0.280827537007312</c:v>
                </c:pt>
                <c:pt idx="15747">
                  <c:v>0.28084537185660702</c:v>
                </c:pt>
                <c:pt idx="15748">
                  <c:v>0.28086320670590298</c:v>
                </c:pt>
                <c:pt idx="15749">
                  <c:v>0.280881041555198</c:v>
                </c:pt>
                <c:pt idx="15750">
                  <c:v>0.28089887640449401</c:v>
                </c:pt>
                <c:pt idx="15751">
                  <c:v>0.28091671125378898</c:v>
                </c:pt>
                <c:pt idx="15752">
                  <c:v>0.28093454610308499</c:v>
                </c:pt>
                <c:pt idx="15753">
                  <c:v>0.28095238095238001</c:v>
                </c:pt>
                <c:pt idx="15754">
                  <c:v>0.28097021580167603</c:v>
                </c:pt>
                <c:pt idx="15755">
                  <c:v>0.28098805065097199</c:v>
                </c:pt>
                <c:pt idx="15756">
                  <c:v>0.28100588550026701</c:v>
                </c:pt>
                <c:pt idx="15757">
                  <c:v>0.28102372034956302</c:v>
                </c:pt>
                <c:pt idx="15758">
                  <c:v>0.28104155519885798</c:v>
                </c:pt>
                <c:pt idx="15759">
                  <c:v>0.281059390048154</c:v>
                </c:pt>
                <c:pt idx="15760">
                  <c:v>0.28107722489744902</c:v>
                </c:pt>
                <c:pt idx="15761">
                  <c:v>0.28109505974674498</c:v>
                </c:pt>
                <c:pt idx="15762">
                  <c:v>0.28111289459604</c:v>
                </c:pt>
                <c:pt idx="15763">
                  <c:v>0.28113072944533601</c:v>
                </c:pt>
                <c:pt idx="15764">
                  <c:v>0.28114856429463098</c:v>
                </c:pt>
                <c:pt idx="15765">
                  <c:v>0.28116639914392699</c:v>
                </c:pt>
                <c:pt idx="15766">
                  <c:v>0.28118423399322201</c:v>
                </c:pt>
                <c:pt idx="15767">
                  <c:v>0.28120206884251803</c:v>
                </c:pt>
                <c:pt idx="15768">
                  <c:v>0.28121990369181299</c:v>
                </c:pt>
                <c:pt idx="15769">
                  <c:v>0.28123773854110901</c:v>
                </c:pt>
                <c:pt idx="15770">
                  <c:v>0.28125557339040402</c:v>
                </c:pt>
                <c:pt idx="15771">
                  <c:v>0.28127340823969998</c:v>
                </c:pt>
                <c:pt idx="15772">
                  <c:v>0.281291243088995</c:v>
                </c:pt>
                <c:pt idx="15773">
                  <c:v>0.28130907793829102</c:v>
                </c:pt>
                <c:pt idx="15774">
                  <c:v>0.28132691278758598</c:v>
                </c:pt>
                <c:pt idx="15775">
                  <c:v>0.281344747636882</c:v>
                </c:pt>
                <c:pt idx="15776">
                  <c:v>0.28136258248617801</c:v>
                </c:pt>
                <c:pt idx="15777">
                  <c:v>0.28138041733547298</c:v>
                </c:pt>
                <c:pt idx="15778">
                  <c:v>0.28139825218476899</c:v>
                </c:pt>
                <c:pt idx="15779">
                  <c:v>0.28141608703406401</c:v>
                </c:pt>
                <c:pt idx="15780">
                  <c:v>0.28143392188336003</c:v>
                </c:pt>
                <c:pt idx="15781">
                  <c:v>0.28145175673265499</c:v>
                </c:pt>
                <c:pt idx="15782">
                  <c:v>0.28146959158195101</c:v>
                </c:pt>
                <c:pt idx="15783">
                  <c:v>0.28148742643124602</c:v>
                </c:pt>
                <c:pt idx="15784">
                  <c:v>0.28150526128054199</c:v>
                </c:pt>
                <c:pt idx="15785">
                  <c:v>0.281523096129837</c:v>
                </c:pt>
                <c:pt idx="15786">
                  <c:v>0.28154093097913302</c:v>
                </c:pt>
                <c:pt idx="15787">
                  <c:v>0.28155876582842798</c:v>
                </c:pt>
                <c:pt idx="15788">
                  <c:v>0.281576600677724</c:v>
                </c:pt>
                <c:pt idx="15789">
                  <c:v>0.28159443552701902</c:v>
                </c:pt>
                <c:pt idx="15790">
                  <c:v>0.28161227037631498</c:v>
                </c:pt>
                <c:pt idx="15791">
                  <c:v>0.28163010522560999</c:v>
                </c:pt>
                <c:pt idx="15792">
                  <c:v>0.28164794007490601</c:v>
                </c:pt>
                <c:pt idx="15793">
                  <c:v>0.28166577492420097</c:v>
                </c:pt>
                <c:pt idx="15794">
                  <c:v>0.28168360977349699</c:v>
                </c:pt>
                <c:pt idx="15795">
                  <c:v>0.28170144462279201</c:v>
                </c:pt>
                <c:pt idx="15796">
                  <c:v>0.28171927947208802</c:v>
                </c:pt>
                <c:pt idx="15797">
                  <c:v>0.28173711432138399</c:v>
                </c:pt>
                <c:pt idx="15798">
                  <c:v>0.281754949170679</c:v>
                </c:pt>
                <c:pt idx="15799">
                  <c:v>0.28177278401997502</c:v>
                </c:pt>
                <c:pt idx="15800">
                  <c:v>0.28179061886926998</c:v>
                </c:pt>
                <c:pt idx="15801">
                  <c:v>0.281808453718566</c:v>
                </c:pt>
                <c:pt idx="15802">
                  <c:v>0.28182628856786102</c:v>
                </c:pt>
                <c:pt idx="15803">
                  <c:v>0.28184412341715698</c:v>
                </c:pt>
                <c:pt idx="15804">
                  <c:v>0.281861958266452</c:v>
                </c:pt>
                <c:pt idx="15805">
                  <c:v>0.28187979311574801</c:v>
                </c:pt>
                <c:pt idx="15806">
                  <c:v>0.28189762796504297</c:v>
                </c:pt>
                <c:pt idx="15807">
                  <c:v>0.28191546281433899</c:v>
                </c:pt>
                <c:pt idx="15808">
                  <c:v>0.28193329766363401</c:v>
                </c:pt>
                <c:pt idx="15809">
                  <c:v>0.28195113251293002</c:v>
                </c:pt>
                <c:pt idx="15810">
                  <c:v>0.28196896736222499</c:v>
                </c:pt>
                <c:pt idx="15811">
                  <c:v>0.281986802211521</c:v>
                </c:pt>
                <c:pt idx="15812">
                  <c:v>0.28200463706081602</c:v>
                </c:pt>
                <c:pt idx="15813">
                  <c:v>0.28202247191011198</c:v>
                </c:pt>
                <c:pt idx="15814">
                  <c:v>0.282040306759407</c:v>
                </c:pt>
                <c:pt idx="15815">
                  <c:v>0.28205814160870302</c:v>
                </c:pt>
                <c:pt idx="15816">
                  <c:v>0.28207597645799798</c:v>
                </c:pt>
                <c:pt idx="15817">
                  <c:v>0.282093811307294</c:v>
                </c:pt>
                <c:pt idx="15818">
                  <c:v>0.28211164615658901</c:v>
                </c:pt>
                <c:pt idx="15819">
                  <c:v>0.28212948100588497</c:v>
                </c:pt>
                <c:pt idx="15820">
                  <c:v>0.28214731585518099</c:v>
                </c:pt>
                <c:pt idx="15821">
                  <c:v>0.28216515070447601</c:v>
                </c:pt>
                <c:pt idx="15822">
                  <c:v>0.28218298555377203</c:v>
                </c:pt>
                <c:pt idx="15823">
                  <c:v>0.28220082040306699</c:v>
                </c:pt>
                <c:pt idx="15824">
                  <c:v>0.282218655252363</c:v>
                </c:pt>
                <c:pt idx="15825">
                  <c:v>0.28223649010165802</c:v>
                </c:pt>
                <c:pt idx="15826">
                  <c:v>0.28225432495095398</c:v>
                </c:pt>
                <c:pt idx="15827">
                  <c:v>0.282272159800249</c:v>
                </c:pt>
                <c:pt idx="15828">
                  <c:v>0.28228999464954502</c:v>
                </c:pt>
                <c:pt idx="15829">
                  <c:v>0.28230782949883998</c:v>
                </c:pt>
                <c:pt idx="15830">
                  <c:v>0.282325664348136</c:v>
                </c:pt>
                <c:pt idx="15831">
                  <c:v>0.28234349919743101</c:v>
                </c:pt>
                <c:pt idx="15832">
                  <c:v>0.28236133404672698</c:v>
                </c:pt>
                <c:pt idx="15833">
                  <c:v>0.28237916889602199</c:v>
                </c:pt>
                <c:pt idx="15834">
                  <c:v>0.28239700374531801</c:v>
                </c:pt>
                <c:pt idx="15835">
                  <c:v>0.28241483859461303</c:v>
                </c:pt>
                <c:pt idx="15836">
                  <c:v>0.28243267344390899</c:v>
                </c:pt>
                <c:pt idx="15837">
                  <c:v>0.28245050829320401</c:v>
                </c:pt>
                <c:pt idx="15838">
                  <c:v>0.28246834314250002</c:v>
                </c:pt>
                <c:pt idx="15839">
                  <c:v>0.28248617799179598</c:v>
                </c:pt>
                <c:pt idx="15840">
                  <c:v>0.282504012841091</c:v>
                </c:pt>
                <c:pt idx="15841">
                  <c:v>0.28252184769038702</c:v>
                </c:pt>
                <c:pt idx="15842">
                  <c:v>0.28253968253968198</c:v>
                </c:pt>
                <c:pt idx="15843">
                  <c:v>0.282557517388978</c:v>
                </c:pt>
                <c:pt idx="15844">
                  <c:v>0.28257535223827301</c:v>
                </c:pt>
                <c:pt idx="15845">
                  <c:v>0.28259318708756898</c:v>
                </c:pt>
                <c:pt idx="15846">
                  <c:v>0.28261102193686399</c:v>
                </c:pt>
                <c:pt idx="15847">
                  <c:v>0.28262885678616001</c:v>
                </c:pt>
                <c:pt idx="15848">
                  <c:v>0.28264669163545503</c:v>
                </c:pt>
                <c:pt idx="15849">
                  <c:v>0.28266452648475099</c:v>
                </c:pt>
                <c:pt idx="15850">
                  <c:v>0.28268236133404601</c:v>
                </c:pt>
                <c:pt idx="15851">
                  <c:v>0.28270019618334202</c:v>
                </c:pt>
                <c:pt idx="15852">
                  <c:v>0.28271803103263698</c:v>
                </c:pt>
                <c:pt idx="15853">
                  <c:v>0.282735865881933</c:v>
                </c:pt>
                <c:pt idx="15854">
                  <c:v>0.28275370073122802</c:v>
                </c:pt>
                <c:pt idx="15855">
                  <c:v>0.28277153558052398</c:v>
                </c:pt>
                <c:pt idx="15856">
                  <c:v>0.282789370429819</c:v>
                </c:pt>
                <c:pt idx="15857">
                  <c:v>0.28280720527911501</c:v>
                </c:pt>
                <c:pt idx="15858">
                  <c:v>0.28282504012840998</c:v>
                </c:pt>
                <c:pt idx="15859">
                  <c:v>0.28284287497770599</c:v>
                </c:pt>
                <c:pt idx="15860">
                  <c:v>0.28286070982700101</c:v>
                </c:pt>
                <c:pt idx="15861">
                  <c:v>0.28287854467629697</c:v>
                </c:pt>
                <c:pt idx="15862">
                  <c:v>0.28289637952559299</c:v>
                </c:pt>
                <c:pt idx="15863">
                  <c:v>0.28291421437488801</c:v>
                </c:pt>
                <c:pt idx="15864">
                  <c:v>0.28293204922418402</c:v>
                </c:pt>
                <c:pt idx="15865">
                  <c:v>0.28294988407347899</c:v>
                </c:pt>
                <c:pt idx="15866">
                  <c:v>0.282967718922775</c:v>
                </c:pt>
                <c:pt idx="15867">
                  <c:v>0.28298555377207002</c:v>
                </c:pt>
                <c:pt idx="15868">
                  <c:v>0.28300338862136598</c:v>
                </c:pt>
                <c:pt idx="15869">
                  <c:v>0.283021223470661</c:v>
                </c:pt>
                <c:pt idx="15870">
                  <c:v>0.28303905831995702</c:v>
                </c:pt>
                <c:pt idx="15871">
                  <c:v>0.28305689316925198</c:v>
                </c:pt>
                <c:pt idx="15872">
                  <c:v>0.28307472801854799</c:v>
                </c:pt>
                <c:pt idx="15873">
                  <c:v>0.28309256286784301</c:v>
                </c:pt>
                <c:pt idx="15874">
                  <c:v>0.28311039771713897</c:v>
                </c:pt>
                <c:pt idx="15875">
                  <c:v>0.28312823256643399</c:v>
                </c:pt>
                <c:pt idx="15876">
                  <c:v>0.28314606741573001</c:v>
                </c:pt>
                <c:pt idx="15877">
                  <c:v>0.28316390226502502</c:v>
                </c:pt>
                <c:pt idx="15878">
                  <c:v>0.28318173711432099</c:v>
                </c:pt>
                <c:pt idx="15879">
                  <c:v>0.283199571963616</c:v>
                </c:pt>
                <c:pt idx="15880">
                  <c:v>0.28321740681291202</c:v>
                </c:pt>
                <c:pt idx="15881">
                  <c:v>0.28323524166220798</c:v>
                </c:pt>
                <c:pt idx="15882">
                  <c:v>0.283253076511503</c:v>
                </c:pt>
                <c:pt idx="15883">
                  <c:v>0.28327091136079902</c:v>
                </c:pt>
                <c:pt idx="15884">
                  <c:v>0.28328874621009398</c:v>
                </c:pt>
                <c:pt idx="15885">
                  <c:v>0.28330658105938999</c:v>
                </c:pt>
                <c:pt idx="15886">
                  <c:v>0.28332441590868501</c:v>
                </c:pt>
                <c:pt idx="15887">
                  <c:v>0.28334225075798097</c:v>
                </c:pt>
                <c:pt idx="15888">
                  <c:v>0.28336008560727599</c:v>
                </c:pt>
                <c:pt idx="15889">
                  <c:v>0.28337792045657201</c:v>
                </c:pt>
                <c:pt idx="15890">
                  <c:v>0.28339575530586703</c:v>
                </c:pt>
                <c:pt idx="15891">
                  <c:v>0.28341359015516299</c:v>
                </c:pt>
                <c:pt idx="15892">
                  <c:v>0.283431425004458</c:v>
                </c:pt>
                <c:pt idx="15893">
                  <c:v>0.28344925985375402</c:v>
                </c:pt>
                <c:pt idx="15894">
                  <c:v>0.28346709470304898</c:v>
                </c:pt>
                <c:pt idx="15895">
                  <c:v>0.283484929552345</c:v>
                </c:pt>
                <c:pt idx="15896">
                  <c:v>0.28350276440164002</c:v>
                </c:pt>
                <c:pt idx="15897">
                  <c:v>0.28352059925093598</c:v>
                </c:pt>
                <c:pt idx="15898">
                  <c:v>0.283538434100231</c:v>
                </c:pt>
                <c:pt idx="15899">
                  <c:v>0.28355626894952701</c:v>
                </c:pt>
                <c:pt idx="15900">
                  <c:v>0.28357410379882197</c:v>
                </c:pt>
                <c:pt idx="15901">
                  <c:v>0.28359193864811799</c:v>
                </c:pt>
                <c:pt idx="15902">
                  <c:v>0.28360977349741301</c:v>
                </c:pt>
                <c:pt idx="15903">
                  <c:v>0.28362760834670903</c:v>
                </c:pt>
                <c:pt idx="15904">
                  <c:v>0.28364544319600499</c:v>
                </c:pt>
                <c:pt idx="15905">
                  <c:v>0.2836632780453</c:v>
                </c:pt>
                <c:pt idx="15906">
                  <c:v>0.28368111289459602</c:v>
                </c:pt>
                <c:pt idx="15907">
                  <c:v>0.28369894774389098</c:v>
                </c:pt>
                <c:pt idx="15908">
                  <c:v>0.283716782593187</c:v>
                </c:pt>
                <c:pt idx="15909">
                  <c:v>0.28373461744248202</c:v>
                </c:pt>
                <c:pt idx="15910">
                  <c:v>0.28375245229177798</c:v>
                </c:pt>
                <c:pt idx="15911">
                  <c:v>0.283770287141073</c:v>
                </c:pt>
                <c:pt idx="15912">
                  <c:v>0.28378812199036901</c:v>
                </c:pt>
                <c:pt idx="15913">
                  <c:v>0.28380595683966398</c:v>
                </c:pt>
                <c:pt idx="15914">
                  <c:v>0.28382379168895999</c:v>
                </c:pt>
                <c:pt idx="15915">
                  <c:v>0.28384162653825501</c:v>
                </c:pt>
                <c:pt idx="15916">
                  <c:v>0.28385946138755103</c:v>
                </c:pt>
                <c:pt idx="15917">
                  <c:v>0.28387729623684599</c:v>
                </c:pt>
                <c:pt idx="15918">
                  <c:v>0.28389513108614201</c:v>
                </c:pt>
                <c:pt idx="15919">
                  <c:v>0.28391296593543702</c:v>
                </c:pt>
                <c:pt idx="15920">
                  <c:v>0.28393080078473298</c:v>
                </c:pt>
                <c:pt idx="15921">
                  <c:v>0.283948635634028</c:v>
                </c:pt>
                <c:pt idx="15922">
                  <c:v>0.28396647048332402</c:v>
                </c:pt>
                <c:pt idx="15923">
                  <c:v>0.28398430533261898</c:v>
                </c:pt>
                <c:pt idx="15924">
                  <c:v>0.284002140181915</c:v>
                </c:pt>
                <c:pt idx="15925">
                  <c:v>0.28401997503121101</c:v>
                </c:pt>
                <c:pt idx="15926">
                  <c:v>0.28403780988050598</c:v>
                </c:pt>
                <c:pt idx="15927">
                  <c:v>0.28405564472980199</c:v>
                </c:pt>
                <c:pt idx="15928">
                  <c:v>0.28407347957909701</c:v>
                </c:pt>
                <c:pt idx="15929">
                  <c:v>0.28409131442839303</c:v>
                </c:pt>
                <c:pt idx="15930">
                  <c:v>0.28410914927768799</c:v>
                </c:pt>
                <c:pt idx="15931">
                  <c:v>0.28412698412698401</c:v>
                </c:pt>
                <c:pt idx="15932">
                  <c:v>0.28414481897627902</c:v>
                </c:pt>
                <c:pt idx="15933">
                  <c:v>0.28416265382557498</c:v>
                </c:pt>
                <c:pt idx="15934">
                  <c:v>0.28418048867487</c:v>
                </c:pt>
                <c:pt idx="15935">
                  <c:v>0.28419832352416602</c:v>
                </c:pt>
                <c:pt idx="15936">
                  <c:v>0.28421615837346098</c:v>
                </c:pt>
                <c:pt idx="15937">
                  <c:v>0.284233993222757</c:v>
                </c:pt>
                <c:pt idx="15938">
                  <c:v>0.28425182807205202</c:v>
                </c:pt>
                <c:pt idx="15939">
                  <c:v>0.28426966292134798</c:v>
                </c:pt>
                <c:pt idx="15940">
                  <c:v>0.28428749777064299</c:v>
                </c:pt>
                <c:pt idx="15941">
                  <c:v>0.28430533261993901</c:v>
                </c:pt>
                <c:pt idx="15942">
                  <c:v>0.28432316746923397</c:v>
                </c:pt>
                <c:pt idx="15943">
                  <c:v>0.28434100231852999</c:v>
                </c:pt>
                <c:pt idx="15944">
                  <c:v>0.28435883716782501</c:v>
                </c:pt>
                <c:pt idx="15945">
                  <c:v>0.28437667201712102</c:v>
                </c:pt>
                <c:pt idx="15946">
                  <c:v>0.28439450686641699</c:v>
                </c:pt>
                <c:pt idx="15947">
                  <c:v>0.284412341715712</c:v>
                </c:pt>
                <c:pt idx="15948">
                  <c:v>0.28443017656500802</c:v>
                </c:pt>
                <c:pt idx="15949">
                  <c:v>0.28444801141430298</c:v>
                </c:pt>
                <c:pt idx="15950">
                  <c:v>0.284465846263599</c:v>
                </c:pt>
                <c:pt idx="15951">
                  <c:v>0.28448368111289402</c:v>
                </c:pt>
                <c:pt idx="15952">
                  <c:v>0.28450151596218998</c:v>
                </c:pt>
                <c:pt idx="15953">
                  <c:v>0.28451935081148499</c:v>
                </c:pt>
                <c:pt idx="15954">
                  <c:v>0.28453718566078101</c:v>
                </c:pt>
                <c:pt idx="15955">
                  <c:v>0.28455502051007597</c:v>
                </c:pt>
                <c:pt idx="15956">
                  <c:v>0.28457285535937199</c:v>
                </c:pt>
                <c:pt idx="15957">
                  <c:v>0.28459069020866701</c:v>
                </c:pt>
                <c:pt idx="15958">
                  <c:v>0.28460852505796302</c:v>
                </c:pt>
                <c:pt idx="15959">
                  <c:v>0.28462635990725799</c:v>
                </c:pt>
                <c:pt idx="15960">
                  <c:v>0.284644194756554</c:v>
                </c:pt>
                <c:pt idx="15961">
                  <c:v>0.28466202960584902</c:v>
                </c:pt>
                <c:pt idx="15962">
                  <c:v>0.28467986445514498</c:v>
                </c:pt>
                <c:pt idx="15963">
                  <c:v>0.28469769930444</c:v>
                </c:pt>
                <c:pt idx="15964">
                  <c:v>0.28471553415373602</c:v>
                </c:pt>
                <c:pt idx="15965">
                  <c:v>0.28473336900303098</c:v>
                </c:pt>
                <c:pt idx="15966">
                  <c:v>0.284751203852327</c:v>
                </c:pt>
                <c:pt idx="15967">
                  <c:v>0.28476903870162201</c:v>
                </c:pt>
                <c:pt idx="15968">
                  <c:v>0.28478687355091797</c:v>
                </c:pt>
                <c:pt idx="15969">
                  <c:v>0.28480470840021399</c:v>
                </c:pt>
                <c:pt idx="15970">
                  <c:v>0.28482254324950901</c:v>
                </c:pt>
                <c:pt idx="15971">
                  <c:v>0.28484037809880502</c:v>
                </c:pt>
                <c:pt idx="15972">
                  <c:v>0.28485821294809999</c:v>
                </c:pt>
                <c:pt idx="15973">
                  <c:v>0.284876047797396</c:v>
                </c:pt>
                <c:pt idx="15974">
                  <c:v>0.28489388264669102</c:v>
                </c:pt>
                <c:pt idx="15975">
                  <c:v>0.28491171749598698</c:v>
                </c:pt>
                <c:pt idx="15976">
                  <c:v>0.284929552345282</c:v>
                </c:pt>
                <c:pt idx="15977">
                  <c:v>0.28494738719457802</c:v>
                </c:pt>
                <c:pt idx="15978">
                  <c:v>0.28496522204387298</c:v>
                </c:pt>
                <c:pt idx="15979">
                  <c:v>0.284983056893169</c:v>
                </c:pt>
                <c:pt idx="15980">
                  <c:v>0.28500089174246401</c:v>
                </c:pt>
                <c:pt idx="15981">
                  <c:v>0.28501872659175997</c:v>
                </c:pt>
                <c:pt idx="15982">
                  <c:v>0.28503656144105499</c:v>
                </c:pt>
                <c:pt idx="15983">
                  <c:v>0.28505439629035101</c:v>
                </c:pt>
                <c:pt idx="15984">
                  <c:v>0.28507223113964603</c:v>
                </c:pt>
                <c:pt idx="15985">
                  <c:v>0.28509006598894199</c:v>
                </c:pt>
                <c:pt idx="15986">
                  <c:v>0.28510790083823701</c:v>
                </c:pt>
                <c:pt idx="15987">
                  <c:v>0.28512573568753302</c:v>
                </c:pt>
                <c:pt idx="15988">
                  <c:v>0.28514357053682898</c:v>
                </c:pt>
                <c:pt idx="15989">
                  <c:v>0.285161405386124</c:v>
                </c:pt>
                <c:pt idx="15990">
                  <c:v>0.28517924023542002</c:v>
                </c:pt>
                <c:pt idx="15991">
                  <c:v>0.28519707508471498</c:v>
                </c:pt>
                <c:pt idx="15992">
                  <c:v>0.285214909934011</c:v>
                </c:pt>
                <c:pt idx="15993">
                  <c:v>0.28523274478330601</c:v>
                </c:pt>
                <c:pt idx="15994">
                  <c:v>0.28525057963260197</c:v>
                </c:pt>
                <c:pt idx="15995">
                  <c:v>0.28526841448189699</c:v>
                </c:pt>
                <c:pt idx="15996">
                  <c:v>0.28528624933119301</c:v>
                </c:pt>
                <c:pt idx="15997">
                  <c:v>0.28530408418048803</c:v>
                </c:pt>
                <c:pt idx="15998">
                  <c:v>0.28532191902978399</c:v>
                </c:pt>
                <c:pt idx="15999">
                  <c:v>0.28533975387907901</c:v>
                </c:pt>
                <c:pt idx="16000">
                  <c:v>0.28535758872837502</c:v>
                </c:pt>
                <c:pt idx="16001">
                  <c:v>0.28537542357766998</c:v>
                </c:pt>
                <c:pt idx="16002">
                  <c:v>0.285393258426966</c:v>
                </c:pt>
                <c:pt idx="16003">
                  <c:v>0.28541109327626102</c:v>
                </c:pt>
                <c:pt idx="16004">
                  <c:v>0.28542892812555698</c:v>
                </c:pt>
                <c:pt idx="16005">
                  <c:v>0.285446762974852</c:v>
                </c:pt>
                <c:pt idx="16006">
                  <c:v>0.28546459782414801</c:v>
                </c:pt>
                <c:pt idx="16007">
                  <c:v>0.28548243267344298</c:v>
                </c:pt>
                <c:pt idx="16008">
                  <c:v>0.28550026752273899</c:v>
                </c:pt>
                <c:pt idx="16009">
                  <c:v>0.28551810237203401</c:v>
                </c:pt>
                <c:pt idx="16010">
                  <c:v>0.28553593722133003</c:v>
                </c:pt>
                <c:pt idx="16011">
                  <c:v>0.28555377207062599</c:v>
                </c:pt>
                <c:pt idx="16012">
                  <c:v>0.28557160691992101</c:v>
                </c:pt>
                <c:pt idx="16013">
                  <c:v>0.28558944176921702</c:v>
                </c:pt>
                <c:pt idx="16014">
                  <c:v>0.28560727661851198</c:v>
                </c:pt>
                <c:pt idx="16015">
                  <c:v>0.285625111467808</c:v>
                </c:pt>
                <c:pt idx="16016">
                  <c:v>0.28564294631710302</c:v>
                </c:pt>
                <c:pt idx="16017">
                  <c:v>0.28566078116639898</c:v>
                </c:pt>
                <c:pt idx="16018">
                  <c:v>0.285678616015694</c:v>
                </c:pt>
                <c:pt idx="16019">
                  <c:v>0.28569645086499001</c:v>
                </c:pt>
                <c:pt idx="16020">
                  <c:v>0.28571428571428498</c:v>
                </c:pt>
                <c:pt idx="16021">
                  <c:v>0.28573212056358099</c:v>
                </c:pt>
                <c:pt idx="16022">
                  <c:v>0.28574995541287601</c:v>
                </c:pt>
                <c:pt idx="16023">
                  <c:v>0.28576779026217197</c:v>
                </c:pt>
                <c:pt idx="16024">
                  <c:v>0.28578562511146699</c:v>
                </c:pt>
                <c:pt idx="16025">
                  <c:v>0.28580345996076301</c:v>
                </c:pt>
                <c:pt idx="16026">
                  <c:v>0.28582129481005802</c:v>
                </c:pt>
                <c:pt idx="16027">
                  <c:v>0.28583912965935399</c:v>
                </c:pt>
                <c:pt idx="16028">
                  <c:v>0.285856964508649</c:v>
                </c:pt>
                <c:pt idx="16029">
                  <c:v>0.28587479935794502</c:v>
                </c:pt>
                <c:pt idx="16030">
                  <c:v>0.28589263420723998</c:v>
                </c:pt>
                <c:pt idx="16031">
                  <c:v>0.285910469056536</c:v>
                </c:pt>
                <c:pt idx="16032">
                  <c:v>0.28592830390583202</c:v>
                </c:pt>
                <c:pt idx="16033">
                  <c:v>0.28594613875512698</c:v>
                </c:pt>
                <c:pt idx="16034">
                  <c:v>0.28596397360442299</c:v>
                </c:pt>
                <c:pt idx="16035">
                  <c:v>0.28598180845371801</c:v>
                </c:pt>
                <c:pt idx="16036">
                  <c:v>0.28599964330301397</c:v>
                </c:pt>
                <c:pt idx="16037">
                  <c:v>0.28601747815230899</c:v>
                </c:pt>
                <c:pt idx="16038">
                  <c:v>0.28603531300160501</c:v>
                </c:pt>
                <c:pt idx="16039">
                  <c:v>0.28605314785090002</c:v>
                </c:pt>
                <c:pt idx="16040">
                  <c:v>0.28607098270019599</c:v>
                </c:pt>
                <c:pt idx="16041">
                  <c:v>0.286088817549491</c:v>
                </c:pt>
                <c:pt idx="16042">
                  <c:v>0.28610665239878702</c:v>
                </c:pt>
                <c:pt idx="16043">
                  <c:v>0.28612448724808198</c:v>
                </c:pt>
                <c:pt idx="16044">
                  <c:v>0.286142322097378</c:v>
                </c:pt>
                <c:pt idx="16045">
                  <c:v>0.28616015694667302</c:v>
                </c:pt>
                <c:pt idx="16046">
                  <c:v>0.28617799179596898</c:v>
                </c:pt>
                <c:pt idx="16047">
                  <c:v>0.286195826645264</c:v>
                </c:pt>
                <c:pt idx="16048">
                  <c:v>0.28621366149456001</c:v>
                </c:pt>
                <c:pt idx="16049">
                  <c:v>0.28623149634385497</c:v>
                </c:pt>
                <c:pt idx="16050">
                  <c:v>0.28624933119315099</c:v>
                </c:pt>
                <c:pt idx="16051">
                  <c:v>0.28626716604244601</c:v>
                </c:pt>
                <c:pt idx="16052">
                  <c:v>0.28628500089174203</c:v>
                </c:pt>
                <c:pt idx="16053">
                  <c:v>0.28630283574103799</c:v>
                </c:pt>
                <c:pt idx="16054">
                  <c:v>0.286320670590333</c:v>
                </c:pt>
                <c:pt idx="16055">
                  <c:v>0.28633850543962902</c:v>
                </c:pt>
                <c:pt idx="16056">
                  <c:v>0.28635634028892398</c:v>
                </c:pt>
                <c:pt idx="16057">
                  <c:v>0.28637417513822</c:v>
                </c:pt>
                <c:pt idx="16058">
                  <c:v>0.28639200998751502</c:v>
                </c:pt>
                <c:pt idx="16059">
                  <c:v>0.28640984483681098</c:v>
                </c:pt>
                <c:pt idx="16060">
                  <c:v>0.286427679686106</c:v>
                </c:pt>
                <c:pt idx="16061">
                  <c:v>0.28644551453540201</c:v>
                </c:pt>
                <c:pt idx="16062">
                  <c:v>0.28646334938469697</c:v>
                </c:pt>
                <c:pt idx="16063">
                  <c:v>0.28648118423399299</c:v>
                </c:pt>
                <c:pt idx="16064">
                  <c:v>0.28649901908328801</c:v>
                </c:pt>
                <c:pt idx="16065">
                  <c:v>0.28651685393258403</c:v>
                </c:pt>
                <c:pt idx="16066">
                  <c:v>0.28653468878187899</c:v>
                </c:pt>
                <c:pt idx="16067">
                  <c:v>0.286552523631175</c:v>
                </c:pt>
                <c:pt idx="16068">
                  <c:v>0.28657035848047002</c:v>
                </c:pt>
                <c:pt idx="16069">
                  <c:v>0.28658819332976598</c:v>
                </c:pt>
                <c:pt idx="16070">
                  <c:v>0.286606028179061</c:v>
                </c:pt>
                <c:pt idx="16071">
                  <c:v>0.28662386302835702</c:v>
                </c:pt>
                <c:pt idx="16072">
                  <c:v>0.28664169787765198</c:v>
                </c:pt>
                <c:pt idx="16073">
                  <c:v>0.286659532726948</c:v>
                </c:pt>
                <c:pt idx="16074">
                  <c:v>0.28667736757624301</c:v>
                </c:pt>
                <c:pt idx="16075">
                  <c:v>0.28669520242553898</c:v>
                </c:pt>
                <c:pt idx="16076">
                  <c:v>0.28671303727483499</c:v>
                </c:pt>
                <c:pt idx="16077">
                  <c:v>0.28673087212413001</c:v>
                </c:pt>
                <c:pt idx="16078">
                  <c:v>0.28674870697342603</c:v>
                </c:pt>
                <c:pt idx="16079">
                  <c:v>0.28676654182272099</c:v>
                </c:pt>
                <c:pt idx="16080">
                  <c:v>0.28678437667201701</c:v>
                </c:pt>
                <c:pt idx="16081">
                  <c:v>0.28680221152131202</c:v>
                </c:pt>
                <c:pt idx="16082">
                  <c:v>0.28682004637060798</c:v>
                </c:pt>
                <c:pt idx="16083">
                  <c:v>0.286837881219903</c:v>
                </c:pt>
                <c:pt idx="16084">
                  <c:v>0.28685571606919902</c:v>
                </c:pt>
                <c:pt idx="16085">
                  <c:v>0.28687355091849398</c:v>
                </c:pt>
                <c:pt idx="16086">
                  <c:v>0.28689138576779</c:v>
                </c:pt>
                <c:pt idx="16087">
                  <c:v>0.28690922061708501</c:v>
                </c:pt>
                <c:pt idx="16088">
                  <c:v>0.28692705546638098</c:v>
                </c:pt>
                <c:pt idx="16089">
                  <c:v>0.28694489031567599</c:v>
                </c:pt>
                <c:pt idx="16090">
                  <c:v>0.28696272516497201</c:v>
                </c:pt>
                <c:pt idx="16091">
                  <c:v>0.28698056001426703</c:v>
                </c:pt>
                <c:pt idx="16092">
                  <c:v>0.28699839486356299</c:v>
                </c:pt>
                <c:pt idx="16093">
                  <c:v>0.28701622971285801</c:v>
                </c:pt>
                <c:pt idx="16094">
                  <c:v>0.28703406456215402</c:v>
                </c:pt>
                <c:pt idx="16095">
                  <c:v>0.28705189941144998</c:v>
                </c:pt>
                <c:pt idx="16096">
                  <c:v>0.287069734260745</c:v>
                </c:pt>
                <c:pt idx="16097">
                  <c:v>0.28708756911004102</c:v>
                </c:pt>
                <c:pt idx="16098">
                  <c:v>0.28710540395933598</c:v>
                </c:pt>
                <c:pt idx="16099">
                  <c:v>0.287123238808632</c:v>
                </c:pt>
                <c:pt idx="16100">
                  <c:v>0.28714107365792702</c:v>
                </c:pt>
                <c:pt idx="16101">
                  <c:v>0.28715890850722298</c:v>
                </c:pt>
                <c:pt idx="16102">
                  <c:v>0.28717674335651799</c:v>
                </c:pt>
                <c:pt idx="16103">
                  <c:v>0.28719457820581401</c:v>
                </c:pt>
                <c:pt idx="16104">
                  <c:v>0.28721241305510897</c:v>
                </c:pt>
                <c:pt idx="16105">
                  <c:v>0.28723024790440499</c:v>
                </c:pt>
                <c:pt idx="16106">
                  <c:v>0.28724808275370001</c:v>
                </c:pt>
                <c:pt idx="16107">
                  <c:v>0.28726591760299602</c:v>
                </c:pt>
                <c:pt idx="16108">
                  <c:v>0.28728375245229099</c:v>
                </c:pt>
                <c:pt idx="16109">
                  <c:v>0.287301587301587</c:v>
                </c:pt>
                <c:pt idx="16110">
                  <c:v>0.28731942215088202</c:v>
                </c:pt>
                <c:pt idx="16111">
                  <c:v>0.28733725700017798</c:v>
                </c:pt>
                <c:pt idx="16112">
                  <c:v>0.287355091849473</c:v>
                </c:pt>
                <c:pt idx="16113">
                  <c:v>0.28737292669876902</c:v>
                </c:pt>
                <c:pt idx="16114">
                  <c:v>0.28739076154806398</c:v>
                </c:pt>
                <c:pt idx="16115">
                  <c:v>0.28740859639735999</c:v>
                </c:pt>
                <c:pt idx="16116">
                  <c:v>0.28742643124665501</c:v>
                </c:pt>
                <c:pt idx="16117">
                  <c:v>0.28744426609595097</c:v>
                </c:pt>
                <c:pt idx="16118">
                  <c:v>0.28746210094524699</c:v>
                </c:pt>
                <c:pt idx="16119">
                  <c:v>0.28747993579454201</c:v>
                </c:pt>
                <c:pt idx="16120">
                  <c:v>0.28749777064383802</c:v>
                </c:pt>
                <c:pt idx="16121">
                  <c:v>0.28751560549313299</c:v>
                </c:pt>
                <c:pt idx="16122">
                  <c:v>0.287533440342429</c:v>
                </c:pt>
                <c:pt idx="16123">
                  <c:v>0.28755127519172402</c:v>
                </c:pt>
                <c:pt idx="16124">
                  <c:v>0.28756911004101998</c:v>
                </c:pt>
                <c:pt idx="16125">
                  <c:v>0.287586944890315</c:v>
                </c:pt>
                <c:pt idx="16126">
                  <c:v>0.28760477973961102</c:v>
                </c:pt>
                <c:pt idx="16127">
                  <c:v>0.28762261458890598</c:v>
                </c:pt>
                <c:pt idx="16128">
                  <c:v>0.28764044943820199</c:v>
                </c:pt>
                <c:pt idx="16129">
                  <c:v>0.28765828428749701</c:v>
                </c:pt>
                <c:pt idx="16130">
                  <c:v>0.28767611913679297</c:v>
                </c:pt>
                <c:pt idx="16131">
                  <c:v>0.28769395398608799</c:v>
                </c:pt>
                <c:pt idx="16132">
                  <c:v>0.28771178883538401</c:v>
                </c:pt>
                <c:pt idx="16133">
                  <c:v>0.28772962368467903</c:v>
                </c:pt>
                <c:pt idx="16134">
                  <c:v>0.28774745853397499</c:v>
                </c:pt>
                <c:pt idx="16135">
                  <c:v>0.28776529338327</c:v>
                </c:pt>
                <c:pt idx="16136">
                  <c:v>0.28778312823256602</c:v>
                </c:pt>
                <c:pt idx="16137">
                  <c:v>0.28780096308186198</c:v>
                </c:pt>
                <c:pt idx="16138">
                  <c:v>0.287818797931157</c:v>
                </c:pt>
                <c:pt idx="16139">
                  <c:v>0.28783663278045302</c:v>
                </c:pt>
                <c:pt idx="16140">
                  <c:v>0.28785446762974798</c:v>
                </c:pt>
                <c:pt idx="16141">
                  <c:v>0.287872302479044</c:v>
                </c:pt>
                <c:pt idx="16142">
                  <c:v>0.28789013732833901</c:v>
                </c:pt>
                <c:pt idx="16143">
                  <c:v>0.28790797217763497</c:v>
                </c:pt>
                <c:pt idx="16144">
                  <c:v>0.28792580702692999</c:v>
                </c:pt>
                <c:pt idx="16145">
                  <c:v>0.28794364187622601</c:v>
                </c:pt>
                <c:pt idx="16146">
                  <c:v>0.28796147672552103</c:v>
                </c:pt>
                <c:pt idx="16147">
                  <c:v>0.28797931157481699</c:v>
                </c:pt>
                <c:pt idx="16148">
                  <c:v>0.287997146424112</c:v>
                </c:pt>
                <c:pt idx="16149">
                  <c:v>0.28801498127340802</c:v>
                </c:pt>
                <c:pt idx="16150">
                  <c:v>0.28803281612270298</c:v>
                </c:pt>
                <c:pt idx="16151">
                  <c:v>0.288050650971999</c:v>
                </c:pt>
                <c:pt idx="16152">
                  <c:v>0.28806848582129402</c:v>
                </c:pt>
                <c:pt idx="16153">
                  <c:v>0.28808632067058998</c:v>
                </c:pt>
                <c:pt idx="16154">
                  <c:v>0.288104155519885</c:v>
                </c:pt>
                <c:pt idx="16155">
                  <c:v>0.28812199036918101</c:v>
                </c:pt>
                <c:pt idx="16156">
                  <c:v>0.28813982521847598</c:v>
                </c:pt>
                <c:pt idx="16157">
                  <c:v>0.28815766006777199</c:v>
                </c:pt>
                <c:pt idx="16158">
                  <c:v>0.28817549491706701</c:v>
                </c:pt>
                <c:pt idx="16159">
                  <c:v>0.28819332976636303</c:v>
                </c:pt>
                <c:pt idx="16160">
                  <c:v>0.28821116461565899</c:v>
                </c:pt>
                <c:pt idx="16161">
                  <c:v>0.28822899946495401</c:v>
                </c:pt>
                <c:pt idx="16162">
                  <c:v>0.28824683431425002</c:v>
                </c:pt>
                <c:pt idx="16163">
                  <c:v>0.28826466916354498</c:v>
                </c:pt>
                <c:pt idx="16164">
                  <c:v>0.288282504012841</c:v>
                </c:pt>
                <c:pt idx="16165">
                  <c:v>0.28830033886213602</c:v>
                </c:pt>
                <c:pt idx="16166">
                  <c:v>0.28831817371143198</c:v>
                </c:pt>
                <c:pt idx="16167">
                  <c:v>0.288336008560727</c:v>
                </c:pt>
                <c:pt idx="16168">
                  <c:v>0.28835384341002301</c:v>
                </c:pt>
                <c:pt idx="16169">
                  <c:v>0.28837167825931798</c:v>
                </c:pt>
                <c:pt idx="16170">
                  <c:v>0.28838951310861399</c:v>
                </c:pt>
                <c:pt idx="16171">
                  <c:v>0.28840734795790901</c:v>
                </c:pt>
                <c:pt idx="16172">
                  <c:v>0.28842518280720503</c:v>
                </c:pt>
                <c:pt idx="16173">
                  <c:v>0.28844301765649999</c:v>
                </c:pt>
                <c:pt idx="16174">
                  <c:v>0.28846085250579601</c:v>
                </c:pt>
                <c:pt idx="16175">
                  <c:v>0.28847868735509102</c:v>
                </c:pt>
                <c:pt idx="16176">
                  <c:v>0.28849652220438698</c:v>
                </c:pt>
                <c:pt idx="16177">
                  <c:v>0.288514357053682</c:v>
                </c:pt>
                <c:pt idx="16178">
                  <c:v>0.28853219190297802</c:v>
                </c:pt>
                <c:pt idx="16179">
                  <c:v>0.28855002675227298</c:v>
                </c:pt>
                <c:pt idx="16180">
                  <c:v>0.288567861601569</c:v>
                </c:pt>
                <c:pt idx="16181">
                  <c:v>0.28858569645086501</c:v>
                </c:pt>
                <c:pt idx="16182">
                  <c:v>0.28860353130015998</c:v>
                </c:pt>
                <c:pt idx="16183">
                  <c:v>0.28862136614945599</c:v>
                </c:pt>
                <c:pt idx="16184">
                  <c:v>0.28863920099875101</c:v>
                </c:pt>
                <c:pt idx="16185">
                  <c:v>0.28865703584804703</c:v>
                </c:pt>
                <c:pt idx="16186">
                  <c:v>0.28867487069734199</c:v>
                </c:pt>
                <c:pt idx="16187">
                  <c:v>0.28869270554663801</c:v>
                </c:pt>
                <c:pt idx="16188">
                  <c:v>0.28871054039593302</c:v>
                </c:pt>
                <c:pt idx="16189">
                  <c:v>0.28872837524522899</c:v>
                </c:pt>
                <c:pt idx="16190">
                  <c:v>0.288746210094524</c:v>
                </c:pt>
                <c:pt idx="16191">
                  <c:v>0.28876404494382002</c:v>
                </c:pt>
                <c:pt idx="16192">
                  <c:v>0.28878187979311498</c:v>
                </c:pt>
                <c:pt idx="16193">
                  <c:v>0.288799714642411</c:v>
                </c:pt>
                <c:pt idx="16194">
                  <c:v>0.28881754949170602</c:v>
                </c:pt>
                <c:pt idx="16195">
                  <c:v>0.28883538434100198</c:v>
                </c:pt>
                <c:pt idx="16196">
                  <c:v>0.28885321919029699</c:v>
                </c:pt>
                <c:pt idx="16197">
                  <c:v>0.28887105403959301</c:v>
                </c:pt>
                <c:pt idx="16198">
                  <c:v>0.28888888888888797</c:v>
                </c:pt>
                <c:pt idx="16199">
                  <c:v>0.28890672373818399</c:v>
                </c:pt>
                <c:pt idx="16200">
                  <c:v>0.28892455858747901</c:v>
                </c:pt>
                <c:pt idx="16201">
                  <c:v>0.28894239343677502</c:v>
                </c:pt>
                <c:pt idx="16202">
                  <c:v>0.28896022828607099</c:v>
                </c:pt>
                <c:pt idx="16203">
                  <c:v>0.288978063135366</c:v>
                </c:pt>
                <c:pt idx="16204">
                  <c:v>0.28899589798466202</c:v>
                </c:pt>
                <c:pt idx="16205">
                  <c:v>0.28901373283395698</c:v>
                </c:pt>
                <c:pt idx="16206">
                  <c:v>0.289031567683253</c:v>
                </c:pt>
                <c:pt idx="16207">
                  <c:v>0.28904940253254802</c:v>
                </c:pt>
                <c:pt idx="16208">
                  <c:v>0.28906723738184398</c:v>
                </c:pt>
                <c:pt idx="16209">
                  <c:v>0.289085072231139</c:v>
                </c:pt>
                <c:pt idx="16210">
                  <c:v>0.28910290708043501</c:v>
                </c:pt>
                <c:pt idx="16211">
                  <c:v>0.28912074192972997</c:v>
                </c:pt>
                <c:pt idx="16212">
                  <c:v>0.28913857677902599</c:v>
                </c:pt>
                <c:pt idx="16213">
                  <c:v>0.28915641162832101</c:v>
                </c:pt>
                <c:pt idx="16214">
                  <c:v>0.28917424647761703</c:v>
                </c:pt>
                <c:pt idx="16215">
                  <c:v>0.28919208132691199</c:v>
                </c:pt>
                <c:pt idx="16216">
                  <c:v>0.289209916176208</c:v>
                </c:pt>
                <c:pt idx="16217">
                  <c:v>0.28922775102550302</c:v>
                </c:pt>
                <c:pt idx="16218">
                  <c:v>0.28924558587479898</c:v>
                </c:pt>
                <c:pt idx="16219">
                  <c:v>0.289263420724094</c:v>
                </c:pt>
                <c:pt idx="16220">
                  <c:v>0.28928125557339002</c:v>
                </c:pt>
                <c:pt idx="16221">
                  <c:v>0.28929909042268498</c:v>
                </c:pt>
                <c:pt idx="16222">
                  <c:v>0.289316925271981</c:v>
                </c:pt>
                <c:pt idx="16223">
                  <c:v>0.28933476012127601</c:v>
                </c:pt>
                <c:pt idx="16224">
                  <c:v>0.28935259497057197</c:v>
                </c:pt>
                <c:pt idx="16225">
                  <c:v>0.28937042981986799</c:v>
                </c:pt>
                <c:pt idx="16226">
                  <c:v>0.28938826466916301</c:v>
                </c:pt>
                <c:pt idx="16227">
                  <c:v>0.28940609951845903</c:v>
                </c:pt>
                <c:pt idx="16228">
                  <c:v>0.28942393436775399</c:v>
                </c:pt>
                <c:pt idx="16229">
                  <c:v>0.28944176921705</c:v>
                </c:pt>
                <c:pt idx="16230">
                  <c:v>0.28945960406634502</c:v>
                </c:pt>
                <c:pt idx="16231">
                  <c:v>0.28947743891564098</c:v>
                </c:pt>
                <c:pt idx="16232">
                  <c:v>0.289495273764936</c:v>
                </c:pt>
                <c:pt idx="16233">
                  <c:v>0.28951310861423202</c:v>
                </c:pt>
                <c:pt idx="16234">
                  <c:v>0.28953094346352698</c:v>
                </c:pt>
                <c:pt idx="16235">
                  <c:v>0.289548778312823</c:v>
                </c:pt>
                <c:pt idx="16236">
                  <c:v>0.28956661316211801</c:v>
                </c:pt>
                <c:pt idx="16237">
                  <c:v>0.28958444801141398</c:v>
                </c:pt>
                <c:pt idx="16238">
                  <c:v>0.28960228286070899</c:v>
                </c:pt>
                <c:pt idx="16239">
                  <c:v>0.28962011771000501</c:v>
                </c:pt>
                <c:pt idx="16240">
                  <c:v>0.28963795255930003</c:v>
                </c:pt>
                <c:pt idx="16241">
                  <c:v>0.28965578740859599</c:v>
                </c:pt>
                <c:pt idx="16242">
                  <c:v>0.28967362225789101</c:v>
                </c:pt>
                <c:pt idx="16243">
                  <c:v>0.28969145710718702</c:v>
                </c:pt>
                <c:pt idx="16244">
                  <c:v>0.28970929195648298</c:v>
                </c:pt>
                <c:pt idx="16245">
                  <c:v>0.289727126805778</c:v>
                </c:pt>
                <c:pt idx="16246">
                  <c:v>0.28974496165507402</c:v>
                </c:pt>
                <c:pt idx="16247">
                  <c:v>0.28976279650436898</c:v>
                </c:pt>
                <c:pt idx="16248">
                  <c:v>0.289780631353665</c:v>
                </c:pt>
                <c:pt idx="16249">
                  <c:v>0.28979846620296001</c:v>
                </c:pt>
                <c:pt idx="16250">
                  <c:v>0.28981630105225598</c:v>
                </c:pt>
                <c:pt idx="16251">
                  <c:v>0.28983413590155099</c:v>
                </c:pt>
                <c:pt idx="16252">
                  <c:v>0.28985197075084701</c:v>
                </c:pt>
                <c:pt idx="16253">
                  <c:v>0.28986980560014203</c:v>
                </c:pt>
                <c:pt idx="16254">
                  <c:v>0.28988764044943799</c:v>
                </c:pt>
                <c:pt idx="16255">
                  <c:v>0.28990547529873301</c:v>
                </c:pt>
                <c:pt idx="16256">
                  <c:v>0.28992331014802902</c:v>
                </c:pt>
                <c:pt idx="16257">
                  <c:v>0.28994114499732399</c:v>
                </c:pt>
                <c:pt idx="16258">
                  <c:v>0.28995897984662</c:v>
                </c:pt>
                <c:pt idx="16259">
                  <c:v>0.28997681469591502</c:v>
                </c:pt>
                <c:pt idx="16260">
                  <c:v>0.28999464954521098</c:v>
                </c:pt>
                <c:pt idx="16261">
                  <c:v>0.290012484394506</c:v>
                </c:pt>
                <c:pt idx="16262">
                  <c:v>0.29003031924380202</c:v>
                </c:pt>
                <c:pt idx="16263">
                  <c:v>0.29004815409309698</c:v>
                </c:pt>
                <c:pt idx="16264">
                  <c:v>0.29006598894239299</c:v>
                </c:pt>
                <c:pt idx="16265">
                  <c:v>0.29008382379168801</c:v>
                </c:pt>
                <c:pt idx="16266">
                  <c:v>0.29010165864098397</c:v>
                </c:pt>
                <c:pt idx="16267">
                  <c:v>0.29011949349027999</c:v>
                </c:pt>
                <c:pt idx="16268">
                  <c:v>0.29013732833957501</c:v>
                </c:pt>
                <c:pt idx="16269">
                  <c:v>0.29015516318887102</c:v>
                </c:pt>
                <c:pt idx="16270">
                  <c:v>0.29017299803816599</c:v>
                </c:pt>
                <c:pt idx="16271">
                  <c:v>0.290190832887462</c:v>
                </c:pt>
                <c:pt idx="16272">
                  <c:v>0.29020866773675702</c:v>
                </c:pt>
                <c:pt idx="16273">
                  <c:v>0.29022650258605298</c:v>
                </c:pt>
                <c:pt idx="16274">
                  <c:v>0.290244337435348</c:v>
                </c:pt>
                <c:pt idx="16275">
                  <c:v>0.29026217228464402</c:v>
                </c:pt>
                <c:pt idx="16276">
                  <c:v>0.29028000713393898</c:v>
                </c:pt>
                <c:pt idx="16277">
                  <c:v>0.29029784198323499</c:v>
                </c:pt>
                <c:pt idx="16278">
                  <c:v>0.29031567683253001</c:v>
                </c:pt>
                <c:pt idx="16279">
                  <c:v>0.29033351168182597</c:v>
                </c:pt>
                <c:pt idx="16280">
                  <c:v>0.29035134653112099</c:v>
                </c:pt>
                <c:pt idx="16281">
                  <c:v>0.29036918138041701</c:v>
                </c:pt>
                <c:pt idx="16282">
                  <c:v>0.29038701622971202</c:v>
                </c:pt>
                <c:pt idx="16283">
                  <c:v>0.29040485107900799</c:v>
                </c:pt>
                <c:pt idx="16284">
                  <c:v>0.290422685928303</c:v>
                </c:pt>
                <c:pt idx="16285">
                  <c:v>0.29044052077759902</c:v>
                </c:pt>
                <c:pt idx="16286">
                  <c:v>0.29045835562689398</c:v>
                </c:pt>
                <c:pt idx="16287">
                  <c:v>0.29047619047619</c:v>
                </c:pt>
                <c:pt idx="16288">
                  <c:v>0.29049402532548602</c:v>
                </c:pt>
                <c:pt idx="16289">
                  <c:v>0.29051186017478098</c:v>
                </c:pt>
                <c:pt idx="16290">
                  <c:v>0.29052969502407699</c:v>
                </c:pt>
                <c:pt idx="16291">
                  <c:v>0.29054752987337201</c:v>
                </c:pt>
                <c:pt idx="16292">
                  <c:v>0.29056536472266797</c:v>
                </c:pt>
                <c:pt idx="16293">
                  <c:v>0.29058319957196299</c:v>
                </c:pt>
                <c:pt idx="16294">
                  <c:v>0.29060103442125901</c:v>
                </c:pt>
                <c:pt idx="16295">
                  <c:v>0.29061886927055403</c:v>
                </c:pt>
                <c:pt idx="16296">
                  <c:v>0.29063670411984999</c:v>
                </c:pt>
                <c:pt idx="16297">
                  <c:v>0.290654538969145</c:v>
                </c:pt>
                <c:pt idx="16298">
                  <c:v>0.29067237381844102</c:v>
                </c:pt>
                <c:pt idx="16299">
                  <c:v>0.29069020866773598</c:v>
                </c:pt>
                <c:pt idx="16300">
                  <c:v>0.290708043517032</c:v>
                </c:pt>
                <c:pt idx="16301">
                  <c:v>0.29072587836632702</c:v>
                </c:pt>
                <c:pt idx="16302">
                  <c:v>0.29074371321562298</c:v>
                </c:pt>
                <c:pt idx="16303">
                  <c:v>0.290761548064918</c:v>
                </c:pt>
                <c:pt idx="16304">
                  <c:v>0.29077938291421401</c:v>
                </c:pt>
                <c:pt idx="16305">
                  <c:v>0.29079721776350897</c:v>
                </c:pt>
                <c:pt idx="16306">
                  <c:v>0.29081505261280499</c:v>
                </c:pt>
                <c:pt idx="16307">
                  <c:v>0.29083288746210001</c:v>
                </c:pt>
                <c:pt idx="16308">
                  <c:v>0.29085072231139603</c:v>
                </c:pt>
                <c:pt idx="16309">
                  <c:v>0.29086855716069199</c:v>
                </c:pt>
                <c:pt idx="16310">
                  <c:v>0.290886392009987</c:v>
                </c:pt>
                <c:pt idx="16311">
                  <c:v>0.29090422685928302</c:v>
                </c:pt>
                <c:pt idx="16312">
                  <c:v>0.29092206170857798</c:v>
                </c:pt>
                <c:pt idx="16313">
                  <c:v>0.290939896557874</c:v>
                </c:pt>
                <c:pt idx="16314">
                  <c:v>0.29095773140716902</c:v>
                </c:pt>
                <c:pt idx="16315">
                  <c:v>0.29097556625646498</c:v>
                </c:pt>
                <c:pt idx="16316">
                  <c:v>0.29099340110576</c:v>
                </c:pt>
                <c:pt idx="16317">
                  <c:v>0.29101123595505601</c:v>
                </c:pt>
                <c:pt idx="16318">
                  <c:v>0.29102907080435098</c:v>
                </c:pt>
                <c:pt idx="16319">
                  <c:v>0.29104690565364699</c:v>
                </c:pt>
                <c:pt idx="16320">
                  <c:v>0.29106474050294201</c:v>
                </c:pt>
                <c:pt idx="16321">
                  <c:v>0.29108257535223803</c:v>
                </c:pt>
                <c:pt idx="16322">
                  <c:v>0.29110041020153299</c:v>
                </c:pt>
                <c:pt idx="16323">
                  <c:v>0.29111824505082901</c:v>
                </c:pt>
                <c:pt idx="16324">
                  <c:v>0.29113607990012402</c:v>
                </c:pt>
                <c:pt idx="16325">
                  <c:v>0.29115391474941998</c:v>
                </c:pt>
                <c:pt idx="16326">
                  <c:v>0.291171749598715</c:v>
                </c:pt>
                <c:pt idx="16327">
                  <c:v>0.29118958444801102</c:v>
                </c:pt>
                <c:pt idx="16328">
                  <c:v>0.29120741929730598</c:v>
                </c:pt>
                <c:pt idx="16329">
                  <c:v>0.291225254146602</c:v>
                </c:pt>
                <c:pt idx="16330">
                  <c:v>0.29124308899589701</c:v>
                </c:pt>
                <c:pt idx="16331">
                  <c:v>0.29126092384519298</c:v>
                </c:pt>
                <c:pt idx="16332">
                  <c:v>0.29127875869448899</c:v>
                </c:pt>
                <c:pt idx="16333">
                  <c:v>0.29129659354378401</c:v>
                </c:pt>
                <c:pt idx="16334">
                  <c:v>0.29131442839308003</c:v>
                </c:pt>
                <c:pt idx="16335">
                  <c:v>0.29133226324237499</c:v>
                </c:pt>
                <c:pt idx="16336">
                  <c:v>0.29135009809167101</c:v>
                </c:pt>
                <c:pt idx="16337">
                  <c:v>0.29136793294096602</c:v>
                </c:pt>
                <c:pt idx="16338">
                  <c:v>0.29138576779026198</c:v>
                </c:pt>
                <c:pt idx="16339">
                  <c:v>0.291403602639557</c:v>
                </c:pt>
                <c:pt idx="16340">
                  <c:v>0.29142143748885302</c:v>
                </c:pt>
                <c:pt idx="16341">
                  <c:v>0.29143927233814798</c:v>
                </c:pt>
                <c:pt idx="16342">
                  <c:v>0.291457107187444</c:v>
                </c:pt>
                <c:pt idx="16343">
                  <c:v>0.29147494203673902</c:v>
                </c:pt>
                <c:pt idx="16344">
                  <c:v>0.29149277688603498</c:v>
                </c:pt>
                <c:pt idx="16345">
                  <c:v>0.29151061173532999</c:v>
                </c:pt>
                <c:pt idx="16346">
                  <c:v>0.29152844658462601</c:v>
                </c:pt>
                <c:pt idx="16347">
                  <c:v>0.29154628143392097</c:v>
                </c:pt>
                <c:pt idx="16348">
                  <c:v>0.29156411628321699</c:v>
                </c:pt>
                <c:pt idx="16349">
                  <c:v>0.29158195113251201</c:v>
                </c:pt>
                <c:pt idx="16350">
                  <c:v>0.29159978598180802</c:v>
                </c:pt>
                <c:pt idx="16351">
                  <c:v>0.29161762083110399</c:v>
                </c:pt>
                <c:pt idx="16352">
                  <c:v>0.291635455680399</c:v>
                </c:pt>
                <c:pt idx="16353">
                  <c:v>0.29165329052969502</c:v>
                </c:pt>
                <c:pt idx="16354">
                  <c:v>0.29167112537898998</c:v>
                </c:pt>
                <c:pt idx="16355">
                  <c:v>0.291688960228286</c:v>
                </c:pt>
                <c:pt idx="16356">
                  <c:v>0.29170679507758102</c:v>
                </c:pt>
                <c:pt idx="16357">
                  <c:v>0.29172462992687698</c:v>
                </c:pt>
                <c:pt idx="16358">
                  <c:v>0.29174246477617199</c:v>
                </c:pt>
                <c:pt idx="16359">
                  <c:v>0.29176029962546801</c:v>
                </c:pt>
                <c:pt idx="16360">
                  <c:v>0.29177813447476297</c:v>
                </c:pt>
                <c:pt idx="16361">
                  <c:v>0.29179596932405899</c:v>
                </c:pt>
                <c:pt idx="16362">
                  <c:v>0.29181380417335401</c:v>
                </c:pt>
                <c:pt idx="16363">
                  <c:v>0.29183163902265002</c:v>
                </c:pt>
                <c:pt idx="16364">
                  <c:v>0.29184947387194499</c:v>
                </c:pt>
                <c:pt idx="16365">
                  <c:v>0.291867308721241</c:v>
                </c:pt>
                <c:pt idx="16366">
                  <c:v>0.29188514357053602</c:v>
                </c:pt>
                <c:pt idx="16367">
                  <c:v>0.29190297841983198</c:v>
                </c:pt>
                <c:pt idx="16368">
                  <c:v>0.291920813269127</c:v>
                </c:pt>
                <c:pt idx="16369">
                  <c:v>0.29193864811842302</c:v>
                </c:pt>
                <c:pt idx="16370">
                  <c:v>0.29195648296771798</c:v>
                </c:pt>
                <c:pt idx="16371">
                  <c:v>0.291974317817014</c:v>
                </c:pt>
                <c:pt idx="16372">
                  <c:v>0.29199215266630901</c:v>
                </c:pt>
                <c:pt idx="16373">
                  <c:v>0.29200998751560497</c:v>
                </c:pt>
                <c:pt idx="16374">
                  <c:v>0.29202782236490099</c:v>
                </c:pt>
                <c:pt idx="16375">
                  <c:v>0.29204565721419601</c:v>
                </c:pt>
                <c:pt idx="16376">
                  <c:v>0.29206349206349203</c:v>
                </c:pt>
                <c:pt idx="16377">
                  <c:v>0.29208132691278699</c:v>
                </c:pt>
                <c:pt idx="16378">
                  <c:v>0.292099161762083</c:v>
                </c:pt>
                <c:pt idx="16379">
                  <c:v>0.29211699661137802</c:v>
                </c:pt>
                <c:pt idx="16380">
                  <c:v>0.29213483146067398</c:v>
                </c:pt>
                <c:pt idx="16381">
                  <c:v>0.292152666309969</c:v>
                </c:pt>
                <c:pt idx="16382">
                  <c:v>0.29217050115926502</c:v>
                </c:pt>
                <c:pt idx="16383">
                  <c:v>0.29218833600855998</c:v>
                </c:pt>
                <c:pt idx="16384">
                  <c:v>0.292206170857856</c:v>
                </c:pt>
                <c:pt idx="16385">
                  <c:v>0.29222400570715101</c:v>
                </c:pt>
                <c:pt idx="16386">
                  <c:v>0.29224184055644697</c:v>
                </c:pt>
                <c:pt idx="16387">
                  <c:v>0.29225967540574199</c:v>
                </c:pt>
                <c:pt idx="16388">
                  <c:v>0.29227751025503801</c:v>
                </c:pt>
                <c:pt idx="16389">
                  <c:v>0.29229534510433303</c:v>
                </c:pt>
                <c:pt idx="16390">
                  <c:v>0.29231317995362899</c:v>
                </c:pt>
                <c:pt idx="16391">
                  <c:v>0.29233101480292401</c:v>
                </c:pt>
                <c:pt idx="16392">
                  <c:v>0.29234884965222002</c:v>
                </c:pt>
                <c:pt idx="16393">
                  <c:v>0.29236668450151598</c:v>
                </c:pt>
                <c:pt idx="16394">
                  <c:v>0.292384519350811</c:v>
                </c:pt>
                <c:pt idx="16395">
                  <c:v>0.29240235420010702</c:v>
                </c:pt>
                <c:pt idx="16396">
                  <c:v>0.29242018904940198</c:v>
                </c:pt>
                <c:pt idx="16397">
                  <c:v>0.292438023898698</c:v>
                </c:pt>
                <c:pt idx="16398">
                  <c:v>0.29245585874799301</c:v>
                </c:pt>
                <c:pt idx="16399">
                  <c:v>0.29247369359728898</c:v>
                </c:pt>
                <c:pt idx="16400">
                  <c:v>0.29249152844658399</c:v>
                </c:pt>
                <c:pt idx="16401">
                  <c:v>0.29250936329588001</c:v>
                </c:pt>
                <c:pt idx="16402">
                  <c:v>0.29252719814517503</c:v>
                </c:pt>
                <c:pt idx="16403">
                  <c:v>0.29254503299447099</c:v>
                </c:pt>
                <c:pt idx="16404">
                  <c:v>0.29256286784376601</c:v>
                </c:pt>
                <c:pt idx="16405">
                  <c:v>0.29258070269306202</c:v>
                </c:pt>
                <c:pt idx="16406">
                  <c:v>0.29259853754235698</c:v>
                </c:pt>
                <c:pt idx="16407">
                  <c:v>0.292616372391653</c:v>
                </c:pt>
                <c:pt idx="16408">
                  <c:v>0.29263420724094802</c:v>
                </c:pt>
                <c:pt idx="16409">
                  <c:v>0.29265204209024398</c:v>
                </c:pt>
                <c:pt idx="16410">
                  <c:v>0.292669876939539</c:v>
                </c:pt>
                <c:pt idx="16411">
                  <c:v>0.29268771178883501</c:v>
                </c:pt>
                <c:pt idx="16412">
                  <c:v>0.29270554663812998</c:v>
                </c:pt>
                <c:pt idx="16413">
                  <c:v>0.29272338148742599</c:v>
                </c:pt>
                <c:pt idx="16414">
                  <c:v>0.29274121633672101</c:v>
                </c:pt>
                <c:pt idx="16415">
                  <c:v>0.29275905118601703</c:v>
                </c:pt>
                <c:pt idx="16416">
                  <c:v>0.29277688603531299</c:v>
                </c:pt>
                <c:pt idx="16417">
                  <c:v>0.29279472088460801</c:v>
                </c:pt>
                <c:pt idx="16418">
                  <c:v>0.29281255573390402</c:v>
                </c:pt>
                <c:pt idx="16419">
                  <c:v>0.29283039058319899</c:v>
                </c:pt>
                <c:pt idx="16420">
                  <c:v>0.292848225432495</c:v>
                </c:pt>
                <c:pt idx="16421">
                  <c:v>0.29286606028179002</c:v>
                </c:pt>
                <c:pt idx="16422">
                  <c:v>0.29288389513108598</c:v>
                </c:pt>
                <c:pt idx="16423">
                  <c:v>0.292901729980381</c:v>
                </c:pt>
                <c:pt idx="16424">
                  <c:v>0.29291956482967701</c:v>
                </c:pt>
                <c:pt idx="16425">
                  <c:v>0.29293739967897198</c:v>
                </c:pt>
                <c:pt idx="16426">
                  <c:v>0.29295523452826799</c:v>
                </c:pt>
                <c:pt idx="16427">
                  <c:v>0.29297306937756301</c:v>
                </c:pt>
                <c:pt idx="16428">
                  <c:v>0.29299090422685897</c:v>
                </c:pt>
                <c:pt idx="16429">
                  <c:v>0.29300873907615399</c:v>
                </c:pt>
                <c:pt idx="16430">
                  <c:v>0.29302657392545001</c:v>
                </c:pt>
                <c:pt idx="16431">
                  <c:v>0.29304440877474502</c:v>
                </c:pt>
                <c:pt idx="16432">
                  <c:v>0.29306224362404099</c:v>
                </c:pt>
                <c:pt idx="16433">
                  <c:v>0.293080078473336</c:v>
                </c:pt>
                <c:pt idx="16434">
                  <c:v>0.29309791332263202</c:v>
                </c:pt>
                <c:pt idx="16435">
                  <c:v>0.29311574817192698</c:v>
                </c:pt>
                <c:pt idx="16436">
                  <c:v>0.293133583021223</c:v>
                </c:pt>
                <c:pt idx="16437">
                  <c:v>0.29315141787051902</c:v>
                </c:pt>
                <c:pt idx="16438">
                  <c:v>0.29316925271981398</c:v>
                </c:pt>
                <c:pt idx="16439">
                  <c:v>0.29318708756910999</c:v>
                </c:pt>
                <c:pt idx="16440">
                  <c:v>0.29320492241840501</c:v>
                </c:pt>
                <c:pt idx="16441">
                  <c:v>0.29322275726770097</c:v>
                </c:pt>
                <c:pt idx="16442">
                  <c:v>0.29324059211699599</c:v>
                </c:pt>
                <c:pt idx="16443">
                  <c:v>0.29325842696629201</c:v>
                </c:pt>
                <c:pt idx="16444">
                  <c:v>0.29327626181558702</c:v>
                </c:pt>
                <c:pt idx="16445">
                  <c:v>0.29329409666488299</c:v>
                </c:pt>
                <c:pt idx="16446">
                  <c:v>0.293311931514178</c:v>
                </c:pt>
                <c:pt idx="16447">
                  <c:v>0.29332976636347402</c:v>
                </c:pt>
                <c:pt idx="16448">
                  <c:v>0.29334760121276898</c:v>
                </c:pt>
                <c:pt idx="16449">
                  <c:v>0.293365436062065</c:v>
                </c:pt>
                <c:pt idx="16450">
                  <c:v>0.29338327091136002</c:v>
                </c:pt>
                <c:pt idx="16451">
                  <c:v>0.29340110576065598</c:v>
                </c:pt>
                <c:pt idx="16452">
                  <c:v>0.293418940609951</c:v>
                </c:pt>
                <c:pt idx="16453">
                  <c:v>0.29343677545924701</c:v>
                </c:pt>
                <c:pt idx="16454">
                  <c:v>0.29345461030854197</c:v>
                </c:pt>
                <c:pt idx="16455">
                  <c:v>0.29347244515783799</c:v>
                </c:pt>
                <c:pt idx="16456">
                  <c:v>0.29349028000713301</c:v>
                </c:pt>
                <c:pt idx="16457">
                  <c:v>0.29350811485642903</c:v>
                </c:pt>
                <c:pt idx="16458">
                  <c:v>0.29352594970572499</c:v>
                </c:pt>
                <c:pt idx="16459">
                  <c:v>0.29354378455502</c:v>
                </c:pt>
                <c:pt idx="16460">
                  <c:v>0.29356161940431602</c:v>
                </c:pt>
                <c:pt idx="16461">
                  <c:v>0.29357945425361098</c:v>
                </c:pt>
                <c:pt idx="16462">
                  <c:v>0.293597289102907</c:v>
                </c:pt>
                <c:pt idx="16463">
                  <c:v>0.29361512395220202</c:v>
                </c:pt>
                <c:pt idx="16464">
                  <c:v>0.29363295880149798</c:v>
                </c:pt>
                <c:pt idx="16465">
                  <c:v>0.293650793650793</c:v>
                </c:pt>
                <c:pt idx="16466">
                  <c:v>0.29366862850008901</c:v>
                </c:pt>
                <c:pt idx="16467">
                  <c:v>0.29368646334938397</c:v>
                </c:pt>
                <c:pt idx="16468">
                  <c:v>0.29370429819867999</c:v>
                </c:pt>
                <c:pt idx="16469">
                  <c:v>0.29372213304797501</c:v>
                </c:pt>
                <c:pt idx="16470">
                  <c:v>0.29373996789727103</c:v>
                </c:pt>
                <c:pt idx="16471">
                  <c:v>0.29375780274656599</c:v>
                </c:pt>
                <c:pt idx="16472">
                  <c:v>0.293775637595862</c:v>
                </c:pt>
                <c:pt idx="16473">
                  <c:v>0.29379347244515702</c:v>
                </c:pt>
                <c:pt idx="16474">
                  <c:v>0.29381130729445298</c:v>
                </c:pt>
                <c:pt idx="16475">
                  <c:v>0.293829142143748</c:v>
                </c:pt>
                <c:pt idx="16476">
                  <c:v>0.29384697699304402</c:v>
                </c:pt>
                <c:pt idx="16477">
                  <c:v>0.29386481184233898</c:v>
                </c:pt>
                <c:pt idx="16478">
                  <c:v>0.293882646691635</c:v>
                </c:pt>
                <c:pt idx="16479">
                  <c:v>0.29390048154093001</c:v>
                </c:pt>
                <c:pt idx="16480">
                  <c:v>0.29391831639022598</c:v>
                </c:pt>
                <c:pt idx="16481">
                  <c:v>0.29393615123952199</c:v>
                </c:pt>
                <c:pt idx="16482">
                  <c:v>0.29395398608881701</c:v>
                </c:pt>
                <c:pt idx="16483">
                  <c:v>0.29397182093811303</c:v>
                </c:pt>
                <c:pt idx="16484">
                  <c:v>0.29398965578740799</c:v>
                </c:pt>
                <c:pt idx="16485">
                  <c:v>0.29400749063670401</c:v>
                </c:pt>
                <c:pt idx="16486">
                  <c:v>0.29402532548599902</c:v>
                </c:pt>
                <c:pt idx="16487">
                  <c:v>0.29404316033529498</c:v>
                </c:pt>
                <c:pt idx="16488">
                  <c:v>0.29406099518459</c:v>
                </c:pt>
                <c:pt idx="16489">
                  <c:v>0.29407883003388602</c:v>
                </c:pt>
                <c:pt idx="16490">
                  <c:v>0.29409666488318098</c:v>
                </c:pt>
                <c:pt idx="16491">
                  <c:v>0.294114499732477</c:v>
                </c:pt>
                <c:pt idx="16492">
                  <c:v>0.29413233458177201</c:v>
                </c:pt>
                <c:pt idx="16493">
                  <c:v>0.29415016943106798</c:v>
                </c:pt>
                <c:pt idx="16494">
                  <c:v>0.29416800428036299</c:v>
                </c:pt>
                <c:pt idx="16495">
                  <c:v>0.29418583912965901</c:v>
                </c:pt>
                <c:pt idx="16496">
                  <c:v>0.29420367397895397</c:v>
                </c:pt>
                <c:pt idx="16497">
                  <c:v>0.29422150882824999</c:v>
                </c:pt>
                <c:pt idx="16498">
                  <c:v>0.29423934367754501</c:v>
                </c:pt>
                <c:pt idx="16499">
                  <c:v>0.29425717852684102</c:v>
                </c:pt>
                <c:pt idx="16500">
                  <c:v>0.29427501337613698</c:v>
                </c:pt>
                <c:pt idx="16501">
                  <c:v>0.294292848225432</c:v>
                </c:pt>
                <c:pt idx="16502">
                  <c:v>0.29431068307472802</c:v>
                </c:pt>
                <c:pt idx="16503">
                  <c:v>0.29432851792402298</c:v>
                </c:pt>
                <c:pt idx="16504">
                  <c:v>0.294346352773319</c:v>
                </c:pt>
                <c:pt idx="16505">
                  <c:v>0.29436418762261402</c:v>
                </c:pt>
                <c:pt idx="16506">
                  <c:v>0.29438202247190998</c:v>
                </c:pt>
                <c:pt idx="16507">
                  <c:v>0.29439985732120499</c:v>
                </c:pt>
                <c:pt idx="16508">
                  <c:v>0.29441769217050101</c:v>
                </c:pt>
                <c:pt idx="16509">
                  <c:v>0.29443552701979597</c:v>
                </c:pt>
                <c:pt idx="16510">
                  <c:v>0.29445336186909199</c:v>
                </c:pt>
                <c:pt idx="16511">
                  <c:v>0.29447119671838701</c:v>
                </c:pt>
                <c:pt idx="16512">
                  <c:v>0.29448903156768302</c:v>
                </c:pt>
                <c:pt idx="16513">
                  <c:v>0.29450686641697799</c:v>
                </c:pt>
                <c:pt idx="16514">
                  <c:v>0.294524701266274</c:v>
                </c:pt>
                <c:pt idx="16515">
                  <c:v>0.29454253611556902</c:v>
                </c:pt>
                <c:pt idx="16516">
                  <c:v>0.29456037096486498</c:v>
                </c:pt>
                <c:pt idx="16517">
                  <c:v>0.29457820581416</c:v>
                </c:pt>
                <c:pt idx="16518">
                  <c:v>0.29459604066345602</c:v>
                </c:pt>
                <c:pt idx="16519">
                  <c:v>0.29461387551275098</c:v>
                </c:pt>
                <c:pt idx="16520">
                  <c:v>0.29463171036204699</c:v>
                </c:pt>
                <c:pt idx="16521">
                  <c:v>0.29464954521134201</c:v>
                </c:pt>
                <c:pt idx="16522">
                  <c:v>0.29466738006063797</c:v>
                </c:pt>
                <c:pt idx="16523">
                  <c:v>0.29468521490993399</c:v>
                </c:pt>
                <c:pt idx="16524">
                  <c:v>0.29470304975922901</c:v>
                </c:pt>
                <c:pt idx="16525">
                  <c:v>0.29472088460852502</c:v>
                </c:pt>
                <c:pt idx="16526">
                  <c:v>0.29473871945781999</c:v>
                </c:pt>
                <c:pt idx="16527">
                  <c:v>0.294756554307116</c:v>
                </c:pt>
                <c:pt idx="16528">
                  <c:v>0.29477438915641102</c:v>
                </c:pt>
                <c:pt idx="16529">
                  <c:v>0.29479222400570698</c:v>
                </c:pt>
                <c:pt idx="16530">
                  <c:v>0.294810058855002</c:v>
                </c:pt>
                <c:pt idx="16531">
                  <c:v>0.29482789370429802</c:v>
                </c:pt>
                <c:pt idx="16532">
                  <c:v>0.29484572855359298</c:v>
                </c:pt>
                <c:pt idx="16533">
                  <c:v>0.294863563402889</c:v>
                </c:pt>
                <c:pt idx="16534">
                  <c:v>0.29488139825218401</c:v>
                </c:pt>
                <c:pt idx="16535">
                  <c:v>0.29489923310147997</c:v>
                </c:pt>
                <c:pt idx="16536">
                  <c:v>0.29491706795077499</c:v>
                </c:pt>
                <c:pt idx="16537">
                  <c:v>0.29493490280007101</c:v>
                </c:pt>
                <c:pt idx="16538">
                  <c:v>0.29495273764936603</c:v>
                </c:pt>
                <c:pt idx="16539">
                  <c:v>0.29497057249866199</c:v>
                </c:pt>
                <c:pt idx="16540">
                  <c:v>0.294988407347957</c:v>
                </c:pt>
                <c:pt idx="16541">
                  <c:v>0.29500624219725302</c:v>
                </c:pt>
                <c:pt idx="16542">
                  <c:v>0.29502407704654898</c:v>
                </c:pt>
                <c:pt idx="16543">
                  <c:v>0.295041911895844</c:v>
                </c:pt>
                <c:pt idx="16544">
                  <c:v>0.29505974674514002</c:v>
                </c:pt>
                <c:pt idx="16545">
                  <c:v>0.29507758159443498</c:v>
                </c:pt>
                <c:pt idx="16546">
                  <c:v>0.295095416443731</c:v>
                </c:pt>
                <c:pt idx="16547">
                  <c:v>0.29511325129302601</c:v>
                </c:pt>
                <c:pt idx="16548">
                  <c:v>0.29513108614232197</c:v>
                </c:pt>
                <c:pt idx="16549">
                  <c:v>0.29514892099161699</c:v>
                </c:pt>
                <c:pt idx="16550">
                  <c:v>0.29516675584091301</c:v>
                </c:pt>
                <c:pt idx="16551">
                  <c:v>0.29518459069020803</c:v>
                </c:pt>
                <c:pt idx="16552">
                  <c:v>0.29520242553950399</c:v>
                </c:pt>
                <c:pt idx="16553">
                  <c:v>0.29522026038879901</c:v>
                </c:pt>
                <c:pt idx="16554">
                  <c:v>0.29523809523809502</c:v>
                </c:pt>
                <c:pt idx="16555">
                  <c:v>0.29525593008738998</c:v>
                </c:pt>
                <c:pt idx="16556">
                  <c:v>0.295273764936686</c:v>
                </c:pt>
                <c:pt idx="16557">
                  <c:v>0.29529159978598102</c:v>
                </c:pt>
                <c:pt idx="16558">
                  <c:v>0.29530943463527698</c:v>
                </c:pt>
                <c:pt idx="16559">
                  <c:v>0.295327269484572</c:v>
                </c:pt>
                <c:pt idx="16560">
                  <c:v>0.29534510433386801</c:v>
                </c:pt>
                <c:pt idx="16561">
                  <c:v>0.29536293918316298</c:v>
                </c:pt>
                <c:pt idx="16562">
                  <c:v>0.29538077403245899</c:v>
                </c:pt>
                <c:pt idx="16563">
                  <c:v>0.29539860888175401</c:v>
                </c:pt>
                <c:pt idx="16564">
                  <c:v>0.29541644373105003</c:v>
                </c:pt>
                <c:pt idx="16565">
                  <c:v>0.29543427858034599</c:v>
                </c:pt>
                <c:pt idx="16566">
                  <c:v>0.29545211342964101</c:v>
                </c:pt>
                <c:pt idx="16567">
                  <c:v>0.29546994827893702</c:v>
                </c:pt>
                <c:pt idx="16568">
                  <c:v>0.29548778312823198</c:v>
                </c:pt>
                <c:pt idx="16569">
                  <c:v>0.295505617977528</c:v>
                </c:pt>
                <c:pt idx="16570">
                  <c:v>0.29552345282682302</c:v>
                </c:pt>
                <c:pt idx="16571">
                  <c:v>0.29554128767611898</c:v>
                </c:pt>
                <c:pt idx="16572">
                  <c:v>0.295559122525414</c:v>
                </c:pt>
                <c:pt idx="16573">
                  <c:v>0.29557695737471001</c:v>
                </c:pt>
                <c:pt idx="16574">
                  <c:v>0.29559479222400498</c:v>
                </c:pt>
                <c:pt idx="16575">
                  <c:v>0.29561262707330099</c:v>
                </c:pt>
                <c:pt idx="16576">
                  <c:v>0.29563046192259601</c:v>
                </c:pt>
                <c:pt idx="16577">
                  <c:v>0.29564829677189203</c:v>
                </c:pt>
                <c:pt idx="16578">
                  <c:v>0.29566613162118699</c:v>
                </c:pt>
                <c:pt idx="16579">
                  <c:v>0.29568396647048301</c:v>
                </c:pt>
                <c:pt idx="16580">
                  <c:v>0.29570180131977802</c:v>
                </c:pt>
                <c:pt idx="16581">
                  <c:v>0.29571963616907398</c:v>
                </c:pt>
                <c:pt idx="16582">
                  <c:v>0.295737471018369</c:v>
                </c:pt>
                <c:pt idx="16583">
                  <c:v>0.29575530586766502</c:v>
                </c:pt>
                <c:pt idx="16584">
                  <c:v>0.29577314071695998</c:v>
                </c:pt>
                <c:pt idx="16585">
                  <c:v>0.295790975566256</c:v>
                </c:pt>
                <c:pt idx="16586">
                  <c:v>0.29580881041555201</c:v>
                </c:pt>
                <c:pt idx="16587">
                  <c:v>0.29582664526484698</c:v>
                </c:pt>
                <c:pt idx="16588">
                  <c:v>0.29584448011414299</c:v>
                </c:pt>
                <c:pt idx="16589">
                  <c:v>0.29586231496343801</c:v>
                </c:pt>
                <c:pt idx="16590">
                  <c:v>0.29588014981273397</c:v>
                </c:pt>
                <c:pt idx="16591">
                  <c:v>0.29589798466202899</c:v>
                </c:pt>
                <c:pt idx="16592">
                  <c:v>0.29591581951132501</c:v>
                </c:pt>
                <c:pt idx="16593">
                  <c:v>0.29593365436062002</c:v>
                </c:pt>
                <c:pt idx="16594">
                  <c:v>0.29595148920991599</c:v>
                </c:pt>
                <c:pt idx="16595">
                  <c:v>0.295969324059211</c:v>
                </c:pt>
                <c:pt idx="16596">
                  <c:v>0.29598715890850702</c:v>
                </c:pt>
                <c:pt idx="16597">
                  <c:v>0.29600499375780198</c:v>
                </c:pt>
                <c:pt idx="16598">
                  <c:v>0.296022828607098</c:v>
                </c:pt>
                <c:pt idx="16599">
                  <c:v>0.29604066345639302</c:v>
                </c:pt>
                <c:pt idx="16600">
                  <c:v>0.29605849830568898</c:v>
                </c:pt>
                <c:pt idx="16601">
                  <c:v>0.29607633315498399</c:v>
                </c:pt>
                <c:pt idx="16602">
                  <c:v>0.29609416800428001</c:v>
                </c:pt>
                <c:pt idx="16603">
                  <c:v>0.29611200285357497</c:v>
                </c:pt>
                <c:pt idx="16604">
                  <c:v>0.29612983770287099</c:v>
                </c:pt>
                <c:pt idx="16605">
                  <c:v>0.29614767255216601</c:v>
                </c:pt>
                <c:pt idx="16606">
                  <c:v>0.29616550740146202</c:v>
                </c:pt>
                <c:pt idx="16607">
                  <c:v>0.29618334225075799</c:v>
                </c:pt>
                <c:pt idx="16608">
                  <c:v>0.296201177100053</c:v>
                </c:pt>
                <c:pt idx="16609">
                  <c:v>0.29621901194934902</c:v>
                </c:pt>
                <c:pt idx="16610">
                  <c:v>0.29623684679864398</c:v>
                </c:pt>
                <c:pt idx="16611">
                  <c:v>0.29625468164794</c:v>
                </c:pt>
                <c:pt idx="16612">
                  <c:v>0.29627251649723502</c:v>
                </c:pt>
                <c:pt idx="16613">
                  <c:v>0.29629035134653098</c:v>
                </c:pt>
                <c:pt idx="16614">
                  <c:v>0.296308186195826</c:v>
                </c:pt>
                <c:pt idx="16615">
                  <c:v>0.29632602104512201</c:v>
                </c:pt>
                <c:pt idx="16616">
                  <c:v>0.29634385589441697</c:v>
                </c:pt>
                <c:pt idx="16617">
                  <c:v>0.29636169074371299</c:v>
                </c:pt>
                <c:pt idx="16618">
                  <c:v>0.29637952559300801</c:v>
                </c:pt>
                <c:pt idx="16619">
                  <c:v>0.29639736044230403</c:v>
                </c:pt>
                <c:pt idx="16620">
                  <c:v>0.29641519529159899</c:v>
                </c:pt>
                <c:pt idx="16621">
                  <c:v>0.296433030140895</c:v>
                </c:pt>
                <c:pt idx="16622">
                  <c:v>0.29645086499019002</c:v>
                </c:pt>
                <c:pt idx="16623">
                  <c:v>0.29646869983948598</c:v>
                </c:pt>
                <c:pt idx="16624">
                  <c:v>0.296486534688781</c:v>
                </c:pt>
                <c:pt idx="16625">
                  <c:v>0.29650436953807702</c:v>
                </c:pt>
                <c:pt idx="16626">
                  <c:v>0.29652220438737198</c:v>
                </c:pt>
                <c:pt idx="16627">
                  <c:v>0.296540039236668</c:v>
                </c:pt>
                <c:pt idx="16628">
                  <c:v>0.29655787408596301</c:v>
                </c:pt>
                <c:pt idx="16629">
                  <c:v>0.29657570893525897</c:v>
                </c:pt>
                <c:pt idx="16630">
                  <c:v>0.29659354378455499</c:v>
                </c:pt>
                <c:pt idx="16631">
                  <c:v>0.29661137863385001</c:v>
                </c:pt>
                <c:pt idx="16632">
                  <c:v>0.29662921348314603</c:v>
                </c:pt>
                <c:pt idx="16633">
                  <c:v>0.29664704833244099</c:v>
                </c:pt>
                <c:pt idx="16634">
                  <c:v>0.296664883181737</c:v>
                </c:pt>
                <c:pt idx="16635">
                  <c:v>0.29668271803103202</c:v>
                </c:pt>
                <c:pt idx="16636">
                  <c:v>0.29670055288032798</c:v>
                </c:pt>
                <c:pt idx="16637">
                  <c:v>0.296718387729623</c:v>
                </c:pt>
                <c:pt idx="16638">
                  <c:v>0.29673622257891902</c:v>
                </c:pt>
                <c:pt idx="16639">
                  <c:v>0.29675405742821398</c:v>
                </c:pt>
                <c:pt idx="16640">
                  <c:v>0.29677189227751</c:v>
                </c:pt>
                <c:pt idx="16641">
                  <c:v>0.29678972712680501</c:v>
                </c:pt>
                <c:pt idx="16642">
                  <c:v>0.29680756197610098</c:v>
                </c:pt>
                <c:pt idx="16643">
                  <c:v>0.29682539682539599</c:v>
                </c:pt>
                <c:pt idx="16644">
                  <c:v>0.29684323167469201</c:v>
                </c:pt>
                <c:pt idx="16645">
                  <c:v>0.29686106652398703</c:v>
                </c:pt>
                <c:pt idx="16646">
                  <c:v>0.29687890137328299</c:v>
                </c:pt>
                <c:pt idx="16647">
                  <c:v>0.29689673622257801</c:v>
                </c:pt>
                <c:pt idx="16648">
                  <c:v>0.29691457107187402</c:v>
                </c:pt>
                <c:pt idx="16649">
                  <c:v>0.29693240592116998</c:v>
                </c:pt>
                <c:pt idx="16650">
                  <c:v>0.296950240770465</c:v>
                </c:pt>
                <c:pt idx="16651">
                  <c:v>0.29696807561976102</c:v>
                </c:pt>
                <c:pt idx="16652">
                  <c:v>0.29698591046905598</c:v>
                </c:pt>
                <c:pt idx="16653">
                  <c:v>0.297003745318352</c:v>
                </c:pt>
                <c:pt idx="16654">
                  <c:v>0.29702158016764701</c:v>
                </c:pt>
                <c:pt idx="16655">
                  <c:v>0.29703941501694298</c:v>
                </c:pt>
                <c:pt idx="16656">
                  <c:v>0.29705724986623799</c:v>
                </c:pt>
                <c:pt idx="16657">
                  <c:v>0.29707508471553401</c:v>
                </c:pt>
                <c:pt idx="16658">
                  <c:v>0.29709291956482897</c:v>
                </c:pt>
                <c:pt idx="16659">
                  <c:v>0.29711075441412499</c:v>
                </c:pt>
                <c:pt idx="16660">
                  <c:v>0.29712858926342001</c:v>
                </c:pt>
                <c:pt idx="16661">
                  <c:v>0.29714642411271602</c:v>
                </c:pt>
                <c:pt idx="16662">
                  <c:v>0.29716425896201099</c:v>
                </c:pt>
                <c:pt idx="16663">
                  <c:v>0.297182093811307</c:v>
                </c:pt>
                <c:pt idx="16664">
                  <c:v>0.29719992866060202</c:v>
                </c:pt>
                <c:pt idx="16665">
                  <c:v>0.29721776350989798</c:v>
                </c:pt>
                <c:pt idx="16666">
                  <c:v>0.297235598359193</c:v>
                </c:pt>
                <c:pt idx="16667">
                  <c:v>0.29725343320848902</c:v>
                </c:pt>
                <c:pt idx="16668">
                  <c:v>0.29727126805778398</c:v>
                </c:pt>
                <c:pt idx="16669">
                  <c:v>0.29728910290707999</c:v>
                </c:pt>
                <c:pt idx="16670">
                  <c:v>0.29730693775637501</c:v>
                </c:pt>
                <c:pt idx="16671">
                  <c:v>0.29732477260567097</c:v>
                </c:pt>
                <c:pt idx="16672">
                  <c:v>0.29734260745496699</c:v>
                </c:pt>
                <c:pt idx="16673">
                  <c:v>0.29736044230426201</c:v>
                </c:pt>
                <c:pt idx="16674">
                  <c:v>0.29737827715355802</c:v>
                </c:pt>
                <c:pt idx="16675">
                  <c:v>0.29739611200285299</c:v>
                </c:pt>
                <c:pt idx="16676">
                  <c:v>0.297413946852149</c:v>
                </c:pt>
                <c:pt idx="16677">
                  <c:v>0.29743178170144402</c:v>
                </c:pt>
                <c:pt idx="16678">
                  <c:v>0.29744961655073998</c:v>
                </c:pt>
                <c:pt idx="16679">
                  <c:v>0.297467451400035</c:v>
                </c:pt>
                <c:pt idx="16680">
                  <c:v>0.29748528624933102</c:v>
                </c:pt>
                <c:pt idx="16681">
                  <c:v>0.29750312109862598</c:v>
                </c:pt>
                <c:pt idx="16682">
                  <c:v>0.29752095594792199</c:v>
                </c:pt>
                <c:pt idx="16683">
                  <c:v>0.29753879079721701</c:v>
                </c:pt>
                <c:pt idx="16684">
                  <c:v>0.29755662564651297</c:v>
                </c:pt>
                <c:pt idx="16685">
                  <c:v>0.29757446049580799</c:v>
                </c:pt>
                <c:pt idx="16686">
                  <c:v>0.29759229534510401</c:v>
                </c:pt>
                <c:pt idx="16687">
                  <c:v>0.29761013019439903</c:v>
                </c:pt>
                <c:pt idx="16688">
                  <c:v>0.29762796504369499</c:v>
                </c:pt>
                <c:pt idx="16689">
                  <c:v>0.29764579989299</c:v>
                </c:pt>
                <c:pt idx="16690">
                  <c:v>0.29766363474228602</c:v>
                </c:pt>
                <c:pt idx="16691">
                  <c:v>0.29768146959158098</c:v>
                </c:pt>
                <c:pt idx="16692">
                  <c:v>0.297699304440877</c:v>
                </c:pt>
                <c:pt idx="16693">
                  <c:v>0.29771713929017302</c:v>
                </c:pt>
                <c:pt idx="16694">
                  <c:v>0.29773497413946798</c:v>
                </c:pt>
                <c:pt idx="16695">
                  <c:v>0.297752808988764</c:v>
                </c:pt>
                <c:pt idx="16696">
                  <c:v>0.29777064383805901</c:v>
                </c:pt>
                <c:pt idx="16697">
                  <c:v>0.29778847868735497</c:v>
                </c:pt>
                <c:pt idx="16698">
                  <c:v>0.29780631353664999</c:v>
                </c:pt>
                <c:pt idx="16699">
                  <c:v>0.29782414838594601</c:v>
                </c:pt>
                <c:pt idx="16700">
                  <c:v>0.29784198323524103</c:v>
                </c:pt>
                <c:pt idx="16701">
                  <c:v>0.29785981808453699</c:v>
                </c:pt>
                <c:pt idx="16702">
                  <c:v>0.297877652933832</c:v>
                </c:pt>
                <c:pt idx="16703">
                  <c:v>0.29789548778312802</c:v>
                </c:pt>
                <c:pt idx="16704">
                  <c:v>0.29791332263242298</c:v>
                </c:pt>
                <c:pt idx="16705">
                  <c:v>0.297931157481719</c:v>
                </c:pt>
                <c:pt idx="16706">
                  <c:v>0.29794899233101402</c:v>
                </c:pt>
                <c:pt idx="16707">
                  <c:v>0.29796682718030998</c:v>
                </c:pt>
                <c:pt idx="16708">
                  <c:v>0.297984662029605</c:v>
                </c:pt>
                <c:pt idx="16709">
                  <c:v>0.29800249687890101</c:v>
                </c:pt>
                <c:pt idx="16710">
                  <c:v>0.29802033172819598</c:v>
                </c:pt>
                <c:pt idx="16711">
                  <c:v>0.29803816657749199</c:v>
                </c:pt>
                <c:pt idx="16712">
                  <c:v>0.29805600142678701</c:v>
                </c:pt>
                <c:pt idx="16713">
                  <c:v>0.29807383627608303</c:v>
                </c:pt>
                <c:pt idx="16714">
                  <c:v>0.29809167112537899</c:v>
                </c:pt>
                <c:pt idx="16715">
                  <c:v>0.29810950597467401</c:v>
                </c:pt>
                <c:pt idx="16716">
                  <c:v>0.29812734082397002</c:v>
                </c:pt>
                <c:pt idx="16717">
                  <c:v>0.29814517567326498</c:v>
                </c:pt>
                <c:pt idx="16718">
                  <c:v>0.298163010522561</c:v>
                </c:pt>
                <c:pt idx="16719">
                  <c:v>0.29818084537185602</c:v>
                </c:pt>
                <c:pt idx="16720">
                  <c:v>0.29819868022115198</c:v>
                </c:pt>
                <c:pt idx="16721">
                  <c:v>0.298216515070447</c:v>
                </c:pt>
                <c:pt idx="16722">
                  <c:v>0.29823434991974301</c:v>
                </c:pt>
                <c:pt idx="16723">
                  <c:v>0.29825218476903798</c:v>
                </c:pt>
                <c:pt idx="16724">
                  <c:v>0.29827001961833399</c:v>
                </c:pt>
                <c:pt idx="16725">
                  <c:v>0.29828785446762901</c:v>
                </c:pt>
                <c:pt idx="16726">
                  <c:v>0.29830568931692503</c:v>
                </c:pt>
                <c:pt idx="16727">
                  <c:v>0.29832352416621999</c:v>
                </c:pt>
                <c:pt idx="16728">
                  <c:v>0.29834135901551601</c:v>
                </c:pt>
                <c:pt idx="16729">
                  <c:v>0.29835919386481102</c:v>
                </c:pt>
                <c:pt idx="16730">
                  <c:v>0.29837702871410698</c:v>
                </c:pt>
                <c:pt idx="16731">
                  <c:v>0.298394863563402</c:v>
                </c:pt>
                <c:pt idx="16732">
                  <c:v>0.29841269841269802</c:v>
                </c:pt>
                <c:pt idx="16733">
                  <c:v>0.29843053326199298</c:v>
                </c:pt>
                <c:pt idx="16734">
                  <c:v>0.298448368111289</c:v>
                </c:pt>
                <c:pt idx="16735">
                  <c:v>0.29846620296058402</c:v>
                </c:pt>
                <c:pt idx="16736">
                  <c:v>0.29848403780987998</c:v>
                </c:pt>
                <c:pt idx="16737">
                  <c:v>0.29850187265917599</c:v>
                </c:pt>
                <c:pt idx="16738">
                  <c:v>0.29851970750847101</c:v>
                </c:pt>
                <c:pt idx="16739">
                  <c:v>0.29853754235776703</c:v>
                </c:pt>
                <c:pt idx="16740">
                  <c:v>0.29855537720706199</c:v>
                </c:pt>
                <c:pt idx="16741">
                  <c:v>0.29857321205635801</c:v>
                </c:pt>
                <c:pt idx="16742">
                  <c:v>0.29859104690565302</c:v>
                </c:pt>
                <c:pt idx="16743">
                  <c:v>0.29860888175494898</c:v>
                </c:pt>
                <c:pt idx="16744">
                  <c:v>0.298626716604244</c:v>
                </c:pt>
                <c:pt idx="16745">
                  <c:v>0.29864455145354002</c:v>
                </c:pt>
                <c:pt idx="16746">
                  <c:v>0.29866238630283498</c:v>
                </c:pt>
                <c:pt idx="16747">
                  <c:v>0.298680221152131</c:v>
                </c:pt>
                <c:pt idx="16748">
                  <c:v>0.29869805600142602</c:v>
                </c:pt>
                <c:pt idx="16749">
                  <c:v>0.29871589085072198</c:v>
                </c:pt>
                <c:pt idx="16750">
                  <c:v>0.29873372570001699</c:v>
                </c:pt>
                <c:pt idx="16751">
                  <c:v>0.29875156054931301</c:v>
                </c:pt>
                <c:pt idx="16752">
                  <c:v>0.29876939539860797</c:v>
                </c:pt>
                <c:pt idx="16753">
                  <c:v>0.29878723024790399</c:v>
                </c:pt>
                <c:pt idx="16754">
                  <c:v>0.29880506509719901</c:v>
                </c:pt>
                <c:pt idx="16755">
                  <c:v>0.29882289994649502</c:v>
                </c:pt>
                <c:pt idx="16756">
                  <c:v>0.29884073479579099</c:v>
                </c:pt>
                <c:pt idx="16757">
                  <c:v>0.298858569645086</c:v>
                </c:pt>
                <c:pt idx="16758">
                  <c:v>0.29887640449438202</c:v>
                </c:pt>
                <c:pt idx="16759">
                  <c:v>0.29889423934367698</c:v>
                </c:pt>
                <c:pt idx="16760">
                  <c:v>0.298912074192973</c:v>
                </c:pt>
                <c:pt idx="16761">
                  <c:v>0.29892990904226802</c:v>
                </c:pt>
                <c:pt idx="16762">
                  <c:v>0.29894774389156398</c:v>
                </c:pt>
                <c:pt idx="16763">
                  <c:v>0.29896557874085899</c:v>
                </c:pt>
                <c:pt idx="16764">
                  <c:v>0.29898341359015501</c:v>
                </c:pt>
                <c:pt idx="16765">
                  <c:v>0.29900124843944997</c:v>
                </c:pt>
                <c:pt idx="16766">
                  <c:v>0.29901908328874599</c:v>
                </c:pt>
                <c:pt idx="16767">
                  <c:v>0.29903691813804101</c:v>
                </c:pt>
                <c:pt idx="16768">
                  <c:v>0.29905475298733702</c:v>
                </c:pt>
                <c:pt idx="16769">
                  <c:v>0.29907258783663199</c:v>
                </c:pt>
                <c:pt idx="16770">
                  <c:v>0.299090422685928</c:v>
                </c:pt>
                <c:pt idx="16771">
                  <c:v>0.29910825753522302</c:v>
                </c:pt>
                <c:pt idx="16772">
                  <c:v>0.29912609238451898</c:v>
                </c:pt>
                <c:pt idx="16773">
                  <c:v>0.299143927233814</c:v>
                </c:pt>
                <c:pt idx="16774">
                  <c:v>0.29916176208311002</c:v>
                </c:pt>
                <c:pt idx="16775">
                  <c:v>0.29917959693240498</c:v>
                </c:pt>
                <c:pt idx="16776">
                  <c:v>0.299197431781701</c:v>
                </c:pt>
                <c:pt idx="16777">
                  <c:v>0.29921526663099601</c:v>
                </c:pt>
                <c:pt idx="16778">
                  <c:v>0.29923310148029197</c:v>
                </c:pt>
                <c:pt idx="16779">
                  <c:v>0.29925093632958799</c:v>
                </c:pt>
                <c:pt idx="16780">
                  <c:v>0.29926877117888301</c:v>
                </c:pt>
                <c:pt idx="16781">
                  <c:v>0.29928660602817903</c:v>
                </c:pt>
                <c:pt idx="16782">
                  <c:v>0.29930444087747399</c:v>
                </c:pt>
                <c:pt idx="16783">
                  <c:v>0.29932227572677</c:v>
                </c:pt>
                <c:pt idx="16784">
                  <c:v>0.29934011057606502</c:v>
                </c:pt>
                <c:pt idx="16785">
                  <c:v>0.29935794542536098</c:v>
                </c:pt>
                <c:pt idx="16786">
                  <c:v>0.299375780274656</c:v>
                </c:pt>
                <c:pt idx="16787">
                  <c:v>0.29939361512395202</c:v>
                </c:pt>
                <c:pt idx="16788">
                  <c:v>0.29941144997324698</c:v>
                </c:pt>
                <c:pt idx="16789">
                  <c:v>0.299429284822543</c:v>
                </c:pt>
                <c:pt idx="16790">
                  <c:v>0.29944711967183801</c:v>
                </c:pt>
                <c:pt idx="16791">
                  <c:v>0.29946495452113397</c:v>
                </c:pt>
                <c:pt idx="16792">
                  <c:v>0.29948278937042899</c:v>
                </c:pt>
                <c:pt idx="16793">
                  <c:v>0.29950062421972501</c:v>
                </c:pt>
                <c:pt idx="16794">
                  <c:v>0.29951845906902003</c:v>
                </c:pt>
                <c:pt idx="16795">
                  <c:v>0.29953629391831599</c:v>
                </c:pt>
                <c:pt idx="16796">
                  <c:v>0.29955412876761101</c:v>
                </c:pt>
                <c:pt idx="16797">
                  <c:v>0.29957196361690702</c:v>
                </c:pt>
                <c:pt idx="16798">
                  <c:v>0.29958979846620298</c:v>
                </c:pt>
                <c:pt idx="16799">
                  <c:v>0.299607633315498</c:v>
                </c:pt>
                <c:pt idx="16800">
                  <c:v>0.29962546816479402</c:v>
                </c:pt>
                <c:pt idx="16801">
                  <c:v>0.29964330301408898</c:v>
                </c:pt>
                <c:pt idx="16802">
                  <c:v>0.299661137863385</c:v>
                </c:pt>
                <c:pt idx="16803">
                  <c:v>0.29967897271268001</c:v>
                </c:pt>
                <c:pt idx="16804">
                  <c:v>0.29969680756197598</c:v>
                </c:pt>
                <c:pt idx="16805">
                  <c:v>0.29971464241127099</c:v>
                </c:pt>
                <c:pt idx="16806">
                  <c:v>0.29973247726056701</c:v>
                </c:pt>
                <c:pt idx="16807">
                  <c:v>0.29975031210986203</c:v>
                </c:pt>
                <c:pt idx="16808">
                  <c:v>0.29976814695915799</c:v>
                </c:pt>
                <c:pt idx="16809">
                  <c:v>0.29978598180845301</c:v>
                </c:pt>
                <c:pt idx="16810">
                  <c:v>0.29980381665774902</c:v>
                </c:pt>
                <c:pt idx="16811">
                  <c:v>0.29982165150704398</c:v>
                </c:pt>
                <c:pt idx="16812">
                  <c:v>0.29983948635634</c:v>
                </c:pt>
                <c:pt idx="16813">
                  <c:v>0.29985732120563502</c:v>
                </c:pt>
                <c:pt idx="16814">
                  <c:v>0.29987515605493098</c:v>
                </c:pt>
                <c:pt idx="16815">
                  <c:v>0.299892990904226</c:v>
                </c:pt>
                <c:pt idx="16816">
                  <c:v>0.29991082575352201</c:v>
                </c:pt>
                <c:pt idx="16817">
                  <c:v>0.29992866060281698</c:v>
                </c:pt>
                <c:pt idx="16818">
                  <c:v>0.29994649545211299</c:v>
                </c:pt>
                <c:pt idx="16819">
                  <c:v>0.29996433030140801</c:v>
                </c:pt>
                <c:pt idx="16820">
                  <c:v>0.29998216515070403</c:v>
                </c:pt>
                <c:pt idx="16821">
                  <c:v>0.3</c:v>
                </c:pt>
                <c:pt idx="16822">
                  <c:v>0.30001783484929501</c:v>
                </c:pt>
                <c:pt idx="16823">
                  <c:v>0.30003566969859102</c:v>
                </c:pt>
                <c:pt idx="16824">
                  <c:v>0.30005350454788599</c:v>
                </c:pt>
                <c:pt idx="16825">
                  <c:v>0.300071339397182</c:v>
                </c:pt>
                <c:pt idx="16826">
                  <c:v>0.30008917424647702</c:v>
                </c:pt>
                <c:pt idx="16827">
                  <c:v>0.30010700909577298</c:v>
                </c:pt>
                <c:pt idx="16828">
                  <c:v>0.300124843945068</c:v>
                </c:pt>
                <c:pt idx="16829">
                  <c:v>0.30014267879436402</c:v>
                </c:pt>
                <c:pt idx="16830">
                  <c:v>0.30016051364365898</c:v>
                </c:pt>
                <c:pt idx="16831">
                  <c:v>0.30017834849295499</c:v>
                </c:pt>
                <c:pt idx="16832">
                  <c:v>0.30019618334225001</c:v>
                </c:pt>
                <c:pt idx="16833">
                  <c:v>0.30021401819154597</c:v>
                </c:pt>
                <c:pt idx="16834">
                  <c:v>0.30023185304084099</c:v>
                </c:pt>
                <c:pt idx="16835">
                  <c:v>0.30024968789013701</c:v>
                </c:pt>
                <c:pt idx="16836">
                  <c:v>0.30026752273943202</c:v>
                </c:pt>
                <c:pt idx="16837">
                  <c:v>0.30028535758872799</c:v>
                </c:pt>
                <c:pt idx="16838">
                  <c:v>0.300303192438023</c:v>
                </c:pt>
                <c:pt idx="16839">
                  <c:v>0.30032102728731902</c:v>
                </c:pt>
                <c:pt idx="16840">
                  <c:v>0.30033886213661398</c:v>
                </c:pt>
                <c:pt idx="16841">
                  <c:v>0.30035669698591</c:v>
                </c:pt>
                <c:pt idx="16842">
                  <c:v>0.30037453183520602</c:v>
                </c:pt>
                <c:pt idx="16843">
                  <c:v>0.30039236668450098</c:v>
                </c:pt>
                <c:pt idx="16844">
                  <c:v>0.30041020153379699</c:v>
                </c:pt>
                <c:pt idx="16845">
                  <c:v>0.30042803638309201</c:v>
                </c:pt>
                <c:pt idx="16846">
                  <c:v>0.30044587123238797</c:v>
                </c:pt>
                <c:pt idx="16847">
                  <c:v>0.30046370608168299</c:v>
                </c:pt>
                <c:pt idx="16848">
                  <c:v>0.30048154093097901</c:v>
                </c:pt>
                <c:pt idx="16849">
                  <c:v>0.30049937578027403</c:v>
                </c:pt>
                <c:pt idx="16850">
                  <c:v>0.30051721062956999</c:v>
                </c:pt>
                <c:pt idx="16851">
                  <c:v>0.300535045478865</c:v>
                </c:pt>
                <c:pt idx="16852">
                  <c:v>0.30055288032816102</c:v>
                </c:pt>
                <c:pt idx="16853">
                  <c:v>0.30057071517745598</c:v>
                </c:pt>
                <c:pt idx="16854">
                  <c:v>0.300588550026752</c:v>
                </c:pt>
                <c:pt idx="16855">
                  <c:v>0.30060638487604702</c:v>
                </c:pt>
                <c:pt idx="16856">
                  <c:v>0.30062421972534298</c:v>
                </c:pt>
                <c:pt idx="16857">
                  <c:v>0.300642054574638</c:v>
                </c:pt>
                <c:pt idx="16858">
                  <c:v>0.30065988942393401</c:v>
                </c:pt>
                <c:pt idx="16859">
                  <c:v>0.30067772427322897</c:v>
                </c:pt>
                <c:pt idx="16860">
                  <c:v>0.30069555912252499</c:v>
                </c:pt>
                <c:pt idx="16861">
                  <c:v>0.30071339397182001</c:v>
                </c:pt>
                <c:pt idx="16862">
                  <c:v>0.30073122882111603</c:v>
                </c:pt>
                <c:pt idx="16863">
                  <c:v>0.30074906367041199</c:v>
                </c:pt>
                <c:pt idx="16864">
                  <c:v>0.300766898519707</c:v>
                </c:pt>
                <c:pt idx="16865">
                  <c:v>0.30078473336900302</c:v>
                </c:pt>
                <c:pt idx="16866">
                  <c:v>0.30080256821829798</c:v>
                </c:pt>
                <c:pt idx="16867">
                  <c:v>0.300820403067594</c:v>
                </c:pt>
                <c:pt idx="16868">
                  <c:v>0.30083823791688902</c:v>
                </c:pt>
                <c:pt idx="16869">
                  <c:v>0.30085607276618498</c:v>
                </c:pt>
                <c:pt idx="16870">
                  <c:v>0.30087390761548</c:v>
                </c:pt>
                <c:pt idx="16871">
                  <c:v>0.30089174246477601</c:v>
                </c:pt>
                <c:pt idx="16872">
                  <c:v>0.30090957731407098</c:v>
                </c:pt>
                <c:pt idx="16873">
                  <c:v>0.30092741216336699</c:v>
                </c:pt>
                <c:pt idx="16874">
                  <c:v>0.30094524701266201</c:v>
                </c:pt>
                <c:pt idx="16875">
                  <c:v>0.30096308186195803</c:v>
                </c:pt>
                <c:pt idx="16876">
                  <c:v>0.30098091671125299</c:v>
                </c:pt>
                <c:pt idx="16877">
                  <c:v>0.300998751560549</c:v>
                </c:pt>
                <c:pt idx="16878">
                  <c:v>0.30101658640984402</c:v>
                </c:pt>
                <c:pt idx="16879">
                  <c:v>0.30103442125913998</c:v>
                </c:pt>
                <c:pt idx="16880">
                  <c:v>0.301052256108435</c:v>
                </c:pt>
                <c:pt idx="16881">
                  <c:v>0.30107009095773102</c:v>
                </c:pt>
                <c:pt idx="16882">
                  <c:v>0.30108792580702598</c:v>
                </c:pt>
                <c:pt idx="16883">
                  <c:v>0.301105760656322</c:v>
                </c:pt>
                <c:pt idx="16884">
                  <c:v>0.30112359550561701</c:v>
                </c:pt>
                <c:pt idx="16885">
                  <c:v>0.30114143035491298</c:v>
                </c:pt>
                <c:pt idx="16886">
                  <c:v>0.30115926520420899</c:v>
                </c:pt>
                <c:pt idx="16887">
                  <c:v>0.30117710005350401</c:v>
                </c:pt>
                <c:pt idx="16888">
                  <c:v>0.30119493490280003</c:v>
                </c:pt>
                <c:pt idx="16889">
                  <c:v>0.30121276975209499</c:v>
                </c:pt>
                <c:pt idx="16890">
                  <c:v>0.30123060460139101</c:v>
                </c:pt>
                <c:pt idx="16891">
                  <c:v>0.30124843945068602</c:v>
                </c:pt>
                <c:pt idx="16892">
                  <c:v>0.30126627429998198</c:v>
                </c:pt>
                <c:pt idx="16893">
                  <c:v>0.301284109149277</c:v>
                </c:pt>
                <c:pt idx="16894">
                  <c:v>0.30130194399857302</c:v>
                </c:pt>
                <c:pt idx="16895">
                  <c:v>0.30131977884786798</c:v>
                </c:pt>
                <c:pt idx="16896">
                  <c:v>0.301337613697164</c:v>
                </c:pt>
                <c:pt idx="16897">
                  <c:v>0.30135544854645901</c:v>
                </c:pt>
                <c:pt idx="16898">
                  <c:v>0.30137328339575498</c:v>
                </c:pt>
                <c:pt idx="16899">
                  <c:v>0.30139111824504999</c:v>
                </c:pt>
                <c:pt idx="16900">
                  <c:v>0.30140895309434601</c:v>
                </c:pt>
                <c:pt idx="16901">
                  <c:v>0.30142678794364097</c:v>
                </c:pt>
                <c:pt idx="16902">
                  <c:v>0.30144462279293699</c:v>
                </c:pt>
                <c:pt idx="16903">
                  <c:v>0.30146245764223201</c:v>
                </c:pt>
                <c:pt idx="16904">
                  <c:v>0.30148029249152802</c:v>
                </c:pt>
                <c:pt idx="16905">
                  <c:v>0.30149812734082398</c:v>
                </c:pt>
                <c:pt idx="16906">
                  <c:v>0.301515962190119</c:v>
                </c:pt>
                <c:pt idx="16907">
                  <c:v>0.30153379703941502</c:v>
                </c:pt>
                <c:pt idx="16908">
                  <c:v>0.30155163188870998</c:v>
                </c:pt>
                <c:pt idx="16909">
                  <c:v>0.301569466738006</c:v>
                </c:pt>
                <c:pt idx="16910">
                  <c:v>0.30158730158730102</c:v>
                </c:pt>
                <c:pt idx="16911">
                  <c:v>0.30160513643659698</c:v>
                </c:pt>
                <c:pt idx="16912">
                  <c:v>0.30162297128589199</c:v>
                </c:pt>
                <c:pt idx="16913">
                  <c:v>0.30164080613518801</c:v>
                </c:pt>
                <c:pt idx="16914">
                  <c:v>0.30165864098448297</c:v>
                </c:pt>
                <c:pt idx="16915">
                  <c:v>0.30167647583377899</c:v>
                </c:pt>
                <c:pt idx="16916">
                  <c:v>0.30169431068307401</c:v>
                </c:pt>
                <c:pt idx="16917">
                  <c:v>0.30171214553237002</c:v>
                </c:pt>
                <c:pt idx="16918">
                  <c:v>0.30172998038166499</c:v>
                </c:pt>
                <c:pt idx="16919">
                  <c:v>0.301747815230961</c:v>
                </c:pt>
                <c:pt idx="16920">
                  <c:v>0.30176565008025602</c:v>
                </c:pt>
                <c:pt idx="16921">
                  <c:v>0.30178348492955198</c:v>
                </c:pt>
                <c:pt idx="16922">
                  <c:v>0.301801319778847</c:v>
                </c:pt>
                <c:pt idx="16923">
                  <c:v>0.30181915462814302</c:v>
                </c:pt>
                <c:pt idx="16924">
                  <c:v>0.30183698947743798</c:v>
                </c:pt>
                <c:pt idx="16925">
                  <c:v>0.30185482432673399</c:v>
                </c:pt>
                <c:pt idx="16926">
                  <c:v>0.30187265917602901</c:v>
                </c:pt>
                <c:pt idx="16927">
                  <c:v>0.30189049402532497</c:v>
                </c:pt>
                <c:pt idx="16928">
                  <c:v>0.30190832887462099</c:v>
                </c:pt>
                <c:pt idx="16929">
                  <c:v>0.30192616372391601</c:v>
                </c:pt>
                <c:pt idx="16930">
                  <c:v>0.30194399857321202</c:v>
                </c:pt>
                <c:pt idx="16931">
                  <c:v>0.30196183342250699</c:v>
                </c:pt>
                <c:pt idx="16932">
                  <c:v>0.301979668271803</c:v>
                </c:pt>
                <c:pt idx="16933">
                  <c:v>0.30199750312109802</c:v>
                </c:pt>
                <c:pt idx="16934">
                  <c:v>0.30201533797039398</c:v>
                </c:pt>
                <c:pt idx="16935">
                  <c:v>0.302033172819689</c:v>
                </c:pt>
                <c:pt idx="16936">
                  <c:v>0.30205100766898502</c:v>
                </c:pt>
                <c:pt idx="16937">
                  <c:v>0.30206884251827998</c:v>
                </c:pt>
                <c:pt idx="16938">
                  <c:v>0.302086677367576</c:v>
                </c:pt>
                <c:pt idx="16939">
                  <c:v>0.30210451221687101</c:v>
                </c:pt>
                <c:pt idx="16940">
                  <c:v>0.30212234706616697</c:v>
                </c:pt>
                <c:pt idx="16941">
                  <c:v>0.30214018191546199</c:v>
                </c:pt>
                <c:pt idx="16942">
                  <c:v>0.30215801676475801</c:v>
                </c:pt>
                <c:pt idx="16943">
                  <c:v>0.30217585161405303</c:v>
                </c:pt>
                <c:pt idx="16944">
                  <c:v>0.30219368646334899</c:v>
                </c:pt>
                <c:pt idx="16945">
                  <c:v>0.302211521312644</c:v>
                </c:pt>
                <c:pt idx="16946">
                  <c:v>0.30222935616194002</c:v>
                </c:pt>
                <c:pt idx="16947">
                  <c:v>0.30224719101123598</c:v>
                </c:pt>
                <c:pt idx="16948">
                  <c:v>0.302265025860531</c:v>
                </c:pt>
                <c:pt idx="16949">
                  <c:v>0.30228286070982702</c:v>
                </c:pt>
                <c:pt idx="16950">
                  <c:v>0.30230069555912198</c:v>
                </c:pt>
                <c:pt idx="16951">
                  <c:v>0.302318530408418</c:v>
                </c:pt>
                <c:pt idx="16952">
                  <c:v>0.30233636525771301</c:v>
                </c:pt>
                <c:pt idx="16953">
                  <c:v>0.30235420010700897</c:v>
                </c:pt>
                <c:pt idx="16954">
                  <c:v>0.30237203495630399</c:v>
                </c:pt>
                <c:pt idx="16955">
                  <c:v>0.30238986980560001</c:v>
                </c:pt>
                <c:pt idx="16956">
                  <c:v>0.30240770465489503</c:v>
                </c:pt>
                <c:pt idx="16957">
                  <c:v>0.30242553950419099</c:v>
                </c:pt>
                <c:pt idx="16958">
                  <c:v>0.30244337435348601</c:v>
                </c:pt>
                <c:pt idx="16959">
                  <c:v>0.30246120920278202</c:v>
                </c:pt>
                <c:pt idx="16960">
                  <c:v>0.30247904405207698</c:v>
                </c:pt>
                <c:pt idx="16961">
                  <c:v>0.302496878901373</c:v>
                </c:pt>
                <c:pt idx="16962">
                  <c:v>0.30251471375066802</c:v>
                </c:pt>
                <c:pt idx="16963">
                  <c:v>0.30253254859996398</c:v>
                </c:pt>
                <c:pt idx="16964">
                  <c:v>0.302550383449259</c:v>
                </c:pt>
                <c:pt idx="16965">
                  <c:v>0.30256821829855501</c:v>
                </c:pt>
                <c:pt idx="16966">
                  <c:v>0.30258605314784998</c:v>
                </c:pt>
                <c:pt idx="16967">
                  <c:v>0.30260388799714599</c:v>
                </c:pt>
                <c:pt idx="16968">
                  <c:v>0.30262172284644101</c:v>
                </c:pt>
                <c:pt idx="16969">
                  <c:v>0.30263955769573703</c:v>
                </c:pt>
                <c:pt idx="16970">
                  <c:v>0.30265739254503299</c:v>
                </c:pt>
                <c:pt idx="16971">
                  <c:v>0.30267522739432801</c:v>
                </c:pt>
                <c:pt idx="16972">
                  <c:v>0.30269306224362402</c:v>
                </c:pt>
                <c:pt idx="16973">
                  <c:v>0.30271089709291898</c:v>
                </c:pt>
                <c:pt idx="16974">
                  <c:v>0.302728731942215</c:v>
                </c:pt>
                <c:pt idx="16975">
                  <c:v>0.30274656679151002</c:v>
                </c:pt>
                <c:pt idx="16976">
                  <c:v>0.30276440164080598</c:v>
                </c:pt>
                <c:pt idx="16977">
                  <c:v>0.302782236490101</c:v>
                </c:pt>
                <c:pt idx="16978">
                  <c:v>0.30280007133939701</c:v>
                </c:pt>
                <c:pt idx="16979">
                  <c:v>0.30281790618869198</c:v>
                </c:pt>
                <c:pt idx="16980">
                  <c:v>0.30283574103798799</c:v>
                </c:pt>
                <c:pt idx="16981">
                  <c:v>0.30285357588728301</c:v>
                </c:pt>
                <c:pt idx="16982">
                  <c:v>0.30287141073657903</c:v>
                </c:pt>
                <c:pt idx="16983">
                  <c:v>0.30288924558587399</c:v>
                </c:pt>
                <c:pt idx="16984">
                  <c:v>0.30290708043517001</c:v>
                </c:pt>
                <c:pt idx="16985">
                  <c:v>0.30292491528446502</c:v>
                </c:pt>
                <c:pt idx="16986">
                  <c:v>0.30294275013376099</c:v>
                </c:pt>
                <c:pt idx="16987">
                  <c:v>0.302960584983056</c:v>
                </c:pt>
                <c:pt idx="16988">
                  <c:v>0.30297841983235202</c:v>
                </c:pt>
                <c:pt idx="16989">
                  <c:v>0.30299625468164698</c:v>
                </c:pt>
                <c:pt idx="16990">
                  <c:v>0.303014089530943</c:v>
                </c:pt>
                <c:pt idx="16991">
                  <c:v>0.30303192438023802</c:v>
                </c:pt>
                <c:pt idx="16992">
                  <c:v>0.30304975922953398</c:v>
                </c:pt>
                <c:pt idx="16993">
                  <c:v>0.30306759407882999</c:v>
                </c:pt>
                <c:pt idx="16994">
                  <c:v>0.30308542892812501</c:v>
                </c:pt>
                <c:pt idx="16995">
                  <c:v>0.30310326377742097</c:v>
                </c:pt>
                <c:pt idx="16996">
                  <c:v>0.30312109862671599</c:v>
                </c:pt>
                <c:pt idx="16997">
                  <c:v>0.30313893347601201</c:v>
                </c:pt>
                <c:pt idx="16998">
                  <c:v>0.30315676832530702</c:v>
                </c:pt>
                <c:pt idx="16999">
                  <c:v>0.30317460317460299</c:v>
                </c:pt>
                <c:pt idx="17000">
                  <c:v>0.303192438023898</c:v>
                </c:pt>
                <c:pt idx="17001">
                  <c:v>0.30321027287319402</c:v>
                </c:pt>
                <c:pt idx="17002">
                  <c:v>0.30322810772248898</c:v>
                </c:pt>
                <c:pt idx="17003">
                  <c:v>0.303245942571785</c:v>
                </c:pt>
                <c:pt idx="17004">
                  <c:v>0.30326377742108002</c:v>
                </c:pt>
                <c:pt idx="17005">
                  <c:v>0.30328161227037598</c:v>
                </c:pt>
                <c:pt idx="17006">
                  <c:v>0.303299447119671</c:v>
                </c:pt>
                <c:pt idx="17007">
                  <c:v>0.30331728196896701</c:v>
                </c:pt>
                <c:pt idx="17008">
                  <c:v>0.30333511681826197</c:v>
                </c:pt>
                <c:pt idx="17009">
                  <c:v>0.30335295166755799</c:v>
                </c:pt>
                <c:pt idx="17010">
                  <c:v>0.30337078651685301</c:v>
                </c:pt>
                <c:pt idx="17011">
                  <c:v>0.30338862136614902</c:v>
                </c:pt>
                <c:pt idx="17012">
                  <c:v>0.30340645621544499</c:v>
                </c:pt>
                <c:pt idx="17013">
                  <c:v>0.30342429106474</c:v>
                </c:pt>
                <c:pt idx="17014">
                  <c:v>0.30344212591403602</c:v>
                </c:pt>
                <c:pt idx="17015">
                  <c:v>0.30345996076333098</c:v>
                </c:pt>
                <c:pt idx="17016">
                  <c:v>0.303477795612627</c:v>
                </c:pt>
                <c:pt idx="17017">
                  <c:v>0.30349563046192202</c:v>
                </c:pt>
                <c:pt idx="17018">
                  <c:v>0.30351346531121798</c:v>
                </c:pt>
                <c:pt idx="17019">
                  <c:v>0.303531300160513</c:v>
                </c:pt>
                <c:pt idx="17020">
                  <c:v>0.30354913500980901</c:v>
                </c:pt>
                <c:pt idx="17021">
                  <c:v>0.30356696985910397</c:v>
                </c:pt>
                <c:pt idx="17022">
                  <c:v>0.30358480470839999</c:v>
                </c:pt>
                <c:pt idx="17023">
                  <c:v>0.30360263955769501</c:v>
                </c:pt>
                <c:pt idx="17024">
                  <c:v>0.30362047440699103</c:v>
                </c:pt>
                <c:pt idx="17025">
                  <c:v>0.30363830925628599</c:v>
                </c:pt>
                <c:pt idx="17026">
                  <c:v>0.303656144105582</c:v>
                </c:pt>
                <c:pt idx="17027">
                  <c:v>0.30367397895487702</c:v>
                </c:pt>
                <c:pt idx="17028">
                  <c:v>0.30369181380417298</c:v>
                </c:pt>
                <c:pt idx="17029">
                  <c:v>0.303709648653468</c:v>
                </c:pt>
                <c:pt idx="17030">
                  <c:v>0.30372748350276402</c:v>
                </c:pt>
                <c:pt idx="17031">
                  <c:v>0.30374531835205898</c:v>
                </c:pt>
                <c:pt idx="17032">
                  <c:v>0.303763153201355</c:v>
                </c:pt>
                <c:pt idx="17033">
                  <c:v>0.30378098805065001</c:v>
                </c:pt>
                <c:pt idx="17034">
                  <c:v>0.30379882289994597</c:v>
                </c:pt>
                <c:pt idx="17035">
                  <c:v>0.30381665774924199</c:v>
                </c:pt>
                <c:pt idx="17036">
                  <c:v>0.30383449259853701</c:v>
                </c:pt>
                <c:pt idx="17037">
                  <c:v>0.30385232744783303</c:v>
                </c:pt>
                <c:pt idx="17038">
                  <c:v>0.30387016229712799</c:v>
                </c:pt>
                <c:pt idx="17039">
                  <c:v>0.303887997146424</c:v>
                </c:pt>
                <c:pt idx="17040">
                  <c:v>0.30390583199571902</c:v>
                </c:pt>
                <c:pt idx="17041">
                  <c:v>0.30392366684501498</c:v>
                </c:pt>
                <c:pt idx="17042">
                  <c:v>0.30394150169431</c:v>
                </c:pt>
                <c:pt idx="17043">
                  <c:v>0.30395933654360602</c:v>
                </c:pt>
                <c:pt idx="17044">
                  <c:v>0.30397717139290098</c:v>
                </c:pt>
                <c:pt idx="17045">
                  <c:v>0.303995006242197</c:v>
                </c:pt>
                <c:pt idx="17046">
                  <c:v>0.30401284109149201</c:v>
                </c:pt>
                <c:pt idx="17047">
                  <c:v>0.30403067594078798</c:v>
                </c:pt>
                <c:pt idx="17048">
                  <c:v>0.30404851079008299</c:v>
                </c:pt>
                <c:pt idx="17049">
                  <c:v>0.30406634563937901</c:v>
                </c:pt>
                <c:pt idx="17050">
                  <c:v>0.30408418048867403</c:v>
                </c:pt>
                <c:pt idx="17051">
                  <c:v>0.30410201533796999</c:v>
                </c:pt>
                <c:pt idx="17052">
                  <c:v>0.30411985018726501</c:v>
                </c:pt>
                <c:pt idx="17053">
                  <c:v>0.30413768503656102</c:v>
                </c:pt>
                <c:pt idx="17054">
                  <c:v>0.30415551988585698</c:v>
                </c:pt>
                <c:pt idx="17055">
                  <c:v>0.304173354735152</c:v>
                </c:pt>
                <c:pt idx="17056">
                  <c:v>0.30419118958444802</c:v>
                </c:pt>
                <c:pt idx="17057">
                  <c:v>0.30420902443374298</c:v>
                </c:pt>
                <c:pt idx="17058">
                  <c:v>0.304226859283039</c:v>
                </c:pt>
                <c:pt idx="17059">
                  <c:v>0.30424469413233401</c:v>
                </c:pt>
                <c:pt idx="17060">
                  <c:v>0.30426252898162998</c:v>
                </c:pt>
                <c:pt idx="17061">
                  <c:v>0.30428036383092499</c:v>
                </c:pt>
                <c:pt idx="17062">
                  <c:v>0.30429819868022101</c:v>
                </c:pt>
                <c:pt idx="17063">
                  <c:v>0.30431603352951597</c:v>
                </c:pt>
                <c:pt idx="17064">
                  <c:v>0.30433386837881199</c:v>
                </c:pt>
                <c:pt idx="17065">
                  <c:v>0.30435170322810701</c:v>
                </c:pt>
                <c:pt idx="17066">
                  <c:v>0.30436953807740302</c:v>
                </c:pt>
                <c:pt idx="17067">
                  <c:v>0.30438737292669799</c:v>
                </c:pt>
                <c:pt idx="17068">
                  <c:v>0.304405207775994</c:v>
                </c:pt>
                <c:pt idx="17069">
                  <c:v>0.30442304262528902</c:v>
                </c:pt>
                <c:pt idx="17070">
                  <c:v>0.30444087747458498</c:v>
                </c:pt>
                <c:pt idx="17071">
                  <c:v>0.30445871232388</c:v>
                </c:pt>
                <c:pt idx="17072">
                  <c:v>0.30447654717317602</c:v>
                </c:pt>
                <c:pt idx="17073">
                  <c:v>0.30449438202247098</c:v>
                </c:pt>
                <c:pt idx="17074">
                  <c:v>0.30451221687176699</c:v>
                </c:pt>
                <c:pt idx="17075">
                  <c:v>0.30453005172106201</c:v>
                </c:pt>
                <c:pt idx="17076">
                  <c:v>0.30454788657035797</c:v>
                </c:pt>
                <c:pt idx="17077">
                  <c:v>0.30456572141965399</c:v>
                </c:pt>
                <c:pt idx="17078">
                  <c:v>0.30458355626894901</c:v>
                </c:pt>
                <c:pt idx="17079">
                  <c:v>0.30460139111824502</c:v>
                </c:pt>
                <c:pt idx="17080">
                  <c:v>0.30461922596753999</c:v>
                </c:pt>
                <c:pt idx="17081">
                  <c:v>0.304637060816836</c:v>
                </c:pt>
                <c:pt idx="17082">
                  <c:v>0.30465489566613102</c:v>
                </c:pt>
                <c:pt idx="17083">
                  <c:v>0.30467273051542698</c:v>
                </c:pt>
                <c:pt idx="17084">
                  <c:v>0.304690565364722</c:v>
                </c:pt>
                <c:pt idx="17085">
                  <c:v>0.30470840021401802</c:v>
                </c:pt>
                <c:pt idx="17086">
                  <c:v>0.30472623506331298</c:v>
                </c:pt>
                <c:pt idx="17087">
                  <c:v>0.30474406991260899</c:v>
                </c:pt>
                <c:pt idx="17088">
                  <c:v>0.30476190476190401</c:v>
                </c:pt>
                <c:pt idx="17089">
                  <c:v>0.30477973961119997</c:v>
                </c:pt>
                <c:pt idx="17090">
                  <c:v>0.30479757446049499</c:v>
                </c:pt>
                <c:pt idx="17091">
                  <c:v>0.30481540930979101</c:v>
                </c:pt>
                <c:pt idx="17092">
                  <c:v>0.30483324415908603</c:v>
                </c:pt>
                <c:pt idx="17093">
                  <c:v>0.30485107900838199</c:v>
                </c:pt>
                <c:pt idx="17094">
                  <c:v>0.304868913857677</c:v>
                </c:pt>
                <c:pt idx="17095">
                  <c:v>0.30488674870697302</c:v>
                </c:pt>
                <c:pt idx="17096">
                  <c:v>0.30490458355626798</c:v>
                </c:pt>
                <c:pt idx="17097">
                  <c:v>0.304922418405564</c:v>
                </c:pt>
                <c:pt idx="17098">
                  <c:v>0.30494025325486002</c:v>
                </c:pt>
                <c:pt idx="17099">
                  <c:v>0.30495808810415498</c:v>
                </c:pt>
                <c:pt idx="17100">
                  <c:v>0.304975922953451</c:v>
                </c:pt>
                <c:pt idx="17101">
                  <c:v>0.30499375780274601</c:v>
                </c:pt>
                <c:pt idx="17102">
                  <c:v>0.30501159265204197</c:v>
                </c:pt>
                <c:pt idx="17103">
                  <c:v>0.30502942750133699</c:v>
                </c:pt>
                <c:pt idx="17104">
                  <c:v>0.30504726235063301</c:v>
                </c:pt>
                <c:pt idx="17105">
                  <c:v>0.30506509719992803</c:v>
                </c:pt>
                <c:pt idx="17106">
                  <c:v>0.30508293204922399</c:v>
                </c:pt>
                <c:pt idx="17107">
                  <c:v>0.305100766898519</c:v>
                </c:pt>
                <c:pt idx="17108">
                  <c:v>0.30511860174781502</c:v>
                </c:pt>
                <c:pt idx="17109">
                  <c:v>0.30513643659710998</c:v>
                </c:pt>
                <c:pt idx="17110">
                  <c:v>0.305154271446406</c:v>
                </c:pt>
                <c:pt idx="17111">
                  <c:v>0.30517210629570102</c:v>
                </c:pt>
                <c:pt idx="17112">
                  <c:v>0.30518994114499698</c:v>
                </c:pt>
                <c:pt idx="17113">
                  <c:v>0.305207775994292</c:v>
                </c:pt>
                <c:pt idx="17114">
                  <c:v>0.30522561084358801</c:v>
                </c:pt>
                <c:pt idx="17115">
                  <c:v>0.30524344569288298</c:v>
                </c:pt>
                <c:pt idx="17116">
                  <c:v>0.30526128054217899</c:v>
                </c:pt>
                <c:pt idx="17117">
                  <c:v>0.30527911539147401</c:v>
                </c:pt>
                <c:pt idx="17118">
                  <c:v>0.30529695024077003</c:v>
                </c:pt>
                <c:pt idx="17119">
                  <c:v>0.30531478509006599</c:v>
                </c:pt>
                <c:pt idx="17120">
                  <c:v>0.30533261993936101</c:v>
                </c:pt>
                <c:pt idx="17121">
                  <c:v>0.30535045478865702</c:v>
                </c:pt>
                <c:pt idx="17122">
                  <c:v>0.30536828963795198</c:v>
                </c:pt>
                <c:pt idx="17123">
                  <c:v>0.305386124487248</c:v>
                </c:pt>
                <c:pt idx="17124">
                  <c:v>0.30540395933654302</c:v>
                </c:pt>
                <c:pt idx="17125">
                  <c:v>0.30542179418583898</c:v>
                </c:pt>
                <c:pt idx="17126">
                  <c:v>0.305439629035134</c:v>
                </c:pt>
                <c:pt idx="17127">
                  <c:v>0.30545746388443001</c:v>
                </c:pt>
                <c:pt idx="17128">
                  <c:v>0.30547529873372498</c:v>
                </c:pt>
                <c:pt idx="17129">
                  <c:v>0.30549313358302099</c:v>
                </c:pt>
                <c:pt idx="17130">
                  <c:v>0.30551096843231601</c:v>
                </c:pt>
                <c:pt idx="17131">
                  <c:v>0.30552880328161203</c:v>
                </c:pt>
                <c:pt idx="17132">
                  <c:v>0.30554663813090699</c:v>
                </c:pt>
                <c:pt idx="17133">
                  <c:v>0.30556447298020301</c:v>
                </c:pt>
                <c:pt idx="17134">
                  <c:v>0.30558230782949802</c:v>
                </c:pt>
                <c:pt idx="17135">
                  <c:v>0.30560014267879398</c:v>
                </c:pt>
                <c:pt idx="17136">
                  <c:v>0.305617977528089</c:v>
                </c:pt>
                <c:pt idx="17137">
                  <c:v>0.30563581237738502</c:v>
                </c:pt>
                <c:pt idx="17138">
                  <c:v>0.30565364722667998</c:v>
                </c:pt>
                <c:pt idx="17139">
                  <c:v>0.305671482075976</c:v>
                </c:pt>
                <c:pt idx="17140">
                  <c:v>0.30568931692527102</c:v>
                </c:pt>
                <c:pt idx="17141">
                  <c:v>0.30570715177456698</c:v>
                </c:pt>
                <c:pt idx="17142">
                  <c:v>0.30572498662386299</c:v>
                </c:pt>
                <c:pt idx="17143">
                  <c:v>0.30574282147315801</c:v>
                </c:pt>
                <c:pt idx="17144">
                  <c:v>0.30576065632245403</c:v>
                </c:pt>
                <c:pt idx="17145">
                  <c:v>0.30577849117174899</c:v>
                </c:pt>
                <c:pt idx="17146">
                  <c:v>0.30579632602104501</c:v>
                </c:pt>
                <c:pt idx="17147">
                  <c:v>0.30581416087034002</c:v>
                </c:pt>
                <c:pt idx="17148">
                  <c:v>0.30583199571963599</c:v>
                </c:pt>
                <c:pt idx="17149">
                  <c:v>0.305849830568931</c:v>
                </c:pt>
                <c:pt idx="17150">
                  <c:v>0.30586766541822702</c:v>
                </c:pt>
                <c:pt idx="17151">
                  <c:v>0.30588550026752198</c:v>
                </c:pt>
                <c:pt idx="17152">
                  <c:v>0.305903335116818</c:v>
                </c:pt>
                <c:pt idx="17153">
                  <c:v>0.30592116996611302</c:v>
                </c:pt>
                <c:pt idx="17154">
                  <c:v>0.30593900481540898</c:v>
                </c:pt>
                <c:pt idx="17155">
                  <c:v>0.30595683966470399</c:v>
                </c:pt>
                <c:pt idx="17156">
                  <c:v>0.30597467451400001</c:v>
                </c:pt>
                <c:pt idx="17157">
                  <c:v>0.30599250936329497</c:v>
                </c:pt>
                <c:pt idx="17158">
                  <c:v>0.30601034421259099</c:v>
                </c:pt>
                <c:pt idx="17159">
                  <c:v>0.30602817906188601</c:v>
                </c:pt>
                <c:pt idx="17160">
                  <c:v>0.30604601391118202</c:v>
                </c:pt>
                <c:pt idx="17161">
                  <c:v>0.30606384876047799</c:v>
                </c:pt>
                <c:pt idx="17162">
                  <c:v>0.306081683609773</c:v>
                </c:pt>
                <c:pt idx="17163">
                  <c:v>0.30609951845906902</c:v>
                </c:pt>
                <c:pt idx="17164">
                  <c:v>0.30611735330836398</c:v>
                </c:pt>
                <c:pt idx="17165">
                  <c:v>0.30613518815766</c:v>
                </c:pt>
                <c:pt idx="17166">
                  <c:v>0.30615302300695502</c:v>
                </c:pt>
                <c:pt idx="17167">
                  <c:v>0.30617085785625098</c:v>
                </c:pt>
                <c:pt idx="17168">
                  <c:v>0.306188692705546</c:v>
                </c:pt>
                <c:pt idx="17169">
                  <c:v>0.30620652755484201</c:v>
                </c:pt>
                <c:pt idx="17170">
                  <c:v>0.30622436240413697</c:v>
                </c:pt>
                <c:pt idx="17171">
                  <c:v>0.30624219725343299</c:v>
                </c:pt>
                <c:pt idx="17172">
                  <c:v>0.30626003210272801</c:v>
                </c:pt>
                <c:pt idx="17173">
                  <c:v>0.30627786695202402</c:v>
                </c:pt>
                <c:pt idx="17174">
                  <c:v>0.30629570180131899</c:v>
                </c:pt>
                <c:pt idx="17175">
                  <c:v>0.306313536650615</c:v>
                </c:pt>
                <c:pt idx="17176">
                  <c:v>0.30633137149991002</c:v>
                </c:pt>
                <c:pt idx="17177">
                  <c:v>0.30634920634920598</c:v>
                </c:pt>
                <c:pt idx="17178">
                  <c:v>0.306367041198501</c:v>
                </c:pt>
                <c:pt idx="17179">
                  <c:v>0.30638487604779702</c:v>
                </c:pt>
                <c:pt idx="17180">
                  <c:v>0.30640271089709198</c:v>
                </c:pt>
                <c:pt idx="17181">
                  <c:v>0.306420545746388</c:v>
                </c:pt>
                <c:pt idx="17182">
                  <c:v>0.30643838059568301</c:v>
                </c:pt>
                <c:pt idx="17183">
                  <c:v>0.30645621544497897</c:v>
                </c:pt>
                <c:pt idx="17184">
                  <c:v>0.30647405029427499</c:v>
                </c:pt>
                <c:pt idx="17185">
                  <c:v>0.30649188514357001</c:v>
                </c:pt>
                <c:pt idx="17186">
                  <c:v>0.30650971999286603</c:v>
                </c:pt>
                <c:pt idx="17187">
                  <c:v>0.30652755484216099</c:v>
                </c:pt>
                <c:pt idx="17188">
                  <c:v>0.306545389691457</c:v>
                </c:pt>
                <c:pt idx="17189">
                  <c:v>0.30656322454075202</c:v>
                </c:pt>
                <c:pt idx="17190">
                  <c:v>0.30658105939004798</c:v>
                </c:pt>
                <c:pt idx="17191">
                  <c:v>0.306598894239343</c:v>
                </c:pt>
                <c:pt idx="17192">
                  <c:v>0.30661672908863902</c:v>
                </c:pt>
                <c:pt idx="17193">
                  <c:v>0.30663456393793398</c:v>
                </c:pt>
                <c:pt idx="17194">
                  <c:v>0.30665239878723</c:v>
                </c:pt>
                <c:pt idx="17195">
                  <c:v>0.30667023363652501</c:v>
                </c:pt>
                <c:pt idx="17196">
                  <c:v>0.30668806848582097</c:v>
                </c:pt>
                <c:pt idx="17197">
                  <c:v>0.30670590333511599</c:v>
                </c:pt>
                <c:pt idx="17198">
                  <c:v>0.30672373818441201</c:v>
                </c:pt>
                <c:pt idx="17199">
                  <c:v>0.30674157303370703</c:v>
                </c:pt>
                <c:pt idx="17200">
                  <c:v>0.30675940788300299</c:v>
                </c:pt>
                <c:pt idx="17201">
                  <c:v>0.30677724273229801</c:v>
                </c:pt>
                <c:pt idx="17202">
                  <c:v>0.30679507758159402</c:v>
                </c:pt>
                <c:pt idx="17203">
                  <c:v>0.30681291243088998</c:v>
                </c:pt>
                <c:pt idx="17204">
                  <c:v>0.306830747280185</c:v>
                </c:pt>
                <c:pt idx="17205">
                  <c:v>0.30684858212948102</c:v>
                </c:pt>
                <c:pt idx="17206">
                  <c:v>0.30686641697877598</c:v>
                </c:pt>
                <c:pt idx="17207">
                  <c:v>0.306884251828072</c:v>
                </c:pt>
                <c:pt idx="17208">
                  <c:v>0.30690208667736701</c:v>
                </c:pt>
                <c:pt idx="17209">
                  <c:v>0.30691992152666298</c:v>
                </c:pt>
                <c:pt idx="17210">
                  <c:v>0.30693775637595799</c:v>
                </c:pt>
                <c:pt idx="17211">
                  <c:v>0.30695559122525401</c:v>
                </c:pt>
                <c:pt idx="17212">
                  <c:v>0.30697342607454903</c:v>
                </c:pt>
                <c:pt idx="17213">
                  <c:v>0.30699126092384499</c:v>
                </c:pt>
                <c:pt idx="17214">
                  <c:v>0.30700909577314001</c:v>
                </c:pt>
                <c:pt idx="17215">
                  <c:v>0.30702693062243602</c:v>
                </c:pt>
                <c:pt idx="17216">
                  <c:v>0.30704476547173098</c:v>
                </c:pt>
                <c:pt idx="17217">
                  <c:v>0.307062600321027</c:v>
                </c:pt>
                <c:pt idx="17218">
                  <c:v>0.30708043517032202</c:v>
                </c:pt>
                <c:pt idx="17219">
                  <c:v>0.30709827001961798</c:v>
                </c:pt>
                <c:pt idx="17220">
                  <c:v>0.307116104868913</c:v>
                </c:pt>
                <c:pt idx="17221">
                  <c:v>0.30713393971820901</c:v>
                </c:pt>
                <c:pt idx="17222">
                  <c:v>0.30715177456750398</c:v>
                </c:pt>
                <c:pt idx="17223">
                  <c:v>0.30716960941679999</c:v>
                </c:pt>
                <c:pt idx="17224">
                  <c:v>0.30718744426609501</c:v>
                </c:pt>
                <c:pt idx="17225">
                  <c:v>0.30720527911539097</c:v>
                </c:pt>
                <c:pt idx="17226">
                  <c:v>0.30722311396468699</c:v>
                </c:pt>
                <c:pt idx="17227">
                  <c:v>0.30724094881398201</c:v>
                </c:pt>
                <c:pt idx="17228">
                  <c:v>0.30725878366327802</c:v>
                </c:pt>
                <c:pt idx="17229">
                  <c:v>0.30727661851257299</c:v>
                </c:pt>
                <c:pt idx="17230">
                  <c:v>0.307294453361869</c:v>
                </c:pt>
                <c:pt idx="17231">
                  <c:v>0.30731228821116402</c:v>
                </c:pt>
                <c:pt idx="17232">
                  <c:v>0.30733012306045998</c:v>
                </c:pt>
                <c:pt idx="17233">
                  <c:v>0.307347957909755</c:v>
                </c:pt>
                <c:pt idx="17234">
                  <c:v>0.30736579275905102</c:v>
                </c:pt>
                <c:pt idx="17235">
                  <c:v>0.30738362760834598</c:v>
                </c:pt>
                <c:pt idx="17236">
                  <c:v>0.30740146245764199</c:v>
                </c:pt>
                <c:pt idx="17237">
                  <c:v>0.30741929730693701</c:v>
                </c:pt>
                <c:pt idx="17238">
                  <c:v>0.30743713215623297</c:v>
                </c:pt>
                <c:pt idx="17239">
                  <c:v>0.30745496700552799</c:v>
                </c:pt>
                <c:pt idx="17240">
                  <c:v>0.30747280185482401</c:v>
                </c:pt>
                <c:pt idx="17241">
                  <c:v>0.30749063670411902</c:v>
                </c:pt>
                <c:pt idx="17242">
                  <c:v>0.30750847155341499</c:v>
                </c:pt>
                <c:pt idx="17243">
                  <c:v>0.30752630640271</c:v>
                </c:pt>
                <c:pt idx="17244">
                  <c:v>0.30754414125200602</c:v>
                </c:pt>
                <c:pt idx="17245">
                  <c:v>0.30756197610130098</c:v>
                </c:pt>
                <c:pt idx="17246">
                  <c:v>0.307579810950597</c:v>
                </c:pt>
                <c:pt idx="17247">
                  <c:v>0.30759764579989302</c:v>
                </c:pt>
                <c:pt idx="17248">
                  <c:v>0.30761548064918798</c:v>
                </c:pt>
                <c:pt idx="17249">
                  <c:v>0.30763331549848399</c:v>
                </c:pt>
                <c:pt idx="17250">
                  <c:v>0.30765115034777901</c:v>
                </c:pt>
                <c:pt idx="17251">
                  <c:v>0.30766898519707497</c:v>
                </c:pt>
                <c:pt idx="17252">
                  <c:v>0.30768682004636999</c:v>
                </c:pt>
                <c:pt idx="17253">
                  <c:v>0.30770465489566601</c:v>
                </c:pt>
                <c:pt idx="17254">
                  <c:v>0.30772248974496103</c:v>
                </c:pt>
                <c:pt idx="17255">
                  <c:v>0.30774032459425699</c:v>
                </c:pt>
                <c:pt idx="17256">
                  <c:v>0.307758159443552</c:v>
                </c:pt>
                <c:pt idx="17257">
                  <c:v>0.30777599429284802</c:v>
                </c:pt>
                <c:pt idx="17258">
                  <c:v>0.30779382914214298</c:v>
                </c:pt>
                <c:pt idx="17259">
                  <c:v>0.307811663991439</c:v>
                </c:pt>
                <c:pt idx="17260">
                  <c:v>0.30782949884073402</c:v>
                </c:pt>
                <c:pt idx="17261">
                  <c:v>0.30784733369002998</c:v>
                </c:pt>
                <c:pt idx="17262">
                  <c:v>0.307865168539325</c:v>
                </c:pt>
                <c:pt idx="17263">
                  <c:v>0.30788300338862101</c:v>
                </c:pt>
                <c:pt idx="17264">
                  <c:v>0.30790083823791597</c:v>
                </c:pt>
                <c:pt idx="17265">
                  <c:v>0.30791867308721199</c:v>
                </c:pt>
                <c:pt idx="17266">
                  <c:v>0.30793650793650701</c:v>
                </c:pt>
                <c:pt idx="17267">
                  <c:v>0.30795434278580303</c:v>
                </c:pt>
                <c:pt idx="17268">
                  <c:v>0.30797217763509899</c:v>
                </c:pt>
                <c:pt idx="17269">
                  <c:v>0.307990012484394</c:v>
                </c:pt>
                <c:pt idx="17270">
                  <c:v>0.30800784733369002</c:v>
                </c:pt>
                <c:pt idx="17271">
                  <c:v>0.30802568218298498</c:v>
                </c:pt>
                <c:pt idx="17272">
                  <c:v>0.308043517032281</c:v>
                </c:pt>
                <c:pt idx="17273">
                  <c:v>0.30806135188157602</c:v>
                </c:pt>
                <c:pt idx="17274">
                  <c:v>0.30807918673087198</c:v>
                </c:pt>
                <c:pt idx="17275">
                  <c:v>0.308097021580167</c:v>
                </c:pt>
                <c:pt idx="17276">
                  <c:v>0.30811485642946301</c:v>
                </c:pt>
                <c:pt idx="17277">
                  <c:v>0.30813269127875798</c:v>
                </c:pt>
                <c:pt idx="17278">
                  <c:v>0.30815052612805399</c:v>
                </c:pt>
                <c:pt idx="17279">
                  <c:v>0.30816836097734901</c:v>
                </c:pt>
                <c:pt idx="17280">
                  <c:v>0.30818619582664503</c:v>
                </c:pt>
                <c:pt idx="17281">
                  <c:v>0.30820403067593999</c:v>
                </c:pt>
                <c:pt idx="17282">
                  <c:v>0.30822186552523601</c:v>
                </c:pt>
                <c:pt idx="17283">
                  <c:v>0.30823970037453102</c:v>
                </c:pt>
                <c:pt idx="17284">
                  <c:v>0.30825753522382698</c:v>
                </c:pt>
                <c:pt idx="17285">
                  <c:v>0.308275370073122</c:v>
                </c:pt>
                <c:pt idx="17286">
                  <c:v>0.30829320492241802</c:v>
                </c:pt>
                <c:pt idx="17287">
                  <c:v>0.30831103977171298</c:v>
                </c:pt>
                <c:pt idx="17288">
                  <c:v>0.308328874621009</c:v>
                </c:pt>
                <c:pt idx="17289">
                  <c:v>0.30834670947030401</c:v>
                </c:pt>
                <c:pt idx="17290">
                  <c:v>0.30836454431959998</c:v>
                </c:pt>
                <c:pt idx="17291">
                  <c:v>0.30838237916889599</c:v>
                </c:pt>
                <c:pt idx="17292">
                  <c:v>0.30840021401819101</c:v>
                </c:pt>
                <c:pt idx="17293">
                  <c:v>0.30841804886748703</c:v>
                </c:pt>
                <c:pt idx="17294">
                  <c:v>0.30843588371678199</c:v>
                </c:pt>
                <c:pt idx="17295">
                  <c:v>0.30845371856607801</c:v>
                </c:pt>
                <c:pt idx="17296">
                  <c:v>0.30847155341537302</c:v>
                </c:pt>
                <c:pt idx="17297">
                  <c:v>0.30848938826466898</c:v>
                </c:pt>
                <c:pt idx="17298">
                  <c:v>0.308507223113964</c:v>
                </c:pt>
                <c:pt idx="17299">
                  <c:v>0.30852505796326002</c:v>
                </c:pt>
                <c:pt idx="17300">
                  <c:v>0.30854289281255498</c:v>
                </c:pt>
                <c:pt idx="17301">
                  <c:v>0.308560727661851</c:v>
                </c:pt>
                <c:pt idx="17302">
                  <c:v>0.30857856251114602</c:v>
                </c:pt>
                <c:pt idx="17303">
                  <c:v>0.30859639736044198</c:v>
                </c:pt>
                <c:pt idx="17304">
                  <c:v>0.30861423220973699</c:v>
                </c:pt>
                <c:pt idx="17305">
                  <c:v>0.30863206705903301</c:v>
                </c:pt>
                <c:pt idx="17306">
                  <c:v>0.30864990190832797</c:v>
                </c:pt>
                <c:pt idx="17307">
                  <c:v>0.30866773675762399</c:v>
                </c:pt>
                <c:pt idx="17308">
                  <c:v>0.30868557160691901</c:v>
                </c:pt>
                <c:pt idx="17309">
                  <c:v>0.30870340645621502</c:v>
                </c:pt>
                <c:pt idx="17310">
                  <c:v>0.30872124130551098</c:v>
                </c:pt>
                <c:pt idx="17311">
                  <c:v>0.308739076154806</c:v>
                </c:pt>
                <c:pt idx="17312">
                  <c:v>0.30875691100410202</c:v>
                </c:pt>
                <c:pt idx="17313">
                  <c:v>0.30877474585339698</c:v>
                </c:pt>
                <c:pt idx="17314">
                  <c:v>0.308792580702693</c:v>
                </c:pt>
                <c:pt idx="17315">
                  <c:v>0.30881041555198802</c:v>
                </c:pt>
                <c:pt idx="17316">
                  <c:v>0.30882825040128398</c:v>
                </c:pt>
                <c:pt idx="17317">
                  <c:v>0.30884608525057899</c:v>
                </c:pt>
                <c:pt idx="17318">
                  <c:v>0.30886392009987501</c:v>
                </c:pt>
                <c:pt idx="17319">
                  <c:v>0.30888175494916997</c:v>
                </c:pt>
                <c:pt idx="17320">
                  <c:v>0.30889958979846599</c:v>
                </c:pt>
                <c:pt idx="17321">
                  <c:v>0.30891742464776101</c:v>
                </c:pt>
                <c:pt idx="17322">
                  <c:v>0.30893525949705702</c:v>
                </c:pt>
                <c:pt idx="17323">
                  <c:v>0.30895309434635199</c:v>
                </c:pt>
                <c:pt idx="17324">
                  <c:v>0.308970929195648</c:v>
                </c:pt>
                <c:pt idx="17325">
                  <c:v>0.30898876404494302</c:v>
                </c:pt>
                <c:pt idx="17326">
                  <c:v>0.30900659889423898</c:v>
                </c:pt>
                <c:pt idx="17327">
                  <c:v>0.309024433743534</c:v>
                </c:pt>
                <c:pt idx="17328">
                  <c:v>0.30904226859283002</c:v>
                </c:pt>
                <c:pt idx="17329">
                  <c:v>0.30906010344212498</c:v>
                </c:pt>
                <c:pt idx="17330">
                  <c:v>0.30907793829142099</c:v>
                </c:pt>
                <c:pt idx="17331">
                  <c:v>0.30909577314071601</c:v>
                </c:pt>
                <c:pt idx="17332">
                  <c:v>0.30911360799001197</c:v>
                </c:pt>
                <c:pt idx="17333">
                  <c:v>0.30913144283930799</c:v>
                </c:pt>
                <c:pt idx="17334">
                  <c:v>0.30914927768860301</c:v>
                </c:pt>
                <c:pt idx="17335">
                  <c:v>0.30916711253789902</c:v>
                </c:pt>
                <c:pt idx="17336">
                  <c:v>0.30918494738719399</c:v>
                </c:pt>
                <c:pt idx="17337">
                  <c:v>0.30920278223649</c:v>
                </c:pt>
                <c:pt idx="17338">
                  <c:v>0.30922061708578502</c:v>
                </c:pt>
                <c:pt idx="17339">
                  <c:v>0.30923845193508098</c:v>
                </c:pt>
                <c:pt idx="17340">
                  <c:v>0.309256286784376</c:v>
                </c:pt>
                <c:pt idx="17341">
                  <c:v>0.30927412163367202</c:v>
                </c:pt>
                <c:pt idx="17342">
                  <c:v>0.30929195648296698</c:v>
                </c:pt>
                <c:pt idx="17343">
                  <c:v>0.309309791332263</c:v>
                </c:pt>
                <c:pt idx="17344">
                  <c:v>0.30932762618155801</c:v>
                </c:pt>
                <c:pt idx="17345">
                  <c:v>0.30934546103085397</c:v>
                </c:pt>
                <c:pt idx="17346">
                  <c:v>0.30936329588014899</c:v>
                </c:pt>
                <c:pt idx="17347">
                  <c:v>0.30938113072944501</c:v>
                </c:pt>
                <c:pt idx="17348">
                  <c:v>0.30939896557874003</c:v>
                </c:pt>
                <c:pt idx="17349">
                  <c:v>0.30941680042803599</c:v>
                </c:pt>
                <c:pt idx="17350">
                  <c:v>0.309434635277331</c:v>
                </c:pt>
                <c:pt idx="17351">
                  <c:v>0.30945247012662702</c:v>
                </c:pt>
                <c:pt idx="17352">
                  <c:v>0.30947030497592198</c:v>
                </c:pt>
                <c:pt idx="17353">
                  <c:v>0.309488139825218</c:v>
                </c:pt>
                <c:pt idx="17354">
                  <c:v>0.30950597467451402</c:v>
                </c:pt>
                <c:pt idx="17355">
                  <c:v>0.30952380952380898</c:v>
                </c:pt>
                <c:pt idx="17356">
                  <c:v>0.309541644373105</c:v>
                </c:pt>
                <c:pt idx="17357">
                  <c:v>0.30955947922240001</c:v>
                </c:pt>
                <c:pt idx="17358">
                  <c:v>0.30957731407169597</c:v>
                </c:pt>
                <c:pt idx="17359">
                  <c:v>0.30959514892099099</c:v>
                </c:pt>
                <c:pt idx="17360">
                  <c:v>0.30961298377028701</c:v>
                </c:pt>
                <c:pt idx="17361">
                  <c:v>0.30963081861958203</c:v>
                </c:pt>
                <c:pt idx="17362">
                  <c:v>0.30964865346887799</c:v>
                </c:pt>
                <c:pt idx="17363">
                  <c:v>0.30966648831817301</c:v>
                </c:pt>
                <c:pt idx="17364">
                  <c:v>0.30968432316746902</c:v>
                </c:pt>
                <c:pt idx="17365">
                  <c:v>0.30970215801676398</c:v>
                </c:pt>
                <c:pt idx="17366">
                  <c:v>0.30971999286606</c:v>
                </c:pt>
                <c:pt idx="17367">
                  <c:v>0.30973782771535502</c:v>
                </c:pt>
                <c:pt idx="17368">
                  <c:v>0.30975566256465098</c:v>
                </c:pt>
                <c:pt idx="17369">
                  <c:v>0.309773497413946</c:v>
                </c:pt>
                <c:pt idx="17370">
                  <c:v>0.30979133226324201</c:v>
                </c:pt>
                <c:pt idx="17371">
                  <c:v>0.30980916711253698</c:v>
                </c:pt>
                <c:pt idx="17372">
                  <c:v>0.30982700196183299</c:v>
                </c:pt>
                <c:pt idx="17373">
                  <c:v>0.30984483681112801</c:v>
                </c:pt>
                <c:pt idx="17374">
                  <c:v>0.30986267166042403</c:v>
                </c:pt>
                <c:pt idx="17375">
                  <c:v>0.30988050650971999</c:v>
                </c:pt>
                <c:pt idx="17376">
                  <c:v>0.30989834135901501</c:v>
                </c:pt>
                <c:pt idx="17377">
                  <c:v>0.30991617620831102</c:v>
                </c:pt>
                <c:pt idx="17378">
                  <c:v>0.30993401105760598</c:v>
                </c:pt>
                <c:pt idx="17379">
                  <c:v>0.309951845906902</c:v>
                </c:pt>
                <c:pt idx="17380">
                  <c:v>0.30996968075619702</c:v>
                </c:pt>
                <c:pt idx="17381">
                  <c:v>0.30998751560549298</c:v>
                </c:pt>
                <c:pt idx="17382">
                  <c:v>0.310005350454788</c:v>
                </c:pt>
                <c:pt idx="17383">
                  <c:v>0.31002318530408401</c:v>
                </c:pt>
                <c:pt idx="17384">
                  <c:v>0.31004102015337898</c:v>
                </c:pt>
                <c:pt idx="17385">
                  <c:v>0.31005885500267499</c:v>
                </c:pt>
                <c:pt idx="17386">
                  <c:v>0.31007668985197001</c:v>
                </c:pt>
                <c:pt idx="17387">
                  <c:v>0.31009452470126597</c:v>
                </c:pt>
                <c:pt idx="17388">
                  <c:v>0.31011235955056099</c:v>
                </c:pt>
                <c:pt idx="17389">
                  <c:v>0.31013019439985701</c:v>
                </c:pt>
                <c:pt idx="17390">
                  <c:v>0.31014802924915202</c:v>
                </c:pt>
                <c:pt idx="17391">
                  <c:v>0.31016586409844799</c:v>
                </c:pt>
                <c:pt idx="17392">
                  <c:v>0.310183698947743</c:v>
                </c:pt>
                <c:pt idx="17393">
                  <c:v>0.31020153379703902</c:v>
                </c:pt>
                <c:pt idx="17394">
                  <c:v>0.31021936864633398</c:v>
                </c:pt>
                <c:pt idx="17395">
                  <c:v>0.31023720349563</c:v>
                </c:pt>
                <c:pt idx="17396">
                  <c:v>0.31025503834492502</c:v>
                </c:pt>
                <c:pt idx="17397">
                  <c:v>0.31027287319422098</c:v>
                </c:pt>
                <c:pt idx="17398">
                  <c:v>0.31029070804351699</c:v>
                </c:pt>
                <c:pt idx="17399">
                  <c:v>0.31030854289281201</c:v>
                </c:pt>
                <c:pt idx="17400">
                  <c:v>0.31032637774210797</c:v>
                </c:pt>
                <c:pt idx="17401">
                  <c:v>0.31034421259140299</c:v>
                </c:pt>
                <c:pt idx="17402">
                  <c:v>0.31036204744069901</c:v>
                </c:pt>
                <c:pt idx="17403">
                  <c:v>0.31037988228999402</c:v>
                </c:pt>
                <c:pt idx="17404">
                  <c:v>0.31039771713928999</c:v>
                </c:pt>
                <c:pt idx="17405">
                  <c:v>0.310415551988585</c:v>
                </c:pt>
                <c:pt idx="17406">
                  <c:v>0.31043338683788102</c:v>
                </c:pt>
                <c:pt idx="17407">
                  <c:v>0.31045122168717598</c:v>
                </c:pt>
                <c:pt idx="17408">
                  <c:v>0.310469056536472</c:v>
                </c:pt>
                <c:pt idx="17409">
                  <c:v>0.31048689138576702</c:v>
                </c:pt>
                <c:pt idx="17410">
                  <c:v>0.31050472623506298</c:v>
                </c:pt>
                <c:pt idx="17411">
                  <c:v>0.310522561084358</c:v>
                </c:pt>
                <c:pt idx="17412">
                  <c:v>0.31054039593365401</c:v>
                </c:pt>
                <c:pt idx="17413">
                  <c:v>0.31055823078294897</c:v>
                </c:pt>
                <c:pt idx="17414">
                  <c:v>0.31057606563224499</c:v>
                </c:pt>
                <c:pt idx="17415">
                  <c:v>0.31059390048154001</c:v>
                </c:pt>
                <c:pt idx="17416">
                  <c:v>0.31061173533083603</c:v>
                </c:pt>
                <c:pt idx="17417">
                  <c:v>0.31062957018013199</c:v>
                </c:pt>
                <c:pt idx="17418">
                  <c:v>0.310647405029427</c:v>
                </c:pt>
                <c:pt idx="17419">
                  <c:v>0.31066523987872302</c:v>
                </c:pt>
                <c:pt idx="17420">
                  <c:v>0.31068307472801798</c:v>
                </c:pt>
                <c:pt idx="17421">
                  <c:v>0.310700909577314</c:v>
                </c:pt>
                <c:pt idx="17422">
                  <c:v>0.31071874442660902</c:v>
                </c:pt>
                <c:pt idx="17423">
                  <c:v>0.31073657927590498</c:v>
                </c:pt>
                <c:pt idx="17424">
                  <c:v>0.3107544141252</c:v>
                </c:pt>
                <c:pt idx="17425">
                  <c:v>0.31077224897449601</c:v>
                </c:pt>
                <c:pt idx="17426">
                  <c:v>0.31079008382379097</c:v>
                </c:pt>
                <c:pt idx="17427">
                  <c:v>0.31080791867308699</c:v>
                </c:pt>
                <c:pt idx="17428">
                  <c:v>0.31082575352238201</c:v>
                </c:pt>
                <c:pt idx="17429">
                  <c:v>0.31084358837167803</c:v>
                </c:pt>
                <c:pt idx="17430">
                  <c:v>0.31086142322097299</c:v>
                </c:pt>
                <c:pt idx="17431">
                  <c:v>0.310879258070269</c:v>
                </c:pt>
                <c:pt idx="17432">
                  <c:v>0.31089709291956402</c:v>
                </c:pt>
                <c:pt idx="17433">
                  <c:v>0.31091492776885998</c:v>
                </c:pt>
                <c:pt idx="17434">
                  <c:v>0.310932762618155</c:v>
                </c:pt>
                <c:pt idx="17435">
                  <c:v>0.31095059746745102</c:v>
                </c:pt>
                <c:pt idx="17436">
                  <c:v>0.31096843231674598</c:v>
                </c:pt>
                <c:pt idx="17437">
                  <c:v>0.310986267166042</c:v>
                </c:pt>
                <c:pt idx="17438">
                  <c:v>0.31100410201533701</c:v>
                </c:pt>
                <c:pt idx="17439">
                  <c:v>0.31102193686463298</c:v>
                </c:pt>
                <c:pt idx="17440">
                  <c:v>0.31103977171392899</c:v>
                </c:pt>
                <c:pt idx="17441">
                  <c:v>0.31105760656322401</c:v>
                </c:pt>
                <c:pt idx="17442">
                  <c:v>0.31107544141252003</c:v>
                </c:pt>
                <c:pt idx="17443">
                  <c:v>0.31109327626181499</c:v>
                </c:pt>
                <c:pt idx="17444">
                  <c:v>0.31111111111111101</c:v>
                </c:pt>
                <c:pt idx="17445">
                  <c:v>0.31112894596040602</c:v>
                </c:pt>
                <c:pt idx="17446">
                  <c:v>0.31114678080970198</c:v>
                </c:pt>
                <c:pt idx="17447">
                  <c:v>0.311164615658997</c:v>
                </c:pt>
                <c:pt idx="17448">
                  <c:v>0.31118245050829302</c:v>
                </c:pt>
                <c:pt idx="17449">
                  <c:v>0.31120028535758798</c:v>
                </c:pt>
                <c:pt idx="17450">
                  <c:v>0.311218120206884</c:v>
                </c:pt>
                <c:pt idx="17451">
                  <c:v>0.31123595505617901</c:v>
                </c:pt>
                <c:pt idx="17452">
                  <c:v>0.31125378990547498</c:v>
                </c:pt>
                <c:pt idx="17453">
                  <c:v>0.31127162475476999</c:v>
                </c:pt>
                <c:pt idx="17454">
                  <c:v>0.31128945960406601</c:v>
                </c:pt>
                <c:pt idx="17455">
                  <c:v>0.31130729445336103</c:v>
                </c:pt>
                <c:pt idx="17456">
                  <c:v>0.31132512930265699</c:v>
                </c:pt>
                <c:pt idx="17457">
                  <c:v>0.31134296415195201</c:v>
                </c:pt>
                <c:pt idx="17458">
                  <c:v>0.31136079900124802</c:v>
                </c:pt>
                <c:pt idx="17459">
                  <c:v>0.31137863385054398</c:v>
                </c:pt>
                <c:pt idx="17460">
                  <c:v>0.311396468699839</c:v>
                </c:pt>
                <c:pt idx="17461">
                  <c:v>0.31141430354913502</c:v>
                </c:pt>
                <c:pt idx="17462">
                  <c:v>0.31143213839842998</c:v>
                </c:pt>
                <c:pt idx="17463">
                  <c:v>0.311449973247726</c:v>
                </c:pt>
                <c:pt idx="17464">
                  <c:v>0.31146780809702102</c:v>
                </c:pt>
                <c:pt idx="17465">
                  <c:v>0.31148564294631698</c:v>
                </c:pt>
                <c:pt idx="17466">
                  <c:v>0.31150347779561199</c:v>
                </c:pt>
                <c:pt idx="17467">
                  <c:v>0.31152131264490801</c:v>
                </c:pt>
                <c:pt idx="17468">
                  <c:v>0.31153914749420297</c:v>
                </c:pt>
                <c:pt idx="17469">
                  <c:v>0.31155698234349899</c:v>
                </c:pt>
                <c:pt idx="17470">
                  <c:v>0.31157481719279401</c:v>
                </c:pt>
                <c:pt idx="17471">
                  <c:v>0.31159265204209002</c:v>
                </c:pt>
                <c:pt idx="17472">
                  <c:v>0.31161048689138499</c:v>
                </c:pt>
                <c:pt idx="17473">
                  <c:v>0.311628321740681</c:v>
                </c:pt>
                <c:pt idx="17474">
                  <c:v>0.31164615658997602</c:v>
                </c:pt>
                <c:pt idx="17475">
                  <c:v>0.31166399143927198</c:v>
                </c:pt>
                <c:pt idx="17476">
                  <c:v>0.311681826288567</c:v>
                </c:pt>
                <c:pt idx="17477">
                  <c:v>0.31169966113786302</c:v>
                </c:pt>
                <c:pt idx="17478">
                  <c:v>0.31171749598715798</c:v>
                </c:pt>
                <c:pt idx="17479">
                  <c:v>0.31173533083645399</c:v>
                </c:pt>
                <c:pt idx="17480">
                  <c:v>0.31175316568574901</c:v>
                </c:pt>
                <c:pt idx="17481">
                  <c:v>0.31177100053504497</c:v>
                </c:pt>
                <c:pt idx="17482">
                  <c:v>0.31178883538434099</c:v>
                </c:pt>
                <c:pt idx="17483">
                  <c:v>0.31180667023363601</c:v>
                </c:pt>
                <c:pt idx="17484">
                  <c:v>0.31182450508293202</c:v>
                </c:pt>
                <c:pt idx="17485">
                  <c:v>0.31184233993222699</c:v>
                </c:pt>
                <c:pt idx="17486">
                  <c:v>0.311860174781523</c:v>
                </c:pt>
                <c:pt idx="17487">
                  <c:v>0.31187800963081802</c:v>
                </c:pt>
                <c:pt idx="17488">
                  <c:v>0.31189584448011398</c:v>
                </c:pt>
                <c:pt idx="17489">
                  <c:v>0.311913679329409</c:v>
                </c:pt>
                <c:pt idx="17490">
                  <c:v>0.31193151417870502</c:v>
                </c:pt>
                <c:pt idx="17491">
                  <c:v>0.31194934902799998</c:v>
                </c:pt>
                <c:pt idx="17492">
                  <c:v>0.31196718387729599</c:v>
                </c:pt>
                <c:pt idx="17493">
                  <c:v>0.31198501872659101</c:v>
                </c:pt>
                <c:pt idx="17494">
                  <c:v>0.31200285357588697</c:v>
                </c:pt>
                <c:pt idx="17495">
                  <c:v>0.31202068842518199</c:v>
                </c:pt>
                <c:pt idx="17496">
                  <c:v>0.31203852327447801</c:v>
                </c:pt>
                <c:pt idx="17497">
                  <c:v>0.31205635812377303</c:v>
                </c:pt>
                <c:pt idx="17498">
                  <c:v>0.31207419297306899</c:v>
                </c:pt>
                <c:pt idx="17499">
                  <c:v>0.312092027822364</c:v>
                </c:pt>
                <c:pt idx="17500">
                  <c:v>0.31210986267166002</c:v>
                </c:pt>
                <c:pt idx="17501">
                  <c:v>0.31212769752095498</c:v>
                </c:pt>
                <c:pt idx="17502">
                  <c:v>0.312145532370251</c:v>
                </c:pt>
                <c:pt idx="17503">
                  <c:v>0.31216336721954702</c:v>
                </c:pt>
                <c:pt idx="17504">
                  <c:v>0.31218120206884198</c:v>
                </c:pt>
                <c:pt idx="17505">
                  <c:v>0.312199036918138</c:v>
                </c:pt>
                <c:pt idx="17506">
                  <c:v>0.31221687176743301</c:v>
                </c:pt>
                <c:pt idx="17507">
                  <c:v>0.31223470661672897</c:v>
                </c:pt>
                <c:pt idx="17508">
                  <c:v>0.31225254146602399</c:v>
                </c:pt>
                <c:pt idx="17509">
                  <c:v>0.31227037631532001</c:v>
                </c:pt>
                <c:pt idx="17510">
                  <c:v>0.31228821116461503</c:v>
                </c:pt>
                <c:pt idx="17511">
                  <c:v>0.31230604601391099</c:v>
                </c:pt>
                <c:pt idx="17512">
                  <c:v>0.312323880863206</c:v>
                </c:pt>
                <c:pt idx="17513">
                  <c:v>0.31234171571250202</c:v>
                </c:pt>
                <c:pt idx="17514">
                  <c:v>0.31235955056179698</c:v>
                </c:pt>
                <c:pt idx="17515">
                  <c:v>0.312377385411093</c:v>
                </c:pt>
                <c:pt idx="17516">
                  <c:v>0.31239522026038802</c:v>
                </c:pt>
                <c:pt idx="17517">
                  <c:v>0.31241305510968398</c:v>
                </c:pt>
                <c:pt idx="17518">
                  <c:v>0.312430889958979</c:v>
                </c:pt>
                <c:pt idx="17519">
                  <c:v>0.31244872480827501</c:v>
                </c:pt>
                <c:pt idx="17520">
                  <c:v>0.31246655965756998</c:v>
                </c:pt>
                <c:pt idx="17521">
                  <c:v>0.31248439450686599</c:v>
                </c:pt>
                <c:pt idx="17522">
                  <c:v>0.31250222935616101</c:v>
                </c:pt>
                <c:pt idx="17523">
                  <c:v>0.31252006420545703</c:v>
                </c:pt>
                <c:pt idx="17524">
                  <c:v>0.31253789905475299</c:v>
                </c:pt>
                <c:pt idx="17525">
                  <c:v>0.31255573390404801</c:v>
                </c:pt>
                <c:pt idx="17526">
                  <c:v>0.31257356875334402</c:v>
                </c:pt>
                <c:pt idx="17527">
                  <c:v>0.31259140360263898</c:v>
                </c:pt>
                <c:pt idx="17528">
                  <c:v>0.312609238451935</c:v>
                </c:pt>
                <c:pt idx="17529">
                  <c:v>0.31262707330123002</c:v>
                </c:pt>
                <c:pt idx="17530">
                  <c:v>0.31264490815052598</c:v>
                </c:pt>
                <c:pt idx="17531">
                  <c:v>0.312662742999821</c:v>
                </c:pt>
                <c:pt idx="17532">
                  <c:v>0.31268057784911701</c:v>
                </c:pt>
                <c:pt idx="17533">
                  <c:v>0.31269841269841198</c:v>
                </c:pt>
                <c:pt idx="17534">
                  <c:v>0.31271624754770799</c:v>
                </c:pt>
                <c:pt idx="17535">
                  <c:v>0.31273408239700301</c:v>
                </c:pt>
                <c:pt idx="17536">
                  <c:v>0.31275191724629903</c:v>
                </c:pt>
                <c:pt idx="17537">
                  <c:v>0.31276975209559399</c:v>
                </c:pt>
                <c:pt idx="17538">
                  <c:v>0.31278758694489001</c:v>
                </c:pt>
                <c:pt idx="17539">
                  <c:v>0.31280542179418502</c:v>
                </c:pt>
                <c:pt idx="17540">
                  <c:v>0.31282325664348098</c:v>
                </c:pt>
                <c:pt idx="17541">
                  <c:v>0.312841091492776</c:v>
                </c:pt>
                <c:pt idx="17542">
                  <c:v>0.31285892634207202</c:v>
                </c:pt>
                <c:pt idx="17543">
                  <c:v>0.31287676119136698</c:v>
                </c:pt>
                <c:pt idx="17544">
                  <c:v>0.312894596040663</c:v>
                </c:pt>
                <c:pt idx="17545">
                  <c:v>0.31291243088995802</c:v>
                </c:pt>
                <c:pt idx="17546">
                  <c:v>0.31293026573925398</c:v>
                </c:pt>
                <c:pt idx="17547">
                  <c:v>0.31294810058854999</c:v>
                </c:pt>
                <c:pt idx="17548">
                  <c:v>0.31296593543784501</c:v>
                </c:pt>
                <c:pt idx="17549">
                  <c:v>0.31298377028714103</c:v>
                </c:pt>
                <c:pt idx="17550">
                  <c:v>0.31300160513643599</c:v>
                </c:pt>
                <c:pt idx="17551">
                  <c:v>0.31301943998573201</c:v>
                </c:pt>
                <c:pt idx="17552">
                  <c:v>0.31303727483502702</c:v>
                </c:pt>
                <c:pt idx="17553">
                  <c:v>0.31305510968432299</c:v>
                </c:pt>
                <c:pt idx="17554">
                  <c:v>0.313072944533618</c:v>
                </c:pt>
                <c:pt idx="17555">
                  <c:v>0.31309077938291402</c:v>
                </c:pt>
                <c:pt idx="17556">
                  <c:v>0.31310861423220898</c:v>
                </c:pt>
                <c:pt idx="17557">
                  <c:v>0.313126449081505</c:v>
                </c:pt>
                <c:pt idx="17558">
                  <c:v>0.31314428393080002</c:v>
                </c:pt>
                <c:pt idx="17559">
                  <c:v>0.31316211878009598</c:v>
                </c:pt>
                <c:pt idx="17560">
                  <c:v>0.31317995362939099</c:v>
                </c:pt>
                <c:pt idx="17561">
                  <c:v>0.31319778847868701</c:v>
                </c:pt>
                <c:pt idx="17562">
                  <c:v>0.31321562332798197</c:v>
                </c:pt>
                <c:pt idx="17563">
                  <c:v>0.31323345817727799</c:v>
                </c:pt>
                <c:pt idx="17564">
                  <c:v>0.31325129302657301</c:v>
                </c:pt>
                <c:pt idx="17565">
                  <c:v>0.31326912787586902</c:v>
                </c:pt>
                <c:pt idx="17566">
                  <c:v>0.31328696272516499</c:v>
                </c:pt>
                <c:pt idx="17567">
                  <c:v>0.31330479757446</c:v>
                </c:pt>
                <c:pt idx="17568">
                  <c:v>0.31332263242375602</c:v>
                </c:pt>
                <c:pt idx="17569">
                  <c:v>0.31334046727305098</c:v>
                </c:pt>
                <c:pt idx="17570">
                  <c:v>0.313358302122347</c:v>
                </c:pt>
                <c:pt idx="17571">
                  <c:v>0.31337613697164202</c:v>
                </c:pt>
                <c:pt idx="17572">
                  <c:v>0.31339397182093798</c:v>
                </c:pt>
                <c:pt idx="17573">
                  <c:v>0.313411806670233</c:v>
                </c:pt>
                <c:pt idx="17574">
                  <c:v>0.31342964151952901</c:v>
                </c:pt>
                <c:pt idx="17575">
                  <c:v>0.31344747636882397</c:v>
                </c:pt>
                <c:pt idx="17576">
                  <c:v>0.31346531121811999</c:v>
                </c:pt>
                <c:pt idx="17577">
                  <c:v>0.31348314606741501</c:v>
                </c:pt>
                <c:pt idx="17578">
                  <c:v>0.31350098091671103</c:v>
                </c:pt>
                <c:pt idx="17579">
                  <c:v>0.31351881576600599</c:v>
                </c:pt>
                <c:pt idx="17580">
                  <c:v>0.313536650615302</c:v>
                </c:pt>
                <c:pt idx="17581">
                  <c:v>0.31355448546459702</c:v>
                </c:pt>
                <c:pt idx="17582">
                  <c:v>0.31357232031389298</c:v>
                </c:pt>
                <c:pt idx="17583">
                  <c:v>0.313590155163188</c:v>
                </c:pt>
                <c:pt idx="17584">
                  <c:v>0.31360799001248402</c:v>
                </c:pt>
                <c:pt idx="17585">
                  <c:v>0.31362582486177898</c:v>
                </c:pt>
                <c:pt idx="17586">
                  <c:v>0.313643659711075</c:v>
                </c:pt>
                <c:pt idx="17587">
                  <c:v>0.31366149456037001</c:v>
                </c:pt>
                <c:pt idx="17588">
                  <c:v>0.31367932940966597</c:v>
                </c:pt>
                <c:pt idx="17589">
                  <c:v>0.31369716425896199</c:v>
                </c:pt>
                <c:pt idx="17590">
                  <c:v>0.31371499910825701</c:v>
                </c:pt>
                <c:pt idx="17591">
                  <c:v>0.31373283395755303</c:v>
                </c:pt>
                <c:pt idx="17592">
                  <c:v>0.31375066880684799</c:v>
                </c:pt>
                <c:pt idx="17593">
                  <c:v>0.313768503656144</c:v>
                </c:pt>
                <c:pt idx="17594">
                  <c:v>0.31378633850543902</c:v>
                </c:pt>
                <c:pt idx="17595">
                  <c:v>0.31380417335473498</c:v>
                </c:pt>
                <c:pt idx="17596">
                  <c:v>0.31382200820403</c:v>
                </c:pt>
                <c:pt idx="17597">
                  <c:v>0.31383984305332602</c:v>
                </c:pt>
                <c:pt idx="17598">
                  <c:v>0.31385767790262098</c:v>
                </c:pt>
                <c:pt idx="17599">
                  <c:v>0.313875512751917</c:v>
                </c:pt>
                <c:pt idx="17600">
                  <c:v>0.31389334760121201</c:v>
                </c:pt>
                <c:pt idx="17601">
                  <c:v>0.31391118245050798</c:v>
                </c:pt>
                <c:pt idx="17602">
                  <c:v>0.31392901729980299</c:v>
                </c:pt>
                <c:pt idx="17603">
                  <c:v>0.31394685214909901</c:v>
                </c:pt>
                <c:pt idx="17604">
                  <c:v>0.31396468699839403</c:v>
                </c:pt>
                <c:pt idx="17605">
                  <c:v>0.31398252184768999</c:v>
                </c:pt>
                <c:pt idx="17606">
                  <c:v>0.31400035669698501</c:v>
                </c:pt>
                <c:pt idx="17607">
                  <c:v>0.31401819154628102</c:v>
                </c:pt>
                <c:pt idx="17608">
                  <c:v>0.31403602639557698</c:v>
                </c:pt>
                <c:pt idx="17609">
                  <c:v>0.314053861244872</c:v>
                </c:pt>
                <c:pt idx="17610">
                  <c:v>0.31407169609416802</c:v>
                </c:pt>
                <c:pt idx="17611">
                  <c:v>0.31408953094346298</c:v>
                </c:pt>
                <c:pt idx="17612">
                  <c:v>0.314107365792759</c:v>
                </c:pt>
                <c:pt idx="17613">
                  <c:v>0.31412520064205401</c:v>
                </c:pt>
                <c:pt idx="17614">
                  <c:v>0.31414303549134998</c:v>
                </c:pt>
                <c:pt idx="17615">
                  <c:v>0.31416087034064499</c:v>
                </c:pt>
                <c:pt idx="17616">
                  <c:v>0.31417870518994101</c:v>
                </c:pt>
                <c:pt idx="17617">
                  <c:v>0.31419654003923603</c:v>
                </c:pt>
                <c:pt idx="17618">
                  <c:v>0.31421437488853199</c:v>
                </c:pt>
                <c:pt idx="17619">
                  <c:v>0.31423220973782701</c:v>
                </c:pt>
                <c:pt idx="17620">
                  <c:v>0.31425004458712302</c:v>
                </c:pt>
                <c:pt idx="17621">
                  <c:v>0.31426787943641799</c:v>
                </c:pt>
                <c:pt idx="17622">
                  <c:v>0.314285714285714</c:v>
                </c:pt>
                <c:pt idx="17623">
                  <c:v>0.31430354913500902</c:v>
                </c:pt>
                <c:pt idx="17624">
                  <c:v>0.31432138398430498</c:v>
                </c:pt>
                <c:pt idx="17625">
                  <c:v>0.3143392188336</c:v>
                </c:pt>
                <c:pt idx="17626">
                  <c:v>0.31435705368289601</c:v>
                </c:pt>
                <c:pt idx="17627">
                  <c:v>0.31437488853219098</c:v>
                </c:pt>
                <c:pt idx="17628">
                  <c:v>0.31439272338148699</c:v>
                </c:pt>
                <c:pt idx="17629">
                  <c:v>0.31441055823078201</c:v>
                </c:pt>
                <c:pt idx="17630">
                  <c:v>0.31442839308007797</c:v>
                </c:pt>
                <c:pt idx="17631">
                  <c:v>0.31444622792937399</c:v>
                </c:pt>
                <c:pt idx="17632">
                  <c:v>0.31446406277866901</c:v>
                </c:pt>
                <c:pt idx="17633">
                  <c:v>0.31448189762796502</c:v>
                </c:pt>
                <c:pt idx="17634">
                  <c:v>0.31449973247725999</c:v>
                </c:pt>
                <c:pt idx="17635">
                  <c:v>0.314517567326556</c:v>
                </c:pt>
                <c:pt idx="17636">
                  <c:v>0.31453540217585102</c:v>
                </c:pt>
                <c:pt idx="17637">
                  <c:v>0.31455323702514698</c:v>
                </c:pt>
                <c:pt idx="17638">
                  <c:v>0.314571071874442</c:v>
                </c:pt>
                <c:pt idx="17639">
                  <c:v>0.31458890672373802</c:v>
                </c:pt>
                <c:pt idx="17640">
                  <c:v>0.31460674157303298</c:v>
                </c:pt>
                <c:pt idx="17641">
                  <c:v>0.31462457642232899</c:v>
                </c:pt>
                <c:pt idx="17642">
                  <c:v>0.31464241127162401</c:v>
                </c:pt>
                <c:pt idx="17643">
                  <c:v>0.31466024612091997</c:v>
                </c:pt>
                <c:pt idx="17644">
                  <c:v>0.31467808097021499</c:v>
                </c:pt>
                <c:pt idx="17645">
                  <c:v>0.31469591581951101</c:v>
                </c:pt>
                <c:pt idx="17646">
                  <c:v>0.31471375066880602</c:v>
                </c:pt>
                <c:pt idx="17647">
                  <c:v>0.31473158551810199</c:v>
                </c:pt>
                <c:pt idx="17648">
                  <c:v>0.314749420367397</c:v>
                </c:pt>
                <c:pt idx="17649">
                  <c:v>0.31476725521669302</c:v>
                </c:pt>
                <c:pt idx="17650">
                  <c:v>0.31478509006598798</c:v>
                </c:pt>
                <c:pt idx="17651">
                  <c:v>0.314802924915284</c:v>
                </c:pt>
                <c:pt idx="17652">
                  <c:v>0.31482075976458002</c:v>
                </c:pt>
                <c:pt idx="17653">
                  <c:v>0.31483859461387498</c:v>
                </c:pt>
                <c:pt idx="17654">
                  <c:v>0.31485642946317099</c:v>
                </c:pt>
                <c:pt idx="17655">
                  <c:v>0.31487426431246601</c:v>
                </c:pt>
                <c:pt idx="17656">
                  <c:v>0.31489209916176197</c:v>
                </c:pt>
                <c:pt idx="17657">
                  <c:v>0.31490993401105699</c:v>
                </c:pt>
                <c:pt idx="17658">
                  <c:v>0.31492776886035301</c:v>
                </c:pt>
                <c:pt idx="17659">
                  <c:v>0.31494560370964803</c:v>
                </c:pt>
                <c:pt idx="17660">
                  <c:v>0.31496343855894399</c:v>
                </c:pt>
                <c:pt idx="17661">
                  <c:v>0.314981273408239</c:v>
                </c:pt>
                <c:pt idx="17662">
                  <c:v>0.31499910825753502</c:v>
                </c:pt>
                <c:pt idx="17663">
                  <c:v>0.31501694310682998</c:v>
                </c:pt>
                <c:pt idx="17664">
                  <c:v>0.315034777956126</c:v>
                </c:pt>
                <c:pt idx="17665">
                  <c:v>0.31505261280542102</c:v>
                </c:pt>
                <c:pt idx="17666">
                  <c:v>0.31507044765471698</c:v>
                </c:pt>
                <c:pt idx="17667">
                  <c:v>0.315088282504012</c:v>
                </c:pt>
                <c:pt idx="17668">
                  <c:v>0.31510611735330801</c:v>
                </c:pt>
                <c:pt idx="17669">
                  <c:v>0.31512395220260297</c:v>
                </c:pt>
                <c:pt idx="17670">
                  <c:v>0.31514178705189899</c:v>
                </c:pt>
                <c:pt idx="17671">
                  <c:v>0.31515962190119401</c:v>
                </c:pt>
                <c:pt idx="17672">
                  <c:v>0.31517745675049003</c:v>
                </c:pt>
                <c:pt idx="17673">
                  <c:v>0.31519529159978599</c:v>
                </c:pt>
                <c:pt idx="17674">
                  <c:v>0.315213126449081</c:v>
                </c:pt>
                <c:pt idx="17675">
                  <c:v>0.31523096129837702</c:v>
                </c:pt>
                <c:pt idx="17676">
                  <c:v>0.31524879614767198</c:v>
                </c:pt>
                <c:pt idx="17677">
                  <c:v>0.315266630996968</c:v>
                </c:pt>
                <c:pt idx="17678">
                  <c:v>0.31528446584626302</c:v>
                </c:pt>
                <c:pt idx="17679">
                  <c:v>0.31530230069555898</c:v>
                </c:pt>
                <c:pt idx="17680">
                  <c:v>0.315320135544854</c:v>
                </c:pt>
                <c:pt idx="17681">
                  <c:v>0.31533797039415001</c:v>
                </c:pt>
                <c:pt idx="17682">
                  <c:v>0.31535580524344498</c:v>
                </c:pt>
                <c:pt idx="17683">
                  <c:v>0.31537364009274099</c:v>
                </c:pt>
                <c:pt idx="17684">
                  <c:v>0.31539147494203601</c:v>
                </c:pt>
                <c:pt idx="17685">
                  <c:v>0.31540930979133203</c:v>
                </c:pt>
                <c:pt idx="17686">
                  <c:v>0.31542714464062699</c:v>
                </c:pt>
                <c:pt idx="17687">
                  <c:v>0.31544497948992301</c:v>
                </c:pt>
                <c:pt idx="17688">
                  <c:v>0.31546281433921802</c:v>
                </c:pt>
                <c:pt idx="17689">
                  <c:v>0.31548064918851398</c:v>
                </c:pt>
                <c:pt idx="17690">
                  <c:v>0.315498484037809</c:v>
                </c:pt>
                <c:pt idx="17691">
                  <c:v>0.31551631888710502</c:v>
                </c:pt>
                <c:pt idx="17692">
                  <c:v>0.31553415373639998</c:v>
                </c:pt>
                <c:pt idx="17693">
                  <c:v>0.315551988585696</c:v>
                </c:pt>
                <c:pt idx="17694">
                  <c:v>0.31556982343499101</c:v>
                </c:pt>
                <c:pt idx="17695">
                  <c:v>0.31558765828428698</c:v>
                </c:pt>
                <c:pt idx="17696">
                  <c:v>0.31560549313358299</c:v>
                </c:pt>
                <c:pt idx="17697">
                  <c:v>0.31562332798287801</c:v>
                </c:pt>
                <c:pt idx="17698">
                  <c:v>0.31564116283217403</c:v>
                </c:pt>
                <c:pt idx="17699">
                  <c:v>0.31565899768146899</c:v>
                </c:pt>
                <c:pt idx="17700">
                  <c:v>0.31567683253076501</c:v>
                </c:pt>
                <c:pt idx="17701">
                  <c:v>0.31569466738006002</c:v>
                </c:pt>
                <c:pt idx="17702">
                  <c:v>0.31571250222935598</c:v>
                </c:pt>
                <c:pt idx="17703">
                  <c:v>0.315730337078651</c:v>
                </c:pt>
                <c:pt idx="17704">
                  <c:v>0.31574817192794702</c:v>
                </c:pt>
                <c:pt idx="17705">
                  <c:v>0.31576600677724198</c:v>
                </c:pt>
                <c:pt idx="17706">
                  <c:v>0.315783841626538</c:v>
                </c:pt>
                <c:pt idx="17707">
                  <c:v>0.31580167647583302</c:v>
                </c:pt>
                <c:pt idx="17708">
                  <c:v>0.31581951132512898</c:v>
                </c:pt>
                <c:pt idx="17709">
                  <c:v>0.31583734617442399</c:v>
                </c:pt>
                <c:pt idx="17710">
                  <c:v>0.31585518102372001</c:v>
                </c:pt>
                <c:pt idx="17711">
                  <c:v>0.31587301587301497</c:v>
                </c:pt>
                <c:pt idx="17712">
                  <c:v>0.31589085072231099</c:v>
                </c:pt>
                <c:pt idx="17713">
                  <c:v>0.31590868557160601</c:v>
                </c:pt>
                <c:pt idx="17714">
                  <c:v>0.31592652042090202</c:v>
                </c:pt>
                <c:pt idx="17715">
                  <c:v>0.31594435527019799</c:v>
                </c:pt>
                <c:pt idx="17716">
                  <c:v>0.315962190119493</c:v>
                </c:pt>
                <c:pt idx="17717">
                  <c:v>0.31598002496878902</c:v>
                </c:pt>
                <c:pt idx="17718">
                  <c:v>0.31599785981808398</c:v>
                </c:pt>
                <c:pt idx="17719">
                  <c:v>0.31601569466738</c:v>
                </c:pt>
                <c:pt idx="17720">
                  <c:v>0.31603352951667502</c:v>
                </c:pt>
                <c:pt idx="17721">
                  <c:v>0.31605136436597098</c:v>
                </c:pt>
                <c:pt idx="17722">
                  <c:v>0.31606919921526599</c:v>
                </c:pt>
                <c:pt idx="17723">
                  <c:v>0.31608703406456201</c:v>
                </c:pt>
                <c:pt idx="17724">
                  <c:v>0.31610486891385697</c:v>
                </c:pt>
                <c:pt idx="17725">
                  <c:v>0.31612270376315299</c:v>
                </c:pt>
                <c:pt idx="17726">
                  <c:v>0.31614053861244801</c:v>
                </c:pt>
                <c:pt idx="17727">
                  <c:v>0.31615837346174402</c:v>
                </c:pt>
                <c:pt idx="17728">
                  <c:v>0.31617620831103899</c:v>
                </c:pt>
                <c:pt idx="17729">
                  <c:v>0.316194043160335</c:v>
                </c:pt>
                <c:pt idx="17730">
                  <c:v>0.31621187800963002</c:v>
                </c:pt>
                <c:pt idx="17731">
                  <c:v>0.31622971285892598</c:v>
                </c:pt>
                <c:pt idx="17732">
                  <c:v>0.316247547708221</c:v>
                </c:pt>
                <c:pt idx="17733">
                  <c:v>0.31626538255751702</c:v>
                </c:pt>
                <c:pt idx="17734">
                  <c:v>0.31628321740681198</c:v>
                </c:pt>
                <c:pt idx="17735">
                  <c:v>0.316301052256108</c:v>
                </c:pt>
                <c:pt idx="17736">
                  <c:v>0.31631888710540301</c:v>
                </c:pt>
                <c:pt idx="17737">
                  <c:v>0.31633672195469897</c:v>
                </c:pt>
                <c:pt idx="17738">
                  <c:v>0.31635455680399499</c:v>
                </c:pt>
                <c:pt idx="17739">
                  <c:v>0.31637239165329001</c:v>
                </c:pt>
                <c:pt idx="17740">
                  <c:v>0.31639022650258602</c:v>
                </c:pt>
                <c:pt idx="17741">
                  <c:v>0.31640806135188099</c:v>
                </c:pt>
                <c:pt idx="17742">
                  <c:v>0.316425896201177</c:v>
                </c:pt>
                <c:pt idx="17743">
                  <c:v>0.31644373105047202</c:v>
                </c:pt>
                <c:pt idx="17744">
                  <c:v>0.31646156589976798</c:v>
                </c:pt>
                <c:pt idx="17745">
                  <c:v>0.316479400749063</c:v>
                </c:pt>
                <c:pt idx="17746">
                  <c:v>0.31649723559835902</c:v>
                </c:pt>
                <c:pt idx="17747">
                  <c:v>0.31651507044765398</c:v>
                </c:pt>
                <c:pt idx="17748">
                  <c:v>0.31653290529695</c:v>
                </c:pt>
                <c:pt idx="17749">
                  <c:v>0.31655074014624501</c:v>
                </c:pt>
                <c:pt idx="17750">
                  <c:v>0.31656857499554097</c:v>
                </c:pt>
                <c:pt idx="17751">
                  <c:v>0.31658640984483599</c:v>
                </c:pt>
                <c:pt idx="17752">
                  <c:v>0.31660424469413201</c:v>
                </c:pt>
                <c:pt idx="17753">
                  <c:v>0.31662207954342703</c:v>
                </c:pt>
                <c:pt idx="17754">
                  <c:v>0.31663991439272299</c:v>
                </c:pt>
                <c:pt idx="17755">
                  <c:v>0.31665774924201801</c:v>
                </c:pt>
                <c:pt idx="17756">
                  <c:v>0.31667558409131402</c:v>
                </c:pt>
                <c:pt idx="17757">
                  <c:v>0.31669341894060898</c:v>
                </c:pt>
                <c:pt idx="17758">
                  <c:v>0.316711253789905</c:v>
                </c:pt>
                <c:pt idx="17759">
                  <c:v>0.31672908863920102</c:v>
                </c:pt>
                <c:pt idx="17760">
                  <c:v>0.31674692348849598</c:v>
                </c:pt>
                <c:pt idx="17761">
                  <c:v>0.316764758337792</c:v>
                </c:pt>
                <c:pt idx="17762">
                  <c:v>0.31678259318708701</c:v>
                </c:pt>
                <c:pt idx="17763">
                  <c:v>0.31680042803638297</c:v>
                </c:pt>
                <c:pt idx="17764">
                  <c:v>0.31681826288567799</c:v>
                </c:pt>
                <c:pt idx="17765">
                  <c:v>0.31683609773497401</c:v>
                </c:pt>
                <c:pt idx="17766">
                  <c:v>0.31685393258426903</c:v>
                </c:pt>
                <c:pt idx="17767">
                  <c:v>0.31687176743356499</c:v>
                </c:pt>
                <c:pt idx="17768">
                  <c:v>0.31688960228286001</c:v>
                </c:pt>
                <c:pt idx="17769">
                  <c:v>0.31690743713215602</c:v>
                </c:pt>
                <c:pt idx="17770">
                  <c:v>0.31692527198145098</c:v>
                </c:pt>
                <c:pt idx="17771">
                  <c:v>0.316943106830747</c:v>
                </c:pt>
                <c:pt idx="17772">
                  <c:v>0.31696094168004202</c:v>
                </c:pt>
                <c:pt idx="17773">
                  <c:v>0.31697877652933798</c:v>
                </c:pt>
                <c:pt idx="17774">
                  <c:v>0.316996611378633</c:v>
                </c:pt>
                <c:pt idx="17775">
                  <c:v>0.31701444622792901</c:v>
                </c:pt>
                <c:pt idx="17776">
                  <c:v>0.31703228107722398</c:v>
                </c:pt>
                <c:pt idx="17777">
                  <c:v>0.31705011592651999</c:v>
                </c:pt>
                <c:pt idx="17778">
                  <c:v>0.31706795077581501</c:v>
                </c:pt>
                <c:pt idx="17779">
                  <c:v>0.31708578562511103</c:v>
                </c:pt>
                <c:pt idx="17780">
                  <c:v>0.31710362047440699</c:v>
                </c:pt>
                <c:pt idx="17781">
                  <c:v>0.31712145532370201</c:v>
                </c:pt>
                <c:pt idx="17782">
                  <c:v>0.31713929017299802</c:v>
                </c:pt>
                <c:pt idx="17783">
                  <c:v>0.31715712502229298</c:v>
                </c:pt>
                <c:pt idx="17784">
                  <c:v>0.317174959871589</c:v>
                </c:pt>
                <c:pt idx="17785">
                  <c:v>0.31719279472088402</c:v>
                </c:pt>
                <c:pt idx="17786">
                  <c:v>0.31721062957017998</c:v>
                </c:pt>
                <c:pt idx="17787">
                  <c:v>0.317228464419475</c:v>
                </c:pt>
                <c:pt idx="17788">
                  <c:v>0.31724629926877101</c:v>
                </c:pt>
                <c:pt idx="17789">
                  <c:v>0.31726413411806598</c:v>
                </c:pt>
                <c:pt idx="17790">
                  <c:v>0.31728196896736199</c:v>
                </c:pt>
                <c:pt idx="17791">
                  <c:v>0.31729980381665701</c:v>
                </c:pt>
                <c:pt idx="17792">
                  <c:v>0.31731763866595297</c:v>
                </c:pt>
                <c:pt idx="17793">
                  <c:v>0.31733547351524799</c:v>
                </c:pt>
                <c:pt idx="17794">
                  <c:v>0.31735330836454401</c:v>
                </c:pt>
                <c:pt idx="17795">
                  <c:v>0.31737114321383902</c:v>
                </c:pt>
                <c:pt idx="17796">
                  <c:v>0.31738897806313499</c:v>
                </c:pt>
                <c:pt idx="17797">
                  <c:v>0.31740681291243</c:v>
                </c:pt>
                <c:pt idx="17798">
                  <c:v>0.31742464776172602</c:v>
                </c:pt>
                <c:pt idx="17799">
                  <c:v>0.31744248261102098</c:v>
                </c:pt>
                <c:pt idx="17800">
                  <c:v>0.317460317460317</c:v>
                </c:pt>
                <c:pt idx="17801">
                  <c:v>0.31747815230961202</c:v>
                </c:pt>
                <c:pt idx="17802">
                  <c:v>0.31749598715890798</c:v>
                </c:pt>
                <c:pt idx="17803">
                  <c:v>0.31751382200820399</c:v>
                </c:pt>
                <c:pt idx="17804">
                  <c:v>0.31753165685749901</c:v>
                </c:pt>
                <c:pt idx="17805">
                  <c:v>0.31754949170679497</c:v>
                </c:pt>
                <c:pt idx="17806">
                  <c:v>0.31756732655608999</c:v>
                </c:pt>
                <c:pt idx="17807">
                  <c:v>0.31758516140538601</c:v>
                </c:pt>
                <c:pt idx="17808">
                  <c:v>0.31760299625468102</c:v>
                </c:pt>
                <c:pt idx="17809">
                  <c:v>0.31762083110397699</c:v>
                </c:pt>
                <c:pt idx="17810">
                  <c:v>0.317638665953272</c:v>
                </c:pt>
                <c:pt idx="17811">
                  <c:v>0.31765650080256802</c:v>
                </c:pt>
                <c:pt idx="17812">
                  <c:v>0.31767433565186298</c:v>
                </c:pt>
                <c:pt idx="17813">
                  <c:v>0.317692170501159</c:v>
                </c:pt>
                <c:pt idx="17814">
                  <c:v>0.31771000535045402</c:v>
                </c:pt>
                <c:pt idx="17815">
                  <c:v>0.31772784019974998</c:v>
                </c:pt>
                <c:pt idx="17816">
                  <c:v>0.317745675049045</c:v>
                </c:pt>
                <c:pt idx="17817">
                  <c:v>0.31776350989834101</c:v>
                </c:pt>
                <c:pt idx="17818">
                  <c:v>0.31778134474763597</c:v>
                </c:pt>
                <c:pt idx="17819">
                  <c:v>0.31779917959693199</c:v>
                </c:pt>
                <c:pt idx="17820">
                  <c:v>0.31781701444622701</c:v>
                </c:pt>
                <c:pt idx="17821">
                  <c:v>0.31783484929552303</c:v>
                </c:pt>
                <c:pt idx="17822">
                  <c:v>0.31785268414481899</c:v>
                </c:pt>
                <c:pt idx="17823">
                  <c:v>0.317870518994114</c:v>
                </c:pt>
                <c:pt idx="17824">
                  <c:v>0.31788835384341002</c:v>
                </c:pt>
                <c:pt idx="17825">
                  <c:v>0.31790618869270498</c:v>
                </c:pt>
                <c:pt idx="17826">
                  <c:v>0.317924023542001</c:v>
                </c:pt>
                <c:pt idx="17827">
                  <c:v>0.31794185839129602</c:v>
                </c:pt>
                <c:pt idx="17828">
                  <c:v>0.31795969324059198</c:v>
                </c:pt>
                <c:pt idx="17829">
                  <c:v>0.317977528089887</c:v>
                </c:pt>
                <c:pt idx="17830">
                  <c:v>0.31799536293918301</c:v>
                </c:pt>
                <c:pt idx="17831">
                  <c:v>0.31801319778847797</c:v>
                </c:pt>
                <c:pt idx="17832">
                  <c:v>0.31803103263777399</c:v>
                </c:pt>
                <c:pt idx="17833">
                  <c:v>0.31804886748706901</c:v>
                </c:pt>
                <c:pt idx="17834">
                  <c:v>0.31806670233636503</c:v>
                </c:pt>
                <c:pt idx="17835">
                  <c:v>0.31808453718565999</c:v>
                </c:pt>
                <c:pt idx="17836">
                  <c:v>0.318102372034956</c:v>
                </c:pt>
                <c:pt idx="17837">
                  <c:v>0.31812020688425102</c:v>
                </c:pt>
                <c:pt idx="17838">
                  <c:v>0.31813804173354698</c:v>
                </c:pt>
                <c:pt idx="17839">
                  <c:v>0.318155876582842</c:v>
                </c:pt>
                <c:pt idx="17840">
                  <c:v>0.31817371143213802</c:v>
                </c:pt>
                <c:pt idx="17841">
                  <c:v>0.31819154628143298</c:v>
                </c:pt>
                <c:pt idx="17842">
                  <c:v>0.318209381130729</c:v>
                </c:pt>
                <c:pt idx="17843">
                  <c:v>0.31822721598002401</c:v>
                </c:pt>
                <c:pt idx="17844">
                  <c:v>0.31824505082931998</c:v>
                </c:pt>
                <c:pt idx="17845">
                  <c:v>0.31826288567861599</c:v>
                </c:pt>
                <c:pt idx="17846">
                  <c:v>0.31828072052791101</c:v>
                </c:pt>
                <c:pt idx="17847">
                  <c:v>0.31829855537720703</c:v>
                </c:pt>
                <c:pt idx="17848">
                  <c:v>0.31831639022650199</c:v>
                </c:pt>
                <c:pt idx="17849">
                  <c:v>0.31833422507579801</c:v>
                </c:pt>
                <c:pt idx="17850">
                  <c:v>0.31835205992509302</c:v>
                </c:pt>
                <c:pt idx="17851">
                  <c:v>0.31836989477438898</c:v>
                </c:pt>
                <c:pt idx="17852">
                  <c:v>0.318387729623684</c:v>
                </c:pt>
                <c:pt idx="17853">
                  <c:v>0.31840556447298002</c:v>
                </c:pt>
                <c:pt idx="17854">
                  <c:v>0.31842339932227498</c:v>
                </c:pt>
                <c:pt idx="17855">
                  <c:v>0.318441234171571</c:v>
                </c:pt>
                <c:pt idx="17856">
                  <c:v>0.31845906902086601</c:v>
                </c:pt>
                <c:pt idx="17857">
                  <c:v>0.31847690387016198</c:v>
                </c:pt>
                <c:pt idx="17858">
                  <c:v>0.31849473871945699</c:v>
                </c:pt>
                <c:pt idx="17859">
                  <c:v>0.31851257356875301</c:v>
                </c:pt>
                <c:pt idx="17860">
                  <c:v>0.31853040841804803</c:v>
                </c:pt>
                <c:pt idx="17861">
                  <c:v>0.31854824326734399</c:v>
                </c:pt>
                <c:pt idx="17862">
                  <c:v>0.31856607811663901</c:v>
                </c:pt>
                <c:pt idx="17863">
                  <c:v>0.31858391296593502</c:v>
                </c:pt>
                <c:pt idx="17864">
                  <c:v>0.31860174781523098</c:v>
                </c:pt>
                <c:pt idx="17865">
                  <c:v>0.318619582664526</c:v>
                </c:pt>
                <c:pt idx="17866">
                  <c:v>0.31863741751382202</c:v>
                </c:pt>
                <c:pt idx="17867">
                  <c:v>0.31865525236311698</c:v>
                </c:pt>
                <c:pt idx="17868">
                  <c:v>0.318673087212413</c:v>
                </c:pt>
                <c:pt idx="17869">
                  <c:v>0.31869092206170802</c:v>
                </c:pt>
                <c:pt idx="17870">
                  <c:v>0.31870875691100398</c:v>
                </c:pt>
                <c:pt idx="17871">
                  <c:v>0.31872659176029899</c:v>
                </c:pt>
                <c:pt idx="17872">
                  <c:v>0.31874442660959501</c:v>
                </c:pt>
                <c:pt idx="17873">
                  <c:v>0.31876226145888997</c:v>
                </c:pt>
                <c:pt idx="17874">
                  <c:v>0.31878009630818599</c:v>
                </c:pt>
                <c:pt idx="17875">
                  <c:v>0.31879793115748101</c:v>
                </c:pt>
                <c:pt idx="17876">
                  <c:v>0.31881576600677702</c:v>
                </c:pt>
                <c:pt idx="17877">
                  <c:v>0.31883360085607199</c:v>
                </c:pt>
                <c:pt idx="17878">
                  <c:v>0.318851435705368</c:v>
                </c:pt>
                <c:pt idx="17879">
                  <c:v>0.31886927055466302</c:v>
                </c:pt>
                <c:pt idx="17880">
                  <c:v>0.31888710540395898</c:v>
                </c:pt>
                <c:pt idx="17881">
                  <c:v>0.318904940253254</c:v>
                </c:pt>
                <c:pt idx="17882">
                  <c:v>0.31892277510255002</c:v>
                </c:pt>
                <c:pt idx="17883">
                  <c:v>0.31894060995184498</c:v>
                </c:pt>
                <c:pt idx="17884">
                  <c:v>0.31895844480114099</c:v>
                </c:pt>
                <c:pt idx="17885">
                  <c:v>0.31897627965043601</c:v>
                </c:pt>
                <c:pt idx="17886">
                  <c:v>0.31899411449973197</c:v>
                </c:pt>
                <c:pt idx="17887">
                  <c:v>0.31901194934902799</c:v>
                </c:pt>
                <c:pt idx="17888">
                  <c:v>0.31902978419832301</c:v>
                </c:pt>
                <c:pt idx="17889">
                  <c:v>0.31904761904761902</c:v>
                </c:pt>
                <c:pt idx="17890">
                  <c:v>0.31906545389691399</c:v>
                </c:pt>
                <c:pt idx="17891">
                  <c:v>0.31908328874621</c:v>
                </c:pt>
                <c:pt idx="17892">
                  <c:v>0.31910112359550502</c:v>
                </c:pt>
                <c:pt idx="17893">
                  <c:v>0.31911895844480098</c:v>
                </c:pt>
                <c:pt idx="17894">
                  <c:v>0.319136793294096</c:v>
                </c:pt>
                <c:pt idx="17895">
                  <c:v>0.31915462814339202</c:v>
                </c:pt>
                <c:pt idx="17896">
                  <c:v>0.31917246299268698</c:v>
                </c:pt>
                <c:pt idx="17897">
                  <c:v>0.319190297841983</c:v>
                </c:pt>
                <c:pt idx="17898">
                  <c:v>0.31920813269127801</c:v>
                </c:pt>
                <c:pt idx="17899">
                  <c:v>0.31922596754057397</c:v>
                </c:pt>
                <c:pt idx="17900">
                  <c:v>0.31924380238986899</c:v>
                </c:pt>
                <c:pt idx="17901">
                  <c:v>0.31926163723916501</c:v>
                </c:pt>
                <c:pt idx="17902">
                  <c:v>0.31927947208846003</c:v>
                </c:pt>
                <c:pt idx="17903">
                  <c:v>0.31929730693775599</c:v>
                </c:pt>
                <c:pt idx="17904">
                  <c:v>0.319315141787051</c:v>
                </c:pt>
                <c:pt idx="17905">
                  <c:v>0.31933297663634702</c:v>
                </c:pt>
                <c:pt idx="17906">
                  <c:v>0.31935081148564198</c:v>
                </c:pt>
                <c:pt idx="17907">
                  <c:v>0.319368646334938</c:v>
                </c:pt>
                <c:pt idx="17908">
                  <c:v>0.31938648118423402</c:v>
                </c:pt>
                <c:pt idx="17909">
                  <c:v>0.31940431603352898</c:v>
                </c:pt>
                <c:pt idx="17910">
                  <c:v>0.319422150882825</c:v>
                </c:pt>
                <c:pt idx="17911">
                  <c:v>0.31943998573212001</c:v>
                </c:pt>
                <c:pt idx="17912">
                  <c:v>0.31945782058141597</c:v>
                </c:pt>
                <c:pt idx="17913">
                  <c:v>0.31947565543071099</c:v>
                </c:pt>
                <c:pt idx="17914">
                  <c:v>0.31949349028000701</c:v>
                </c:pt>
                <c:pt idx="17915">
                  <c:v>0.31951132512930203</c:v>
                </c:pt>
                <c:pt idx="17916">
                  <c:v>0.31952915997859799</c:v>
                </c:pt>
                <c:pt idx="17917">
                  <c:v>0.31954699482789301</c:v>
                </c:pt>
                <c:pt idx="17918">
                  <c:v>0.31956482967718902</c:v>
                </c:pt>
                <c:pt idx="17919">
                  <c:v>0.31958266452648398</c:v>
                </c:pt>
                <c:pt idx="17920">
                  <c:v>0.31960049937578</c:v>
                </c:pt>
                <c:pt idx="17921">
                  <c:v>0.31961833422507502</c:v>
                </c:pt>
                <c:pt idx="17922">
                  <c:v>0.31963616907437098</c:v>
                </c:pt>
                <c:pt idx="17923">
                  <c:v>0.319654003923666</c:v>
                </c:pt>
                <c:pt idx="17924">
                  <c:v>0.31967183877296201</c:v>
                </c:pt>
                <c:pt idx="17925">
                  <c:v>0.31968967362225698</c:v>
                </c:pt>
                <c:pt idx="17926">
                  <c:v>0.31970750847155299</c:v>
                </c:pt>
                <c:pt idx="17927">
                  <c:v>0.31972534332084801</c:v>
                </c:pt>
                <c:pt idx="17928">
                  <c:v>0.31974317817014403</c:v>
                </c:pt>
                <c:pt idx="17929">
                  <c:v>0.31976101301943999</c:v>
                </c:pt>
                <c:pt idx="17930">
                  <c:v>0.31977884786873501</c:v>
                </c:pt>
                <c:pt idx="17931">
                  <c:v>0.31979668271803102</c:v>
                </c:pt>
                <c:pt idx="17932">
                  <c:v>0.31981451756732598</c:v>
                </c:pt>
                <c:pt idx="17933">
                  <c:v>0.319832352416622</c:v>
                </c:pt>
                <c:pt idx="17934">
                  <c:v>0.31985018726591702</c:v>
                </c:pt>
                <c:pt idx="17935">
                  <c:v>0.31986802211521298</c:v>
                </c:pt>
                <c:pt idx="17936">
                  <c:v>0.319885856964508</c:v>
                </c:pt>
                <c:pt idx="17937">
                  <c:v>0.31990369181380401</c:v>
                </c:pt>
                <c:pt idx="17938">
                  <c:v>0.31992152666309898</c:v>
                </c:pt>
                <c:pt idx="17939">
                  <c:v>0.31993936151239499</c:v>
                </c:pt>
                <c:pt idx="17940">
                  <c:v>0.31995719636169001</c:v>
                </c:pt>
                <c:pt idx="17941">
                  <c:v>0.31997503121098603</c:v>
                </c:pt>
                <c:pt idx="17942">
                  <c:v>0.31999286606028099</c:v>
                </c:pt>
                <c:pt idx="17943">
                  <c:v>0.32001070090957701</c:v>
                </c:pt>
                <c:pt idx="17944">
                  <c:v>0.32002853575887202</c:v>
                </c:pt>
                <c:pt idx="17945">
                  <c:v>0.32004637060816798</c:v>
                </c:pt>
                <c:pt idx="17946">
                  <c:v>0.320064205457463</c:v>
                </c:pt>
                <c:pt idx="17947">
                  <c:v>0.32008204030675902</c:v>
                </c:pt>
                <c:pt idx="17948">
                  <c:v>0.32009987515605398</c:v>
                </c:pt>
                <c:pt idx="17949">
                  <c:v>0.32011771000535</c:v>
                </c:pt>
                <c:pt idx="17950">
                  <c:v>0.32013554485464502</c:v>
                </c:pt>
                <c:pt idx="17951">
                  <c:v>0.32015337970394098</c:v>
                </c:pt>
                <c:pt idx="17952">
                  <c:v>0.32017121455323699</c:v>
                </c:pt>
                <c:pt idx="17953">
                  <c:v>0.32018904940253201</c:v>
                </c:pt>
                <c:pt idx="17954">
                  <c:v>0.32020688425182797</c:v>
                </c:pt>
                <c:pt idx="17955">
                  <c:v>0.32022471910112299</c:v>
                </c:pt>
                <c:pt idx="17956">
                  <c:v>0.32024255395041901</c:v>
                </c:pt>
                <c:pt idx="17957">
                  <c:v>0.32026038879971402</c:v>
                </c:pt>
                <c:pt idx="17958">
                  <c:v>0.32027822364900999</c:v>
                </c:pt>
                <c:pt idx="17959">
                  <c:v>0.320296058498305</c:v>
                </c:pt>
                <c:pt idx="17960">
                  <c:v>0.32031389334760102</c:v>
                </c:pt>
                <c:pt idx="17961">
                  <c:v>0.32033172819689598</c:v>
                </c:pt>
                <c:pt idx="17962">
                  <c:v>0.320349563046192</c:v>
                </c:pt>
                <c:pt idx="17963">
                  <c:v>0.32036739789548702</c:v>
                </c:pt>
                <c:pt idx="17964">
                  <c:v>0.32038523274478298</c:v>
                </c:pt>
                <c:pt idx="17965">
                  <c:v>0.32040306759407799</c:v>
                </c:pt>
                <c:pt idx="17966">
                  <c:v>0.32042090244337401</c:v>
                </c:pt>
                <c:pt idx="17967">
                  <c:v>0.32043873729266897</c:v>
                </c:pt>
                <c:pt idx="17968">
                  <c:v>0.32045657214196499</c:v>
                </c:pt>
                <c:pt idx="17969">
                  <c:v>0.32047440699126001</c:v>
                </c:pt>
                <c:pt idx="17970">
                  <c:v>0.32049224184055602</c:v>
                </c:pt>
                <c:pt idx="17971">
                  <c:v>0.32051007668985199</c:v>
                </c:pt>
                <c:pt idx="17972">
                  <c:v>0.320527911539147</c:v>
                </c:pt>
                <c:pt idx="17973">
                  <c:v>0.32054574638844302</c:v>
                </c:pt>
                <c:pt idx="17974">
                  <c:v>0.32056358123773798</c:v>
                </c:pt>
                <c:pt idx="17975">
                  <c:v>0.320581416087034</c:v>
                </c:pt>
                <c:pt idx="17976">
                  <c:v>0.32059925093632902</c:v>
                </c:pt>
                <c:pt idx="17977">
                  <c:v>0.32061708578562498</c:v>
                </c:pt>
                <c:pt idx="17978">
                  <c:v>0.32063492063492</c:v>
                </c:pt>
                <c:pt idx="17979">
                  <c:v>0.32065275548421601</c:v>
                </c:pt>
                <c:pt idx="17980">
                  <c:v>0.32067059033351097</c:v>
                </c:pt>
                <c:pt idx="17981">
                  <c:v>0.32068842518280699</c:v>
                </c:pt>
                <c:pt idx="17982">
                  <c:v>0.32070626003210201</c:v>
                </c:pt>
                <c:pt idx="17983">
                  <c:v>0.32072409488139803</c:v>
                </c:pt>
                <c:pt idx="17984">
                  <c:v>0.32074192973069299</c:v>
                </c:pt>
                <c:pt idx="17985">
                  <c:v>0.320759764579989</c:v>
                </c:pt>
                <c:pt idx="17986">
                  <c:v>0.32077759942928402</c:v>
                </c:pt>
                <c:pt idx="17987">
                  <c:v>0.32079543427857998</c:v>
                </c:pt>
                <c:pt idx="17988">
                  <c:v>0.320813269127875</c:v>
                </c:pt>
                <c:pt idx="17989">
                  <c:v>0.32083110397717102</c:v>
                </c:pt>
                <c:pt idx="17990">
                  <c:v>0.32084893882646598</c:v>
                </c:pt>
                <c:pt idx="17991">
                  <c:v>0.320866773675762</c:v>
                </c:pt>
                <c:pt idx="17992">
                  <c:v>0.32088460852505701</c:v>
                </c:pt>
                <c:pt idx="17993">
                  <c:v>0.32090244337435297</c:v>
                </c:pt>
                <c:pt idx="17994">
                  <c:v>0.32092027822364899</c:v>
                </c:pt>
                <c:pt idx="17995">
                  <c:v>0.32093811307294401</c:v>
                </c:pt>
                <c:pt idx="17996">
                  <c:v>0.32095594792224003</c:v>
                </c:pt>
                <c:pt idx="17997">
                  <c:v>0.32097378277153499</c:v>
                </c:pt>
                <c:pt idx="17998">
                  <c:v>0.320991617620831</c:v>
                </c:pt>
                <c:pt idx="17999">
                  <c:v>0.32100945247012602</c:v>
                </c:pt>
                <c:pt idx="18000">
                  <c:v>0.32102728731942198</c:v>
                </c:pt>
                <c:pt idx="18001">
                  <c:v>0.321045122168717</c:v>
                </c:pt>
                <c:pt idx="18002">
                  <c:v>0.32106295701801302</c:v>
                </c:pt>
                <c:pt idx="18003">
                  <c:v>0.32108079186730798</c:v>
                </c:pt>
                <c:pt idx="18004">
                  <c:v>0.321098626716604</c:v>
                </c:pt>
                <c:pt idx="18005">
                  <c:v>0.32111646156589901</c:v>
                </c:pt>
                <c:pt idx="18006">
                  <c:v>0.32113429641519498</c:v>
                </c:pt>
                <c:pt idx="18007">
                  <c:v>0.32115213126448999</c:v>
                </c:pt>
                <c:pt idx="18008">
                  <c:v>0.32116996611378601</c:v>
                </c:pt>
                <c:pt idx="18009">
                  <c:v>0.32118780096308103</c:v>
                </c:pt>
                <c:pt idx="18010">
                  <c:v>0.32120563581237699</c:v>
                </c:pt>
                <c:pt idx="18011">
                  <c:v>0.32122347066167201</c:v>
                </c:pt>
                <c:pt idx="18012">
                  <c:v>0.32124130551096802</c:v>
                </c:pt>
                <c:pt idx="18013">
                  <c:v>0.32125914036026298</c:v>
                </c:pt>
                <c:pt idx="18014">
                  <c:v>0.321276975209559</c:v>
                </c:pt>
                <c:pt idx="18015">
                  <c:v>0.32129481005885502</c:v>
                </c:pt>
                <c:pt idx="18016">
                  <c:v>0.32131264490814998</c:v>
                </c:pt>
                <c:pt idx="18017">
                  <c:v>0.321330479757446</c:v>
                </c:pt>
                <c:pt idx="18018">
                  <c:v>0.32134831460674101</c:v>
                </c:pt>
                <c:pt idx="18019">
                  <c:v>0.32136614945603698</c:v>
                </c:pt>
                <c:pt idx="18020">
                  <c:v>0.32138398430533199</c:v>
                </c:pt>
                <c:pt idx="18021">
                  <c:v>0.32140181915462801</c:v>
                </c:pt>
                <c:pt idx="18022">
                  <c:v>0.32141965400392303</c:v>
                </c:pt>
                <c:pt idx="18023">
                  <c:v>0.32143748885321899</c:v>
                </c:pt>
                <c:pt idx="18024">
                  <c:v>0.32145532370251401</c:v>
                </c:pt>
                <c:pt idx="18025">
                  <c:v>0.32147315855181002</c:v>
                </c:pt>
                <c:pt idx="18026">
                  <c:v>0.32149099340110499</c:v>
                </c:pt>
                <c:pt idx="18027">
                  <c:v>0.321508828250401</c:v>
                </c:pt>
                <c:pt idx="18028">
                  <c:v>0.32152666309969602</c:v>
                </c:pt>
                <c:pt idx="18029">
                  <c:v>0.32154449794899198</c:v>
                </c:pt>
                <c:pt idx="18030">
                  <c:v>0.321562332798287</c:v>
                </c:pt>
                <c:pt idx="18031">
                  <c:v>0.32158016764758302</c:v>
                </c:pt>
                <c:pt idx="18032">
                  <c:v>0.32159800249687798</c:v>
                </c:pt>
                <c:pt idx="18033">
                  <c:v>0.32161583734617399</c:v>
                </c:pt>
                <c:pt idx="18034">
                  <c:v>0.32163367219546901</c:v>
                </c:pt>
                <c:pt idx="18035">
                  <c:v>0.32165150704476497</c:v>
                </c:pt>
                <c:pt idx="18036">
                  <c:v>0.32166934189406099</c:v>
                </c:pt>
                <c:pt idx="18037">
                  <c:v>0.32168717674335601</c:v>
                </c:pt>
                <c:pt idx="18038">
                  <c:v>0.32170501159265202</c:v>
                </c:pt>
                <c:pt idx="18039">
                  <c:v>0.32172284644194699</c:v>
                </c:pt>
                <c:pt idx="18040">
                  <c:v>0.321740681291243</c:v>
                </c:pt>
                <c:pt idx="18041">
                  <c:v>0.32175851614053802</c:v>
                </c:pt>
                <c:pt idx="18042">
                  <c:v>0.32177635098983398</c:v>
                </c:pt>
                <c:pt idx="18043">
                  <c:v>0.321794185839129</c:v>
                </c:pt>
                <c:pt idx="18044">
                  <c:v>0.32181202068842502</c:v>
                </c:pt>
                <c:pt idx="18045">
                  <c:v>0.32182985553771998</c:v>
                </c:pt>
                <c:pt idx="18046">
                  <c:v>0.32184769038701599</c:v>
                </c:pt>
                <c:pt idx="18047">
                  <c:v>0.32186552523631101</c:v>
                </c:pt>
                <c:pt idx="18048">
                  <c:v>0.32188336008560697</c:v>
                </c:pt>
                <c:pt idx="18049">
                  <c:v>0.32190119493490199</c:v>
                </c:pt>
                <c:pt idx="18050">
                  <c:v>0.32191902978419801</c:v>
                </c:pt>
                <c:pt idx="18051">
                  <c:v>0.32193686463349303</c:v>
                </c:pt>
                <c:pt idx="18052">
                  <c:v>0.32195469948278899</c:v>
                </c:pt>
                <c:pt idx="18053">
                  <c:v>0.321972534332084</c:v>
                </c:pt>
                <c:pt idx="18054">
                  <c:v>0.32199036918138002</c:v>
                </c:pt>
                <c:pt idx="18055">
                  <c:v>0.32200820403067498</c:v>
                </c:pt>
                <c:pt idx="18056">
                  <c:v>0.322026038879971</c:v>
                </c:pt>
                <c:pt idx="18057">
                  <c:v>0.32204387372926602</c:v>
                </c:pt>
                <c:pt idx="18058">
                  <c:v>0.32206170857856198</c:v>
                </c:pt>
                <c:pt idx="18059">
                  <c:v>0.32207954342785799</c:v>
                </c:pt>
                <c:pt idx="18060">
                  <c:v>0.32209737827715301</c:v>
                </c:pt>
                <c:pt idx="18061">
                  <c:v>0.32211521312644897</c:v>
                </c:pt>
                <c:pt idx="18062">
                  <c:v>0.32213304797574399</c:v>
                </c:pt>
                <c:pt idx="18063">
                  <c:v>0.32215088282504001</c:v>
                </c:pt>
                <c:pt idx="18064">
                  <c:v>0.32216871767433503</c:v>
                </c:pt>
                <c:pt idx="18065">
                  <c:v>0.32218655252363099</c:v>
                </c:pt>
                <c:pt idx="18066">
                  <c:v>0.322204387372926</c:v>
                </c:pt>
                <c:pt idx="18067">
                  <c:v>0.32222222222222202</c:v>
                </c:pt>
                <c:pt idx="18068">
                  <c:v>0.32224005707151698</c:v>
                </c:pt>
                <c:pt idx="18069">
                  <c:v>0.322257891920813</c:v>
                </c:pt>
                <c:pt idx="18070">
                  <c:v>0.32227572677010802</c:v>
                </c:pt>
                <c:pt idx="18071">
                  <c:v>0.32229356161940398</c:v>
                </c:pt>
                <c:pt idx="18072">
                  <c:v>0.322311396468699</c:v>
                </c:pt>
                <c:pt idx="18073">
                  <c:v>0.32232923131799501</c:v>
                </c:pt>
                <c:pt idx="18074">
                  <c:v>0.32234706616728998</c:v>
                </c:pt>
                <c:pt idx="18075">
                  <c:v>0.32236490101658599</c:v>
                </c:pt>
                <c:pt idx="18076">
                  <c:v>0.32238273586588101</c:v>
                </c:pt>
                <c:pt idx="18077">
                  <c:v>0.32240057071517703</c:v>
                </c:pt>
                <c:pt idx="18078">
                  <c:v>0.32241840556447299</c:v>
                </c:pt>
                <c:pt idx="18079">
                  <c:v>0.322436240413768</c:v>
                </c:pt>
                <c:pt idx="18080">
                  <c:v>0.32245407526306402</c:v>
                </c:pt>
                <c:pt idx="18081">
                  <c:v>0.32247191011235898</c:v>
                </c:pt>
                <c:pt idx="18082">
                  <c:v>0.322489744961655</c:v>
                </c:pt>
                <c:pt idx="18083">
                  <c:v>0.32250757981095002</c:v>
                </c:pt>
                <c:pt idx="18084">
                  <c:v>0.32252541466024598</c:v>
                </c:pt>
                <c:pt idx="18085">
                  <c:v>0.322543249509541</c:v>
                </c:pt>
                <c:pt idx="18086">
                  <c:v>0.32256108435883701</c:v>
                </c:pt>
                <c:pt idx="18087">
                  <c:v>0.32257891920813198</c:v>
                </c:pt>
                <c:pt idx="18088">
                  <c:v>0.32259675405742799</c:v>
                </c:pt>
                <c:pt idx="18089">
                  <c:v>0.32261458890672301</c:v>
                </c:pt>
                <c:pt idx="18090">
                  <c:v>0.32263242375601903</c:v>
                </c:pt>
                <c:pt idx="18091">
                  <c:v>0.32265025860531399</c:v>
                </c:pt>
                <c:pt idx="18092">
                  <c:v>0.32266809345461001</c:v>
                </c:pt>
                <c:pt idx="18093">
                  <c:v>0.32268592830390502</c:v>
                </c:pt>
                <c:pt idx="18094">
                  <c:v>0.32270376315320098</c:v>
                </c:pt>
                <c:pt idx="18095">
                  <c:v>0.322721598002496</c:v>
                </c:pt>
                <c:pt idx="18096">
                  <c:v>0.32273943285179202</c:v>
                </c:pt>
                <c:pt idx="18097">
                  <c:v>0.32275726770108698</c:v>
                </c:pt>
                <c:pt idx="18098">
                  <c:v>0.322775102550383</c:v>
                </c:pt>
                <c:pt idx="18099">
                  <c:v>0.32279293739967801</c:v>
                </c:pt>
                <c:pt idx="18100">
                  <c:v>0.32281077224897398</c:v>
                </c:pt>
                <c:pt idx="18101">
                  <c:v>0.32282860709826999</c:v>
                </c:pt>
                <c:pt idx="18102">
                  <c:v>0.32284644194756501</c:v>
                </c:pt>
                <c:pt idx="18103">
                  <c:v>0.32286427679686103</c:v>
                </c:pt>
                <c:pt idx="18104">
                  <c:v>0.32288211164615599</c:v>
                </c:pt>
                <c:pt idx="18105">
                  <c:v>0.32289994649545201</c:v>
                </c:pt>
                <c:pt idx="18106">
                  <c:v>0.32291778134474702</c:v>
                </c:pt>
                <c:pt idx="18107">
                  <c:v>0.32293561619404298</c:v>
                </c:pt>
                <c:pt idx="18108">
                  <c:v>0.322953451043338</c:v>
                </c:pt>
                <c:pt idx="18109">
                  <c:v>0.32297128589263402</c:v>
                </c:pt>
                <c:pt idx="18110">
                  <c:v>0.32298912074192898</c:v>
                </c:pt>
                <c:pt idx="18111">
                  <c:v>0.323006955591225</c:v>
                </c:pt>
                <c:pt idx="18112">
                  <c:v>0.32302479044052002</c:v>
                </c:pt>
                <c:pt idx="18113">
                  <c:v>0.32304262528981598</c:v>
                </c:pt>
                <c:pt idx="18114">
                  <c:v>0.32306046013911099</c:v>
                </c:pt>
                <c:pt idx="18115">
                  <c:v>0.32307829498840701</c:v>
                </c:pt>
                <c:pt idx="18116">
                  <c:v>0.32309612983770197</c:v>
                </c:pt>
                <c:pt idx="18117">
                  <c:v>0.32311396468699799</c:v>
                </c:pt>
                <c:pt idx="18118">
                  <c:v>0.32313179953629301</c:v>
                </c:pt>
                <c:pt idx="18119">
                  <c:v>0.32314963438558902</c:v>
                </c:pt>
                <c:pt idx="18120">
                  <c:v>0.32316746923488499</c:v>
                </c:pt>
                <c:pt idx="18121">
                  <c:v>0.32318530408418</c:v>
                </c:pt>
                <c:pt idx="18122">
                  <c:v>0.32320313893347602</c:v>
                </c:pt>
                <c:pt idx="18123">
                  <c:v>0.32322097378277098</c:v>
                </c:pt>
                <c:pt idx="18124">
                  <c:v>0.323238808632067</c:v>
                </c:pt>
                <c:pt idx="18125">
                  <c:v>0.32325664348136202</c:v>
                </c:pt>
                <c:pt idx="18126">
                  <c:v>0.32327447833065798</c:v>
                </c:pt>
                <c:pt idx="18127">
                  <c:v>0.32329231317995299</c:v>
                </c:pt>
                <c:pt idx="18128">
                  <c:v>0.32331014802924901</c:v>
                </c:pt>
                <c:pt idx="18129">
                  <c:v>0.32332798287854397</c:v>
                </c:pt>
                <c:pt idx="18130">
                  <c:v>0.32334581772783999</c:v>
                </c:pt>
                <c:pt idx="18131">
                  <c:v>0.32336365257713501</c:v>
                </c:pt>
                <c:pt idx="18132">
                  <c:v>0.32338148742643102</c:v>
                </c:pt>
                <c:pt idx="18133">
                  <c:v>0.32339932227572599</c:v>
                </c:pt>
                <c:pt idx="18134">
                  <c:v>0.323417157125022</c:v>
                </c:pt>
                <c:pt idx="18135">
                  <c:v>0.32343499197431702</c:v>
                </c:pt>
                <c:pt idx="18136">
                  <c:v>0.32345282682361298</c:v>
                </c:pt>
                <c:pt idx="18137">
                  <c:v>0.323470661672908</c:v>
                </c:pt>
                <c:pt idx="18138">
                  <c:v>0.32348849652220402</c:v>
                </c:pt>
                <c:pt idx="18139">
                  <c:v>0.32350633137149898</c:v>
                </c:pt>
                <c:pt idx="18140">
                  <c:v>0.323524166220795</c:v>
                </c:pt>
                <c:pt idx="18141">
                  <c:v>0.32354200107009001</c:v>
                </c:pt>
                <c:pt idx="18142">
                  <c:v>0.32355983591938597</c:v>
                </c:pt>
                <c:pt idx="18143">
                  <c:v>0.32357767076868199</c:v>
                </c:pt>
                <c:pt idx="18144">
                  <c:v>0.32359550561797701</c:v>
                </c:pt>
                <c:pt idx="18145">
                  <c:v>0.32361334046727303</c:v>
                </c:pt>
                <c:pt idx="18146">
                  <c:v>0.32363117531656799</c:v>
                </c:pt>
                <c:pt idx="18147">
                  <c:v>0.323649010165864</c:v>
                </c:pt>
                <c:pt idx="18148">
                  <c:v>0.32366684501515902</c:v>
                </c:pt>
                <c:pt idx="18149">
                  <c:v>0.32368467986445498</c:v>
                </c:pt>
                <c:pt idx="18150">
                  <c:v>0.32370251471375</c:v>
                </c:pt>
                <c:pt idx="18151">
                  <c:v>0.32372034956304602</c:v>
                </c:pt>
                <c:pt idx="18152">
                  <c:v>0.32373818441234098</c:v>
                </c:pt>
                <c:pt idx="18153">
                  <c:v>0.323756019261637</c:v>
                </c:pt>
                <c:pt idx="18154">
                  <c:v>0.32377385411093201</c:v>
                </c:pt>
                <c:pt idx="18155">
                  <c:v>0.32379168896022797</c:v>
                </c:pt>
                <c:pt idx="18156">
                  <c:v>0.32380952380952299</c:v>
                </c:pt>
                <c:pt idx="18157">
                  <c:v>0.32382735865881901</c:v>
                </c:pt>
                <c:pt idx="18158">
                  <c:v>0.32384519350811403</c:v>
                </c:pt>
                <c:pt idx="18159">
                  <c:v>0.32386302835740999</c:v>
                </c:pt>
                <c:pt idx="18160">
                  <c:v>0.32388086320670501</c:v>
                </c:pt>
                <c:pt idx="18161">
                  <c:v>0.32389869805600102</c:v>
                </c:pt>
                <c:pt idx="18162">
                  <c:v>0.32391653290529598</c:v>
                </c:pt>
                <c:pt idx="18163">
                  <c:v>0.323934367754592</c:v>
                </c:pt>
                <c:pt idx="18164">
                  <c:v>0.32395220260388802</c:v>
                </c:pt>
                <c:pt idx="18165">
                  <c:v>0.32397003745318298</c:v>
                </c:pt>
                <c:pt idx="18166">
                  <c:v>0.323987872302479</c:v>
                </c:pt>
                <c:pt idx="18167">
                  <c:v>0.32400570715177401</c:v>
                </c:pt>
                <c:pt idx="18168">
                  <c:v>0.32402354200106998</c:v>
                </c:pt>
                <c:pt idx="18169">
                  <c:v>0.32404137685036499</c:v>
                </c:pt>
                <c:pt idx="18170">
                  <c:v>0.32405921169966101</c:v>
                </c:pt>
                <c:pt idx="18171">
                  <c:v>0.32407704654895603</c:v>
                </c:pt>
                <c:pt idx="18172">
                  <c:v>0.32409488139825199</c:v>
                </c:pt>
                <c:pt idx="18173">
                  <c:v>0.32411271624754701</c:v>
                </c:pt>
                <c:pt idx="18174">
                  <c:v>0.32413055109684302</c:v>
                </c:pt>
                <c:pt idx="18175">
                  <c:v>0.32414838594613798</c:v>
                </c:pt>
                <c:pt idx="18176">
                  <c:v>0.324166220795434</c:v>
                </c:pt>
                <c:pt idx="18177">
                  <c:v>0.32418405564472902</c:v>
                </c:pt>
                <c:pt idx="18178">
                  <c:v>0.32420189049402498</c:v>
                </c:pt>
                <c:pt idx="18179">
                  <c:v>0.32421972534332</c:v>
                </c:pt>
                <c:pt idx="18180">
                  <c:v>0.32423756019261601</c:v>
                </c:pt>
                <c:pt idx="18181">
                  <c:v>0.32425539504191098</c:v>
                </c:pt>
                <c:pt idx="18182">
                  <c:v>0.32427322989120699</c:v>
                </c:pt>
                <c:pt idx="18183">
                  <c:v>0.32429106474050201</c:v>
                </c:pt>
                <c:pt idx="18184">
                  <c:v>0.32430889958979803</c:v>
                </c:pt>
                <c:pt idx="18185">
                  <c:v>0.32432673443909399</c:v>
                </c:pt>
                <c:pt idx="18186">
                  <c:v>0.32434456928838901</c:v>
                </c:pt>
                <c:pt idx="18187">
                  <c:v>0.32436240413768502</c:v>
                </c:pt>
                <c:pt idx="18188">
                  <c:v>0.32438023898697999</c:v>
                </c:pt>
                <c:pt idx="18189">
                  <c:v>0.324398073836276</c:v>
                </c:pt>
                <c:pt idx="18190">
                  <c:v>0.32441590868557102</c:v>
                </c:pt>
                <c:pt idx="18191">
                  <c:v>0.32443374353486698</c:v>
                </c:pt>
                <c:pt idx="18192">
                  <c:v>0.324451578384162</c:v>
                </c:pt>
                <c:pt idx="18193">
                  <c:v>0.32446941323345802</c:v>
                </c:pt>
                <c:pt idx="18194">
                  <c:v>0.32448724808275298</c:v>
                </c:pt>
                <c:pt idx="18195">
                  <c:v>0.32450508293204899</c:v>
                </c:pt>
                <c:pt idx="18196">
                  <c:v>0.32452291778134401</c:v>
                </c:pt>
                <c:pt idx="18197">
                  <c:v>0.32454075263063997</c:v>
                </c:pt>
                <c:pt idx="18198">
                  <c:v>0.32455858747993499</c:v>
                </c:pt>
                <c:pt idx="18199">
                  <c:v>0.32457642232923101</c:v>
                </c:pt>
                <c:pt idx="18200">
                  <c:v>0.32459425717852602</c:v>
                </c:pt>
                <c:pt idx="18201">
                  <c:v>0.32461209202782199</c:v>
                </c:pt>
                <c:pt idx="18202">
                  <c:v>0.324629926877117</c:v>
                </c:pt>
                <c:pt idx="18203">
                  <c:v>0.32464776172641302</c:v>
                </c:pt>
                <c:pt idx="18204">
                  <c:v>0.32466559657570798</c:v>
                </c:pt>
                <c:pt idx="18205">
                  <c:v>0.324683431425004</c:v>
                </c:pt>
                <c:pt idx="18206">
                  <c:v>0.32470126627429902</c:v>
                </c:pt>
                <c:pt idx="18207">
                  <c:v>0.32471910112359498</c:v>
                </c:pt>
                <c:pt idx="18208">
                  <c:v>0.32473693597289099</c:v>
                </c:pt>
                <c:pt idx="18209">
                  <c:v>0.32475477082218601</c:v>
                </c:pt>
                <c:pt idx="18210">
                  <c:v>0.32477260567148197</c:v>
                </c:pt>
                <c:pt idx="18211">
                  <c:v>0.32479044052077699</c:v>
                </c:pt>
                <c:pt idx="18212">
                  <c:v>0.32480827537007301</c:v>
                </c:pt>
                <c:pt idx="18213">
                  <c:v>0.32482611021936802</c:v>
                </c:pt>
                <c:pt idx="18214">
                  <c:v>0.32484394506866399</c:v>
                </c:pt>
                <c:pt idx="18215">
                  <c:v>0.324861779917959</c:v>
                </c:pt>
                <c:pt idx="18216">
                  <c:v>0.32487961476725502</c:v>
                </c:pt>
                <c:pt idx="18217">
                  <c:v>0.32489744961654998</c:v>
                </c:pt>
                <c:pt idx="18218">
                  <c:v>0.324915284465846</c:v>
                </c:pt>
                <c:pt idx="18219">
                  <c:v>0.32493311931514102</c:v>
                </c:pt>
                <c:pt idx="18220">
                  <c:v>0.32495095416443698</c:v>
                </c:pt>
                <c:pt idx="18221">
                  <c:v>0.324968789013732</c:v>
                </c:pt>
                <c:pt idx="18222">
                  <c:v>0.32498662386302801</c:v>
                </c:pt>
                <c:pt idx="18223">
                  <c:v>0.32500445871232297</c:v>
                </c:pt>
                <c:pt idx="18224">
                  <c:v>0.32502229356161899</c:v>
                </c:pt>
                <c:pt idx="18225">
                  <c:v>0.32504012841091401</c:v>
                </c:pt>
                <c:pt idx="18226">
                  <c:v>0.32505796326021003</c:v>
                </c:pt>
                <c:pt idx="18227">
                  <c:v>0.32507579810950599</c:v>
                </c:pt>
                <c:pt idx="18228">
                  <c:v>0.325093632958801</c:v>
                </c:pt>
                <c:pt idx="18229">
                  <c:v>0.32511146780809702</c:v>
                </c:pt>
                <c:pt idx="18230">
                  <c:v>0.32512930265739198</c:v>
                </c:pt>
                <c:pt idx="18231">
                  <c:v>0.325147137506688</c:v>
                </c:pt>
                <c:pt idx="18232">
                  <c:v>0.32516497235598302</c:v>
                </c:pt>
                <c:pt idx="18233">
                  <c:v>0.32518280720527898</c:v>
                </c:pt>
                <c:pt idx="18234">
                  <c:v>0.325200642054574</c:v>
                </c:pt>
                <c:pt idx="18235">
                  <c:v>0.32521847690387001</c:v>
                </c:pt>
                <c:pt idx="18236">
                  <c:v>0.32523631175316497</c:v>
                </c:pt>
                <c:pt idx="18237">
                  <c:v>0.32525414660246099</c:v>
                </c:pt>
                <c:pt idx="18238">
                  <c:v>0.32527198145175601</c:v>
                </c:pt>
                <c:pt idx="18239">
                  <c:v>0.32528981630105203</c:v>
                </c:pt>
                <c:pt idx="18240">
                  <c:v>0.32530765115034699</c:v>
                </c:pt>
                <c:pt idx="18241">
                  <c:v>0.325325485999643</c:v>
                </c:pt>
                <c:pt idx="18242">
                  <c:v>0.32534332084893802</c:v>
                </c:pt>
                <c:pt idx="18243">
                  <c:v>0.32536115569823398</c:v>
                </c:pt>
                <c:pt idx="18244">
                  <c:v>0.325378990547529</c:v>
                </c:pt>
                <c:pt idx="18245">
                  <c:v>0.32539682539682502</c:v>
                </c:pt>
                <c:pt idx="18246">
                  <c:v>0.32541466024611998</c:v>
                </c:pt>
                <c:pt idx="18247">
                  <c:v>0.325432495095416</c:v>
                </c:pt>
                <c:pt idx="18248">
                  <c:v>0.32545032994471101</c:v>
                </c:pt>
                <c:pt idx="18249">
                  <c:v>0.32546816479400698</c:v>
                </c:pt>
                <c:pt idx="18250">
                  <c:v>0.32548599964330299</c:v>
                </c:pt>
                <c:pt idx="18251">
                  <c:v>0.32550383449259801</c:v>
                </c:pt>
                <c:pt idx="18252">
                  <c:v>0.32552166934189403</c:v>
                </c:pt>
                <c:pt idx="18253">
                  <c:v>0.32553950419118899</c:v>
                </c:pt>
                <c:pt idx="18254">
                  <c:v>0.32555733904048501</c:v>
                </c:pt>
                <c:pt idx="18255">
                  <c:v>0.32557517388978002</c:v>
                </c:pt>
                <c:pt idx="18256">
                  <c:v>0.32559300873907598</c:v>
                </c:pt>
                <c:pt idx="18257">
                  <c:v>0.325610843588371</c:v>
                </c:pt>
                <c:pt idx="18258">
                  <c:v>0.32562867843766702</c:v>
                </c:pt>
                <c:pt idx="18259">
                  <c:v>0.32564651328696198</c:v>
                </c:pt>
                <c:pt idx="18260">
                  <c:v>0.325664348136258</c:v>
                </c:pt>
                <c:pt idx="18261">
                  <c:v>0.32568218298555301</c:v>
                </c:pt>
                <c:pt idx="18262">
                  <c:v>0.32570001783484898</c:v>
                </c:pt>
                <c:pt idx="18263">
                  <c:v>0.32571785268414399</c:v>
                </c:pt>
                <c:pt idx="18264">
                  <c:v>0.32573568753344001</c:v>
                </c:pt>
                <c:pt idx="18265">
                  <c:v>0.32575352238273497</c:v>
                </c:pt>
                <c:pt idx="18266">
                  <c:v>0.32577135723203099</c:v>
                </c:pt>
                <c:pt idx="18267">
                  <c:v>0.32578919208132601</c:v>
                </c:pt>
                <c:pt idx="18268">
                  <c:v>0.32580702693062202</c:v>
                </c:pt>
                <c:pt idx="18269">
                  <c:v>0.32582486177991798</c:v>
                </c:pt>
                <c:pt idx="18270">
                  <c:v>0.325842696629213</c:v>
                </c:pt>
                <c:pt idx="18271">
                  <c:v>0.32586053147850902</c:v>
                </c:pt>
                <c:pt idx="18272">
                  <c:v>0.32587836632780398</c:v>
                </c:pt>
                <c:pt idx="18273">
                  <c:v>0.3258962011771</c:v>
                </c:pt>
                <c:pt idx="18274">
                  <c:v>0.32591403602639502</c:v>
                </c:pt>
                <c:pt idx="18275">
                  <c:v>0.32593187087569098</c:v>
                </c:pt>
                <c:pt idx="18276">
                  <c:v>0.32594970572498599</c:v>
                </c:pt>
                <c:pt idx="18277">
                  <c:v>0.32596754057428201</c:v>
                </c:pt>
                <c:pt idx="18278">
                  <c:v>0.32598537542357697</c:v>
                </c:pt>
                <c:pt idx="18279">
                  <c:v>0.32600321027287299</c:v>
                </c:pt>
                <c:pt idx="18280">
                  <c:v>0.32602104512216801</c:v>
                </c:pt>
                <c:pt idx="18281">
                  <c:v>0.32603887997146402</c:v>
                </c:pt>
                <c:pt idx="18282">
                  <c:v>0.32605671482075899</c:v>
                </c:pt>
                <c:pt idx="18283">
                  <c:v>0.326074549670055</c:v>
                </c:pt>
                <c:pt idx="18284">
                  <c:v>0.32609238451935002</c:v>
                </c:pt>
                <c:pt idx="18285">
                  <c:v>0.32611021936864598</c:v>
                </c:pt>
                <c:pt idx="18286">
                  <c:v>0.326128054217941</c:v>
                </c:pt>
                <c:pt idx="18287">
                  <c:v>0.32614588906723702</c:v>
                </c:pt>
                <c:pt idx="18288">
                  <c:v>0.32616372391653198</c:v>
                </c:pt>
                <c:pt idx="18289">
                  <c:v>0.32618155876582799</c:v>
                </c:pt>
                <c:pt idx="18290">
                  <c:v>0.32619939361512301</c:v>
                </c:pt>
                <c:pt idx="18291">
                  <c:v>0.32621722846441897</c:v>
                </c:pt>
                <c:pt idx="18292">
                  <c:v>0.32623506331371499</c:v>
                </c:pt>
                <c:pt idx="18293">
                  <c:v>0.32625289816301001</c:v>
                </c:pt>
                <c:pt idx="18294">
                  <c:v>0.32627073301230602</c:v>
                </c:pt>
                <c:pt idx="18295">
                  <c:v>0.32628856786160099</c:v>
                </c:pt>
                <c:pt idx="18296">
                  <c:v>0.326306402710897</c:v>
                </c:pt>
                <c:pt idx="18297">
                  <c:v>0.32632423756019202</c:v>
                </c:pt>
                <c:pt idx="18298">
                  <c:v>0.32634207240948798</c:v>
                </c:pt>
                <c:pt idx="18299">
                  <c:v>0.326359907258783</c:v>
                </c:pt>
                <c:pt idx="18300">
                  <c:v>0.32637774210807902</c:v>
                </c:pt>
                <c:pt idx="18301">
                  <c:v>0.32639557695737398</c:v>
                </c:pt>
                <c:pt idx="18302">
                  <c:v>0.32641341180667</c:v>
                </c:pt>
                <c:pt idx="18303">
                  <c:v>0.32643124665596501</c:v>
                </c:pt>
                <c:pt idx="18304">
                  <c:v>0.32644908150526097</c:v>
                </c:pt>
                <c:pt idx="18305">
                  <c:v>0.32646691635455599</c:v>
                </c:pt>
                <c:pt idx="18306">
                  <c:v>0.32648475120385201</c:v>
                </c:pt>
                <c:pt idx="18307">
                  <c:v>0.32650258605314703</c:v>
                </c:pt>
                <c:pt idx="18308">
                  <c:v>0.32652042090244299</c:v>
                </c:pt>
                <c:pt idx="18309">
                  <c:v>0.326538255751738</c:v>
                </c:pt>
                <c:pt idx="18310">
                  <c:v>0.32655609060103402</c:v>
                </c:pt>
                <c:pt idx="18311">
                  <c:v>0.32657392545032898</c:v>
                </c:pt>
                <c:pt idx="18312">
                  <c:v>0.326591760299625</c:v>
                </c:pt>
                <c:pt idx="18313">
                  <c:v>0.32660959514892102</c:v>
                </c:pt>
                <c:pt idx="18314">
                  <c:v>0.32662742999821598</c:v>
                </c:pt>
                <c:pt idx="18315">
                  <c:v>0.326645264847512</c:v>
                </c:pt>
                <c:pt idx="18316">
                  <c:v>0.32666309969680701</c:v>
                </c:pt>
                <c:pt idx="18317">
                  <c:v>0.32668093454610297</c:v>
                </c:pt>
                <c:pt idx="18318">
                  <c:v>0.32669876939539799</c:v>
                </c:pt>
                <c:pt idx="18319">
                  <c:v>0.32671660424469401</c:v>
                </c:pt>
                <c:pt idx="18320">
                  <c:v>0.32673443909398903</c:v>
                </c:pt>
                <c:pt idx="18321">
                  <c:v>0.32675227394328499</c:v>
                </c:pt>
                <c:pt idx="18322">
                  <c:v>0.32677010879258001</c:v>
                </c:pt>
                <c:pt idx="18323">
                  <c:v>0.32678794364187602</c:v>
                </c:pt>
                <c:pt idx="18324">
                  <c:v>0.32680577849117098</c:v>
                </c:pt>
                <c:pt idx="18325">
                  <c:v>0.326823613340467</c:v>
                </c:pt>
                <c:pt idx="18326">
                  <c:v>0.32684144818976202</c:v>
                </c:pt>
                <c:pt idx="18327">
                  <c:v>0.32685928303905798</c:v>
                </c:pt>
                <c:pt idx="18328">
                  <c:v>0.326877117888353</c:v>
                </c:pt>
                <c:pt idx="18329">
                  <c:v>0.32689495273764901</c:v>
                </c:pt>
                <c:pt idx="18330">
                  <c:v>0.32691278758694398</c:v>
                </c:pt>
                <c:pt idx="18331">
                  <c:v>0.32693062243623999</c:v>
                </c:pt>
                <c:pt idx="18332">
                  <c:v>0.32694845728553501</c:v>
                </c:pt>
                <c:pt idx="18333">
                  <c:v>0.32696629213483103</c:v>
                </c:pt>
                <c:pt idx="18334">
                  <c:v>0.32698412698412699</c:v>
                </c:pt>
                <c:pt idx="18335">
                  <c:v>0.32700196183342201</c:v>
                </c:pt>
                <c:pt idx="18336">
                  <c:v>0.32701979668271802</c:v>
                </c:pt>
                <c:pt idx="18337">
                  <c:v>0.32703763153201298</c:v>
                </c:pt>
                <c:pt idx="18338">
                  <c:v>0.327055466381309</c:v>
                </c:pt>
                <c:pt idx="18339">
                  <c:v>0.32707330123060402</c:v>
                </c:pt>
                <c:pt idx="18340">
                  <c:v>0.32709113607989998</c:v>
                </c:pt>
                <c:pt idx="18341">
                  <c:v>0.327108970929195</c:v>
                </c:pt>
                <c:pt idx="18342">
                  <c:v>0.32712680577849101</c:v>
                </c:pt>
                <c:pt idx="18343">
                  <c:v>0.32714464062778598</c:v>
                </c:pt>
                <c:pt idx="18344">
                  <c:v>0.32716247547708199</c:v>
                </c:pt>
                <c:pt idx="18345">
                  <c:v>0.32718031032637701</c:v>
                </c:pt>
                <c:pt idx="18346">
                  <c:v>0.32719814517567303</c:v>
                </c:pt>
                <c:pt idx="18347">
                  <c:v>0.32721598002496799</c:v>
                </c:pt>
                <c:pt idx="18348">
                  <c:v>0.32723381487426401</c:v>
                </c:pt>
                <c:pt idx="18349">
                  <c:v>0.32725164972355902</c:v>
                </c:pt>
                <c:pt idx="18350">
                  <c:v>0.32726948457285499</c:v>
                </c:pt>
                <c:pt idx="18351">
                  <c:v>0.32728731942215</c:v>
                </c:pt>
                <c:pt idx="18352">
                  <c:v>0.32730515427144602</c:v>
                </c:pt>
                <c:pt idx="18353">
                  <c:v>0.32732298912074098</c:v>
                </c:pt>
                <c:pt idx="18354">
                  <c:v>0.327340823970037</c:v>
                </c:pt>
                <c:pt idx="18355">
                  <c:v>0.32735865881933202</c:v>
                </c:pt>
                <c:pt idx="18356">
                  <c:v>0.32737649366862798</c:v>
                </c:pt>
                <c:pt idx="18357">
                  <c:v>0.32739432851792399</c:v>
                </c:pt>
                <c:pt idx="18358">
                  <c:v>0.32741216336721901</c:v>
                </c:pt>
                <c:pt idx="18359">
                  <c:v>0.32742999821651497</c:v>
                </c:pt>
                <c:pt idx="18360">
                  <c:v>0.32744783306580999</c:v>
                </c:pt>
                <c:pt idx="18361">
                  <c:v>0.32746566791510601</c:v>
                </c:pt>
                <c:pt idx="18362">
                  <c:v>0.32748350276440102</c:v>
                </c:pt>
                <c:pt idx="18363">
                  <c:v>0.32750133761369699</c:v>
                </c:pt>
                <c:pt idx="18364">
                  <c:v>0.327519172462992</c:v>
                </c:pt>
                <c:pt idx="18365">
                  <c:v>0.32753700731228802</c:v>
                </c:pt>
                <c:pt idx="18366">
                  <c:v>0.32755484216158298</c:v>
                </c:pt>
                <c:pt idx="18367">
                  <c:v>0.327572677010879</c:v>
                </c:pt>
                <c:pt idx="18368">
                  <c:v>0.32759051186017402</c:v>
                </c:pt>
                <c:pt idx="18369">
                  <c:v>0.32760834670946998</c:v>
                </c:pt>
                <c:pt idx="18370">
                  <c:v>0.327626181558765</c:v>
                </c:pt>
                <c:pt idx="18371">
                  <c:v>0.32764401640806101</c:v>
                </c:pt>
                <c:pt idx="18372">
                  <c:v>0.32766185125735597</c:v>
                </c:pt>
                <c:pt idx="18373">
                  <c:v>0.32767968610665199</c:v>
                </c:pt>
                <c:pt idx="18374">
                  <c:v>0.32769752095594701</c:v>
                </c:pt>
                <c:pt idx="18375">
                  <c:v>0.32771535580524302</c:v>
                </c:pt>
                <c:pt idx="18376">
                  <c:v>0.32773319065453899</c:v>
                </c:pt>
                <c:pt idx="18377">
                  <c:v>0.327751025503834</c:v>
                </c:pt>
                <c:pt idx="18378">
                  <c:v>0.32776886035313002</c:v>
                </c:pt>
                <c:pt idx="18379">
                  <c:v>0.32778669520242498</c:v>
                </c:pt>
                <c:pt idx="18380">
                  <c:v>0.327804530051721</c:v>
                </c:pt>
                <c:pt idx="18381">
                  <c:v>0.32782236490101602</c:v>
                </c:pt>
                <c:pt idx="18382">
                  <c:v>0.32784019975031198</c:v>
                </c:pt>
                <c:pt idx="18383">
                  <c:v>0.327858034599607</c:v>
                </c:pt>
                <c:pt idx="18384">
                  <c:v>0.32787586944890301</c:v>
                </c:pt>
                <c:pt idx="18385">
                  <c:v>0.32789370429819797</c:v>
                </c:pt>
                <c:pt idx="18386">
                  <c:v>0.32791153914749399</c:v>
                </c:pt>
                <c:pt idx="18387">
                  <c:v>0.32792937399678901</c:v>
                </c:pt>
                <c:pt idx="18388">
                  <c:v>0.32794720884608503</c:v>
                </c:pt>
                <c:pt idx="18389">
                  <c:v>0.32796504369537999</c:v>
                </c:pt>
                <c:pt idx="18390">
                  <c:v>0.327982878544676</c:v>
                </c:pt>
                <c:pt idx="18391">
                  <c:v>0.32800071339397102</c:v>
                </c:pt>
                <c:pt idx="18392">
                  <c:v>0.32801854824326698</c:v>
                </c:pt>
                <c:pt idx="18393">
                  <c:v>0.328036383092562</c:v>
                </c:pt>
                <c:pt idx="18394">
                  <c:v>0.32805421794185802</c:v>
                </c:pt>
                <c:pt idx="18395">
                  <c:v>0.32807205279115298</c:v>
                </c:pt>
                <c:pt idx="18396">
                  <c:v>0.328089887640449</c:v>
                </c:pt>
                <c:pt idx="18397">
                  <c:v>0.32810772248974401</c:v>
                </c:pt>
                <c:pt idx="18398">
                  <c:v>0.32812555733903997</c:v>
                </c:pt>
                <c:pt idx="18399">
                  <c:v>0.32814339218833599</c:v>
                </c:pt>
                <c:pt idx="18400">
                  <c:v>0.32816122703763101</c:v>
                </c:pt>
                <c:pt idx="18401">
                  <c:v>0.32817906188692703</c:v>
                </c:pt>
                <c:pt idx="18402">
                  <c:v>0.32819689673622199</c:v>
                </c:pt>
                <c:pt idx="18403">
                  <c:v>0.328214731585518</c:v>
                </c:pt>
                <c:pt idx="18404">
                  <c:v>0.32823256643481302</c:v>
                </c:pt>
                <c:pt idx="18405">
                  <c:v>0.32825040128410898</c:v>
                </c:pt>
                <c:pt idx="18406">
                  <c:v>0.328268236133404</c:v>
                </c:pt>
                <c:pt idx="18407">
                  <c:v>0.32828607098270002</c:v>
                </c:pt>
                <c:pt idx="18408">
                  <c:v>0.32830390583199498</c:v>
                </c:pt>
                <c:pt idx="18409">
                  <c:v>0.328321740681291</c:v>
                </c:pt>
                <c:pt idx="18410">
                  <c:v>0.32833957553058601</c:v>
                </c:pt>
                <c:pt idx="18411">
                  <c:v>0.32835741037988198</c:v>
                </c:pt>
                <c:pt idx="18412">
                  <c:v>0.32837524522917699</c:v>
                </c:pt>
                <c:pt idx="18413">
                  <c:v>0.32839308007847301</c:v>
                </c:pt>
                <c:pt idx="18414">
                  <c:v>0.32841091492776803</c:v>
                </c:pt>
                <c:pt idx="18415">
                  <c:v>0.32842874977706399</c:v>
                </c:pt>
                <c:pt idx="18416">
                  <c:v>0.32844658462635901</c:v>
                </c:pt>
                <c:pt idx="18417">
                  <c:v>0.32846441947565502</c:v>
                </c:pt>
                <c:pt idx="18418">
                  <c:v>0.32848225432494998</c:v>
                </c:pt>
                <c:pt idx="18419">
                  <c:v>0.328500089174246</c:v>
                </c:pt>
                <c:pt idx="18420">
                  <c:v>0.32851792402354202</c:v>
                </c:pt>
                <c:pt idx="18421">
                  <c:v>0.32853575887283698</c:v>
                </c:pt>
                <c:pt idx="18422">
                  <c:v>0.328553593722133</c:v>
                </c:pt>
                <c:pt idx="18423">
                  <c:v>0.32857142857142801</c:v>
                </c:pt>
                <c:pt idx="18424">
                  <c:v>0.32858926342072398</c:v>
                </c:pt>
                <c:pt idx="18425">
                  <c:v>0.32860709827001899</c:v>
                </c:pt>
                <c:pt idx="18426">
                  <c:v>0.32862493311931501</c:v>
                </c:pt>
                <c:pt idx="18427">
                  <c:v>0.32864276796860997</c:v>
                </c:pt>
                <c:pt idx="18428">
                  <c:v>0.32866060281790599</c:v>
                </c:pt>
                <c:pt idx="18429">
                  <c:v>0.32867843766720101</c:v>
                </c:pt>
                <c:pt idx="18430">
                  <c:v>0.32869627251649702</c:v>
                </c:pt>
                <c:pt idx="18431">
                  <c:v>0.32871410736579199</c:v>
                </c:pt>
                <c:pt idx="18432">
                  <c:v>0.328731942215088</c:v>
                </c:pt>
                <c:pt idx="18433">
                  <c:v>0.32874977706438302</c:v>
                </c:pt>
                <c:pt idx="18434">
                  <c:v>0.32876761191367898</c:v>
                </c:pt>
                <c:pt idx="18435">
                  <c:v>0.328785446762974</c:v>
                </c:pt>
                <c:pt idx="18436">
                  <c:v>0.32880328161227002</c:v>
                </c:pt>
                <c:pt idx="18437">
                  <c:v>0.32882111646156498</c:v>
                </c:pt>
                <c:pt idx="18438">
                  <c:v>0.32883895131086099</c:v>
                </c:pt>
                <c:pt idx="18439">
                  <c:v>0.32885678616015601</c:v>
                </c:pt>
                <c:pt idx="18440">
                  <c:v>0.32887462100945197</c:v>
                </c:pt>
                <c:pt idx="18441">
                  <c:v>0.32889245585874799</c:v>
                </c:pt>
                <c:pt idx="18442">
                  <c:v>0.32891029070804301</c:v>
                </c:pt>
                <c:pt idx="18443">
                  <c:v>0.32892812555733902</c:v>
                </c:pt>
                <c:pt idx="18444">
                  <c:v>0.32894596040663399</c:v>
                </c:pt>
                <c:pt idx="18445">
                  <c:v>0.32896379525593</c:v>
                </c:pt>
                <c:pt idx="18446">
                  <c:v>0.32898163010522502</c:v>
                </c:pt>
                <c:pt idx="18447">
                  <c:v>0.32899946495452098</c:v>
                </c:pt>
                <c:pt idx="18448">
                  <c:v>0.329017299803816</c:v>
                </c:pt>
                <c:pt idx="18449">
                  <c:v>0.32903513465311202</c:v>
                </c:pt>
                <c:pt idx="18450">
                  <c:v>0.32905296950240698</c:v>
                </c:pt>
                <c:pt idx="18451">
                  <c:v>0.32907080435170299</c:v>
                </c:pt>
                <c:pt idx="18452">
                  <c:v>0.32908863920099801</c:v>
                </c:pt>
                <c:pt idx="18453">
                  <c:v>0.32910647405029397</c:v>
                </c:pt>
                <c:pt idx="18454">
                  <c:v>0.32912430889958899</c:v>
                </c:pt>
                <c:pt idx="18455">
                  <c:v>0.32914214374888501</c:v>
                </c:pt>
                <c:pt idx="18456">
                  <c:v>0.32915997859818003</c:v>
                </c:pt>
                <c:pt idx="18457">
                  <c:v>0.32917781344747599</c:v>
                </c:pt>
                <c:pt idx="18458">
                  <c:v>0.329195648296771</c:v>
                </c:pt>
                <c:pt idx="18459">
                  <c:v>0.32921348314606702</c:v>
                </c:pt>
                <c:pt idx="18460">
                  <c:v>0.32923131799536198</c:v>
                </c:pt>
                <c:pt idx="18461">
                  <c:v>0.329249152844658</c:v>
                </c:pt>
                <c:pt idx="18462">
                  <c:v>0.32926698769395302</c:v>
                </c:pt>
                <c:pt idx="18463">
                  <c:v>0.32928482254324898</c:v>
                </c:pt>
                <c:pt idx="18464">
                  <c:v>0.329302657392545</c:v>
                </c:pt>
                <c:pt idx="18465">
                  <c:v>0.32932049224184001</c:v>
                </c:pt>
                <c:pt idx="18466">
                  <c:v>0.32933832709113597</c:v>
                </c:pt>
                <c:pt idx="18467">
                  <c:v>0.32935616194043099</c:v>
                </c:pt>
                <c:pt idx="18468">
                  <c:v>0.32937399678972701</c:v>
                </c:pt>
                <c:pt idx="18469">
                  <c:v>0.32939183163902203</c:v>
                </c:pt>
                <c:pt idx="18470">
                  <c:v>0.32940966648831799</c:v>
                </c:pt>
                <c:pt idx="18471">
                  <c:v>0.329427501337613</c:v>
                </c:pt>
                <c:pt idx="18472">
                  <c:v>0.32944533618690902</c:v>
                </c:pt>
                <c:pt idx="18473">
                  <c:v>0.32946317103620398</c:v>
                </c:pt>
                <c:pt idx="18474">
                  <c:v>0.3294810058855</c:v>
                </c:pt>
                <c:pt idx="18475">
                  <c:v>0.32949884073479502</c:v>
                </c:pt>
                <c:pt idx="18476">
                  <c:v>0.32951667558409098</c:v>
                </c:pt>
                <c:pt idx="18477">
                  <c:v>0.329534510433386</c:v>
                </c:pt>
                <c:pt idx="18478">
                  <c:v>0.32955234528268201</c:v>
                </c:pt>
                <c:pt idx="18479">
                  <c:v>0.32957018013197698</c:v>
                </c:pt>
                <c:pt idx="18480">
                  <c:v>0.32958801498127299</c:v>
                </c:pt>
                <c:pt idx="18481">
                  <c:v>0.32960584983056801</c:v>
                </c:pt>
                <c:pt idx="18482">
                  <c:v>0.32962368467986403</c:v>
                </c:pt>
                <c:pt idx="18483">
                  <c:v>0.32964151952915999</c:v>
                </c:pt>
                <c:pt idx="18484">
                  <c:v>0.32965935437845501</c:v>
                </c:pt>
                <c:pt idx="18485">
                  <c:v>0.32967718922775102</c:v>
                </c:pt>
                <c:pt idx="18486">
                  <c:v>0.32969502407704598</c:v>
                </c:pt>
                <c:pt idx="18487">
                  <c:v>0.329712858926342</c:v>
                </c:pt>
                <c:pt idx="18488">
                  <c:v>0.32973069377563702</c:v>
                </c:pt>
                <c:pt idx="18489">
                  <c:v>0.32974852862493298</c:v>
                </c:pt>
                <c:pt idx="18490">
                  <c:v>0.329766363474228</c:v>
                </c:pt>
                <c:pt idx="18491">
                  <c:v>0.32978419832352401</c:v>
                </c:pt>
                <c:pt idx="18492">
                  <c:v>0.32980203317281898</c:v>
                </c:pt>
                <c:pt idx="18493">
                  <c:v>0.32981986802211499</c:v>
                </c:pt>
                <c:pt idx="18494">
                  <c:v>0.32983770287141001</c:v>
                </c:pt>
                <c:pt idx="18495">
                  <c:v>0.32985553772070603</c:v>
                </c:pt>
                <c:pt idx="18496">
                  <c:v>0.32987337257000099</c:v>
                </c:pt>
                <c:pt idx="18497">
                  <c:v>0.32989120741929701</c:v>
                </c:pt>
                <c:pt idx="18498">
                  <c:v>0.32990904226859202</c:v>
                </c:pt>
                <c:pt idx="18499">
                  <c:v>0.32992687711788798</c:v>
                </c:pt>
                <c:pt idx="18500">
                  <c:v>0.329944711967183</c:v>
                </c:pt>
                <c:pt idx="18501">
                  <c:v>0.32996254681647902</c:v>
                </c:pt>
                <c:pt idx="18502">
                  <c:v>0.32998038166577398</c:v>
                </c:pt>
                <c:pt idx="18503">
                  <c:v>0.32999821651507</c:v>
                </c:pt>
                <c:pt idx="18504">
                  <c:v>0.33001605136436502</c:v>
                </c:pt>
                <c:pt idx="18505">
                  <c:v>0.33003388621366098</c:v>
                </c:pt>
                <c:pt idx="18506">
                  <c:v>0.33005172106295699</c:v>
                </c:pt>
                <c:pt idx="18507">
                  <c:v>0.33006955591225201</c:v>
                </c:pt>
                <c:pt idx="18508">
                  <c:v>0.33008739076154803</c:v>
                </c:pt>
                <c:pt idx="18509">
                  <c:v>0.33010522561084299</c:v>
                </c:pt>
                <c:pt idx="18510">
                  <c:v>0.33012306046013901</c:v>
                </c:pt>
                <c:pt idx="18511">
                  <c:v>0.33014089530943402</c:v>
                </c:pt>
                <c:pt idx="18512">
                  <c:v>0.33015873015872998</c:v>
                </c:pt>
                <c:pt idx="18513">
                  <c:v>0.330176565008025</c:v>
                </c:pt>
                <c:pt idx="18514">
                  <c:v>0.33019439985732102</c:v>
                </c:pt>
                <c:pt idx="18515">
                  <c:v>0.33021223470661598</c:v>
                </c:pt>
                <c:pt idx="18516">
                  <c:v>0.330230069555912</c:v>
                </c:pt>
                <c:pt idx="18517">
                  <c:v>0.33024790440520702</c:v>
                </c:pt>
                <c:pt idx="18518">
                  <c:v>0.33026573925450298</c:v>
                </c:pt>
                <c:pt idx="18519">
                  <c:v>0.33028357410379799</c:v>
                </c:pt>
                <c:pt idx="18520">
                  <c:v>0.33030140895309401</c:v>
                </c:pt>
                <c:pt idx="18521">
                  <c:v>0.33031924380238897</c:v>
                </c:pt>
                <c:pt idx="18522">
                  <c:v>0.33033707865168499</c:v>
                </c:pt>
                <c:pt idx="18523">
                  <c:v>0.33035491350098001</c:v>
                </c:pt>
                <c:pt idx="18524">
                  <c:v>0.33037274835027602</c:v>
                </c:pt>
                <c:pt idx="18525">
                  <c:v>0.33039058319957199</c:v>
                </c:pt>
                <c:pt idx="18526">
                  <c:v>0.330408418048867</c:v>
                </c:pt>
                <c:pt idx="18527">
                  <c:v>0.33042625289816302</c:v>
                </c:pt>
                <c:pt idx="18528">
                  <c:v>0.33044408774745798</c:v>
                </c:pt>
                <c:pt idx="18529">
                  <c:v>0.330461922596754</c:v>
                </c:pt>
                <c:pt idx="18530">
                  <c:v>0.33047975744604902</c:v>
                </c:pt>
                <c:pt idx="18531">
                  <c:v>0.33049759229534498</c:v>
                </c:pt>
                <c:pt idx="18532">
                  <c:v>0.33051542714463999</c:v>
                </c:pt>
                <c:pt idx="18533">
                  <c:v>0.33053326199393601</c:v>
                </c:pt>
                <c:pt idx="18534">
                  <c:v>0.33055109684323097</c:v>
                </c:pt>
                <c:pt idx="18535">
                  <c:v>0.33056893169252699</c:v>
                </c:pt>
                <c:pt idx="18536">
                  <c:v>0.33058676654182201</c:v>
                </c:pt>
                <c:pt idx="18537">
                  <c:v>0.33060460139111802</c:v>
                </c:pt>
                <c:pt idx="18538">
                  <c:v>0.33062243624041299</c:v>
                </c:pt>
                <c:pt idx="18539">
                  <c:v>0.330640271089709</c:v>
                </c:pt>
                <c:pt idx="18540">
                  <c:v>0.33065810593900402</c:v>
                </c:pt>
                <c:pt idx="18541">
                  <c:v>0.33067594078829998</c:v>
                </c:pt>
                <c:pt idx="18542">
                  <c:v>0.330693775637595</c:v>
                </c:pt>
                <c:pt idx="18543">
                  <c:v>0.33071161048689102</c:v>
                </c:pt>
                <c:pt idx="18544">
                  <c:v>0.33072944533618598</c:v>
                </c:pt>
                <c:pt idx="18545">
                  <c:v>0.330747280185482</c:v>
                </c:pt>
                <c:pt idx="18546">
                  <c:v>0.33076511503477701</c:v>
                </c:pt>
                <c:pt idx="18547">
                  <c:v>0.33078294988407297</c:v>
                </c:pt>
                <c:pt idx="18548">
                  <c:v>0.33080078473336899</c:v>
                </c:pt>
                <c:pt idx="18549">
                  <c:v>0.33081861958266401</c:v>
                </c:pt>
                <c:pt idx="18550">
                  <c:v>0.33083645443196003</c:v>
                </c:pt>
                <c:pt idx="18551">
                  <c:v>0.33085428928125499</c:v>
                </c:pt>
                <c:pt idx="18552">
                  <c:v>0.330872124130551</c:v>
                </c:pt>
                <c:pt idx="18553">
                  <c:v>0.33088995897984602</c:v>
                </c:pt>
                <c:pt idx="18554">
                  <c:v>0.33090779382914198</c:v>
                </c:pt>
                <c:pt idx="18555">
                  <c:v>0.330925628678437</c:v>
                </c:pt>
                <c:pt idx="18556">
                  <c:v>0.33094346352773302</c:v>
                </c:pt>
                <c:pt idx="18557">
                  <c:v>0.33096129837702798</c:v>
                </c:pt>
                <c:pt idx="18558">
                  <c:v>0.330979133226324</c:v>
                </c:pt>
                <c:pt idx="18559">
                  <c:v>0.33099696807561901</c:v>
                </c:pt>
                <c:pt idx="18560">
                  <c:v>0.33101480292491497</c:v>
                </c:pt>
                <c:pt idx="18561">
                  <c:v>0.33103263777420999</c:v>
                </c:pt>
                <c:pt idx="18562">
                  <c:v>0.33105047262350601</c:v>
                </c:pt>
                <c:pt idx="18563">
                  <c:v>0.33106830747280103</c:v>
                </c:pt>
                <c:pt idx="18564">
                  <c:v>0.33108614232209699</c:v>
                </c:pt>
                <c:pt idx="18565">
                  <c:v>0.33110397717139201</c:v>
                </c:pt>
                <c:pt idx="18566">
                  <c:v>0.33112181202068802</c:v>
                </c:pt>
                <c:pt idx="18567">
                  <c:v>0.33113964686998298</c:v>
                </c:pt>
                <c:pt idx="18568">
                  <c:v>0.331157481719279</c:v>
                </c:pt>
                <c:pt idx="18569">
                  <c:v>0.33117531656857502</c:v>
                </c:pt>
                <c:pt idx="18570">
                  <c:v>0.33119315141786998</c:v>
                </c:pt>
                <c:pt idx="18571">
                  <c:v>0.331210986267166</c:v>
                </c:pt>
                <c:pt idx="18572">
                  <c:v>0.33122882111646101</c:v>
                </c:pt>
                <c:pt idx="18573">
                  <c:v>0.33124665596575698</c:v>
                </c:pt>
                <c:pt idx="18574">
                  <c:v>0.33126449081505199</c:v>
                </c:pt>
                <c:pt idx="18575">
                  <c:v>0.33128232566434801</c:v>
                </c:pt>
                <c:pt idx="18576">
                  <c:v>0.33130016051364303</c:v>
                </c:pt>
                <c:pt idx="18577">
                  <c:v>0.33131799536293899</c:v>
                </c:pt>
                <c:pt idx="18578">
                  <c:v>0.33133583021223401</c:v>
                </c:pt>
                <c:pt idx="18579">
                  <c:v>0.33135366506153002</c:v>
                </c:pt>
                <c:pt idx="18580">
                  <c:v>0.33137149991082498</c:v>
                </c:pt>
                <c:pt idx="18581">
                  <c:v>0.331389334760121</c:v>
                </c:pt>
                <c:pt idx="18582">
                  <c:v>0.33140716960941602</c:v>
                </c:pt>
                <c:pt idx="18583">
                  <c:v>0.33142500445871198</c:v>
                </c:pt>
                <c:pt idx="18584">
                  <c:v>0.331442839308007</c:v>
                </c:pt>
                <c:pt idx="18585">
                  <c:v>0.33146067415730301</c:v>
                </c:pt>
                <c:pt idx="18586">
                  <c:v>0.33147850900659798</c:v>
                </c:pt>
                <c:pt idx="18587">
                  <c:v>0.33149634385589399</c:v>
                </c:pt>
                <c:pt idx="18588">
                  <c:v>0.33151417870518901</c:v>
                </c:pt>
                <c:pt idx="18589">
                  <c:v>0.33153201355448503</c:v>
                </c:pt>
                <c:pt idx="18590">
                  <c:v>0.33154984840378099</c:v>
                </c:pt>
                <c:pt idx="18591">
                  <c:v>0.33156768325307601</c:v>
                </c:pt>
                <c:pt idx="18592">
                  <c:v>0.33158551810237202</c:v>
                </c:pt>
                <c:pt idx="18593">
                  <c:v>0.33160335295166699</c:v>
                </c:pt>
                <c:pt idx="18594">
                  <c:v>0.331621187800963</c:v>
                </c:pt>
                <c:pt idx="18595">
                  <c:v>0.33163902265025802</c:v>
                </c:pt>
                <c:pt idx="18596">
                  <c:v>0.33165685749955398</c:v>
                </c:pt>
                <c:pt idx="18597">
                  <c:v>0.331674692348849</c:v>
                </c:pt>
                <c:pt idx="18598">
                  <c:v>0.33169252719814502</c:v>
                </c:pt>
                <c:pt idx="18599">
                  <c:v>0.33171036204743998</c:v>
                </c:pt>
                <c:pt idx="18600">
                  <c:v>0.33172819689673599</c:v>
                </c:pt>
                <c:pt idx="18601">
                  <c:v>0.33174603174603101</c:v>
                </c:pt>
                <c:pt idx="18602">
                  <c:v>0.33176386659532697</c:v>
                </c:pt>
                <c:pt idx="18603">
                  <c:v>0.33178170144462199</c:v>
                </c:pt>
                <c:pt idx="18604">
                  <c:v>0.33179953629391801</c:v>
                </c:pt>
                <c:pt idx="18605">
                  <c:v>0.33181737114321302</c:v>
                </c:pt>
                <c:pt idx="18606">
                  <c:v>0.33183520599250899</c:v>
                </c:pt>
                <c:pt idx="18607">
                  <c:v>0.331853040841804</c:v>
                </c:pt>
                <c:pt idx="18608">
                  <c:v>0.33187087569110002</c:v>
                </c:pt>
                <c:pt idx="18609">
                  <c:v>0.33188871054039498</c:v>
                </c:pt>
                <c:pt idx="18610">
                  <c:v>0.331906545389691</c:v>
                </c:pt>
                <c:pt idx="18611">
                  <c:v>0.33192438023898602</c:v>
                </c:pt>
                <c:pt idx="18612">
                  <c:v>0.33194221508828198</c:v>
                </c:pt>
                <c:pt idx="18613">
                  <c:v>0.33196004993757799</c:v>
                </c:pt>
                <c:pt idx="18614">
                  <c:v>0.33197788478687301</c:v>
                </c:pt>
                <c:pt idx="18615">
                  <c:v>0.33199571963616897</c:v>
                </c:pt>
                <c:pt idx="18616">
                  <c:v>0.33201355448546399</c:v>
                </c:pt>
                <c:pt idx="18617">
                  <c:v>0.33203138933476001</c:v>
                </c:pt>
                <c:pt idx="18618">
                  <c:v>0.33204922418405503</c:v>
                </c:pt>
                <c:pt idx="18619">
                  <c:v>0.33206705903335099</c:v>
                </c:pt>
                <c:pt idx="18620">
                  <c:v>0.332084893882646</c:v>
                </c:pt>
                <c:pt idx="18621">
                  <c:v>0.33210272873194202</c:v>
                </c:pt>
                <c:pt idx="18622">
                  <c:v>0.33212056358123698</c:v>
                </c:pt>
                <c:pt idx="18623">
                  <c:v>0.332138398430533</c:v>
                </c:pt>
                <c:pt idx="18624">
                  <c:v>0.33215623327982802</c:v>
                </c:pt>
                <c:pt idx="18625">
                  <c:v>0.33217406812912398</c:v>
                </c:pt>
                <c:pt idx="18626">
                  <c:v>0.332191902978419</c:v>
                </c:pt>
                <c:pt idx="18627">
                  <c:v>0.33220973782771501</c:v>
                </c:pt>
                <c:pt idx="18628">
                  <c:v>0.33222757267700997</c:v>
                </c:pt>
                <c:pt idx="18629">
                  <c:v>0.33224540752630599</c:v>
                </c:pt>
                <c:pt idx="18630">
                  <c:v>0.33226324237560101</c:v>
                </c:pt>
                <c:pt idx="18631">
                  <c:v>0.33228107722489703</c:v>
                </c:pt>
                <c:pt idx="18632">
                  <c:v>0.33229891207419299</c:v>
                </c:pt>
                <c:pt idx="18633">
                  <c:v>0.332316746923488</c:v>
                </c:pt>
                <c:pt idx="18634">
                  <c:v>0.33233458177278402</c:v>
                </c:pt>
                <c:pt idx="18635">
                  <c:v>0.33235241662207898</c:v>
                </c:pt>
                <c:pt idx="18636">
                  <c:v>0.332370251471375</c:v>
                </c:pt>
                <c:pt idx="18637">
                  <c:v>0.33238808632067002</c:v>
                </c:pt>
                <c:pt idx="18638">
                  <c:v>0.33240592116996598</c:v>
                </c:pt>
                <c:pt idx="18639">
                  <c:v>0.332423756019261</c:v>
                </c:pt>
                <c:pt idx="18640">
                  <c:v>0.33244159086855701</c:v>
                </c:pt>
                <c:pt idx="18641">
                  <c:v>0.33245942571785198</c:v>
                </c:pt>
                <c:pt idx="18642">
                  <c:v>0.33247726056714799</c:v>
                </c:pt>
                <c:pt idx="18643">
                  <c:v>0.33249509541644301</c:v>
                </c:pt>
                <c:pt idx="18644">
                  <c:v>0.33251293026573903</c:v>
                </c:pt>
                <c:pt idx="18645">
                  <c:v>0.33253076511503399</c:v>
                </c:pt>
                <c:pt idx="18646">
                  <c:v>0.33254859996433001</c:v>
                </c:pt>
                <c:pt idx="18647">
                  <c:v>0.33256643481362502</c:v>
                </c:pt>
                <c:pt idx="18648">
                  <c:v>0.33258426966292098</c:v>
                </c:pt>
                <c:pt idx="18649">
                  <c:v>0.332602104512216</c:v>
                </c:pt>
                <c:pt idx="18650">
                  <c:v>0.33261993936151202</c:v>
                </c:pt>
                <c:pt idx="18651">
                  <c:v>0.33263777421080698</c:v>
                </c:pt>
                <c:pt idx="18652">
                  <c:v>0.332655609060103</c:v>
                </c:pt>
                <c:pt idx="18653">
                  <c:v>0.33267344390939801</c:v>
                </c:pt>
                <c:pt idx="18654">
                  <c:v>0.33269127875869398</c:v>
                </c:pt>
                <c:pt idx="18655">
                  <c:v>0.33270911360798999</c:v>
                </c:pt>
                <c:pt idx="18656">
                  <c:v>0.33272694845728501</c:v>
                </c:pt>
                <c:pt idx="18657">
                  <c:v>0.33274478330658103</c:v>
                </c:pt>
                <c:pt idx="18658">
                  <c:v>0.33276261815587599</c:v>
                </c:pt>
                <c:pt idx="18659">
                  <c:v>0.33278045300517201</c:v>
                </c:pt>
                <c:pt idx="18660">
                  <c:v>0.33279828785446702</c:v>
                </c:pt>
                <c:pt idx="18661">
                  <c:v>0.33281612270376298</c:v>
                </c:pt>
                <c:pt idx="18662">
                  <c:v>0.332833957553058</c:v>
                </c:pt>
                <c:pt idx="18663">
                  <c:v>0.33285179240235402</c:v>
                </c:pt>
                <c:pt idx="18664">
                  <c:v>0.33286962725164898</c:v>
                </c:pt>
                <c:pt idx="18665">
                  <c:v>0.332887462100945</c:v>
                </c:pt>
                <c:pt idx="18666">
                  <c:v>0.33290529695024001</c:v>
                </c:pt>
                <c:pt idx="18667">
                  <c:v>0.33292313179953598</c:v>
                </c:pt>
                <c:pt idx="18668">
                  <c:v>0.33294096664883099</c:v>
                </c:pt>
                <c:pt idx="18669">
                  <c:v>0.33295880149812701</c:v>
                </c:pt>
                <c:pt idx="18670">
                  <c:v>0.33297663634742197</c:v>
                </c:pt>
                <c:pt idx="18671">
                  <c:v>0.33299447119671799</c:v>
                </c:pt>
                <c:pt idx="18672">
                  <c:v>0.33301230604601301</c:v>
                </c:pt>
                <c:pt idx="18673">
                  <c:v>0.33303014089530902</c:v>
                </c:pt>
                <c:pt idx="18674">
                  <c:v>0.33304797574460498</c:v>
                </c:pt>
                <c:pt idx="18675">
                  <c:v>0.3330658105939</c:v>
                </c:pt>
                <c:pt idx="18676">
                  <c:v>0.33308364544319602</c:v>
                </c:pt>
                <c:pt idx="18677">
                  <c:v>0.33310148029249098</c:v>
                </c:pt>
                <c:pt idx="18678">
                  <c:v>0.333119315141787</c:v>
                </c:pt>
                <c:pt idx="18679">
                  <c:v>0.33313714999108202</c:v>
                </c:pt>
                <c:pt idx="18680">
                  <c:v>0.33315498484037798</c:v>
                </c:pt>
                <c:pt idx="18681">
                  <c:v>0.33317281968967299</c:v>
                </c:pt>
                <c:pt idx="18682">
                  <c:v>0.33319065453896901</c:v>
                </c:pt>
                <c:pt idx="18683">
                  <c:v>0.33320848938826397</c:v>
                </c:pt>
                <c:pt idx="18684">
                  <c:v>0.33322632423755999</c:v>
                </c:pt>
                <c:pt idx="18685">
                  <c:v>0.33324415908685501</c:v>
                </c:pt>
                <c:pt idx="18686">
                  <c:v>0.33326199393615102</c:v>
                </c:pt>
                <c:pt idx="18687">
                  <c:v>0.33327982878544599</c:v>
                </c:pt>
                <c:pt idx="18688">
                  <c:v>0.333297663634742</c:v>
                </c:pt>
                <c:pt idx="18689">
                  <c:v>0.33331549848403702</c:v>
                </c:pt>
                <c:pt idx="18690">
                  <c:v>0.33333333333333298</c:v>
                </c:pt>
                <c:pt idx="18691">
                  <c:v>0.333351168182628</c:v>
                </c:pt>
                <c:pt idx="18692">
                  <c:v>0.33336900303192402</c:v>
                </c:pt>
                <c:pt idx="18693">
                  <c:v>0.33338683788121898</c:v>
                </c:pt>
                <c:pt idx="18694">
                  <c:v>0.33340467273051499</c:v>
                </c:pt>
                <c:pt idx="18695">
                  <c:v>0.33342250757981001</c:v>
                </c:pt>
                <c:pt idx="18696">
                  <c:v>0.33344034242910597</c:v>
                </c:pt>
                <c:pt idx="18697">
                  <c:v>0.33345817727840199</c:v>
                </c:pt>
                <c:pt idx="18698">
                  <c:v>0.33347601212769701</c:v>
                </c:pt>
                <c:pt idx="18699">
                  <c:v>0.33349384697699302</c:v>
                </c:pt>
                <c:pt idx="18700">
                  <c:v>0.33351168182628799</c:v>
                </c:pt>
                <c:pt idx="18701">
                  <c:v>0.333529516675584</c:v>
                </c:pt>
                <c:pt idx="18702">
                  <c:v>0.33354735152487902</c:v>
                </c:pt>
                <c:pt idx="18703">
                  <c:v>0.33356518637417498</c:v>
                </c:pt>
                <c:pt idx="18704">
                  <c:v>0.33358302122347</c:v>
                </c:pt>
                <c:pt idx="18705">
                  <c:v>0.33360085607276602</c:v>
                </c:pt>
                <c:pt idx="18706">
                  <c:v>0.33361869092206098</c:v>
                </c:pt>
                <c:pt idx="18707">
                  <c:v>0.333636525771357</c:v>
                </c:pt>
                <c:pt idx="18708">
                  <c:v>0.33365436062065201</c:v>
                </c:pt>
                <c:pt idx="18709">
                  <c:v>0.33367219546994797</c:v>
                </c:pt>
                <c:pt idx="18710">
                  <c:v>0.33369003031924299</c:v>
                </c:pt>
                <c:pt idx="18711">
                  <c:v>0.33370786516853901</c:v>
                </c:pt>
                <c:pt idx="18712">
                  <c:v>0.33372570001783403</c:v>
                </c:pt>
                <c:pt idx="18713">
                  <c:v>0.33374353486712999</c:v>
                </c:pt>
                <c:pt idx="18714">
                  <c:v>0.333761369716425</c:v>
                </c:pt>
                <c:pt idx="18715">
                  <c:v>0.33377920456572102</c:v>
                </c:pt>
                <c:pt idx="18716">
                  <c:v>0.33379703941501598</c:v>
                </c:pt>
                <c:pt idx="18717">
                  <c:v>0.333814874264312</c:v>
                </c:pt>
                <c:pt idx="18718">
                  <c:v>0.33383270911360802</c:v>
                </c:pt>
                <c:pt idx="18719">
                  <c:v>0.33385054396290298</c:v>
                </c:pt>
                <c:pt idx="18720">
                  <c:v>0.333868378812199</c:v>
                </c:pt>
                <c:pt idx="18721">
                  <c:v>0.33388621366149401</c:v>
                </c:pt>
                <c:pt idx="18722">
                  <c:v>0.33390404851078997</c:v>
                </c:pt>
                <c:pt idx="18723">
                  <c:v>0.33392188336008499</c:v>
                </c:pt>
                <c:pt idx="18724">
                  <c:v>0.33393971820938101</c:v>
                </c:pt>
                <c:pt idx="18725">
                  <c:v>0.33395755305867603</c:v>
                </c:pt>
                <c:pt idx="18726">
                  <c:v>0.33397538790797199</c:v>
                </c:pt>
                <c:pt idx="18727">
                  <c:v>0.33399322275726701</c:v>
                </c:pt>
                <c:pt idx="18728">
                  <c:v>0.33401105760656302</c:v>
                </c:pt>
                <c:pt idx="18729">
                  <c:v>0.33402889245585798</c:v>
                </c:pt>
                <c:pt idx="18730">
                  <c:v>0.334046727305154</c:v>
                </c:pt>
                <c:pt idx="18731">
                  <c:v>0.33406456215444902</c:v>
                </c:pt>
                <c:pt idx="18732">
                  <c:v>0.33408239700374498</c:v>
                </c:pt>
                <c:pt idx="18733">
                  <c:v>0.33410023185304</c:v>
                </c:pt>
                <c:pt idx="18734">
                  <c:v>0.33411806670233601</c:v>
                </c:pt>
                <c:pt idx="18735">
                  <c:v>0.33413590155163098</c:v>
                </c:pt>
                <c:pt idx="18736">
                  <c:v>0.33415373640092699</c:v>
                </c:pt>
                <c:pt idx="18737">
                  <c:v>0.33417157125022201</c:v>
                </c:pt>
                <c:pt idx="18738">
                  <c:v>0.33418940609951803</c:v>
                </c:pt>
                <c:pt idx="18739">
                  <c:v>0.33420724094881399</c:v>
                </c:pt>
                <c:pt idx="18740">
                  <c:v>0.33422507579810901</c:v>
                </c:pt>
                <c:pt idx="18741">
                  <c:v>0.33424291064740502</c:v>
                </c:pt>
                <c:pt idx="18742">
                  <c:v>0.33426074549669998</c:v>
                </c:pt>
                <c:pt idx="18743">
                  <c:v>0.334278580345996</c:v>
                </c:pt>
                <c:pt idx="18744">
                  <c:v>0.33429641519529102</c:v>
                </c:pt>
                <c:pt idx="18745">
                  <c:v>0.33431425004458698</c:v>
                </c:pt>
                <c:pt idx="18746">
                  <c:v>0.334332084893882</c:v>
                </c:pt>
                <c:pt idx="18747">
                  <c:v>0.33434991974317801</c:v>
                </c:pt>
                <c:pt idx="18748">
                  <c:v>0.33436775459247298</c:v>
                </c:pt>
                <c:pt idx="18749">
                  <c:v>0.33438558944176899</c:v>
                </c:pt>
                <c:pt idx="18750">
                  <c:v>0.33440342429106401</c:v>
                </c:pt>
                <c:pt idx="18751">
                  <c:v>0.33442125914036003</c:v>
                </c:pt>
                <c:pt idx="18752">
                  <c:v>0.33443909398965499</c:v>
                </c:pt>
                <c:pt idx="18753">
                  <c:v>0.33445692883895101</c:v>
                </c:pt>
                <c:pt idx="18754">
                  <c:v>0.33447476368824602</c:v>
                </c:pt>
                <c:pt idx="18755">
                  <c:v>0.33449259853754199</c:v>
                </c:pt>
                <c:pt idx="18756">
                  <c:v>0.334510433386837</c:v>
                </c:pt>
                <c:pt idx="18757">
                  <c:v>0.33452826823613302</c:v>
                </c:pt>
                <c:pt idx="18758">
                  <c:v>0.33454610308542798</c:v>
                </c:pt>
                <c:pt idx="18759">
                  <c:v>0.334563937934724</c:v>
                </c:pt>
                <c:pt idx="18760">
                  <c:v>0.33458177278401902</c:v>
                </c:pt>
                <c:pt idx="18761">
                  <c:v>0.33459960763331498</c:v>
                </c:pt>
                <c:pt idx="18762">
                  <c:v>0.33461744248261099</c:v>
                </c:pt>
                <c:pt idx="18763">
                  <c:v>0.33463527733190601</c:v>
                </c:pt>
                <c:pt idx="18764">
                  <c:v>0.33465311218120197</c:v>
                </c:pt>
                <c:pt idx="18765">
                  <c:v>0.33467094703049699</c:v>
                </c:pt>
                <c:pt idx="18766">
                  <c:v>0.33468878187979301</c:v>
                </c:pt>
                <c:pt idx="18767">
                  <c:v>0.33470661672908802</c:v>
                </c:pt>
                <c:pt idx="18768">
                  <c:v>0.33472445157838399</c:v>
                </c:pt>
                <c:pt idx="18769">
                  <c:v>0.334742286427679</c:v>
                </c:pt>
                <c:pt idx="18770">
                  <c:v>0.33476012127697502</c:v>
                </c:pt>
                <c:pt idx="18771">
                  <c:v>0.33477795612626998</c:v>
                </c:pt>
                <c:pt idx="18772">
                  <c:v>0.334795790975566</c:v>
                </c:pt>
                <c:pt idx="18773">
                  <c:v>0.33481362582486102</c:v>
                </c:pt>
                <c:pt idx="18774">
                  <c:v>0.33483146067415698</c:v>
                </c:pt>
                <c:pt idx="18775">
                  <c:v>0.334849295523452</c:v>
                </c:pt>
                <c:pt idx="18776">
                  <c:v>0.33486713037274801</c:v>
                </c:pt>
                <c:pt idx="18777">
                  <c:v>0.33488496522204297</c:v>
                </c:pt>
                <c:pt idx="18778">
                  <c:v>0.33490280007133899</c:v>
                </c:pt>
                <c:pt idx="18779">
                  <c:v>0.33492063492063401</c:v>
                </c:pt>
                <c:pt idx="18780">
                  <c:v>0.33493846976993003</c:v>
                </c:pt>
                <c:pt idx="18781">
                  <c:v>0.33495630461922599</c:v>
                </c:pt>
                <c:pt idx="18782">
                  <c:v>0.334974139468521</c:v>
                </c:pt>
                <c:pt idx="18783">
                  <c:v>0.33499197431781702</c:v>
                </c:pt>
                <c:pt idx="18784">
                  <c:v>0.33500980916711198</c:v>
                </c:pt>
                <c:pt idx="18785">
                  <c:v>0.335027644016408</c:v>
                </c:pt>
                <c:pt idx="18786">
                  <c:v>0.33504547886570302</c:v>
                </c:pt>
                <c:pt idx="18787">
                  <c:v>0.33506331371499898</c:v>
                </c:pt>
                <c:pt idx="18788">
                  <c:v>0.335081148564294</c:v>
                </c:pt>
                <c:pt idx="18789">
                  <c:v>0.33509898341359001</c:v>
                </c:pt>
                <c:pt idx="18790">
                  <c:v>0.33511681826288497</c:v>
                </c:pt>
                <c:pt idx="18791">
                  <c:v>0.33513465311218099</c:v>
                </c:pt>
                <c:pt idx="18792">
                  <c:v>0.33515248796147601</c:v>
                </c:pt>
                <c:pt idx="18793">
                  <c:v>0.33517032281077203</c:v>
                </c:pt>
                <c:pt idx="18794">
                  <c:v>0.33518815766006699</c:v>
                </c:pt>
                <c:pt idx="18795">
                  <c:v>0.335205992509363</c:v>
                </c:pt>
                <c:pt idx="18796">
                  <c:v>0.33522382735865802</c:v>
                </c:pt>
                <c:pt idx="18797">
                  <c:v>0.33524166220795398</c:v>
                </c:pt>
                <c:pt idx="18798">
                  <c:v>0.335259497057249</c:v>
                </c:pt>
                <c:pt idx="18799">
                  <c:v>0.33527733190654502</c:v>
                </c:pt>
                <c:pt idx="18800">
                  <c:v>0.33529516675583998</c:v>
                </c:pt>
                <c:pt idx="18801">
                  <c:v>0.335313001605136</c:v>
                </c:pt>
                <c:pt idx="18802">
                  <c:v>0.33533083645443101</c:v>
                </c:pt>
                <c:pt idx="18803">
                  <c:v>0.33534867130372698</c:v>
                </c:pt>
                <c:pt idx="18804">
                  <c:v>0.33536650615302299</c:v>
                </c:pt>
                <c:pt idx="18805">
                  <c:v>0.33538434100231801</c:v>
                </c:pt>
                <c:pt idx="18806">
                  <c:v>0.33540217585161403</c:v>
                </c:pt>
                <c:pt idx="18807">
                  <c:v>0.33542001070090899</c:v>
                </c:pt>
                <c:pt idx="18808">
                  <c:v>0.335437845550205</c:v>
                </c:pt>
                <c:pt idx="18809">
                  <c:v>0.33545568039950002</c:v>
                </c:pt>
                <c:pt idx="18810">
                  <c:v>0.33547351524879598</c:v>
                </c:pt>
                <c:pt idx="18811">
                  <c:v>0.335491350098091</c:v>
                </c:pt>
                <c:pt idx="18812">
                  <c:v>0.33550918494738702</c:v>
                </c:pt>
                <c:pt idx="18813">
                  <c:v>0.33552701979668198</c:v>
                </c:pt>
                <c:pt idx="18814">
                  <c:v>0.335544854645978</c:v>
                </c:pt>
                <c:pt idx="18815">
                  <c:v>0.33556268949527301</c:v>
                </c:pt>
                <c:pt idx="18816">
                  <c:v>0.33558052434456898</c:v>
                </c:pt>
                <c:pt idx="18817">
                  <c:v>0.33559835919386399</c:v>
                </c:pt>
                <c:pt idx="18818">
                  <c:v>0.33561619404316001</c:v>
                </c:pt>
                <c:pt idx="18819">
                  <c:v>0.33563402889245503</c:v>
                </c:pt>
                <c:pt idx="18820">
                  <c:v>0.33565186374175099</c:v>
                </c:pt>
                <c:pt idx="18821">
                  <c:v>0.33566969859104601</c:v>
                </c:pt>
                <c:pt idx="18822">
                  <c:v>0.33568753344034202</c:v>
                </c:pt>
                <c:pt idx="18823">
                  <c:v>0.33570536828963699</c:v>
                </c:pt>
                <c:pt idx="18824">
                  <c:v>0.335723203138933</c:v>
                </c:pt>
                <c:pt idx="18825">
                  <c:v>0.33574103798822902</c:v>
                </c:pt>
                <c:pt idx="18826">
                  <c:v>0.33575887283752398</c:v>
                </c:pt>
                <c:pt idx="18827">
                  <c:v>0.33577670768682</c:v>
                </c:pt>
                <c:pt idx="18828">
                  <c:v>0.33579454253611501</c:v>
                </c:pt>
                <c:pt idx="18829">
                  <c:v>0.33581237738541098</c:v>
                </c:pt>
                <c:pt idx="18830">
                  <c:v>0.33583021223470599</c:v>
                </c:pt>
                <c:pt idx="18831">
                  <c:v>0.33584804708400201</c:v>
                </c:pt>
                <c:pt idx="18832">
                  <c:v>0.33586588193329697</c:v>
                </c:pt>
                <c:pt idx="18833">
                  <c:v>0.33588371678259299</c:v>
                </c:pt>
                <c:pt idx="18834">
                  <c:v>0.33590155163188801</c:v>
                </c:pt>
                <c:pt idx="18835">
                  <c:v>0.33591938648118402</c:v>
                </c:pt>
                <c:pt idx="18836">
                  <c:v>0.33593722133047899</c:v>
                </c:pt>
                <c:pt idx="18837">
                  <c:v>0.335955056179775</c:v>
                </c:pt>
                <c:pt idx="18838">
                  <c:v>0.33597289102907002</c:v>
                </c:pt>
                <c:pt idx="18839">
                  <c:v>0.33599072587836598</c:v>
                </c:pt>
                <c:pt idx="18840">
                  <c:v>0.336008560727661</c:v>
                </c:pt>
                <c:pt idx="18841">
                  <c:v>0.33602639557695702</c:v>
                </c:pt>
                <c:pt idx="18842">
                  <c:v>0.33604423042625198</c:v>
                </c:pt>
                <c:pt idx="18843">
                  <c:v>0.33606206527554799</c:v>
                </c:pt>
                <c:pt idx="18844">
                  <c:v>0.33607990012484301</c:v>
                </c:pt>
                <c:pt idx="18845">
                  <c:v>0.33609773497413897</c:v>
                </c:pt>
                <c:pt idx="18846">
                  <c:v>0.33611556982343499</c:v>
                </c:pt>
                <c:pt idx="18847">
                  <c:v>0.33613340467273001</c:v>
                </c:pt>
                <c:pt idx="18848">
                  <c:v>0.33615123952202602</c:v>
                </c:pt>
                <c:pt idx="18849">
                  <c:v>0.33616907437132099</c:v>
                </c:pt>
                <c:pt idx="18850">
                  <c:v>0.336186909220617</c:v>
                </c:pt>
                <c:pt idx="18851">
                  <c:v>0.33620474406991202</c:v>
                </c:pt>
                <c:pt idx="18852">
                  <c:v>0.33622257891920798</c:v>
                </c:pt>
                <c:pt idx="18853">
                  <c:v>0.336240413768503</c:v>
                </c:pt>
                <c:pt idx="18854">
                  <c:v>0.33625824861779902</c:v>
                </c:pt>
                <c:pt idx="18855">
                  <c:v>0.33627608346709398</c:v>
                </c:pt>
                <c:pt idx="18856">
                  <c:v>0.33629391831638999</c:v>
                </c:pt>
                <c:pt idx="18857">
                  <c:v>0.33631175316568501</c:v>
                </c:pt>
                <c:pt idx="18858">
                  <c:v>0.33632958801498097</c:v>
                </c:pt>
                <c:pt idx="18859">
                  <c:v>0.33634742286427599</c:v>
                </c:pt>
                <c:pt idx="18860">
                  <c:v>0.33636525771357201</c:v>
                </c:pt>
                <c:pt idx="18861">
                  <c:v>0.33638309256286703</c:v>
                </c:pt>
                <c:pt idx="18862">
                  <c:v>0.33640092741216299</c:v>
                </c:pt>
                <c:pt idx="18863">
                  <c:v>0.336418762261458</c:v>
                </c:pt>
                <c:pt idx="18864">
                  <c:v>0.33643659711075402</c:v>
                </c:pt>
                <c:pt idx="18865">
                  <c:v>0.33645443196004898</c:v>
                </c:pt>
                <c:pt idx="18866">
                  <c:v>0.336472266809345</c:v>
                </c:pt>
                <c:pt idx="18867">
                  <c:v>0.33649010165864002</c:v>
                </c:pt>
                <c:pt idx="18868">
                  <c:v>0.33650793650793598</c:v>
                </c:pt>
                <c:pt idx="18869">
                  <c:v>0.336525771357232</c:v>
                </c:pt>
                <c:pt idx="18870">
                  <c:v>0.33654360620652701</c:v>
                </c:pt>
                <c:pt idx="18871">
                  <c:v>0.33656144105582297</c:v>
                </c:pt>
                <c:pt idx="18872">
                  <c:v>0.33657927590511799</c:v>
                </c:pt>
                <c:pt idx="18873">
                  <c:v>0.33659711075441401</c:v>
                </c:pt>
                <c:pt idx="18874">
                  <c:v>0.33661494560370903</c:v>
                </c:pt>
                <c:pt idx="18875">
                  <c:v>0.33663278045300499</c:v>
                </c:pt>
                <c:pt idx="18876">
                  <c:v>0.3366506153023</c:v>
                </c:pt>
                <c:pt idx="18877">
                  <c:v>0.33666845015159602</c:v>
                </c:pt>
                <c:pt idx="18878">
                  <c:v>0.33668628500089098</c:v>
                </c:pt>
                <c:pt idx="18879">
                  <c:v>0.336704119850187</c:v>
                </c:pt>
                <c:pt idx="18880">
                  <c:v>0.33672195469948202</c:v>
                </c:pt>
                <c:pt idx="18881">
                  <c:v>0.33673978954877798</c:v>
                </c:pt>
                <c:pt idx="18882">
                  <c:v>0.336757624398073</c:v>
                </c:pt>
                <c:pt idx="18883">
                  <c:v>0.33677545924736901</c:v>
                </c:pt>
                <c:pt idx="18884">
                  <c:v>0.33679329409666398</c:v>
                </c:pt>
                <c:pt idx="18885">
                  <c:v>0.33681112894595999</c:v>
                </c:pt>
                <c:pt idx="18886">
                  <c:v>0.33682896379525501</c:v>
                </c:pt>
                <c:pt idx="18887">
                  <c:v>0.33684679864455103</c:v>
                </c:pt>
                <c:pt idx="18888">
                  <c:v>0.33686463349384699</c:v>
                </c:pt>
                <c:pt idx="18889">
                  <c:v>0.33688246834314201</c:v>
                </c:pt>
                <c:pt idx="18890">
                  <c:v>0.33690030319243802</c:v>
                </c:pt>
                <c:pt idx="18891">
                  <c:v>0.33691813804173298</c:v>
                </c:pt>
                <c:pt idx="18892">
                  <c:v>0.336935972891029</c:v>
                </c:pt>
                <c:pt idx="18893">
                  <c:v>0.33695380774032402</c:v>
                </c:pt>
                <c:pt idx="18894">
                  <c:v>0.33697164258961998</c:v>
                </c:pt>
                <c:pt idx="18895">
                  <c:v>0.336989477438915</c:v>
                </c:pt>
                <c:pt idx="18896">
                  <c:v>0.33700731228821101</c:v>
                </c:pt>
                <c:pt idx="18897">
                  <c:v>0.33702514713750598</c:v>
                </c:pt>
                <c:pt idx="18898">
                  <c:v>0.33704298198680199</c:v>
                </c:pt>
                <c:pt idx="18899">
                  <c:v>0.33706081683609701</c:v>
                </c:pt>
                <c:pt idx="18900">
                  <c:v>0.33707865168539303</c:v>
                </c:pt>
                <c:pt idx="18901">
                  <c:v>0.33709648653468799</c:v>
                </c:pt>
                <c:pt idx="18902">
                  <c:v>0.33711432138398401</c:v>
                </c:pt>
                <c:pt idx="18903">
                  <c:v>0.33713215623327902</c:v>
                </c:pt>
                <c:pt idx="18904">
                  <c:v>0.33714999108257498</c:v>
                </c:pt>
                <c:pt idx="18905">
                  <c:v>0.33716782593187</c:v>
                </c:pt>
                <c:pt idx="18906">
                  <c:v>0.33718566078116602</c:v>
                </c:pt>
                <c:pt idx="18907">
                  <c:v>0.33720349563046098</c:v>
                </c:pt>
                <c:pt idx="18908">
                  <c:v>0.337221330479757</c:v>
                </c:pt>
                <c:pt idx="18909">
                  <c:v>0.33723916532905202</c:v>
                </c:pt>
                <c:pt idx="18910">
                  <c:v>0.33725700017834798</c:v>
                </c:pt>
                <c:pt idx="18911">
                  <c:v>0.33727483502764399</c:v>
                </c:pt>
                <c:pt idx="18912">
                  <c:v>0.33729266987693901</c:v>
                </c:pt>
                <c:pt idx="18913">
                  <c:v>0.33731050472623503</c:v>
                </c:pt>
                <c:pt idx="18914">
                  <c:v>0.33732833957552999</c:v>
                </c:pt>
                <c:pt idx="18915">
                  <c:v>0.33734617442482601</c:v>
                </c:pt>
                <c:pt idx="18916">
                  <c:v>0.33736400927412102</c:v>
                </c:pt>
                <c:pt idx="18917">
                  <c:v>0.33738184412341699</c:v>
                </c:pt>
                <c:pt idx="18918">
                  <c:v>0.337399678972712</c:v>
                </c:pt>
                <c:pt idx="18919">
                  <c:v>0.33741751382200802</c:v>
                </c:pt>
                <c:pt idx="18920">
                  <c:v>0.33743534867130298</c:v>
                </c:pt>
                <c:pt idx="18921">
                  <c:v>0.337453183520599</c:v>
                </c:pt>
                <c:pt idx="18922">
                  <c:v>0.33747101836989402</c:v>
                </c:pt>
                <c:pt idx="18923">
                  <c:v>0.33748885321918998</c:v>
                </c:pt>
                <c:pt idx="18924">
                  <c:v>0.33750668806848499</c:v>
                </c:pt>
                <c:pt idx="18925">
                  <c:v>0.33752452291778101</c:v>
                </c:pt>
                <c:pt idx="18926">
                  <c:v>0.33754235776707597</c:v>
                </c:pt>
                <c:pt idx="18927">
                  <c:v>0.33756019261637199</c:v>
                </c:pt>
                <c:pt idx="18928">
                  <c:v>0.33757802746566701</c:v>
                </c:pt>
                <c:pt idx="18929">
                  <c:v>0.33759586231496302</c:v>
                </c:pt>
                <c:pt idx="18930">
                  <c:v>0.33761369716425899</c:v>
                </c:pt>
                <c:pt idx="18931">
                  <c:v>0.337631532013554</c:v>
                </c:pt>
                <c:pt idx="18932">
                  <c:v>0.33764936686285002</c:v>
                </c:pt>
                <c:pt idx="18933">
                  <c:v>0.33766720171214498</c:v>
                </c:pt>
                <c:pt idx="18934">
                  <c:v>0.337685036561441</c:v>
                </c:pt>
                <c:pt idx="18935">
                  <c:v>0.33770287141073602</c:v>
                </c:pt>
                <c:pt idx="18936">
                  <c:v>0.33772070626003198</c:v>
                </c:pt>
                <c:pt idx="18937">
                  <c:v>0.337738541109327</c:v>
                </c:pt>
                <c:pt idx="18938">
                  <c:v>0.33775637595862301</c:v>
                </c:pt>
                <c:pt idx="18939">
                  <c:v>0.33777421080791797</c:v>
                </c:pt>
                <c:pt idx="18940">
                  <c:v>0.33779204565721399</c:v>
                </c:pt>
                <c:pt idx="18941">
                  <c:v>0.33780988050650901</c:v>
                </c:pt>
                <c:pt idx="18942">
                  <c:v>0.33782771535580502</c:v>
                </c:pt>
                <c:pt idx="18943">
                  <c:v>0.33784555020509999</c:v>
                </c:pt>
                <c:pt idx="18944">
                  <c:v>0.337863385054396</c:v>
                </c:pt>
                <c:pt idx="18945">
                  <c:v>0.33788121990369102</c:v>
                </c:pt>
                <c:pt idx="18946">
                  <c:v>0.33789905475298698</c:v>
                </c:pt>
                <c:pt idx="18947">
                  <c:v>0.337916889602282</c:v>
                </c:pt>
                <c:pt idx="18948">
                  <c:v>0.33793472445157802</c:v>
                </c:pt>
                <c:pt idx="18949">
                  <c:v>0.33795255930087298</c:v>
                </c:pt>
                <c:pt idx="18950">
                  <c:v>0.337970394150169</c:v>
                </c:pt>
                <c:pt idx="18951">
                  <c:v>0.33798822899946401</c:v>
                </c:pt>
                <c:pt idx="18952">
                  <c:v>0.33800606384875997</c:v>
                </c:pt>
                <c:pt idx="18953">
                  <c:v>0.33802389869805599</c:v>
                </c:pt>
                <c:pt idx="18954">
                  <c:v>0.33804173354735101</c:v>
                </c:pt>
                <c:pt idx="18955">
                  <c:v>0.33805956839664703</c:v>
                </c:pt>
                <c:pt idx="18956">
                  <c:v>0.33807740324594199</c:v>
                </c:pt>
                <c:pt idx="18957">
                  <c:v>0.338095238095238</c:v>
                </c:pt>
                <c:pt idx="18958">
                  <c:v>0.33811307294453302</c:v>
                </c:pt>
                <c:pt idx="18959">
                  <c:v>0.33813090779382898</c:v>
                </c:pt>
                <c:pt idx="18960">
                  <c:v>0.338148742643124</c:v>
                </c:pt>
                <c:pt idx="18961">
                  <c:v>0.33816657749242002</c:v>
                </c:pt>
                <c:pt idx="18962">
                  <c:v>0.33818441234171498</c:v>
                </c:pt>
                <c:pt idx="18963">
                  <c:v>0.338202247191011</c:v>
                </c:pt>
                <c:pt idx="18964">
                  <c:v>0.33822008204030601</c:v>
                </c:pt>
                <c:pt idx="18965">
                  <c:v>0.33823791688960197</c:v>
                </c:pt>
                <c:pt idx="18966">
                  <c:v>0.33825575173889699</c:v>
                </c:pt>
                <c:pt idx="18967">
                  <c:v>0.33827358658819301</c:v>
                </c:pt>
                <c:pt idx="18968">
                  <c:v>0.33829142143748803</c:v>
                </c:pt>
                <c:pt idx="18969">
                  <c:v>0.33830925628678399</c:v>
                </c:pt>
                <c:pt idx="18970">
                  <c:v>0.33832709113607901</c:v>
                </c:pt>
                <c:pt idx="18971">
                  <c:v>0.33834492598537502</c:v>
                </c:pt>
                <c:pt idx="18972">
                  <c:v>0.33836276083466998</c:v>
                </c:pt>
                <c:pt idx="18973">
                  <c:v>0.338380595683966</c:v>
                </c:pt>
                <c:pt idx="18974">
                  <c:v>0.33839843053326202</c:v>
                </c:pt>
                <c:pt idx="18975">
                  <c:v>0.33841626538255698</c:v>
                </c:pt>
                <c:pt idx="18976">
                  <c:v>0.338434100231853</c:v>
                </c:pt>
                <c:pt idx="18977">
                  <c:v>0.33845193508114801</c:v>
                </c:pt>
                <c:pt idx="18978">
                  <c:v>0.33846976993044398</c:v>
                </c:pt>
                <c:pt idx="18979">
                  <c:v>0.33848760477973899</c:v>
                </c:pt>
                <c:pt idx="18980">
                  <c:v>0.33850543962903501</c:v>
                </c:pt>
                <c:pt idx="18981">
                  <c:v>0.33852327447833003</c:v>
                </c:pt>
                <c:pt idx="18982">
                  <c:v>0.33854110932762599</c:v>
                </c:pt>
                <c:pt idx="18983">
                  <c:v>0.33855894417692101</c:v>
                </c:pt>
                <c:pt idx="18984">
                  <c:v>0.33857677902621702</c:v>
                </c:pt>
                <c:pt idx="18985">
                  <c:v>0.33859461387551198</c:v>
                </c:pt>
                <c:pt idx="18986">
                  <c:v>0.338612448724808</c:v>
                </c:pt>
                <c:pt idx="18987">
                  <c:v>0.33863028357410302</c:v>
                </c:pt>
                <c:pt idx="18988">
                  <c:v>0.33864811842339898</c:v>
                </c:pt>
                <c:pt idx="18989">
                  <c:v>0.338665953272694</c:v>
                </c:pt>
                <c:pt idx="18990">
                  <c:v>0.33868378812199001</c:v>
                </c:pt>
                <c:pt idx="18991">
                  <c:v>0.33870162297128498</c:v>
                </c:pt>
                <c:pt idx="18992">
                  <c:v>0.33871945782058099</c:v>
                </c:pt>
                <c:pt idx="18993">
                  <c:v>0.33873729266987601</c:v>
                </c:pt>
                <c:pt idx="18994">
                  <c:v>0.33875512751917197</c:v>
                </c:pt>
                <c:pt idx="18995">
                  <c:v>0.33877296236846799</c:v>
                </c:pt>
                <c:pt idx="18996">
                  <c:v>0.33879079721776301</c:v>
                </c:pt>
                <c:pt idx="18997">
                  <c:v>0.33880863206705902</c:v>
                </c:pt>
                <c:pt idx="18998">
                  <c:v>0.33882646691635399</c:v>
                </c:pt>
                <c:pt idx="18999">
                  <c:v>0.33884430176565</c:v>
                </c:pt>
                <c:pt idx="19000">
                  <c:v>0.33886213661494502</c:v>
                </c:pt>
                <c:pt idx="19001">
                  <c:v>0.33887997146424098</c:v>
                </c:pt>
                <c:pt idx="19002">
                  <c:v>0.338897806313536</c:v>
                </c:pt>
                <c:pt idx="19003">
                  <c:v>0.33891564116283202</c:v>
                </c:pt>
                <c:pt idx="19004">
                  <c:v>0.33893347601212698</c:v>
                </c:pt>
                <c:pt idx="19005">
                  <c:v>0.33895131086142299</c:v>
                </c:pt>
                <c:pt idx="19006">
                  <c:v>0.33896914571071801</c:v>
                </c:pt>
                <c:pt idx="19007">
                  <c:v>0.33898698056001397</c:v>
                </c:pt>
                <c:pt idx="19008">
                  <c:v>0.33900481540930899</c:v>
                </c:pt>
                <c:pt idx="19009">
                  <c:v>0.33902265025860501</c:v>
                </c:pt>
                <c:pt idx="19010">
                  <c:v>0.33904048510790002</c:v>
                </c:pt>
                <c:pt idx="19011">
                  <c:v>0.33905831995719599</c:v>
                </c:pt>
                <c:pt idx="19012">
                  <c:v>0.339076154806491</c:v>
                </c:pt>
                <c:pt idx="19013">
                  <c:v>0.33909398965578702</c:v>
                </c:pt>
                <c:pt idx="19014">
                  <c:v>0.33911182450508198</c:v>
                </c:pt>
                <c:pt idx="19015">
                  <c:v>0.339129659354378</c:v>
                </c:pt>
                <c:pt idx="19016">
                  <c:v>0.33914749420367302</c:v>
                </c:pt>
                <c:pt idx="19017">
                  <c:v>0.33916532905296898</c:v>
                </c:pt>
                <c:pt idx="19018">
                  <c:v>0.33918316390226499</c:v>
                </c:pt>
                <c:pt idx="19019">
                  <c:v>0.33920099875156001</c:v>
                </c:pt>
                <c:pt idx="19020">
                  <c:v>0.33921883360085597</c:v>
                </c:pt>
                <c:pt idx="19021">
                  <c:v>0.33923666845015099</c:v>
                </c:pt>
                <c:pt idx="19022">
                  <c:v>0.33925450329944701</c:v>
                </c:pt>
                <c:pt idx="19023">
                  <c:v>0.33927233814874203</c:v>
                </c:pt>
                <c:pt idx="19024">
                  <c:v>0.33929017299803799</c:v>
                </c:pt>
                <c:pt idx="19025">
                  <c:v>0.339308007847333</c:v>
                </c:pt>
                <c:pt idx="19026">
                  <c:v>0.33932584269662902</c:v>
                </c:pt>
                <c:pt idx="19027">
                  <c:v>0.33934367754592398</c:v>
                </c:pt>
                <c:pt idx="19028">
                  <c:v>0.33936151239522</c:v>
                </c:pt>
                <c:pt idx="19029">
                  <c:v>0.33937934724451502</c:v>
                </c:pt>
                <c:pt idx="19030">
                  <c:v>0.33939718209381098</c:v>
                </c:pt>
                <c:pt idx="19031">
                  <c:v>0.339415016943106</c:v>
                </c:pt>
                <c:pt idx="19032">
                  <c:v>0.33943285179240201</c:v>
                </c:pt>
                <c:pt idx="19033">
                  <c:v>0.33945068664169697</c:v>
                </c:pt>
                <c:pt idx="19034">
                  <c:v>0.33946852149099299</c:v>
                </c:pt>
                <c:pt idx="19035">
                  <c:v>0.33948635634028801</c:v>
                </c:pt>
                <c:pt idx="19036">
                  <c:v>0.33950419118958403</c:v>
                </c:pt>
                <c:pt idx="19037">
                  <c:v>0.33952202603887999</c:v>
                </c:pt>
                <c:pt idx="19038">
                  <c:v>0.339539860888175</c:v>
                </c:pt>
                <c:pt idx="19039">
                  <c:v>0.33955769573747102</c:v>
                </c:pt>
                <c:pt idx="19040">
                  <c:v>0.33957553058676598</c:v>
                </c:pt>
                <c:pt idx="19041">
                  <c:v>0.339593365436062</c:v>
                </c:pt>
                <c:pt idx="19042">
                  <c:v>0.33961120028535702</c:v>
                </c:pt>
                <c:pt idx="19043">
                  <c:v>0.33962903513465298</c:v>
                </c:pt>
                <c:pt idx="19044">
                  <c:v>0.339646869983948</c:v>
                </c:pt>
                <c:pt idx="19045">
                  <c:v>0.33966470483324401</c:v>
                </c:pt>
                <c:pt idx="19046">
                  <c:v>0.33968253968253898</c:v>
                </c:pt>
                <c:pt idx="19047">
                  <c:v>0.33970037453183499</c:v>
                </c:pt>
                <c:pt idx="19048">
                  <c:v>0.33971820938113001</c:v>
                </c:pt>
                <c:pt idx="19049">
                  <c:v>0.33973604423042603</c:v>
                </c:pt>
                <c:pt idx="19050">
                  <c:v>0.33975387907972099</c:v>
                </c:pt>
                <c:pt idx="19051">
                  <c:v>0.33977171392901701</c:v>
                </c:pt>
                <c:pt idx="19052">
                  <c:v>0.33978954877831202</c:v>
                </c:pt>
                <c:pt idx="19053">
                  <c:v>0.33980738362760798</c:v>
                </c:pt>
                <c:pt idx="19054">
                  <c:v>0.339825218476903</c:v>
                </c:pt>
                <c:pt idx="19055">
                  <c:v>0.33984305332619902</c:v>
                </c:pt>
                <c:pt idx="19056">
                  <c:v>0.33986088817549398</c:v>
                </c:pt>
                <c:pt idx="19057">
                  <c:v>0.33987872302479</c:v>
                </c:pt>
                <c:pt idx="19058">
                  <c:v>0.33989655787408501</c:v>
                </c:pt>
                <c:pt idx="19059">
                  <c:v>0.33991439272338098</c:v>
                </c:pt>
                <c:pt idx="19060">
                  <c:v>0.33993222757267699</c:v>
                </c:pt>
                <c:pt idx="19061">
                  <c:v>0.33995006242197201</c:v>
                </c:pt>
                <c:pt idx="19062">
                  <c:v>0.33996789727126803</c:v>
                </c:pt>
                <c:pt idx="19063">
                  <c:v>0.33998573212056299</c:v>
                </c:pt>
                <c:pt idx="19064">
                  <c:v>0.34000356696985901</c:v>
                </c:pt>
                <c:pt idx="19065">
                  <c:v>0.34002140181915402</c:v>
                </c:pt>
                <c:pt idx="19066">
                  <c:v>0.34003923666844998</c:v>
                </c:pt>
                <c:pt idx="19067">
                  <c:v>0.340057071517745</c:v>
                </c:pt>
                <c:pt idx="19068">
                  <c:v>0.34007490636704102</c:v>
                </c:pt>
                <c:pt idx="19069">
                  <c:v>0.34009274121633598</c:v>
                </c:pt>
                <c:pt idx="19070">
                  <c:v>0.340110576065632</c:v>
                </c:pt>
                <c:pt idx="19071">
                  <c:v>0.34012841091492702</c:v>
                </c:pt>
                <c:pt idx="19072">
                  <c:v>0.34014624576422298</c:v>
                </c:pt>
                <c:pt idx="19073">
                  <c:v>0.34016408061351799</c:v>
                </c:pt>
                <c:pt idx="19074">
                  <c:v>0.34018191546281401</c:v>
                </c:pt>
                <c:pt idx="19075">
                  <c:v>0.34019975031210897</c:v>
                </c:pt>
                <c:pt idx="19076">
                  <c:v>0.34021758516140499</c:v>
                </c:pt>
                <c:pt idx="19077">
                  <c:v>0.34023542001070001</c:v>
                </c:pt>
                <c:pt idx="19078">
                  <c:v>0.34025325485999602</c:v>
                </c:pt>
                <c:pt idx="19079">
                  <c:v>0.34027108970929099</c:v>
                </c:pt>
                <c:pt idx="19080">
                  <c:v>0.340288924558587</c:v>
                </c:pt>
                <c:pt idx="19081">
                  <c:v>0.34030675940788302</c:v>
                </c:pt>
                <c:pt idx="19082">
                  <c:v>0.34032459425717798</c:v>
                </c:pt>
                <c:pt idx="19083">
                  <c:v>0.340342429106474</c:v>
                </c:pt>
                <c:pt idx="19084">
                  <c:v>0.34036026395576902</c:v>
                </c:pt>
                <c:pt idx="19085">
                  <c:v>0.34037809880506498</c:v>
                </c:pt>
                <c:pt idx="19086">
                  <c:v>0.34039593365435999</c:v>
                </c:pt>
                <c:pt idx="19087">
                  <c:v>0.34041376850365601</c:v>
                </c:pt>
                <c:pt idx="19088">
                  <c:v>0.34043160335295097</c:v>
                </c:pt>
                <c:pt idx="19089">
                  <c:v>0.34044943820224699</c:v>
                </c:pt>
                <c:pt idx="19090">
                  <c:v>0.34046727305154201</c:v>
                </c:pt>
                <c:pt idx="19091">
                  <c:v>0.34048510790083802</c:v>
                </c:pt>
                <c:pt idx="19092">
                  <c:v>0.34050294275013299</c:v>
                </c:pt>
                <c:pt idx="19093">
                  <c:v>0.340520777599429</c:v>
                </c:pt>
                <c:pt idx="19094">
                  <c:v>0.34053861244872402</c:v>
                </c:pt>
                <c:pt idx="19095">
                  <c:v>0.34055644729801998</c:v>
                </c:pt>
                <c:pt idx="19096">
                  <c:v>0.340574282147315</c:v>
                </c:pt>
                <c:pt idx="19097">
                  <c:v>0.34059211699661102</c:v>
                </c:pt>
                <c:pt idx="19098">
                  <c:v>0.34060995184590598</c:v>
                </c:pt>
                <c:pt idx="19099">
                  <c:v>0.340627786695202</c:v>
                </c:pt>
                <c:pt idx="19100">
                  <c:v>0.34064562154449701</c:v>
                </c:pt>
                <c:pt idx="19101">
                  <c:v>0.34066345639379297</c:v>
                </c:pt>
                <c:pt idx="19102">
                  <c:v>0.34068129124308899</c:v>
                </c:pt>
                <c:pt idx="19103">
                  <c:v>0.34069912609238401</c:v>
                </c:pt>
                <c:pt idx="19104">
                  <c:v>0.34071696094168002</c:v>
                </c:pt>
                <c:pt idx="19105">
                  <c:v>0.34073479579097499</c:v>
                </c:pt>
                <c:pt idx="19106">
                  <c:v>0.340752630640271</c:v>
                </c:pt>
                <c:pt idx="19107">
                  <c:v>0.34077046548956602</c:v>
                </c:pt>
                <c:pt idx="19108">
                  <c:v>0.34078830033886198</c:v>
                </c:pt>
                <c:pt idx="19109">
                  <c:v>0.340806135188157</c:v>
                </c:pt>
                <c:pt idx="19110">
                  <c:v>0.34082397003745302</c:v>
                </c:pt>
                <c:pt idx="19111">
                  <c:v>0.34084180488674798</c:v>
                </c:pt>
                <c:pt idx="19112">
                  <c:v>0.340859639736044</c:v>
                </c:pt>
                <c:pt idx="19113">
                  <c:v>0.34087747458533901</c:v>
                </c:pt>
                <c:pt idx="19114">
                  <c:v>0.34089530943463497</c:v>
                </c:pt>
                <c:pt idx="19115">
                  <c:v>0.34091314428392999</c:v>
                </c:pt>
                <c:pt idx="19116">
                  <c:v>0.34093097913322601</c:v>
                </c:pt>
                <c:pt idx="19117">
                  <c:v>0.34094881398252103</c:v>
                </c:pt>
                <c:pt idx="19118">
                  <c:v>0.34096664883181699</c:v>
                </c:pt>
                <c:pt idx="19119">
                  <c:v>0.34098448368111201</c:v>
                </c:pt>
                <c:pt idx="19120">
                  <c:v>0.34100231853040802</c:v>
                </c:pt>
                <c:pt idx="19121">
                  <c:v>0.34102015337970298</c:v>
                </c:pt>
                <c:pt idx="19122">
                  <c:v>0.341037988228999</c:v>
                </c:pt>
                <c:pt idx="19123">
                  <c:v>0.34105582307829402</c:v>
                </c:pt>
                <c:pt idx="19124">
                  <c:v>0.34107365792758998</c:v>
                </c:pt>
                <c:pt idx="19125">
                  <c:v>0.341091492776886</c:v>
                </c:pt>
                <c:pt idx="19126">
                  <c:v>0.34110932762618101</c:v>
                </c:pt>
                <c:pt idx="19127">
                  <c:v>0.34112716247547697</c:v>
                </c:pt>
                <c:pt idx="19128">
                  <c:v>0.34114499732477199</c:v>
                </c:pt>
                <c:pt idx="19129">
                  <c:v>0.34116283217406801</c:v>
                </c:pt>
                <c:pt idx="19130">
                  <c:v>0.34118066702336303</c:v>
                </c:pt>
                <c:pt idx="19131">
                  <c:v>0.34119850187265899</c:v>
                </c:pt>
                <c:pt idx="19132">
                  <c:v>0.34121633672195401</c:v>
                </c:pt>
                <c:pt idx="19133">
                  <c:v>0.34123417157125002</c:v>
                </c:pt>
                <c:pt idx="19134">
                  <c:v>0.34125200642054498</c:v>
                </c:pt>
                <c:pt idx="19135">
                  <c:v>0.341269841269841</c:v>
                </c:pt>
                <c:pt idx="19136">
                  <c:v>0.34128767611913602</c:v>
                </c:pt>
                <c:pt idx="19137">
                  <c:v>0.34130551096843198</c:v>
                </c:pt>
                <c:pt idx="19138">
                  <c:v>0.341323345817727</c:v>
                </c:pt>
                <c:pt idx="19139">
                  <c:v>0.34134118066702301</c:v>
                </c:pt>
                <c:pt idx="19140">
                  <c:v>0.34135901551631798</c:v>
                </c:pt>
                <c:pt idx="19141">
                  <c:v>0.34137685036561399</c:v>
                </c:pt>
                <c:pt idx="19142">
                  <c:v>0.34139468521490901</c:v>
                </c:pt>
                <c:pt idx="19143">
                  <c:v>0.34141252006420503</c:v>
                </c:pt>
                <c:pt idx="19144">
                  <c:v>0.34143035491350099</c:v>
                </c:pt>
                <c:pt idx="19145">
                  <c:v>0.34144818976279601</c:v>
                </c:pt>
                <c:pt idx="19146">
                  <c:v>0.34146602461209202</c:v>
                </c:pt>
                <c:pt idx="19147">
                  <c:v>0.34148385946138698</c:v>
                </c:pt>
                <c:pt idx="19148">
                  <c:v>0.341501694310683</c:v>
                </c:pt>
                <c:pt idx="19149">
                  <c:v>0.34151952915997802</c:v>
                </c:pt>
                <c:pt idx="19150">
                  <c:v>0.34153736400927398</c:v>
                </c:pt>
                <c:pt idx="19151">
                  <c:v>0.341555198858569</c:v>
                </c:pt>
                <c:pt idx="19152">
                  <c:v>0.34157303370786501</c:v>
                </c:pt>
                <c:pt idx="19153">
                  <c:v>0.34159086855715998</c:v>
                </c:pt>
                <c:pt idx="19154">
                  <c:v>0.34160870340645599</c:v>
                </c:pt>
                <c:pt idx="19155">
                  <c:v>0.34162653825575101</c:v>
                </c:pt>
                <c:pt idx="19156">
                  <c:v>0.34164437310504697</c:v>
                </c:pt>
                <c:pt idx="19157">
                  <c:v>0.34166220795434199</c:v>
                </c:pt>
                <c:pt idx="19158">
                  <c:v>0.34168004280363801</c:v>
                </c:pt>
                <c:pt idx="19159">
                  <c:v>0.34169787765293302</c:v>
                </c:pt>
                <c:pt idx="19160">
                  <c:v>0.34171571250222899</c:v>
                </c:pt>
                <c:pt idx="19161">
                  <c:v>0.341733547351524</c:v>
                </c:pt>
                <c:pt idx="19162">
                  <c:v>0.34175138220082002</c:v>
                </c:pt>
                <c:pt idx="19163">
                  <c:v>0.34176921705011498</c:v>
                </c:pt>
                <c:pt idx="19164">
                  <c:v>0.341787051899411</c:v>
                </c:pt>
                <c:pt idx="19165">
                  <c:v>0.34180488674870602</c:v>
                </c:pt>
                <c:pt idx="19166">
                  <c:v>0.34182272159800198</c:v>
                </c:pt>
                <c:pt idx="19167">
                  <c:v>0.34184055644729799</c:v>
                </c:pt>
                <c:pt idx="19168">
                  <c:v>0.34185839129659301</c:v>
                </c:pt>
                <c:pt idx="19169">
                  <c:v>0.34187622614588897</c:v>
                </c:pt>
                <c:pt idx="19170">
                  <c:v>0.34189406099518399</c:v>
                </c:pt>
                <c:pt idx="19171">
                  <c:v>0.34191189584448001</c:v>
                </c:pt>
                <c:pt idx="19172">
                  <c:v>0.34192973069377502</c:v>
                </c:pt>
                <c:pt idx="19173">
                  <c:v>0.34194756554307099</c:v>
                </c:pt>
                <c:pt idx="19174">
                  <c:v>0.341965400392366</c:v>
                </c:pt>
                <c:pt idx="19175">
                  <c:v>0.34198323524166202</c:v>
                </c:pt>
                <c:pt idx="19176">
                  <c:v>0.34200107009095698</c:v>
                </c:pt>
                <c:pt idx="19177">
                  <c:v>0.342018904940253</c:v>
                </c:pt>
                <c:pt idx="19178">
                  <c:v>0.34203673978954802</c:v>
                </c:pt>
                <c:pt idx="19179">
                  <c:v>0.34205457463884398</c:v>
                </c:pt>
                <c:pt idx="19180">
                  <c:v>0.342072409488139</c:v>
                </c:pt>
                <c:pt idx="19181">
                  <c:v>0.34209024433743501</c:v>
                </c:pt>
                <c:pt idx="19182">
                  <c:v>0.34210807918672997</c:v>
                </c:pt>
                <c:pt idx="19183">
                  <c:v>0.34212591403602599</c:v>
                </c:pt>
                <c:pt idx="19184">
                  <c:v>0.34214374888532101</c:v>
                </c:pt>
                <c:pt idx="19185">
                  <c:v>0.34216158373461703</c:v>
                </c:pt>
                <c:pt idx="19186">
                  <c:v>0.34217941858391299</c:v>
                </c:pt>
                <c:pt idx="19187">
                  <c:v>0.342197253433208</c:v>
                </c:pt>
                <c:pt idx="19188">
                  <c:v>0.34221508828250402</c:v>
                </c:pt>
                <c:pt idx="19189">
                  <c:v>0.34223292313179898</c:v>
                </c:pt>
                <c:pt idx="19190">
                  <c:v>0.342250757981095</c:v>
                </c:pt>
                <c:pt idx="19191">
                  <c:v>0.34226859283039002</c:v>
                </c:pt>
                <c:pt idx="19192">
                  <c:v>0.34228642767968598</c:v>
                </c:pt>
                <c:pt idx="19193">
                  <c:v>0.342304262528981</c:v>
                </c:pt>
                <c:pt idx="19194">
                  <c:v>0.34232209737827701</c:v>
                </c:pt>
                <c:pt idx="19195">
                  <c:v>0.34233993222757197</c:v>
                </c:pt>
                <c:pt idx="19196">
                  <c:v>0.34235776707686799</c:v>
                </c:pt>
                <c:pt idx="19197">
                  <c:v>0.34237560192616301</c:v>
                </c:pt>
                <c:pt idx="19198">
                  <c:v>0.34239343677545903</c:v>
                </c:pt>
                <c:pt idx="19199">
                  <c:v>0.34241127162475399</c:v>
                </c:pt>
                <c:pt idx="19200">
                  <c:v>0.34242910647405</c:v>
                </c:pt>
                <c:pt idx="19201">
                  <c:v>0.34244694132334502</c:v>
                </c:pt>
                <c:pt idx="19202">
                  <c:v>0.34246477617264098</c:v>
                </c:pt>
                <c:pt idx="19203">
                  <c:v>0.342482611021936</c:v>
                </c:pt>
                <c:pt idx="19204">
                  <c:v>0.34250044587123202</c:v>
                </c:pt>
                <c:pt idx="19205">
                  <c:v>0.34251828072052698</c:v>
                </c:pt>
                <c:pt idx="19206">
                  <c:v>0.342536115569823</c:v>
                </c:pt>
                <c:pt idx="19207">
                  <c:v>0.34255395041911801</c:v>
                </c:pt>
                <c:pt idx="19208">
                  <c:v>0.34257178526841398</c:v>
                </c:pt>
                <c:pt idx="19209">
                  <c:v>0.34258962011770999</c:v>
                </c:pt>
                <c:pt idx="19210">
                  <c:v>0.34260745496700501</c:v>
                </c:pt>
                <c:pt idx="19211">
                  <c:v>0.34262528981630103</c:v>
                </c:pt>
                <c:pt idx="19212">
                  <c:v>0.34264312466559599</c:v>
                </c:pt>
                <c:pt idx="19213">
                  <c:v>0.34266095951489201</c:v>
                </c:pt>
                <c:pt idx="19214">
                  <c:v>0.34267879436418702</c:v>
                </c:pt>
                <c:pt idx="19215">
                  <c:v>0.34269662921348298</c:v>
                </c:pt>
                <c:pt idx="19216">
                  <c:v>0.342714464062778</c:v>
                </c:pt>
                <c:pt idx="19217">
                  <c:v>0.34273229891207402</c:v>
                </c:pt>
                <c:pt idx="19218">
                  <c:v>0.34275013376136898</c:v>
                </c:pt>
                <c:pt idx="19219">
                  <c:v>0.342767968610665</c:v>
                </c:pt>
                <c:pt idx="19220">
                  <c:v>0.34278580345996001</c:v>
                </c:pt>
                <c:pt idx="19221">
                  <c:v>0.34280363830925598</c:v>
                </c:pt>
                <c:pt idx="19222">
                  <c:v>0.34282147315855099</c:v>
                </c:pt>
                <c:pt idx="19223">
                  <c:v>0.34283930800784701</c:v>
                </c:pt>
                <c:pt idx="19224">
                  <c:v>0.34285714285714203</c:v>
                </c:pt>
                <c:pt idx="19225">
                  <c:v>0.34287497770643799</c:v>
                </c:pt>
                <c:pt idx="19226">
                  <c:v>0.34289281255573301</c:v>
                </c:pt>
                <c:pt idx="19227">
                  <c:v>0.34291064740502902</c:v>
                </c:pt>
                <c:pt idx="19228">
                  <c:v>0.34292848225432399</c:v>
                </c:pt>
                <c:pt idx="19229">
                  <c:v>0.34294631710362</c:v>
                </c:pt>
                <c:pt idx="19230">
                  <c:v>0.34296415195291602</c:v>
                </c:pt>
                <c:pt idx="19231">
                  <c:v>0.34298198680221098</c:v>
                </c:pt>
                <c:pt idx="19232">
                  <c:v>0.342999821651507</c:v>
                </c:pt>
                <c:pt idx="19233">
                  <c:v>0.34301765650080202</c:v>
                </c:pt>
                <c:pt idx="19234">
                  <c:v>0.34303549135009798</c:v>
                </c:pt>
                <c:pt idx="19235">
                  <c:v>0.34305332619939299</c:v>
                </c:pt>
                <c:pt idx="19236">
                  <c:v>0.34307116104868901</c:v>
                </c:pt>
                <c:pt idx="19237">
                  <c:v>0.34308899589798397</c:v>
                </c:pt>
                <c:pt idx="19238">
                  <c:v>0.34310683074727999</c:v>
                </c:pt>
                <c:pt idx="19239">
                  <c:v>0.34312466559657501</c:v>
                </c:pt>
                <c:pt idx="19240">
                  <c:v>0.34314250044587102</c:v>
                </c:pt>
                <c:pt idx="19241">
                  <c:v>0.34316033529516599</c:v>
                </c:pt>
                <c:pt idx="19242">
                  <c:v>0.343178170144462</c:v>
                </c:pt>
                <c:pt idx="19243">
                  <c:v>0.34319600499375702</c:v>
                </c:pt>
                <c:pt idx="19244">
                  <c:v>0.34321383984305298</c:v>
                </c:pt>
                <c:pt idx="19245">
                  <c:v>0.343231674692348</c:v>
                </c:pt>
                <c:pt idx="19246">
                  <c:v>0.34324950954164402</c:v>
                </c:pt>
                <c:pt idx="19247">
                  <c:v>0.34326734439093898</c:v>
                </c:pt>
                <c:pt idx="19248">
                  <c:v>0.34328517924023499</c:v>
                </c:pt>
                <c:pt idx="19249">
                  <c:v>0.34330301408953001</c:v>
                </c:pt>
                <c:pt idx="19250">
                  <c:v>0.34332084893882597</c:v>
                </c:pt>
                <c:pt idx="19251">
                  <c:v>0.34333868378812199</c:v>
                </c:pt>
                <c:pt idx="19252">
                  <c:v>0.34335651863741701</c:v>
                </c:pt>
                <c:pt idx="19253">
                  <c:v>0.34337435348671302</c:v>
                </c:pt>
                <c:pt idx="19254">
                  <c:v>0.34339218833600799</c:v>
                </c:pt>
                <c:pt idx="19255">
                  <c:v>0.343410023185304</c:v>
                </c:pt>
                <c:pt idx="19256">
                  <c:v>0.34342785803459902</c:v>
                </c:pt>
                <c:pt idx="19257">
                  <c:v>0.34344569288389498</c:v>
                </c:pt>
                <c:pt idx="19258">
                  <c:v>0.34346352773319</c:v>
                </c:pt>
                <c:pt idx="19259">
                  <c:v>0.34348136258248602</c:v>
                </c:pt>
                <c:pt idx="19260">
                  <c:v>0.34349919743178098</c:v>
                </c:pt>
                <c:pt idx="19261">
                  <c:v>0.34351703228107699</c:v>
                </c:pt>
                <c:pt idx="19262">
                  <c:v>0.34353486713037201</c:v>
                </c:pt>
                <c:pt idx="19263">
                  <c:v>0.34355270197966797</c:v>
                </c:pt>
                <c:pt idx="19264">
                  <c:v>0.34357053682896299</c:v>
                </c:pt>
                <c:pt idx="19265">
                  <c:v>0.34358837167825901</c:v>
                </c:pt>
                <c:pt idx="19266">
                  <c:v>0.34360620652755403</c:v>
                </c:pt>
                <c:pt idx="19267">
                  <c:v>0.34362404137684999</c:v>
                </c:pt>
                <c:pt idx="19268">
                  <c:v>0.343641876226145</c:v>
                </c:pt>
                <c:pt idx="19269">
                  <c:v>0.34365971107544102</c:v>
                </c:pt>
                <c:pt idx="19270">
                  <c:v>0.34367754592473598</c:v>
                </c:pt>
                <c:pt idx="19271">
                  <c:v>0.343695380774032</c:v>
                </c:pt>
                <c:pt idx="19272">
                  <c:v>0.34371321562332702</c:v>
                </c:pt>
                <c:pt idx="19273">
                  <c:v>0.34373105047262298</c:v>
                </c:pt>
                <c:pt idx="19274">
                  <c:v>0.343748885321919</c:v>
                </c:pt>
                <c:pt idx="19275">
                  <c:v>0.34376672017121401</c:v>
                </c:pt>
                <c:pt idx="19276">
                  <c:v>0.34378455502050997</c:v>
                </c:pt>
                <c:pt idx="19277">
                  <c:v>0.34380238986980499</c:v>
                </c:pt>
                <c:pt idx="19278">
                  <c:v>0.34382022471910101</c:v>
                </c:pt>
                <c:pt idx="19279">
                  <c:v>0.34383805956839603</c:v>
                </c:pt>
                <c:pt idx="19280">
                  <c:v>0.34385589441769199</c:v>
                </c:pt>
                <c:pt idx="19281">
                  <c:v>0.343873729266987</c:v>
                </c:pt>
                <c:pt idx="19282">
                  <c:v>0.34389156411628302</c:v>
                </c:pt>
                <c:pt idx="19283">
                  <c:v>0.34390939896557798</c:v>
                </c:pt>
                <c:pt idx="19284">
                  <c:v>0.343927233814874</c:v>
                </c:pt>
                <c:pt idx="19285">
                  <c:v>0.34394506866416902</c:v>
                </c:pt>
                <c:pt idx="19286">
                  <c:v>0.34396290351346498</c:v>
                </c:pt>
                <c:pt idx="19287">
                  <c:v>0.34398073836276</c:v>
                </c:pt>
                <c:pt idx="19288">
                  <c:v>0.34399857321205601</c:v>
                </c:pt>
                <c:pt idx="19289">
                  <c:v>0.34401640806135098</c:v>
                </c:pt>
                <c:pt idx="19290">
                  <c:v>0.34403424291064699</c:v>
                </c:pt>
                <c:pt idx="19291">
                  <c:v>0.34405207775994201</c:v>
                </c:pt>
                <c:pt idx="19292">
                  <c:v>0.34406991260923803</c:v>
                </c:pt>
                <c:pt idx="19293">
                  <c:v>0.34408774745853399</c:v>
                </c:pt>
                <c:pt idx="19294">
                  <c:v>0.34410558230782901</c:v>
                </c:pt>
                <c:pt idx="19295">
                  <c:v>0.34412341715712502</c:v>
                </c:pt>
                <c:pt idx="19296">
                  <c:v>0.34414125200641998</c:v>
                </c:pt>
                <c:pt idx="19297">
                  <c:v>0.344159086855716</c:v>
                </c:pt>
                <c:pt idx="19298">
                  <c:v>0.34417692170501102</c:v>
                </c:pt>
                <c:pt idx="19299">
                  <c:v>0.34419475655430698</c:v>
                </c:pt>
                <c:pt idx="19300">
                  <c:v>0.344212591403602</c:v>
                </c:pt>
                <c:pt idx="19301">
                  <c:v>0.34423042625289801</c:v>
                </c:pt>
                <c:pt idx="19302">
                  <c:v>0.34424826110219298</c:v>
                </c:pt>
                <c:pt idx="19303">
                  <c:v>0.34426609595148899</c:v>
                </c:pt>
                <c:pt idx="19304">
                  <c:v>0.34428393080078401</c:v>
                </c:pt>
                <c:pt idx="19305">
                  <c:v>0.34430176565008003</c:v>
                </c:pt>
                <c:pt idx="19306">
                  <c:v>0.34431960049937499</c:v>
                </c:pt>
                <c:pt idx="19307">
                  <c:v>0.34433743534867101</c:v>
                </c:pt>
                <c:pt idx="19308">
                  <c:v>0.34435527019796602</c:v>
                </c:pt>
                <c:pt idx="19309">
                  <c:v>0.34437310504726198</c:v>
                </c:pt>
                <c:pt idx="19310">
                  <c:v>0.344390939896557</c:v>
                </c:pt>
                <c:pt idx="19311">
                  <c:v>0.34440877474585302</c:v>
                </c:pt>
                <c:pt idx="19312">
                  <c:v>0.34442660959514798</c:v>
                </c:pt>
                <c:pt idx="19313">
                  <c:v>0.344444444444444</c:v>
                </c:pt>
                <c:pt idx="19314">
                  <c:v>0.34446227929373902</c:v>
                </c:pt>
                <c:pt idx="19315">
                  <c:v>0.34448011414303498</c:v>
                </c:pt>
                <c:pt idx="19316">
                  <c:v>0.34449794899233099</c:v>
                </c:pt>
                <c:pt idx="19317">
                  <c:v>0.34451578384162601</c:v>
                </c:pt>
                <c:pt idx="19318">
                  <c:v>0.34453361869092203</c:v>
                </c:pt>
                <c:pt idx="19319">
                  <c:v>0.34455145354021699</c:v>
                </c:pt>
                <c:pt idx="19320">
                  <c:v>0.34456928838951301</c:v>
                </c:pt>
                <c:pt idx="19321">
                  <c:v>0.34458712323880802</c:v>
                </c:pt>
                <c:pt idx="19322">
                  <c:v>0.34460495808810399</c:v>
                </c:pt>
                <c:pt idx="19323">
                  <c:v>0.344622792937399</c:v>
                </c:pt>
                <c:pt idx="19324">
                  <c:v>0.34464062778669502</c:v>
                </c:pt>
                <c:pt idx="19325">
                  <c:v>0.34465846263598998</c:v>
                </c:pt>
                <c:pt idx="19326">
                  <c:v>0.344676297485286</c:v>
                </c:pt>
                <c:pt idx="19327">
                  <c:v>0.34469413233458102</c:v>
                </c:pt>
                <c:pt idx="19328">
                  <c:v>0.34471196718387698</c:v>
                </c:pt>
                <c:pt idx="19329">
                  <c:v>0.34472980203317199</c:v>
                </c:pt>
                <c:pt idx="19330">
                  <c:v>0.34474763688246801</c:v>
                </c:pt>
                <c:pt idx="19331">
                  <c:v>0.34476547173176297</c:v>
                </c:pt>
                <c:pt idx="19332">
                  <c:v>0.34478330658105899</c:v>
                </c:pt>
                <c:pt idx="19333">
                  <c:v>0.34480114143035401</c:v>
                </c:pt>
                <c:pt idx="19334">
                  <c:v>0.34481897627965002</c:v>
                </c:pt>
                <c:pt idx="19335">
                  <c:v>0.34483681112894599</c:v>
                </c:pt>
                <c:pt idx="19336">
                  <c:v>0.344854645978241</c:v>
                </c:pt>
                <c:pt idx="19337">
                  <c:v>0.34487248082753702</c:v>
                </c:pt>
                <c:pt idx="19338">
                  <c:v>0.34489031567683198</c:v>
                </c:pt>
                <c:pt idx="19339">
                  <c:v>0.344908150526128</c:v>
                </c:pt>
                <c:pt idx="19340">
                  <c:v>0.34492598537542302</c:v>
                </c:pt>
                <c:pt idx="19341">
                  <c:v>0.34494382022471898</c:v>
                </c:pt>
                <c:pt idx="19342">
                  <c:v>0.344961655074014</c:v>
                </c:pt>
                <c:pt idx="19343">
                  <c:v>0.34497948992331001</c:v>
                </c:pt>
                <c:pt idx="19344">
                  <c:v>0.34499732477260497</c:v>
                </c:pt>
                <c:pt idx="19345">
                  <c:v>0.34501515962190099</c:v>
                </c:pt>
                <c:pt idx="19346">
                  <c:v>0.34503299447119601</c:v>
                </c:pt>
                <c:pt idx="19347">
                  <c:v>0.34505082932049203</c:v>
                </c:pt>
                <c:pt idx="19348">
                  <c:v>0.34506866416978699</c:v>
                </c:pt>
                <c:pt idx="19349">
                  <c:v>0.345086499019083</c:v>
                </c:pt>
                <c:pt idx="19350">
                  <c:v>0.34510433386837802</c:v>
                </c:pt>
                <c:pt idx="19351">
                  <c:v>0.34512216871767398</c:v>
                </c:pt>
                <c:pt idx="19352">
                  <c:v>0.345140003566969</c:v>
                </c:pt>
                <c:pt idx="19353">
                  <c:v>0.34515783841626502</c:v>
                </c:pt>
                <c:pt idx="19354">
                  <c:v>0.34517567326555998</c:v>
                </c:pt>
                <c:pt idx="19355">
                  <c:v>0.345193508114856</c:v>
                </c:pt>
                <c:pt idx="19356">
                  <c:v>0.34521134296415101</c:v>
                </c:pt>
                <c:pt idx="19357">
                  <c:v>0.34522917781344697</c:v>
                </c:pt>
                <c:pt idx="19358">
                  <c:v>0.34524701266274299</c:v>
                </c:pt>
                <c:pt idx="19359">
                  <c:v>0.34526484751203801</c:v>
                </c:pt>
                <c:pt idx="19360">
                  <c:v>0.34528268236133403</c:v>
                </c:pt>
                <c:pt idx="19361">
                  <c:v>0.34530051721062899</c:v>
                </c:pt>
                <c:pt idx="19362">
                  <c:v>0.345318352059925</c:v>
                </c:pt>
                <c:pt idx="19363">
                  <c:v>0.34533618690922002</c:v>
                </c:pt>
                <c:pt idx="19364">
                  <c:v>0.34535402175851598</c:v>
                </c:pt>
                <c:pt idx="19365">
                  <c:v>0.345371856607811</c:v>
                </c:pt>
                <c:pt idx="19366">
                  <c:v>0.34538969145710702</c:v>
                </c:pt>
                <c:pt idx="19367">
                  <c:v>0.34540752630640198</c:v>
                </c:pt>
                <c:pt idx="19368">
                  <c:v>0.345425361155698</c:v>
                </c:pt>
                <c:pt idx="19369">
                  <c:v>0.34544319600499301</c:v>
                </c:pt>
                <c:pt idx="19370">
                  <c:v>0.34546103085428898</c:v>
                </c:pt>
                <c:pt idx="19371">
                  <c:v>0.34547886570358399</c:v>
                </c:pt>
                <c:pt idx="19372">
                  <c:v>0.34549670055288001</c:v>
                </c:pt>
                <c:pt idx="19373">
                  <c:v>0.34551453540217503</c:v>
                </c:pt>
                <c:pt idx="19374">
                  <c:v>0.34553237025147099</c:v>
                </c:pt>
                <c:pt idx="19375">
                  <c:v>0.34555020510076601</c:v>
                </c:pt>
                <c:pt idx="19376">
                  <c:v>0.34556803995006202</c:v>
                </c:pt>
                <c:pt idx="19377">
                  <c:v>0.34558587479935698</c:v>
                </c:pt>
                <c:pt idx="19378">
                  <c:v>0.345603709648653</c:v>
                </c:pt>
                <c:pt idx="19379">
                  <c:v>0.34562154449794902</c:v>
                </c:pt>
                <c:pt idx="19380">
                  <c:v>0.34563937934724398</c:v>
                </c:pt>
                <c:pt idx="19381">
                  <c:v>0.34565721419654</c:v>
                </c:pt>
                <c:pt idx="19382">
                  <c:v>0.34567504904583501</c:v>
                </c:pt>
                <c:pt idx="19383">
                  <c:v>0.34569288389513098</c:v>
                </c:pt>
                <c:pt idx="19384">
                  <c:v>0.34571071874442599</c:v>
                </c:pt>
                <c:pt idx="19385">
                  <c:v>0.34572855359372201</c:v>
                </c:pt>
                <c:pt idx="19386">
                  <c:v>0.34574638844301703</c:v>
                </c:pt>
                <c:pt idx="19387">
                  <c:v>0.34576422329231299</c:v>
                </c:pt>
                <c:pt idx="19388">
                  <c:v>0.34578205814160801</c:v>
                </c:pt>
                <c:pt idx="19389">
                  <c:v>0.34579989299090402</c:v>
                </c:pt>
                <c:pt idx="19390">
                  <c:v>0.34581772784019899</c:v>
                </c:pt>
                <c:pt idx="19391">
                  <c:v>0.345835562689495</c:v>
                </c:pt>
                <c:pt idx="19392">
                  <c:v>0.34585339753879002</c:v>
                </c:pt>
                <c:pt idx="19393">
                  <c:v>0.34587123238808598</c:v>
                </c:pt>
                <c:pt idx="19394">
                  <c:v>0.345889067237381</c:v>
                </c:pt>
                <c:pt idx="19395">
                  <c:v>0.34590690208667701</c:v>
                </c:pt>
                <c:pt idx="19396">
                  <c:v>0.34592473693597198</c:v>
                </c:pt>
                <c:pt idx="19397">
                  <c:v>0.34594257178526799</c:v>
                </c:pt>
                <c:pt idx="19398">
                  <c:v>0.34596040663456301</c:v>
                </c:pt>
                <c:pt idx="19399">
                  <c:v>0.34597824148385897</c:v>
                </c:pt>
                <c:pt idx="19400">
                  <c:v>0.34599607633315499</c:v>
                </c:pt>
                <c:pt idx="19401">
                  <c:v>0.34601391118245001</c:v>
                </c:pt>
                <c:pt idx="19402">
                  <c:v>0.34603174603174602</c:v>
                </c:pt>
                <c:pt idx="19403">
                  <c:v>0.34604958088104099</c:v>
                </c:pt>
                <c:pt idx="19404">
                  <c:v>0.346067415730337</c:v>
                </c:pt>
                <c:pt idx="19405">
                  <c:v>0.34608525057963202</c:v>
                </c:pt>
                <c:pt idx="19406">
                  <c:v>0.34610308542892798</c:v>
                </c:pt>
                <c:pt idx="19407">
                  <c:v>0.346120920278223</c:v>
                </c:pt>
                <c:pt idx="19408">
                  <c:v>0.34613875512751902</c:v>
                </c:pt>
                <c:pt idx="19409">
                  <c:v>0.34615658997681398</c:v>
                </c:pt>
                <c:pt idx="19410">
                  <c:v>0.34617442482610999</c:v>
                </c:pt>
                <c:pt idx="19411">
                  <c:v>0.34619225967540501</c:v>
                </c:pt>
                <c:pt idx="19412">
                  <c:v>0.34621009452470097</c:v>
                </c:pt>
                <c:pt idx="19413">
                  <c:v>0.34622792937399599</c:v>
                </c:pt>
                <c:pt idx="19414">
                  <c:v>0.34624576422329201</c:v>
                </c:pt>
                <c:pt idx="19415">
                  <c:v>0.34626359907258702</c:v>
                </c:pt>
                <c:pt idx="19416">
                  <c:v>0.34628143392188299</c:v>
                </c:pt>
                <c:pt idx="19417">
                  <c:v>0.346299268771178</c:v>
                </c:pt>
                <c:pt idx="19418">
                  <c:v>0.34631710362047402</c:v>
                </c:pt>
                <c:pt idx="19419">
                  <c:v>0.34633493846976898</c:v>
                </c:pt>
                <c:pt idx="19420">
                  <c:v>0.346352773319065</c:v>
                </c:pt>
                <c:pt idx="19421">
                  <c:v>0.34637060816836002</c:v>
                </c:pt>
                <c:pt idx="19422">
                  <c:v>0.34638844301765598</c:v>
                </c:pt>
                <c:pt idx="19423">
                  <c:v>0.34640627786695199</c:v>
                </c:pt>
                <c:pt idx="19424">
                  <c:v>0.34642411271624701</c:v>
                </c:pt>
                <c:pt idx="19425">
                  <c:v>0.34644194756554297</c:v>
                </c:pt>
                <c:pt idx="19426">
                  <c:v>0.34645978241483799</c:v>
                </c:pt>
                <c:pt idx="19427">
                  <c:v>0.34647761726413401</c:v>
                </c:pt>
                <c:pt idx="19428">
                  <c:v>0.34649545211342903</c:v>
                </c:pt>
                <c:pt idx="19429">
                  <c:v>0.34651328696272499</c:v>
                </c:pt>
                <c:pt idx="19430">
                  <c:v>0.34653112181202</c:v>
                </c:pt>
                <c:pt idx="19431">
                  <c:v>0.34654895666131602</c:v>
                </c:pt>
                <c:pt idx="19432">
                  <c:v>0.34656679151061098</c:v>
                </c:pt>
                <c:pt idx="19433">
                  <c:v>0.346584626359907</c:v>
                </c:pt>
                <c:pt idx="19434">
                  <c:v>0.34660246120920202</c:v>
                </c:pt>
                <c:pt idx="19435">
                  <c:v>0.34662029605849798</c:v>
                </c:pt>
                <c:pt idx="19436">
                  <c:v>0.346638130907793</c:v>
                </c:pt>
                <c:pt idx="19437">
                  <c:v>0.34665596575708901</c:v>
                </c:pt>
                <c:pt idx="19438">
                  <c:v>0.34667380060638397</c:v>
                </c:pt>
                <c:pt idx="19439">
                  <c:v>0.34669163545567999</c:v>
                </c:pt>
                <c:pt idx="19440">
                  <c:v>0.34670947030497501</c:v>
                </c:pt>
                <c:pt idx="19441">
                  <c:v>0.34672730515427103</c:v>
                </c:pt>
                <c:pt idx="19442">
                  <c:v>0.34674514000356699</c:v>
                </c:pt>
                <c:pt idx="19443">
                  <c:v>0.346762974852862</c:v>
                </c:pt>
                <c:pt idx="19444">
                  <c:v>0.34678080970215802</c:v>
                </c:pt>
                <c:pt idx="19445">
                  <c:v>0.34679864455145298</c:v>
                </c:pt>
                <c:pt idx="19446">
                  <c:v>0.346816479400749</c:v>
                </c:pt>
                <c:pt idx="19447">
                  <c:v>0.34683431425004402</c:v>
                </c:pt>
                <c:pt idx="19448">
                  <c:v>0.34685214909933998</c:v>
                </c:pt>
                <c:pt idx="19449">
                  <c:v>0.346869983948635</c:v>
                </c:pt>
                <c:pt idx="19450">
                  <c:v>0.34688781879793101</c:v>
                </c:pt>
                <c:pt idx="19451">
                  <c:v>0.34690565364722598</c:v>
                </c:pt>
                <c:pt idx="19452">
                  <c:v>0.34692348849652199</c:v>
                </c:pt>
                <c:pt idx="19453">
                  <c:v>0.34694132334581701</c:v>
                </c:pt>
                <c:pt idx="19454">
                  <c:v>0.34695915819511303</c:v>
                </c:pt>
                <c:pt idx="19455">
                  <c:v>0.34697699304440799</c:v>
                </c:pt>
                <c:pt idx="19456">
                  <c:v>0.34699482789370401</c:v>
                </c:pt>
                <c:pt idx="19457">
                  <c:v>0.34701266274299902</c:v>
                </c:pt>
                <c:pt idx="19458">
                  <c:v>0.34703049759229498</c:v>
                </c:pt>
                <c:pt idx="19459">
                  <c:v>0.34704833244159</c:v>
                </c:pt>
                <c:pt idx="19460">
                  <c:v>0.34706616729088602</c:v>
                </c:pt>
                <c:pt idx="19461">
                  <c:v>0.34708400214018098</c:v>
                </c:pt>
                <c:pt idx="19462">
                  <c:v>0.347101836989477</c:v>
                </c:pt>
                <c:pt idx="19463">
                  <c:v>0.34711967183877201</c:v>
                </c:pt>
                <c:pt idx="19464">
                  <c:v>0.34713750668806798</c:v>
                </c:pt>
                <c:pt idx="19465">
                  <c:v>0.34715534153736399</c:v>
                </c:pt>
                <c:pt idx="19466">
                  <c:v>0.34717317638665901</c:v>
                </c:pt>
                <c:pt idx="19467">
                  <c:v>0.34719101123595503</c:v>
                </c:pt>
                <c:pt idx="19468">
                  <c:v>0.34720884608524999</c:v>
                </c:pt>
                <c:pt idx="19469">
                  <c:v>0.34722668093454601</c:v>
                </c:pt>
                <c:pt idx="19470">
                  <c:v>0.34724451578384102</c:v>
                </c:pt>
                <c:pt idx="19471">
                  <c:v>0.34726235063313698</c:v>
                </c:pt>
                <c:pt idx="19472">
                  <c:v>0.347280185482432</c:v>
                </c:pt>
                <c:pt idx="19473">
                  <c:v>0.34729802033172802</c:v>
                </c:pt>
                <c:pt idx="19474">
                  <c:v>0.34731585518102298</c:v>
                </c:pt>
                <c:pt idx="19475">
                  <c:v>0.347333690030319</c:v>
                </c:pt>
                <c:pt idx="19476">
                  <c:v>0.34735152487961402</c:v>
                </c:pt>
                <c:pt idx="19477">
                  <c:v>0.34736935972890998</c:v>
                </c:pt>
                <c:pt idx="19478">
                  <c:v>0.34738719457820499</c:v>
                </c:pt>
                <c:pt idx="19479">
                  <c:v>0.34740502942750101</c:v>
                </c:pt>
                <c:pt idx="19480">
                  <c:v>0.34742286427679597</c:v>
                </c:pt>
                <c:pt idx="19481">
                  <c:v>0.34744069912609199</c:v>
                </c:pt>
                <c:pt idx="19482">
                  <c:v>0.34745853397538701</c:v>
                </c:pt>
                <c:pt idx="19483">
                  <c:v>0.34747636882468302</c:v>
                </c:pt>
                <c:pt idx="19484">
                  <c:v>0.34749420367397799</c:v>
                </c:pt>
                <c:pt idx="19485">
                  <c:v>0.347512038523274</c:v>
                </c:pt>
                <c:pt idx="19486">
                  <c:v>0.34752987337257002</c:v>
                </c:pt>
                <c:pt idx="19487">
                  <c:v>0.34754770822186498</c:v>
                </c:pt>
                <c:pt idx="19488">
                  <c:v>0.347565543071161</c:v>
                </c:pt>
                <c:pt idx="19489">
                  <c:v>0.34758337792045602</c:v>
                </c:pt>
                <c:pt idx="19490">
                  <c:v>0.34760121276975198</c:v>
                </c:pt>
                <c:pt idx="19491">
                  <c:v>0.34761904761904699</c:v>
                </c:pt>
                <c:pt idx="19492">
                  <c:v>0.34763688246834301</c:v>
                </c:pt>
                <c:pt idx="19493">
                  <c:v>0.34765471731763797</c:v>
                </c:pt>
                <c:pt idx="19494">
                  <c:v>0.34767255216693399</c:v>
                </c:pt>
                <c:pt idx="19495">
                  <c:v>0.34769038701622901</c:v>
                </c:pt>
                <c:pt idx="19496">
                  <c:v>0.34770822186552502</c:v>
                </c:pt>
                <c:pt idx="19497">
                  <c:v>0.34772605671481999</c:v>
                </c:pt>
                <c:pt idx="19498">
                  <c:v>0.347743891564116</c:v>
                </c:pt>
                <c:pt idx="19499">
                  <c:v>0.34776172641341102</c:v>
                </c:pt>
                <c:pt idx="19500">
                  <c:v>0.34777956126270698</c:v>
                </c:pt>
                <c:pt idx="19501">
                  <c:v>0.347797396112002</c:v>
                </c:pt>
                <c:pt idx="19502">
                  <c:v>0.34781523096129802</c:v>
                </c:pt>
                <c:pt idx="19503">
                  <c:v>0.34783306581059298</c:v>
                </c:pt>
                <c:pt idx="19504">
                  <c:v>0.347850900659889</c:v>
                </c:pt>
                <c:pt idx="19505">
                  <c:v>0.34786873550918401</c:v>
                </c:pt>
                <c:pt idx="19506">
                  <c:v>0.34788657035847997</c:v>
                </c:pt>
                <c:pt idx="19507">
                  <c:v>0.34790440520777599</c:v>
                </c:pt>
                <c:pt idx="19508">
                  <c:v>0.34792224005707101</c:v>
                </c:pt>
                <c:pt idx="19509">
                  <c:v>0.34794007490636703</c:v>
                </c:pt>
                <c:pt idx="19510">
                  <c:v>0.34795790975566199</c:v>
                </c:pt>
                <c:pt idx="19511">
                  <c:v>0.347975744604958</c:v>
                </c:pt>
                <c:pt idx="19512">
                  <c:v>0.34799357945425302</c:v>
                </c:pt>
                <c:pt idx="19513">
                  <c:v>0.34801141430354898</c:v>
                </c:pt>
                <c:pt idx="19514">
                  <c:v>0.348029249152844</c:v>
                </c:pt>
                <c:pt idx="19515">
                  <c:v>0.34804708400214002</c:v>
                </c:pt>
                <c:pt idx="19516">
                  <c:v>0.34806491885143498</c:v>
                </c:pt>
                <c:pt idx="19517">
                  <c:v>0.348082753700731</c:v>
                </c:pt>
                <c:pt idx="19518">
                  <c:v>0.34810058855002601</c:v>
                </c:pt>
                <c:pt idx="19519">
                  <c:v>0.34811842339932197</c:v>
                </c:pt>
                <c:pt idx="19520">
                  <c:v>0.34813625824861699</c:v>
                </c:pt>
                <c:pt idx="19521">
                  <c:v>0.34815409309791301</c:v>
                </c:pt>
                <c:pt idx="19522">
                  <c:v>0.34817192794720803</c:v>
                </c:pt>
                <c:pt idx="19523">
                  <c:v>0.34818976279650399</c:v>
                </c:pt>
                <c:pt idx="19524">
                  <c:v>0.34820759764579901</c:v>
                </c:pt>
                <c:pt idx="19525">
                  <c:v>0.34822543249509502</c:v>
                </c:pt>
                <c:pt idx="19526">
                  <c:v>0.34824326734438998</c:v>
                </c:pt>
                <c:pt idx="19527">
                  <c:v>0.348261102193686</c:v>
                </c:pt>
                <c:pt idx="19528">
                  <c:v>0.34827893704298102</c:v>
                </c:pt>
                <c:pt idx="19529">
                  <c:v>0.34829677189227698</c:v>
                </c:pt>
                <c:pt idx="19530">
                  <c:v>0.348314606741573</c:v>
                </c:pt>
                <c:pt idx="19531">
                  <c:v>0.34833244159086801</c:v>
                </c:pt>
                <c:pt idx="19532">
                  <c:v>0.34835027644016398</c:v>
                </c:pt>
                <c:pt idx="19533">
                  <c:v>0.34836811128945899</c:v>
                </c:pt>
                <c:pt idx="19534">
                  <c:v>0.34838594613875501</c:v>
                </c:pt>
                <c:pt idx="19535">
                  <c:v>0.34840378098805003</c:v>
                </c:pt>
                <c:pt idx="19536">
                  <c:v>0.34842161583734599</c:v>
                </c:pt>
                <c:pt idx="19537">
                  <c:v>0.34843945068664101</c:v>
                </c:pt>
                <c:pt idx="19538">
                  <c:v>0.34845728553593702</c:v>
                </c:pt>
                <c:pt idx="19539">
                  <c:v>0.34847512038523198</c:v>
                </c:pt>
                <c:pt idx="19540">
                  <c:v>0.348492955234528</c:v>
                </c:pt>
                <c:pt idx="19541">
                  <c:v>0.34851079008382302</c:v>
                </c:pt>
                <c:pt idx="19542">
                  <c:v>0.34852862493311898</c:v>
                </c:pt>
                <c:pt idx="19543">
                  <c:v>0.348546459782414</c:v>
                </c:pt>
                <c:pt idx="19544">
                  <c:v>0.34856429463171001</c:v>
                </c:pt>
                <c:pt idx="19545">
                  <c:v>0.34858212948100498</c:v>
                </c:pt>
                <c:pt idx="19546">
                  <c:v>0.34859996433030099</c:v>
                </c:pt>
                <c:pt idx="19547">
                  <c:v>0.34861779917959601</c:v>
                </c:pt>
                <c:pt idx="19548">
                  <c:v>0.34863563402889203</c:v>
                </c:pt>
                <c:pt idx="19549">
                  <c:v>0.34865346887818799</c:v>
                </c:pt>
                <c:pt idx="19550">
                  <c:v>0.34867130372748301</c:v>
                </c:pt>
                <c:pt idx="19551">
                  <c:v>0.34868913857677902</c:v>
                </c:pt>
                <c:pt idx="19552">
                  <c:v>0.34870697342607399</c:v>
                </c:pt>
                <c:pt idx="19553">
                  <c:v>0.34872480827537</c:v>
                </c:pt>
                <c:pt idx="19554">
                  <c:v>0.34874264312466502</c:v>
                </c:pt>
                <c:pt idx="19555">
                  <c:v>0.34876047797396098</c:v>
                </c:pt>
                <c:pt idx="19556">
                  <c:v>0.348778312823256</c:v>
                </c:pt>
                <c:pt idx="19557">
                  <c:v>0.34879614767255201</c:v>
                </c:pt>
                <c:pt idx="19558">
                  <c:v>0.34881398252184698</c:v>
                </c:pt>
                <c:pt idx="19559">
                  <c:v>0.34883181737114299</c:v>
                </c:pt>
                <c:pt idx="19560">
                  <c:v>0.34884965222043801</c:v>
                </c:pt>
                <c:pt idx="19561">
                  <c:v>0.34886748706973397</c:v>
                </c:pt>
                <c:pt idx="19562">
                  <c:v>0.34888532191902899</c:v>
                </c:pt>
                <c:pt idx="19563">
                  <c:v>0.34890315676832501</c:v>
                </c:pt>
                <c:pt idx="19564">
                  <c:v>0.34892099161762002</c:v>
                </c:pt>
                <c:pt idx="19565">
                  <c:v>0.34893882646691599</c:v>
                </c:pt>
                <c:pt idx="19566">
                  <c:v>0.348956661316211</c:v>
                </c:pt>
                <c:pt idx="19567">
                  <c:v>0.34897449616550702</c:v>
                </c:pt>
                <c:pt idx="19568">
                  <c:v>0.34899233101480198</c:v>
                </c:pt>
                <c:pt idx="19569">
                  <c:v>0.349010165864098</c:v>
                </c:pt>
                <c:pt idx="19570">
                  <c:v>0.34902800071339302</c:v>
                </c:pt>
                <c:pt idx="19571">
                  <c:v>0.34904583556268898</c:v>
                </c:pt>
                <c:pt idx="19572">
                  <c:v>0.34906367041198499</c:v>
                </c:pt>
                <c:pt idx="19573">
                  <c:v>0.34908150526128001</c:v>
                </c:pt>
                <c:pt idx="19574">
                  <c:v>0.34909934011057597</c:v>
                </c:pt>
                <c:pt idx="19575">
                  <c:v>0.34911717495987099</c:v>
                </c:pt>
                <c:pt idx="19576">
                  <c:v>0.34913500980916701</c:v>
                </c:pt>
                <c:pt idx="19577">
                  <c:v>0.34915284465846202</c:v>
                </c:pt>
                <c:pt idx="19578">
                  <c:v>0.34917067950775799</c:v>
                </c:pt>
                <c:pt idx="19579">
                  <c:v>0.349188514357053</c:v>
                </c:pt>
                <c:pt idx="19580">
                  <c:v>0.34920634920634902</c:v>
                </c:pt>
                <c:pt idx="19581">
                  <c:v>0.34922418405564398</c:v>
                </c:pt>
                <c:pt idx="19582">
                  <c:v>0.34924201890494</c:v>
                </c:pt>
                <c:pt idx="19583">
                  <c:v>0.34925985375423502</c:v>
                </c:pt>
                <c:pt idx="19584">
                  <c:v>0.34927768860353098</c:v>
                </c:pt>
                <c:pt idx="19585">
                  <c:v>0.349295523452826</c:v>
                </c:pt>
                <c:pt idx="19586">
                  <c:v>0.34931335830212201</c:v>
                </c:pt>
                <c:pt idx="19587">
                  <c:v>0.34933119315141697</c:v>
                </c:pt>
                <c:pt idx="19588">
                  <c:v>0.34934902800071299</c:v>
                </c:pt>
                <c:pt idx="19589">
                  <c:v>0.34936686285000801</c:v>
                </c:pt>
                <c:pt idx="19590">
                  <c:v>0.34938469769930403</c:v>
                </c:pt>
                <c:pt idx="19591">
                  <c:v>0.34940253254859999</c:v>
                </c:pt>
                <c:pt idx="19592">
                  <c:v>0.349420367397895</c:v>
                </c:pt>
                <c:pt idx="19593">
                  <c:v>0.34943820224719102</c:v>
                </c:pt>
                <c:pt idx="19594">
                  <c:v>0.34945603709648598</c:v>
                </c:pt>
                <c:pt idx="19595">
                  <c:v>0.349473871945782</c:v>
                </c:pt>
                <c:pt idx="19596">
                  <c:v>0.34949170679507702</c:v>
                </c:pt>
                <c:pt idx="19597">
                  <c:v>0.34950954164437298</c:v>
                </c:pt>
                <c:pt idx="19598">
                  <c:v>0.349527376493668</c:v>
                </c:pt>
                <c:pt idx="19599">
                  <c:v>0.34954521134296401</c:v>
                </c:pt>
                <c:pt idx="19600">
                  <c:v>0.34956304619225897</c:v>
                </c:pt>
                <c:pt idx="19601">
                  <c:v>0.34958088104155499</c:v>
                </c:pt>
                <c:pt idx="19602">
                  <c:v>0.34959871589085001</c:v>
                </c:pt>
                <c:pt idx="19603">
                  <c:v>0.34961655074014603</c:v>
                </c:pt>
                <c:pt idx="19604">
                  <c:v>0.34963438558944099</c:v>
                </c:pt>
                <c:pt idx="19605">
                  <c:v>0.349652220438737</c:v>
                </c:pt>
                <c:pt idx="19606">
                  <c:v>0.34967005528803202</c:v>
                </c:pt>
                <c:pt idx="19607">
                  <c:v>0.34968789013732798</c:v>
                </c:pt>
                <c:pt idx="19608">
                  <c:v>0.349705724986623</c:v>
                </c:pt>
                <c:pt idx="19609">
                  <c:v>0.34972355983591902</c:v>
                </c:pt>
                <c:pt idx="19610">
                  <c:v>0.34974139468521398</c:v>
                </c:pt>
                <c:pt idx="19611">
                  <c:v>0.34975922953451</c:v>
                </c:pt>
                <c:pt idx="19612">
                  <c:v>0.34977706438380501</c:v>
                </c:pt>
                <c:pt idx="19613">
                  <c:v>0.34979489923310098</c:v>
                </c:pt>
                <c:pt idx="19614">
                  <c:v>0.34981273408239699</c:v>
                </c:pt>
                <c:pt idx="19615">
                  <c:v>0.34983056893169201</c:v>
                </c:pt>
                <c:pt idx="19616">
                  <c:v>0.34984840378098803</c:v>
                </c:pt>
                <c:pt idx="19617">
                  <c:v>0.34986623863028299</c:v>
                </c:pt>
                <c:pt idx="19618">
                  <c:v>0.34988407347957901</c:v>
                </c:pt>
                <c:pt idx="19619">
                  <c:v>0.34990190832887402</c:v>
                </c:pt>
                <c:pt idx="19620">
                  <c:v>0.34991974317816998</c:v>
                </c:pt>
                <c:pt idx="19621">
                  <c:v>0.349937578027465</c:v>
                </c:pt>
                <c:pt idx="19622">
                  <c:v>0.34995541287676102</c:v>
                </c:pt>
                <c:pt idx="19623">
                  <c:v>0.34997324772605598</c:v>
                </c:pt>
                <c:pt idx="19624">
                  <c:v>0.349991082575352</c:v>
                </c:pt>
                <c:pt idx="19625">
                  <c:v>0.35000891742464701</c:v>
                </c:pt>
                <c:pt idx="19626">
                  <c:v>0.35002675227394298</c:v>
                </c:pt>
                <c:pt idx="19627">
                  <c:v>0.35004458712323799</c:v>
                </c:pt>
                <c:pt idx="19628">
                  <c:v>0.35006242197253401</c:v>
                </c:pt>
                <c:pt idx="19629">
                  <c:v>0.35008025682182897</c:v>
                </c:pt>
                <c:pt idx="19630">
                  <c:v>0.35009809167112499</c:v>
                </c:pt>
                <c:pt idx="19631">
                  <c:v>0.35011592652042001</c:v>
                </c:pt>
                <c:pt idx="19632">
                  <c:v>0.35013376136971602</c:v>
                </c:pt>
                <c:pt idx="19633">
                  <c:v>0.35015159621901099</c:v>
                </c:pt>
                <c:pt idx="19634">
                  <c:v>0.350169431068307</c:v>
                </c:pt>
                <c:pt idx="19635">
                  <c:v>0.35018726591760302</c:v>
                </c:pt>
                <c:pt idx="19636">
                  <c:v>0.35020510076689798</c:v>
                </c:pt>
                <c:pt idx="19637">
                  <c:v>0.350222935616194</c:v>
                </c:pt>
                <c:pt idx="19638">
                  <c:v>0.35024077046548902</c:v>
                </c:pt>
                <c:pt idx="19639">
                  <c:v>0.35025860531478498</c:v>
                </c:pt>
                <c:pt idx="19640">
                  <c:v>0.35027644016407999</c:v>
                </c:pt>
                <c:pt idx="19641">
                  <c:v>0.35029427501337601</c:v>
                </c:pt>
                <c:pt idx="19642">
                  <c:v>0.35031210986267097</c:v>
                </c:pt>
                <c:pt idx="19643">
                  <c:v>0.35032994471196699</c:v>
                </c:pt>
                <c:pt idx="19644">
                  <c:v>0.35034777956126201</c:v>
                </c:pt>
                <c:pt idx="19645">
                  <c:v>0.35036561441055802</c:v>
                </c:pt>
                <c:pt idx="19646">
                  <c:v>0.35038344925985299</c:v>
                </c:pt>
                <c:pt idx="19647">
                  <c:v>0.350401284109149</c:v>
                </c:pt>
                <c:pt idx="19648">
                  <c:v>0.35041911895844402</c:v>
                </c:pt>
                <c:pt idx="19649">
                  <c:v>0.35043695380773998</c:v>
                </c:pt>
                <c:pt idx="19650">
                  <c:v>0.350454788657035</c:v>
                </c:pt>
                <c:pt idx="19651">
                  <c:v>0.35047262350633102</c:v>
                </c:pt>
                <c:pt idx="19652">
                  <c:v>0.35049045835562598</c:v>
                </c:pt>
                <c:pt idx="19653">
                  <c:v>0.35050829320492199</c:v>
                </c:pt>
                <c:pt idx="19654">
                  <c:v>0.35052612805421701</c:v>
                </c:pt>
                <c:pt idx="19655">
                  <c:v>0.35054396290351297</c:v>
                </c:pt>
                <c:pt idx="19656">
                  <c:v>0.35056179775280899</c:v>
                </c:pt>
                <c:pt idx="19657">
                  <c:v>0.35057963260210401</c:v>
                </c:pt>
                <c:pt idx="19658">
                  <c:v>0.35059746745140002</c:v>
                </c:pt>
                <c:pt idx="19659">
                  <c:v>0.35061530230069499</c:v>
                </c:pt>
                <c:pt idx="19660">
                  <c:v>0.350633137149991</c:v>
                </c:pt>
                <c:pt idx="19661">
                  <c:v>0.35065097199928602</c:v>
                </c:pt>
                <c:pt idx="19662">
                  <c:v>0.35066880684858198</c:v>
                </c:pt>
                <c:pt idx="19663">
                  <c:v>0.350686641697877</c:v>
                </c:pt>
                <c:pt idx="19664">
                  <c:v>0.35070447654717302</c:v>
                </c:pt>
                <c:pt idx="19665">
                  <c:v>0.35072231139646798</c:v>
                </c:pt>
                <c:pt idx="19666">
                  <c:v>0.350740146245764</c:v>
                </c:pt>
                <c:pt idx="19667">
                  <c:v>0.35075798109505901</c:v>
                </c:pt>
                <c:pt idx="19668">
                  <c:v>0.35077581594435497</c:v>
                </c:pt>
                <c:pt idx="19669">
                  <c:v>0.35079365079364999</c:v>
                </c:pt>
                <c:pt idx="19670">
                  <c:v>0.35081148564294601</c:v>
                </c:pt>
                <c:pt idx="19671">
                  <c:v>0.35082932049224103</c:v>
                </c:pt>
                <c:pt idx="19672">
                  <c:v>0.35084715534153699</c:v>
                </c:pt>
                <c:pt idx="19673">
                  <c:v>0.350864990190832</c:v>
                </c:pt>
                <c:pt idx="19674">
                  <c:v>0.35088282504012802</c:v>
                </c:pt>
                <c:pt idx="19675">
                  <c:v>0.35090065988942298</c:v>
                </c:pt>
                <c:pt idx="19676">
                  <c:v>0.350918494738719</c:v>
                </c:pt>
                <c:pt idx="19677">
                  <c:v>0.35093632958801402</c:v>
                </c:pt>
                <c:pt idx="19678">
                  <c:v>0.35095416443730998</c:v>
                </c:pt>
                <c:pt idx="19679">
                  <c:v>0.350971999286606</c:v>
                </c:pt>
                <c:pt idx="19680">
                  <c:v>0.35098983413590101</c:v>
                </c:pt>
                <c:pt idx="19681">
                  <c:v>0.35100766898519697</c:v>
                </c:pt>
                <c:pt idx="19682">
                  <c:v>0.35102550383449199</c:v>
                </c:pt>
                <c:pt idx="19683">
                  <c:v>0.35104333868378801</c:v>
                </c:pt>
                <c:pt idx="19684">
                  <c:v>0.35106117353308303</c:v>
                </c:pt>
                <c:pt idx="19685">
                  <c:v>0.35107900838237899</c:v>
                </c:pt>
                <c:pt idx="19686">
                  <c:v>0.35109684323167401</c:v>
                </c:pt>
                <c:pt idx="19687">
                  <c:v>0.35111467808097002</c:v>
                </c:pt>
                <c:pt idx="19688">
                  <c:v>0.35113251293026498</c:v>
                </c:pt>
                <c:pt idx="19689">
                  <c:v>0.351150347779561</c:v>
                </c:pt>
                <c:pt idx="19690">
                  <c:v>0.35116818262885602</c:v>
                </c:pt>
                <c:pt idx="19691">
                  <c:v>0.35118601747815198</c:v>
                </c:pt>
                <c:pt idx="19692">
                  <c:v>0.351203852327447</c:v>
                </c:pt>
                <c:pt idx="19693">
                  <c:v>0.35122168717674301</c:v>
                </c:pt>
                <c:pt idx="19694">
                  <c:v>0.35123952202603798</c:v>
                </c:pt>
                <c:pt idx="19695">
                  <c:v>0.35125735687533399</c:v>
                </c:pt>
                <c:pt idx="19696">
                  <c:v>0.35127519172462901</c:v>
                </c:pt>
                <c:pt idx="19697">
                  <c:v>0.35129302657392503</c:v>
                </c:pt>
                <c:pt idx="19698">
                  <c:v>0.35131086142322099</c:v>
                </c:pt>
                <c:pt idx="19699">
                  <c:v>0.35132869627251601</c:v>
                </c:pt>
                <c:pt idx="19700">
                  <c:v>0.35134653112181202</c:v>
                </c:pt>
                <c:pt idx="19701">
                  <c:v>0.35136436597110698</c:v>
                </c:pt>
                <c:pt idx="19702">
                  <c:v>0.351382200820403</c:v>
                </c:pt>
                <c:pt idx="19703">
                  <c:v>0.35140003566969802</c:v>
                </c:pt>
                <c:pt idx="19704">
                  <c:v>0.35141787051899398</c:v>
                </c:pt>
                <c:pt idx="19705">
                  <c:v>0.351435705368289</c:v>
                </c:pt>
                <c:pt idx="19706">
                  <c:v>0.35145354021758501</c:v>
                </c:pt>
                <c:pt idx="19707">
                  <c:v>0.35147137506687998</c:v>
                </c:pt>
                <c:pt idx="19708">
                  <c:v>0.35148920991617599</c:v>
                </c:pt>
                <c:pt idx="19709">
                  <c:v>0.35150704476547101</c:v>
                </c:pt>
                <c:pt idx="19710">
                  <c:v>0.35152487961476703</c:v>
                </c:pt>
                <c:pt idx="19711">
                  <c:v>0.35154271446406199</c:v>
                </c:pt>
                <c:pt idx="19712">
                  <c:v>0.35156054931335801</c:v>
                </c:pt>
                <c:pt idx="19713">
                  <c:v>0.35157838416265302</c:v>
                </c:pt>
                <c:pt idx="19714">
                  <c:v>0.35159621901194898</c:v>
                </c:pt>
                <c:pt idx="19715">
                  <c:v>0.351614053861244</c:v>
                </c:pt>
                <c:pt idx="19716">
                  <c:v>0.35163188871054002</c:v>
                </c:pt>
                <c:pt idx="19717">
                  <c:v>0.35164972355983498</c:v>
                </c:pt>
                <c:pt idx="19718">
                  <c:v>0.351667558409131</c:v>
                </c:pt>
                <c:pt idx="19719">
                  <c:v>0.35168539325842602</c:v>
                </c:pt>
                <c:pt idx="19720">
                  <c:v>0.35170322810772198</c:v>
                </c:pt>
                <c:pt idx="19721">
                  <c:v>0.35172106295701799</c:v>
                </c:pt>
                <c:pt idx="19722">
                  <c:v>0.35173889780631301</c:v>
                </c:pt>
                <c:pt idx="19723">
                  <c:v>0.35175673265560897</c:v>
                </c:pt>
                <c:pt idx="19724">
                  <c:v>0.35177456750490399</c:v>
                </c:pt>
                <c:pt idx="19725">
                  <c:v>0.35179240235420001</c:v>
                </c:pt>
                <c:pt idx="19726">
                  <c:v>0.35181023720349502</c:v>
                </c:pt>
                <c:pt idx="19727">
                  <c:v>0.35182807205279099</c:v>
                </c:pt>
                <c:pt idx="19728">
                  <c:v>0.351845906902086</c:v>
                </c:pt>
                <c:pt idx="19729">
                  <c:v>0.35186374175138202</c:v>
                </c:pt>
                <c:pt idx="19730">
                  <c:v>0.35188157660067698</c:v>
                </c:pt>
                <c:pt idx="19731">
                  <c:v>0.351899411449973</c:v>
                </c:pt>
                <c:pt idx="19732">
                  <c:v>0.35191724629926802</c:v>
                </c:pt>
                <c:pt idx="19733">
                  <c:v>0.35193508114856398</c:v>
                </c:pt>
                <c:pt idx="19734">
                  <c:v>0.35195291599785899</c:v>
                </c:pt>
                <c:pt idx="19735">
                  <c:v>0.35197075084715501</c:v>
                </c:pt>
                <c:pt idx="19736">
                  <c:v>0.35198858569644997</c:v>
                </c:pt>
                <c:pt idx="19737">
                  <c:v>0.35200642054574599</c:v>
                </c:pt>
                <c:pt idx="19738">
                  <c:v>0.35202425539504101</c:v>
                </c:pt>
                <c:pt idx="19739">
                  <c:v>0.35204209024433702</c:v>
                </c:pt>
                <c:pt idx="19740">
                  <c:v>0.35205992509363299</c:v>
                </c:pt>
                <c:pt idx="19741">
                  <c:v>0.352077759942928</c:v>
                </c:pt>
                <c:pt idx="19742">
                  <c:v>0.35209559479222402</c:v>
                </c:pt>
                <c:pt idx="19743">
                  <c:v>0.35211342964151898</c:v>
                </c:pt>
                <c:pt idx="19744">
                  <c:v>0.352131264490815</c:v>
                </c:pt>
                <c:pt idx="19745">
                  <c:v>0.35214909934011002</c:v>
                </c:pt>
                <c:pt idx="19746">
                  <c:v>0.35216693418940598</c:v>
                </c:pt>
                <c:pt idx="19747">
                  <c:v>0.352184769038701</c:v>
                </c:pt>
                <c:pt idx="19748">
                  <c:v>0.35220260388799701</c:v>
                </c:pt>
                <c:pt idx="19749">
                  <c:v>0.35222043873729197</c:v>
                </c:pt>
                <c:pt idx="19750">
                  <c:v>0.35223827358658799</c:v>
                </c:pt>
                <c:pt idx="19751">
                  <c:v>0.35225610843588301</c:v>
                </c:pt>
                <c:pt idx="19752">
                  <c:v>0.35227394328517903</c:v>
                </c:pt>
                <c:pt idx="19753">
                  <c:v>0.35229177813447399</c:v>
                </c:pt>
                <c:pt idx="19754">
                  <c:v>0.35230961298377</c:v>
                </c:pt>
                <c:pt idx="19755">
                  <c:v>0.35232744783306502</c:v>
                </c:pt>
                <c:pt idx="19756">
                  <c:v>0.35234528268236098</c:v>
                </c:pt>
                <c:pt idx="19757">
                  <c:v>0.352363117531656</c:v>
                </c:pt>
                <c:pt idx="19758">
                  <c:v>0.35238095238095202</c:v>
                </c:pt>
                <c:pt idx="19759">
                  <c:v>0.35239878723024698</c:v>
                </c:pt>
                <c:pt idx="19760">
                  <c:v>0.352416622079543</c:v>
                </c:pt>
                <c:pt idx="19761">
                  <c:v>0.35243445692883801</c:v>
                </c:pt>
                <c:pt idx="19762">
                  <c:v>0.35245229177813397</c:v>
                </c:pt>
                <c:pt idx="19763">
                  <c:v>0.35247012662742999</c:v>
                </c:pt>
                <c:pt idx="19764">
                  <c:v>0.35248796147672501</c:v>
                </c:pt>
                <c:pt idx="19765">
                  <c:v>0.35250579632602103</c:v>
                </c:pt>
                <c:pt idx="19766">
                  <c:v>0.35252363117531599</c:v>
                </c:pt>
                <c:pt idx="19767">
                  <c:v>0.352541466024612</c:v>
                </c:pt>
                <c:pt idx="19768">
                  <c:v>0.35255930087390702</c:v>
                </c:pt>
                <c:pt idx="19769">
                  <c:v>0.35257713572320298</c:v>
                </c:pt>
                <c:pt idx="19770">
                  <c:v>0.352594970572498</c:v>
                </c:pt>
                <c:pt idx="19771">
                  <c:v>0.35261280542179402</c:v>
                </c:pt>
                <c:pt idx="19772">
                  <c:v>0.35263064027108898</c:v>
                </c:pt>
                <c:pt idx="19773">
                  <c:v>0.352648475120385</c:v>
                </c:pt>
                <c:pt idx="19774">
                  <c:v>0.35266630996968001</c:v>
                </c:pt>
                <c:pt idx="19775">
                  <c:v>0.35268414481897598</c:v>
                </c:pt>
                <c:pt idx="19776">
                  <c:v>0.35270197966827099</c:v>
                </c:pt>
                <c:pt idx="19777">
                  <c:v>0.35271981451756701</c:v>
                </c:pt>
                <c:pt idx="19778">
                  <c:v>0.35273764936686203</c:v>
                </c:pt>
                <c:pt idx="19779">
                  <c:v>0.35275548421615799</c:v>
                </c:pt>
                <c:pt idx="19780">
                  <c:v>0.35277331906545301</c:v>
                </c:pt>
                <c:pt idx="19781">
                  <c:v>0.35279115391474902</c:v>
                </c:pt>
                <c:pt idx="19782">
                  <c:v>0.35280898876404398</c:v>
                </c:pt>
                <c:pt idx="19783">
                  <c:v>0.35282682361334</c:v>
                </c:pt>
                <c:pt idx="19784">
                  <c:v>0.35284465846263602</c:v>
                </c:pt>
                <c:pt idx="19785">
                  <c:v>0.35286249331193098</c:v>
                </c:pt>
                <c:pt idx="19786">
                  <c:v>0.352880328161227</c:v>
                </c:pt>
                <c:pt idx="19787">
                  <c:v>0.35289816301052201</c:v>
                </c:pt>
                <c:pt idx="19788">
                  <c:v>0.35291599785981798</c:v>
                </c:pt>
                <c:pt idx="19789">
                  <c:v>0.35293383270911299</c:v>
                </c:pt>
                <c:pt idx="19790">
                  <c:v>0.35295166755840901</c:v>
                </c:pt>
                <c:pt idx="19791">
                  <c:v>0.35296950240770403</c:v>
                </c:pt>
                <c:pt idx="19792">
                  <c:v>0.35298733725699999</c:v>
                </c:pt>
                <c:pt idx="19793">
                  <c:v>0.35300517210629501</c:v>
                </c:pt>
                <c:pt idx="19794">
                  <c:v>0.35302300695559102</c:v>
                </c:pt>
                <c:pt idx="19795">
                  <c:v>0.35304084180488599</c:v>
                </c:pt>
                <c:pt idx="19796">
                  <c:v>0.353058676654182</c:v>
                </c:pt>
                <c:pt idx="19797">
                  <c:v>0.35307651150347702</c:v>
                </c:pt>
                <c:pt idx="19798">
                  <c:v>0.35309434635277298</c:v>
                </c:pt>
                <c:pt idx="19799">
                  <c:v>0.353112181202068</c:v>
                </c:pt>
                <c:pt idx="19800">
                  <c:v>0.35313001605136402</c:v>
                </c:pt>
                <c:pt idx="19801">
                  <c:v>0.35314785090065898</c:v>
                </c:pt>
                <c:pt idx="19802">
                  <c:v>0.35316568574995499</c:v>
                </c:pt>
                <c:pt idx="19803">
                  <c:v>0.35318352059925001</c:v>
                </c:pt>
                <c:pt idx="19804">
                  <c:v>0.35320135544854597</c:v>
                </c:pt>
                <c:pt idx="19805">
                  <c:v>0.35321919029784199</c:v>
                </c:pt>
                <c:pt idx="19806">
                  <c:v>0.35323702514713701</c:v>
                </c:pt>
                <c:pt idx="19807">
                  <c:v>0.35325485999643302</c:v>
                </c:pt>
                <c:pt idx="19808">
                  <c:v>0.35327269484572799</c:v>
                </c:pt>
                <c:pt idx="19809">
                  <c:v>0.353290529695024</c:v>
                </c:pt>
                <c:pt idx="19810">
                  <c:v>0.35330836454431902</c:v>
                </c:pt>
                <c:pt idx="19811">
                  <c:v>0.35332619939361498</c:v>
                </c:pt>
                <c:pt idx="19812">
                  <c:v>0.35334403424291</c:v>
                </c:pt>
                <c:pt idx="19813">
                  <c:v>0.35336186909220602</c:v>
                </c:pt>
                <c:pt idx="19814">
                  <c:v>0.35337970394150098</c:v>
                </c:pt>
                <c:pt idx="19815">
                  <c:v>0.35339753879079699</c:v>
                </c:pt>
                <c:pt idx="19816">
                  <c:v>0.35341537364009201</c:v>
                </c:pt>
                <c:pt idx="19817">
                  <c:v>0.35343320848938797</c:v>
                </c:pt>
                <c:pt idx="19818">
                  <c:v>0.35345104333868299</c:v>
                </c:pt>
                <c:pt idx="19819">
                  <c:v>0.35346887818797901</c:v>
                </c:pt>
                <c:pt idx="19820">
                  <c:v>0.35348671303727403</c:v>
                </c:pt>
                <c:pt idx="19821">
                  <c:v>0.35350454788656999</c:v>
                </c:pt>
                <c:pt idx="19822">
                  <c:v>0.353522382735865</c:v>
                </c:pt>
                <c:pt idx="19823">
                  <c:v>0.35354021758516102</c:v>
                </c:pt>
                <c:pt idx="19824">
                  <c:v>0.35355805243445598</c:v>
                </c:pt>
                <c:pt idx="19825">
                  <c:v>0.353575887283752</c:v>
                </c:pt>
                <c:pt idx="19826">
                  <c:v>0.35359372213304702</c:v>
                </c:pt>
                <c:pt idx="19827">
                  <c:v>0.35361155698234298</c:v>
                </c:pt>
                <c:pt idx="19828">
                  <c:v>0.353629391831639</c:v>
                </c:pt>
                <c:pt idx="19829">
                  <c:v>0.35364722668093401</c:v>
                </c:pt>
                <c:pt idx="19830">
                  <c:v>0.35366506153022997</c:v>
                </c:pt>
                <c:pt idx="19831">
                  <c:v>0.35368289637952499</c:v>
                </c:pt>
                <c:pt idx="19832">
                  <c:v>0.35370073122882101</c:v>
                </c:pt>
                <c:pt idx="19833">
                  <c:v>0.35371856607811603</c:v>
                </c:pt>
                <c:pt idx="19834">
                  <c:v>0.35373640092741199</c:v>
                </c:pt>
                <c:pt idx="19835">
                  <c:v>0.353754235776707</c:v>
                </c:pt>
                <c:pt idx="19836">
                  <c:v>0.35377207062600302</c:v>
                </c:pt>
                <c:pt idx="19837">
                  <c:v>0.35378990547529798</c:v>
                </c:pt>
                <c:pt idx="19838">
                  <c:v>0.353807740324594</c:v>
                </c:pt>
                <c:pt idx="19839">
                  <c:v>0.35382557517388902</c:v>
                </c:pt>
                <c:pt idx="19840">
                  <c:v>0.35384341002318498</c:v>
                </c:pt>
                <c:pt idx="19841">
                  <c:v>0.35386124487248</c:v>
                </c:pt>
                <c:pt idx="19842">
                  <c:v>0.35387907972177601</c:v>
                </c:pt>
                <c:pt idx="19843">
                  <c:v>0.35389691457107098</c:v>
                </c:pt>
                <c:pt idx="19844">
                  <c:v>0.35391474942036699</c:v>
                </c:pt>
                <c:pt idx="19845">
                  <c:v>0.35393258426966201</c:v>
                </c:pt>
                <c:pt idx="19846">
                  <c:v>0.35395041911895803</c:v>
                </c:pt>
                <c:pt idx="19847">
                  <c:v>0.35396825396825399</c:v>
                </c:pt>
                <c:pt idx="19848">
                  <c:v>0.35398608881754901</c:v>
                </c:pt>
                <c:pt idx="19849">
                  <c:v>0.35400392366684502</c:v>
                </c:pt>
                <c:pt idx="19850">
                  <c:v>0.35402175851613998</c:v>
                </c:pt>
                <c:pt idx="19851">
                  <c:v>0.354039593365436</c:v>
                </c:pt>
                <c:pt idx="19852">
                  <c:v>0.35405742821473102</c:v>
                </c:pt>
                <c:pt idx="19853">
                  <c:v>0.35407526306402698</c:v>
                </c:pt>
                <c:pt idx="19854">
                  <c:v>0.354093097913322</c:v>
                </c:pt>
                <c:pt idx="19855">
                  <c:v>0.35411093276261801</c:v>
                </c:pt>
                <c:pt idx="19856">
                  <c:v>0.35412876761191298</c:v>
                </c:pt>
                <c:pt idx="19857">
                  <c:v>0.35414660246120899</c:v>
                </c:pt>
                <c:pt idx="19858">
                  <c:v>0.35416443731050401</c:v>
                </c:pt>
                <c:pt idx="19859">
                  <c:v>0.35418227215980003</c:v>
                </c:pt>
                <c:pt idx="19860">
                  <c:v>0.35420010700909499</c:v>
                </c:pt>
                <c:pt idx="19861">
                  <c:v>0.35421794185839101</c:v>
                </c:pt>
                <c:pt idx="19862">
                  <c:v>0.35423577670768602</c:v>
                </c:pt>
                <c:pt idx="19863">
                  <c:v>0.35425361155698198</c:v>
                </c:pt>
                <c:pt idx="19864">
                  <c:v>0.354271446406277</c:v>
                </c:pt>
                <c:pt idx="19865">
                  <c:v>0.35428928125557302</c:v>
                </c:pt>
                <c:pt idx="19866">
                  <c:v>0.35430711610486798</c:v>
                </c:pt>
                <c:pt idx="19867">
                  <c:v>0.354324950954164</c:v>
                </c:pt>
                <c:pt idx="19868">
                  <c:v>0.35434278580345901</c:v>
                </c:pt>
                <c:pt idx="19869">
                  <c:v>0.35436062065275498</c:v>
                </c:pt>
                <c:pt idx="19870">
                  <c:v>0.35437845550205099</c:v>
                </c:pt>
                <c:pt idx="19871">
                  <c:v>0.35439629035134601</c:v>
                </c:pt>
                <c:pt idx="19872">
                  <c:v>0.35441412520064203</c:v>
                </c:pt>
                <c:pt idx="19873">
                  <c:v>0.35443196004993699</c:v>
                </c:pt>
                <c:pt idx="19874">
                  <c:v>0.35444979489923301</c:v>
                </c:pt>
                <c:pt idx="19875">
                  <c:v>0.35446762974852802</c:v>
                </c:pt>
                <c:pt idx="19876">
                  <c:v>0.35448546459782398</c:v>
                </c:pt>
                <c:pt idx="19877">
                  <c:v>0.354503299447119</c:v>
                </c:pt>
                <c:pt idx="19878">
                  <c:v>0.35452113429641502</c:v>
                </c:pt>
                <c:pt idx="19879">
                  <c:v>0.35453896914570998</c:v>
                </c:pt>
                <c:pt idx="19880">
                  <c:v>0.354556803995006</c:v>
                </c:pt>
                <c:pt idx="19881">
                  <c:v>0.35457463884430102</c:v>
                </c:pt>
                <c:pt idx="19882">
                  <c:v>0.35459247369359698</c:v>
                </c:pt>
                <c:pt idx="19883">
                  <c:v>0.35461030854289199</c:v>
                </c:pt>
                <c:pt idx="19884">
                  <c:v>0.35462814339218801</c:v>
                </c:pt>
                <c:pt idx="19885">
                  <c:v>0.35464597824148297</c:v>
                </c:pt>
                <c:pt idx="19886">
                  <c:v>0.35466381309077899</c:v>
                </c:pt>
                <c:pt idx="19887">
                  <c:v>0.35468164794007401</c:v>
                </c:pt>
                <c:pt idx="19888">
                  <c:v>0.35469948278937002</c:v>
                </c:pt>
                <c:pt idx="19889">
                  <c:v>0.35471731763866499</c:v>
                </c:pt>
                <c:pt idx="19890">
                  <c:v>0.354735152487961</c:v>
                </c:pt>
                <c:pt idx="19891">
                  <c:v>0.35475298733725702</c:v>
                </c:pt>
                <c:pt idx="19892">
                  <c:v>0.35477082218655198</c:v>
                </c:pt>
                <c:pt idx="19893">
                  <c:v>0.354788657035848</c:v>
                </c:pt>
                <c:pt idx="19894">
                  <c:v>0.35480649188514302</c:v>
                </c:pt>
                <c:pt idx="19895">
                  <c:v>0.35482432673443898</c:v>
                </c:pt>
                <c:pt idx="19896">
                  <c:v>0.35484216158373399</c:v>
                </c:pt>
                <c:pt idx="19897">
                  <c:v>0.35485999643303001</c:v>
                </c:pt>
                <c:pt idx="19898">
                  <c:v>0.35487783128232497</c:v>
                </c:pt>
                <c:pt idx="19899">
                  <c:v>0.35489566613162099</c:v>
                </c:pt>
                <c:pt idx="19900">
                  <c:v>0.35491350098091601</c:v>
                </c:pt>
                <c:pt idx="19901">
                  <c:v>0.35493133583021202</c:v>
                </c:pt>
                <c:pt idx="19902">
                  <c:v>0.35494917067950699</c:v>
                </c:pt>
                <c:pt idx="19903">
                  <c:v>0.354967005528803</c:v>
                </c:pt>
                <c:pt idx="19904">
                  <c:v>0.35498484037809802</c:v>
                </c:pt>
                <c:pt idx="19905">
                  <c:v>0.35500267522739398</c:v>
                </c:pt>
                <c:pt idx="19906">
                  <c:v>0.355020510076689</c:v>
                </c:pt>
                <c:pt idx="19907">
                  <c:v>0.35503834492598502</c:v>
                </c:pt>
                <c:pt idx="19908">
                  <c:v>0.35505617977527998</c:v>
                </c:pt>
                <c:pt idx="19909">
                  <c:v>0.355074014624576</c:v>
                </c:pt>
                <c:pt idx="19910">
                  <c:v>0.35509184947387101</c:v>
                </c:pt>
                <c:pt idx="19911">
                  <c:v>0.35510968432316697</c:v>
                </c:pt>
                <c:pt idx="19912">
                  <c:v>0.35512751917246299</c:v>
                </c:pt>
                <c:pt idx="19913">
                  <c:v>0.35514535402175801</c:v>
                </c:pt>
                <c:pt idx="19914">
                  <c:v>0.35516318887105403</c:v>
                </c:pt>
                <c:pt idx="19915">
                  <c:v>0.35518102372034899</c:v>
                </c:pt>
                <c:pt idx="19916">
                  <c:v>0.355198858569645</c:v>
                </c:pt>
                <c:pt idx="19917">
                  <c:v>0.35521669341894002</c:v>
                </c:pt>
                <c:pt idx="19918">
                  <c:v>0.35523452826823598</c:v>
                </c:pt>
                <c:pt idx="19919">
                  <c:v>0.355252363117531</c:v>
                </c:pt>
                <c:pt idx="19920">
                  <c:v>0.35527019796682702</c:v>
                </c:pt>
                <c:pt idx="19921">
                  <c:v>0.35528803281612198</c:v>
                </c:pt>
                <c:pt idx="19922">
                  <c:v>0.355305867665418</c:v>
                </c:pt>
                <c:pt idx="19923">
                  <c:v>0.35532370251471301</c:v>
                </c:pt>
                <c:pt idx="19924">
                  <c:v>0.35534153736400897</c:v>
                </c:pt>
                <c:pt idx="19925">
                  <c:v>0.35535937221330399</c:v>
                </c:pt>
                <c:pt idx="19926">
                  <c:v>0.35537720706260001</c:v>
                </c:pt>
                <c:pt idx="19927">
                  <c:v>0.35539504191189503</c:v>
                </c:pt>
                <c:pt idx="19928">
                  <c:v>0.35541287676119099</c:v>
                </c:pt>
                <c:pt idx="19929">
                  <c:v>0.35543071161048601</c:v>
                </c:pt>
                <c:pt idx="19930">
                  <c:v>0.35544854645978202</c:v>
                </c:pt>
                <c:pt idx="19931">
                  <c:v>0.35546638130907698</c:v>
                </c:pt>
                <c:pt idx="19932">
                  <c:v>0.355484216158373</c:v>
                </c:pt>
                <c:pt idx="19933">
                  <c:v>0.35550205100766802</c:v>
                </c:pt>
                <c:pt idx="19934">
                  <c:v>0.35551988585696398</c:v>
                </c:pt>
                <c:pt idx="19935">
                  <c:v>0.35553772070626</c:v>
                </c:pt>
                <c:pt idx="19936">
                  <c:v>0.35555555555555501</c:v>
                </c:pt>
                <c:pt idx="19937">
                  <c:v>0.35557339040485098</c:v>
                </c:pt>
                <c:pt idx="19938">
                  <c:v>0.35559122525414599</c:v>
                </c:pt>
                <c:pt idx="19939">
                  <c:v>0.35560906010344201</c:v>
                </c:pt>
                <c:pt idx="19940">
                  <c:v>0.35562689495273703</c:v>
                </c:pt>
                <c:pt idx="19941">
                  <c:v>0.35564472980203299</c:v>
                </c:pt>
                <c:pt idx="19942">
                  <c:v>0.35566256465132801</c:v>
                </c:pt>
                <c:pt idx="19943">
                  <c:v>0.35568039950062402</c:v>
                </c:pt>
                <c:pt idx="19944">
                  <c:v>0.35569823434991898</c:v>
                </c:pt>
                <c:pt idx="19945">
                  <c:v>0.355716069199215</c:v>
                </c:pt>
                <c:pt idx="19946">
                  <c:v>0.35573390404851002</c:v>
                </c:pt>
                <c:pt idx="19947">
                  <c:v>0.35575173889780598</c:v>
                </c:pt>
                <c:pt idx="19948">
                  <c:v>0.355769573747101</c:v>
                </c:pt>
                <c:pt idx="19949">
                  <c:v>0.35578740859639701</c:v>
                </c:pt>
                <c:pt idx="19950">
                  <c:v>0.35580524344569198</c:v>
                </c:pt>
                <c:pt idx="19951">
                  <c:v>0.35582307829498799</c:v>
                </c:pt>
                <c:pt idx="19952">
                  <c:v>0.35584091314428301</c:v>
                </c:pt>
                <c:pt idx="19953">
                  <c:v>0.35585874799357903</c:v>
                </c:pt>
                <c:pt idx="19954">
                  <c:v>0.35587658284287499</c:v>
                </c:pt>
                <c:pt idx="19955">
                  <c:v>0.35589441769217001</c:v>
                </c:pt>
                <c:pt idx="19956">
                  <c:v>0.35591225254146602</c:v>
                </c:pt>
                <c:pt idx="19957">
                  <c:v>0.35593008739076099</c:v>
                </c:pt>
                <c:pt idx="19958">
                  <c:v>0.355947922240057</c:v>
                </c:pt>
                <c:pt idx="19959">
                  <c:v>0.35596575708935202</c:v>
                </c:pt>
                <c:pt idx="19960">
                  <c:v>0.35598359193864798</c:v>
                </c:pt>
                <c:pt idx="19961">
                  <c:v>0.356001426787943</c:v>
                </c:pt>
                <c:pt idx="19962">
                  <c:v>0.35601926163723902</c:v>
                </c:pt>
                <c:pt idx="19963">
                  <c:v>0.35603709648653398</c:v>
                </c:pt>
                <c:pt idx="19964">
                  <c:v>0.35605493133582999</c:v>
                </c:pt>
                <c:pt idx="19965">
                  <c:v>0.35607276618512501</c:v>
                </c:pt>
                <c:pt idx="19966">
                  <c:v>0.35609060103442097</c:v>
                </c:pt>
                <c:pt idx="19967">
                  <c:v>0.35610843588371599</c:v>
                </c:pt>
                <c:pt idx="19968">
                  <c:v>0.35612627073301201</c:v>
                </c:pt>
                <c:pt idx="19969">
                  <c:v>0.35614410558230702</c:v>
                </c:pt>
                <c:pt idx="19970">
                  <c:v>0.35616194043160299</c:v>
                </c:pt>
                <c:pt idx="19971">
                  <c:v>0.356179775280898</c:v>
                </c:pt>
                <c:pt idx="19972">
                  <c:v>0.35619761013019402</c:v>
                </c:pt>
                <c:pt idx="19973">
                  <c:v>0.35621544497948898</c:v>
                </c:pt>
                <c:pt idx="19974">
                  <c:v>0.356233279828785</c:v>
                </c:pt>
                <c:pt idx="19975">
                  <c:v>0.35625111467808002</c:v>
                </c:pt>
                <c:pt idx="19976">
                  <c:v>0.35626894952737598</c:v>
                </c:pt>
                <c:pt idx="19977">
                  <c:v>0.35628678437667199</c:v>
                </c:pt>
                <c:pt idx="19978">
                  <c:v>0.35630461922596701</c:v>
                </c:pt>
                <c:pt idx="19979">
                  <c:v>0.35632245407526297</c:v>
                </c:pt>
                <c:pt idx="19980">
                  <c:v>0.35634028892455799</c:v>
                </c:pt>
                <c:pt idx="19981">
                  <c:v>0.35635812377385401</c:v>
                </c:pt>
                <c:pt idx="19982">
                  <c:v>0.35637595862314903</c:v>
                </c:pt>
                <c:pt idx="19983">
                  <c:v>0.35639379347244499</c:v>
                </c:pt>
                <c:pt idx="19984">
                  <c:v>0.35641162832174</c:v>
                </c:pt>
                <c:pt idx="19985">
                  <c:v>0.35642946317103602</c:v>
                </c:pt>
                <c:pt idx="19986">
                  <c:v>0.35644729802033098</c:v>
                </c:pt>
                <c:pt idx="19987">
                  <c:v>0.356465132869627</c:v>
                </c:pt>
                <c:pt idx="19988">
                  <c:v>0.35648296771892202</c:v>
                </c:pt>
                <c:pt idx="19989">
                  <c:v>0.35650080256821798</c:v>
                </c:pt>
                <c:pt idx="19990">
                  <c:v>0.356518637417513</c:v>
                </c:pt>
                <c:pt idx="19991">
                  <c:v>0.35653647226680901</c:v>
                </c:pt>
                <c:pt idx="19992">
                  <c:v>0.35655430711610397</c:v>
                </c:pt>
                <c:pt idx="19993">
                  <c:v>0.35657214196539999</c:v>
                </c:pt>
                <c:pt idx="19994">
                  <c:v>0.35658997681469501</c:v>
                </c:pt>
                <c:pt idx="19995">
                  <c:v>0.35660781166399103</c:v>
                </c:pt>
                <c:pt idx="19996">
                  <c:v>0.35662564651328699</c:v>
                </c:pt>
                <c:pt idx="19997">
                  <c:v>0.356643481362582</c:v>
                </c:pt>
                <c:pt idx="19998">
                  <c:v>0.35666131621187802</c:v>
                </c:pt>
                <c:pt idx="19999">
                  <c:v>0.35667915106117298</c:v>
                </c:pt>
                <c:pt idx="20000">
                  <c:v>0.356696985910469</c:v>
                </c:pt>
                <c:pt idx="20001">
                  <c:v>0.35671482075976402</c:v>
                </c:pt>
                <c:pt idx="20002">
                  <c:v>0.35673265560905998</c:v>
                </c:pt>
                <c:pt idx="20003">
                  <c:v>0.356750490458355</c:v>
                </c:pt>
                <c:pt idx="20004">
                  <c:v>0.35676832530765101</c:v>
                </c:pt>
                <c:pt idx="20005">
                  <c:v>0.35678616015694598</c:v>
                </c:pt>
                <c:pt idx="20006">
                  <c:v>0.35680399500624199</c:v>
                </c:pt>
                <c:pt idx="20007">
                  <c:v>0.35682182985553701</c:v>
                </c:pt>
                <c:pt idx="20008">
                  <c:v>0.35683966470483303</c:v>
                </c:pt>
                <c:pt idx="20009">
                  <c:v>0.35685749955412799</c:v>
                </c:pt>
                <c:pt idx="20010">
                  <c:v>0.356875334403424</c:v>
                </c:pt>
                <c:pt idx="20011">
                  <c:v>0.35689316925271902</c:v>
                </c:pt>
                <c:pt idx="20012">
                  <c:v>0.35691100410201498</c:v>
                </c:pt>
                <c:pt idx="20013">
                  <c:v>0.35692883895131</c:v>
                </c:pt>
                <c:pt idx="20014">
                  <c:v>0.35694667380060602</c:v>
                </c:pt>
                <c:pt idx="20015">
                  <c:v>0.35696450864990098</c:v>
                </c:pt>
                <c:pt idx="20016">
                  <c:v>0.356982343499197</c:v>
                </c:pt>
                <c:pt idx="20017">
                  <c:v>0.35700017834849201</c:v>
                </c:pt>
                <c:pt idx="20018">
                  <c:v>0.35701801319778798</c:v>
                </c:pt>
                <c:pt idx="20019">
                  <c:v>0.35703584804708399</c:v>
                </c:pt>
                <c:pt idx="20020">
                  <c:v>0.35705368289637901</c:v>
                </c:pt>
                <c:pt idx="20021">
                  <c:v>0.35707151774567503</c:v>
                </c:pt>
                <c:pt idx="20022">
                  <c:v>0.35708935259496999</c:v>
                </c:pt>
                <c:pt idx="20023">
                  <c:v>0.35710718744426601</c:v>
                </c:pt>
                <c:pt idx="20024">
                  <c:v>0.35712502229356102</c:v>
                </c:pt>
                <c:pt idx="20025">
                  <c:v>0.35714285714285698</c:v>
                </c:pt>
                <c:pt idx="20026">
                  <c:v>0.357160691992152</c:v>
                </c:pt>
                <c:pt idx="20027">
                  <c:v>0.35717852684144802</c:v>
                </c:pt>
                <c:pt idx="20028">
                  <c:v>0.35719636169074298</c:v>
                </c:pt>
                <c:pt idx="20029">
                  <c:v>0.357214196540039</c:v>
                </c:pt>
                <c:pt idx="20030">
                  <c:v>0.35723203138933401</c:v>
                </c:pt>
                <c:pt idx="20031">
                  <c:v>0.35724986623862998</c:v>
                </c:pt>
                <c:pt idx="20032">
                  <c:v>0.35726770108792499</c:v>
                </c:pt>
                <c:pt idx="20033">
                  <c:v>0.35728553593722101</c:v>
                </c:pt>
                <c:pt idx="20034">
                  <c:v>0.35730337078651597</c:v>
                </c:pt>
                <c:pt idx="20035">
                  <c:v>0.35732120563581199</c:v>
                </c:pt>
                <c:pt idx="20036">
                  <c:v>0.35733904048510701</c:v>
                </c:pt>
                <c:pt idx="20037">
                  <c:v>0.35735687533440302</c:v>
                </c:pt>
                <c:pt idx="20038">
                  <c:v>0.35737471018369799</c:v>
                </c:pt>
                <c:pt idx="20039">
                  <c:v>0.357392545032994</c:v>
                </c:pt>
                <c:pt idx="20040">
                  <c:v>0.35741037988229002</c:v>
                </c:pt>
                <c:pt idx="20041">
                  <c:v>0.35742821473158498</c:v>
                </c:pt>
                <c:pt idx="20042">
                  <c:v>0.357446049580881</c:v>
                </c:pt>
                <c:pt idx="20043">
                  <c:v>0.35746388443017602</c:v>
                </c:pt>
                <c:pt idx="20044">
                  <c:v>0.35748171927947198</c:v>
                </c:pt>
                <c:pt idx="20045">
                  <c:v>0.35749955412876699</c:v>
                </c:pt>
                <c:pt idx="20046">
                  <c:v>0.35751738897806301</c:v>
                </c:pt>
                <c:pt idx="20047">
                  <c:v>0.35753522382735797</c:v>
                </c:pt>
                <c:pt idx="20048">
                  <c:v>0.35755305867665399</c:v>
                </c:pt>
                <c:pt idx="20049">
                  <c:v>0.35757089352594901</c:v>
                </c:pt>
                <c:pt idx="20050">
                  <c:v>0.35758872837524502</c:v>
                </c:pt>
                <c:pt idx="20051">
                  <c:v>0.35760656322453999</c:v>
                </c:pt>
                <c:pt idx="20052">
                  <c:v>0.357624398073836</c:v>
                </c:pt>
                <c:pt idx="20053">
                  <c:v>0.35764223292313102</c:v>
                </c:pt>
                <c:pt idx="20054">
                  <c:v>0.35766006777242698</c:v>
                </c:pt>
                <c:pt idx="20055">
                  <c:v>0.357677902621722</c:v>
                </c:pt>
                <c:pt idx="20056">
                  <c:v>0.35769573747101802</c:v>
                </c:pt>
                <c:pt idx="20057">
                  <c:v>0.35771357232031298</c:v>
                </c:pt>
                <c:pt idx="20058">
                  <c:v>0.35773140716960899</c:v>
                </c:pt>
                <c:pt idx="20059">
                  <c:v>0.35774924201890401</c:v>
                </c:pt>
                <c:pt idx="20060">
                  <c:v>0.35776707686819997</c:v>
                </c:pt>
                <c:pt idx="20061">
                  <c:v>0.35778491171749599</c:v>
                </c:pt>
                <c:pt idx="20062">
                  <c:v>0.35780274656679101</c:v>
                </c:pt>
                <c:pt idx="20063">
                  <c:v>0.35782058141608702</c:v>
                </c:pt>
                <c:pt idx="20064">
                  <c:v>0.35783841626538199</c:v>
                </c:pt>
                <c:pt idx="20065">
                  <c:v>0.357856251114678</c:v>
                </c:pt>
                <c:pt idx="20066">
                  <c:v>0.35787408596397302</c:v>
                </c:pt>
                <c:pt idx="20067">
                  <c:v>0.35789192081326898</c:v>
                </c:pt>
                <c:pt idx="20068">
                  <c:v>0.357909755662564</c:v>
                </c:pt>
                <c:pt idx="20069">
                  <c:v>0.35792759051186002</c:v>
                </c:pt>
                <c:pt idx="20070">
                  <c:v>0.35794542536115498</c:v>
                </c:pt>
                <c:pt idx="20071">
                  <c:v>0.357963260210451</c:v>
                </c:pt>
                <c:pt idx="20072">
                  <c:v>0.35798109505974601</c:v>
                </c:pt>
                <c:pt idx="20073">
                  <c:v>0.35799892990904197</c:v>
                </c:pt>
                <c:pt idx="20074">
                  <c:v>0.35801676475833699</c:v>
                </c:pt>
                <c:pt idx="20075">
                  <c:v>0.35803459960763301</c:v>
                </c:pt>
                <c:pt idx="20076">
                  <c:v>0.35805243445692803</c:v>
                </c:pt>
                <c:pt idx="20077">
                  <c:v>0.35807026930622399</c:v>
                </c:pt>
                <c:pt idx="20078">
                  <c:v>0.358088104155519</c:v>
                </c:pt>
                <c:pt idx="20079">
                  <c:v>0.35810593900481502</c:v>
                </c:pt>
                <c:pt idx="20080">
                  <c:v>0.35812377385410998</c:v>
                </c:pt>
                <c:pt idx="20081">
                  <c:v>0.358141608703406</c:v>
                </c:pt>
                <c:pt idx="20082">
                  <c:v>0.35815944355270102</c:v>
                </c:pt>
                <c:pt idx="20083">
                  <c:v>0.35817727840199698</c:v>
                </c:pt>
                <c:pt idx="20084">
                  <c:v>0.358195113251293</c:v>
                </c:pt>
                <c:pt idx="20085">
                  <c:v>0.35821294810058801</c:v>
                </c:pt>
                <c:pt idx="20086">
                  <c:v>0.35823078294988397</c:v>
                </c:pt>
                <c:pt idx="20087">
                  <c:v>0.35824861779917899</c:v>
                </c:pt>
                <c:pt idx="20088">
                  <c:v>0.35826645264847501</c:v>
                </c:pt>
                <c:pt idx="20089">
                  <c:v>0.35828428749777003</c:v>
                </c:pt>
                <c:pt idx="20090">
                  <c:v>0.35830212234706599</c:v>
                </c:pt>
                <c:pt idx="20091">
                  <c:v>0.35831995719636101</c:v>
                </c:pt>
                <c:pt idx="20092">
                  <c:v>0.35833779204565702</c:v>
                </c:pt>
                <c:pt idx="20093">
                  <c:v>0.35835562689495198</c:v>
                </c:pt>
                <c:pt idx="20094">
                  <c:v>0.358373461744248</c:v>
                </c:pt>
                <c:pt idx="20095">
                  <c:v>0.35839129659354302</c:v>
                </c:pt>
                <c:pt idx="20096">
                  <c:v>0.35840913144283898</c:v>
                </c:pt>
                <c:pt idx="20097">
                  <c:v>0.358426966292134</c:v>
                </c:pt>
                <c:pt idx="20098">
                  <c:v>0.35844480114143001</c:v>
                </c:pt>
                <c:pt idx="20099">
                  <c:v>0.35846263599072498</c:v>
                </c:pt>
                <c:pt idx="20100">
                  <c:v>0.35848047084002099</c:v>
                </c:pt>
                <c:pt idx="20101">
                  <c:v>0.35849830568931601</c:v>
                </c:pt>
                <c:pt idx="20102">
                  <c:v>0.35851614053861203</c:v>
                </c:pt>
                <c:pt idx="20103">
                  <c:v>0.35853397538790799</c:v>
                </c:pt>
                <c:pt idx="20104">
                  <c:v>0.35855181023720301</c:v>
                </c:pt>
                <c:pt idx="20105">
                  <c:v>0.35856964508649902</c:v>
                </c:pt>
                <c:pt idx="20106">
                  <c:v>0.35858747993579398</c:v>
                </c:pt>
                <c:pt idx="20107">
                  <c:v>0.35860531478509</c:v>
                </c:pt>
                <c:pt idx="20108">
                  <c:v>0.35862314963438502</c:v>
                </c:pt>
                <c:pt idx="20109">
                  <c:v>0.35864098448368098</c:v>
                </c:pt>
                <c:pt idx="20110">
                  <c:v>0.358658819332976</c:v>
                </c:pt>
                <c:pt idx="20111">
                  <c:v>0.35867665418227201</c:v>
                </c:pt>
                <c:pt idx="20112">
                  <c:v>0.35869448903156698</c:v>
                </c:pt>
                <c:pt idx="20113">
                  <c:v>0.35871232388086299</c:v>
                </c:pt>
                <c:pt idx="20114">
                  <c:v>0.35873015873015801</c:v>
                </c:pt>
                <c:pt idx="20115">
                  <c:v>0.35874799357945403</c:v>
                </c:pt>
                <c:pt idx="20116">
                  <c:v>0.35876582842874899</c:v>
                </c:pt>
                <c:pt idx="20117">
                  <c:v>0.35878366327804501</c:v>
                </c:pt>
                <c:pt idx="20118">
                  <c:v>0.35880149812734002</c:v>
                </c:pt>
                <c:pt idx="20119">
                  <c:v>0.35881933297663599</c:v>
                </c:pt>
                <c:pt idx="20120">
                  <c:v>0.358837167825931</c:v>
                </c:pt>
                <c:pt idx="20121">
                  <c:v>0.35885500267522702</c:v>
                </c:pt>
                <c:pt idx="20122">
                  <c:v>0.35887283752452198</c:v>
                </c:pt>
                <c:pt idx="20123">
                  <c:v>0.358890672373818</c:v>
                </c:pt>
                <c:pt idx="20124">
                  <c:v>0.35890850722311302</c:v>
                </c:pt>
                <c:pt idx="20125">
                  <c:v>0.35892634207240898</c:v>
                </c:pt>
                <c:pt idx="20126">
                  <c:v>0.35894417692170499</c:v>
                </c:pt>
                <c:pt idx="20127">
                  <c:v>0.35896201177100001</c:v>
                </c:pt>
                <c:pt idx="20128">
                  <c:v>0.35897984662029597</c:v>
                </c:pt>
                <c:pt idx="20129">
                  <c:v>0.35899768146959099</c:v>
                </c:pt>
                <c:pt idx="20130">
                  <c:v>0.35901551631888701</c:v>
                </c:pt>
                <c:pt idx="20131">
                  <c:v>0.35903335116818202</c:v>
                </c:pt>
                <c:pt idx="20132">
                  <c:v>0.35905118601747799</c:v>
                </c:pt>
                <c:pt idx="20133">
                  <c:v>0.359069020866773</c:v>
                </c:pt>
                <c:pt idx="20134">
                  <c:v>0.35908685571606902</c:v>
                </c:pt>
                <c:pt idx="20135">
                  <c:v>0.35910469056536398</c:v>
                </c:pt>
                <c:pt idx="20136">
                  <c:v>0.35912252541466</c:v>
                </c:pt>
                <c:pt idx="20137">
                  <c:v>0.35914036026395502</c:v>
                </c:pt>
                <c:pt idx="20138">
                  <c:v>0.35915819511325098</c:v>
                </c:pt>
                <c:pt idx="20139">
                  <c:v>0.359176029962546</c:v>
                </c:pt>
                <c:pt idx="20140">
                  <c:v>0.35919386481184201</c:v>
                </c:pt>
                <c:pt idx="20141">
                  <c:v>0.35921169966113697</c:v>
                </c:pt>
                <c:pt idx="20142">
                  <c:v>0.35922953451043299</c:v>
                </c:pt>
                <c:pt idx="20143">
                  <c:v>0.35924736935972801</c:v>
                </c:pt>
                <c:pt idx="20144">
                  <c:v>0.35926520420902402</c:v>
                </c:pt>
                <c:pt idx="20145">
                  <c:v>0.35928303905831899</c:v>
                </c:pt>
                <c:pt idx="20146">
                  <c:v>0.359300873907615</c:v>
                </c:pt>
                <c:pt idx="20147">
                  <c:v>0.35931870875691102</c:v>
                </c:pt>
                <c:pt idx="20148">
                  <c:v>0.35933654360620598</c:v>
                </c:pt>
                <c:pt idx="20149">
                  <c:v>0.359354378455502</c:v>
                </c:pt>
                <c:pt idx="20150">
                  <c:v>0.35937221330479702</c:v>
                </c:pt>
                <c:pt idx="20151">
                  <c:v>0.35939004815409298</c:v>
                </c:pt>
                <c:pt idx="20152">
                  <c:v>0.359407883003388</c:v>
                </c:pt>
                <c:pt idx="20153">
                  <c:v>0.35942571785268401</c:v>
                </c:pt>
                <c:pt idx="20154">
                  <c:v>0.35944355270197897</c:v>
                </c:pt>
                <c:pt idx="20155">
                  <c:v>0.35946138755127499</c:v>
                </c:pt>
                <c:pt idx="20156">
                  <c:v>0.35947922240057001</c:v>
                </c:pt>
                <c:pt idx="20157">
                  <c:v>0.35949705724986603</c:v>
                </c:pt>
                <c:pt idx="20158">
                  <c:v>0.35951489209916099</c:v>
                </c:pt>
                <c:pt idx="20159">
                  <c:v>0.359532726948457</c:v>
                </c:pt>
                <c:pt idx="20160">
                  <c:v>0.35955056179775202</c:v>
                </c:pt>
                <c:pt idx="20161">
                  <c:v>0.35956839664704798</c:v>
                </c:pt>
                <c:pt idx="20162">
                  <c:v>0.359586231496343</c:v>
                </c:pt>
                <c:pt idx="20163">
                  <c:v>0.35960406634563902</c:v>
                </c:pt>
                <c:pt idx="20164">
                  <c:v>0.35962190119493398</c:v>
                </c:pt>
                <c:pt idx="20165">
                  <c:v>0.35963973604423</c:v>
                </c:pt>
                <c:pt idx="20166">
                  <c:v>0.35965757089352501</c:v>
                </c:pt>
                <c:pt idx="20167">
                  <c:v>0.35967540574282097</c:v>
                </c:pt>
                <c:pt idx="20168">
                  <c:v>0.35969324059211699</c:v>
                </c:pt>
                <c:pt idx="20169">
                  <c:v>0.35971107544141201</c:v>
                </c:pt>
                <c:pt idx="20170">
                  <c:v>0.35972891029070803</c:v>
                </c:pt>
                <c:pt idx="20171">
                  <c:v>0.35974674514000299</c:v>
                </c:pt>
                <c:pt idx="20172">
                  <c:v>0.359764579989299</c:v>
                </c:pt>
                <c:pt idx="20173">
                  <c:v>0.35978241483859402</c:v>
                </c:pt>
                <c:pt idx="20174">
                  <c:v>0.35980024968788998</c:v>
                </c:pt>
                <c:pt idx="20175">
                  <c:v>0.359818084537185</c:v>
                </c:pt>
                <c:pt idx="20176">
                  <c:v>0.35983591938648102</c:v>
                </c:pt>
                <c:pt idx="20177">
                  <c:v>0.35985375423577598</c:v>
                </c:pt>
                <c:pt idx="20178">
                  <c:v>0.359871589085072</c:v>
                </c:pt>
                <c:pt idx="20179">
                  <c:v>0.35988942393436701</c:v>
                </c:pt>
                <c:pt idx="20180">
                  <c:v>0.35990725878366298</c:v>
                </c:pt>
                <c:pt idx="20181">
                  <c:v>0.35992509363295799</c:v>
                </c:pt>
                <c:pt idx="20182">
                  <c:v>0.35994292848225401</c:v>
                </c:pt>
                <c:pt idx="20183">
                  <c:v>0.35996076333154903</c:v>
                </c:pt>
                <c:pt idx="20184">
                  <c:v>0.35997859818084499</c:v>
                </c:pt>
                <c:pt idx="20185">
                  <c:v>0.35999643303014001</c:v>
                </c:pt>
                <c:pt idx="20186">
                  <c:v>0.36001426787943602</c:v>
                </c:pt>
                <c:pt idx="20187">
                  <c:v>0.36003210272873098</c:v>
                </c:pt>
                <c:pt idx="20188">
                  <c:v>0.360049937578027</c:v>
                </c:pt>
                <c:pt idx="20189">
                  <c:v>0.36006777242732202</c:v>
                </c:pt>
                <c:pt idx="20190">
                  <c:v>0.36008560727661798</c:v>
                </c:pt>
                <c:pt idx="20191">
                  <c:v>0.360103442125914</c:v>
                </c:pt>
                <c:pt idx="20192">
                  <c:v>0.36012127697520901</c:v>
                </c:pt>
                <c:pt idx="20193">
                  <c:v>0.36013911182450498</c:v>
                </c:pt>
                <c:pt idx="20194">
                  <c:v>0.36015694667379999</c:v>
                </c:pt>
                <c:pt idx="20195">
                  <c:v>0.36017478152309601</c:v>
                </c:pt>
                <c:pt idx="20196">
                  <c:v>0.36019261637239097</c:v>
                </c:pt>
                <c:pt idx="20197">
                  <c:v>0.36021045122168699</c:v>
                </c:pt>
                <c:pt idx="20198">
                  <c:v>0.36022828607098201</c:v>
                </c:pt>
                <c:pt idx="20199">
                  <c:v>0.36024612092027802</c:v>
                </c:pt>
                <c:pt idx="20200">
                  <c:v>0.36026395576957299</c:v>
                </c:pt>
                <c:pt idx="20201">
                  <c:v>0.360281790618869</c:v>
                </c:pt>
                <c:pt idx="20202">
                  <c:v>0.36029962546816402</c:v>
                </c:pt>
                <c:pt idx="20203">
                  <c:v>0.36031746031745998</c:v>
                </c:pt>
                <c:pt idx="20204">
                  <c:v>0.360335295166755</c:v>
                </c:pt>
                <c:pt idx="20205">
                  <c:v>0.36035313001605102</c:v>
                </c:pt>
                <c:pt idx="20206">
                  <c:v>0.36037096486534598</c:v>
                </c:pt>
                <c:pt idx="20207">
                  <c:v>0.36038879971464199</c:v>
                </c:pt>
                <c:pt idx="20208">
                  <c:v>0.36040663456393701</c:v>
                </c:pt>
                <c:pt idx="20209">
                  <c:v>0.36042446941323297</c:v>
                </c:pt>
                <c:pt idx="20210">
                  <c:v>0.36044230426252899</c:v>
                </c:pt>
                <c:pt idx="20211">
                  <c:v>0.36046013911182401</c:v>
                </c:pt>
                <c:pt idx="20212">
                  <c:v>0.36047797396112002</c:v>
                </c:pt>
                <c:pt idx="20213">
                  <c:v>0.36049580881041499</c:v>
                </c:pt>
                <c:pt idx="20214">
                  <c:v>0.360513643659711</c:v>
                </c:pt>
                <c:pt idx="20215">
                  <c:v>0.36053147850900602</c:v>
                </c:pt>
                <c:pt idx="20216">
                  <c:v>0.36054931335830198</c:v>
                </c:pt>
                <c:pt idx="20217">
                  <c:v>0.360567148207597</c:v>
                </c:pt>
                <c:pt idx="20218">
                  <c:v>0.36058498305689302</c:v>
                </c:pt>
                <c:pt idx="20219">
                  <c:v>0.36060281790618798</c:v>
                </c:pt>
                <c:pt idx="20220">
                  <c:v>0.36062065275548399</c:v>
                </c:pt>
                <c:pt idx="20221">
                  <c:v>0.36063848760477901</c:v>
                </c:pt>
                <c:pt idx="20222">
                  <c:v>0.36065632245407497</c:v>
                </c:pt>
                <c:pt idx="20223">
                  <c:v>0.36067415730336999</c:v>
                </c:pt>
                <c:pt idx="20224">
                  <c:v>0.36069199215266601</c:v>
                </c:pt>
                <c:pt idx="20225">
                  <c:v>0.36070982700196103</c:v>
                </c:pt>
                <c:pt idx="20226">
                  <c:v>0.36072766185125699</c:v>
                </c:pt>
                <c:pt idx="20227">
                  <c:v>0.360745496700552</c:v>
                </c:pt>
                <c:pt idx="20228">
                  <c:v>0.36076333154984802</c:v>
                </c:pt>
                <c:pt idx="20229">
                  <c:v>0.36078116639914298</c:v>
                </c:pt>
                <c:pt idx="20230">
                  <c:v>0.360799001248439</c:v>
                </c:pt>
                <c:pt idx="20231">
                  <c:v>0.36081683609773402</c:v>
                </c:pt>
                <c:pt idx="20232">
                  <c:v>0.36083467094702998</c:v>
                </c:pt>
                <c:pt idx="20233">
                  <c:v>0.360852505796326</c:v>
                </c:pt>
                <c:pt idx="20234">
                  <c:v>0.36087034064562101</c:v>
                </c:pt>
                <c:pt idx="20235">
                  <c:v>0.36088817549491697</c:v>
                </c:pt>
                <c:pt idx="20236">
                  <c:v>0.36090601034421199</c:v>
                </c:pt>
                <c:pt idx="20237">
                  <c:v>0.36092384519350801</c:v>
                </c:pt>
                <c:pt idx="20238">
                  <c:v>0.36094168004280303</c:v>
                </c:pt>
                <c:pt idx="20239">
                  <c:v>0.36095951489209899</c:v>
                </c:pt>
                <c:pt idx="20240">
                  <c:v>0.360977349741394</c:v>
                </c:pt>
                <c:pt idx="20241">
                  <c:v>0.36099518459069002</c:v>
                </c:pt>
                <c:pt idx="20242">
                  <c:v>0.36101301943998498</c:v>
                </c:pt>
                <c:pt idx="20243">
                  <c:v>0.361030854289281</c:v>
                </c:pt>
                <c:pt idx="20244">
                  <c:v>0.36104868913857602</c:v>
                </c:pt>
                <c:pt idx="20245">
                  <c:v>0.36106652398787198</c:v>
                </c:pt>
                <c:pt idx="20246">
                  <c:v>0.361084358837167</c:v>
                </c:pt>
                <c:pt idx="20247">
                  <c:v>0.36110219368646301</c:v>
                </c:pt>
                <c:pt idx="20248">
                  <c:v>0.36112002853575798</c:v>
                </c:pt>
                <c:pt idx="20249">
                  <c:v>0.36113786338505399</c:v>
                </c:pt>
                <c:pt idx="20250">
                  <c:v>0.36115569823434901</c:v>
                </c:pt>
                <c:pt idx="20251">
                  <c:v>0.36117353308364503</c:v>
                </c:pt>
                <c:pt idx="20252">
                  <c:v>0.36119136793294099</c:v>
                </c:pt>
                <c:pt idx="20253">
                  <c:v>0.36120920278223601</c:v>
                </c:pt>
                <c:pt idx="20254">
                  <c:v>0.36122703763153202</c:v>
                </c:pt>
                <c:pt idx="20255">
                  <c:v>0.36124487248082698</c:v>
                </c:pt>
                <c:pt idx="20256">
                  <c:v>0.361262707330123</c:v>
                </c:pt>
                <c:pt idx="20257">
                  <c:v>0.36128054217941802</c:v>
                </c:pt>
                <c:pt idx="20258">
                  <c:v>0.36129837702871398</c:v>
                </c:pt>
                <c:pt idx="20259">
                  <c:v>0.361316211878009</c:v>
                </c:pt>
                <c:pt idx="20260">
                  <c:v>0.36133404672730501</c:v>
                </c:pt>
                <c:pt idx="20261">
                  <c:v>0.36135188157659998</c:v>
                </c:pt>
                <c:pt idx="20262">
                  <c:v>0.36136971642589599</c:v>
                </c:pt>
                <c:pt idx="20263">
                  <c:v>0.36138755127519101</c:v>
                </c:pt>
                <c:pt idx="20264">
                  <c:v>0.36140538612448703</c:v>
                </c:pt>
                <c:pt idx="20265">
                  <c:v>0.36142322097378199</c:v>
                </c:pt>
                <c:pt idx="20266">
                  <c:v>0.36144105582307801</c:v>
                </c:pt>
                <c:pt idx="20267">
                  <c:v>0.36145889067237302</c:v>
                </c:pt>
                <c:pt idx="20268">
                  <c:v>0.36147672552166898</c:v>
                </c:pt>
                <c:pt idx="20269">
                  <c:v>0.361494560370964</c:v>
                </c:pt>
                <c:pt idx="20270">
                  <c:v>0.36151239522026002</c:v>
                </c:pt>
                <c:pt idx="20271">
                  <c:v>0.36153023006955498</c:v>
                </c:pt>
                <c:pt idx="20272">
                  <c:v>0.361548064918851</c:v>
                </c:pt>
                <c:pt idx="20273">
                  <c:v>0.36156589976814602</c:v>
                </c:pt>
                <c:pt idx="20274">
                  <c:v>0.36158373461744198</c:v>
                </c:pt>
                <c:pt idx="20275">
                  <c:v>0.36160156946673799</c:v>
                </c:pt>
                <c:pt idx="20276">
                  <c:v>0.36161940431603301</c:v>
                </c:pt>
                <c:pt idx="20277">
                  <c:v>0.36163723916532903</c:v>
                </c:pt>
                <c:pt idx="20278">
                  <c:v>0.36165507401462399</c:v>
                </c:pt>
                <c:pt idx="20279">
                  <c:v>0.36167290886392001</c:v>
                </c:pt>
                <c:pt idx="20280">
                  <c:v>0.36169074371321502</c:v>
                </c:pt>
                <c:pt idx="20281">
                  <c:v>0.36170857856251099</c:v>
                </c:pt>
                <c:pt idx="20282">
                  <c:v>0.361726413411806</c:v>
                </c:pt>
                <c:pt idx="20283">
                  <c:v>0.36174424826110202</c:v>
                </c:pt>
                <c:pt idx="20284">
                  <c:v>0.36176208311039698</c:v>
                </c:pt>
                <c:pt idx="20285">
                  <c:v>0.361779917959693</c:v>
                </c:pt>
                <c:pt idx="20286">
                  <c:v>0.36179775280898802</c:v>
                </c:pt>
                <c:pt idx="20287">
                  <c:v>0.36181558765828398</c:v>
                </c:pt>
                <c:pt idx="20288">
                  <c:v>0.36183342250757899</c:v>
                </c:pt>
                <c:pt idx="20289">
                  <c:v>0.36185125735687501</c:v>
                </c:pt>
                <c:pt idx="20290">
                  <c:v>0.36186909220616997</c:v>
                </c:pt>
                <c:pt idx="20291">
                  <c:v>0.36188692705546599</c:v>
                </c:pt>
                <c:pt idx="20292">
                  <c:v>0.36190476190476101</c:v>
                </c:pt>
                <c:pt idx="20293">
                  <c:v>0.36192259675405702</c:v>
                </c:pt>
                <c:pt idx="20294">
                  <c:v>0.36194043160335199</c:v>
                </c:pt>
                <c:pt idx="20295">
                  <c:v>0.361958266452648</c:v>
                </c:pt>
                <c:pt idx="20296">
                  <c:v>0.36197610130194402</c:v>
                </c:pt>
                <c:pt idx="20297">
                  <c:v>0.36199393615123898</c:v>
                </c:pt>
                <c:pt idx="20298">
                  <c:v>0.362011771000535</c:v>
                </c:pt>
                <c:pt idx="20299">
                  <c:v>0.36202960584983002</c:v>
                </c:pt>
                <c:pt idx="20300">
                  <c:v>0.36204744069912598</c:v>
                </c:pt>
                <c:pt idx="20301">
                  <c:v>0.362065275548421</c:v>
                </c:pt>
                <c:pt idx="20302">
                  <c:v>0.36208311039771701</c:v>
                </c:pt>
                <c:pt idx="20303">
                  <c:v>0.36210094524701197</c:v>
                </c:pt>
                <c:pt idx="20304">
                  <c:v>0.36211878009630799</c:v>
                </c:pt>
                <c:pt idx="20305">
                  <c:v>0.36213661494560301</c:v>
                </c:pt>
                <c:pt idx="20306">
                  <c:v>0.36215444979489902</c:v>
                </c:pt>
                <c:pt idx="20307">
                  <c:v>0.36217228464419399</c:v>
                </c:pt>
                <c:pt idx="20308">
                  <c:v>0.36219011949349</c:v>
                </c:pt>
                <c:pt idx="20309">
                  <c:v>0.36220795434278502</c:v>
                </c:pt>
                <c:pt idx="20310">
                  <c:v>0.36222578919208098</c:v>
                </c:pt>
                <c:pt idx="20311">
                  <c:v>0.362243624041376</c:v>
                </c:pt>
                <c:pt idx="20312">
                  <c:v>0.36226145889067202</c:v>
                </c:pt>
                <c:pt idx="20313">
                  <c:v>0.36227929373996698</c:v>
                </c:pt>
                <c:pt idx="20314">
                  <c:v>0.362297128589263</c:v>
                </c:pt>
                <c:pt idx="20315">
                  <c:v>0.36231496343855801</c:v>
                </c:pt>
                <c:pt idx="20316">
                  <c:v>0.36233279828785397</c:v>
                </c:pt>
                <c:pt idx="20317">
                  <c:v>0.36235063313714999</c:v>
                </c:pt>
                <c:pt idx="20318">
                  <c:v>0.36236846798644501</c:v>
                </c:pt>
                <c:pt idx="20319">
                  <c:v>0.36238630283574103</c:v>
                </c:pt>
                <c:pt idx="20320">
                  <c:v>0.36240413768503599</c:v>
                </c:pt>
                <c:pt idx="20321">
                  <c:v>0.362421972534332</c:v>
                </c:pt>
                <c:pt idx="20322">
                  <c:v>0.36243980738362702</c:v>
                </c:pt>
                <c:pt idx="20323">
                  <c:v>0.36245764223292298</c:v>
                </c:pt>
                <c:pt idx="20324">
                  <c:v>0.362475477082218</c:v>
                </c:pt>
                <c:pt idx="20325">
                  <c:v>0.36249331193151402</c:v>
                </c:pt>
                <c:pt idx="20326">
                  <c:v>0.36251114678080898</c:v>
                </c:pt>
                <c:pt idx="20327">
                  <c:v>0.362528981630105</c:v>
                </c:pt>
                <c:pt idx="20328">
                  <c:v>0.36254681647940001</c:v>
                </c:pt>
                <c:pt idx="20329">
                  <c:v>0.36256465132869597</c:v>
                </c:pt>
                <c:pt idx="20330">
                  <c:v>0.36258248617799099</c:v>
                </c:pt>
                <c:pt idx="20331">
                  <c:v>0.36260032102728701</c:v>
                </c:pt>
                <c:pt idx="20332">
                  <c:v>0.36261815587658203</c:v>
                </c:pt>
                <c:pt idx="20333">
                  <c:v>0.36263599072587799</c:v>
                </c:pt>
                <c:pt idx="20334">
                  <c:v>0.36265382557517301</c:v>
                </c:pt>
                <c:pt idx="20335">
                  <c:v>0.36267166042446902</c:v>
                </c:pt>
                <c:pt idx="20336">
                  <c:v>0.36268949527376398</c:v>
                </c:pt>
                <c:pt idx="20337">
                  <c:v>0.36270733012306</c:v>
                </c:pt>
                <c:pt idx="20338">
                  <c:v>0.36272516497235502</c:v>
                </c:pt>
                <c:pt idx="20339">
                  <c:v>0.36274299982165098</c:v>
                </c:pt>
                <c:pt idx="20340">
                  <c:v>0.362760834670947</c:v>
                </c:pt>
                <c:pt idx="20341">
                  <c:v>0.36277866952024201</c:v>
                </c:pt>
                <c:pt idx="20342">
                  <c:v>0.36279650436953798</c:v>
                </c:pt>
                <c:pt idx="20343">
                  <c:v>0.36281433921883299</c:v>
                </c:pt>
                <c:pt idx="20344">
                  <c:v>0.36283217406812901</c:v>
                </c:pt>
                <c:pt idx="20345">
                  <c:v>0.36285000891742403</c:v>
                </c:pt>
                <c:pt idx="20346">
                  <c:v>0.36286784376671999</c:v>
                </c:pt>
                <c:pt idx="20347">
                  <c:v>0.36288567861601501</c:v>
                </c:pt>
                <c:pt idx="20348">
                  <c:v>0.36290351346531102</c:v>
                </c:pt>
                <c:pt idx="20349">
                  <c:v>0.36292134831460598</c:v>
                </c:pt>
                <c:pt idx="20350">
                  <c:v>0.362939183163902</c:v>
                </c:pt>
                <c:pt idx="20351">
                  <c:v>0.36295701801319702</c:v>
                </c:pt>
                <c:pt idx="20352">
                  <c:v>0.36297485286249298</c:v>
                </c:pt>
                <c:pt idx="20353">
                  <c:v>0.362992687711788</c:v>
                </c:pt>
                <c:pt idx="20354">
                  <c:v>0.36301052256108401</c:v>
                </c:pt>
                <c:pt idx="20355">
                  <c:v>0.36302835741037898</c:v>
                </c:pt>
                <c:pt idx="20356">
                  <c:v>0.36304619225967499</c:v>
                </c:pt>
                <c:pt idx="20357">
                  <c:v>0.36306402710897001</c:v>
                </c:pt>
                <c:pt idx="20358">
                  <c:v>0.36308186195826597</c:v>
                </c:pt>
                <c:pt idx="20359">
                  <c:v>0.36309969680756199</c:v>
                </c:pt>
                <c:pt idx="20360">
                  <c:v>0.36311753165685701</c:v>
                </c:pt>
                <c:pt idx="20361">
                  <c:v>0.36313536650615302</c:v>
                </c:pt>
                <c:pt idx="20362">
                  <c:v>0.36315320135544799</c:v>
                </c:pt>
                <c:pt idx="20363">
                  <c:v>0.363171036204744</c:v>
                </c:pt>
                <c:pt idx="20364">
                  <c:v>0.36318887105403902</c:v>
                </c:pt>
                <c:pt idx="20365">
                  <c:v>0.36320670590333498</c:v>
                </c:pt>
                <c:pt idx="20366">
                  <c:v>0.36322454075263</c:v>
                </c:pt>
                <c:pt idx="20367">
                  <c:v>0.36324237560192602</c:v>
                </c:pt>
                <c:pt idx="20368">
                  <c:v>0.36326021045122098</c:v>
                </c:pt>
                <c:pt idx="20369">
                  <c:v>0.36327804530051699</c:v>
                </c:pt>
                <c:pt idx="20370">
                  <c:v>0.36329588014981201</c:v>
                </c:pt>
                <c:pt idx="20371">
                  <c:v>0.36331371499910797</c:v>
                </c:pt>
                <c:pt idx="20372">
                  <c:v>0.36333154984840299</c:v>
                </c:pt>
                <c:pt idx="20373">
                  <c:v>0.36334938469769901</c:v>
                </c:pt>
                <c:pt idx="20374">
                  <c:v>0.36336721954699402</c:v>
                </c:pt>
                <c:pt idx="20375">
                  <c:v>0.36338505439628999</c:v>
                </c:pt>
                <c:pt idx="20376">
                  <c:v>0.363402889245585</c:v>
                </c:pt>
                <c:pt idx="20377">
                  <c:v>0.36342072409488102</c:v>
                </c:pt>
                <c:pt idx="20378">
                  <c:v>0.36343855894417598</c:v>
                </c:pt>
                <c:pt idx="20379">
                  <c:v>0.363456393793472</c:v>
                </c:pt>
                <c:pt idx="20380">
                  <c:v>0.36347422864276702</c:v>
                </c:pt>
                <c:pt idx="20381">
                  <c:v>0.36349206349206298</c:v>
                </c:pt>
                <c:pt idx="20382">
                  <c:v>0.36350989834135899</c:v>
                </c:pt>
                <c:pt idx="20383">
                  <c:v>0.36352773319065401</c:v>
                </c:pt>
                <c:pt idx="20384">
                  <c:v>0.36354556803994997</c:v>
                </c:pt>
                <c:pt idx="20385">
                  <c:v>0.36356340288924499</c:v>
                </c:pt>
                <c:pt idx="20386">
                  <c:v>0.36358123773854101</c:v>
                </c:pt>
                <c:pt idx="20387">
                  <c:v>0.36359907258783603</c:v>
                </c:pt>
                <c:pt idx="20388">
                  <c:v>0.36361690743713199</c:v>
                </c:pt>
                <c:pt idx="20389">
                  <c:v>0.363634742286427</c:v>
                </c:pt>
                <c:pt idx="20390">
                  <c:v>0.36365257713572302</c:v>
                </c:pt>
                <c:pt idx="20391">
                  <c:v>0.36367041198501798</c:v>
                </c:pt>
                <c:pt idx="20392">
                  <c:v>0.363688246834314</c:v>
                </c:pt>
                <c:pt idx="20393">
                  <c:v>0.36370608168360902</c:v>
                </c:pt>
                <c:pt idx="20394">
                  <c:v>0.36372391653290498</c:v>
                </c:pt>
                <c:pt idx="20395">
                  <c:v>0.3637417513822</c:v>
                </c:pt>
                <c:pt idx="20396">
                  <c:v>0.36375958623149601</c:v>
                </c:pt>
                <c:pt idx="20397">
                  <c:v>0.36377742108079097</c:v>
                </c:pt>
                <c:pt idx="20398">
                  <c:v>0.36379525593008699</c:v>
                </c:pt>
                <c:pt idx="20399">
                  <c:v>0.36381309077938201</c:v>
                </c:pt>
                <c:pt idx="20400">
                  <c:v>0.36383092562867803</c:v>
                </c:pt>
                <c:pt idx="20401">
                  <c:v>0.36384876047797399</c:v>
                </c:pt>
                <c:pt idx="20402">
                  <c:v>0.363866595327269</c:v>
                </c:pt>
                <c:pt idx="20403">
                  <c:v>0.36388443017656502</c:v>
                </c:pt>
                <c:pt idx="20404">
                  <c:v>0.36390226502585998</c:v>
                </c:pt>
                <c:pt idx="20405">
                  <c:v>0.363920099875156</c:v>
                </c:pt>
                <c:pt idx="20406">
                  <c:v>0.36393793472445102</c:v>
                </c:pt>
                <c:pt idx="20407">
                  <c:v>0.36395576957374698</c:v>
                </c:pt>
                <c:pt idx="20408">
                  <c:v>0.363973604423042</c:v>
                </c:pt>
                <c:pt idx="20409">
                  <c:v>0.36399143927233801</c:v>
                </c:pt>
                <c:pt idx="20410">
                  <c:v>0.36400927412163298</c:v>
                </c:pt>
                <c:pt idx="20411">
                  <c:v>0.36402710897092899</c:v>
                </c:pt>
                <c:pt idx="20412">
                  <c:v>0.36404494382022401</c:v>
                </c:pt>
                <c:pt idx="20413">
                  <c:v>0.36406277866952003</c:v>
                </c:pt>
                <c:pt idx="20414">
                  <c:v>0.36408061351881499</c:v>
                </c:pt>
                <c:pt idx="20415">
                  <c:v>0.36409844836811101</c:v>
                </c:pt>
                <c:pt idx="20416">
                  <c:v>0.36411628321740602</c:v>
                </c:pt>
                <c:pt idx="20417">
                  <c:v>0.36413411806670198</c:v>
                </c:pt>
                <c:pt idx="20418">
                  <c:v>0.364151952915997</c:v>
                </c:pt>
                <c:pt idx="20419">
                  <c:v>0.36416978776529302</c:v>
                </c:pt>
                <c:pt idx="20420">
                  <c:v>0.36418762261458798</c:v>
                </c:pt>
                <c:pt idx="20421">
                  <c:v>0.364205457463884</c:v>
                </c:pt>
                <c:pt idx="20422">
                  <c:v>0.36422329231317901</c:v>
                </c:pt>
                <c:pt idx="20423">
                  <c:v>0.36424112716247498</c:v>
                </c:pt>
                <c:pt idx="20424">
                  <c:v>0.36425896201177099</c:v>
                </c:pt>
                <c:pt idx="20425">
                  <c:v>0.36427679686106601</c:v>
                </c:pt>
                <c:pt idx="20426">
                  <c:v>0.36429463171036203</c:v>
                </c:pt>
                <c:pt idx="20427">
                  <c:v>0.36431246655965699</c:v>
                </c:pt>
                <c:pt idx="20428">
                  <c:v>0.36433030140895301</c:v>
                </c:pt>
                <c:pt idx="20429">
                  <c:v>0.36434813625824802</c:v>
                </c:pt>
                <c:pt idx="20430">
                  <c:v>0.36436597110754398</c:v>
                </c:pt>
                <c:pt idx="20431">
                  <c:v>0.364383805956839</c:v>
                </c:pt>
                <c:pt idx="20432">
                  <c:v>0.36440164080613502</c:v>
                </c:pt>
                <c:pt idx="20433">
                  <c:v>0.36441947565542998</c:v>
                </c:pt>
                <c:pt idx="20434">
                  <c:v>0.364437310504726</c:v>
                </c:pt>
                <c:pt idx="20435">
                  <c:v>0.36445514535402102</c:v>
                </c:pt>
                <c:pt idx="20436">
                  <c:v>0.36447298020331698</c:v>
                </c:pt>
                <c:pt idx="20437">
                  <c:v>0.36449081505261199</c:v>
                </c:pt>
                <c:pt idx="20438">
                  <c:v>0.36450864990190801</c:v>
                </c:pt>
                <c:pt idx="20439">
                  <c:v>0.36452648475120297</c:v>
                </c:pt>
                <c:pt idx="20440">
                  <c:v>0.36454431960049899</c:v>
                </c:pt>
                <c:pt idx="20441">
                  <c:v>0.36456215444979401</c:v>
                </c:pt>
                <c:pt idx="20442">
                  <c:v>0.36457998929909002</c:v>
                </c:pt>
                <c:pt idx="20443">
                  <c:v>0.36459782414838499</c:v>
                </c:pt>
                <c:pt idx="20444">
                  <c:v>0.364615658997681</c:v>
                </c:pt>
                <c:pt idx="20445">
                  <c:v>0.36463349384697702</c:v>
                </c:pt>
                <c:pt idx="20446">
                  <c:v>0.36465132869627198</c:v>
                </c:pt>
                <c:pt idx="20447">
                  <c:v>0.364669163545568</c:v>
                </c:pt>
                <c:pt idx="20448">
                  <c:v>0.36468699839486302</c:v>
                </c:pt>
                <c:pt idx="20449">
                  <c:v>0.36470483324415898</c:v>
                </c:pt>
                <c:pt idx="20450">
                  <c:v>0.36472266809345399</c:v>
                </c:pt>
                <c:pt idx="20451">
                  <c:v>0.36474050294275001</c:v>
                </c:pt>
                <c:pt idx="20452">
                  <c:v>0.36475833779204497</c:v>
                </c:pt>
                <c:pt idx="20453">
                  <c:v>0.36477617264134099</c:v>
                </c:pt>
                <c:pt idx="20454">
                  <c:v>0.36479400749063601</c:v>
                </c:pt>
                <c:pt idx="20455">
                  <c:v>0.36481184233993202</c:v>
                </c:pt>
                <c:pt idx="20456">
                  <c:v>0.36482967718922699</c:v>
                </c:pt>
                <c:pt idx="20457">
                  <c:v>0.364847512038523</c:v>
                </c:pt>
                <c:pt idx="20458">
                  <c:v>0.36486534688781802</c:v>
                </c:pt>
                <c:pt idx="20459">
                  <c:v>0.36488318173711398</c:v>
                </c:pt>
                <c:pt idx="20460">
                  <c:v>0.364901016586409</c:v>
                </c:pt>
                <c:pt idx="20461">
                  <c:v>0.36491885143570502</c:v>
                </c:pt>
                <c:pt idx="20462">
                  <c:v>0.36493668628499998</c:v>
                </c:pt>
                <c:pt idx="20463">
                  <c:v>0.36495452113429599</c:v>
                </c:pt>
                <c:pt idx="20464">
                  <c:v>0.36497235598359101</c:v>
                </c:pt>
                <c:pt idx="20465">
                  <c:v>0.36499019083288697</c:v>
                </c:pt>
                <c:pt idx="20466">
                  <c:v>0.36500802568218299</c:v>
                </c:pt>
                <c:pt idx="20467">
                  <c:v>0.36502586053147801</c:v>
                </c:pt>
                <c:pt idx="20468">
                  <c:v>0.36504369538077402</c:v>
                </c:pt>
                <c:pt idx="20469">
                  <c:v>0.36506153023006899</c:v>
                </c:pt>
                <c:pt idx="20470">
                  <c:v>0.365079365079365</c:v>
                </c:pt>
                <c:pt idx="20471">
                  <c:v>0.36509719992866002</c:v>
                </c:pt>
                <c:pt idx="20472">
                  <c:v>0.36511503477795598</c:v>
                </c:pt>
                <c:pt idx="20473">
                  <c:v>0.365132869627251</c:v>
                </c:pt>
                <c:pt idx="20474">
                  <c:v>0.36515070447654702</c:v>
                </c:pt>
                <c:pt idx="20475">
                  <c:v>0.36516853932584198</c:v>
                </c:pt>
                <c:pt idx="20476">
                  <c:v>0.365186374175138</c:v>
                </c:pt>
                <c:pt idx="20477">
                  <c:v>0.36520420902443301</c:v>
                </c:pt>
                <c:pt idx="20478">
                  <c:v>0.36522204387372897</c:v>
                </c:pt>
                <c:pt idx="20479">
                  <c:v>0.36523987872302399</c:v>
                </c:pt>
                <c:pt idx="20480">
                  <c:v>0.36525771357232001</c:v>
                </c:pt>
                <c:pt idx="20481">
                  <c:v>0.36527554842161503</c:v>
                </c:pt>
                <c:pt idx="20482">
                  <c:v>0.36529338327091099</c:v>
                </c:pt>
                <c:pt idx="20483">
                  <c:v>0.365311218120206</c:v>
                </c:pt>
                <c:pt idx="20484">
                  <c:v>0.36532905296950202</c:v>
                </c:pt>
                <c:pt idx="20485">
                  <c:v>0.36534688781879698</c:v>
                </c:pt>
                <c:pt idx="20486">
                  <c:v>0.365364722668093</c:v>
                </c:pt>
                <c:pt idx="20487">
                  <c:v>0.36538255751738802</c:v>
                </c:pt>
                <c:pt idx="20488">
                  <c:v>0.36540039236668398</c:v>
                </c:pt>
                <c:pt idx="20489">
                  <c:v>0.36541822721598</c:v>
                </c:pt>
                <c:pt idx="20490">
                  <c:v>0.36543606206527501</c:v>
                </c:pt>
                <c:pt idx="20491">
                  <c:v>0.36545389691457097</c:v>
                </c:pt>
                <c:pt idx="20492">
                  <c:v>0.36547173176386599</c:v>
                </c:pt>
                <c:pt idx="20493">
                  <c:v>0.36548956661316201</c:v>
                </c:pt>
                <c:pt idx="20494">
                  <c:v>0.36550740146245703</c:v>
                </c:pt>
                <c:pt idx="20495">
                  <c:v>0.36552523631175299</c:v>
                </c:pt>
                <c:pt idx="20496">
                  <c:v>0.36554307116104801</c:v>
                </c:pt>
                <c:pt idx="20497">
                  <c:v>0.36556090601034402</c:v>
                </c:pt>
                <c:pt idx="20498">
                  <c:v>0.36557874085963898</c:v>
                </c:pt>
                <c:pt idx="20499">
                  <c:v>0.365596575708935</c:v>
                </c:pt>
                <c:pt idx="20500">
                  <c:v>0.36561441055823002</c:v>
                </c:pt>
                <c:pt idx="20501">
                  <c:v>0.36563224540752598</c:v>
                </c:pt>
                <c:pt idx="20502">
                  <c:v>0.365650080256821</c:v>
                </c:pt>
                <c:pt idx="20503">
                  <c:v>0.36566791510611701</c:v>
                </c:pt>
                <c:pt idx="20504">
                  <c:v>0.36568574995541198</c:v>
                </c:pt>
                <c:pt idx="20505">
                  <c:v>0.36570358480470799</c:v>
                </c:pt>
                <c:pt idx="20506">
                  <c:v>0.36572141965400301</c:v>
                </c:pt>
                <c:pt idx="20507">
                  <c:v>0.36573925450329903</c:v>
                </c:pt>
                <c:pt idx="20508">
                  <c:v>0.36575708935259499</c:v>
                </c:pt>
                <c:pt idx="20509">
                  <c:v>0.36577492420189001</c:v>
                </c:pt>
                <c:pt idx="20510">
                  <c:v>0.36579275905118602</c:v>
                </c:pt>
                <c:pt idx="20511">
                  <c:v>0.36581059390048098</c:v>
                </c:pt>
                <c:pt idx="20512">
                  <c:v>0.365828428749777</c:v>
                </c:pt>
                <c:pt idx="20513">
                  <c:v>0.36584626359907202</c:v>
                </c:pt>
                <c:pt idx="20514">
                  <c:v>0.36586409844836798</c:v>
                </c:pt>
                <c:pt idx="20515">
                  <c:v>0.365881933297663</c:v>
                </c:pt>
                <c:pt idx="20516">
                  <c:v>0.36589976814695901</c:v>
                </c:pt>
                <c:pt idx="20517">
                  <c:v>0.36591760299625398</c:v>
                </c:pt>
                <c:pt idx="20518">
                  <c:v>0.36593543784554999</c:v>
                </c:pt>
                <c:pt idx="20519">
                  <c:v>0.36595327269484501</c:v>
                </c:pt>
                <c:pt idx="20520">
                  <c:v>0.36597110754414103</c:v>
                </c:pt>
                <c:pt idx="20521">
                  <c:v>0.36598894239343599</c:v>
                </c:pt>
                <c:pt idx="20522">
                  <c:v>0.36600677724273201</c:v>
                </c:pt>
                <c:pt idx="20523">
                  <c:v>0.36602461209202702</c:v>
                </c:pt>
                <c:pt idx="20524">
                  <c:v>0.36604244694132299</c:v>
                </c:pt>
                <c:pt idx="20525">
                  <c:v>0.366060281790618</c:v>
                </c:pt>
                <c:pt idx="20526">
                  <c:v>0.36607811663991402</c:v>
                </c:pt>
                <c:pt idx="20527">
                  <c:v>0.36609595148920898</c:v>
                </c:pt>
                <c:pt idx="20528">
                  <c:v>0.366113786338505</c:v>
                </c:pt>
                <c:pt idx="20529">
                  <c:v>0.36613162118780002</c:v>
                </c:pt>
                <c:pt idx="20530">
                  <c:v>0.36614945603709598</c:v>
                </c:pt>
                <c:pt idx="20531">
                  <c:v>0.36616729088639199</c:v>
                </c:pt>
                <c:pt idx="20532">
                  <c:v>0.36618512573568701</c:v>
                </c:pt>
                <c:pt idx="20533">
                  <c:v>0.36620296058498297</c:v>
                </c:pt>
                <c:pt idx="20534">
                  <c:v>0.36622079543427799</c:v>
                </c:pt>
                <c:pt idx="20535">
                  <c:v>0.36623863028357401</c:v>
                </c:pt>
                <c:pt idx="20536">
                  <c:v>0.36625646513286902</c:v>
                </c:pt>
                <c:pt idx="20537">
                  <c:v>0.36627429998216499</c:v>
                </c:pt>
                <c:pt idx="20538">
                  <c:v>0.36629213483146</c:v>
                </c:pt>
                <c:pt idx="20539">
                  <c:v>0.36630996968075602</c:v>
                </c:pt>
                <c:pt idx="20540">
                  <c:v>0.36632780453005098</c:v>
                </c:pt>
                <c:pt idx="20541">
                  <c:v>0.366345639379347</c:v>
                </c:pt>
                <c:pt idx="20542">
                  <c:v>0.36636347422864202</c:v>
                </c:pt>
                <c:pt idx="20543">
                  <c:v>0.36638130907793798</c:v>
                </c:pt>
                <c:pt idx="20544">
                  <c:v>0.366399143927233</c:v>
                </c:pt>
                <c:pt idx="20545">
                  <c:v>0.36641697877652901</c:v>
                </c:pt>
                <c:pt idx="20546">
                  <c:v>0.36643481362582397</c:v>
                </c:pt>
                <c:pt idx="20547">
                  <c:v>0.36645264847511999</c:v>
                </c:pt>
                <c:pt idx="20548">
                  <c:v>0.36647048332441501</c:v>
                </c:pt>
                <c:pt idx="20549">
                  <c:v>0.36648831817371103</c:v>
                </c:pt>
                <c:pt idx="20550">
                  <c:v>0.36650615302300599</c:v>
                </c:pt>
                <c:pt idx="20551">
                  <c:v>0.366523987872302</c:v>
                </c:pt>
                <c:pt idx="20552">
                  <c:v>0.36654182272159802</c:v>
                </c:pt>
                <c:pt idx="20553">
                  <c:v>0.36655965757089298</c:v>
                </c:pt>
                <c:pt idx="20554">
                  <c:v>0.366577492420189</c:v>
                </c:pt>
                <c:pt idx="20555">
                  <c:v>0.36659532726948402</c:v>
                </c:pt>
                <c:pt idx="20556">
                  <c:v>0.36661316211877998</c:v>
                </c:pt>
                <c:pt idx="20557">
                  <c:v>0.366630996968075</c:v>
                </c:pt>
                <c:pt idx="20558">
                  <c:v>0.36664883181737101</c:v>
                </c:pt>
                <c:pt idx="20559">
                  <c:v>0.36666666666666597</c:v>
                </c:pt>
                <c:pt idx="20560">
                  <c:v>0.36668450151596199</c:v>
                </c:pt>
                <c:pt idx="20561">
                  <c:v>0.36670233636525701</c:v>
                </c:pt>
                <c:pt idx="20562">
                  <c:v>0.36672017121455303</c:v>
                </c:pt>
                <c:pt idx="20563">
                  <c:v>0.36673800606384799</c:v>
                </c:pt>
                <c:pt idx="20564">
                  <c:v>0.366755840913144</c:v>
                </c:pt>
                <c:pt idx="20565">
                  <c:v>0.36677367576243902</c:v>
                </c:pt>
                <c:pt idx="20566">
                  <c:v>0.36679151061173498</c:v>
                </c:pt>
                <c:pt idx="20567">
                  <c:v>0.36680934546103</c:v>
                </c:pt>
                <c:pt idx="20568">
                  <c:v>0.36682718031032602</c:v>
                </c:pt>
                <c:pt idx="20569">
                  <c:v>0.36684501515962098</c:v>
                </c:pt>
                <c:pt idx="20570">
                  <c:v>0.366862850008917</c:v>
                </c:pt>
                <c:pt idx="20571">
                  <c:v>0.36688068485821201</c:v>
                </c:pt>
                <c:pt idx="20572">
                  <c:v>0.36689851970750798</c:v>
                </c:pt>
                <c:pt idx="20573">
                  <c:v>0.36691635455680399</c:v>
                </c:pt>
                <c:pt idx="20574">
                  <c:v>0.36693418940609901</c:v>
                </c:pt>
                <c:pt idx="20575">
                  <c:v>0.36695202425539503</c:v>
                </c:pt>
                <c:pt idx="20576">
                  <c:v>0.36696985910468999</c:v>
                </c:pt>
                <c:pt idx="20577">
                  <c:v>0.36698769395398601</c:v>
                </c:pt>
                <c:pt idx="20578">
                  <c:v>0.36700552880328102</c:v>
                </c:pt>
                <c:pt idx="20579">
                  <c:v>0.36702336365257698</c:v>
                </c:pt>
                <c:pt idx="20580">
                  <c:v>0.367041198501872</c:v>
                </c:pt>
                <c:pt idx="20581">
                  <c:v>0.36705903335116802</c:v>
                </c:pt>
                <c:pt idx="20582">
                  <c:v>0.36707686820046298</c:v>
                </c:pt>
                <c:pt idx="20583">
                  <c:v>0.367094703049759</c:v>
                </c:pt>
                <c:pt idx="20584">
                  <c:v>0.36711253789905401</c:v>
                </c:pt>
                <c:pt idx="20585">
                  <c:v>0.36713037274834998</c:v>
                </c:pt>
                <c:pt idx="20586">
                  <c:v>0.36714820759764499</c:v>
                </c:pt>
                <c:pt idx="20587">
                  <c:v>0.36716604244694101</c:v>
                </c:pt>
                <c:pt idx="20588">
                  <c:v>0.36718387729623603</c:v>
                </c:pt>
                <c:pt idx="20589">
                  <c:v>0.36720171214553199</c:v>
                </c:pt>
                <c:pt idx="20590">
                  <c:v>0.36721954699482701</c:v>
                </c:pt>
                <c:pt idx="20591">
                  <c:v>0.36723738184412302</c:v>
                </c:pt>
                <c:pt idx="20592">
                  <c:v>0.36725521669341799</c:v>
                </c:pt>
                <c:pt idx="20593">
                  <c:v>0.367273051542714</c:v>
                </c:pt>
                <c:pt idx="20594">
                  <c:v>0.36729088639200902</c:v>
                </c:pt>
                <c:pt idx="20595">
                  <c:v>0.36730872124130498</c:v>
                </c:pt>
                <c:pt idx="20596">
                  <c:v>0.367326556090601</c:v>
                </c:pt>
                <c:pt idx="20597">
                  <c:v>0.36734439093989601</c:v>
                </c:pt>
                <c:pt idx="20598">
                  <c:v>0.36736222578919198</c:v>
                </c:pt>
                <c:pt idx="20599">
                  <c:v>0.36738006063848699</c:v>
                </c:pt>
                <c:pt idx="20600">
                  <c:v>0.36739789548778301</c:v>
                </c:pt>
                <c:pt idx="20601">
                  <c:v>0.36741573033707797</c:v>
                </c:pt>
                <c:pt idx="20602">
                  <c:v>0.36743356518637399</c:v>
                </c:pt>
                <c:pt idx="20603">
                  <c:v>0.36745140003566901</c:v>
                </c:pt>
                <c:pt idx="20604">
                  <c:v>0.36746923488496502</c:v>
                </c:pt>
                <c:pt idx="20605">
                  <c:v>0.36748706973425999</c:v>
                </c:pt>
                <c:pt idx="20606">
                  <c:v>0.367504904583556</c:v>
                </c:pt>
                <c:pt idx="20607">
                  <c:v>0.36752273943285102</c:v>
                </c:pt>
                <c:pt idx="20608">
                  <c:v>0.36754057428214698</c:v>
                </c:pt>
                <c:pt idx="20609">
                  <c:v>0.367558409131442</c:v>
                </c:pt>
                <c:pt idx="20610">
                  <c:v>0.36757624398073802</c:v>
                </c:pt>
                <c:pt idx="20611">
                  <c:v>0.36759407883003298</c:v>
                </c:pt>
                <c:pt idx="20612">
                  <c:v>0.36761191367932899</c:v>
                </c:pt>
                <c:pt idx="20613">
                  <c:v>0.36762974852862401</c:v>
                </c:pt>
                <c:pt idx="20614">
                  <c:v>0.36764758337791997</c:v>
                </c:pt>
                <c:pt idx="20615">
                  <c:v>0.36766541822721599</c:v>
                </c:pt>
                <c:pt idx="20616">
                  <c:v>0.36768325307651101</c:v>
                </c:pt>
                <c:pt idx="20617">
                  <c:v>0.36770108792580702</c:v>
                </c:pt>
                <c:pt idx="20618">
                  <c:v>0.36771892277510199</c:v>
                </c:pt>
                <c:pt idx="20619">
                  <c:v>0.367736757624398</c:v>
                </c:pt>
                <c:pt idx="20620">
                  <c:v>0.36775459247369302</c:v>
                </c:pt>
                <c:pt idx="20621">
                  <c:v>0.36777242732298898</c:v>
                </c:pt>
                <c:pt idx="20622">
                  <c:v>0.367790262172284</c:v>
                </c:pt>
                <c:pt idx="20623">
                  <c:v>0.36780809702158002</c:v>
                </c:pt>
                <c:pt idx="20624">
                  <c:v>0.36782593187087498</c:v>
                </c:pt>
                <c:pt idx="20625">
                  <c:v>0.36784376672017099</c:v>
                </c:pt>
                <c:pt idx="20626">
                  <c:v>0.36786160156946601</c:v>
                </c:pt>
                <c:pt idx="20627">
                  <c:v>0.36787943641876197</c:v>
                </c:pt>
                <c:pt idx="20628">
                  <c:v>0.36789727126805699</c:v>
                </c:pt>
                <c:pt idx="20629">
                  <c:v>0.36791510611735301</c:v>
                </c:pt>
                <c:pt idx="20630">
                  <c:v>0.36793294096664803</c:v>
                </c:pt>
                <c:pt idx="20631">
                  <c:v>0.36795077581594399</c:v>
                </c:pt>
                <c:pt idx="20632">
                  <c:v>0.367968610665239</c:v>
                </c:pt>
                <c:pt idx="20633">
                  <c:v>0.36798644551453502</c:v>
                </c:pt>
                <c:pt idx="20634">
                  <c:v>0.36800428036382998</c:v>
                </c:pt>
                <c:pt idx="20635">
                  <c:v>0.368022115213126</c:v>
                </c:pt>
                <c:pt idx="20636">
                  <c:v>0.36803995006242102</c:v>
                </c:pt>
                <c:pt idx="20637">
                  <c:v>0.36805778491171698</c:v>
                </c:pt>
                <c:pt idx="20638">
                  <c:v>0.368075619761013</c:v>
                </c:pt>
                <c:pt idx="20639">
                  <c:v>0.36809345461030801</c:v>
                </c:pt>
                <c:pt idx="20640">
                  <c:v>0.36811128945960397</c:v>
                </c:pt>
                <c:pt idx="20641">
                  <c:v>0.36812912430889899</c:v>
                </c:pt>
                <c:pt idx="20642">
                  <c:v>0.36814695915819501</c:v>
                </c:pt>
                <c:pt idx="20643">
                  <c:v>0.36816479400749003</c:v>
                </c:pt>
                <c:pt idx="20644">
                  <c:v>0.36818262885678599</c:v>
                </c:pt>
                <c:pt idx="20645">
                  <c:v>0.368200463706081</c:v>
                </c:pt>
                <c:pt idx="20646">
                  <c:v>0.36821829855537702</c:v>
                </c:pt>
                <c:pt idx="20647">
                  <c:v>0.36823613340467198</c:v>
                </c:pt>
                <c:pt idx="20648">
                  <c:v>0.368253968253968</c:v>
                </c:pt>
                <c:pt idx="20649">
                  <c:v>0.36827180310326302</c:v>
                </c:pt>
                <c:pt idx="20650">
                  <c:v>0.36828963795255898</c:v>
                </c:pt>
                <c:pt idx="20651">
                  <c:v>0.368307472801854</c:v>
                </c:pt>
                <c:pt idx="20652">
                  <c:v>0.36832530765115001</c:v>
                </c:pt>
                <c:pt idx="20653">
                  <c:v>0.36834314250044498</c:v>
                </c:pt>
                <c:pt idx="20654">
                  <c:v>0.36836097734974099</c:v>
                </c:pt>
                <c:pt idx="20655">
                  <c:v>0.36837881219903601</c:v>
                </c:pt>
                <c:pt idx="20656">
                  <c:v>0.36839664704833203</c:v>
                </c:pt>
                <c:pt idx="20657">
                  <c:v>0.36841448189762799</c:v>
                </c:pt>
                <c:pt idx="20658">
                  <c:v>0.36843231674692301</c:v>
                </c:pt>
                <c:pt idx="20659">
                  <c:v>0.36845015159621902</c:v>
                </c:pt>
                <c:pt idx="20660">
                  <c:v>0.36846798644551398</c:v>
                </c:pt>
                <c:pt idx="20661">
                  <c:v>0.36848582129481</c:v>
                </c:pt>
                <c:pt idx="20662">
                  <c:v>0.36850365614410502</c:v>
                </c:pt>
                <c:pt idx="20663">
                  <c:v>0.36852149099340098</c:v>
                </c:pt>
                <c:pt idx="20664">
                  <c:v>0.368539325842696</c:v>
                </c:pt>
                <c:pt idx="20665">
                  <c:v>0.36855716069199201</c:v>
                </c:pt>
                <c:pt idx="20666">
                  <c:v>0.36857499554128698</c:v>
                </c:pt>
                <c:pt idx="20667">
                  <c:v>0.36859283039058299</c:v>
                </c:pt>
                <c:pt idx="20668">
                  <c:v>0.36861066523987801</c:v>
                </c:pt>
                <c:pt idx="20669">
                  <c:v>0.36862850008917403</c:v>
                </c:pt>
                <c:pt idx="20670">
                  <c:v>0.36864633493846899</c:v>
                </c:pt>
                <c:pt idx="20671">
                  <c:v>0.36866416978776501</c:v>
                </c:pt>
                <c:pt idx="20672">
                  <c:v>0.36868200463706002</c:v>
                </c:pt>
                <c:pt idx="20673">
                  <c:v>0.36869983948635598</c:v>
                </c:pt>
                <c:pt idx="20674">
                  <c:v>0.368717674335651</c:v>
                </c:pt>
                <c:pt idx="20675">
                  <c:v>0.36873550918494702</c:v>
                </c:pt>
                <c:pt idx="20676">
                  <c:v>0.36875334403424198</c:v>
                </c:pt>
                <c:pt idx="20677">
                  <c:v>0.368771178883538</c:v>
                </c:pt>
                <c:pt idx="20678">
                  <c:v>0.36878901373283302</c:v>
                </c:pt>
                <c:pt idx="20679">
                  <c:v>0.36880684858212898</c:v>
                </c:pt>
                <c:pt idx="20680">
                  <c:v>0.36882468343142499</c:v>
                </c:pt>
                <c:pt idx="20681">
                  <c:v>0.36884251828072001</c:v>
                </c:pt>
                <c:pt idx="20682">
                  <c:v>0.36886035313001603</c:v>
                </c:pt>
                <c:pt idx="20683">
                  <c:v>0.36887818797931099</c:v>
                </c:pt>
                <c:pt idx="20684">
                  <c:v>0.36889602282860701</c:v>
                </c:pt>
                <c:pt idx="20685">
                  <c:v>0.36891385767790202</c:v>
                </c:pt>
                <c:pt idx="20686">
                  <c:v>0.36893169252719799</c:v>
                </c:pt>
                <c:pt idx="20687">
                  <c:v>0.368949527376493</c:v>
                </c:pt>
                <c:pt idx="20688">
                  <c:v>0.36896736222578902</c:v>
                </c:pt>
                <c:pt idx="20689">
                  <c:v>0.36898519707508398</c:v>
                </c:pt>
                <c:pt idx="20690">
                  <c:v>0.36900303192438</c:v>
                </c:pt>
                <c:pt idx="20691">
                  <c:v>0.36902086677367502</c:v>
                </c:pt>
                <c:pt idx="20692">
                  <c:v>0.36903870162297098</c:v>
                </c:pt>
                <c:pt idx="20693">
                  <c:v>0.36905653647226599</c:v>
                </c:pt>
                <c:pt idx="20694">
                  <c:v>0.36907437132156201</c:v>
                </c:pt>
                <c:pt idx="20695">
                  <c:v>0.36909220617085697</c:v>
                </c:pt>
                <c:pt idx="20696">
                  <c:v>0.36911004102015299</c:v>
                </c:pt>
                <c:pt idx="20697">
                  <c:v>0.36912787586944801</c:v>
                </c:pt>
                <c:pt idx="20698">
                  <c:v>0.36914571071874402</c:v>
                </c:pt>
                <c:pt idx="20699">
                  <c:v>0.36916354556803899</c:v>
                </c:pt>
                <c:pt idx="20700">
                  <c:v>0.369181380417335</c:v>
                </c:pt>
                <c:pt idx="20701">
                  <c:v>0.36919921526663102</c:v>
                </c:pt>
                <c:pt idx="20702">
                  <c:v>0.36921705011592598</c:v>
                </c:pt>
                <c:pt idx="20703">
                  <c:v>0.369234884965222</c:v>
                </c:pt>
                <c:pt idx="20704">
                  <c:v>0.36925271981451702</c:v>
                </c:pt>
                <c:pt idx="20705">
                  <c:v>0.36927055466381298</c:v>
                </c:pt>
                <c:pt idx="20706">
                  <c:v>0.369288389513108</c:v>
                </c:pt>
                <c:pt idx="20707">
                  <c:v>0.36930622436240401</c:v>
                </c:pt>
                <c:pt idx="20708">
                  <c:v>0.36932405921169897</c:v>
                </c:pt>
                <c:pt idx="20709">
                  <c:v>0.36934189406099499</c:v>
                </c:pt>
                <c:pt idx="20710">
                  <c:v>0.36935972891029001</c:v>
                </c:pt>
                <c:pt idx="20711">
                  <c:v>0.36937756375958603</c:v>
                </c:pt>
                <c:pt idx="20712">
                  <c:v>0.36939539860888099</c:v>
                </c:pt>
                <c:pt idx="20713">
                  <c:v>0.369413233458177</c:v>
                </c:pt>
                <c:pt idx="20714">
                  <c:v>0.36943106830747202</c:v>
                </c:pt>
                <c:pt idx="20715">
                  <c:v>0.36944890315676798</c:v>
                </c:pt>
                <c:pt idx="20716">
                  <c:v>0.369466738006063</c:v>
                </c:pt>
                <c:pt idx="20717">
                  <c:v>0.36948457285535902</c:v>
                </c:pt>
                <c:pt idx="20718">
                  <c:v>0.36950240770465398</c:v>
                </c:pt>
                <c:pt idx="20719">
                  <c:v>0.36952024255395</c:v>
                </c:pt>
                <c:pt idx="20720">
                  <c:v>0.36953807740324501</c:v>
                </c:pt>
                <c:pt idx="20721">
                  <c:v>0.36955591225254097</c:v>
                </c:pt>
                <c:pt idx="20722">
                  <c:v>0.36957374710183699</c:v>
                </c:pt>
                <c:pt idx="20723">
                  <c:v>0.36959158195113201</c:v>
                </c:pt>
                <c:pt idx="20724">
                  <c:v>0.36960941680042803</c:v>
                </c:pt>
                <c:pt idx="20725">
                  <c:v>0.36962725164972299</c:v>
                </c:pt>
                <c:pt idx="20726">
                  <c:v>0.369645086499019</c:v>
                </c:pt>
                <c:pt idx="20727">
                  <c:v>0.36966292134831402</c:v>
                </c:pt>
                <c:pt idx="20728">
                  <c:v>0.36968075619760998</c:v>
                </c:pt>
                <c:pt idx="20729">
                  <c:v>0.369698591046905</c:v>
                </c:pt>
                <c:pt idx="20730">
                  <c:v>0.36971642589620102</c:v>
                </c:pt>
                <c:pt idx="20731">
                  <c:v>0.36973426074549598</c:v>
                </c:pt>
                <c:pt idx="20732">
                  <c:v>0.369752095594792</c:v>
                </c:pt>
                <c:pt idx="20733">
                  <c:v>0.36976993044408701</c:v>
                </c:pt>
                <c:pt idx="20734">
                  <c:v>0.36978776529338298</c:v>
                </c:pt>
                <c:pt idx="20735">
                  <c:v>0.36980560014267799</c:v>
                </c:pt>
                <c:pt idx="20736">
                  <c:v>0.36982343499197401</c:v>
                </c:pt>
                <c:pt idx="20737">
                  <c:v>0.36984126984126903</c:v>
                </c:pt>
                <c:pt idx="20738">
                  <c:v>0.36985910469056499</c:v>
                </c:pt>
                <c:pt idx="20739">
                  <c:v>0.36987693953986001</c:v>
                </c:pt>
                <c:pt idx="20740">
                  <c:v>0.36989477438915602</c:v>
                </c:pt>
                <c:pt idx="20741">
                  <c:v>0.36991260923845098</c:v>
                </c:pt>
                <c:pt idx="20742">
                  <c:v>0.369930444087747</c:v>
                </c:pt>
                <c:pt idx="20743">
                  <c:v>0.36994827893704202</c:v>
                </c:pt>
                <c:pt idx="20744">
                  <c:v>0.36996611378633798</c:v>
                </c:pt>
                <c:pt idx="20745">
                  <c:v>0.369983948635634</c:v>
                </c:pt>
                <c:pt idx="20746">
                  <c:v>0.37000178348492901</c:v>
                </c:pt>
                <c:pt idx="20747">
                  <c:v>0.37001961833422498</c:v>
                </c:pt>
                <c:pt idx="20748">
                  <c:v>0.37003745318351999</c:v>
                </c:pt>
                <c:pt idx="20749">
                  <c:v>0.37005528803281601</c:v>
                </c:pt>
                <c:pt idx="20750">
                  <c:v>0.37007312288211103</c:v>
                </c:pt>
                <c:pt idx="20751">
                  <c:v>0.37009095773140699</c:v>
                </c:pt>
                <c:pt idx="20752">
                  <c:v>0.37010879258070201</c:v>
                </c:pt>
                <c:pt idx="20753">
                  <c:v>0.37012662742999802</c:v>
                </c:pt>
                <c:pt idx="20754">
                  <c:v>0.37014446227929299</c:v>
                </c:pt>
                <c:pt idx="20755">
                  <c:v>0.370162297128589</c:v>
                </c:pt>
                <c:pt idx="20756">
                  <c:v>0.37018013197788402</c:v>
                </c:pt>
                <c:pt idx="20757">
                  <c:v>0.37019796682717998</c:v>
                </c:pt>
                <c:pt idx="20758">
                  <c:v>0.370215801676475</c:v>
                </c:pt>
                <c:pt idx="20759">
                  <c:v>0.37023363652577101</c:v>
                </c:pt>
                <c:pt idx="20760">
                  <c:v>0.37025147137506598</c:v>
                </c:pt>
                <c:pt idx="20761">
                  <c:v>0.37026930622436199</c:v>
                </c:pt>
                <c:pt idx="20762">
                  <c:v>0.37028714107365701</c:v>
                </c:pt>
                <c:pt idx="20763">
                  <c:v>0.37030497592295297</c:v>
                </c:pt>
                <c:pt idx="20764">
                  <c:v>0.37032281077224899</c:v>
                </c:pt>
                <c:pt idx="20765">
                  <c:v>0.37034064562154401</c:v>
                </c:pt>
                <c:pt idx="20766">
                  <c:v>0.37035848047084002</c:v>
                </c:pt>
                <c:pt idx="20767">
                  <c:v>0.37037631532013499</c:v>
                </c:pt>
                <c:pt idx="20768">
                  <c:v>0.370394150169431</c:v>
                </c:pt>
                <c:pt idx="20769">
                  <c:v>0.37041198501872602</c:v>
                </c:pt>
                <c:pt idx="20770">
                  <c:v>0.37042981986802198</c:v>
                </c:pt>
                <c:pt idx="20771">
                  <c:v>0.370447654717317</c:v>
                </c:pt>
                <c:pt idx="20772">
                  <c:v>0.37046548956661302</c:v>
                </c:pt>
                <c:pt idx="20773">
                  <c:v>0.37048332441590798</c:v>
                </c:pt>
                <c:pt idx="20774">
                  <c:v>0.37050115926520399</c:v>
                </c:pt>
                <c:pt idx="20775">
                  <c:v>0.37051899411449901</c:v>
                </c:pt>
                <c:pt idx="20776">
                  <c:v>0.37053682896379497</c:v>
                </c:pt>
                <c:pt idx="20777">
                  <c:v>0.37055466381308999</c:v>
                </c:pt>
                <c:pt idx="20778">
                  <c:v>0.37057249866238601</c:v>
                </c:pt>
                <c:pt idx="20779">
                  <c:v>0.37059033351168102</c:v>
                </c:pt>
                <c:pt idx="20780">
                  <c:v>0.37060816836097699</c:v>
                </c:pt>
                <c:pt idx="20781">
                  <c:v>0.370626003210272</c:v>
                </c:pt>
                <c:pt idx="20782">
                  <c:v>0.37064383805956802</c:v>
                </c:pt>
                <c:pt idx="20783">
                  <c:v>0.37066167290886298</c:v>
                </c:pt>
                <c:pt idx="20784">
                  <c:v>0.370679507758159</c:v>
                </c:pt>
                <c:pt idx="20785">
                  <c:v>0.37069734260745402</c:v>
                </c:pt>
                <c:pt idx="20786">
                  <c:v>0.37071517745674998</c:v>
                </c:pt>
                <c:pt idx="20787">
                  <c:v>0.37073301230604599</c:v>
                </c:pt>
                <c:pt idx="20788">
                  <c:v>0.37075084715534101</c:v>
                </c:pt>
                <c:pt idx="20789">
                  <c:v>0.37076868200463697</c:v>
                </c:pt>
                <c:pt idx="20790">
                  <c:v>0.37078651685393199</c:v>
                </c:pt>
                <c:pt idx="20791">
                  <c:v>0.37080435170322801</c:v>
                </c:pt>
                <c:pt idx="20792">
                  <c:v>0.37082218655252303</c:v>
                </c:pt>
                <c:pt idx="20793">
                  <c:v>0.37084002140181899</c:v>
                </c:pt>
                <c:pt idx="20794">
                  <c:v>0.370857856251114</c:v>
                </c:pt>
                <c:pt idx="20795">
                  <c:v>0.37087569110041002</c:v>
                </c:pt>
                <c:pt idx="20796">
                  <c:v>0.37089352594970498</c:v>
                </c:pt>
                <c:pt idx="20797">
                  <c:v>0.370911360799001</c:v>
                </c:pt>
                <c:pt idx="20798">
                  <c:v>0.37092919564829602</c:v>
                </c:pt>
                <c:pt idx="20799">
                  <c:v>0.37094703049759198</c:v>
                </c:pt>
                <c:pt idx="20800">
                  <c:v>0.370964865346887</c:v>
                </c:pt>
                <c:pt idx="20801">
                  <c:v>0.37098270019618301</c:v>
                </c:pt>
                <c:pt idx="20802">
                  <c:v>0.37100053504547797</c:v>
                </c:pt>
                <c:pt idx="20803">
                  <c:v>0.37101836989477399</c:v>
                </c:pt>
                <c:pt idx="20804">
                  <c:v>0.37103620474406901</c:v>
                </c:pt>
                <c:pt idx="20805">
                  <c:v>0.37105403959336503</c:v>
                </c:pt>
                <c:pt idx="20806">
                  <c:v>0.37107187444266099</c:v>
                </c:pt>
                <c:pt idx="20807">
                  <c:v>0.371089709291956</c:v>
                </c:pt>
                <c:pt idx="20808">
                  <c:v>0.37110754414125202</c:v>
                </c:pt>
                <c:pt idx="20809">
                  <c:v>0.37112537899054698</c:v>
                </c:pt>
                <c:pt idx="20810">
                  <c:v>0.371143213839843</c:v>
                </c:pt>
                <c:pt idx="20811">
                  <c:v>0.37116104868913802</c:v>
                </c:pt>
                <c:pt idx="20812">
                  <c:v>0.37117888353843398</c:v>
                </c:pt>
                <c:pt idx="20813">
                  <c:v>0.371196718387729</c:v>
                </c:pt>
                <c:pt idx="20814">
                  <c:v>0.37121455323702501</c:v>
                </c:pt>
                <c:pt idx="20815">
                  <c:v>0.37123238808631998</c:v>
                </c:pt>
                <c:pt idx="20816">
                  <c:v>0.37125022293561599</c:v>
                </c:pt>
                <c:pt idx="20817">
                  <c:v>0.37126805778491101</c:v>
                </c:pt>
                <c:pt idx="20818">
                  <c:v>0.37128589263420703</c:v>
                </c:pt>
                <c:pt idx="20819">
                  <c:v>0.37130372748350199</c:v>
                </c:pt>
                <c:pt idx="20820">
                  <c:v>0.37132156233279801</c:v>
                </c:pt>
                <c:pt idx="20821">
                  <c:v>0.37133939718209302</c:v>
                </c:pt>
                <c:pt idx="20822">
                  <c:v>0.37135723203138898</c:v>
                </c:pt>
                <c:pt idx="20823">
                  <c:v>0.371375066880684</c:v>
                </c:pt>
                <c:pt idx="20824">
                  <c:v>0.37139290172998002</c:v>
                </c:pt>
                <c:pt idx="20825">
                  <c:v>0.37141073657927498</c:v>
                </c:pt>
                <c:pt idx="20826">
                  <c:v>0.371428571428571</c:v>
                </c:pt>
                <c:pt idx="20827">
                  <c:v>0.37144640627786601</c:v>
                </c:pt>
                <c:pt idx="20828">
                  <c:v>0.37146424112716198</c:v>
                </c:pt>
                <c:pt idx="20829">
                  <c:v>0.37148207597645799</c:v>
                </c:pt>
                <c:pt idx="20830">
                  <c:v>0.37149991082575301</c:v>
                </c:pt>
                <c:pt idx="20831">
                  <c:v>0.37151774567504903</c:v>
                </c:pt>
                <c:pt idx="20832">
                  <c:v>0.37153558052434399</c:v>
                </c:pt>
                <c:pt idx="20833">
                  <c:v>0.37155341537364001</c:v>
                </c:pt>
                <c:pt idx="20834">
                  <c:v>0.37157125022293502</c:v>
                </c:pt>
                <c:pt idx="20835">
                  <c:v>0.37158908507223098</c:v>
                </c:pt>
                <c:pt idx="20836">
                  <c:v>0.371606919921526</c:v>
                </c:pt>
                <c:pt idx="20837">
                  <c:v>0.37162475477082202</c:v>
                </c:pt>
                <c:pt idx="20838">
                  <c:v>0.37164258962011698</c:v>
                </c:pt>
                <c:pt idx="20839">
                  <c:v>0.371660424469413</c:v>
                </c:pt>
                <c:pt idx="20840">
                  <c:v>0.37167825931870802</c:v>
                </c:pt>
                <c:pt idx="20841">
                  <c:v>0.37169609416800398</c:v>
                </c:pt>
                <c:pt idx="20842">
                  <c:v>0.37171392901729899</c:v>
                </c:pt>
                <c:pt idx="20843">
                  <c:v>0.37173176386659501</c:v>
                </c:pt>
                <c:pt idx="20844">
                  <c:v>0.37174959871588997</c:v>
                </c:pt>
                <c:pt idx="20845">
                  <c:v>0.37176743356518599</c:v>
                </c:pt>
                <c:pt idx="20846">
                  <c:v>0.37178526841448101</c:v>
                </c:pt>
                <c:pt idx="20847">
                  <c:v>0.37180310326377702</c:v>
                </c:pt>
                <c:pt idx="20848">
                  <c:v>0.37182093811307199</c:v>
                </c:pt>
                <c:pt idx="20849">
                  <c:v>0.371838772962368</c:v>
                </c:pt>
                <c:pt idx="20850">
                  <c:v>0.37185660781166302</c:v>
                </c:pt>
                <c:pt idx="20851">
                  <c:v>0.37187444266095898</c:v>
                </c:pt>
                <c:pt idx="20852">
                  <c:v>0.371892277510255</c:v>
                </c:pt>
                <c:pt idx="20853">
                  <c:v>0.37191011235955002</c:v>
                </c:pt>
                <c:pt idx="20854">
                  <c:v>0.37192794720884598</c:v>
                </c:pt>
                <c:pt idx="20855">
                  <c:v>0.37194578205814099</c:v>
                </c:pt>
                <c:pt idx="20856">
                  <c:v>0.37196361690743701</c:v>
                </c:pt>
                <c:pt idx="20857">
                  <c:v>0.37198145175673197</c:v>
                </c:pt>
                <c:pt idx="20858">
                  <c:v>0.37199928660602799</c:v>
                </c:pt>
                <c:pt idx="20859">
                  <c:v>0.37201712145532301</c:v>
                </c:pt>
                <c:pt idx="20860">
                  <c:v>0.37203495630461902</c:v>
                </c:pt>
                <c:pt idx="20861">
                  <c:v>0.37205279115391399</c:v>
                </c:pt>
                <c:pt idx="20862">
                  <c:v>0.37207062600321</c:v>
                </c:pt>
                <c:pt idx="20863">
                  <c:v>0.37208846085250502</c:v>
                </c:pt>
                <c:pt idx="20864">
                  <c:v>0.37210629570180098</c:v>
                </c:pt>
                <c:pt idx="20865">
                  <c:v>0.372124130551096</c:v>
                </c:pt>
                <c:pt idx="20866">
                  <c:v>0.37214196540039202</c:v>
                </c:pt>
                <c:pt idx="20867">
                  <c:v>0.37215980024968698</c:v>
                </c:pt>
                <c:pt idx="20868">
                  <c:v>0.372177635098983</c:v>
                </c:pt>
                <c:pt idx="20869">
                  <c:v>0.37219546994827801</c:v>
                </c:pt>
                <c:pt idx="20870">
                  <c:v>0.37221330479757397</c:v>
                </c:pt>
                <c:pt idx="20871">
                  <c:v>0.37223113964686999</c:v>
                </c:pt>
                <c:pt idx="20872">
                  <c:v>0.37224897449616501</c:v>
                </c:pt>
                <c:pt idx="20873">
                  <c:v>0.37226680934546102</c:v>
                </c:pt>
                <c:pt idx="20874">
                  <c:v>0.37228464419475599</c:v>
                </c:pt>
                <c:pt idx="20875">
                  <c:v>0.372302479044052</c:v>
                </c:pt>
                <c:pt idx="20876">
                  <c:v>0.37232031389334702</c:v>
                </c:pt>
                <c:pt idx="20877">
                  <c:v>0.37233814874264298</c:v>
                </c:pt>
                <c:pt idx="20878">
                  <c:v>0.372355983591938</c:v>
                </c:pt>
                <c:pt idx="20879">
                  <c:v>0.37237381844123402</c:v>
                </c:pt>
                <c:pt idx="20880">
                  <c:v>0.37239165329052898</c:v>
                </c:pt>
                <c:pt idx="20881">
                  <c:v>0.372409488139825</c:v>
                </c:pt>
                <c:pt idx="20882">
                  <c:v>0.37242732298912001</c:v>
                </c:pt>
                <c:pt idx="20883">
                  <c:v>0.37244515783841597</c:v>
                </c:pt>
                <c:pt idx="20884">
                  <c:v>0.37246299268771099</c:v>
                </c:pt>
                <c:pt idx="20885">
                  <c:v>0.37248082753700701</c:v>
                </c:pt>
                <c:pt idx="20886">
                  <c:v>0.37249866238630203</c:v>
                </c:pt>
                <c:pt idx="20887">
                  <c:v>0.37251649723559799</c:v>
                </c:pt>
                <c:pt idx="20888">
                  <c:v>0.37253433208489301</c:v>
                </c:pt>
                <c:pt idx="20889">
                  <c:v>0.37255216693418902</c:v>
                </c:pt>
                <c:pt idx="20890">
                  <c:v>0.37257000178348398</c:v>
                </c:pt>
                <c:pt idx="20891">
                  <c:v>0.37258783663278</c:v>
                </c:pt>
                <c:pt idx="20892">
                  <c:v>0.37260567148207502</c:v>
                </c:pt>
                <c:pt idx="20893">
                  <c:v>0.37262350633137098</c:v>
                </c:pt>
                <c:pt idx="20894">
                  <c:v>0.372641341180667</c:v>
                </c:pt>
                <c:pt idx="20895">
                  <c:v>0.37265917602996201</c:v>
                </c:pt>
                <c:pt idx="20896">
                  <c:v>0.37267701087925797</c:v>
                </c:pt>
                <c:pt idx="20897">
                  <c:v>0.37269484572855299</c:v>
                </c:pt>
                <c:pt idx="20898">
                  <c:v>0.37271268057784901</c:v>
                </c:pt>
                <c:pt idx="20899">
                  <c:v>0.37273051542714403</c:v>
                </c:pt>
                <c:pt idx="20900">
                  <c:v>0.37274835027643999</c:v>
                </c:pt>
                <c:pt idx="20901">
                  <c:v>0.37276618512573501</c:v>
                </c:pt>
                <c:pt idx="20902">
                  <c:v>0.37278401997503102</c:v>
                </c:pt>
                <c:pt idx="20903">
                  <c:v>0.37280185482432598</c:v>
                </c:pt>
                <c:pt idx="20904">
                  <c:v>0.372819689673622</c:v>
                </c:pt>
                <c:pt idx="20905">
                  <c:v>0.37283752452291702</c:v>
                </c:pt>
                <c:pt idx="20906">
                  <c:v>0.37285535937221298</c:v>
                </c:pt>
                <c:pt idx="20907">
                  <c:v>0.372873194221508</c:v>
                </c:pt>
                <c:pt idx="20908">
                  <c:v>0.37289102907080401</c:v>
                </c:pt>
                <c:pt idx="20909">
                  <c:v>0.37290886392009898</c:v>
                </c:pt>
                <c:pt idx="20910">
                  <c:v>0.37292669876939499</c:v>
                </c:pt>
                <c:pt idx="20911">
                  <c:v>0.37294453361869001</c:v>
                </c:pt>
                <c:pt idx="20912">
                  <c:v>0.37296236846798603</c:v>
                </c:pt>
                <c:pt idx="20913">
                  <c:v>0.37298020331728199</c:v>
                </c:pt>
                <c:pt idx="20914">
                  <c:v>0.37299803816657701</c:v>
                </c:pt>
                <c:pt idx="20915">
                  <c:v>0.37301587301587302</c:v>
                </c:pt>
                <c:pt idx="20916">
                  <c:v>0.37303370786516798</c:v>
                </c:pt>
                <c:pt idx="20917">
                  <c:v>0.373051542714464</c:v>
                </c:pt>
                <c:pt idx="20918">
                  <c:v>0.37306937756375902</c:v>
                </c:pt>
                <c:pt idx="20919">
                  <c:v>0.37308721241305498</c:v>
                </c:pt>
                <c:pt idx="20920">
                  <c:v>0.37310504726235</c:v>
                </c:pt>
                <c:pt idx="20921">
                  <c:v>0.37312288211164601</c:v>
                </c:pt>
                <c:pt idx="20922">
                  <c:v>0.37314071696094098</c:v>
                </c:pt>
                <c:pt idx="20923">
                  <c:v>0.37315855181023699</c:v>
                </c:pt>
                <c:pt idx="20924">
                  <c:v>0.37317638665953201</c:v>
                </c:pt>
                <c:pt idx="20925">
                  <c:v>0.37319422150882797</c:v>
                </c:pt>
                <c:pt idx="20926">
                  <c:v>0.37321205635812299</c:v>
                </c:pt>
                <c:pt idx="20927">
                  <c:v>0.37322989120741901</c:v>
                </c:pt>
                <c:pt idx="20928">
                  <c:v>0.37324772605671402</c:v>
                </c:pt>
                <c:pt idx="20929">
                  <c:v>0.37326556090600999</c:v>
                </c:pt>
                <c:pt idx="20930">
                  <c:v>0.373283395755305</c:v>
                </c:pt>
                <c:pt idx="20931">
                  <c:v>0.37330123060460102</c:v>
                </c:pt>
                <c:pt idx="20932">
                  <c:v>0.37331906545389598</c:v>
                </c:pt>
                <c:pt idx="20933">
                  <c:v>0.373336900303192</c:v>
                </c:pt>
                <c:pt idx="20934">
                  <c:v>0.37335473515248702</c:v>
                </c:pt>
                <c:pt idx="20935">
                  <c:v>0.37337257000178298</c:v>
                </c:pt>
                <c:pt idx="20936">
                  <c:v>0.37339040485107899</c:v>
                </c:pt>
                <c:pt idx="20937">
                  <c:v>0.37340823970037401</c:v>
                </c:pt>
                <c:pt idx="20938">
                  <c:v>0.37342607454966997</c:v>
                </c:pt>
                <c:pt idx="20939">
                  <c:v>0.37344390939896499</c:v>
                </c:pt>
                <c:pt idx="20940">
                  <c:v>0.37346174424826101</c:v>
                </c:pt>
                <c:pt idx="20941">
                  <c:v>0.37347957909755602</c:v>
                </c:pt>
                <c:pt idx="20942">
                  <c:v>0.37349741394685199</c:v>
                </c:pt>
                <c:pt idx="20943">
                  <c:v>0.373515248796147</c:v>
                </c:pt>
                <c:pt idx="20944">
                  <c:v>0.37353308364544302</c:v>
                </c:pt>
                <c:pt idx="20945">
                  <c:v>0.37355091849473798</c:v>
                </c:pt>
                <c:pt idx="20946">
                  <c:v>0.373568753344034</c:v>
                </c:pt>
                <c:pt idx="20947">
                  <c:v>0.37358658819332902</c:v>
                </c:pt>
                <c:pt idx="20948">
                  <c:v>0.37360442304262498</c:v>
                </c:pt>
                <c:pt idx="20949">
                  <c:v>0.37362225789192</c:v>
                </c:pt>
                <c:pt idx="20950">
                  <c:v>0.37364009274121601</c:v>
                </c:pt>
                <c:pt idx="20951">
                  <c:v>0.37365792759051097</c:v>
                </c:pt>
                <c:pt idx="20952">
                  <c:v>0.37367576243980699</c:v>
                </c:pt>
                <c:pt idx="20953">
                  <c:v>0.37369359728910201</c:v>
                </c:pt>
                <c:pt idx="20954">
                  <c:v>0.37371143213839803</c:v>
                </c:pt>
                <c:pt idx="20955">
                  <c:v>0.37372926698769299</c:v>
                </c:pt>
                <c:pt idx="20956">
                  <c:v>0.373747101836989</c:v>
                </c:pt>
                <c:pt idx="20957">
                  <c:v>0.37376493668628502</c:v>
                </c:pt>
                <c:pt idx="20958">
                  <c:v>0.37378277153557998</c:v>
                </c:pt>
                <c:pt idx="20959">
                  <c:v>0.373800606384876</c:v>
                </c:pt>
                <c:pt idx="20960">
                  <c:v>0.37381844123417102</c:v>
                </c:pt>
                <c:pt idx="20961">
                  <c:v>0.37383627608346698</c:v>
                </c:pt>
                <c:pt idx="20962">
                  <c:v>0.373854110932762</c:v>
                </c:pt>
                <c:pt idx="20963">
                  <c:v>0.37387194578205801</c:v>
                </c:pt>
                <c:pt idx="20964">
                  <c:v>0.37388978063135297</c:v>
                </c:pt>
                <c:pt idx="20965">
                  <c:v>0.37390761548064899</c:v>
                </c:pt>
                <c:pt idx="20966">
                  <c:v>0.37392545032994401</c:v>
                </c:pt>
                <c:pt idx="20967">
                  <c:v>0.37394328517924003</c:v>
                </c:pt>
                <c:pt idx="20968">
                  <c:v>0.37396112002853499</c:v>
                </c:pt>
                <c:pt idx="20969">
                  <c:v>0.373978954877831</c:v>
                </c:pt>
                <c:pt idx="20970">
                  <c:v>0.37399678972712602</c:v>
                </c:pt>
                <c:pt idx="20971">
                  <c:v>0.37401462457642198</c:v>
                </c:pt>
                <c:pt idx="20972">
                  <c:v>0.374032459425717</c:v>
                </c:pt>
                <c:pt idx="20973">
                  <c:v>0.37405029427501302</c:v>
                </c:pt>
                <c:pt idx="20974">
                  <c:v>0.37406812912430798</c:v>
                </c:pt>
                <c:pt idx="20975">
                  <c:v>0.374085963973604</c:v>
                </c:pt>
                <c:pt idx="20976">
                  <c:v>0.37410379882289901</c:v>
                </c:pt>
                <c:pt idx="20977">
                  <c:v>0.37412163367219498</c:v>
                </c:pt>
                <c:pt idx="20978">
                  <c:v>0.37413946852149099</c:v>
                </c:pt>
                <c:pt idx="20979">
                  <c:v>0.37415730337078601</c:v>
                </c:pt>
                <c:pt idx="20980">
                  <c:v>0.37417513822008203</c:v>
                </c:pt>
                <c:pt idx="20981">
                  <c:v>0.37419297306937699</c:v>
                </c:pt>
                <c:pt idx="20982">
                  <c:v>0.37421080791867301</c:v>
                </c:pt>
                <c:pt idx="20983">
                  <c:v>0.37422864276796802</c:v>
                </c:pt>
                <c:pt idx="20984">
                  <c:v>0.37424647761726398</c:v>
                </c:pt>
                <c:pt idx="20985">
                  <c:v>0.374264312466559</c:v>
                </c:pt>
                <c:pt idx="20986">
                  <c:v>0.37428214731585502</c:v>
                </c:pt>
                <c:pt idx="20987">
                  <c:v>0.37429998216514998</c:v>
                </c:pt>
                <c:pt idx="20988">
                  <c:v>0.374317817014446</c:v>
                </c:pt>
                <c:pt idx="20989">
                  <c:v>0.37433565186374101</c:v>
                </c:pt>
                <c:pt idx="20990">
                  <c:v>0.37435348671303698</c:v>
                </c:pt>
                <c:pt idx="20991">
                  <c:v>0.37437132156233199</c:v>
                </c:pt>
                <c:pt idx="20992">
                  <c:v>0.37438915641162801</c:v>
                </c:pt>
                <c:pt idx="20993">
                  <c:v>0.37440699126092303</c:v>
                </c:pt>
                <c:pt idx="20994">
                  <c:v>0.37442482611021899</c:v>
                </c:pt>
                <c:pt idx="20995">
                  <c:v>0.37444266095951401</c:v>
                </c:pt>
                <c:pt idx="20996">
                  <c:v>0.37446049580881002</c:v>
                </c:pt>
                <c:pt idx="20997">
                  <c:v>0.37447833065810499</c:v>
                </c:pt>
                <c:pt idx="20998">
                  <c:v>0.374496165507401</c:v>
                </c:pt>
                <c:pt idx="20999">
                  <c:v>0.37451400035669602</c:v>
                </c:pt>
                <c:pt idx="21000">
                  <c:v>0.37453183520599198</c:v>
                </c:pt>
                <c:pt idx="21001">
                  <c:v>0.374549670055288</c:v>
                </c:pt>
                <c:pt idx="21002">
                  <c:v>0.37456750490458302</c:v>
                </c:pt>
                <c:pt idx="21003">
                  <c:v>0.37458533975387898</c:v>
                </c:pt>
                <c:pt idx="21004">
                  <c:v>0.37460317460317399</c:v>
                </c:pt>
                <c:pt idx="21005">
                  <c:v>0.37462100945247001</c:v>
                </c:pt>
                <c:pt idx="21006">
                  <c:v>0.37463884430176497</c:v>
                </c:pt>
                <c:pt idx="21007">
                  <c:v>0.37465667915106099</c:v>
                </c:pt>
                <c:pt idx="21008">
                  <c:v>0.37467451400035601</c:v>
                </c:pt>
                <c:pt idx="21009">
                  <c:v>0.37469234884965202</c:v>
                </c:pt>
                <c:pt idx="21010">
                  <c:v>0.37471018369894699</c:v>
                </c:pt>
                <c:pt idx="21011">
                  <c:v>0.374728018548243</c:v>
                </c:pt>
                <c:pt idx="21012">
                  <c:v>0.37474585339753802</c:v>
                </c:pt>
                <c:pt idx="21013">
                  <c:v>0.37476368824683398</c:v>
                </c:pt>
                <c:pt idx="21014">
                  <c:v>0.374781523096129</c:v>
                </c:pt>
                <c:pt idx="21015">
                  <c:v>0.37479935794542502</c:v>
                </c:pt>
                <c:pt idx="21016">
                  <c:v>0.37481719279471998</c:v>
                </c:pt>
                <c:pt idx="21017">
                  <c:v>0.37483502764401599</c:v>
                </c:pt>
                <c:pt idx="21018">
                  <c:v>0.37485286249331101</c:v>
                </c:pt>
                <c:pt idx="21019">
                  <c:v>0.37487069734260697</c:v>
                </c:pt>
                <c:pt idx="21020">
                  <c:v>0.37488853219190299</c:v>
                </c:pt>
                <c:pt idx="21021">
                  <c:v>0.37490636704119801</c:v>
                </c:pt>
                <c:pt idx="21022">
                  <c:v>0.37492420189049402</c:v>
                </c:pt>
                <c:pt idx="21023">
                  <c:v>0.37494203673978899</c:v>
                </c:pt>
                <c:pt idx="21024">
                  <c:v>0.374959871589085</c:v>
                </c:pt>
                <c:pt idx="21025">
                  <c:v>0.37497770643838002</c:v>
                </c:pt>
                <c:pt idx="21026">
                  <c:v>0.37499554128767598</c:v>
                </c:pt>
                <c:pt idx="21027">
                  <c:v>0.375013376136971</c:v>
                </c:pt>
                <c:pt idx="21028">
                  <c:v>0.37503121098626702</c:v>
                </c:pt>
                <c:pt idx="21029">
                  <c:v>0.37504904583556198</c:v>
                </c:pt>
                <c:pt idx="21030">
                  <c:v>0.375066880684858</c:v>
                </c:pt>
                <c:pt idx="21031">
                  <c:v>0.37508471553415301</c:v>
                </c:pt>
                <c:pt idx="21032">
                  <c:v>0.37510255038344897</c:v>
                </c:pt>
                <c:pt idx="21033">
                  <c:v>0.37512038523274399</c:v>
                </c:pt>
                <c:pt idx="21034">
                  <c:v>0.37513822008204001</c:v>
                </c:pt>
                <c:pt idx="21035">
                  <c:v>0.37515605493133503</c:v>
                </c:pt>
                <c:pt idx="21036">
                  <c:v>0.37517388978063099</c:v>
                </c:pt>
                <c:pt idx="21037">
                  <c:v>0.375191724629926</c:v>
                </c:pt>
                <c:pt idx="21038">
                  <c:v>0.37520955947922202</c:v>
                </c:pt>
                <c:pt idx="21039">
                  <c:v>0.37522739432851698</c:v>
                </c:pt>
                <c:pt idx="21040">
                  <c:v>0.375245229177813</c:v>
                </c:pt>
                <c:pt idx="21041">
                  <c:v>0.37526306402710802</c:v>
                </c:pt>
                <c:pt idx="21042">
                  <c:v>0.37528089887640398</c:v>
                </c:pt>
                <c:pt idx="21043">
                  <c:v>0.3752987337257</c:v>
                </c:pt>
                <c:pt idx="21044">
                  <c:v>0.37531656857499501</c:v>
                </c:pt>
                <c:pt idx="21045">
                  <c:v>0.37533440342429097</c:v>
                </c:pt>
                <c:pt idx="21046">
                  <c:v>0.37535223827358599</c:v>
                </c:pt>
                <c:pt idx="21047">
                  <c:v>0.37537007312288201</c:v>
                </c:pt>
                <c:pt idx="21048">
                  <c:v>0.37538790797217703</c:v>
                </c:pt>
                <c:pt idx="21049">
                  <c:v>0.37540574282147299</c:v>
                </c:pt>
                <c:pt idx="21050">
                  <c:v>0.37542357767076801</c:v>
                </c:pt>
                <c:pt idx="21051">
                  <c:v>0.37544141252006402</c:v>
                </c:pt>
                <c:pt idx="21052">
                  <c:v>0.37545924736935898</c:v>
                </c:pt>
                <c:pt idx="21053">
                  <c:v>0.375477082218655</c:v>
                </c:pt>
                <c:pt idx="21054">
                  <c:v>0.37549491706795002</c:v>
                </c:pt>
                <c:pt idx="21055">
                  <c:v>0.37551275191724598</c:v>
                </c:pt>
                <c:pt idx="21056">
                  <c:v>0.375530586766541</c:v>
                </c:pt>
                <c:pt idx="21057">
                  <c:v>0.37554842161583701</c:v>
                </c:pt>
                <c:pt idx="21058">
                  <c:v>0.37556625646513198</c:v>
                </c:pt>
                <c:pt idx="21059">
                  <c:v>0.37558409131442799</c:v>
                </c:pt>
                <c:pt idx="21060">
                  <c:v>0.37560192616372301</c:v>
                </c:pt>
                <c:pt idx="21061">
                  <c:v>0.37561976101301903</c:v>
                </c:pt>
                <c:pt idx="21062">
                  <c:v>0.37563759586231499</c:v>
                </c:pt>
                <c:pt idx="21063">
                  <c:v>0.37565543071161001</c:v>
                </c:pt>
                <c:pt idx="21064">
                  <c:v>0.37567326556090602</c:v>
                </c:pt>
                <c:pt idx="21065">
                  <c:v>0.37569110041020098</c:v>
                </c:pt>
                <c:pt idx="21066">
                  <c:v>0.375708935259497</c:v>
                </c:pt>
                <c:pt idx="21067">
                  <c:v>0.37572677010879202</c:v>
                </c:pt>
                <c:pt idx="21068">
                  <c:v>0.37574460495808798</c:v>
                </c:pt>
                <c:pt idx="21069">
                  <c:v>0.375762439807383</c:v>
                </c:pt>
                <c:pt idx="21070">
                  <c:v>0.37578027465667901</c:v>
                </c:pt>
                <c:pt idx="21071">
                  <c:v>0.37579810950597398</c:v>
                </c:pt>
                <c:pt idx="21072">
                  <c:v>0.37581594435526999</c:v>
                </c:pt>
                <c:pt idx="21073">
                  <c:v>0.37583377920456501</c:v>
                </c:pt>
                <c:pt idx="21074">
                  <c:v>0.37585161405386103</c:v>
                </c:pt>
                <c:pt idx="21075">
                  <c:v>0.37586944890315599</c:v>
                </c:pt>
                <c:pt idx="21076">
                  <c:v>0.37588728375245201</c:v>
                </c:pt>
                <c:pt idx="21077">
                  <c:v>0.37590511860174702</c:v>
                </c:pt>
                <c:pt idx="21078">
                  <c:v>0.37592295345104298</c:v>
                </c:pt>
                <c:pt idx="21079">
                  <c:v>0.375940788300338</c:v>
                </c:pt>
                <c:pt idx="21080">
                  <c:v>0.37595862314963402</c:v>
                </c:pt>
                <c:pt idx="21081">
                  <c:v>0.37597645799892898</c:v>
                </c:pt>
                <c:pt idx="21082">
                  <c:v>0.375994292848225</c:v>
                </c:pt>
                <c:pt idx="21083">
                  <c:v>0.37601212769752002</c:v>
                </c:pt>
                <c:pt idx="21084">
                  <c:v>0.37602996254681598</c:v>
                </c:pt>
                <c:pt idx="21085">
                  <c:v>0.37604779739611199</c:v>
                </c:pt>
                <c:pt idx="21086">
                  <c:v>0.37606563224540701</c:v>
                </c:pt>
                <c:pt idx="21087">
                  <c:v>0.37608346709470297</c:v>
                </c:pt>
                <c:pt idx="21088">
                  <c:v>0.37610130194399799</c:v>
                </c:pt>
                <c:pt idx="21089">
                  <c:v>0.37611913679329401</c:v>
                </c:pt>
                <c:pt idx="21090">
                  <c:v>0.37613697164258902</c:v>
                </c:pt>
                <c:pt idx="21091">
                  <c:v>0.37615480649188499</c:v>
                </c:pt>
                <c:pt idx="21092">
                  <c:v>0.37617264134118</c:v>
                </c:pt>
                <c:pt idx="21093">
                  <c:v>0.37619047619047602</c:v>
                </c:pt>
                <c:pt idx="21094">
                  <c:v>0.37620831103977098</c:v>
                </c:pt>
                <c:pt idx="21095">
                  <c:v>0.376226145889067</c:v>
                </c:pt>
                <c:pt idx="21096">
                  <c:v>0.37624398073836202</c:v>
                </c:pt>
                <c:pt idx="21097">
                  <c:v>0.37626181558765798</c:v>
                </c:pt>
                <c:pt idx="21098">
                  <c:v>0.37627965043695299</c:v>
                </c:pt>
                <c:pt idx="21099">
                  <c:v>0.37629748528624901</c:v>
                </c:pt>
                <c:pt idx="21100">
                  <c:v>0.37631532013554397</c:v>
                </c:pt>
                <c:pt idx="21101">
                  <c:v>0.37633315498483999</c:v>
                </c:pt>
                <c:pt idx="21102">
                  <c:v>0.37635098983413501</c:v>
                </c:pt>
                <c:pt idx="21103">
                  <c:v>0.37636882468343102</c:v>
                </c:pt>
                <c:pt idx="21104">
                  <c:v>0.37638665953272599</c:v>
                </c:pt>
                <c:pt idx="21105">
                  <c:v>0.376404494382022</c:v>
                </c:pt>
                <c:pt idx="21106">
                  <c:v>0.37642232923131802</c:v>
                </c:pt>
                <c:pt idx="21107">
                  <c:v>0.37644016408061298</c:v>
                </c:pt>
                <c:pt idx="21108">
                  <c:v>0.376457998929909</c:v>
                </c:pt>
                <c:pt idx="21109">
                  <c:v>0.37647583377920402</c:v>
                </c:pt>
                <c:pt idx="21110">
                  <c:v>0.37649366862849998</c:v>
                </c:pt>
                <c:pt idx="21111">
                  <c:v>0.376511503477795</c:v>
                </c:pt>
                <c:pt idx="21112">
                  <c:v>0.37652933832709101</c:v>
                </c:pt>
                <c:pt idx="21113">
                  <c:v>0.37654717317638597</c:v>
                </c:pt>
                <c:pt idx="21114">
                  <c:v>0.37656500802568199</c:v>
                </c:pt>
                <c:pt idx="21115">
                  <c:v>0.37658284287497701</c:v>
                </c:pt>
                <c:pt idx="21116">
                  <c:v>0.37660067772427303</c:v>
                </c:pt>
                <c:pt idx="21117">
                  <c:v>0.37661851257356799</c:v>
                </c:pt>
                <c:pt idx="21118">
                  <c:v>0.376636347422864</c:v>
                </c:pt>
                <c:pt idx="21119">
                  <c:v>0.37665418227215902</c:v>
                </c:pt>
                <c:pt idx="21120">
                  <c:v>0.37667201712145498</c:v>
                </c:pt>
                <c:pt idx="21121">
                  <c:v>0.37668985197075</c:v>
                </c:pt>
                <c:pt idx="21122">
                  <c:v>0.37670768682004602</c:v>
                </c:pt>
                <c:pt idx="21123">
                  <c:v>0.37672552166934098</c:v>
                </c:pt>
                <c:pt idx="21124">
                  <c:v>0.376743356518637</c:v>
                </c:pt>
                <c:pt idx="21125">
                  <c:v>0.37676119136793201</c:v>
                </c:pt>
                <c:pt idx="21126">
                  <c:v>0.37677902621722797</c:v>
                </c:pt>
                <c:pt idx="21127">
                  <c:v>0.37679686106652399</c:v>
                </c:pt>
                <c:pt idx="21128">
                  <c:v>0.37681469591581901</c:v>
                </c:pt>
                <c:pt idx="21129">
                  <c:v>0.37683253076511503</c:v>
                </c:pt>
                <c:pt idx="21130">
                  <c:v>0.37685036561440999</c:v>
                </c:pt>
                <c:pt idx="21131">
                  <c:v>0.376868200463706</c:v>
                </c:pt>
                <c:pt idx="21132">
                  <c:v>0.37688603531300102</c:v>
                </c:pt>
                <c:pt idx="21133">
                  <c:v>0.37690387016229698</c:v>
                </c:pt>
                <c:pt idx="21134">
                  <c:v>0.376921705011592</c:v>
                </c:pt>
                <c:pt idx="21135">
                  <c:v>0.37693953986088802</c:v>
                </c:pt>
                <c:pt idx="21136">
                  <c:v>0.37695737471018298</c:v>
                </c:pt>
                <c:pt idx="21137">
                  <c:v>0.376975209559479</c:v>
                </c:pt>
                <c:pt idx="21138">
                  <c:v>0.37699304440877401</c:v>
                </c:pt>
                <c:pt idx="21139">
                  <c:v>0.37701087925806998</c:v>
                </c:pt>
                <c:pt idx="21140">
                  <c:v>0.37702871410736499</c:v>
                </c:pt>
                <c:pt idx="21141">
                  <c:v>0.37704654895666101</c:v>
                </c:pt>
                <c:pt idx="21142">
                  <c:v>0.37706438380595603</c:v>
                </c:pt>
                <c:pt idx="21143">
                  <c:v>0.37708221865525199</c:v>
                </c:pt>
                <c:pt idx="21144">
                  <c:v>0.37710005350454701</c:v>
                </c:pt>
                <c:pt idx="21145">
                  <c:v>0.37711788835384302</c:v>
                </c:pt>
                <c:pt idx="21146">
                  <c:v>0.37713572320313798</c:v>
                </c:pt>
                <c:pt idx="21147">
                  <c:v>0.377153558052434</c:v>
                </c:pt>
                <c:pt idx="21148">
                  <c:v>0.37717139290172902</c:v>
                </c:pt>
                <c:pt idx="21149">
                  <c:v>0.37718922775102498</c:v>
                </c:pt>
                <c:pt idx="21150">
                  <c:v>0.377207062600321</c:v>
                </c:pt>
                <c:pt idx="21151">
                  <c:v>0.37722489744961601</c:v>
                </c:pt>
                <c:pt idx="21152">
                  <c:v>0.37724273229891198</c:v>
                </c:pt>
                <c:pt idx="21153">
                  <c:v>0.37726056714820699</c:v>
                </c:pt>
                <c:pt idx="21154">
                  <c:v>0.37727840199750301</c:v>
                </c:pt>
                <c:pt idx="21155">
                  <c:v>0.37729623684679803</c:v>
                </c:pt>
                <c:pt idx="21156">
                  <c:v>0.37731407169609399</c:v>
                </c:pt>
                <c:pt idx="21157">
                  <c:v>0.37733190654538901</c:v>
                </c:pt>
                <c:pt idx="21158">
                  <c:v>0.37734974139468502</c:v>
                </c:pt>
                <c:pt idx="21159">
                  <c:v>0.37736757624397999</c:v>
                </c:pt>
                <c:pt idx="21160">
                  <c:v>0.377385411093276</c:v>
                </c:pt>
                <c:pt idx="21161">
                  <c:v>0.37740324594257102</c:v>
                </c:pt>
                <c:pt idx="21162">
                  <c:v>0.37742108079186698</c:v>
                </c:pt>
                <c:pt idx="21163">
                  <c:v>0.377438915641162</c:v>
                </c:pt>
                <c:pt idx="21164">
                  <c:v>0.37745675049045802</c:v>
                </c:pt>
                <c:pt idx="21165">
                  <c:v>0.37747458533975298</c:v>
                </c:pt>
                <c:pt idx="21166">
                  <c:v>0.37749242018904899</c:v>
                </c:pt>
                <c:pt idx="21167">
                  <c:v>0.37751025503834401</c:v>
                </c:pt>
                <c:pt idx="21168">
                  <c:v>0.37752808988763997</c:v>
                </c:pt>
                <c:pt idx="21169">
                  <c:v>0.37754592473693599</c:v>
                </c:pt>
                <c:pt idx="21170">
                  <c:v>0.37756375958623101</c:v>
                </c:pt>
                <c:pt idx="21171">
                  <c:v>0.37758159443552702</c:v>
                </c:pt>
                <c:pt idx="21172">
                  <c:v>0.37759942928482199</c:v>
                </c:pt>
                <c:pt idx="21173">
                  <c:v>0.377617264134118</c:v>
                </c:pt>
                <c:pt idx="21174">
                  <c:v>0.37763509898341302</c:v>
                </c:pt>
                <c:pt idx="21175">
                  <c:v>0.37765293383270898</c:v>
                </c:pt>
                <c:pt idx="21176">
                  <c:v>0.377670768682004</c:v>
                </c:pt>
                <c:pt idx="21177">
                  <c:v>0.37768860353130002</c:v>
                </c:pt>
                <c:pt idx="21178">
                  <c:v>0.37770643838059498</c:v>
                </c:pt>
                <c:pt idx="21179">
                  <c:v>0.37772427322989099</c:v>
                </c:pt>
                <c:pt idx="21180">
                  <c:v>0.37774210807918601</c:v>
                </c:pt>
                <c:pt idx="21181">
                  <c:v>0.37775994292848197</c:v>
                </c:pt>
                <c:pt idx="21182">
                  <c:v>0.37777777777777699</c:v>
                </c:pt>
                <c:pt idx="21183">
                  <c:v>0.37779561262707301</c:v>
                </c:pt>
                <c:pt idx="21184">
                  <c:v>0.37781344747636803</c:v>
                </c:pt>
                <c:pt idx="21185">
                  <c:v>0.37783128232566399</c:v>
                </c:pt>
                <c:pt idx="21186">
                  <c:v>0.377849117174959</c:v>
                </c:pt>
                <c:pt idx="21187">
                  <c:v>0.37786695202425502</c:v>
                </c:pt>
                <c:pt idx="21188">
                  <c:v>0.37788478687354998</c:v>
                </c:pt>
                <c:pt idx="21189">
                  <c:v>0.377902621722846</c:v>
                </c:pt>
                <c:pt idx="21190">
                  <c:v>0.37792045657214102</c:v>
                </c:pt>
                <c:pt idx="21191">
                  <c:v>0.37793829142143698</c:v>
                </c:pt>
                <c:pt idx="21192">
                  <c:v>0.37795612627073299</c:v>
                </c:pt>
                <c:pt idx="21193">
                  <c:v>0.37797396112002801</c:v>
                </c:pt>
                <c:pt idx="21194">
                  <c:v>0.37799179596932397</c:v>
                </c:pt>
                <c:pt idx="21195">
                  <c:v>0.37800963081861899</c:v>
                </c:pt>
                <c:pt idx="21196">
                  <c:v>0.37802746566791501</c:v>
                </c:pt>
                <c:pt idx="21197">
                  <c:v>0.37804530051721003</c:v>
                </c:pt>
                <c:pt idx="21198">
                  <c:v>0.37806313536650599</c:v>
                </c:pt>
                <c:pt idx="21199">
                  <c:v>0.378080970215801</c:v>
                </c:pt>
                <c:pt idx="21200">
                  <c:v>0.37809880506509702</c:v>
                </c:pt>
                <c:pt idx="21201">
                  <c:v>0.37811663991439198</c:v>
                </c:pt>
                <c:pt idx="21202">
                  <c:v>0.378134474763688</c:v>
                </c:pt>
                <c:pt idx="21203">
                  <c:v>0.37815230961298302</c:v>
                </c:pt>
                <c:pt idx="21204">
                  <c:v>0.37817014446227898</c:v>
                </c:pt>
                <c:pt idx="21205">
                  <c:v>0.378187979311574</c:v>
                </c:pt>
                <c:pt idx="21206">
                  <c:v>0.37820581416087001</c:v>
                </c:pt>
                <c:pt idx="21207">
                  <c:v>0.37822364901016498</c:v>
                </c:pt>
                <c:pt idx="21208">
                  <c:v>0.37824148385946099</c:v>
                </c:pt>
                <c:pt idx="21209">
                  <c:v>0.37825931870875601</c:v>
                </c:pt>
                <c:pt idx="21210">
                  <c:v>0.37827715355805203</c:v>
                </c:pt>
                <c:pt idx="21211">
                  <c:v>0.37829498840734699</c:v>
                </c:pt>
                <c:pt idx="21212">
                  <c:v>0.378312823256643</c:v>
                </c:pt>
                <c:pt idx="21213">
                  <c:v>0.37833065810593902</c:v>
                </c:pt>
                <c:pt idx="21214">
                  <c:v>0.37834849295523398</c:v>
                </c:pt>
                <c:pt idx="21215">
                  <c:v>0.37836632780453</c:v>
                </c:pt>
                <c:pt idx="21216">
                  <c:v>0.37838416265382502</c:v>
                </c:pt>
                <c:pt idx="21217">
                  <c:v>0.37840199750312098</c:v>
                </c:pt>
                <c:pt idx="21218">
                  <c:v>0.378419832352416</c:v>
                </c:pt>
                <c:pt idx="21219">
                  <c:v>0.37843766720171201</c:v>
                </c:pt>
                <c:pt idx="21220">
                  <c:v>0.37845550205100698</c:v>
                </c:pt>
                <c:pt idx="21221">
                  <c:v>0.37847333690030299</c:v>
                </c:pt>
                <c:pt idx="21222">
                  <c:v>0.37849117174959801</c:v>
                </c:pt>
                <c:pt idx="21223">
                  <c:v>0.37850900659889403</c:v>
                </c:pt>
                <c:pt idx="21224">
                  <c:v>0.37852684144818899</c:v>
                </c:pt>
                <c:pt idx="21225">
                  <c:v>0.37854467629748501</c:v>
                </c:pt>
                <c:pt idx="21226">
                  <c:v>0.37856251114678002</c:v>
                </c:pt>
                <c:pt idx="21227">
                  <c:v>0.37858034599607598</c:v>
                </c:pt>
                <c:pt idx="21228">
                  <c:v>0.378598180845371</c:v>
                </c:pt>
                <c:pt idx="21229">
                  <c:v>0.37861601569466702</c:v>
                </c:pt>
                <c:pt idx="21230">
                  <c:v>0.37863385054396198</c:v>
                </c:pt>
                <c:pt idx="21231">
                  <c:v>0.378651685393258</c:v>
                </c:pt>
                <c:pt idx="21232">
                  <c:v>0.37866952024255301</c:v>
                </c:pt>
                <c:pt idx="21233">
                  <c:v>0.37868735509184898</c:v>
                </c:pt>
                <c:pt idx="21234">
                  <c:v>0.37870518994114499</c:v>
                </c:pt>
                <c:pt idx="21235">
                  <c:v>0.37872302479044001</c:v>
                </c:pt>
                <c:pt idx="21236">
                  <c:v>0.37874085963973603</c:v>
                </c:pt>
                <c:pt idx="21237">
                  <c:v>0.37875869448903099</c:v>
                </c:pt>
                <c:pt idx="21238">
                  <c:v>0.37877652933832701</c:v>
                </c:pt>
                <c:pt idx="21239">
                  <c:v>0.37879436418762202</c:v>
                </c:pt>
                <c:pt idx="21240">
                  <c:v>0.37881219903691798</c:v>
                </c:pt>
                <c:pt idx="21241">
                  <c:v>0.378830033886213</c:v>
                </c:pt>
                <c:pt idx="21242">
                  <c:v>0.37884786873550902</c:v>
                </c:pt>
                <c:pt idx="21243">
                  <c:v>0.37886570358480398</c:v>
                </c:pt>
                <c:pt idx="21244">
                  <c:v>0.3788835384341</c:v>
                </c:pt>
                <c:pt idx="21245">
                  <c:v>0.37890137328339502</c:v>
                </c:pt>
                <c:pt idx="21246">
                  <c:v>0.37891920813269098</c:v>
                </c:pt>
                <c:pt idx="21247">
                  <c:v>0.37893704298198599</c:v>
                </c:pt>
                <c:pt idx="21248">
                  <c:v>0.37895487783128201</c:v>
                </c:pt>
                <c:pt idx="21249">
                  <c:v>0.37897271268057697</c:v>
                </c:pt>
                <c:pt idx="21250">
                  <c:v>0.37899054752987299</c:v>
                </c:pt>
                <c:pt idx="21251">
                  <c:v>0.37900838237916801</c:v>
                </c:pt>
                <c:pt idx="21252">
                  <c:v>0.37902621722846402</c:v>
                </c:pt>
                <c:pt idx="21253">
                  <c:v>0.37904405207775899</c:v>
                </c:pt>
                <c:pt idx="21254">
                  <c:v>0.379061886927055</c:v>
                </c:pt>
                <c:pt idx="21255">
                  <c:v>0.37907972177635002</c:v>
                </c:pt>
                <c:pt idx="21256">
                  <c:v>0.37909755662564598</c:v>
                </c:pt>
                <c:pt idx="21257">
                  <c:v>0.379115391474942</c:v>
                </c:pt>
                <c:pt idx="21258">
                  <c:v>0.37913322632423702</c:v>
                </c:pt>
                <c:pt idx="21259">
                  <c:v>0.37915106117353298</c:v>
                </c:pt>
                <c:pt idx="21260">
                  <c:v>0.37916889602282799</c:v>
                </c:pt>
                <c:pt idx="21261">
                  <c:v>0.37918673087212401</c:v>
                </c:pt>
                <c:pt idx="21262">
                  <c:v>0.37920456572141897</c:v>
                </c:pt>
                <c:pt idx="21263">
                  <c:v>0.37922240057071499</c:v>
                </c:pt>
                <c:pt idx="21264">
                  <c:v>0.37924023542001001</c:v>
                </c:pt>
                <c:pt idx="21265">
                  <c:v>0.37925807026930602</c:v>
                </c:pt>
                <c:pt idx="21266">
                  <c:v>0.37927590511860099</c:v>
                </c:pt>
                <c:pt idx="21267">
                  <c:v>0.379293739967897</c:v>
                </c:pt>
                <c:pt idx="21268">
                  <c:v>0.37931157481719202</c:v>
                </c:pt>
                <c:pt idx="21269">
                  <c:v>0.37932940966648798</c:v>
                </c:pt>
                <c:pt idx="21270">
                  <c:v>0.379347244515783</c:v>
                </c:pt>
                <c:pt idx="21271">
                  <c:v>0.37936507936507902</c:v>
                </c:pt>
                <c:pt idx="21272">
                  <c:v>0.37938291421437398</c:v>
                </c:pt>
                <c:pt idx="21273">
                  <c:v>0.37940074906367</c:v>
                </c:pt>
                <c:pt idx="21274">
                  <c:v>0.37941858391296501</c:v>
                </c:pt>
                <c:pt idx="21275">
                  <c:v>0.37943641876226097</c:v>
                </c:pt>
                <c:pt idx="21276">
                  <c:v>0.37945425361155699</c:v>
                </c:pt>
                <c:pt idx="21277">
                  <c:v>0.37947208846085201</c:v>
                </c:pt>
                <c:pt idx="21278">
                  <c:v>0.37948992331014803</c:v>
                </c:pt>
                <c:pt idx="21279">
                  <c:v>0.37950775815944299</c:v>
                </c:pt>
                <c:pt idx="21280">
                  <c:v>0.379525593008739</c:v>
                </c:pt>
                <c:pt idx="21281">
                  <c:v>0.37954342785803402</c:v>
                </c:pt>
                <c:pt idx="21282">
                  <c:v>0.37956126270732998</c:v>
                </c:pt>
                <c:pt idx="21283">
                  <c:v>0.379579097556625</c:v>
                </c:pt>
                <c:pt idx="21284">
                  <c:v>0.37959693240592102</c:v>
                </c:pt>
                <c:pt idx="21285">
                  <c:v>0.37961476725521598</c:v>
                </c:pt>
                <c:pt idx="21286">
                  <c:v>0.379632602104512</c:v>
                </c:pt>
                <c:pt idx="21287">
                  <c:v>0.37965043695380701</c:v>
                </c:pt>
                <c:pt idx="21288">
                  <c:v>0.37966827180310297</c:v>
                </c:pt>
                <c:pt idx="21289">
                  <c:v>0.37968610665239799</c:v>
                </c:pt>
                <c:pt idx="21290">
                  <c:v>0.37970394150169401</c:v>
                </c:pt>
                <c:pt idx="21291">
                  <c:v>0.37972177635098903</c:v>
                </c:pt>
                <c:pt idx="21292">
                  <c:v>0.37973961120028499</c:v>
                </c:pt>
                <c:pt idx="21293">
                  <c:v>0.37975744604958001</c:v>
                </c:pt>
                <c:pt idx="21294">
                  <c:v>0.37977528089887602</c:v>
                </c:pt>
                <c:pt idx="21295">
                  <c:v>0.37979311574817098</c:v>
                </c:pt>
                <c:pt idx="21296">
                  <c:v>0.379810950597467</c:v>
                </c:pt>
                <c:pt idx="21297">
                  <c:v>0.37982878544676202</c:v>
                </c:pt>
                <c:pt idx="21298">
                  <c:v>0.37984662029605798</c:v>
                </c:pt>
                <c:pt idx="21299">
                  <c:v>0.379864455145354</c:v>
                </c:pt>
                <c:pt idx="21300">
                  <c:v>0.37988228999464901</c:v>
                </c:pt>
                <c:pt idx="21301">
                  <c:v>0.37990012484394498</c:v>
                </c:pt>
                <c:pt idx="21302">
                  <c:v>0.37991795969323999</c:v>
                </c:pt>
                <c:pt idx="21303">
                  <c:v>0.37993579454253601</c:v>
                </c:pt>
                <c:pt idx="21304">
                  <c:v>0.37995362939183103</c:v>
                </c:pt>
                <c:pt idx="21305">
                  <c:v>0.37997146424112699</c:v>
                </c:pt>
                <c:pt idx="21306">
                  <c:v>0.37998929909042201</c:v>
                </c:pt>
                <c:pt idx="21307">
                  <c:v>0.38000713393971802</c:v>
                </c:pt>
                <c:pt idx="21308">
                  <c:v>0.38002496878901298</c:v>
                </c:pt>
                <c:pt idx="21309">
                  <c:v>0.380042803638309</c:v>
                </c:pt>
                <c:pt idx="21310">
                  <c:v>0.38006063848760402</c:v>
                </c:pt>
                <c:pt idx="21311">
                  <c:v>0.38007847333689998</c:v>
                </c:pt>
                <c:pt idx="21312">
                  <c:v>0.380096308186195</c:v>
                </c:pt>
                <c:pt idx="21313">
                  <c:v>0.38011414303549101</c:v>
                </c:pt>
                <c:pt idx="21314">
                  <c:v>0.38013197788478598</c:v>
                </c:pt>
                <c:pt idx="21315">
                  <c:v>0.38014981273408199</c:v>
                </c:pt>
                <c:pt idx="21316">
                  <c:v>0.38016764758337701</c:v>
                </c:pt>
                <c:pt idx="21317">
                  <c:v>0.38018548243267303</c:v>
                </c:pt>
                <c:pt idx="21318">
                  <c:v>0.38020331728196899</c:v>
                </c:pt>
                <c:pt idx="21319">
                  <c:v>0.38022115213126401</c:v>
                </c:pt>
                <c:pt idx="21320">
                  <c:v>0.38023898698056002</c:v>
                </c:pt>
                <c:pt idx="21321">
                  <c:v>0.38025682182985499</c:v>
                </c:pt>
                <c:pt idx="21322">
                  <c:v>0.380274656679151</c:v>
                </c:pt>
                <c:pt idx="21323">
                  <c:v>0.38029249152844602</c:v>
                </c:pt>
                <c:pt idx="21324">
                  <c:v>0.38031032637774198</c:v>
                </c:pt>
                <c:pt idx="21325">
                  <c:v>0.380328161227037</c:v>
                </c:pt>
                <c:pt idx="21326">
                  <c:v>0.38034599607633301</c:v>
                </c:pt>
                <c:pt idx="21327">
                  <c:v>0.38036383092562798</c:v>
                </c:pt>
                <c:pt idx="21328">
                  <c:v>0.38038166577492399</c:v>
                </c:pt>
                <c:pt idx="21329">
                  <c:v>0.38039950062421901</c:v>
                </c:pt>
                <c:pt idx="21330">
                  <c:v>0.38041733547351497</c:v>
                </c:pt>
                <c:pt idx="21331">
                  <c:v>0.38043517032280999</c:v>
                </c:pt>
                <c:pt idx="21332">
                  <c:v>0.38045300517210601</c:v>
                </c:pt>
                <c:pt idx="21333">
                  <c:v>0.38047084002140102</c:v>
                </c:pt>
                <c:pt idx="21334">
                  <c:v>0.38048867487069699</c:v>
                </c:pt>
                <c:pt idx="21335">
                  <c:v>0.380506509719992</c:v>
                </c:pt>
                <c:pt idx="21336">
                  <c:v>0.38052434456928802</c:v>
                </c:pt>
                <c:pt idx="21337">
                  <c:v>0.38054217941858298</c:v>
                </c:pt>
                <c:pt idx="21338">
                  <c:v>0.380560014267879</c:v>
                </c:pt>
                <c:pt idx="21339">
                  <c:v>0.38057784911717402</c:v>
                </c:pt>
                <c:pt idx="21340">
                  <c:v>0.38059568396646998</c:v>
                </c:pt>
                <c:pt idx="21341">
                  <c:v>0.38061351881576599</c:v>
                </c:pt>
                <c:pt idx="21342">
                  <c:v>0.38063135366506101</c:v>
                </c:pt>
                <c:pt idx="21343">
                  <c:v>0.38064918851435697</c:v>
                </c:pt>
                <c:pt idx="21344">
                  <c:v>0.38066702336365199</c:v>
                </c:pt>
                <c:pt idx="21345">
                  <c:v>0.38068485821294801</c:v>
                </c:pt>
                <c:pt idx="21346">
                  <c:v>0.38070269306224302</c:v>
                </c:pt>
                <c:pt idx="21347">
                  <c:v>0.38072052791153899</c:v>
                </c:pt>
                <c:pt idx="21348">
                  <c:v>0.380738362760834</c:v>
                </c:pt>
                <c:pt idx="21349">
                  <c:v>0.38075619761013002</c:v>
                </c:pt>
                <c:pt idx="21350">
                  <c:v>0.38077403245942498</c:v>
                </c:pt>
                <c:pt idx="21351">
                  <c:v>0.380791867308721</c:v>
                </c:pt>
                <c:pt idx="21352">
                  <c:v>0.38080970215801602</c:v>
                </c:pt>
                <c:pt idx="21353">
                  <c:v>0.38082753700731198</c:v>
                </c:pt>
                <c:pt idx="21354">
                  <c:v>0.380845371856607</c:v>
                </c:pt>
                <c:pt idx="21355">
                  <c:v>0.38086320670590301</c:v>
                </c:pt>
                <c:pt idx="21356">
                  <c:v>0.38088104155519797</c:v>
                </c:pt>
                <c:pt idx="21357">
                  <c:v>0.38089887640449399</c:v>
                </c:pt>
                <c:pt idx="21358">
                  <c:v>0.38091671125378901</c:v>
                </c:pt>
                <c:pt idx="21359">
                  <c:v>0.38093454610308503</c:v>
                </c:pt>
                <c:pt idx="21360">
                  <c:v>0.38095238095237999</c:v>
                </c:pt>
                <c:pt idx="21361">
                  <c:v>0.380970215801676</c:v>
                </c:pt>
                <c:pt idx="21362">
                  <c:v>0.38098805065097202</c:v>
                </c:pt>
                <c:pt idx="21363">
                  <c:v>0.38100588550026698</c:v>
                </c:pt>
                <c:pt idx="21364">
                  <c:v>0.381023720349563</c:v>
                </c:pt>
                <c:pt idx="21365">
                  <c:v>0.38104155519885802</c:v>
                </c:pt>
                <c:pt idx="21366">
                  <c:v>0.38105939004815398</c:v>
                </c:pt>
                <c:pt idx="21367">
                  <c:v>0.381077224897449</c:v>
                </c:pt>
                <c:pt idx="21368">
                  <c:v>0.38109505974674501</c:v>
                </c:pt>
                <c:pt idx="21369">
                  <c:v>0.38111289459603997</c:v>
                </c:pt>
                <c:pt idx="21370">
                  <c:v>0.38113072944533599</c:v>
                </c:pt>
                <c:pt idx="21371">
                  <c:v>0.38114856429463101</c:v>
                </c:pt>
                <c:pt idx="21372">
                  <c:v>0.38116639914392703</c:v>
                </c:pt>
                <c:pt idx="21373">
                  <c:v>0.38118423399322199</c:v>
                </c:pt>
                <c:pt idx="21374">
                  <c:v>0.381202068842518</c:v>
                </c:pt>
                <c:pt idx="21375">
                  <c:v>0.38121990369181302</c:v>
                </c:pt>
                <c:pt idx="21376">
                  <c:v>0.38123773854110898</c:v>
                </c:pt>
                <c:pt idx="21377">
                  <c:v>0.381255573390404</c:v>
                </c:pt>
                <c:pt idx="21378">
                  <c:v>0.38127340823970002</c:v>
                </c:pt>
                <c:pt idx="21379">
                  <c:v>0.38129124308899498</c:v>
                </c:pt>
                <c:pt idx="21380">
                  <c:v>0.381309077938291</c:v>
                </c:pt>
                <c:pt idx="21381">
                  <c:v>0.38132691278758601</c:v>
                </c:pt>
                <c:pt idx="21382">
                  <c:v>0.38134474763688198</c:v>
                </c:pt>
                <c:pt idx="21383">
                  <c:v>0.38136258248617799</c:v>
                </c:pt>
                <c:pt idx="21384">
                  <c:v>0.38138041733547301</c:v>
                </c:pt>
                <c:pt idx="21385">
                  <c:v>0.38139825218476903</c:v>
                </c:pt>
                <c:pt idx="21386">
                  <c:v>0.38141608703406399</c:v>
                </c:pt>
                <c:pt idx="21387">
                  <c:v>0.38143392188336001</c:v>
                </c:pt>
                <c:pt idx="21388">
                  <c:v>0.38145175673265502</c:v>
                </c:pt>
                <c:pt idx="21389">
                  <c:v>0.38146959158195098</c:v>
                </c:pt>
                <c:pt idx="21390">
                  <c:v>0.381487426431246</c:v>
                </c:pt>
                <c:pt idx="21391">
                  <c:v>0.38150526128054202</c:v>
                </c:pt>
                <c:pt idx="21392">
                  <c:v>0.38152309612983698</c:v>
                </c:pt>
                <c:pt idx="21393">
                  <c:v>0.381540930979133</c:v>
                </c:pt>
                <c:pt idx="21394">
                  <c:v>0.38155876582842801</c:v>
                </c:pt>
                <c:pt idx="21395">
                  <c:v>0.38157660067772398</c:v>
                </c:pt>
                <c:pt idx="21396">
                  <c:v>0.38159443552701899</c:v>
                </c:pt>
                <c:pt idx="21397">
                  <c:v>0.38161227037631501</c:v>
                </c:pt>
                <c:pt idx="21398">
                  <c:v>0.38163010522560997</c:v>
                </c:pt>
                <c:pt idx="21399">
                  <c:v>0.38164794007490599</c:v>
                </c:pt>
                <c:pt idx="21400">
                  <c:v>0.38166577492420101</c:v>
                </c:pt>
                <c:pt idx="21401">
                  <c:v>0.38168360977349702</c:v>
                </c:pt>
                <c:pt idx="21402">
                  <c:v>0.38170144462279199</c:v>
                </c:pt>
                <c:pt idx="21403">
                  <c:v>0.381719279472088</c:v>
                </c:pt>
                <c:pt idx="21404">
                  <c:v>0.38173711432138302</c:v>
                </c:pt>
                <c:pt idx="21405">
                  <c:v>0.38175494917067898</c:v>
                </c:pt>
                <c:pt idx="21406">
                  <c:v>0.381772784019975</c:v>
                </c:pt>
                <c:pt idx="21407">
                  <c:v>0.38179061886927002</c:v>
                </c:pt>
                <c:pt idx="21408">
                  <c:v>0.38180845371856598</c:v>
                </c:pt>
                <c:pt idx="21409">
                  <c:v>0.38182628856786099</c:v>
                </c:pt>
                <c:pt idx="21410">
                  <c:v>0.38184412341715701</c:v>
                </c:pt>
                <c:pt idx="21411">
                  <c:v>0.38186195826645197</c:v>
                </c:pt>
                <c:pt idx="21412">
                  <c:v>0.38187979311574799</c:v>
                </c:pt>
                <c:pt idx="21413">
                  <c:v>0.38189762796504301</c:v>
                </c:pt>
                <c:pt idx="21414">
                  <c:v>0.38191546281433902</c:v>
                </c:pt>
                <c:pt idx="21415">
                  <c:v>0.38193329766363399</c:v>
                </c:pt>
                <c:pt idx="21416">
                  <c:v>0.38195113251293</c:v>
                </c:pt>
                <c:pt idx="21417">
                  <c:v>0.38196896736222502</c:v>
                </c:pt>
                <c:pt idx="21418">
                  <c:v>0.38198680221152098</c:v>
                </c:pt>
                <c:pt idx="21419">
                  <c:v>0.382004637060816</c:v>
                </c:pt>
                <c:pt idx="21420">
                  <c:v>0.38202247191011202</c:v>
                </c:pt>
                <c:pt idx="21421">
                  <c:v>0.38204030675940698</c:v>
                </c:pt>
                <c:pt idx="21422">
                  <c:v>0.38205814160870299</c:v>
                </c:pt>
                <c:pt idx="21423">
                  <c:v>0.38207597645799801</c:v>
                </c:pt>
                <c:pt idx="21424">
                  <c:v>0.38209381130729397</c:v>
                </c:pt>
                <c:pt idx="21425">
                  <c:v>0.38211164615658999</c:v>
                </c:pt>
                <c:pt idx="21426">
                  <c:v>0.38212948100588501</c:v>
                </c:pt>
                <c:pt idx="21427">
                  <c:v>0.38214731585518102</c:v>
                </c:pt>
                <c:pt idx="21428">
                  <c:v>0.38216515070447599</c:v>
                </c:pt>
                <c:pt idx="21429">
                  <c:v>0.382182985553772</c:v>
                </c:pt>
                <c:pt idx="21430">
                  <c:v>0.38220082040306702</c:v>
                </c:pt>
                <c:pt idx="21431">
                  <c:v>0.38221865525236298</c:v>
                </c:pt>
                <c:pt idx="21432">
                  <c:v>0.382236490101658</c:v>
                </c:pt>
                <c:pt idx="21433">
                  <c:v>0.38225432495095402</c:v>
                </c:pt>
                <c:pt idx="21434">
                  <c:v>0.38227215980024898</c:v>
                </c:pt>
                <c:pt idx="21435">
                  <c:v>0.382289994649545</c:v>
                </c:pt>
                <c:pt idx="21436">
                  <c:v>0.38230782949884001</c:v>
                </c:pt>
                <c:pt idx="21437">
                  <c:v>0.38232566434813597</c:v>
                </c:pt>
                <c:pt idx="21438">
                  <c:v>0.38234349919743099</c:v>
                </c:pt>
                <c:pt idx="21439">
                  <c:v>0.38236133404672701</c:v>
                </c:pt>
                <c:pt idx="21440">
                  <c:v>0.38237916889602203</c:v>
                </c:pt>
                <c:pt idx="21441">
                  <c:v>0.38239700374531799</c:v>
                </c:pt>
                <c:pt idx="21442">
                  <c:v>0.382414838594613</c:v>
                </c:pt>
                <c:pt idx="21443">
                  <c:v>0.38243267344390902</c:v>
                </c:pt>
                <c:pt idx="21444">
                  <c:v>0.38245050829320398</c:v>
                </c:pt>
                <c:pt idx="21445">
                  <c:v>0.3824683431425</c:v>
                </c:pt>
                <c:pt idx="21446">
                  <c:v>0.38248617799179502</c:v>
                </c:pt>
                <c:pt idx="21447">
                  <c:v>0.38250401284109098</c:v>
                </c:pt>
                <c:pt idx="21448">
                  <c:v>0.382521847690387</c:v>
                </c:pt>
                <c:pt idx="21449">
                  <c:v>0.38253968253968201</c:v>
                </c:pt>
                <c:pt idx="21450">
                  <c:v>0.38255751738897797</c:v>
                </c:pt>
                <c:pt idx="21451">
                  <c:v>0.38257535223827299</c:v>
                </c:pt>
                <c:pt idx="21452">
                  <c:v>0.38259318708756901</c:v>
                </c:pt>
                <c:pt idx="21453">
                  <c:v>0.38261102193686403</c:v>
                </c:pt>
                <c:pt idx="21454">
                  <c:v>0.38262885678615999</c:v>
                </c:pt>
                <c:pt idx="21455">
                  <c:v>0.38264669163545501</c:v>
                </c:pt>
                <c:pt idx="21456">
                  <c:v>0.38266452648475102</c:v>
                </c:pt>
                <c:pt idx="21457">
                  <c:v>0.38268236133404598</c:v>
                </c:pt>
                <c:pt idx="21458">
                  <c:v>0.382700196183342</c:v>
                </c:pt>
                <c:pt idx="21459">
                  <c:v>0.38271803103263702</c:v>
                </c:pt>
                <c:pt idx="21460">
                  <c:v>0.38273586588193298</c:v>
                </c:pt>
                <c:pt idx="21461">
                  <c:v>0.382753700731228</c:v>
                </c:pt>
                <c:pt idx="21462">
                  <c:v>0.38277153558052401</c:v>
                </c:pt>
                <c:pt idx="21463">
                  <c:v>0.38278937042981898</c:v>
                </c:pt>
                <c:pt idx="21464">
                  <c:v>0.38280720527911499</c:v>
                </c:pt>
                <c:pt idx="21465">
                  <c:v>0.38282504012841001</c:v>
                </c:pt>
                <c:pt idx="21466">
                  <c:v>0.38284287497770603</c:v>
                </c:pt>
                <c:pt idx="21467">
                  <c:v>0.38286070982700199</c:v>
                </c:pt>
                <c:pt idx="21468">
                  <c:v>0.38287854467629701</c:v>
                </c:pt>
                <c:pt idx="21469">
                  <c:v>0.38289637952559302</c:v>
                </c:pt>
                <c:pt idx="21470">
                  <c:v>0.38291421437488798</c:v>
                </c:pt>
                <c:pt idx="21471">
                  <c:v>0.382932049224184</c:v>
                </c:pt>
                <c:pt idx="21472">
                  <c:v>0.38294988407347902</c:v>
                </c:pt>
                <c:pt idx="21473">
                  <c:v>0.38296771892277498</c:v>
                </c:pt>
                <c:pt idx="21474">
                  <c:v>0.38298555377207</c:v>
                </c:pt>
                <c:pt idx="21475">
                  <c:v>0.38300338862136601</c:v>
                </c:pt>
                <c:pt idx="21476">
                  <c:v>0.38302122347066098</c:v>
                </c:pt>
                <c:pt idx="21477">
                  <c:v>0.38303905831995699</c:v>
                </c:pt>
                <c:pt idx="21478">
                  <c:v>0.38305689316925201</c:v>
                </c:pt>
                <c:pt idx="21479">
                  <c:v>0.38307472801854803</c:v>
                </c:pt>
                <c:pt idx="21480">
                  <c:v>0.38309256286784299</c:v>
                </c:pt>
                <c:pt idx="21481">
                  <c:v>0.38311039771713901</c:v>
                </c:pt>
                <c:pt idx="21482">
                  <c:v>0.38312823256643402</c:v>
                </c:pt>
                <c:pt idx="21483">
                  <c:v>0.38314606741572999</c:v>
                </c:pt>
                <c:pt idx="21484">
                  <c:v>0.383163902265025</c:v>
                </c:pt>
                <c:pt idx="21485">
                  <c:v>0.38318173711432102</c:v>
                </c:pt>
                <c:pt idx="21486">
                  <c:v>0.38319957196361598</c:v>
                </c:pt>
                <c:pt idx="21487">
                  <c:v>0.383217406812912</c:v>
                </c:pt>
                <c:pt idx="21488">
                  <c:v>0.38323524166220702</c:v>
                </c:pt>
                <c:pt idx="21489">
                  <c:v>0.38325307651150298</c:v>
                </c:pt>
                <c:pt idx="21490">
                  <c:v>0.38327091136079899</c:v>
                </c:pt>
                <c:pt idx="21491">
                  <c:v>0.38328874621009401</c:v>
                </c:pt>
                <c:pt idx="21492">
                  <c:v>0.38330658105938997</c:v>
                </c:pt>
                <c:pt idx="21493">
                  <c:v>0.38332441590868499</c:v>
                </c:pt>
                <c:pt idx="21494">
                  <c:v>0.38334225075798101</c:v>
                </c:pt>
                <c:pt idx="21495">
                  <c:v>0.38336008560727602</c:v>
                </c:pt>
                <c:pt idx="21496">
                  <c:v>0.38337792045657199</c:v>
                </c:pt>
                <c:pt idx="21497">
                  <c:v>0.383395755305867</c:v>
                </c:pt>
                <c:pt idx="21498">
                  <c:v>0.38341359015516302</c:v>
                </c:pt>
                <c:pt idx="21499">
                  <c:v>0.38343142500445798</c:v>
                </c:pt>
                <c:pt idx="21500">
                  <c:v>0.383449259853754</c:v>
                </c:pt>
                <c:pt idx="21501">
                  <c:v>0.38346709470304902</c:v>
                </c:pt>
                <c:pt idx="21502">
                  <c:v>0.38348492955234498</c:v>
                </c:pt>
                <c:pt idx="21503">
                  <c:v>0.38350276440164</c:v>
                </c:pt>
                <c:pt idx="21504">
                  <c:v>0.38352059925093601</c:v>
                </c:pt>
                <c:pt idx="21505">
                  <c:v>0.38353843410023097</c:v>
                </c:pt>
                <c:pt idx="21506">
                  <c:v>0.38355626894952699</c:v>
                </c:pt>
                <c:pt idx="21507">
                  <c:v>0.38357410379882201</c:v>
                </c:pt>
                <c:pt idx="21508">
                  <c:v>0.38359193864811802</c:v>
                </c:pt>
                <c:pt idx="21509">
                  <c:v>0.38360977349741299</c:v>
                </c:pt>
                <c:pt idx="21510">
                  <c:v>0.383627608346709</c:v>
                </c:pt>
                <c:pt idx="21511">
                  <c:v>0.38364544319600502</c:v>
                </c:pt>
                <c:pt idx="21512">
                  <c:v>0.38366327804529998</c:v>
                </c:pt>
                <c:pt idx="21513">
                  <c:v>0.383681112894596</c:v>
                </c:pt>
                <c:pt idx="21514">
                  <c:v>0.38369894774389102</c:v>
                </c:pt>
                <c:pt idx="21515">
                  <c:v>0.38371678259318698</c:v>
                </c:pt>
                <c:pt idx="21516">
                  <c:v>0.383734617442482</c:v>
                </c:pt>
                <c:pt idx="21517">
                  <c:v>0.38375245229177801</c:v>
                </c:pt>
                <c:pt idx="21518">
                  <c:v>0.38377028714107297</c:v>
                </c:pt>
                <c:pt idx="21519">
                  <c:v>0.38378812199036899</c:v>
                </c:pt>
                <c:pt idx="21520">
                  <c:v>0.38380595683966401</c:v>
                </c:pt>
                <c:pt idx="21521">
                  <c:v>0.38382379168896003</c:v>
                </c:pt>
                <c:pt idx="21522">
                  <c:v>0.38384162653825499</c:v>
                </c:pt>
                <c:pt idx="21523">
                  <c:v>0.383859461387551</c:v>
                </c:pt>
                <c:pt idx="21524">
                  <c:v>0.38387729623684602</c:v>
                </c:pt>
                <c:pt idx="21525">
                  <c:v>0.38389513108614198</c:v>
                </c:pt>
                <c:pt idx="21526">
                  <c:v>0.383912965935437</c:v>
                </c:pt>
                <c:pt idx="21527">
                  <c:v>0.38393080078473302</c:v>
                </c:pt>
                <c:pt idx="21528">
                  <c:v>0.38394863563402798</c:v>
                </c:pt>
                <c:pt idx="21529">
                  <c:v>0.383966470483324</c:v>
                </c:pt>
                <c:pt idx="21530">
                  <c:v>0.38398430533261901</c:v>
                </c:pt>
                <c:pt idx="21531">
                  <c:v>0.38400214018191497</c:v>
                </c:pt>
                <c:pt idx="21532">
                  <c:v>0.38401997503121099</c:v>
                </c:pt>
                <c:pt idx="21533">
                  <c:v>0.38403780988050601</c:v>
                </c:pt>
                <c:pt idx="21534">
                  <c:v>0.38405564472980203</c:v>
                </c:pt>
                <c:pt idx="21535">
                  <c:v>0.38407347957909699</c:v>
                </c:pt>
                <c:pt idx="21536">
                  <c:v>0.384091314428393</c:v>
                </c:pt>
                <c:pt idx="21537">
                  <c:v>0.38410914927768802</c:v>
                </c:pt>
                <c:pt idx="21538">
                  <c:v>0.38412698412698398</c:v>
                </c:pt>
                <c:pt idx="21539">
                  <c:v>0.384144818976279</c:v>
                </c:pt>
                <c:pt idx="21540">
                  <c:v>0.38416265382557502</c:v>
                </c:pt>
                <c:pt idx="21541">
                  <c:v>0.38418048867486998</c:v>
                </c:pt>
                <c:pt idx="21542">
                  <c:v>0.384198323524166</c:v>
                </c:pt>
                <c:pt idx="21543">
                  <c:v>0.38421615837346101</c:v>
                </c:pt>
                <c:pt idx="21544">
                  <c:v>0.38423399322275698</c:v>
                </c:pt>
                <c:pt idx="21545">
                  <c:v>0.38425182807205199</c:v>
                </c:pt>
                <c:pt idx="21546">
                  <c:v>0.38426966292134801</c:v>
                </c:pt>
                <c:pt idx="21547">
                  <c:v>0.38428749777064303</c:v>
                </c:pt>
                <c:pt idx="21548">
                  <c:v>0.38430533261993899</c:v>
                </c:pt>
                <c:pt idx="21549">
                  <c:v>0.38432316746923401</c:v>
                </c:pt>
                <c:pt idx="21550">
                  <c:v>0.38434100231853002</c:v>
                </c:pt>
                <c:pt idx="21551">
                  <c:v>0.38435883716782498</c:v>
                </c:pt>
                <c:pt idx="21552">
                  <c:v>0.384376672017121</c:v>
                </c:pt>
                <c:pt idx="21553">
                  <c:v>0.38439450686641602</c:v>
                </c:pt>
                <c:pt idx="21554">
                  <c:v>0.38441234171571198</c:v>
                </c:pt>
                <c:pt idx="21555">
                  <c:v>0.384430176565008</c:v>
                </c:pt>
                <c:pt idx="21556">
                  <c:v>0.38444801141430301</c:v>
                </c:pt>
                <c:pt idx="21557">
                  <c:v>0.38446584626359898</c:v>
                </c:pt>
                <c:pt idx="21558">
                  <c:v>0.38448368111289399</c:v>
                </c:pt>
                <c:pt idx="21559">
                  <c:v>0.38450151596219001</c:v>
                </c:pt>
                <c:pt idx="21560">
                  <c:v>0.38451935081148497</c:v>
                </c:pt>
                <c:pt idx="21561">
                  <c:v>0.38453718566078099</c:v>
                </c:pt>
                <c:pt idx="21562">
                  <c:v>0.38455502051007601</c:v>
                </c:pt>
                <c:pt idx="21563">
                  <c:v>0.38457285535937202</c:v>
                </c:pt>
                <c:pt idx="21564">
                  <c:v>0.38459069020866699</c:v>
                </c:pt>
                <c:pt idx="21565">
                  <c:v>0.384608525057963</c:v>
                </c:pt>
                <c:pt idx="21566">
                  <c:v>0.38462635990725802</c:v>
                </c:pt>
                <c:pt idx="21567">
                  <c:v>0.38464419475655398</c:v>
                </c:pt>
                <c:pt idx="21568">
                  <c:v>0.384662029605849</c:v>
                </c:pt>
                <c:pt idx="21569">
                  <c:v>0.38467986445514502</c:v>
                </c:pt>
                <c:pt idx="21570">
                  <c:v>0.38469769930443998</c:v>
                </c:pt>
                <c:pt idx="21571">
                  <c:v>0.38471553415373599</c:v>
                </c:pt>
                <c:pt idx="21572">
                  <c:v>0.38473336900303101</c:v>
                </c:pt>
                <c:pt idx="21573">
                  <c:v>0.38475120385232697</c:v>
                </c:pt>
                <c:pt idx="21574">
                  <c:v>0.38476903870162299</c:v>
                </c:pt>
                <c:pt idx="21575">
                  <c:v>0.38478687355091801</c:v>
                </c:pt>
                <c:pt idx="21576">
                  <c:v>0.38480470840021402</c:v>
                </c:pt>
                <c:pt idx="21577">
                  <c:v>0.38482254324950899</c:v>
                </c:pt>
                <c:pt idx="21578">
                  <c:v>0.384840378098805</c:v>
                </c:pt>
                <c:pt idx="21579">
                  <c:v>0.38485821294810002</c:v>
                </c:pt>
                <c:pt idx="21580">
                  <c:v>0.38487604779739598</c:v>
                </c:pt>
                <c:pt idx="21581">
                  <c:v>0.384893882646691</c:v>
                </c:pt>
                <c:pt idx="21582">
                  <c:v>0.38491171749598702</c:v>
                </c:pt>
                <c:pt idx="21583">
                  <c:v>0.38492955234528198</c:v>
                </c:pt>
                <c:pt idx="21584">
                  <c:v>0.38494738719457799</c:v>
                </c:pt>
                <c:pt idx="21585">
                  <c:v>0.38496522204387301</c:v>
                </c:pt>
                <c:pt idx="21586">
                  <c:v>0.38498305689316897</c:v>
                </c:pt>
                <c:pt idx="21587">
                  <c:v>0.38500089174246399</c:v>
                </c:pt>
                <c:pt idx="21588">
                  <c:v>0.38501872659176001</c:v>
                </c:pt>
                <c:pt idx="21589">
                  <c:v>0.38503656144105503</c:v>
                </c:pt>
                <c:pt idx="21590">
                  <c:v>0.38505439629035099</c:v>
                </c:pt>
                <c:pt idx="21591">
                  <c:v>0.385072231139646</c:v>
                </c:pt>
                <c:pt idx="21592">
                  <c:v>0.38509006598894202</c:v>
                </c:pt>
                <c:pt idx="21593">
                  <c:v>0.38510790083823698</c:v>
                </c:pt>
                <c:pt idx="21594">
                  <c:v>0.385125735687533</c:v>
                </c:pt>
                <c:pt idx="21595">
                  <c:v>0.38514357053682802</c:v>
                </c:pt>
                <c:pt idx="21596">
                  <c:v>0.38516140538612398</c:v>
                </c:pt>
                <c:pt idx="21597">
                  <c:v>0.38517924023542</c:v>
                </c:pt>
                <c:pt idx="21598">
                  <c:v>0.38519707508471501</c:v>
                </c:pt>
                <c:pt idx="21599">
                  <c:v>0.38521490993401097</c:v>
                </c:pt>
                <c:pt idx="21600">
                  <c:v>0.38523274478330599</c:v>
                </c:pt>
                <c:pt idx="21601">
                  <c:v>0.38525057963260201</c:v>
                </c:pt>
                <c:pt idx="21602">
                  <c:v>0.38526841448189703</c:v>
                </c:pt>
                <c:pt idx="21603">
                  <c:v>0.38528624933119299</c:v>
                </c:pt>
                <c:pt idx="21604">
                  <c:v>0.385304084180488</c:v>
                </c:pt>
                <c:pt idx="21605">
                  <c:v>0.38532191902978402</c:v>
                </c:pt>
                <c:pt idx="21606">
                  <c:v>0.38533975387907898</c:v>
                </c:pt>
                <c:pt idx="21607">
                  <c:v>0.385357588728375</c:v>
                </c:pt>
                <c:pt idx="21608">
                  <c:v>0.38537542357767002</c:v>
                </c:pt>
                <c:pt idx="21609">
                  <c:v>0.38539325842696598</c:v>
                </c:pt>
                <c:pt idx="21610">
                  <c:v>0.385411093276261</c:v>
                </c:pt>
                <c:pt idx="21611">
                  <c:v>0.38542892812555701</c:v>
                </c:pt>
                <c:pt idx="21612">
                  <c:v>0.38544676297485198</c:v>
                </c:pt>
                <c:pt idx="21613">
                  <c:v>0.38546459782414799</c:v>
                </c:pt>
                <c:pt idx="21614">
                  <c:v>0.38548243267344301</c:v>
                </c:pt>
                <c:pt idx="21615">
                  <c:v>0.38550026752273903</c:v>
                </c:pt>
                <c:pt idx="21616">
                  <c:v>0.38551810237203399</c:v>
                </c:pt>
                <c:pt idx="21617">
                  <c:v>0.38553593722133001</c:v>
                </c:pt>
                <c:pt idx="21618">
                  <c:v>0.38555377207062602</c:v>
                </c:pt>
                <c:pt idx="21619">
                  <c:v>0.38557160691992098</c:v>
                </c:pt>
                <c:pt idx="21620">
                  <c:v>0.385589441769217</c:v>
                </c:pt>
                <c:pt idx="21621">
                  <c:v>0.38560727661851202</c:v>
                </c:pt>
                <c:pt idx="21622">
                  <c:v>0.38562511146780798</c:v>
                </c:pt>
                <c:pt idx="21623">
                  <c:v>0.385642946317103</c:v>
                </c:pt>
                <c:pt idx="21624">
                  <c:v>0.38566078116639901</c:v>
                </c:pt>
                <c:pt idx="21625">
                  <c:v>0.38567861601569398</c:v>
                </c:pt>
                <c:pt idx="21626">
                  <c:v>0.38569645086498999</c:v>
                </c:pt>
                <c:pt idx="21627">
                  <c:v>0.38571428571428501</c:v>
                </c:pt>
                <c:pt idx="21628">
                  <c:v>0.38573212056358103</c:v>
                </c:pt>
                <c:pt idx="21629">
                  <c:v>0.38574995541287599</c:v>
                </c:pt>
                <c:pt idx="21630">
                  <c:v>0.38576779026217201</c:v>
                </c:pt>
                <c:pt idx="21631">
                  <c:v>0.38578562511146702</c:v>
                </c:pt>
                <c:pt idx="21632">
                  <c:v>0.38580345996076298</c:v>
                </c:pt>
                <c:pt idx="21633">
                  <c:v>0.385821294810058</c:v>
                </c:pt>
                <c:pt idx="21634">
                  <c:v>0.38583912965935402</c:v>
                </c:pt>
                <c:pt idx="21635">
                  <c:v>0.38585696450864898</c:v>
                </c:pt>
                <c:pt idx="21636">
                  <c:v>0.385874799357945</c:v>
                </c:pt>
                <c:pt idx="21637">
                  <c:v>0.38589263420724002</c:v>
                </c:pt>
                <c:pt idx="21638">
                  <c:v>0.38591046905653598</c:v>
                </c:pt>
                <c:pt idx="21639">
                  <c:v>0.38592830390583199</c:v>
                </c:pt>
                <c:pt idx="21640">
                  <c:v>0.38594613875512701</c:v>
                </c:pt>
                <c:pt idx="21641">
                  <c:v>0.38596397360442303</c:v>
                </c:pt>
                <c:pt idx="21642">
                  <c:v>0.38598180845371799</c:v>
                </c:pt>
                <c:pt idx="21643">
                  <c:v>0.38599964330301401</c:v>
                </c:pt>
                <c:pt idx="21644">
                  <c:v>0.38601747815230902</c:v>
                </c:pt>
                <c:pt idx="21645">
                  <c:v>0.38603531300160498</c:v>
                </c:pt>
                <c:pt idx="21646">
                  <c:v>0.3860531478509</c:v>
                </c:pt>
                <c:pt idx="21647">
                  <c:v>0.38607098270019602</c:v>
                </c:pt>
                <c:pt idx="21648">
                  <c:v>0.38608881754949098</c:v>
                </c:pt>
                <c:pt idx="21649">
                  <c:v>0.386106652398787</c:v>
                </c:pt>
                <c:pt idx="21650">
                  <c:v>0.38612448724808202</c:v>
                </c:pt>
                <c:pt idx="21651">
                  <c:v>0.38614232209737798</c:v>
                </c:pt>
                <c:pt idx="21652">
                  <c:v>0.38616015694667299</c:v>
                </c:pt>
                <c:pt idx="21653">
                  <c:v>0.38617799179596901</c:v>
                </c:pt>
                <c:pt idx="21654">
                  <c:v>0.38619582664526397</c:v>
                </c:pt>
                <c:pt idx="21655">
                  <c:v>0.38621366149455999</c:v>
                </c:pt>
                <c:pt idx="21656">
                  <c:v>0.38623149634385501</c:v>
                </c:pt>
                <c:pt idx="21657">
                  <c:v>0.38624933119315102</c:v>
                </c:pt>
                <c:pt idx="21658">
                  <c:v>0.38626716604244599</c:v>
                </c:pt>
                <c:pt idx="21659">
                  <c:v>0.386285000891742</c:v>
                </c:pt>
                <c:pt idx="21660">
                  <c:v>0.38630283574103702</c:v>
                </c:pt>
                <c:pt idx="21661">
                  <c:v>0.38632067059033298</c:v>
                </c:pt>
                <c:pt idx="21662">
                  <c:v>0.386338505439629</c:v>
                </c:pt>
                <c:pt idx="21663">
                  <c:v>0.38635634028892402</c:v>
                </c:pt>
                <c:pt idx="21664">
                  <c:v>0.38637417513821998</c:v>
                </c:pt>
                <c:pt idx="21665">
                  <c:v>0.38639200998751499</c:v>
                </c:pt>
                <c:pt idx="21666">
                  <c:v>0.38640984483681101</c:v>
                </c:pt>
                <c:pt idx="21667">
                  <c:v>0.38642767968610597</c:v>
                </c:pt>
                <c:pt idx="21668">
                  <c:v>0.38644551453540199</c:v>
                </c:pt>
                <c:pt idx="21669">
                  <c:v>0.38646334938469701</c:v>
                </c:pt>
                <c:pt idx="21670">
                  <c:v>0.38648118423399302</c:v>
                </c:pt>
                <c:pt idx="21671">
                  <c:v>0.38649901908328799</c:v>
                </c:pt>
                <c:pt idx="21672">
                  <c:v>0.386516853932584</c:v>
                </c:pt>
                <c:pt idx="21673">
                  <c:v>0.38653468878187902</c:v>
                </c:pt>
                <c:pt idx="21674">
                  <c:v>0.38655252363117498</c:v>
                </c:pt>
                <c:pt idx="21675">
                  <c:v>0.38657035848047</c:v>
                </c:pt>
                <c:pt idx="21676">
                  <c:v>0.38658819332976602</c:v>
                </c:pt>
                <c:pt idx="21677">
                  <c:v>0.38660602817906098</c:v>
                </c:pt>
                <c:pt idx="21678">
                  <c:v>0.386623863028357</c:v>
                </c:pt>
                <c:pt idx="21679">
                  <c:v>0.38664169787765201</c:v>
                </c:pt>
                <c:pt idx="21680">
                  <c:v>0.38665953272694797</c:v>
                </c:pt>
                <c:pt idx="21681">
                  <c:v>0.38667736757624399</c:v>
                </c:pt>
                <c:pt idx="21682">
                  <c:v>0.38669520242553901</c:v>
                </c:pt>
                <c:pt idx="21683">
                  <c:v>0.38671303727483503</c:v>
                </c:pt>
                <c:pt idx="21684">
                  <c:v>0.38673087212412999</c:v>
                </c:pt>
                <c:pt idx="21685">
                  <c:v>0.386748706973426</c:v>
                </c:pt>
                <c:pt idx="21686">
                  <c:v>0.38676654182272102</c:v>
                </c:pt>
                <c:pt idx="21687">
                  <c:v>0.38678437667201698</c:v>
                </c:pt>
                <c:pt idx="21688">
                  <c:v>0.386802211521312</c:v>
                </c:pt>
                <c:pt idx="21689">
                  <c:v>0.38682004637060802</c:v>
                </c:pt>
                <c:pt idx="21690">
                  <c:v>0.38683788121990298</c:v>
                </c:pt>
                <c:pt idx="21691">
                  <c:v>0.386855716069199</c:v>
                </c:pt>
                <c:pt idx="21692">
                  <c:v>0.38687355091849401</c:v>
                </c:pt>
                <c:pt idx="21693">
                  <c:v>0.38689138576778997</c:v>
                </c:pt>
                <c:pt idx="21694">
                  <c:v>0.38690922061708499</c:v>
                </c:pt>
                <c:pt idx="21695">
                  <c:v>0.38692705546638101</c:v>
                </c:pt>
                <c:pt idx="21696">
                  <c:v>0.38694489031567603</c:v>
                </c:pt>
                <c:pt idx="21697">
                  <c:v>0.38696272516497199</c:v>
                </c:pt>
                <c:pt idx="21698">
                  <c:v>0.38698056001426701</c:v>
                </c:pt>
                <c:pt idx="21699">
                  <c:v>0.38699839486356302</c:v>
                </c:pt>
                <c:pt idx="21700">
                  <c:v>0.38701622971285798</c:v>
                </c:pt>
                <c:pt idx="21701">
                  <c:v>0.387034064562154</c:v>
                </c:pt>
                <c:pt idx="21702">
                  <c:v>0.38705189941144902</c:v>
                </c:pt>
                <c:pt idx="21703">
                  <c:v>0.38706973426074498</c:v>
                </c:pt>
                <c:pt idx="21704">
                  <c:v>0.387087569110041</c:v>
                </c:pt>
                <c:pt idx="21705">
                  <c:v>0.38710540395933601</c:v>
                </c:pt>
                <c:pt idx="21706">
                  <c:v>0.38712323880863198</c:v>
                </c:pt>
                <c:pt idx="21707">
                  <c:v>0.38714107365792699</c:v>
                </c:pt>
                <c:pt idx="21708">
                  <c:v>0.38715890850722301</c:v>
                </c:pt>
                <c:pt idx="21709">
                  <c:v>0.38717674335651803</c:v>
                </c:pt>
                <c:pt idx="21710">
                  <c:v>0.38719457820581399</c:v>
                </c:pt>
                <c:pt idx="21711">
                  <c:v>0.38721241305510901</c:v>
                </c:pt>
                <c:pt idx="21712">
                  <c:v>0.38723024790440502</c:v>
                </c:pt>
                <c:pt idx="21713">
                  <c:v>0.38724808275369998</c:v>
                </c:pt>
                <c:pt idx="21714">
                  <c:v>0.387265917602996</c:v>
                </c:pt>
                <c:pt idx="21715">
                  <c:v>0.38728375245229102</c:v>
                </c:pt>
                <c:pt idx="21716">
                  <c:v>0.38730158730158698</c:v>
                </c:pt>
                <c:pt idx="21717">
                  <c:v>0.387319422150882</c:v>
                </c:pt>
                <c:pt idx="21718">
                  <c:v>0.38733725700017801</c:v>
                </c:pt>
                <c:pt idx="21719">
                  <c:v>0.38735509184947298</c:v>
                </c:pt>
                <c:pt idx="21720">
                  <c:v>0.38737292669876899</c:v>
                </c:pt>
                <c:pt idx="21721">
                  <c:v>0.38739076154806401</c:v>
                </c:pt>
                <c:pt idx="21722">
                  <c:v>0.38740859639736003</c:v>
                </c:pt>
                <c:pt idx="21723">
                  <c:v>0.38742643124665599</c:v>
                </c:pt>
                <c:pt idx="21724">
                  <c:v>0.38744426609595101</c:v>
                </c:pt>
                <c:pt idx="21725">
                  <c:v>0.38746210094524702</c:v>
                </c:pt>
                <c:pt idx="21726">
                  <c:v>0.38747993579454199</c:v>
                </c:pt>
                <c:pt idx="21727">
                  <c:v>0.387497770643838</c:v>
                </c:pt>
                <c:pt idx="21728">
                  <c:v>0.38751560549313302</c:v>
                </c:pt>
                <c:pt idx="21729">
                  <c:v>0.38753344034242898</c:v>
                </c:pt>
                <c:pt idx="21730">
                  <c:v>0.387551275191724</c:v>
                </c:pt>
                <c:pt idx="21731">
                  <c:v>0.38756911004102002</c:v>
                </c:pt>
                <c:pt idx="21732">
                  <c:v>0.38758694489031498</c:v>
                </c:pt>
                <c:pt idx="21733">
                  <c:v>0.38760477973961099</c:v>
                </c:pt>
                <c:pt idx="21734">
                  <c:v>0.38762261458890601</c:v>
                </c:pt>
                <c:pt idx="21735">
                  <c:v>0.38764044943820197</c:v>
                </c:pt>
                <c:pt idx="21736">
                  <c:v>0.38765828428749699</c:v>
                </c:pt>
                <c:pt idx="21737">
                  <c:v>0.38767611913679301</c:v>
                </c:pt>
                <c:pt idx="21738">
                  <c:v>0.38769395398608802</c:v>
                </c:pt>
                <c:pt idx="21739">
                  <c:v>0.38771178883538399</c:v>
                </c:pt>
                <c:pt idx="21740">
                  <c:v>0.387729623684679</c:v>
                </c:pt>
                <c:pt idx="21741">
                  <c:v>0.38774745853397502</c:v>
                </c:pt>
                <c:pt idx="21742">
                  <c:v>0.38776529338326998</c:v>
                </c:pt>
                <c:pt idx="21743">
                  <c:v>0.387783128232566</c:v>
                </c:pt>
                <c:pt idx="21744">
                  <c:v>0.38780096308186102</c:v>
                </c:pt>
                <c:pt idx="21745">
                  <c:v>0.38781879793115698</c:v>
                </c:pt>
                <c:pt idx="21746">
                  <c:v>0.38783663278045299</c:v>
                </c:pt>
                <c:pt idx="21747">
                  <c:v>0.38785446762974801</c:v>
                </c:pt>
                <c:pt idx="21748">
                  <c:v>0.38787230247904397</c:v>
                </c:pt>
                <c:pt idx="21749">
                  <c:v>0.38789013732833899</c:v>
                </c:pt>
                <c:pt idx="21750">
                  <c:v>0.38790797217763501</c:v>
                </c:pt>
                <c:pt idx="21751">
                  <c:v>0.38792580702693003</c:v>
                </c:pt>
                <c:pt idx="21752">
                  <c:v>0.38794364187622599</c:v>
                </c:pt>
                <c:pt idx="21753">
                  <c:v>0.387961476725521</c:v>
                </c:pt>
                <c:pt idx="21754">
                  <c:v>0.38797931157481702</c:v>
                </c:pt>
                <c:pt idx="21755">
                  <c:v>0.38799714642411198</c:v>
                </c:pt>
                <c:pt idx="21756">
                  <c:v>0.388014981273408</c:v>
                </c:pt>
                <c:pt idx="21757">
                  <c:v>0.38803281612270302</c:v>
                </c:pt>
                <c:pt idx="21758">
                  <c:v>0.38805065097199898</c:v>
                </c:pt>
                <c:pt idx="21759">
                  <c:v>0.388068485821294</c:v>
                </c:pt>
                <c:pt idx="21760">
                  <c:v>0.38808632067059001</c:v>
                </c:pt>
                <c:pt idx="21761">
                  <c:v>0.38810415551988497</c:v>
                </c:pt>
                <c:pt idx="21762">
                  <c:v>0.38812199036918099</c:v>
                </c:pt>
                <c:pt idx="21763">
                  <c:v>0.38813982521847601</c:v>
                </c:pt>
                <c:pt idx="21764">
                  <c:v>0.38815766006777203</c:v>
                </c:pt>
                <c:pt idx="21765">
                  <c:v>0.38817549491706699</c:v>
                </c:pt>
                <c:pt idx="21766">
                  <c:v>0.388193329766363</c:v>
                </c:pt>
                <c:pt idx="21767">
                  <c:v>0.38821116461565902</c:v>
                </c:pt>
                <c:pt idx="21768">
                  <c:v>0.38822899946495398</c:v>
                </c:pt>
                <c:pt idx="21769">
                  <c:v>0.38824683431425</c:v>
                </c:pt>
                <c:pt idx="21770">
                  <c:v>0.38826466916354502</c:v>
                </c:pt>
                <c:pt idx="21771">
                  <c:v>0.38828250401284098</c:v>
                </c:pt>
                <c:pt idx="21772">
                  <c:v>0.388300338862136</c:v>
                </c:pt>
                <c:pt idx="21773">
                  <c:v>0.38831817371143201</c:v>
                </c:pt>
                <c:pt idx="21774">
                  <c:v>0.38833600856072698</c:v>
                </c:pt>
                <c:pt idx="21775">
                  <c:v>0.38835384341002299</c:v>
                </c:pt>
                <c:pt idx="21776">
                  <c:v>0.38837167825931801</c:v>
                </c:pt>
                <c:pt idx="21777">
                  <c:v>0.38838951310861403</c:v>
                </c:pt>
                <c:pt idx="21778">
                  <c:v>0.38840734795790899</c:v>
                </c:pt>
                <c:pt idx="21779">
                  <c:v>0.38842518280720501</c:v>
                </c:pt>
                <c:pt idx="21780">
                  <c:v>0.38844301765650002</c:v>
                </c:pt>
                <c:pt idx="21781">
                  <c:v>0.38846085250579598</c:v>
                </c:pt>
                <c:pt idx="21782">
                  <c:v>0.388478687355091</c:v>
                </c:pt>
                <c:pt idx="21783">
                  <c:v>0.38849652220438702</c:v>
                </c:pt>
                <c:pt idx="21784">
                  <c:v>0.38851435705368198</c:v>
                </c:pt>
                <c:pt idx="21785">
                  <c:v>0.388532191902978</c:v>
                </c:pt>
                <c:pt idx="21786">
                  <c:v>0.38855002675227301</c:v>
                </c:pt>
                <c:pt idx="21787">
                  <c:v>0.38856786160156898</c:v>
                </c:pt>
                <c:pt idx="21788">
                  <c:v>0.38858569645086499</c:v>
                </c:pt>
                <c:pt idx="21789">
                  <c:v>0.38860353130016001</c:v>
                </c:pt>
                <c:pt idx="21790">
                  <c:v>0.38862136614945603</c:v>
                </c:pt>
                <c:pt idx="21791">
                  <c:v>0.38863920099875099</c:v>
                </c:pt>
                <c:pt idx="21792">
                  <c:v>0.38865703584804701</c:v>
                </c:pt>
                <c:pt idx="21793">
                  <c:v>0.38867487069734202</c:v>
                </c:pt>
                <c:pt idx="21794">
                  <c:v>0.38869270554663798</c:v>
                </c:pt>
                <c:pt idx="21795">
                  <c:v>0.388710540395933</c:v>
                </c:pt>
                <c:pt idx="21796">
                  <c:v>0.38872837524522902</c:v>
                </c:pt>
                <c:pt idx="21797">
                  <c:v>0.38874621009452398</c:v>
                </c:pt>
                <c:pt idx="21798">
                  <c:v>0.38876404494382</c:v>
                </c:pt>
                <c:pt idx="21799">
                  <c:v>0.38878187979311501</c:v>
                </c:pt>
                <c:pt idx="21800">
                  <c:v>0.38879971464241098</c:v>
                </c:pt>
                <c:pt idx="21801">
                  <c:v>0.38881754949170599</c:v>
                </c:pt>
                <c:pt idx="21802">
                  <c:v>0.38883538434100201</c:v>
                </c:pt>
                <c:pt idx="21803">
                  <c:v>0.38885321919029697</c:v>
                </c:pt>
                <c:pt idx="21804">
                  <c:v>0.38887105403959299</c:v>
                </c:pt>
                <c:pt idx="21805">
                  <c:v>0.38888888888888801</c:v>
                </c:pt>
                <c:pt idx="21806">
                  <c:v>0.38890672373818402</c:v>
                </c:pt>
                <c:pt idx="21807">
                  <c:v>0.38892455858747899</c:v>
                </c:pt>
                <c:pt idx="21808">
                  <c:v>0.388942393436775</c:v>
                </c:pt>
                <c:pt idx="21809">
                  <c:v>0.38896022828607002</c:v>
                </c:pt>
                <c:pt idx="21810">
                  <c:v>0.38897806313536598</c:v>
                </c:pt>
                <c:pt idx="21811">
                  <c:v>0.388995897984662</c:v>
                </c:pt>
                <c:pt idx="21812">
                  <c:v>0.38901373283395702</c:v>
                </c:pt>
                <c:pt idx="21813">
                  <c:v>0.38903156768325298</c:v>
                </c:pt>
                <c:pt idx="21814">
                  <c:v>0.38904940253254799</c:v>
                </c:pt>
                <c:pt idx="21815">
                  <c:v>0.38906723738184401</c:v>
                </c:pt>
                <c:pt idx="21816">
                  <c:v>0.38908507223113897</c:v>
                </c:pt>
                <c:pt idx="21817">
                  <c:v>0.38910290708043499</c:v>
                </c:pt>
                <c:pt idx="21818">
                  <c:v>0.38912074192973001</c:v>
                </c:pt>
                <c:pt idx="21819">
                  <c:v>0.38913857677902602</c:v>
                </c:pt>
                <c:pt idx="21820">
                  <c:v>0.38915641162832099</c:v>
                </c:pt>
                <c:pt idx="21821">
                  <c:v>0.389174246477617</c:v>
                </c:pt>
                <c:pt idx="21822">
                  <c:v>0.38919208132691202</c:v>
                </c:pt>
                <c:pt idx="21823">
                  <c:v>0.38920991617620798</c:v>
                </c:pt>
                <c:pt idx="21824">
                  <c:v>0.389227751025503</c:v>
                </c:pt>
                <c:pt idx="21825">
                  <c:v>0.38924558587479902</c:v>
                </c:pt>
                <c:pt idx="21826">
                  <c:v>0.38926342072409398</c:v>
                </c:pt>
                <c:pt idx="21827">
                  <c:v>0.38928125557338999</c:v>
                </c:pt>
                <c:pt idx="21828">
                  <c:v>0.38929909042268501</c:v>
                </c:pt>
                <c:pt idx="21829">
                  <c:v>0.38931692527198097</c:v>
                </c:pt>
                <c:pt idx="21830">
                  <c:v>0.38933476012127699</c:v>
                </c:pt>
                <c:pt idx="21831">
                  <c:v>0.38935259497057201</c:v>
                </c:pt>
                <c:pt idx="21832">
                  <c:v>0.38937042981986802</c:v>
                </c:pt>
                <c:pt idx="21833">
                  <c:v>0.38938826466916299</c:v>
                </c:pt>
                <c:pt idx="21834">
                  <c:v>0.389406099518459</c:v>
                </c:pt>
                <c:pt idx="21835">
                  <c:v>0.38942393436775402</c:v>
                </c:pt>
                <c:pt idx="21836">
                  <c:v>0.38944176921704998</c:v>
                </c:pt>
                <c:pt idx="21837">
                  <c:v>0.389459604066345</c:v>
                </c:pt>
                <c:pt idx="21838">
                  <c:v>0.38947743891564102</c:v>
                </c:pt>
                <c:pt idx="21839">
                  <c:v>0.38949527376493598</c:v>
                </c:pt>
                <c:pt idx="21840">
                  <c:v>0.389513108614232</c:v>
                </c:pt>
                <c:pt idx="21841">
                  <c:v>0.38953094346352701</c:v>
                </c:pt>
                <c:pt idx="21842">
                  <c:v>0.38954877831282297</c:v>
                </c:pt>
                <c:pt idx="21843">
                  <c:v>0.38956661316211799</c:v>
                </c:pt>
                <c:pt idx="21844">
                  <c:v>0.38958444801141401</c:v>
                </c:pt>
                <c:pt idx="21845">
                  <c:v>0.38960228286070903</c:v>
                </c:pt>
                <c:pt idx="21846">
                  <c:v>0.38962011771000499</c:v>
                </c:pt>
                <c:pt idx="21847">
                  <c:v>0.3896379525593</c:v>
                </c:pt>
                <c:pt idx="21848">
                  <c:v>0.38965578740859602</c:v>
                </c:pt>
                <c:pt idx="21849">
                  <c:v>0.38967362225789098</c:v>
                </c:pt>
                <c:pt idx="21850">
                  <c:v>0.389691457107187</c:v>
                </c:pt>
                <c:pt idx="21851">
                  <c:v>0.38970929195648202</c:v>
                </c:pt>
                <c:pt idx="21852">
                  <c:v>0.38972712680577798</c:v>
                </c:pt>
                <c:pt idx="21853">
                  <c:v>0.389744961655074</c:v>
                </c:pt>
                <c:pt idx="21854">
                  <c:v>0.38976279650436901</c:v>
                </c:pt>
                <c:pt idx="21855">
                  <c:v>0.38978063135366497</c:v>
                </c:pt>
                <c:pt idx="21856">
                  <c:v>0.38979846620295999</c:v>
                </c:pt>
                <c:pt idx="21857">
                  <c:v>0.38981630105225601</c:v>
                </c:pt>
                <c:pt idx="21858">
                  <c:v>0.38983413590155103</c:v>
                </c:pt>
                <c:pt idx="21859">
                  <c:v>0.38985197075084699</c:v>
                </c:pt>
                <c:pt idx="21860">
                  <c:v>0.38986980560014201</c:v>
                </c:pt>
                <c:pt idx="21861">
                  <c:v>0.38988764044943802</c:v>
                </c:pt>
                <c:pt idx="21862">
                  <c:v>0.38990547529873298</c:v>
                </c:pt>
                <c:pt idx="21863">
                  <c:v>0.389923310148029</c:v>
                </c:pt>
                <c:pt idx="21864">
                  <c:v>0.38994114499732402</c:v>
                </c:pt>
                <c:pt idx="21865">
                  <c:v>0.38995897984661998</c:v>
                </c:pt>
                <c:pt idx="21866">
                  <c:v>0.389976814695915</c:v>
                </c:pt>
                <c:pt idx="21867">
                  <c:v>0.38999464954521101</c:v>
                </c:pt>
                <c:pt idx="21868">
                  <c:v>0.39001248439450598</c:v>
                </c:pt>
                <c:pt idx="21869">
                  <c:v>0.39003031924380199</c:v>
                </c:pt>
                <c:pt idx="21870">
                  <c:v>0.39004815409309701</c:v>
                </c:pt>
                <c:pt idx="21871">
                  <c:v>0.39006598894239303</c:v>
                </c:pt>
                <c:pt idx="21872">
                  <c:v>0.39008382379168799</c:v>
                </c:pt>
                <c:pt idx="21873">
                  <c:v>0.39010165864098401</c:v>
                </c:pt>
                <c:pt idx="21874">
                  <c:v>0.39011949349028002</c:v>
                </c:pt>
                <c:pt idx="21875">
                  <c:v>0.39013732833957498</c:v>
                </c:pt>
                <c:pt idx="21876">
                  <c:v>0.390155163188871</c:v>
                </c:pt>
                <c:pt idx="21877">
                  <c:v>0.39017299803816602</c:v>
                </c:pt>
                <c:pt idx="21878">
                  <c:v>0.39019083288746198</c:v>
                </c:pt>
                <c:pt idx="21879">
                  <c:v>0.390208667736757</c:v>
                </c:pt>
                <c:pt idx="21880">
                  <c:v>0.39022650258605301</c:v>
                </c:pt>
                <c:pt idx="21881">
                  <c:v>0.39024433743534798</c:v>
                </c:pt>
                <c:pt idx="21882">
                  <c:v>0.39026217228464399</c:v>
                </c:pt>
                <c:pt idx="21883">
                  <c:v>0.39028000713393901</c:v>
                </c:pt>
                <c:pt idx="21884">
                  <c:v>0.39029784198323503</c:v>
                </c:pt>
                <c:pt idx="21885">
                  <c:v>0.39031567683252999</c:v>
                </c:pt>
                <c:pt idx="21886">
                  <c:v>0.39033351168182601</c:v>
                </c:pt>
                <c:pt idx="21887">
                  <c:v>0.39035134653112102</c:v>
                </c:pt>
                <c:pt idx="21888">
                  <c:v>0.39036918138041699</c:v>
                </c:pt>
                <c:pt idx="21889">
                  <c:v>0.390387016229712</c:v>
                </c:pt>
                <c:pt idx="21890">
                  <c:v>0.39040485107900802</c:v>
                </c:pt>
                <c:pt idx="21891">
                  <c:v>0.39042268592830298</c:v>
                </c:pt>
                <c:pt idx="21892">
                  <c:v>0.390440520777599</c:v>
                </c:pt>
                <c:pt idx="21893">
                  <c:v>0.39045835562689402</c:v>
                </c:pt>
                <c:pt idx="21894">
                  <c:v>0.39047619047618998</c:v>
                </c:pt>
                <c:pt idx="21895">
                  <c:v>0.39049402532548599</c:v>
                </c:pt>
                <c:pt idx="21896">
                  <c:v>0.39051186017478101</c:v>
                </c:pt>
                <c:pt idx="21897">
                  <c:v>0.39052969502407697</c:v>
                </c:pt>
                <c:pt idx="21898">
                  <c:v>0.39054752987337199</c:v>
                </c:pt>
                <c:pt idx="21899">
                  <c:v>0.39056536472266801</c:v>
                </c:pt>
                <c:pt idx="21900">
                  <c:v>0.39058319957196302</c:v>
                </c:pt>
                <c:pt idx="21901">
                  <c:v>0.39060103442125899</c:v>
                </c:pt>
                <c:pt idx="21902">
                  <c:v>0.390618869270554</c:v>
                </c:pt>
                <c:pt idx="21903">
                  <c:v>0.39063670411985002</c:v>
                </c:pt>
                <c:pt idx="21904">
                  <c:v>0.39065453896914498</c:v>
                </c:pt>
                <c:pt idx="21905">
                  <c:v>0.390672373818441</c:v>
                </c:pt>
                <c:pt idx="21906">
                  <c:v>0.39069020866773602</c:v>
                </c:pt>
                <c:pt idx="21907">
                  <c:v>0.39070804351703198</c:v>
                </c:pt>
                <c:pt idx="21908">
                  <c:v>0.390725878366327</c:v>
                </c:pt>
                <c:pt idx="21909">
                  <c:v>0.39074371321562301</c:v>
                </c:pt>
                <c:pt idx="21910">
                  <c:v>0.39076154806491797</c:v>
                </c:pt>
                <c:pt idx="21911">
                  <c:v>0.39077938291421399</c:v>
                </c:pt>
                <c:pt idx="21912">
                  <c:v>0.39079721776350901</c:v>
                </c:pt>
                <c:pt idx="21913">
                  <c:v>0.39081505261280503</c:v>
                </c:pt>
                <c:pt idx="21914">
                  <c:v>0.39083288746209999</c:v>
                </c:pt>
                <c:pt idx="21915">
                  <c:v>0.390850722311396</c:v>
                </c:pt>
                <c:pt idx="21916">
                  <c:v>0.39086855716069102</c:v>
                </c:pt>
                <c:pt idx="21917">
                  <c:v>0.39088639200998698</c:v>
                </c:pt>
                <c:pt idx="21918">
                  <c:v>0.390904226859283</c:v>
                </c:pt>
                <c:pt idx="21919">
                  <c:v>0.39092206170857802</c:v>
                </c:pt>
                <c:pt idx="21920">
                  <c:v>0.39093989655787398</c:v>
                </c:pt>
                <c:pt idx="21921">
                  <c:v>0.390957731407169</c:v>
                </c:pt>
                <c:pt idx="21922">
                  <c:v>0.39097556625646501</c:v>
                </c:pt>
                <c:pt idx="21923">
                  <c:v>0.39099340110575997</c:v>
                </c:pt>
                <c:pt idx="21924">
                  <c:v>0.39101123595505599</c:v>
                </c:pt>
                <c:pt idx="21925">
                  <c:v>0.39102907080435101</c:v>
                </c:pt>
                <c:pt idx="21926">
                  <c:v>0.39104690565364703</c:v>
                </c:pt>
                <c:pt idx="21927">
                  <c:v>0.39106474050294199</c:v>
                </c:pt>
                <c:pt idx="21928">
                  <c:v>0.391082575352238</c:v>
                </c:pt>
                <c:pt idx="21929">
                  <c:v>0.39110041020153302</c:v>
                </c:pt>
                <c:pt idx="21930">
                  <c:v>0.39111824505082898</c:v>
                </c:pt>
                <c:pt idx="21931">
                  <c:v>0.391136079900124</c:v>
                </c:pt>
                <c:pt idx="21932">
                  <c:v>0.39115391474942002</c:v>
                </c:pt>
                <c:pt idx="21933">
                  <c:v>0.39117174959871498</c:v>
                </c:pt>
                <c:pt idx="21934">
                  <c:v>0.391189584448011</c:v>
                </c:pt>
                <c:pt idx="21935">
                  <c:v>0.39120741929730601</c:v>
                </c:pt>
                <c:pt idx="21936">
                  <c:v>0.39122525414660198</c:v>
                </c:pt>
                <c:pt idx="21937">
                  <c:v>0.39124308899589799</c:v>
                </c:pt>
                <c:pt idx="21938">
                  <c:v>0.39126092384519301</c:v>
                </c:pt>
                <c:pt idx="21939">
                  <c:v>0.39127875869448903</c:v>
                </c:pt>
                <c:pt idx="21940">
                  <c:v>0.39129659354378399</c:v>
                </c:pt>
                <c:pt idx="21941">
                  <c:v>0.39131442839308</c:v>
                </c:pt>
                <c:pt idx="21942">
                  <c:v>0.39133226324237502</c:v>
                </c:pt>
                <c:pt idx="21943">
                  <c:v>0.39135009809167098</c:v>
                </c:pt>
                <c:pt idx="21944">
                  <c:v>0.391367932940966</c:v>
                </c:pt>
                <c:pt idx="21945">
                  <c:v>0.39138576779026202</c:v>
                </c:pt>
                <c:pt idx="21946">
                  <c:v>0.39140360263955698</c:v>
                </c:pt>
                <c:pt idx="21947">
                  <c:v>0.391421437488853</c:v>
                </c:pt>
                <c:pt idx="21948">
                  <c:v>0.39143927233814801</c:v>
                </c:pt>
                <c:pt idx="21949">
                  <c:v>0.39145710718744398</c:v>
                </c:pt>
                <c:pt idx="21950">
                  <c:v>0.39147494203673899</c:v>
                </c:pt>
                <c:pt idx="21951">
                  <c:v>0.39149277688603501</c:v>
                </c:pt>
                <c:pt idx="21952">
                  <c:v>0.39151061173533003</c:v>
                </c:pt>
                <c:pt idx="21953">
                  <c:v>0.39152844658462599</c:v>
                </c:pt>
                <c:pt idx="21954">
                  <c:v>0.39154628143392101</c:v>
                </c:pt>
                <c:pt idx="21955">
                  <c:v>0.39156411628321702</c:v>
                </c:pt>
                <c:pt idx="21956">
                  <c:v>0.39158195113251199</c:v>
                </c:pt>
                <c:pt idx="21957">
                  <c:v>0.391599785981808</c:v>
                </c:pt>
                <c:pt idx="21958">
                  <c:v>0.39161762083110302</c:v>
                </c:pt>
                <c:pt idx="21959">
                  <c:v>0.39163545568039898</c:v>
                </c:pt>
                <c:pt idx="21960">
                  <c:v>0.391653290529695</c:v>
                </c:pt>
                <c:pt idx="21961">
                  <c:v>0.39167112537899001</c:v>
                </c:pt>
                <c:pt idx="21962">
                  <c:v>0.39168896022828598</c:v>
                </c:pt>
                <c:pt idx="21963">
                  <c:v>0.39170679507758099</c:v>
                </c:pt>
                <c:pt idx="21964">
                  <c:v>0.39172462992687701</c:v>
                </c:pt>
                <c:pt idx="21965">
                  <c:v>0.39174246477617197</c:v>
                </c:pt>
                <c:pt idx="21966">
                  <c:v>0.39176029962546799</c:v>
                </c:pt>
                <c:pt idx="21967">
                  <c:v>0.39177813447476301</c:v>
                </c:pt>
                <c:pt idx="21968">
                  <c:v>0.39179596932405902</c:v>
                </c:pt>
                <c:pt idx="21969">
                  <c:v>0.39181380417335399</c:v>
                </c:pt>
                <c:pt idx="21970">
                  <c:v>0.39183163902265</c:v>
                </c:pt>
                <c:pt idx="21971">
                  <c:v>0.39184947387194502</c:v>
                </c:pt>
                <c:pt idx="21972">
                  <c:v>0.39186730872124098</c:v>
                </c:pt>
                <c:pt idx="21973">
                  <c:v>0.391885143570536</c:v>
                </c:pt>
                <c:pt idx="21974">
                  <c:v>0.39190297841983202</c:v>
                </c:pt>
                <c:pt idx="21975">
                  <c:v>0.39192081326912698</c:v>
                </c:pt>
                <c:pt idx="21976">
                  <c:v>0.39193864811842299</c:v>
                </c:pt>
                <c:pt idx="21977">
                  <c:v>0.39195648296771801</c:v>
                </c:pt>
                <c:pt idx="21978">
                  <c:v>0.39197431781701397</c:v>
                </c:pt>
                <c:pt idx="21979">
                  <c:v>0.39199215266630999</c:v>
                </c:pt>
                <c:pt idx="21980">
                  <c:v>0.39200998751560501</c:v>
                </c:pt>
                <c:pt idx="21981">
                  <c:v>0.39202782236490102</c:v>
                </c:pt>
                <c:pt idx="21982">
                  <c:v>0.39204565721419599</c:v>
                </c:pt>
                <c:pt idx="21983">
                  <c:v>0.392063492063492</c:v>
                </c:pt>
                <c:pt idx="21984">
                  <c:v>0.39208132691278702</c:v>
                </c:pt>
                <c:pt idx="21985">
                  <c:v>0.39209916176208298</c:v>
                </c:pt>
                <c:pt idx="21986">
                  <c:v>0.392116996611378</c:v>
                </c:pt>
                <c:pt idx="21987">
                  <c:v>0.39213483146067402</c:v>
                </c:pt>
                <c:pt idx="21988">
                  <c:v>0.39215266630996898</c:v>
                </c:pt>
                <c:pt idx="21989">
                  <c:v>0.39217050115926499</c:v>
                </c:pt>
                <c:pt idx="21990">
                  <c:v>0.39218833600856001</c:v>
                </c:pt>
                <c:pt idx="21991">
                  <c:v>0.39220617085785597</c:v>
                </c:pt>
                <c:pt idx="21992">
                  <c:v>0.39222400570715099</c:v>
                </c:pt>
                <c:pt idx="21993">
                  <c:v>0.39224184055644701</c:v>
                </c:pt>
                <c:pt idx="21994">
                  <c:v>0.39225967540574203</c:v>
                </c:pt>
                <c:pt idx="21995">
                  <c:v>0.39227751025503799</c:v>
                </c:pt>
                <c:pt idx="21996">
                  <c:v>0.392295345104333</c:v>
                </c:pt>
                <c:pt idx="21997">
                  <c:v>0.39231317995362902</c:v>
                </c:pt>
                <c:pt idx="21998">
                  <c:v>0.39233101480292398</c:v>
                </c:pt>
                <c:pt idx="21999">
                  <c:v>0.39234884965222</c:v>
                </c:pt>
                <c:pt idx="22000">
                  <c:v>0.39236668450151502</c:v>
                </c:pt>
                <c:pt idx="22001">
                  <c:v>0.39238451935081098</c:v>
                </c:pt>
                <c:pt idx="22002">
                  <c:v>0.392402354200107</c:v>
                </c:pt>
                <c:pt idx="22003">
                  <c:v>0.39242018904940201</c:v>
                </c:pt>
                <c:pt idx="22004">
                  <c:v>0.39243802389869797</c:v>
                </c:pt>
                <c:pt idx="22005">
                  <c:v>0.39245585874799299</c:v>
                </c:pt>
                <c:pt idx="22006">
                  <c:v>0.39247369359728901</c:v>
                </c:pt>
                <c:pt idx="22007">
                  <c:v>0.39249152844658403</c:v>
                </c:pt>
                <c:pt idx="22008">
                  <c:v>0.39250936329587999</c:v>
                </c:pt>
                <c:pt idx="22009">
                  <c:v>0.392527198145175</c:v>
                </c:pt>
                <c:pt idx="22010">
                  <c:v>0.39254503299447102</c:v>
                </c:pt>
                <c:pt idx="22011">
                  <c:v>0.39256286784376598</c:v>
                </c:pt>
                <c:pt idx="22012">
                  <c:v>0.392580702693062</c:v>
                </c:pt>
                <c:pt idx="22013">
                  <c:v>0.39259853754235702</c:v>
                </c:pt>
                <c:pt idx="22014">
                  <c:v>0.39261637239165298</c:v>
                </c:pt>
                <c:pt idx="22015">
                  <c:v>0.392634207240948</c:v>
                </c:pt>
                <c:pt idx="22016">
                  <c:v>0.39265204209024401</c:v>
                </c:pt>
                <c:pt idx="22017">
                  <c:v>0.39266987693953898</c:v>
                </c:pt>
                <c:pt idx="22018">
                  <c:v>0.39268771178883499</c:v>
                </c:pt>
                <c:pt idx="22019">
                  <c:v>0.39270554663813001</c:v>
                </c:pt>
                <c:pt idx="22020">
                  <c:v>0.39272338148742603</c:v>
                </c:pt>
                <c:pt idx="22021">
                  <c:v>0.39274121633672099</c:v>
                </c:pt>
                <c:pt idx="22022">
                  <c:v>0.39275905118601701</c:v>
                </c:pt>
                <c:pt idx="22023">
                  <c:v>0.39277688603531302</c:v>
                </c:pt>
                <c:pt idx="22024">
                  <c:v>0.39279472088460798</c:v>
                </c:pt>
                <c:pt idx="22025">
                  <c:v>0.392812555733904</c:v>
                </c:pt>
                <c:pt idx="22026">
                  <c:v>0.39283039058319902</c:v>
                </c:pt>
                <c:pt idx="22027">
                  <c:v>0.39284822543249498</c:v>
                </c:pt>
                <c:pt idx="22028">
                  <c:v>0.39286606028179</c:v>
                </c:pt>
                <c:pt idx="22029">
                  <c:v>0.39288389513108601</c:v>
                </c:pt>
                <c:pt idx="22030">
                  <c:v>0.39290172998038098</c:v>
                </c:pt>
                <c:pt idx="22031">
                  <c:v>0.39291956482967699</c:v>
                </c:pt>
                <c:pt idx="22032">
                  <c:v>0.39293739967897201</c:v>
                </c:pt>
                <c:pt idx="22033">
                  <c:v>0.39295523452826803</c:v>
                </c:pt>
                <c:pt idx="22034">
                  <c:v>0.39297306937756299</c:v>
                </c:pt>
                <c:pt idx="22035">
                  <c:v>0.39299090422685901</c:v>
                </c:pt>
                <c:pt idx="22036">
                  <c:v>0.39300873907615402</c:v>
                </c:pt>
                <c:pt idx="22037">
                  <c:v>0.39302657392544998</c:v>
                </c:pt>
                <c:pt idx="22038">
                  <c:v>0.393044408774745</c:v>
                </c:pt>
                <c:pt idx="22039">
                  <c:v>0.39306224362404102</c:v>
                </c:pt>
                <c:pt idx="22040">
                  <c:v>0.39308007847333598</c:v>
                </c:pt>
                <c:pt idx="22041">
                  <c:v>0.393097913322632</c:v>
                </c:pt>
                <c:pt idx="22042">
                  <c:v>0.39311574817192702</c:v>
                </c:pt>
                <c:pt idx="22043">
                  <c:v>0.39313358302122298</c:v>
                </c:pt>
                <c:pt idx="22044">
                  <c:v>0.39315141787051899</c:v>
                </c:pt>
                <c:pt idx="22045">
                  <c:v>0.39316925271981401</c:v>
                </c:pt>
                <c:pt idx="22046">
                  <c:v>0.39318708756911003</c:v>
                </c:pt>
                <c:pt idx="22047">
                  <c:v>0.39320492241840499</c:v>
                </c:pt>
                <c:pt idx="22048">
                  <c:v>0.39322275726770101</c:v>
                </c:pt>
                <c:pt idx="22049">
                  <c:v>0.39324059211699602</c:v>
                </c:pt>
                <c:pt idx="22050">
                  <c:v>0.39325842696629199</c:v>
                </c:pt>
                <c:pt idx="22051">
                  <c:v>0.393276261815587</c:v>
                </c:pt>
                <c:pt idx="22052">
                  <c:v>0.39329409666488302</c:v>
                </c:pt>
                <c:pt idx="22053">
                  <c:v>0.39331193151417798</c:v>
                </c:pt>
                <c:pt idx="22054">
                  <c:v>0.393329766363474</c:v>
                </c:pt>
                <c:pt idx="22055">
                  <c:v>0.39334760121276902</c:v>
                </c:pt>
                <c:pt idx="22056">
                  <c:v>0.39336543606206498</c:v>
                </c:pt>
                <c:pt idx="22057">
                  <c:v>0.39338327091135999</c:v>
                </c:pt>
                <c:pt idx="22058">
                  <c:v>0.39340110576065601</c:v>
                </c:pt>
                <c:pt idx="22059">
                  <c:v>0.39341894060995097</c:v>
                </c:pt>
                <c:pt idx="22060">
                  <c:v>0.39343677545924699</c:v>
                </c:pt>
                <c:pt idx="22061">
                  <c:v>0.39345461030854201</c:v>
                </c:pt>
                <c:pt idx="22062">
                  <c:v>0.39347244515783802</c:v>
                </c:pt>
                <c:pt idx="22063">
                  <c:v>0.39349028000713299</c:v>
                </c:pt>
                <c:pt idx="22064">
                  <c:v>0.393508114856429</c:v>
                </c:pt>
                <c:pt idx="22065">
                  <c:v>0.39352594970572402</c:v>
                </c:pt>
                <c:pt idx="22066">
                  <c:v>0.39354378455501998</c:v>
                </c:pt>
                <c:pt idx="22067">
                  <c:v>0.393561619404316</c:v>
                </c:pt>
                <c:pt idx="22068">
                  <c:v>0.39357945425361102</c:v>
                </c:pt>
                <c:pt idx="22069">
                  <c:v>0.39359728910290698</c:v>
                </c:pt>
                <c:pt idx="22070">
                  <c:v>0.393615123952202</c:v>
                </c:pt>
                <c:pt idx="22071">
                  <c:v>0.39363295880149801</c:v>
                </c:pt>
                <c:pt idx="22072">
                  <c:v>0.39365079365079297</c:v>
                </c:pt>
                <c:pt idx="22073">
                  <c:v>0.39366862850008899</c:v>
                </c:pt>
                <c:pt idx="22074">
                  <c:v>0.39368646334938401</c:v>
                </c:pt>
                <c:pt idx="22075">
                  <c:v>0.39370429819868002</c:v>
                </c:pt>
                <c:pt idx="22076">
                  <c:v>0.39372213304797499</c:v>
                </c:pt>
                <c:pt idx="22077">
                  <c:v>0.393739967897271</c:v>
                </c:pt>
                <c:pt idx="22078">
                  <c:v>0.39375780274656602</c:v>
                </c:pt>
                <c:pt idx="22079">
                  <c:v>0.39377563759586198</c:v>
                </c:pt>
                <c:pt idx="22080">
                  <c:v>0.393793472445157</c:v>
                </c:pt>
                <c:pt idx="22081">
                  <c:v>0.39381130729445302</c:v>
                </c:pt>
                <c:pt idx="22082">
                  <c:v>0.39382914214374798</c:v>
                </c:pt>
                <c:pt idx="22083">
                  <c:v>0.393846976993044</c:v>
                </c:pt>
                <c:pt idx="22084">
                  <c:v>0.39386481184233901</c:v>
                </c:pt>
                <c:pt idx="22085">
                  <c:v>0.39388264669163497</c:v>
                </c:pt>
                <c:pt idx="22086">
                  <c:v>0.39390048154093099</c:v>
                </c:pt>
                <c:pt idx="22087">
                  <c:v>0.39391831639022601</c:v>
                </c:pt>
                <c:pt idx="22088">
                  <c:v>0.39393615123952203</c:v>
                </c:pt>
                <c:pt idx="22089">
                  <c:v>0.39395398608881699</c:v>
                </c:pt>
                <c:pt idx="22090">
                  <c:v>0.393971820938113</c:v>
                </c:pt>
                <c:pt idx="22091">
                  <c:v>0.39398965578740802</c:v>
                </c:pt>
                <c:pt idx="22092">
                  <c:v>0.39400749063670398</c:v>
                </c:pt>
                <c:pt idx="22093">
                  <c:v>0.394025325485999</c:v>
                </c:pt>
                <c:pt idx="22094">
                  <c:v>0.39404316033529502</c:v>
                </c:pt>
                <c:pt idx="22095">
                  <c:v>0.39406099518458998</c:v>
                </c:pt>
                <c:pt idx="22096">
                  <c:v>0.394078830033886</c:v>
                </c:pt>
                <c:pt idx="22097">
                  <c:v>0.39409666488318101</c:v>
                </c:pt>
                <c:pt idx="22098">
                  <c:v>0.39411449973247697</c:v>
                </c:pt>
                <c:pt idx="22099">
                  <c:v>0.39413233458177199</c:v>
                </c:pt>
                <c:pt idx="22100">
                  <c:v>0.39415016943106801</c:v>
                </c:pt>
                <c:pt idx="22101">
                  <c:v>0.39416800428036303</c:v>
                </c:pt>
                <c:pt idx="22102">
                  <c:v>0.39418583912965899</c:v>
                </c:pt>
                <c:pt idx="22103">
                  <c:v>0.39420367397895401</c:v>
                </c:pt>
                <c:pt idx="22104">
                  <c:v>0.39422150882825002</c:v>
                </c:pt>
                <c:pt idx="22105">
                  <c:v>0.39423934367754498</c:v>
                </c:pt>
                <c:pt idx="22106">
                  <c:v>0.394257178526841</c:v>
                </c:pt>
                <c:pt idx="22107">
                  <c:v>0.39427501337613602</c:v>
                </c:pt>
                <c:pt idx="22108">
                  <c:v>0.39429284822543198</c:v>
                </c:pt>
                <c:pt idx="22109">
                  <c:v>0.394310683074728</c:v>
                </c:pt>
                <c:pt idx="22110">
                  <c:v>0.39432851792402301</c:v>
                </c:pt>
                <c:pt idx="22111">
                  <c:v>0.39434635277331898</c:v>
                </c:pt>
                <c:pt idx="22112">
                  <c:v>0.39436418762261399</c:v>
                </c:pt>
                <c:pt idx="22113">
                  <c:v>0.39438202247191001</c:v>
                </c:pt>
                <c:pt idx="22114">
                  <c:v>0.39439985732120503</c:v>
                </c:pt>
                <c:pt idx="22115">
                  <c:v>0.39441769217050099</c:v>
                </c:pt>
                <c:pt idx="22116">
                  <c:v>0.39443552701979601</c:v>
                </c:pt>
                <c:pt idx="22117">
                  <c:v>0.39445336186909202</c:v>
                </c:pt>
                <c:pt idx="22118">
                  <c:v>0.39447119671838698</c:v>
                </c:pt>
                <c:pt idx="22119">
                  <c:v>0.394489031567683</c:v>
                </c:pt>
                <c:pt idx="22120">
                  <c:v>0.39450686641697802</c:v>
                </c:pt>
                <c:pt idx="22121">
                  <c:v>0.39452470126627398</c:v>
                </c:pt>
                <c:pt idx="22122">
                  <c:v>0.394542536115569</c:v>
                </c:pt>
                <c:pt idx="22123">
                  <c:v>0.39456037096486501</c:v>
                </c:pt>
                <c:pt idx="22124">
                  <c:v>0.39457820581415998</c:v>
                </c:pt>
                <c:pt idx="22125">
                  <c:v>0.39459604066345599</c:v>
                </c:pt>
                <c:pt idx="22126">
                  <c:v>0.39461387551275101</c:v>
                </c:pt>
                <c:pt idx="22127">
                  <c:v>0.39463171036204697</c:v>
                </c:pt>
                <c:pt idx="22128">
                  <c:v>0.39464954521134299</c:v>
                </c:pt>
                <c:pt idx="22129">
                  <c:v>0.39466738006063801</c:v>
                </c:pt>
                <c:pt idx="22130">
                  <c:v>0.39468521490993402</c:v>
                </c:pt>
                <c:pt idx="22131">
                  <c:v>0.39470304975922899</c:v>
                </c:pt>
                <c:pt idx="22132">
                  <c:v>0.394720884608525</c:v>
                </c:pt>
                <c:pt idx="22133">
                  <c:v>0.39473871945782002</c:v>
                </c:pt>
                <c:pt idx="22134">
                  <c:v>0.39475655430711598</c:v>
                </c:pt>
                <c:pt idx="22135">
                  <c:v>0.394774389156411</c:v>
                </c:pt>
                <c:pt idx="22136">
                  <c:v>0.39479222400570702</c:v>
                </c:pt>
                <c:pt idx="22137">
                  <c:v>0.39481005885500198</c:v>
                </c:pt>
                <c:pt idx="22138">
                  <c:v>0.39482789370429799</c:v>
                </c:pt>
                <c:pt idx="22139">
                  <c:v>0.39484572855359301</c:v>
                </c:pt>
                <c:pt idx="22140">
                  <c:v>0.39486356340288897</c:v>
                </c:pt>
                <c:pt idx="22141">
                  <c:v>0.39488139825218399</c:v>
                </c:pt>
                <c:pt idx="22142">
                  <c:v>0.39489923310148001</c:v>
                </c:pt>
                <c:pt idx="22143">
                  <c:v>0.39491706795077502</c:v>
                </c:pt>
                <c:pt idx="22144">
                  <c:v>0.39493490280007099</c:v>
                </c:pt>
                <c:pt idx="22145">
                  <c:v>0.394952737649366</c:v>
                </c:pt>
                <c:pt idx="22146">
                  <c:v>0.39497057249866202</c:v>
                </c:pt>
                <c:pt idx="22147">
                  <c:v>0.39498840734795698</c:v>
                </c:pt>
                <c:pt idx="22148">
                  <c:v>0.395006242197253</c:v>
                </c:pt>
                <c:pt idx="22149">
                  <c:v>0.39502407704654802</c:v>
                </c:pt>
                <c:pt idx="22150">
                  <c:v>0.39504191189584398</c:v>
                </c:pt>
                <c:pt idx="22151">
                  <c:v>0.39505974674513999</c:v>
                </c:pt>
                <c:pt idx="22152">
                  <c:v>0.39507758159443501</c:v>
                </c:pt>
                <c:pt idx="22153">
                  <c:v>0.39509541644373097</c:v>
                </c:pt>
                <c:pt idx="22154">
                  <c:v>0.39511325129302599</c:v>
                </c:pt>
                <c:pt idx="22155">
                  <c:v>0.39513108614232201</c:v>
                </c:pt>
                <c:pt idx="22156">
                  <c:v>0.39514892099161703</c:v>
                </c:pt>
                <c:pt idx="22157">
                  <c:v>0.39516675584091299</c:v>
                </c:pt>
                <c:pt idx="22158">
                  <c:v>0.395184590690208</c:v>
                </c:pt>
                <c:pt idx="22159">
                  <c:v>0.39520242553950402</c:v>
                </c:pt>
                <c:pt idx="22160">
                  <c:v>0.39522026038879898</c:v>
                </c:pt>
                <c:pt idx="22161">
                  <c:v>0.395238095238095</c:v>
                </c:pt>
                <c:pt idx="22162">
                  <c:v>0.39525593008739002</c:v>
                </c:pt>
                <c:pt idx="22163">
                  <c:v>0.39527376493668598</c:v>
                </c:pt>
                <c:pt idx="22164">
                  <c:v>0.395291599785981</c:v>
                </c:pt>
                <c:pt idx="22165">
                  <c:v>0.39530943463527701</c:v>
                </c:pt>
                <c:pt idx="22166">
                  <c:v>0.39532726948457197</c:v>
                </c:pt>
                <c:pt idx="22167">
                  <c:v>0.39534510433386799</c:v>
                </c:pt>
                <c:pt idx="22168">
                  <c:v>0.39536293918316301</c:v>
                </c:pt>
                <c:pt idx="22169">
                  <c:v>0.39538077403245903</c:v>
                </c:pt>
                <c:pt idx="22170">
                  <c:v>0.39539860888175399</c:v>
                </c:pt>
                <c:pt idx="22171">
                  <c:v>0.39541644373105</c:v>
                </c:pt>
                <c:pt idx="22172">
                  <c:v>0.39543427858034602</c:v>
                </c:pt>
                <c:pt idx="22173">
                  <c:v>0.39545211342964098</c:v>
                </c:pt>
                <c:pt idx="22174">
                  <c:v>0.395469948278937</c:v>
                </c:pt>
                <c:pt idx="22175">
                  <c:v>0.39548778312823202</c:v>
                </c:pt>
                <c:pt idx="22176">
                  <c:v>0.39550561797752798</c:v>
                </c:pt>
                <c:pt idx="22177">
                  <c:v>0.395523452826823</c:v>
                </c:pt>
                <c:pt idx="22178">
                  <c:v>0.39554128767611901</c:v>
                </c:pt>
                <c:pt idx="22179">
                  <c:v>0.39555912252541398</c:v>
                </c:pt>
                <c:pt idx="22180">
                  <c:v>0.39557695737470999</c:v>
                </c:pt>
                <c:pt idx="22181">
                  <c:v>0.39559479222400501</c:v>
                </c:pt>
                <c:pt idx="22182">
                  <c:v>0.39561262707330103</c:v>
                </c:pt>
                <c:pt idx="22183">
                  <c:v>0.39563046192259599</c:v>
                </c:pt>
                <c:pt idx="22184">
                  <c:v>0.39564829677189201</c:v>
                </c:pt>
                <c:pt idx="22185">
                  <c:v>0.39566613162118702</c:v>
                </c:pt>
                <c:pt idx="22186">
                  <c:v>0.39568396647048298</c:v>
                </c:pt>
                <c:pt idx="22187">
                  <c:v>0.395701801319778</c:v>
                </c:pt>
                <c:pt idx="22188">
                  <c:v>0.39571963616907402</c:v>
                </c:pt>
                <c:pt idx="22189">
                  <c:v>0.39573747101836898</c:v>
                </c:pt>
                <c:pt idx="22190">
                  <c:v>0.395755305867665</c:v>
                </c:pt>
                <c:pt idx="22191">
                  <c:v>0.39577314071696001</c:v>
                </c:pt>
                <c:pt idx="22192">
                  <c:v>0.39579097556625598</c:v>
                </c:pt>
                <c:pt idx="22193">
                  <c:v>0.39580881041555199</c:v>
                </c:pt>
                <c:pt idx="22194">
                  <c:v>0.39582664526484701</c:v>
                </c:pt>
                <c:pt idx="22195">
                  <c:v>0.39584448011414303</c:v>
                </c:pt>
                <c:pt idx="22196">
                  <c:v>0.39586231496343799</c:v>
                </c:pt>
                <c:pt idx="22197">
                  <c:v>0.39588014981273401</c:v>
                </c:pt>
                <c:pt idx="22198">
                  <c:v>0.39589798466202902</c:v>
                </c:pt>
                <c:pt idx="22199">
                  <c:v>0.39591581951132498</c:v>
                </c:pt>
                <c:pt idx="22200">
                  <c:v>0.39593365436062</c:v>
                </c:pt>
                <c:pt idx="22201">
                  <c:v>0.39595148920991602</c:v>
                </c:pt>
                <c:pt idx="22202">
                  <c:v>0.39596932405921098</c:v>
                </c:pt>
                <c:pt idx="22203">
                  <c:v>0.395987158908507</c:v>
                </c:pt>
                <c:pt idx="22204">
                  <c:v>0.39600499375780202</c:v>
                </c:pt>
                <c:pt idx="22205">
                  <c:v>0.39602282860709798</c:v>
                </c:pt>
                <c:pt idx="22206">
                  <c:v>0.39604066345639299</c:v>
                </c:pt>
                <c:pt idx="22207">
                  <c:v>0.39605849830568901</c:v>
                </c:pt>
                <c:pt idx="22208">
                  <c:v>0.39607633315498397</c:v>
                </c:pt>
                <c:pt idx="22209">
                  <c:v>0.39609416800427999</c:v>
                </c:pt>
                <c:pt idx="22210">
                  <c:v>0.39611200285357501</c:v>
                </c:pt>
                <c:pt idx="22211">
                  <c:v>0.39612983770287102</c:v>
                </c:pt>
                <c:pt idx="22212">
                  <c:v>0.39614767255216599</c:v>
                </c:pt>
                <c:pt idx="22213">
                  <c:v>0.396165507401462</c:v>
                </c:pt>
                <c:pt idx="22214">
                  <c:v>0.39618334225075702</c:v>
                </c:pt>
                <c:pt idx="22215">
                  <c:v>0.39620117710005298</c:v>
                </c:pt>
                <c:pt idx="22216">
                  <c:v>0.396219011949349</c:v>
                </c:pt>
                <c:pt idx="22217">
                  <c:v>0.39623684679864402</c:v>
                </c:pt>
                <c:pt idx="22218">
                  <c:v>0.39625468164793998</c:v>
                </c:pt>
                <c:pt idx="22219">
                  <c:v>0.39627251649723499</c:v>
                </c:pt>
                <c:pt idx="22220">
                  <c:v>0.39629035134653101</c:v>
                </c:pt>
                <c:pt idx="22221">
                  <c:v>0.39630818619582597</c:v>
                </c:pt>
                <c:pt idx="22222">
                  <c:v>0.39632602104512199</c:v>
                </c:pt>
                <c:pt idx="22223">
                  <c:v>0.39634385589441701</c:v>
                </c:pt>
                <c:pt idx="22224">
                  <c:v>0.39636169074371302</c:v>
                </c:pt>
                <c:pt idx="22225">
                  <c:v>0.39637952559300799</c:v>
                </c:pt>
                <c:pt idx="22226">
                  <c:v>0.396397360442304</c:v>
                </c:pt>
                <c:pt idx="22227">
                  <c:v>0.39641519529159902</c:v>
                </c:pt>
                <c:pt idx="22228">
                  <c:v>0.39643303014089498</c:v>
                </c:pt>
                <c:pt idx="22229">
                  <c:v>0.39645086499019</c:v>
                </c:pt>
                <c:pt idx="22230">
                  <c:v>0.39646869983948602</c:v>
                </c:pt>
                <c:pt idx="22231">
                  <c:v>0.39648653468878098</c:v>
                </c:pt>
                <c:pt idx="22232">
                  <c:v>0.396504369538077</c:v>
                </c:pt>
                <c:pt idx="22233">
                  <c:v>0.39652220438737201</c:v>
                </c:pt>
                <c:pt idx="22234">
                  <c:v>0.39654003923666797</c:v>
                </c:pt>
                <c:pt idx="22235">
                  <c:v>0.39655787408596399</c:v>
                </c:pt>
                <c:pt idx="22236">
                  <c:v>0.39657570893525901</c:v>
                </c:pt>
                <c:pt idx="22237">
                  <c:v>0.39659354378455502</c:v>
                </c:pt>
                <c:pt idx="22238">
                  <c:v>0.39661137863384999</c:v>
                </c:pt>
                <c:pt idx="22239">
                  <c:v>0.396629213483146</c:v>
                </c:pt>
                <c:pt idx="22240">
                  <c:v>0.39664704833244102</c:v>
                </c:pt>
                <c:pt idx="22241">
                  <c:v>0.39666488318173698</c:v>
                </c:pt>
                <c:pt idx="22242">
                  <c:v>0.396682718031032</c:v>
                </c:pt>
                <c:pt idx="22243">
                  <c:v>0.39670055288032802</c:v>
                </c:pt>
                <c:pt idx="22244">
                  <c:v>0.39671838772962298</c:v>
                </c:pt>
                <c:pt idx="22245">
                  <c:v>0.396736222578919</c:v>
                </c:pt>
                <c:pt idx="22246">
                  <c:v>0.39675405742821401</c:v>
                </c:pt>
                <c:pt idx="22247">
                  <c:v>0.39677189227750997</c:v>
                </c:pt>
                <c:pt idx="22248">
                  <c:v>0.39678972712680499</c:v>
                </c:pt>
                <c:pt idx="22249">
                  <c:v>0.39680756197610101</c:v>
                </c:pt>
                <c:pt idx="22250">
                  <c:v>0.39682539682539603</c:v>
                </c:pt>
                <c:pt idx="22251">
                  <c:v>0.39684323167469199</c:v>
                </c:pt>
                <c:pt idx="22252">
                  <c:v>0.39686106652398701</c:v>
                </c:pt>
                <c:pt idx="22253">
                  <c:v>0.39687890137328302</c:v>
                </c:pt>
                <c:pt idx="22254">
                  <c:v>0.39689673622257798</c:v>
                </c:pt>
                <c:pt idx="22255">
                  <c:v>0.396914571071874</c:v>
                </c:pt>
                <c:pt idx="22256">
                  <c:v>0.39693240592116902</c:v>
                </c:pt>
                <c:pt idx="22257">
                  <c:v>0.39695024077046498</c:v>
                </c:pt>
                <c:pt idx="22258">
                  <c:v>0.396968075619761</c:v>
                </c:pt>
                <c:pt idx="22259">
                  <c:v>0.39698591046905601</c:v>
                </c:pt>
                <c:pt idx="22260">
                  <c:v>0.39700374531835197</c:v>
                </c:pt>
                <c:pt idx="22261">
                  <c:v>0.39702158016764699</c:v>
                </c:pt>
                <c:pt idx="22262">
                  <c:v>0.39703941501694301</c:v>
                </c:pt>
                <c:pt idx="22263">
                  <c:v>0.39705724986623803</c:v>
                </c:pt>
                <c:pt idx="22264">
                  <c:v>0.39707508471553399</c:v>
                </c:pt>
                <c:pt idx="22265">
                  <c:v>0.39709291956482901</c:v>
                </c:pt>
                <c:pt idx="22266">
                  <c:v>0.39711075441412502</c:v>
                </c:pt>
                <c:pt idx="22267">
                  <c:v>0.39712858926341998</c:v>
                </c:pt>
                <c:pt idx="22268">
                  <c:v>0.397146424112716</c:v>
                </c:pt>
                <c:pt idx="22269">
                  <c:v>0.39716425896201102</c:v>
                </c:pt>
                <c:pt idx="22270">
                  <c:v>0.39718209381130698</c:v>
                </c:pt>
                <c:pt idx="22271">
                  <c:v>0.397199928660602</c:v>
                </c:pt>
                <c:pt idx="22272">
                  <c:v>0.39721776350989801</c:v>
                </c:pt>
                <c:pt idx="22273">
                  <c:v>0.39723559835919298</c:v>
                </c:pt>
                <c:pt idx="22274">
                  <c:v>0.39725343320848899</c:v>
                </c:pt>
                <c:pt idx="22275">
                  <c:v>0.39727126805778401</c:v>
                </c:pt>
                <c:pt idx="22276">
                  <c:v>0.39728910290708003</c:v>
                </c:pt>
                <c:pt idx="22277">
                  <c:v>0.39730693775637499</c:v>
                </c:pt>
                <c:pt idx="22278">
                  <c:v>0.39732477260567101</c:v>
                </c:pt>
                <c:pt idx="22279">
                  <c:v>0.39734260745496702</c:v>
                </c:pt>
                <c:pt idx="22280">
                  <c:v>0.39736044230426198</c:v>
                </c:pt>
                <c:pt idx="22281">
                  <c:v>0.397378277153558</c:v>
                </c:pt>
                <c:pt idx="22282">
                  <c:v>0.39739611200285302</c:v>
                </c:pt>
                <c:pt idx="22283">
                  <c:v>0.39741394685214898</c:v>
                </c:pt>
                <c:pt idx="22284">
                  <c:v>0.397431781701444</c:v>
                </c:pt>
                <c:pt idx="22285">
                  <c:v>0.39744961655074001</c:v>
                </c:pt>
                <c:pt idx="22286">
                  <c:v>0.39746745140003498</c:v>
                </c:pt>
                <c:pt idx="22287">
                  <c:v>0.39748528624933099</c:v>
                </c:pt>
                <c:pt idx="22288">
                  <c:v>0.39750312109862601</c:v>
                </c:pt>
                <c:pt idx="22289">
                  <c:v>0.39752095594792197</c:v>
                </c:pt>
                <c:pt idx="22290">
                  <c:v>0.39753879079721699</c:v>
                </c:pt>
                <c:pt idx="22291">
                  <c:v>0.39755662564651301</c:v>
                </c:pt>
                <c:pt idx="22292">
                  <c:v>0.39757446049580802</c:v>
                </c:pt>
                <c:pt idx="22293">
                  <c:v>0.39759229534510399</c:v>
                </c:pt>
                <c:pt idx="22294">
                  <c:v>0.397610130194399</c:v>
                </c:pt>
                <c:pt idx="22295">
                  <c:v>0.39762796504369502</c:v>
                </c:pt>
                <c:pt idx="22296">
                  <c:v>0.39764579989298998</c:v>
                </c:pt>
                <c:pt idx="22297">
                  <c:v>0.397663634742286</c:v>
                </c:pt>
                <c:pt idx="22298">
                  <c:v>0.39768146959158102</c:v>
                </c:pt>
                <c:pt idx="22299">
                  <c:v>0.39769930444087698</c:v>
                </c:pt>
                <c:pt idx="22300">
                  <c:v>0.39771713929017299</c:v>
                </c:pt>
                <c:pt idx="22301">
                  <c:v>0.39773497413946801</c:v>
                </c:pt>
                <c:pt idx="22302">
                  <c:v>0.39775280898876397</c:v>
                </c:pt>
                <c:pt idx="22303">
                  <c:v>0.39777064383805899</c:v>
                </c:pt>
                <c:pt idx="22304">
                  <c:v>0.39778847868735501</c:v>
                </c:pt>
                <c:pt idx="22305">
                  <c:v>0.39780631353665002</c:v>
                </c:pt>
                <c:pt idx="22306">
                  <c:v>0.39782414838594599</c:v>
                </c:pt>
                <c:pt idx="22307">
                  <c:v>0.397841983235241</c:v>
                </c:pt>
                <c:pt idx="22308">
                  <c:v>0.39785981808453702</c:v>
                </c:pt>
                <c:pt idx="22309">
                  <c:v>0.39787765293383198</c:v>
                </c:pt>
                <c:pt idx="22310">
                  <c:v>0.397895487783128</c:v>
                </c:pt>
                <c:pt idx="22311">
                  <c:v>0.39791332263242302</c:v>
                </c:pt>
                <c:pt idx="22312">
                  <c:v>0.39793115748171898</c:v>
                </c:pt>
                <c:pt idx="22313">
                  <c:v>0.397948992331014</c:v>
                </c:pt>
                <c:pt idx="22314">
                  <c:v>0.39796682718031001</c:v>
                </c:pt>
                <c:pt idx="22315">
                  <c:v>0.39798466202960497</c:v>
                </c:pt>
                <c:pt idx="22316">
                  <c:v>0.39800249687890099</c:v>
                </c:pt>
                <c:pt idx="22317">
                  <c:v>0.39802033172819601</c:v>
                </c:pt>
                <c:pt idx="22318">
                  <c:v>0.39803816657749203</c:v>
                </c:pt>
                <c:pt idx="22319">
                  <c:v>0.39805600142678699</c:v>
                </c:pt>
                <c:pt idx="22320">
                  <c:v>0.398073836276083</c:v>
                </c:pt>
                <c:pt idx="22321">
                  <c:v>0.39809167112537802</c:v>
                </c:pt>
                <c:pt idx="22322">
                  <c:v>0.39810950597467398</c:v>
                </c:pt>
                <c:pt idx="22323">
                  <c:v>0.39812734082397</c:v>
                </c:pt>
                <c:pt idx="22324">
                  <c:v>0.39814517567326502</c:v>
                </c:pt>
                <c:pt idx="22325">
                  <c:v>0.39816301052256098</c:v>
                </c:pt>
                <c:pt idx="22326">
                  <c:v>0.398180845371856</c:v>
                </c:pt>
                <c:pt idx="22327">
                  <c:v>0.39819868022115201</c:v>
                </c:pt>
                <c:pt idx="22328">
                  <c:v>0.39821651507044697</c:v>
                </c:pt>
                <c:pt idx="22329">
                  <c:v>0.39823434991974299</c:v>
                </c:pt>
                <c:pt idx="22330">
                  <c:v>0.39825218476903801</c:v>
                </c:pt>
                <c:pt idx="22331">
                  <c:v>0.39827001961833403</c:v>
                </c:pt>
                <c:pt idx="22332">
                  <c:v>0.39828785446762899</c:v>
                </c:pt>
                <c:pt idx="22333">
                  <c:v>0.398305689316925</c:v>
                </c:pt>
                <c:pt idx="22334">
                  <c:v>0.39832352416622002</c:v>
                </c:pt>
                <c:pt idx="22335">
                  <c:v>0.39834135901551598</c:v>
                </c:pt>
                <c:pt idx="22336">
                  <c:v>0.398359193864811</c:v>
                </c:pt>
                <c:pt idx="22337">
                  <c:v>0.39837702871410702</c:v>
                </c:pt>
                <c:pt idx="22338">
                  <c:v>0.39839486356340198</c:v>
                </c:pt>
                <c:pt idx="22339">
                  <c:v>0.398412698412698</c:v>
                </c:pt>
                <c:pt idx="22340">
                  <c:v>0.39843053326199301</c:v>
                </c:pt>
                <c:pt idx="22341">
                  <c:v>0.39844836811128898</c:v>
                </c:pt>
                <c:pt idx="22342">
                  <c:v>0.39846620296058499</c:v>
                </c:pt>
                <c:pt idx="22343">
                  <c:v>0.39848403780988001</c:v>
                </c:pt>
                <c:pt idx="22344">
                  <c:v>0.39850187265917603</c:v>
                </c:pt>
                <c:pt idx="22345">
                  <c:v>0.39851970750847099</c:v>
                </c:pt>
                <c:pt idx="22346">
                  <c:v>0.39853754235776701</c:v>
                </c:pt>
                <c:pt idx="22347">
                  <c:v>0.39855537720706202</c:v>
                </c:pt>
                <c:pt idx="22348">
                  <c:v>0.39857321205635798</c:v>
                </c:pt>
                <c:pt idx="22349">
                  <c:v>0.398591046905653</c:v>
                </c:pt>
                <c:pt idx="22350">
                  <c:v>0.39860888175494902</c:v>
                </c:pt>
                <c:pt idx="22351">
                  <c:v>0.39862671660424398</c:v>
                </c:pt>
                <c:pt idx="22352">
                  <c:v>0.39864455145354</c:v>
                </c:pt>
                <c:pt idx="22353">
                  <c:v>0.39866238630283501</c:v>
                </c:pt>
                <c:pt idx="22354">
                  <c:v>0.39868022115213098</c:v>
                </c:pt>
                <c:pt idx="22355">
                  <c:v>0.39869805600142599</c:v>
                </c:pt>
                <c:pt idx="22356">
                  <c:v>0.39871589085072201</c:v>
                </c:pt>
                <c:pt idx="22357">
                  <c:v>0.39873372570001703</c:v>
                </c:pt>
                <c:pt idx="22358">
                  <c:v>0.39875156054931299</c:v>
                </c:pt>
                <c:pt idx="22359">
                  <c:v>0.39876939539860801</c:v>
                </c:pt>
                <c:pt idx="22360">
                  <c:v>0.39878723024790402</c:v>
                </c:pt>
                <c:pt idx="22361">
                  <c:v>0.39880506509719899</c:v>
                </c:pt>
                <c:pt idx="22362">
                  <c:v>0.398822899946495</c:v>
                </c:pt>
                <c:pt idx="22363">
                  <c:v>0.39884073479579002</c:v>
                </c:pt>
                <c:pt idx="22364">
                  <c:v>0.39885856964508598</c:v>
                </c:pt>
                <c:pt idx="22365">
                  <c:v>0.398876404494382</c:v>
                </c:pt>
                <c:pt idx="22366">
                  <c:v>0.39889423934367702</c:v>
                </c:pt>
                <c:pt idx="22367">
                  <c:v>0.39891207419297298</c:v>
                </c:pt>
                <c:pt idx="22368">
                  <c:v>0.39892990904226799</c:v>
                </c:pt>
                <c:pt idx="22369">
                  <c:v>0.39894774389156401</c:v>
                </c:pt>
                <c:pt idx="22370">
                  <c:v>0.39896557874085897</c:v>
                </c:pt>
                <c:pt idx="22371">
                  <c:v>0.39898341359015499</c:v>
                </c:pt>
                <c:pt idx="22372">
                  <c:v>0.39900124843945001</c:v>
                </c:pt>
                <c:pt idx="22373">
                  <c:v>0.39901908328874602</c:v>
                </c:pt>
                <c:pt idx="22374">
                  <c:v>0.39903691813804099</c:v>
                </c:pt>
                <c:pt idx="22375">
                  <c:v>0.399054752987337</c:v>
                </c:pt>
                <c:pt idx="22376">
                  <c:v>0.39907258783663202</c:v>
                </c:pt>
                <c:pt idx="22377">
                  <c:v>0.39909042268592798</c:v>
                </c:pt>
                <c:pt idx="22378">
                  <c:v>0.399108257535223</c:v>
                </c:pt>
                <c:pt idx="22379">
                  <c:v>0.39912609238451902</c:v>
                </c:pt>
                <c:pt idx="22380">
                  <c:v>0.39914392723381398</c:v>
                </c:pt>
                <c:pt idx="22381">
                  <c:v>0.39916176208310999</c:v>
                </c:pt>
                <c:pt idx="22382">
                  <c:v>0.39917959693240501</c:v>
                </c:pt>
                <c:pt idx="22383">
                  <c:v>0.39919743178170097</c:v>
                </c:pt>
                <c:pt idx="22384">
                  <c:v>0.39921526663099699</c:v>
                </c:pt>
                <c:pt idx="22385">
                  <c:v>0.39923310148029201</c:v>
                </c:pt>
                <c:pt idx="22386">
                  <c:v>0.39925093632958802</c:v>
                </c:pt>
                <c:pt idx="22387">
                  <c:v>0.39926877117888299</c:v>
                </c:pt>
                <c:pt idx="22388">
                  <c:v>0.399286606028179</c:v>
                </c:pt>
                <c:pt idx="22389">
                  <c:v>0.39930444087747402</c:v>
                </c:pt>
                <c:pt idx="22390">
                  <c:v>0.39932227572676998</c:v>
                </c:pt>
                <c:pt idx="22391">
                  <c:v>0.399340110576065</c:v>
                </c:pt>
                <c:pt idx="22392">
                  <c:v>0.39935794542536102</c:v>
                </c:pt>
                <c:pt idx="22393">
                  <c:v>0.39937578027465598</c:v>
                </c:pt>
                <c:pt idx="22394">
                  <c:v>0.39939361512395199</c:v>
                </c:pt>
                <c:pt idx="22395">
                  <c:v>0.39941144997324701</c:v>
                </c:pt>
                <c:pt idx="22396">
                  <c:v>0.39942928482254297</c:v>
                </c:pt>
                <c:pt idx="22397">
                  <c:v>0.39944711967183799</c:v>
                </c:pt>
                <c:pt idx="22398">
                  <c:v>0.39946495452113401</c:v>
                </c:pt>
                <c:pt idx="22399">
                  <c:v>0.39948278937042903</c:v>
                </c:pt>
                <c:pt idx="22400">
                  <c:v>0.39950062421972499</c:v>
                </c:pt>
                <c:pt idx="22401">
                  <c:v>0.39951845906902</c:v>
                </c:pt>
                <c:pt idx="22402">
                  <c:v>0.39953629391831602</c:v>
                </c:pt>
                <c:pt idx="22403">
                  <c:v>0.39955412876761098</c:v>
                </c:pt>
                <c:pt idx="22404">
                  <c:v>0.399571963616907</c:v>
                </c:pt>
                <c:pt idx="22405">
                  <c:v>0.39958979846620202</c:v>
                </c:pt>
                <c:pt idx="22406">
                  <c:v>0.39960763331549798</c:v>
                </c:pt>
                <c:pt idx="22407">
                  <c:v>0.399625468164794</c:v>
                </c:pt>
                <c:pt idx="22408">
                  <c:v>0.39964330301408901</c:v>
                </c:pt>
                <c:pt idx="22409">
                  <c:v>0.39966113786338497</c:v>
                </c:pt>
                <c:pt idx="22410">
                  <c:v>0.39967897271267999</c:v>
                </c:pt>
                <c:pt idx="22411">
                  <c:v>0.39969680756197601</c:v>
                </c:pt>
                <c:pt idx="22412">
                  <c:v>0.39971464241127103</c:v>
                </c:pt>
                <c:pt idx="22413">
                  <c:v>0.39973247726056699</c:v>
                </c:pt>
                <c:pt idx="22414">
                  <c:v>0.399750312109862</c:v>
                </c:pt>
                <c:pt idx="22415">
                  <c:v>0.39976814695915802</c:v>
                </c:pt>
                <c:pt idx="22416">
                  <c:v>0.39978598180845298</c:v>
                </c:pt>
                <c:pt idx="22417">
                  <c:v>0.399803816657749</c:v>
                </c:pt>
                <c:pt idx="22418">
                  <c:v>0.39982165150704402</c:v>
                </c:pt>
                <c:pt idx="22419">
                  <c:v>0.39983948635633998</c:v>
                </c:pt>
                <c:pt idx="22420">
                  <c:v>0.399857321205635</c:v>
                </c:pt>
                <c:pt idx="22421">
                  <c:v>0.39987515605493101</c:v>
                </c:pt>
                <c:pt idx="22422">
                  <c:v>0.39989299090422598</c:v>
                </c:pt>
                <c:pt idx="22423">
                  <c:v>0.39991082575352199</c:v>
                </c:pt>
                <c:pt idx="22424">
                  <c:v>0.39992866060281701</c:v>
                </c:pt>
                <c:pt idx="22425">
                  <c:v>0.39994649545211303</c:v>
                </c:pt>
                <c:pt idx="22426">
                  <c:v>0.39996433030140799</c:v>
                </c:pt>
                <c:pt idx="22427">
                  <c:v>0.39998216515070401</c:v>
                </c:pt>
                <c:pt idx="22428">
                  <c:v>0.4</c:v>
                </c:pt>
                <c:pt idx="22429">
                  <c:v>0.40001783484929498</c:v>
                </c:pt>
                <c:pt idx="22430">
                  <c:v>0.400035669698591</c:v>
                </c:pt>
                <c:pt idx="22431">
                  <c:v>0.40005350454788602</c:v>
                </c:pt>
                <c:pt idx="22432">
                  <c:v>0.40007133939718198</c:v>
                </c:pt>
                <c:pt idx="22433">
                  <c:v>0.400089174246477</c:v>
                </c:pt>
                <c:pt idx="22434">
                  <c:v>0.40010700909577301</c:v>
                </c:pt>
                <c:pt idx="22435">
                  <c:v>0.40012484394506798</c:v>
                </c:pt>
                <c:pt idx="22436">
                  <c:v>0.40014267879436399</c:v>
                </c:pt>
                <c:pt idx="22437">
                  <c:v>0.40016051364365901</c:v>
                </c:pt>
                <c:pt idx="22438">
                  <c:v>0.40017834849295503</c:v>
                </c:pt>
                <c:pt idx="22439">
                  <c:v>0.40019618334224999</c:v>
                </c:pt>
                <c:pt idx="22440">
                  <c:v>0.40021401819154601</c:v>
                </c:pt>
                <c:pt idx="22441">
                  <c:v>0.40023185304084102</c:v>
                </c:pt>
                <c:pt idx="22442">
                  <c:v>0.40024968789013698</c:v>
                </c:pt>
                <c:pt idx="22443">
                  <c:v>0.400267522739432</c:v>
                </c:pt>
                <c:pt idx="22444">
                  <c:v>0.40028535758872802</c:v>
                </c:pt>
                <c:pt idx="22445">
                  <c:v>0.40030319243802298</c:v>
                </c:pt>
                <c:pt idx="22446">
                  <c:v>0.400321027287319</c:v>
                </c:pt>
                <c:pt idx="22447">
                  <c:v>0.40033886213661402</c:v>
                </c:pt>
                <c:pt idx="22448">
                  <c:v>0.40035669698590998</c:v>
                </c:pt>
                <c:pt idx="22449">
                  <c:v>0.40037453183520599</c:v>
                </c:pt>
                <c:pt idx="22450">
                  <c:v>0.40039236668450101</c:v>
                </c:pt>
                <c:pt idx="22451">
                  <c:v>0.40041020153379703</c:v>
                </c:pt>
                <c:pt idx="22452">
                  <c:v>0.40042803638309199</c:v>
                </c:pt>
                <c:pt idx="22453">
                  <c:v>0.40044587123238801</c:v>
                </c:pt>
                <c:pt idx="22454">
                  <c:v>0.40046370608168302</c:v>
                </c:pt>
                <c:pt idx="22455">
                  <c:v>0.40048154093097899</c:v>
                </c:pt>
                <c:pt idx="22456">
                  <c:v>0.400499375780274</c:v>
                </c:pt>
                <c:pt idx="22457">
                  <c:v>0.40051721062957002</c:v>
                </c:pt>
                <c:pt idx="22458">
                  <c:v>0.40053504547886498</c:v>
                </c:pt>
                <c:pt idx="22459">
                  <c:v>0.400552880328161</c:v>
                </c:pt>
                <c:pt idx="22460">
                  <c:v>0.40057071517745602</c:v>
                </c:pt>
                <c:pt idx="22461">
                  <c:v>0.40058855002675198</c:v>
                </c:pt>
                <c:pt idx="22462">
                  <c:v>0.40060638487604699</c:v>
                </c:pt>
                <c:pt idx="22463">
                  <c:v>0.40062421972534301</c:v>
                </c:pt>
                <c:pt idx="22464">
                  <c:v>0.40064205457463797</c:v>
                </c:pt>
                <c:pt idx="22465">
                  <c:v>0.40065988942393399</c:v>
                </c:pt>
                <c:pt idx="22466">
                  <c:v>0.40067772427322901</c:v>
                </c:pt>
                <c:pt idx="22467">
                  <c:v>0.40069555912252502</c:v>
                </c:pt>
                <c:pt idx="22468">
                  <c:v>0.40071339397181999</c:v>
                </c:pt>
                <c:pt idx="22469">
                  <c:v>0.400731228821116</c:v>
                </c:pt>
                <c:pt idx="22470">
                  <c:v>0.40074906367041102</c:v>
                </c:pt>
                <c:pt idx="22471">
                  <c:v>0.40076689851970698</c:v>
                </c:pt>
                <c:pt idx="22472">
                  <c:v>0.400784733369003</c:v>
                </c:pt>
                <c:pt idx="22473">
                  <c:v>0.40080256821829802</c:v>
                </c:pt>
                <c:pt idx="22474">
                  <c:v>0.40082040306759398</c:v>
                </c:pt>
                <c:pt idx="22475">
                  <c:v>0.400838237916889</c:v>
                </c:pt>
                <c:pt idx="22476">
                  <c:v>0.40085607276618501</c:v>
                </c:pt>
                <c:pt idx="22477">
                  <c:v>0.40087390761547997</c:v>
                </c:pt>
                <c:pt idx="22478">
                  <c:v>0.40089174246477599</c:v>
                </c:pt>
                <c:pt idx="22479">
                  <c:v>0.40090957731407101</c:v>
                </c:pt>
                <c:pt idx="22480">
                  <c:v>0.40092741216336703</c:v>
                </c:pt>
                <c:pt idx="22481">
                  <c:v>0.40094524701266199</c:v>
                </c:pt>
                <c:pt idx="22482">
                  <c:v>0.400963081861958</c:v>
                </c:pt>
                <c:pt idx="22483">
                  <c:v>0.40098091671125302</c:v>
                </c:pt>
                <c:pt idx="22484">
                  <c:v>0.40099875156054898</c:v>
                </c:pt>
                <c:pt idx="22485">
                  <c:v>0.401016586409844</c:v>
                </c:pt>
                <c:pt idx="22486">
                  <c:v>0.40103442125914002</c:v>
                </c:pt>
                <c:pt idx="22487">
                  <c:v>0.40105225610843498</c:v>
                </c:pt>
                <c:pt idx="22488">
                  <c:v>0.401070090957731</c:v>
                </c:pt>
                <c:pt idx="22489">
                  <c:v>0.40108792580702601</c:v>
                </c:pt>
                <c:pt idx="22490">
                  <c:v>0.40110576065632197</c:v>
                </c:pt>
                <c:pt idx="22491">
                  <c:v>0.40112359550561799</c:v>
                </c:pt>
                <c:pt idx="22492">
                  <c:v>0.40114143035491301</c:v>
                </c:pt>
                <c:pt idx="22493">
                  <c:v>0.40115926520420903</c:v>
                </c:pt>
                <c:pt idx="22494">
                  <c:v>0.40117710005350399</c:v>
                </c:pt>
                <c:pt idx="22495">
                  <c:v>0.4011949349028</c:v>
                </c:pt>
                <c:pt idx="22496">
                  <c:v>0.40121276975209502</c:v>
                </c:pt>
                <c:pt idx="22497">
                  <c:v>0.40123060460139098</c:v>
                </c:pt>
                <c:pt idx="22498">
                  <c:v>0.401248439450686</c:v>
                </c:pt>
                <c:pt idx="22499">
                  <c:v>0.40126627429998202</c:v>
                </c:pt>
                <c:pt idx="22500">
                  <c:v>0.40128410914927698</c:v>
                </c:pt>
                <c:pt idx="22501">
                  <c:v>0.401301943998573</c:v>
                </c:pt>
                <c:pt idx="22502">
                  <c:v>0.40131977884786801</c:v>
                </c:pt>
                <c:pt idx="22503">
                  <c:v>0.40133761369716398</c:v>
                </c:pt>
                <c:pt idx="22504">
                  <c:v>0.40135544854645899</c:v>
                </c:pt>
                <c:pt idx="22505">
                  <c:v>0.40137328339575501</c:v>
                </c:pt>
                <c:pt idx="22506">
                  <c:v>0.40139111824505003</c:v>
                </c:pt>
                <c:pt idx="22507">
                  <c:v>0.40140895309434599</c:v>
                </c:pt>
                <c:pt idx="22508">
                  <c:v>0.40142678794364101</c:v>
                </c:pt>
                <c:pt idx="22509">
                  <c:v>0.40144462279293702</c:v>
                </c:pt>
                <c:pt idx="22510">
                  <c:v>0.40146245764223198</c:v>
                </c:pt>
                <c:pt idx="22511">
                  <c:v>0.401480292491528</c:v>
                </c:pt>
                <c:pt idx="22512">
                  <c:v>0.40149812734082302</c:v>
                </c:pt>
                <c:pt idx="22513">
                  <c:v>0.40151596219011898</c:v>
                </c:pt>
                <c:pt idx="22514">
                  <c:v>0.401533797039415</c:v>
                </c:pt>
                <c:pt idx="22515">
                  <c:v>0.40155163188871001</c:v>
                </c:pt>
                <c:pt idx="22516">
                  <c:v>0.40156946673800598</c:v>
                </c:pt>
                <c:pt idx="22517">
                  <c:v>0.40158730158730099</c:v>
                </c:pt>
                <c:pt idx="22518">
                  <c:v>0.40160513643659701</c:v>
                </c:pt>
                <c:pt idx="22519">
                  <c:v>0.40162297128589203</c:v>
                </c:pt>
                <c:pt idx="22520">
                  <c:v>0.40164080613518799</c:v>
                </c:pt>
                <c:pt idx="22521">
                  <c:v>0.40165864098448301</c:v>
                </c:pt>
                <c:pt idx="22522">
                  <c:v>0.40167647583377902</c:v>
                </c:pt>
                <c:pt idx="22523">
                  <c:v>0.40169431068307399</c:v>
                </c:pt>
                <c:pt idx="22524">
                  <c:v>0.40171214553237</c:v>
                </c:pt>
                <c:pt idx="22525">
                  <c:v>0.40172998038166502</c:v>
                </c:pt>
                <c:pt idx="22526">
                  <c:v>0.40174781523096098</c:v>
                </c:pt>
                <c:pt idx="22527">
                  <c:v>0.401765650080256</c:v>
                </c:pt>
                <c:pt idx="22528">
                  <c:v>0.40178348492955201</c:v>
                </c:pt>
                <c:pt idx="22529">
                  <c:v>0.40180131977884698</c:v>
                </c:pt>
                <c:pt idx="22530">
                  <c:v>0.40181915462814299</c:v>
                </c:pt>
                <c:pt idx="22531">
                  <c:v>0.40183698947743801</c:v>
                </c:pt>
                <c:pt idx="22532">
                  <c:v>0.40185482432673397</c:v>
                </c:pt>
                <c:pt idx="22533">
                  <c:v>0.40187265917602999</c:v>
                </c:pt>
                <c:pt idx="22534">
                  <c:v>0.40189049402532501</c:v>
                </c:pt>
                <c:pt idx="22535">
                  <c:v>0.40190832887462102</c:v>
                </c:pt>
                <c:pt idx="22536">
                  <c:v>0.40192616372391599</c:v>
                </c:pt>
                <c:pt idx="22537">
                  <c:v>0.401943998573212</c:v>
                </c:pt>
                <c:pt idx="22538">
                  <c:v>0.40196183342250702</c:v>
                </c:pt>
                <c:pt idx="22539">
                  <c:v>0.40197966827180298</c:v>
                </c:pt>
                <c:pt idx="22540">
                  <c:v>0.401997503121098</c:v>
                </c:pt>
                <c:pt idx="22541">
                  <c:v>0.40201533797039402</c:v>
                </c:pt>
                <c:pt idx="22542">
                  <c:v>0.40203317281968898</c:v>
                </c:pt>
                <c:pt idx="22543">
                  <c:v>0.40205100766898499</c:v>
                </c:pt>
                <c:pt idx="22544">
                  <c:v>0.40206884251828001</c:v>
                </c:pt>
                <c:pt idx="22545">
                  <c:v>0.40208667736757597</c:v>
                </c:pt>
                <c:pt idx="22546">
                  <c:v>0.40210451221687099</c:v>
                </c:pt>
                <c:pt idx="22547">
                  <c:v>0.40212234706616701</c:v>
                </c:pt>
                <c:pt idx="22548">
                  <c:v>0.40214018191546202</c:v>
                </c:pt>
                <c:pt idx="22549">
                  <c:v>0.40215801676475799</c:v>
                </c:pt>
                <c:pt idx="22550">
                  <c:v>0.402175851614053</c:v>
                </c:pt>
                <c:pt idx="22551">
                  <c:v>0.40219368646334902</c:v>
                </c:pt>
                <c:pt idx="22552">
                  <c:v>0.40221152131264398</c:v>
                </c:pt>
                <c:pt idx="22553">
                  <c:v>0.40222935616194</c:v>
                </c:pt>
                <c:pt idx="22554">
                  <c:v>0.40224719101123502</c:v>
                </c:pt>
                <c:pt idx="22555">
                  <c:v>0.40226502586053098</c:v>
                </c:pt>
                <c:pt idx="22556">
                  <c:v>0.40228286070982699</c:v>
                </c:pt>
                <c:pt idx="22557">
                  <c:v>0.40230069555912201</c:v>
                </c:pt>
                <c:pt idx="22558">
                  <c:v>0.40231853040841797</c:v>
                </c:pt>
                <c:pt idx="22559">
                  <c:v>0.40233636525771299</c:v>
                </c:pt>
                <c:pt idx="22560">
                  <c:v>0.40235420010700901</c:v>
                </c:pt>
                <c:pt idx="22561">
                  <c:v>0.40237203495630403</c:v>
                </c:pt>
                <c:pt idx="22562">
                  <c:v>0.40238986980559999</c:v>
                </c:pt>
                <c:pt idx="22563">
                  <c:v>0.402407704654895</c:v>
                </c:pt>
                <c:pt idx="22564">
                  <c:v>0.40242553950419102</c:v>
                </c:pt>
                <c:pt idx="22565">
                  <c:v>0.40244337435348598</c:v>
                </c:pt>
                <c:pt idx="22566">
                  <c:v>0.402461209202782</c:v>
                </c:pt>
                <c:pt idx="22567">
                  <c:v>0.40247904405207702</c:v>
                </c:pt>
                <c:pt idx="22568">
                  <c:v>0.40249687890137298</c:v>
                </c:pt>
                <c:pt idx="22569">
                  <c:v>0.402514713750668</c:v>
                </c:pt>
                <c:pt idx="22570">
                  <c:v>0.40253254859996401</c:v>
                </c:pt>
                <c:pt idx="22571">
                  <c:v>0.40255038344925897</c:v>
                </c:pt>
                <c:pt idx="22572">
                  <c:v>0.40256821829855499</c:v>
                </c:pt>
                <c:pt idx="22573">
                  <c:v>0.40258605314785001</c:v>
                </c:pt>
                <c:pt idx="22574">
                  <c:v>0.40260388799714603</c:v>
                </c:pt>
                <c:pt idx="22575">
                  <c:v>0.40262172284644099</c:v>
                </c:pt>
                <c:pt idx="22576">
                  <c:v>0.402639557695737</c:v>
                </c:pt>
                <c:pt idx="22577">
                  <c:v>0.40265739254503302</c:v>
                </c:pt>
                <c:pt idx="22578">
                  <c:v>0.40267522739432798</c:v>
                </c:pt>
                <c:pt idx="22579">
                  <c:v>0.402693062243624</c:v>
                </c:pt>
                <c:pt idx="22580">
                  <c:v>0.40271089709291902</c:v>
                </c:pt>
                <c:pt idx="22581">
                  <c:v>0.40272873194221498</c:v>
                </c:pt>
                <c:pt idx="22582">
                  <c:v>0.40274656679151</c:v>
                </c:pt>
                <c:pt idx="22583">
                  <c:v>0.40276440164080601</c:v>
                </c:pt>
                <c:pt idx="22584">
                  <c:v>0.40278223649010098</c:v>
                </c:pt>
                <c:pt idx="22585">
                  <c:v>0.40280007133939699</c:v>
                </c:pt>
                <c:pt idx="22586">
                  <c:v>0.40281790618869201</c:v>
                </c:pt>
                <c:pt idx="22587">
                  <c:v>0.40283574103798803</c:v>
                </c:pt>
                <c:pt idx="22588">
                  <c:v>0.40285357588728299</c:v>
                </c:pt>
                <c:pt idx="22589">
                  <c:v>0.40287141073657901</c:v>
                </c:pt>
                <c:pt idx="22590">
                  <c:v>0.40288924558587402</c:v>
                </c:pt>
                <c:pt idx="22591">
                  <c:v>0.40290708043516998</c:v>
                </c:pt>
                <c:pt idx="22592">
                  <c:v>0.402924915284465</c:v>
                </c:pt>
                <c:pt idx="22593">
                  <c:v>0.40294275013376102</c:v>
                </c:pt>
                <c:pt idx="22594">
                  <c:v>0.40296058498305598</c:v>
                </c:pt>
                <c:pt idx="22595">
                  <c:v>0.402978419832352</c:v>
                </c:pt>
                <c:pt idx="22596">
                  <c:v>0.40299625468164701</c:v>
                </c:pt>
                <c:pt idx="22597">
                  <c:v>0.40301408953094298</c:v>
                </c:pt>
                <c:pt idx="22598">
                  <c:v>0.40303192438023899</c:v>
                </c:pt>
                <c:pt idx="22599">
                  <c:v>0.40304975922953401</c:v>
                </c:pt>
                <c:pt idx="22600">
                  <c:v>0.40306759407883003</c:v>
                </c:pt>
                <c:pt idx="22601">
                  <c:v>0.40308542892812499</c:v>
                </c:pt>
                <c:pt idx="22602">
                  <c:v>0.40310326377742101</c:v>
                </c:pt>
                <c:pt idx="22603">
                  <c:v>0.40312109862671602</c:v>
                </c:pt>
                <c:pt idx="22604">
                  <c:v>0.40313893347601198</c:v>
                </c:pt>
                <c:pt idx="22605">
                  <c:v>0.403156768325307</c:v>
                </c:pt>
                <c:pt idx="22606">
                  <c:v>0.40317460317460302</c:v>
                </c:pt>
                <c:pt idx="22607">
                  <c:v>0.40319243802389798</c:v>
                </c:pt>
                <c:pt idx="22608">
                  <c:v>0.403210272873194</c:v>
                </c:pt>
                <c:pt idx="22609">
                  <c:v>0.40322810772248902</c:v>
                </c:pt>
                <c:pt idx="22610">
                  <c:v>0.40324594257178498</c:v>
                </c:pt>
                <c:pt idx="22611">
                  <c:v>0.40326377742107999</c:v>
                </c:pt>
                <c:pt idx="22612">
                  <c:v>0.40328161227037601</c:v>
                </c:pt>
                <c:pt idx="22613">
                  <c:v>0.40329944711967097</c:v>
                </c:pt>
                <c:pt idx="22614">
                  <c:v>0.40331728196896699</c:v>
                </c:pt>
                <c:pt idx="22615">
                  <c:v>0.40333511681826201</c:v>
                </c:pt>
                <c:pt idx="22616">
                  <c:v>0.40335295166755802</c:v>
                </c:pt>
                <c:pt idx="22617">
                  <c:v>0.40337078651685299</c:v>
                </c:pt>
                <c:pt idx="22618">
                  <c:v>0.403388621366149</c:v>
                </c:pt>
                <c:pt idx="22619">
                  <c:v>0.40340645621544402</c:v>
                </c:pt>
                <c:pt idx="22620">
                  <c:v>0.40342429106473998</c:v>
                </c:pt>
                <c:pt idx="22621">
                  <c:v>0.403442125914036</c:v>
                </c:pt>
                <c:pt idx="22622">
                  <c:v>0.40345996076333102</c:v>
                </c:pt>
                <c:pt idx="22623">
                  <c:v>0.40347779561262698</c:v>
                </c:pt>
                <c:pt idx="22624">
                  <c:v>0.40349563046192199</c:v>
                </c:pt>
                <c:pt idx="22625">
                  <c:v>0.40351346531121801</c:v>
                </c:pt>
                <c:pt idx="22626">
                  <c:v>0.40353130016051297</c:v>
                </c:pt>
                <c:pt idx="22627">
                  <c:v>0.40354913500980899</c:v>
                </c:pt>
                <c:pt idx="22628">
                  <c:v>0.40356696985910401</c:v>
                </c:pt>
                <c:pt idx="22629">
                  <c:v>0.40358480470840002</c:v>
                </c:pt>
                <c:pt idx="22630">
                  <c:v>0.40360263955769499</c:v>
                </c:pt>
                <c:pt idx="22631">
                  <c:v>0.403620474406991</c:v>
                </c:pt>
                <c:pt idx="22632">
                  <c:v>0.40363830925628602</c:v>
                </c:pt>
                <c:pt idx="22633">
                  <c:v>0.40365614410558198</c:v>
                </c:pt>
                <c:pt idx="22634">
                  <c:v>0.403673978954877</c:v>
                </c:pt>
                <c:pt idx="22635">
                  <c:v>0.40369181380417302</c:v>
                </c:pt>
                <c:pt idx="22636">
                  <c:v>0.40370964865346798</c:v>
                </c:pt>
                <c:pt idx="22637">
                  <c:v>0.403727483502764</c:v>
                </c:pt>
                <c:pt idx="22638">
                  <c:v>0.40374531835205901</c:v>
                </c:pt>
                <c:pt idx="22639">
                  <c:v>0.40376315320135497</c:v>
                </c:pt>
                <c:pt idx="22640">
                  <c:v>0.40378098805065099</c:v>
                </c:pt>
                <c:pt idx="22641">
                  <c:v>0.40379882289994601</c:v>
                </c:pt>
                <c:pt idx="22642">
                  <c:v>0.40381665774924203</c:v>
                </c:pt>
                <c:pt idx="22643">
                  <c:v>0.40383449259853699</c:v>
                </c:pt>
                <c:pt idx="22644">
                  <c:v>0.403852327447833</c:v>
                </c:pt>
                <c:pt idx="22645">
                  <c:v>0.40387016229712802</c:v>
                </c:pt>
                <c:pt idx="22646">
                  <c:v>0.40388799714642398</c:v>
                </c:pt>
                <c:pt idx="22647">
                  <c:v>0.403905831995719</c:v>
                </c:pt>
                <c:pt idx="22648">
                  <c:v>0.40392366684501502</c:v>
                </c:pt>
                <c:pt idx="22649">
                  <c:v>0.40394150169430998</c:v>
                </c:pt>
                <c:pt idx="22650">
                  <c:v>0.403959336543606</c:v>
                </c:pt>
                <c:pt idx="22651">
                  <c:v>0.40397717139290101</c:v>
                </c:pt>
                <c:pt idx="22652">
                  <c:v>0.40399500624219697</c:v>
                </c:pt>
                <c:pt idx="22653">
                  <c:v>0.40401284109149199</c:v>
                </c:pt>
                <c:pt idx="22654">
                  <c:v>0.40403067594078801</c:v>
                </c:pt>
                <c:pt idx="22655">
                  <c:v>0.40404851079008303</c:v>
                </c:pt>
                <c:pt idx="22656">
                  <c:v>0.40406634563937899</c:v>
                </c:pt>
                <c:pt idx="22657">
                  <c:v>0.40408418048867401</c:v>
                </c:pt>
                <c:pt idx="22658">
                  <c:v>0.40410201533797002</c:v>
                </c:pt>
                <c:pt idx="22659">
                  <c:v>0.40411985018726498</c:v>
                </c:pt>
                <c:pt idx="22660">
                  <c:v>0.404137685036561</c:v>
                </c:pt>
                <c:pt idx="22661">
                  <c:v>0.40415551988585602</c:v>
                </c:pt>
                <c:pt idx="22662">
                  <c:v>0.40417335473515198</c:v>
                </c:pt>
                <c:pt idx="22663">
                  <c:v>0.404191189584448</c:v>
                </c:pt>
                <c:pt idx="22664">
                  <c:v>0.40420902443374301</c:v>
                </c:pt>
                <c:pt idx="22665">
                  <c:v>0.40422685928303898</c:v>
                </c:pt>
                <c:pt idx="22666">
                  <c:v>0.40424469413233399</c:v>
                </c:pt>
                <c:pt idx="22667">
                  <c:v>0.40426252898163001</c:v>
                </c:pt>
                <c:pt idx="22668">
                  <c:v>0.40428036383092503</c:v>
                </c:pt>
                <c:pt idx="22669">
                  <c:v>0.40429819868022099</c:v>
                </c:pt>
                <c:pt idx="22670">
                  <c:v>0.40431603352951601</c:v>
                </c:pt>
                <c:pt idx="22671">
                  <c:v>0.40433386837881202</c:v>
                </c:pt>
                <c:pt idx="22672">
                  <c:v>0.40435170322810698</c:v>
                </c:pt>
                <c:pt idx="22673">
                  <c:v>0.404369538077403</c:v>
                </c:pt>
                <c:pt idx="22674">
                  <c:v>0.40438737292669802</c:v>
                </c:pt>
                <c:pt idx="22675">
                  <c:v>0.40440520777599398</c:v>
                </c:pt>
                <c:pt idx="22676">
                  <c:v>0.404423042625289</c:v>
                </c:pt>
                <c:pt idx="22677">
                  <c:v>0.40444087747458501</c:v>
                </c:pt>
                <c:pt idx="22678">
                  <c:v>0.40445871232387998</c:v>
                </c:pt>
                <c:pt idx="22679">
                  <c:v>0.40447654717317599</c:v>
                </c:pt>
                <c:pt idx="22680">
                  <c:v>0.40449438202247101</c:v>
                </c:pt>
                <c:pt idx="22681">
                  <c:v>0.40451221687176703</c:v>
                </c:pt>
                <c:pt idx="22682">
                  <c:v>0.40453005172106199</c:v>
                </c:pt>
                <c:pt idx="22683">
                  <c:v>0.40454788657035801</c:v>
                </c:pt>
                <c:pt idx="22684">
                  <c:v>0.40456572141965402</c:v>
                </c:pt>
                <c:pt idx="22685">
                  <c:v>0.40458355626894899</c:v>
                </c:pt>
                <c:pt idx="22686">
                  <c:v>0.404601391118245</c:v>
                </c:pt>
                <c:pt idx="22687">
                  <c:v>0.40461922596754002</c:v>
                </c:pt>
                <c:pt idx="22688">
                  <c:v>0.40463706081683598</c:v>
                </c:pt>
                <c:pt idx="22689">
                  <c:v>0.404654895666131</c:v>
                </c:pt>
                <c:pt idx="22690">
                  <c:v>0.40467273051542701</c:v>
                </c:pt>
                <c:pt idx="22691">
                  <c:v>0.40469056536472198</c:v>
                </c:pt>
                <c:pt idx="22692">
                  <c:v>0.40470840021401799</c:v>
                </c:pt>
                <c:pt idx="22693">
                  <c:v>0.40472623506331301</c:v>
                </c:pt>
                <c:pt idx="22694">
                  <c:v>0.40474406991260897</c:v>
                </c:pt>
                <c:pt idx="22695">
                  <c:v>0.40476190476190399</c:v>
                </c:pt>
                <c:pt idx="22696">
                  <c:v>0.40477973961120001</c:v>
                </c:pt>
                <c:pt idx="22697">
                  <c:v>0.40479757446049502</c:v>
                </c:pt>
                <c:pt idx="22698">
                  <c:v>0.40481540930979099</c:v>
                </c:pt>
                <c:pt idx="22699">
                  <c:v>0.404833244159086</c:v>
                </c:pt>
                <c:pt idx="22700">
                  <c:v>0.40485107900838202</c:v>
                </c:pt>
                <c:pt idx="22701">
                  <c:v>0.40486891385767698</c:v>
                </c:pt>
                <c:pt idx="22702">
                  <c:v>0.404886748706973</c:v>
                </c:pt>
                <c:pt idx="22703">
                  <c:v>0.40490458355626802</c:v>
                </c:pt>
                <c:pt idx="22704">
                  <c:v>0.40492241840556398</c:v>
                </c:pt>
                <c:pt idx="22705">
                  <c:v>0.40494025325485999</c:v>
                </c:pt>
                <c:pt idx="22706">
                  <c:v>0.40495808810415501</c:v>
                </c:pt>
                <c:pt idx="22707">
                  <c:v>0.40497592295345097</c:v>
                </c:pt>
                <c:pt idx="22708">
                  <c:v>0.40499375780274599</c:v>
                </c:pt>
                <c:pt idx="22709">
                  <c:v>0.40501159265204201</c:v>
                </c:pt>
                <c:pt idx="22710">
                  <c:v>0.40502942750133702</c:v>
                </c:pt>
                <c:pt idx="22711">
                  <c:v>0.40504726235063299</c:v>
                </c:pt>
                <c:pt idx="22712">
                  <c:v>0.405065097199928</c:v>
                </c:pt>
                <c:pt idx="22713">
                  <c:v>0.40508293204922402</c:v>
                </c:pt>
                <c:pt idx="22714">
                  <c:v>0.40510076689851898</c:v>
                </c:pt>
                <c:pt idx="22715">
                  <c:v>0.405118601747815</c:v>
                </c:pt>
                <c:pt idx="22716">
                  <c:v>0.40513643659711002</c:v>
                </c:pt>
                <c:pt idx="22717">
                  <c:v>0.40515427144640598</c:v>
                </c:pt>
                <c:pt idx="22718">
                  <c:v>0.405172106295701</c:v>
                </c:pt>
                <c:pt idx="22719">
                  <c:v>0.40518994114499701</c:v>
                </c:pt>
                <c:pt idx="22720">
                  <c:v>0.40520777599429197</c:v>
                </c:pt>
                <c:pt idx="22721">
                  <c:v>0.40522561084358799</c:v>
                </c:pt>
                <c:pt idx="22722">
                  <c:v>0.40524344569288301</c:v>
                </c:pt>
                <c:pt idx="22723">
                  <c:v>0.40526128054217903</c:v>
                </c:pt>
                <c:pt idx="22724">
                  <c:v>0.40527911539147399</c:v>
                </c:pt>
                <c:pt idx="22725">
                  <c:v>0.40529695024077</c:v>
                </c:pt>
                <c:pt idx="22726">
                  <c:v>0.40531478509006502</c:v>
                </c:pt>
                <c:pt idx="22727">
                  <c:v>0.40533261993936098</c:v>
                </c:pt>
                <c:pt idx="22728">
                  <c:v>0.405350454788657</c:v>
                </c:pt>
                <c:pt idx="22729">
                  <c:v>0.40536828963795202</c:v>
                </c:pt>
                <c:pt idx="22730">
                  <c:v>0.40538612448724798</c:v>
                </c:pt>
                <c:pt idx="22731">
                  <c:v>0.405403959336543</c:v>
                </c:pt>
                <c:pt idx="22732">
                  <c:v>0.40542179418583901</c:v>
                </c:pt>
                <c:pt idx="22733">
                  <c:v>0.40543962903513397</c:v>
                </c:pt>
                <c:pt idx="22734">
                  <c:v>0.40545746388442999</c:v>
                </c:pt>
                <c:pt idx="22735">
                  <c:v>0.40547529873372501</c:v>
                </c:pt>
                <c:pt idx="22736">
                  <c:v>0.40549313358302103</c:v>
                </c:pt>
                <c:pt idx="22737">
                  <c:v>0.40551096843231599</c:v>
                </c:pt>
                <c:pt idx="22738">
                  <c:v>0.405528803281612</c:v>
                </c:pt>
                <c:pt idx="22739">
                  <c:v>0.40554663813090702</c:v>
                </c:pt>
                <c:pt idx="22740">
                  <c:v>0.40556447298020298</c:v>
                </c:pt>
                <c:pt idx="22741">
                  <c:v>0.405582307829498</c:v>
                </c:pt>
                <c:pt idx="22742">
                  <c:v>0.40560014267879402</c:v>
                </c:pt>
                <c:pt idx="22743">
                  <c:v>0.40561797752808898</c:v>
                </c:pt>
                <c:pt idx="22744">
                  <c:v>0.405635812377385</c:v>
                </c:pt>
                <c:pt idx="22745">
                  <c:v>0.40565364722668001</c:v>
                </c:pt>
                <c:pt idx="22746">
                  <c:v>0.40567148207597598</c:v>
                </c:pt>
                <c:pt idx="22747">
                  <c:v>0.40568931692527199</c:v>
                </c:pt>
                <c:pt idx="22748">
                  <c:v>0.40570715177456701</c:v>
                </c:pt>
                <c:pt idx="22749">
                  <c:v>0.40572498662386303</c:v>
                </c:pt>
                <c:pt idx="22750">
                  <c:v>0.40574282147315799</c:v>
                </c:pt>
                <c:pt idx="22751">
                  <c:v>0.40576065632245401</c:v>
                </c:pt>
                <c:pt idx="22752">
                  <c:v>0.40577849117174902</c:v>
                </c:pt>
                <c:pt idx="22753">
                  <c:v>0.40579632602104498</c:v>
                </c:pt>
                <c:pt idx="22754">
                  <c:v>0.40581416087034</c:v>
                </c:pt>
                <c:pt idx="22755">
                  <c:v>0.40583199571963602</c:v>
                </c:pt>
                <c:pt idx="22756">
                  <c:v>0.40584983056893098</c:v>
                </c:pt>
                <c:pt idx="22757">
                  <c:v>0.405867665418227</c:v>
                </c:pt>
                <c:pt idx="22758">
                  <c:v>0.40588550026752201</c:v>
                </c:pt>
                <c:pt idx="22759">
                  <c:v>0.40590333511681798</c:v>
                </c:pt>
                <c:pt idx="22760">
                  <c:v>0.40592116996611299</c:v>
                </c:pt>
                <c:pt idx="22761">
                  <c:v>0.40593900481540901</c:v>
                </c:pt>
                <c:pt idx="22762">
                  <c:v>0.40595683966470397</c:v>
                </c:pt>
                <c:pt idx="22763">
                  <c:v>0.40597467451399999</c:v>
                </c:pt>
                <c:pt idx="22764">
                  <c:v>0.40599250936329501</c:v>
                </c:pt>
                <c:pt idx="22765">
                  <c:v>0.40601034421259102</c:v>
                </c:pt>
                <c:pt idx="22766">
                  <c:v>0.40602817906188599</c:v>
                </c:pt>
                <c:pt idx="22767">
                  <c:v>0.406046013911182</c:v>
                </c:pt>
                <c:pt idx="22768">
                  <c:v>0.40606384876047702</c:v>
                </c:pt>
                <c:pt idx="22769">
                  <c:v>0.40608168360977298</c:v>
                </c:pt>
                <c:pt idx="22770">
                  <c:v>0.406099518459069</c:v>
                </c:pt>
                <c:pt idx="22771">
                  <c:v>0.40611735330836402</c:v>
                </c:pt>
                <c:pt idx="22772">
                  <c:v>0.40613518815765998</c:v>
                </c:pt>
                <c:pt idx="22773">
                  <c:v>0.40615302300695499</c:v>
                </c:pt>
                <c:pt idx="22774">
                  <c:v>0.40617085785625101</c:v>
                </c:pt>
                <c:pt idx="22775">
                  <c:v>0.40618869270554597</c:v>
                </c:pt>
                <c:pt idx="22776">
                  <c:v>0.40620652755484199</c:v>
                </c:pt>
                <c:pt idx="22777">
                  <c:v>0.40622436240413701</c:v>
                </c:pt>
                <c:pt idx="22778">
                  <c:v>0.40624219725343302</c:v>
                </c:pt>
                <c:pt idx="22779">
                  <c:v>0.40626003210272799</c:v>
                </c:pt>
                <c:pt idx="22780">
                  <c:v>0.406277866952024</c:v>
                </c:pt>
                <c:pt idx="22781">
                  <c:v>0.40629570180131902</c:v>
                </c:pt>
                <c:pt idx="22782">
                  <c:v>0.40631353665061498</c:v>
                </c:pt>
                <c:pt idx="22783">
                  <c:v>0.40633137149991</c:v>
                </c:pt>
                <c:pt idx="22784">
                  <c:v>0.40634920634920602</c:v>
                </c:pt>
                <c:pt idx="22785">
                  <c:v>0.40636704119850098</c:v>
                </c:pt>
                <c:pt idx="22786">
                  <c:v>0.40638487604779699</c:v>
                </c:pt>
                <c:pt idx="22787">
                  <c:v>0.40640271089709201</c:v>
                </c:pt>
                <c:pt idx="22788">
                  <c:v>0.40642054574638797</c:v>
                </c:pt>
                <c:pt idx="22789">
                  <c:v>0.40643838059568399</c:v>
                </c:pt>
                <c:pt idx="22790">
                  <c:v>0.40645621544497901</c:v>
                </c:pt>
                <c:pt idx="22791">
                  <c:v>0.40647405029427502</c:v>
                </c:pt>
                <c:pt idx="22792">
                  <c:v>0.40649188514356999</c:v>
                </c:pt>
                <c:pt idx="22793">
                  <c:v>0.406509719992866</c:v>
                </c:pt>
                <c:pt idx="22794">
                  <c:v>0.40652755484216102</c:v>
                </c:pt>
                <c:pt idx="22795">
                  <c:v>0.40654538969145698</c:v>
                </c:pt>
                <c:pt idx="22796">
                  <c:v>0.406563224540752</c:v>
                </c:pt>
                <c:pt idx="22797">
                  <c:v>0.40658105939004802</c:v>
                </c:pt>
                <c:pt idx="22798">
                  <c:v>0.40659889423934298</c:v>
                </c:pt>
                <c:pt idx="22799">
                  <c:v>0.406616729088639</c:v>
                </c:pt>
                <c:pt idx="22800">
                  <c:v>0.40663456393793401</c:v>
                </c:pt>
                <c:pt idx="22801">
                  <c:v>0.40665239878722997</c:v>
                </c:pt>
                <c:pt idx="22802">
                  <c:v>0.40667023363652499</c:v>
                </c:pt>
                <c:pt idx="22803">
                  <c:v>0.40668806848582101</c:v>
                </c:pt>
                <c:pt idx="22804">
                  <c:v>0.40670590333511603</c:v>
                </c:pt>
                <c:pt idx="22805">
                  <c:v>0.40672373818441199</c:v>
                </c:pt>
                <c:pt idx="22806">
                  <c:v>0.406741573033707</c:v>
                </c:pt>
                <c:pt idx="22807">
                  <c:v>0.40675940788300302</c:v>
                </c:pt>
                <c:pt idx="22808">
                  <c:v>0.40677724273229798</c:v>
                </c:pt>
                <c:pt idx="22809">
                  <c:v>0.406795077581594</c:v>
                </c:pt>
                <c:pt idx="22810">
                  <c:v>0.40681291243088902</c:v>
                </c:pt>
                <c:pt idx="22811">
                  <c:v>0.40683074728018498</c:v>
                </c:pt>
                <c:pt idx="22812">
                  <c:v>0.406848582129481</c:v>
                </c:pt>
                <c:pt idx="22813">
                  <c:v>0.40686641697877601</c:v>
                </c:pt>
                <c:pt idx="22814">
                  <c:v>0.40688425182807197</c:v>
                </c:pt>
                <c:pt idx="22815">
                  <c:v>0.40690208667736699</c:v>
                </c:pt>
                <c:pt idx="22816">
                  <c:v>0.40691992152666301</c:v>
                </c:pt>
                <c:pt idx="22817">
                  <c:v>0.40693775637595803</c:v>
                </c:pt>
                <c:pt idx="22818">
                  <c:v>0.40695559122525399</c:v>
                </c:pt>
                <c:pt idx="22819">
                  <c:v>0.40697342607454901</c:v>
                </c:pt>
                <c:pt idx="22820">
                  <c:v>0.40699126092384502</c:v>
                </c:pt>
                <c:pt idx="22821">
                  <c:v>0.40700909577313998</c:v>
                </c:pt>
                <c:pt idx="22822">
                  <c:v>0.407026930622436</c:v>
                </c:pt>
                <c:pt idx="22823">
                  <c:v>0.40704476547173102</c:v>
                </c:pt>
                <c:pt idx="22824">
                  <c:v>0.40706260032102698</c:v>
                </c:pt>
                <c:pt idx="22825">
                  <c:v>0.407080435170322</c:v>
                </c:pt>
                <c:pt idx="22826">
                  <c:v>0.40709827001961801</c:v>
                </c:pt>
                <c:pt idx="22827">
                  <c:v>0.40711610486891298</c:v>
                </c:pt>
                <c:pt idx="22828">
                  <c:v>0.40713393971820899</c:v>
                </c:pt>
                <c:pt idx="22829">
                  <c:v>0.40715177456750401</c:v>
                </c:pt>
                <c:pt idx="22830">
                  <c:v>0.40716960941680003</c:v>
                </c:pt>
                <c:pt idx="22831">
                  <c:v>0.40718744426609499</c:v>
                </c:pt>
                <c:pt idx="22832">
                  <c:v>0.40720527911539101</c:v>
                </c:pt>
                <c:pt idx="22833">
                  <c:v>0.40722311396468702</c:v>
                </c:pt>
                <c:pt idx="22834">
                  <c:v>0.40724094881398198</c:v>
                </c:pt>
                <c:pt idx="22835">
                  <c:v>0.407258783663278</c:v>
                </c:pt>
                <c:pt idx="22836">
                  <c:v>0.40727661851257302</c:v>
                </c:pt>
                <c:pt idx="22837">
                  <c:v>0.40729445336186898</c:v>
                </c:pt>
                <c:pt idx="22838">
                  <c:v>0.407312288211164</c:v>
                </c:pt>
                <c:pt idx="22839">
                  <c:v>0.40733012306046001</c:v>
                </c:pt>
                <c:pt idx="22840">
                  <c:v>0.40734795790975498</c:v>
                </c:pt>
                <c:pt idx="22841">
                  <c:v>0.40736579275905099</c:v>
                </c:pt>
                <c:pt idx="22842">
                  <c:v>0.40738362760834601</c:v>
                </c:pt>
                <c:pt idx="22843">
                  <c:v>0.40740146245764203</c:v>
                </c:pt>
                <c:pt idx="22844">
                  <c:v>0.40741929730693699</c:v>
                </c:pt>
                <c:pt idx="22845">
                  <c:v>0.40743713215623301</c:v>
                </c:pt>
                <c:pt idx="22846">
                  <c:v>0.40745496700552802</c:v>
                </c:pt>
                <c:pt idx="22847">
                  <c:v>0.40747280185482398</c:v>
                </c:pt>
                <c:pt idx="22848">
                  <c:v>0.407490636704119</c:v>
                </c:pt>
                <c:pt idx="22849">
                  <c:v>0.40750847155341502</c:v>
                </c:pt>
                <c:pt idx="22850">
                  <c:v>0.40752630640270998</c:v>
                </c:pt>
                <c:pt idx="22851">
                  <c:v>0.407544141252006</c:v>
                </c:pt>
                <c:pt idx="22852">
                  <c:v>0.40756197610130102</c:v>
                </c:pt>
                <c:pt idx="22853">
                  <c:v>0.40757981095059698</c:v>
                </c:pt>
                <c:pt idx="22854">
                  <c:v>0.40759764579989299</c:v>
                </c:pt>
                <c:pt idx="22855">
                  <c:v>0.40761548064918801</c:v>
                </c:pt>
                <c:pt idx="22856">
                  <c:v>0.40763331549848397</c:v>
                </c:pt>
                <c:pt idx="22857">
                  <c:v>0.40765115034777899</c:v>
                </c:pt>
                <c:pt idx="22858">
                  <c:v>0.40766898519707501</c:v>
                </c:pt>
                <c:pt idx="22859">
                  <c:v>0.40768682004637002</c:v>
                </c:pt>
                <c:pt idx="22860">
                  <c:v>0.40770465489566599</c:v>
                </c:pt>
                <c:pt idx="22861">
                  <c:v>0.407722489744961</c:v>
                </c:pt>
                <c:pt idx="22862">
                  <c:v>0.40774032459425702</c:v>
                </c:pt>
                <c:pt idx="22863">
                  <c:v>0.40775815944355198</c:v>
                </c:pt>
                <c:pt idx="22864">
                  <c:v>0.407775994292848</c:v>
                </c:pt>
                <c:pt idx="22865">
                  <c:v>0.40779382914214302</c:v>
                </c:pt>
                <c:pt idx="22866">
                  <c:v>0.40781166399143898</c:v>
                </c:pt>
                <c:pt idx="22867">
                  <c:v>0.40782949884073399</c:v>
                </c:pt>
                <c:pt idx="22868">
                  <c:v>0.40784733369003001</c:v>
                </c:pt>
                <c:pt idx="22869">
                  <c:v>0.40786516853932497</c:v>
                </c:pt>
                <c:pt idx="22870">
                  <c:v>0.40788300338862099</c:v>
                </c:pt>
                <c:pt idx="22871">
                  <c:v>0.40790083823791601</c:v>
                </c:pt>
                <c:pt idx="22872">
                  <c:v>0.40791867308721202</c:v>
                </c:pt>
                <c:pt idx="22873">
                  <c:v>0.40793650793650699</c:v>
                </c:pt>
                <c:pt idx="22874">
                  <c:v>0.407954342785803</c:v>
                </c:pt>
                <c:pt idx="22875">
                  <c:v>0.40797217763509802</c:v>
                </c:pt>
                <c:pt idx="22876">
                  <c:v>0.40799001248439398</c:v>
                </c:pt>
                <c:pt idx="22877">
                  <c:v>0.40800784733369</c:v>
                </c:pt>
                <c:pt idx="22878">
                  <c:v>0.40802568218298502</c:v>
                </c:pt>
                <c:pt idx="22879">
                  <c:v>0.40804351703228098</c:v>
                </c:pt>
                <c:pt idx="22880">
                  <c:v>0.408061351881576</c:v>
                </c:pt>
                <c:pt idx="22881">
                  <c:v>0.40807918673087201</c:v>
                </c:pt>
                <c:pt idx="22882">
                  <c:v>0.40809702158016697</c:v>
                </c:pt>
                <c:pt idx="22883">
                  <c:v>0.40811485642946299</c:v>
                </c:pt>
                <c:pt idx="22884">
                  <c:v>0.40813269127875801</c:v>
                </c:pt>
                <c:pt idx="22885">
                  <c:v>0.40815052612805403</c:v>
                </c:pt>
                <c:pt idx="22886">
                  <c:v>0.40816836097734899</c:v>
                </c:pt>
                <c:pt idx="22887">
                  <c:v>0.408186195826645</c:v>
                </c:pt>
                <c:pt idx="22888">
                  <c:v>0.40820403067594002</c:v>
                </c:pt>
                <c:pt idx="22889">
                  <c:v>0.40822186552523598</c:v>
                </c:pt>
                <c:pt idx="22890">
                  <c:v>0.408239700374531</c:v>
                </c:pt>
                <c:pt idx="22891">
                  <c:v>0.40825753522382702</c:v>
                </c:pt>
                <c:pt idx="22892">
                  <c:v>0.40827537007312198</c:v>
                </c:pt>
                <c:pt idx="22893">
                  <c:v>0.408293204922418</c:v>
                </c:pt>
                <c:pt idx="22894">
                  <c:v>0.40831103977171301</c:v>
                </c:pt>
                <c:pt idx="22895">
                  <c:v>0.40832887462100897</c:v>
                </c:pt>
                <c:pt idx="22896">
                  <c:v>0.40834670947030499</c:v>
                </c:pt>
                <c:pt idx="22897">
                  <c:v>0.40836454431960001</c:v>
                </c:pt>
                <c:pt idx="22898">
                  <c:v>0.40838237916889603</c:v>
                </c:pt>
                <c:pt idx="22899">
                  <c:v>0.40840021401819099</c:v>
                </c:pt>
                <c:pt idx="22900">
                  <c:v>0.408418048867487</c:v>
                </c:pt>
                <c:pt idx="22901">
                  <c:v>0.40843588371678202</c:v>
                </c:pt>
                <c:pt idx="22902">
                  <c:v>0.40845371856607798</c:v>
                </c:pt>
                <c:pt idx="22903">
                  <c:v>0.408471553415373</c:v>
                </c:pt>
                <c:pt idx="22904">
                  <c:v>0.40848938826466902</c:v>
                </c:pt>
                <c:pt idx="22905">
                  <c:v>0.40850722311396398</c:v>
                </c:pt>
                <c:pt idx="22906">
                  <c:v>0.40852505796326</c:v>
                </c:pt>
                <c:pt idx="22907">
                  <c:v>0.40854289281255501</c:v>
                </c:pt>
                <c:pt idx="22908">
                  <c:v>0.40856072766185098</c:v>
                </c:pt>
                <c:pt idx="22909">
                  <c:v>0.40857856251114599</c:v>
                </c:pt>
                <c:pt idx="22910">
                  <c:v>0.40859639736044201</c:v>
                </c:pt>
                <c:pt idx="22911">
                  <c:v>0.40861423220973703</c:v>
                </c:pt>
                <c:pt idx="22912">
                  <c:v>0.40863206705903299</c:v>
                </c:pt>
                <c:pt idx="22913">
                  <c:v>0.40864990190832801</c:v>
                </c:pt>
                <c:pt idx="22914">
                  <c:v>0.40866773675762402</c:v>
                </c:pt>
                <c:pt idx="22915">
                  <c:v>0.40868557160691898</c:v>
                </c:pt>
                <c:pt idx="22916">
                  <c:v>0.408703406456215</c:v>
                </c:pt>
                <c:pt idx="22917">
                  <c:v>0.40872124130551002</c:v>
                </c:pt>
                <c:pt idx="22918">
                  <c:v>0.40873907615480598</c:v>
                </c:pt>
                <c:pt idx="22919">
                  <c:v>0.408756911004102</c:v>
                </c:pt>
                <c:pt idx="22920">
                  <c:v>0.40877474585339701</c:v>
                </c:pt>
                <c:pt idx="22921">
                  <c:v>0.40879258070269298</c:v>
                </c:pt>
                <c:pt idx="22922">
                  <c:v>0.40881041555198799</c:v>
                </c:pt>
                <c:pt idx="22923">
                  <c:v>0.40882825040128401</c:v>
                </c:pt>
                <c:pt idx="22924">
                  <c:v>0.40884608525057903</c:v>
                </c:pt>
                <c:pt idx="22925">
                  <c:v>0.40886392009987499</c:v>
                </c:pt>
                <c:pt idx="22926">
                  <c:v>0.40888175494917001</c:v>
                </c:pt>
                <c:pt idx="22927">
                  <c:v>0.40889958979846602</c:v>
                </c:pt>
                <c:pt idx="22928">
                  <c:v>0.40891742464776099</c:v>
                </c:pt>
                <c:pt idx="22929">
                  <c:v>0.408935259497057</c:v>
                </c:pt>
                <c:pt idx="22930">
                  <c:v>0.40895309434635202</c:v>
                </c:pt>
                <c:pt idx="22931">
                  <c:v>0.40897092919564798</c:v>
                </c:pt>
                <c:pt idx="22932">
                  <c:v>0.408988764044943</c:v>
                </c:pt>
                <c:pt idx="22933">
                  <c:v>0.40900659889423902</c:v>
                </c:pt>
                <c:pt idx="22934">
                  <c:v>0.40902443374353398</c:v>
                </c:pt>
                <c:pt idx="22935">
                  <c:v>0.40904226859282999</c:v>
                </c:pt>
                <c:pt idx="22936">
                  <c:v>0.40906010344212501</c:v>
                </c:pt>
                <c:pt idx="22937">
                  <c:v>0.40907793829142097</c:v>
                </c:pt>
                <c:pt idx="22938">
                  <c:v>0.40909577314071599</c:v>
                </c:pt>
                <c:pt idx="22939">
                  <c:v>0.40911360799001201</c:v>
                </c:pt>
                <c:pt idx="22940">
                  <c:v>0.40913144283930802</c:v>
                </c:pt>
                <c:pt idx="22941">
                  <c:v>0.40914927768860299</c:v>
                </c:pt>
                <c:pt idx="22942">
                  <c:v>0.409167112537899</c:v>
                </c:pt>
                <c:pt idx="22943">
                  <c:v>0.40918494738719402</c:v>
                </c:pt>
                <c:pt idx="22944">
                  <c:v>0.40920278223648998</c:v>
                </c:pt>
                <c:pt idx="22945">
                  <c:v>0.409220617085785</c:v>
                </c:pt>
                <c:pt idx="22946">
                  <c:v>0.40923845193508102</c:v>
                </c:pt>
                <c:pt idx="22947">
                  <c:v>0.40925628678437598</c:v>
                </c:pt>
                <c:pt idx="22948">
                  <c:v>0.40927412163367199</c:v>
                </c:pt>
                <c:pt idx="22949">
                  <c:v>0.40929195648296701</c:v>
                </c:pt>
                <c:pt idx="22950">
                  <c:v>0.40930979133226297</c:v>
                </c:pt>
                <c:pt idx="22951">
                  <c:v>0.40932762618155799</c:v>
                </c:pt>
                <c:pt idx="22952">
                  <c:v>0.40934546103085401</c:v>
                </c:pt>
                <c:pt idx="22953">
                  <c:v>0.40936329588014903</c:v>
                </c:pt>
                <c:pt idx="22954">
                  <c:v>0.40938113072944499</c:v>
                </c:pt>
                <c:pt idx="22955">
                  <c:v>0.40939896557874</c:v>
                </c:pt>
                <c:pt idx="22956">
                  <c:v>0.40941680042803602</c:v>
                </c:pt>
                <c:pt idx="22957">
                  <c:v>0.40943463527733098</c:v>
                </c:pt>
                <c:pt idx="22958">
                  <c:v>0.409452470126627</c:v>
                </c:pt>
                <c:pt idx="22959">
                  <c:v>0.40947030497592202</c:v>
                </c:pt>
                <c:pt idx="22960">
                  <c:v>0.40948813982521798</c:v>
                </c:pt>
                <c:pt idx="22961">
                  <c:v>0.409505974674514</c:v>
                </c:pt>
                <c:pt idx="22962">
                  <c:v>0.40952380952380901</c:v>
                </c:pt>
                <c:pt idx="22963">
                  <c:v>0.40954164437310497</c:v>
                </c:pt>
                <c:pt idx="22964">
                  <c:v>0.40955947922239999</c:v>
                </c:pt>
                <c:pt idx="22965">
                  <c:v>0.40957731407169601</c:v>
                </c:pt>
                <c:pt idx="22966">
                  <c:v>0.40959514892099103</c:v>
                </c:pt>
                <c:pt idx="22967">
                  <c:v>0.40961298377028699</c:v>
                </c:pt>
                <c:pt idx="22968">
                  <c:v>0.409630818619582</c:v>
                </c:pt>
                <c:pt idx="22969">
                  <c:v>0.40964865346887802</c:v>
                </c:pt>
                <c:pt idx="22970">
                  <c:v>0.40966648831817298</c:v>
                </c:pt>
                <c:pt idx="22971">
                  <c:v>0.409684323167469</c:v>
                </c:pt>
                <c:pt idx="22972">
                  <c:v>0.40970215801676402</c:v>
                </c:pt>
                <c:pt idx="22973">
                  <c:v>0.40971999286605998</c:v>
                </c:pt>
                <c:pt idx="22974">
                  <c:v>0.409737827715355</c:v>
                </c:pt>
                <c:pt idx="22975">
                  <c:v>0.40975566256465101</c:v>
                </c:pt>
                <c:pt idx="22976">
                  <c:v>0.40977349741394598</c:v>
                </c:pt>
                <c:pt idx="22977">
                  <c:v>0.40979133226324199</c:v>
                </c:pt>
                <c:pt idx="22978">
                  <c:v>0.40980916711253701</c:v>
                </c:pt>
                <c:pt idx="22979">
                  <c:v>0.40982700196183303</c:v>
                </c:pt>
                <c:pt idx="22980">
                  <c:v>0.40984483681112799</c:v>
                </c:pt>
                <c:pt idx="22981">
                  <c:v>0.40986267166042401</c:v>
                </c:pt>
                <c:pt idx="22982">
                  <c:v>0.40988050650971902</c:v>
                </c:pt>
                <c:pt idx="22983">
                  <c:v>0.40989834135901498</c:v>
                </c:pt>
                <c:pt idx="22984">
                  <c:v>0.409916176208311</c:v>
                </c:pt>
                <c:pt idx="22985">
                  <c:v>0.40993401105760602</c:v>
                </c:pt>
                <c:pt idx="22986">
                  <c:v>0.40995184590690198</c:v>
                </c:pt>
                <c:pt idx="22987">
                  <c:v>0.409969680756197</c:v>
                </c:pt>
                <c:pt idx="22988">
                  <c:v>0.40998751560549301</c:v>
                </c:pt>
                <c:pt idx="22989">
                  <c:v>0.41000535045478798</c:v>
                </c:pt>
                <c:pt idx="22990">
                  <c:v>0.41002318530408399</c:v>
                </c:pt>
                <c:pt idx="22991">
                  <c:v>0.41004102015337901</c:v>
                </c:pt>
                <c:pt idx="22992">
                  <c:v>0.41005885500267503</c:v>
                </c:pt>
                <c:pt idx="22993">
                  <c:v>0.41007668985196999</c:v>
                </c:pt>
                <c:pt idx="22994">
                  <c:v>0.41009452470126601</c:v>
                </c:pt>
                <c:pt idx="22995">
                  <c:v>0.41011235955056102</c:v>
                </c:pt>
                <c:pt idx="22996">
                  <c:v>0.41013019439985698</c:v>
                </c:pt>
                <c:pt idx="22997">
                  <c:v>0.410148029249152</c:v>
                </c:pt>
                <c:pt idx="22998">
                  <c:v>0.41016586409844802</c:v>
                </c:pt>
                <c:pt idx="22999">
                  <c:v>0.41018369894774298</c:v>
                </c:pt>
                <c:pt idx="23000">
                  <c:v>0.410201533797039</c:v>
                </c:pt>
                <c:pt idx="23001">
                  <c:v>0.41021936864633401</c:v>
                </c:pt>
                <c:pt idx="23002">
                  <c:v>0.41023720349562998</c:v>
                </c:pt>
                <c:pt idx="23003">
                  <c:v>0.41025503834492599</c:v>
                </c:pt>
                <c:pt idx="23004">
                  <c:v>0.41027287319422101</c:v>
                </c:pt>
                <c:pt idx="23005">
                  <c:v>0.41029070804351703</c:v>
                </c:pt>
                <c:pt idx="23006">
                  <c:v>0.41030854289281199</c:v>
                </c:pt>
                <c:pt idx="23007">
                  <c:v>0.41032637774210801</c:v>
                </c:pt>
                <c:pt idx="23008">
                  <c:v>0.41034421259140302</c:v>
                </c:pt>
                <c:pt idx="23009">
                  <c:v>0.41036204744069898</c:v>
                </c:pt>
                <c:pt idx="23010">
                  <c:v>0.410379882289994</c:v>
                </c:pt>
                <c:pt idx="23011">
                  <c:v>0.41039771713929002</c:v>
                </c:pt>
                <c:pt idx="23012">
                  <c:v>0.41041555198858498</c:v>
                </c:pt>
                <c:pt idx="23013">
                  <c:v>0.410433386837881</c:v>
                </c:pt>
                <c:pt idx="23014">
                  <c:v>0.41045122168717602</c:v>
                </c:pt>
                <c:pt idx="23015">
                  <c:v>0.41046905653647198</c:v>
                </c:pt>
                <c:pt idx="23016">
                  <c:v>0.41048689138576699</c:v>
                </c:pt>
                <c:pt idx="23017">
                  <c:v>0.41050472623506301</c:v>
                </c:pt>
                <c:pt idx="23018">
                  <c:v>0.41052256108435797</c:v>
                </c:pt>
                <c:pt idx="23019">
                  <c:v>0.41054039593365399</c:v>
                </c:pt>
                <c:pt idx="23020">
                  <c:v>0.41055823078294901</c:v>
                </c:pt>
                <c:pt idx="23021">
                  <c:v>0.41057606563224502</c:v>
                </c:pt>
                <c:pt idx="23022">
                  <c:v>0.41059390048153999</c:v>
                </c:pt>
                <c:pt idx="23023">
                  <c:v>0.410611735330836</c:v>
                </c:pt>
                <c:pt idx="23024">
                  <c:v>0.41062957018013102</c:v>
                </c:pt>
                <c:pt idx="23025">
                  <c:v>0.41064740502942698</c:v>
                </c:pt>
                <c:pt idx="23026">
                  <c:v>0.410665239878723</c:v>
                </c:pt>
                <c:pt idx="23027">
                  <c:v>0.41068307472801802</c:v>
                </c:pt>
                <c:pt idx="23028">
                  <c:v>0.41070090957731398</c:v>
                </c:pt>
                <c:pt idx="23029">
                  <c:v>0.41071874442660899</c:v>
                </c:pt>
                <c:pt idx="23030">
                  <c:v>0.41073657927590501</c:v>
                </c:pt>
                <c:pt idx="23031">
                  <c:v>0.41075441412519997</c:v>
                </c:pt>
                <c:pt idx="23032">
                  <c:v>0.41077224897449599</c:v>
                </c:pt>
                <c:pt idx="23033">
                  <c:v>0.41079008382379101</c:v>
                </c:pt>
                <c:pt idx="23034">
                  <c:v>0.41080791867308702</c:v>
                </c:pt>
                <c:pt idx="23035">
                  <c:v>0.41082575352238199</c:v>
                </c:pt>
                <c:pt idx="23036">
                  <c:v>0.410843588371678</c:v>
                </c:pt>
                <c:pt idx="23037">
                  <c:v>0.41086142322097302</c:v>
                </c:pt>
                <c:pt idx="23038">
                  <c:v>0.41087925807026898</c:v>
                </c:pt>
                <c:pt idx="23039">
                  <c:v>0.410897092919564</c:v>
                </c:pt>
                <c:pt idx="23040">
                  <c:v>0.41091492776886002</c:v>
                </c:pt>
                <c:pt idx="23041">
                  <c:v>0.41093276261815498</c:v>
                </c:pt>
                <c:pt idx="23042">
                  <c:v>0.410950597467451</c:v>
                </c:pt>
                <c:pt idx="23043">
                  <c:v>0.41096843231674601</c:v>
                </c:pt>
                <c:pt idx="23044">
                  <c:v>0.41098626716604197</c:v>
                </c:pt>
                <c:pt idx="23045">
                  <c:v>0.41100410201533799</c:v>
                </c:pt>
                <c:pt idx="23046">
                  <c:v>0.41102193686463301</c:v>
                </c:pt>
                <c:pt idx="23047">
                  <c:v>0.41103977171392903</c:v>
                </c:pt>
                <c:pt idx="23048">
                  <c:v>0.41105760656322399</c:v>
                </c:pt>
                <c:pt idx="23049">
                  <c:v>0.41107544141252</c:v>
                </c:pt>
                <c:pt idx="23050">
                  <c:v>0.41109327626181502</c:v>
                </c:pt>
                <c:pt idx="23051">
                  <c:v>0.41111111111111098</c:v>
                </c:pt>
                <c:pt idx="23052">
                  <c:v>0.411128945960406</c:v>
                </c:pt>
                <c:pt idx="23053">
                  <c:v>0.41114678080970202</c:v>
                </c:pt>
                <c:pt idx="23054">
                  <c:v>0.41116461565899698</c:v>
                </c:pt>
                <c:pt idx="23055">
                  <c:v>0.411182450508293</c:v>
                </c:pt>
                <c:pt idx="23056">
                  <c:v>0.41120028535758801</c:v>
                </c:pt>
                <c:pt idx="23057">
                  <c:v>0.41121812020688397</c:v>
                </c:pt>
                <c:pt idx="23058">
                  <c:v>0.41123595505617899</c:v>
                </c:pt>
                <c:pt idx="23059">
                  <c:v>0.41125378990547501</c:v>
                </c:pt>
                <c:pt idx="23060">
                  <c:v>0.41127162475477003</c:v>
                </c:pt>
                <c:pt idx="23061">
                  <c:v>0.41128945960406599</c:v>
                </c:pt>
                <c:pt idx="23062">
                  <c:v>0.41130729445336101</c:v>
                </c:pt>
                <c:pt idx="23063">
                  <c:v>0.41132512930265702</c:v>
                </c:pt>
                <c:pt idx="23064">
                  <c:v>0.41134296415195198</c:v>
                </c:pt>
                <c:pt idx="23065">
                  <c:v>0.411360799001248</c:v>
                </c:pt>
                <c:pt idx="23066">
                  <c:v>0.41137863385054302</c:v>
                </c:pt>
                <c:pt idx="23067">
                  <c:v>0.41139646869983898</c:v>
                </c:pt>
                <c:pt idx="23068">
                  <c:v>0.411414303549135</c:v>
                </c:pt>
                <c:pt idx="23069">
                  <c:v>0.41143213839843001</c:v>
                </c:pt>
                <c:pt idx="23070">
                  <c:v>0.41144997324772598</c:v>
                </c:pt>
                <c:pt idx="23071">
                  <c:v>0.41146780809702099</c:v>
                </c:pt>
                <c:pt idx="23072">
                  <c:v>0.41148564294631701</c:v>
                </c:pt>
                <c:pt idx="23073">
                  <c:v>0.41150347779561203</c:v>
                </c:pt>
                <c:pt idx="23074">
                  <c:v>0.41152131264490799</c:v>
                </c:pt>
                <c:pt idx="23075">
                  <c:v>0.41153914749420301</c:v>
                </c:pt>
                <c:pt idx="23076">
                  <c:v>0.41155698234349902</c:v>
                </c:pt>
                <c:pt idx="23077">
                  <c:v>0.41157481719279398</c:v>
                </c:pt>
                <c:pt idx="23078">
                  <c:v>0.41159265204209</c:v>
                </c:pt>
                <c:pt idx="23079">
                  <c:v>0.41161048689138502</c:v>
                </c:pt>
                <c:pt idx="23080">
                  <c:v>0.41162832174068098</c:v>
                </c:pt>
                <c:pt idx="23081">
                  <c:v>0.411646156589976</c:v>
                </c:pt>
                <c:pt idx="23082">
                  <c:v>0.41166399143927201</c:v>
                </c:pt>
                <c:pt idx="23083">
                  <c:v>0.41168182628856698</c:v>
                </c:pt>
                <c:pt idx="23084">
                  <c:v>0.41169966113786299</c:v>
                </c:pt>
                <c:pt idx="23085">
                  <c:v>0.41171749598715801</c:v>
                </c:pt>
                <c:pt idx="23086">
                  <c:v>0.41173533083645403</c:v>
                </c:pt>
                <c:pt idx="23087">
                  <c:v>0.41175316568574899</c:v>
                </c:pt>
                <c:pt idx="23088">
                  <c:v>0.41177100053504501</c:v>
                </c:pt>
                <c:pt idx="23089">
                  <c:v>0.41178883538434102</c:v>
                </c:pt>
                <c:pt idx="23090">
                  <c:v>0.41180667023363599</c:v>
                </c:pt>
                <c:pt idx="23091">
                  <c:v>0.411824505082932</c:v>
                </c:pt>
                <c:pt idx="23092">
                  <c:v>0.41184233993222702</c:v>
                </c:pt>
                <c:pt idx="23093">
                  <c:v>0.41186017478152298</c:v>
                </c:pt>
                <c:pt idx="23094">
                  <c:v>0.411878009630818</c:v>
                </c:pt>
                <c:pt idx="23095">
                  <c:v>0.41189584448011402</c:v>
                </c:pt>
                <c:pt idx="23096">
                  <c:v>0.41191367932940898</c:v>
                </c:pt>
                <c:pt idx="23097">
                  <c:v>0.41193151417870499</c:v>
                </c:pt>
                <c:pt idx="23098">
                  <c:v>0.41194934902800001</c:v>
                </c:pt>
                <c:pt idx="23099">
                  <c:v>0.41196718387729597</c:v>
                </c:pt>
                <c:pt idx="23100">
                  <c:v>0.41198501872659099</c:v>
                </c:pt>
                <c:pt idx="23101">
                  <c:v>0.41200285357588701</c:v>
                </c:pt>
                <c:pt idx="23102">
                  <c:v>0.41202068842518202</c:v>
                </c:pt>
                <c:pt idx="23103">
                  <c:v>0.41203852327447799</c:v>
                </c:pt>
                <c:pt idx="23104">
                  <c:v>0.412056358123773</c:v>
                </c:pt>
                <c:pt idx="23105">
                  <c:v>0.41207419297306902</c:v>
                </c:pt>
                <c:pt idx="23106">
                  <c:v>0.41209202782236398</c:v>
                </c:pt>
                <c:pt idx="23107">
                  <c:v>0.41210986267166</c:v>
                </c:pt>
                <c:pt idx="23108">
                  <c:v>0.41212769752095502</c:v>
                </c:pt>
                <c:pt idx="23109">
                  <c:v>0.41214553237025098</c:v>
                </c:pt>
                <c:pt idx="23110">
                  <c:v>0.41216336721954699</c:v>
                </c:pt>
                <c:pt idx="23111">
                  <c:v>0.41218120206884201</c:v>
                </c:pt>
                <c:pt idx="23112">
                  <c:v>0.41219903691813797</c:v>
                </c:pt>
                <c:pt idx="23113">
                  <c:v>0.41221687176743299</c:v>
                </c:pt>
                <c:pt idx="23114">
                  <c:v>0.41223470661672901</c:v>
                </c:pt>
                <c:pt idx="23115">
                  <c:v>0.41225254146602403</c:v>
                </c:pt>
                <c:pt idx="23116">
                  <c:v>0.41227037631531999</c:v>
                </c:pt>
                <c:pt idx="23117">
                  <c:v>0.412288211164615</c:v>
                </c:pt>
                <c:pt idx="23118">
                  <c:v>0.41230604601391102</c:v>
                </c:pt>
                <c:pt idx="23119">
                  <c:v>0.41232388086320598</c:v>
                </c:pt>
                <c:pt idx="23120">
                  <c:v>0.412341715712502</c:v>
                </c:pt>
                <c:pt idx="23121">
                  <c:v>0.41235955056179702</c:v>
                </c:pt>
                <c:pt idx="23122">
                  <c:v>0.41237738541109298</c:v>
                </c:pt>
                <c:pt idx="23123">
                  <c:v>0.412395220260388</c:v>
                </c:pt>
                <c:pt idx="23124">
                  <c:v>0.41241305510968401</c:v>
                </c:pt>
                <c:pt idx="23125">
                  <c:v>0.41243088995897897</c:v>
                </c:pt>
                <c:pt idx="23126">
                  <c:v>0.41244872480827499</c:v>
                </c:pt>
                <c:pt idx="23127">
                  <c:v>0.41246655965757001</c:v>
                </c:pt>
                <c:pt idx="23128">
                  <c:v>0.41248439450686603</c:v>
                </c:pt>
                <c:pt idx="23129">
                  <c:v>0.41250222935616099</c:v>
                </c:pt>
                <c:pt idx="23130">
                  <c:v>0.412520064205457</c:v>
                </c:pt>
                <c:pt idx="23131">
                  <c:v>0.41253789905475202</c:v>
                </c:pt>
                <c:pt idx="23132">
                  <c:v>0.41255573390404798</c:v>
                </c:pt>
                <c:pt idx="23133">
                  <c:v>0.412573568753344</c:v>
                </c:pt>
                <c:pt idx="23134">
                  <c:v>0.41259140360263902</c:v>
                </c:pt>
                <c:pt idx="23135">
                  <c:v>0.41260923845193498</c:v>
                </c:pt>
                <c:pt idx="23136">
                  <c:v>0.41262707330123</c:v>
                </c:pt>
                <c:pt idx="23137">
                  <c:v>0.41264490815052601</c:v>
                </c:pt>
                <c:pt idx="23138">
                  <c:v>0.41266274299982098</c:v>
                </c:pt>
                <c:pt idx="23139">
                  <c:v>0.41268057784911699</c:v>
                </c:pt>
                <c:pt idx="23140">
                  <c:v>0.41269841269841201</c:v>
                </c:pt>
                <c:pt idx="23141">
                  <c:v>0.41271624754770803</c:v>
                </c:pt>
                <c:pt idx="23142">
                  <c:v>0.41273408239700299</c:v>
                </c:pt>
                <c:pt idx="23143">
                  <c:v>0.412751917246299</c:v>
                </c:pt>
                <c:pt idx="23144">
                  <c:v>0.41276975209559402</c:v>
                </c:pt>
                <c:pt idx="23145">
                  <c:v>0.41278758694488998</c:v>
                </c:pt>
                <c:pt idx="23146">
                  <c:v>0.412805421794185</c:v>
                </c:pt>
                <c:pt idx="23147">
                  <c:v>0.41282325664348102</c:v>
                </c:pt>
                <c:pt idx="23148">
                  <c:v>0.41284109149277598</c:v>
                </c:pt>
                <c:pt idx="23149">
                  <c:v>0.412858926342072</c:v>
                </c:pt>
                <c:pt idx="23150">
                  <c:v>0.41287676119136701</c:v>
                </c:pt>
                <c:pt idx="23151">
                  <c:v>0.41289459604066298</c:v>
                </c:pt>
                <c:pt idx="23152">
                  <c:v>0.41291243088995899</c:v>
                </c:pt>
                <c:pt idx="23153">
                  <c:v>0.41293026573925401</c:v>
                </c:pt>
                <c:pt idx="23154">
                  <c:v>0.41294810058855003</c:v>
                </c:pt>
                <c:pt idx="23155">
                  <c:v>0.41296593543784499</c:v>
                </c:pt>
                <c:pt idx="23156">
                  <c:v>0.41298377028714101</c:v>
                </c:pt>
                <c:pt idx="23157">
                  <c:v>0.41300160513643602</c:v>
                </c:pt>
                <c:pt idx="23158">
                  <c:v>0.41301943998573198</c:v>
                </c:pt>
                <c:pt idx="23159">
                  <c:v>0.413037274835027</c:v>
                </c:pt>
                <c:pt idx="23160">
                  <c:v>0.41305510968432302</c:v>
                </c:pt>
                <c:pt idx="23161">
                  <c:v>0.41307294453361798</c:v>
                </c:pt>
                <c:pt idx="23162">
                  <c:v>0.413090779382914</c:v>
                </c:pt>
                <c:pt idx="23163">
                  <c:v>0.41310861423220901</c:v>
                </c:pt>
                <c:pt idx="23164">
                  <c:v>0.41312644908150498</c:v>
                </c:pt>
                <c:pt idx="23165">
                  <c:v>0.41314428393079999</c:v>
                </c:pt>
                <c:pt idx="23166">
                  <c:v>0.41316211878009601</c:v>
                </c:pt>
                <c:pt idx="23167">
                  <c:v>0.41317995362939097</c:v>
                </c:pt>
                <c:pt idx="23168">
                  <c:v>0.41319778847868699</c:v>
                </c:pt>
                <c:pt idx="23169">
                  <c:v>0.41321562332798201</c:v>
                </c:pt>
                <c:pt idx="23170">
                  <c:v>0.41323345817727802</c:v>
                </c:pt>
                <c:pt idx="23171">
                  <c:v>0.41325129302657299</c:v>
                </c:pt>
                <c:pt idx="23172">
                  <c:v>0.413269127875869</c:v>
                </c:pt>
                <c:pt idx="23173">
                  <c:v>0.41328696272516402</c:v>
                </c:pt>
                <c:pt idx="23174">
                  <c:v>0.41330479757445998</c:v>
                </c:pt>
                <c:pt idx="23175">
                  <c:v>0.413322632423756</c:v>
                </c:pt>
                <c:pt idx="23176">
                  <c:v>0.41334046727305102</c:v>
                </c:pt>
                <c:pt idx="23177">
                  <c:v>0.41335830212234698</c:v>
                </c:pt>
                <c:pt idx="23178">
                  <c:v>0.41337613697164199</c:v>
                </c:pt>
                <c:pt idx="23179">
                  <c:v>0.41339397182093801</c:v>
                </c:pt>
                <c:pt idx="23180">
                  <c:v>0.41341180667023297</c:v>
                </c:pt>
                <c:pt idx="23181">
                  <c:v>0.41342964151952899</c:v>
                </c:pt>
                <c:pt idx="23182">
                  <c:v>0.41344747636882401</c:v>
                </c:pt>
                <c:pt idx="23183">
                  <c:v>0.41346531121812002</c:v>
                </c:pt>
                <c:pt idx="23184">
                  <c:v>0.41348314606741499</c:v>
                </c:pt>
                <c:pt idx="23185">
                  <c:v>0.413500980916711</c:v>
                </c:pt>
                <c:pt idx="23186">
                  <c:v>0.41351881576600602</c:v>
                </c:pt>
                <c:pt idx="23187">
                  <c:v>0.41353665061530198</c:v>
                </c:pt>
                <c:pt idx="23188">
                  <c:v>0.413554485464597</c:v>
                </c:pt>
                <c:pt idx="23189">
                  <c:v>0.41357232031389302</c:v>
                </c:pt>
                <c:pt idx="23190">
                  <c:v>0.41359015516318798</c:v>
                </c:pt>
                <c:pt idx="23191">
                  <c:v>0.41360799001248399</c:v>
                </c:pt>
                <c:pt idx="23192">
                  <c:v>0.41362582486177901</c:v>
                </c:pt>
                <c:pt idx="23193">
                  <c:v>0.41364365971107497</c:v>
                </c:pt>
                <c:pt idx="23194">
                  <c:v>0.41366149456037099</c:v>
                </c:pt>
                <c:pt idx="23195">
                  <c:v>0.41367932940966601</c:v>
                </c:pt>
                <c:pt idx="23196">
                  <c:v>0.41369716425896202</c:v>
                </c:pt>
                <c:pt idx="23197">
                  <c:v>0.41371499910825699</c:v>
                </c:pt>
                <c:pt idx="23198">
                  <c:v>0.413732833957553</c:v>
                </c:pt>
                <c:pt idx="23199">
                  <c:v>0.41375066880684802</c:v>
                </c:pt>
                <c:pt idx="23200">
                  <c:v>0.41376850365614398</c:v>
                </c:pt>
                <c:pt idx="23201">
                  <c:v>0.413786338505439</c:v>
                </c:pt>
                <c:pt idx="23202">
                  <c:v>0.41380417335473502</c:v>
                </c:pt>
                <c:pt idx="23203">
                  <c:v>0.41382200820402998</c:v>
                </c:pt>
                <c:pt idx="23204">
                  <c:v>0.413839843053326</c:v>
                </c:pt>
                <c:pt idx="23205">
                  <c:v>0.41385767790262101</c:v>
                </c:pt>
                <c:pt idx="23206">
                  <c:v>0.41387551275191697</c:v>
                </c:pt>
                <c:pt idx="23207">
                  <c:v>0.41389334760121199</c:v>
                </c:pt>
                <c:pt idx="23208">
                  <c:v>0.41391118245050801</c:v>
                </c:pt>
                <c:pt idx="23209">
                  <c:v>0.41392901729980303</c:v>
                </c:pt>
                <c:pt idx="23210">
                  <c:v>0.41394685214909899</c:v>
                </c:pt>
                <c:pt idx="23211">
                  <c:v>0.413964686998394</c:v>
                </c:pt>
                <c:pt idx="23212">
                  <c:v>0.41398252184769002</c:v>
                </c:pt>
                <c:pt idx="23213">
                  <c:v>0.41400035669698498</c:v>
                </c:pt>
                <c:pt idx="23214">
                  <c:v>0.414018191546281</c:v>
                </c:pt>
                <c:pt idx="23215">
                  <c:v>0.41403602639557602</c:v>
                </c:pt>
                <c:pt idx="23216">
                  <c:v>0.41405386124487198</c:v>
                </c:pt>
                <c:pt idx="23217">
                  <c:v>0.414071696094168</c:v>
                </c:pt>
                <c:pt idx="23218">
                  <c:v>0.41408953094346301</c:v>
                </c:pt>
                <c:pt idx="23219">
                  <c:v>0.41410736579275897</c:v>
                </c:pt>
                <c:pt idx="23220">
                  <c:v>0.41412520064205399</c:v>
                </c:pt>
                <c:pt idx="23221">
                  <c:v>0.41414303549135001</c:v>
                </c:pt>
                <c:pt idx="23222">
                  <c:v>0.41416087034064503</c:v>
                </c:pt>
                <c:pt idx="23223">
                  <c:v>0.41417870518994099</c:v>
                </c:pt>
                <c:pt idx="23224">
                  <c:v>0.41419654003923601</c:v>
                </c:pt>
                <c:pt idx="23225">
                  <c:v>0.41421437488853202</c:v>
                </c:pt>
                <c:pt idx="23226">
                  <c:v>0.41423220973782698</c:v>
                </c:pt>
                <c:pt idx="23227">
                  <c:v>0.414250044587123</c:v>
                </c:pt>
                <c:pt idx="23228">
                  <c:v>0.41426787943641802</c:v>
                </c:pt>
                <c:pt idx="23229">
                  <c:v>0.41428571428571398</c:v>
                </c:pt>
                <c:pt idx="23230">
                  <c:v>0.414303549135009</c:v>
                </c:pt>
                <c:pt idx="23231">
                  <c:v>0.41432138398430501</c:v>
                </c:pt>
                <c:pt idx="23232">
                  <c:v>0.41433921883359998</c:v>
                </c:pt>
                <c:pt idx="23233">
                  <c:v>0.41435705368289599</c:v>
                </c:pt>
                <c:pt idx="23234">
                  <c:v>0.41437488853219101</c:v>
                </c:pt>
                <c:pt idx="23235">
                  <c:v>0.41439272338148703</c:v>
                </c:pt>
                <c:pt idx="23236">
                  <c:v>0.41441055823078199</c:v>
                </c:pt>
                <c:pt idx="23237">
                  <c:v>0.41442839308007801</c:v>
                </c:pt>
                <c:pt idx="23238">
                  <c:v>0.41444622792937402</c:v>
                </c:pt>
                <c:pt idx="23239">
                  <c:v>0.41446406277866898</c:v>
                </c:pt>
                <c:pt idx="23240">
                  <c:v>0.414481897627965</c:v>
                </c:pt>
                <c:pt idx="23241">
                  <c:v>0.41449973247726002</c:v>
                </c:pt>
                <c:pt idx="23242">
                  <c:v>0.41451756732655598</c:v>
                </c:pt>
                <c:pt idx="23243">
                  <c:v>0.414535402175851</c:v>
                </c:pt>
                <c:pt idx="23244">
                  <c:v>0.41455323702514701</c:v>
                </c:pt>
                <c:pt idx="23245">
                  <c:v>0.41457107187444198</c:v>
                </c:pt>
                <c:pt idx="23246">
                  <c:v>0.41458890672373799</c:v>
                </c:pt>
                <c:pt idx="23247">
                  <c:v>0.41460674157303301</c:v>
                </c:pt>
                <c:pt idx="23248">
                  <c:v>0.41462457642232903</c:v>
                </c:pt>
                <c:pt idx="23249">
                  <c:v>0.41464241127162399</c:v>
                </c:pt>
                <c:pt idx="23250">
                  <c:v>0.41466024612092001</c:v>
                </c:pt>
                <c:pt idx="23251">
                  <c:v>0.41467808097021502</c:v>
                </c:pt>
                <c:pt idx="23252">
                  <c:v>0.41469591581951099</c:v>
                </c:pt>
                <c:pt idx="23253">
                  <c:v>0.414713750668806</c:v>
                </c:pt>
                <c:pt idx="23254">
                  <c:v>0.41473158551810202</c:v>
                </c:pt>
                <c:pt idx="23255">
                  <c:v>0.41474942036739698</c:v>
                </c:pt>
                <c:pt idx="23256">
                  <c:v>0.414767255216693</c:v>
                </c:pt>
                <c:pt idx="23257">
                  <c:v>0.41478509006598802</c:v>
                </c:pt>
                <c:pt idx="23258">
                  <c:v>0.41480292491528398</c:v>
                </c:pt>
                <c:pt idx="23259">
                  <c:v>0.41482075976457999</c:v>
                </c:pt>
                <c:pt idx="23260">
                  <c:v>0.41483859461387501</c:v>
                </c:pt>
                <c:pt idx="23261">
                  <c:v>0.41485642946317097</c:v>
                </c:pt>
                <c:pt idx="23262">
                  <c:v>0.41487426431246599</c:v>
                </c:pt>
                <c:pt idx="23263">
                  <c:v>0.41489209916176201</c:v>
                </c:pt>
                <c:pt idx="23264">
                  <c:v>0.41490993401105702</c:v>
                </c:pt>
                <c:pt idx="23265">
                  <c:v>0.41492776886035299</c:v>
                </c:pt>
                <c:pt idx="23266">
                  <c:v>0.414945603709648</c:v>
                </c:pt>
                <c:pt idx="23267">
                  <c:v>0.41496343855894402</c:v>
                </c:pt>
                <c:pt idx="23268">
                  <c:v>0.41498127340823898</c:v>
                </c:pt>
                <c:pt idx="23269">
                  <c:v>0.414999108257535</c:v>
                </c:pt>
                <c:pt idx="23270">
                  <c:v>0.41501694310683002</c:v>
                </c:pt>
                <c:pt idx="23271">
                  <c:v>0.41503477795612598</c:v>
                </c:pt>
                <c:pt idx="23272">
                  <c:v>0.415052612805421</c:v>
                </c:pt>
                <c:pt idx="23273">
                  <c:v>0.41507044765471701</c:v>
                </c:pt>
                <c:pt idx="23274">
                  <c:v>0.41508828250401197</c:v>
                </c:pt>
                <c:pt idx="23275">
                  <c:v>0.41510611735330799</c:v>
                </c:pt>
                <c:pt idx="23276">
                  <c:v>0.41512395220260301</c:v>
                </c:pt>
                <c:pt idx="23277">
                  <c:v>0.41514178705189902</c:v>
                </c:pt>
                <c:pt idx="23278">
                  <c:v>0.41515962190119399</c:v>
                </c:pt>
                <c:pt idx="23279">
                  <c:v>0.41517745675049</c:v>
                </c:pt>
                <c:pt idx="23280">
                  <c:v>0.41519529159978502</c:v>
                </c:pt>
                <c:pt idx="23281">
                  <c:v>0.41521312644908098</c:v>
                </c:pt>
                <c:pt idx="23282">
                  <c:v>0.415230961298377</c:v>
                </c:pt>
                <c:pt idx="23283">
                  <c:v>0.41524879614767202</c:v>
                </c:pt>
                <c:pt idx="23284">
                  <c:v>0.41526663099696798</c:v>
                </c:pt>
                <c:pt idx="23285">
                  <c:v>0.415284465846263</c:v>
                </c:pt>
                <c:pt idx="23286">
                  <c:v>0.41530230069555901</c:v>
                </c:pt>
                <c:pt idx="23287">
                  <c:v>0.41532013554485397</c:v>
                </c:pt>
                <c:pt idx="23288">
                  <c:v>0.41533797039414999</c:v>
                </c:pt>
                <c:pt idx="23289">
                  <c:v>0.41535580524344501</c:v>
                </c:pt>
                <c:pt idx="23290">
                  <c:v>0.41537364009274103</c:v>
                </c:pt>
                <c:pt idx="23291">
                  <c:v>0.41539147494203599</c:v>
                </c:pt>
                <c:pt idx="23292">
                  <c:v>0.415409309791332</c:v>
                </c:pt>
                <c:pt idx="23293">
                  <c:v>0.41542714464062702</c:v>
                </c:pt>
                <c:pt idx="23294">
                  <c:v>0.41544497948992298</c:v>
                </c:pt>
                <c:pt idx="23295">
                  <c:v>0.415462814339218</c:v>
                </c:pt>
                <c:pt idx="23296">
                  <c:v>0.41548064918851402</c:v>
                </c:pt>
                <c:pt idx="23297">
                  <c:v>0.41549848403780898</c:v>
                </c:pt>
                <c:pt idx="23298">
                  <c:v>0.415516318887105</c:v>
                </c:pt>
                <c:pt idx="23299">
                  <c:v>0.41553415373640001</c:v>
                </c:pt>
                <c:pt idx="23300">
                  <c:v>0.41555198858569597</c:v>
                </c:pt>
                <c:pt idx="23301">
                  <c:v>0.41556982343499199</c:v>
                </c:pt>
                <c:pt idx="23302">
                  <c:v>0.41558765828428701</c:v>
                </c:pt>
                <c:pt idx="23303">
                  <c:v>0.41560549313358303</c:v>
                </c:pt>
                <c:pt idx="23304">
                  <c:v>0.41562332798287799</c:v>
                </c:pt>
                <c:pt idx="23305">
                  <c:v>0.415641162832174</c:v>
                </c:pt>
                <c:pt idx="23306">
                  <c:v>0.41565899768146902</c:v>
                </c:pt>
                <c:pt idx="23307">
                  <c:v>0.41567683253076498</c:v>
                </c:pt>
                <c:pt idx="23308">
                  <c:v>0.41569466738006</c:v>
                </c:pt>
                <c:pt idx="23309">
                  <c:v>0.41571250222935602</c:v>
                </c:pt>
                <c:pt idx="23310">
                  <c:v>0.41573033707865098</c:v>
                </c:pt>
                <c:pt idx="23311">
                  <c:v>0.415748171927947</c:v>
                </c:pt>
                <c:pt idx="23312">
                  <c:v>0.41576600677724201</c:v>
                </c:pt>
                <c:pt idx="23313">
                  <c:v>0.41578384162653798</c:v>
                </c:pt>
                <c:pt idx="23314">
                  <c:v>0.41580167647583299</c:v>
                </c:pt>
                <c:pt idx="23315">
                  <c:v>0.41581951132512901</c:v>
                </c:pt>
                <c:pt idx="23316">
                  <c:v>0.41583734617442403</c:v>
                </c:pt>
                <c:pt idx="23317">
                  <c:v>0.41585518102371999</c:v>
                </c:pt>
                <c:pt idx="23318">
                  <c:v>0.41587301587301501</c:v>
                </c:pt>
                <c:pt idx="23319">
                  <c:v>0.41589085072231102</c:v>
                </c:pt>
                <c:pt idx="23320">
                  <c:v>0.41590868557160598</c:v>
                </c:pt>
                <c:pt idx="23321">
                  <c:v>0.415926520420902</c:v>
                </c:pt>
                <c:pt idx="23322">
                  <c:v>0.41594435527019702</c:v>
                </c:pt>
                <c:pt idx="23323">
                  <c:v>0.41596219011949298</c:v>
                </c:pt>
                <c:pt idx="23324">
                  <c:v>0.415980024968789</c:v>
                </c:pt>
                <c:pt idx="23325">
                  <c:v>0.41599785981808401</c:v>
                </c:pt>
                <c:pt idx="23326">
                  <c:v>0.41601569466737998</c:v>
                </c:pt>
                <c:pt idx="23327">
                  <c:v>0.41603352951667499</c:v>
                </c:pt>
                <c:pt idx="23328">
                  <c:v>0.41605136436597101</c:v>
                </c:pt>
                <c:pt idx="23329">
                  <c:v>0.41606919921526597</c:v>
                </c:pt>
                <c:pt idx="23330">
                  <c:v>0.41608703406456199</c:v>
                </c:pt>
                <c:pt idx="23331">
                  <c:v>0.41610486891385701</c:v>
                </c:pt>
                <c:pt idx="23332">
                  <c:v>0.41612270376315302</c:v>
                </c:pt>
                <c:pt idx="23333">
                  <c:v>0.41614053861244799</c:v>
                </c:pt>
                <c:pt idx="23334">
                  <c:v>0.416158373461744</c:v>
                </c:pt>
                <c:pt idx="23335">
                  <c:v>0.41617620831103902</c:v>
                </c:pt>
                <c:pt idx="23336">
                  <c:v>0.41619404316033498</c:v>
                </c:pt>
                <c:pt idx="23337">
                  <c:v>0.41621187800963</c:v>
                </c:pt>
                <c:pt idx="23338">
                  <c:v>0.41622971285892602</c:v>
                </c:pt>
                <c:pt idx="23339">
                  <c:v>0.41624754770822098</c:v>
                </c:pt>
                <c:pt idx="23340">
                  <c:v>0.41626538255751699</c:v>
                </c:pt>
                <c:pt idx="23341">
                  <c:v>0.41628321740681201</c:v>
                </c:pt>
                <c:pt idx="23342">
                  <c:v>0.41630105225610797</c:v>
                </c:pt>
                <c:pt idx="23343">
                  <c:v>0.41631888710540299</c:v>
                </c:pt>
                <c:pt idx="23344">
                  <c:v>0.41633672195469901</c:v>
                </c:pt>
                <c:pt idx="23345">
                  <c:v>0.41635455680399502</c:v>
                </c:pt>
                <c:pt idx="23346">
                  <c:v>0.41637239165328999</c:v>
                </c:pt>
                <c:pt idx="23347">
                  <c:v>0.416390226502586</c:v>
                </c:pt>
                <c:pt idx="23348">
                  <c:v>0.41640806135188102</c:v>
                </c:pt>
                <c:pt idx="23349">
                  <c:v>0.41642589620117698</c:v>
                </c:pt>
                <c:pt idx="23350">
                  <c:v>0.416443731050472</c:v>
                </c:pt>
                <c:pt idx="23351">
                  <c:v>0.41646156589976802</c:v>
                </c:pt>
                <c:pt idx="23352">
                  <c:v>0.41647940074906298</c:v>
                </c:pt>
                <c:pt idx="23353">
                  <c:v>0.41649723559835899</c:v>
                </c:pt>
                <c:pt idx="23354">
                  <c:v>0.41651507044765401</c:v>
                </c:pt>
                <c:pt idx="23355">
                  <c:v>0.41653290529694997</c:v>
                </c:pt>
                <c:pt idx="23356">
                  <c:v>0.41655074014624499</c:v>
                </c:pt>
                <c:pt idx="23357">
                  <c:v>0.41656857499554101</c:v>
                </c:pt>
                <c:pt idx="23358">
                  <c:v>0.41658640984483603</c:v>
                </c:pt>
                <c:pt idx="23359">
                  <c:v>0.41660424469413199</c:v>
                </c:pt>
                <c:pt idx="23360">
                  <c:v>0.416622079543427</c:v>
                </c:pt>
                <c:pt idx="23361">
                  <c:v>0.41663991439272302</c:v>
                </c:pt>
                <c:pt idx="23362">
                  <c:v>0.41665774924201798</c:v>
                </c:pt>
                <c:pt idx="23363">
                  <c:v>0.416675584091314</c:v>
                </c:pt>
                <c:pt idx="23364">
                  <c:v>0.41669341894060902</c:v>
                </c:pt>
                <c:pt idx="23365">
                  <c:v>0.41671125378990498</c:v>
                </c:pt>
                <c:pt idx="23366">
                  <c:v>0.416729088639201</c:v>
                </c:pt>
                <c:pt idx="23367">
                  <c:v>0.41674692348849601</c:v>
                </c:pt>
                <c:pt idx="23368">
                  <c:v>0.41676475833779197</c:v>
                </c:pt>
                <c:pt idx="23369">
                  <c:v>0.41678259318708699</c:v>
                </c:pt>
                <c:pt idx="23370">
                  <c:v>0.41680042803638301</c:v>
                </c:pt>
                <c:pt idx="23371">
                  <c:v>0.41681826288567803</c:v>
                </c:pt>
                <c:pt idx="23372">
                  <c:v>0.41683609773497399</c:v>
                </c:pt>
                <c:pt idx="23373">
                  <c:v>0.416853932584269</c:v>
                </c:pt>
                <c:pt idx="23374">
                  <c:v>0.41687176743356502</c:v>
                </c:pt>
                <c:pt idx="23375">
                  <c:v>0.41688960228285998</c:v>
                </c:pt>
                <c:pt idx="23376">
                  <c:v>0.416907437132156</c:v>
                </c:pt>
                <c:pt idx="23377">
                  <c:v>0.41692527198145102</c:v>
                </c:pt>
                <c:pt idx="23378">
                  <c:v>0.41694310683074698</c:v>
                </c:pt>
                <c:pt idx="23379">
                  <c:v>0.416960941680042</c:v>
                </c:pt>
                <c:pt idx="23380">
                  <c:v>0.41697877652933801</c:v>
                </c:pt>
                <c:pt idx="23381">
                  <c:v>0.41699661137863298</c:v>
                </c:pt>
                <c:pt idx="23382">
                  <c:v>0.41701444622792899</c:v>
                </c:pt>
                <c:pt idx="23383">
                  <c:v>0.41703228107722401</c:v>
                </c:pt>
                <c:pt idx="23384">
                  <c:v>0.41705011592652003</c:v>
                </c:pt>
                <c:pt idx="23385">
                  <c:v>0.41706795077581499</c:v>
                </c:pt>
                <c:pt idx="23386">
                  <c:v>0.41708578562511101</c:v>
                </c:pt>
                <c:pt idx="23387">
                  <c:v>0.41710362047440602</c:v>
                </c:pt>
                <c:pt idx="23388">
                  <c:v>0.41712145532370198</c:v>
                </c:pt>
                <c:pt idx="23389">
                  <c:v>0.417139290172998</c:v>
                </c:pt>
                <c:pt idx="23390">
                  <c:v>0.41715712502229302</c:v>
                </c:pt>
                <c:pt idx="23391">
                  <c:v>0.41717495987158898</c:v>
                </c:pt>
                <c:pt idx="23392">
                  <c:v>0.417192794720884</c:v>
                </c:pt>
                <c:pt idx="23393">
                  <c:v>0.41721062957018001</c:v>
                </c:pt>
                <c:pt idx="23394">
                  <c:v>0.41722846441947498</c:v>
                </c:pt>
                <c:pt idx="23395">
                  <c:v>0.41724629926877099</c:v>
                </c:pt>
                <c:pt idx="23396">
                  <c:v>0.41726413411806601</c:v>
                </c:pt>
                <c:pt idx="23397">
                  <c:v>0.41728196896736203</c:v>
                </c:pt>
                <c:pt idx="23398">
                  <c:v>0.41729980381665699</c:v>
                </c:pt>
                <c:pt idx="23399">
                  <c:v>0.41731763866595301</c:v>
                </c:pt>
                <c:pt idx="23400">
                  <c:v>0.41733547351524802</c:v>
                </c:pt>
                <c:pt idx="23401">
                  <c:v>0.41735330836454398</c:v>
                </c:pt>
                <c:pt idx="23402">
                  <c:v>0.417371143213839</c:v>
                </c:pt>
                <c:pt idx="23403">
                  <c:v>0.41738897806313502</c:v>
                </c:pt>
                <c:pt idx="23404">
                  <c:v>0.41740681291242998</c:v>
                </c:pt>
                <c:pt idx="23405">
                  <c:v>0.417424647761726</c:v>
                </c:pt>
                <c:pt idx="23406">
                  <c:v>0.41744248261102102</c:v>
                </c:pt>
                <c:pt idx="23407">
                  <c:v>0.41746031746031698</c:v>
                </c:pt>
                <c:pt idx="23408">
                  <c:v>0.41747815230961299</c:v>
                </c:pt>
                <c:pt idx="23409">
                  <c:v>0.41749598715890801</c:v>
                </c:pt>
                <c:pt idx="23410">
                  <c:v>0.41751382200820403</c:v>
                </c:pt>
                <c:pt idx="23411">
                  <c:v>0.41753165685749899</c:v>
                </c:pt>
                <c:pt idx="23412">
                  <c:v>0.41754949170679501</c:v>
                </c:pt>
                <c:pt idx="23413">
                  <c:v>0.41756732655609002</c:v>
                </c:pt>
                <c:pt idx="23414">
                  <c:v>0.41758516140538599</c:v>
                </c:pt>
                <c:pt idx="23415">
                  <c:v>0.417602996254681</c:v>
                </c:pt>
                <c:pt idx="23416">
                  <c:v>0.41762083110397702</c:v>
                </c:pt>
                <c:pt idx="23417">
                  <c:v>0.41763866595327198</c:v>
                </c:pt>
                <c:pt idx="23418">
                  <c:v>0.417656500802568</c:v>
                </c:pt>
                <c:pt idx="23419">
                  <c:v>0.41767433565186302</c:v>
                </c:pt>
                <c:pt idx="23420">
                  <c:v>0.41769217050115898</c:v>
                </c:pt>
                <c:pt idx="23421">
                  <c:v>0.41771000535045399</c:v>
                </c:pt>
                <c:pt idx="23422">
                  <c:v>0.41772784019975001</c:v>
                </c:pt>
                <c:pt idx="23423">
                  <c:v>0.41774567504904497</c:v>
                </c:pt>
                <c:pt idx="23424">
                  <c:v>0.41776350989834099</c:v>
                </c:pt>
                <c:pt idx="23425">
                  <c:v>0.41778134474763601</c:v>
                </c:pt>
                <c:pt idx="23426">
                  <c:v>0.41779917959693202</c:v>
                </c:pt>
                <c:pt idx="23427">
                  <c:v>0.41781701444622699</c:v>
                </c:pt>
                <c:pt idx="23428">
                  <c:v>0.417834849295523</c:v>
                </c:pt>
                <c:pt idx="23429">
                  <c:v>0.41785268414481802</c:v>
                </c:pt>
                <c:pt idx="23430">
                  <c:v>0.41787051899411398</c:v>
                </c:pt>
                <c:pt idx="23431">
                  <c:v>0.41788835384341</c:v>
                </c:pt>
                <c:pt idx="23432">
                  <c:v>0.41790618869270502</c:v>
                </c:pt>
                <c:pt idx="23433">
                  <c:v>0.41792402354200098</c:v>
                </c:pt>
                <c:pt idx="23434">
                  <c:v>0.417941858391296</c:v>
                </c:pt>
                <c:pt idx="23435">
                  <c:v>0.41795969324059201</c:v>
                </c:pt>
                <c:pt idx="23436">
                  <c:v>0.41797752808988697</c:v>
                </c:pt>
                <c:pt idx="23437">
                  <c:v>0.41799536293918299</c:v>
                </c:pt>
                <c:pt idx="23438">
                  <c:v>0.41801319778847801</c:v>
                </c:pt>
                <c:pt idx="23439">
                  <c:v>0.41803103263777402</c:v>
                </c:pt>
                <c:pt idx="23440">
                  <c:v>0.41804886748706899</c:v>
                </c:pt>
                <c:pt idx="23441">
                  <c:v>0.418066702336365</c:v>
                </c:pt>
                <c:pt idx="23442">
                  <c:v>0.41808453718566002</c:v>
                </c:pt>
                <c:pt idx="23443">
                  <c:v>0.41810237203495598</c:v>
                </c:pt>
                <c:pt idx="23444">
                  <c:v>0.418120206884251</c:v>
                </c:pt>
                <c:pt idx="23445">
                  <c:v>0.41813804173354702</c:v>
                </c:pt>
                <c:pt idx="23446">
                  <c:v>0.41815587658284198</c:v>
                </c:pt>
                <c:pt idx="23447">
                  <c:v>0.418173711432138</c:v>
                </c:pt>
                <c:pt idx="23448">
                  <c:v>0.41819154628143301</c:v>
                </c:pt>
                <c:pt idx="23449">
                  <c:v>0.41820938113072897</c:v>
                </c:pt>
                <c:pt idx="23450">
                  <c:v>0.41822721598002499</c:v>
                </c:pt>
                <c:pt idx="23451">
                  <c:v>0.41824505082932001</c:v>
                </c:pt>
                <c:pt idx="23452">
                  <c:v>0.41826288567861603</c:v>
                </c:pt>
                <c:pt idx="23453">
                  <c:v>0.41828072052791099</c:v>
                </c:pt>
                <c:pt idx="23454">
                  <c:v>0.418298555377207</c:v>
                </c:pt>
                <c:pt idx="23455">
                  <c:v>0.41831639022650202</c:v>
                </c:pt>
                <c:pt idx="23456">
                  <c:v>0.41833422507579798</c:v>
                </c:pt>
                <c:pt idx="23457">
                  <c:v>0.418352059925093</c:v>
                </c:pt>
                <c:pt idx="23458">
                  <c:v>0.41836989477438902</c:v>
                </c:pt>
                <c:pt idx="23459">
                  <c:v>0.41838772962368398</c:v>
                </c:pt>
                <c:pt idx="23460">
                  <c:v>0.41840556447298</c:v>
                </c:pt>
                <c:pt idx="23461">
                  <c:v>0.41842339932227501</c:v>
                </c:pt>
                <c:pt idx="23462">
                  <c:v>0.41844123417157097</c:v>
                </c:pt>
                <c:pt idx="23463">
                  <c:v>0.41845906902086599</c:v>
                </c:pt>
                <c:pt idx="23464">
                  <c:v>0.41847690387016201</c:v>
                </c:pt>
                <c:pt idx="23465">
                  <c:v>0.41849473871945703</c:v>
                </c:pt>
                <c:pt idx="23466">
                  <c:v>0.41851257356875299</c:v>
                </c:pt>
                <c:pt idx="23467">
                  <c:v>0.41853040841804801</c:v>
                </c:pt>
                <c:pt idx="23468">
                  <c:v>0.41854824326734402</c:v>
                </c:pt>
                <c:pt idx="23469">
                  <c:v>0.41856607811663898</c:v>
                </c:pt>
                <c:pt idx="23470">
                  <c:v>0.418583912965935</c:v>
                </c:pt>
                <c:pt idx="23471">
                  <c:v>0.41860174781523002</c:v>
                </c:pt>
                <c:pt idx="23472">
                  <c:v>0.41861958266452598</c:v>
                </c:pt>
                <c:pt idx="23473">
                  <c:v>0.418637417513822</c:v>
                </c:pt>
                <c:pt idx="23474">
                  <c:v>0.41865525236311701</c:v>
                </c:pt>
                <c:pt idx="23475">
                  <c:v>0.41867308721241298</c:v>
                </c:pt>
                <c:pt idx="23476">
                  <c:v>0.41869092206170799</c:v>
                </c:pt>
                <c:pt idx="23477">
                  <c:v>0.41870875691100401</c:v>
                </c:pt>
                <c:pt idx="23478">
                  <c:v>0.41872659176029903</c:v>
                </c:pt>
                <c:pt idx="23479">
                  <c:v>0.41874442660959499</c:v>
                </c:pt>
                <c:pt idx="23480">
                  <c:v>0.41876226145889001</c:v>
                </c:pt>
                <c:pt idx="23481">
                  <c:v>0.41878009630818602</c:v>
                </c:pt>
                <c:pt idx="23482">
                  <c:v>0.41879793115748098</c:v>
                </c:pt>
                <c:pt idx="23483">
                  <c:v>0.418815766006777</c:v>
                </c:pt>
                <c:pt idx="23484">
                  <c:v>0.41883360085607202</c:v>
                </c:pt>
                <c:pt idx="23485">
                  <c:v>0.41885143570536798</c:v>
                </c:pt>
                <c:pt idx="23486">
                  <c:v>0.418869270554663</c:v>
                </c:pt>
                <c:pt idx="23487">
                  <c:v>0.41888710540395901</c:v>
                </c:pt>
                <c:pt idx="23488">
                  <c:v>0.41890494025325398</c:v>
                </c:pt>
                <c:pt idx="23489">
                  <c:v>0.41892277510254999</c:v>
                </c:pt>
                <c:pt idx="23490">
                  <c:v>0.41894060995184501</c:v>
                </c:pt>
                <c:pt idx="23491">
                  <c:v>0.41895844480114097</c:v>
                </c:pt>
                <c:pt idx="23492">
                  <c:v>0.41897627965043599</c:v>
                </c:pt>
                <c:pt idx="23493">
                  <c:v>0.41899411449973201</c:v>
                </c:pt>
                <c:pt idx="23494">
                  <c:v>0.41901194934902802</c:v>
                </c:pt>
                <c:pt idx="23495">
                  <c:v>0.41902978419832299</c:v>
                </c:pt>
                <c:pt idx="23496">
                  <c:v>0.419047619047619</c:v>
                </c:pt>
                <c:pt idx="23497">
                  <c:v>0.41906545389691402</c:v>
                </c:pt>
                <c:pt idx="23498">
                  <c:v>0.41908328874620998</c:v>
                </c:pt>
                <c:pt idx="23499">
                  <c:v>0.419101123595505</c:v>
                </c:pt>
                <c:pt idx="23500">
                  <c:v>0.41911895844480102</c:v>
                </c:pt>
                <c:pt idx="23501">
                  <c:v>0.41913679329409598</c:v>
                </c:pt>
                <c:pt idx="23502">
                  <c:v>0.41915462814339199</c:v>
                </c:pt>
                <c:pt idx="23503">
                  <c:v>0.41917246299268701</c:v>
                </c:pt>
                <c:pt idx="23504">
                  <c:v>0.41919029784198297</c:v>
                </c:pt>
                <c:pt idx="23505">
                  <c:v>0.41920813269127799</c:v>
                </c:pt>
                <c:pt idx="23506">
                  <c:v>0.41922596754057401</c:v>
                </c:pt>
                <c:pt idx="23507">
                  <c:v>0.41924380238986902</c:v>
                </c:pt>
                <c:pt idx="23508">
                  <c:v>0.41926163723916499</c:v>
                </c:pt>
                <c:pt idx="23509">
                  <c:v>0.41927947208846</c:v>
                </c:pt>
                <c:pt idx="23510">
                  <c:v>0.41929730693775602</c:v>
                </c:pt>
                <c:pt idx="23511">
                  <c:v>0.41931514178705098</c:v>
                </c:pt>
                <c:pt idx="23512">
                  <c:v>0.419332976636347</c:v>
                </c:pt>
                <c:pt idx="23513">
                  <c:v>0.41935081148564202</c:v>
                </c:pt>
                <c:pt idx="23514">
                  <c:v>0.41936864633493798</c:v>
                </c:pt>
                <c:pt idx="23515">
                  <c:v>0.41938648118423399</c:v>
                </c:pt>
                <c:pt idx="23516">
                  <c:v>0.41940431603352901</c:v>
                </c:pt>
                <c:pt idx="23517">
                  <c:v>0.41942215088282497</c:v>
                </c:pt>
                <c:pt idx="23518">
                  <c:v>0.41943998573211999</c:v>
                </c:pt>
                <c:pt idx="23519">
                  <c:v>0.41945782058141601</c:v>
                </c:pt>
                <c:pt idx="23520">
                  <c:v>0.41947565543071103</c:v>
                </c:pt>
                <c:pt idx="23521">
                  <c:v>0.41949349028000699</c:v>
                </c:pt>
                <c:pt idx="23522">
                  <c:v>0.419511325129302</c:v>
                </c:pt>
                <c:pt idx="23523">
                  <c:v>0.41952915997859802</c:v>
                </c:pt>
                <c:pt idx="23524">
                  <c:v>0.41954699482789298</c:v>
                </c:pt>
                <c:pt idx="23525">
                  <c:v>0.419564829677189</c:v>
                </c:pt>
                <c:pt idx="23526">
                  <c:v>0.41958266452648402</c:v>
                </c:pt>
                <c:pt idx="23527">
                  <c:v>0.41960049937577998</c:v>
                </c:pt>
                <c:pt idx="23528">
                  <c:v>0.419618334225075</c:v>
                </c:pt>
                <c:pt idx="23529">
                  <c:v>0.41963616907437101</c:v>
                </c:pt>
                <c:pt idx="23530">
                  <c:v>0.41965400392366597</c:v>
                </c:pt>
                <c:pt idx="23531">
                  <c:v>0.41967183877296199</c:v>
                </c:pt>
                <c:pt idx="23532">
                  <c:v>0.41968967362225701</c:v>
                </c:pt>
                <c:pt idx="23533">
                  <c:v>0.41970750847155303</c:v>
                </c:pt>
                <c:pt idx="23534">
                  <c:v>0.41972534332084799</c:v>
                </c:pt>
                <c:pt idx="23535">
                  <c:v>0.419743178170144</c:v>
                </c:pt>
                <c:pt idx="23536">
                  <c:v>0.41976101301943902</c:v>
                </c:pt>
                <c:pt idx="23537">
                  <c:v>0.41977884786873498</c:v>
                </c:pt>
                <c:pt idx="23538">
                  <c:v>0.419796682718031</c:v>
                </c:pt>
                <c:pt idx="23539">
                  <c:v>0.41981451756732602</c:v>
                </c:pt>
                <c:pt idx="23540">
                  <c:v>0.41983235241662198</c:v>
                </c:pt>
                <c:pt idx="23541">
                  <c:v>0.419850187265917</c:v>
                </c:pt>
                <c:pt idx="23542">
                  <c:v>0.41986802211521301</c:v>
                </c:pt>
                <c:pt idx="23543">
                  <c:v>0.41988585696450798</c:v>
                </c:pt>
                <c:pt idx="23544">
                  <c:v>0.41990369181380399</c:v>
                </c:pt>
                <c:pt idx="23545">
                  <c:v>0.41992152666309901</c:v>
                </c:pt>
                <c:pt idx="23546">
                  <c:v>0.41993936151239503</c:v>
                </c:pt>
                <c:pt idx="23547">
                  <c:v>0.41995719636168999</c:v>
                </c:pt>
                <c:pt idx="23548">
                  <c:v>0.41997503121098601</c:v>
                </c:pt>
                <c:pt idx="23549">
                  <c:v>0.41999286606028102</c:v>
                </c:pt>
                <c:pt idx="23550">
                  <c:v>0.42001070090957698</c:v>
                </c:pt>
                <c:pt idx="23551">
                  <c:v>0.420028535758872</c:v>
                </c:pt>
                <c:pt idx="23552">
                  <c:v>0.42004637060816802</c:v>
                </c:pt>
                <c:pt idx="23553">
                  <c:v>0.42006420545746298</c:v>
                </c:pt>
                <c:pt idx="23554">
                  <c:v>0.420082040306759</c:v>
                </c:pt>
                <c:pt idx="23555">
                  <c:v>0.42009987515605401</c:v>
                </c:pt>
                <c:pt idx="23556">
                  <c:v>0.42011771000534998</c:v>
                </c:pt>
                <c:pt idx="23557">
                  <c:v>0.42013554485464599</c:v>
                </c:pt>
                <c:pt idx="23558">
                  <c:v>0.42015337970394101</c:v>
                </c:pt>
                <c:pt idx="23559">
                  <c:v>0.42017121455323703</c:v>
                </c:pt>
                <c:pt idx="23560">
                  <c:v>0.42018904940253199</c:v>
                </c:pt>
                <c:pt idx="23561">
                  <c:v>0.42020688425182801</c:v>
                </c:pt>
                <c:pt idx="23562">
                  <c:v>0.42022471910112302</c:v>
                </c:pt>
                <c:pt idx="23563">
                  <c:v>0.42024255395041898</c:v>
                </c:pt>
                <c:pt idx="23564">
                  <c:v>0.420260388799714</c:v>
                </c:pt>
                <c:pt idx="23565">
                  <c:v>0.42027822364901002</c:v>
                </c:pt>
                <c:pt idx="23566">
                  <c:v>0.42029605849830498</c:v>
                </c:pt>
                <c:pt idx="23567">
                  <c:v>0.420313893347601</c:v>
                </c:pt>
                <c:pt idx="23568">
                  <c:v>0.42033172819689602</c:v>
                </c:pt>
                <c:pt idx="23569">
                  <c:v>0.42034956304619198</c:v>
                </c:pt>
                <c:pt idx="23570">
                  <c:v>0.42036739789548699</c:v>
                </c:pt>
                <c:pt idx="23571">
                  <c:v>0.42038523274478301</c:v>
                </c:pt>
                <c:pt idx="23572">
                  <c:v>0.42040306759407797</c:v>
                </c:pt>
                <c:pt idx="23573">
                  <c:v>0.42042090244337399</c:v>
                </c:pt>
                <c:pt idx="23574">
                  <c:v>0.42043873729266901</c:v>
                </c:pt>
                <c:pt idx="23575">
                  <c:v>0.42045657214196502</c:v>
                </c:pt>
                <c:pt idx="23576">
                  <c:v>0.42047440699125999</c:v>
                </c:pt>
                <c:pt idx="23577">
                  <c:v>0.420492241840556</c:v>
                </c:pt>
                <c:pt idx="23578">
                  <c:v>0.42051007668985102</c:v>
                </c:pt>
                <c:pt idx="23579">
                  <c:v>0.42052791153914698</c:v>
                </c:pt>
                <c:pt idx="23580">
                  <c:v>0.420545746388443</c:v>
                </c:pt>
                <c:pt idx="23581">
                  <c:v>0.42056358123773802</c:v>
                </c:pt>
                <c:pt idx="23582">
                  <c:v>0.42058141608703398</c:v>
                </c:pt>
                <c:pt idx="23583">
                  <c:v>0.42059925093632899</c:v>
                </c:pt>
                <c:pt idx="23584">
                  <c:v>0.42061708578562501</c:v>
                </c:pt>
                <c:pt idx="23585">
                  <c:v>0.42063492063491997</c:v>
                </c:pt>
                <c:pt idx="23586">
                  <c:v>0.42065275548421599</c:v>
                </c:pt>
                <c:pt idx="23587">
                  <c:v>0.42067059033351101</c:v>
                </c:pt>
                <c:pt idx="23588">
                  <c:v>0.42068842518280702</c:v>
                </c:pt>
                <c:pt idx="23589">
                  <c:v>0.42070626003210199</c:v>
                </c:pt>
                <c:pt idx="23590">
                  <c:v>0.420724094881398</c:v>
                </c:pt>
                <c:pt idx="23591">
                  <c:v>0.42074192973069302</c:v>
                </c:pt>
                <c:pt idx="23592">
                  <c:v>0.42075976457998898</c:v>
                </c:pt>
                <c:pt idx="23593">
                  <c:v>0.420777599429284</c:v>
                </c:pt>
                <c:pt idx="23594">
                  <c:v>0.42079543427858002</c:v>
                </c:pt>
                <c:pt idx="23595">
                  <c:v>0.42081326912787498</c:v>
                </c:pt>
                <c:pt idx="23596">
                  <c:v>0.42083110397717099</c:v>
                </c:pt>
                <c:pt idx="23597">
                  <c:v>0.42084893882646601</c:v>
                </c:pt>
                <c:pt idx="23598">
                  <c:v>0.42086677367576197</c:v>
                </c:pt>
                <c:pt idx="23599">
                  <c:v>0.42088460852505799</c:v>
                </c:pt>
                <c:pt idx="23600">
                  <c:v>0.42090244337435301</c:v>
                </c:pt>
                <c:pt idx="23601">
                  <c:v>0.42092027822364902</c:v>
                </c:pt>
                <c:pt idx="23602">
                  <c:v>0.42093811307294399</c:v>
                </c:pt>
                <c:pt idx="23603">
                  <c:v>0.42095594792224</c:v>
                </c:pt>
                <c:pt idx="23604">
                  <c:v>0.42097378277153502</c:v>
                </c:pt>
                <c:pt idx="23605">
                  <c:v>0.42099161762083098</c:v>
                </c:pt>
                <c:pt idx="23606">
                  <c:v>0.421009452470126</c:v>
                </c:pt>
                <c:pt idx="23607">
                  <c:v>0.42102728731942202</c:v>
                </c:pt>
                <c:pt idx="23608">
                  <c:v>0.42104512216871698</c:v>
                </c:pt>
                <c:pt idx="23609">
                  <c:v>0.421062957018013</c:v>
                </c:pt>
                <c:pt idx="23610">
                  <c:v>0.42108079186730801</c:v>
                </c:pt>
                <c:pt idx="23611">
                  <c:v>0.42109862671660397</c:v>
                </c:pt>
                <c:pt idx="23612">
                  <c:v>0.42111646156589899</c:v>
                </c:pt>
                <c:pt idx="23613">
                  <c:v>0.42113429641519501</c:v>
                </c:pt>
                <c:pt idx="23614">
                  <c:v>0.42115213126449003</c:v>
                </c:pt>
                <c:pt idx="23615">
                  <c:v>0.42116996611378599</c:v>
                </c:pt>
                <c:pt idx="23616">
                  <c:v>0.421187800963081</c:v>
                </c:pt>
                <c:pt idx="23617">
                  <c:v>0.42120563581237702</c:v>
                </c:pt>
                <c:pt idx="23618">
                  <c:v>0.42122347066167198</c:v>
                </c:pt>
                <c:pt idx="23619">
                  <c:v>0.421241305510968</c:v>
                </c:pt>
                <c:pt idx="23620">
                  <c:v>0.42125914036026302</c:v>
                </c:pt>
                <c:pt idx="23621">
                  <c:v>0.42127697520955898</c:v>
                </c:pt>
                <c:pt idx="23622">
                  <c:v>0.421294810058855</c:v>
                </c:pt>
                <c:pt idx="23623">
                  <c:v>0.42131264490815001</c:v>
                </c:pt>
                <c:pt idx="23624">
                  <c:v>0.42133047975744597</c:v>
                </c:pt>
                <c:pt idx="23625">
                  <c:v>0.42134831460674099</c:v>
                </c:pt>
                <c:pt idx="23626">
                  <c:v>0.42136614945603701</c:v>
                </c:pt>
                <c:pt idx="23627">
                  <c:v>0.42138398430533203</c:v>
                </c:pt>
                <c:pt idx="23628">
                  <c:v>0.42140181915462799</c:v>
                </c:pt>
                <c:pt idx="23629">
                  <c:v>0.42141965400392301</c:v>
                </c:pt>
                <c:pt idx="23630">
                  <c:v>0.42143748885321902</c:v>
                </c:pt>
                <c:pt idx="23631">
                  <c:v>0.42145532370251398</c:v>
                </c:pt>
                <c:pt idx="23632">
                  <c:v>0.42147315855181</c:v>
                </c:pt>
                <c:pt idx="23633">
                  <c:v>0.42149099340110502</c:v>
                </c:pt>
                <c:pt idx="23634">
                  <c:v>0.42150882825040098</c:v>
                </c:pt>
                <c:pt idx="23635">
                  <c:v>0.421526663099696</c:v>
                </c:pt>
                <c:pt idx="23636">
                  <c:v>0.42154449794899201</c:v>
                </c:pt>
                <c:pt idx="23637">
                  <c:v>0.42156233279828698</c:v>
                </c:pt>
                <c:pt idx="23638">
                  <c:v>0.42158016764758299</c:v>
                </c:pt>
                <c:pt idx="23639">
                  <c:v>0.42159800249687801</c:v>
                </c:pt>
                <c:pt idx="23640">
                  <c:v>0.42161583734617403</c:v>
                </c:pt>
                <c:pt idx="23641">
                  <c:v>0.42163367219546899</c:v>
                </c:pt>
                <c:pt idx="23642">
                  <c:v>0.42165150704476501</c:v>
                </c:pt>
                <c:pt idx="23643">
                  <c:v>0.42166934189406102</c:v>
                </c:pt>
                <c:pt idx="23644">
                  <c:v>0.42168717674335598</c:v>
                </c:pt>
                <c:pt idx="23645">
                  <c:v>0.421705011592652</c:v>
                </c:pt>
                <c:pt idx="23646">
                  <c:v>0.42172284644194702</c:v>
                </c:pt>
                <c:pt idx="23647">
                  <c:v>0.42174068129124298</c:v>
                </c:pt>
                <c:pt idx="23648">
                  <c:v>0.421758516140538</c:v>
                </c:pt>
                <c:pt idx="23649">
                  <c:v>0.42177635098983401</c:v>
                </c:pt>
                <c:pt idx="23650">
                  <c:v>0.42179418583912898</c:v>
                </c:pt>
                <c:pt idx="23651">
                  <c:v>0.42181202068842499</c:v>
                </c:pt>
                <c:pt idx="23652">
                  <c:v>0.42182985553772001</c:v>
                </c:pt>
                <c:pt idx="23653">
                  <c:v>0.42184769038701603</c:v>
                </c:pt>
                <c:pt idx="23654">
                  <c:v>0.42186552523631099</c:v>
                </c:pt>
                <c:pt idx="23655">
                  <c:v>0.42188336008560701</c:v>
                </c:pt>
                <c:pt idx="23656">
                  <c:v>0.42190119493490202</c:v>
                </c:pt>
                <c:pt idx="23657">
                  <c:v>0.42191902978419799</c:v>
                </c:pt>
                <c:pt idx="23658">
                  <c:v>0.421936864633493</c:v>
                </c:pt>
                <c:pt idx="23659">
                  <c:v>0.42195469948278902</c:v>
                </c:pt>
                <c:pt idx="23660">
                  <c:v>0.42197253433208398</c:v>
                </c:pt>
                <c:pt idx="23661">
                  <c:v>0.42199036918138</c:v>
                </c:pt>
                <c:pt idx="23662">
                  <c:v>0.42200820403067502</c:v>
                </c:pt>
                <c:pt idx="23663">
                  <c:v>0.42202603887997098</c:v>
                </c:pt>
                <c:pt idx="23664">
                  <c:v>0.42204387372926699</c:v>
                </c:pt>
                <c:pt idx="23665">
                  <c:v>0.42206170857856201</c:v>
                </c:pt>
                <c:pt idx="23666">
                  <c:v>0.42207954342785797</c:v>
                </c:pt>
                <c:pt idx="23667">
                  <c:v>0.42209737827715299</c:v>
                </c:pt>
                <c:pt idx="23668">
                  <c:v>0.42211521312644901</c:v>
                </c:pt>
                <c:pt idx="23669">
                  <c:v>0.42213304797574402</c:v>
                </c:pt>
                <c:pt idx="23670">
                  <c:v>0.42215088282503999</c:v>
                </c:pt>
                <c:pt idx="23671">
                  <c:v>0.422168717674335</c:v>
                </c:pt>
                <c:pt idx="23672">
                  <c:v>0.42218655252363102</c:v>
                </c:pt>
                <c:pt idx="23673">
                  <c:v>0.42220438737292598</c:v>
                </c:pt>
                <c:pt idx="23674">
                  <c:v>0.422222222222222</c:v>
                </c:pt>
                <c:pt idx="23675">
                  <c:v>0.42224005707151702</c:v>
                </c:pt>
                <c:pt idx="23676">
                  <c:v>0.42225789192081298</c:v>
                </c:pt>
                <c:pt idx="23677">
                  <c:v>0.422275726770108</c:v>
                </c:pt>
                <c:pt idx="23678">
                  <c:v>0.42229356161940401</c:v>
                </c:pt>
                <c:pt idx="23679">
                  <c:v>0.42231139646869897</c:v>
                </c:pt>
                <c:pt idx="23680">
                  <c:v>0.42232923131799499</c:v>
                </c:pt>
                <c:pt idx="23681">
                  <c:v>0.42234706616729001</c:v>
                </c:pt>
                <c:pt idx="23682">
                  <c:v>0.42236490101658603</c:v>
                </c:pt>
                <c:pt idx="23683">
                  <c:v>0.42238273586588099</c:v>
                </c:pt>
                <c:pt idx="23684">
                  <c:v>0.422400570715177</c:v>
                </c:pt>
                <c:pt idx="23685">
                  <c:v>0.42241840556447202</c:v>
                </c:pt>
                <c:pt idx="23686">
                  <c:v>0.42243624041376798</c:v>
                </c:pt>
                <c:pt idx="23687">
                  <c:v>0.422454075263064</c:v>
                </c:pt>
                <c:pt idx="23688">
                  <c:v>0.42247191011235902</c:v>
                </c:pt>
                <c:pt idx="23689">
                  <c:v>0.42248974496165498</c:v>
                </c:pt>
                <c:pt idx="23690">
                  <c:v>0.42250757981095</c:v>
                </c:pt>
                <c:pt idx="23691">
                  <c:v>0.42252541466024601</c:v>
                </c:pt>
                <c:pt idx="23692">
                  <c:v>0.42254324950954097</c:v>
                </c:pt>
                <c:pt idx="23693">
                  <c:v>0.42256108435883699</c:v>
                </c:pt>
                <c:pt idx="23694">
                  <c:v>0.42257891920813201</c:v>
                </c:pt>
                <c:pt idx="23695">
                  <c:v>0.42259675405742803</c:v>
                </c:pt>
                <c:pt idx="23696">
                  <c:v>0.42261458890672299</c:v>
                </c:pt>
                <c:pt idx="23697">
                  <c:v>0.422632423756019</c:v>
                </c:pt>
                <c:pt idx="23698">
                  <c:v>0.42265025860531402</c:v>
                </c:pt>
                <c:pt idx="23699">
                  <c:v>0.42266809345460998</c:v>
                </c:pt>
                <c:pt idx="23700">
                  <c:v>0.422685928303905</c:v>
                </c:pt>
                <c:pt idx="23701">
                  <c:v>0.42270376315320102</c:v>
                </c:pt>
                <c:pt idx="23702">
                  <c:v>0.42272159800249598</c:v>
                </c:pt>
                <c:pt idx="23703">
                  <c:v>0.422739432851792</c:v>
                </c:pt>
                <c:pt idx="23704">
                  <c:v>0.42275726770108701</c:v>
                </c:pt>
                <c:pt idx="23705">
                  <c:v>0.42277510255038298</c:v>
                </c:pt>
                <c:pt idx="23706">
                  <c:v>0.42279293739967899</c:v>
                </c:pt>
                <c:pt idx="23707">
                  <c:v>0.42281077224897401</c:v>
                </c:pt>
                <c:pt idx="23708">
                  <c:v>0.42282860709827003</c:v>
                </c:pt>
                <c:pt idx="23709">
                  <c:v>0.42284644194756499</c:v>
                </c:pt>
                <c:pt idx="23710">
                  <c:v>0.42286427679686101</c:v>
                </c:pt>
                <c:pt idx="23711">
                  <c:v>0.42288211164615602</c:v>
                </c:pt>
                <c:pt idx="23712">
                  <c:v>0.42289994649545198</c:v>
                </c:pt>
                <c:pt idx="23713">
                  <c:v>0.422917781344747</c:v>
                </c:pt>
                <c:pt idx="23714">
                  <c:v>0.42293561619404302</c:v>
                </c:pt>
                <c:pt idx="23715">
                  <c:v>0.42295345104333798</c:v>
                </c:pt>
                <c:pt idx="23716">
                  <c:v>0.422971285892634</c:v>
                </c:pt>
                <c:pt idx="23717">
                  <c:v>0.42298912074192901</c:v>
                </c:pt>
                <c:pt idx="23718">
                  <c:v>0.42300695559122498</c:v>
                </c:pt>
                <c:pt idx="23719">
                  <c:v>0.42302479044051999</c:v>
                </c:pt>
                <c:pt idx="23720">
                  <c:v>0.42304262528981601</c:v>
                </c:pt>
                <c:pt idx="23721">
                  <c:v>0.42306046013911103</c:v>
                </c:pt>
                <c:pt idx="23722">
                  <c:v>0.42307829498840699</c:v>
                </c:pt>
                <c:pt idx="23723">
                  <c:v>0.42309612983770201</c:v>
                </c:pt>
                <c:pt idx="23724">
                  <c:v>0.42311396468699802</c:v>
                </c:pt>
                <c:pt idx="23725">
                  <c:v>0.42313179953629299</c:v>
                </c:pt>
                <c:pt idx="23726">
                  <c:v>0.423149634385589</c:v>
                </c:pt>
                <c:pt idx="23727">
                  <c:v>0.42316746923488402</c:v>
                </c:pt>
                <c:pt idx="23728">
                  <c:v>0.42318530408417998</c:v>
                </c:pt>
                <c:pt idx="23729">
                  <c:v>0.423203138933476</c:v>
                </c:pt>
                <c:pt idx="23730">
                  <c:v>0.42322097378277101</c:v>
                </c:pt>
                <c:pt idx="23731">
                  <c:v>0.42323880863206698</c:v>
                </c:pt>
                <c:pt idx="23732">
                  <c:v>0.42325664348136199</c:v>
                </c:pt>
                <c:pt idx="23733">
                  <c:v>0.42327447833065801</c:v>
                </c:pt>
                <c:pt idx="23734">
                  <c:v>0.42329231317995297</c:v>
                </c:pt>
                <c:pt idx="23735">
                  <c:v>0.42331014802924899</c:v>
                </c:pt>
                <c:pt idx="23736">
                  <c:v>0.42332798287854401</c:v>
                </c:pt>
                <c:pt idx="23737">
                  <c:v>0.42334581772784002</c:v>
                </c:pt>
                <c:pt idx="23738">
                  <c:v>0.42336365257713499</c:v>
                </c:pt>
                <c:pt idx="23739">
                  <c:v>0.423381487426431</c:v>
                </c:pt>
                <c:pt idx="23740">
                  <c:v>0.42339932227572602</c:v>
                </c:pt>
                <c:pt idx="23741">
                  <c:v>0.42341715712502198</c:v>
                </c:pt>
                <c:pt idx="23742">
                  <c:v>0.423434991974317</c:v>
                </c:pt>
                <c:pt idx="23743">
                  <c:v>0.42345282682361302</c:v>
                </c:pt>
                <c:pt idx="23744">
                  <c:v>0.42347066167290798</c:v>
                </c:pt>
                <c:pt idx="23745">
                  <c:v>0.42348849652220399</c:v>
                </c:pt>
                <c:pt idx="23746">
                  <c:v>0.42350633137149901</c:v>
                </c:pt>
                <c:pt idx="23747">
                  <c:v>0.42352416622079497</c:v>
                </c:pt>
                <c:pt idx="23748">
                  <c:v>0.42354200107008999</c:v>
                </c:pt>
                <c:pt idx="23749">
                  <c:v>0.42355983591938601</c:v>
                </c:pt>
                <c:pt idx="23750">
                  <c:v>0.42357767076868202</c:v>
                </c:pt>
                <c:pt idx="23751">
                  <c:v>0.42359550561797699</c:v>
                </c:pt>
                <c:pt idx="23752">
                  <c:v>0.423613340467273</c:v>
                </c:pt>
                <c:pt idx="23753">
                  <c:v>0.42363117531656802</c:v>
                </c:pt>
                <c:pt idx="23754">
                  <c:v>0.42364901016586398</c:v>
                </c:pt>
                <c:pt idx="23755">
                  <c:v>0.423666845015159</c:v>
                </c:pt>
                <c:pt idx="23756">
                  <c:v>0.42368467986445502</c:v>
                </c:pt>
                <c:pt idx="23757">
                  <c:v>0.42370251471374998</c:v>
                </c:pt>
                <c:pt idx="23758">
                  <c:v>0.42372034956304599</c:v>
                </c:pt>
                <c:pt idx="23759">
                  <c:v>0.42373818441234101</c:v>
                </c:pt>
                <c:pt idx="23760">
                  <c:v>0.42375601926163697</c:v>
                </c:pt>
                <c:pt idx="23761">
                  <c:v>0.42377385411093199</c:v>
                </c:pt>
                <c:pt idx="23762">
                  <c:v>0.42379168896022801</c:v>
                </c:pt>
                <c:pt idx="23763">
                  <c:v>0.42380952380952303</c:v>
                </c:pt>
                <c:pt idx="23764">
                  <c:v>0.42382735865881899</c:v>
                </c:pt>
                <c:pt idx="23765">
                  <c:v>0.423845193508114</c:v>
                </c:pt>
                <c:pt idx="23766">
                  <c:v>0.42386302835741002</c:v>
                </c:pt>
                <c:pt idx="23767">
                  <c:v>0.42388086320670498</c:v>
                </c:pt>
                <c:pt idx="23768">
                  <c:v>0.423898698056001</c:v>
                </c:pt>
                <c:pt idx="23769">
                  <c:v>0.42391653290529602</c:v>
                </c:pt>
                <c:pt idx="23770">
                  <c:v>0.42393436775459198</c:v>
                </c:pt>
                <c:pt idx="23771">
                  <c:v>0.423952202603888</c:v>
                </c:pt>
                <c:pt idx="23772">
                  <c:v>0.42397003745318301</c:v>
                </c:pt>
                <c:pt idx="23773">
                  <c:v>0.42398787230247897</c:v>
                </c:pt>
                <c:pt idx="23774">
                  <c:v>0.42400570715177399</c:v>
                </c:pt>
                <c:pt idx="23775">
                  <c:v>0.42402354200107001</c:v>
                </c:pt>
                <c:pt idx="23776">
                  <c:v>0.42404137685036503</c:v>
                </c:pt>
                <c:pt idx="23777">
                  <c:v>0.42405921169966099</c:v>
                </c:pt>
                <c:pt idx="23778">
                  <c:v>0.424077046548956</c:v>
                </c:pt>
                <c:pt idx="23779">
                  <c:v>0.42409488139825202</c:v>
                </c:pt>
                <c:pt idx="23780">
                  <c:v>0.42411271624754698</c:v>
                </c:pt>
                <c:pt idx="23781">
                  <c:v>0.424130551096843</c:v>
                </c:pt>
                <c:pt idx="23782">
                  <c:v>0.42414838594613802</c:v>
                </c:pt>
                <c:pt idx="23783">
                  <c:v>0.42416622079543398</c:v>
                </c:pt>
                <c:pt idx="23784">
                  <c:v>0.424184055644729</c:v>
                </c:pt>
                <c:pt idx="23785">
                  <c:v>0.42420189049402501</c:v>
                </c:pt>
                <c:pt idx="23786">
                  <c:v>0.42421972534331998</c:v>
                </c:pt>
                <c:pt idx="23787">
                  <c:v>0.42423756019261599</c:v>
                </c:pt>
                <c:pt idx="23788">
                  <c:v>0.42425539504191101</c:v>
                </c:pt>
                <c:pt idx="23789">
                  <c:v>0.42427322989120703</c:v>
                </c:pt>
                <c:pt idx="23790">
                  <c:v>0.42429106474050199</c:v>
                </c:pt>
                <c:pt idx="23791">
                  <c:v>0.42430889958979801</c:v>
                </c:pt>
                <c:pt idx="23792">
                  <c:v>0.42432673443909302</c:v>
                </c:pt>
                <c:pt idx="23793">
                  <c:v>0.42434456928838898</c:v>
                </c:pt>
                <c:pt idx="23794">
                  <c:v>0.424362404137685</c:v>
                </c:pt>
                <c:pt idx="23795">
                  <c:v>0.42438023898698002</c:v>
                </c:pt>
                <c:pt idx="23796">
                  <c:v>0.42439807383627598</c:v>
                </c:pt>
                <c:pt idx="23797">
                  <c:v>0.424415908685571</c:v>
                </c:pt>
                <c:pt idx="23798">
                  <c:v>0.42443374353486701</c:v>
                </c:pt>
                <c:pt idx="23799">
                  <c:v>0.42445157838416198</c:v>
                </c:pt>
                <c:pt idx="23800">
                  <c:v>0.42446941323345799</c:v>
                </c:pt>
                <c:pt idx="23801">
                  <c:v>0.42448724808275301</c:v>
                </c:pt>
                <c:pt idx="23802">
                  <c:v>0.42450508293204903</c:v>
                </c:pt>
                <c:pt idx="23803">
                  <c:v>0.42452291778134399</c:v>
                </c:pt>
                <c:pt idx="23804">
                  <c:v>0.42454075263064001</c:v>
                </c:pt>
                <c:pt idx="23805">
                  <c:v>0.42455858747993502</c:v>
                </c:pt>
                <c:pt idx="23806">
                  <c:v>0.42457642232923098</c:v>
                </c:pt>
                <c:pt idx="23807">
                  <c:v>0.424594257178526</c:v>
                </c:pt>
                <c:pt idx="23808">
                  <c:v>0.42461209202782202</c:v>
                </c:pt>
                <c:pt idx="23809">
                  <c:v>0.42462992687711698</c:v>
                </c:pt>
                <c:pt idx="23810">
                  <c:v>0.424647761726413</c:v>
                </c:pt>
                <c:pt idx="23811">
                  <c:v>0.42466559657570802</c:v>
                </c:pt>
                <c:pt idx="23812">
                  <c:v>0.42468343142500398</c:v>
                </c:pt>
                <c:pt idx="23813">
                  <c:v>0.42470126627429999</c:v>
                </c:pt>
                <c:pt idx="23814">
                  <c:v>0.42471910112359501</c:v>
                </c:pt>
                <c:pt idx="23815">
                  <c:v>0.42473693597289103</c:v>
                </c:pt>
                <c:pt idx="23816">
                  <c:v>0.42475477082218599</c:v>
                </c:pt>
                <c:pt idx="23817">
                  <c:v>0.42477260567148201</c:v>
                </c:pt>
                <c:pt idx="23818">
                  <c:v>0.42479044052077702</c:v>
                </c:pt>
                <c:pt idx="23819">
                  <c:v>0.42480827537007299</c:v>
                </c:pt>
                <c:pt idx="23820">
                  <c:v>0.424826110219368</c:v>
                </c:pt>
                <c:pt idx="23821">
                  <c:v>0.42484394506866402</c:v>
                </c:pt>
                <c:pt idx="23822">
                  <c:v>0.42486177991795898</c:v>
                </c:pt>
                <c:pt idx="23823">
                  <c:v>0.424879614767255</c:v>
                </c:pt>
                <c:pt idx="23824">
                  <c:v>0.42489744961655002</c:v>
                </c:pt>
                <c:pt idx="23825">
                  <c:v>0.42491528446584598</c:v>
                </c:pt>
                <c:pt idx="23826">
                  <c:v>0.42493311931514099</c:v>
                </c:pt>
                <c:pt idx="23827">
                  <c:v>0.42495095416443701</c:v>
                </c:pt>
                <c:pt idx="23828">
                  <c:v>0.42496878901373197</c:v>
                </c:pt>
                <c:pt idx="23829">
                  <c:v>0.42498662386302799</c:v>
                </c:pt>
                <c:pt idx="23830">
                  <c:v>0.42500445871232301</c:v>
                </c:pt>
                <c:pt idx="23831">
                  <c:v>0.42502229356161902</c:v>
                </c:pt>
                <c:pt idx="23832">
                  <c:v>0.42504012841091399</c:v>
                </c:pt>
                <c:pt idx="23833">
                  <c:v>0.42505796326021</c:v>
                </c:pt>
                <c:pt idx="23834">
                  <c:v>0.42507579810950502</c:v>
                </c:pt>
                <c:pt idx="23835">
                  <c:v>0.42509363295880098</c:v>
                </c:pt>
                <c:pt idx="23836">
                  <c:v>0.425111467808097</c:v>
                </c:pt>
                <c:pt idx="23837">
                  <c:v>0.42512930265739202</c:v>
                </c:pt>
                <c:pt idx="23838">
                  <c:v>0.42514713750668798</c:v>
                </c:pt>
                <c:pt idx="23839">
                  <c:v>0.425164972355983</c:v>
                </c:pt>
                <c:pt idx="23840">
                  <c:v>0.42518280720527901</c:v>
                </c:pt>
                <c:pt idx="23841">
                  <c:v>0.42520064205457397</c:v>
                </c:pt>
                <c:pt idx="23842">
                  <c:v>0.42521847690386999</c:v>
                </c:pt>
                <c:pt idx="23843">
                  <c:v>0.42523631175316501</c:v>
                </c:pt>
                <c:pt idx="23844">
                  <c:v>0.42525414660246103</c:v>
                </c:pt>
                <c:pt idx="23845">
                  <c:v>0.42527198145175599</c:v>
                </c:pt>
                <c:pt idx="23846">
                  <c:v>0.425289816301052</c:v>
                </c:pt>
                <c:pt idx="23847">
                  <c:v>0.42530765115034702</c:v>
                </c:pt>
                <c:pt idx="23848">
                  <c:v>0.42532548599964298</c:v>
                </c:pt>
                <c:pt idx="23849">
                  <c:v>0.425343320848938</c:v>
                </c:pt>
                <c:pt idx="23850">
                  <c:v>0.42536115569823402</c:v>
                </c:pt>
                <c:pt idx="23851">
                  <c:v>0.42537899054752898</c:v>
                </c:pt>
                <c:pt idx="23852">
                  <c:v>0.425396825396825</c:v>
                </c:pt>
                <c:pt idx="23853">
                  <c:v>0.42541466024612001</c:v>
                </c:pt>
                <c:pt idx="23854">
                  <c:v>0.42543249509541597</c:v>
                </c:pt>
                <c:pt idx="23855">
                  <c:v>0.42545032994471199</c:v>
                </c:pt>
                <c:pt idx="23856">
                  <c:v>0.42546816479400701</c:v>
                </c:pt>
                <c:pt idx="23857">
                  <c:v>0.42548599964330303</c:v>
                </c:pt>
                <c:pt idx="23858">
                  <c:v>0.42550383449259799</c:v>
                </c:pt>
                <c:pt idx="23859">
                  <c:v>0.425521669341894</c:v>
                </c:pt>
                <c:pt idx="23860">
                  <c:v>0.42553950419118902</c:v>
                </c:pt>
                <c:pt idx="23861">
                  <c:v>0.42555733904048498</c:v>
                </c:pt>
                <c:pt idx="23862">
                  <c:v>0.42557517388978</c:v>
                </c:pt>
                <c:pt idx="23863">
                  <c:v>0.42559300873907602</c:v>
                </c:pt>
                <c:pt idx="23864">
                  <c:v>0.42561084358837098</c:v>
                </c:pt>
                <c:pt idx="23865">
                  <c:v>0.425628678437667</c:v>
                </c:pt>
                <c:pt idx="23866">
                  <c:v>0.42564651328696201</c:v>
                </c:pt>
                <c:pt idx="23867">
                  <c:v>0.42566434813625798</c:v>
                </c:pt>
                <c:pt idx="23868">
                  <c:v>0.42568218298555299</c:v>
                </c:pt>
                <c:pt idx="23869">
                  <c:v>0.42570001783484901</c:v>
                </c:pt>
                <c:pt idx="23870">
                  <c:v>0.42571785268414403</c:v>
                </c:pt>
                <c:pt idx="23871">
                  <c:v>0.42573568753343999</c:v>
                </c:pt>
                <c:pt idx="23872">
                  <c:v>0.42575352238273501</c:v>
                </c:pt>
                <c:pt idx="23873">
                  <c:v>0.42577135723203102</c:v>
                </c:pt>
                <c:pt idx="23874">
                  <c:v>0.42578919208132598</c:v>
                </c:pt>
                <c:pt idx="23875">
                  <c:v>0.425807026930622</c:v>
                </c:pt>
                <c:pt idx="23876">
                  <c:v>0.42582486177991702</c:v>
                </c:pt>
                <c:pt idx="23877">
                  <c:v>0.42584269662921298</c:v>
                </c:pt>
                <c:pt idx="23878">
                  <c:v>0.425860531478509</c:v>
                </c:pt>
                <c:pt idx="23879">
                  <c:v>0.42587836632780401</c:v>
                </c:pt>
                <c:pt idx="23880">
                  <c:v>0.42589620117709998</c:v>
                </c:pt>
                <c:pt idx="23881">
                  <c:v>0.42591403602639499</c:v>
                </c:pt>
                <c:pt idx="23882">
                  <c:v>0.42593187087569101</c:v>
                </c:pt>
                <c:pt idx="23883">
                  <c:v>0.42594970572498603</c:v>
                </c:pt>
                <c:pt idx="23884">
                  <c:v>0.42596754057428199</c:v>
                </c:pt>
                <c:pt idx="23885">
                  <c:v>0.42598537542357701</c:v>
                </c:pt>
                <c:pt idx="23886">
                  <c:v>0.42600321027287302</c:v>
                </c:pt>
                <c:pt idx="23887">
                  <c:v>0.42602104512216799</c:v>
                </c:pt>
                <c:pt idx="23888">
                  <c:v>0.426038879971464</c:v>
                </c:pt>
                <c:pt idx="23889">
                  <c:v>0.42605671482075902</c:v>
                </c:pt>
                <c:pt idx="23890">
                  <c:v>0.42607454967005498</c:v>
                </c:pt>
                <c:pt idx="23891">
                  <c:v>0.42609238451935</c:v>
                </c:pt>
                <c:pt idx="23892">
                  <c:v>0.42611021936864601</c:v>
                </c:pt>
                <c:pt idx="23893">
                  <c:v>0.42612805421794098</c:v>
                </c:pt>
                <c:pt idx="23894">
                  <c:v>0.42614588906723699</c:v>
                </c:pt>
                <c:pt idx="23895">
                  <c:v>0.42616372391653201</c:v>
                </c:pt>
                <c:pt idx="23896">
                  <c:v>0.42618155876582797</c:v>
                </c:pt>
                <c:pt idx="23897">
                  <c:v>0.42619939361512299</c:v>
                </c:pt>
                <c:pt idx="23898">
                  <c:v>0.42621722846441901</c:v>
                </c:pt>
                <c:pt idx="23899">
                  <c:v>0.42623506331371502</c:v>
                </c:pt>
                <c:pt idx="23900">
                  <c:v>0.42625289816300999</c:v>
                </c:pt>
                <c:pt idx="23901">
                  <c:v>0.426270733012306</c:v>
                </c:pt>
                <c:pt idx="23902">
                  <c:v>0.42628856786160102</c:v>
                </c:pt>
                <c:pt idx="23903">
                  <c:v>0.42630640271089698</c:v>
                </c:pt>
                <c:pt idx="23904">
                  <c:v>0.426324237560192</c:v>
                </c:pt>
                <c:pt idx="23905">
                  <c:v>0.42634207240948802</c:v>
                </c:pt>
                <c:pt idx="23906">
                  <c:v>0.42635990725878298</c:v>
                </c:pt>
                <c:pt idx="23907">
                  <c:v>0.42637774210807899</c:v>
                </c:pt>
                <c:pt idx="23908">
                  <c:v>0.42639557695737401</c:v>
                </c:pt>
                <c:pt idx="23909">
                  <c:v>0.42641341180666997</c:v>
                </c:pt>
                <c:pt idx="23910">
                  <c:v>0.42643124665596499</c:v>
                </c:pt>
                <c:pt idx="23911">
                  <c:v>0.42644908150526101</c:v>
                </c:pt>
                <c:pt idx="23912">
                  <c:v>0.42646691635455602</c:v>
                </c:pt>
                <c:pt idx="23913">
                  <c:v>0.42648475120385199</c:v>
                </c:pt>
                <c:pt idx="23914">
                  <c:v>0.426502586053147</c:v>
                </c:pt>
                <c:pt idx="23915">
                  <c:v>0.42652042090244302</c:v>
                </c:pt>
                <c:pt idx="23916">
                  <c:v>0.42653825575173798</c:v>
                </c:pt>
                <c:pt idx="23917">
                  <c:v>0.426556090601034</c:v>
                </c:pt>
                <c:pt idx="23918">
                  <c:v>0.42657392545032902</c:v>
                </c:pt>
                <c:pt idx="23919">
                  <c:v>0.42659176029962498</c:v>
                </c:pt>
                <c:pt idx="23920">
                  <c:v>0.42660959514892099</c:v>
                </c:pt>
                <c:pt idx="23921">
                  <c:v>0.42662742999821601</c:v>
                </c:pt>
                <c:pt idx="23922">
                  <c:v>0.42664526484751197</c:v>
                </c:pt>
                <c:pt idx="23923">
                  <c:v>0.42666309969680699</c:v>
                </c:pt>
                <c:pt idx="23924">
                  <c:v>0.42668093454610301</c:v>
                </c:pt>
                <c:pt idx="23925">
                  <c:v>0.42669876939539803</c:v>
                </c:pt>
                <c:pt idx="23926">
                  <c:v>0.42671660424469399</c:v>
                </c:pt>
                <c:pt idx="23927">
                  <c:v>0.426734439093989</c:v>
                </c:pt>
                <c:pt idx="23928">
                  <c:v>0.42675227394328502</c:v>
                </c:pt>
                <c:pt idx="23929">
                  <c:v>0.42677010879257998</c:v>
                </c:pt>
                <c:pt idx="23930">
                  <c:v>0.426787943641876</c:v>
                </c:pt>
                <c:pt idx="23931">
                  <c:v>0.42680577849117102</c:v>
                </c:pt>
                <c:pt idx="23932">
                  <c:v>0.42682361334046698</c:v>
                </c:pt>
                <c:pt idx="23933">
                  <c:v>0.426841448189762</c:v>
                </c:pt>
                <c:pt idx="23934">
                  <c:v>0.42685928303905801</c:v>
                </c:pt>
                <c:pt idx="23935">
                  <c:v>0.42687711788835297</c:v>
                </c:pt>
                <c:pt idx="23936">
                  <c:v>0.42689495273764899</c:v>
                </c:pt>
                <c:pt idx="23937">
                  <c:v>0.42691278758694401</c:v>
                </c:pt>
                <c:pt idx="23938">
                  <c:v>0.42693062243624003</c:v>
                </c:pt>
                <c:pt idx="23939">
                  <c:v>0.42694845728553499</c:v>
                </c:pt>
                <c:pt idx="23940">
                  <c:v>0.426966292134831</c:v>
                </c:pt>
                <c:pt idx="23941">
                  <c:v>0.42698412698412602</c:v>
                </c:pt>
                <c:pt idx="23942">
                  <c:v>0.42700196183342198</c:v>
                </c:pt>
                <c:pt idx="23943">
                  <c:v>0.427019796682718</c:v>
                </c:pt>
                <c:pt idx="23944">
                  <c:v>0.42703763153201302</c:v>
                </c:pt>
                <c:pt idx="23945">
                  <c:v>0.42705546638130898</c:v>
                </c:pt>
                <c:pt idx="23946">
                  <c:v>0.427073301230604</c:v>
                </c:pt>
                <c:pt idx="23947">
                  <c:v>0.42709113607990001</c:v>
                </c:pt>
                <c:pt idx="23948">
                  <c:v>0.42710897092919498</c:v>
                </c:pt>
                <c:pt idx="23949">
                  <c:v>0.42712680577849099</c:v>
                </c:pt>
                <c:pt idx="23950">
                  <c:v>0.42714464062778601</c:v>
                </c:pt>
                <c:pt idx="23951">
                  <c:v>0.42716247547708203</c:v>
                </c:pt>
                <c:pt idx="23952">
                  <c:v>0.42718031032637699</c:v>
                </c:pt>
                <c:pt idx="23953">
                  <c:v>0.42719814517567301</c:v>
                </c:pt>
                <c:pt idx="23954">
                  <c:v>0.42721598002496802</c:v>
                </c:pt>
                <c:pt idx="23955">
                  <c:v>0.42723381487426398</c:v>
                </c:pt>
                <c:pt idx="23956">
                  <c:v>0.427251649723559</c:v>
                </c:pt>
                <c:pt idx="23957">
                  <c:v>0.42726948457285502</c:v>
                </c:pt>
                <c:pt idx="23958">
                  <c:v>0.42728731942214998</c:v>
                </c:pt>
                <c:pt idx="23959">
                  <c:v>0.427305154271446</c:v>
                </c:pt>
                <c:pt idx="23960">
                  <c:v>0.42732298912074101</c:v>
                </c:pt>
                <c:pt idx="23961">
                  <c:v>0.42734082397003698</c:v>
                </c:pt>
                <c:pt idx="23962">
                  <c:v>0.42735865881933299</c:v>
                </c:pt>
                <c:pt idx="23963">
                  <c:v>0.42737649366862801</c:v>
                </c:pt>
                <c:pt idx="23964">
                  <c:v>0.42739432851792403</c:v>
                </c:pt>
                <c:pt idx="23965">
                  <c:v>0.42741216336721899</c:v>
                </c:pt>
                <c:pt idx="23966">
                  <c:v>0.42742999821651501</c:v>
                </c:pt>
                <c:pt idx="23967">
                  <c:v>0.42744783306581002</c:v>
                </c:pt>
                <c:pt idx="23968">
                  <c:v>0.42746566791510598</c:v>
                </c:pt>
                <c:pt idx="23969">
                  <c:v>0.427483502764401</c:v>
                </c:pt>
                <c:pt idx="23970">
                  <c:v>0.42750133761369702</c:v>
                </c:pt>
                <c:pt idx="23971">
                  <c:v>0.42751917246299198</c:v>
                </c:pt>
                <c:pt idx="23972">
                  <c:v>0.427537007312288</c:v>
                </c:pt>
                <c:pt idx="23973">
                  <c:v>0.42755484216158302</c:v>
                </c:pt>
                <c:pt idx="23974">
                  <c:v>0.42757267701087898</c:v>
                </c:pt>
                <c:pt idx="23975">
                  <c:v>0.42759051186017399</c:v>
                </c:pt>
                <c:pt idx="23976">
                  <c:v>0.42760834670947001</c:v>
                </c:pt>
                <c:pt idx="23977">
                  <c:v>0.42762618155876497</c:v>
                </c:pt>
                <c:pt idx="23978">
                  <c:v>0.42764401640806099</c:v>
                </c:pt>
                <c:pt idx="23979">
                  <c:v>0.42766185125735601</c:v>
                </c:pt>
                <c:pt idx="23980">
                  <c:v>0.42767968610665202</c:v>
                </c:pt>
                <c:pt idx="23981">
                  <c:v>0.42769752095594699</c:v>
                </c:pt>
                <c:pt idx="23982">
                  <c:v>0.427715355805243</c:v>
                </c:pt>
                <c:pt idx="23983">
                  <c:v>0.42773319065453802</c:v>
                </c:pt>
                <c:pt idx="23984">
                  <c:v>0.42775102550383398</c:v>
                </c:pt>
                <c:pt idx="23985">
                  <c:v>0.42776886035313</c:v>
                </c:pt>
                <c:pt idx="23986">
                  <c:v>0.42778669520242502</c:v>
                </c:pt>
                <c:pt idx="23987">
                  <c:v>0.42780453005172098</c:v>
                </c:pt>
                <c:pt idx="23988">
                  <c:v>0.42782236490101599</c:v>
                </c:pt>
                <c:pt idx="23989">
                  <c:v>0.42784019975031201</c:v>
                </c:pt>
                <c:pt idx="23990">
                  <c:v>0.42785803459960697</c:v>
                </c:pt>
                <c:pt idx="23991">
                  <c:v>0.42787586944890299</c:v>
                </c:pt>
                <c:pt idx="23992">
                  <c:v>0.42789370429819801</c:v>
                </c:pt>
                <c:pt idx="23993">
                  <c:v>0.42791153914749402</c:v>
                </c:pt>
                <c:pt idx="23994">
                  <c:v>0.42792937399678899</c:v>
                </c:pt>
                <c:pt idx="23995">
                  <c:v>0.427947208846085</c:v>
                </c:pt>
                <c:pt idx="23996">
                  <c:v>0.42796504369538002</c:v>
                </c:pt>
                <c:pt idx="23997">
                  <c:v>0.42798287854467598</c:v>
                </c:pt>
                <c:pt idx="23998">
                  <c:v>0.428000713393971</c:v>
                </c:pt>
                <c:pt idx="23999">
                  <c:v>0.42801854824326702</c:v>
                </c:pt>
                <c:pt idx="24000">
                  <c:v>0.42803638309256198</c:v>
                </c:pt>
                <c:pt idx="24001">
                  <c:v>0.428054217941858</c:v>
                </c:pt>
                <c:pt idx="24002">
                  <c:v>0.42807205279115301</c:v>
                </c:pt>
                <c:pt idx="24003">
                  <c:v>0.42808988764044897</c:v>
                </c:pt>
                <c:pt idx="24004">
                  <c:v>0.42810772248974399</c:v>
                </c:pt>
                <c:pt idx="24005">
                  <c:v>0.42812555733904001</c:v>
                </c:pt>
                <c:pt idx="24006">
                  <c:v>0.42814339218833602</c:v>
                </c:pt>
                <c:pt idx="24007">
                  <c:v>0.42816122703763099</c:v>
                </c:pt>
                <c:pt idx="24008">
                  <c:v>0.428179061886927</c:v>
                </c:pt>
                <c:pt idx="24009">
                  <c:v>0.42819689673622202</c:v>
                </c:pt>
                <c:pt idx="24010">
                  <c:v>0.42821473158551798</c:v>
                </c:pt>
                <c:pt idx="24011">
                  <c:v>0.428232566434813</c:v>
                </c:pt>
                <c:pt idx="24012">
                  <c:v>0.42825040128410902</c:v>
                </c:pt>
                <c:pt idx="24013">
                  <c:v>0.42826823613340398</c:v>
                </c:pt>
                <c:pt idx="24014">
                  <c:v>0.4282860709827</c:v>
                </c:pt>
                <c:pt idx="24015">
                  <c:v>0.42830390583199501</c:v>
                </c:pt>
                <c:pt idx="24016">
                  <c:v>0.42832174068129097</c:v>
                </c:pt>
                <c:pt idx="24017">
                  <c:v>0.42833957553058599</c:v>
                </c:pt>
                <c:pt idx="24018">
                  <c:v>0.42835741037988201</c:v>
                </c:pt>
                <c:pt idx="24019">
                  <c:v>0.42837524522917703</c:v>
                </c:pt>
                <c:pt idx="24020">
                  <c:v>0.42839308007847299</c:v>
                </c:pt>
                <c:pt idx="24021">
                  <c:v>0.42841091492776801</c:v>
                </c:pt>
                <c:pt idx="24022">
                  <c:v>0.42842874977706402</c:v>
                </c:pt>
                <c:pt idx="24023">
                  <c:v>0.42844658462635898</c:v>
                </c:pt>
                <c:pt idx="24024">
                  <c:v>0.428464419475655</c:v>
                </c:pt>
                <c:pt idx="24025">
                  <c:v>0.42848225432495002</c:v>
                </c:pt>
                <c:pt idx="24026">
                  <c:v>0.42850008917424598</c:v>
                </c:pt>
                <c:pt idx="24027">
                  <c:v>0.428517924023542</c:v>
                </c:pt>
                <c:pt idx="24028">
                  <c:v>0.42853575887283701</c:v>
                </c:pt>
                <c:pt idx="24029">
                  <c:v>0.42855359372213297</c:v>
                </c:pt>
                <c:pt idx="24030">
                  <c:v>0.42857142857142799</c:v>
                </c:pt>
                <c:pt idx="24031">
                  <c:v>0.42858926342072401</c:v>
                </c:pt>
                <c:pt idx="24032">
                  <c:v>0.42860709827001903</c:v>
                </c:pt>
                <c:pt idx="24033">
                  <c:v>0.42862493311931499</c:v>
                </c:pt>
                <c:pt idx="24034">
                  <c:v>0.42864276796861001</c:v>
                </c:pt>
                <c:pt idx="24035">
                  <c:v>0.42866060281790602</c:v>
                </c:pt>
                <c:pt idx="24036">
                  <c:v>0.42867843766720098</c:v>
                </c:pt>
                <c:pt idx="24037">
                  <c:v>0.428696272516497</c:v>
                </c:pt>
                <c:pt idx="24038">
                  <c:v>0.42871410736579202</c:v>
                </c:pt>
                <c:pt idx="24039">
                  <c:v>0.42873194221508798</c:v>
                </c:pt>
                <c:pt idx="24040">
                  <c:v>0.428749777064383</c:v>
                </c:pt>
                <c:pt idx="24041">
                  <c:v>0.42876761191367901</c:v>
                </c:pt>
                <c:pt idx="24042">
                  <c:v>0.42878544676297398</c:v>
                </c:pt>
                <c:pt idx="24043">
                  <c:v>0.42880328161226999</c:v>
                </c:pt>
                <c:pt idx="24044">
                  <c:v>0.42882111646156501</c:v>
                </c:pt>
                <c:pt idx="24045">
                  <c:v>0.42883895131086103</c:v>
                </c:pt>
                <c:pt idx="24046">
                  <c:v>0.42885678616015599</c:v>
                </c:pt>
                <c:pt idx="24047">
                  <c:v>0.42887462100945201</c:v>
                </c:pt>
                <c:pt idx="24048">
                  <c:v>0.42889245585874702</c:v>
                </c:pt>
                <c:pt idx="24049">
                  <c:v>0.42891029070804298</c:v>
                </c:pt>
                <c:pt idx="24050">
                  <c:v>0.428928125557339</c:v>
                </c:pt>
                <c:pt idx="24051">
                  <c:v>0.42894596040663402</c:v>
                </c:pt>
                <c:pt idx="24052">
                  <c:v>0.42896379525592998</c:v>
                </c:pt>
                <c:pt idx="24053">
                  <c:v>0.428981630105225</c:v>
                </c:pt>
                <c:pt idx="24054">
                  <c:v>0.42899946495452101</c:v>
                </c:pt>
                <c:pt idx="24055">
                  <c:v>0.42901729980381598</c:v>
                </c:pt>
                <c:pt idx="24056">
                  <c:v>0.42903513465311199</c:v>
                </c:pt>
                <c:pt idx="24057">
                  <c:v>0.42905296950240701</c:v>
                </c:pt>
                <c:pt idx="24058">
                  <c:v>0.42907080435170297</c:v>
                </c:pt>
                <c:pt idx="24059">
                  <c:v>0.42908863920099799</c:v>
                </c:pt>
                <c:pt idx="24060">
                  <c:v>0.42910647405029401</c:v>
                </c:pt>
                <c:pt idx="24061">
                  <c:v>0.42912430889958902</c:v>
                </c:pt>
                <c:pt idx="24062">
                  <c:v>0.42914214374888499</c:v>
                </c:pt>
                <c:pt idx="24063">
                  <c:v>0.42915997859818</c:v>
                </c:pt>
                <c:pt idx="24064">
                  <c:v>0.42917781344747602</c:v>
                </c:pt>
                <c:pt idx="24065">
                  <c:v>0.42919564829677098</c:v>
                </c:pt>
                <c:pt idx="24066">
                  <c:v>0.429213483146067</c:v>
                </c:pt>
                <c:pt idx="24067">
                  <c:v>0.42923131799536202</c:v>
                </c:pt>
                <c:pt idx="24068">
                  <c:v>0.42924915284465798</c:v>
                </c:pt>
                <c:pt idx="24069">
                  <c:v>0.42926698769395399</c:v>
                </c:pt>
                <c:pt idx="24070">
                  <c:v>0.42928482254324901</c:v>
                </c:pt>
                <c:pt idx="24071">
                  <c:v>0.42930265739254497</c:v>
                </c:pt>
                <c:pt idx="24072">
                  <c:v>0.42932049224183999</c:v>
                </c:pt>
                <c:pt idx="24073">
                  <c:v>0.42933832709113601</c:v>
                </c:pt>
                <c:pt idx="24074">
                  <c:v>0.42935616194043102</c:v>
                </c:pt>
                <c:pt idx="24075">
                  <c:v>0.42937399678972699</c:v>
                </c:pt>
                <c:pt idx="24076">
                  <c:v>0.429391831639022</c:v>
                </c:pt>
                <c:pt idx="24077">
                  <c:v>0.42940966648831802</c:v>
                </c:pt>
                <c:pt idx="24078">
                  <c:v>0.42942750133761298</c:v>
                </c:pt>
                <c:pt idx="24079">
                  <c:v>0.429445336186909</c:v>
                </c:pt>
                <c:pt idx="24080">
                  <c:v>0.42946317103620402</c:v>
                </c:pt>
                <c:pt idx="24081">
                  <c:v>0.42948100588549998</c:v>
                </c:pt>
                <c:pt idx="24082">
                  <c:v>0.429498840734795</c:v>
                </c:pt>
                <c:pt idx="24083">
                  <c:v>0.42951667558409101</c:v>
                </c:pt>
                <c:pt idx="24084">
                  <c:v>0.42953451043338597</c:v>
                </c:pt>
                <c:pt idx="24085">
                  <c:v>0.42955234528268199</c:v>
                </c:pt>
                <c:pt idx="24086">
                  <c:v>0.42957018013197701</c:v>
                </c:pt>
                <c:pt idx="24087">
                  <c:v>0.42958801498127303</c:v>
                </c:pt>
                <c:pt idx="24088">
                  <c:v>0.42960584983056799</c:v>
                </c:pt>
                <c:pt idx="24089">
                  <c:v>0.429623684679864</c:v>
                </c:pt>
                <c:pt idx="24090">
                  <c:v>0.42964151952915902</c:v>
                </c:pt>
                <c:pt idx="24091">
                  <c:v>0.42965935437845498</c:v>
                </c:pt>
                <c:pt idx="24092">
                  <c:v>0.429677189227751</c:v>
                </c:pt>
                <c:pt idx="24093">
                  <c:v>0.42969502407704602</c:v>
                </c:pt>
                <c:pt idx="24094">
                  <c:v>0.42971285892634198</c:v>
                </c:pt>
                <c:pt idx="24095">
                  <c:v>0.429730693775637</c:v>
                </c:pt>
                <c:pt idx="24096">
                  <c:v>0.42974852862493301</c:v>
                </c:pt>
                <c:pt idx="24097">
                  <c:v>0.42976636347422797</c:v>
                </c:pt>
                <c:pt idx="24098">
                  <c:v>0.42978419832352399</c:v>
                </c:pt>
                <c:pt idx="24099">
                  <c:v>0.42980203317281901</c:v>
                </c:pt>
                <c:pt idx="24100">
                  <c:v>0.42981986802211503</c:v>
                </c:pt>
                <c:pt idx="24101">
                  <c:v>0.42983770287140999</c:v>
                </c:pt>
                <c:pt idx="24102">
                  <c:v>0.429855537720706</c:v>
                </c:pt>
                <c:pt idx="24103">
                  <c:v>0.42987337257000102</c:v>
                </c:pt>
                <c:pt idx="24104">
                  <c:v>0.42989120741929698</c:v>
                </c:pt>
                <c:pt idx="24105">
                  <c:v>0.429909042268592</c:v>
                </c:pt>
                <c:pt idx="24106">
                  <c:v>0.42992687711788802</c:v>
                </c:pt>
                <c:pt idx="24107">
                  <c:v>0.42994471196718298</c:v>
                </c:pt>
                <c:pt idx="24108">
                  <c:v>0.429962546816479</c:v>
                </c:pt>
                <c:pt idx="24109">
                  <c:v>0.42998038166577401</c:v>
                </c:pt>
                <c:pt idx="24110">
                  <c:v>0.42999821651506998</c:v>
                </c:pt>
                <c:pt idx="24111">
                  <c:v>0.43001605136436599</c:v>
                </c:pt>
                <c:pt idx="24112">
                  <c:v>0.43003388621366101</c:v>
                </c:pt>
                <c:pt idx="24113">
                  <c:v>0.43005172106295703</c:v>
                </c:pt>
                <c:pt idx="24114">
                  <c:v>0.43006955591225199</c:v>
                </c:pt>
                <c:pt idx="24115">
                  <c:v>0.43008739076154801</c:v>
                </c:pt>
                <c:pt idx="24116">
                  <c:v>0.43010522561084302</c:v>
                </c:pt>
                <c:pt idx="24117">
                  <c:v>0.43012306046013898</c:v>
                </c:pt>
                <c:pt idx="24118">
                  <c:v>0.430140895309434</c:v>
                </c:pt>
                <c:pt idx="24119">
                  <c:v>0.43015873015873002</c:v>
                </c:pt>
                <c:pt idx="24120">
                  <c:v>0.43017656500802498</c:v>
                </c:pt>
                <c:pt idx="24121">
                  <c:v>0.430194399857321</c:v>
                </c:pt>
                <c:pt idx="24122">
                  <c:v>0.43021223470661601</c:v>
                </c:pt>
                <c:pt idx="24123">
                  <c:v>0.43023006955591198</c:v>
                </c:pt>
                <c:pt idx="24124">
                  <c:v>0.43024790440520699</c:v>
                </c:pt>
                <c:pt idx="24125">
                  <c:v>0.43026573925450301</c:v>
                </c:pt>
                <c:pt idx="24126">
                  <c:v>0.43028357410379803</c:v>
                </c:pt>
                <c:pt idx="24127">
                  <c:v>0.43030140895309399</c:v>
                </c:pt>
                <c:pt idx="24128">
                  <c:v>0.43031924380238901</c:v>
                </c:pt>
                <c:pt idx="24129">
                  <c:v>0.43033707865168502</c:v>
                </c:pt>
                <c:pt idx="24130">
                  <c:v>0.43035491350097999</c:v>
                </c:pt>
                <c:pt idx="24131">
                  <c:v>0.430372748350276</c:v>
                </c:pt>
                <c:pt idx="24132">
                  <c:v>0.43039058319957102</c:v>
                </c:pt>
                <c:pt idx="24133">
                  <c:v>0.43040841804886698</c:v>
                </c:pt>
                <c:pt idx="24134">
                  <c:v>0.430426252898163</c:v>
                </c:pt>
                <c:pt idx="24135">
                  <c:v>0.43044408774745802</c:v>
                </c:pt>
                <c:pt idx="24136">
                  <c:v>0.43046192259675398</c:v>
                </c:pt>
                <c:pt idx="24137">
                  <c:v>0.43047975744604899</c:v>
                </c:pt>
                <c:pt idx="24138">
                  <c:v>0.43049759229534501</c:v>
                </c:pt>
                <c:pt idx="24139">
                  <c:v>0.43051542714463997</c:v>
                </c:pt>
                <c:pt idx="24140">
                  <c:v>0.43053326199393599</c:v>
                </c:pt>
                <c:pt idx="24141">
                  <c:v>0.43055109684323101</c:v>
                </c:pt>
                <c:pt idx="24142">
                  <c:v>0.43056893169252702</c:v>
                </c:pt>
                <c:pt idx="24143">
                  <c:v>0.43058676654182199</c:v>
                </c:pt>
                <c:pt idx="24144">
                  <c:v>0.430604601391118</c:v>
                </c:pt>
                <c:pt idx="24145">
                  <c:v>0.43062243624041302</c:v>
                </c:pt>
                <c:pt idx="24146">
                  <c:v>0.43064027108970898</c:v>
                </c:pt>
                <c:pt idx="24147">
                  <c:v>0.430658105939004</c:v>
                </c:pt>
                <c:pt idx="24148">
                  <c:v>0.43067594078830002</c:v>
                </c:pt>
                <c:pt idx="24149">
                  <c:v>0.43069377563759498</c:v>
                </c:pt>
                <c:pt idx="24150">
                  <c:v>0.43071161048689099</c:v>
                </c:pt>
                <c:pt idx="24151">
                  <c:v>0.43072944533618601</c:v>
                </c:pt>
                <c:pt idx="24152">
                  <c:v>0.43074728018548197</c:v>
                </c:pt>
                <c:pt idx="24153">
                  <c:v>0.43076511503477699</c:v>
                </c:pt>
                <c:pt idx="24154">
                  <c:v>0.43078294988407301</c:v>
                </c:pt>
                <c:pt idx="24155">
                  <c:v>0.43080078473336902</c:v>
                </c:pt>
                <c:pt idx="24156">
                  <c:v>0.43081861958266399</c:v>
                </c:pt>
                <c:pt idx="24157">
                  <c:v>0.43083645443196</c:v>
                </c:pt>
                <c:pt idx="24158">
                  <c:v>0.43085428928125502</c:v>
                </c:pt>
                <c:pt idx="24159">
                  <c:v>0.43087212413055098</c:v>
                </c:pt>
                <c:pt idx="24160">
                  <c:v>0.430889958979846</c:v>
                </c:pt>
                <c:pt idx="24161">
                  <c:v>0.43090779382914202</c:v>
                </c:pt>
                <c:pt idx="24162">
                  <c:v>0.43092562867843698</c:v>
                </c:pt>
                <c:pt idx="24163">
                  <c:v>0.430943463527733</c:v>
                </c:pt>
                <c:pt idx="24164">
                  <c:v>0.43096129837702801</c:v>
                </c:pt>
                <c:pt idx="24165">
                  <c:v>0.43097913322632397</c:v>
                </c:pt>
                <c:pt idx="24166">
                  <c:v>0.43099696807561899</c:v>
                </c:pt>
                <c:pt idx="24167">
                  <c:v>0.43101480292491501</c:v>
                </c:pt>
                <c:pt idx="24168">
                  <c:v>0.43103263777421003</c:v>
                </c:pt>
                <c:pt idx="24169">
                  <c:v>0.43105047262350599</c:v>
                </c:pt>
                <c:pt idx="24170">
                  <c:v>0.431068307472801</c:v>
                </c:pt>
                <c:pt idx="24171">
                  <c:v>0.43108614232209702</c:v>
                </c:pt>
                <c:pt idx="24172">
                  <c:v>0.43110397717139198</c:v>
                </c:pt>
                <c:pt idx="24173">
                  <c:v>0.431121812020688</c:v>
                </c:pt>
                <c:pt idx="24174">
                  <c:v>0.43113964686998302</c:v>
                </c:pt>
                <c:pt idx="24175">
                  <c:v>0.43115748171927898</c:v>
                </c:pt>
                <c:pt idx="24176">
                  <c:v>0.431175316568575</c:v>
                </c:pt>
                <c:pt idx="24177">
                  <c:v>0.43119315141787001</c:v>
                </c:pt>
                <c:pt idx="24178">
                  <c:v>0.43121098626716597</c:v>
                </c:pt>
                <c:pt idx="24179">
                  <c:v>0.43122882111646099</c:v>
                </c:pt>
                <c:pt idx="24180">
                  <c:v>0.43124665596575701</c:v>
                </c:pt>
                <c:pt idx="24181">
                  <c:v>0.43126449081505203</c:v>
                </c:pt>
                <c:pt idx="24182">
                  <c:v>0.43128232566434799</c:v>
                </c:pt>
                <c:pt idx="24183">
                  <c:v>0.43130016051364301</c:v>
                </c:pt>
                <c:pt idx="24184">
                  <c:v>0.43131799536293902</c:v>
                </c:pt>
                <c:pt idx="24185">
                  <c:v>0.43133583021223398</c:v>
                </c:pt>
                <c:pt idx="24186">
                  <c:v>0.43135366506153</c:v>
                </c:pt>
                <c:pt idx="24187">
                  <c:v>0.43137149991082502</c:v>
                </c:pt>
                <c:pt idx="24188">
                  <c:v>0.43138933476012098</c:v>
                </c:pt>
                <c:pt idx="24189">
                  <c:v>0.431407169609416</c:v>
                </c:pt>
                <c:pt idx="24190">
                  <c:v>0.43142500445871201</c:v>
                </c:pt>
                <c:pt idx="24191">
                  <c:v>0.43144283930800698</c:v>
                </c:pt>
                <c:pt idx="24192">
                  <c:v>0.43146067415730299</c:v>
                </c:pt>
                <c:pt idx="24193">
                  <c:v>0.43147850900659801</c:v>
                </c:pt>
                <c:pt idx="24194">
                  <c:v>0.43149634385589403</c:v>
                </c:pt>
                <c:pt idx="24195">
                  <c:v>0.43151417870518899</c:v>
                </c:pt>
                <c:pt idx="24196">
                  <c:v>0.43153201355448501</c:v>
                </c:pt>
                <c:pt idx="24197">
                  <c:v>0.43154984840378002</c:v>
                </c:pt>
                <c:pt idx="24198">
                  <c:v>0.43156768325307598</c:v>
                </c:pt>
                <c:pt idx="24199">
                  <c:v>0.431585518102372</c:v>
                </c:pt>
                <c:pt idx="24200">
                  <c:v>0.43160335295166702</c:v>
                </c:pt>
                <c:pt idx="24201">
                  <c:v>0.43162118780096298</c:v>
                </c:pt>
                <c:pt idx="24202">
                  <c:v>0.431639022650258</c:v>
                </c:pt>
                <c:pt idx="24203">
                  <c:v>0.43165685749955401</c:v>
                </c:pt>
                <c:pt idx="24204">
                  <c:v>0.43167469234884898</c:v>
                </c:pt>
                <c:pt idx="24205">
                  <c:v>0.43169252719814499</c:v>
                </c:pt>
                <c:pt idx="24206">
                  <c:v>0.43171036204744001</c:v>
                </c:pt>
                <c:pt idx="24207">
                  <c:v>0.43172819689673603</c:v>
                </c:pt>
                <c:pt idx="24208">
                  <c:v>0.43174603174603099</c:v>
                </c:pt>
                <c:pt idx="24209">
                  <c:v>0.43176386659532701</c:v>
                </c:pt>
                <c:pt idx="24210">
                  <c:v>0.43178170144462202</c:v>
                </c:pt>
                <c:pt idx="24211">
                  <c:v>0.43179953629391798</c:v>
                </c:pt>
                <c:pt idx="24212">
                  <c:v>0.431817371143213</c:v>
                </c:pt>
                <c:pt idx="24213">
                  <c:v>0.43183520599250902</c:v>
                </c:pt>
                <c:pt idx="24214">
                  <c:v>0.43185304084180398</c:v>
                </c:pt>
                <c:pt idx="24215">
                  <c:v>0.4318708756911</c:v>
                </c:pt>
                <c:pt idx="24216">
                  <c:v>0.43188871054039502</c:v>
                </c:pt>
                <c:pt idx="24217">
                  <c:v>0.43190654538969098</c:v>
                </c:pt>
                <c:pt idx="24218">
                  <c:v>0.43192438023898699</c:v>
                </c:pt>
                <c:pt idx="24219">
                  <c:v>0.43194221508828201</c:v>
                </c:pt>
                <c:pt idx="24220">
                  <c:v>0.43196004993757797</c:v>
                </c:pt>
                <c:pt idx="24221">
                  <c:v>0.43197788478687299</c:v>
                </c:pt>
                <c:pt idx="24222">
                  <c:v>0.43199571963616901</c:v>
                </c:pt>
                <c:pt idx="24223">
                  <c:v>0.43201355448546402</c:v>
                </c:pt>
                <c:pt idx="24224">
                  <c:v>0.43203138933475999</c:v>
                </c:pt>
                <c:pt idx="24225">
                  <c:v>0.432049224184055</c:v>
                </c:pt>
                <c:pt idx="24226">
                  <c:v>0.43206705903335102</c:v>
                </c:pt>
                <c:pt idx="24227">
                  <c:v>0.43208489388264598</c:v>
                </c:pt>
                <c:pt idx="24228">
                  <c:v>0.432102728731942</c:v>
                </c:pt>
                <c:pt idx="24229">
                  <c:v>0.43212056358123702</c:v>
                </c:pt>
                <c:pt idx="24230">
                  <c:v>0.43213839843053298</c:v>
                </c:pt>
                <c:pt idx="24231">
                  <c:v>0.43215623327982799</c:v>
                </c:pt>
                <c:pt idx="24232">
                  <c:v>0.43217406812912401</c:v>
                </c:pt>
                <c:pt idx="24233">
                  <c:v>0.43219190297841897</c:v>
                </c:pt>
                <c:pt idx="24234">
                  <c:v>0.43220973782771499</c:v>
                </c:pt>
                <c:pt idx="24235">
                  <c:v>0.43222757267701001</c:v>
                </c:pt>
                <c:pt idx="24236">
                  <c:v>0.43224540752630602</c:v>
                </c:pt>
                <c:pt idx="24237">
                  <c:v>0.43226324237560099</c:v>
                </c:pt>
                <c:pt idx="24238">
                  <c:v>0.432281077224897</c:v>
                </c:pt>
                <c:pt idx="24239">
                  <c:v>0.43229891207419202</c:v>
                </c:pt>
                <c:pt idx="24240">
                  <c:v>0.43231674692348798</c:v>
                </c:pt>
                <c:pt idx="24241">
                  <c:v>0.432334581772784</c:v>
                </c:pt>
                <c:pt idx="24242">
                  <c:v>0.43235241662207902</c:v>
                </c:pt>
                <c:pt idx="24243">
                  <c:v>0.43237025147137498</c:v>
                </c:pt>
                <c:pt idx="24244">
                  <c:v>0.43238808632067</c:v>
                </c:pt>
                <c:pt idx="24245">
                  <c:v>0.43240592116996601</c:v>
                </c:pt>
                <c:pt idx="24246">
                  <c:v>0.43242375601926097</c:v>
                </c:pt>
                <c:pt idx="24247">
                  <c:v>0.43244159086855699</c:v>
                </c:pt>
                <c:pt idx="24248">
                  <c:v>0.43245942571785201</c:v>
                </c:pt>
                <c:pt idx="24249">
                  <c:v>0.43247726056714803</c:v>
                </c:pt>
                <c:pt idx="24250">
                  <c:v>0.43249509541644299</c:v>
                </c:pt>
                <c:pt idx="24251">
                  <c:v>0.432512930265739</c:v>
                </c:pt>
                <c:pt idx="24252">
                  <c:v>0.43253076511503402</c:v>
                </c:pt>
                <c:pt idx="24253">
                  <c:v>0.43254859996432998</c:v>
                </c:pt>
                <c:pt idx="24254">
                  <c:v>0.432566434813625</c:v>
                </c:pt>
                <c:pt idx="24255">
                  <c:v>0.43258426966292102</c:v>
                </c:pt>
                <c:pt idx="24256">
                  <c:v>0.43260210451221598</c:v>
                </c:pt>
                <c:pt idx="24257">
                  <c:v>0.432619939361512</c:v>
                </c:pt>
                <c:pt idx="24258">
                  <c:v>0.43263777421080701</c:v>
                </c:pt>
                <c:pt idx="24259">
                  <c:v>0.43265560906010297</c:v>
                </c:pt>
                <c:pt idx="24260">
                  <c:v>0.43267344390939899</c:v>
                </c:pt>
                <c:pt idx="24261">
                  <c:v>0.43269127875869401</c:v>
                </c:pt>
                <c:pt idx="24262">
                  <c:v>0.43270911360799003</c:v>
                </c:pt>
                <c:pt idx="24263">
                  <c:v>0.43272694845728499</c:v>
                </c:pt>
                <c:pt idx="24264">
                  <c:v>0.432744783306581</c:v>
                </c:pt>
                <c:pt idx="24265">
                  <c:v>0.43276261815587602</c:v>
                </c:pt>
                <c:pt idx="24266">
                  <c:v>0.43278045300517198</c:v>
                </c:pt>
                <c:pt idx="24267">
                  <c:v>0.432798287854467</c:v>
                </c:pt>
                <c:pt idx="24268">
                  <c:v>0.43281612270376302</c:v>
                </c:pt>
                <c:pt idx="24269">
                  <c:v>0.43283395755305798</c:v>
                </c:pt>
                <c:pt idx="24270">
                  <c:v>0.432851792402354</c:v>
                </c:pt>
                <c:pt idx="24271">
                  <c:v>0.43286962725164901</c:v>
                </c:pt>
                <c:pt idx="24272">
                  <c:v>0.43288746210094498</c:v>
                </c:pt>
                <c:pt idx="24273">
                  <c:v>0.43290529695023999</c:v>
                </c:pt>
                <c:pt idx="24274">
                  <c:v>0.43292313179953601</c:v>
                </c:pt>
                <c:pt idx="24275">
                  <c:v>0.43294096664883103</c:v>
                </c:pt>
                <c:pt idx="24276">
                  <c:v>0.43295880149812699</c:v>
                </c:pt>
                <c:pt idx="24277">
                  <c:v>0.43297663634742201</c:v>
                </c:pt>
                <c:pt idx="24278">
                  <c:v>0.43299447119671802</c:v>
                </c:pt>
                <c:pt idx="24279">
                  <c:v>0.43301230604601298</c:v>
                </c:pt>
                <c:pt idx="24280">
                  <c:v>0.433030140895309</c:v>
                </c:pt>
                <c:pt idx="24281">
                  <c:v>0.43304797574460402</c:v>
                </c:pt>
                <c:pt idx="24282">
                  <c:v>0.43306581059389998</c:v>
                </c:pt>
                <c:pt idx="24283">
                  <c:v>0.433083645443196</c:v>
                </c:pt>
                <c:pt idx="24284">
                  <c:v>0.43310148029249101</c:v>
                </c:pt>
                <c:pt idx="24285">
                  <c:v>0.43311931514178698</c:v>
                </c:pt>
                <c:pt idx="24286">
                  <c:v>0.43313714999108199</c:v>
                </c:pt>
                <c:pt idx="24287">
                  <c:v>0.43315498484037801</c:v>
                </c:pt>
                <c:pt idx="24288">
                  <c:v>0.43317281968967303</c:v>
                </c:pt>
                <c:pt idx="24289">
                  <c:v>0.43319065453896899</c:v>
                </c:pt>
                <c:pt idx="24290">
                  <c:v>0.43320848938826401</c:v>
                </c:pt>
                <c:pt idx="24291">
                  <c:v>0.43322632423756002</c:v>
                </c:pt>
                <c:pt idx="24292">
                  <c:v>0.43324415908685499</c:v>
                </c:pt>
                <c:pt idx="24293">
                  <c:v>0.433261993936151</c:v>
                </c:pt>
                <c:pt idx="24294">
                  <c:v>0.43327982878544602</c:v>
                </c:pt>
                <c:pt idx="24295">
                  <c:v>0.43329766363474198</c:v>
                </c:pt>
                <c:pt idx="24296">
                  <c:v>0.433315498484037</c:v>
                </c:pt>
                <c:pt idx="24297">
                  <c:v>0.43333333333333302</c:v>
                </c:pt>
                <c:pt idx="24298">
                  <c:v>0.43335116818262798</c:v>
                </c:pt>
                <c:pt idx="24299">
                  <c:v>0.43336900303192399</c:v>
                </c:pt>
                <c:pt idx="24300">
                  <c:v>0.43338683788121901</c:v>
                </c:pt>
                <c:pt idx="24301">
                  <c:v>0.43340467273051497</c:v>
                </c:pt>
                <c:pt idx="24302">
                  <c:v>0.43342250757980999</c:v>
                </c:pt>
                <c:pt idx="24303">
                  <c:v>0.43344034242910601</c:v>
                </c:pt>
                <c:pt idx="24304">
                  <c:v>0.43345817727840202</c:v>
                </c:pt>
                <c:pt idx="24305">
                  <c:v>0.43347601212769699</c:v>
                </c:pt>
                <c:pt idx="24306">
                  <c:v>0.433493846976993</c:v>
                </c:pt>
                <c:pt idx="24307">
                  <c:v>0.43351168182628802</c:v>
                </c:pt>
                <c:pt idx="24308">
                  <c:v>0.43352951667558398</c:v>
                </c:pt>
                <c:pt idx="24309">
                  <c:v>0.433547351524879</c:v>
                </c:pt>
                <c:pt idx="24310">
                  <c:v>0.43356518637417502</c:v>
                </c:pt>
                <c:pt idx="24311">
                  <c:v>0.43358302122346998</c:v>
                </c:pt>
                <c:pt idx="24312">
                  <c:v>0.43360085607276599</c:v>
                </c:pt>
                <c:pt idx="24313">
                  <c:v>0.43361869092206101</c:v>
                </c:pt>
                <c:pt idx="24314">
                  <c:v>0.43363652577135697</c:v>
                </c:pt>
                <c:pt idx="24315">
                  <c:v>0.43365436062065199</c:v>
                </c:pt>
                <c:pt idx="24316">
                  <c:v>0.43367219546994801</c:v>
                </c:pt>
                <c:pt idx="24317">
                  <c:v>0.43369003031924303</c:v>
                </c:pt>
                <c:pt idx="24318">
                  <c:v>0.43370786516853899</c:v>
                </c:pt>
                <c:pt idx="24319">
                  <c:v>0.433725700017834</c:v>
                </c:pt>
                <c:pt idx="24320">
                  <c:v>0.43374353486713002</c:v>
                </c:pt>
                <c:pt idx="24321">
                  <c:v>0.43376136971642498</c:v>
                </c:pt>
                <c:pt idx="24322">
                  <c:v>0.433779204565721</c:v>
                </c:pt>
                <c:pt idx="24323">
                  <c:v>0.43379703941501602</c:v>
                </c:pt>
                <c:pt idx="24324">
                  <c:v>0.43381487426431198</c:v>
                </c:pt>
                <c:pt idx="24325">
                  <c:v>0.43383270911360799</c:v>
                </c:pt>
                <c:pt idx="24326">
                  <c:v>0.43385054396290301</c:v>
                </c:pt>
                <c:pt idx="24327">
                  <c:v>0.43386837881219897</c:v>
                </c:pt>
                <c:pt idx="24328">
                  <c:v>0.43388621366149399</c:v>
                </c:pt>
                <c:pt idx="24329">
                  <c:v>0.43390404851079001</c:v>
                </c:pt>
                <c:pt idx="24330">
                  <c:v>0.43392188336008503</c:v>
                </c:pt>
                <c:pt idx="24331">
                  <c:v>0.43393971820938099</c:v>
                </c:pt>
                <c:pt idx="24332">
                  <c:v>0.433957553058676</c:v>
                </c:pt>
                <c:pt idx="24333">
                  <c:v>0.43397538790797202</c:v>
                </c:pt>
                <c:pt idx="24334">
                  <c:v>0.43399322275726698</c:v>
                </c:pt>
                <c:pt idx="24335">
                  <c:v>0.434011057606563</c:v>
                </c:pt>
                <c:pt idx="24336">
                  <c:v>0.43402889245585802</c:v>
                </c:pt>
                <c:pt idx="24337">
                  <c:v>0.43404672730515398</c:v>
                </c:pt>
                <c:pt idx="24338">
                  <c:v>0.434064562154449</c:v>
                </c:pt>
                <c:pt idx="24339">
                  <c:v>0.43408239700374501</c:v>
                </c:pt>
                <c:pt idx="24340">
                  <c:v>0.43410023185303998</c:v>
                </c:pt>
                <c:pt idx="24341">
                  <c:v>0.43411806670233599</c:v>
                </c:pt>
                <c:pt idx="24342">
                  <c:v>0.43413590155163101</c:v>
                </c:pt>
                <c:pt idx="24343">
                  <c:v>0.43415373640092703</c:v>
                </c:pt>
                <c:pt idx="24344">
                  <c:v>0.43417157125022199</c:v>
                </c:pt>
                <c:pt idx="24345">
                  <c:v>0.434189406099518</c:v>
                </c:pt>
                <c:pt idx="24346">
                  <c:v>0.43420724094881302</c:v>
                </c:pt>
                <c:pt idx="24347">
                  <c:v>0.43422507579810898</c:v>
                </c:pt>
                <c:pt idx="24348">
                  <c:v>0.434242910647405</c:v>
                </c:pt>
                <c:pt idx="24349">
                  <c:v>0.43426074549670002</c:v>
                </c:pt>
                <c:pt idx="24350">
                  <c:v>0.43427858034599598</c:v>
                </c:pt>
                <c:pt idx="24351">
                  <c:v>0.434296415195291</c:v>
                </c:pt>
                <c:pt idx="24352">
                  <c:v>0.43431425004458701</c:v>
                </c:pt>
                <c:pt idx="24353">
                  <c:v>0.43433208489388198</c:v>
                </c:pt>
                <c:pt idx="24354">
                  <c:v>0.43434991974317799</c:v>
                </c:pt>
                <c:pt idx="24355">
                  <c:v>0.43436775459247301</c:v>
                </c:pt>
                <c:pt idx="24356">
                  <c:v>0.43438558944176903</c:v>
                </c:pt>
                <c:pt idx="24357">
                  <c:v>0.43440342429106399</c:v>
                </c:pt>
                <c:pt idx="24358">
                  <c:v>0.43442125914036001</c:v>
                </c:pt>
                <c:pt idx="24359">
                  <c:v>0.43443909398965502</c:v>
                </c:pt>
                <c:pt idx="24360">
                  <c:v>0.43445692883895098</c:v>
                </c:pt>
                <c:pt idx="24361">
                  <c:v>0.434474763688246</c:v>
                </c:pt>
                <c:pt idx="24362">
                  <c:v>0.43449259853754202</c:v>
                </c:pt>
                <c:pt idx="24363">
                  <c:v>0.43451043338683698</c:v>
                </c:pt>
                <c:pt idx="24364">
                  <c:v>0.434528268236133</c:v>
                </c:pt>
                <c:pt idx="24365">
                  <c:v>0.43454610308542801</c:v>
                </c:pt>
                <c:pt idx="24366">
                  <c:v>0.43456393793472398</c:v>
                </c:pt>
                <c:pt idx="24367">
                  <c:v>0.43458177278401999</c:v>
                </c:pt>
                <c:pt idx="24368">
                  <c:v>0.43459960763331501</c:v>
                </c:pt>
                <c:pt idx="24369">
                  <c:v>0.43461744248261103</c:v>
                </c:pt>
                <c:pt idx="24370">
                  <c:v>0.43463527733190599</c:v>
                </c:pt>
                <c:pt idx="24371">
                  <c:v>0.43465311218120201</c:v>
                </c:pt>
                <c:pt idx="24372">
                  <c:v>0.43467094703049702</c:v>
                </c:pt>
                <c:pt idx="24373">
                  <c:v>0.43468878187979298</c:v>
                </c:pt>
                <c:pt idx="24374">
                  <c:v>0.434706616729088</c:v>
                </c:pt>
                <c:pt idx="24375">
                  <c:v>0.43472445157838402</c:v>
                </c:pt>
                <c:pt idx="24376">
                  <c:v>0.43474228642767898</c:v>
                </c:pt>
                <c:pt idx="24377">
                  <c:v>0.434760121276975</c:v>
                </c:pt>
                <c:pt idx="24378">
                  <c:v>0.43477795612627002</c:v>
                </c:pt>
                <c:pt idx="24379">
                  <c:v>0.43479579097556598</c:v>
                </c:pt>
                <c:pt idx="24380">
                  <c:v>0.43481362582486099</c:v>
                </c:pt>
                <c:pt idx="24381">
                  <c:v>0.43483146067415701</c:v>
                </c:pt>
                <c:pt idx="24382">
                  <c:v>0.43484929552345197</c:v>
                </c:pt>
                <c:pt idx="24383">
                  <c:v>0.43486713037274799</c:v>
                </c:pt>
                <c:pt idx="24384">
                  <c:v>0.43488496522204301</c:v>
                </c:pt>
                <c:pt idx="24385">
                  <c:v>0.43490280007133902</c:v>
                </c:pt>
                <c:pt idx="24386">
                  <c:v>0.43492063492063399</c:v>
                </c:pt>
                <c:pt idx="24387">
                  <c:v>0.43493846976993</c:v>
                </c:pt>
                <c:pt idx="24388">
                  <c:v>0.43495630461922502</c:v>
                </c:pt>
                <c:pt idx="24389">
                  <c:v>0.43497413946852098</c:v>
                </c:pt>
                <c:pt idx="24390">
                  <c:v>0.434991974317817</c:v>
                </c:pt>
                <c:pt idx="24391">
                  <c:v>0.43500980916711202</c:v>
                </c:pt>
                <c:pt idx="24392">
                  <c:v>0.43502764401640798</c:v>
                </c:pt>
                <c:pt idx="24393">
                  <c:v>0.43504547886570299</c:v>
                </c:pt>
                <c:pt idx="24394">
                  <c:v>0.43506331371499901</c:v>
                </c:pt>
                <c:pt idx="24395">
                  <c:v>0.43508114856429397</c:v>
                </c:pt>
                <c:pt idx="24396">
                  <c:v>0.43509898341358999</c:v>
                </c:pt>
                <c:pt idx="24397">
                  <c:v>0.43511681826288501</c:v>
                </c:pt>
                <c:pt idx="24398">
                  <c:v>0.43513465311218102</c:v>
                </c:pt>
                <c:pt idx="24399">
                  <c:v>0.43515248796147599</c:v>
                </c:pt>
                <c:pt idx="24400">
                  <c:v>0.435170322810772</c:v>
                </c:pt>
                <c:pt idx="24401">
                  <c:v>0.43518815766006702</c:v>
                </c:pt>
                <c:pt idx="24402">
                  <c:v>0.43520599250936298</c:v>
                </c:pt>
                <c:pt idx="24403">
                  <c:v>0.435223827358658</c:v>
                </c:pt>
                <c:pt idx="24404">
                  <c:v>0.43524166220795402</c:v>
                </c:pt>
                <c:pt idx="24405">
                  <c:v>0.43525949705724898</c:v>
                </c:pt>
                <c:pt idx="24406">
                  <c:v>0.435277331906545</c:v>
                </c:pt>
                <c:pt idx="24407">
                  <c:v>0.43529516675584001</c:v>
                </c:pt>
                <c:pt idx="24408">
                  <c:v>0.43531300160513597</c:v>
                </c:pt>
                <c:pt idx="24409">
                  <c:v>0.43533083645443099</c:v>
                </c:pt>
                <c:pt idx="24410">
                  <c:v>0.43534867130372701</c:v>
                </c:pt>
                <c:pt idx="24411">
                  <c:v>0.43536650615302303</c:v>
                </c:pt>
                <c:pt idx="24412">
                  <c:v>0.43538434100231799</c:v>
                </c:pt>
                <c:pt idx="24413">
                  <c:v>0.435402175851614</c:v>
                </c:pt>
                <c:pt idx="24414">
                  <c:v>0.43542001070090902</c:v>
                </c:pt>
                <c:pt idx="24415">
                  <c:v>0.43543784555020498</c:v>
                </c:pt>
                <c:pt idx="24416">
                  <c:v>0.4354556803995</c:v>
                </c:pt>
                <c:pt idx="24417">
                  <c:v>0.43547351524879602</c:v>
                </c:pt>
                <c:pt idx="24418">
                  <c:v>0.43549135009809098</c:v>
                </c:pt>
                <c:pt idx="24419">
                  <c:v>0.435509184947387</c:v>
                </c:pt>
                <c:pt idx="24420">
                  <c:v>0.43552701979668201</c:v>
                </c:pt>
                <c:pt idx="24421">
                  <c:v>0.43554485464597797</c:v>
                </c:pt>
                <c:pt idx="24422">
                  <c:v>0.43556268949527299</c:v>
                </c:pt>
                <c:pt idx="24423">
                  <c:v>0.43558052434456901</c:v>
                </c:pt>
                <c:pt idx="24424">
                  <c:v>0.43559835919386403</c:v>
                </c:pt>
                <c:pt idx="24425">
                  <c:v>0.43561619404315999</c:v>
                </c:pt>
                <c:pt idx="24426">
                  <c:v>0.43563402889245501</c:v>
                </c:pt>
                <c:pt idx="24427">
                  <c:v>0.43565186374175102</c:v>
                </c:pt>
                <c:pt idx="24428">
                  <c:v>0.43566969859104598</c:v>
                </c:pt>
                <c:pt idx="24429">
                  <c:v>0.435687533440342</c:v>
                </c:pt>
                <c:pt idx="24430">
                  <c:v>0.43570536828963702</c:v>
                </c:pt>
                <c:pt idx="24431">
                  <c:v>0.43572320313893298</c:v>
                </c:pt>
                <c:pt idx="24432">
                  <c:v>0.435741037988229</c:v>
                </c:pt>
                <c:pt idx="24433">
                  <c:v>0.43575887283752401</c:v>
                </c:pt>
                <c:pt idx="24434">
                  <c:v>0.43577670768681998</c:v>
                </c:pt>
                <c:pt idx="24435">
                  <c:v>0.43579454253611499</c:v>
                </c:pt>
                <c:pt idx="24436">
                  <c:v>0.43581237738541101</c:v>
                </c:pt>
                <c:pt idx="24437">
                  <c:v>0.43583021223470603</c:v>
                </c:pt>
                <c:pt idx="24438">
                  <c:v>0.43584804708400199</c:v>
                </c:pt>
                <c:pt idx="24439">
                  <c:v>0.43586588193329701</c:v>
                </c:pt>
                <c:pt idx="24440">
                  <c:v>0.43588371678259302</c:v>
                </c:pt>
                <c:pt idx="24441">
                  <c:v>0.43590155163188798</c:v>
                </c:pt>
                <c:pt idx="24442">
                  <c:v>0.435919386481184</c:v>
                </c:pt>
                <c:pt idx="24443">
                  <c:v>0.43593722133047902</c:v>
                </c:pt>
                <c:pt idx="24444">
                  <c:v>0.43595505617977498</c:v>
                </c:pt>
                <c:pt idx="24445">
                  <c:v>0.43597289102907</c:v>
                </c:pt>
                <c:pt idx="24446">
                  <c:v>0.43599072587836601</c:v>
                </c:pt>
                <c:pt idx="24447">
                  <c:v>0.43600856072766098</c:v>
                </c:pt>
                <c:pt idx="24448">
                  <c:v>0.43602639557695699</c:v>
                </c:pt>
                <c:pt idx="24449">
                  <c:v>0.43604423042625201</c:v>
                </c:pt>
                <c:pt idx="24450">
                  <c:v>0.43606206527554803</c:v>
                </c:pt>
                <c:pt idx="24451">
                  <c:v>0.43607990012484299</c:v>
                </c:pt>
                <c:pt idx="24452">
                  <c:v>0.43609773497413901</c:v>
                </c:pt>
                <c:pt idx="24453">
                  <c:v>0.43611556982343402</c:v>
                </c:pt>
                <c:pt idx="24454">
                  <c:v>0.43613340467272999</c:v>
                </c:pt>
                <c:pt idx="24455">
                  <c:v>0.436151239522026</c:v>
                </c:pt>
                <c:pt idx="24456">
                  <c:v>0.43616907437132102</c:v>
                </c:pt>
                <c:pt idx="24457">
                  <c:v>0.43618690922061698</c:v>
                </c:pt>
                <c:pt idx="24458">
                  <c:v>0.436204744069912</c:v>
                </c:pt>
                <c:pt idx="24459">
                  <c:v>0.43622257891920801</c:v>
                </c:pt>
                <c:pt idx="24460">
                  <c:v>0.43624041376850298</c:v>
                </c:pt>
                <c:pt idx="24461">
                  <c:v>0.43625824861779899</c:v>
                </c:pt>
                <c:pt idx="24462">
                  <c:v>0.43627608346709401</c:v>
                </c:pt>
                <c:pt idx="24463">
                  <c:v>0.43629391831638997</c:v>
                </c:pt>
                <c:pt idx="24464">
                  <c:v>0.43631175316568499</c:v>
                </c:pt>
                <c:pt idx="24465">
                  <c:v>0.43632958801498101</c:v>
                </c:pt>
                <c:pt idx="24466">
                  <c:v>0.43634742286427602</c:v>
                </c:pt>
                <c:pt idx="24467">
                  <c:v>0.43636525771357199</c:v>
                </c:pt>
                <c:pt idx="24468">
                  <c:v>0.436383092562867</c:v>
                </c:pt>
                <c:pt idx="24469">
                  <c:v>0.43640092741216302</c:v>
                </c:pt>
                <c:pt idx="24470">
                  <c:v>0.43641876226145798</c:v>
                </c:pt>
                <c:pt idx="24471">
                  <c:v>0.436436597110754</c:v>
                </c:pt>
                <c:pt idx="24472">
                  <c:v>0.43645443196004902</c:v>
                </c:pt>
                <c:pt idx="24473">
                  <c:v>0.43647226680934498</c:v>
                </c:pt>
                <c:pt idx="24474">
                  <c:v>0.43649010165864099</c:v>
                </c:pt>
                <c:pt idx="24475">
                  <c:v>0.43650793650793601</c:v>
                </c:pt>
                <c:pt idx="24476">
                  <c:v>0.43652577135723197</c:v>
                </c:pt>
                <c:pt idx="24477">
                  <c:v>0.43654360620652699</c:v>
                </c:pt>
                <c:pt idx="24478">
                  <c:v>0.43656144105582301</c:v>
                </c:pt>
                <c:pt idx="24479">
                  <c:v>0.43657927590511802</c:v>
                </c:pt>
                <c:pt idx="24480">
                  <c:v>0.43659711075441399</c:v>
                </c:pt>
                <c:pt idx="24481">
                  <c:v>0.436614945603709</c:v>
                </c:pt>
                <c:pt idx="24482">
                  <c:v>0.43663278045300502</c:v>
                </c:pt>
                <c:pt idx="24483">
                  <c:v>0.43665061530229998</c:v>
                </c:pt>
                <c:pt idx="24484">
                  <c:v>0.436668450151596</c:v>
                </c:pt>
                <c:pt idx="24485">
                  <c:v>0.43668628500089102</c:v>
                </c:pt>
                <c:pt idx="24486">
                  <c:v>0.43670411985018698</c:v>
                </c:pt>
                <c:pt idx="24487">
                  <c:v>0.436721954699482</c:v>
                </c:pt>
                <c:pt idx="24488">
                  <c:v>0.43673978954877801</c:v>
                </c:pt>
                <c:pt idx="24489">
                  <c:v>0.43675762439807297</c:v>
                </c:pt>
                <c:pt idx="24490">
                  <c:v>0.43677545924736899</c:v>
                </c:pt>
                <c:pt idx="24491">
                  <c:v>0.43679329409666401</c:v>
                </c:pt>
                <c:pt idx="24492">
                  <c:v>0.43681112894596003</c:v>
                </c:pt>
                <c:pt idx="24493">
                  <c:v>0.43682896379525499</c:v>
                </c:pt>
                <c:pt idx="24494">
                  <c:v>0.436846798644551</c:v>
                </c:pt>
                <c:pt idx="24495">
                  <c:v>0.43686463349384602</c:v>
                </c:pt>
                <c:pt idx="24496">
                  <c:v>0.43688246834314198</c:v>
                </c:pt>
                <c:pt idx="24497">
                  <c:v>0.436900303192438</c:v>
                </c:pt>
                <c:pt idx="24498">
                  <c:v>0.43691813804173302</c:v>
                </c:pt>
                <c:pt idx="24499">
                  <c:v>0.43693597289102898</c:v>
                </c:pt>
                <c:pt idx="24500">
                  <c:v>0.436953807740324</c:v>
                </c:pt>
                <c:pt idx="24501">
                  <c:v>0.43697164258962001</c:v>
                </c:pt>
                <c:pt idx="24502">
                  <c:v>0.43698947743891497</c:v>
                </c:pt>
                <c:pt idx="24503">
                  <c:v>0.43700731228821099</c:v>
                </c:pt>
                <c:pt idx="24504">
                  <c:v>0.43702514713750601</c:v>
                </c:pt>
                <c:pt idx="24505">
                  <c:v>0.43704298198680203</c:v>
                </c:pt>
                <c:pt idx="24506">
                  <c:v>0.43706081683609699</c:v>
                </c:pt>
                <c:pt idx="24507">
                  <c:v>0.437078651685393</c:v>
                </c:pt>
                <c:pt idx="24508">
                  <c:v>0.43709648653468802</c:v>
                </c:pt>
                <c:pt idx="24509">
                  <c:v>0.43711432138398398</c:v>
                </c:pt>
                <c:pt idx="24510">
                  <c:v>0.437132156233279</c:v>
                </c:pt>
                <c:pt idx="24511">
                  <c:v>0.43714999108257502</c:v>
                </c:pt>
                <c:pt idx="24512">
                  <c:v>0.43716782593186998</c:v>
                </c:pt>
                <c:pt idx="24513">
                  <c:v>0.437185660781166</c:v>
                </c:pt>
                <c:pt idx="24514">
                  <c:v>0.43720349563046101</c:v>
                </c:pt>
                <c:pt idx="24515">
                  <c:v>0.43722133047975698</c:v>
                </c:pt>
                <c:pt idx="24516">
                  <c:v>0.43723916532905299</c:v>
                </c:pt>
                <c:pt idx="24517">
                  <c:v>0.43725700017834801</c:v>
                </c:pt>
                <c:pt idx="24518">
                  <c:v>0.43727483502764403</c:v>
                </c:pt>
                <c:pt idx="24519">
                  <c:v>0.43729266987693899</c:v>
                </c:pt>
                <c:pt idx="24520">
                  <c:v>0.43731050472623501</c:v>
                </c:pt>
                <c:pt idx="24521">
                  <c:v>0.43732833957553002</c:v>
                </c:pt>
                <c:pt idx="24522">
                  <c:v>0.43734617442482598</c:v>
                </c:pt>
                <c:pt idx="24523">
                  <c:v>0.437364009274121</c:v>
                </c:pt>
                <c:pt idx="24524">
                  <c:v>0.43738184412341702</c:v>
                </c:pt>
                <c:pt idx="24525">
                  <c:v>0.43739967897271198</c:v>
                </c:pt>
                <c:pt idx="24526">
                  <c:v>0.437417513822008</c:v>
                </c:pt>
                <c:pt idx="24527">
                  <c:v>0.43743534867130301</c:v>
                </c:pt>
                <c:pt idx="24528">
                  <c:v>0.43745318352059898</c:v>
                </c:pt>
                <c:pt idx="24529">
                  <c:v>0.43747101836989399</c:v>
                </c:pt>
                <c:pt idx="24530">
                  <c:v>0.43748885321919001</c:v>
                </c:pt>
                <c:pt idx="24531">
                  <c:v>0.43750668806848497</c:v>
                </c:pt>
                <c:pt idx="24532">
                  <c:v>0.43752452291778099</c:v>
                </c:pt>
                <c:pt idx="24533">
                  <c:v>0.43754235776707601</c:v>
                </c:pt>
                <c:pt idx="24534">
                  <c:v>0.43756019261637202</c:v>
                </c:pt>
                <c:pt idx="24535">
                  <c:v>0.43757802746566699</c:v>
                </c:pt>
                <c:pt idx="24536">
                  <c:v>0.437595862314963</c:v>
                </c:pt>
                <c:pt idx="24537">
                  <c:v>0.43761369716425802</c:v>
                </c:pt>
                <c:pt idx="24538">
                  <c:v>0.43763153201355398</c:v>
                </c:pt>
                <c:pt idx="24539">
                  <c:v>0.43764936686285</c:v>
                </c:pt>
                <c:pt idx="24540">
                  <c:v>0.43766720171214502</c:v>
                </c:pt>
                <c:pt idx="24541">
                  <c:v>0.43768503656144098</c:v>
                </c:pt>
                <c:pt idx="24542">
                  <c:v>0.43770287141073599</c:v>
                </c:pt>
                <c:pt idx="24543">
                  <c:v>0.43772070626003201</c:v>
                </c:pt>
                <c:pt idx="24544">
                  <c:v>0.43773854110932697</c:v>
                </c:pt>
                <c:pt idx="24545">
                  <c:v>0.43775637595862299</c:v>
                </c:pt>
                <c:pt idx="24546">
                  <c:v>0.43777421080791801</c:v>
                </c:pt>
                <c:pt idx="24547">
                  <c:v>0.43779204565721402</c:v>
                </c:pt>
                <c:pt idx="24548">
                  <c:v>0.43780988050650899</c:v>
                </c:pt>
                <c:pt idx="24549">
                  <c:v>0.437827715355805</c:v>
                </c:pt>
                <c:pt idx="24550">
                  <c:v>0.43784555020510002</c:v>
                </c:pt>
                <c:pt idx="24551">
                  <c:v>0.43786338505439598</c:v>
                </c:pt>
                <c:pt idx="24552">
                  <c:v>0.437881219903691</c:v>
                </c:pt>
                <c:pt idx="24553">
                  <c:v>0.43789905475298702</c:v>
                </c:pt>
                <c:pt idx="24554">
                  <c:v>0.43791688960228198</c:v>
                </c:pt>
                <c:pt idx="24555">
                  <c:v>0.43793472445157799</c:v>
                </c:pt>
                <c:pt idx="24556">
                  <c:v>0.43795255930087301</c:v>
                </c:pt>
                <c:pt idx="24557">
                  <c:v>0.43797039415016897</c:v>
                </c:pt>
                <c:pt idx="24558">
                  <c:v>0.43798822899946399</c:v>
                </c:pt>
                <c:pt idx="24559">
                  <c:v>0.43800606384876001</c:v>
                </c:pt>
                <c:pt idx="24560">
                  <c:v>0.43802389869805602</c:v>
                </c:pt>
                <c:pt idx="24561">
                  <c:v>0.43804173354735099</c:v>
                </c:pt>
                <c:pt idx="24562">
                  <c:v>0.438059568396647</c:v>
                </c:pt>
                <c:pt idx="24563">
                  <c:v>0.43807740324594202</c:v>
                </c:pt>
                <c:pt idx="24564">
                  <c:v>0.43809523809523798</c:v>
                </c:pt>
                <c:pt idx="24565">
                  <c:v>0.438113072944533</c:v>
                </c:pt>
                <c:pt idx="24566">
                  <c:v>0.43813090779382902</c:v>
                </c:pt>
                <c:pt idx="24567">
                  <c:v>0.43814874264312398</c:v>
                </c:pt>
                <c:pt idx="24568">
                  <c:v>0.43816657749242</c:v>
                </c:pt>
                <c:pt idx="24569">
                  <c:v>0.43818441234171501</c:v>
                </c:pt>
                <c:pt idx="24570">
                  <c:v>0.43820224719101097</c:v>
                </c:pt>
                <c:pt idx="24571">
                  <c:v>0.43822008204030599</c:v>
                </c:pt>
                <c:pt idx="24572">
                  <c:v>0.43823791688960201</c:v>
                </c:pt>
                <c:pt idx="24573">
                  <c:v>0.43825575173889703</c:v>
                </c:pt>
                <c:pt idx="24574">
                  <c:v>0.43827358658819299</c:v>
                </c:pt>
                <c:pt idx="24575">
                  <c:v>0.438291421437488</c:v>
                </c:pt>
                <c:pt idx="24576">
                  <c:v>0.43830925628678402</c:v>
                </c:pt>
                <c:pt idx="24577">
                  <c:v>0.43832709113607898</c:v>
                </c:pt>
                <c:pt idx="24578">
                  <c:v>0.438344925985375</c:v>
                </c:pt>
                <c:pt idx="24579">
                  <c:v>0.43836276083467002</c:v>
                </c:pt>
                <c:pt idx="24580">
                  <c:v>0.43838059568396598</c:v>
                </c:pt>
                <c:pt idx="24581">
                  <c:v>0.438398430533262</c:v>
                </c:pt>
                <c:pt idx="24582">
                  <c:v>0.43841626538255701</c:v>
                </c:pt>
                <c:pt idx="24583">
                  <c:v>0.43843410023185297</c:v>
                </c:pt>
                <c:pt idx="24584">
                  <c:v>0.43845193508114799</c:v>
                </c:pt>
                <c:pt idx="24585">
                  <c:v>0.43846976993044401</c:v>
                </c:pt>
                <c:pt idx="24586">
                  <c:v>0.43848760477973903</c:v>
                </c:pt>
                <c:pt idx="24587">
                  <c:v>0.43850543962903499</c:v>
                </c:pt>
                <c:pt idx="24588">
                  <c:v>0.43852327447833001</c:v>
                </c:pt>
                <c:pt idx="24589">
                  <c:v>0.43854110932762602</c:v>
                </c:pt>
                <c:pt idx="24590">
                  <c:v>0.43855894417692098</c:v>
                </c:pt>
                <c:pt idx="24591">
                  <c:v>0.438576779026217</c:v>
                </c:pt>
                <c:pt idx="24592">
                  <c:v>0.43859461387551202</c:v>
                </c:pt>
                <c:pt idx="24593">
                  <c:v>0.43861244872480798</c:v>
                </c:pt>
                <c:pt idx="24594">
                  <c:v>0.438630283574103</c:v>
                </c:pt>
                <c:pt idx="24595">
                  <c:v>0.43864811842339901</c:v>
                </c:pt>
                <c:pt idx="24596">
                  <c:v>0.43866595327269398</c:v>
                </c:pt>
                <c:pt idx="24597">
                  <c:v>0.43868378812198999</c:v>
                </c:pt>
                <c:pt idx="24598">
                  <c:v>0.43870162297128501</c:v>
                </c:pt>
                <c:pt idx="24599">
                  <c:v>0.43871945782058103</c:v>
                </c:pt>
                <c:pt idx="24600">
                  <c:v>0.43873729266987599</c:v>
                </c:pt>
                <c:pt idx="24601">
                  <c:v>0.43875512751917201</c:v>
                </c:pt>
                <c:pt idx="24602">
                  <c:v>0.43877296236846702</c:v>
                </c:pt>
                <c:pt idx="24603">
                  <c:v>0.43879079721776298</c:v>
                </c:pt>
                <c:pt idx="24604">
                  <c:v>0.438808632067059</c:v>
                </c:pt>
                <c:pt idx="24605">
                  <c:v>0.43882646691635402</c:v>
                </c:pt>
                <c:pt idx="24606">
                  <c:v>0.43884430176564998</c:v>
                </c:pt>
                <c:pt idx="24607">
                  <c:v>0.438862136614945</c:v>
                </c:pt>
                <c:pt idx="24608">
                  <c:v>0.43887997146424101</c:v>
                </c:pt>
                <c:pt idx="24609">
                  <c:v>0.43889780631353598</c:v>
                </c:pt>
                <c:pt idx="24610">
                  <c:v>0.43891564116283199</c:v>
                </c:pt>
                <c:pt idx="24611">
                  <c:v>0.43893347601212701</c:v>
                </c:pt>
                <c:pt idx="24612">
                  <c:v>0.43895131086142303</c:v>
                </c:pt>
                <c:pt idx="24613">
                  <c:v>0.43896914571071799</c:v>
                </c:pt>
                <c:pt idx="24614">
                  <c:v>0.43898698056001401</c:v>
                </c:pt>
                <c:pt idx="24615">
                  <c:v>0.43900481540930902</c:v>
                </c:pt>
                <c:pt idx="24616">
                  <c:v>0.43902265025860499</c:v>
                </c:pt>
                <c:pt idx="24617">
                  <c:v>0.4390404851079</c:v>
                </c:pt>
                <c:pt idx="24618">
                  <c:v>0.43905831995719602</c:v>
                </c:pt>
                <c:pt idx="24619">
                  <c:v>0.43907615480649098</c:v>
                </c:pt>
                <c:pt idx="24620">
                  <c:v>0.439093989655787</c:v>
                </c:pt>
                <c:pt idx="24621">
                  <c:v>0.43911182450508202</c:v>
                </c:pt>
                <c:pt idx="24622">
                  <c:v>0.43912965935437798</c:v>
                </c:pt>
                <c:pt idx="24623">
                  <c:v>0.43914749420367399</c:v>
                </c:pt>
                <c:pt idx="24624">
                  <c:v>0.43916532905296901</c:v>
                </c:pt>
                <c:pt idx="24625">
                  <c:v>0.43918316390226497</c:v>
                </c:pt>
                <c:pt idx="24626">
                  <c:v>0.43920099875155999</c:v>
                </c:pt>
                <c:pt idx="24627">
                  <c:v>0.43921883360085601</c:v>
                </c:pt>
                <c:pt idx="24628">
                  <c:v>0.43923666845015102</c:v>
                </c:pt>
                <c:pt idx="24629">
                  <c:v>0.43925450329944699</c:v>
                </c:pt>
                <c:pt idx="24630">
                  <c:v>0.439272338148742</c:v>
                </c:pt>
                <c:pt idx="24631">
                  <c:v>0.43929017299803802</c:v>
                </c:pt>
                <c:pt idx="24632">
                  <c:v>0.43930800784733298</c:v>
                </c:pt>
                <c:pt idx="24633">
                  <c:v>0.439325842696629</c:v>
                </c:pt>
                <c:pt idx="24634">
                  <c:v>0.43934367754592402</c:v>
                </c:pt>
                <c:pt idx="24635">
                  <c:v>0.43936151239521998</c:v>
                </c:pt>
                <c:pt idx="24636">
                  <c:v>0.439379347244515</c:v>
                </c:pt>
                <c:pt idx="24637">
                  <c:v>0.43939718209381101</c:v>
                </c:pt>
                <c:pt idx="24638">
                  <c:v>0.43941501694310597</c:v>
                </c:pt>
                <c:pt idx="24639">
                  <c:v>0.43943285179240199</c:v>
                </c:pt>
                <c:pt idx="24640">
                  <c:v>0.43945068664169701</c:v>
                </c:pt>
                <c:pt idx="24641">
                  <c:v>0.43946852149099302</c:v>
                </c:pt>
                <c:pt idx="24642">
                  <c:v>0.43948635634028799</c:v>
                </c:pt>
                <c:pt idx="24643">
                  <c:v>0.439504191189584</c:v>
                </c:pt>
                <c:pt idx="24644">
                  <c:v>0.43952202603887902</c:v>
                </c:pt>
                <c:pt idx="24645">
                  <c:v>0.43953986088817498</c:v>
                </c:pt>
                <c:pt idx="24646">
                  <c:v>0.439557695737471</c:v>
                </c:pt>
                <c:pt idx="24647">
                  <c:v>0.43957553058676602</c:v>
                </c:pt>
                <c:pt idx="24648">
                  <c:v>0.43959336543606198</c:v>
                </c:pt>
                <c:pt idx="24649">
                  <c:v>0.439611200285357</c:v>
                </c:pt>
                <c:pt idx="24650">
                  <c:v>0.43962903513465301</c:v>
                </c:pt>
                <c:pt idx="24651">
                  <c:v>0.43964686998394797</c:v>
                </c:pt>
                <c:pt idx="24652">
                  <c:v>0.43966470483324399</c:v>
                </c:pt>
                <c:pt idx="24653">
                  <c:v>0.43968253968253901</c:v>
                </c:pt>
                <c:pt idx="24654">
                  <c:v>0.43970037453183503</c:v>
                </c:pt>
                <c:pt idx="24655">
                  <c:v>0.43971820938112999</c:v>
                </c:pt>
                <c:pt idx="24656">
                  <c:v>0.439736044230426</c:v>
                </c:pt>
                <c:pt idx="24657">
                  <c:v>0.43975387907972102</c:v>
                </c:pt>
                <c:pt idx="24658">
                  <c:v>0.43977171392901698</c:v>
                </c:pt>
                <c:pt idx="24659">
                  <c:v>0.439789548778312</c:v>
                </c:pt>
                <c:pt idx="24660">
                  <c:v>0.43980738362760802</c:v>
                </c:pt>
                <c:pt idx="24661">
                  <c:v>0.43982521847690298</c:v>
                </c:pt>
                <c:pt idx="24662">
                  <c:v>0.439843053326199</c:v>
                </c:pt>
                <c:pt idx="24663">
                  <c:v>0.43986088817549401</c:v>
                </c:pt>
                <c:pt idx="24664">
                  <c:v>0.43987872302478997</c:v>
                </c:pt>
                <c:pt idx="24665">
                  <c:v>0.43989655787408599</c:v>
                </c:pt>
                <c:pt idx="24666">
                  <c:v>0.43991439272338101</c:v>
                </c:pt>
                <c:pt idx="24667">
                  <c:v>0.43993222757267703</c:v>
                </c:pt>
                <c:pt idx="24668">
                  <c:v>0.43995006242197199</c:v>
                </c:pt>
                <c:pt idx="24669">
                  <c:v>0.439967897271268</c:v>
                </c:pt>
                <c:pt idx="24670">
                  <c:v>0.43998573212056302</c:v>
                </c:pt>
                <c:pt idx="24671">
                  <c:v>0.44000356696985898</c:v>
                </c:pt>
                <c:pt idx="24672">
                  <c:v>0.440021401819154</c:v>
                </c:pt>
                <c:pt idx="24673">
                  <c:v>0.44003923666845002</c:v>
                </c:pt>
                <c:pt idx="24674">
                  <c:v>0.44005707151774498</c:v>
                </c:pt>
                <c:pt idx="24675">
                  <c:v>0.440074906367041</c:v>
                </c:pt>
                <c:pt idx="24676">
                  <c:v>0.44009274121633601</c:v>
                </c:pt>
                <c:pt idx="24677">
                  <c:v>0.44011057606563198</c:v>
                </c:pt>
                <c:pt idx="24678">
                  <c:v>0.44012841091492699</c:v>
                </c:pt>
                <c:pt idx="24679">
                  <c:v>0.44014624576422301</c:v>
                </c:pt>
                <c:pt idx="24680">
                  <c:v>0.44016408061351803</c:v>
                </c:pt>
                <c:pt idx="24681">
                  <c:v>0.44018191546281399</c:v>
                </c:pt>
                <c:pt idx="24682">
                  <c:v>0.44019975031210901</c:v>
                </c:pt>
                <c:pt idx="24683">
                  <c:v>0.44021758516140502</c:v>
                </c:pt>
                <c:pt idx="24684">
                  <c:v>0.44023542001069998</c:v>
                </c:pt>
                <c:pt idx="24685">
                  <c:v>0.440253254859996</c:v>
                </c:pt>
                <c:pt idx="24686">
                  <c:v>0.44027108970929102</c:v>
                </c:pt>
                <c:pt idx="24687">
                  <c:v>0.44028892455858698</c:v>
                </c:pt>
                <c:pt idx="24688">
                  <c:v>0.440306759407883</c:v>
                </c:pt>
                <c:pt idx="24689">
                  <c:v>0.44032459425717801</c:v>
                </c:pt>
                <c:pt idx="24690">
                  <c:v>0.44034242910647398</c:v>
                </c:pt>
                <c:pt idx="24691">
                  <c:v>0.44036026395576899</c:v>
                </c:pt>
                <c:pt idx="24692">
                  <c:v>0.44037809880506501</c:v>
                </c:pt>
                <c:pt idx="24693">
                  <c:v>0.44039593365435997</c:v>
                </c:pt>
                <c:pt idx="24694">
                  <c:v>0.44041376850365599</c:v>
                </c:pt>
                <c:pt idx="24695">
                  <c:v>0.44043160335295101</c:v>
                </c:pt>
                <c:pt idx="24696">
                  <c:v>0.44044943820224702</c:v>
                </c:pt>
                <c:pt idx="24697">
                  <c:v>0.44046727305154199</c:v>
                </c:pt>
                <c:pt idx="24698">
                  <c:v>0.440485107900838</c:v>
                </c:pt>
                <c:pt idx="24699">
                  <c:v>0.44050294275013302</c:v>
                </c:pt>
                <c:pt idx="24700">
                  <c:v>0.44052077759942898</c:v>
                </c:pt>
                <c:pt idx="24701">
                  <c:v>0.440538612448724</c:v>
                </c:pt>
                <c:pt idx="24702">
                  <c:v>0.44055644729802002</c:v>
                </c:pt>
                <c:pt idx="24703">
                  <c:v>0.44057428214731498</c:v>
                </c:pt>
                <c:pt idx="24704">
                  <c:v>0.44059211699661099</c:v>
                </c:pt>
                <c:pt idx="24705">
                  <c:v>0.44060995184590601</c:v>
                </c:pt>
                <c:pt idx="24706">
                  <c:v>0.44062778669520197</c:v>
                </c:pt>
                <c:pt idx="24707">
                  <c:v>0.44064562154449699</c:v>
                </c:pt>
                <c:pt idx="24708">
                  <c:v>0.44066345639379301</c:v>
                </c:pt>
                <c:pt idx="24709">
                  <c:v>0.44068129124308802</c:v>
                </c:pt>
                <c:pt idx="24710">
                  <c:v>0.44069912609238399</c:v>
                </c:pt>
                <c:pt idx="24711">
                  <c:v>0.44071696094168</c:v>
                </c:pt>
                <c:pt idx="24712">
                  <c:v>0.44073479579097502</c:v>
                </c:pt>
                <c:pt idx="24713">
                  <c:v>0.44075263064027098</c:v>
                </c:pt>
                <c:pt idx="24714">
                  <c:v>0.440770465489566</c:v>
                </c:pt>
                <c:pt idx="24715">
                  <c:v>0.44078830033886202</c:v>
                </c:pt>
                <c:pt idx="24716">
                  <c:v>0.44080613518815698</c:v>
                </c:pt>
                <c:pt idx="24717">
                  <c:v>0.44082397003745299</c:v>
                </c:pt>
                <c:pt idx="24718">
                  <c:v>0.44084180488674801</c:v>
                </c:pt>
                <c:pt idx="24719">
                  <c:v>0.44085963973604397</c:v>
                </c:pt>
                <c:pt idx="24720">
                  <c:v>0.44087747458533899</c:v>
                </c:pt>
                <c:pt idx="24721">
                  <c:v>0.44089530943463501</c:v>
                </c:pt>
                <c:pt idx="24722">
                  <c:v>0.44091314428393003</c:v>
                </c:pt>
                <c:pt idx="24723">
                  <c:v>0.44093097913322599</c:v>
                </c:pt>
                <c:pt idx="24724">
                  <c:v>0.440948813982521</c:v>
                </c:pt>
                <c:pt idx="24725">
                  <c:v>0.44096664883181702</c:v>
                </c:pt>
                <c:pt idx="24726">
                  <c:v>0.44098448368111198</c:v>
                </c:pt>
                <c:pt idx="24727">
                  <c:v>0.441002318530408</c:v>
                </c:pt>
                <c:pt idx="24728">
                  <c:v>0.44102015337970302</c:v>
                </c:pt>
                <c:pt idx="24729">
                  <c:v>0.44103798822899898</c:v>
                </c:pt>
                <c:pt idx="24730">
                  <c:v>0.441055823078295</c:v>
                </c:pt>
                <c:pt idx="24731">
                  <c:v>0.44107365792759001</c:v>
                </c:pt>
                <c:pt idx="24732">
                  <c:v>0.44109149277688597</c:v>
                </c:pt>
                <c:pt idx="24733">
                  <c:v>0.44110932762618099</c:v>
                </c:pt>
                <c:pt idx="24734">
                  <c:v>0.44112716247547701</c:v>
                </c:pt>
                <c:pt idx="24735">
                  <c:v>0.44114499732477203</c:v>
                </c:pt>
                <c:pt idx="24736">
                  <c:v>0.44116283217406799</c:v>
                </c:pt>
                <c:pt idx="24737">
                  <c:v>0.441180667023363</c:v>
                </c:pt>
                <c:pt idx="24738">
                  <c:v>0.44119850187265902</c:v>
                </c:pt>
                <c:pt idx="24739">
                  <c:v>0.44121633672195398</c:v>
                </c:pt>
                <c:pt idx="24740">
                  <c:v>0.44123417157125</c:v>
                </c:pt>
                <c:pt idx="24741">
                  <c:v>0.44125200642054502</c:v>
                </c:pt>
                <c:pt idx="24742">
                  <c:v>0.44126984126984098</c:v>
                </c:pt>
                <c:pt idx="24743">
                  <c:v>0.441287676119136</c:v>
                </c:pt>
                <c:pt idx="24744">
                  <c:v>0.44130551096843201</c:v>
                </c:pt>
                <c:pt idx="24745">
                  <c:v>0.44132334581772698</c:v>
                </c:pt>
                <c:pt idx="24746">
                  <c:v>0.44134118066702299</c:v>
                </c:pt>
                <c:pt idx="24747">
                  <c:v>0.44135901551631801</c:v>
                </c:pt>
                <c:pt idx="24748">
                  <c:v>0.44137685036561403</c:v>
                </c:pt>
                <c:pt idx="24749">
                  <c:v>0.44139468521490899</c:v>
                </c:pt>
                <c:pt idx="24750">
                  <c:v>0.44141252006420501</c:v>
                </c:pt>
                <c:pt idx="24751">
                  <c:v>0.44143035491350002</c:v>
                </c:pt>
                <c:pt idx="24752">
                  <c:v>0.44144818976279598</c:v>
                </c:pt>
                <c:pt idx="24753">
                  <c:v>0.441466024612092</c:v>
                </c:pt>
                <c:pt idx="24754">
                  <c:v>0.44148385946138702</c:v>
                </c:pt>
                <c:pt idx="24755">
                  <c:v>0.44150169431068298</c:v>
                </c:pt>
                <c:pt idx="24756">
                  <c:v>0.441519529159978</c:v>
                </c:pt>
                <c:pt idx="24757">
                  <c:v>0.44153736400927401</c:v>
                </c:pt>
                <c:pt idx="24758">
                  <c:v>0.44155519885856898</c:v>
                </c:pt>
                <c:pt idx="24759">
                  <c:v>0.44157303370786499</c:v>
                </c:pt>
                <c:pt idx="24760">
                  <c:v>0.44159086855716001</c:v>
                </c:pt>
                <c:pt idx="24761">
                  <c:v>0.44160870340645603</c:v>
                </c:pt>
                <c:pt idx="24762">
                  <c:v>0.44162653825575099</c:v>
                </c:pt>
                <c:pt idx="24763">
                  <c:v>0.44164437310504701</c:v>
                </c:pt>
                <c:pt idx="24764">
                  <c:v>0.44166220795434202</c:v>
                </c:pt>
                <c:pt idx="24765">
                  <c:v>0.44168004280363798</c:v>
                </c:pt>
                <c:pt idx="24766">
                  <c:v>0.441697877652933</c:v>
                </c:pt>
                <c:pt idx="24767">
                  <c:v>0.44171571250222902</c:v>
                </c:pt>
                <c:pt idx="24768">
                  <c:v>0.44173354735152398</c:v>
                </c:pt>
                <c:pt idx="24769">
                  <c:v>0.44175138220082</c:v>
                </c:pt>
                <c:pt idx="24770">
                  <c:v>0.44176921705011502</c:v>
                </c:pt>
                <c:pt idx="24771">
                  <c:v>0.44178705189941098</c:v>
                </c:pt>
                <c:pt idx="24772">
                  <c:v>0.44180488674870699</c:v>
                </c:pt>
                <c:pt idx="24773">
                  <c:v>0.44182272159800201</c:v>
                </c:pt>
                <c:pt idx="24774">
                  <c:v>0.44184055644729803</c:v>
                </c:pt>
                <c:pt idx="24775">
                  <c:v>0.44185839129659299</c:v>
                </c:pt>
                <c:pt idx="24776">
                  <c:v>0.44187622614588901</c:v>
                </c:pt>
                <c:pt idx="24777">
                  <c:v>0.44189406099518402</c:v>
                </c:pt>
                <c:pt idx="24778">
                  <c:v>0.44191189584447998</c:v>
                </c:pt>
                <c:pt idx="24779">
                  <c:v>0.441929730693775</c:v>
                </c:pt>
                <c:pt idx="24780">
                  <c:v>0.44194756554307102</c:v>
                </c:pt>
                <c:pt idx="24781">
                  <c:v>0.44196540039236598</c:v>
                </c:pt>
                <c:pt idx="24782">
                  <c:v>0.441983235241662</c:v>
                </c:pt>
                <c:pt idx="24783">
                  <c:v>0.44200107009095702</c:v>
                </c:pt>
                <c:pt idx="24784">
                  <c:v>0.44201890494025298</c:v>
                </c:pt>
                <c:pt idx="24785">
                  <c:v>0.44203673978954799</c:v>
                </c:pt>
                <c:pt idx="24786">
                  <c:v>0.44205457463884401</c:v>
                </c:pt>
                <c:pt idx="24787">
                  <c:v>0.44207240948813897</c:v>
                </c:pt>
                <c:pt idx="24788">
                  <c:v>0.44209024433743499</c:v>
                </c:pt>
                <c:pt idx="24789">
                  <c:v>0.44210807918673001</c:v>
                </c:pt>
                <c:pt idx="24790">
                  <c:v>0.44212591403602602</c:v>
                </c:pt>
                <c:pt idx="24791">
                  <c:v>0.44214374888532099</c:v>
                </c:pt>
                <c:pt idx="24792">
                  <c:v>0.442161583734617</c:v>
                </c:pt>
                <c:pt idx="24793">
                  <c:v>0.44217941858391202</c:v>
                </c:pt>
                <c:pt idx="24794">
                  <c:v>0.44219725343320798</c:v>
                </c:pt>
                <c:pt idx="24795">
                  <c:v>0.442215088282504</c:v>
                </c:pt>
                <c:pt idx="24796">
                  <c:v>0.44223292313179902</c:v>
                </c:pt>
                <c:pt idx="24797">
                  <c:v>0.44225075798109498</c:v>
                </c:pt>
                <c:pt idx="24798">
                  <c:v>0.44226859283038999</c:v>
                </c:pt>
                <c:pt idx="24799">
                  <c:v>0.44228642767968601</c:v>
                </c:pt>
                <c:pt idx="24800">
                  <c:v>0.44230426252898097</c:v>
                </c:pt>
                <c:pt idx="24801">
                  <c:v>0.44232209737827699</c:v>
                </c:pt>
                <c:pt idx="24802">
                  <c:v>0.44233993222757201</c:v>
                </c:pt>
                <c:pt idx="24803">
                  <c:v>0.44235776707686802</c:v>
                </c:pt>
                <c:pt idx="24804">
                  <c:v>0.44237560192616299</c:v>
                </c:pt>
                <c:pt idx="24805">
                  <c:v>0.442393436775459</c:v>
                </c:pt>
                <c:pt idx="24806">
                  <c:v>0.44241127162475402</c:v>
                </c:pt>
                <c:pt idx="24807">
                  <c:v>0.44242910647404998</c:v>
                </c:pt>
                <c:pt idx="24808">
                  <c:v>0.442446941323345</c:v>
                </c:pt>
                <c:pt idx="24809">
                  <c:v>0.44246477617264102</c:v>
                </c:pt>
                <c:pt idx="24810">
                  <c:v>0.44248261102193598</c:v>
                </c:pt>
                <c:pt idx="24811">
                  <c:v>0.442500445871232</c:v>
                </c:pt>
                <c:pt idx="24812">
                  <c:v>0.44251828072052701</c:v>
                </c:pt>
                <c:pt idx="24813">
                  <c:v>0.44253611556982297</c:v>
                </c:pt>
                <c:pt idx="24814">
                  <c:v>0.44255395041911799</c:v>
                </c:pt>
                <c:pt idx="24815">
                  <c:v>0.44257178526841401</c:v>
                </c:pt>
                <c:pt idx="24816">
                  <c:v>0.44258962011771003</c:v>
                </c:pt>
                <c:pt idx="24817">
                  <c:v>0.44260745496700499</c:v>
                </c:pt>
                <c:pt idx="24818">
                  <c:v>0.442625289816301</c:v>
                </c:pt>
                <c:pt idx="24819">
                  <c:v>0.44264312466559602</c:v>
                </c:pt>
                <c:pt idx="24820">
                  <c:v>0.44266095951489198</c:v>
                </c:pt>
                <c:pt idx="24821">
                  <c:v>0.442678794364187</c:v>
                </c:pt>
                <c:pt idx="24822">
                  <c:v>0.44269662921348302</c:v>
                </c:pt>
                <c:pt idx="24823">
                  <c:v>0.44271446406277798</c:v>
                </c:pt>
                <c:pt idx="24824">
                  <c:v>0.442732298912074</c:v>
                </c:pt>
                <c:pt idx="24825">
                  <c:v>0.44275013376136901</c:v>
                </c:pt>
                <c:pt idx="24826">
                  <c:v>0.44276796861066497</c:v>
                </c:pt>
                <c:pt idx="24827">
                  <c:v>0.44278580345995999</c:v>
                </c:pt>
                <c:pt idx="24828">
                  <c:v>0.44280363830925601</c:v>
                </c:pt>
                <c:pt idx="24829">
                  <c:v>0.44282147315855103</c:v>
                </c:pt>
                <c:pt idx="24830">
                  <c:v>0.44283930800784699</c:v>
                </c:pt>
                <c:pt idx="24831">
                  <c:v>0.44285714285714201</c:v>
                </c:pt>
                <c:pt idx="24832">
                  <c:v>0.44287497770643802</c:v>
                </c:pt>
                <c:pt idx="24833">
                  <c:v>0.44289281255573298</c:v>
                </c:pt>
                <c:pt idx="24834">
                  <c:v>0.442910647405029</c:v>
                </c:pt>
                <c:pt idx="24835">
                  <c:v>0.44292848225432402</c:v>
                </c:pt>
                <c:pt idx="24836">
                  <c:v>0.44294631710361998</c:v>
                </c:pt>
                <c:pt idx="24837">
                  <c:v>0.442964151952916</c:v>
                </c:pt>
                <c:pt idx="24838">
                  <c:v>0.44298198680221101</c:v>
                </c:pt>
                <c:pt idx="24839">
                  <c:v>0.44299982165150698</c:v>
                </c:pt>
                <c:pt idx="24840">
                  <c:v>0.44301765650080199</c:v>
                </c:pt>
                <c:pt idx="24841">
                  <c:v>0.44303549135009801</c:v>
                </c:pt>
                <c:pt idx="24842">
                  <c:v>0.44305332619939303</c:v>
                </c:pt>
                <c:pt idx="24843">
                  <c:v>0.44307116104868899</c:v>
                </c:pt>
                <c:pt idx="24844">
                  <c:v>0.44308899589798401</c:v>
                </c:pt>
                <c:pt idx="24845">
                  <c:v>0.44310683074728002</c:v>
                </c:pt>
                <c:pt idx="24846">
                  <c:v>0.44312466559657498</c:v>
                </c:pt>
                <c:pt idx="24847">
                  <c:v>0.443142500445871</c:v>
                </c:pt>
                <c:pt idx="24848">
                  <c:v>0.44316033529516602</c:v>
                </c:pt>
                <c:pt idx="24849">
                  <c:v>0.44317817014446198</c:v>
                </c:pt>
                <c:pt idx="24850">
                  <c:v>0.443196004993757</c:v>
                </c:pt>
                <c:pt idx="24851">
                  <c:v>0.44321383984305301</c:v>
                </c:pt>
                <c:pt idx="24852">
                  <c:v>0.44323167469234798</c:v>
                </c:pt>
                <c:pt idx="24853">
                  <c:v>0.44324950954164399</c:v>
                </c:pt>
                <c:pt idx="24854">
                  <c:v>0.44326734439093901</c:v>
                </c:pt>
                <c:pt idx="24855">
                  <c:v>0.44328517924023503</c:v>
                </c:pt>
                <c:pt idx="24856">
                  <c:v>0.44330301408952999</c:v>
                </c:pt>
                <c:pt idx="24857">
                  <c:v>0.44332084893882601</c:v>
                </c:pt>
                <c:pt idx="24858">
                  <c:v>0.44333868378812102</c:v>
                </c:pt>
                <c:pt idx="24859">
                  <c:v>0.44335651863741699</c:v>
                </c:pt>
                <c:pt idx="24860">
                  <c:v>0.443374353486713</c:v>
                </c:pt>
                <c:pt idx="24861">
                  <c:v>0.44339218833600802</c:v>
                </c:pt>
                <c:pt idx="24862">
                  <c:v>0.44341002318530398</c:v>
                </c:pt>
                <c:pt idx="24863">
                  <c:v>0.443427858034599</c:v>
                </c:pt>
                <c:pt idx="24864">
                  <c:v>0.44344569288389502</c:v>
                </c:pt>
                <c:pt idx="24865">
                  <c:v>0.44346352773318998</c:v>
                </c:pt>
                <c:pt idx="24866">
                  <c:v>0.44348136258248599</c:v>
                </c:pt>
                <c:pt idx="24867">
                  <c:v>0.44349919743178101</c:v>
                </c:pt>
                <c:pt idx="24868">
                  <c:v>0.44351703228107697</c:v>
                </c:pt>
                <c:pt idx="24869">
                  <c:v>0.44353486713037199</c:v>
                </c:pt>
                <c:pt idx="24870">
                  <c:v>0.44355270197966801</c:v>
                </c:pt>
                <c:pt idx="24871">
                  <c:v>0.44357053682896302</c:v>
                </c:pt>
                <c:pt idx="24872">
                  <c:v>0.44358837167825899</c:v>
                </c:pt>
                <c:pt idx="24873">
                  <c:v>0.443606206527554</c:v>
                </c:pt>
                <c:pt idx="24874">
                  <c:v>0.44362404137685002</c:v>
                </c:pt>
                <c:pt idx="24875">
                  <c:v>0.44364187622614498</c:v>
                </c:pt>
                <c:pt idx="24876">
                  <c:v>0.443659711075441</c:v>
                </c:pt>
                <c:pt idx="24877">
                  <c:v>0.44367754592473602</c:v>
                </c:pt>
                <c:pt idx="24878">
                  <c:v>0.44369538077403198</c:v>
                </c:pt>
                <c:pt idx="24879">
                  <c:v>0.44371321562332799</c:v>
                </c:pt>
                <c:pt idx="24880">
                  <c:v>0.44373105047262301</c:v>
                </c:pt>
                <c:pt idx="24881">
                  <c:v>0.44374888532191897</c:v>
                </c:pt>
                <c:pt idx="24882">
                  <c:v>0.44376672017121399</c:v>
                </c:pt>
                <c:pt idx="24883">
                  <c:v>0.44378455502051001</c:v>
                </c:pt>
                <c:pt idx="24884">
                  <c:v>0.44380238986980503</c:v>
                </c:pt>
                <c:pt idx="24885">
                  <c:v>0.44382022471910099</c:v>
                </c:pt>
                <c:pt idx="24886">
                  <c:v>0.443838059568396</c:v>
                </c:pt>
                <c:pt idx="24887">
                  <c:v>0.44385589441769202</c:v>
                </c:pt>
                <c:pt idx="24888">
                  <c:v>0.44387372926698698</c:v>
                </c:pt>
                <c:pt idx="24889">
                  <c:v>0.443891564116283</c:v>
                </c:pt>
                <c:pt idx="24890">
                  <c:v>0.44390939896557802</c:v>
                </c:pt>
                <c:pt idx="24891">
                  <c:v>0.44392723381487398</c:v>
                </c:pt>
                <c:pt idx="24892">
                  <c:v>0.443945068664169</c:v>
                </c:pt>
                <c:pt idx="24893">
                  <c:v>0.44396290351346501</c:v>
                </c:pt>
                <c:pt idx="24894">
                  <c:v>0.44398073836275997</c:v>
                </c:pt>
                <c:pt idx="24895">
                  <c:v>0.44399857321205599</c:v>
                </c:pt>
                <c:pt idx="24896">
                  <c:v>0.44401640806135101</c:v>
                </c:pt>
                <c:pt idx="24897">
                  <c:v>0.44403424291064703</c:v>
                </c:pt>
                <c:pt idx="24898">
                  <c:v>0.44405207775994199</c:v>
                </c:pt>
                <c:pt idx="24899">
                  <c:v>0.444069912609238</c:v>
                </c:pt>
                <c:pt idx="24900">
                  <c:v>0.44408774745853302</c:v>
                </c:pt>
                <c:pt idx="24901">
                  <c:v>0.44410558230782898</c:v>
                </c:pt>
                <c:pt idx="24902">
                  <c:v>0.444123417157125</c:v>
                </c:pt>
                <c:pt idx="24903">
                  <c:v>0.44414125200642002</c:v>
                </c:pt>
                <c:pt idx="24904">
                  <c:v>0.44415908685571598</c:v>
                </c:pt>
                <c:pt idx="24905">
                  <c:v>0.444176921705011</c:v>
                </c:pt>
                <c:pt idx="24906">
                  <c:v>0.44419475655430701</c:v>
                </c:pt>
                <c:pt idx="24907">
                  <c:v>0.44421259140360198</c:v>
                </c:pt>
                <c:pt idx="24908">
                  <c:v>0.44423042625289799</c:v>
                </c:pt>
                <c:pt idx="24909">
                  <c:v>0.44424826110219301</c:v>
                </c:pt>
                <c:pt idx="24910">
                  <c:v>0.44426609595148903</c:v>
                </c:pt>
                <c:pt idx="24911">
                  <c:v>0.44428393080078399</c:v>
                </c:pt>
                <c:pt idx="24912">
                  <c:v>0.44430176565008</c:v>
                </c:pt>
                <c:pt idx="24913">
                  <c:v>0.44431960049937502</c:v>
                </c:pt>
                <c:pt idx="24914">
                  <c:v>0.44433743534867098</c:v>
                </c:pt>
                <c:pt idx="24915">
                  <c:v>0.444355270197966</c:v>
                </c:pt>
                <c:pt idx="24916">
                  <c:v>0.44437310504726202</c:v>
                </c:pt>
                <c:pt idx="24917">
                  <c:v>0.44439093989655698</c:v>
                </c:pt>
                <c:pt idx="24918">
                  <c:v>0.444408774745853</c:v>
                </c:pt>
                <c:pt idx="24919">
                  <c:v>0.44442660959514801</c:v>
                </c:pt>
                <c:pt idx="24920">
                  <c:v>0.44444444444444398</c:v>
                </c:pt>
                <c:pt idx="24921">
                  <c:v>0.44446227929373999</c:v>
                </c:pt>
                <c:pt idx="24922">
                  <c:v>0.44448011414303501</c:v>
                </c:pt>
                <c:pt idx="24923">
                  <c:v>0.44449794899233103</c:v>
                </c:pt>
                <c:pt idx="24924">
                  <c:v>0.44451578384162599</c:v>
                </c:pt>
                <c:pt idx="24925">
                  <c:v>0.44453361869092201</c:v>
                </c:pt>
                <c:pt idx="24926">
                  <c:v>0.44455145354021702</c:v>
                </c:pt>
                <c:pt idx="24927">
                  <c:v>0.44456928838951298</c:v>
                </c:pt>
                <c:pt idx="24928">
                  <c:v>0.444587123238808</c:v>
                </c:pt>
                <c:pt idx="24929">
                  <c:v>0.44460495808810402</c:v>
                </c:pt>
                <c:pt idx="24930">
                  <c:v>0.44462279293739898</c:v>
                </c:pt>
                <c:pt idx="24931">
                  <c:v>0.444640627786695</c:v>
                </c:pt>
                <c:pt idx="24932">
                  <c:v>0.44465846263599001</c:v>
                </c:pt>
                <c:pt idx="24933">
                  <c:v>0.44467629748528598</c:v>
                </c:pt>
                <c:pt idx="24934">
                  <c:v>0.44469413233458099</c:v>
                </c:pt>
                <c:pt idx="24935">
                  <c:v>0.44471196718387701</c:v>
                </c:pt>
                <c:pt idx="24936">
                  <c:v>0.44472980203317197</c:v>
                </c:pt>
                <c:pt idx="24937">
                  <c:v>0.44474763688246799</c:v>
                </c:pt>
                <c:pt idx="24938">
                  <c:v>0.44476547173176301</c:v>
                </c:pt>
                <c:pt idx="24939">
                  <c:v>0.44478330658105902</c:v>
                </c:pt>
                <c:pt idx="24940">
                  <c:v>0.44480114143035399</c:v>
                </c:pt>
                <c:pt idx="24941">
                  <c:v>0.44481897627965</c:v>
                </c:pt>
                <c:pt idx="24942">
                  <c:v>0.44483681112894502</c:v>
                </c:pt>
                <c:pt idx="24943">
                  <c:v>0.44485464597824098</c:v>
                </c:pt>
                <c:pt idx="24944">
                  <c:v>0.444872480827537</c:v>
                </c:pt>
                <c:pt idx="24945">
                  <c:v>0.44489031567683202</c:v>
                </c:pt>
                <c:pt idx="24946">
                  <c:v>0.44490815052612798</c:v>
                </c:pt>
                <c:pt idx="24947">
                  <c:v>0.44492598537542299</c:v>
                </c:pt>
                <c:pt idx="24948">
                  <c:v>0.44494382022471901</c:v>
                </c:pt>
                <c:pt idx="24949">
                  <c:v>0.44496165507401397</c:v>
                </c:pt>
                <c:pt idx="24950">
                  <c:v>0.44497948992330999</c:v>
                </c:pt>
                <c:pt idx="24951">
                  <c:v>0.44499732477260501</c:v>
                </c:pt>
                <c:pt idx="24952">
                  <c:v>0.44501515962190102</c:v>
                </c:pt>
                <c:pt idx="24953">
                  <c:v>0.44503299447119599</c:v>
                </c:pt>
                <c:pt idx="24954">
                  <c:v>0.445050829320492</c:v>
                </c:pt>
                <c:pt idx="24955">
                  <c:v>0.44506866416978702</c:v>
                </c:pt>
                <c:pt idx="24956">
                  <c:v>0.44508649901908298</c:v>
                </c:pt>
                <c:pt idx="24957">
                  <c:v>0.445104333868378</c:v>
                </c:pt>
                <c:pt idx="24958">
                  <c:v>0.44512216871767402</c:v>
                </c:pt>
                <c:pt idx="24959">
                  <c:v>0.44514000356696898</c:v>
                </c:pt>
                <c:pt idx="24960">
                  <c:v>0.44515783841626499</c:v>
                </c:pt>
                <c:pt idx="24961">
                  <c:v>0.44517567326556001</c:v>
                </c:pt>
                <c:pt idx="24962">
                  <c:v>0.44519350811485597</c:v>
                </c:pt>
                <c:pt idx="24963">
                  <c:v>0.44521134296415099</c:v>
                </c:pt>
                <c:pt idx="24964">
                  <c:v>0.44522917781344701</c:v>
                </c:pt>
                <c:pt idx="24965">
                  <c:v>0.44524701266274302</c:v>
                </c:pt>
                <c:pt idx="24966">
                  <c:v>0.44526484751203799</c:v>
                </c:pt>
                <c:pt idx="24967">
                  <c:v>0.445282682361334</c:v>
                </c:pt>
                <c:pt idx="24968">
                  <c:v>0.44530051721062902</c:v>
                </c:pt>
                <c:pt idx="24969">
                  <c:v>0.44531835205992498</c:v>
                </c:pt>
                <c:pt idx="24970">
                  <c:v>0.44533618690922</c:v>
                </c:pt>
                <c:pt idx="24971">
                  <c:v>0.44535402175851602</c:v>
                </c:pt>
                <c:pt idx="24972">
                  <c:v>0.44537185660781098</c:v>
                </c:pt>
                <c:pt idx="24973">
                  <c:v>0.445389691457107</c:v>
                </c:pt>
                <c:pt idx="24974">
                  <c:v>0.44540752630640201</c:v>
                </c:pt>
                <c:pt idx="24975">
                  <c:v>0.44542536115569797</c:v>
                </c:pt>
                <c:pt idx="24976">
                  <c:v>0.44544319600499299</c:v>
                </c:pt>
                <c:pt idx="24977">
                  <c:v>0.44546103085428901</c:v>
                </c:pt>
                <c:pt idx="24978">
                  <c:v>0.44547886570358403</c:v>
                </c:pt>
                <c:pt idx="24979">
                  <c:v>0.44549670055287999</c:v>
                </c:pt>
                <c:pt idx="24980">
                  <c:v>0.445514535402175</c:v>
                </c:pt>
                <c:pt idx="24981">
                  <c:v>0.44553237025147102</c:v>
                </c:pt>
                <c:pt idx="24982">
                  <c:v>0.44555020510076598</c:v>
                </c:pt>
                <c:pt idx="24983">
                  <c:v>0.445568039950062</c:v>
                </c:pt>
                <c:pt idx="24984">
                  <c:v>0.44558587479935702</c:v>
                </c:pt>
                <c:pt idx="24985">
                  <c:v>0.44560370964865298</c:v>
                </c:pt>
                <c:pt idx="24986">
                  <c:v>0.445621544497949</c:v>
                </c:pt>
                <c:pt idx="24987">
                  <c:v>0.44563937934724401</c:v>
                </c:pt>
                <c:pt idx="24988">
                  <c:v>0.44565721419653997</c:v>
                </c:pt>
                <c:pt idx="24989">
                  <c:v>0.44567504904583499</c:v>
                </c:pt>
                <c:pt idx="24990">
                  <c:v>0.44569288389513101</c:v>
                </c:pt>
                <c:pt idx="24991">
                  <c:v>0.44571071874442603</c:v>
                </c:pt>
                <c:pt idx="24992">
                  <c:v>0.44572855359372199</c:v>
                </c:pt>
                <c:pt idx="24993">
                  <c:v>0.44574638844301701</c:v>
                </c:pt>
                <c:pt idx="24994">
                  <c:v>0.44576422329231302</c:v>
                </c:pt>
                <c:pt idx="24995">
                  <c:v>0.44578205814160798</c:v>
                </c:pt>
                <c:pt idx="24996">
                  <c:v>0.445799892990904</c:v>
                </c:pt>
                <c:pt idx="24997">
                  <c:v>0.44581772784019902</c:v>
                </c:pt>
                <c:pt idx="24998">
                  <c:v>0.44583556268949498</c:v>
                </c:pt>
                <c:pt idx="24999">
                  <c:v>0.44585339753879</c:v>
                </c:pt>
                <c:pt idx="25000">
                  <c:v>0.44587123238808601</c:v>
                </c:pt>
                <c:pt idx="25001">
                  <c:v>0.44588906723738098</c:v>
                </c:pt>
                <c:pt idx="25002">
                  <c:v>0.44590690208667699</c:v>
                </c:pt>
                <c:pt idx="25003">
                  <c:v>0.44592473693597201</c:v>
                </c:pt>
                <c:pt idx="25004">
                  <c:v>0.44594257178526803</c:v>
                </c:pt>
                <c:pt idx="25005">
                  <c:v>0.44596040663456299</c:v>
                </c:pt>
                <c:pt idx="25006">
                  <c:v>0.44597824148385901</c:v>
                </c:pt>
                <c:pt idx="25007">
                  <c:v>0.44599607633315402</c:v>
                </c:pt>
                <c:pt idx="25008">
                  <c:v>0.44601391118244998</c:v>
                </c:pt>
                <c:pt idx="25009">
                  <c:v>0.446031746031746</c:v>
                </c:pt>
                <c:pt idx="25010">
                  <c:v>0.44604958088104102</c:v>
                </c:pt>
                <c:pt idx="25011">
                  <c:v>0.44606741573033698</c:v>
                </c:pt>
                <c:pt idx="25012">
                  <c:v>0.446085250579632</c:v>
                </c:pt>
                <c:pt idx="25013">
                  <c:v>0.44610308542892801</c:v>
                </c:pt>
                <c:pt idx="25014">
                  <c:v>0.44612092027822298</c:v>
                </c:pt>
                <c:pt idx="25015">
                  <c:v>0.44613875512751899</c:v>
                </c:pt>
                <c:pt idx="25016">
                  <c:v>0.44615658997681401</c:v>
                </c:pt>
                <c:pt idx="25017">
                  <c:v>0.44617442482611003</c:v>
                </c:pt>
                <c:pt idx="25018">
                  <c:v>0.44619225967540499</c:v>
                </c:pt>
                <c:pt idx="25019">
                  <c:v>0.44621009452470101</c:v>
                </c:pt>
                <c:pt idx="25020">
                  <c:v>0.44622792937399602</c:v>
                </c:pt>
                <c:pt idx="25021">
                  <c:v>0.44624576422329199</c:v>
                </c:pt>
                <c:pt idx="25022">
                  <c:v>0.446263599072587</c:v>
                </c:pt>
                <c:pt idx="25023">
                  <c:v>0.44628143392188302</c:v>
                </c:pt>
                <c:pt idx="25024">
                  <c:v>0.44629926877117798</c:v>
                </c:pt>
                <c:pt idx="25025">
                  <c:v>0.446317103620474</c:v>
                </c:pt>
                <c:pt idx="25026">
                  <c:v>0.44633493846976902</c:v>
                </c:pt>
                <c:pt idx="25027">
                  <c:v>0.44635277331906498</c:v>
                </c:pt>
                <c:pt idx="25028">
                  <c:v>0.44637060816836099</c:v>
                </c:pt>
                <c:pt idx="25029">
                  <c:v>0.44638844301765601</c:v>
                </c:pt>
                <c:pt idx="25030">
                  <c:v>0.44640627786695197</c:v>
                </c:pt>
                <c:pt idx="25031">
                  <c:v>0.44642411271624699</c:v>
                </c:pt>
                <c:pt idx="25032">
                  <c:v>0.44644194756554301</c:v>
                </c:pt>
                <c:pt idx="25033">
                  <c:v>0.44645978241483802</c:v>
                </c:pt>
                <c:pt idx="25034">
                  <c:v>0.44647761726413399</c:v>
                </c:pt>
                <c:pt idx="25035">
                  <c:v>0.446495452113429</c:v>
                </c:pt>
                <c:pt idx="25036">
                  <c:v>0.44651328696272502</c:v>
                </c:pt>
                <c:pt idx="25037">
                  <c:v>0.44653112181201998</c:v>
                </c:pt>
                <c:pt idx="25038">
                  <c:v>0.446548956661316</c:v>
                </c:pt>
                <c:pt idx="25039">
                  <c:v>0.44656679151061102</c:v>
                </c:pt>
                <c:pt idx="25040">
                  <c:v>0.44658462635990698</c:v>
                </c:pt>
                <c:pt idx="25041">
                  <c:v>0.446602461209202</c:v>
                </c:pt>
                <c:pt idx="25042">
                  <c:v>0.44662029605849801</c:v>
                </c:pt>
                <c:pt idx="25043">
                  <c:v>0.44663813090779297</c:v>
                </c:pt>
                <c:pt idx="25044">
                  <c:v>0.44665596575708899</c:v>
                </c:pt>
                <c:pt idx="25045">
                  <c:v>0.44667380060638401</c:v>
                </c:pt>
                <c:pt idx="25046">
                  <c:v>0.44669163545568003</c:v>
                </c:pt>
                <c:pt idx="25047">
                  <c:v>0.44670947030497499</c:v>
                </c:pt>
                <c:pt idx="25048">
                  <c:v>0.446727305154271</c:v>
                </c:pt>
                <c:pt idx="25049">
                  <c:v>0.44674514000356602</c:v>
                </c:pt>
                <c:pt idx="25050">
                  <c:v>0.44676297485286198</c:v>
                </c:pt>
                <c:pt idx="25051">
                  <c:v>0.446780809702158</c:v>
                </c:pt>
                <c:pt idx="25052">
                  <c:v>0.44679864455145302</c:v>
                </c:pt>
                <c:pt idx="25053">
                  <c:v>0.44681647940074898</c:v>
                </c:pt>
                <c:pt idx="25054">
                  <c:v>0.446834314250044</c:v>
                </c:pt>
                <c:pt idx="25055">
                  <c:v>0.44685214909934001</c:v>
                </c:pt>
                <c:pt idx="25056">
                  <c:v>0.44686998394863497</c:v>
                </c:pt>
                <c:pt idx="25057">
                  <c:v>0.44688781879793099</c:v>
                </c:pt>
                <c:pt idx="25058">
                  <c:v>0.44690565364722601</c:v>
                </c:pt>
                <c:pt idx="25059">
                  <c:v>0.44692348849652203</c:v>
                </c:pt>
                <c:pt idx="25060">
                  <c:v>0.44694132334581699</c:v>
                </c:pt>
                <c:pt idx="25061">
                  <c:v>0.446959158195113</c:v>
                </c:pt>
                <c:pt idx="25062">
                  <c:v>0.44697699304440802</c:v>
                </c:pt>
                <c:pt idx="25063">
                  <c:v>0.44699482789370398</c:v>
                </c:pt>
                <c:pt idx="25064">
                  <c:v>0.447012662742999</c:v>
                </c:pt>
                <c:pt idx="25065">
                  <c:v>0.44703049759229502</c:v>
                </c:pt>
                <c:pt idx="25066">
                  <c:v>0.44704833244158998</c:v>
                </c:pt>
                <c:pt idx="25067">
                  <c:v>0.447066167290886</c:v>
                </c:pt>
                <c:pt idx="25068">
                  <c:v>0.44708400214018101</c:v>
                </c:pt>
                <c:pt idx="25069">
                  <c:v>0.44710183698947698</c:v>
                </c:pt>
                <c:pt idx="25070">
                  <c:v>0.44711967183877199</c:v>
                </c:pt>
                <c:pt idx="25071">
                  <c:v>0.44713750668806801</c:v>
                </c:pt>
                <c:pt idx="25072">
                  <c:v>0.44715534153736403</c:v>
                </c:pt>
                <c:pt idx="25073">
                  <c:v>0.44717317638665899</c:v>
                </c:pt>
                <c:pt idx="25074">
                  <c:v>0.447191011235955</c:v>
                </c:pt>
                <c:pt idx="25075">
                  <c:v>0.44720884608525002</c:v>
                </c:pt>
                <c:pt idx="25076">
                  <c:v>0.44722668093454598</c:v>
                </c:pt>
                <c:pt idx="25077">
                  <c:v>0.447244515783841</c:v>
                </c:pt>
                <c:pt idx="25078">
                  <c:v>0.44726235063313702</c:v>
                </c:pt>
                <c:pt idx="25079">
                  <c:v>0.44728018548243198</c:v>
                </c:pt>
                <c:pt idx="25080">
                  <c:v>0.447298020331728</c:v>
                </c:pt>
                <c:pt idx="25081">
                  <c:v>0.44731585518102301</c:v>
                </c:pt>
                <c:pt idx="25082">
                  <c:v>0.44733369003031898</c:v>
                </c:pt>
                <c:pt idx="25083">
                  <c:v>0.44735152487961399</c:v>
                </c:pt>
                <c:pt idx="25084">
                  <c:v>0.44736935972891001</c:v>
                </c:pt>
                <c:pt idx="25085">
                  <c:v>0.44738719457820503</c:v>
                </c:pt>
                <c:pt idx="25086">
                  <c:v>0.44740502942750099</c:v>
                </c:pt>
                <c:pt idx="25087">
                  <c:v>0.44742286427679601</c:v>
                </c:pt>
                <c:pt idx="25088">
                  <c:v>0.44744069912609202</c:v>
                </c:pt>
                <c:pt idx="25089">
                  <c:v>0.44745853397538699</c:v>
                </c:pt>
                <c:pt idx="25090">
                  <c:v>0.447476368824683</c:v>
                </c:pt>
                <c:pt idx="25091">
                  <c:v>0.44749420367397802</c:v>
                </c:pt>
                <c:pt idx="25092">
                  <c:v>0.44751203852327398</c:v>
                </c:pt>
                <c:pt idx="25093">
                  <c:v>0.44752987337257</c:v>
                </c:pt>
                <c:pt idx="25094">
                  <c:v>0.44754770822186501</c:v>
                </c:pt>
                <c:pt idx="25095">
                  <c:v>0.44756554307116098</c:v>
                </c:pt>
                <c:pt idx="25096">
                  <c:v>0.44758337792045599</c:v>
                </c:pt>
                <c:pt idx="25097">
                  <c:v>0.44760121276975201</c:v>
                </c:pt>
                <c:pt idx="25098">
                  <c:v>0.44761904761904697</c:v>
                </c:pt>
                <c:pt idx="25099">
                  <c:v>0.44763688246834299</c:v>
                </c:pt>
                <c:pt idx="25100">
                  <c:v>0.44765471731763801</c:v>
                </c:pt>
                <c:pt idx="25101">
                  <c:v>0.44767255216693402</c:v>
                </c:pt>
                <c:pt idx="25102">
                  <c:v>0.44769038701622899</c:v>
                </c:pt>
                <c:pt idx="25103">
                  <c:v>0.447708221865525</c:v>
                </c:pt>
                <c:pt idx="25104">
                  <c:v>0.44772605671482002</c:v>
                </c:pt>
                <c:pt idx="25105">
                  <c:v>0.44774389156411598</c:v>
                </c:pt>
                <c:pt idx="25106">
                  <c:v>0.447761726413411</c:v>
                </c:pt>
                <c:pt idx="25107">
                  <c:v>0.44777956126270702</c:v>
                </c:pt>
                <c:pt idx="25108">
                  <c:v>0.44779739611200198</c:v>
                </c:pt>
                <c:pt idx="25109">
                  <c:v>0.44781523096129799</c:v>
                </c:pt>
                <c:pt idx="25110">
                  <c:v>0.44783306581059301</c:v>
                </c:pt>
                <c:pt idx="25111">
                  <c:v>0.44785090065988897</c:v>
                </c:pt>
                <c:pt idx="25112">
                  <c:v>0.44786873550918399</c:v>
                </c:pt>
                <c:pt idx="25113">
                  <c:v>0.44788657035848001</c:v>
                </c:pt>
                <c:pt idx="25114">
                  <c:v>0.44790440520777502</c:v>
                </c:pt>
                <c:pt idx="25115">
                  <c:v>0.44792224005707099</c:v>
                </c:pt>
                <c:pt idx="25116">
                  <c:v>0.447940074906367</c:v>
                </c:pt>
                <c:pt idx="25117">
                  <c:v>0.44795790975566202</c:v>
                </c:pt>
                <c:pt idx="25118">
                  <c:v>0.44797574460495798</c:v>
                </c:pt>
                <c:pt idx="25119">
                  <c:v>0.447993579454253</c:v>
                </c:pt>
                <c:pt idx="25120">
                  <c:v>0.44801141430354902</c:v>
                </c:pt>
                <c:pt idx="25121">
                  <c:v>0.44802924915284398</c:v>
                </c:pt>
                <c:pt idx="25122">
                  <c:v>0.44804708400213999</c:v>
                </c:pt>
                <c:pt idx="25123">
                  <c:v>0.44806491885143501</c:v>
                </c:pt>
                <c:pt idx="25124">
                  <c:v>0.44808275370073097</c:v>
                </c:pt>
                <c:pt idx="25125">
                  <c:v>0.44810058855002599</c:v>
                </c:pt>
                <c:pt idx="25126">
                  <c:v>0.44811842339932201</c:v>
                </c:pt>
                <c:pt idx="25127">
                  <c:v>0.44813625824861703</c:v>
                </c:pt>
                <c:pt idx="25128">
                  <c:v>0.44815409309791299</c:v>
                </c:pt>
                <c:pt idx="25129">
                  <c:v>0.448171927947208</c:v>
                </c:pt>
                <c:pt idx="25130">
                  <c:v>0.44818976279650402</c:v>
                </c:pt>
                <c:pt idx="25131">
                  <c:v>0.44820759764579898</c:v>
                </c:pt>
                <c:pt idx="25132">
                  <c:v>0.448225432495095</c:v>
                </c:pt>
                <c:pt idx="25133">
                  <c:v>0.44824326734439002</c:v>
                </c:pt>
                <c:pt idx="25134">
                  <c:v>0.44826110219368598</c:v>
                </c:pt>
                <c:pt idx="25135">
                  <c:v>0.448278937042982</c:v>
                </c:pt>
                <c:pt idx="25136">
                  <c:v>0.44829677189227701</c:v>
                </c:pt>
                <c:pt idx="25137">
                  <c:v>0.44831460674157297</c:v>
                </c:pt>
                <c:pt idx="25138">
                  <c:v>0.44833244159086799</c:v>
                </c:pt>
                <c:pt idx="25139">
                  <c:v>0.44835027644016401</c:v>
                </c:pt>
                <c:pt idx="25140">
                  <c:v>0.44836811128945903</c:v>
                </c:pt>
                <c:pt idx="25141">
                  <c:v>0.44838594613875499</c:v>
                </c:pt>
                <c:pt idx="25142">
                  <c:v>0.44840378098805</c:v>
                </c:pt>
                <c:pt idx="25143">
                  <c:v>0.44842161583734602</c:v>
                </c:pt>
                <c:pt idx="25144">
                  <c:v>0.44843945068664098</c:v>
                </c:pt>
                <c:pt idx="25145">
                  <c:v>0.448457285535937</c:v>
                </c:pt>
                <c:pt idx="25146">
                  <c:v>0.44847512038523202</c:v>
                </c:pt>
                <c:pt idx="25147">
                  <c:v>0.44849295523452798</c:v>
                </c:pt>
                <c:pt idx="25148">
                  <c:v>0.448510790083823</c:v>
                </c:pt>
                <c:pt idx="25149">
                  <c:v>0.44852862493311901</c:v>
                </c:pt>
                <c:pt idx="25150">
                  <c:v>0.44854645978241398</c:v>
                </c:pt>
                <c:pt idx="25151">
                  <c:v>0.44856429463170999</c:v>
                </c:pt>
                <c:pt idx="25152">
                  <c:v>0.44858212948100501</c:v>
                </c:pt>
                <c:pt idx="25153">
                  <c:v>0.44859996433030103</c:v>
                </c:pt>
                <c:pt idx="25154">
                  <c:v>0.44861779917959599</c:v>
                </c:pt>
                <c:pt idx="25155">
                  <c:v>0.44863563402889201</c:v>
                </c:pt>
                <c:pt idx="25156">
                  <c:v>0.44865346887818702</c:v>
                </c:pt>
                <c:pt idx="25157">
                  <c:v>0.44867130372748298</c:v>
                </c:pt>
                <c:pt idx="25158">
                  <c:v>0.448689138576779</c:v>
                </c:pt>
                <c:pt idx="25159">
                  <c:v>0.44870697342607402</c:v>
                </c:pt>
                <c:pt idx="25160">
                  <c:v>0.44872480827536998</c:v>
                </c:pt>
                <c:pt idx="25161">
                  <c:v>0.448742643124665</c:v>
                </c:pt>
                <c:pt idx="25162">
                  <c:v>0.44876047797396101</c:v>
                </c:pt>
                <c:pt idx="25163">
                  <c:v>0.44877831282325598</c:v>
                </c:pt>
                <c:pt idx="25164">
                  <c:v>0.44879614767255199</c:v>
                </c:pt>
                <c:pt idx="25165">
                  <c:v>0.44881398252184701</c:v>
                </c:pt>
                <c:pt idx="25166">
                  <c:v>0.44883181737114303</c:v>
                </c:pt>
                <c:pt idx="25167">
                  <c:v>0.44884965222043799</c:v>
                </c:pt>
                <c:pt idx="25168">
                  <c:v>0.44886748706973401</c:v>
                </c:pt>
                <c:pt idx="25169">
                  <c:v>0.44888532191902902</c:v>
                </c:pt>
                <c:pt idx="25170">
                  <c:v>0.44890315676832498</c:v>
                </c:pt>
                <c:pt idx="25171">
                  <c:v>0.44892099161762</c:v>
                </c:pt>
                <c:pt idx="25172">
                  <c:v>0.44893882646691602</c:v>
                </c:pt>
                <c:pt idx="25173">
                  <c:v>0.44895666131621098</c:v>
                </c:pt>
                <c:pt idx="25174">
                  <c:v>0.448974496165507</c:v>
                </c:pt>
                <c:pt idx="25175">
                  <c:v>0.44899233101480202</c:v>
                </c:pt>
                <c:pt idx="25176">
                  <c:v>0.44901016586409798</c:v>
                </c:pt>
                <c:pt idx="25177">
                  <c:v>0.44902800071339399</c:v>
                </c:pt>
                <c:pt idx="25178">
                  <c:v>0.44904583556268901</c:v>
                </c:pt>
                <c:pt idx="25179">
                  <c:v>0.44906367041198503</c:v>
                </c:pt>
                <c:pt idx="25180">
                  <c:v>0.44908150526127999</c:v>
                </c:pt>
                <c:pt idx="25181">
                  <c:v>0.44909934011057601</c:v>
                </c:pt>
                <c:pt idx="25182">
                  <c:v>0.44911717495987102</c:v>
                </c:pt>
                <c:pt idx="25183">
                  <c:v>0.44913500980916699</c:v>
                </c:pt>
                <c:pt idx="25184">
                  <c:v>0.449152844658462</c:v>
                </c:pt>
                <c:pt idx="25185">
                  <c:v>0.44917067950775802</c:v>
                </c:pt>
                <c:pt idx="25186">
                  <c:v>0.44918851435705298</c:v>
                </c:pt>
                <c:pt idx="25187">
                  <c:v>0.449206349206349</c:v>
                </c:pt>
                <c:pt idx="25188">
                  <c:v>0.44922418405564402</c:v>
                </c:pt>
                <c:pt idx="25189">
                  <c:v>0.44924201890493998</c:v>
                </c:pt>
                <c:pt idx="25190">
                  <c:v>0.44925985375423499</c:v>
                </c:pt>
                <c:pt idx="25191">
                  <c:v>0.44927768860353101</c:v>
                </c:pt>
                <c:pt idx="25192">
                  <c:v>0.44929552345282597</c:v>
                </c:pt>
                <c:pt idx="25193">
                  <c:v>0.44931335830212199</c:v>
                </c:pt>
                <c:pt idx="25194">
                  <c:v>0.44933119315141701</c:v>
                </c:pt>
                <c:pt idx="25195">
                  <c:v>0.44934902800071302</c:v>
                </c:pt>
                <c:pt idx="25196">
                  <c:v>0.44936686285000799</c:v>
                </c:pt>
                <c:pt idx="25197">
                  <c:v>0.449384697699304</c:v>
                </c:pt>
                <c:pt idx="25198">
                  <c:v>0.44940253254859902</c:v>
                </c:pt>
                <c:pt idx="25199">
                  <c:v>0.44942036739789498</c:v>
                </c:pt>
                <c:pt idx="25200">
                  <c:v>0.449438202247191</c:v>
                </c:pt>
                <c:pt idx="25201">
                  <c:v>0.44945603709648602</c:v>
                </c:pt>
                <c:pt idx="25202">
                  <c:v>0.44947387194578198</c:v>
                </c:pt>
                <c:pt idx="25203">
                  <c:v>0.449491706795077</c:v>
                </c:pt>
                <c:pt idx="25204">
                  <c:v>0.44950954164437301</c:v>
                </c:pt>
                <c:pt idx="25205">
                  <c:v>0.44952737649366797</c:v>
                </c:pt>
                <c:pt idx="25206">
                  <c:v>0.44954521134296399</c:v>
                </c:pt>
                <c:pt idx="25207">
                  <c:v>0.44956304619225901</c:v>
                </c:pt>
                <c:pt idx="25208">
                  <c:v>0.44958088104155502</c:v>
                </c:pt>
                <c:pt idx="25209">
                  <c:v>0.44959871589084999</c:v>
                </c:pt>
                <c:pt idx="25210">
                  <c:v>0.449616550740146</c:v>
                </c:pt>
                <c:pt idx="25211">
                  <c:v>0.44963438558944102</c:v>
                </c:pt>
                <c:pt idx="25212">
                  <c:v>0.44965222043873698</c:v>
                </c:pt>
                <c:pt idx="25213">
                  <c:v>0.449670055288032</c:v>
                </c:pt>
                <c:pt idx="25214">
                  <c:v>0.44968789013732802</c:v>
                </c:pt>
                <c:pt idx="25215">
                  <c:v>0.44970572498662298</c:v>
                </c:pt>
                <c:pt idx="25216">
                  <c:v>0.449723559835919</c:v>
                </c:pt>
                <c:pt idx="25217">
                  <c:v>0.44974139468521401</c:v>
                </c:pt>
                <c:pt idx="25218">
                  <c:v>0.44975922953450997</c:v>
                </c:pt>
                <c:pt idx="25219">
                  <c:v>0.44977706438380499</c:v>
                </c:pt>
                <c:pt idx="25220">
                  <c:v>0.44979489923310101</c:v>
                </c:pt>
                <c:pt idx="25221">
                  <c:v>0.44981273408239703</c:v>
                </c:pt>
                <c:pt idx="25222">
                  <c:v>0.44983056893169199</c:v>
                </c:pt>
                <c:pt idx="25223">
                  <c:v>0.449848403780988</c:v>
                </c:pt>
                <c:pt idx="25224">
                  <c:v>0.44986623863028302</c:v>
                </c:pt>
                <c:pt idx="25225">
                  <c:v>0.44988407347957898</c:v>
                </c:pt>
                <c:pt idx="25226">
                  <c:v>0.449901908328874</c:v>
                </c:pt>
                <c:pt idx="25227">
                  <c:v>0.44991974317817002</c:v>
                </c:pt>
                <c:pt idx="25228">
                  <c:v>0.44993757802746498</c:v>
                </c:pt>
                <c:pt idx="25229">
                  <c:v>0.449955412876761</c:v>
                </c:pt>
                <c:pt idx="25230">
                  <c:v>0.44997324772605601</c:v>
                </c:pt>
                <c:pt idx="25231">
                  <c:v>0.44999108257535197</c:v>
                </c:pt>
                <c:pt idx="25232">
                  <c:v>0.45000891742464699</c:v>
                </c:pt>
                <c:pt idx="25233">
                  <c:v>0.45002675227394301</c:v>
                </c:pt>
                <c:pt idx="25234">
                  <c:v>0.45004458712323803</c:v>
                </c:pt>
                <c:pt idx="25235">
                  <c:v>0.45006242197253399</c:v>
                </c:pt>
                <c:pt idx="25236">
                  <c:v>0.45008025682182901</c:v>
                </c:pt>
                <c:pt idx="25237">
                  <c:v>0.45009809167112502</c:v>
                </c:pt>
                <c:pt idx="25238">
                  <c:v>0.45011592652041998</c:v>
                </c:pt>
                <c:pt idx="25239">
                  <c:v>0.450133761369716</c:v>
                </c:pt>
                <c:pt idx="25240">
                  <c:v>0.45015159621901102</c:v>
                </c:pt>
                <c:pt idx="25241">
                  <c:v>0.45016943106830698</c:v>
                </c:pt>
                <c:pt idx="25242">
                  <c:v>0.450187265917603</c:v>
                </c:pt>
                <c:pt idx="25243">
                  <c:v>0.45020510076689801</c:v>
                </c:pt>
                <c:pt idx="25244">
                  <c:v>0.45022293561619398</c:v>
                </c:pt>
                <c:pt idx="25245">
                  <c:v>0.45024077046548899</c:v>
                </c:pt>
                <c:pt idx="25246">
                  <c:v>0.45025860531478501</c:v>
                </c:pt>
                <c:pt idx="25247">
                  <c:v>0.45027644016408003</c:v>
                </c:pt>
                <c:pt idx="25248">
                  <c:v>0.45029427501337599</c:v>
                </c:pt>
                <c:pt idx="25249">
                  <c:v>0.45031210986267101</c:v>
                </c:pt>
                <c:pt idx="25250">
                  <c:v>0.45032994471196702</c:v>
                </c:pt>
                <c:pt idx="25251">
                  <c:v>0.45034777956126198</c:v>
                </c:pt>
                <c:pt idx="25252">
                  <c:v>0.450365614410558</c:v>
                </c:pt>
                <c:pt idx="25253">
                  <c:v>0.45038344925985302</c:v>
                </c:pt>
                <c:pt idx="25254">
                  <c:v>0.45040128410914898</c:v>
                </c:pt>
                <c:pt idx="25255">
                  <c:v>0.450419118958444</c:v>
                </c:pt>
                <c:pt idx="25256">
                  <c:v>0.45043695380774001</c:v>
                </c:pt>
                <c:pt idx="25257">
                  <c:v>0.45045478865703498</c:v>
                </c:pt>
                <c:pt idx="25258">
                  <c:v>0.45047262350633099</c:v>
                </c:pt>
                <c:pt idx="25259">
                  <c:v>0.45049045835562601</c:v>
                </c:pt>
                <c:pt idx="25260">
                  <c:v>0.45050829320492197</c:v>
                </c:pt>
                <c:pt idx="25261">
                  <c:v>0.45052612805421699</c:v>
                </c:pt>
                <c:pt idx="25262">
                  <c:v>0.45054396290351301</c:v>
                </c:pt>
                <c:pt idx="25263">
                  <c:v>0.45056179775280802</c:v>
                </c:pt>
                <c:pt idx="25264">
                  <c:v>0.45057963260210399</c:v>
                </c:pt>
                <c:pt idx="25265">
                  <c:v>0.4505974674514</c:v>
                </c:pt>
                <c:pt idx="25266">
                  <c:v>0.45061530230069502</c:v>
                </c:pt>
                <c:pt idx="25267">
                  <c:v>0.45063313714999098</c:v>
                </c:pt>
                <c:pt idx="25268">
                  <c:v>0.450650971999286</c:v>
                </c:pt>
                <c:pt idx="25269">
                  <c:v>0.45066880684858202</c:v>
                </c:pt>
                <c:pt idx="25270">
                  <c:v>0.45068664169787698</c:v>
                </c:pt>
                <c:pt idx="25271">
                  <c:v>0.45070447654717299</c:v>
                </c:pt>
                <c:pt idx="25272">
                  <c:v>0.45072231139646801</c:v>
                </c:pt>
                <c:pt idx="25273">
                  <c:v>0.45074014624576397</c:v>
                </c:pt>
                <c:pt idx="25274">
                  <c:v>0.45075798109505899</c:v>
                </c:pt>
                <c:pt idx="25275">
                  <c:v>0.45077581594435501</c:v>
                </c:pt>
                <c:pt idx="25276">
                  <c:v>0.45079365079365002</c:v>
                </c:pt>
                <c:pt idx="25277">
                  <c:v>0.45081148564294599</c:v>
                </c:pt>
                <c:pt idx="25278">
                  <c:v>0.450829320492241</c:v>
                </c:pt>
                <c:pt idx="25279">
                  <c:v>0.45084715534153702</c:v>
                </c:pt>
                <c:pt idx="25280">
                  <c:v>0.45086499019083198</c:v>
                </c:pt>
                <c:pt idx="25281">
                  <c:v>0.450882825040128</c:v>
                </c:pt>
                <c:pt idx="25282">
                  <c:v>0.45090065988942302</c:v>
                </c:pt>
                <c:pt idx="25283">
                  <c:v>0.45091849473871898</c:v>
                </c:pt>
                <c:pt idx="25284">
                  <c:v>0.45093632958801499</c:v>
                </c:pt>
                <c:pt idx="25285">
                  <c:v>0.45095416443731001</c:v>
                </c:pt>
                <c:pt idx="25286">
                  <c:v>0.45097199928660597</c:v>
                </c:pt>
                <c:pt idx="25287">
                  <c:v>0.45098983413590099</c:v>
                </c:pt>
                <c:pt idx="25288">
                  <c:v>0.45100766898519701</c:v>
                </c:pt>
                <c:pt idx="25289">
                  <c:v>0.45102550383449203</c:v>
                </c:pt>
                <c:pt idx="25290">
                  <c:v>0.45104333868378799</c:v>
                </c:pt>
                <c:pt idx="25291">
                  <c:v>0.451061173533083</c:v>
                </c:pt>
                <c:pt idx="25292">
                  <c:v>0.45107900838237902</c:v>
                </c:pt>
                <c:pt idx="25293">
                  <c:v>0.45109684323167398</c:v>
                </c:pt>
                <c:pt idx="25294">
                  <c:v>0.45111467808097</c:v>
                </c:pt>
                <c:pt idx="25295">
                  <c:v>0.45113251293026502</c:v>
                </c:pt>
                <c:pt idx="25296">
                  <c:v>0.45115034777956098</c:v>
                </c:pt>
                <c:pt idx="25297">
                  <c:v>0.451168182628856</c:v>
                </c:pt>
                <c:pt idx="25298">
                  <c:v>0.45118601747815201</c:v>
                </c:pt>
                <c:pt idx="25299">
                  <c:v>0.45120385232744697</c:v>
                </c:pt>
                <c:pt idx="25300">
                  <c:v>0.45122168717674299</c:v>
                </c:pt>
                <c:pt idx="25301">
                  <c:v>0.45123952202603801</c:v>
                </c:pt>
                <c:pt idx="25302">
                  <c:v>0.45125735687533403</c:v>
                </c:pt>
                <c:pt idx="25303">
                  <c:v>0.45127519172462899</c:v>
                </c:pt>
                <c:pt idx="25304">
                  <c:v>0.451293026573925</c:v>
                </c:pt>
                <c:pt idx="25305">
                  <c:v>0.45131086142322002</c:v>
                </c:pt>
                <c:pt idx="25306">
                  <c:v>0.45132869627251598</c:v>
                </c:pt>
                <c:pt idx="25307">
                  <c:v>0.451346531121812</c:v>
                </c:pt>
                <c:pt idx="25308">
                  <c:v>0.45136436597110702</c:v>
                </c:pt>
                <c:pt idx="25309">
                  <c:v>0.45138220082040298</c:v>
                </c:pt>
                <c:pt idx="25310">
                  <c:v>0.451400035669698</c:v>
                </c:pt>
                <c:pt idx="25311">
                  <c:v>0.45141787051899401</c:v>
                </c:pt>
                <c:pt idx="25312">
                  <c:v>0.45143570536828898</c:v>
                </c:pt>
                <c:pt idx="25313">
                  <c:v>0.45145354021758499</c:v>
                </c:pt>
                <c:pt idx="25314">
                  <c:v>0.45147137506688001</c:v>
                </c:pt>
                <c:pt idx="25315">
                  <c:v>0.45148920991617603</c:v>
                </c:pt>
                <c:pt idx="25316">
                  <c:v>0.45150704476547099</c:v>
                </c:pt>
                <c:pt idx="25317">
                  <c:v>0.45152487961476701</c:v>
                </c:pt>
                <c:pt idx="25318">
                  <c:v>0.45154271446406202</c:v>
                </c:pt>
                <c:pt idx="25319">
                  <c:v>0.45156054931335798</c:v>
                </c:pt>
                <c:pt idx="25320">
                  <c:v>0.451578384162653</c:v>
                </c:pt>
                <c:pt idx="25321">
                  <c:v>0.45159621901194902</c:v>
                </c:pt>
                <c:pt idx="25322">
                  <c:v>0.45161405386124398</c:v>
                </c:pt>
                <c:pt idx="25323">
                  <c:v>0.45163188871054</c:v>
                </c:pt>
                <c:pt idx="25324">
                  <c:v>0.45164972355983501</c:v>
                </c:pt>
                <c:pt idx="25325">
                  <c:v>0.45166755840913098</c:v>
                </c:pt>
                <c:pt idx="25326">
                  <c:v>0.45168539325842699</c:v>
                </c:pt>
                <c:pt idx="25327">
                  <c:v>0.45170322810772201</c:v>
                </c:pt>
                <c:pt idx="25328">
                  <c:v>0.45172106295701803</c:v>
                </c:pt>
                <c:pt idx="25329">
                  <c:v>0.45173889780631299</c:v>
                </c:pt>
                <c:pt idx="25330">
                  <c:v>0.45175673265560901</c:v>
                </c:pt>
                <c:pt idx="25331">
                  <c:v>0.45177456750490402</c:v>
                </c:pt>
                <c:pt idx="25332">
                  <c:v>0.45179240235419998</c:v>
                </c:pt>
                <c:pt idx="25333">
                  <c:v>0.451810237203495</c:v>
                </c:pt>
                <c:pt idx="25334">
                  <c:v>0.45182807205279102</c:v>
                </c:pt>
                <c:pt idx="25335">
                  <c:v>0.45184590690208598</c:v>
                </c:pt>
                <c:pt idx="25336">
                  <c:v>0.451863741751382</c:v>
                </c:pt>
                <c:pt idx="25337">
                  <c:v>0.45188157660067702</c:v>
                </c:pt>
                <c:pt idx="25338">
                  <c:v>0.45189941144997298</c:v>
                </c:pt>
                <c:pt idx="25339">
                  <c:v>0.45191724629926799</c:v>
                </c:pt>
                <c:pt idx="25340">
                  <c:v>0.45193508114856401</c:v>
                </c:pt>
                <c:pt idx="25341">
                  <c:v>0.45195291599785897</c:v>
                </c:pt>
                <c:pt idx="25342">
                  <c:v>0.45197075084715499</c:v>
                </c:pt>
                <c:pt idx="25343">
                  <c:v>0.45198858569645001</c:v>
                </c:pt>
                <c:pt idx="25344">
                  <c:v>0.45200642054574602</c:v>
                </c:pt>
                <c:pt idx="25345">
                  <c:v>0.45202425539504099</c:v>
                </c:pt>
                <c:pt idx="25346">
                  <c:v>0.452042090244337</c:v>
                </c:pt>
                <c:pt idx="25347">
                  <c:v>0.45205992509363202</c:v>
                </c:pt>
                <c:pt idx="25348">
                  <c:v>0.45207775994292798</c:v>
                </c:pt>
                <c:pt idx="25349">
                  <c:v>0.452095594792224</c:v>
                </c:pt>
                <c:pt idx="25350">
                  <c:v>0.45211342964151902</c:v>
                </c:pt>
                <c:pt idx="25351">
                  <c:v>0.45213126449081498</c:v>
                </c:pt>
                <c:pt idx="25352">
                  <c:v>0.45214909934010999</c:v>
                </c:pt>
                <c:pt idx="25353">
                  <c:v>0.45216693418940601</c:v>
                </c:pt>
                <c:pt idx="25354">
                  <c:v>0.45218476903870097</c:v>
                </c:pt>
                <c:pt idx="25355">
                  <c:v>0.45220260388799699</c:v>
                </c:pt>
                <c:pt idx="25356">
                  <c:v>0.45222043873729201</c:v>
                </c:pt>
                <c:pt idx="25357">
                  <c:v>0.45223827358658802</c:v>
                </c:pt>
                <c:pt idx="25358">
                  <c:v>0.45225610843588299</c:v>
                </c:pt>
                <c:pt idx="25359">
                  <c:v>0.452273943285179</c:v>
                </c:pt>
                <c:pt idx="25360">
                  <c:v>0.45229177813447402</c:v>
                </c:pt>
                <c:pt idx="25361">
                  <c:v>0.45230961298376998</c:v>
                </c:pt>
                <c:pt idx="25362">
                  <c:v>0.452327447833065</c:v>
                </c:pt>
                <c:pt idx="25363">
                  <c:v>0.45234528268236102</c:v>
                </c:pt>
                <c:pt idx="25364">
                  <c:v>0.45236311753165598</c:v>
                </c:pt>
                <c:pt idx="25365">
                  <c:v>0.452380952380952</c:v>
                </c:pt>
                <c:pt idx="25366">
                  <c:v>0.45239878723024701</c:v>
                </c:pt>
                <c:pt idx="25367">
                  <c:v>0.45241662207954297</c:v>
                </c:pt>
                <c:pt idx="25368">
                  <c:v>0.45243445692883799</c:v>
                </c:pt>
                <c:pt idx="25369">
                  <c:v>0.45245229177813401</c:v>
                </c:pt>
                <c:pt idx="25370">
                  <c:v>0.45247012662743002</c:v>
                </c:pt>
                <c:pt idx="25371">
                  <c:v>0.45248796147672499</c:v>
                </c:pt>
                <c:pt idx="25372">
                  <c:v>0.452505796326021</c:v>
                </c:pt>
                <c:pt idx="25373">
                  <c:v>0.45252363117531602</c:v>
                </c:pt>
                <c:pt idx="25374">
                  <c:v>0.45254146602461198</c:v>
                </c:pt>
                <c:pt idx="25375">
                  <c:v>0.452559300873907</c:v>
                </c:pt>
                <c:pt idx="25376">
                  <c:v>0.45257713572320302</c:v>
                </c:pt>
                <c:pt idx="25377">
                  <c:v>0.45259497057249798</c:v>
                </c:pt>
                <c:pt idx="25378">
                  <c:v>0.452612805421794</c:v>
                </c:pt>
                <c:pt idx="25379">
                  <c:v>0.45263064027108901</c:v>
                </c:pt>
                <c:pt idx="25380">
                  <c:v>0.45264847512038497</c:v>
                </c:pt>
                <c:pt idx="25381">
                  <c:v>0.45266630996967999</c:v>
                </c:pt>
                <c:pt idx="25382">
                  <c:v>0.45268414481897601</c:v>
                </c:pt>
                <c:pt idx="25383">
                  <c:v>0.45270197966827103</c:v>
                </c:pt>
                <c:pt idx="25384">
                  <c:v>0.45271981451756699</c:v>
                </c:pt>
                <c:pt idx="25385">
                  <c:v>0.452737649366862</c:v>
                </c:pt>
                <c:pt idx="25386">
                  <c:v>0.45275548421615802</c:v>
                </c:pt>
                <c:pt idx="25387">
                  <c:v>0.45277331906545298</c:v>
                </c:pt>
                <c:pt idx="25388">
                  <c:v>0.452791153914749</c:v>
                </c:pt>
                <c:pt idx="25389">
                  <c:v>0.45280898876404402</c:v>
                </c:pt>
                <c:pt idx="25390">
                  <c:v>0.45282682361333998</c:v>
                </c:pt>
                <c:pt idx="25391">
                  <c:v>0.452844658462636</c:v>
                </c:pt>
                <c:pt idx="25392">
                  <c:v>0.45286249331193101</c:v>
                </c:pt>
                <c:pt idx="25393">
                  <c:v>0.45288032816122697</c:v>
                </c:pt>
                <c:pt idx="25394">
                  <c:v>0.45289816301052199</c:v>
                </c:pt>
                <c:pt idx="25395">
                  <c:v>0.45291599785981801</c:v>
                </c:pt>
                <c:pt idx="25396">
                  <c:v>0.45293383270911303</c:v>
                </c:pt>
                <c:pt idx="25397">
                  <c:v>0.45295166755840899</c:v>
                </c:pt>
                <c:pt idx="25398">
                  <c:v>0.45296950240770401</c:v>
                </c:pt>
                <c:pt idx="25399">
                  <c:v>0.45298733725700002</c:v>
                </c:pt>
                <c:pt idx="25400">
                  <c:v>0.45300517210629498</c:v>
                </c:pt>
                <c:pt idx="25401">
                  <c:v>0.453023006955591</c:v>
                </c:pt>
                <c:pt idx="25402">
                  <c:v>0.45304084180488602</c:v>
                </c:pt>
                <c:pt idx="25403">
                  <c:v>0.45305867665418198</c:v>
                </c:pt>
                <c:pt idx="25404">
                  <c:v>0.453076511503477</c:v>
                </c:pt>
                <c:pt idx="25405">
                  <c:v>0.45309434635277301</c:v>
                </c:pt>
                <c:pt idx="25406">
                  <c:v>0.45311218120206798</c:v>
                </c:pt>
                <c:pt idx="25407">
                  <c:v>0.45313001605136399</c:v>
                </c:pt>
                <c:pt idx="25408">
                  <c:v>0.45314785090065901</c:v>
                </c:pt>
                <c:pt idx="25409">
                  <c:v>0.45316568574995503</c:v>
                </c:pt>
                <c:pt idx="25410">
                  <c:v>0.45318352059924999</c:v>
                </c:pt>
                <c:pt idx="25411">
                  <c:v>0.45320135544854601</c:v>
                </c:pt>
                <c:pt idx="25412">
                  <c:v>0.45321919029784102</c:v>
                </c:pt>
                <c:pt idx="25413">
                  <c:v>0.45323702514713698</c:v>
                </c:pt>
                <c:pt idx="25414">
                  <c:v>0.453254859996433</c:v>
                </c:pt>
                <c:pt idx="25415">
                  <c:v>0.45327269484572802</c:v>
                </c:pt>
                <c:pt idx="25416">
                  <c:v>0.45329052969502398</c:v>
                </c:pt>
                <c:pt idx="25417">
                  <c:v>0.453308364544319</c:v>
                </c:pt>
                <c:pt idx="25418">
                  <c:v>0.45332619939361501</c:v>
                </c:pt>
                <c:pt idx="25419">
                  <c:v>0.45334403424290998</c:v>
                </c:pt>
                <c:pt idx="25420">
                  <c:v>0.45336186909220599</c:v>
                </c:pt>
                <c:pt idx="25421">
                  <c:v>0.45337970394150101</c:v>
                </c:pt>
                <c:pt idx="25422">
                  <c:v>0.45339753879079697</c:v>
                </c:pt>
                <c:pt idx="25423">
                  <c:v>0.45341537364009199</c:v>
                </c:pt>
                <c:pt idx="25424">
                  <c:v>0.45343320848938801</c:v>
                </c:pt>
                <c:pt idx="25425">
                  <c:v>0.45345104333868302</c:v>
                </c:pt>
                <c:pt idx="25426">
                  <c:v>0.45346887818797899</c:v>
                </c:pt>
                <c:pt idx="25427">
                  <c:v>0.453486713037274</c:v>
                </c:pt>
                <c:pt idx="25428">
                  <c:v>0.45350454788657002</c:v>
                </c:pt>
                <c:pt idx="25429">
                  <c:v>0.45352238273586498</c:v>
                </c:pt>
                <c:pt idx="25430">
                  <c:v>0.453540217585161</c:v>
                </c:pt>
                <c:pt idx="25431">
                  <c:v>0.45355805243445602</c:v>
                </c:pt>
                <c:pt idx="25432">
                  <c:v>0.45357588728375198</c:v>
                </c:pt>
                <c:pt idx="25433">
                  <c:v>0.45359372213304799</c:v>
                </c:pt>
                <c:pt idx="25434">
                  <c:v>0.45361155698234301</c:v>
                </c:pt>
                <c:pt idx="25435">
                  <c:v>0.45362939183163897</c:v>
                </c:pt>
                <c:pt idx="25436">
                  <c:v>0.45364722668093399</c:v>
                </c:pt>
                <c:pt idx="25437">
                  <c:v>0.45366506153023001</c:v>
                </c:pt>
                <c:pt idx="25438">
                  <c:v>0.45368289637952502</c:v>
                </c:pt>
                <c:pt idx="25439">
                  <c:v>0.45370073122882099</c:v>
                </c:pt>
                <c:pt idx="25440">
                  <c:v>0.453718566078116</c:v>
                </c:pt>
                <c:pt idx="25441">
                  <c:v>0.45373640092741202</c:v>
                </c:pt>
                <c:pt idx="25442">
                  <c:v>0.45375423577670698</c:v>
                </c:pt>
                <c:pt idx="25443">
                  <c:v>0.453772070626003</c:v>
                </c:pt>
                <c:pt idx="25444">
                  <c:v>0.45378990547529802</c:v>
                </c:pt>
                <c:pt idx="25445">
                  <c:v>0.45380774032459398</c:v>
                </c:pt>
                <c:pt idx="25446">
                  <c:v>0.453825575173889</c:v>
                </c:pt>
                <c:pt idx="25447">
                  <c:v>0.45384341002318501</c:v>
                </c:pt>
                <c:pt idx="25448">
                  <c:v>0.45386124487247997</c:v>
                </c:pt>
                <c:pt idx="25449">
                  <c:v>0.45387907972177599</c:v>
                </c:pt>
                <c:pt idx="25450">
                  <c:v>0.45389691457107101</c:v>
                </c:pt>
                <c:pt idx="25451">
                  <c:v>0.45391474942036703</c:v>
                </c:pt>
                <c:pt idx="25452">
                  <c:v>0.45393258426966199</c:v>
                </c:pt>
                <c:pt idx="25453">
                  <c:v>0.453950419118958</c:v>
                </c:pt>
                <c:pt idx="25454">
                  <c:v>0.45396825396825302</c:v>
                </c:pt>
                <c:pt idx="25455">
                  <c:v>0.45398608881754898</c:v>
                </c:pt>
                <c:pt idx="25456">
                  <c:v>0.454003923666845</c:v>
                </c:pt>
                <c:pt idx="25457">
                  <c:v>0.45402175851614002</c:v>
                </c:pt>
                <c:pt idx="25458">
                  <c:v>0.45403959336543598</c:v>
                </c:pt>
                <c:pt idx="25459">
                  <c:v>0.454057428214731</c:v>
                </c:pt>
                <c:pt idx="25460">
                  <c:v>0.45407526306402701</c:v>
                </c:pt>
                <c:pt idx="25461">
                  <c:v>0.45409309791332197</c:v>
                </c:pt>
                <c:pt idx="25462">
                  <c:v>0.45411093276261799</c:v>
                </c:pt>
                <c:pt idx="25463">
                  <c:v>0.45412876761191301</c:v>
                </c:pt>
                <c:pt idx="25464">
                  <c:v>0.45414660246120903</c:v>
                </c:pt>
                <c:pt idx="25465">
                  <c:v>0.45416443731050399</c:v>
                </c:pt>
                <c:pt idx="25466">
                  <c:v>0.4541822721598</c:v>
                </c:pt>
                <c:pt idx="25467">
                  <c:v>0.45420010700909502</c:v>
                </c:pt>
                <c:pt idx="25468">
                  <c:v>0.45421794185839098</c:v>
                </c:pt>
                <c:pt idx="25469">
                  <c:v>0.454235776707686</c:v>
                </c:pt>
                <c:pt idx="25470">
                  <c:v>0.45425361155698202</c:v>
                </c:pt>
                <c:pt idx="25471">
                  <c:v>0.45427144640627698</c:v>
                </c:pt>
                <c:pt idx="25472">
                  <c:v>0.454289281255573</c:v>
                </c:pt>
                <c:pt idx="25473">
                  <c:v>0.45430711610486801</c:v>
                </c:pt>
                <c:pt idx="25474">
                  <c:v>0.45432495095416398</c:v>
                </c:pt>
                <c:pt idx="25475">
                  <c:v>0.45434278580345899</c:v>
                </c:pt>
                <c:pt idx="25476">
                  <c:v>0.45436062065275501</c:v>
                </c:pt>
                <c:pt idx="25477">
                  <c:v>0.45437845550205103</c:v>
                </c:pt>
                <c:pt idx="25478">
                  <c:v>0.45439629035134599</c:v>
                </c:pt>
                <c:pt idx="25479">
                  <c:v>0.45441412520064201</c:v>
                </c:pt>
                <c:pt idx="25480">
                  <c:v>0.45443196004993702</c:v>
                </c:pt>
                <c:pt idx="25481">
                  <c:v>0.45444979489923298</c:v>
                </c:pt>
                <c:pt idx="25482">
                  <c:v>0.454467629748528</c:v>
                </c:pt>
                <c:pt idx="25483">
                  <c:v>0.45448546459782402</c:v>
                </c:pt>
                <c:pt idx="25484">
                  <c:v>0.45450329944711898</c:v>
                </c:pt>
                <c:pt idx="25485">
                  <c:v>0.454521134296415</c:v>
                </c:pt>
                <c:pt idx="25486">
                  <c:v>0.45453896914571001</c:v>
                </c:pt>
                <c:pt idx="25487">
                  <c:v>0.45455680399500598</c:v>
                </c:pt>
                <c:pt idx="25488">
                  <c:v>0.45457463884430099</c:v>
                </c:pt>
                <c:pt idx="25489">
                  <c:v>0.45459247369359701</c:v>
                </c:pt>
                <c:pt idx="25490">
                  <c:v>0.45461030854289203</c:v>
                </c:pt>
                <c:pt idx="25491">
                  <c:v>0.45462814339218799</c:v>
                </c:pt>
                <c:pt idx="25492">
                  <c:v>0.45464597824148301</c:v>
                </c:pt>
                <c:pt idx="25493">
                  <c:v>0.45466381309077902</c:v>
                </c:pt>
                <c:pt idx="25494">
                  <c:v>0.45468164794007399</c:v>
                </c:pt>
                <c:pt idx="25495">
                  <c:v>0.45469948278937</c:v>
                </c:pt>
                <c:pt idx="25496">
                  <c:v>0.45471731763866502</c:v>
                </c:pt>
                <c:pt idx="25497">
                  <c:v>0.45473515248796098</c:v>
                </c:pt>
                <c:pt idx="25498">
                  <c:v>0.454752987337257</c:v>
                </c:pt>
                <c:pt idx="25499">
                  <c:v>0.45477082218655202</c:v>
                </c:pt>
                <c:pt idx="25500">
                  <c:v>0.45478865703584798</c:v>
                </c:pt>
                <c:pt idx="25501">
                  <c:v>0.45480649188514299</c:v>
                </c:pt>
                <c:pt idx="25502">
                  <c:v>0.45482432673443901</c:v>
                </c:pt>
                <c:pt idx="25503">
                  <c:v>0.45484216158373397</c:v>
                </c:pt>
                <c:pt idx="25504">
                  <c:v>0.45485999643302999</c:v>
                </c:pt>
                <c:pt idx="25505">
                  <c:v>0.45487783128232501</c:v>
                </c:pt>
                <c:pt idx="25506">
                  <c:v>0.45489566613162102</c:v>
                </c:pt>
                <c:pt idx="25507">
                  <c:v>0.45491350098091599</c:v>
                </c:pt>
                <c:pt idx="25508">
                  <c:v>0.454931335830212</c:v>
                </c:pt>
                <c:pt idx="25509">
                  <c:v>0.45494917067950702</c:v>
                </c:pt>
                <c:pt idx="25510">
                  <c:v>0.45496700552880298</c:v>
                </c:pt>
                <c:pt idx="25511">
                  <c:v>0.454984840378098</c:v>
                </c:pt>
                <c:pt idx="25512">
                  <c:v>0.45500267522739402</c:v>
                </c:pt>
                <c:pt idx="25513">
                  <c:v>0.45502051007668898</c:v>
                </c:pt>
                <c:pt idx="25514">
                  <c:v>0.45503834492598499</c:v>
                </c:pt>
                <c:pt idx="25515">
                  <c:v>0.45505617977528001</c:v>
                </c:pt>
                <c:pt idx="25516">
                  <c:v>0.45507401462457597</c:v>
                </c:pt>
                <c:pt idx="25517">
                  <c:v>0.45509184947387099</c:v>
                </c:pt>
                <c:pt idx="25518">
                  <c:v>0.45510968432316701</c:v>
                </c:pt>
                <c:pt idx="25519">
                  <c:v>0.45512751917246203</c:v>
                </c:pt>
                <c:pt idx="25520">
                  <c:v>0.45514535402175799</c:v>
                </c:pt>
                <c:pt idx="25521">
                  <c:v>0.455163188871054</c:v>
                </c:pt>
                <c:pt idx="25522">
                  <c:v>0.45518102372034902</c:v>
                </c:pt>
                <c:pt idx="25523">
                  <c:v>0.45519885856964498</c:v>
                </c:pt>
                <c:pt idx="25524">
                  <c:v>0.45521669341894</c:v>
                </c:pt>
                <c:pt idx="25525">
                  <c:v>0.45523452826823602</c:v>
                </c:pt>
                <c:pt idx="25526">
                  <c:v>0.45525236311753098</c:v>
                </c:pt>
                <c:pt idx="25527">
                  <c:v>0.45527019796682699</c:v>
                </c:pt>
                <c:pt idx="25528">
                  <c:v>0.45528803281612201</c:v>
                </c:pt>
                <c:pt idx="25529">
                  <c:v>0.45530586766541797</c:v>
                </c:pt>
                <c:pt idx="25530">
                  <c:v>0.45532370251471299</c:v>
                </c:pt>
                <c:pt idx="25531">
                  <c:v>0.45534153736400901</c:v>
                </c:pt>
                <c:pt idx="25532">
                  <c:v>0.45535937221330403</c:v>
                </c:pt>
                <c:pt idx="25533">
                  <c:v>0.45537720706259999</c:v>
                </c:pt>
                <c:pt idx="25534">
                  <c:v>0.455395041911895</c:v>
                </c:pt>
                <c:pt idx="25535">
                  <c:v>0.45541287676119102</c:v>
                </c:pt>
                <c:pt idx="25536">
                  <c:v>0.45543071161048598</c:v>
                </c:pt>
                <c:pt idx="25537">
                  <c:v>0.455448546459782</c:v>
                </c:pt>
                <c:pt idx="25538">
                  <c:v>0.45546638130907702</c:v>
                </c:pt>
                <c:pt idx="25539">
                  <c:v>0.45548421615837298</c:v>
                </c:pt>
                <c:pt idx="25540">
                  <c:v>0.455502051007669</c:v>
                </c:pt>
                <c:pt idx="25541">
                  <c:v>0.45551988585696401</c:v>
                </c:pt>
                <c:pt idx="25542">
                  <c:v>0.45553772070625997</c:v>
                </c:pt>
                <c:pt idx="25543">
                  <c:v>0.45555555555555499</c:v>
                </c:pt>
                <c:pt idx="25544">
                  <c:v>0.45557339040485101</c:v>
                </c:pt>
                <c:pt idx="25545">
                  <c:v>0.45559122525414603</c:v>
                </c:pt>
                <c:pt idx="25546">
                  <c:v>0.45560906010344199</c:v>
                </c:pt>
                <c:pt idx="25547">
                  <c:v>0.455626894952737</c:v>
                </c:pt>
                <c:pt idx="25548">
                  <c:v>0.45564472980203302</c:v>
                </c:pt>
                <c:pt idx="25549">
                  <c:v>0.45566256465132798</c:v>
                </c:pt>
                <c:pt idx="25550">
                  <c:v>0.455680399500624</c:v>
                </c:pt>
                <c:pt idx="25551">
                  <c:v>0.45569823434991902</c:v>
                </c:pt>
                <c:pt idx="25552">
                  <c:v>0.45571606919921498</c:v>
                </c:pt>
                <c:pt idx="25553">
                  <c:v>0.45573390404851</c:v>
                </c:pt>
                <c:pt idx="25554">
                  <c:v>0.45575173889780601</c:v>
                </c:pt>
                <c:pt idx="25555">
                  <c:v>0.45576957374710098</c:v>
                </c:pt>
                <c:pt idx="25556">
                  <c:v>0.45578740859639699</c:v>
                </c:pt>
                <c:pt idx="25557">
                  <c:v>0.45580524344569201</c:v>
                </c:pt>
                <c:pt idx="25558">
                  <c:v>0.45582307829498803</c:v>
                </c:pt>
                <c:pt idx="25559">
                  <c:v>0.45584091314428299</c:v>
                </c:pt>
                <c:pt idx="25560">
                  <c:v>0.45585874799357901</c:v>
                </c:pt>
                <c:pt idx="25561">
                  <c:v>0.45587658284287402</c:v>
                </c:pt>
                <c:pt idx="25562">
                  <c:v>0.45589441769216998</c:v>
                </c:pt>
                <c:pt idx="25563">
                  <c:v>0.455912252541466</c:v>
                </c:pt>
                <c:pt idx="25564">
                  <c:v>0.45593008739076102</c:v>
                </c:pt>
                <c:pt idx="25565">
                  <c:v>0.45594792224005698</c:v>
                </c:pt>
                <c:pt idx="25566">
                  <c:v>0.455965757089352</c:v>
                </c:pt>
                <c:pt idx="25567">
                  <c:v>0.45598359193864801</c:v>
                </c:pt>
                <c:pt idx="25568">
                  <c:v>0.45600142678794298</c:v>
                </c:pt>
                <c:pt idx="25569">
                  <c:v>0.45601926163723899</c:v>
                </c:pt>
                <c:pt idx="25570">
                  <c:v>0.45603709648653401</c:v>
                </c:pt>
                <c:pt idx="25571">
                  <c:v>0.45605493133583003</c:v>
                </c:pt>
                <c:pt idx="25572">
                  <c:v>0.45607276618512499</c:v>
                </c:pt>
                <c:pt idx="25573">
                  <c:v>0.45609060103442101</c:v>
                </c:pt>
                <c:pt idx="25574">
                  <c:v>0.45610843588371602</c:v>
                </c:pt>
                <c:pt idx="25575">
                  <c:v>0.45612627073301198</c:v>
                </c:pt>
                <c:pt idx="25576">
                  <c:v>0.456144105582307</c:v>
                </c:pt>
                <c:pt idx="25577">
                  <c:v>0.45616194043160302</c:v>
                </c:pt>
                <c:pt idx="25578">
                  <c:v>0.45617977528089798</c:v>
                </c:pt>
                <c:pt idx="25579">
                  <c:v>0.456197610130194</c:v>
                </c:pt>
                <c:pt idx="25580">
                  <c:v>0.45621544497948902</c:v>
                </c:pt>
                <c:pt idx="25581">
                  <c:v>0.45623327982878498</c:v>
                </c:pt>
                <c:pt idx="25582">
                  <c:v>0.45625111467808099</c:v>
                </c:pt>
                <c:pt idx="25583">
                  <c:v>0.45626894952737601</c:v>
                </c:pt>
                <c:pt idx="25584">
                  <c:v>0.45628678437667203</c:v>
                </c:pt>
                <c:pt idx="25585">
                  <c:v>0.45630461922596699</c:v>
                </c:pt>
                <c:pt idx="25586">
                  <c:v>0.45632245407526301</c:v>
                </c:pt>
                <c:pt idx="25587">
                  <c:v>0.45634028892455802</c:v>
                </c:pt>
                <c:pt idx="25588">
                  <c:v>0.45635812377385399</c:v>
                </c:pt>
                <c:pt idx="25589">
                  <c:v>0.456375958623149</c:v>
                </c:pt>
                <c:pt idx="25590">
                  <c:v>0.45639379347244502</c:v>
                </c:pt>
                <c:pt idx="25591">
                  <c:v>0.45641162832173998</c:v>
                </c:pt>
                <c:pt idx="25592">
                  <c:v>0.456429463171036</c:v>
                </c:pt>
                <c:pt idx="25593">
                  <c:v>0.45644729802033102</c:v>
                </c:pt>
                <c:pt idx="25594">
                  <c:v>0.45646513286962698</c:v>
                </c:pt>
                <c:pt idx="25595">
                  <c:v>0.45648296771892199</c:v>
                </c:pt>
                <c:pt idx="25596">
                  <c:v>0.45650080256821801</c:v>
                </c:pt>
                <c:pt idx="25597">
                  <c:v>0.45651863741751297</c:v>
                </c:pt>
                <c:pt idx="25598">
                  <c:v>0.45653647226680899</c:v>
                </c:pt>
                <c:pt idx="25599">
                  <c:v>0.45655430711610401</c:v>
                </c:pt>
                <c:pt idx="25600">
                  <c:v>0.45657214196540002</c:v>
                </c:pt>
                <c:pt idx="25601">
                  <c:v>0.45658997681469499</c:v>
                </c:pt>
                <c:pt idx="25602">
                  <c:v>0.456607811663991</c:v>
                </c:pt>
                <c:pt idx="25603">
                  <c:v>0.45662564651328602</c:v>
                </c:pt>
                <c:pt idx="25604">
                  <c:v>0.45664348136258198</c:v>
                </c:pt>
                <c:pt idx="25605">
                  <c:v>0.456661316211878</c:v>
                </c:pt>
                <c:pt idx="25606">
                  <c:v>0.45667915106117302</c:v>
                </c:pt>
                <c:pt idx="25607">
                  <c:v>0.45669698591046898</c:v>
                </c:pt>
                <c:pt idx="25608">
                  <c:v>0.456714820759764</c:v>
                </c:pt>
                <c:pt idx="25609">
                  <c:v>0.45673265560906001</c:v>
                </c:pt>
                <c:pt idx="25610">
                  <c:v>0.45675049045835497</c:v>
                </c:pt>
                <c:pt idx="25611">
                  <c:v>0.45676832530765099</c:v>
                </c:pt>
                <c:pt idx="25612">
                  <c:v>0.45678616015694601</c:v>
                </c:pt>
                <c:pt idx="25613">
                  <c:v>0.45680399500624203</c:v>
                </c:pt>
                <c:pt idx="25614">
                  <c:v>0.45682182985553699</c:v>
                </c:pt>
                <c:pt idx="25615">
                  <c:v>0.456839664704833</c:v>
                </c:pt>
                <c:pt idx="25616">
                  <c:v>0.45685749955412802</c:v>
                </c:pt>
                <c:pt idx="25617">
                  <c:v>0.45687533440342398</c:v>
                </c:pt>
                <c:pt idx="25618">
                  <c:v>0.456893169252719</c:v>
                </c:pt>
                <c:pt idx="25619">
                  <c:v>0.45691100410201502</c:v>
                </c:pt>
                <c:pt idx="25620">
                  <c:v>0.45692883895130998</c:v>
                </c:pt>
                <c:pt idx="25621">
                  <c:v>0.456946673800606</c:v>
                </c:pt>
                <c:pt idx="25622">
                  <c:v>0.45696450864990101</c:v>
                </c:pt>
                <c:pt idx="25623">
                  <c:v>0.45698234349919697</c:v>
                </c:pt>
                <c:pt idx="25624">
                  <c:v>0.45700017834849199</c:v>
                </c:pt>
                <c:pt idx="25625">
                  <c:v>0.45701801319778801</c:v>
                </c:pt>
                <c:pt idx="25626">
                  <c:v>0.45703584804708403</c:v>
                </c:pt>
                <c:pt idx="25627">
                  <c:v>0.45705368289637899</c:v>
                </c:pt>
                <c:pt idx="25628">
                  <c:v>0.457071517745675</c:v>
                </c:pt>
                <c:pt idx="25629">
                  <c:v>0.45708935259497002</c:v>
                </c:pt>
                <c:pt idx="25630">
                  <c:v>0.45710718744426598</c:v>
                </c:pt>
                <c:pt idx="25631">
                  <c:v>0.457125022293561</c:v>
                </c:pt>
                <c:pt idx="25632">
                  <c:v>0.45714285714285702</c:v>
                </c:pt>
                <c:pt idx="25633">
                  <c:v>0.45716069199215198</c:v>
                </c:pt>
                <c:pt idx="25634">
                  <c:v>0.457178526841448</c:v>
                </c:pt>
                <c:pt idx="25635">
                  <c:v>0.45719636169074301</c:v>
                </c:pt>
                <c:pt idx="25636">
                  <c:v>0.45721419654003898</c:v>
                </c:pt>
                <c:pt idx="25637">
                  <c:v>0.45723203138933399</c:v>
                </c:pt>
                <c:pt idx="25638">
                  <c:v>0.45724986623863001</c:v>
                </c:pt>
                <c:pt idx="25639">
                  <c:v>0.45726770108792503</c:v>
                </c:pt>
                <c:pt idx="25640">
                  <c:v>0.45728553593722099</c:v>
                </c:pt>
                <c:pt idx="25641">
                  <c:v>0.45730337078651601</c:v>
                </c:pt>
                <c:pt idx="25642">
                  <c:v>0.45732120563581202</c:v>
                </c:pt>
                <c:pt idx="25643">
                  <c:v>0.45733904048510698</c:v>
                </c:pt>
                <c:pt idx="25644">
                  <c:v>0.457356875334403</c:v>
                </c:pt>
                <c:pt idx="25645">
                  <c:v>0.45737471018369802</c:v>
                </c:pt>
                <c:pt idx="25646">
                  <c:v>0.45739254503299398</c:v>
                </c:pt>
                <c:pt idx="25647">
                  <c:v>0.45741037988229</c:v>
                </c:pt>
                <c:pt idx="25648">
                  <c:v>0.45742821473158501</c:v>
                </c:pt>
                <c:pt idx="25649">
                  <c:v>0.45744604958088098</c:v>
                </c:pt>
                <c:pt idx="25650">
                  <c:v>0.45746388443017599</c:v>
                </c:pt>
                <c:pt idx="25651">
                  <c:v>0.45748171927947201</c:v>
                </c:pt>
                <c:pt idx="25652">
                  <c:v>0.45749955412876703</c:v>
                </c:pt>
                <c:pt idx="25653">
                  <c:v>0.45751738897806299</c:v>
                </c:pt>
                <c:pt idx="25654">
                  <c:v>0.45753522382735801</c:v>
                </c:pt>
                <c:pt idx="25655">
                  <c:v>0.45755305867665402</c:v>
                </c:pt>
                <c:pt idx="25656">
                  <c:v>0.45757089352594899</c:v>
                </c:pt>
                <c:pt idx="25657">
                  <c:v>0.457588728375245</c:v>
                </c:pt>
                <c:pt idx="25658">
                  <c:v>0.45760656322454002</c:v>
                </c:pt>
                <c:pt idx="25659">
                  <c:v>0.45762439807383598</c:v>
                </c:pt>
                <c:pt idx="25660">
                  <c:v>0.457642232923131</c:v>
                </c:pt>
                <c:pt idx="25661">
                  <c:v>0.45766006777242701</c:v>
                </c:pt>
                <c:pt idx="25662">
                  <c:v>0.45767790262172198</c:v>
                </c:pt>
                <c:pt idx="25663">
                  <c:v>0.45769573747101799</c:v>
                </c:pt>
                <c:pt idx="25664">
                  <c:v>0.45771357232031301</c:v>
                </c:pt>
                <c:pt idx="25665">
                  <c:v>0.45773140716960897</c:v>
                </c:pt>
                <c:pt idx="25666">
                  <c:v>0.45774924201890399</c:v>
                </c:pt>
                <c:pt idx="25667">
                  <c:v>0.45776707686820001</c:v>
                </c:pt>
                <c:pt idx="25668">
                  <c:v>0.45778491171749502</c:v>
                </c:pt>
                <c:pt idx="25669">
                  <c:v>0.45780274656679099</c:v>
                </c:pt>
                <c:pt idx="25670">
                  <c:v>0.457820581416087</c:v>
                </c:pt>
                <c:pt idx="25671">
                  <c:v>0.45783841626538202</c:v>
                </c:pt>
                <c:pt idx="25672">
                  <c:v>0.45785625111467798</c:v>
                </c:pt>
                <c:pt idx="25673">
                  <c:v>0.457874085963973</c:v>
                </c:pt>
                <c:pt idx="25674">
                  <c:v>0.45789192081326902</c:v>
                </c:pt>
                <c:pt idx="25675">
                  <c:v>0.45790975566256398</c:v>
                </c:pt>
                <c:pt idx="25676">
                  <c:v>0.45792759051185999</c:v>
                </c:pt>
                <c:pt idx="25677">
                  <c:v>0.45794542536115501</c:v>
                </c:pt>
                <c:pt idx="25678">
                  <c:v>0.45796326021045097</c:v>
                </c:pt>
                <c:pt idx="25679">
                  <c:v>0.45798109505974599</c:v>
                </c:pt>
                <c:pt idx="25680">
                  <c:v>0.45799892990904201</c:v>
                </c:pt>
                <c:pt idx="25681">
                  <c:v>0.45801676475833702</c:v>
                </c:pt>
                <c:pt idx="25682">
                  <c:v>0.45803459960763299</c:v>
                </c:pt>
                <c:pt idx="25683">
                  <c:v>0.458052434456928</c:v>
                </c:pt>
                <c:pt idx="25684">
                  <c:v>0.45807026930622402</c:v>
                </c:pt>
                <c:pt idx="25685">
                  <c:v>0.45808810415551898</c:v>
                </c:pt>
                <c:pt idx="25686">
                  <c:v>0.458105939004815</c:v>
                </c:pt>
                <c:pt idx="25687">
                  <c:v>0.45812377385411002</c:v>
                </c:pt>
                <c:pt idx="25688">
                  <c:v>0.45814160870340598</c:v>
                </c:pt>
                <c:pt idx="25689">
                  <c:v>0.45815944355270199</c:v>
                </c:pt>
                <c:pt idx="25690">
                  <c:v>0.45817727840199701</c:v>
                </c:pt>
                <c:pt idx="25691">
                  <c:v>0.45819511325129297</c:v>
                </c:pt>
                <c:pt idx="25692">
                  <c:v>0.45821294810058799</c:v>
                </c:pt>
                <c:pt idx="25693">
                  <c:v>0.45823078294988401</c:v>
                </c:pt>
                <c:pt idx="25694">
                  <c:v>0.45824861779917903</c:v>
                </c:pt>
                <c:pt idx="25695">
                  <c:v>0.45826645264847499</c:v>
                </c:pt>
                <c:pt idx="25696">
                  <c:v>0.45828428749777</c:v>
                </c:pt>
                <c:pt idx="25697">
                  <c:v>0.45830212234706602</c:v>
                </c:pt>
                <c:pt idx="25698">
                  <c:v>0.45831995719636098</c:v>
                </c:pt>
                <c:pt idx="25699">
                  <c:v>0.458337792045657</c:v>
                </c:pt>
                <c:pt idx="25700">
                  <c:v>0.45835562689495202</c:v>
                </c:pt>
                <c:pt idx="25701">
                  <c:v>0.45837346174424798</c:v>
                </c:pt>
                <c:pt idx="25702">
                  <c:v>0.458391296593543</c:v>
                </c:pt>
                <c:pt idx="25703">
                  <c:v>0.45840913144283901</c:v>
                </c:pt>
                <c:pt idx="25704">
                  <c:v>0.45842696629213397</c:v>
                </c:pt>
                <c:pt idx="25705">
                  <c:v>0.45844480114142999</c:v>
                </c:pt>
                <c:pt idx="25706">
                  <c:v>0.45846263599072501</c:v>
                </c:pt>
                <c:pt idx="25707">
                  <c:v>0.45848047084002103</c:v>
                </c:pt>
                <c:pt idx="25708">
                  <c:v>0.45849830568931599</c:v>
                </c:pt>
                <c:pt idx="25709">
                  <c:v>0.458516140538612</c:v>
                </c:pt>
                <c:pt idx="25710">
                  <c:v>0.45853397538790702</c:v>
                </c:pt>
                <c:pt idx="25711">
                  <c:v>0.45855181023720298</c:v>
                </c:pt>
                <c:pt idx="25712">
                  <c:v>0.458569645086499</c:v>
                </c:pt>
                <c:pt idx="25713">
                  <c:v>0.45858747993579402</c:v>
                </c:pt>
                <c:pt idx="25714">
                  <c:v>0.45860531478508998</c:v>
                </c:pt>
                <c:pt idx="25715">
                  <c:v>0.458623149634385</c:v>
                </c:pt>
                <c:pt idx="25716">
                  <c:v>0.45864098448368101</c:v>
                </c:pt>
                <c:pt idx="25717">
                  <c:v>0.45865881933297598</c:v>
                </c:pt>
                <c:pt idx="25718">
                  <c:v>0.45867665418227199</c:v>
                </c:pt>
                <c:pt idx="25719">
                  <c:v>0.45869448903156701</c:v>
                </c:pt>
                <c:pt idx="25720">
                  <c:v>0.45871232388086303</c:v>
                </c:pt>
                <c:pt idx="25721">
                  <c:v>0.45873015873015799</c:v>
                </c:pt>
                <c:pt idx="25722">
                  <c:v>0.45874799357945401</c:v>
                </c:pt>
                <c:pt idx="25723">
                  <c:v>0.45876582842874902</c:v>
                </c:pt>
                <c:pt idx="25724">
                  <c:v>0.45878366327804498</c:v>
                </c:pt>
                <c:pt idx="25725">
                  <c:v>0.45880149812734</c:v>
                </c:pt>
                <c:pt idx="25726">
                  <c:v>0.45881933297663602</c:v>
                </c:pt>
                <c:pt idx="25727">
                  <c:v>0.45883716782593098</c:v>
                </c:pt>
                <c:pt idx="25728">
                  <c:v>0.458855002675227</c:v>
                </c:pt>
                <c:pt idx="25729">
                  <c:v>0.45887283752452201</c:v>
                </c:pt>
                <c:pt idx="25730">
                  <c:v>0.45889067237381798</c:v>
                </c:pt>
                <c:pt idx="25731">
                  <c:v>0.45890850722311299</c:v>
                </c:pt>
                <c:pt idx="25732">
                  <c:v>0.45892634207240901</c:v>
                </c:pt>
                <c:pt idx="25733">
                  <c:v>0.45894417692170503</c:v>
                </c:pt>
                <c:pt idx="25734">
                  <c:v>0.45896201177099999</c:v>
                </c:pt>
                <c:pt idx="25735">
                  <c:v>0.45897984662029601</c:v>
                </c:pt>
                <c:pt idx="25736">
                  <c:v>0.45899768146959102</c:v>
                </c:pt>
                <c:pt idx="25737">
                  <c:v>0.45901551631888698</c:v>
                </c:pt>
                <c:pt idx="25738">
                  <c:v>0.459033351168182</c:v>
                </c:pt>
                <c:pt idx="25739">
                  <c:v>0.45905118601747802</c:v>
                </c:pt>
                <c:pt idx="25740">
                  <c:v>0.45906902086677298</c:v>
                </c:pt>
                <c:pt idx="25741">
                  <c:v>0.459086855716069</c:v>
                </c:pt>
                <c:pt idx="25742">
                  <c:v>0.45910469056536402</c:v>
                </c:pt>
                <c:pt idx="25743">
                  <c:v>0.45912252541465998</c:v>
                </c:pt>
                <c:pt idx="25744">
                  <c:v>0.45914036026395499</c:v>
                </c:pt>
                <c:pt idx="25745">
                  <c:v>0.45915819511325101</c:v>
                </c:pt>
                <c:pt idx="25746">
                  <c:v>0.45917602996254597</c:v>
                </c:pt>
                <c:pt idx="25747">
                  <c:v>0.45919386481184199</c:v>
                </c:pt>
                <c:pt idx="25748">
                  <c:v>0.45921169966113701</c:v>
                </c:pt>
                <c:pt idx="25749">
                  <c:v>0.45922953451043302</c:v>
                </c:pt>
                <c:pt idx="25750">
                  <c:v>0.45924736935972799</c:v>
                </c:pt>
                <c:pt idx="25751">
                  <c:v>0.459265204209024</c:v>
                </c:pt>
                <c:pt idx="25752">
                  <c:v>0.45928303905831902</c:v>
                </c:pt>
                <c:pt idx="25753">
                  <c:v>0.45930087390761498</c:v>
                </c:pt>
                <c:pt idx="25754">
                  <c:v>0.459318708756911</c:v>
                </c:pt>
                <c:pt idx="25755">
                  <c:v>0.45933654360620602</c:v>
                </c:pt>
                <c:pt idx="25756">
                  <c:v>0.45935437845550198</c:v>
                </c:pt>
                <c:pt idx="25757">
                  <c:v>0.45937221330479699</c:v>
                </c:pt>
                <c:pt idx="25758">
                  <c:v>0.45939004815409301</c:v>
                </c:pt>
                <c:pt idx="25759">
                  <c:v>0.45940788300338797</c:v>
                </c:pt>
                <c:pt idx="25760">
                  <c:v>0.45942571785268399</c:v>
                </c:pt>
                <c:pt idx="25761">
                  <c:v>0.45944355270197901</c:v>
                </c:pt>
                <c:pt idx="25762">
                  <c:v>0.45946138755127502</c:v>
                </c:pt>
                <c:pt idx="25763">
                  <c:v>0.45947922240056999</c:v>
                </c:pt>
                <c:pt idx="25764">
                  <c:v>0.459497057249866</c:v>
                </c:pt>
                <c:pt idx="25765">
                  <c:v>0.45951489209916102</c:v>
                </c:pt>
                <c:pt idx="25766">
                  <c:v>0.45953272694845698</c:v>
                </c:pt>
                <c:pt idx="25767">
                  <c:v>0.459550561797752</c:v>
                </c:pt>
                <c:pt idx="25768">
                  <c:v>0.45956839664704802</c:v>
                </c:pt>
                <c:pt idx="25769">
                  <c:v>0.45958623149634298</c:v>
                </c:pt>
                <c:pt idx="25770">
                  <c:v>0.459604066345639</c:v>
                </c:pt>
                <c:pt idx="25771">
                  <c:v>0.45962190119493401</c:v>
                </c:pt>
                <c:pt idx="25772">
                  <c:v>0.45963973604422997</c:v>
                </c:pt>
                <c:pt idx="25773">
                  <c:v>0.45965757089352499</c:v>
                </c:pt>
                <c:pt idx="25774">
                  <c:v>0.45967540574282101</c:v>
                </c:pt>
                <c:pt idx="25775">
                  <c:v>0.45969324059211603</c:v>
                </c:pt>
                <c:pt idx="25776">
                  <c:v>0.45971107544141199</c:v>
                </c:pt>
                <c:pt idx="25777">
                  <c:v>0.459728910290708</c:v>
                </c:pt>
                <c:pt idx="25778">
                  <c:v>0.45974674514000302</c:v>
                </c:pt>
                <c:pt idx="25779">
                  <c:v>0.45976457998929898</c:v>
                </c:pt>
                <c:pt idx="25780">
                  <c:v>0.459782414838594</c:v>
                </c:pt>
                <c:pt idx="25781">
                  <c:v>0.45980024968789002</c:v>
                </c:pt>
                <c:pt idx="25782">
                  <c:v>0.45981808453718498</c:v>
                </c:pt>
                <c:pt idx="25783">
                  <c:v>0.459835919386481</c:v>
                </c:pt>
                <c:pt idx="25784">
                  <c:v>0.45985375423577601</c:v>
                </c:pt>
                <c:pt idx="25785">
                  <c:v>0.45987158908507197</c:v>
                </c:pt>
                <c:pt idx="25786">
                  <c:v>0.45988942393436699</c:v>
                </c:pt>
                <c:pt idx="25787">
                  <c:v>0.45990725878366301</c:v>
                </c:pt>
                <c:pt idx="25788">
                  <c:v>0.45992509363295803</c:v>
                </c:pt>
                <c:pt idx="25789">
                  <c:v>0.45994292848225399</c:v>
                </c:pt>
                <c:pt idx="25790">
                  <c:v>0.45996076333154901</c:v>
                </c:pt>
                <c:pt idx="25791">
                  <c:v>0.45997859818084502</c:v>
                </c:pt>
                <c:pt idx="25792">
                  <c:v>0.45999643303013998</c:v>
                </c:pt>
                <c:pt idx="25793">
                  <c:v>0.460014267879436</c:v>
                </c:pt>
                <c:pt idx="25794">
                  <c:v>0.46003210272873102</c:v>
                </c:pt>
                <c:pt idx="25795">
                  <c:v>0.46004993757802698</c:v>
                </c:pt>
                <c:pt idx="25796">
                  <c:v>0.460067772427323</c:v>
                </c:pt>
                <c:pt idx="25797">
                  <c:v>0.46008560727661801</c:v>
                </c:pt>
                <c:pt idx="25798">
                  <c:v>0.46010344212591398</c:v>
                </c:pt>
                <c:pt idx="25799">
                  <c:v>0.46012127697520899</c:v>
                </c:pt>
                <c:pt idx="25800">
                  <c:v>0.46013911182450501</c:v>
                </c:pt>
                <c:pt idx="25801">
                  <c:v>0.46015694667380003</c:v>
                </c:pt>
                <c:pt idx="25802">
                  <c:v>0.46017478152309599</c:v>
                </c:pt>
                <c:pt idx="25803">
                  <c:v>0.46019261637239101</c:v>
                </c:pt>
                <c:pt idx="25804">
                  <c:v>0.46021045122168702</c:v>
                </c:pt>
                <c:pt idx="25805">
                  <c:v>0.46022828607098198</c:v>
                </c:pt>
                <c:pt idx="25806">
                  <c:v>0.460246120920278</c:v>
                </c:pt>
                <c:pt idx="25807">
                  <c:v>0.46026395576957302</c:v>
                </c:pt>
                <c:pt idx="25808">
                  <c:v>0.46028179061886898</c:v>
                </c:pt>
                <c:pt idx="25809">
                  <c:v>0.460299625468164</c:v>
                </c:pt>
                <c:pt idx="25810">
                  <c:v>0.46031746031746001</c:v>
                </c:pt>
                <c:pt idx="25811">
                  <c:v>0.46033529516675498</c:v>
                </c:pt>
                <c:pt idx="25812">
                  <c:v>0.46035313001605099</c:v>
                </c:pt>
                <c:pt idx="25813">
                  <c:v>0.46037096486534601</c:v>
                </c:pt>
                <c:pt idx="25814">
                  <c:v>0.46038879971464203</c:v>
                </c:pt>
                <c:pt idx="25815">
                  <c:v>0.46040663456393699</c:v>
                </c:pt>
                <c:pt idx="25816">
                  <c:v>0.46042446941323301</c:v>
                </c:pt>
                <c:pt idx="25817">
                  <c:v>0.46044230426252802</c:v>
                </c:pt>
                <c:pt idx="25818">
                  <c:v>0.46046013911182399</c:v>
                </c:pt>
                <c:pt idx="25819">
                  <c:v>0.46047797396112</c:v>
                </c:pt>
                <c:pt idx="25820">
                  <c:v>0.46049580881041502</c:v>
                </c:pt>
                <c:pt idx="25821">
                  <c:v>0.46051364365971098</c:v>
                </c:pt>
                <c:pt idx="25822">
                  <c:v>0.460531478509006</c:v>
                </c:pt>
                <c:pt idx="25823">
                  <c:v>0.46054931335830201</c:v>
                </c:pt>
                <c:pt idx="25824">
                  <c:v>0.46056714820759698</c:v>
                </c:pt>
                <c:pt idx="25825">
                  <c:v>0.46058498305689299</c:v>
                </c:pt>
                <c:pt idx="25826">
                  <c:v>0.46060281790618801</c:v>
                </c:pt>
                <c:pt idx="25827">
                  <c:v>0.46062065275548397</c:v>
                </c:pt>
                <c:pt idx="25828">
                  <c:v>0.46063848760477899</c:v>
                </c:pt>
                <c:pt idx="25829">
                  <c:v>0.46065632245407501</c:v>
                </c:pt>
                <c:pt idx="25830">
                  <c:v>0.46067415730337002</c:v>
                </c:pt>
                <c:pt idx="25831">
                  <c:v>0.46069199215266599</c:v>
                </c:pt>
                <c:pt idx="25832">
                  <c:v>0.460709827001961</c:v>
                </c:pt>
                <c:pt idx="25833">
                  <c:v>0.46072766185125702</c:v>
                </c:pt>
                <c:pt idx="25834">
                  <c:v>0.46074549670055198</c:v>
                </c:pt>
                <c:pt idx="25835">
                  <c:v>0.460763331549848</c:v>
                </c:pt>
                <c:pt idx="25836">
                  <c:v>0.46078116639914302</c:v>
                </c:pt>
                <c:pt idx="25837">
                  <c:v>0.46079900124843898</c:v>
                </c:pt>
                <c:pt idx="25838">
                  <c:v>0.46081683609773499</c:v>
                </c:pt>
                <c:pt idx="25839">
                  <c:v>0.46083467094703001</c:v>
                </c:pt>
                <c:pt idx="25840">
                  <c:v>0.46085250579632597</c:v>
                </c:pt>
                <c:pt idx="25841">
                  <c:v>0.46087034064562099</c:v>
                </c:pt>
                <c:pt idx="25842">
                  <c:v>0.46088817549491701</c:v>
                </c:pt>
                <c:pt idx="25843">
                  <c:v>0.46090601034421202</c:v>
                </c:pt>
                <c:pt idx="25844">
                  <c:v>0.46092384519350799</c:v>
                </c:pt>
                <c:pt idx="25845">
                  <c:v>0.460941680042803</c:v>
                </c:pt>
                <c:pt idx="25846">
                  <c:v>0.46095951489209902</c:v>
                </c:pt>
                <c:pt idx="25847">
                  <c:v>0.46097734974139398</c:v>
                </c:pt>
                <c:pt idx="25848">
                  <c:v>0.46099518459069</c:v>
                </c:pt>
                <c:pt idx="25849">
                  <c:v>0.46101301943998502</c:v>
                </c:pt>
                <c:pt idx="25850">
                  <c:v>0.46103085428928098</c:v>
                </c:pt>
                <c:pt idx="25851">
                  <c:v>0.461048689138576</c:v>
                </c:pt>
                <c:pt idx="25852">
                  <c:v>0.46106652398787201</c:v>
                </c:pt>
                <c:pt idx="25853">
                  <c:v>0.46108435883716697</c:v>
                </c:pt>
                <c:pt idx="25854">
                  <c:v>0.46110219368646299</c:v>
                </c:pt>
                <c:pt idx="25855">
                  <c:v>0.46112002853575801</c:v>
                </c:pt>
                <c:pt idx="25856">
                  <c:v>0.46113786338505403</c:v>
                </c:pt>
                <c:pt idx="25857">
                  <c:v>0.46115569823434899</c:v>
                </c:pt>
                <c:pt idx="25858">
                  <c:v>0.461173533083645</c:v>
                </c:pt>
                <c:pt idx="25859">
                  <c:v>0.46119136793294002</c:v>
                </c:pt>
                <c:pt idx="25860">
                  <c:v>0.46120920278223598</c:v>
                </c:pt>
                <c:pt idx="25861">
                  <c:v>0.461227037631532</c:v>
                </c:pt>
                <c:pt idx="25862">
                  <c:v>0.46124487248082702</c:v>
                </c:pt>
                <c:pt idx="25863">
                  <c:v>0.46126270733012298</c:v>
                </c:pt>
                <c:pt idx="25864">
                  <c:v>0.461280542179418</c:v>
                </c:pt>
                <c:pt idx="25865">
                  <c:v>0.46129837702871401</c:v>
                </c:pt>
                <c:pt idx="25866">
                  <c:v>0.46131621187800897</c:v>
                </c:pt>
                <c:pt idx="25867">
                  <c:v>0.46133404672730499</c:v>
                </c:pt>
                <c:pt idx="25868">
                  <c:v>0.46135188157660001</c:v>
                </c:pt>
                <c:pt idx="25869">
                  <c:v>0.46136971642589603</c:v>
                </c:pt>
                <c:pt idx="25870">
                  <c:v>0.46138755127519099</c:v>
                </c:pt>
                <c:pt idx="25871">
                  <c:v>0.461405386124487</c:v>
                </c:pt>
                <c:pt idx="25872">
                  <c:v>0.46142322097378202</c:v>
                </c:pt>
                <c:pt idx="25873">
                  <c:v>0.46144105582307798</c:v>
                </c:pt>
                <c:pt idx="25874">
                  <c:v>0.461458890672373</c:v>
                </c:pt>
                <c:pt idx="25875">
                  <c:v>0.46147672552166902</c:v>
                </c:pt>
                <c:pt idx="25876">
                  <c:v>0.46149456037096398</c:v>
                </c:pt>
                <c:pt idx="25877">
                  <c:v>0.46151239522026</c:v>
                </c:pt>
                <c:pt idx="25878">
                  <c:v>0.46153023006955501</c:v>
                </c:pt>
                <c:pt idx="25879">
                  <c:v>0.46154806491885098</c:v>
                </c:pt>
                <c:pt idx="25880">
                  <c:v>0.46156589976814599</c:v>
                </c:pt>
                <c:pt idx="25881">
                  <c:v>0.46158373461744201</c:v>
                </c:pt>
                <c:pt idx="25882">
                  <c:v>0.46160156946673803</c:v>
                </c:pt>
                <c:pt idx="25883">
                  <c:v>0.46161940431603299</c:v>
                </c:pt>
                <c:pt idx="25884">
                  <c:v>0.46163723916532901</c:v>
                </c:pt>
                <c:pt idx="25885">
                  <c:v>0.46165507401462402</c:v>
                </c:pt>
                <c:pt idx="25886">
                  <c:v>0.46167290886391998</c:v>
                </c:pt>
                <c:pt idx="25887">
                  <c:v>0.461690743713215</c:v>
                </c:pt>
                <c:pt idx="25888">
                  <c:v>0.46170857856251102</c:v>
                </c:pt>
                <c:pt idx="25889">
                  <c:v>0.46172641341180598</c:v>
                </c:pt>
                <c:pt idx="25890">
                  <c:v>0.461744248261102</c:v>
                </c:pt>
                <c:pt idx="25891">
                  <c:v>0.46176208311039701</c:v>
                </c:pt>
                <c:pt idx="25892">
                  <c:v>0.46177991795969298</c:v>
                </c:pt>
                <c:pt idx="25893">
                  <c:v>0.46179775280898799</c:v>
                </c:pt>
                <c:pt idx="25894">
                  <c:v>0.46181558765828401</c:v>
                </c:pt>
                <c:pt idx="25895">
                  <c:v>0.46183342250757897</c:v>
                </c:pt>
                <c:pt idx="25896">
                  <c:v>0.46185125735687499</c:v>
                </c:pt>
                <c:pt idx="25897">
                  <c:v>0.46186909220617001</c:v>
                </c:pt>
                <c:pt idx="25898">
                  <c:v>0.46188692705546602</c:v>
                </c:pt>
                <c:pt idx="25899">
                  <c:v>0.46190476190476099</c:v>
                </c:pt>
                <c:pt idx="25900">
                  <c:v>0.461922596754057</c:v>
                </c:pt>
                <c:pt idx="25901">
                  <c:v>0.46194043160335202</c:v>
                </c:pt>
                <c:pt idx="25902">
                  <c:v>0.46195826645264798</c:v>
                </c:pt>
                <c:pt idx="25903">
                  <c:v>0.461976101301944</c:v>
                </c:pt>
                <c:pt idx="25904">
                  <c:v>0.46199393615123902</c:v>
                </c:pt>
                <c:pt idx="25905">
                  <c:v>0.46201177100053498</c:v>
                </c:pt>
                <c:pt idx="25906">
                  <c:v>0.46202960584982999</c:v>
                </c:pt>
                <c:pt idx="25907">
                  <c:v>0.46204744069912601</c:v>
                </c:pt>
                <c:pt idx="25908">
                  <c:v>0.46206527554842097</c:v>
                </c:pt>
                <c:pt idx="25909">
                  <c:v>0.46208311039771699</c:v>
                </c:pt>
                <c:pt idx="25910">
                  <c:v>0.46210094524701201</c:v>
                </c:pt>
                <c:pt idx="25911">
                  <c:v>0.46211878009630802</c:v>
                </c:pt>
                <c:pt idx="25912">
                  <c:v>0.46213661494560299</c:v>
                </c:pt>
                <c:pt idx="25913">
                  <c:v>0.462154449794899</c:v>
                </c:pt>
                <c:pt idx="25914">
                  <c:v>0.46217228464419402</c:v>
                </c:pt>
                <c:pt idx="25915">
                  <c:v>0.46219011949348998</c:v>
                </c:pt>
                <c:pt idx="25916">
                  <c:v>0.462207954342785</c:v>
                </c:pt>
                <c:pt idx="25917">
                  <c:v>0.46222578919208102</c:v>
                </c:pt>
                <c:pt idx="25918">
                  <c:v>0.46224362404137598</c:v>
                </c:pt>
                <c:pt idx="25919">
                  <c:v>0.46226145889067199</c:v>
                </c:pt>
                <c:pt idx="25920">
                  <c:v>0.46227929373996701</c:v>
                </c:pt>
                <c:pt idx="25921">
                  <c:v>0.46229712858926297</c:v>
                </c:pt>
                <c:pt idx="25922">
                  <c:v>0.46231496343855799</c:v>
                </c:pt>
                <c:pt idx="25923">
                  <c:v>0.46233279828785401</c:v>
                </c:pt>
                <c:pt idx="25924">
                  <c:v>0.46235063313714903</c:v>
                </c:pt>
                <c:pt idx="25925">
                  <c:v>0.46236846798644499</c:v>
                </c:pt>
                <c:pt idx="25926">
                  <c:v>0.462386302835741</c:v>
                </c:pt>
                <c:pt idx="25927">
                  <c:v>0.46240413768503602</c:v>
                </c:pt>
                <c:pt idx="25928">
                  <c:v>0.46242197253433198</c:v>
                </c:pt>
                <c:pt idx="25929">
                  <c:v>0.462439807383627</c:v>
                </c:pt>
                <c:pt idx="25930">
                  <c:v>0.46245764223292302</c:v>
                </c:pt>
                <c:pt idx="25931">
                  <c:v>0.46247547708221798</c:v>
                </c:pt>
                <c:pt idx="25932">
                  <c:v>0.462493311931514</c:v>
                </c:pt>
                <c:pt idx="25933">
                  <c:v>0.46251114678080901</c:v>
                </c:pt>
                <c:pt idx="25934">
                  <c:v>0.46252898163010497</c:v>
                </c:pt>
                <c:pt idx="25935">
                  <c:v>0.46254681647939999</c:v>
                </c:pt>
                <c:pt idx="25936">
                  <c:v>0.46256465132869601</c:v>
                </c:pt>
                <c:pt idx="25937">
                  <c:v>0.46258248617799103</c:v>
                </c:pt>
                <c:pt idx="25938">
                  <c:v>0.46260032102728699</c:v>
                </c:pt>
                <c:pt idx="25939">
                  <c:v>0.462618155876582</c:v>
                </c:pt>
                <c:pt idx="25940">
                  <c:v>0.46263599072587802</c:v>
                </c:pt>
                <c:pt idx="25941">
                  <c:v>0.46265382557517298</c:v>
                </c:pt>
                <c:pt idx="25942">
                  <c:v>0.462671660424469</c:v>
                </c:pt>
                <c:pt idx="25943">
                  <c:v>0.46268949527376402</c:v>
                </c:pt>
                <c:pt idx="25944">
                  <c:v>0.46270733012305998</c:v>
                </c:pt>
                <c:pt idx="25945">
                  <c:v>0.462725164972356</c:v>
                </c:pt>
                <c:pt idx="25946">
                  <c:v>0.46274299982165101</c:v>
                </c:pt>
                <c:pt idx="25947">
                  <c:v>0.46276083467094697</c:v>
                </c:pt>
                <c:pt idx="25948">
                  <c:v>0.46277866952024199</c:v>
                </c:pt>
                <c:pt idx="25949">
                  <c:v>0.46279650436953801</c:v>
                </c:pt>
                <c:pt idx="25950">
                  <c:v>0.46281433921883303</c:v>
                </c:pt>
                <c:pt idx="25951">
                  <c:v>0.46283217406812899</c:v>
                </c:pt>
                <c:pt idx="25952">
                  <c:v>0.46285000891742401</c:v>
                </c:pt>
                <c:pt idx="25953">
                  <c:v>0.46286784376672002</c:v>
                </c:pt>
                <c:pt idx="25954">
                  <c:v>0.46288567861601498</c:v>
                </c:pt>
                <c:pt idx="25955">
                  <c:v>0.462903513465311</c:v>
                </c:pt>
                <c:pt idx="25956">
                  <c:v>0.46292134831460602</c:v>
                </c:pt>
                <c:pt idx="25957">
                  <c:v>0.46293918316390198</c:v>
                </c:pt>
                <c:pt idx="25958">
                  <c:v>0.462957018013197</c:v>
                </c:pt>
                <c:pt idx="25959">
                  <c:v>0.46297485286249301</c:v>
                </c:pt>
                <c:pt idx="25960">
                  <c:v>0.46299268771178798</c:v>
                </c:pt>
                <c:pt idx="25961">
                  <c:v>0.46301052256108399</c:v>
                </c:pt>
                <c:pt idx="25962">
                  <c:v>0.46302835741037901</c:v>
                </c:pt>
                <c:pt idx="25963">
                  <c:v>0.46304619225967503</c:v>
                </c:pt>
                <c:pt idx="25964">
                  <c:v>0.46306402710896999</c:v>
                </c:pt>
                <c:pt idx="25965">
                  <c:v>0.46308186195826601</c:v>
                </c:pt>
                <c:pt idx="25966">
                  <c:v>0.46309969680756102</c:v>
                </c:pt>
                <c:pt idx="25967">
                  <c:v>0.46311753165685698</c:v>
                </c:pt>
                <c:pt idx="25968">
                  <c:v>0.463135366506153</c:v>
                </c:pt>
                <c:pt idx="25969">
                  <c:v>0.46315320135544802</c:v>
                </c:pt>
                <c:pt idx="25970">
                  <c:v>0.46317103620474398</c:v>
                </c:pt>
                <c:pt idx="25971">
                  <c:v>0.463188871054039</c:v>
                </c:pt>
                <c:pt idx="25972">
                  <c:v>0.46320670590333501</c:v>
                </c:pt>
                <c:pt idx="25973">
                  <c:v>0.46322454075262998</c:v>
                </c:pt>
                <c:pt idx="25974">
                  <c:v>0.46324237560192599</c:v>
                </c:pt>
                <c:pt idx="25975">
                  <c:v>0.46326021045122101</c:v>
                </c:pt>
                <c:pt idx="25976">
                  <c:v>0.46327804530051703</c:v>
                </c:pt>
                <c:pt idx="25977">
                  <c:v>0.46329588014981199</c:v>
                </c:pt>
                <c:pt idx="25978">
                  <c:v>0.46331371499910801</c:v>
                </c:pt>
                <c:pt idx="25979">
                  <c:v>0.46333154984840302</c:v>
                </c:pt>
                <c:pt idx="25980">
                  <c:v>0.46334938469769898</c:v>
                </c:pt>
                <c:pt idx="25981">
                  <c:v>0.463367219546994</c:v>
                </c:pt>
                <c:pt idx="25982">
                  <c:v>0.46338505439629002</c:v>
                </c:pt>
                <c:pt idx="25983">
                  <c:v>0.46340288924558498</c:v>
                </c:pt>
                <c:pt idx="25984">
                  <c:v>0.463420724094881</c:v>
                </c:pt>
                <c:pt idx="25985">
                  <c:v>0.46343855894417602</c:v>
                </c:pt>
                <c:pt idx="25986">
                  <c:v>0.46345639379347198</c:v>
                </c:pt>
                <c:pt idx="25987">
                  <c:v>0.46347422864276799</c:v>
                </c:pt>
                <c:pt idx="25988">
                  <c:v>0.46349206349206301</c:v>
                </c:pt>
                <c:pt idx="25989">
                  <c:v>0.46350989834135897</c:v>
                </c:pt>
                <c:pt idx="25990">
                  <c:v>0.46352773319065399</c:v>
                </c:pt>
                <c:pt idx="25991">
                  <c:v>0.46354556803995001</c:v>
                </c:pt>
                <c:pt idx="25992">
                  <c:v>0.46356340288924502</c:v>
                </c:pt>
                <c:pt idx="25993">
                  <c:v>0.46358123773854099</c:v>
                </c:pt>
                <c:pt idx="25994">
                  <c:v>0.463599072587836</c:v>
                </c:pt>
                <c:pt idx="25995">
                  <c:v>0.46361690743713202</c:v>
                </c:pt>
                <c:pt idx="25996">
                  <c:v>0.46363474228642698</c:v>
                </c:pt>
                <c:pt idx="25997">
                  <c:v>0.463652577135723</c:v>
                </c:pt>
                <c:pt idx="25998">
                  <c:v>0.46367041198501802</c:v>
                </c:pt>
                <c:pt idx="25999">
                  <c:v>0.46368824683431398</c:v>
                </c:pt>
                <c:pt idx="26000">
                  <c:v>0.46370608168360899</c:v>
                </c:pt>
                <c:pt idx="26001">
                  <c:v>0.46372391653290501</c:v>
                </c:pt>
                <c:pt idx="26002">
                  <c:v>0.46374175138219997</c:v>
                </c:pt>
                <c:pt idx="26003">
                  <c:v>0.46375958623149599</c:v>
                </c:pt>
                <c:pt idx="26004">
                  <c:v>0.46377742108079101</c:v>
                </c:pt>
                <c:pt idx="26005">
                  <c:v>0.46379525593008702</c:v>
                </c:pt>
                <c:pt idx="26006">
                  <c:v>0.46381309077938199</c:v>
                </c:pt>
                <c:pt idx="26007">
                  <c:v>0.463830925628678</c:v>
                </c:pt>
                <c:pt idx="26008">
                  <c:v>0.46384876047797302</c:v>
                </c:pt>
                <c:pt idx="26009">
                  <c:v>0.46386659532726898</c:v>
                </c:pt>
                <c:pt idx="26010">
                  <c:v>0.463884430176565</c:v>
                </c:pt>
                <c:pt idx="26011">
                  <c:v>0.46390226502586002</c:v>
                </c:pt>
                <c:pt idx="26012">
                  <c:v>0.46392009987515598</c:v>
                </c:pt>
                <c:pt idx="26013">
                  <c:v>0.463937934724451</c:v>
                </c:pt>
                <c:pt idx="26014">
                  <c:v>0.46395576957374701</c:v>
                </c:pt>
                <c:pt idx="26015">
                  <c:v>0.46397360442304197</c:v>
                </c:pt>
                <c:pt idx="26016">
                  <c:v>0.46399143927233799</c:v>
                </c:pt>
                <c:pt idx="26017">
                  <c:v>0.46400927412163301</c:v>
                </c:pt>
                <c:pt idx="26018">
                  <c:v>0.46402710897092903</c:v>
                </c:pt>
                <c:pt idx="26019">
                  <c:v>0.46404494382022399</c:v>
                </c:pt>
                <c:pt idx="26020">
                  <c:v>0.46406277866952</c:v>
                </c:pt>
                <c:pt idx="26021">
                  <c:v>0.46408061351881502</c:v>
                </c:pt>
                <c:pt idx="26022">
                  <c:v>0.46409844836811098</c:v>
                </c:pt>
                <c:pt idx="26023">
                  <c:v>0.464116283217406</c:v>
                </c:pt>
                <c:pt idx="26024">
                  <c:v>0.46413411806670202</c:v>
                </c:pt>
                <c:pt idx="26025">
                  <c:v>0.46415195291599698</c:v>
                </c:pt>
                <c:pt idx="26026">
                  <c:v>0.464169787765293</c:v>
                </c:pt>
                <c:pt idx="26027">
                  <c:v>0.46418762261458801</c:v>
                </c:pt>
                <c:pt idx="26028">
                  <c:v>0.46420545746388397</c:v>
                </c:pt>
                <c:pt idx="26029">
                  <c:v>0.46422329231317899</c:v>
                </c:pt>
                <c:pt idx="26030">
                  <c:v>0.46424112716247501</c:v>
                </c:pt>
                <c:pt idx="26031">
                  <c:v>0.46425896201177103</c:v>
                </c:pt>
                <c:pt idx="26032">
                  <c:v>0.46427679686106599</c:v>
                </c:pt>
                <c:pt idx="26033">
                  <c:v>0.464294631710362</c:v>
                </c:pt>
                <c:pt idx="26034">
                  <c:v>0.46431246655965702</c:v>
                </c:pt>
                <c:pt idx="26035">
                  <c:v>0.46433030140895298</c:v>
                </c:pt>
                <c:pt idx="26036">
                  <c:v>0.464348136258248</c:v>
                </c:pt>
                <c:pt idx="26037">
                  <c:v>0.46436597110754402</c:v>
                </c:pt>
                <c:pt idx="26038">
                  <c:v>0.46438380595683898</c:v>
                </c:pt>
                <c:pt idx="26039">
                  <c:v>0.464401640806135</c:v>
                </c:pt>
                <c:pt idx="26040">
                  <c:v>0.46441947565543001</c:v>
                </c:pt>
                <c:pt idx="26041">
                  <c:v>0.46443731050472598</c:v>
                </c:pt>
                <c:pt idx="26042">
                  <c:v>0.46445514535402099</c:v>
                </c:pt>
                <c:pt idx="26043">
                  <c:v>0.46447298020331701</c:v>
                </c:pt>
                <c:pt idx="26044">
                  <c:v>0.46449081505261203</c:v>
                </c:pt>
                <c:pt idx="26045">
                  <c:v>0.46450864990190799</c:v>
                </c:pt>
                <c:pt idx="26046">
                  <c:v>0.46452648475120301</c:v>
                </c:pt>
                <c:pt idx="26047">
                  <c:v>0.46454431960049902</c:v>
                </c:pt>
                <c:pt idx="26048">
                  <c:v>0.46456215444979398</c:v>
                </c:pt>
                <c:pt idx="26049">
                  <c:v>0.46457998929909</c:v>
                </c:pt>
                <c:pt idx="26050">
                  <c:v>0.46459782414838502</c:v>
                </c:pt>
                <c:pt idx="26051">
                  <c:v>0.46461565899768098</c:v>
                </c:pt>
                <c:pt idx="26052">
                  <c:v>0.464633493846977</c:v>
                </c:pt>
                <c:pt idx="26053">
                  <c:v>0.46465132869627201</c:v>
                </c:pt>
                <c:pt idx="26054">
                  <c:v>0.46466916354556798</c:v>
                </c:pt>
                <c:pt idx="26055">
                  <c:v>0.46468699839486299</c:v>
                </c:pt>
                <c:pt idx="26056">
                  <c:v>0.46470483324415901</c:v>
                </c:pt>
                <c:pt idx="26057">
                  <c:v>0.46472266809345403</c:v>
                </c:pt>
                <c:pt idx="26058">
                  <c:v>0.46474050294274999</c:v>
                </c:pt>
                <c:pt idx="26059">
                  <c:v>0.46475833779204501</c:v>
                </c:pt>
                <c:pt idx="26060">
                  <c:v>0.46477617264134102</c:v>
                </c:pt>
                <c:pt idx="26061">
                  <c:v>0.46479400749063599</c:v>
                </c:pt>
                <c:pt idx="26062">
                  <c:v>0.464811842339932</c:v>
                </c:pt>
                <c:pt idx="26063">
                  <c:v>0.46482967718922702</c:v>
                </c:pt>
                <c:pt idx="26064">
                  <c:v>0.46484751203852298</c:v>
                </c:pt>
                <c:pt idx="26065">
                  <c:v>0.464865346887818</c:v>
                </c:pt>
                <c:pt idx="26066">
                  <c:v>0.46488318173711402</c:v>
                </c:pt>
                <c:pt idx="26067">
                  <c:v>0.46490101658640898</c:v>
                </c:pt>
                <c:pt idx="26068">
                  <c:v>0.46491885143570499</c:v>
                </c:pt>
                <c:pt idx="26069">
                  <c:v>0.46493668628500001</c:v>
                </c:pt>
                <c:pt idx="26070">
                  <c:v>0.46495452113429597</c:v>
                </c:pt>
                <c:pt idx="26071">
                  <c:v>0.46497235598359099</c:v>
                </c:pt>
                <c:pt idx="26072">
                  <c:v>0.46499019083288701</c:v>
                </c:pt>
                <c:pt idx="26073">
                  <c:v>0.46500802568218202</c:v>
                </c:pt>
                <c:pt idx="26074">
                  <c:v>0.46502586053147799</c:v>
                </c:pt>
                <c:pt idx="26075">
                  <c:v>0.465043695380774</c:v>
                </c:pt>
                <c:pt idx="26076">
                  <c:v>0.46506153023006902</c:v>
                </c:pt>
                <c:pt idx="26077">
                  <c:v>0.46507936507936498</c:v>
                </c:pt>
                <c:pt idx="26078">
                  <c:v>0.46509719992866</c:v>
                </c:pt>
                <c:pt idx="26079">
                  <c:v>0.46511503477795602</c:v>
                </c:pt>
                <c:pt idx="26080">
                  <c:v>0.46513286962725098</c:v>
                </c:pt>
                <c:pt idx="26081">
                  <c:v>0.46515070447654699</c:v>
                </c:pt>
                <c:pt idx="26082">
                  <c:v>0.46516853932584201</c:v>
                </c:pt>
                <c:pt idx="26083">
                  <c:v>0.46518637417513797</c:v>
                </c:pt>
                <c:pt idx="26084">
                  <c:v>0.46520420902443299</c:v>
                </c:pt>
                <c:pt idx="26085">
                  <c:v>0.46522204387372901</c:v>
                </c:pt>
                <c:pt idx="26086">
                  <c:v>0.46523987872302403</c:v>
                </c:pt>
                <c:pt idx="26087">
                  <c:v>0.46525771357231999</c:v>
                </c:pt>
                <c:pt idx="26088">
                  <c:v>0.465275548421615</c:v>
                </c:pt>
                <c:pt idx="26089">
                  <c:v>0.46529338327091102</c:v>
                </c:pt>
                <c:pt idx="26090">
                  <c:v>0.46531121812020598</c:v>
                </c:pt>
                <c:pt idx="26091">
                  <c:v>0.465329052969502</c:v>
                </c:pt>
                <c:pt idx="26092">
                  <c:v>0.46534688781879702</c:v>
                </c:pt>
                <c:pt idx="26093">
                  <c:v>0.46536472266809298</c:v>
                </c:pt>
                <c:pt idx="26094">
                  <c:v>0.465382557517389</c:v>
                </c:pt>
                <c:pt idx="26095">
                  <c:v>0.46540039236668401</c:v>
                </c:pt>
                <c:pt idx="26096">
                  <c:v>0.46541822721597997</c:v>
                </c:pt>
                <c:pt idx="26097">
                  <c:v>0.46543606206527499</c:v>
                </c:pt>
                <c:pt idx="26098">
                  <c:v>0.46545389691457101</c:v>
                </c:pt>
                <c:pt idx="26099">
                  <c:v>0.46547173176386603</c:v>
                </c:pt>
                <c:pt idx="26100">
                  <c:v>0.46548956661316199</c:v>
                </c:pt>
                <c:pt idx="26101">
                  <c:v>0.465507401462457</c:v>
                </c:pt>
                <c:pt idx="26102">
                  <c:v>0.46552523631175302</c:v>
                </c:pt>
                <c:pt idx="26103">
                  <c:v>0.46554307116104798</c:v>
                </c:pt>
                <c:pt idx="26104">
                  <c:v>0.465560906010344</c:v>
                </c:pt>
                <c:pt idx="26105">
                  <c:v>0.46557874085963902</c:v>
                </c:pt>
                <c:pt idx="26106">
                  <c:v>0.46559657570893498</c:v>
                </c:pt>
                <c:pt idx="26107">
                  <c:v>0.46561441055823</c:v>
                </c:pt>
                <c:pt idx="26108">
                  <c:v>0.46563224540752601</c:v>
                </c:pt>
                <c:pt idx="26109">
                  <c:v>0.46565008025682098</c:v>
                </c:pt>
                <c:pt idx="26110">
                  <c:v>0.46566791510611699</c:v>
                </c:pt>
                <c:pt idx="26111">
                  <c:v>0.46568574995541201</c:v>
                </c:pt>
                <c:pt idx="26112">
                  <c:v>0.46570358480470803</c:v>
                </c:pt>
                <c:pt idx="26113">
                  <c:v>0.46572141965400299</c:v>
                </c:pt>
                <c:pt idx="26114">
                  <c:v>0.465739254503299</c:v>
                </c:pt>
                <c:pt idx="26115">
                  <c:v>0.46575708935259402</c:v>
                </c:pt>
                <c:pt idx="26116">
                  <c:v>0.46577492420188998</c:v>
                </c:pt>
                <c:pt idx="26117">
                  <c:v>0.465792759051186</c:v>
                </c:pt>
                <c:pt idx="26118">
                  <c:v>0.46581059390048102</c:v>
                </c:pt>
                <c:pt idx="26119">
                  <c:v>0.46582842874977698</c:v>
                </c:pt>
                <c:pt idx="26120">
                  <c:v>0.465846263599072</c:v>
                </c:pt>
                <c:pt idx="26121">
                  <c:v>0.46586409844836801</c:v>
                </c:pt>
                <c:pt idx="26122">
                  <c:v>0.46588193329766298</c:v>
                </c:pt>
                <c:pt idx="26123">
                  <c:v>0.46589976814695899</c:v>
                </c:pt>
                <c:pt idx="26124">
                  <c:v>0.46591760299625401</c:v>
                </c:pt>
                <c:pt idx="26125">
                  <c:v>0.46593543784555003</c:v>
                </c:pt>
                <c:pt idx="26126">
                  <c:v>0.46595327269484499</c:v>
                </c:pt>
                <c:pt idx="26127">
                  <c:v>0.46597110754414101</c:v>
                </c:pt>
                <c:pt idx="26128">
                  <c:v>0.46598894239343602</c:v>
                </c:pt>
                <c:pt idx="26129">
                  <c:v>0.46600677724273198</c:v>
                </c:pt>
                <c:pt idx="26130">
                  <c:v>0.466024612092027</c:v>
                </c:pt>
                <c:pt idx="26131">
                  <c:v>0.46604244694132302</c:v>
                </c:pt>
                <c:pt idx="26132">
                  <c:v>0.46606028179061798</c:v>
                </c:pt>
                <c:pt idx="26133">
                  <c:v>0.466078116639914</c:v>
                </c:pt>
                <c:pt idx="26134">
                  <c:v>0.46609595148920901</c:v>
                </c:pt>
                <c:pt idx="26135">
                  <c:v>0.46611378633850498</c:v>
                </c:pt>
                <c:pt idx="26136">
                  <c:v>0.46613162118779999</c:v>
                </c:pt>
                <c:pt idx="26137">
                  <c:v>0.46614945603709601</c:v>
                </c:pt>
                <c:pt idx="26138">
                  <c:v>0.46616729088639203</c:v>
                </c:pt>
                <c:pt idx="26139">
                  <c:v>0.46618512573568699</c:v>
                </c:pt>
                <c:pt idx="26140">
                  <c:v>0.46620296058498301</c:v>
                </c:pt>
                <c:pt idx="26141">
                  <c:v>0.46622079543427802</c:v>
                </c:pt>
                <c:pt idx="26142">
                  <c:v>0.46623863028357398</c:v>
                </c:pt>
                <c:pt idx="26143">
                  <c:v>0.466256465132869</c:v>
                </c:pt>
                <c:pt idx="26144">
                  <c:v>0.46627429998216502</c:v>
                </c:pt>
                <c:pt idx="26145">
                  <c:v>0.46629213483145998</c:v>
                </c:pt>
                <c:pt idx="26146">
                  <c:v>0.466309969680756</c:v>
                </c:pt>
                <c:pt idx="26147">
                  <c:v>0.46632780453005102</c:v>
                </c:pt>
                <c:pt idx="26148">
                  <c:v>0.46634563937934698</c:v>
                </c:pt>
                <c:pt idx="26149">
                  <c:v>0.46636347422864199</c:v>
                </c:pt>
                <c:pt idx="26150">
                  <c:v>0.46638130907793801</c:v>
                </c:pt>
                <c:pt idx="26151">
                  <c:v>0.46639914392723297</c:v>
                </c:pt>
                <c:pt idx="26152">
                  <c:v>0.46641697877652899</c:v>
                </c:pt>
                <c:pt idx="26153">
                  <c:v>0.46643481362582401</c:v>
                </c:pt>
                <c:pt idx="26154">
                  <c:v>0.46645264847512002</c:v>
                </c:pt>
                <c:pt idx="26155">
                  <c:v>0.46647048332441499</c:v>
                </c:pt>
                <c:pt idx="26156">
                  <c:v>0.466488318173711</c:v>
                </c:pt>
                <c:pt idx="26157">
                  <c:v>0.46650615302300602</c:v>
                </c:pt>
                <c:pt idx="26158">
                  <c:v>0.46652398787230198</c:v>
                </c:pt>
                <c:pt idx="26159">
                  <c:v>0.466541822721598</c:v>
                </c:pt>
                <c:pt idx="26160">
                  <c:v>0.46655965757089302</c:v>
                </c:pt>
                <c:pt idx="26161">
                  <c:v>0.46657749242018898</c:v>
                </c:pt>
                <c:pt idx="26162">
                  <c:v>0.46659532726948399</c:v>
                </c:pt>
                <c:pt idx="26163">
                  <c:v>0.46661316211878001</c:v>
                </c:pt>
                <c:pt idx="26164">
                  <c:v>0.46663099696807497</c:v>
                </c:pt>
                <c:pt idx="26165">
                  <c:v>0.46664883181737099</c:v>
                </c:pt>
                <c:pt idx="26166">
                  <c:v>0.46666666666666601</c:v>
                </c:pt>
                <c:pt idx="26167">
                  <c:v>0.46668450151596202</c:v>
                </c:pt>
                <c:pt idx="26168">
                  <c:v>0.46670233636525699</c:v>
                </c:pt>
                <c:pt idx="26169">
                  <c:v>0.466720171214553</c:v>
                </c:pt>
                <c:pt idx="26170">
                  <c:v>0.46673800606384802</c:v>
                </c:pt>
                <c:pt idx="26171">
                  <c:v>0.46675584091314398</c:v>
                </c:pt>
                <c:pt idx="26172">
                  <c:v>0.466773675762439</c:v>
                </c:pt>
                <c:pt idx="26173">
                  <c:v>0.46679151061173502</c:v>
                </c:pt>
                <c:pt idx="26174">
                  <c:v>0.46680934546102998</c:v>
                </c:pt>
                <c:pt idx="26175">
                  <c:v>0.466827180310326</c:v>
                </c:pt>
                <c:pt idx="26176">
                  <c:v>0.46684501515962101</c:v>
                </c:pt>
                <c:pt idx="26177">
                  <c:v>0.46686285000891697</c:v>
                </c:pt>
                <c:pt idx="26178">
                  <c:v>0.46688068485821199</c:v>
                </c:pt>
                <c:pt idx="26179">
                  <c:v>0.46689851970750801</c:v>
                </c:pt>
                <c:pt idx="26180">
                  <c:v>0.46691635455680303</c:v>
                </c:pt>
                <c:pt idx="26181">
                  <c:v>0.46693418940609899</c:v>
                </c:pt>
                <c:pt idx="26182">
                  <c:v>0.466952024255395</c:v>
                </c:pt>
                <c:pt idx="26183">
                  <c:v>0.46696985910469002</c:v>
                </c:pt>
                <c:pt idx="26184">
                  <c:v>0.46698769395398598</c:v>
                </c:pt>
                <c:pt idx="26185">
                  <c:v>0.467005528803281</c:v>
                </c:pt>
                <c:pt idx="26186">
                  <c:v>0.46702336365257702</c:v>
                </c:pt>
                <c:pt idx="26187">
                  <c:v>0.46704119850187198</c:v>
                </c:pt>
                <c:pt idx="26188">
                  <c:v>0.467059033351168</c:v>
                </c:pt>
                <c:pt idx="26189">
                  <c:v>0.46707686820046301</c:v>
                </c:pt>
                <c:pt idx="26190">
                  <c:v>0.46709470304975897</c:v>
                </c:pt>
                <c:pt idx="26191">
                  <c:v>0.46711253789905399</c:v>
                </c:pt>
                <c:pt idx="26192">
                  <c:v>0.46713037274835001</c:v>
                </c:pt>
                <c:pt idx="26193">
                  <c:v>0.46714820759764503</c:v>
                </c:pt>
                <c:pt idx="26194">
                  <c:v>0.46716604244694099</c:v>
                </c:pt>
                <c:pt idx="26195">
                  <c:v>0.46718387729623601</c:v>
                </c:pt>
                <c:pt idx="26196">
                  <c:v>0.46720171214553202</c:v>
                </c:pt>
                <c:pt idx="26197">
                  <c:v>0.46721954699482698</c:v>
                </c:pt>
                <c:pt idx="26198">
                  <c:v>0.467237381844123</c:v>
                </c:pt>
                <c:pt idx="26199">
                  <c:v>0.46725521669341802</c:v>
                </c:pt>
                <c:pt idx="26200">
                  <c:v>0.46727305154271398</c:v>
                </c:pt>
                <c:pt idx="26201">
                  <c:v>0.46729088639201</c:v>
                </c:pt>
                <c:pt idx="26202">
                  <c:v>0.46730872124130501</c:v>
                </c:pt>
                <c:pt idx="26203">
                  <c:v>0.46732655609060098</c:v>
                </c:pt>
                <c:pt idx="26204">
                  <c:v>0.46734439093989599</c:v>
                </c:pt>
                <c:pt idx="26205">
                  <c:v>0.46736222578919201</c:v>
                </c:pt>
                <c:pt idx="26206">
                  <c:v>0.46738006063848703</c:v>
                </c:pt>
                <c:pt idx="26207">
                  <c:v>0.46739789548778299</c:v>
                </c:pt>
                <c:pt idx="26208">
                  <c:v>0.46741573033707801</c:v>
                </c:pt>
                <c:pt idx="26209">
                  <c:v>0.46743356518637402</c:v>
                </c:pt>
                <c:pt idx="26210">
                  <c:v>0.46745140003566898</c:v>
                </c:pt>
                <c:pt idx="26211">
                  <c:v>0.467469234884965</c:v>
                </c:pt>
                <c:pt idx="26212">
                  <c:v>0.46748706973426002</c:v>
                </c:pt>
                <c:pt idx="26213">
                  <c:v>0.46750490458355598</c:v>
                </c:pt>
                <c:pt idx="26214">
                  <c:v>0.467522739432851</c:v>
                </c:pt>
                <c:pt idx="26215">
                  <c:v>0.46754057428214701</c:v>
                </c:pt>
                <c:pt idx="26216">
                  <c:v>0.46755840913144198</c:v>
                </c:pt>
                <c:pt idx="26217">
                  <c:v>0.46757624398073799</c:v>
                </c:pt>
                <c:pt idx="26218">
                  <c:v>0.46759407883003301</c:v>
                </c:pt>
                <c:pt idx="26219">
                  <c:v>0.46761191367932903</c:v>
                </c:pt>
                <c:pt idx="26220">
                  <c:v>0.46762974852862399</c:v>
                </c:pt>
                <c:pt idx="26221">
                  <c:v>0.46764758337792001</c:v>
                </c:pt>
                <c:pt idx="26222">
                  <c:v>0.46766541822721502</c:v>
                </c:pt>
                <c:pt idx="26223">
                  <c:v>0.46768325307651099</c:v>
                </c:pt>
                <c:pt idx="26224">
                  <c:v>0.467701087925807</c:v>
                </c:pt>
                <c:pt idx="26225">
                  <c:v>0.46771892277510202</c:v>
                </c:pt>
                <c:pt idx="26226">
                  <c:v>0.46773675762439798</c:v>
                </c:pt>
                <c:pt idx="26227">
                  <c:v>0.467754592473693</c:v>
                </c:pt>
                <c:pt idx="26228">
                  <c:v>0.46777242732298902</c:v>
                </c:pt>
                <c:pt idx="26229">
                  <c:v>0.46779026217228398</c:v>
                </c:pt>
                <c:pt idx="26230">
                  <c:v>0.46780809702157999</c:v>
                </c:pt>
                <c:pt idx="26231">
                  <c:v>0.46782593187087501</c:v>
                </c:pt>
                <c:pt idx="26232">
                  <c:v>0.46784376672017097</c:v>
                </c:pt>
                <c:pt idx="26233">
                  <c:v>0.46786160156946599</c:v>
                </c:pt>
                <c:pt idx="26234">
                  <c:v>0.46787943641876201</c:v>
                </c:pt>
                <c:pt idx="26235">
                  <c:v>0.46789727126805702</c:v>
                </c:pt>
                <c:pt idx="26236">
                  <c:v>0.46791510611735299</c:v>
                </c:pt>
                <c:pt idx="26237">
                  <c:v>0.467932940966648</c:v>
                </c:pt>
                <c:pt idx="26238">
                  <c:v>0.46795077581594402</c:v>
                </c:pt>
                <c:pt idx="26239">
                  <c:v>0.46796861066523898</c:v>
                </c:pt>
                <c:pt idx="26240">
                  <c:v>0.467986445514535</c:v>
                </c:pt>
                <c:pt idx="26241">
                  <c:v>0.46800428036383002</c:v>
                </c:pt>
                <c:pt idx="26242">
                  <c:v>0.46802211521312598</c:v>
                </c:pt>
                <c:pt idx="26243">
                  <c:v>0.46803995006242199</c:v>
                </c:pt>
                <c:pt idx="26244">
                  <c:v>0.46805778491171701</c:v>
                </c:pt>
                <c:pt idx="26245">
                  <c:v>0.46807561976101297</c:v>
                </c:pt>
                <c:pt idx="26246">
                  <c:v>0.46809345461030799</c:v>
                </c:pt>
                <c:pt idx="26247">
                  <c:v>0.46811128945960401</c:v>
                </c:pt>
                <c:pt idx="26248">
                  <c:v>0.46812912430889903</c:v>
                </c:pt>
                <c:pt idx="26249">
                  <c:v>0.46814695915819499</c:v>
                </c:pt>
                <c:pt idx="26250">
                  <c:v>0.46816479400749</c:v>
                </c:pt>
                <c:pt idx="26251">
                  <c:v>0.46818262885678602</c:v>
                </c:pt>
                <c:pt idx="26252">
                  <c:v>0.46820046370608098</c:v>
                </c:pt>
                <c:pt idx="26253">
                  <c:v>0.468218298555377</c:v>
                </c:pt>
                <c:pt idx="26254">
                  <c:v>0.46823613340467202</c:v>
                </c:pt>
                <c:pt idx="26255">
                  <c:v>0.46825396825396798</c:v>
                </c:pt>
                <c:pt idx="26256">
                  <c:v>0.468271803103263</c:v>
                </c:pt>
                <c:pt idx="26257">
                  <c:v>0.46828963795255901</c:v>
                </c:pt>
                <c:pt idx="26258">
                  <c:v>0.46830747280185397</c:v>
                </c:pt>
                <c:pt idx="26259">
                  <c:v>0.46832530765114999</c:v>
                </c:pt>
                <c:pt idx="26260">
                  <c:v>0.46834314250044501</c:v>
                </c:pt>
                <c:pt idx="26261">
                  <c:v>0.46836097734974103</c:v>
                </c:pt>
                <c:pt idx="26262">
                  <c:v>0.46837881219903599</c:v>
                </c:pt>
                <c:pt idx="26263">
                  <c:v>0.468396647048332</c:v>
                </c:pt>
                <c:pt idx="26264">
                  <c:v>0.46841448189762702</c:v>
                </c:pt>
                <c:pt idx="26265">
                  <c:v>0.46843231674692298</c:v>
                </c:pt>
                <c:pt idx="26266">
                  <c:v>0.468450151596219</c:v>
                </c:pt>
                <c:pt idx="26267">
                  <c:v>0.46846798644551402</c:v>
                </c:pt>
                <c:pt idx="26268">
                  <c:v>0.46848582129480998</c:v>
                </c:pt>
                <c:pt idx="26269">
                  <c:v>0.468503656144105</c:v>
                </c:pt>
                <c:pt idx="26270">
                  <c:v>0.46852149099340101</c:v>
                </c:pt>
                <c:pt idx="26271">
                  <c:v>0.46853932584269598</c:v>
                </c:pt>
                <c:pt idx="26272">
                  <c:v>0.46855716069199199</c:v>
                </c:pt>
                <c:pt idx="26273">
                  <c:v>0.46857499554128701</c:v>
                </c:pt>
                <c:pt idx="26274">
                  <c:v>0.46859283039058303</c:v>
                </c:pt>
                <c:pt idx="26275">
                  <c:v>0.46861066523987799</c:v>
                </c:pt>
                <c:pt idx="26276">
                  <c:v>0.468628500089174</c:v>
                </c:pt>
                <c:pt idx="26277">
                  <c:v>0.46864633493846902</c:v>
                </c:pt>
                <c:pt idx="26278">
                  <c:v>0.46866416978776498</c:v>
                </c:pt>
                <c:pt idx="26279">
                  <c:v>0.46868200463706</c:v>
                </c:pt>
                <c:pt idx="26280">
                  <c:v>0.46869983948635602</c:v>
                </c:pt>
                <c:pt idx="26281">
                  <c:v>0.46871767433565098</c:v>
                </c:pt>
                <c:pt idx="26282">
                  <c:v>0.468735509184947</c:v>
                </c:pt>
                <c:pt idx="26283">
                  <c:v>0.46875334403424201</c:v>
                </c:pt>
                <c:pt idx="26284">
                  <c:v>0.46877117888353798</c:v>
                </c:pt>
                <c:pt idx="26285">
                  <c:v>0.46878901373283299</c:v>
                </c:pt>
                <c:pt idx="26286">
                  <c:v>0.46880684858212901</c:v>
                </c:pt>
                <c:pt idx="26287">
                  <c:v>0.46882468343142503</c:v>
                </c:pt>
                <c:pt idx="26288">
                  <c:v>0.46884251828071999</c:v>
                </c:pt>
                <c:pt idx="26289">
                  <c:v>0.46886035313001601</c:v>
                </c:pt>
                <c:pt idx="26290">
                  <c:v>0.46887818797931102</c:v>
                </c:pt>
                <c:pt idx="26291">
                  <c:v>0.46889602282860698</c:v>
                </c:pt>
                <c:pt idx="26292">
                  <c:v>0.468913857677902</c:v>
                </c:pt>
                <c:pt idx="26293">
                  <c:v>0.46893169252719802</c:v>
                </c:pt>
                <c:pt idx="26294">
                  <c:v>0.46894952737649298</c:v>
                </c:pt>
                <c:pt idx="26295">
                  <c:v>0.468967362225789</c:v>
                </c:pt>
                <c:pt idx="26296">
                  <c:v>0.46898519707508401</c:v>
                </c:pt>
                <c:pt idx="26297">
                  <c:v>0.46900303192437998</c:v>
                </c:pt>
                <c:pt idx="26298">
                  <c:v>0.46902086677367499</c:v>
                </c:pt>
                <c:pt idx="26299">
                  <c:v>0.46903870162297101</c:v>
                </c:pt>
                <c:pt idx="26300">
                  <c:v>0.46905653647226597</c:v>
                </c:pt>
                <c:pt idx="26301">
                  <c:v>0.46907437132156199</c:v>
                </c:pt>
                <c:pt idx="26302">
                  <c:v>0.46909220617085701</c:v>
                </c:pt>
                <c:pt idx="26303">
                  <c:v>0.46911004102015302</c:v>
                </c:pt>
                <c:pt idx="26304">
                  <c:v>0.46912787586944799</c:v>
                </c:pt>
                <c:pt idx="26305">
                  <c:v>0.469145710718744</c:v>
                </c:pt>
                <c:pt idx="26306">
                  <c:v>0.46916354556803902</c:v>
                </c:pt>
                <c:pt idx="26307">
                  <c:v>0.46918138041733498</c:v>
                </c:pt>
                <c:pt idx="26308">
                  <c:v>0.469199215266631</c:v>
                </c:pt>
                <c:pt idx="26309">
                  <c:v>0.46921705011592602</c:v>
                </c:pt>
                <c:pt idx="26310">
                  <c:v>0.46923488496522198</c:v>
                </c:pt>
                <c:pt idx="26311">
                  <c:v>0.46925271981451699</c:v>
                </c:pt>
                <c:pt idx="26312">
                  <c:v>0.46927055466381301</c:v>
                </c:pt>
                <c:pt idx="26313">
                  <c:v>0.46928838951310797</c:v>
                </c:pt>
                <c:pt idx="26314">
                  <c:v>0.46930622436240399</c:v>
                </c:pt>
                <c:pt idx="26315">
                  <c:v>0.46932405921169901</c:v>
                </c:pt>
                <c:pt idx="26316">
                  <c:v>0.46934189406099502</c:v>
                </c:pt>
                <c:pt idx="26317">
                  <c:v>0.46935972891028999</c:v>
                </c:pt>
                <c:pt idx="26318">
                  <c:v>0.469377563759586</c:v>
                </c:pt>
                <c:pt idx="26319">
                  <c:v>0.46939539860888102</c:v>
                </c:pt>
                <c:pt idx="26320">
                  <c:v>0.46941323345817698</c:v>
                </c:pt>
                <c:pt idx="26321">
                  <c:v>0.469431068307472</c:v>
                </c:pt>
                <c:pt idx="26322">
                  <c:v>0.46944890315676802</c:v>
                </c:pt>
                <c:pt idx="26323">
                  <c:v>0.46946673800606298</c:v>
                </c:pt>
                <c:pt idx="26324">
                  <c:v>0.46948457285535899</c:v>
                </c:pt>
                <c:pt idx="26325">
                  <c:v>0.46950240770465401</c:v>
                </c:pt>
                <c:pt idx="26326">
                  <c:v>0.46952024255394997</c:v>
                </c:pt>
                <c:pt idx="26327">
                  <c:v>0.46953807740324499</c:v>
                </c:pt>
                <c:pt idx="26328">
                  <c:v>0.46955591225254101</c:v>
                </c:pt>
                <c:pt idx="26329">
                  <c:v>0.46957374710183603</c:v>
                </c:pt>
                <c:pt idx="26330">
                  <c:v>0.46959158195113199</c:v>
                </c:pt>
                <c:pt idx="26331">
                  <c:v>0.469609416800428</c:v>
                </c:pt>
                <c:pt idx="26332">
                  <c:v>0.46962725164972302</c:v>
                </c:pt>
                <c:pt idx="26333">
                  <c:v>0.46964508649901898</c:v>
                </c:pt>
                <c:pt idx="26334">
                  <c:v>0.469662921348314</c:v>
                </c:pt>
                <c:pt idx="26335">
                  <c:v>0.46968075619761002</c:v>
                </c:pt>
                <c:pt idx="26336">
                  <c:v>0.46969859104690498</c:v>
                </c:pt>
                <c:pt idx="26337">
                  <c:v>0.469716425896201</c:v>
                </c:pt>
                <c:pt idx="26338">
                  <c:v>0.46973426074549601</c:v>
                </c:pt>
                <c:pt idx="26339">
                  <c:v>0.46975209559479197</c:v>
                </c:pt>
                <c:pt idx="26340">
                  <c:v>0.46976993044408699</c:v>
                </c:pt>
                <c:pt idx="26341">
                  <c:v>0.46978776529338301</c:v>
                </c:pt>
                <c:pt idx="26342">
                  <c:v>0.46980560014267803</c:v>
                </c:pt>
                <c:pt idx="26343">
                  <c:v>0.46982343499197399</c:v>
                </c:pt>
                <c:pt idx="26344">
                  <c:v>0.469841269841269</c:v>
                </c:pt>
                <c:pt idx="26345">
                  <c:v>0.46985910469056502</c:v>
                </c:pt>
                <c:pt idx="26346">
                  <c:v>0.46987693953985998</c:v>
                </c:pt>
                <c:pt idx="26347">
                  <c:v>0.469894774389156</c:v>
                </c:pt>
                <c:pt idx="26348">
                  <c:v>0.46991260923845102</c:v>
                </c:pt>
                <c:pt idx="26349">
                  <c:v>0.46993044408774698</c:v>
                </c:pt>
                <c:pt idx="26350">
                  <c:v>0.469948278937043</c:v>
                </c:pt>
                <c:pt idx="26351">
                  <c:v>0.46996611378633801</c:v>
                </c:pt>
                <c:pt idx="26352">
                  <c:v>0.46998394863563397</c:v>
                </c:pt>
                <c:pt idx="26353">
                  <c:v>0.47000178348492899</c:v>
                </c:pt>
                <c:pt idx="26354">
                  <c:v>0.47001961833422501</c:v>
                </c:pt>
                <c:pt idx="26355">
                  <c:v>0.47003745318352003</c:v>
                </c:pt>
                <c:pt idx="26356">
                  <c:v>0.47005528803281599</c:v>
                </c:pt>
                <c:pt idx="26357">
                  <c:v>0.47007312288211101</c:v>
                </c:pt>
                <c:pt idx="26358">
                  <c:v>0.47009095773140702</c:v>
                </c:pt>
                <c:pt idx="26359">
                  <c:v>0.47010879258070198</c:v>
                </c:pt>
                <c:pt idx="26360">
                  <c:v>0.470126627429998</c:v>
                </c:pt>
                <c:pt idx="26361">
                  <c:v>0.47014446227929302</c:v>
                </c:pt>
                <c:pt idx="26362">
                  <c:v>0.47016229712858898</c:v>
                </c:pt>
                <c:pt idx="26363">
                  <c:v>0.470180131977884</c:v>
                </c:pt>
                <c:pt idx="26364">
                  <c:v>0.47019796682718001</c:v>
                </c:pt>
                <c:pt idx="26365">
                  <c:v>0.47021580167647498</c:v>
                </c:pt>
                <c:pt idx="26366">
                  <c:v>0.47023363652577099</c:v>
                </c:pt>
                <c:pt idx="26367">
                  <c:v>0.47025147137506601</c:v>
                </c:pt>
                <c:pt idx="26368">
                  <c:v>0.47026930622436203</c:v>
                </c:pt>
                <c:pt idx="26369">
                  <c:v>0.47028714107365699</c:v>
                </c:pt>
                <c:pt idx="26370">
                  <c:v>0.47030497592295301</c:v>
                </c:pt>
                <c:pt idx="26371">
                  <c:v>0.47032281077224802</c:v>
                </c:pt>
                <c:pt idx="26372">
                  <c:v>0.47034064562154398</c:v>
                </c:pt>
                <c:pt idx="26373">
                  <c:v>0.47035848047084</c:v>
                </c:pt>
                <c:pt idx="26374">
                  <c:v>0.47037631532013502</c:v>
                </c:pt>
                <c:pt idx="26375">
                  <c:v>0.47039415016943098</c:v>
                </c:pt>
                <c:pt idx="26376">
                  <c:v>0.470411985018726</c:v>
                </c:pt>
                <c:pt idx="26377">
                  <c:v>0.47042981986802201</c:v>
                </c:pt>
                <c:pt idx="26378">
                  <c:v>0.47044765471731698</c:v>
                </c:pt>
                <c:pt idx="26379">
                  <c:v>0.47046548956661299</c:v>
                </c:pt>
                <c:pt idx="26380">
                  <c:v>0.47048332441590801</c:v>
                </c:pt>
                <c:pt idx="26381">
                  <c:v>0.47050115926520403</c:v>
                </c:pt>
                <c:pt idx="26382">
                  <c:v>0.47051899411449899</c:v>
                </c:pt>
                <c:pt idx="26383">
                  <c:v>0.47053682896379501</c:v>
                </c:pt>
                <c:pt idx="26384">
                  <c:v>0.47055466381309002</c:v>
                </c:pt>
                <c:pt idx="26385">
                  <c:v>0.47057249866238599</c:v>
                </c:pt>
                <c:pt idx="26386">
                  <c:v>0.470590333511681</c:v>
                </c:pt>
                <c:pt idx="26387">
                  <c:v>0.47060816836097702</c:v>
                </c:pt>
                <c:pt idx="26388">
                  <c:v>0.47062600321027198</c:v>
                </c:pt>
                <c:pt idx="26389">
                  <c:v>0.470643838059568</c:v>
                </c:pt>
                <c:pt idx="26390">
                  <c:v>0.47066167290886302</c:v>
                </c:pt>
                <c:pt idx="26391">
                  <c:v>0.47067950775815898</c:v>
                </c:pt>
                <c:pt idx="26392">
                  <c:v>0.47069734260745499</c:v>
                </c:pt>
                <c:pt idx="26393">
                  <c:v>0.47071517745675001</c:v>
                </c:pt>
                <c:pt idx="26394">
                  <c:v>0.47073301230604597</c:v>
                </c:pt>
                <c:pt idx="26395">
                  <c:v>0.47075084715534099</c:v>
                </c:pt>
                <c:pt idx="26396">
                  <c:v>0.47076868200463701</c:v>
                </c:pt>
                <c:pt idx="26397">
                  <c:v>0.47078651685393202</c:v>
                </c:pt>
                <c:pt idx="26398">
                  <c:v>0.47080435170322799</c:v>
                </c:pt>
                <c:pt idx="26399">
                  <c:v>0.470822186552523</c:v>
                </c:pt>
                <c:pt idx="26400">
                  <c:v>0.47084002140181902</c:v>
                </c:pt>
                <c:pt idx="26401">
                  <c:v>0.47085785625111398</c:v>
                </c:pt>
                <c:pt idx="26402">
                  <c:v>0.47087569110041</c:v>
                </c:pt>
                <c:pt idx="26403">
                  <c:v>0.47089352594970502</c:v>
                </c:pt>
                <c:pt idx="26404">
                  <c:v>0.47091136079900098</c:v>
                </c:pt>
                <c:pt idx="26405">
                  <c:v>0.470929195648296</c:v>
                </c:pt>
                <c:pt idx="26406">
                  <c:v>0.47094703049759201</c:v>
                </c:pt>
                <c:pt idx="26407">
                  <c:v>0.47096486534688697</c:v>
                </c:pt>
                <c:pt idx="26408">
                  <c:v>0.47098270019618299</c:v>
                </c:pt>
                <c:pt idx="26409">
                  <c:v>0.47100053504547801</c:v>
                </c:pt>
                <c:pt idx="26410">
                  <c:v>0.47101836989477402</c:v>
                </c:pt>
                <c:pt idx="26411">
                  <c:v>0.47103620474406899</c:v>
                </c:pt>
                <c:pt idx="26412">
                  <c:v>0.471054039593365</c:v>
                </c:pt>
                <c:pt idx="26413">
                  <c:v>0.47107187444266002</c:v>
                </c:pt>
                <c:pt idx="26414">
                  <c:v>0.47108970929195598</c:v>
                </c:pt>
                <c:pt idx="26415">
                  <c:v>0.471107544141252</c:v>
                </c:pt>
                <c:pt idx="26416">
                  <c:v>0.47112537899054702</c:v>
                </c:pt>
                <c:pt idx="26417">
                  <c:v>0.47114321383984298</c:v>
                </c:pt>
                <c:pt idx="26418">
                  <c:v>0.471161048689138</c:v>
                </c:pt>
                <c:pt idx="26419">
                  <c:v>0.47117888353843401</c:v>
                </c:pt>
                <c:pt idx="26420">
                  <c:v>0.47119671838772897</c:v>
                </c:pt>
                <c:pt idx="26421">
                  <c:v>0.47121455323702499</c:v>
                </c:pt>
                <c:pt idx="26422">
                  <c:v>0.47123238808632001</c:v>
                </c:pt>
                <c:pt idx="26423">
                  <c:v>0.47125022293561603</c:v>
                </c:pt>
                <c:pt idx="26424">
                  <c:v>0.47126805778491099</c:v>
                </c:pt>
                <c:pt idx="26425">
                  <c:v>0.471285892634207</c:v>
                </c:pt>
                <c:pt idx="26426">
                  <c:v>0.47130372748350202</c:v>
                </c:pt>
                <c:pt idx="26427">
                  <c:v>0.47132156233279798</c:v>
                </c:pt>
                <c:pt idx="26428">
                  <c:v>0.471339397182093</c:v>
                </c:pt>
                <c:pt idx="26429">
                  <c:v>0.47135723203138902</c:v>
                </c:pt>
                <c:pt idx="26430">
                  <c:v>0.47137506688068398</c:v>
                </c:pt>
                <c:pt idx="26431">
                  <c:v>0.47139290172998</c:v>
                </c:pt>
                <c:pt idx="26432">
                  <c:v>0.47141073657927501</c:v>
                </c:pt>
                <c:pt idx="26433">
                  <c:v>0.47142857142857097</c:v>
                </c:pt>
                <c:pt idx="26434">
                  <c:v>0.47144640627786599</c:v>
                </c:pt>
                <c:pt idx="26435">
                  <c:v>0.47146424112716201</c:v>
                </c:pt>
                <c:pt idx="26436">
                  <c:v>0.47148207597645803</c:v>
                </c:pt>
                <c:pt idx="26437">
                  <c:v>0.47149991082575299</c:v>
                </c:pt>
                <c:pt idx="26438">
                  <c:v>0.471517745675049</c:v>
                </c:pt>
                <c:pt idx="26439">
                  <c:v>0.47153558052434402</c:v>
                </c:pt>
                <c:pt idx="26440">
                  <c:v>0.47155341537363998</c:v>
                </c:pt>
                <c:pt idx="26441">
                  <c:v>0.471571250222935</c:v>
                </c:pt>
                <c:pt idx="26442">
                  <c:v>0.47158908507223102</c:v>
                </c:pt>
                <c:pt idx="26443">
                  <c:v>0.47160691992152598</c:v>
                </c:pt>
                <c:pt idx="26444">
                  <c:v>0.471624754770822</c:v>
                </c:pt>
                <c:pt idx="26445">
                  <c:v>0.47164258962011701</c:v>
                </c:pt>
                <c:pt idx="26446">
                  <c:v>0.47166042446941298</c:v>
                </c:pt>
                <c:pt idx="26447">
                  <c:v>0.47167825931870799</c:v>
                </c:pt>
                <c:pt idx="26448">
                  <c:v>0.47169609416800401</c:v>
                </c:pt>
                <c:pt idx="26449">
                  <c:v>0.47171392901729903</c:v>
                </c:pt>
                <c:pt idx="26450">
                  <c:v>0.47173176386659499</c:v>
                </c:pt>
                <c:pt idx="26451">
                  <c:v>0.47174959871589001</c:v>
                </c:pt>
                <c:pt idx="26452">
                  <c:v>0.47176743356518602</c:v>
                </c:pt>
                <c:pt idx="26453">
                  <c:v>0.47178526841448098</c:v>
                </c:pt>
                <c:pt idx="26454">
                  <c:v>0.471803103263777</c:v>
                </c:pt>
                <c:pt idx="26455">
                  <c:v>0.47182093811307202</c:v>
                </c:pt>
                <c:pt idx="26456">
                  <c:v>0.47183877296236798</c:v>
                </c:pt>
                <c:pt idx="26457">
                  <c:v>0.471856607811664</c:v>
                </c:pt>
                <c:pt idx="26458">
                  <c:v>0.47187444266095901</c:v>
                </c:pt>
                <c:pt idx="26459">
                  <c:v>0.47189227751025498</c:v>
                </c:pt>
                <c:pt idx="26460">
                  <c:v>0.47191011235954999</c:v>
                </c:pt>
                <c:pt idx="26461">
                  <c:v>0.47192794720884601</c:v>
                </c:pt>
                <c:pt idx="26462">
                  <c:v>0.47194578205814097</c:v>
                </c:pt>
                <c:pt idx="26463">
                  <c:v>0.47196361690743699</c:v>
                </c:pt>
                <c:pt idx="26464">
                  <c:v>0.47198145175673201</c:v>
                </c:pt>
                <c:pt idx="26465">
                  <c:v>0.47199928660602802</c:v>
                </c:pt>
                <c:pt idx="26466">
                  <c:v>0.47201712145532299</c:v>
                </c:pt>
                <c:pt idx="26467">
                  <c:v>0.472034956304619</c:v>
                </c:pt>
                <c:pt idx="26468">
                  <c:v>0.47205279115391402</c:v>
                </c:pt>
                <c:pt idx="26469">
                  <c:v>0.47207062600320998</c:v>
                </c:pt>
                <c:pt idx="26470">
                  <c:v>0.472088460852505</c:v>
                </c:pt>
                <c:pt idx="26471">
                  <c:v>0.47210629570180102</c:v>
                </c:pt>
                <c:pt idx="26472">
                  <c:v>0.47212413055109598</c:v>
                </c:pt>
                <c:pt idx="26473">
                  <c:v>0.47214196540039199</c:v>
                </c:pt>
                <c:pt idx="26474">
                  <c:v>0.47215980024968701</c:v>
                </c:pt>
                <c:pt idx="26475">
                  <c:v>0.47217763509898297</c:v>
                </c:pt>
                <c:pt idx="26476">
                  <c:v>0.47219546994827799</c:v>
                </c:pt>
                <c:pt idx="26477">
                  <c:v>0.47221330479757401</c:v>
                </c:pt>
                <c:pt idx="26478">
                  <c:v>0.47223113964686902</c:v>
                </c:pt>
                <c:pt idx="26479">
                  <c:v>0.47224897449616499</c:v>
                </c:pt>
                <c:pt idx="26480">
                  <c:v>0.472266809345461</c:v>
                </c:pt>
                <c:pt idx="26481">
                  <c:v>0.47228464419475602</c:v>
                </c:pt>
                <c:pt idx="26482">
                  <c:v>0.47230247904405198</c:v>
                </c:pt>
                <c:pt idx="26483">
                  <c:v>0.472320313893347</c:v>
                </c:pt>
                <c:pt idx="26484">
                  <c:v>0.47233814874264302</c:v>
                </c:pt>
                <c:pt idx="26485">
                  <c:v>0.47235598359193798</c:v>
                </c:pt>
                <c:pt idx="26486">
                  <c:v>0.47237381844123399</c:v>
                </c:pt>
                <c:pt idx="26487">
                  <c:v>0.47239165329052901</c:v>
                </c:pt>
                <c:pt idx="26488">
                  <c:v>0.47240948813982497</c:v>
                </c:pt>
                <c:pt idx="26489">
                  <c:v>0.47242732298911999</c:v>
                </c:pt>
                <c:pt idx="26490">
                  <c:v>0.47244515783841601</c:v>
                </c:pt>
                <c:pt idx="26491">
                  <c:v>0.47246299268771103</c:v>
                </c:pt>
                <c:pt idx="26492">
                  <c:v>0.47248082753700699</c:v>
                </c:pt>
                <c:pt idx="26493">
                  <c:v>0.472498662386302</c:v>
                </c:pt>
                <c:pt idx="26494">
                  <c:v>0.47251649723559802</c:v>
                </c:pt>
                <c:pt idx="26495">
                  <c:v>0.47253433208489298</c:v>
                </c:pt>
                <c:pt idx="26496">
                  <c:v>0.472552166934189</c:v>
                </c:pt>
                <c:pt idx="26497">
                  <c:v>0.47257000178348402</c:v>
                </c:pt>
                <c:pt idx="26498">
                  <c:v>0.47258783663277998</c:v>
                </c:pt>
                <c:pt idx="26499">
                  <c:v>0.472605671482076</c:v>
                </c:pt>
                <c:pt idx="26500">
                  <c:v>0.47262350633137101</c:v>
                </c:pt>
                <c:pt idx="26501">
                  <c:v>0.47264134118066697</c:v>
                </c:pt>
                <c:pt idx="26502">
                  <c:v>0.47265917602996199</c:v>
                </c:pt>
                <c:pt idx="26503">
                  <c:v>0.47267701087925801</c:v>
                </c:pt>
                <c:pt idx="26504">
                  <c:v>0.47269484572855303</c:v>
                </c:pt>
                <c:pt idx="26505">
                  <c:v>0.47271268057784899</c:v>
                </c:pt>
                <c:pt idx="26506">
                  <c:v>0.472730515427144</c:v>
                </c:pt>
                <c:pt idx="26507">
                  <c:v>0.47274835027644002</c:v>
                </c:pt>
                <c:pt idx="26508">
                  <c:v>0.47276618512573498</c:v>
                </c:pt>
                <c:pt idx="26509">
                  <c:v>0.472784019975031</c:v>
                </c:pt>
                <c:pt idx="26510">
                  <c:v>0.47280185482432602</c:v>
                </c:pt>
                <c:pt idx="26511">
                  <c:v>0.47281968967362198</c:v>
                </c:pt>
                <c:pt idx="26512">
                  <c:v>0.472837524522917</c:v>
                </c:pt>
                <c:pt idx="26513">
                  <c:v>0.47285535937221301</c:v>
                </c:pt>
                <c:pt idx="26514">
                  <c:v>0.47287319422150798</c:v>
                </c:pt>
                <c:pt idx="26515">
                  <c:v>0.47289102907080399</c:v>
                </c:pt>
                <c:pt idx="26516">
                  <c:v>0.47290886392009901</c:v>
                </c:pt>
                <c:pt idx="26517">
                  <c:v>0.47292669876939503</c:v>
                </c:pt>
                <c:pt idx="26518">
                  <c:v>0.47294453361868999</c:v>
                </c:pt>
                <c:pt idx="26519">
                  <c:v>0.47296236846798601</c:v>
                </c:pt>
                <c:pt idx="26520">
                  <c:v>0.47298020331728102</c:v>
                </c:pt>
                <c:pt idx="26521">
                  <c:v>0.47299803816657698</c:v>
                </c:pt>
                <c:pt idx="26522">
                  <c:v>0.473015873015873</c:v>
                </c:pt>
                <c:pt idx="26523">
                  <c:v>0.47303370786516802</c:v>
                </c:pt>
                <c:pt idx="26524">
                  <c:v>0.47305154271446398</c:v>
                </c:pt>
                <c:pt idx="26525">
                  <c:v>0.473069377563759</c:v>
                </c:pt>
                <c:pt idx="26526">
                  <c:v>0.47308721241305501</c:v>
                </c:pt>
                <c:pt idx="26527">
                  <c:v>0.47310504726234998</c:v>
                </c:pt>
                <c:pt idx="26528">
                  <c:v>0.47312288211164599</c:v>
                </c:pt>
                <c:pt idx="26529">
                  <c:v>0.47314071696094101</c:v>
                </c:pt>
                <c:pt idx="26530">
                  <c:v>0.47315855181023703</c:v>
                </c:pt>
                <c:pt idx="26531">
                  <c:v>0.47317638665953199</c:v>
                </c:pt>
                <c:pt idx="26532">
                  <c:v>0.47319422150882801</c:v>
                </c:pt>
                <c:pt idx="26533">
                  <c:v>0.47321205635812302</c:v>
                </c:pt>
                <c:pt idx="26534">
                  <c:v>0.47322989120741898</c:v>
                </c:pt>
                <c:pt idx="26535">
                  <c:v>0.473247726056714</c:v>
                </c:pt>
                <c:pt idx="26536">
                  <c:v>0.47326556090601002</c:v>
                </c:pt>
                <c:pt idx="26537">
                  <c:v>0.47328339575530498</c:v>
                </c:pt>
                <c:pt idx="26538">
                  <c:v>0.473301230604601</c:v>
                </c:pt>
                <c:pt idx="26539">
                  <c:v>0.47331906545389602</c:v>
                </c:pt>
                <c:pt idx="26540">
                  <c:v>0.47333690030319198</c:v>
                </c:pt>
                <c:pt idx="26541">
                  <c:v>0.47335473515248699</c:v>
                </c:pt>
                <c:pt idx="26542">
                  <c:v>0.47337257000178301</c:v>
                </c:pt>
                <c:pt idx="26543">
                  <c:v>0.47339040485107903</c:v>
                </c:pt>
                <c:pt idx="26544">
                  <c:v>0.47340823970037399</c:v>
                </c:pt>
                <c:pt idx="26545">
                  <c:v>0.47342607454967001</c:v>
                </c:pt>
                <c:pt idx="26546">
                  <c:v>0.47344390939896502</c:v>
                </c:pt>
                <c:pt idx="26547">
                  <c:v>0.47346174424826099</c:v>
                </c:pt>
                <c:pt idx="26548">
                  <c:v>0.473479579097556</c:v>
                </c:pt>
                <c:pt idx="26549">
                  <c:v>0.47349741394685202</c:v>
                </c:pt>
                <c:pt idx="26550">
                  <c:v>0.47351524879614698</c:v>
                </c:pt>
                <c:pt idx="26551">
                  <c:v>0.473533083645443</c:v>
                </c:pt>
                <c:pt idx="26552">
                  <c:v>0.47355091849473802</c:v>
                </c:pt>
                <c:pt idx="26553">
                  <c:v>0.47356875334403398</c:v>
                </c:pt>
                <c:pt idx="26554">
                  <c:v>0.47358658819332899</c:v>
                </c:pt>
                <c:pt idx="26555">
                  <c:v>0.47360442304262501</c:v>
                </c:pt>
                <c:pt idx="26556">
                  <c:v>0.47362225789191997</c:v>
                </c:pt>
                <c:pt idx="26557">
                  <c:v>0.47364009274121599</c:v>
                </c:pt>
                <c:pt idx="26558">
                  <c:v>0.47365792759051101</c:v>
                </c:pt>
                <c:pt idx="26559">
                  <c:v>0.47367576243980702</c:v>
                </c:pt>
                <c:pt idx="26560">
                  <c:v>0.47369359728910199</c:v>
                </c:pt>
                <c:pt idx="26561">
                  <c:v>0.473711432138398</c:v>
                </c:pt>
                <c:pt idx="26562">
                  <c:v>0.47372926698769302</c:v>
                </c:pt>
                <c:pt idx="26563">
                  <c:v>0.47374710183698898</c:v>
                </c:pt>
                <c:pt idx="26564">
                  <c:v>0.473764936686285</c:v>
                </c:pt>
                <c:pt idx="26565">
                  <c:v>0.47378277153558002</c:v>
                </c:pt>
                <c:pt idx="26566">
                  <c:v>0.47380060638487598</c:v>
                </c:pt>
                <c:pt idx="26567">
                  <c:v>0.473818441234171</c:v>
                </c:pt>
                <c:pt idx="26568">
                  <c:v>0.47383627608346701</c:v>
                </c:pt>
                <c:pt idx="26569">
                  <c:v>0.47385411093276197</c:v>
                </c:pt>
                <c:pt idx="26570">
                  <c:v>0.47387194578205799</c:v>
                </c:pt>
                <c:pt idx="26571">
                  <c:v>0.47388978063135301</c:v>
                </c:pt>
                <c:pt idx="26572">
                  <c:v>0.47390761548064902</c:v>
                </c:pt>
                <c:pt idx="26573">
                  <c:v>0.47392545032994399</c:v>
                </c:pt>
                <c:pt idx="26574">
                  <c:v>0.47394328517924</c:v>
                </c:pt>
                <c:pt idx="26575">
                  <c:v>0.47396112002853502</c:v>
                </c:pt>
                <c:pt idx="26576">
                  <c:v>0.47397895487783098</c:v>
                </c:pt>
                <c:pt idx="26577">
                  <c:v>0.473996789727126</c:v>
                </c:pt>
                <c:pt idx="26578">
                  <c:v>0.47401462457642202</c:v>
                </c:pt>
                <c:pt idx="26579">
                  <c:v>0.47403245942571698</c:v>
                </c:pt>
                <c:pt idx="26580">
                  <c:v>0.474050294275013</c:v>
                </c:pt>
                <c:pt idx="26581">
                  <c:v>0.47406812912430801</c:v>
                </c:pt>
                <c:pt idx="26582">
                  <c:v>0.47408596397360397</c:v>
                </c:pt>
                <c:pt idx="26583">
                  <c:v>0.47410379882289899</c:v>
                </c:pt>
                <c:pt idx="26584">
                  <c:v>0.47412163367219501</c:v>
                </c:pt>
                <c:pt idx="26585">
                  <c:v>0.47413946852149003</c:v>
                </c:pt>
                <c:pt idx="26586">
                  <c:v>0.47415730337078599</c:v>
                </c:pt>
                <c:pt idx="26587">
                  <c:v>0.474175138220082</c:v>
                </c:pt>
                <c:pt idx="26588">
                  <c:v>0.47419297306937702</c:v>
                </c:pt>
                <c:pt idx="26589">
                  <c:v>0.47421080791867298</c:v>
                </c:pt>
                <c:pt idx="26590">
                  <c:v>0.474228642767968</c:v>
                </c:pt>
                <c:pt idx="26591">
                  <c:v>0.47424647761726402</c:v>
                </c:pt>
                <c:pt idx="26592">
                  <c:v>0.47426431246655898</c:v>
                </c:pt>
                <c:pt idx="26593">
                  <c:v>0.474282147315855</c:v>
                </c:pt>
                <c:pt idx="26594">
                  <c:v>0.47429998216515001</c:v>
                </c:pt>
                <c:pt idx="26595">
                  <c:v>0.47431781701444597</c:v>
                </c:pt>
                <c:pt idx="26596">
                  <c:v>0.47433565186374099</c:v>
                </c:pt>
                <c:pt idx="26597">
                  <c:v>0.47435348671303701</c:v>
                </c:pt>
                <c:pt idx="26598">
                  <c:v>0.47437132156233203</c:v>
                </c:pt>
                <c:pt idx="26599">
                  <c:v>0.47438915641162799</c:v>
                </c:pt>
                <c:pt idx="26600">
                  <c:v>0.47440699126092301</c:v>
                </c:pt>
                <c:pt idx="26601">
                  <c:v>0.47442482611021902</c:v>
                </c:pt>
                <c:pt idx="26602">
                  <c:v>0.47444266095951398</c:v>
                </c:pt>
                <c:pt idx="26603">
                  <c:v>0.47446049580881</c:v>
                </c:pt>
                <c:pt idx="26604">
                  <c:v>0.47447833065810502</c:v>
                </c:pt>
                <c:pt idx="26605">
                  <c:v>0.47449616550740098</c:v>
                </c:pt>
                <c:pt idx="26606">
                  <c:v>0.474514000356697</c:v>
                </c:pt>
                <c:pt idx="26607">
                  <c:v>0.47453183520599201</c:v>
                </c:pt>
                <c:pt idx="26608">
                  <c:v>0.47454967005528798</c:v>
                </c:pt>
                <c:pt idx="26609">
                  <c:v>0.47456750490458299</c:v>
                </c:pt>
                <c:pt idx="26610">
                  <c:v>0.47458533975387901</c:v>
                </c:pt>
                <c:pt idx="26611">
                  <c:v>0.47460317460317403</c:v>
                </c:pt>
                <c:pt idx="26612">
                  <c:v>0.47462100945246999</c:v>
                </c:pt>
                <c:pt idx="26613">
                  <c:v>0.47463884430176501</c:v>
                </c:pt>
                <c:pt idx="26614">
                  <c:v>0.47465667915106102</c:v>
                </c:pt>
                <c:pt idx="26615">
                  <c:v>0.47467451400035598</c:v>
                </c:pt>
                <c:pt idx="26616">
                  <c:v>0.474692348849652</c:v>
                </c:pt>
                <c:pt idx="26617">
                  <c:v>0.47471018369894702</c:v>
                </c:pt>
                <c:pt idx="26618">
                  <c:v>0.47472801854824298</c:v>
                </c:pt>
                <c:pt idx="26619">
                  <c:v>0.474745853397538</c:v>
                </c:pt>
                <c:pt idx="26620">
                  <c:v>0.47476368824683401</c:v>
                </c:pt>
                <c:pt idx="26621">
                  <c:v>0.47478152309612898</c:v>
                </c:pt>
                <c:pt idx="26622">
                  <c:v>0.47479935794542499</c:v>
                </c:pt>
                <c:pt idx="26623">
                  <c:v>0.47481719279472001</c:v>
                </c:pt>
                <c:pt idx="26624">
                  <c:v>0.47483502764401597</c:v>
                </c:pt>
                <c:pt idx="26625">
                  <c:v>0.47485286249331099</c:v>
                </c:pt>
                <c:pt idx="26626">
                  <c:v>0.47487069734260701</c:v>
                </c:pt>
                <c:pt idx="26627">
                  <c:v>0.47488853219190202</c:v>
                </c:pt>
                <c:pt idx="26628">
                  <c:v>0.47490636704119799</c:v>
                </c:pt>
                <c:pt idx="26629">
                  <c:v>0.474924201890494</c:v>
                </c:pt>
                <c:pt idx="26630">
                  <c:v>0.47494203673978902</c:v>
                </c:pt>
                <c:pt idx="26631">
                  <c:v>0.47495987158908498</c:v>
                </c:pt>
                <c:pt idx="26632">
                  <c:v>0.47497770643838</c:v>
                </c:pt>
                <c:pt idx="26633">
                  <c:v>0.47499554128767602</c:v>
                </c:pt>
                <c:pt idx="26634">
                  <c:v>0.47501337613697098</c:v>
                </c:pt>
                <c:pt idx="26635">
                  <c:v>0.47503121098626699</c:v>
                </c:pt>
                <c:pt idx="26636">
                  <c:v>0.47504904583556201</c:v>
                </c:pt>
                <c:pt idx="26637">
                  <c:v>0.47506688068485797</c:v>
                </c:pt>
                <c:pt idx="26638">
                  <c:v>0.47508471553415299</c:v>
                </c:pt>
                <c:pt idx="26639">
                  <c:v>0.47510255038344901</c:v>
                </c:pt>
                <c:pt idx="26640">
                  <c:v>0.47512038523274402</c:v>
                </c:pt>
                <c:pt idx="26641">
                  <c:v>0.47513822008203999</c:v>
                </c:pt>
                <c:pt idx="26642">
                  <c:v>0.475156054931335</c:v>
                </c:pt>
                <c:pt idx="26643">
                  <c:v>0.47517388978063102</c:v>
                </c:pt>
                <c:pt idx="26644">
                  <c:v>0.47519172462992598</c:v>
                </c:pt>
                <c:pt idx="26645">
                  <c:v>0.475209559479222</c:v>
                </c:pt>
                <c:pt idx="26646">
                  <c:v>0.47522739432851702</c:v>
                </c:pt>
                <c:pt idx="26647">
                  <c:v>0.47524522917781298</c:v>
                </c:pt>
                <c:pt idx="26648">
                  <c:v>0.47526306402710899</c:v>
                </c:pt>
                <c:pt idx="26649">
                  <c:v>0.47528089887640401</c:v>
                </c:pt>
                <c:pt idx="26650">
                  <c:v>0.47529873372569997</c:v>
                </c:pt>
                <c:pt idx="26651">
                  <c:v>0.47531656857499499</c:v>
                </c:pt>
                <c:pt idx="26652">
                  <c:v>0.47533440342429101</c:v>
                </c:pt>
                <c:pt idx="26653">
                  <c:v>0.47535223827358603</c:v>
                </c:pt>
                <c:pt idx="26654">
                  <c:v>0.47537007312288199</c:v>
                </c:pt>
                <c:pt idx="26655">
                  <c:v>0.475387907972177</c:v>
                </c:pt>
                <c:pt idx="26656">
                  <c:v>0.47540574282147302</c:v>
                </c:pt>
                <c:pt idx="26657">
                  <c:v>0.47542357767076798</c:v>
                </c:pt>
                <c:pt idx="26658">
                  <c:v>0.475441412520064</c:v>
                </c:pt>
                <c:pt idx="26659">
                  <c:v>0.47545924736935902</c:v>
                </c:pt>
                <c:pt idx="26660">
                  <c:v>0.47547708221865498</c:v>
                </c:pt>
                <c:pt idx="26661">
                  <c:v>0.47549491706795</c:v>
                </c:pt>
                <c:pt idx="26662">
                  <c:v>0.47551275191724601</c:v>
                </c:pt>
                <c:pt idx="26663">
                  <c:v>0.47553058676654097</c:v>
                </c:pt>
                <c:pt idx="26664">
                  <c:v>0.47554842161583699</c:v>
                </c:pt>
                <c:pt idx="26665">
                  <c:v>0.47556625646513201</c:v>
                </c:pt>
                <c:pt idx="26666">
                  <c:v>0.47558409131442803</c:v>
                </c:pt>
                <c:pt idx="26667">
                  <c:v>0.47560192616372299</c:v>
                </c:pt>
                <c:pt idx="26668">
                  <c:v>0.475619761013019</c:v>
                </c:pt>
                <c:pt idx="26669">
                  <c:v>0.47563759586231402</c:v>
                </c:pt>
                <c:pt idx="26670">
                  <c:v>0.47565543071160998</c:v>
                </c:pt>
                <c:pt idx="26671">
                  <c:v>0.475673265560906</c:v>
                </c:pt>
                <c:pt idx="26672">
                  <c:v>0.47569110041020102</c:v>
                </c:pt>
                <c:pt idx="26673">
                  <c:v>0.47570893525949698</c:v>
                </c:pt>
                <c:pt idx="26674">
                  <c:v>0.475726770108792</c:v>
                </c:pt>
                <c:pt idx="26675">
                  <c:v>0.47574460495808801</c:v>
                </c:pt>
                <c:pt idx="26676">
                  <c:v>0.47576243980738298</c:v>
                </c:pt>
                <c:pt idx="26677">
                  <c:v>0.47578027465667899</c:v>
                </c:pt>
                <c:pt idx="26678">
                  <c:v>0.47579810950597401</c:v>
                </c:pt>
                <c:pt idx="26679">
                  <c:v>0.47581594435527003</c:v>
                </c:pt>
                <c:pt idx="26680">
                  <c:v>0.47583377920456499</c:v>
                </c:pt>
                <c:pt idx="26681">
                  <c:v>0.47585161405386101</c:v>
                </c:pt>
                <c:pt idx="26682">
                  <c:v>0.47586944890315602</c:v>
                </c:pt>
                <c:pt idx="26683">
                  <c:v>0.47588728375245198</c:v>
                </c:pt>
                <c:pt idx="26684">
                  <c:v>0.475905118601747</c:v>
                </c:pt>
                <c:pt idx="26685">
                  <c:v>0.47592295345104302</c:v>
                </c:pt>
                <c:pt idx="26686">
                  <c:v>0.47594078830033798</c:v>
                </c:pt>
                <c:pt idx="26687">
                  <c:v>0.475958623149634</c:v>
                </c:pt>
                <c:pt idx="26688">
                  <c:v>0.47597645799892901</c:v>
                </c:pt>
                <c:pt idx="26689">
                  <c:v>0.47599429284822498</c:v>
                </c:pt>
                <c:pt idx="26690">
                  <c:v>0.47601212769751999</c:v>
                </c:pt>
                <c:pt idx="26691">
                  <c:v>0.47602996254681601</c:v>
                </c:pt>
                <c:pt idx="26692">
                  <c:v>0.47604779739611203</c:v>
                </c:pt>
                <c:pt idx="26693">
                  <c:v>0.47606563224540699</c:v>
                </c:pt>
                <c:pt idx="26694">
                  <c:v>0.47608346709470301</c:v>
                </c:pt>
                <c:pt idx="26695">
                  <c:v>0.47610130194399802</c:v>
                </c:pt>
                <c:pt idx="26696">
                  <c:v>0.47611913679329398</c:v>
                </c:pt>
                <c:pt idx="26697">
                  <c:v>0.476136971642589</c:v>
                </c:pt>
                <c:pt idx="26698">
                  <c:v>0.47615480649188502</c:v>
                </c:pt>
                <c:pt idx="26699">
                  <c:v>0.47617264134117998</c:v>
                </c:pt>
                <c:pt idx="26700">
                  <c:v>0.476190476190476</c:v>
                </c:pt>
                <c:pt idx="26701">
                  <c:v>0.47620831103977102</c:v>
                </c:pt>
                <c:pt idx="26702">
                  <c:v>0.47622614588906698</c:v>
                </c:pt>
                <c:pt idx="26703">
                  <c:v>0.47624398073836199</c:v>
                </c:pt>
                <c:pt idx="26704">
                  <c:v>0.47626181558765801</c:v>
                </c:pt>
                <c:pt idx="26705">
                  <c:v>0.47627965043695297</c:v>
                </c:pt>
                <c:pt idx="26706">
                  <c:v>0.47629748528624899</c:v>
                </c:pt>
                <c:pt idx="26707">
                  <c:v>0.47631532013554401</c:v>
                </c:pt>
                <c:pt idx="26708">
                  <c:v>0.47633315498484002</c:v>
                </c:pt>
                <c:pt idx="26709">
                  <c:v>0.47635098983413499</c:v>
                </c:pt>
                <c:pt idx="26710">
                  <c:v>0.476368824683431</c:v>
                </c:pt>
                <c:pt idx="26711">
                  <c:v>0.47638665953272602</c:v>
                </c:pt>
                <c:pt idx="26712">
                  <c:v>0.47640449438202198</c:v>
                </c:pt>
                <c:pt idx="26713">
                  <c:v>0.476422329231318</c:v>
                </c:pt>
                <c:pt idx="26714">
                  <c:v>0.47644016408061302</c:v>
                </c:pt>
                <c:pt idx="26715">
                  <c:v>0.47645799892990898</c:v>
                </c:pt>
                <c:pt idx="26716">
                  <c:v>0.47647583377920399</c:v>
                </c:pt>
                <c:pt idx="26717">
                  <c:v>0.47649366862850001</c:v>
                </c:pt>
                <c:pt idx="26718">
                  <c:v>0.47651150347779497</c:v>
                </c:pt>
                <c:pt idx="26719">
                  <c:v>0.47652933832709099</c:v>
                </c:pt>
                <c:pt idx="26720">
                  <c:v>0.47654717317638601</c:v>
                </c:pt>
                <c:pt idx="26721">
                  <c:v>0.47656500802568202</c:v>
                </c:pt>
                <c:pt idx="26722">
                  <c:v>0.47658284287497699</c:v>
                </c:pt>
                <c:pt idx="26723">
                  <c:v>0.476600677724273</c:v>
                </c:pt>
                <c:pt idx="26724">
                  <c:v>0.47661851257356802</c:v>
                </c:pt>
                <c:pt idx="26725">
                  <c:v>0.47663634742286398</c:v>
                </c:pt>
                <c:pt idx="26726">
                  <c:v>0.476654182272159</c:v>
                </c:pt>
                <c:pt idx="26727">
                  <c:v>0.47667201712145502</c:v>
                </c:pt>
                <c:pt idx="26728">
                  <c:v>0.47668985197074998</c:v>
                </c:pt>
                <c:pt idx="26729">
                  <c:v>0.47670768682004599</c:v>
                </c:pt>
                <c:pt idx="26730">
                  <c:v>0.47672552166934101</c:v>
                </c:pt>
                <c:pt idx="26731">
                  <c:v>0.47674335651863697</c:v>
                </c:pt>
                <c:pt idx="26732">
                  <c:v>0.47676119136793199</c:v>
                </c:pt>
                <c:pt idx="26733">
                  <c:v>0.47677902621722801</c:v>
                </c:pt>
                <c:pt idx="26734">
                  <c:v>0.47679686106652303</c:v>
                </c:pt>
                <c:pt idx="26735">
                  <c:v>0.47681469591581899</c:v>
                </c:pt>
                <c:pt idx="26736">
                  <c:v>0.476832530765115</c:v>
                </c:pt>
                <c:pt idx="26737">
                  <c:v>0.47685036561441002</c:v>
                </c:pt>
                <c:pt idx="26738">
                  <c:v>0.47686820046370598</c:v>
                </c:pt>
                <c:pt idx="26739">
                  <c:v>0.476886035313001</c:v>
                </c:pt>
                <c:pt idx="26740">
                  <c:v>0.47690387016229702</c:v>
                </c:pt>
                <c:pt idx="26741">
                  <c:v>0.47692170501159198</c:v>
                </c:pt>
                <c:pt idx="26742">
                  <c:v>0.476939539860888</c:v>
                </c:pt>
                <c:pt idx="26743">
                  <c:v>0.47695737471018301</c:v>
                </c:pt>
                <c:pt idx="26744">
                  <c:v>0.47697520955947897</c:v>
                </c:pt>
                <c:pt idx="26745">
                  <c:v>0.47699304440877399</c:v>
                </c:pt>
                <c:pt idx="26746">
                  <c:v>0.47701087925807001</c:v>
                </c:pt>
                <c:pt idx="26747">
                  <c:v>0.47702871410736503</c:v>
                </c:pt>
                <c:pt idx="26748">
                  <c:v>0.47704654895666099</c:v>
                </c:pt>
                <c:pt idx="26749">
                  <c:v>0.477064383805956</c:v>
                </c:pt>
                <c:pt idx="26750">
                  <c:v>0.47708221865525202</c:v>
                </c:pt>
                <c:pt idx="26751">
                  <c:v>0.47710005350454698</c:v>
                </c:pt>
                <c:pt idx="26752">
                  <c:v>0.477117888353843</c:v>
                </c:pt>
                <c:pt idx="26753">
                  <c:v>0.47713572320313802</c:v>
                </c:pt>
                <c:pt idx="26754">
                  <c:v>0.47715355805243398</c:v>
                </c:pt>
                <c:pt idx="26755">
                  <c:v>0.47717139290173</c:v>
                </c:pt>
                <c:pt idx="26756">
                  <c:v>0.47718922775102501</c:v>
                </c:pt>
                <c:pt idx="26757">
                  <c:v>0.47720706260032097</c:v>
                </c:pt>
                <c:pt idx="26758">
                  <c:v>0.47722489744961599</c:v>
                </c:pt>
                <c:pt idx="26759">
                  <c:v>0.47724273229891201</c:v>
                </c:pt>
                <c:pt idx="26760">
                  <c:v>0.47726056714820703</c:v>
                </c:pt>
                <c:pt idx="26761">
                  <c:v>0.47727840199750299</c:v>
                </c:pt>
                <c:pt idx="26762">
                  <c:v>0.47729623684679801</c:v>
                </c:pt>
                <c:pt idx="26763">
                  <c:v>0.47731407169609402</c:v>
                </c:pt>
                <c:pt idx="26764">
                  <c:v>0.47733190654538898</c:v>
                </c:pt>
                <c:pt idx="26765">
                  <c:v>0.477349741394685</c:v>
                </c:pt>
                <c:pt idx="26766">
                  <c:v>0.47736757624398002</c:v>
                </c:pt>
                <c:pt idx="26767">
                  <c:v>0.47738541109327598</c:v>
                </c:pt>
                <c:pt idx="26768">
                  <c:v>0.477403245942571</c:v>
                </c:pt>
                <c:pt idx="26769">
                  <c:v>0.47742108079186701</c:v>
                </c:pt>
                <c:pt idx="26770">
                  <c:v>0.47743891564116198</c:v>
                </c:pt>
                <c:pt idx="26771">
                  <c:v>0.47745675049045799</c:v>
                </c:pt>
                <c:pt idx="26772">
                  <c:v>0.47747458533975301</c:v>
                </c:pt>
                <c:pt idx="26773">
                  <c:v>0.47749242018904903</c:v>
                </c:pt>
                <c:pt idx="26774">
                  <c:v>0.47751025503834399</c:v>
                </c:pt>
                <c:pt idx="26775">
                  <c:v>0.47752808988764001</c:v>
                </c:pt>
                <c:pt idx="26776">
                  <c:v>0.47754592473693502</c:v>
                </c:pt>
                <c:pt idx="26777">
                  <c:v>0.47756375958623098</c:v>
                </c:pt>
                <c:pt idx="26778">
                  <c:v>0.477581594435527</c:v>
                </c:pt>
                <c:pt idx="26779">
                  <c:v>0.47759942928482202</c:v>
                </c:pt>
                <c:pt idx="26780">
                  <c:v>0.47761726413411798</c:v>
                </c:pt>
                <c:pt idx="26781">
                  <c:v>0.477635098983413</c:v>
                </c:pt>
                <c:pt idx="26782">
                  <c:v>0.47765293383270901</c:v>
                </c:pt>
                <c:pt idx="26783">
                  <c:v>0.47767076868200398</c:v>
                </c:pt>
                <c:pt idx="26784">
                  <c:v>0.47768860353129999</c:v>
                </c:pt>
                <c:pt idx="26785">
                  <c:v>0.47770643838059501</c:v>
                </c:pt>
                <c:pt idx="26786">
                  <c:v>0.47772427322989103</c:v>
                </c:pt>
                <c:pt idx="26787">
                  <c:v>0.47774210807918599</c:v>
                </c:pt>
                <c:pt idx="26788">
                  <c:v>0.47775994292848201</c:v>
                </c:pt>
                <c:pt idx="26789">
                  <c:v>0.47777777777777702</c:v>
                </c:pt>
                <c:pt idx="26790">
                  <c:v>0.47779561262707299</c:v>
                </c:pt>
                <c:pt idx="26791">
                  <c:v>0.477813447476368</c:v>
                </c:pt>
                <c:pt idx="26792">
                  <c:v>0.47783128232566402</c:v>
                </c:pt>
                <c:pt idx="26793">
                  <c:v>0.47784911717495898</c:v>
                </c:pt>
                <c:pt idx="26794">
                  <c:v>0.477866952024255</c:v>
                </c:pt>
                <c:pt idx="26795">
                  <c:v>0.47788478687355002</c:v>
                </c:pt>
                <c:pt idx="26796">
                  <c:v>0.47790262172284598</c:v>
                </c:pt>
                <c:pt idx="26797">
                  <c:v>0.47792045657214099</c:v>
                </c:pt>
                <c:pt idx="26798">
                  <c:v>0.47793829142143701</c:v>
                </c:pt>
                <c:pt idx="26799">
                  <c:v>0.47795612627073297</c:v>
                </c:pt>
                <c:pt idx="26800">
                  <c:v>0.47797396112002799</c:v>
                </c:pt>
                <c:pt idx="26801">
                  <c:v>0.47799179596932401</c:v>
                </c:pt>
                <c:pt idx="26802">
                  <c:v>0.47800963081861902</c:v>
                </c:pt>
                <c:pt idx="26803">
                  <c:v>0.47802746566791499</c:v>
                </c:pt>
                <c:pt idx="26804">
                  <c:v>0.47804530051721</c:v>
                </c:pt>
                <c:pt idx="26805">
                  <c:v>0.47806313536650602</c:v>
                </c:pt>
                <c:pt idx="26806">
                  <c:v>0.47808097021580098</c:v>
                </c:pt>
                <c:pt idx="26807">
                  <c:v>0.478098805065097</c:v>
                </c:pt>
                <c:pt idx="26808">
                  <c:v>0.47811663991439202</c:v>
                </c:pt>
                <c:pt idx="26809">
                  <c:v>0.47813447476368798</c:v>
                </c:pt>
                <c:pt idx="26810">
                  <c:v>0.478152309612983</c:v>
                </c:pt>
                <c:pt idx="26811">
                  <c:v>0.47817014446227901</c:v>
                </c:pt>
                <c:pt idx="26812">
                  <c:v>0.47818797931157397</c:v>
                </c:pt>
                <c:pt idx="26813">
                  <c:v>0.47820581416086999</c:v>
                </c:pt>
                <c:pt idx="26814">
                  <c:v>0.47822364901016501</c:v>
                </c:pt>
                <c:pt idx="26815">
                  <c:v>0.47824148385946103</c:v>
                </c:pt>
                <c:pt idx="26816">
                  <c:v>0.47825931870875599</c:v>
                </c:pt>
                <c:pt idx="26817">
                  <c:v>0.478277153558052</c:v>
                </c:pt>
                <c:pt idx="26818">
                  <c:v>0.47829498840734702</c:v>
                </c:pt>
                <c:pt idx="26819">
                  <c:v>0.47831282325664298</c:v>
                </c:pt>
                <c:pt idx="26820">
                  <c:v>0.478330658105939</c:v>
                </c:pt>
                <c:pt idx="26821">
                  <c:v>0.47834849295523402</c:v>
                </c:pt>
                <c:pt idx="26822">
                  <c:v>0.47836632780452998</c:v>
                </c:pt>
                <c:pt idx="26823">
                  <c:v>0.478384162653825</c:v>
                </c:pt>
                <c:pt idx="26824">
                  <c:v>0.47840199750312101</c:v>
                </c:pt>
                <c:pt idx="26825">
                  <c:v>0.47841983235241597</c:v>
                </c:pt>
                <c:pt idx="26826">
                  <c:v>0.47843766720171199</c:v>
                </c:pt>
                <c:pt idx="26827">
                  <c:v>0.47845550205100701</c:v>
                </c:pt>
                <c:pt idx="26828">
                  <c:v>0.47847333690030303</c:v>
                </c:pt>
                <c:pt idx="26829">
                  <c:v>0.47849117174959799</c:v>
                </c:pt>
                <c:pt idx="26830">
                  <c:v>0.478509006598894</c:v>
                </c:pt>
                <c:pt idx="26831">
                  <c:v>0.47852684144818902</c:v>
                </c:pt>
                <c:pt idx="26832">
                  <c:v>0.47854467629748498</c:v>
                </c:pt>
                <c:pt idx="26833">
                  <c:v>0.47856251114678</c:v>
                </c:pt>
                <c:pt idx="26834">
                  <c:v>0.47858034599607602</c:v>
                </c:pt>
                <c:pt idx="26835">
                  <c:v>0.47859818084537098</c:v>
                </c:pt>
                <c:pt idx="26836">
                  <c:v>0.478616015694667</c:v>
                </c:pt>
                <c:pt idx="26837">
                  <c:v>0.47863385054396201</c:v>
                </c:pt>
                <c:pt idx="26838">
                  <c:v>0.47865168539325798</c:v>
                </c:pt>
                <c:pt idx="26839">
                  <c:v>0.47866952024255299</c:v>
                </c:pt>
                <c:pt idx="26840">
                  <c:v>0.47868735509184901</c:v>
                </c:pt>
                <c:pt idx="26841">
                  <c:v>0.47870518994114403</c:v>
                </c:pt>
                <c:pt idx="26842">
                  <c:v>0.47872302479043999</c:v>
                </c:pt>
                <c:pt idx="26843">
                  <c:v>0.478740859639736</c:v>
                </c:pt>
                <c:pt idx="26844">
                  <c:v>0.47875869448903102</c:v>
                </c:pt>
                <c:pt idx="26845">
                  <c:v>0.47877652933832698</c:v>
                </c:pt>
                <c:pt idx="26846">
                  <c:v>0.478794364187622</c:v>
                </c:pt>
                <c:pt idx="26847">
                  <c:v>0.47881219903691802</c:v>
                </c:pt>
                <c:pt idx="26848">
                  <c:v>0.47883003388621298</c:v>
                </c:pt>
                <c:pt idx="26849">
                  <c:v>0.478847868735509</c:v>
                </c:pt>
                <c:pt idx="26850">
                  <c:v>0.47886570358480401</c:v>
                </c:pt>
                <c:pt idx="26851">
                  <c:v>0.47888353843409998</c:v>
                </c:pt>
                <c:pt idx="26852">
                  <c:v>0.47890137328339499</c:v>
                </c:pt>
                <c:pt idx="26853">
                  <c:v>0.47891920813269101</c:v>
                </c:pt>
                <c:pt idx="26854">
                  <c:v>0.47893704298198603</c:v>
                </c:pt>
                <c:pt idx="26855">
                  <c:v>0.47895487783128199</c:v>
                </c:pt>
                <c:pt idx="26856">
                  <c:v>0.47897271268057701</c:v>
                </c:pt>
                <c:pt idx="26857">
                  <c:v>0.47899054752987302</c:v>
                </c:pt>
                <c:pt idx="26858">
                  <c:v>0.47900838237916799</c:v>
                </c:pt>
                <c:pt idx="26859">
                  <c:v>0.479026217228464</c:v>
                </c:pt>
                <c:pt idx="26860">
                  <c:v>0.47904405207775902</c:v>
                </c:pt>
                <c:pt idx="26861">
                  <c:v>0.47906188692705498</c:v>
                </c:pt>
                <c:pt idx="26862">
                  <c:v>0.479079721776351</c:v>
                </c:pt>
                <c:pt idx="26863">
                  <c:v>0.47909755662564601</c:v>
                </c:pt>
                <c:pt idx="26864">
                  <c:v>0.47911539147494198</c:v>
                </c:pt>
                <c:pt idx="26865">
                  <c:v>0.47913322632423699</c:v>
                </c:pt>
                <c:pt idx="26866">
                  <c:v>0.47915106117353301</c:v>
                </c:pt>
                <c:pt idx="26867">
                  <c:v>0.47916889602282797</c:v>
                </c:pt>
                <c:pt idx="26868">
                  <c:v>0.47918673087212399</c:v>
                </c:pt>
                <c:pt idx="26869">
                  <c:v>0.47920456572141901</c:v>
                </c:pt>
                <c:pt idx="26870">
                  <c:v>0.47922240057071502</c:v>
                </c:pt>
                <c:pt idx="26871">
                  <c:v>0.47924023542000999</c:v>
                </c:pt>
                <c:pt idx="26872">
                  <c:v>0.479258070269306</c:v>
                </c:pt>
                <c:pt idx="26873">
                  <c:v>0.47927590511860102</c:v>
                </c:pt>
                <c:pt idx="26874">
                  <c:v>0.47929373996789698</c:v>
                </c:pt>
                <c:pt idx="26875">
                  <c:v>0.479311574817192</c:v>
                </c:pt>
                <c:pt idx="26876">
                  <c:v>0.47932940966648802</c:v>
                </c:pt>
                <c:pt idx="26877">
                  <c:v>0.47934724451578298</c:v>
                </c:pt>
                <c:pt idx="26878">
                  <c:v>0.47936507936507899</c:v>
                </c:pt>
                <c:pt idx="26879">
                  <c:v>0.47938291421437401</c:v>
                </c:pt>
                <c:pt idx="26880">
                  <c:v>0.47940074906366997</c:v>
                </c:pt>
                <c:pt idx="26881">
                  <c:v>0.47941858391296499</c:v>
                </c:pt>
                <c:pt idx="26882">
                  <c:v>0.47943641876226101</c:v>
                </c:pt>
                <c:pt idx="26883">
                  <c:v>0.47945425361155602</c:v>
                </c:pt>
                <c:pt idx="26884">
                  <c:v>0.47947208846085199</c:v>
                </c:pt>
                <c:pt idx="26885">
                  <c:v>0.479489923310148</c:v>
                </c:pt>
                <c:pt idx="26886">
                  <c:v>0.47950775815944302</c:v>
                </c:pt>
                <c:pt idx="26887">
                  <c:v>0.47952559300873898</c:v>
                </c:pt>
                <c:pt idx="26888">
                  <c:v>0.479543427858034</c:v>
                </c:pt>
                <c:pt idx="26889">
                  <c:v>0.47956126270733002</c:v>
                </c:pt>
                <c:pt idx="26890">
                  <c:v>0.47957909755662498</c:v>
                </c:pt>
                <c:pt idx="26891">
                  <c:v>0.47959693240592099</c:v>
                </c:pt>
                <c:pt idx="26892">
                  <c:v>0.47961476725521601</c:v>
                </c:pt>
                <c:pt idx="26893">
                  <c:v>0.47963260210451197</c:v>
                </c:pt>
                <c:pt idx="26894">
                  <c:v>0.47965043695380699</c:v>
                </c:pt>
                <c:pt idx="26895">
                  <c:v>0.47966827180310301</c:v>
                </c:pt>
                <c:pt idx="26896">
                  <c:v>0.47968610665239803</c:v>
                </c:pt>
                <c:pt idx="26897">
                  <c:v>0.47970394150169399</c:v>
                </c:pt>
                <c:pt idx="26898">
                  <c:v>0.479721776350989</c:v>
                </c:pt>
                <c:pt idx="26899">
                  <c:v>0.47973961120028502</c:v>
                </c:pt>
                <c:pt idx="26900">
                  <c:v>0.47975744604957998</c:v>
                </c:pt>
                <c:pt idx="26901">
                  <c:v>0.479775280898876</c:v>
                </c:pt>
                <c:pt idx="26902">
                  <c:v>0.47979311574817102</c:v>
                </c:pt>
                <c:pt idx="26903">
                  <c:v>0.47981095059746698</c:v>
                </c:pt>
                <c:pt idx="26904">
                  <c:v>0.479828785446763</c:v>
                </c:pt>
                <c:pt idx="26905">
                  <c:v>0.47984662029605801</c:v>
                </c:pt>
                <c:pt idx="26906">
                  <c:v>0.47986445514535397</c:v>
                </c:pt>
                <c:pt idx="26907">
                  <c:v>0.47988228999464899</c:v>
                </c:pt>
                <c:pt idx="26908">
                  <c:v>0.47990012484394501</c:v>
                </c:pt>
                <c:pt idx="26909">
                  <c:v>0.47991795969324003</c:v>
                </c:pt>
                <c:pt idx="26910">
                  <c:v>0.47993579454253599</c:v>
                </c:pt>
                <c:pt idx="26911">
                  <c:v>0.479953629391831</c:v>
                </c:pt>
                <c:pt idx="26912">
                  <c:v>0.47997146424112702</c:v>
                </c:pt>
                <c:pt idx="26913">
                  <c:v>0.47998929909042198</c:v>
                </c:pt>
                <c:pt idx="26914">
                  <c:v>0.480007133939718</c:v>
                </c:pt>
                <c:pt idx="26915">
                  <c:v>0.48002496878901302</c:v>
                </c:pt>
                <c:pt idx="26916">
                  <c:v>0.48004280363830898</c:v>
                </c:pt>
                <c:pt idx="26917">
                  <c:v>0.480060638487604</c:v>
                </c:pt>
                <c:pt idx="26918">
                  <c:v>0.48007847333690001</c:v>
                </c:pt>
                <c:pt idx="26919">
                  <c:v>0.48009630818619498</c:v>
                </c:pt>
                <c:pt idx="26920">
                  <c:v>0.48011414303549099</c:v>
                </c:pt>
                <c:pt idx="26921">
                  <c:v>0.48013197788478601</c:v>
                </c:pt>
                <c:pt idx="26922">
                  <c:v>0.48014981273408203</c:v>
                </c:pt>
                <c:pt idx="26923">
                  <c:v>0.48016764758337699</c:v>
                </c:pt>
                <c:pt idx="26924">
                  <c:v>0.48018548243267301</c:v>
                </c:pt>
                <c:pt idx="26925">
                  <c:v>0.48020331728196802</c:v>
                </c:pt>
                <c:pt idx="26926">
                  <c:v>0.48022115213126398</c:v>
                </c:pt>
                <c:pt idx="26927">
                  <c:v>0.48023898698056</c:v>
                </c:pt>
                <c:pt idx="26928">
                  <c:v>0.48025682182985502</c:v>
                </c:pt>
                <c:pt idx="26929">
                  <c:v>0.48027465667915098</c:v>
                </c:pt>
                <c:pt idx="26930">
                  <c:v>0.480292491528446</c:v>
                </c:pt>
                <c:pt idx="26931">
                  <c:v>0.48031032637774201</c:v>
                </c:pt>
                <c:pt idx="26932">
                  <c:v>0.48032816122703698</c:v>
                </c:pt>
                <c:pt idx="26933">
                  <c:v>0.48034599607633299</c:v>
                </c:pt>
                <c:pt idx="26934">
                  <c:v>0.48036383092562801</c:v>
                </c:pt>
                <c:pt idx="26935">
                  <c:v>0.48038166577492403</c:v>
                </c:pt>
                <c:pt idx="26936">
                  <c:v>0.48039950062421899</c:v>
                </c:pt>
                <c:pt idx="26937">
                  <c:v>0.48041733547351501</c:v>
                </c:pt>
                <c:pt idx="26938">
                  <c:v>0.48043517032281002</c:v>
                </c:pt>
                <c:pt idx="26939">
                  <c:v>0.48045300517210598</c:v>
                </c:pt>
                <c:pt idx="26940">
                  <c:v>0.480470840021401</c:v>
                </c:pt>
                <c:pt idx="26941">
                  <c:v>0.48048867487069702</c:v>
                </c:pt>
                <c:pt idx="26942">
                  <c:v>0.48050650971999198</c:v>
                </c:pt>
                <c:pt idx="26943">
                  <c:v>0.480524344569288</c:v>
                </c:pt>
                <c:pt idx="26944">
                  <c:v>0.48054217941858302</c:v>
                </c:pt>
                <c:pt idx="26945">
                  <c:v>0.48056001426787898</c:v>
                </c:pt>
                <c:pt idx="26946">
                  <c:v>0.48057784911717399</c:v>
                </c:pt>
                <c:pt idx="26947">
                  <c:v>0.48059568396647001</c:v>
                </c:pt>
                <c:pt idx="26948">
                  <c:v>0.48061351881576603</c:v>
                </c:pt>
                <c:pt idx="26949">
                  <c:v>0.48063135366506099</c:v>
                </c:pt>
                <c:pt idx="26950">
                  <c:v>0.48064918851435701</c:v>
                </c:pt>
                <c:pt idx="26951">
                  <c:v>0.48066702336365202</c:v>
                </c:pt>
                <c:pt idx="26952">
                  <c:v>0.48068485821294799</c:v>
                </c:pt>
                <c:pt idx="26953">
                  <c:v>0.480702693062243</c:v>
                </c:pt>
                <c:pt idx="26954">
                  <c:v>0.48072052791153902</c:v>
                </c:pt>
                <c:pt idx="26955">
                  <c:v>0.48073836276083398</c:v>
                </c:pt>
                <c:pt idx="26956">
                  <c:v>0.48075619761013</c:v>
                </c:pt>
                <c:pt idx="26957">
                  <c:v>0.48077403245942502</c:v>
                </c:pt>
                <c:pt idx="26958">
                  <c:v>0.48079186730872098</c:v>
                </c:pt>
                <c:pt idx="26959">
                  <c:v>0.48080970215801599</c:v>
                </c:pt>
                <c:pt idx="26960">
                  <c:v>0.48082753700731201</c:v>
                </c:pt>
                <c:pt idx="26961">
                  <c:v>0.48084537185660697</c:v>
                </c:pt>
                <c:pt idx="26962">
                  <c:v>0.48086320670590299</c:v>
                </c:pt>
                <c:pt idx="26963">
                  <c:v>0.48088104155519801</c:v>
                </c:pt>
                <c:pt idx="26964">
                  <c:v>0.48089887640449402</c:v>
                </c:pt>
                <c:pt idx="26965">
                  <c:v>0.48091671125378899</c:v>
                </c:pt>
                <c:pt idx="26966">
                  <c:v>0.480934546103085</c:v>
                </c:pt>
                <c:pt idx="26967">
                  <c:v>0.48095238095238002</c:v>
                </c:pt>
                <c:pt idx="26968">
                  <c:v>0.48097021580167598</c:v>
                </c:pt>
                <c:pt idx="26969">
                  <c:v>0.480988050650972</c:v>
                </c:pt>
                <c:pt idx="26970">
                  <c:v>0.48100588550026702</c:v>
                </c:pt>
                <c:pt idx="26971">
                  <c:v>0.48102372034956298</c:v>
                </c:pt>
                <c:pt idx="26972">
                  <c:v>0.481041555198858</c:v>
                </c:pt>
                <c:pt idx="26973">
                  <c:v>0.48105939004815401</c:v>
                </c:pt>
                <c:pt idx="26974">
                  <c:v>0.48107722489744897</c:v>
                </c:pt>
                <c:pt idx="26975">
                  <c:v>0.48109505974674499</c:v>
                </c:pt>
                <c:pt idx="26976">
                  <c:v>0.48111289459604001</c:v>
                </c:pt>
                <c:pt idx="26977">
                  <c:v>0.48113072944533603</c:v>
                </c:pt>
                <c:pt idx="26978">
                  <c:v>0.48114856429463099</c:v>
                </c:pt>
                <c:pt idx="26979">
                  <c:v>0.481166399143927</c:v>
                </c:pt>
                <c:pt idx="26980">
                  <c:v>0.48118423399322202</c:v>
                </c:pt>
                <c:pt idx="26981">
                  <c:v>0.48120206884251798</c:v>
                </c:pt>
                <c:pt idx="26982">
                  <c:v>0.481219903691813</c:v>
                </c:pt>
                <c:pt idx="26983">
                  <c:v>0.48123773854110902</c:v>
                </c:pt>
                <c:pt idx="26984">
                  <c:v>0.48125557339040398</c:v>
                </c:pt>
                <c:pt idx="26985">
                  <c:v>0.4812734082397</c:v>
                </c:pt>
                <c:pt idx="26986">
                  <c:v>0.48129124308899501</c:v>
                </c:pt>
                <c:pt idx="26987">
                  <c:v>0.48130907793829097</c:v>
                </c:pt>
                <c:pt idx="26988">
                  <c:v>0.48132691278758599</c:v>
                </c:pt>
                <c:pt idx="26989">
                  <c:v>0.48134474763688201</c:v>
                </c:pt>
                <c:pt idx="26990">
                  <c:v>0.48136258248617703</c:v>
                </c:pt>
                <c:pt idx="26991">
                  <c:v>0.48138041733547299</c:v>
                </c:pt>
                <c:pt idx="26992">
                  <c:v>0.481398252184769</c:v>
                </c:pt>
                <c:pt idx="26993">
                  <c:v>0.48141608703406402</c:v>
                </c:pt>
                <c:pt idx="26994">
                  <c:v>0.48143392188335998</c:v>
                </c:pt>
                <c:pt idx="26995">
                  <c:v>0.481451756732655</c:v>
                </c:pt>
                <c:pt idx="26996">
                  <c:v>0.48146959158195102</c:v>
                </c:pt>
                <c:pt idx="26997">
                  <c:v>0.48148742643124598</c:v>
                </c:pt>
                <c:pt idx="26998">
                  <c:v>0.481505261280542</c:v>
                </c:pt>
                <c:pt idx="26999">
                  <c:v>0.48152309612983701</c:v>
                </c:pt>
                <c:pt idx="27000">
                  <c:v>0.48154093097913298</c:v>
                </c:pt>
                <c:pt idx="27001">
                  <c:v>0.48155876582842799</c:v>
                </c:pt>
                <c:pt idx="27002">
                  <c:v>0.48157660067772401</c:v>
                </c:pt>
                <c:pt idx="27003">
                  <c:v>0.48159443552701903</c:v>
                </c:pt>
                <c:pt idx="27004">
                  <c:v>0.48161227037631499</c:v>
                </c:pt>
                <c:pt idx="27005">
                  <c:v>0.48163010522561001</c:v>
                </c:pt>
                <c:pt idx="27006">
                  <c:v>0.48164794007490602</c:v>
                </c:pt>
                <c:pt idx="27007">
                  <c:v>0.48166577492420098</c:v>
                </c:pt>
                <c:pt idx="27008">
                  <c:v>0.481683609773497</c:v>
                </c:pt>
                <c:pt idx="27009">
                  <c:v>0.48170144462279202</c:v>
                </c:pt>
                <c:pt idx="27010">
                  <c:v>0.48171927947208798</c:v>
                </c:pt>
                <c:pt idx="27011">
                  <c:v>0.481737114321384</c:v>
                </c:pt>
                <c:pt idx="27012">
                  <c:v>0.48175494917067901</c:v>
                </c:pt>
                <c:pt idx="27013">
                  <c:v>0.48177278401997498</c:v>
                </c:pt>
                <c:pt idx="27014">
                  <c:v>0.48179061886926999</c:v>
                </c:pt>
                <c:pt idx="27015">
                  <c:v>0.48180845371856601</c:v>
                </c:pt>
                <c:pt idx="27016">
                  <c:v>0.48182628856786103</c:v>
                </c:pt>
                <c:pt idx="27017">
                  <c:v>0.48184412341715699</c:v>
                </c:pt>
                <c:pt idx="27018">
                  <c:v>0.48186195826645201</c:v>
                </c:pt>
                <c:pt idx="27019">
                  <c:v>0.48187979311574802</c:v>
                </c:pt>
                <c:pt idx="27020">
                  <c:v>0.48189762796504299</c:v>
                </c:pt>
                <c:pt idx="27021">
                  <c:v>0.481915462814339</c:v>
                </c:pt>
                <c:pt idx="27022">
                  <c:v>0.48193329766363402</c:v>
                </c:pt>
                <c:pt idx="27023">
                  <c:v>0.48195113251292998</c:v>
                </c:pt>
                <c:pt idx="27024">
                  <c:v>0.481968967362225</c:v>
                </c:pt>
                <c:pt idx="27025">
                  <c:v>0.48198680221152101</c:v>
                </c:pt>
                <c:pt idx="27026">
                  <c:v>0.48200463706081598</c:v>
                </c:pt>
                <c:pt idx="27027">
                  <c:v>0.48202247191011199</c:v>
                </c:pt>
                <c:pt idx="27028">
                  <c:v>0.48204030675940701</c:v>
                </c:pt>
                <c:pt idx="27029">
                  <c:v>0.48205814160870297</c:v>
                </c:pt>
                <c:pt idx="27030">
                  <c:v>0.48207597645799799</c:v>
                </c:pt>
                <c:pt idx="27031">
                  <c:v>0.48209381130729401</c:v>
                </c:pt>
                <c:pt idx="27032">
                  <c:v>0.48211164615658902</c:v>
                </c:pt>
                <c:pt idx="27033">
                  <c:v>0.48212948100588499</c:v>
                </c:pt>
                <c:pt idx="27034">
                  <c:v>0.482147315855181</c:v>
                </c:pt>
                <c:pt idx="27035">
                  <c:v>0.48216515070447602</c:v>
                </c:pt>
                <c:pt idx="27036">
                  <c:v>0.48218298555377198</c:v>
                </c:pt>
                <c:pt idx="27037">
                  <c:v>0.482200820403067</c:v>
                </c:pt>
                <c:pt idx="27038">
                  <c:v>0.48221865525236302</c:v>
                </c:pt>
                <c:pt idx="27039">
                  <c:v>0.48223649010165798</c:v>
                </c:pt>
                <c:pt idx="27040">
                  <c:v>0.48225432495095399</c:v>
                </c:pt>
                <c:pt idx="27041">
                  <c:v>0.48227215980024901</c:v>
                </c:pt>
                <c:pt idx="27042">
                  <c:v>0.48228999464954497</c:v>
                </c:pt>
                <c:pt idx="27043">
                  <c:v>0.48230782949883999</c:v>
                </c:pt>
                <c:pt idx="27044">
                  <c:v>0.48232566434813601</c:v>
                </c:pt>
                <c:pt idx="27045">
                  <c:v>0.48234349919743102</c:v>
                </c:pt>
                <c:pt idx="27046">
                  <c:v>0.48236133404672699</c:v>
                </c:pt>
                <c:pt idx="27047">
                  <c:v>0.482379168896022</c:v>
                </c:pt>
                <c:pt idx="27048">
                  <c:v>0.48239700374531802</c:v>
                </c:pt>
                <c:pt idx="27049">
                  <c:v>0.48241483859461298</c:v>
                </c:pt>
                <c:pt idx="27050">
                  <c:v>0.482432673443909</c:v>
                </c:pt>
                <c:pt idx="27051">
                  <c:v>0.48245050829320402</c:v>
                </c:pt>
                <c:pt idx="27052">
                  <c:v>0.48246834314249998</c:v>
                </c:pt>
                <c:pt idx="27053">
                  <c:v>0.48248617799179599</c:v>
                </c:pt>
                <c:pt idx="27054">
                  <c:v>0.48250401284109101</c:v>
                </c:pt>
                <c:pt idx="27055">
                  <c:v>0.48252184769038697</c:v>
                </c:pt>
                <c:pt idx="27056">
                  <c:v>0.48253968253968199</c:v>
                </c:pt>
                <c:pt idx="27057">
                  <c:v>0.48255751738897801</c:v>
                </c:pt>
                <c:pt idx="27058">
                  <c:v>0.48257535223827303</c:v>
                </c:pt>
                <c:pt idx="27059">
                  <c:v>0.48259318708756899</c:v>
                </c:pt>
                <c:pt idx="27060">
                  <c:v>0.482611021936864</c:v>
                </c:pt>
                <c:pt idx="27061">
                  <c:v>0.48262885678616002</c:v>
                </c:pt>
                <c:pt idx="27062">
                  <c:v>0.48264669163545498</c:v>
                </c:pt>
                <c:pt idx="27063">
                  <c:v>0.482664526484751</c:v>
                </c:pt>
                <c:pt idx="27064">
                  <c:v>0.48268236133404602</c:v>
                </c:pt>
                <c:pt idx="27065">
                  <c:v>0.48270019618334198</c:v>
                </c:pt>
                <c:pt idx="27066">
                  <c:v>0.482718031032637</c:v>
                </c:pt>
                <c:pt idx="27067">
                  <c:v>0.48273586588193301</c:v>
                </c:pt>
                <c:pt idx="27068">
                  <c:v>0.48275370073122797</c:v>
                </c:pt>
                <c:pt idx="27069">
                  <c:v>0.48277153558052399</c:v>
                </c:pt>
                <c:pt idx="27070">
                  <c:v>0.48278937042981901</c:v>
                </c:pt>
                <c:pt idx="27071">
                  <c:v>0.48280720527911503</c:v>
                </c:pt>
                <c:pt idx="27072">
                  <c:v>0.48282504012840999</c:v>
                </c:pt>
                <c:pt idx="27073">
                  <c:v>0.482842874977706</c:v>
                </c:pt>
                <c:pt idx="27074">
                  <c:v>0.48286070982700102</c:v>
                </c:pt>
                <c:pt idx="27075">
                  <c:v>0.48287854467629698</c:v>
                </c:pt>
                <c:pt idx="27076">
                  <c:v>0.482896379525593</c:v>
                </c:pt>
                <c:pt idx="27077">
                  <c:v>0.48291421437488802</c:v>
                </c:pt>
                <c:pt idx="27078">
                  <c:v>0.48293204922418398</c:v>
                </c:pt>
                <c:pt idx="27079">
                  <c:v>0.482949884073479</c:v>
                </c:pt>
                <c:pt idx="27080">
                  <c:v>0.48296771892277501</c:v>
                </c:pt>
                <c:pt idx="27081">
                  <c:v>0.48298555377206998</c:v>
                </c:pt>
                <c:pt idx="27082">
                  <c:v>0.48300338862136599</c:v>
                </c:pt>
                <c:pt idx="27083">
                  <c:v>0.48302122347066101</c:v>
                </c:pt>
                <c:pt idx="27084">
                  <c:v>0.48303905831995703</c:v>
                </c:pt>
                <c:pt idx="27085">
                  <c:v>0.48305689316925199</c:v>
                </c:pt>
                <c:pt idx="27086">
                  <c:v>0.48307472801854801</c:v>
                </c:pt>
                <c:pt idx="27087">
                  <c:v>0.48309256286784302</c:v>
                </c:pt>
                <c:pt idx="27088">
                  <c:v>0.48311039771713898</c:v>
                </c:pt>
                <c:pt idx="27089">
                  <c:v>0.483128232566434</c:v>
                </c:pt>
                <c:pt idx="27090">
                  <c:v>0.48314606741573002</c:v>
                </c:pt>
                <c:pt idx="27091">
                  <c:v>0.48316390226502498</c:v>
                </c:pt>
                <c:pt idx="27092">
                  <c:v>0.483181737114321</c:v>
                </c:pt>
                <c:pt idx="27093">
                  <c:v>0.48319957196361601</c:v>
                </c:pt>
                <c:pt idx="27094">
                  <c:v>0.48321740681291198</c:v>
                </c:pt>
                <c:pt idx="27095">
                  <c:v>0.48323524166220699</c:v>
                </c:pt>
                <c:pt idx="27096">
                  <c:v>0.48325307651150301</c:v>
                </c:pt>
                <c:pt idx="27097">
                  <c:v>0.48327091136079903</c:v>
                </c:pt>
                <c:pt idx="27098">
                  <c:v>0.48328874621009399</c:v>
                </c:pt>
                <c:pt idx="27099">
                  <c:v>0.48330658105939001</c:v>
                </c:pt>
                <c:pt idx="27100">
                  <c:v>0.48332441590868502</c:v>
                </c:pt>
                <c:pt idx="27101">
                  <c:v>0.48334225075798098</c:v>
                </c:pt>
                <c:pt idx="27102">
                  <c:v>0.483360085607276</c:v>
                </c:pt>
                <c:pt idx="27103">
                  <c:v>0.48337792045657202</c:v>
                </c:pt>
                <c:pt idx="27104">
                  <c:v>0.48339575530586698</c:v>
                </c:pt>
                <c:pt idx="27105">
                  <c:v>0.483413590155163</c:v>
                </c:pt>
                <c:pt idx="27106">
                  <c:v>0.48343142500445802</c:v>
                </c:pt>
                <c:pt idx="27107">
                  <c:v>0.48344925985375398</c:v>
                </c:pt>
                <c:pt idx="27108">
                  <c:v>0.48346709470304899</c:v>
                </c:pt>
                <c:pt idx="27109">
                  <c:v>0.48348492955234501</c:v>
                </c:pt>
                <c:pt idx="27110">
                  <c:v>0.48350276440163997</c:v>
                </c:pt>
                <c:pt idx="27111">
                  <c:v>0.48352059925093599</c:v>
                </c:pt>
                <c:pt idx="27112">
                  <c:v>0.48353843410023101</c:v>
                </c:pt>
                <c:pt idx="27113">
                  <c:v>0.48355626894952702</c:v>
                </c:pt>
                <c:pt idx="27114">
                  <c:v>0.48357410379882199</c:v>
                </c:pt>
                <c:pt idx="27115">
                  <c:v>0.483591938648118</c:v>
                </c:pt>
                <c:pt idx="27116">
                  <c:v>0.48360977349741302</c:v>
                </c:pt>
                <c:pt idx="27117">
                  <c:v>0.48362760834670898</c:v>
                </c:pt>
                <c:pt idx="27118">
                  <c:v>0.483645443196005</c:v>
                </c:pt>
                <c:pt idx="27119">
                  <c:v>0.48366327804530002</c:v>
                </c:pt>
                <c:pt idx="27120">
                  <c:v>0.48368111289459598</c:v>
                </c:pt>
                <c:pt idx="27121">
                  <c:v>0.48369894774389099</c:v>
                </c:pt>
                <c:pt idx="27122">
                  <c:v>0.48371678259318701</c:v>
                </c:pt>
                <c:pt idx="27123">
                  <c:v>0.48373461744248197</c:v>
                </c:pt>
                <c:pt idx="27124">
                  <c:v>0.48375245229177799</c:v>
                </c:pt>
                <c:pt idx="27125">
                  <c:v>0.48377028714107301</c:v>
                </c:pt>
                <c:pt idx="27126">
                  <c:v>0.48378812199036902</c:v>
                </c:pt>
                <c:pt idx="27127">
                  <c:v>0.48380595683966399</c:v>
                </c:pt>
                <c:pt idx="27128">
                  <c:v>0.48382379168896</c:v>
                </c:pt>
                <c:pt idx="27129">
                  <c:v>0.48384162653825502</c:v>
                </c:pt>
                <c:pt idx="27130">
                  <c:v>0.48385946138755098</c:v>
                </c:pt>
                <c:pt idx="27131">
                  <c:v>0.483877296236846</c:v>
                </c:pt>
                <c:pt idx="27132">
                  <c:v>0.48389513108614202</c:v>
                </c:pt>
                <c:pt idx="27133">
                  <c:v>0.48391296593543698</c:v>
                </c:pt>
                <c:pt idx="27134">
                  <c:v>0.483930800784733</c:v>
                </c:pt>
                <c:pt idx="27135">
                  <c:v>0.48394863563402801</c:v>
                </c:pt>
                <c:pt idx="27136">
                  <c:v>0.48396647048332397</c:v>
                </c:pt>
                <c:pt idx="27137">
                  <c:v>0.48398430533261899</c:v>
                </c:pt>
                <c:pt idx="27138">
                  <c:v>0.48400214018191501</c:v>
                </c:pt>
                <c:pt idx="27139">
                  <c:v>0.48401997503121003</c:v>
                </c:pt>
                <c:pt idx="27140">
                  <c:v>0.48403780988050599</c:v>
                </c:pt>
                <c:pt idx="27141">
                  <c:v>0.484055644729802</c:v>
                </c:pt>
                <c:pt idx="27142">
                  <c:v>0.48407347957909702</c:v>
                </c:pt>
                <c:pt idx="27143">
                  <c:v>0.48409131442839298</c:v>
                </c:pt>
                <c:pt idx="27144">
                  <c:v>0.484109149277688</c:v>
                </c:pt>
                <c:pt idx="27145">
                  <c:v>0.48412698412698402</c:v>
                </c:pt>
                <c:pt idx="27146">
                  <c:v>0.48414481897627898</c:v>
                </c:pt>
                <c:pt idx="27147">
                  <c:v>0.484162653825575</c:v>
                </c:pt>
                <c:pt idx="27148">
                  <c:v>0.48418048867487001</c:v>
                </c:pt>
                <c:pt idx="27149">
                  <c:v>0.48419832352416597</c:v>
                </c:pt>
                <c:pt idx="27150">
                  <c:v>0.48421615837346099</c:v>
                </c:pt>
                <c:pt idx="27151">
                  <c:v>0.48423399322275701</c:v>
                </c:pt>
                <c:pt idx="27152">
                  <c:v>0.48425182807205203</c:v>
                </c:pt>
                <c:pt idx="27153">
                  <c:v>0.48426966292134799</c:v>
                </c:pt>
                <c:pt idx="27154">
                  <c:v>0.48428749777064301</c:v>
                </c:pt>
                <c:pt idx="27155">
                  <c:v>0.48430533261993902</c:v>
                </c:pt>
                <c:pt idx="27156">
                  <c:v>0.48432316746923398</c:v>
                </c:pt>
                <c:pt idx="27157">
                  <c:v>0.48434100231853</c:v>
                </c:pt>
                <c:pt idx="27158">
                  <c:v>0.48435883716782502</c:v>
                </c:pt>
                <c:pt idx="27159">
                  <c:v>0.48437667201712098</c:v>
                </c:pt>
                <c:pt idx="27160">
                  <c:v>0.484394506866417</c:v>
                </c:pt>
                <c:pt idx="27161">
                  <c:v>0.48441234171571201</c:v>
                </c:pt>
                <c:pt idx="27162">
                  <c:v>0.48443017656500797</c:v>
                </c:pt>
                <c:pt idx="27163">
                  <c:v>0.48444801141430299</c:v>
                </c:pt>
                <c:pt idx="27164">
                  <c:v>0.48446584626359901</c:v>
                </c:pt>
                <c:pt idx="27165">
                  <c:v>0.48448368111289403</c:v>
                </c:pt>
                <c:pt idx="27166">
                  <c:v>0.48450151596218999</c:v>
                </c:pt>
                <c:pt idx="27167">
                  <c:v>0.48451935081148501</c:v>
                </c:pt>
                <c:pt idx="27168">
                  <c:v>0.48453718566078102</c:v>
                </c:pt>
                <c:pt idx="27169">
                  <c:v>0.48455502051007598</c:v>
                </c:pt>
                <c:pt idx="27170">
                  <c:v>0.484572855359372</c:v>
                </c:pt>
                <c:pt idx="27171">
                  <c:v>0.48459069020866702</c:v>
                </c:pt>
                <c:pt idx="27172">
                  <c:v>0.48460852505796298</c:v>
                </c:pt>
                <c:pt idx="27173">
                  <c:v>0.484626359907258</c:v>
                </c:pt>
                <c:pt idx="27174">
                  <c:v>0.48464419475655401</c:v>
                </c:pt>
                <c:pt idx="27175">
                  <c:v>0.48466202960584898</c:v>
                </c:pt>
                <c:pt idx="27176">
                  <c:v>0.48467986445514499</c:v>
                </c:pt>
                <c:pt idx="27177">
                  <c:v>0.48469769930444001</c:v>
                </c:pt>
                <c:pt idx="27178">
                  <c:v>0.48471553415373603</c:v>
                </c:pt>
                <c:pt idx="27179">
                  <c:v>0.48473336900303099</c:v>
                </c:pt>
                <c:pt idx="27180">
                  <c:v>0.48475120385232701</c:v>
                </c:pt>
                <c:pt idx="27181">
                  <c:v>0.48476903870162202</c:v>
                </c:pt>
                <c:pt idx="27182">
                  <c:v>0.48478687355091798</c:v>
                </c:pt>
                <c:pt idx="27183">
                  <c:v>0.484804708400214</c:v>
                </c:pt>
                <c:pt idx="27184">
                  <c:v>0.48482254324950902</c:v>
                </c:pt>
                <c:pt idx="27185">
                  <c:v>0.48484037809880498</c:v>
                </c:pt>
                <c:pt idx="27186">
                  <c:v>0.4848582129481</c:v>
                </c:pt>
                <c:pt idx="27187">
                  <c:v>0.48487604779739601</c:v>
                </c:pt>
                <c:pt idx="27188">
                  <c:v>0.48489388264669098</c:v>
                </c:pt>
                <c:pt idx="27189">
                  <c:v>0.48491171749598699</c:v>
                </c:pt>
                <c:pt idx="27190">
                  <c:v>0.48492955234528201</c:v>
                </c:pt>
                <c:pt idx="27191">
                  <c:v>0.48494738719457797</c:v>
                </c:pt>
                <c:pt idx="27192">
                  <c:v>0.48496522204387299</c:v>
                </c:pt>
                <c:pt idx="27193">
                  <c:v>0.48498305689316901</c:v>
                </c:pt>
                <c:pt idx="27194">
                  <c:v>0.48500089174246402</c:v>
                </c:pt>
                <c:pt idx="27195">
                  <c:v>0.48501872659175999</c:v>
                </c:pt>
                <c:pt idx="27196">
                  <c:v>0.485036561441055</c:v>
                </c:pt>
                <c:pt idx="27197">
                  <c:v>0.48505439629035102</c:v>
                </c:pt>
                <c:pt idx="27198">
                  <c:v>0.48507223113964598</c:v>
                </c:pt>
                <c:pt idx="27199">
                  <c:v>0.485090065988942</c:v>
                </c:pt>
                <c:pt idx="27200">
                  <c:v>0.48510790083823702</c:v>
                </c:pt>
                <c:pt idx="27201">
                  <c:v>0.48512573568753298</c:v>
                </c:pt>
                <c:pt idx="27202">
                  <c:v>0.48514357053682799</c:v>
                </c:pt>
                <c:pt idx="27203">
                  <c:v>0.48516140538612401</c:v>
                </c:pt>
                <c:pt idx="27204">
                  <c:v>0.48517924023541997</c:v>
                </c:pt>
                <c:pt idx="27205">
                  <c:v>0.48519707508471499</c:v>
                </c:pt>
                <c:pt idx="27206">
                  <c:v>0.48521490993401101</c:v>
                </c:pt>
                <c:pt idx="27207">
                  <c:v>0.48523274478330602</c:v>
                </c:pt>
                <c:pt idx="27208">
                  <c:v>0.48525057963260199</c:v>
                </c:pt>
                <c:pt idx="27209">
                  <c:v>0.485268414481897</c:v>
                </c:pt>
                <c:pt idx="27210">
                  <c:v>0.48528624933119302</c:v>
                </c:pt>
                <c:pt idx="27211">
                  <c:v>0.48530408418048798</c:v>
                </c:pt>
                <c:pt idx="27212">
                  <c:v>0.485321919029784</c:v>
                </c:pt>
                <c:pt idx="27213">
                  <c:v>0.48533975387907902</c:v>
                </c:pt>
                <c:pt idx="27214">
                  <c:v>0.48535758872837498</c:v>
                </c:pt>
                <c:pt idx="27215">
                  <c:v>0.48537542357767</c:v>
                </c:pt>
                <c:pt idx="27216">
                  <c:v>0.48539325842696601</c:v>
                </c:pt>
                <c:pt idx="27217">
                  <c:v>0.48541109327626097</c:v>
                </c:pt>
                <c:pt idx="27218">
                  <c:v>0.48542892812555699</c:v>
                </c:pt>
                <c:pt idx="27219">
                  <c:v>0.48544676297485201</c:v>
                </c:pt>
                <c:pt idx="27220">
                  <c:v>0.48546459782414803</c:v>
                </c:pt>
                <c:pt idx="27221">
                  <c:v>0.48548243267344299</c:v>
                </c:pt>
                <c:pt idx="27222">
                  <c:v>0.485500267522739</c:v>
                </c:pt>
                <c:pt idx="27223">
                  <c:v>0.48551810237203402</c:v>
                </c:pt>
                <c:pt idx="27224">
                  <c:v>0.48553593722132998</c:v>
                </c:pt>
                <c:pt idx="27225">
                  <c:v>0.485553772070626</c:v>
                </c:pt>
                <c:pt idx="27226">
                  <c:v>0.48557160691992102</c:v>
                </c:pt>
                <c:pt idx="27227">
                  <c:v>0.48558944176921698</c:v>
                </c:pt>
                <c:pt idx="27228">
                  <c:v>0.485607276618512</c:v>
                </c:pt>
                <c:pt idx="27229">
                  <c:v>0.48562511146780801</c:v>
                </c:pt>
                <c:pt idx="27230">
                  <c:v>0.48564294631710297</c:v>
                </c:pt>
                <c:pt idx="27231">
                  <c:v>0.48566078116639899</c:v>
                </c:pt>
                <c:pt idx="27232">
                  <c:v>0.48567861601569401</c:v>
                </c:pt>
                <c:pt idx="27233">
                  <c:v>0.48569645086499003</c:v>
                </c:pt>
                <c:pt idx="27234">
                  <c:v>0.48571428571428499</c:v>
                </c:pt>
                <c:pt idx="27235">
                  <c:v>0.485732120563581</c:v>
                </c:pt>
                <c:pt idx="27236">
                  <c:v>0.48574995541287602</c:v>
                </c:pt>
                <c:pt idx="27237">
                  <c:v>0.48576779026217198</c:v>
                </c:pt>
                <c:pt idx="27238">
                  <c:v>0.485785625111467</c:v>
                </c:pt>
                <c:pt idx="27239">
                  <c:v>0.48580345996076302</c:v>
                </c:pt>
                <c:pt idx="27240">
                  <c:v>0.48582129481005798</c:v>
                </c:pt>
                <c:pt idx="27241">
                  <c:v>0.485839129659354</c:v>
                </c:pt>
                <c:pt idx="27242">
                  <c:v>0.48585696450864901</c:v>
                </c:pt>
                <c:pt idx="27243">
                  <c:v>0.48587479935794498</c:v>
                </c:pt>
                <c:pt idx="27244">
                  <c:v>0.48589263420723999</c:v>
                </c:pt>
                <c:pt idx="27245">
                  <c:v>0.48591046905653601</c:v>
                </c:pt>
                <c:pt idx="27246">
                  <c:v>0.48592830390583103</c:v>
                </c:pt>
                <c:pt idx="27247">
                  <c:v>0.48594613875512699</c:v>
                </c:pt>
                <c:pt idx="27248">
                  <c:v>0.48596397360442301</c:v>
                </c:pt>
                <c:pt idx="27249">
                  <c:v>0.48598180845371802</c:v>
                </c:pt>
                <c:pt idx="27250">
                  <c:v>0.48599964330301398</c:v>
                </c:pt>
                <c:pt idx="27251">
                  <c:v>0.486017478152309</c:v>
                </c:pt>
                <c:pt idx="27252">
                  <c:v>0.48603531300160502</c:v>
                </c:pt>
                <c:pt idx="27253">
                  <c:v>0.48605314785089998</c:v>
                </c:pt>
                <c:pt idx="27254">
                  <c:v>0.486070982700196</c:v>
                </c:pt>
                <c:pt idx="27255">
                  <c:v>0.48608881754949101</c:v>
                </c:pt>
                <c:pt idx="27256">
                  <c:v>0.48610665239878698</c:v>
                </c:pt>
                <c:pt idx="27257">
                  <c:v>0.48612448724808199</c:v>
                </c:pt>
                <c:pt idx="27258">
                  <c:v>0.48614232209737801</c:v>
                </c:pt>
                <c:pt idx="27259">
                  <c:v>0.48616015694667303</c:v>
                </c:pt>
                <c:pt idx="27260">
                  <c:v>0.48617799179596899</c:v>
                </c:pt>
                <c:pt idx="27261">
                  <c:v>0.48619582664526401</c:v>
                </c:pt>
                <c:pt idx="27262">
                  <c:v>0.48621366149456002</c:v>
                </c:pt>
                <c:pt idx="27263">
                  <c:v>0.48623149634385499</c:v>
                </c:pt>
                <c:pt idx="27264">
                  <c:v>0.486249331193151</c:v>
                </c:pt>
                <c:pt idx="27265">
                  <c:v>0.48626716604244602</c:v>
                </c:pt>
                <c:pt idx="27266">
                  <c:v>0.48628500089174198</c:v>
                </c:pt>
                <c:pt idx="27267">
                  <c:v>0.486302835741038</c:v>
                </c:pt>
                <c:pt idx="27268">
                  <c:v>0.48632067059033302</c:v>
                </c:pt>
                <c:pt idx="27269">
                  <c:v>0.48633850543962898</c:v>
                </c:pt>
                <c:pt idx="27270">
                  <c:v>0.48635634028892399</c:v>
                </c:pt>
                <c:pt idx="27271">
                  <c:v>0.48637417513822001</c:v>
                </c:pt>
                <c:pt idx="27272">
                  <c:v>0.48639200998751497</c:v>
                </c:pt>
                <c:pt idx="27273">
                  <c:v>0.48640984483681099</c:v>
                </c:pt>
                <c:pt idx="27274">
                  <c:v>0.48642767968610601</c:v>
                </c:pt>
                <c:pt idx="27275">
                  <c:v>0.48644551453540202</c:v>
                </c:pt>
                <c:pt idx="27276">
                  <c:v>0.48646334938469699</c:v>
                </c:pt>
                <c:pt idx="27277">
                  <c:v>0.486481184233993</c:v>
                </c:pt>
                <c:pt idx="27278">
                  <c:v>0.48649901908328802</c:v>
                </c:pt>
                <c:pt idx="27279">
                  <c:v>0.48651685393258398</c:v>
                </c:pt>
                <c:pt idx="27280">
                  <c:v>0.486534688781879</c:v>
                </c:pt>
                <c:pt idx="27281">
                  <c:v>0.48655252363117502</c:v>
                </c:pt>
                <c:pt idx="27282">
                  <c:v>0.48657035848046998</c:v>
                </c:pt>
                <c:pt idx="27283">
                  <c:v>0.48658819332976599</c:v>
                </c:pt>
                <c:pt idx="27284">
                  <c:v>0.48660602817906101</c:v>
                </c:pt>
                <c:pt idx="27285">
                  <c:v>0.48662386302835697</c:v>
                </c:pt>
                <c:pt idx="27286">
                  <c:v>0.48664169787765199</c:v>
                </c:pt>
                <c:pt idx="27287">
                  <c:v>0.48665953272694801</c:v>
                </c:pt>
                <c:pt idx="27288">
                  <c:v>0.48667736757624303</c:v>
                </c:pt>
                <c:pt idx="27289">
                  <c:v>0.48669520242553899</c:v>
                </c:pt>
                <c:pt idx="27290">
                  <c:v>0.486713037274835</c:v>
                </c:pt>
                <c:pt idx="27291">
                  <c:v>0.48673087212413002</c:v>
                </c:pt>
                <c:pt idx="27292">
                  <c:v>0.48674870697342598</c:v>
                </c:pt>
                <c:pt idx="27293">
                  <c:v>0.486766541822721</c:v>
                </c:pt>
                <c:pt idx="27294">
                  <c:v>0.48678437667201702</c:v>
                </c:pt>
                <c:pt idx="27295">
                  <c:v>0.48680221152131198</c:v>
                </c:pt>
                <c:pt idx="27296">
                  <c:v>0.486820046370608</c:v>
                </c:pt>
                <c:pt idx="27297">
                  <c:v>0.48683788121990301</c:v>
                </c:pt>
                <c:pt idx="27298">
                  <c:v>0.48685571606919897</c:v>
                </c:pt>
                <c:pt idx="27299">
                  <c:v>0.48687355091849399</c:v>
                </c:pt>
                <c:pt idx="27300">
                  <c:v>0.48689138576779001</c:v>
                </c:pt>
                <c:pt idx="27301">
                  <c:v>0.48690922061708503</c:v>
                </c:pt>
                <c:pt idx="27302">
                  <c:v>0.48692705546638099</c:v>
                </c:pt>
                <c:pt idx="27303">
                  <c:v>0.486944890315676</c:v>
                </c:pt>
                <c:pt idx="27304">
                  <c:v>0.48696272516497202</c:v>
                </c:pt>
                <c:pt idx="27305">
                  <c:v>0.48698056001426698</c:v>
                </c:pt>
                <c:pt idx="27306">
                  <c:v>0.486998394863563</c:v>
                </c:pt>
                <c:pt idx="27307">
                  <c:v>0.48701622971285802</c:v>
                </c:pt>
                <c:pt idx="27308">
                  <c:v>0.48703406456215398</c:v>
                </c:pt>
                <c:pt idx="27309">
                  <c:v>0.48705189941145</c:v>
                </c:pt>
                <c:pt idx="27310">
                  <c:v>0.48706973426074501</c:v>
                </c:pt>
                <c:pt idx="27311">
                  <c:v>0.48708756911004097</c:v>
                </c:pt>
                <c:pt idx="27312">
                  <c:v>0.48710540395933599</c:v>
                </c:pt>
                <c:pt idx="27313">
                  <c:v>0.48712323880863201</c:v>
                </c:pt>
                <c:pt idx="27314">
                  <c:v>0.48714107365792703</c:v>
                </c:pt>
                <c:pt idx="27315">
                  <c:v>0.48715890850722299</c:v>
                </c:pt>
                <c:pt idx="27316">
                  <c:v>0.487176743356518</c:v>
                </c:pt>
                <c:pt idx="27317">
                  <c:v>0.48719457820581402</c:v>
                </c:pt>
                <c:pt idx="27318">
                  <c:v>0.48721241305510898</c:v>
                </c:pt>
                <c:pt idx="27319">
                  <c:v>0.487230247904405</c:v>
                </c:pt>
                <c:pt idx="27320">
                  <c:v>0.48724808275370002</c:v>
                </c:pt>
                <c:pt idx="27321">
                  <c:v>0.48726591760299598</c:v>
                </c:pt>
                <c:pt idx="27322">
                  <c:v>0.487283752452291</c:v>
                </c:pt>
                <c:pt idx="27323">
                  <c:v>0.48730158730158701</c:v>
                </c:pt>
                <c:pt idx="27324">
                  <c:v>0.48731942215088198</c:v>
                </c:pt>
                <c:pt idx="27325">
                  <c:v>0.48733725700017799</c:v>
                </c:pt>
                <c:pt idx="27326">
                  <c:v>0.48735509184947301</c:v>
                </c:pt>
                <c:pt idx="27327">
                  <c:v>0.48737292669876903</c:v>
                </c:pt>
                <c:pt idx="27328">
                  <c:v>0.48739076154806399</c:v>
                </c:pt>
                <c:pt idx="27329">
                  <c:v>0.48740859639736001</c:v>
                </c:pt>
                <c:pt idx="27330">
                  <c:v>0.48742643124665502</c:v>
                </c:pt>
                <c:pt idx="27331">
                  <c:v>0.48744426609595098</c:v>
                </c:pt>
                <c:pt idx="27332">
                  <c:v>0.487462100945247</c:v>
                </c:pt>
                <c:pt idx="27333">
                  <c:v>0.48747993579454202</c:v>
                </c:pt>
                <c:pt idx="27334">
                  <c:v>0.48749777064383798</c:v>
                </c:pt>
                <c:pt idx="27335">
                  <c:v>0.487515605493133</c:v>
                </c:pt>
                <c:pt idx="27336">
                  <c:v>0.48753344034242901</c:v>
                </c:pt>
                <c:pt idx="27337">
                  <c:v>0.48755127519172398</c:v>
                </c:pt>
                <c:pt idx="27338">
                  <c:v>0.48756911004101999</c:v>
                </c:pt>
                <c:pt idx="27339">
                  <c:v>0.48758694489031501</c:v>
                </c:pt>
                <c:pt idx="27340">
                  <c:v>0.48760477973961103</c:v>
                </c:pt>
                <c:pt idx="27341">
                  <c:v>0.48762261458890599</c:v>
                </c:pt>
                <c:pt idx="27342">
                  <c:v>0.48764044943820201</c:v>
                </c:pt>
                <c:pt idx="27343">
                  <c:v>0.48765828428749702</c:v>
                </c:pt>
                <c:pt idx="27344">
                  <c:v>0.48767611913679298</c:v>
                </c:pt>
                <c:pt idx="27345">
                  <c:v>0.487693953986088</c:v>
                </c:pt>
                <c:pt idx="27346">
                  <c:v>0.48771178883538402</c:v>
                </c:pt>
                <c:pt idx="27347">
                  <c:v>0.48772962368467898</c:v>
                </c:pt>
                <c:pt idx="27348">
                  <c:v>0.487747458533975</c:v>
                </c:pt>
                <c:pt idx="27349">
                  <c:v>0.48776529338327002</c:v>
                </c:pt>
                <c:pt idx="27350">
                  <c:v>0.48778312823256598</c:v>
                </c:pt>
                <c:pt idx="27351">
                  <c:v>0.48780096308186099</c:v>
                </c:pt>
                <c:pt idx="27352">
                  <c:v>0.48781879793115701</c:v>
                </c:pt>
                <c:pt idx="27353">
                  <c:v>0.48783663278045297</c:v>
                </c:pt>
                <c:pt idx="27354">
                  <c:v>0.48785446762974799</c:v>
                </c:pt>
                <c:pt idx="27355">
                  <c:v>0.48787230247904401</c:v>
                </c:pt>
                <c:pt idx="27356">
                  <c:v>0.48789013732833902</c:v>
                </c:pt>
                <c:pt idx="27357">
                  <c:v>0.48790797217763499</c:v>
                </c:pt>
                <c:pt idx="27358">
                  <c:v>0.48792580702693</c:v>
                </c:pt>
                <c:pt idx="27359">
                  <c:v>0.48794364187622602</c:v>
                </c:pt>
                <c:pt idx="27360">
                  <c:v>0.48796147672552098</c:v>
                </c:pt>
                <c:pt idx="27361">
                  <c:v>0.487979311574817</c:v>
                </c:pt>
                <c:pt idx="27362">
                  <c:v>0.48799714642411202</c:v>
                </c:pt>
                <c:pt idx="27363">
                  <c:v>0.48801498127340798</c:v>
                </c:pt>
                <c:pt idx="27364">
                  <c:v>0.48803281612270299</c:v>
                </c:pt>
                <c:pt idx="27365">
                  <c:v>0.48805065097199901</c:v>
                </c:pt>
                <c:pt idx="27366">
                  <c:v>0.48806848582129397</c:v>
                </c:pt>
                <c:pt idx="27367">
                  <c:v>0.48808632067058999</c:v>
                </c:pt>
                <c:pt idx="27368">
                  <c:v>0.48810415551988501</c:v>
                </c:pt>
                <c:pt idx="27369">
                  <c:v>0.48812199036918102</c:v>
                </c:pt>
                <c:pt idx="27370">
                  <c:v>0.48813982521847599</c:v>
                </c:pt>
                <c:pt idx="27371">
                  <c:v>0.488157660067772</c:v>
                </c:pt>
                <c:pt idx="27372">
                  <c:v>0.48817549491706702</c:v>
                </c:pt>
                <c:pt idx="27373">
                  <c:v>0.48819332976636298</c:v>
                </c:pt>
                <c:pt idx="27374">
                  <c:v>0.488211164615659</c:v>
                </c:pt>
                <c:pt idx="27375">
                  <c:v>0.48822899946495402</c:v>
                </c:pt>
                <c:pt idx="27376">
                  <c:v>0.48824683431424998</c:v>
                </c:pt>
                <c:pt idx="27377">
                  <c:v>0.488264669163545</c:v>
                </c:pt>
                <c:pt idx="27378">
                  <c:v>0.48828250401284101</c:v>
                </c:pt>
                <c:pt idx="27379">
                  <c:v>0.48830033886213597</c:v>
                </c:pt>
                <c:pt idx="27380">
                  <c:v>0.48831817371143199</c:v>
                </c:pt>
                <c:pt idx="27381">
                  <c:v>0.48833600856072701</c:v>
                </c:pt>
                <c:pt idx="27382">
                  <c:v>0.48835384341002303</c:v>
                </c:pt>
                <c:pt idx="27383">
                  <c:v>0.48837167825931799</c:v>
                </c:pt>
                <c:pt idx="27384">
                  <c:v>0.488389513108614</c:v>
                </c:pt>
                <c:pt idx="27385">
                  <c:v>0.48840734795790902</c:v>
                </c:pt>
                <c:pt idx="27386">
                  <c:v>0.48842518280720498</c:v>
                </c:pt>
                <c:pt idx="27387">
                  <c:v>0.4884430176565</c:v>
                </c:pt>
                <c:pt idx="27388">
                  <c:v>0.48846085250579602</c:v>
                </c:pt>
                <c:pt idx="27389">
                  <c:v>0.48847868735509098</c:v>
                </c:pt>
                <c:pt idx="27390">
                  <c:v>0.488496522204387</c:v>
                </c:pt>
                <c:pt idx="27391">
                  <c:v>0.48851435705368201</c:v>
                </c:pt>
                <c:pt idx="27392">
                  <c:v>0.48853219190297797</c:v>
                </c:pt>
                <c:pt idx="27393">
                  <c:v>0.48855002675227299</c:v>
                </c:pt>
                <c:pt idx="27394">
                  <c:v>0.48856786160156901</c:v>
                </c:pt>
                <c:pt idx="27395">
                  <c:v>0.48858569645086403</c:v>
                </c:pt>
                <c:pt idx="27396">
                  <c:v>0.48860353130015999</c:v>
                </c:pt>
                <c:pt idx="27397">
                  <c:v>0.488621366149456</c:v>
                </c:pt>
                <c:pt idx="27398">
                  <c:v>0.48863920099875102</c:v>
                </c:pt>
                <c:pt idx="27399">
                  <c:v>0.48865703584804698</c:v>
                </c:pt>
                <c:pt idx="27400">
                  <c:v>0.488674870697342</c:v>
                </c:pt>
                <c:pt idx="27401">
                  <c:v>0.48869270554663802</c:v>
                </c:pt>
                <c:pt idx="27402">
                  <c:v>0.48871054039593298</c:v>
                </c:pt>
                <c:pt idx="27403">
                  <c:v>0.488728375245229</c:v>
                </c:pt>
                <c:pt idx="27404">
                  <c:v>0.48874621009452401</c:v>
                </c:pt>
                <c:pt idx="27405">
                  <c:v>0.48876404494381998</c:v>
                </c:pt>
                <c:pt idx="27406">
                  <c:v>0.48878187979311499</c:v>
                </c:pt>
                <c:pt idx="27407">
                  <c:v>0.48879971464241101</c:v>
                </c:pt>
                <c:pt idx="27408">
                  <c:v>0.48881754949170603</c:v>
                </c:pt>
                <c:pt idx="27409">
                  <c:v>0.48883538434100199</c:v>
                </c:pt>
                <c:pt idx="27410">
                  <c:v>0.48885321919029701</c:v>
                </c:pt>
                <c:pt idx="27411">
                  <c:v>0.48887105403959302</c:v>
                </c:pt>
                <c:pt idx="27412">
                  <c:v>0.48888888888888798</c:v>
                </c:pt>
                <c:pt idx="27413">
                  <c:v>0.488906723738184</c:v>
                </c:pt>
                <c:pt idx="27414">
                  <c:v>0.48892455858747902</c:v>
                </c:pt>
                <c:pt idx="27415">
                  <c:v>0.48894239343677498</c:v>
                </c:pt>
                <c:pt idx="27416">
                  <c:v>0.488960228286071</c:v>
                </c:pt>
                <c:pt idx="27417">
                  <c:v>0.48897806313536601</c:v>
                </c:pt>
                <c:pt idx="27418">
                  <c:v>0.48899589798466198</c:v>
                </c:pt>
                <c:pt idx="27419">
                  <c:v>0.48901373283395699</c:v>
                </c:pt>
                <c:pt idx="27420">
                  <c:v>0.48903156768325301</c:v>
                </c:pt>
                <c:pt idx="27421">
                  <c:v>0.48904940253254803</c:v>
                </c:pt>
                <c:pt idx="27422">
                  <c:v>0.48906723738184399</c:v>
                </c:pt>
                <c:pt idx="27423">
                  <c:v>0.48908507223113901</c:v>
                </c:pt>
                <c:pt idx="27424">
                  <c:v>0.48910290708043502</c:v>
                </c:pt>
                <c:pt idx="27425">
                  <c:v>0.48912074192972999</c:v>
                </c:pt>
                <c:pt idx="27426">
                  <c:v>0.489138576779026</c:v>
                </c:pt>
                <c:pt idx="27427">
                  <c:v>0.48915641162832102</c:v>
                </c:pt>
                <c:pt idx="27428">
                  <c:v>0.48917424647761698</c:v>
                </c:pt>
                <c:pt idx="27429">
                  <c:v>0.489192081326912</c:v>
                </c:pt>
                <c:pt idx="27430">
                  <c:v>0.48920991617620802</c:v>
                </c:pt>
                <c:pt idx="27431">
                  <c:v>0.48922775102550298</c:v>
                </c:pt>
                <c:pt idx="27432">
                  <c:v>0.48924558587479899</c:v>
                </c:pt>
                <c:pt idx="27433">
                  <c:v>0.48926342072409401</c:v>
                </c:pt>
                <c:pt idx="27434">
                  <c:v>0.48928125557338997</c:v>
                </c:pt>
                <c:pt idx="27435">
                  <c:v>0.48929909042268499</c:v>
                </c:pt>
                <c:pt idx="27436">
                  <c:v>0.48931692527198101</c:v>
                </c:pt>
                <c:pt idx="27437">
                  <c:v>0.48933476012127602</c:v>
                </c:pt>
                <c:pt idx="27438">
                  <c:v>0.48935259497057199</c:v>
                </c:pt>
                <c:pt idx="27439">
                  <c:v>0.489370429819868</c:v>
                </c:pt>
                <c:pt idx="27440">
                  <c:v>0.48938826466916302</c:v>
                </c:pt>
                <c:pt idx="27441">
                  <c:v>0.48940609951845898</c:v>
                </c:pt>
                <c:pt idx="27442">
                  <c:v>0.489423934367754</c:v>
                </c:pt>
                <c:pt idx="27443">
                  <c:v>0.48944176921705002</c:v>
                </c:pt>
                <c:pt idx="27444">
                  <c:v>0.48945960406634498</c:v>
                </c:pt>
                <c:pt idx="27445">
                  <c:v>0.48947743891564099</c:v>
                </c:pt>
                <c:pt idx="27446">
                  <c:v>0.48949527376493601</c:v>
                </c:pt>
                <c:pt idx="27447">
                  <c:v>0.48951310861423197</c:v>
                </c:pt>
                <c:pt idx="27448">
                  <c:v>0.48953094346352699</c:v>
                </c:pt>
                <c:pt idx="27449">
                  <c:v>0.48954877831282301</c:v>
                </c:pt>
                <c:pt idx="27450">
                  <c:v>0.48956661316211803</c:v>
                </c:pt>
                <c:pt idx="27451">
                  <c:v>0.48958444801141399</c:v>
                </c:pt>
                <c:pt idx="27452">
                  <c:v>0.489602282860709</c:v>
                </c:pt>
                <c:pt idx="27453">
                  <c:v>0.48962011771000502</c:v>
                </c:pt>
                <c:pt idx="27454">
                  <c:v>0.48963795255929998</c:v>
                </c:pt>
                <c:pt idx="27455">
                  <c:v>0.489655787408596</c:v>
                </c:pt>
                <c:pt idx="27456">
                  <c:v>0.48967362225789102</c:v>
                </c:pt>
                <c:pt idx="27457">
                  <c:v>0.48969145710718698</c:v>
                </c:pt>
                <c:pt idx="27458">
                  <c:v>0.48970929195648299</c:v>
                </c:pt>
                <c:pt idx="27459">
                  <c:v>0.48972712680577801</c:v>
                </c:pt>
                <c:pt idx="27460">
                  <c:v>0.48974496165507397</c:v>
                </c:pt>
                <c:pt idx="27461">
                  <c:v>0.48976279650436899</c:v>
                </c:pt>
                <c:pt idx="27462">
                  <c:v>0.48978063135366501</c:v>
                </c:pt>
                <c:pt idx="27463">
                  <c:v>0.48979846620296003</c:v>
                </c:pt>
                <c:pt idx="27464">
                  <c:v>0.48981630105225599</c:v>
                </c:pt>
                <c:pt idx="27465">
                  <c:v>0.489834135901551</c:v>
                </c:pt>
                <c:pt idx="27466">
                  <c:v>0.48985197075084702</c:v>
                </c:pt>
                <c:pt idx="27467">
                  <c:v>0.48986980560014198</c:v>
                </c:pt>
                <c:pt idx="27468">
                  <c:v>0.489887640449438</c:v>
                </c:pt>
                <c:pt idx="27469">
                  <c:v>0.48990547529873302</c:v>
                </c:pt>
                <c:pt idx="27470">
                  <c:v>0.48992331014802898</c:v>
                </c:pt>
                <c:pt idx="27471">
                  <c:v>0.489941144997324</c:v>
                </c:pt>
                <c:pt idx="27472">
                  <c:v>0.48995897984662001</c:v>
                </c:pt>
                <c:pt idx="27473">
                  <c:v>0.48997681469591498</c:v>
                </c:pt>
                <c:pt idx="27474">
                  <c:v>0.48999464954521099</c:v>
                </c:pt>
                <c:pt idx="27475">
                  <c:v>0.49001248439450601</c:v>
                </c:pt>
                <c:pt idx="27476">
                  <c:v>0.49003031924380203</c:v>
                </c:pt>
                <c:pt idx="27477">
                  <c:v>0.49004815409309699</c:v>
                </c:pt>
                <c:pt idx="27478">
                  <c:v>0.490065988942393</c:v>
                </c:pt>
                <c:pt idx="27479">
                  <c:v>0.49008382379168802</c:v>
                </c:pt>
                <c:pt idx="27480">
                  <c:v>0.49010165864098398</c:v>
                </c:pt>
                <c:pt idx="27481">
                  <c:v>0.49011949349028</c:v>
                </c:pt>
                <c:pt idx="27482">
                  <c:v>0.49013732833957502</c:v>
                </c:pt>
                <c:pt idx="27483">
                  <c:v>0.49015516318887098</c:v>
                </c:pt>
                <c:pt idx="27484">
                  <c:v>0.490172998038166</c:v>
                </c:pt>
                <c:pt idx="27485">
                  <c:v>0.49019083288746201</c:v>
                </c:pt>
                <c:pt idx="27486">
                  <c:v>0.49020866773675698</c:v>
                </c:pt>
                <c:pt idx="27487">
                  <c:v>0.49022650258605299</c:v>
                </c:pt>
                <c:pt idx="27488">
                  <c:v>0.49024433743534801</c:v>
                </c:pt>
                <c:pt idx="27489">
                  <c:v>0.49026217228464403</c:v>
                </c:pt>
                <c:pt idx="27490">
                  <c:v>0.49028000713393899</c:v>
                </c:pt>
                <c:pt idx="27491">
                  <c:v>0.49029784198323501</c:v>
                </c:pt>
                <c:pt idx="27492">
                  <c:v>0.49031567683253002</c:v>
                </c:pt>
                <c:pt idx="27493">
                  <c:v>0.49033351168182598</c:v>
                </c:pt>
                <c:pt idx="27494">
                  <c:v>0.490351346531121</c:v>
                </c:pt>
                <c:pt idx="27495">
                  <c:v>0.49036918138041702</c:v>
                </c:pt>
                <c:pt idx="27496">
                  <c:v>0.49038701622971198</c:v>
                </c:pt>
                <c:pt idx="27497">
                  <c:v>0.490404851079008</c:v>
                </c:pt>
                <c:pt idx="27498">
                  <c:v>0.49042268592830301</c:v>
                </c:pt>
                <c:pt idx="27499">
                  <c:v>0.49044052077759898</c:v>
                </c:pt>
                <c:pt idx="27500">
                  <c:v>0.49045835562689399</c:v>
                </c:pt>
                <c:pt idx="27501">
                  <c:v>0.49047619047619001</c:v>
                </c:pt>
                <c:pt idx="27502">
                  <c:v>0.49049402532548603</c:v>
                </c:pt>
                <c:pt idx="27503">
                  <c:v>0.49051186017478099</c:v>
                </c:pt>
                <c:pt idx="27504">
                  <c:v>0.49052969502407701</c:v>
                </c:pt>
                <c:pt idx="27505">
                  <c:v>0.49054752987337202</c:v>
                </c:pt>
                <c:pt idx="27506">
                  <c:v>0.49056536472266798</c:v>
                </c:pt>
                <c:pt idx="27507">
                  <c:v>0.490583199571963</c:v>
                </c:pt>
                <c:pt idx="27508">
                  <c:v>0.49060103442125902</c:v>
                </c:pt>
                <c:pt idx="27509">
                  <c:v>0.49061886927055398</c:v>
                </c:pt>
                <c:pt idx="27510">
                  <c:v>0.49063670411985</c:v>
                </c:pt>
                <c:pt idx="27511">
                  <c:v>0.49065453896914502</c:v>
                </c:pt>
                <c:pt idx="27512">
                  <c:v>0.49067237381844098</c:v>
                </c:pt>
                <c:pt idx="27513">
                  <c:v>0.49069020866773599</c:v>
                </c:pt>
                <c:pt idx="27514">
                  <c:v>0.49070804351703201</c:v>
                </c:pt>
                <c:pt idx="27515">
                  <c:v>0.49072587836632697</c:v>
                </c:pt>
                <c:pt idx="27516">
                  <c:v>0.49074371321562299</c:v>
                </c:pt>
                <c:pt idx="27517">
                  <c:v>0.49076154806491801</c:v>
                </c:pt>
                <c:pt idx="27518">
                  <c:v>0.49077938291421402</c:v>
                </c:pt>
                <c:pt idx="27519">
                  <c:v>0.49079721776350899</c:v>
                </c:pt>
                <c:pt idx="27520">
                  <c:v>0.490815052612805</c:v>
                </c:pt>
                <c:pt idx="27521">
                  <c:v>0.49083288746210002</c:v>
                </c:pt>
                <c:pt idx="27522">
                  <c:v>0.49085072231139598</c:v>
                </c:pt>
                <c:pt idx="27523">
                  <c:v>0.490868557160692</c:v>
                </c:pt>
                <c:pt idx="27524">
                  <c:v>0.49088639200998702</c:v>
                </c:pt>
                <c:pt idx="27525">
                  <c:v>0.49090422685928298</c:v>
                </c:pt>
                <c:pt idx="27526">
                  <c:v>0.49092206170857799</c:v>
                </c:pt>
                <c:pt idx="27527">
                  <c:v>0.49093989655787401</c:v>
                </c:pt>
                <c:pt idx="27528">
                  <c:v>0.49095773140716897</c:v>
                </c:pt>
                <c:pt idx="27529">
                  <c:v>0.49097556625646499</c:v>
                </c:pt>
                <c:pt idx="27530">
                  <c:v>0.49099340110576001</c:v>
                </c:pt>
                <c:pt idx="27531">
                  <c:v>0.49101123595505602</c:v>
                </c:pt>
                <c:pt idx="27532">
                  <c:v>0.49102907080435099</c:v>
                </c:pt>
                <c:pt idx="27533">
                  <c:v>0.491046905653647</c:v>
                </c:pt>
                <c:pt idx="27534">
                  <c:v>0.49106474050294202</c:v>
                </c:pt>
                <c:pt idx="27535">
                  <c:v>0.49108257535223798</c:v>
                </c:pt>
                <c:pt idx="27536">
                  <c:v>0.491100410201533</c:v>
                </c:pt>
                <c:pt idx="27537">
                  <c:v>0.49111824505082902</c:v>
                </c:pt>
                <c:pt idx="27538">
                  <c:v>0.49113607990012398</c:v>
                </c:pt>
                <c:pt idx="27539">
                  <c:v>0.49115391474942</c:v>
                </c:pt>
                <c:pt idx="27540">
                  <c:v>0.49117174959871501</c:v>
                </c:pt>
                <c:pt idx="27541">
                  <c:v>0.49118958444801097</c:v>
                </c:pt>
                <c:pt idx="27542">
                  <c:v>0.49120741929730599</c:v>
                </c:pt>
                <c:pt idx="27543">
                  <c:v>0.49122525414660201</c:v>
                </c:pt>
                <c:pt idx="27544">
                  <c:v>0.49124308899589703</c:v>
                </c:pt>
                <c:pt idx="27545">
                  <c:v>0.49126092384519299</c:v>
                </c:pt>
                <c:pt idx="27546">
                  <c:v>0.491278758694489</c:v>
                </c:pt>
                <c:pt idx="27547">
                  <c:v>0.49129659354378402</c:v>
                </c:pt>
                <c:pt idx="27548">
                  <c:v>0.49131442839307998</c:v>
                </c:pt>
                <c:pt idx="27549">
                  <c:v>0.491332263242375</c:v>
                </c:pt>
                <c:pt idx="27550">
                  <c:v>0.49135009809167102</c:v>
                </c:pt>
                <c:pt idx="27551">
                  <c:v>0.49136793294096598</c:v>
                </c:pt>
                <c:pt idx="27552">
                  <c:v>0.491385767790262</c:v>
                </c:pt>
                <c:pt idx="27553">
                  <c:v>0.49140360263955701</c:v>
                </c:pt>
                <c:pt idx="27554">
                  <c:v>0.49142143748885297</c:v>
                </c:pt>
                <c:pt idx="27555">
                  <c:v>0.49143927233814799</c:v>
                </c:pt>
                <c:pt idx="27556">
                  <c:v>0.49145710718744401</c:v>
                </c:pt>
                <c:pt idx="27557">
                  <c:v>0.49147494203673903</c:v>
                </c:pt>
                <c:pt idx="27558">
                  <c:v>0.49149277688603499</c:v>
                </c:pt>
                <c:pt idx="27559">
                  <c:v>0.49151061173533001</c:v>
                </c:pt>
                <c:pt idx="27560">
                  <c:v>0.49152844658462602</c:v>
                </c:pt>
                <c:pt idx="27561">
                  <c:v>0.49154628143392098</c:v>
                </c:pt>
                <c:pt idx="27562">
                  <c:v>0.491564116283217</c:v>
                </c:pt>
                <c:pt idx="27563">
                  <c:v>0.49158195113251202</c:v>
                </c:pt>
                <c:pt idx="27564">
                  <c:v>0.49159978598180798</c:v>
                </c:pt>
                <c:pt idx="27565">
                  <c:v>0.491617620831104</c:v>
                </c:pt>
                <c:pt idx="27566">
                  <c:v>0.49163545568039901</c:v>
                </c:pt>
                <c:pt idx="27567">
                  <c:v>0.49165329052969498</c:v>
                </c:pt>
                <c:pt idx="27568">
                  <c:v>0.49167112537898999</c:v>
                </c:pt>
                <c:pt idx="27569">
                  <c:v>0.49168896022828601</c:v>
                </c:pt>
                <c:pt idx="27570">
                  <c:v>0.49170679507758103</c:v>
                </c:pt>
                <c:pt idx="27571">
                  <c:v>0.49172462992687699</c:v>
                </c:pt>
                <c:pt idx="27572">
                  <c:v>0.49174246477617201</c:v>
                </c:pt>
                <c:pt idx="27573">
                  <c:v>0.49176029962546802</c:v>
                </c:pt>
                <c:pt idx="27574">
                  <c:v>0.49177813447476298</c:v>
                </c:pt>
                <c:pt idx="27575">
                  <c:v>0.491795969324059</c:v>
                </c:pt>
                <c:pt idx="27576">
                  <c:v>0.49181380417335402</c:v>
                </c:pt>
                <c:pt idx="27577">
                  <c:v>0.49183163902264998</c:v>
                </c:pt>
                <c:pt idx="27578">
                  <c:v>0.491849473871945</c:v>
                </c:pt>
                <c:pt idx="27579">
                  <c:v>0.49186730872124101</c:v>
                </c:pt>
                <c:pt idx="27580">
                  <c:v>0.49188514357053598</c:v>
                </c:pt>
                <c:pt idx="27581">
                  <c:v>0.49190297841983199</c:v>
                </c:pt>
                <c:pt idx="27582">
                  <c:v>0.49192081326912701</c:v>
                </c:pt>
                <c:pt idx="27583">
                  <c:v>0.49193864811842303</c:v>
                </c:pt>
                <c:pt idx="27584">
                  <c:v>0.49195648296771799</c:v>
                </c:pt>
                <c:pt idx="27585">
                  <c:v>0.49197431781701401</c:v>
                </c:pt>
                <c:pt idx="27586">
                  <c:v>0.49199215266630902</c:v>
                </c:pt>
                <c:pt idx="27587">
                  <c:v>0.49200998751560499</c:v>
                </c:pt>
                <c:pt idx="27588">
                  <c:v>0.492027822364901</c:v>
                </c:pt>
                <c:pt idx="27589">
                  <c:v>0.49204565721419602</c:v>
                </c:pt>
                <c:pt idx="27590">
                  <c:v>0.49206349206349198</c:v>
                </c:pt>
                <c:pt idx="27591">
                  <c:v>0.492081326912787</c:v>
                </c:pt>
                <c:pt idx="27592">
                  <c:v>0.49209916176208301</c:v>
                </c:pt>
                <c:pt idx="27593">
                  <c:v>0.49211699661137798</c:v>
                </c:pt>
                <c:pt idx="27594">
                  <c:v>0.49213483146067399</c:v>
                </c:pt>
                <c:pt idx="27595">
                  <c:v>0.49215266630996901</c:v>
                </c:pt>
                <c:pt idx="27596">
                  <c:v>0.49217050115926497</c:v>
                </c:pt>
                <c:pt idx="27597">
                  <c:v>0.49218833600855999</c:v>
                </c:pt>
                <c:pt idx="27598">
                  <c:v>0.49220617085785601</c:v>
                </c:pt>
                <c:pt idx="27599">
                  <c:v>0.49222400570715102</c:v>
                </c:pt>
                <c:pt idx="27600">
                  <c:v>0.49224184055644699</c:v>
                </c:pt>
                <c:pt idx="27601">
                  <c:v>0.492259675405742</c:v>
                </c:pt>
                <c:pt idx="27602">
                  <c:v>0.49227751025503802</c:v>
                </c:pt>
                <c:pt idx="27603">
                  <c:v>0.49229534510433298</c:v>
                </c:pt>
                <c:pt idx="27604">
                  <c:v>0.492313179953629</c:v>
                </c:pt>
                <c:pt idx="27605">
                  <c:v>0.49233101480292402</c:v>
                </c:pt>
                <c:pt idx="27606">
                  <c:v>0.49234884965221998</c:v>
                </c:pt>
                <c:pt idx="27607">
                  <c:v>0.492366684501515</c:v>
                </c:pt>
                <c:pt idx="27608">
                  <c:v>0.49238451935081101</c:v>
                </c:pt>
                <c:pt idx="27609">
                  <c:v>0.49240235420010697</c:v>
                </c:pt>
                <c:pt idx="27610">
                  <c:v>0.49242018904940199</c:v>
                </c:pt>
                <c:pt idx="27611">
                  <c:v>0.49243802389869801</c:v>
                </c:pt>
                <c:pt idx="27612">
                  <c:v>0.49245585874799302</c:v>
                </c:pt>
                <c:pt idx="27613">
                  <c:v>0.49247369359728899</c:v>
                </c:pt>
                <c:pt idx="27614">
                  <c:v>0.492491528446584</c:v>
                </c:pt>
                <c:pt idx="27615">
                  <c:v>0.49250936329588002</c:v>
                </c:pt>
                <c:pt idx="27616">
                  <c:v>0.49252719814517498</c:v>
                </c:pt>
                <c:pt idx="27617">
                  <c:v>0.492545032994471</c:v>
                </c:pt>
                <c:pt idx="27618">
                  <c:v>0.49256286784376602</c:v>
                </c:pt>
                <c:pt idx="27619">
                  <c:v>0.49258070269306198</c:v>
                </c:pt>
                <c:pt idx="27620">
                  <c:v>0.492598537542357</c:v>
                </c:pt>
                <c:pt idx="27621">
                  <c:v>0.49261637239165301</c:v>
                </c:pt>
                <c:pt idx="27622">
                  <c:v>0.49263420724094797</c:v>
                </c:pt>
                <c:pt idx="27623">
                  <c:v>0.49265204209024399</c:v>
                </c:pt>
                <c:pt idx="27624">
                  <c:v>0.49266987693953901</c:v>
                </c:pt>
                <c:pt idx="27625">
                  <c:v>0.49268771178883503</c:v>
                </c:pt>
                <c:pt idx="27626">
                  <c:v>0.49270554663812999</c:v>
                </c:pt>
                <c:pt idx="27627">
                  <c:v>0.492723381487426</c:v>
                </c:pt>
                <c:pt idx="27628">
                  <c:v>0.49274121633672102</c:v>
                </c:pt>
                <c:pt idx="27629">
                  <c:v>0.49275905118601698</c:v>
                </c:pt>
                <c:pt idx="27630">
                  <c:v>0.492776886035313</c:v>
                </c:pt>
                <c:pt idx="27631">
                  <c:v>0.49279472088460802</c:v>
                </c:pt>
                <c:pt idx="27632">
                  <c:v>0.49281255573390398</c:v>
                </c:pt>
                <c:pt idx="27633">
                  <c:v>0.492830390583199</c:v>
                </c:pt>
                <c:pt idx="27634">
                  <c:v>0.49284822543249501</c:v>
                </c:pt>
                <c:pt idx="27635">
                  <c:v>0.49286606028178997</c:v>
                </c:pt>
                <c:pt idx="27636">
                  <c:v>0.49288389513108599</c:v>
                </c:pt>
                <c:pt idx="27637">
                  <c:v>0.49290172998038101</c:v>
                </c:pt>
                <c:pt idx="27638">
                  <c:v>0.49291956482967703</c:v>
                </c:pt>
                <c:pt idx="27639">
                  <c:v>0.49293739967897199</c:v>
                </c:pt>
                <c:pt idx="27640">
                  <c:v>0.492955234528268</c:v>
                </c:pt>
                <c:pt idx="27641">
                  <c:v>0.49297306937756302</c:v>
                </c:pt>
                <c:pt idx="27642">
                  <c:v>0.49299090422685898</c:v>
                </c:pt>
                <c:pt idx="27643">
                  <c:v>0.493008739076154</c:v>
                </c:pt>
                <c:pt idx="27644">
                  <c:v>0.49302657392545002</c:v>
                </c:pt>
                <c:pt idx="27645">
                  <c:v>0.49304440877474498</c:v>
                </c:pt>
                <c:pt idx="27646">
                  <c:v>0.493062243624041</c:v>
                </c:pt>
                <c:pt idx="27647">
                  <c:v>0.49308007847333601</c:v>
                </c:pt>
                <c:pt idx="27648">
                  <c:v>0.49309791332263198</c:v>
                </c:pt>
                <c:pt idx="27649">
                  <c:v>0.49311574817192699</c:v>
                </c:pt>
                <c:pt idx="27650">
                  <c:v>0.49313358302122301</c:v>
                </c:pt>
                <c:pt idx="27651">
                  <c:v>0.49315141787051803</c:v>
                </c:pt>
                <c:pt idx="27652">
                  <c:v>0.49316925271981399</c:v>
                </c:pt>
                <c:pt idx="27653">
                  <c:v>0.49318708756911001</c:v>
                </c:pt>
                <c:pt idx="27654">
                  <c:v>0.49320492241840502</c:v>
                </c:pt>
                <c:pt idx="27655">
                  <c:v>0.49322275726770098</c:v>
                </c:pt>
                <c:pt idx="27656">
                  <c:v>0.493240592116996</c:v>
                </c:pt>
                <c:pt idx="27657">
                  <c:v>0.49325842696629202</c:v>
                </c:pt>
                <c:pt idx="27658">
                  <c:v>0.49327626181558698</c:v>
                </c:pt>
                <c:pt idx="27659">
                  <c:v>0.493294096664883</c:v>
                </c:pt>
                <c:pt idx="27660">
                  <c:v>0.49331193151417801</c:v>
                </c:pt>
                <c:pt idx="27661">
                  <c:v>0.49332976636347398</c:v>
                </c:pt>
                <c:pt idx="27662">
                  <c:v>0.49334760121276899</c:v>
                </c:pt>
                <c:pt idx="27663">
                  <c:v>0.49336543606206501</c:v>
                </c:pt>
                <c:pt idx="27664">
                  <c:v>0.49338327091135997</c:v>
                </c:pt>
                <c:pt idx="27665">
                  <c:v>0.49340110576065599</c:v>
                </c:pt>
                <c:pt idx="27666">
                  <c:v>0.49341894060995101</c:v>
                </c:pt>
                <c:pt idx="27667">
                  <c:v>0.49343677545924702</c:v>
                </c:pt>
                <c:pt idx="27668">
                  <c:v>0.49345461030854199</c:v>
                </c:pt>
                <c:pt idx="27669">
                  <c:v>0.493472445157838</c:v>
                </c:pt>
                <c:pt idx="27670">
                  <c:v>0.49349028000713302</c:v>
                </c:pt>
                <c:pt idx="27671">
                  <c:v>0.49350811485642898</c:v>
                </c:pt>
                <c:pt idx="27672">
                  <c:v>0.493525949705725</c:v>
                </c:pt>
                <c:pt idx="27673">
                  <c:v>0.49354378455502002</c:v>
                </c:pt>
                <c:pt idx="27674">
                  <c:v>0.49356161940431598</c:v>
                </c:pt>
                <c:pt idx="27675">
                  <c:v>0.49357945425361099</c:v>
                </c:pt>
                <c:pt idx="27676">
                  <c:v>0.49359728910290701</c:v>
                </c:pt>
                <c:pt idx="27677">
                  <c:v>0.49361512395220197</c:v>
                </c:pt>
                <c:pt idx="27678">
                  <c:v>0.49363295880149799</c:v>
                </c:pt>
                <c:pt idx="27679">
                  <c:v>0.49365079365079301</c:v>
                </c:pt>
                <c:pt idx="27680">
                  <c:v>0.49366862850008902</c:v>
                </c:pt>
                <c:pt idx="27681">
                  <c:v>0.49368646334938399</c:v>
                </c:pt>
                <c:pt idx="27682">
                  <c:v>0.49370429819868</c:v>
                </c:pt>
                <c:pt idx="27683">
                  <c:v>0.49372213304797502</c:v>
                </c:pt>
                <c:pt idx="27684">
                  <c:v>0.49373996789727098</c:v>
                </c:pt>
                <c:pt idx="27685">
                  <c:v>0.493757802746566</c:v>
                </c:pt>
                <c:pt idx="27686">
                  <c:v>0.49377563759586202</c:v>
                </c:pt>
                <c:pt idx="27687">
                  <c:v>0.49379347244515698</c:v>
                </c:pt>
                <c:pt idx="27688">
                  <c:v>0.49381130729445299</c:v>
                </c:pt>
                <c:pt idx="27689">
                  <c:v>0.49382914214374801</c:v>
                </c:pt>
                <c:pt idx="27690">
                  <c:v>0.49384697699304397</c:v>
                </c:pt>
                <c:pt idx="27691">
                  <c:v>0.49386481184233899</c:v>
                </c:pt>
                <c:pt idx="27692">
                  <c:v>0.49388264669163501</c:v>
                </c:pt>
                <c:pt idx="27693">
                  <c:v>0.49390048154093003</c:v>
                </c:pt>
                <c:pt idx="27694">
                  <c:v>0.49391831639022599</c:v>
                </c:pt>
                <c:pt idx="27695">
                  <c:v>0.493936151239522</c:v>
                </c:pt>
                <c:pt idx="27696">
                  <c:v>0.49395398608881702</c:v>
                </c:pt>
                <c:pt idx="27697">
                  <c:v>0.49397182093811298</c:v>
                </c:pt>
                <c:pt idx="27698">
                  <c:v>0.493989655787408</c:v>
                </c:pt>
                <c:pt idx="27699">
                  <c:v>0.49400749063670402</c:v>
                </c:pt>
                <c:pt idx="27700">
                  <c:v>0.49402532548599898</c:v>
                </c:pt>
                <c:pt idx="27701">
                  <c:v>0.494043160335295</c:v>
                </c:pt>
                <c:pt idx="27702">
                  <c:v>0.49406099518459001</c:v>
                </c:pt>
                <c:pt idx="27703">
                  <c:v>0.49407883003388597</c:v>
                </c:pt>
                <c:pt idx="27704">
                  <c:v>0.49409666488318099</c:v>
                </c:pt>
                <c:pt idx="27705">
                  <c:v>0.49411449973247701</c:v>
                </c:pt>
                <c:pt idx="27706">
                  <c:v>0.49413233458177203</c:v>
                </c:pt>
                <c:pt idx="27707">
                  <c:v>0.49415016943106799</c:v>
                </c:pt>
                <c:pt idx="27708">
                  <c:v>0.494168004280363</c:v>
                </c:pt>
                <c:pt idx="27709">
                  <c:v>0.49418583912965902</c:v>
                </c:pt>
                <c:pt idx="27710">
                  <c:v>0.49420367397895398</c:v>
                </c:pt>
                <c:pt idx="27711">
                  <c:v>0.49422150882825</c:v>
                </c:pt>
                <c:pt idx="27712">
                  <c:v>0.49423934367754502</c:v>
                </c:pt>
                <c:pt idx="27713">
                  <c:v>0.49425717852684098</c:v>
                </c:pt>
                <c:pt idx="27714">
                  <c:v>0.494275013376137</c:v>
                </c:pt>
                <c:pt idx="27715">
                  <c:v>0.49429284822543201</c:v>
                </c:pt>
                <c:pt idx="27716">
                  <c:v>0.49431068307472797</c:v>
                </c:pt>
                <c:pt idx="27717">
                  <c:v>0.49432851792402299</c:v>
                </c:pt>
                <c:pt idx="27718">
                  <c:v>0.49434635277331901</c:v>
                </c:pt>
                <c:pt idx="27719">
                  <c:v>0.49436418762261403</c:v>
                </c:pt>
                <c:pt idx="27720">
                  <c:v>0.49438202247190999</c:v>
                </c:pt>
                <c:pt idx="27721">
                  <c:v>0.49439985732120501</c:v>
                </c:pt>
                <c:pt idx="27722">
                  <c:v>0.49441769217050102</c:v>
                </c:pt>
                <c:pt idx="27723">
                  <c:v>0.49443552701979598</c:v>
                </c:pt>
                <c:pt idx="27724">
                  <c:v>0.494453361869092</c:v>
                </c:pt>
                <c:pt idx="27725">
                  <c:v>0.49447119671838702</c:v>
                </c:pt>
                <c:pt idx="27726">
                  <c:v>0.49448903156768298</c:v>
                </c:pt>
                <c:pt idx="27727">
                  <c:v>0.494506866416978</c:v>
                </c:pt>
                <c:pt idx="27728">
                  <c:v>0.49452470126627401</c:v>
                </c:pt>
                <c:pt idx="27729">
                  <c:v>0.49454253611556898</c:v>
                </c:pt>
                <c:pt idx="27730">
                  <c:v>0.49456037096486499</c:v>
                </c:pt>
                <c:pt idx="27731">
                  <c:v>0.49457820581416001</c:v>
                </c:pt>
                <c:pt idx="27732">
                  <c:v>0.49459604066345603</c:v>
                </c:pt>
                <c:pt idx="27733">
                  <c:v>0.49461387551275099</c:v>
                </c:pt>
                <c:pt idx="27734">
                  <c:v>0.49463171036204701</c:v>
                </c:pt>
                <c:pt idx="27735">
                  <c:v>0.49464954521134202</c:v>
                </c:pt>
                <c:pt idx="27736">
                  <c:v>0.49466738006063798</c:v>
                </c:pt>
                <c:pt idx="27737">
                  <c:v>0.494685214909934</c:v>
                </c:pt>
                <c:pt idx="27738">
                  <c:v>0.49470304975922902</c:v>
                </c:pt>
                <c:pt idx="27739">
                  <c:v>0.49472088460852498</c:v>
                </c:pt>
                <c:pt idx="27740">
                  <c:v>0.49473871945782</c:v>
                </c:pt>
                <c:pt idx="27741">
                  <c:v>0.49475655430711601</c:v>
                </c:pt>
                <c:pt idx="27742">
                  <c:v>0.49477438915641098</c:v>
                </c:pt>
                <c:pt idx="27743">
                  <c:v>0.49479222400570699</c:v>
                </c:pt>
                <c:pt idx="27744">
                  <c:v>0.49481005885500201</c:v>
                </c:pt>
                <c:pt idx="27745">
                  <c:v>0.49482789370429803</c:v>
                </c:pt>
                <c:pt idx="27746">
                  <c:v>0.49484572855359299</c:v>
                </c:pt>
                <c:pt idx="27747">
                  <c:v>0.49486356340288901</c:v>
                </c:pt>
                <c:pt idx="27748">
                  <c:v>0.49488139825218402</c:v>
                </c:pt>
                <c:pt idx="27749">
                  <c:v>0.49489923310147999</c:v>
                </c:pt>
                <c:pt idx="27750">
                  <c:v>0.494917067950775</c:v>
                </c:pt>
                <c:pt idx="27751">
                  <c:v>0.49493490280007102</c:v>
                </c:pt>
                <c:pt idx="27752">
                  <c:v>0.49495273764936598</c:v>
                </c:pt>
                <c:pt idx="27753">
                  <c:v>0.494970572498662</c:v>
                </c:pt>
                <c:pt idx="27754">
                  <c:v>0.49498840734795702</c:v>
                </c:pt>
                <c:pt idx="27755">
                  <c:v>0.49500624219725298</c:v>
                </c:pt>
                <c:pt idx="27756">
                  <c:v>0.49502407704654799</c:v>
                </c:pt>
                <c:pt idx="27757">
                  <c:v>0.49504191189584401</c:v>
                </c:pt>
                <c:pt idx="27758">
                  <c:v>0.49505974674513997</c:v>
                </c:pt>
                <c:pt idx="27759">
                  <c:v>0.49507758159443499</c:v>
                </c:pt>
                <c:pt idx="27760">
                  <c:v>0.49509541644373101</c:v>
                </c:pt>
                <c:pt idx="27761">
                  <c:v>0.49511325129302602</c:v>
                </c:pt>
                <c:pt idx="27762">
                  <c:v>0.49513108614232199</c:v>
                </c:pt>
                <c:pt idx="27763">
                  <c:v>0.495148920991617</c:v>
                </c:pt>
                <c:pt idx="27764">
                  <c:v>0.49516675584091302</c:v>
                </c:pt>
                <c:pt idx="27765">
                  <c:v>0.49518459069020798</c:v>
                </c:pt>
                <c:pt idx="27766">
                  <c:v>0.495202425539504</c:v>
                </c:pt>
                <c:pt idx="27767">
                  <c:v>0.49522026038879902</c:v>
                </c:pt>
                <c:pt idx="27768">
                  <c:v>0.49523809523809498</c:v>
                </c:pt>
                <c:pt idx="27769">
                  <c:v>0.49525593008739</c:v>
                </c:pt>
                <c:pt idx="27770">
                  <c:v>0.49527376493668601</c:v>
                </c:pt>
                <c:pt idx="27771">
                  <c:v>0.49529159978598097</c:v>
                </c:pt>
                <c:pt idx="27772">
                  <c:v>0.49530943463527699</c:v>
                </c:pt>
                <c:pt idx="27773">
                  <c:v>0.49532726948457201</c:v>
                </c:pt>
                <c:pt idx="27774">
                  <c:v>0.49534510433386802</c:v>
                </c:pt>
                <c:pt idx="27775">
                  <c:v>0.49536293918316299</c:v>
                </c:pt>
                <c:pt idx="27776">
                  <c:v>0.495380774032459</c:v>
                </c:pt>
                <c:pt idx="27777">
                  <c:v>0.49539860888175402</c:v>
                </c:pt>
                <c:pt idx="27778">
                  <c:v>0.49541644373104998</c:v>
                </c:pt>
                <c:pt idx="27779">
                  <c:v>0.495434278580346</c:v>
                </c:pt>
                <c:pt idx="27780">
                  <c:v>0.49545211342964102</c:v>
                </c:pt>
                <c:pt idx="27781">
                  <c:v>0.49546994827893698</c:v>
                </c:pt>
                <c:pt idx="27782">
                  <c:v>0.495487783128232</c:v>
                </c:pt>
                <c:pt idx="27783">
                  <c:v>0.49550561797752801</c:v>
                </c:pt>
                <c:pt idx="27784">
                  <c:v>0.49552345282682297</c:v>
                </c:pt>
                <c:pt idx="27785">
                  <c:v>0.49554128767611899</c:v>
                </c:pt>
                <c:pt idx="27786">
                  <c:v>0.49555912252541401</c:v>
                </c:pt>
                <c:pt idx="27787">
                  <c:v>0.49557695737471003</c:v>
                </c:pt>
                <c:pt idx="27788">
                  <c:v>0.49559479222400499</c:v>
                </c:pt>
                <c:pt idx="27789">
                  <c:v>0.495612627073301</c:v>
                </c:pt>
                <c:pt idx="27790">
                  <c:v>0.49563046192259602</c:v>
                </c:pt>
                <c:pt idx="27791">
                  <c:v>0.49564829677189198</c:v>
                </c:pt>
                <c:pt idx="27792">
                  <c:v>0.495666131621187</c:v>
                </c:pt>
                <c:pt idx="27793">
                  <c:v>0.49568396647048302</c:v>
                </c:pt>
                <c:pt idx="27794">
                  <c:v>0.49570180131977798</c:v>
                </c:pt>
                <c:pt idx="27795">
                  <c:v>0.495719636169074</c:v>
                </c:pt>
                <c:pt idx="27796">
                  <c:v>0.49573747101836901</c:v>
                </c:pt>
                <c:pt idx="27797">
                  <c:v>0.49575530586766497</c:v>
                </c:pt>
                <c:pt idx="27798">
                  <c:v>0.49577314071695999</c:v>
                </c:pt>
                <c:pt idx="27799">
                  <c:v>0.49579097556625601</c:v>
                </c:pt>
                <c:pt idx="27800">
                  <c:v>0.49580881041555103</c:v>
                </c:pt>
                <c:pt idx="27801">
                  <c:v>0.49582664526484699</c:v>
                </c:pt>
                <c:pt idx="27802">
                  <c:v>0.495844480114143</c:v>
                </c:pt>
                <c:pt idx="27803">
                  <c:v>0.49586231496343802</c:v>
                </c:pt>
                <c:pt idx="27804">
                  <c:v>0.49588014981273398</c:v>
                </c:pt>
                <c:pt idx="27805">
                  <c:v>0.495897984662029</c:v>
                </c:pt>
                <c:pt idx="27806">
                  <c:v>0.49591581951132502</c:v>
                </c:pt>
                <c:pt idx="27807">
                  <c:v>0.49593365436061998</c:v>
                </c:pt>
                <c:pt idx="27808">
                  <c:v>0.495951489209916</c:v>
                </c:pt>
                <c:pt idx="27809">
                  <c:v>0.49596932405921101</c:v>
                </c:pt>
                <c:pt idx="27810">
                  <c:v>0.49598715890850698</c:v>
                </c:pt>
                <c:pt idx="27811">
                  <c:v>0.49600499375780199</c:v>
                </c:pt>
                <c:pt idx="27812">
                  <c:v>0.49602282860709801</c:v>
                </c:pt>
                <c:pt idx="27813">
                  <c:v>0.49604066345639303</c:v>
                </c:pt>
                <c:pt idx="27814">
                  <c:v>0.49605849830568899</c:v>
                </c:pt>
                <c:pt idx="27815">
                  <c:v>0.49607633315498401</c:v>
                </c:pt>
                <c:pt idx="27816">
                  <c:v>0.49609416800428002</c:v>
                </c:pt>
                <c:pt idx="27817">
                  <c:v>0.49611200285357498</c:v>
                </c:pt>
                <c:pt idx="27818">
                  <c:v>0.496129837702871</c:v>
                </c:pt>
                <c:pt idx="27819">
                  <c:v>0.49614767255216602</c:v>
                </c:pt>
                <c:pt idx="27820">
                  <c:v>0.49616550740146198</c:v>
                </c:pt>
                <c:pt idx="27821">
                  <c:v>0.496183342250758</c:v>
                </c:pt>
                <c:pt idx="27822">
                  <c:v>0.49620117710005301</c:v>
                </c:pt>
                <c:pt idx="27823">
                  <c:v>0.49621901194934898</c:v>
                </c:pt>
                <c:pt idx="27824">
                  <c:v>0.49623684679864399</c:v>
                </c:pt>
                <c:pt idx="27825">
                  <c:v>0.49625468164794001</c:v>
                </c:pt>
                <c:pt idx="27826">
                  <c:v>0.49627251649723497</c:v>
                </c:pt>
                <c:pt idx="27827">
                  <c:v>0.49629035134653099</c:v>
                </c:pt>
                <c:pt idx="27828">
                  <c:v>0.49630818619582601</c:v>
                </c:pt>
                <c:pt idx="27829">
                  <c:v>0.49632602104512202</c:v>
                </c:pt>
                <c:pt idx="27830">
                  <c:v>0.49634385589441699</c:v>
                </c:pt>
                <c:pt idx="27831">
                  <c:v>0.496361690743713</c:v>
                </c:pt>
                <c:pt idx="27832">
                  <c:v>0.49637952559300802</c:v>
                </c:pt>
                <c:pt idx="27833">
                  <c:v>0.49639736044230398</c:v>
                </c:pt>
                <c:pt idx="27834">
                  <c:v>0.496415195291599</c:v>
                </c:pt>
                <c:pt idx="27835">
                  <c:v>0.49643303014089502</c:v>
                </c:pt>
                <c:pt idx="27836">
                  <c:v>0.49645086499018998</c:v>
                </c:pt>
                <c:pt idx="27837">
                  <c:v>0.49646869983948599</c:v>
                </c:pt>
                <c:pt idx="27838">
                  <c:v>0.49648653468878101</c:v>
                </c:pt>
                <c:pt idx="27839">
                  <c:v>0.49650436953807697</c:v>
                </c:pt>
                <c:pt idx="27840">
                  <c:v>0.49652220438737199</c:v>
                </c:pt>
                <c:pt idx="27841">
                  <c:v>0.49654003923666801</c:v>
                </c:pt>
                <c:pt idx="27842">
                  <c:v>0.49655787408596302</c:v>
                </c:pt>
                <c:pt idx="27843">
                  <c:v>0.49657570893525899</c:v>
                </c:pt>
                <c:pt idx="27844">
                  <c:v>0.496593543784555</c:v>
                </c:pt>
                <c:pt idx="27845">
                  <c:v>0.49661137863385002</c:v>
                </c:pt>
                <c:pt idx="27846">
                  <c:v>0.49662921348314598</c:v>
                </c:pt>
                <c:pt idx="27847">
                  <c:v>0.496647048332441</c:v>
                </c:pt>
                <c:pt idx="27848">
                  <c:v>0.49666488318173702</c:v>
                </c:pt>
                <c:pt idx="27849">
                  <c:v>0.49668271803103198</c:v>
                </c:pt>
                <c:pt idx="27850">
                  <c:v>0.49670055288032799</c:v>
                </c:pt>
                <c:pt idx="27851">
                  <c:v>0.49671838772962301</c:v>
                </c:pt>
                <c:pt idx="27852">
                  <c:v>0.49673622257891897</c:v>
                </c:pt>
                <c:pt idx="27853">
                  <c:v>0.49675405742821399</c:v>
                </c:pt>
                <c:pt idx="27854">
                  <c:v>0.49677189227751001</c:v>
                </c:pt>
                <c:pt idx="27855">
                  <c:v>0.49678972712680503</c:v>
                </c:pt>
                <c:pt idx="27856">
                  <c:v>0.49680756197610099</c:v>
                </c:pt>
                <c:pt idx="27857">
                  <c:v>0.496825396825396</c:v>
                </c:pt>
                <c:pt idx="27858">
                  <c:v>0.49684323167469202</c:v>
                </c:pt>
                <c:pt idx="27859">
                  <c:v>0.49686106652398698</c:v>
                </c:pt>
                <c:pt idx="27860">
                  <c:v>0.496878901373283</c:v>
                </c:pt>
                <c:pt idx="27861">
                  <c:v>0.49689673622257802</c:v>
                </c:pt>
                <c:pt idx="27862">
                  <c:v>0.49691457107187398</c:v>
                </c:pt>
                <c:pt idx="27863">
                  <c:v>0.496932405921169</c:v>
                </c:pt>
                <c:pt idx="27864">
                  <c:v>0.49695024077046501</c:v>
                </c:pt>
                <c:pt idx="27865">
                  <c:v>0.49696807561976097</c:v>
                </c:pt>
                <c:pt idx="27866">
                  <c:v>0.49698591046905599</c:v>
                </c:pt>
                <c:pt idx="27867">
                  <c:v>0.49700374531835201</c:v>
                </c:pt>
                <c:pt idx="27868">
                  <c:v>0.49702158016764703</c:v>
                </c:pt>
                <c:pt idx="27869">
                  <c:v>0.49703941501694299</c:v>
                </c:pt>
                <c:pt idx="27870">
                  <c:v>0.497057249866238</c:v>
                </c:pt>
                <c:pt idx="27871">
                  <c:v>0.49707508471553402</c:v>
                </c:pt>
                <c:pt idx="27872">
                  <c:v>0.49709291956482898</c:v>
                </c:pt>
                <c:pt idx="27873">
                  <c:v>0.497110754414125</c:v>
                </c:pt>
                <c:pt idx="27874">
                  <c:v>0.49712858926342002</c:v>
                </c:pt>
                <c:pt idx="27875">
                  <c:v>0.49714642411271598</c:v>
                </c:pt>
                <c:pt idx="27876">
                  <c:v>0.497164258962011</c:v>
                </c:pt>
                <c:pt idx="27877">
                  <c:v>0.49718209381130701</c:v>
                </c:pt>
                <c:pt idx="27878">
                  <c:v>0.49719992866060198</c:v>
                </c:pt>
                <c:pt idx="27879">
                  <c:v>0.49721776350989799</c:v>
                </c:pt>
                <c:pt idx="27880">
                  <c:v>0.49723559835919301</c:v>
                </c:pt>
                <c:pt idx="27881">
                  <c:v>0.49725343320848903</c:v>
                </c:pt>
                <c:pt idx="27882">
                  <c:v>0.49727126805778399</c:v>
                </c:pt>
                <c:pt idx="27883">
                  <c:v>0.49728910290708001</c:v>
                </c:pt>
                <c:pt idx="27884">
                  <c:v>0.49730693775637502</c:v>
                </c:pt>
                <c:pt idx="27885">
                  <c:v>0.49732477260567098</c:v>
                </c:pt>
                <c:pt idx="27886">
                  <c:v>0.497342607454967</c:v>
                </c:pt>
                <c:pt idx="27887">
                  <c:v>0.49736044230426202</c:v>
                </c:pt>
                <c:pt idx="27888">
                  <c:v>0.49737827715355798</c:v>
                </c:pt>
                <c:pt idx="27889">
                  <c:v>0.497396112002853</c:v>
                </c:pt>
                <c:pt idx="27890">
                  <c:v>0.49741394685214901</c:v>
                </c:pt>
                <c:pt idx="27891">
                  <c:v>0.49743178170144398</c:v>
                </c:pt>
                <c:pt idx="27892">
                  <c:v>0.49744961655073999</c:v>
                </c:pt>
                <c:pt idx="27893">
                  <c:v>0.49746745140003501</c:v>
                </c:pt>
                <c:pt idx="27894">
                  <c:v>0.49748528624933103</c:v>
                </c:pt>
                <c:pt idx="27895">
                  <c:v>0.49750312109862599</c:v>
                </c:pt>
                <c:pt idx="27896">
                  <c:v>0.49752095594792201</c:v>
                </c:pt>
                <c:pt idx="27897">
                  <c:v>0.49753879079721702</c:v>
                </c:pt>
                <c:pt idx="27898">
                  <c:v>0.49755662564651298</c:v>
                </c:pt>
                <c:pt idx="27899">
                  <c:v>0.497574460495808</c:v>
                </c:pt>
                <c:pt idx="27900">
                  <c:v>0.49759229534510402</c:v>
                </c:pt>
                <c:pt idx="27901">
                  <c:v>0.49761013019439898</c:v>
                </c:pt>
                <c:pt idx="27902">
                  <c:v>0.497627965043695</c:v>
                </c:pt>
                <c:pt idx="27903">
                  <c:v>0.49764579989299002</c:v>
                </c:pt>
                <c:pt idx="27904">
                  <c:v>0.49766363474228598</c:v>
                </c:pt>
                <c:pt idx="27905">
                  <c:v>0.49768146959158099</c:v>
                </c:pt>
                <c:pt idx="27906">
                  <c:v>0.49769930444087701</c:v>
                </c:pt>
                <c:pt idx="27907">
                  <c:v>0.49771713929017197</c:v>
                </c:pt>
                <c:pt idx="27908">
                  <c:v>0.49773497413946799</c:v>
                </c:pt>
                <c:pt idx="27909">
                  <c:v>0.49775280898876401</c:v>
                </c:pt>
                <c:pt idx="27910">
                  <c:v>0.49777064383805902</c:v>
                </c:pt>
                <c:pt idx="27911">
                  <c:v>0.49778847868735498</c:v>
                </c:pt>
                <c:pt idx="27912">
                  <c:v>0.49780631353665</c:v>
                </c:pt>
                <c:pt idx="27913">
                  <c:v>0.49782414838594602</c:v>
                </c:pt>
                <c:pt idx="27914">
                  <c:v>0.49784198323524098</c:v>
                </c:pt>
                <c:pt idx="27915">
                  <c:v>0.497859818084537</c:v>
                </c:pt>
                <c:pt idx="27916">
                  <c:v>0.49787765293383202</c:v>
                </c:pt>
                <c:pt idx="27917">
                  <c:v>0.49789548778312798</c:v>
                </c:pt>
                <c:pt idx="27918">
                  <c:v>0.49791332263242299</c:v>
                </c:pt>
                <c:pt idx="27919">
                  <c:v>0.49793115748171901</c:v>
                </c:pt>
                <c:pt idx="27920">
                  <c:v>0.49794899233101397</c:v>
                </c:pt>
                <c:pt idx="27921">
                  <c:v>0.49796682718030999</c:v>
                </c:pt>
                <c:pt idx="27922">
                  <c:v>0.49798466202960501</c:v>
                </c:pt>
                <c:pt idx="27923">
                  <c:v>0.49800249687890102</c:v>
                </c:pt>
                <c:pt idx="27924">
                  <c:v>0.49802033172819599</c:v>
                </c:pt>
                <c:pt idx="27925">
                  <c:v>0.498038166577492</c:v>
                </c:pt>
                <c:pt idx="27926">
                  <c:v>0.49805600142678702</c:v>
                </c:pt>
                <c:pt idx="27927">
                  <c:v>0.49807383627608298</c:v>
                </c:pt>
                <c:pt idx="27928">
                  <c:v>0.498091671125379</c:v>
                </c:pt>
                <c:pt idx="27929">
                  <c:v>0.49810950597467402</c:v>
                </c:pt>
                <c:pt idx="27930">
                  <c:v>0.49812734082396998</c:v>
                </c:pt>
                <c:pt idx="27931">
                  <c:v>0.49814517567326499</c:v>
                </c:pt>
                <c:pt idx="27932">
                  <c:v>0.49816301052256101</c:v>
                </c:pt>
                <c:pt idx="27933">
                  <c:v>0.49818084537185597</c:v>
                </c:pt>
                <c:pt idx="27934">
                  <c:v>0.49819868022115199</c:v>
                </c:pt>
                <c:pt idx="27935">
                  <c:v>0.49821651507044701</c:v>
                </c:pt>
                <c:pt idx="27936">
                  <c:v>0.49823434991974302</c:v>
                </c:pt>
                <c:pt idx="27937">
                  <c:v>0.49825218476903799</c:v>
                </c:pt>
                <c:pt idx="27938">
                  <c:v>0.498270019618334</c:v>
                </c:pt>
                <c:pt idx="27939">
                  <c:v>0.49828785446762902</c:v>
                </c:pt>
                <c:pt idx="27940">
                  <c:v>0.49830568931692498</c:v>
                </c:pt>
                <c:pt idx="27941">
                  <c:v>0.49832352416622</c:v>
                </c:pt>
                <c:pt idx="27942">
                  <c:v>0.49834135901551602</c:v>
                </c:pt>
                <c:pt idx="27943">
                  <c:v>0.49835919386481098</c:v>
                </c:pt>
                <c:pt idx="27944">
                  <c:v>0.498377028714107</c:v>
                </c:pt>
                <c:pt idx="27945">
                  <c:v>0.49839486356340201</c:v>
                </c:pt>
                <c:pt idx="27946">
                  <c:v>0.49841269841269797</c:v>
                </c:pt>
                <c:pt idx="27947">
                  <c:v>0.49843053326199299</c:v>
                </c:pt>
                <c:pt idx="27948">
                  <c:v>0.49844836811128901</c:v>
                </c:pt>
                <c:pt idx="27949">
                  <c:v>0.49846620296058403</c:v>
                </c:pt>
                <c:pt idx="27950">
                  <c:v>0.49848403780987999</c:v>
                </c:pt>
                <c:pt idx="27951">
                  <c:v>0.498501872659176</c:v>
                </c:pt>
                <c:pt idx="27952">
                  <c:v>0.49851970750847102</c:v>
                </c:pt>
                <c:pt idx="27953">
                  <c:v>0.49853754235776698</c:v>
                </c:pt>
                <c:pt idx="27954">
                  <c:v>0.498555377207062</c:v>
                </c:pt>
                <c:pt idx="27955">
                  <c:v>0.49857321205635802</c:v>
                </c:pt>
                <c:pt idx="27956">
                  <c:v>0.49859104690565298</c:v>
                </c:pt>
                <c:pt idx="27957">
                  <c:v>0.498608881754949</c:v>
                </c:pt>
                <c:pt idx="27958">
                  <c:v>0.49862671660424401</c:v>
                </c:pt>
                <c:pt idx="27959">
                  <c:v>0.49864455145353997</c:v>
                </c:pt>
                <c:pt idx="27960">
                  <c:v>0.49866238630283499</c:v>
                </c:pt>
                <c:pt idx="27961">
                  <c:v>0.49868022115213101</c:v>
                </c:pt>
                <c:pt idx="27962">
                  <c:v>0.49869805600142603</c:v>
                </c:pt>
                <c:pt idx="27963">
                  <c:v>0.49871589085072199</c:v>
                </c:pt>
                <c:pt idx="27964">
                  <c:v>0.49873372570001701</c:v>
                </c:pt>
                <c:pt idx="27965">
                  <c:v>0.49875156054931302</c:v>
                </c:pt>
                <c:pt idx="27966">
                  <c:v>0.49876939539860798</c:v>
                </c:pt>
                <c:pt idx="27967">
                  <c:v>0.498787230247904</c:v>
                </c:pt>
                <c:pt idx="27968">
                  <c:v>0.49880506509719902</c:v>
                </c:pt>
                <c:pt idx="27969">
                  <c:v>0.49882289994649498</c:v>
                </c:pt>
                <c:pt idx="27970">
                  <c:v>0.498840734795791</c:v>
                </c:pt>
                <c:pt idx="27971">
                  <c:v>0.49885856964508601</c:v>
                </c:pt>
                <c:pt idx="27972">
                  <c:v>0.49887640449438198</c:v>
                </c:pt>
                <c:pt idx="27973">
                  <c:v>0.49889423934367699</c:v>
                </c:pt>
                <c:pt idx="27974">
                  <c:v>0.49891207419297301</c:v>
                </c:pt>
                <c:pt idx="27975">
                  <c:v>0.49892990904226803</c:v>
                </c:pt>
                <c:pt idx="27976">
                  <c:v>0.49894774389156399</c:v>
                </c:pt>
                <c:pt idx="27977">
                  <c:v>0.49896557874085901</c:v>
                </c:pt>
                <c:pt idx="27978">
                  <c:v>0.49898341359015502</c:v>
                </c:pt>
                <c:pt idx="27979">
                  <c:v>0.49900124843944998</c:v>
                </c:pt>
                <c:pt idx="27980">
                  <c:v>0.499019083288746</c:v>
                </c:pt>
                <c:pt idx="27981">
                  <c:v>0.49903691813804102</c:v>
                </c:pt>
                <c:pt idx="27982">
                  <c:v>0.49905475298733698</c:v>
                </c:pt>
                <c:pt idx="27983">
                  <c:v>0.499072587836632</c:v>
                </c:pt>
                <c:pt idx="27984">
                  <c:v>0.49909042268592801</c:v>
                </c:pt>
                <c:pt idx="27985">
                  <c:v>0.49910825753522298</c:v>
                </c:pt>
                <c:pt idx="27986">
                  <c:v>0.49912609238451899</c:v>
                </c:pt>
                <c:pt idx="27987">
                  <c:v>0.49914392723381401</c:v>
                </c:pt>
                <c:pt idx="27988">
                  <c:v>0.49916176208311003</c:v>
                </c:pt>
                <c:pt idx="27989">
                  <c:v>0.49917959693240499</c:v>
                </c:pt>
                <c:pt idx="27990">
                  <c:v>0.49919743178170101</c:v>
                </c:pt>
                <c:pt idx="27991">
                  <c:v>0.49921526663099602</c:v>
                </c:pt>
                <c:pt idx="27992">
                  <c:v>0.49923310148029199</c:v>
                </c:pt>
                <c:pt idx="27993">
                  <c:v>0.499250936329588</c:v>
                </c:pt>
                <c:pt idx="27994">
                  <c:v>0.49926877117888302</c:v>
                </c:pt>
                <c:pt idx="27995">
                  <c:v>0.49928660602817898</c:v>
                </c:pt>
                <c:pt idx="27996">
                  <c:v>0.499304440877474</c:v>
                </c:pt>
                <c:pt idx="27997">
                  <c:v>0.49932227572677002</c:v>
                </c:pt>
                <c:pt idx="27998">
                  <c:v>0.49934011057606498</c:v>
                </c:pt>
                <c:pt idx="27999">
                  <c:v>0.49935794542536099</c:v>
                </c:pt>
                <c:pt idx="28000">
                  <c:v>0.49937578027465601</c:v>
                </c:pt>
                <c:pt idx="28001">
                  <c:v>0.49939361512395197</c:v>
                </c:pt>
                <c:pt idx="28002">
                  <c:v>0.49941144997324699</c:v>
                </c:pt>
                <c:pt idx="28003">
                  <c:v>0.49942928482254301</c:v>
                </c:pt>
                <c:pt idx="28004">
                  <c:v>0.49944711967183802</c:v>
                </c:pt>
                <c:pt idx="28005">
                  <c:v>0.49946495452113399</c:v>
                </c:pt>
                <c:pt idx="28006">
                  <c:v>0.499482789370429</c:v>
                </c:pt>
                <c:pt idx="28007">
                  <c:v>0.49950062421972502</c:v>
                </c:pt>
                <c:pt idx="28008">
                  <c:v>0.49951845906901998</c:v>
                </c:pt>
                <c:pt idx="28009">
                  <c:v>0.499536293918316</c:v>
                </c:pt>
                <c:pt idx="28010">
                  <c:v>0.49955412876761102</c:v>
                </c:pt>
                <c:pt idx="28011">
                  <c:v>0.49957196361690698</c:v>
                </c:pt>
                <c:pt idx="28012">
                  <c:v>0.499589798466202</c:v>
                </c:pt>
                <c:pt idx="28013">
                  <c:v>0.49960763331549801</c:v>
                </c:pt>
                <c:pt idx="28014">
                  <c:v>0.49962546816479397</c:v>
                </c:pt>
                <c:pt idx="28015">
                  <c:v>0.49964330301408899</c:v>
                </c:pt>
                <c:pt idx="28016">
                  <c:v>0.49966113786338501</c:v>
                </c:pt>
                <c:pt idx="28017">
                  <c:v>0.49967897271268003</c:v>
                </c:pt>
                <c:pt idx="28018">
                  <c:v>0.49969680756197599</c:v>
                </c:pt>
                <c:pt idx="28019">
                  <c:v>0.499714642411271</c:v>
                </c:pt>
                <c:pt idx="28020">
                  <c:v>0.49973247726056702</c:v>
                </c:pt>
                <c:pt idx="28021">
                  <c:v>0.49975031210986198</c:v>
                </c:pt>
                <c:pt idx="28022">
                  <c:v>0.499768146959158</c:v>
                </c:pt>
                <c:pt idx="28023">
                  <c:v>0.49978598180845302</c:v>
                </c:pt>
                <c:pt idx="28024">
                  <c:v>0.49980381665774898</c:v>
                </c:pt>
                <c:pt idx="28025">
                  <c:v>0.499821651507044</c:v>
                </c:pt>
                <c:pt idx="28026">
                  <c:v>0.49983948635634001</c:v>
                </c:pt>
                <c:pt idx="28027">
                  <c:v>0.49985732120563497</c:v>
                </c:pt>
                <c:pt idx="28028">
                  <c:v>0.49987515605493099</c:v>
                </c:pt>
                <c:pt idx="28029">
                  <c:v>0.49989299090422601</c:v>
                </c:pt>
                <c:pt idx="28030">
                  <c:v>0.49991082575352203</c:v>
                </c:pt>
                <c:pt idx="28031">
                  <c:v>0.49992866060281699</c:v>
                </c:pt>
                <c:pt idx="28032">
                  <c:v>0.499946495452113</c:v>
                </c:pt>
                <c:pt idx="28033">
                  <c:v>0.49996433030140802</c:v>
                </c:pt>
                <c:pt idx="28034">
                  <c:v>0.49998216515070398</c:v>
                </c:pt>
                <c:pt idx="28035">
                  <c:v>0.5</c:v>
                </c:pt>
                <c:pt idx="28036">
                  <c:v>0.50001783484929496</c:v>
                </c:pt>
                <c:pt idx="28037">
                  <c:v>0.50003566969859103</c:v>
                </c:pt>
                <c:pt idx="28038">
                  <c:v>0.500053504547886</c:v>
                </c:pt>
                <c:pt idx="28039">
                  <c:v>0.50007133939718196</c:v>
                </c:pt>
                <c:pt idx="28040">
                  <c:v>0.50008917424647703</c:v>
                </c:pt>
                <c:pt idx="28041">
                  <c:v>0.50010700909577299</c:v>
                </c:pt>
                <c:pt idx="28042">
                  <c:v>0.50012484394506795</c:v>
                </c:pt>
                <c:pt idx="28043">
                  <c:v>0.50014267879436403</c:v>
                </c:pt>
                <c:pt idx="28044">
                  <c:v>0.50016051364365899</c:v>
                </c:pt>
                <c:pt idx="28045">
                  <c:v>0.50017834849295495</c:v>
                </c:pt>
                <c:pt idx="28046">
                  <c:v>0.50019618334225002</c:v>
                </c:pt>
                <c:pt idx="28047">
                  <c:v>0.50021401819154598</c:v>
                </c:pt>
                <c:pt idx="28048">
                  <c:v>0.50023185304084095</c:v>
                </c:pt>
                <c:pt idx="28049">
                  <c:v>0.50024968789013702</c:v>
                </c:pt>
                <c:pt idx="28050">
                  <c:v>0.50026752273943198</c:v>
                </c:pt>
                <c:pt idx="28051">
                  <c:v>0.50028535758872805</c:v>
                </c:pt>
                <c:pt idx="28052">
                  <c:v>0.50030319243802301</c:v>
                </c:pt>
                <c:pt idx="28053">
                  <c:v>0.50032102728731898</c:v>
                </c:pt>
                <c:pt idx="28054">
                  <c:v>0.50033886213661405</c:v>
                </c:pt>
                <c:pt idx="28055">
                  <c:v>0.50035669698591001</c:v>
                </c:pt>
                <c:pt idx="28056">
                  <c:v>0.50037453183520597</c:v>
                </c:pt>
                <c:pt idx="28057">
                  <c:v>0.50039236668450104</c:v>
                </c:pt>
                <c:pt idx="28058">
                  <c:v>0.50041020153379701</c:v>
                </c:pt>
                <c:pt idx="28059">
                  <c:v>0.50042803638309197</c:v>
                </c:pt>
                <c:pt idx="28060">
                  <c:v>0.50044587123238804</c:v>
                </c:pt>
                <c:pt idx="28061">
                  <c:v>0.500463706081683</c:v>
                </c:pt>
                <c:pt idx="28062">
                  <c:v>0.50048154093097896</c:v>
                </c:pt>
                <c:pt idx="28063">
                  <c:v>0.50049937578027404</c:v>
                </c:pt>
                <c:pt idx="28064">
                  <c:v>0.50051721062957</c:v>
                </c:pt>
                <c:pt idx="28065">
                  <c:v>0.50053504547886496</c:v>
                </c:pt>
                <c:pt idx="28066">
                  <c:v>0.50055288032816103</c:v>
                </c:pt>
                <c:pt idx="28067">
                  <c:v>0.50057071517745599</c:v>
                </c:pt>
                <c:pt idx="28068">
                  <c:v>0.50058855002675196</c:v>
                </c:pt>
                <c:pt idx="28069">
                  <c:v>0.50060638487604703</c:v>
                </c:pt>
                <c:pt idx="28070">
                  <c:v>0.50062421972534299</c:v>
                </c:pt>
                <c:pt idx="28071">
                  <c:v>0.50064205457463795</c:v>
                </c:pt>
                <c:pt idx="28072">
                  <c:v>0.50065988942393402</c:v>
                </c:pt>
                <c:pt idx="28073">
                  <c:v>0.50067772427322899</c:v>
                </c:pt>
                <c:pt idx="28074">
                  <c:v>0.50069555912252495</c:v>
                </c:pt>
                <c:pt idx="28075">
                  <c:v>0.50071339397182002</c:v>
                </c:pt>
                <c:pt idx="28076">
                  <c:v>0.50073122882111598</c:v>
                </c:pt>
                <c:pt idx="28077">
                  <c:v>0.50074906367041105</c:v>
                </c:pt>
                <c:pt idx="28078">
                  <c:v>0.50076689851970702</c:v>
                </c:pt>
                <c:pt idx="28079">
                  <c:v>0.50078473336900298</c:v>
                </c:pt>
                <c:pt idx="28080">
                  <c:v>0.50080256821829805</c:v>
                </c:pt>
                <c:pt idx="28081">
                  <c:v>0.50082040306759401</c:v>
                </c:pt>
                <c:pt idx="28082">
                  <c:v>0.50083823791688897</c:v>
                </c:pt>
                <c:pt idx="28083">
                  <c:v>0.50085607276618505</c:v>
                </c:pt>
                <c:pt idx="28084">
                  <c:v>0.50087390761548001</c:v>
                </c:pt>
                <c:pt idx="28085">
                  <c:v>0.50089174246477597</c:v>
                </c:pt>
                <c:pt idx="28086">
                  <c:v>0.50090957731407104</c:v>
                </c:pt>
                <c:pt idx="28087">
                  <c:v>0.500927412163367</c:v>
                </c:pt>
                <c:pt idx="28088">
                  <c:v>0.50094524701266196</c:v>
                </c:pt>
                <c:pt idx="28089">
                  <c:v>0.50096308186195804</c:v>
                </c:pt>
                <c:pt idx="28090">
                  <c:v>0.500980916711253</c:v>
                </c:pt>
                <c:pt idx="28091">
                  <c:v>0.50099875156054896</c:v>
                </c:pt>
                <c:pt idx="28092">
                  <c:v>0.50101658640984403</c:v>
                </c:pt>
                <c:pt idx="28093">
                  <c:v>0.50103442125913999</c:v>
                </c:pt>
                <c:pt idx="28094">
                  <c:v>0.50105225610843496</c:v>
                </c:pt>
                <c:pt idx="28095">
                  <c:v>0.50107009095773103</c:v>
                </c:pt>
                <c:pt idx="28096">
                  <c:v>0.50108792580702599</c:v>
                </c:pt>
                <c:pt idx="28097">
                  <c:v>0.50110576065632195</c:v>
                </c:pt>
                <c:pt idx="28098">
                  <c:v>0.50112359550561802</c:v>
                </c:pt>
                <c:pt idx="28099">
                  <c:v>0.50114143035491299</c:v>
                </c:pt>
                <c:pt idx="28100">
                  <c:v>0.50115926520420895</c:v>
                </c:pt>
                <c:pt idx="28101">
                  <c:v>0.50117710005350402</c:v>
                </c:pt>
                <c:pt idx="28102">
                  <c:v>0.50119493490279998</c:v>
                </c:pt>
                <c:pt idx="28103">
                  <c:v>0.50121276975209506</c:v>
                </c:pt>
                <c:pt idx="28104">
                  <c:v>0.50123060460139102</c:v>
                </c:pt>
                <c:pt idx="28105">
                  <c:v>0.50124843945068598</c:v>
                </c:pt>
                <c:pt idx="28106">
                  <c:v>0.50126627429998205</c:v>
                </c:pt>
                <c:pt idx="28107">
                  <c:v>0.50128410914927701</c:v>
                </c:pt>
                <c:pt idx="28108">
                  <c:v>0.50130194399857297</c:v>
                </c:pt>
                <c:pt idx="28109">
                  <c:v>0.50131977884786805</c:v>
                </c:pt>
                <c:pt idx="28110">
                  <c:v>0.50133761369716401</c:v>
                </c:pt>
                <c:pt idx="28111">
                  <c:v>0.50135544854645897</c:v>
                </c:pt>
                <c:pt idx="28112">
                  <c:v>0.50137328339575504</c:v>
                </c:pt>
                <c:pt idx="28113">
                  <c:v>0.50139111824505</c:v>
                </c:pt>
                <c:pt idx="28114">
                  <c:v>0.50140895309434597</c:v>
                </c:pt>
                <c:pt idx="28115">
                  <c:v>0.50142678794364104</c:v>
                </c:pt>
                <c:pt idx="28116">
                  <c:v>0.501444622792937</c:v>
                </c:pt>
                <c:pt idx="28117">
                  <c:v>0.50146245764223296</c:v>
                </c:pt>
                <c:pt idx="28118">
                  <c:v>0.50148029249152803</c:v>
                </c:pt>
                <c:pt idx="28119">
                  <c:v>0.501498127340824</c:v>
                </c:pt>
                <c:pt idx="28120">
                  <c:v>0.50151596219011896</c:v>
                </c:pt>
                <c:pt idx="28121">
                  <c:v>0.50153379703941503</c:v>
                </c:pt>
                <c:pt idx="28122">
                  <c:v>0.50155163188870999</c:v>
                </c:pt>
                <c:pt idx="28123">
                  <c:v>0.50156946673800595</c:v>
                </c:pt>
                <c:pt idx="28124">
                  <c:v>0.50158730158730103</c:v>
                </c:pt>
                <c:pt idx="28125">
                  <c:v>0.50160513643659699</c:v>
                </c:pt>
                <c:pt idx="28126">
                  <c:v>0.50162297128589195</c:v>
                </c:pt>
                <c:pt idx="28127">
                  <c:v>0.50164080613518802</c:v>
                </c:pt>
                <c:pt idx="28128">
                  <c:v>0.50165864098448298</c:v>
                </c:pt>
                <c:pt idx="28129">
                  <c:v>0.50167647583377895</c:v>
                </c:pt>
                <c:pt idx="28130">
                  <c:v>0.50169431068307402</c:v>
                </c:pt>
                <c:pt idx="28131">
                  <c:v>0.50171214553236998</c:v>
                </c:pt>
                <c:pt idx="28132">
                  <c:v>0.50172998038166505</c:v>
                </c:pt>
                <c:pt idx="28133">
                  <c:v>0.50174781523096101</c:v>
                </c:pt>
                <c:pt idx="28134">
                  <c:v>0.50176565008025598</c:v>
                </c:pt>
                <c:pt idx="28135">
                  <c:v>0.50178348492955205</c:v>
                </c:pt>
                <c:pt idx="28136">
                  <c:v>0.50180131977884701</c:v>
                </c:pt>
                <c:pt idx="28137">
                  <c:v>0.50181915462814297</c:v>
                </c:pt>
                <c:pt idx="28138">
                  <c:v>0.50183698947743804</c:v>
                </c:pt>
                <c:pt idx="28139">
                  <c:v>0.50185482432673401</c:v>
                </c:pt>
                <c:pt idx="28140">
                  <c:v>0.50187265917602997</c:v>
                </c:pt>
                <c:pt idx="28141">
                  <c:v>0.50189049402532504</c:v>
                </c:pt>
                <c:pt idx="28142">
                  <c:v>0.501908328874621</c:v>
                </c:pt>
                <c:pt idx="28143">
                  <c:v>0.50192616372391596</c:v>
                </c:pt>
                <c:pt idx="28144">
                  <c:v>0.50194399857321204</c:v>
                </c:pt>
                <c:pt idx="28145">
                  <c:v>0.501961833422507</c:v>
                </c:pt>
                <c:pt idx="28146">
                  <c:v>0.50197966827180296</c:v>
                </c:pt>
                <c:pt idx="28147">
                  <c:v>0.50199750312109803</c:v>
                </c:pt>
                <c:pt idx="28148">
                  <c:v>0.50201533797039399</c:v>
                </c:pt>
                <c:pt idx="28149">
                  <c:v>0.50203317281968896</c:v>
                </c:pt>
                <c:pt idx="28150">
                  <c:v>0.50205100766898503</c:v>
                </c:pt>
                <c:pt idx="28151">
                  <c:v>0.50206884251827999</c:v>
                </c:pt>
                <c:pt idx="28152">
                  <c:v>0.50208667736757595</c:v>
                </c:pt>
                <c:pt idx="28153">
                  <c:v>0.50210451221687102</c:v>
                </c:pt>
                <c:pt idx="28154">
                  <c:v>0.50212234706616699</c:v>
                </c:pt>
                <c:pt idx="28155">
                  <c:v>0.50214018191546195</c:v>
                </c:pt>
                <c:pt idx="28156">
                  <c:v>0.50215801676475802</c:v>
                </c:pt>
                <c:pt idx="28157">
                  <c:v>0.50217585161405298</c:v>
                </c:pt>
                <c:pt idx="28158">
                  <c:v>0.50219368646334905</c:v>
                </c:pt>
                <c:pt idx="28159">
                  <c:v>0.50221152131264402</c:v>
                </c:pt>
                <c:pt idx="28160">
                  <c:v>0.50222935616193998</c:v>
                </c:pt>
                <c:pt idx="28161">
                  <c:v>0.50224719101123505</c:v>
                </c:pt>
                <c:pt idx="28162">
                  <c:v>0.50226502586053101</c:v>
                </c:pt>
                <c:pt idx="28163">
                  <c:v>0.50228286070982697</c:v>
                </c:pt>
                <c:pt idx="28164">
                  <c:v>0.50230069555912205</c:v>
                </c:pt>
                <c:pt idx="28165">
                  <c:v>0.50231853040841801</c:v>
                </c:pt>
                <c:pt idx="28166">
                  <c:v>0.50233636525771297</c:v>
                </c:pt>
                <c:pt idx="28167">
                  <c:v>0.50235420010700904</c:v>
                </c:pt>
                <c:pt idx="28168">
                  <c:v>0.502372034956304</c:v>
                </c:pt>
                <c:pt idx="28169">
                  <c:v>0.50238986980559996</c:v>
                </c:pt>
                <c:pt idx="28170">
                  <c:v>0.50240770465489504</c:v>
                </c:pt>
                <c:pt idx="28171">
                  <c:v>0.502425539504191</c:v>
                </c:pt>
                <c:pt idx="28172">
                  <c:v>0.50244337435348596</c:v>
                </c:pt>
                <c:pt idx="28173">
                  <c:v>0.50246120920278203</c:v>
                </c:pt>
                <c:pt idx="28174">
                  <c:v>0.502479044052077</c:v>
                </c:pt>
                <c:pt idx="28175">
                  <c:v>0.50249687890137296</c:v>
                </c:pt>
                <c:pt idx="28176">
                  <c:v>0.50251471375066803</c:v>
                </c:pt>
                <c:pt idx="28177">
                  <c:v>0.50253254859996399</c:v>
                </c:pt>
                <c:pt idx="28178">
                  <c:v>0.50255038344925895</c:v>
                </c:pt>
                <c:pt idx="28179">
                  <c:v>0.50256821829855503</c:v>
                </c:pt>
                <c:pt idx="28180">
                  <c:v>0.50258605314784999</c:v>
                </c:pt>
                <c:pt idx="28181">
                  <c:v>0.50260388799714595</c:v>
                </c:pt>
                <c:pt idx="28182">
                  <c:v>0.50262172284644102</c:v>
                </c:pt>
                <c:pt idx="28183">
                  <c:v>0.50263955769573698</c:v>
                </c:pt>
                <c:pt idx="28184">
                  <c:v>0.50265739254503194</c:v>
                </c:pt>
                <c:pt idx="28185">
                  <c:v>0.50267522739432802</c:v>
                </c:pt>
                <c:pt idx="28186">
                  <c:v>0.50269306224362398</c:v>
                </c:pt>
                <c:pt idx="28187">
                  <c:v>0.50271089709291905</c:v>
                </c:pt>
                <c:pt idx="28188">
                  <c:v>0.50272873194221501</c:v>
                </c:pt>
                <c:pt idx="28189">
                  <c:v>0.50274656679150997</c:v>
                </c:pt>
                <c:pt idx="28190">
                  <c:v>0.50276440164080605</c:v>
                </c:pt>
                <c:pt idx="28191">
                  <c:v>0.50278223649010101</c:v>
                </c:pt>
                <c:pt idx="28192">
                  <c:v>0.50280007133939697</c:v>
                </c:pt>
                <c:pt idx="28193">
                  <c:v>0.50281790618869204</c:v>
                </c:pt>
                <c:pt idx="28194">
                  <c:v>0.502835741037988</c:v>
                </c:pt>
                <c:pt idx="28195">
                  <c:v>0.50285357588728297</c:v>
                </c:pt>
                <c:pt idx="28196">
                  <c:v>0.50287141073657904</c:v>
                </c:pt>
                <c:pt idx="28197">
                  <c:v>0.502889245585874</c:v>
                </c:pt>
                <c:pt idx="28198">
                  <c:v>0.50290708043516996</c:v>
                </c:pt>
                <c:pt idx="28199">
                  <c:v>0.50292491528446504</c:v>
                </c:pt>
                <c:pt idx="28200">
                  <c:v>0.502942750133761</c:v>
                </c:pt>
                <c:pt idx="28201">
                  <c:v>0.50296058498305596</c:v>
                </c:pt>
                <c:pt idx="28202">
                  <c:v>0.50297841983235203</c:v>
                </c:pt>
                <c:pt idx="28203">
                  <c:v>0.50299625468164799</c:v>
                </c:pt>
                <c:pt idx="28204">
                  <c:v>0.50301408953094295</c:v>
                </c:pt>
                <c:pt idx="28205">
                  <c:v>0.50303192438023903</c:v>
                </c:pt>
                <c:pt idx="28206">
                  <c:v>0.50304975922953399</c:v>
                </c:pt>
                <c:pt idx="28207">
                  <c:v>0.50306759407882995</c:v>
                </c:pt>
                <c:pt idx="28208">
                  <c:v>0.50308542892812502</c:v>
                </c:pt>
                <c:pt idx="28209">
                  <c:v>0.50310326377742098</c:v>
                </c:pt>
                <c:pt idx="28210">
                  <c:v>0.50312109862671595</c:v>
                </c:pt>
                <c:pt idx="28211">
                  <c:v>0.50313893347601202</c:v>
                </c:pt>
                <c:pt idx="28212">
                  <c:v>0.50315676832530698</c:v>
                </c:pt>
                <c:pt idx="28213">
                  <c:v>0.50317460317460305</c:v>
                </c:pt>
                <c:pt idx="28214">
                  <c:v>0.50319243802389801</c:v>
                </c:pt>
                <c:pt idx="28215">
                  <c:v>0.50321027287319398</c:v>
                </c:pt>
                <c:pt idx="28216">
                  <c:v>0.50322810772248905</c:v>
                </c:pt>
                <c:pt idx="28217">
                  <c:v>0.50324594257178501</c:v>
                </c:pt>
                <c:pt idx="28218">
                  <c:v>0.50326377742107997</c:v>
                </c:pt>
                <c:pt idx="28219">
                  <c:v>0.50328161227037604</c:v>
                </c:pt>
                <c:pt idx="28220">
                  <c:v>0.50329944711967101</c:v>
                </c:pt>
                <c:pt idx="28221">
                  <c:v>0.50331728196896697</c:v>
                </c:pt>
                <c:pt idx="28222">
                  <c:v>0.50333511681826204</c:v>
                </c:pt>
                <c:pt idx="28223">
                  <c:v>0.503352951667558</c:v>
                </c:pt>
                <c:pt idx="28224">
                  <c:v>0.50337078651685396</c:v>
                </c:pt>
                <c:pt idx="28225">
                  <c:v>0.50338862136614904</c:v>
                </c:pt>
                <c:pt idx="28226">
                  <c:v>0.503406456215445</c:v>
                </c:pt>
                <c:pt idx="28227">
                  <c:v>0.50342429106473996</c:v>
                </c:pt>
                <c:pt idx="28228">
                  <c:v>0.50344212591403603</c:v>
                </c:pt>
                <c:pt idx="28229">
                  <c:v>0.50345996076333099</c:v>
                </c:pt>
                <c:pt idx="28230">
                  <c:v>0.50347779561262695</c:v>
                </c:pt>
                <c:pt idx="28231">
                  <c:v>0.50349563046192203</c:v>
                </c:pt>
                <c:pt idx="28232">
                  <c:v>0.50351346531121799</c:v>
                </c:pt>
                <c:pt idx="28233">
                  <c:v>0.50353130016051295</c:v>
                </c:pt>
                <c:pt idx="28234">
                  <c:v>0.50354913500980902</c:v>
                </c:pt>
                <c:pt idx="28235">
                  <c:v>0.50356696985910399</c:v>
                </c:pt>
                <c:pt idx="28236">
                  <c:v>0.50358480470839995</c:v>
                </c:pt>
                <c:pt idx="28237">
                  <c:v>0.50360263955769502</c:v>
                </c:pt>
                <c:pt idx="28238">
                  <c:v>0.50362047440699098</c:v>
                </c:pt>
                <c:pt idx="28239">
                  <c:v>0.50363830925628605</c:v>
                </c:pt>
                <c:pt idx="28240">
                  <c:v>0.50365614410558202</c:v>
                </c:pt>
                <c:pt idx="28241">
                  <c:v>0.50367397895487698</c:v>
                </c:pt>
                <c:pt idx="28242">
                  <c:v>0.50369181380417305</c:v>
                </c:pt>
                <c:pt idx="28243">
                  <c:v>0.50370964865346801</c:v>
                </c:pt>
                <c:pt idx="28244">
                  <c:v>0.50372748350276397</c:v>
                </c:pt>
                <c:pt idx="28245">
                  <c:v>0.50374531835205905</c:v>
                </c:pt>
                <c:pt idx="28246">
                  <c:v>0.50376315320135501</c:v>
                </c:pt>
                <c:pt idx="28247">
                  <c:v>0.50378098805065097</c:v>
                </c:pt>
                <c:pt idx="28248">
                  <c:v>0.50379882289994604</c:v>
                </c:pt>
                <c:pt idx="28249">
                  <c:v>0.503816657749242</c:v>
                </c:pt>
                <c:pt idx="28250">
                  <c:v>0.50383449259853696</c:v>
                </c:pt>
                <c:pt idx="28251">
                  <c:v>0.50385232744783304</c:v>
                </c:pt>
                <c:pt idx="28252">
                  <c:v>0.503870162297128</c:v>
                </c:pt>
                <c:pt idx="28253">
                  <c:v>0.50388799714642396</c:v>
                </c:pt>
                <c:pt idx="28254">
                  <c:v>0.50390583199571903</c:v>
                </c:pt>
                <c:pt idx="28255">
                  <c:v>0.50392366684501499</c:v>
                </c:pt>
                <c:pt idx="28256">
                  <c:v>0.50394150169430996</c:v>
                </c:pt>
                <c:pt idx="28257">
                  <c:v>0.50395933654360603</c:v>
                </c:pt>
                <c:pt idx="28258">
                  <c:v>0.50397717139290099</c:v>
                </c:pt>
                <c:pt idx="28259">
                  <c:v>0.50399500624219695</c:v>
                </c:pt>
                <c:pt idx="28260">
                  <c:v>0.50401284109149203</c:v>
                </c:pt>
                <c:pt idx="28261">
                  <c:v>0.50403067594078799</c:v>
                </c:pt>
                <c:pt idx="28262">
                  <c:v>0.50404851079008295</c:v>
                </c:pt>
                <c:pt idx="28263">
                  <c:v>0.50406634563937902</c:v>
                </c:pt>
                <c:pt idx="28264">
                  <c:v>0.50408418048867398</c:v>
                </c:pt>
                <c:pt idx="28265">
                  <c:v>0.50410201533797006</c:v>
                </c:pt>
                <c:pt idx="28266">
                  <c:v>0.50411985018726502</c:v>
                </c:pt>
                <c:pt idx="28267">
                  <c:v>0.50413768503656098</c:v>
                </c:pt>
                <c:pt idx="28268">
                  <c:v>0.50415551988585605</c:v>
                </c:pt>
                <c:pt idx="28269">
                  <c:v>0.50417335473515201</c:v>
                </c:pt>
                <c:pt idx="28270">
                  <c:v>0.50419118958444797</c:v>
                </c:pt>
                <c:pt idx="28271">
                  <c:v>0.50420902443374305</c:v>
                </c:pt>
                <c:pt idx="28272">
                  <c:v>0.50422685928303901</c:v>
                </c:pt>
                <c:pt idx="28273">
                  <c:v>0.50424469413233397</c:v>
                </c:pt>
                <c:pt idx="28274">
                  <c:v>0.50426252898163004</c:v>
                </c:pt>
                <c:pt idx="28275">
                  <c:v>0.504280363830925</c:v>
                </c:pt>
                <c:pt idx="28276">
                  <c:v>0.50429819868022097</c:v>
                </c:pt>
                <c:pt idx="28277">
                  <c:v>0.50431603352951604</c:v>
                </c:pt>
                <c:pt idx="28278">
                  <c:v>0.504333868378812</c:v>
                </c:pt>
                <c:pt idx="28279">
                  <c:v>0.50435170322810696</c:v>
                </c:pt>
                <c:pt idx="28280">
                  <c:v>0.50436953807740303</c:v>
                </c:pt>
                <c:pt idx="28281">
                  <c:v>0.504387372926698</c:v>
                </c:pt>
                <c:pt idx="28282">
                  <c:v>0.50440520777599396</c:v>
                </c:pt>
                <c:pt idx="28283">
                  <c:v>0.50442304262528903</c:v>
                </c:pt>
                <c:pt idx="28284">
                  <c:v>0.50444087747458499</c:v>
                </c:pt>
                <c:pt idx="28285">
                  <c:v>0.50445871232387995</c:v>
                </c:pt>
                <c:pt idx="28286">
                  <c:v>0.50447654717317603</c:v>
                </c:pt>
                <c:pt idx="28287">
                  <c:v>0.50449438202247099</c:v>
                </c:pt>
                <c:pt idx="28288">
                  <c:v>0.50451221687176695</c:v>
                </c:pt>
                <c:pt idx="28289">
                  <c:v>0.50453005172106202</c:v>
                </c:pt>
                <c:pt idx="28290">
                  <c:v>0.50454788657035798</c:v>
                </c:pt>
                <c:pt idx="28291">
                  <c:v>0.50456572141965395</c:v>
                </c:pt>
                <c:pt idx="28292">
                  <c:v>0.50458355626894902</c:v>
                </c:pt>
                <c:pt idx="28293">
                  <c:v>0.50460139111824498</c:v>
                </c:pt>
                <c:pt idx="28294">
                  <c:v>0.50461922596754005</c:v>
                </c:pt>
                <c:pt idx="28295">
                  <c:v>0.50463706081683601</c:v>
                </c:pt>
                <c:pt idx="28296">
                  <c:v>0.50465489566613098</c:v>
                </c:pt>
                <c:pt idx="28297">
                  <c:v>0.50467273051542705</c:v>
                </c:pt>
                <c:pt idx="28298">
                  <c:v>0.50469056536472201</c:v>
                </c:pt>
                <c:pt idx="28299">
                  <c:v>0.50470840021401797</c:v>
                </c:pt>
                <c:pt idx="28300">
                  <c:v>0.50472623506331304</c:v>
                </c:pt>
                <c:pt idx="28301">
                  <c:v>0.50474406991260901</c:v>
                </c:pt>
                <c:pt idx="28302">
                  <c:v>0.50476190476190397</c:v>
                </c:pt>
                <c:pt idx="28303">
                  <c:v>0.50477973961120004</c:v>
                </c:pt>
                <c:pt idx="28304">
                  <c:v>0.504797574460495</c:v>
                </c:pt>
                <c:pt idx="28305">
                  <c:v>0.50481540930979096</c:v>
                </c:pt>
                <c:pt idx="28306">
                  <c:v>0.50483324415908604</c:v>
                </c:pt>
                <c:pt idx="28307">
                  <c:v>0.504851079008382</c:v>
                </c:pt>
                <c:pt idx="28308">
                  <c:v>0.50486891385767696</c:v>
                </c:pt>
                <c:pt idx="28309">
                  <c:v>0.50488674870697303</c:v>
                </c:pt>
                <c:pt idx="28310">
                  <c:v>0.50490458355626899</c:v>
                </c:pt>
                <c:pt idx="28311">
                  <c:v>0.50492241840556396</c:v>
                </c:pt>
                <c:pt idx="28312">
                  <c:v>0.50494025325486003</c:v>
                </c:pt>
                <c:pt idx="28313">
                  <c:v>0.50495808810415499</c:v>
                </c:pt>
                <c:pt idx="28314">
                  <c:v>0.50497592295345095</c:v>
                </c:pt>
                <c:pt idx="28315">
                  <c:v>0.50499375780274602</c:v>
                </c:pt>
                <c:pt idx="28316">
                  <c:v>0.50501159265204199</c:v>
                </c:pt>
                <c:pt idx="28317">
                  <c:v>0.50502942750133695</c:v>
                </c:pt>
                <c:pt idx="28318">
                  <c:v>0.50504726235063302</c:v>
                </c:pt>
                <c:pt idx="28319">
                  <c:v>0.50506509719992798</c:v>
                </c:pt>
                <c:pt idx="28320">
                  <c:v>0.50508293204922405</c:v>
                </c:pt>
                <c:pt idx="28321">
                  <c:v>0.50510076689851902</c:v>
                </c:pt>
                <c:pt idx="28322">
                  <c:v>0.50511860174781498</c:v>
                </c:pt>
                <c:pt idx="28323">
                  <c:v>0.50513643659711005</c:v>
                </c:pt>
                <c:pt idx="28324">
                  <c:v>0.50515427144640601</c:v>
                </c:pt>
                <c:pt idx="28325">
                  <c:v>0.50517210629570097</c:v>
                </c:pt>
                <c:pt idx="28326">
                  <c:v>0.50518994114499705</c:v>
                </c:pt>
                <c:pt idx="28327">
                  <c:v>0.50520777599429201</c:v>
                </c:pt>
                <c:pt idx="28328">
                  <c:v>0.50522561084358797</c:v>
                </c:pt>
                <c:pt idx="28329">
                  <c:v>0.50524344569288304</c:v>
                </c:pt>
                <c:pt idx="28330">
                  <c:v>0.505261280542179</c:v>
                </c:pt>
                <c:pt idx="28331">
                  <c:v>0.50527911539147496</c:v>
                </c:pt>
                <c:pt idx="28332">
                  <c:v>0.50529695024077004</c:v>
                </c:pt>
                <c:pt idx="28333">
                  <c:v>0.505314785090066</c:v>
                </c:pt>
                <c:pt idx="28334">
                  <c:v>0.50533261993936096</c:v>
                </c:pt>
                <c:pt idx="28335">
                  <c:v>0.50535045478865703</c:v>
                </c:pt>
                <c:pt idx="28336">
                  <c:v>0.505368289637952</c:v>
                </c:pt>
                <c:pt idx="28337">
                  <c:v>0.50538612448724796</c:v>
                </c:pt>
                <c:pt idx="28338">
                  <c:v>0.50540395933654303</c:v>
                </c:pt>
                <c:pt idx="28339">
                  <c:v>0.50542179418583899</c:v>
                </c:pt>
                <c:pt idx="28340">
                  <c:v>0.50543962903513395</c:v>
                </c:pt>
                <c:pt idx="28341">
                  <c:v>0.50545746388443002</c:v>
                </c:pt>
                <c:pt idx="28342">
                  <c:v>0.50547529873372499</c:v>
                </c:pt>
                <c:pt idx="28343">
                  <c:v>0.50549313358302095</c:v>
                </c:pt>
                <c:pt idx="28344">
                  <c:v>0.50551096843231602</c:v>
                </c:pt>
                <c:pt idx="28345">
                  <c:v>0.50552880328161198</c:v>
                </c:pt>
                <c:pt idx="28346">
                  <c:v>0.50554663813090694</c:v>
                </c:pt>
                <c:pt idx="28347">
                  <c:v>0.50556447298020302</c:v>
                </c:pt>
                <c:pt idx="28348">
                  <c:v>0.50558230782949798</c:v>
                </c:pt>
                <c:pt idx="28349">
                  <c:v>0.50560014267879405</c:v>
                </c:pt>
                <c:pt idx="28350">
                  <c:v>0.50561797752808901</c:v>
                </c:pt>
                <c:pt idx="28351">
                  <c:v>0.50563581237738497</c:v>
                </c:pt>
                <c:pt idx="28352">
                  <c:v>0.50565364722668005</c:v>
                </c:pt>
                <c:pt idx="28353">
                  <c:v>0.50567148207597601</c:v>
                </c:pt>
                <c:pt idx="28354">
                  <c:v>0.50568931692527197</c:v>
                </c:pt>
                <c:pt idx="28355">
                  <c:v>0.50570715177456704</c:v>
                </c:pt>
                <c:pt idx="28356">
                  <c:v>0.505724986623863</c:v>
                </c:pt>
                <c:pt idx="28357">
                  <c:v>0.50574282147315797</c:v>
                </c:pt>
                <c:pt idx="28358">
                  <c:v>0.50576065632245404</c:v>
                </c:pt>
                <c:pt idx="28359">
                  <c:v>0.505778491171749</c:v>
                </c:pt>
                <c:pt idx="28360">
                  <c:v>0.50579632602104496</c:v>
                </c:pt>
                <c:pt idx="28361">
                  <c:v>0.50581416087034003</c:v>
                </c:pt>
                <c:pt idx="28362">
                  <c:v>0.505831995719636</c:v>
                </c:pt>
                <c:pt idx="28363">
                  <c:v>0.50584983056893096</c:v>
                </c:pt>
                <c:pt idx="28364">
                  <c:v>0.50586766541822703</c:v>
                </c:pt>
                <c:pt idx="28365">
                  <c:v>0.50588550026752199</c:v>
                </c:pt>
                <c:pt idx="28366">
                  <c:v>0.50590333511681795</c:v>
                </c:pt>
                <c:pt idx="28367">
                  <c:v>0.50592116996611303</c:v>
                </c:pt>
                <c:pt idx="28368">
                  <c:v>0.50593900481540899</c:v>
                </c:pt>
                <c:pt idx="28369">
                  <c:v>0.50595683966470395</c:v>
                </c:pt>
                <c:pt idx="28370">
                  <c:v>0.50597467451400002</c:v>
                </c:pt>
                <c:pt idx="28371">
                  <c:v>0.50599250936329498</c:v>
                </c:pt>
                <c:pt idx="28372">
                  <c:v>0.50601034421259095</c:v>
                </c:pt>
                <c:pt idx="28373">
                  <c:v>0.50602817906188602</c:v>
                </c:pt>
                <c:pt idx="28374">
                  <c:v>0.50604601391118198</c:v>
                </c:pt>
                <c:pt idx="28375">
                  <c:v>0.50606384876047705</c:v>
                </c:pt>
                <c:pt idx="28376">
                  <c:v>0.50608168360977301</c:v>
                </c:pt>
                <c:pt idx="28377">
                  <c:v>0.50609951845906898</c:v>
                </c:pt>
                <c:pt idx="28378">
                  <c:v>0.50611735330836405</c:v>
                </c:pt>
                <c:pt idx="28379">
                  <c:v>0.50613518815766001</c:v>
                </c:pt>
                <c:pt idx="28380">
                  <c:v>0.50615302300695497</c:v>
                </c:pt>
                <c:pt idx="28381">
                  <c:v>0.50617085785625104</c:v>
                </c:pt>
                <c:pt idx="28382">
                  <c:v>0.50618869270554601</c:v>
                </c:pt>
                <c:pt idx="28383">
                  <c:v>0.50620652755484197</c:v>
                </c:pt>
                <c:pt idx="28384">
                  <c:v>0.50622436240413704</c:v>
                </c:pt>
                <c:pt idx="28385">
                  <c:v>0.506242197253433</c:v>
                </c:pt>
                <c:pt idx="28386">
                  <c:v>0.50626003210272796</c:v>
                </c:pt>
                <c:pt idx="28387">
                  <c:v>0.50627786695202404</c:v>
                </c:pt>
                <c:pt idx="28388">
                  <c:v>0.506295701801319</c:v>
                </c:pt>
                <c:pt idx="28389">
                  <c:v>0.50631353665061496</c:v>
                </c:pt>
                <c:pt idx="28390">
                  <c:v>0.50633137149991003</c:v>
                </c:pt>
                <c:pt idx="28391">
                  <c:v>0.50634920634920599</c:v>
                </c:pt>
                <c:pt idx="28392">
                  <c:v>0.50636704119850096</c:v>
                </c:pt>
                <c:pt idx="28393">
                  <c:v>0.50638487604779703</c:v>
                </c:pt>
                <c:pt idx="28394">
                  <c:v>0.50640271089709199</c:v>
                </c:pt>
                <c:pt idx="28395">
                  <c:v>0.50642054574638795</c:v>
                </c:pt>
                <c:pt idx="28396">
                  <c:v>0.50643838059568302</c:v>
                </c:pt>
                <c:pt idx="28397">
                  <c:v>0.50645621544497899</c:v>
                </c:pt>
                <c:pt idx="28398">
                  <c:v>0.50647405029427495</c:v>
                </c:pt>
                <c:pt idx="28399">
                  <c:v>0.50649188514357002</c:v>
                </c:pt>
                <c:pt idx="28400">
                  <c:v>0.50650971999286598</c:v>
                </c:pt>
                <c:pt idx="28401">
                  <c:v>0.50652755484216105</c:v>
                </c:pt>
                <c:pt idx="28402">
                  <c:v>0.50654538969145702</c:v>
                </c:pt>
                <c:pt idx="28403">
                  <c:v>0.50656322454075198</c:v>
                </c:pt>
                <c:pt idx="28404">
                  <c:v>0.50658105939004805</c:v>
                </c:pt>
                <c:pt idx="28405">
                  <c:v>0.50659889423934301</c:v>
                </c:pt>
                <c:pt idx="28406">
                  <c:v>0.50661672908863897</c:v>
                </c:pt>
                <c:pt idx="28407">
                  <c:v>0.50663456393793405</c:v>
                </c:pt>
                <c:pt idx="28408">
                  <c:v>0.50665239878723001</c:v>
                </c:pt>
                <c:pt idx="28409">
                  <c:v>0.50667023363652497</c:v>
                </c:pt>
                <c:pt idx="28410">
                  <c:v>0.50668806848582104</c:v>
                </c:pt>
                <c:pt idx="28411">
                  <c:v>0.506705903335116</c:v>
                </c:pt>
                <c:pt idx="28412">
                  <c:v>0.50672373818441196</c:v>
                </c:pt>
                <c:pt idx="28413">
                  <c:v>0.50674157303370704</c:v>
                </c:pt>
                <c:pt idx="28414">
                  <c:v>0.506759407883003</c:v>
                </c:pt>
                <c:pt idx="28415">
                  <c:v>0.50677724273229896</c:v>
                </c:pt>
                <c:pt idx="28416">
                  <c:v>0.50679507758159403</c:v>
                </c:pt>
                <c:pt idx="28417">
                  <c:v>0.50681291243088999</c:v>
                </c:pt>
                <c:pt idx="28418">
                  <c:v>0.50683074728018496</c:v>
                </c:pt>
                <c:pt idx="28419">
                  <c:v>0.50684858212948103</c:v>
                </c:pt>
                <c:pt idx="28420">
                  <c:v>0.50686641697877599</c:v>
                </c:pt>
                <c:pt idx="28421">
                  <c:v>0.50688425182807195</c:v>
                </c:pt>
                <c:pt idx="28422">
                  <c:v>0.50690208667736703</c:v>
                </c:pt>
                <c:pt idx="28423">
                  <c:v>0.50691992152666299</c:v>
                </c:pt>
                <c:pt idx="28424">
                  <c:v>0.50693775637595795</c:v>
                </c:pt>
                <c:pt idx="28425">
                  <c:v>0.50695559122525402</c:v>
                </c:pt>
                <c:pt idx="28426">
                  <c:v>0.50697342607454898</c:v>
                </c:pt>
                <c:pt idx="28427">
                  <c:v>0.50699126092384506</c:v>
                </c:pt>
                <c:pt idx="28428">
                  <c:v>0.50700909577314002</c:v>
                </c:pt>
                <c:pt idx="28429">
                  <c:v>0.50702693062243598</c:v>
                </c:pt>
                <c:pt idx="28430">
                  <c:v>0.50704476547173105</c:v>
                </c:pt>
                <c:pt idx="28431">
                  <c:v>0.50706260032102701</c:v>
                </c:pt>
                <c:pt idx="28432">
                  <c:v>0.50708043517032197</c:v>
                </c:pt>
                <c:pt idx="28433">
                  <c:v>0.50709827001961805</c:v>
                </c:pt>
                <c:pt idx="28434">
                  <c:v>0.50711610486891301</c:v>
                </c:pt>
                <c:pt idx="28435">
                  <c:v>0.50713393971820897</c:v>
                </c:pt>
                <c:pt idx="28436">
                  <c:v>0.50715177456750404</c:v>
                </c:pt>
                <c:pt idx="28437">
                  <c:v>0.5071696094168</c:v>
                </c:pt>
                <c:pt idx="28438">
                  <c:v>0.50718744426609597</c:v>
                </c:pt>
                <c:pt idx="28439">
                  <c:v>0.50720527911539104</c:v>
                </c:pt>
                <c:pt idx="28440">
                  <c:v>0.507223113964687</c:v>
                </c:pt>
                <c:pt idx="28441">
                  <c:v>0.50724094881398196</c:v>
                </c:pt>
                <c:pt idx="28442">
                  <c:v>0.50725878366327803</c:v>
                </c:pt>
                <c:pt idx="28443">
                  <c:v>0.507276618512573</c:v>
                </c:pt>
                <c:pt idx="28444">
                  <c:v>0.50729445336186896</c:v>
                </c:pt>
                <c:pt idx="28445">
                  <c:v>0.50731228821116403</c:v>
                </c:pt>
                <c:pt idx="28446">
                  <c:v>0.50733012306045999</c:v>
                </c:pt>
                <c:pt idx="28447">
                  <c:v>0.50734795790975495</c:v>
                </c:pt>
                <c:pt idx="28448">
                  <c:v>0.50736579275905103</c:v>
                </c:pt>
                <c:pt idx="28449">
                  <c:v>0.50738362760834599</c:v>
                </c:pt>
                <c:pt idx="28450">
                  <c:v>0.50740146245764195</c:v>
                </c:pt>
                <c:pt idx="28451">
                  <c:v>0.50741929730693702</c:v>
                </c:pt>
                <c:pt idx="28452">
                  <c:v>0.50743713215623298</c:v>
                </c:pt>
                <c:pt idx="28453">
                  <c:v>0.50745496700552795</c:v>
                </c:pt>
                <c:pt idx="28454">
                  <c:v>0.50747280185482402</c:v>
                </c:pt>
                <c:pt idx="28455">
                  <c:v>0.50749063670411898</c:v>
                </c:pt>
                <c:pt idx="28456">
                  <c:v>0.50750847155341505</c:v>
                </c:pt>
                <c:pt idx="28457">
                  <c:v>0.50752630640271001</c:v>
                </c:pt>
                <c:pt idx="28458">
                  <c:v>0.50754414125200598</c:v>
                </c:pt>
                <c:pt idx="28459">
                  <c:v>0.50756197610130105</c:v>
                </c:pt>
                <c:pt idx="28460">
                  <c:v>0.50757981095059701</c:v>
                </c:pt>
                <c:pt idx="28461">
                  <c:v>0.50759764579989297</c:v>
                </c:pt>
                <c:pt idx="28462">
                  <c:v>0.50761548064918804</c:v>
                </c:pt>
                <c:pt idx="28463">
                  <c:v>0.50763331549848401</c:v>
                </c:pt>
                <c:pt idx="28464">
                  <c:v>0.50765115034777897</c:v>
                </c:pt>
                <c:pt idx="28465">
                  <c:v>0.50766898519707504</c:v>
                </c:pt>
                <c:pt idx="28466">
                  <c:v>0.50768682004637</c:v>
                </c:pt>
                <c:pt idx="28467">
                  <c:v>0.50770465489566596</c:v>
                </c:pt>
                <c:pt idx="28468">
                  <c:v>0.50772248974496104</c:v>
                </c:pt>
                <c:pt idx="28469">
                  <c:v>0.507740324594257</c:v>
                </c:pt>
                <c:pt idx="28470">
                  <c:v>0.50775815944355196</c:v>
                </c:pt>
                <c:pt idx="28471">
                  <c:v>0.50777599429284803</c:v>
                </c:pt>
                <c:pt idx="28472">
                  <c:v>0.50779382914214299</c:v>
                </c:pt>
                <c:pt idx="28473">
                  <c:v>0.50781166399143896</c:v>
                </c:pt>
                <c:pt idx="28474">
                  <c:v>0.50782949884073403</c:v>
                </c:pt>
                <c:pt idx="28475">
                  <c:v>0.50784733369002999</c:v>
                </c:pt>
                <c:pt idx="28476">
                  <c:v>0.50786516853932495</c:v>
                </c:pt>
                <c:pt idx="28477">
                  <c:v>0.50788300338862102</c:v>
                </c:pt>
                <c:pt idx="28478">
                  <c:v>0.50790083823791599</c:v>
                </c:pt>
                <c:pt idx="28479">
                  <c:v>0.50791867308721195</c:v>
                </c:pt>
                <c:pt idx="28480">
                  <c:v>0.50793650793650702</c:v>
                </c:pt>
                <c:pt idx="28481">
                  <c:v>0.50795434278580298</c:v>
                </c:pt>
                <c:pt idx="28482">
                  <c:v>0.50797217763509805</c:v>
                </c:pt>
                <c:pt idx="28483">
                  <c:v>0.50799001248439402</c:v>
                </c:pt>
                <c:pt idx="28484">
                  <c:v>0.50800784733368998</c:v>
                </c:pt>
                <c:pt idx="28485">
                  <c:v>0.50802568218298505</c:v>
                </c:pt>
                <c:pt idx="28486">
                  <c:v>0.50804351703228101</c:v>
                </c:pt>
                <c:pt idx="28487">
                  <c:v>0.50806135188157597</c:v>
                </c:pt>
                <c:pt idx="28488">
                  <c:v>0.50807918673087205</c:v>
                </c:pt>
                <c:pt idx="28489">
                  <c:v>0.50809702158016701</c:v>
                </c:pt>
                <c:pt idx="28490">
                  <c:v>0.50811485642946297</c:v>
                </c:pt>
                <c:pt idx="28491">
                  <c:v>0.50813269127875804</c:v>
                </c:pt>
                <c:pt idx="28492">
                  <c:v>0.508150526128054</c:v>
                </c:pt>
                <c:pt idx="28493">
                  <c:v>0.50816836097734897</c:v>
                </c:pt>
                <c:pt idx="28494">
                  <c:v>0.50818619582664504</c:v>
                </c:pt>
                <c:pt idx="28495">
                  <c:v>0.50820403067594</c:v>
                </c:pt>
                <c:pt idx="28496">
                  <c:v>0.50822186552523596</c:v>
                </c:pt>
                <c:pt idx="28497">
                  <c:v>0.50823970037453103</c:v>
                </c:pt>
                <c:pt idx="28498">
                  <c:v>0.508257535223827</c:v>
                </c:pt>
                <c:pt idx="28499">
                  <c:v>0.50827537007312196</c:v>
                </c:pt>
                <c:pt idx="28500">
                  <c:v>0.50829320492241803</c:v>
                </c:pt>
                <c:pt idx="28501">
                  <c:v>0.50831103977171299</c:v>
                </c:pt>
                <c:pt idx="28502">
                  <c:v>0.50832887462100895</c:v>
                </c:pt>
                <c:pt idx="28503">
                  <c:v>0.50834670947030502</c:v>
                </c:pt>
                <c:pt idx="28504">
                  <c:v>0.50836454431959999</c:v>
                </c:pt>
                <c:pt idx="28505">
                  <c:v>0.50838237916889595</c:v>
                </c:pt>
                <c:pt idx="28506">
                  <c:v>0.50840021401819102</c:v>
                </c:pt>
                <c:pt idx="28507">
                  <c:v>0.50841804886748698</c:v>
                </c:pt>
                <c:pt idx="28508">
                  <c:v>0.50843588371678194</c:v>
                </c:pt>
                <c:pt idx="28509">
                  <c:v>0.50845371856607802</c:v>
                </c:pt>
                <c:pt idx="28510">
                  <c:v>0.50847155341537298</c:v>
                </c:pt>
                <c:pt idx="28511">
                  <c:v>0.50848938826466905</c:v>
                </c:pt>
                <c:pt idx="28512">
                  <c:v>0.50850722311396401</c:v>
                </c:pt>
                <c:pt idx="28513">
                  <c:v>0.50852505796325997</c:v>
                </c:pt>
                <c:pt idx="28514">
                  <c:v>0.50854289281255505</c:v>
                </c:pt>
                <c:pt idx="28515">
                  <c:v>0.50856072766185101</c:v>
                </c:pt>
                <c:pt idx="28516">
                  <c:v>0.50857856251114597</c:v>
                </c:pt>
                <c:pt idx="28517">
                  <c:v>0.50859639736044204</c:v>
                </c:pt>
                <c:pt idx="28518">
                  <c:v>0.508614232209737</c:v>
                </c:pt>
                <c:pt idx="28519">
                  <c:v>0.50863206705903297</c:v>
                </c:pt>
                <c:pt idx="28520">
                  <c:v>0.50864990190832804</c:v>
                </c:pt>
                <c:pt idx="28521">
                  <c:v>0.508667736757624</c:v>
                </c:pt>
                <c:pt idx="28522">
                  <c:v>0.50868557160691996</c:v>
                </c:pt>
                <c:pt idx="28523">
                  <c:v>0.50870340645621503</c:v>
                </c:pt>
                <c:pt idx="28524">
                  <c:v>0.508721241305511</c:v>
                </c:pt>
                <c:pt idx="28525">
                  <c:v>0.50873907615480596</c:v>
                </c:pt>
                <c:pt idx="28526">
                  <c:v>0.50875691100410203</c:v>
                </c:pt>
                <c:pt idx="28527">
                  <c:v>0.50877474585339699</c:v>
                </c:pt>
                <c:pt idx="28528">
                  <c:v>0.50879258070269295</c:v>
                </c:pt>
                <c:pt idx="28529">
                  <c:v>0.50881041555198803</c:v>
                </c:pt>
                <c:pt idx="28530">
                  <c:v>0.50882825040128399</c:v>
                </c:pt>
                <c:pt idx="28531">
                  <c:v>0.50884608525057895</c:v>
                </c:pt>
                <c:pt idx="28532">
                  <c:v>0.50886392009987502</c:v>
                </c:pt>
                <c:pt idx="28533">
                  <c:v>0.50888175494916998</c:v>
                </c:pt>
                <c:pt idx="28534">
                  <c:v>0.50889958979846595</c:v>
                </c:pt>
                <c:pt idx="28535">
                  <c:v>0.50891742464776102</c:v>
                </c:pt>
                <c:pt idx="28536">
                  <c:v>0.50893525949705698</c:v>
                </c:pt>
                <c:pt idx="28537">
                  <c:v>0.50895309434635205</c:v>
                </c:pt>
                <c:pt idx="28538">
                  <c:v>0.50897092919564801</c:v>
                </c:pt>
                <c:pt idx="28539">
                  <c:v>0.50898876404494298</c:v>
                </c:pt>
                <c:pt idx="28540">
                  <c:v>0.50900659889423905</c:v>
                </c:pt>
                <c:pt idx="28541">
                  <c:v>0.50902443374353401</c:v>
                </c:pt>
                <c:pt idx="28542">
                  <c:v>0.50904226859282997</c:v>
                </c:pt>
                <c:pt idx="28543">
                  <c:v>0.50906010344212504</c:v>
                </c:pt>
                <c:pt idx="28544">
                  <c:v>0.50907793829142101</c:v>
                </c:pt>
                <c:pt idx="28545">
                  <c:v>0.50909577314071697</c:v>
                </c:pt>
                <c:pt idx="28546">
                  <c:v>0.50911360799001204</c:v>
                </c:pt>
                <c:pt idx="28547">
                  <c:v>0.509131442839308</c:v>
                </c:pt>
                <c:pt idx="28548">
                  <c:v>0.50914927768860296</c:v>
                </c:pt>
                <c:pt idx="28549">
                  <c:v>0.50916711253789904</c:v>
                </c:pt>
                <c:pt idx="28550">
                  <c:v>0.509184947387194</c:v>
                </c:pt>
                <c:pt idx="28551">
                  <c:v>0.50920278223648996</c:v>
                </c:pt>
                <c:pt idx="28552">
                  <c:v>0.50922061708578503</c:v>
                </c:pt>
                <c:pt idx="28553">
                  <c:v>0.50923845193508099</c:v>
                </c:pt>
                <c:pt idx="28554">
                  <c:v>0.50925628678437596</c:v>
                </c:pt>
                <c:pt idx="28555">
                  <c:v>0.50927412163367203</c:v>
                </c:pt>
                <c:pt idx="28556">
                  <c:v>0.50929195648296699</c:v>
                </c:pt>
                <c:pt idx="28557">
                  <c:v>0.50930979133226295</c:v>
                </c:pt>
                <c:pt idx="28558">
                  <c:v>0.50932762618155802</c:v>
                </c:pt>
                <c:pt idx="28559">
                  <c:v>0.50934546103085399</c:v>
                </c:pt>
                <c:pt idx="28560">
                  <c:v>0.50936329588014895</c:v>
                </c:pt>
                <c:pt idx="28561">
                  <c:v>0.50938113072944502</c:v>
                </c:pt>
                <c:pt idx="28562">
                  <c:v>0.50939896557873998</c:v>
                </c:pt>
                <c:pt idx="28563">
                  <c:v>0.50941680042803605</c:v>
                </c:pt>
                <c:pt idx="28564">
                  <c:v>0.50943463527733102</c:v>
                </c:pt>
                <c:pt idx="28565">
                  <c:v>0.50945247012662698</c:v>
                </c:pt>
                <c:pt idx="28566">
                  <c:v>0.50947030497592205</c:v>
                </c:pt>
                <c:pt idx="28567">
                  <c:v>0.50948813982521801</c:v>
                </c:pt>
                <c:pt idx="28568">
                  <c:v>0.50950597467451397</c:v>
                </c:pt>
                <c:pt idx="28569">
                  <c:v>0.50952380952380905</c:v>
                </c:pt>
                <c:pt idx="28570">
                  <c:v>0.50954164437310501</c:v>
                </c:pt>
                <c:pt idx="28571">
                  <c:v>0.50955947922239997</c:v>
                </c:pt>
                <c:pt idx="28572">
                  <c:v>0.50957731407169604</c:v>
                </c:pt>
                <c:pt idx="28573">
                  <c:v>0.509595148920991</c:v>
                </c:pt>
                <c:pt idx="28574">
                  <c:v>0.50961298377028696</c:v>
                </c:pt>
                <c:pt idx="28575">
                  <c:v>0.50963081861958204</c:v>
                </c:pt>
                <c:pt idx="28576">
                  <c:v>0.509648653468878</c:v>
                </c:pt>
                <c:pt idx="28577">
                  <c:v>0.50966648831817296</c:v>
                </c:pt>
                <c:pt idx="28578">
                  <c:v>0.50968432316746903</c:v>
                </c:pt>
                <c:pt idx="28579">
                  <c:v>0.509702158016764</c:v>
                </c:pt>
                <c:pt idx="28580">
                  <c:v>0.50971999286605996</c:v>
                </c:pt>
                <c:pt idx="28581">
                  <c:v>0.50973782771535503</c:v>
                </c:pt>
                <c:pt idx="28582">
                  <c:v>0.50975566256465099</c:v>
                </c:pt>
                <c:pt idx="28583">
                  <c:v>0.50977349741394595</c:v>
                </c:pt>
                <c:pt idx="28584">
                  <c:v>0.50979133226324203</c:v>
                </c:pt>
                <c:pt idx="28585">
                  <c:v>0.50980916711253699</c:v>
                </c:pt>
                <c:pt idx="28586">
                  <c:v>0.50982700196183295</c:v>
                </c:pt>
                <c:pt idx="28587">
                  <c:v>0.50984483681112802</c:v>
                </c:pt>
                <c:pt idx="28588">
                  <c:v>0.50986267166042398</c:v>
                </c:pt>
                <c:pt idx="28589">
                  <c:v>0.50988050650971894</c:v>
                </c:pt>
                <c:pt idx="28590">
                  <c:v>0.50989834135901502</c:v>
                </c:pt>
                <c:pt idx="28591">
                  <c:v>0.50991617620831098</c:v>
                </c:pt>
                <c:pt idx="28592">
                  <c:v>0.50993401105760605</c:v>
                </c:pt>
                <c:pt idx="28593">
                  <c:v>0.50995184590690201</c:v>
                </c:pt>
                <c:pt idx="28594">
                  <c:v>0.50996968075619697</c:v>
                </c:pt>
                <c:pt idx="28595">
                  <c:v>0.50998751560549305</c:v>
                </c:pt>
                <c:pt idx="28596">
                  <c:v>0.51000535045478801</c:v>
                </c:pt>
                <c:pt idx="28597">
                  <c:v>0.51002318530408397</c:v>
                </c:pt>
                <c:pt idx="28598">
                  <c:v>0.51004102015337904</c:v>
                </c:pt>
                <c:pt idx="28599">
                  <c:v>0.510058855002675</c:v>
                </c:pt>
                <c:pt idx="28600">
                  <c:v>0.51007668985196997</c:v>
                </c:pt>
                <c:pt idx="28601">
                  <c:v>0.51009452470126604</c:v>
                </c:pt>
                <c:pt idx="28602">
                  <c:v>0.510112359550561</c:v>
                </c:pt>
                <c:pt idx="28603">
                  <c:v>0.51013019439985696</c:v>
                </c:pt>
                <c:pt idx="28604">
                  <c:v>0.51014802924915204</c:v>
                </c:pt>
                <c:pt idx="28605">
                  <c:v>0.510165864098448</c:v>
                </c:pt>
                <c:pt idx="28606">
                  <c:v>0.51018369894774296</c:v>
                </c:pt>
                <c:pt idx="28607">
                  <c:v>0.51020153379703903</c:v>
                </c:pt>
                <c:pt idx="28608">
                  <c:v>0.51021936864633499</c:v>
                </c:pt>
                <c:pt idx="28609">
                  <c:v>0.51023720349562995</c:v>
                </c:pt>
                <c:pt idx="28610">
                  <c:v>0.51025503834492603</c:v>
                </c:pt>
                <c:pt idx="28611">
                  <c:v>0.51027287319422099</c:v>
                </c:pt>
                <c:pt idx="28612">
                  <c:v>0.51029070804351695</c:v>
                </c:pt>
                <c:pt idx="28613">
                  <c:v>0.51030854289281202</c:v>
                </c:pt>
                <c:pt idx="28614">
                  <c:v>0.51032637774210798</c:v>
                </c:pt>
                <c:pt idx="28615">
                  <c:v>0.51034421259140295</c:v>
                </c:pt>
                <c:pt idx="28616">
                  <c:v>0.51036204744069902</c:v>
                </c:pt>
                <c:pt idx="28617">
                  <c:v>0.51037988228999398</c:v>
                </c:pt>
                <c:pt idx="28618">
                  <c:v>0.51039771713929005</c:v>
                </c:pt>
                <c:pt idx="28619">
                  <c:v>0.51041555198858501</c:v>
                </c:pt>
                <c:pt idx="28620">
                  <c:v>0.51043338683788098</c:v>
                </c:pt>
                <c:pt idx="28621">
                  <c:v>0.51045122168717605</c:v>
                </c:pt>
                <c:pt idx="28622">
                  <c:v>0.51046905653647201</c:v>
                </c:pt>
                <c:pt idx="28623">
                  <c:v>0.51048689138576697</c:v>
                </c:pt>
                <c:pt idx="28624">
                  <c:v>0.51050472623506304</c:v>
                </c:pt>
                <c:pt idx="28625">
                  <c:v>0.51052256108435801</c:v>
                </c:pt>
                <c:pt idx="28626">
                  <c:v>0.51054039593365397</c:v>
                </c:pt>
                <c:pt idx="28627">
                  <c:v>0.51055823078294904</c:v>
                </c:pt>
                <c:pt idx="28628">
                  <c:v>0.510576065632245</c:v>
                </c:pt>
                <c:pt idx="28629">
                  <c:v>0.51059390048154096</c:v>
                </c:pt>
                <c:pt idx="28630">
                  <c:v>0.51061173533083604</c:v>
                </c:pt>
                <c:pt idx="28631">
                  <c:v>0.510629570180132</c:v>
                </c:pt>
                <c:pt idx="28632">
                  <c:v>0.51064740502942696</c:v>
                </c:pt>
                <c:pt idx="28633">
                  <c:v>0.51066523987872303</c:v>
                </c:pt>
                <c:pt idx="28634">
                  <c:v>0.51068307472801799</c:v>
                </c:pt>
                <c:pt idx="28635">
                  <c:v>0.51070090957731396</c:v>
                </c:pt>
                <c:pt idx="28636">
                  <c:v>0.51071874442660903</c:v>
                </c:pt>
                <c:pt idx="28637">
                  <c:v>0.51073657927590499</c:v>
                </c:pt>
                <c:pt idx="28638">
                  <c:v>0.51075441412519995</c:v>
                </c:pt>
                <c:pt idx="28639">
                  <c:v>0.51077224897449602</c:v>
                </c:pt>
                <c:pt idx="28640">
                  <c:v>0.51079008382379099</c:v>
                </c:pt>
                <c:pt idx="28641">
                  <c:v>0.51080791867308695</c:v>
                </c:pt>
                <c:pt idx="28642">
                  <c:v>0.51082575352238202</c:v>
                </c:pt>
                <c:pt idx="28643">
                  <c:v>0.51084358837167798</c:v>
                </c:pt>
                <c:pt idx="28644">
                  <c:v>0.51086142322097305</c:v>
                </c:pt>
                <c:pt idx="28645">
                  <c:v>0.51087925807026902</c:v>
                </c:pt>
                <c:pt idx="28646">
                  <c:v>0.51089709291956398</c:v>
                </c:pt>
                <c:pt idx="28647">
                  <c:v>0.51091492776886005</c:v>
                </c:pt>
                <c:pt idx="28648">
                  <c:v>0.51093276261815501</c:v>
                </c:pt>
                <c:pt idx="28649">
                  <c:v>0.51095059746745097</c:v>
                </c:pt>
                <c:pt idx="28650">
                  <c:v>0.51096843231674605</c:v>
                </c:pt>
                <c:pt idx="28651">
                  <c:v>0.51098626716604201</c:v>
                </c:pt>
                <c:pt idx="28652">
                  <c:v>0.51100410201533797</c:v>
                </c:pt>
                <c:pt idx="28653">
                  <c:v>0.51102193686463304</c:v>
                </c:pt>
                <c:pt idx="28654">
                  <c:v>0.511039771713929</c:v>
                </c:pt>
                <c:pt idx="28655">
                  <c:v>0.51105760656322397</c:v>
                </c:pt>
                <c:pt idx="28656">
                  <c:v>0.51107544141252004</c:v>
                </c:pt>
                <c:pt idx="28657">
                  <c:v>0.511093276261815</c:v>
                </c:pt>
                <c:pt idx="28658">
                  <c:v>0.51111111111111096</c:v>
                </c:pt>
                <c:pt idx="28659">
                  <c:v>0.51112894596040603</c:v>
                </c:pt>
                <c:pt idx="28660">
                  <c:v>0.51114678080970199</c:v>
                </c:pt>
                <c:pt idx="28661">
                  <c:v>0.51116461565899696</c:v>
                </c:pt>
                <c:pt idx="28662">
                  <c:v>0.51118245050829303</c:v>
                </c:pt>
                <c:pt idx="28663">
                  <c:v>0.51120028535758799</c:v>
                </c:pt>
                <c:pt idx="28664">
                  <c:v>0.51121812020688395</c:v>
                </c:pt>
                <c:pt idx="28665">
                  <c:v>0.51123595505617903</c:v>
                </c:pt>
                <c:pt idx="28666">
                  <c:v>0.51125378990547499</c:v>
                </c:pt>
                <c:pt idx="28667">
                  <c:v>0.51127162475476995</c:v>
                </c:pt>
                <c:pt idx="28668">
                  <c:v>0.51128945960406602</c:v>
                </c:pt>
                <c:pt idx="28669">
                  <c:v>0.51130729445336098</c:v>
                </c:pt>
                <c:pt idx="28670">
                  <c:v>0.51132512930265706</c:v>
                </c:pt>
                <c:pt idx="28671">
                  <c:v>0.51134296415195202</c:v>
                </c:pt>
                <c:pt idx="28672">
                  <c:v>0.51136079900124798</c:v>
                </c:pt>
                <c:pt idx="28673">
                  <c:v>0.51137863385054305</c:v>
                </c:pt>
                <c:pt idx="28674">
                  <c:v>0.51139646869983901</c:v>
                </c:pt>
                <c:pt idx="28675">
                  <c:v>0.51141430354913497</c:v>
                </c:pt>
                <c:pt idx="28676">
                  <c:v>0.51143213839843005</c:v>
                </c:pt>
                <c:pt idx="28677">
                  <c:v>0.51144997324772601</c:v>
                </c:pt>
                <c:pt idx="28678">
                  <c:v>0.51146780809702097</c:v>
                </c:pt>
                <c:pt idx="28679">
                  <c:v>0.51148564294631704</c:v>
                </c:pt>
                <c:pt idx="28680">
                  <c:v>0.511503477795612</c:v>
                </c:pt>
                <c:pt idx="28681">
                  <c:v>0.51152131264490797</c:v>
                </c:pt>
                <c:pt idx="28682">
                  <c:v>0.51153914749420304</c:v>
                </c:pt>
                <c:pt idx="28683">
                  <c:v>0.511556982343499</c:v>
                </c:pt>
                <c:pt idx="28684">
                  <c:v>0.51157481719279396</c:v>
                </c:pt>
                <c:pt idx="28685">
                  <c:v>0.51159265204209003</c:v>
                </c:pt>
                <c:pt idx="28686">
                  <c:v>0.511610486891385</c:v>
                </c:pt>
                <c:pt idx="28687">
                  <c:v>0.51162832174068096</c:v>
                </c:pt>
                <c:pt idx="28688">
                  <c:v>0.51164615658997603</c:v>
                </c:pt>
                <c:pt idx="28689">
                  <c:v>0.51166399143927199</c:v>
                </c:pt>
                <c:pt idx="28690">
                  <c:v>0.51168182628856695</c:v>
                </c:pt>
                <c:pt idx="28691">
                  <c:v>0.51169966113786303</c:v>
                </c:pt>
                <c:pt idx="28692">
                  <c:v>0.51171749598715799</c:v>
                </c:pt>
                <c:pt idx="28693">
                  <c:v>0.51173533083645395</c:v>
                </c:pt>
                <c:pt idx="28694">
                  <c:v>0.51175316568574902</c:v>
                </c:pt>
                <c:pt idx="28695">
                  <c:v>0.51177100053504498</c:v>
                </c:pt>
                <c:pt idx="28696">
                  <c:v>0.51178883538434095</c:v>
                </c:pt>
                <c:pt idx="28697">
                  <c:v>0.51180667023363602</c:v>
                </c:pt>
                <c:pt idx="28698">
                  <c:v>0.51182450508293198</c:v>
                </c:pt>
                <c:pt idx="28699">
                  <c:v>0.51184233993222705</c:v>
                </c:pt>
                <c:pt idx="28700">
                  <c:v>0.51186017478152301</c:v>
                </c:pt>
                <c:pt idx="28701">
                  <c:v>0.51187800963081798</c:v>
                </c:pt>
                <c:pt idx="28702">
                  <c:v>0.51189584448011405</c:v>
                </c:pt>
                <c:pt idx="28703">
                  <c:v>0.51191367932940901</c:v>
                </c:pt>
                <c:pt idx="28704">
                  <c:v>0.51193151417870497</c:v>
                </c:pt>
                <c:pt idx="28705">
                  <c:v>0.51194934902800004</c:v>
                </c:pt>
                <c:pt idx="28706">
                  <c:v>0.51196718387729601</c:v>
                </c:pt>
                <c:pt idx="28707">
                  <c:v>0.51198501872659097</c:v>
                </c:pt>
                <c:pt idx="28708">
                  <c:v>0.51200285357588704</c:v>
                </c:pt>
                <c:pt idx="28709">
                  <c:v>0.512020688425182</c:v>
                </c:pt>
                <c:pt idx="28710">
                  <c:v>0.51203852327447796</c:v>
                </c:pt>
                <c:pt idx="28711">
                  <c:v>0.51205635812377304</c:v>
                </c:pt>
                <c:pt idx="28712">
                  <c:v>0.512074192973069</c:v>
                </c:pt>
                <c:pt idx="28713">
                  <c:v>0.51209202782236396</c:v>
                </c:pt>
                <c:pt idx="28714">
                  <c:v>0.51210986267166003</c:v>
                </c:pt>
                <c:pt idx="28715">
                  <c:v>0.51212769752095599</c:v>
                </c:pt>
                <c:pt idx="28716">
                  <c:v>0.51214553237025096</c:v>
                </c:pt>
                <c:pt idx="28717">
                  <c:v>0.51216336721954703</c:v>
                </c:pt>
                <c:pt idx="28718">
                  <c:v>0.51218120206884199</c:v>
                </c:pt>
                <c:pt idx="28719">
                  <c:v>0.51219903691813795</c:v>
                </c:pt>
                <c:pt idx="28720">
                  <c:v>0.51221687176743302</c:v>
                </c:pt>
                <c:pt idx="28721">
                  <c:v>0.51223470661672899</c:v>
                </c:pt>
                <c:pt idx="28722">
                  <c:v>0.51225254146602395</c:v>
                </c:pt>
                <c:pt idx="28723">
                  <c:v>0.51227037631532002</c:v>
                </c:pt>
                <c:pt idx="28724">
                  <c:v>0.51228821116461498</c:v>
                </c:pt>
                <c:pt idx="28725">
                  <c:v>0.51230604601391105</c:v>
                </c:pt>
                <c:pt idx="28726">
                  <c:v>0.51232388086320602</c:v>
                </c:pt>
                <c:pt idx="28727">
                  <c:v>0.51234171571250198</c:v>
                </c:pt>
                <c:pt idx="28728">
                  <c:v>0.51235955056179705</c:v>
                </c:pt>
                <c:pt idx="28729">
                  <c:v>0.51237738541109301</c:v>
                </c:pt>
                <c:pt idx="28730">
                  <c:v>0.51239522026038797</c:v>
                </c:pt>
                <c:pt idx="28731">
                  <c:v>0.51241305510968405</c:v>
                </c:pt>
                <c:pt idx="28732">
                  <c:v>0.51243088995897901</c:v>
                </c:pt>
                <c:pt idx="28733">
                  <c:v>0.51244872480827497</c:v>
                </c:pt>
                <c:pt idx="28734">
                  <c:v>0.51246655965757004</c:v>
                </c:pt>
                <c:pt idx="28735">
                  <c:v>0.512484394506866</c:v>
                </c:pt>
                <c:pt idx="28736">
                  <c:v>0.51250222935616196</c:v>
                </c:pt>
                <c:pt idx="28737">
                  <c:v>0.51252006420545704</c:v>
                </c:pt>
                <c:pt idx="28738">
                  <c:v>0.512537899054753</c:v>
                </c:pt>
                <c:pt idx="28739">
                  <c:v>0.51255573390404796</c:v>
                </c:pt>
                <c:pt idx="28740">
                  <c:v>0.51257356875334403</c:v>
                </c:pt>
                <c:pt idx="28741">
                  <c:v>0.512591403602639</c:v>
                </c:pt>
                <c:pt idx="28742">
                  <c:v>0.51260923845193496</c:v>
                </c:pt>
                <c:pt idx="28743">
                  <c:v>0.51262707330123003</c:v>
                </c:pt>
                <c:pt idx="28744">
                  <c:v>0.51264490815052599</c:v>
                </c:pt>
                <c:pt idx="28745">
                  <c:v>0.51266274299982095</c:v>
                </c:pt>
                <c:pt idx="28746">
                  <c:v>0.51268057784911703</c:v>
                </c:pt>
                <c:pt idx="28747">
                  <c:v>0.51269841269841199</c:v>
                </c:pt>
                <c:pt idx="28748">
                  <c:v>0.51271624754770795</c:v>
                </c:pt>
                <c:pt idx="28749">
                  <c:v>0.51273408239700302</c:v>
                </c:pt>
                <c:pt idx="28750">
                  <c:v>0.51275191724629898</c:v>
                </c:pt>
                <c:pt idx="28751">
                  <c:v>0.51276975209559394</c:v>
                </c:pt>
                <c:pt idx="28752">
                  <c:v>0.51278758694489002</c:v>
                </c:pt>
                <c:pt idx="28753">
                  <c:v>0.51280542179418498</c:v>
                </c:pt>
                <c:pt idx="28754">
                  <c:v>0.51282325664348105</c:v>
                </c:pt>
                <c:pt idx="28755">
                  <c:v>0.51284109149277601</c:v>
                </c:pt>
                <c:pt idx="28756">
                  <c:v>0.51285892634207197</c:v>
                </c:pt>
                <c:pt idx="28757">
                  <c:v>0.51287676119136705</c:v>
                </c:pt>
                <c:pt idx="28758">
                  <c:v>0.51289459604066301</c:v>
                </c:pt>
                <c:pt idx="28759">
                  <c:v>0.51291243088995897</c:v>
                </c:pt>
                <c:pt idx="28760">
                  <c:v>0.51293026573925404</c:v>
                </c:pt>
                <c:pt idx="28761">
                  <c:v>0.51294810058855</c:v>
                </c:pt>
                <c:pt idx="28762">
                  <c:v>0.51296593543784497</c:v>
                </c:pt>
                <c:pt idx="28763">
                  <c:v>0.51298377028714104</c:v>
                </c:pt>
                <c:pt idx="28764">
                  <c:v>0.513001605136436</c:v>
                </c:pt>
                <c:pt idx="28765">
                  <c:v>0.51301943998573196</c:v>
                </c:pt>
                <c:pt idx="28766">
                  <c:v>0.51303727483502704</c:v>
                </c:pt>
                <c:pt idx="28767">
                  <c:v>0.513055109684323</c:v>
                </c:pt>
                <c:pt idx="28768">
                  <c:v>0.51307294453361796</c:v>
                </c:pt>
                <c:pt idx="28769">
                  <c:v>0.51309077938291403</c:v>
                </c:pt>
                <c:pt idx="28770">
                  <c:v>0.51310861423220899</c:v>
                </c:pt>
                <c:pt idx="28771">
                  <c:v>0.51312644908150495</c:v>
                </c:pt>
                <c:pt idx="28772">
                  <c:v>0.51314428393080003</c:v>
                </c:pt>
                <c:pt idx="28773">
                  <c:v>0.51316211878009599</c:v>
                </c:pt>
                <c:pt idx="28774">
                  <c:v>0.51317995362939095</c:v>
                </c:pt>
                <c:pt idx="28775">
                  <c:v>0.51319778847868702</c:v>
                </c:pt>
                <c:pt idx="28776">
                  <c:v>0.51321562332798198</c:v>
                </c:pt>
                <c:pt idx="28777">
                  <c:v>0.51323345817727795</c:v>
                </c:pt>
                <c:pt idx="28778">
                  <c:v>0.51325129302657302</c:v>
                </c:pt>
                <c:pt idx="28779">
                  <c:v>0.51326912787586898</c:v>
                </c:pt>
                <c:pt idx="28780">
                  <c:v>0.51328696272516405</c:v>
                </c:pt>
                <c:pt idx="28781">
                  <c:v>0.51330479757446001</c:v>
                </c:pt>
                <c:pt idx="28782">
                  <c:v>0.51332263242375598</c:v>
                </c:pt>
                <c:pt idx="28783">
                  <c:v>0.51334046727305105</c:v>
                </c:pt>
                <c:pt idx="28784">
                  <c:v>0.51335830212234701</c:v>
                </c:pt>
                <c:pt idx="28785">
                  <c:v>0.51337613697164197</c:v>
                </c:pt>
                <c:pt idx="28786">
                  <c:v>0.51339397182093804</c:v>
                </c:pt>
                <c:pt idx="28787">
                  <c:v>0.51341180667023301</c:v>
                </c:pt>
                <c:pt idx="28788">
                  <c:v>0.51342964151952897</c:v>
                </c:pt>
                <c:pt idx="28789">
                  <c:v>0.51344747636882404</c:v>
                </c:pt>
                <c:pt idx="28790">
                  <c:v>0.51346531121812</c:v>
                </c:pt>
                <c:pt idx="28791">
                  <c:v>0.51348314606741496</c:v>
                </c:pt>
                <c:pt idx="28792">
                  <c:v>0.51350098091671104</c:v>
                </c:pt>
                <c:pt idx="28793">
                  <c:v>0.513518815766006</c:v>
                </c:pt>
                <c:pt idx="28794">
                  <c:v>0.51353665061530196</c:v>
                </c:pt>
                <c:pt idx="28795">
                  <c:v>0.51355448546459703</c:v>
                </c:pt>
                <c:pt idx="28796">
                  <c:v>0.51357232031389299</c:v>
                </c:pt>
                <c:pt idx="28797">
                  <c:v>0.51359015516318796</c:v>
                </c:pt>
                <c:pt idx="28798">
                  <c:v>0.51360799001248403</c:v>
                </c:pt>
                <c:pt idx="28799">
                  <c:v>0.51362582486177899</c:v>
                </c:pt>
                <c:pt idx="28800">
                  <c:v>0.51364365971107495</c:v>
                </c:pt>
                <c:pt idx="28801">
                  <c:v>0.51366149456037002</c:v>
                </c:pt>
                <c:pt idx="28802">
                  <c:v>0.51367932940966599</c:v>
                </c:pt>
                <c:pt idx="28803">
                  <c:v>0.51369716425896195</c:v>
                </c:pt>
                <c:pt idx="28804">
                  <c:v>0.51371499910825702</c:v>
                </c:pt>
                <c:pt idx="28805">
                  <c:v>0.51373283395755298</c:v>
                </c:pt>
                <c:pt idx="28806">
                  <c:v>0.51375066880684805</c:v>
                </c:pt>
                <c:pt idx="28807">
                  <c:v>0.51376850365614402</c:v>
                </c:pt>
                <c:pt idx="28808">
                  <c:v>0.51378633850543898</c:v>
                </c:pt>
                <c:pt idx="28809">
                  <c:v>0.51380417335473505</c:v>
                </c:pt>
                <c:pt idx="28810">
                  <c:v>0.51382200820403001</c:v>
                </c:pt>
                <c:pt idx="28811">
                  <c:v>0.51383984305332597</c:v>
                </c:pt>
                <c:pt idx="28812">
                  <c:v>0.51385767790262105</c:v>
                </c:pt>
                <c:pt idx="28813">
                  <c:v>0.51387551275191701</c:v>
                </c:pt>
                <c:pt idx="28814">
                  <c:v>0.51389334760121197</c:v>
                </c:pt>
                <c:pt idx="28815">
                  <c:v>0.51391118245050804</c:v>
                </c:pt>
                <c:pt idx="28816">
                  <c:v>0.513929017299803</c:v>
                </c:pt>
                <c:pt idx="28817">
                  <c:v>0.51394685214909896</c:v>
                </c:pt>
                <c:pt idx="28818">
                  <c:v>0.51396468699839404</c:v>
                </c:pt>
                <c:pt idx="28819">
                  <c:v>0.51398252184769</c:v>
                </c:pt>
                <c:pt idx="28820">
                  <c:v>0.51400035669698596</c:v>
                </c:pt>
                <c:pt idx="28821">
                  <c:v>0.51401819154628103</c:v>
                </c:pt>
                <c:pt idx="28822">
                  <c:v>0.51403602639557699</c:v>
                </c:pt>
                <c:pt idx="28823">
                  <c:v>0.51405386124487196</c:v>
                </c:pt>
                <c:pt idx="28824">
                  <c:v>0.51407169609416803</c:v>
                </c:pt>
                <c:pt idx="28825">
                  <c:v>0.51408953094346299</c:v>
                </c:pt>
                <c:pt idx="28826">
                  <c:v>0.51410736579275895</c:v>
                </c:pt>
                <c:pt idx="28827">
                  <c:v>0.51412520064205403</c:v>
                </c:pt>
                <c:pt idx="28828">
                  <c:v>0.51414303549134999</c:v>
                </c:pt>
                <c:pt idx="28829">
                  <c:v>0.51416087034064495</c:v>
                </c:pt>
                <c:pt idx="28830">
                  <c:v>0.51417870518994102</c:v>
                </c:pt>
                <c:pt idx="28831">
                  <c:v>0.51419654003923598</c:v>
                </c:pt>
                <c:pt idx="28832">
                  <c:v>0.51421437488853206</c:v>
                </c:pt>
                <c:pt idx="28833">
                  <c:v>0.51423220973782702</c:v>
                </c:pt>
                <c:pt idx="28834">
                  <c:v>0.51425004458712298</c:v>
                </c:pt>
                <c:pt idx="28835">
                  <c:v>0.51426787943641805</c:v>
                </c:pt>
                <c:pt idx="28836">
                  <c:v>0.51428571428571401</c:v>
                </c:pt>
                <c:pt idx="28837">
                  <c:v>0.51430354913500897</c:v>
                </c:pt>
                <c:pt idx="28838">
                  <c:v>0.51432138398430505</c:v>
                </c:pt>
                <c:pt idx="28839">
                  <c:v>0.51433921883360001</c:v>
                </c:pt>
                <c:pt idx="28840">
                  <c:v>0.51435705368289597</c:v>
                </c:pt>
                <c:pt idx="28841">
                  <c:v>0.51437488853219104</c:v>
                </c:pt>
                <c:pt idx="28842">
                  <c:v>0.514392723381487</c:v>
                </c:pt>
                <c:pt idx="28843">
                  <c:v>0.51441055823078297</c:v>
                </c:pt>
                <c:pt idx="28844">
                  <c:v>0.51442839308007804</c:v>
                </c:pt>
                <c:pt idx="28845">
                  <c:v>0.514446227929374</c:v>
                </c:pt>
                <c:pt idx="28846">
                  <c:v>0.51446406277866896</c:v>
                </c:pt>
                <c:pt idx="28847">
                  <c:v>0.51448189762796503</c:v>
                </c:pt>
                <c:pt idx="28848">
                  <c:v>0.51449973247726</c:v>
                </c:pt>
                <c:pt idx="28849">
                  <c:v>0.51451756732655596</c:v>
                </c:pt>
                <c:pt idx="28850">
                  <c:v>0.51453540217585103</c:v>
                </c:pt>
                <c:pt idx="28851">
                  <c:v>0.51455323702514699</c:v>
                </c:pt>
                <c:pt idx="28852">
                  <c:v>0.51457107187444195</c:v>
                </c:pt>
                <c:pt idx="28853">
                  <c:v>0.51458890672373803</c:v>
                </c:pt>
                <c:pt idx="28854">
                  <c:v>0.51460674157303299</c:v>
                </c:pt>
                <c:pt idx="28855">
                  <c:v>0.51462457642232895</c:v>
                </c:pt>
                <c:pt idx="28856">
                  <c:v>0.51464241127162402</c:v>
                </c:pt>
                <c:pt idx="28857">
                  <c:v>0.51466024612091998</c:v>
                </c:pt>
                <c:pt idx="28858">
                  <c:v>0.51467808097021495</c:v>
                </c:pt>
                <c:pt idx="28859">
                  <c:v>0.51469591581951102</c:v>
                </c:pt>
                <c:pt idx="28860">
                  <c:v>0.51471375066880598</c:v>
                </c:pt>
                <c:pt idx="28861">
                  <c:v>0.51473158551810205</c:v>
                </c:pt>
                <c:pt idx="28862">
                  <c:v>0.51474942036739701</c:v>
                </c:pt>
                <c:pt idx="28863">
                  <c:v>0.51476725521669298</c:v>
                </c:pt>
                <c:pt idx="28864">
                  <c:v>0.51478509006598805</c:v>
                </c:pt>
                <c:pt idx="28865">
                  <c:v>0.51480292491528401</c:v>
                </c:pt>
                <c:pt idx="28866">
                  <c:v>0.51482075976457997</c:v>
                </c:pt>
                <c:pt idx="28867">
                  <c:v>0.51483859461387504</c:v>
                </c:pt>
                <c:pt idx="28868">
                  <c:v>0.51485642946317101</c:v>
                </c:pt>
                <c:pt idx="28869">
                  <c:v>0.51487426431246597</c:v>
                </c:pt>
                <c:pt idx="28870">
                  <c:v>0.51489209916176204</c:v>
                </c:pt>
                <c:pt idx="28871">
                  <c:v>0.514909934011057</c:v>
                </c:pt>
                <c:pt idx="28872">
                  <c:v>0.51492776886035296</c:v>
                </c:pt>
                <c:pt idx="28873">
                  <c:v>0.51494560370964804</c:v>
                </c:pt>
                <c:pt idx="28874">
                  <c:v>0.514963438558944</c:v>
                </c:pt>
                <c:pt idx="28875">
                  <c:v>0.51498127340823896</c:v>
                </c:pt>
                <c:pt idx="28876">
                  <c:v>0.51499910825753503</c:v>
                </c:pt>
                <c:pt idx="28877">
                  <c:v>0.51501694310682999</c:v>
                </c:pt>
                <c:pt idx="28878">
                  <c:v>0.51503477795612596</c:v>
                </c:pt>
                <c:pt idx="28879">
                  <c:v>0.51505261280542103</c:v>
                </c:pt>
                <c:pt idx="28880">
                  <c:v>0.51507044765471699</c:v>
                </c:pt>
                <c:pt idx="28881">
                  <c:v>0.51508828250401195</c:v>
                </c:pt>
                <c:pt idx="28882">
                  <c:v>0.51510611735330802</c:v>
                </c:pt>
                <c:pt idx="28883">
                  <c:v>0.51512395220260299</c:v>
                </c:pt>
                <c:pt idx="28884">
                  <c:v>0.51514178705189895</c:v>
                </c:pt>
                <c:pt idx="28885">
                  <c:v>0.51515962190119402</c:v>
                </c:pt>
                <c:pt idx="28886">
                  <c:v>0.51517745675048998</c:v>
                </c:pt>
                <c:pt idx="28887">
                  <c:v>0.51519529159978505</c:v>
                </c:pt>
                <c:pt idx="28888">
                  <c:v>0.51521312644908102</c:v>
                </c:pt>
                <c:pt idx="28889">
                  <c:v>0.51523096129837698</c:v>
                </c:pt>
                <c:pt idx="28890">
                  <c:v>0.51524879614767205</c:v>
                </c:pt>
                <c:pt idx="28891">
                  <c:v>0.51526663099696801</c:v>
                </c:pt>
                <c:pt idx="28892">
                  <c:v>0.51528446584626297</c:v>
                </c:pt>
                <c:pt idx="28893">
                  <c:v>0.51530230069555905</c:v>
                </c:pt>
                <c:pt idx="28894">
                  <c:v>0.51532013554485401</c:v>
                </c:pt>
                <c:pt idx="28895">
                  <c:v>0.51533797039414997</c:v>
                </c:pt>
                <c:pt idx="28896">
                  <c:v>0.51535580524344504</c:v>
                </c:pt>
                <c:pt idx="28897">
                  <c:v>0.515373640092741</c:v>
                </c:pt>
                <c:pt idx="28898">
                  <c:v>0.51539147494203597</c:v>
                </c:pt>
                <c:pt idx="28899">
                  <c:v>0.51540930979133204</c:v>
                </c:pt>
                <c:pt idx="28900">
                  <c:v>0.515427144640627</c:v>
                </c:pt>
                <c:pt idx="28901">
                  <c:v>0.51544497948992296</c:v>
                </c:pt>
                <c:pt idx="28902">
                  <c:v>0.51546281433921803</c:v>
                </c:pt>
                <c:pt idx="28903">
                  <c:v>0.515480649188514</c:v>
                </c:pt>
                <c:pt idx="28904">
                  <c:v>0.51549848403780896</c:v>
                </c:pt>
                <c:pt idx="28905">
                  <c:v>0.51551631888710503</c:v>
                </c:pt>
                <c:pt idx="28906">
                  <c:v>0.51553415373639999</c:v>
                </c:pt>
                <c:pt idx="28907">
                  <c:v>0.51555198858569595</c:v>
                </c:pt>
                <c:pt idx="28908">
                  <c:v>0.51556982343499203</c:v>
                </c:pt>
                <c:pt idx="28909">
                  <c:v>0.51558765828428699</c:v>
                </c:pt>
                <c:pt idx="28910">
                  <c:v>0.51560549313358295</c:v>
                </c:pt>
                <c:pt idx="28911">
                  <c:v>0.51562332798287802</c:v>
                </c:pt>
                <c:pt idx="28912">
                  <c:v>0.51564116283217398</c:v>
                </c:pt>
                <c:pt idx="28913">
                  <c:v>0.51565899768146894</c:v>
                </c:pt>
                <c:pt idx="28914">
                  <c:v>0.51567683253076502</c:v>
                </c:pt>
                <c:pt idx="28915">
                  <c:v>0.51569466738005998</c:v>
                </c:pt>
                <c:pt idx="28916">
                  <c:v>0.51571250222935605</c:v>
                </c:pt>
                <c:pt idx="28917">
                  <c:v>0.51573033707865101</c:v>
                </c:pt>
                <c:pt idx="28918">
                  <c:v>0.51574817192794697</c:v>
                </c:pt>
                <c:pt idx="28919">
                  <c:v>0.51576600677724205</c:v>
                </c:pt>
                <c:pt idx="28920">
                  <c:v>0.51578384162653801</c:v>
                </c:pt>
                <c:pt idx="28921">
                  <c:v>0.51580167647583297</c:v>
                </c:pt>
                <c:pt idx="28922">
                  <c:v>0.51581951132512904</c:v>
                </c:pt>
                <c:pt idx="28923">
                  <c:v>0.51583734617442401</c:v>
                </c:pt>
                <c:pt idx="28924">
                  <c:v>0.51585518102371997</c:v>
                </c:pt>
                <c:pt idx="28925">
                  <c:v>0.51587301587301504</c:v>
                </c:pt>
                <c:pt idx="28926">
                  <c:v>0.515890850722311</c:v>
                </c:pt>
                <c:pt idx="28927">
                  <c:v>0.51590868557160696</c:v>
                </c:pt>
                <c:pt idx="28928">
                  <c:v>0.51592652042090204</c:v>
                </c:pt>
                <c:pt idx="28929">
                  <c:v>0.515944355270198</c:v>
                </c:pt>
                <c:pt idx="28930">
                  <c:v>0.51596219011949296</c:v>
                </c:pt>
                <c:pt idx="28931">
                  <c:v>0.51598002496878903</c:v>
                </c:pt>
                <c:pt idx="28932">
                  <c:v>0.51599785981808399</c:v>
                </c:pt>
                <c:pt idx="28933">
                  <c:v>0.51601569466737995</c:v>
                </c:pt>
                <c:pt idx="28934">
                  <c:v>0.51603352951667503</c:v>
                </c:pt>
                <c:pt idx="28935">
                  <c:v>0.51605136436597099</c:v>
                </c:pt>
                <c:pt idx="28936">
                  <c:v>0.51606919921526595</c:v>
                </c:pt>
                <c:pt idx="28937">
                  <c:v>0.51608703406456202</c:v>
                </c:pt>
                <c:pt idx="28938">
                  <c:v>0.51610486891385698</c:v>
                </c:pt>
                <c:pt idx="28939">
                  <c:v>0.51612270376315295</c:v>
                </c:pt>
                <c:pt idx="28940">
                  <c:v>0.51614053861244802</c:v>
                </c:pt>
                <c:pt idx="28941">
                  <c:v>0.51615837346174398</c:v>
                </c:pt>
                <c:pt idx="28942">
                  <c:v>0.51617620831103905</c:v>
                </c:pt>
                <c:pt idx="28943">
                  <c:v>0.51619404316033501</c:v>
                </c:pt>
                <c:pt idx="28944">
                  <c:v>0.51621187800962998</c:v>
                </c:pt>
                <c:pt idx="28945">
                  <c:v>0.51622971285892605</c:v>
                </c:pt>
                <c:pt idx="28946">
                  <c:v>0.51624754770822101</c:v>
                </c:pt>
                <c:pt idx="28947">
                  <c:v>0.51626538255751697</c:v>
                </c:pt>
                <c:pt idx="28948">
                  <c:v>0.51628321740681204</c:v>
                </c:pt>
                <c:pt idx="28949">
                  <c:v>0.51630105225610801</c:v>
                </c:pt>
                <c:pt idx="28950">
                  <c:v>0.51631888710540397</c:v>
                </c:pt>
                <c:pt idx="28951">
                  <c:v>0.51633672195469904</c:v>
                </c:pt>
                <c:pt idx="28952">
                  <c:v>0.516354556803995</c:v>
                </c:pt>
                <c:pt idx="28953">
                  <c:v>0.51637239165328996</c:v>
                </c:pt>
                <c:pt idx="28954">
                  <c:v>0.51639022650258604</c:v>
                </c:pt>
                <c:pt idx="28955">
                  <c:v>0.516408061351881</c:v>
                </c:pt>
                <c:pt idx="28956">
                  <c:v>0.51642589620117696</c:v>
                </c:pt>
                <c:pt idx="28957">
                  <c:v>0.51644373105047203</c:v>
                </c:pt>
                <c:pt idx="28958">
                  <c:v>0.51646156589976799</c:v>
                </c:pt>
                <c:pt idx="28959">
                  <c:v>0.51647940074906296</c:v>
                </c:pt>
                <c:pt idx="28960">
                  <c:v>0.51649723559835903</c:v>
                </c:pt>
                <c:pt idx="28961">
                  <c:v>0.51651507044765399</c:v>
                </c:pt>
                <c:pt idx="28962">
                  <c:v>0.51653290529694995</c:v>
                </c:pt>
                <c:pt idx="28963">
                  <c:v>0.51655074014624502</c:v>
                </c:pt>
                <c:pt idx="28964">
                  <c:v>0.51656857499554099</c:v>
                </c:pt>
                <c:pt idx="28965">
                  <c:v>0.51658640984483595</c:v>
                </c:pt>
                <c:pt idx="28966">
                  <c:v>0.51660424469413202</c:v>
                </c:pt>
                <c:pt idx="28967">
                  <c:v>0.51662207954342698</c:v>
                </c:pt>
                <c:pt idx="28968">
                  <c:v>0.51663991439272305</c:v>
                </c:pt>
                <c:pt idx="28969">
                  <c:v>0.51665774924201802</c:v>
                </c:pt>
                <c:pt idx="28970">
                  <c:v>0.51667558409131398</c:v>
                </c:pt>
                <c:pt idx="28971">
                  <c:v>0.51669341894060905</c:v>
                </c:pt>
                <c:pt idx="28972">
                  <c:v>0.51671125378990501</c:v>
                </c:pt>
                <c:pt idx="28973">
                  <c:v>0.51672908863920097</c:v>
                </c:pt>
                <c:pt idx="28974">
                  <c:v>0.51674692348849605</c:v>
                </c:pt>
                <c:pt idx="28975">
                  <c:v>0.51676475833779201</c:v>
                </c:pt>
                <c:pt idx="28976">
                  <c:v>0.51678259318708697</c:v>
                </c:pt>
                <c:pt idx="28977">
                  <c:v>0.51680042803638304</c:v>
                </c:pt>
                <c:pt idx="28978">
                  <c:v>0.516818262885678</c:v>
                </c:pt>
                <c:pt idx="28979">
                  <c:v>0.51683609773497396</c:v>
                </c:pt>
                <c:pt idx="28980">
                  <c:v>0.51685393258426904</c:v>
                </c:pt>
                <c:pt idx="28981">
                  <c:v>0.516871767433565</c:v>
                </c:pt>
                <c:pt idx="28982">
                  <c:v>0.51688960228285996</c:v>
                </c:pt>
                <c:pt idx="28983">
                  <c:v>0.51690743713215603</c:v>
                </c:pt>
                <c:pt idx="28984">
                  <c:v>0.516925271981451</c:v>
                </c:pt>
                <c:pt idx="28985">
                  <c:v>0.51694310683074696</c:v>
                </c:pt>
                <c:pt idx="28986">
                  <c:v>0.51696094168004203</c:v>
                </c:pt>
                <c:pt idx="28987">
                  <c:v>0.51697877652933799</c:v>
                </c:pt>
                <c:pt idx="28988">
                  <c:v>0.51699661137863295</c:v>
                </c:pt>
                <c:pt idx="28989">
                  <c:v>0.51701444622792903</c:v>
                </c:pt>
                <c:pt idx="28990">
                  <c:v>0.51703228107722399</c:v>
                </c:pt>
                <c:pt idx="28991">
                  <c:v>0.51705011592651995</c:v>
                </c:pt>
                <c:pt idx="28992">
                  <c:v>0.51706795077581502</c:v>
                </c:pt>
                <c:pt idx="28993">
                  <c:v>0.51708578562511098</c:v>
                </c:pt>
                <c:pt idx="28994">
                  <c:v>0.51710362047440595</c:v>
                </c:pt>
                <c:pt idx="28995">
                  <c:v>0.51712145532370202</c:v>
                </c:pt>
                <c:pt idx="28996">
                  <c:v>0.51713929017299798</c:v>
                </c:pt>
                <c:pt idx="28997">
                  <c:v>0.51715712502229305</c:v>
                </c:pt>
                <c:pt idx="28998">
                  <c:v>0.51717495987158901</c:v>
                </c:pt>
                <c:pt idx="28999">
                  <c:v>0.51719279472088397</c:v>
                </c:pt>
                <c:pt idx="29000">
                  <c:v>0.51721062957018005</c:v>
                </c:pt>
                <c:pt idx="29001">
                  <c:v>0.51722846441947501</c:v>
                </c:pt>
                <c:pt idx="29002">
                  <c:v>0.51724629926877097</c:v>
                </c:pt>
                <c:pt idx="29003">
                  <c:v>0.51726413411806604</c:v>
                </c:pt>
                <c:pt idx="29004">
                  <c:v>0.517281968967362</c:v>
                </c:pt>
                <c:pt idx="29005">
                  <c:v>0.51729980381665697</c:v>
                </c:pt>
                <c:pt idx="29006">
                  <c:v>0.51731763866595304</c:v>
                </c:pt>
                <c:pt idx="29007">
                  <c:v>0.517335473515248</c:v>
                </c:pt>
                <c:pt idx="29008">
                  <c:v>0.51735330836454396</c:v>
                </c:pt>
                <c:pt idx="29009">
                  <c:v>0.51737114321383904</c:v>
                </c:pt>
                <c:pt idx="29010">
                  <c:v>0.517388978063135</c:v>
                </c:pt>
                <c:pt idx="29011">
                  <c:v>0.51740681291242996</c:v>
                </c:pt>
                <c:pt idx="29012">
                  <c:v>0.51742464776172603</c:v>
                </c:pt>
                <c:pt idx="29013">
                  <c:v>0.51744248261102199</c:v>
                </c:pt>
                <c:pt idx="29014">
                  <c:v>0.51746031746031695</c:v>
                </c:pt>
                <c:pt idx="29015">
                  <c:v>0.51747815230961303</c:v>
                </c:pt>
                <c:pt idx="29016">
                  <c:v>0.51749598715890799</c:v>
                </c:pt>
                <c:pt idx="29017">
                  <c:v>0.51751382200820395</c:v>
                </c:pt>
                <c:pt idx="29018">
                  <c:v>0.51753165685749902</c:v>
                </c:pt>
                <c:pt idx="29019">
                  <c:v>0.51754949170679498</c:v>
                </c:pt>
                <c:pt idx="29020">
                  <c:v>0.51756732655608995</c:v>
                </c:pt>
                <c:pt idx="29021">
                  <c:v>0.51758516140538602</c:v>
                </c:pt>
                <c:pt idx="29022">
                  <c:v>0.51760299625468098</c:v>
                </c:pt>
                <c:pt idx="29023">
                  <c:v>0.51762083110397705</c:v>
                </c:pt>
                <c:pt idx="29024">
                  <c:v>0.51763866595327201</c:v>
                </c:pt>
                <c:pt idx="29025">
                  <c:v>0.51765650080256798</c:v>
                </c:pt>
                <c:pt idx="29026">
                  <c:v>0.51767433565186305</c:v>
                </c:pt>
                <c:pt idx="29027">
                  <c:v>0.51769217050115901</c:v>
                </c:pt>
                <c:pt idx="29028">
                  <c:v>0.51771000535045397</c:v>
                </c:pt>
                <c:pt idx="29029">
                  <c:v>0.51772784019975004</c:v>
                </c:pt>
                <c:pt idx="29030">
                  <c:v>0.51774567504904501</c:v>
                </c:pt>
                <c:pt idx="29031">
                  <c:v>0.51776350989834097</c:v>
                </c:pt>
                <c:pt idx="29032">
                  <c:v>0.51778134474763604</c:v>
                </c:pt>
                <c:pt idx="29033">
                  <c:v>0.517799179596932</c:v>
                </c:pt>
                <c:pt idx="29034">
                  <c:v>0.51781701444622796</c:v>
                </c:pt>
                <c:pt idx="29035">
                  <c:v>0.51783484929552304</c:v>
                </c:pt>
                <c:pt idx="29036">
                  <c:v>0.517852684144819</c:v>
                </c:pt>
                <c:pt idx="29037">
                  <c:v>0.51787051899411396</c:v>
                </c:pt>
                <c:pt idx="29038">
                  <c:v>0.51788835384341003</c:v>
                </c:pt>
                <c:pt idx="29039">
                  <c:v>0.51790618869270499</c:v>
                </c:pt>
                <c:pt idx="29040">
                  <c:v>0.51792402354200096</c:v>
                </c:pt>
                <c:pt idx="29041">
                  <c:v>0.51794185839129603</c:v>
                </c:pt>
                <c:pt idx="29042">
                  <c:v>0.51795969324059199</c:v>
                </c:pt>
                <c:pt idx="29043">
                  <c:v>0.51797752808988695</c:v>
                </c:pt>
                <c:pt idx="29044">
                  <c:v>0.51799536293918302</c:v>
                </c:pt>
                <c:pt idx="29045">
                  <c:v>0.51801319778847799</c:v>
                </c:pt>
                <c:pt idx="29046">
                  <c:v>0.51803103263777395</c:v>
                </c:pt>
                <c:pt idx="29047">
                  <c:v>0.51804886748706902</c:v>
                </c:pt>
                <c:pt idx="29048">
                  <c:v>0.51806670233636498</c:v>
                </c:pt>
                <c:pt idx="29049">
                  <c:v>0.51808453718566005</c:v>
                </c:pt>
                <c:pt idx="29050">
                  <c:v>0.51810237203495602</c:v>
                </c:pt>
                <c:pt idx="29051">
                  <c:v>0.51812020688425098</c:v>
                </c:pt>
                <c:pt idx="29052">
                  <c:v>0.51813804173354705</c:v>
                </c:pt>
                <c:pt idx="29053">
                  <c:v>0.51815587658284201</c:v>
                </c:pt>
                <c:pt idx="29054">
                  <c:v>0.51817371143213797</c:v>
                </c:pt>
                <c:pt idx="29055">
                  <c:v>0.51819154628143305</c:v>
                </c:pt>
                <c:pt idx="29056">
                  <c:v>0.51820938113072901</c:v>
                </c:pt>
                <c:pt idx="29057">
                  <c:v>0.51822721598002497</c:v>
                </c:pt>
                <c:pt idx="29058">
                  <c:v>0.51824505082932004</c:v>
                </c:pt>
                <c:pt idx="29059">
                  <c:v>0.518262885678616</c:v>
                </c:pt>
                <c:pt idx="29060">
                  <c:v>0.51828072052791097</c:v>
                </c:pt>
                <c:pt idx="29061">
                  <c:v>0.51829855537720704</c:v>
                </c:pt>
                <c:pt idx="29062">
                  <c:v>0.518316390226502</c:v>
                </c:pt>
                <c:pt idx="29063">
                  <c:v>0.51833422507579796</c:v>
                </c:pt>
                <c:pt idx="29064">
                  <c:v>0.51835205992509303</c:v>
                </c:pt>
                <c:pt idx="29065">
                  <c:v>0.518369894774389</c:v>
                </c:pt>
                <c:pt idx="29066">
                  <c:v>0.51838772962368396</c:v>
                </c:pt>
                <c:pt idx="29067">
                  <c:v>0.51840556447298003</c:v>
                </c:pt>
                <c:pt idx="29068">
                  <c:v>0.51842339932227499</c:v>
                </c:pt>
                <c:pt idx="29069">
                  <c:v>0.51844123417157095</c:v>
                </c:pt>
                <c:pt idx="29070">
                  <c:v>0.51845906902086603</c:v>
                </c:pt>
                <c:pt idx="29071">
                  <c:v>0.51847690387016199</c:v>
                </c:pt>
                <c:pt idx="29072">
                  <c:v>0.51849473871945695</c:v>
                </c:pt>
                <c:pt idx="29073">
                  <c:v>0.51851257356875302</c:v>
                </c:pt>
                <c:pt idx="29074">
                  <c:v>0.51853040841804798</c:v>
                </c:pt>
                <c:pt idx="29075">
                  <c:v>0.51854824326734394</c:v>
                </c:pt>
                <c:pt idx="29076">
                  <c:v>0.51856607811663902</c:v>
                </c:pt>
                <c:pt idx="29077">
                  <c:v>0.51858391296593498</c:v>
                </c:pt>
                <c:pt idx="29078">
                  <c:v>0.51860174781523005</c:v>
                </c:pt>
                <c:pt idx="29079">
                  <c:v>0.51861958266452601</c:v>
                </c:pt>
                <c:pt idx="29080">
                  <c:v>0.51863741751382197</c:v>
                </c:pt>
                <c:pt idx="29081">
                  <c:v>0.51865525236311705</c:v>
                </c:pt>
                <c:pt idx="29082">
                  <c:v>0.51867308721241301</c:v>
                </c:pt>
                <c:pt idx="29083">
                  <c:v>0.51869092206170797</c:v>
                </c:pt>
                <c:pt idx="29084">
                  <c:v>0.51870875691100404</c:v>
                </c:pt>
                <c:pt idx="29085">
                  <c:v>0.51872659176029901</c:v>
                </c:pt>
                <c:pt idx="29086">
                  <c:v>0.51874442660959497</c:v>
                </c:pt>
                <c:pt idx="29087">
                  <c:v>0.51876226145889004</c:v>
                </c:pt>
                <c:pt idx="29088">
                  <c:v>0.518780096308186</c:v>
                </c:pt>
                <c:pt idx="29089">
                  <c:v>0.51879793115748096</c:v>
                </c:pt>
                <c:pt idx="29090">
                  <c:v>0.51881576600677703</c:v>
                </c:pt>
                <c:pt idx="29091">
                  <c:v>0.518833600856072</c:v>
                </c:pt>
                <c:pt idx="29092">
                  <c:v>0.51885143570536796</c:v>
                </c:pt>
                <c:pt idx="29093">
                  <c:v>0.51886927055466303</c:v>
                </c:pt>
                <c:pt idx="29094">
                  <c:v>0.51888710540395899</c:v>
                </c:pt>
                <c:pt idx="29095">
                  <c:v>0.51890494025325395</c:v>
                </c:pt>
                <c:pt idx="29096">
                  <c:v>0.51892277510255003</c:v>
                </c:pt>
                <c:pt idx="29097">
                  <c:v>0.51894060995184499</c:v>
                </c:pt>
                <c:pt idx="29098">
                  <c:v>0.51895844480114095</c:v>
                </c:pt>
                <c:pt idx="29099">
                  <c:v>0.51897627965043602</c:v>
                </c:pt>
                <c:pt idx="29100">
                  <c:v>0.51899411449973198</c:v>
                </c:pt>
                <c:pt idx="29101">
                  <c:v>0.51901194934902795</c:v>
                </c:pt>
                <c:pt idx="29102">
                  <c:v>0.51902978419832302</c:v>
                </c:pt>
                <c:pt idx="29103">
                  <c:v>0.51904761904761898</c:v>
                </c:pt>
                <c:pt idx="29104">
                  <c:v>0.51906545389691405</c:v>
                </c:pt>
                <c:pt idx="29105">
                  <c:v>0.51908328874621001</c:v>
                </c:pt>
                <c:pt idx="29106">
                  <c:v>0.51910112359550498</c:v>
                </c:pt>
                <c:pt idx="29107">
                  <c:v>0.51911895844480105</c:v>
                </c:pt>
                <c:pt idx="29108">
                  <c:v>0.51913679329409601</c:v>
                </c:pt>
                <c:pt idx="29109">
                  <c:v>0.51915462814339197</c:v>
                </c:pt>
                <c:pt idx="29110">
                  <c:v>0.51917246299268704</c:v>
                </c:pt>
                <c:pt idx="29111">
                  <c:v>0.51919029784198301</c:v>
                </c:pt>
                <c:pt idx="29112">
                  <c:v>0.51920813269127797</c:v>
                </c:pt>
                <c:pt idx="29113">
                  <c:v>0.51922596754057404</c:v>
                </c:pt>
                <c:pt idx="29114">
                  <c:v>0.519243802389869</c:v>
                </c:pt>
                <c:pt idx="29115">
                  <c:v>0.51926163723916496</c:v>
                </c:pt>
                <c:pt idx="29116">
                  <c:v>0.51927947208846004</c:v>
                </c:pt>
                <c:pt idx="29117">
                  <c:v>0.519297306937756</c:v>
                </c:pt>
                <c:pt idx="29118">
                  <c:v>0.51931514178705096</c:v>
                </c:pt>
                <c:pt idx="29119">
                  <c:v>0.51933297663634703</c:v>
                </c:pt>
                <c:pt idx="29120">
                  <c:v>0.51935081148564299</c:v>
                </c:pt>
                <c:pt idx="29121">
                  <c:v>0.51936864633493796</c:v>
                </c:pt>
                <c:pt idx="29122">
                  <c:v>0.51938648118423403</c:v>
                </c:pt>
                <c:pt idx="29123">
                  <c:v>0.51940431603352899</c:v>
                </c:pt>
                <c:pt idx="29124">
                  <c:v>0.51942215088282495</c:v>
                </c:pt>
                <c:pt idx="29125">
                  <c:v>0.51943998573212002</c:v>
                </c:pt>
                <c:pt idx="29126">
                  <c:v>0.51945782058141599</c:v>
                </c:pt>
                <c:pt idx="29127">
                  <c:v>0.51947565543071095</c:v>
                </c:pt>
                <c:pt idx="29128">
                  <c:v>0.51949349028000702</c:v>
                </c:pt>
                <c:pt idx="29129">
                  <c:v>0.51951132512930198</c:v>
                </c:pt>
                <c:pt idx="29130">
                  <c:v>0.51952915997859805</c:v>
                </c:pt>
                <c:pt idx="29131">
                  <c:v>0.51954699482789302</c:v>
                </c:pt>
                <c:pt idx="29132">
                  <c:v>0.51956482967718898</c:v>
                </c:pt>
                <c:pt idx="29133">
                  <c:v>0.51958266452648405</c:v>
                </c:pt>
                <c:pt idx="29134">
                  <c:v>0.51960049937578001</c:v>
                </c:pt>
                <c:pt idx="29135">
                  <c:v>0.51961833422507497</c:v>
                </c:pt>
                <c:pt idx="29136">
                  <c:v>0.51963616907437105</c:v>
                </c:pt>
                <c:pt idx="29137">
                  <c:v>0.51965400392366601</c:v>
                </c:pt>
                <c:pt idx="29138">
                  <c:v>0.51967183877296197</c:v>
                </c:pt>
                <c:pt idx="29139">
                  <c:v>0.51968967362225704</c:v>
                </c:pt>
                <c:pt idx="29140">
                  <c:v>0.519707508471553</c:v>
                </c:pt>
                <c:pt idx="29141">
                  <c:v>0.51972534332084896</c:v>
                </c:pt>
                <c:pt idx="29142">
                  <c:v>0.51974317817014404</c:v>
                </c:pt>
                <c:pt idx="29143">
                  <c:v>0.51976101301944</c:v>
                </c:pt>
                <c:pt idx="29144">
                  <c:v>0.51977884786873496</c:v>
                </c:pt>
                <c:pt idx="29145">
                  <c:v>0.51979668271803103</c:v>
                </c:pt>
                <c:pt idx="29146">
                  <c:v>0.519814517567326</c:v>
                </c:pt>
                <c:pt idx="29147">
                  <c:v>0.51983235241662196</c:v>
                </c:pt>
                <c:pt idx="29148">
                  <c:v>0.51985018726591703</c:v>
                </c:pt>
                <c:pt idx="29149">
                  <c:v>0.51986802211521299</c:v>
                </c:pt>
                <c:pt idx="29150">
                  <c:v>0.51988585696450795</c:v>
                </c:pt>
                <c:pt idx="29151">
                  <c:v>0.51990369181380403</c:v>
                </c:pt>
                <c:pt idx="29152">
                  <c:v>0.51992152666309899</c:v>
                </c:pt>
                <c:pt idx="29153">
                  <c:v>0.51993936151239495</c:v>
                </c:pt>
                <c:pt idx="29154">
                  <c:v>0.51995719636169002</c:v>
                </c:pt>
                <c:pt idx="29155">
                  <c:v>0.51997503121098598</c:v>
                </c:pt>
                <c:pt idx="29156">
                  <c:v>0.51999286606028094</c:v>
                </c:pt>
                <c:pt idx="29157">
                  <c:v>0.52001070090957702</c:v>
                </c:pt>
                <c:pt idx="29158">
                  <c:v>0.52002853575887198</c:v>
                </c:pt>
                <c:pt idx="29159">
                  <c:v>0.52004637060816805</c:v>
                </c:pt>
                <c:pt idx="29160">
                  <c:v>0.52006420545746301</c:v>
                </c:pt>
                <c:pt idx="29161">
                  <c:v>0.52008204030675897</c:v>
                </c:pt>
                <c:pt idx="29162">
                  <c:v>0.52009987515605405</c:v>
                </c:pt>
                <c:pt idx="29163">
                  <c:v>0.52011771000535001</c:v>
                </c:pt>
                <c:pt idx="29164">
                  <c:v>0.52013554485464597</c:v>
                </c:pt>
                <c:pt idx="29165">
                  <c:v>0.52015337970394104</c:v>
                </c:pt>
                <c:pt idx="29166">
                  <c:v>0.520171214553237</c:v>
                </c:pt>
                <c:pt idx="29167">
                  <c:v>0.52018904940253197</c:v>
                </c:pt>
                <c:pt idx="29168">
                  <c:v>0.52020688425182804</c:v>
                </c:pt>
                <c:pt idx="29169">
                  <c:v>0.520224719101123</c:v>
                </c:pt>
                <c:pt idx="29170">
                  <c:v>0.52024255395041896</c:v>
                </c:pt>
                <c:pt idx="29171">
                  <c:v>0.52026038879971404</c:v>
                </c:pt>
                <c:pt idx="29172">
                  <c:v>0.52027822364901</c:v>
                </c:pt>
                <c:pt idx="29173">
                  <c:v>0.52029605849830496</c:v>
                </c:pt>
                <c:pt idx="29174">
                  <c:v>0.52031389334760103</c:v>
                </c:pt>
                <c:pt idx="29175">
                  <c:v>0.52033172819689599</c:v>
                </c:pt>
                <c:pt idx="29176">
                  <c:v>0.52034956304619195</c:v>
                </c:pt>
                <c:pt idx="29177">
                  <c:v>0.52036739789548703</c:v>
                </c:pt>
                <c:pt idx="29178">
                  <c:v>0.52038523274478299</c:v>
                </c:pt>
                <c:pt idx="29179">
                  <c:v>0.52040306759407795</c:v>
                </c:pt>
                <c:pt idx="29180">
                  <c:v>0.52042090244337402</c:v>
                </c:pt>
                <c:pt idx="29181">
                  <c:v>0.52043873729266898</c:v>
                </c:pt>
                <c:pt idx="29182">
                  <c:v>0.52045657214196495</c:v>
                </c:pt>
                <c:pt idx="29183">
                  <c:v>0.52047440699126002</c:v>
                </c:pt>
                <c:pt idx="29184">
                  <c:v>0.52049224184055598</c:v>
                </c:pt>
                <c:pt idx="29185">
                  <c:v>0.52051007668985105</c:v>
                </c:pt>
                <c:pt idx="29186">
                  <c:v>0.52052791153914701</c:v>
                </c:pt>
                <c:pt idx="29187">
                  <c:v>0.52054574638844298</c:v>
                </c:pt>
                <c:pt idx="29188">
                  <c:v>0.52056358123773805</c:v>
                </c:pt>
                <c:pt idx="29189">
                  <c:v>0.52058141608703401</c:v>
                </c:pt>
                <c:pt idx="29190">
                  <c:v>0.52059925093632897</c:v>
                </c:pt>
                <c:pt idx="29191">
                  <c:v>0.52061708578562504</c:v>
                </c:pt>
                <c:pt idx="29192">
                  <c:v>0.52063492063492001</c:v>
                </c:pt>
                <c:pt idx="29193">
                  <c:v>0.52065275548421597</c:v>
                </c:pt>
                <c:pt idx="29194">
                  <c:v>0.52067059033351104</c:v>
                </c:pt>
                <c:pt idx="29195">
                  <c:v>0.520688425182807</c:v>
                </c:pt>
                <c:pt idx="29196">
                  <c:v>0.52070626003210196</c:v>
                </c:pt>
                <c:pt idx="29197">
                  <c:v>0.52072409488139804</c:v>
                </c:pt>
                <c:pt idx="29198">
                  <c:v>0.520741929730693</c:v>
                </c:pt>
                <c:pt idx="29199">
                  <c:v>0.52075976457998896</c:v>
                </c:pt>
                <c:pt idx="29200">
                  <c:v>0.52077759942928403</c:v>
                </c:pt>
                <c:pt idx="29201">
                  <c:v>0.52079543427857999</c:v>
                </c:pt>
                <c:pt idx="29202">
                  <c:v>0.52081326912787496</c:v>
                </c:pt>
                <c:pt idx="29203">
                  <c:v>0.52083110397717103</c:v>
                </c:pt>
                <c:pt idx="29204">
                  <c:v>0.52084893882646599</c:v>
                </c:pt>
                <c:pt idx="29205">
                  <c:v>0.52086677367576195</c:v>
                </c:pt>
                <c:pt idx="29206">
                  <c:v>0.52088460852505702</c:v>
                </c:pt>
                <c:pt idx="29207">
                  <c:v>0.52090244337435299</c:v>
                </c:pt>
                <c:pt idx="29208">
                  <c:v>0.52092027822364895</c:v>
                </c:pt>
                <c:pt idx="29209">
                  <c:v>0.52093811307294402</c:v>
                </c:pt>
                <c:pt idx="29210">
                  <c:v>0.52095594792223998</c:v>
                </c:pt>
                <c:pt idx="29211">
                  <c:v>0.52097378277153505</c:v>
                </c:pt>
                <c:pt idx="29212">
                  <c:v>0.52099161762083102</c:v>
                </c:pt>
                <c:pt idx="29213">
                  <c:v>0.52100945247012598</c:v>
                </c:pt>
                <c:pt idx="29214">
                  <c:v>0.52102728731942205</c:v>
                </c:pt>
                <c:pt idx="29215">
                  <c:v>0.52104512216871701</c:v>
                </c:pt>
                <c:pt idx="29216">
                  <c:v>0.52106295701801297</c:v>
                </c:pt>
                <c:pt idx="29217">
                  <c:v>0.52108079186730805</c:v>
                </c:pt>
                <c:pt idx="29218">
                  <c:v>0.52109862671660401</c:v>
                </c:pt>
                <c:pt idx="29219">
                  <c:v>0.52111646156589897</c:v>
                </c:pt>
                <c:pt idx="29220">
                  <c:v>0.52113429641519504</c:v>
                </c:pt>
                <c:pt idx="29221">
                  <c:v>0.52115213126449</c:v>
                </c:pt>
                <c:pt idx="29222">
                  <c:v>0.52116996611378597</c:v>
                </c:pt>
                <c:pt idx="29223">
                  <c:v>0.52118780096308104</c:v>
                </c:pt>
                <c:pt idx="29224">
                  <c:v>0.521205635812377</c:v>
                </c:pt>
                <c:pt idx="29225">
                  <c:v>0.52122347066167296</c:v>
                </c:pt>
                <c:pt idx="29226">
                  <c:v>0.52124130551096803</c:v>
                </c:pt>
                <c:pt idx="29227">
                  <c:v>0.521259140360264</c:v>
                </c:pt>
                <c:pt idx="29228">
                  <c:v>0.52127697520955896</c:v>
                </c:pt>
                <c:pt idx="29229">
                  <c:v>0.52129481005885503</c:v>
                </c:pt>
                <c:pt idx="29230">
                  <c:v>0.52131264490814999</c:v>
                </c:pt>
                <c:pt idx="29231">
                  <c:v>0.52133047975744595</c:v>
                </c:pt>
                <c:pt idx="29232">
                  <c:v>0.52134831460674103</c:v>
                </c:pt>
                <c:pt idx="29233">
                  <c:v>0.52136614945603699</c:v>
                </c:pt>
                <c:pt idx="29234">
                  <c:v>0.52138398430533195</c:v>
                </c:pt>
                <c:pt idx="29235">
                  <c:v>0.52140181915462802</c:v>
                </c:pt>
                <c:pt idx="29236">
                  <c:v>0.52141965400392298</c:v>
                </c:pt>
                <c:pt idx="29237">
                  <c:v>0.52143748885321894</c:v>
                </c:pt>
                <c:pt idx="29238">
                  <c:v>0.52145532370251402</c:v>
                </c:pt>
                <c:pt idx="29239">
                  <c:v>0.52147315855180998</c:v>
                </c:pt>
                <c:pt idx="29240">
                  <c:v>0.52149099340110505</c:v>
                </c:pt>
                <c:pt idx="29241">
                  <c:v>0.52150882825040101</c:v>
                </c:pt>
                <c:pt idx="29242">
                  <c:v>0.52152666309969598</c:v>
                </c:pt>
                <c:pt idx="29243">
                  <c:v>0.52154449794899205</c:v>
                </c:pt>
                <c:pt idx="29244">
                  <c:v>0.52156233279828701</c:v>
                </c:pt>
                <c:pt idx="29245">
                  <c:v>0.52158016764758297</c:v>
                </c:pt>
                <c:pt idx="29246">
                  <c:v>0.52159800249687804</c:v>
                </c:pt>
                <c:pt idx="29247">
                  <c:v>0.521615837346174</c:v>
                </c:pt>
                <c:pt idx="29248">
                  <c:v>0.52163367219546997</c:v>
                </c:pt>
                <c:pt idx="29249">
                  <c:v>0.52165150704476504</c:v>
                </c:pt>
                <c:pt idx="29250">
                  <c:v>0.521669341894061</c:v>
                </c:pt>
                <c:pt idx="29251">
                  <c:v>0.52168717674335596</c:v>
                </c:pt>
                <c:pt idx="29252">
                  <c:v>0.52170501159265203</c:v>
                </c:pt>
                <c:pt idx="29253">
                  <c:v>0.521722846441947</c:v>
                </c:pt>
                <c:pt idx="29254">
                  <c:v>0.52174068129124296</c:v>
                </c:pt>
                <c:pt idx="29255">
                  <c:v>0.52175851614053803</c:v>
                </c:pt>
                <c:pt idx="29256">
                  <c:v>0.52177635098983399</c:v>
                </c:pt>
                <c:pt idx="29257">
                  <c:v>0.52179418583912895</c:v>
                </c:pt>
                <c:pt idx="29258">
                  <c:v>0.52181202068842503</c:v>
                </c:pt>
                <c:pt idx="29259">
                  <c:v>0.52182985553771999</c:v>
                </c:pt>
                <c:pt idx="29260">
                  <c:v>0.52184769038701595</c:v>
                </c:pt>
                <c:pt idx="29261">
                  <c:v>0.52186552523631102</c:v>
                </c:pt>
                <c:pt idx="29262">
                  <c:v>0.52188336008560698</c:v>
                </c:pt>
                <c:pt idx="29263">
                  <c:v>0.52190119493490195</c:v>
                </c:pt>
                <c:pt idx="29264">
                  <c:v>0.52191902978419802</c:v>
                </c:pt>
                <c:pt idx="29265">
                  <c:v>0.52193686463349298</c:v>
                </c:pt>
                <c:pt idx="29266">
                  <c:v>0.52195469948278905</c:v>
                </c:pt>
                <c:pt idx="29267">
                  <c:v>0.52197253433208401</c:v>
                </c:pt>
                <c:pt idx="29268">
                  <c:v>0.52199036918137998</c:v>
                </c:pt>
                <c:pt idx="29269">
                  <c:v>0.52200820403067505</c:v>
                </c:pt>
                <c:pt idx="29270">
                  <c:v>0.52202603887997101</c:v>
                </c:pt>
                <c:pt idx="29271">
                  <c:v>0.52204387372926697</c:v>
                </c:pt>
                <c:pt idx="29272">
                  <c:v>0.52206170857856204</c:v>
                </c:pt>
                <c:pt idx="29273">
                  <c:v>0.52207954342785801</c:v>
                </c:pt>
                <c:pt idx="29274">
                  <c:v>0.52209737827715297</c:v>
                </c:pt>
                <c:pt idx="29275">
                  <c:v>0.52211521312644904</c:v>
                </c:pt>
                <c:pt idx="29276">
                  <c:v>0.522133047975744</c:v>
                </c:pt>
                <c:pt idx="29277">
                  <c:v>0.52215088282503996</c:v>
                </c:pt>
                <c:pt idx="29278">
                  <c:v>0.52216871767433504</c:v>
                </c:pt>
                <c:pt idx="29279">
                  <c:v>0.522186552523631</c:v>
                </c:pt>
                <c:pt idx="29280">
                  <c:v>0.52220438737292596</c:v>
                </c:pt>
                <c:pt idx="29281">
                  <c:v>0.52222222222222203</c:v>
                </c:pt>
                <c:pt idx="29282">
                  <c:v>0.52224005707151699</c:v>
                </c:pt>
                <c:pt idx="29283">
                  <c:v>0.52225789192081296</c:v>
                </c:pt>
                <c:pt idx="29284">
                  <c:v>0.52227572677010803</c:v>
                </c:pt>
                <c:pt idx="29285">
                  <c:v>0.52229356161940399</c:v>
                </c:pt>
                <c:pt idx="29286">
                  <c:v>0.52231139646869895</c:v>
                </c:pt>
                <c:pt idx="29287">
                  <c:v>0.52232923131799502</c:v>
                </c:pt>
                <c:pt idx="29288">
                  <c:v>0.52234706616728999</c:v>
                </c:pt>
                <c:pt idx="29289">
                  <c:v>0.52236490101658595</c:v>
                </c:pt>
                <c:pt idx="29290">
                  <c:v>0.52238273586588102</c:v>
                </c:pt>
                <c:pt idx="29291">
                  <c:v>0.52240057071517698</c:v>
                </c:pt>
                <c:pt idx="29292">
                  <c:v>0.52241840556447205</c:v>
                </c:pt>
                <c:pt idx="29293">
                  <c:v>0.52243624041376802</c:v>
                </c:pt>
                <c:pt idx="29294">
                  <c:v>0.52245407526306398</c:v>
                </c:pt>
                <c:pt idx="29295">
                  <c:v>0.52247191011235905</c:v>
                </c:pt>
                <c:pt idx="29296">
                  <c:v>0.52248974496165501</c:v>
                </c:pt>
                <c:pt idx="29297">
                  <c:v>0.52250757981094997</c:v>
                </c:pt>
                <c:pt idx="29298">
                  <c:v>0.52252541466024605</c:v>
                </c:pt>
                <c:pt idx="29299">
                  <c:v>0.52254324950954101</c:v>
                </c:pt>
                <c:pt idx="29300">
                  <c:v>0.52256108435883697</c:v>
                </c:pt>
                <c:pt idx="29301">
                  <c:v>0.52257891920813204</c:v>
                </c:pt>
                <c:pt idx="29302">
                  <c:v>0.522596754057428</c:v>
                </c:pt>
                <c:pt idx="29303">
                  <c:v>0.52261458890672297</c:v>
                </c:pt>
                <c:pt idx="29304">
                  <c:v>0.52263242375601904</c:v>
                </c:pt>
                <c:pt idx="29305">
                  <c:v>0.522650258605314</c:v>
                </c:pt>
                <c:pt idx="29306">
                  <c:v>0.52266809345460996</c:v>
                </c:pt>
                <c:pt idx="29307">
                  <c:v>0.52268592830390503</c:v>
                </c:pt>
                <c:pt idx="29308">
                  <c:v>0.522703763153201</c:v>
                </c:pt>
                <c:pt idx="29309">
                  <c:v>0.52272159800249596</c:v>
                </c:pt>
                <c:pt idx="29310">
                  <c:v>0.52273943285179203</c:v>
                </c:pt>
                <c:pt idx="29311">
                  <c:v>0.52275726770108699</c:v>
                </c:pt>
                <c:pt idx="29312">
                  <c:v>0.52277510255038295</c:v>
                </c:pt>
                <c:pt idx="29313">
                  <c:v>0.52279293739967903</c:v>
                </c:pt>
                <c:pt idx="29314">
                  <c:v>0.52281077224897399</c:v>
                </c:pt>
                <c:pt idx="29315">
                  <c:v>0.52282860709826995</c:v>
                </c:pt>
                <c:pt idx="29316">
                  <c:v>0.52284644194756502</c:v>
                </c:pt>
                <c:pt idx="29317">
                  <c:v>0.52286427679686098</c:v>
                </c:pt>
                <c:pt idx="29318">
                  <c:v>0.52288211164615594</c:v>
                </c:pt>
                <c:pt idx="29319">
                  <c:v>0.52289994649545202</c:v>
                </c:pt>
                <c:pt idx="29320">
                  <c:v>0.52291778134474698</c:v>
                </c:pt>
                <c:pt idx="29321">
                  <c:v>0.52293561619404305</c:v>
                </c:pt>
                <c:pt idx="29322">
                  <c:v>0.52295345104333801</c:v>
                </c:pt>
                <c:pt idx="29323">
                  <c:v>0.52297128589263397</c:v>
                </c:pt>
                <c:pt idx="29324">
                  <c:v>0.52298912074192905</c:v>
                </c:pt>
                <c:pt idx="29325">
                  <c:v>0.52300695559122501</c:v>
                </c:pt>
                <c:pt idx="29326">
                  <c:v>0.52302479044051997</c:v>
                </c:pt>
                <c:pt idx="29327">
                  <c:v>0.52304262528981604</c:v>
                </c:pt>
                <c:pt idx="29328">
                  <c:v>0.52306046013911101</c:v>
                </c:pt>
                <c:pt idx="29329">
                  <c:v>0.52307829498840697</c:v>
                </c:pt>
                <c:pt idx="29330">
                  <c:v>0.52309612983770204</c:v>
                </c:pt>
                <c:pt idx="29331">
                  <c:v>0.523113964686998</c:v>
                </c:pt>
                <c:pt idx="29332">
                  <c:v>0.52313179953629396</c:v>
                </c:pt>
                <c:pt idx="29333">
                  <c:v>0.52314963438558904</c:v>
                </c:pt>
                <c:pt idx="29334">
                  <c:v>0.523167469234885</c:v>
                </c:pt>
                <c:pt idx="29335">
                  <c:v>0.52318530408417996</c:v>
                </c:pt>
                <c:pt idx="29336">
                  <c:v>0.52320313893347603</c:v>
                </c:pt>
                <c:pt idx="29337">
                  <c:v>0.52322097378277099</c:v>
                </c:pt>
                <c:pt idx="29338">
                  <c:v>0.52323880863206695</c:v>
                </c:pt>
                <c:pt idx="29339">
                  <c:v>0.52325664348136203</c:v>
                </c:pt>
                <c:pt idx="29340">
                  <c:v>0.52327447833065799</c:v>
                </c:pt>
                <c:pt idx="29341">
                  <c:v>0.52329231317995295</c:v>
                </c:pt>
                <c:pt idx="29342">
                  <c:v>0.52331014802924902</c:v>
                </c:pt>
                <c:pt idx="29343">
                  <c:v>0.52332798287854398</c:v>
                </c:pt>
                <c:pt idx="29344">
                  <c:v>0.52334581772783995</c:v>
                </c:pt>
                <c:pt idx="29345">
                  <c:v>0.52336365257713502</c:v>
                </c:pt>
                <c:pt idx="29346">
                  <c:v>0.52338148742643098</c:v>
                </c:pt>
                <c:pt idx="29347">
                  <c:v>0.52339932227572605</c:v>
                </c:pt>
                <c:pt idx="29348">
                  <c:v>0.52341715712502201</c:v>
                </c:pt>
                <c:pt idx="29349">
                  <c:v>0.52343499197431698</c:v>
                </c:pt>
                <c:pt idx="29350">
                  <c:v>0.52345282682361305</c:v>
                </c:pt>
                <c:pt idx="29351">
                  <c:v>0.52347066167290801</c:v>
                </c:pt>
                <c:pt idx="29352">
                  <c:v>0.52348849652220397</c:v>
                </c:pt>
                <c:pt idx="29353">
                  <c:v>0.52350633137149905</c:v>
                </c:pt>
                <c:pt idx="29354">
                  <c:v>0.52352416622079501</c:v>
                </c:pt>
                <c:pt idx="29355">
                  <c:v>0.52354200107009097</c:v>
                </c:pt>
                <c:pt idx="29356">
                  <c:v>0.52355983591938604</c:v>
                </c:pt>
                <c:pt idx="29357">
                  <c:v>0.523577670768682</c:v>
                </c:pt>
                <c:pt idx="29358">
                  <c:v>0.52359550561797696</c:v>
                </c:pt>
                <c:pt idx="29359">
                  <c:v>0.52361334046727304</c:v>
                </c:pt>
                <c:pt idx="29360">
                  <c:v>0.523631175316568</c:v>
                </c:pt>
                <c:pt idx="29361">
                  <c:v>0.52364901016586396</c:v>
                </c:pt>
                <c:pt idx="29362">
                  <c:v>0.52366684501515903</c:v>
                </c:pt>
                <c:pt idx="29363">
                  <c:v>0.52368467986445499</c:v>
                </c:pt>
                <c:pt idx="29364">
                  <c:v>0.52370251471374996</c:v>
                </c:pt>
                <c:pt idx="29365">
                  <c:v>0.52372034956304603</c:v>
                </c:pt>
                <c:pt idx="29366">
                  <c:v>0.52373818441234099</c:v>
                </c:pt>
                <c:pt idx="29367">
                  <c:v>0.52375601926163695</c:v>
                </c:pt>
                <c:pt idx="29368">
                  <c:v>0.52377385411093202</c:v>
                </c:pt>
                <c:pt idx="29369">
                  <c:v>0.52379168896022799</c:v>
                </c:pt>
                <c:pt idx="29370">
                  <c:v>0.52380952380952295</c:v>
                </c:pt>
                <c:pt idx="29371">
                  <c:v>0.52382735865881902</c:v>
                </c:pt>
                <c:pt idx="29372">
                  <c:v>0.52384519350811398</c:v>
                </c:pt>
                <c:pt idx="29373">
                  <c:v>0.52386302835741005</c:v>
                </c:pt>
                <c:pt idx="29374">
                  <c:v>0.52388086320670502</c:v>
                </c:pt>
                <c:pt idx="29375">
                  <c:v>0.52389869805600098</c:v>
                </c:pt>
                <c:pt idx="29376">
                  <c:v>0.52391653290529605</c:v>
                </c:pt>
                <c:pt idx="29377">
                  <c:v>0.52393436775459201</c:v>
                </c:pt>
                <c:pt idx="29378">
                  <c:v>0.52395220260388797</c:v>
                </c:pt>
                <c:pt idx="29379">
                  <c:v>0.52397003745318305</c:v>
                </c:pt>
                <c:pt idx="29380">
                  <c:v>0.52398787230247901</c:v>
                </c:pt>
                <c:pt idx="29381">
                  <c:v>0.52400570715177397</c:v>
                </c:pt>
                <c:pt idx="29382">
                  <c:v>0.52402354200107004</c:v>
                </c:pt>
                <c:pt idx="29383">
                  <c:v>0.524041376850365</c:v>
                </c:pt>
                <c:pt idx="29384">
                  <c:v>0.52405921169966097</c:v>
                </c:pt>
                <c:pt idx="29385">
                  <c:v>0.52407704654895604</c:v>
                </c:pt>
                <c:pt idx="29386">
                  <c:v>0.524094881398252</c:v>
                </c:pt>
                <c:pt idx="29387">
                  <c:v>0.52411271624754696</c:v>
                </c:pt>
                <c:pt idx="29388">
                  <c:v>0.52413055109684303</c:v>
                </c:pt>
                <c:pt idx="29389">
                  <c:v>0.524148385946138</c:v>
                </c:pt>
                <c:pt idx="29390">
                  <c:v>0.52416622079543396</c:v>
                </c:pt>
                <c:pt idx="29391">
                  <c:v>0.52418405564472903</c:v>
                </c:pt>
                <c:pt idx="29392">
                  <c:v>0.52420189049402499</c:v>
                </c:pt>
                <c:pt idx="29393">
                  <c:v>0.52421972534331995</c:v>
                </c:pt>
                <c:pt idx="29394">
                  <c:v>0.52423756019261603</c:v>
                </c:pt>
                <c:pt idx="29395">
                  <c:v>0.52425539504191099</c:v>
                </c:pt>
                <c:pt idx="29396">
                  <c:v>0.52427322989120695</c:v>
                </c:pt>
                <c:pt idx="29397">
                  <c:v>0.52429106474050202</c:v>
                </c:pt>
                <c:pt idx="29398">
                  <c:v>0.52430889958979798</c:v>
                </c:pt>
                <c:pt idx="29399">
                  <c:v>0.52432673443909295</c:v>
                </c:pt>
                <c:pt idx="29400">
                  <c:v>0.52434456928838902</c:v>
                </c:pt>
                <c:pt idx="29401">
                  <c:v>0.52436240413768498</c:v>
                </c:pt>
                <c:pt idx="29402">
                  <c:v>0.52438023898698005</c:v>
                </c:pt>
                <c:pt idx="29403">
                  <c:v>0.52439807383627601</c:v>
                </c:pt>
                <c:pt idx="29404">
                  <c:v>0.52441590868557098</c:v>
                </c:pt>
                <c:pt idx="29405">
                  <c:v>0.52443374353486705</c:v>
                </c:pt>
                <c:pt idx="29406">
                  <c:v>0.52445157838416201</c:v>
                </c:pt>
                <c:pt idx="29407">
                  <c:v>0.52446941323345797</c:v>
                </c:pt>
                <c:pt idx="29408">
                  <c:v>0.52448724808275304</c:v>
                </c:pt>
                <c:pt idx="29409">
                  <c:v>0.524505082932049</c:v>
                </c:pt>
                <c:pt idx="29410">
                  <c:v>0.52452291778134397</c:v>
                </c:pt>
                <c:pt idx="29411">
                  <c:v>0.52454075263064004</c:v>
                </c:pt>
                <c:pt idx="29412">
                  <c:v>0.524558587479935</c:v>
                </c:pt>
                <c:pt idx="29413">
                  <c:v>0.52457642232923096</c:v>
                </c:pt>
                <c:pt idx="29414">
                  <c:v>0.52459425717852604</c:v>
                </c:pt>
                <c:pt idx="29415">
                  <c:v>0.524612092027822</c:v>
                </c:pt>
                <c:pt idx="29416">
                  <c:v>0.52462992687711696</c:v>
                </c:pt>
                <c:pt idx="29417">
                  <c:v>0.52464776172641303</c:v>
                </c:pt>
                <c:pt idx="29418">
                  <c:v>0.52466559657570799</c:v>
                </c:pt>
                <c:pt idx="29419">
                  <c:v>0.52468343142500395</c:v>
                </c:pt>
                <c:pt idx="29420">
                  <c:v>0.52470126627430003</c:v>
                </c:pt>
                <c:pt idx="29421">
                  <c:v>0.52471910112359499</c:v>
                </c:pt>
                <c:pt idx="29422">
                  <c:v>0.52473693597289095</c:v>
                </c:pt>
                <c:pt idx="29423">
                  <c:v>0.52475477082218602</c:v>
                </c:pt>
                <c:pt idx="29424">
                  <c:v>0.52477260567148198</c:v>
                </c:pt>
                <c:pt idx="29425">
                  <c:v>0.52479044052077695</c:v>
                </c:pt>
                <c:pt idx="29426">
                  <c:v>0.52480827537007302</c:v>
                </c:pt>
                <c:pt idx="29427">
                  <c:v>0.52482611021936798</c:v>
                </c:pt>
                <c:pt idx="29428">
                  <c:v>0.52484394506866405</c:v>
                </c:pt>
                <c:pt idx="29429">
                  <c:v>0.52486177991795901</c:v>
                </c:pt>
                <c:pt idx="29430">
                  <c:v>0.52487961476725498</c:v>
                </c:pt>
                <c:pt idx="29431">
                  <c:v>0.52489744961655005</c:v>
                </c:pt>
                <c:pt idx="29432">
                  <c:v>0.52491528446584601</c:v>
                </c:pt>
                <c:pt idx="29433">
                  <c:v>0.52493311931514097</c:v>
                </c:pt>
                <c:pt idx="29434">
                  <c:v>0.52495095416443704</c:v>
                </c:pt>
                <c:pt idx="29435">
                  <c:v>0.52496878901373201</c:v>
                </c:pt>
                <c:pt idx="29436">
                  <c:v>0.52498662386302797</c:v>
                </c:pt>
                <c:pt idx="29437">
                  <c:v>0.52500445871232304</c:v>
                </c:pt>
                <c:pt idx="29438">
                  <c:v>0.525022293561619</c:v>
                </c:pt>
                <c:pt idx="29439">
                  <c:v>0.52504012841091496</c:v>
                </c:pt>
                <c:pt idx="29440">
                  <c:v>0.52505796326021004</c:v>
                </c:pt>
                <c:pt idx="29441">
                  <c:v>0.525075798109506</c:v>
                </c:pt>
                <c:pt idx="29442">
                  <c:v>0.52509363295880096</c:v>
                </c:pt>
                <c:pt idx="29443">
                  <c:v>0.52511146780809703</c:v>
                </c:pt>
                <c:pt idx="29444">
                  <c:v>0.52512930265739199</c:v>
                </c:pt>
                <c:pt idx="29445">
                  <c:v>0.52514713750668796</c:v>
                </c:pt>
                <c:pt idx="29446">
                  <c:v>0.52516497235598303</c:v>
                </c:pt>
                <c:pt idx="29447">
                  <c:v>0.52518280720527899</c:v>
                </c:pt>
                <c:pt idx="29448">
                  <c:v>0.52520064205457395</c:v>
                </c:pt>
                <c:pt idx="29449">
                  <c:v>0.52521847690387002</c:v>
                </c:pt>
                <c:pt idx="29450">
                  <c:v>0.52523631175316499</c:v>
                </c:pt>
                <c:pt idx="29451">
                  <c:v>0.52525414660246095</c:v>
                </c:pt>
                <c:pt idx="29452">
                  <c:v>0.52527198145175602</c:v>
                </c:pt>
                <c:pt idx="29453">
                  <c:v>0.52528981630105198</c:v>
                </c:pt>
                <c:pt idx="29454">
                  <c:v>0.52530765115034705</c:v>
                </c:pt>
                <c:pt idx="29455">
                  <c:v>0.52532548599964302</c:v>
                </c:pt>
                <c:pt idx="29456">
                  <c:v>0.52534332084893798</c:v>
                </c:pt>
                <c:pt idx="29457">
                  <c:v>0.52536115569823405</c:v>
                </c:pt>
                <c:pt idx="29458">
                  <c:v>0.52537899054752901</c:v>
                </c:pt>
                <c:pt idx="29459">
                  <c:v>0.52539682539682497</c:v>
                </c:pt>
                <c:pt idx="29460">
                  <c:v>0.52541466024612005</c:v>
                </c:pt>
                <c:pt idx="29461">
                  <c:v>0.52543249509541601</c:v>
                </c:pt>
                <c:pt idx="29462">
                  <c:v>0.52545032994471197</c:v>
                </c:pt>
                <c:pt idx="29463">
                  <c:v>0.52546816479400704</c:v>
                </c:pt>
                <c:pt idx="29464">
                  <c:v>0.525485999643303</c:v>
                </c:pt>
                <c:pt idx="29465">
                  <c:v>0.52550383449259797</c:v>
                </c:pt>
                <c:pt idx="29466">
                  <c:v>0.52552166934189404</c:v>
                </c:pt>
                <c:pt idx="29467">
                  <c:v>0.525539504191189</c:v>
                </c:pt>
                <c:pt idx="29468">
                  <c:v>0.52555733904048496</c:v>
                </c:pt>
                <c:pt idx="29469">
                  <c:v>0.52557517388978003</c:v>
                </c:pt>
                <c:pt idx="29470">
                  <c:v>0.525593008739076</c:v>
                </c:pt>
                <c:pt idx="29471">
                  <c:v>0.52561084358837096</c:v>
                </c:pt>
                <c:pt idx="29472">
                  <c:v>0.52562867843766703</c:v>
                </c:pt>
                <c:pt idx="29473">
                  <c:v>0.52564651328696199</c:v>
                </c:pt>
                <c:pt idx="29474">
                  <c:v>0.52566434813625795</c:v>
                </c:pt>
                <c:pt idx="29475">
                  <c:v>0.52568218298555303</c:v>
                </c:pt>
                <c:pt idx="29476">
                  <c:v>0.52570001783484899</c:v>
                </c:pt>
                <c:pt idx="29477">
                  <c:v>0.52571785268414395</c:v>
                </c:pt>
                <c:pt idx="29478">
                  <c:v>0.52573568753344002</c:v>
                </c:pt>
                <c:pt idx="29479">
                  <c:v>0.52575352238273498</c:v>
                </c:pt>
                <c:pt idx="29480">
                  <c:v>0.52577135723203094</c:v>
                </c:pt>
                <c:pt idx="29481">
                  <c:v>0.52578919208132602</c:v>
                </c:pt>
                <c:pt idx="29482">
                  <c:v>0.52580702693062198</c:v>
                </c:pt>
                <c:pt idx="29483">
                  <c:v>0.52582486177991705</c:v>
                </c:pt>
                <c:pt idx="29484">
                  <c:v>0.52584269662921301</c:v>
                </c:pt>
                <c:pt idx="29485">
                  <c:v>0.52586053147850897</c:v>
                </c:pt>
                <c:pt idx="29486">
                  <c:v>0.52587836632780405</c:v>
                </c:pt>
                <c:pt idx="29487">
                  <c:v>0.52589620117710001</c:v>
                </c:pt>
                <c:pt idx="29488">
                  <c:v>0.52591403602639497</c:v>
                </c:pt>
                <c:pt idx="29489">
                  <c:v>0.52593187087569104</c:v>
                </c:pt>
                <c:pt idx="29490">
                  <c:v>0.52594970572498601</c:v>
                </c:pt>
                <c:pt idx="29491">
                  <c:v>0.52596754057428197</c:v>
                </c:pt>
                <c:pt idx="29492">
                  <c:v>0.52598537542357704</c:v>
                </c:pt>
                <c:pt idx="29493">
                  <c:v>0.526003210272873</c:v>
                </c:pt>
                <c:pt idx="29494">
                  <c:v>0.52602104512216796</c:v>
                </c:pt>
                <c:pt idx="29495">
                  <c:v>0.52603887997146404</c:v>
                </c:pt>
                <c:pt idx="29496">
                  <c:v>0.526056714820759</c:v>
                </c:pt>
                <c:pt idx="29497">
                  <c:v>0.52607454967005496</c:v>
                </c:pt>
                <c:pt idx="29498">
                  <c:v>0.52609238451935003</c:v>
                </c:pt>
                <c:pt idx="29499">
                  <c:v>0.52611021936864599</c:v>
                </c:pt>
                <c:pt idx="29500">
                  <c:v>0.52612805421794095</c:v>
                </c:pt>
                <c:pt idx="29501">
                  <c:v>0.52614588906723703</c:v>
                </c:pt>
                <c:pt idx="29502">
                  <c:v>0.52616372391653199</c:v>
                </c:pt>
                <c:pt idx="29503">
                  <c:v>0.52618155876582795</c:v>
                </c:pt>
                <c:pt idx="29504">
                  <c:v>0.52619939361512302</c:v>
                </c:pt>
                <c:pt idx="29505">
                  <c:v>0.52621722846441898</c:v>
                </c:pt>
                <c:pt idx="29506">
                  <c:v>0.52623506331371495</c:v>
                </c:pt>
                <c:pt idx="29507">
                  <c:v>0.52625289816301002</c:v>
                </c:pt>
                <c:pt idx="29508">
                  <c:v>0.52627073301230598</c:v>
                </c:pt>
                <c:pt idx="29509">
                  <c:v>0.52628856786160105</c:v>
                </c:pt>
                <c:pt idx="29510">
                  <c:v>0.52630640271089701</c:v>
                </c:pt>
                <c:pt idx="29511">
                  <c:v>0.52632423756019198</c:v>
                </c:pt>
                <c:pt idx="29512">
                  <c:v>0.52634207240948805</c:v>
                </c:pt>
                <c:pt idx="29513">
                  <c:v>0.52635990725878301</c:v>
                </c:pt>
                <c:pt idx="29514">
                  <c:v>0.52637774210807897</c:v>
                </c:pt>
                <c:pt idx="29515">
                  <c:v>0.52639557695737405</c:v>
                </c:pt>
                <c:pt idx="29516">
                  <c:v>0.52641341180667001</c:v>
                </c:pt>
                <c:pt idx="29517">
                  <c:v>0.52643124665596497</c:v>
                </c:pt>
                <c:pt idx="29518">
                  <c:v>0.52644908150526104</c:v>
                </c:pt>
                <c:pt idx="29519">
                  <c:v>0.526466916354556</c:v>
                </c:pt>
                <c:pt idx="29520">
                  <c:v>0.52648475120385196</c:v>
                </c:pt>
                <c:pt idx="29521">
                  <c:v>0.52650258605314704</c:v>
                </c:pt>
                <c:pt idx="29522">
                  <c:v>0.526520420902443</c:v>
                </c:pt>
                <c:pt idx="29523">
                  <c:v>0.52653825575173796</c:v>
                </c:pt>
                <c:pt idx="29524">
                  <c:v>0.52655609060103403</c:v>
                </c:pt>
                <c:pt idx="29525">
                  <c:v>0.52657392545032999</c:v>
                </c:pt>
                <c:pt idx="29526">
                  <c:v>0.52659176029962496</c:v>
                </c:pt>
                <c:pt idx="29527">
                  <c:v>0.52660959514892103</c:v>
                </c:pt>
                <c:pt idx="29528">
                  <c:v>0.52662742999821599</c:v>
                </c:pt>
                <c:pt idx="29529">
                  <c:v>0.52664526484751195</c:v>
                </c:pt>
                <c:pt idx="29530">
                  <c:v>0.52666309969680702</c:v>
                </c:pt>
                <c:pt idx="29531">
                  <c:v>0.52668093454610299</c:v>
                </c:pt>
                <c:pt idx="29532">
                  <c:v>0.52669876939539795</c:v>
                </c:pt>
                <c:pt idx="29533">
                  <c:v>0.52671660424469402</c:v>
                </c:pt>
                <c:pt idx="29534">
                  <c:v>0.52673443909398898</c:v>
                </c:pt>
                <c:pt idx="29535">
                  <c:v>0.52675227394328505</c:v>
                </c:pt>
                <c:pt idx="29536">
                  <c:v>0.52677010879258002</c:v>
                </c:pt>
                <c:pt idx="29537">
                  <c:v>0.52678794364187598</c:v>
                </c:pt>
                <c:pt idx="29538">
                  <c:v>0.52680577849117105</c:v>
                </c:pt>
                <c:pt idx="29539">
                  <c:v>0.52682361334046701</c:v>
                </c:pt>
                <c:pt idx="29540">
                  <c:v>0.52684144818976197</c:v>
                </c:pt>
                <c:pt idx="29541">
                  <c:v>0.52685928303905805</c:v>
                </c:pt>
                <c:pt idx="29542">
                  <c:v>0.52687711788835301</c:v>
                </c:pt>
                <c:pt idx="29543">
                  <c:v>0.52689495273764897</c:v>
                </c:pt>
                <c:pt idx="29544">
                  <c:v>0.52691278758694404</c:v>
                </c:pt>
                <c:pt idx="29545">
                  <c:v>0.52693062243624</c:v>
                </c:pt>
                <c:pt idx="29546">
                  <c:v>0.52694845728553596</c:v>
                </c:pt>
                <c:pt idx="29547">
                  <c:v>0.52696629213483104</c:v>
                </c:pt>
                <c:pt idx="29548">
                  <c:v>0.526984126984127</c:v>
                </c:pt>
                <c:pt idx="29549">
                  <c:v>0.52700196183342196</c:v>
                </c:pt>
                <c:pt idx="29550">
                  <c:v>0.52701979668271803</c:v>
                </c:pt>
                <c:pt idx="29551">
                  <c:v>0.527037631532013</c:v>
                </c:pt>
                <c:pt idx="29552">
                  <c:v>0.52705546638130896</c:v>
                </c:pt>
                <c:pt idx="29553">
                  <c:v>0.52707330123060403</c:v>
                </c:pt>
                <c:pt idx="29554">
                  <c:v>0.52709113607989999</c:v>
                </c:pt>
                <c:pt idx="29555">
                  <c:v>0.52710897092919495</c:v>
                </c:pt>
                <c:pt idx="29556">
                  <c:v>0.52712680577849103</c:v>
                </c:pt>
                <c:pt idx="29557">
                  <c:v>0.52714464062778599</c:v>
                </c:pt>
                <c:pt idx="29558">
                  <c:v>0.52716247547708195</c:v>
                </c:pt>
                <c:pt idx="29559">
                  <c:v>0.52718031032637702</c:v>
                </c:pt>
                <c:pt idx="29560">
                  <c:v>0.52719814517567298</c:v>
                </c:pt>
                <c:pt idx="29561">
                  <c:v>0.52721598002496795</c:v>
                </c:pt>
                <c:pt idx="29562">
                  <c:v>0.52723381487426402</c:v>
                </c:pt>
                <c:pt idx="29563">
                  <c:v>0.52725164972355898</c:v>
                </c:pt>
                <c:pt idx="29564">
                  <c:v>0.52726948457285505</c:v>
                </c:pt>
                <c:pt idx="29565">
                  <c:v>0.52728731942215001</c:v>
                </c:pt>
                <c:pt idx="29566">
                  <c:v>0.52730515427144597</c:v>
                </c:pt>
                <c:pt idx="29567">
                  <c:v>0.52732298912074105</c:v>
                </c:pt>
                <c:pt idx="29568">
                  <c:v>0.52734082397003701</c:v>
                </c:pt>
                <c:pt idx="29569">
                  <c:v>0.52735865881933297</c:v>
                </c:pt>
                <c:pt idx="29570">
                  <c:v>0.52737649366862804</c:v>
                </c:pt>
                <c:pt idx="29571">
                  <c:v>0.527394328517924</c:v>
                </c:pt>
                <c:pt idx="29572">
                  <c:v>0.52741216336721897</c:v>
                </c:pt>
                <c:pt idx="29573">
                  <c:v>0.52742999821651504</c:v>
                </c:pt>
                <c:pt idx="29574">
                  <c:v>0.52744783306581</c:v>
                </c:pt>
                <c:pt idx="29575">
                  <c:v>0.52746566791510596</c:v>
                </c:pt>
                <c:pt idx="29576">
                  <c:v>0.52748350276440104</c:v>
                </c:pt>
                <c:pt idx="29577">
                  <c:v>0.527501337613697</c:v>
                </c:pt>
                <c:pt idx="29578">
                  <c:v>0.52751917246299196</c:v>
                </c:pt>
                <c:pt idx="29579">
                  <c:v>0.52753700731228803</c:v>
                </c:pt>
                <c:pt idx="29580">
                  <c:v>0.52755484216158299</c:v>
                </c:pt>
                <c:pt idx="29581">
                  <c:v>0.52757267701087895</c:v>
                </c:pt>
                <c:pt idx="29582">
                  <c:v>0.52759051186017403</c:v>
                </c:pt>
                <c:pt idx="29583">
                  <c:v>0.52760834670946999</c:v>
                </c:pt>
                <c:pt idx="29584">
                  <c:v>0.52762618155876495</c:v>
                </c:pt>
                <c:pt idx="29585">
                  <c:v>0.52764401640806102</c:v>
                </c:pt>
                <c:pt idx="29586">
                  <c:v>0.52766185125735598</c:v>
                </c:pt>
                <c:pt idx="29587">
                  <c:v>0.52767968610665195</c:v>
                </c:pt>
                <c:pt idx="29588">
                  <c:v>0.52769752095594702</c:v>
                </c:pt>
                <c:pt idx="29589">
                  <c:v>0.52771535580524298</c:v>
                </c:pt>
                <c:pt idx="29590">
                  <c:v>0.52773319065453805</c:v>
                </c:pt>
                <c:pt idx="29591">
                  <c:v>0.52775102550383401</c:v>
                </c:pt>
                <c:pt idx="29592">
                  <c:v>0.52776886035312998</c:v>
                </c:pt>
                <c:pt idx="29593">
                  <c:v>0.52778669520242505</c:v>
                </c:pt>
                <c:pt idx="29594">
                  <c:v>0.52780453005172101</c:v>
                </c:pt>
                <c:pt idx="29595">
                  <c:v>0.52782236490101597</c:v>
                </c:pt>
                <c:pt idx="29596">
                  <c:v>0.52784019975031204</c:v>
                </c:pt>
                <c:pt idx="29597">
                  <c:v>0.52785803459960701</c:v>
                </c:pt>
                <c:pt idx="29598">
                  <c:v>0.52787586944890297</c:v>
                </c:pt>
                <c:pt idx="29599">
                  <c:v>0.52789370429819804</c:v>
                </c:pt>
                <c:pt idx="29600">
                  <c:v>0.527911539147494</c:v>
                </c:pt>
                <c:pt idx="29601">
                  <c:v>0.52792937399678896</c:v>
                </c:pt>
                <c:pt idx="29602">
                  <c:v>0.52794720884608504</c:v>
                </c:pt>
                <c:pt idx="29603">
                  <c:v>0.52796504369538</c:v>
                </c:pt>
                <c:pt idx="29604">
                  <c:v>0.52798287854467596</c:v>
                </c:pt>
                <c:pt idx="29605">
                  <c:v>0.52800071339397103</c:v>
                </c:pt>
                <c:pt idx="29606">
                  <c:v>0.52801854824326699</c:v>
                </c:pt>
                <c:pt idx="29607">
                  <c:v>0.52803638309256196</c:v>
                </c:pt>
                <c:pt idx="29608">
                  <c:v>0.52805421794185803</c:v>
                </c:pt>
                <c:pt idx="29609">
                  <c:v>0.52807205279115299</c:v>
                </c:pt>
                <c:pt idx="29610">
                  <c:v>0.52808988764044895</c:v>
                </c:pt>
                <c:pt idx="29611">
                  <c:v>0.52810772248974402</c:v>
                </c:pt>
                <c:pt idx="29612">
                  <c:v>0.52812555733903999</c:v>
                </c:pt>
                <c:pt idx="29613">
                  <c:v>0.52814339218833595</c:v>
                </c:pt>
                <c:pt idx="29614">
                  <c:v>0.52816122703763102</c:v>
                </c:pt>
                <c:pt idx="29615">
                  <c:v>0.52817906188692698</c:v>
                </c:pt>
                <c:pt idx="29616">
                  <c:v>0.52819689673622205</c:v>
                </c:pt>
                <c:pt idx="29617">
                  <c:v>0.52821473158551802</c:v>
                </c:pt>
                <c:pt idx="29618">
                  <c:v>0.52823256643481298</c:v>
                </c:pt>
                <c:pt idx="29619">
                  <c:v>0.52825040128410905</c:v>
                </c:pt>
                <c:pt idx="29620">
                  <c:v>0.52826823613340401</c:v>
                </c:pt>
                <c:pt idx="29621">
                  <c:v>0.52828607098269997</c:v>
                </c:pt>
                <c:pt idx="29622">
                  <c:v>0.52830390583199505</c:v>
                </c:pt>
                <c:pt idx="29623">
                  <c:v>0.52832174068129101</c:v>
                </c:pt>
                <c:pt idx="29624">
                  <c:v>0.52833957553058597</c:v>
                </c:pt>
                <c:pt idx="29625">
                  <c:v>0.52835741037988204</c:v>
                </c:pt>
                <c:pt idx="29626">
                  <c:v>0.528375245229177</c:v>
                </c:pt>
                <c:pt idx="29627">
                  <c:v>0.52839308007847297</c:v>
                </c:pt>
                <c:pt idx="29628">
                  <c:v>0.52841091492776804</c:v>
                </c:pt>
                <c:pt idx="29629">
                  <c:v>0.528428749777064</c:v>
                </c:pt>
                <c:pt idx="29630">
                  <c:v>0.52844658462635996</c:v>
                </c:pt>
                <c:pt idx="29631">
                  <c:v>0.52846441947565503</c:v>
                </c:pt>
                <c:pt idx="29632">
                  <c:v>0.528482254324951</c:v>
                </c:pt>
                <c:pt idx="29633">
                  <c:v>0.52850008917424596</c:v>
                </c:pt>
                <c:pt idx="29634">
                  <c:v>0.52851792402354203</c:v>
                </c:pt>
                <c:pt idx="29635">
                  <c:v>0.52853575887283699</c:v>
                </c:pt>
                <c:pt idx="29636">
                  <c:v>0.52855359372213295</c:v>
                </c:pt>
                <c:pt idx="29637">
                  <c:v>0.52857142857142803</c:v>
                </c:pt>
                <c:pt idx="29638">
                  <c:v>0.52858926342072399</c:v>
                </c:pt>
                <c:pt idx="29639">
                  <c:v>0.52860709827001895</c:v>
                </c:pt>
                <c:pt idx="29640">
                  <c:v>0.52862493311931502</c:v>
                </c:pt>
                <c:pt idx="29641">
                  <c:v>0.52864276796860998</c:v>
                </c:pt>
                <c:pt idx="29642">
                  <c:v>0.52866060281790594</c:v>
                </c:pt>
                <c:pt idx="29643">
                  <c:v>0.52867843766720102</c:v>
                </c:pt>
                <c:pt idx="29644">
                  <c:v>0.52869627251649698</c:v>
                </c:pt>
                <c:pt idx="29645">
                  <c:v>0.52871410736579205</c:v>
                </c:pt>
                <c:pt idx="29646">
                  <c:v>0.52873194221508801</c:v>
                </c:pt>
                <c:pt idx="29647">
                  <c:v>0.52874977706438298</c:v>
                </c:pt>
                <c:pt idx="29648">
                  <c:v>0.52876761191367905</c:v>
                </c:pt>
                <c:pt idx="29649">
                  <c:v>0.52878544676297401</c:v>
                </c:pt>
                <c:pt idx="29650">
                  <c:v>0.52880328161226997</c:v>
                </c:pt>
                <c:pt idx="29651">
                  <c:v>0.52882111646156504</c:v>
                </c:pt>
                <c:pt idx="29652">
                  <c:v>0.52883895131086101</c:v>
                </c:pt>
                <c:pt idx="29653">
                  <c:v>0.52885678616015697</c:v>
                </c:pt>
                <c:pt idx="29654">
                  <c:v>0.52887462100945204</c:v>
                </c:pt>
                <c:pt idx="29655">
                  <c:v>0.528892455858748</c:v>
                </c:pt>
                <c:pt idx="29656">
                  <c:v>0.52891029070804296</c:v>
                </c:pt>
                <c:pt idx="29657">
                  <c:v>0.52892812555733904</c:v>
                </c:pt>
                <c:pt idx="29658">
                  <c:v>0.528945960406634</c:v>
                </c:pt>
                <c:pt idx="29659">
                  <c:v>0.52896379525592996</c:v>
                </c:pt>
                <c:pt idx="29660">
                  <c:v>0.52898163010522503</c:v>
                </c:pt>
                <c:pt idx="29661">
                  <c:v>0.52899946495452099</c:v>
                </c:pt>
                <c:pt idx="29662">
                  <c:v>0.52901729980381595</c:v>
                </c:pt>
                <c:pt idx="29663">
                  <c:v>0.52903513465311203</c:v>
                </c:pt>
                <c:pt idx="29664">
                  <c:v>0.52905296950240699</c:v>
                </c:pt>
                <c:pt idx="29665">
                  <c:v>0.52907080435170295</c:v>
                </c:pt>
                <c:pt idx="29666">
                  <c:v>0.52908863920099802</c:v>
                </c:pt>
                <c:pt idx="29667">
                  <c:v>0.52910647405029398</c:v>
                </c:pt>
                <c:pt idx="29668">
                  <c:v>0.52912430889958895</c:v>
                </c:pt>
                <c:pt idx="29669">
                  <c:v>0.52914214374888502</c:v>
                </c:pt>
                <c:pt idx="29670">
                  <c:v>0.52915997859817998</c:v>
                </c:pt>
                <c:pt idx="29671">
                  <c:v>0.52917781344747605</c:v>
                </c:pt>
                <c:pt idx="29672">
                  <c:v>0.52919564829677102</c:v>
                </c:pt>
                <c:pt idx="29673">
                  <c:v>0.52921348314606698</c:v>
                </c:pt>
                <c:pt idx="29674">
                  <c:v>0.52923131799536205</c:v>
                </c:pt>
                <c:pt idx="29675">
                  <c:v>0.52924915284465801</c:v>
                </c:pt>
                <c:pt idx="29676">
                  <c:v>0.52926698769395397</c:v>
                </c:pt>
                <c:pt idx="29677">
                  <c:v>0.52928482254324904</c:v>
                </c:pt>
                <c:pt idx="29678">
                  <c:v>0.52930265739254501</c:v>
                </c:pt>
                <c:pt idx="29679">
                  <c:v>0.52932049224183997</c:v>
                </c:pt>
                <c:pt idx="29680">
                  <c:v>0.52933832709113604</c:v>
                </c:pt>
                <c:pt idx="29681">
                  <c:v>0.529356161940431</c:v>
                </c:pt>
                <c:pt idx="29682">
                  <c:v>0.52937399678972696</c:v>
                </c:pt>
                <c:pt idx="29683">
                  <c:v>0.52939183163902204</c:v>
                </c:pt>
                <c:pt idx="29684">
                  <c:v>0.529409666488318</c:v>
                </c:pt>
                <c:pt idx="29685">
                  <c:v>0.52942750133761296</c:v>
                </c:pt>
                <c:pt idx="29686">
                  <c:v>0.52944533618690903</c:v>
                </c:pt>
                <c:pt idx="29687">
                  <c:v>0.52946317103620399</c:v>
                </c:pt>
                <c:pt idx="29688">
                  <c:v>0.52948100588549996</c:v>
                </c:pt>
                <c:pt idx="29689">
                  <c:v>0.52949884073479503</c:v>
                </c:pt>
                <c:pt idx="29690">
                  <c:v>0.52951667558409099</c:v>
                </c:pt>
                <c:pt idx="29691">
                  <c:v>0.52953451043338595</c:v>
                </c:pt>
                <c:pt idx="29692">
                  <c:v>0.52955234528268202</c:v>
                </c:pt>
                <c:pt idx="29693">
                  <c:v>0.52957018013197699</c:v>
                </c:pt>
                <c:pt idx="29694">
                  <c:v>0.52958801498127295</c:v>
                </c:pt>
                <c:pt idx="29695">
                  <c:v>0.52960584983056802</c:v>
                </c:pt>
                <c:pt idx="29696">
                  <c:v>0.52962368467986398</c:v>
                </c:pt>
                <c:pt idx="29697">
                  <c:v>0.52964151952915905</c:v>
                </c:pt>
                <c:pt idx="29698">
                  <c:v>0.52965935437845502</c:v>
                </c:pt>
                <c:pt idx="29699">
                  <c:v>0.52967718922775098</c:v>
                </c:pt>
                <c:pt idx="29700">
                  <c:v>0.52969502407704605</c:v>
                </c:pt>
                <c:pt idx="29701">
                  <c:v>0.52971285892634201</c:v>
                </c:pt>
                <c:pt idx="29702">
                  <c:v>0.52973069377563697</c:v>
                </c:pt>
                <c:pt idx="29703">
                  <c:v>0.52974852862493305</c:v>
                </c:pt>
                <c:pt idx="29704">
                  <c:v>0.52976636347422801</c:v>
                </c:pt>
                <c:pt idx="29705">
                  <c:v>0.52978419832352397</c:v>
                </c:pt>
                <c:pt idx="29706">
                  <c:v>0.52980203317281904</c:v>
                </c:pt>
                <c:pt idx="29707">
                  <c:v>0.529819868022115</c:v>
                </c:pt>
                <c:pt idx="29708">
                  <c:v>0.52983770287140997</c:v>
                </c:pt>
                <c:pt idx="29709">
                  <c:v>0.52985553772070604</c:v>
                </c:pt>
                <c:pt idx="29710">
                  <c:v>0.529873372570001</c:v>
                </c:pt>
                <c:pt idx="29711">
                  <c:v>0.52989120741929696</c:v>
                </c:pt>
                <c:pt idx="29712">
                  <c:v>0.52990904226859203</c:v>
                </c:pt>
                <c:pt idx="29713">
                  <c:v>0.529926877117888</c:v>
                </c:pt>
                <c:pt idx="29714">
                  <c:v>0.52994471196718296</c:v>
                </c:pt>
                <c:pt idx="29715">
                  <c:v>0.52996254681647903</c:v>
                </c:pt>
                <c:pt idx="29716">
                  <c:v>0.52998038166577399</c:v>
                </c:pt>
                <c:pt idx="29717">
                  <c:v>0.52999821651506995</c:v>
                </c:pt>
                <c:pt idx="29718">
                  <c:v>0.53001605136436603</c:v>
                </c:pt>
                <c:pt idx="29719">
                  <c:v>0.53003388621366099</c:v>
                </c:pt>
                <c:pt idx="29720">
                  <c:v>0.53005172106295695</c:v>
                </c:pt>
                <c:pt idx="29721">
                  <c:v>0.53006955591225202</c:v>
                </c:pt>
                <c:pt idx="29722">
                  <c:v>0.53008739076154798</c:v>
                </c:pt>
                <c:pt idx="29723">
                  <c:v>0.53010522561084295</c:v>
                </c:pt>
                <c:pt idx="29724">
                  <c:v>0.53012306046013902</c:v>
                </c:pt>
                <c:pt idx="29725">
                  <c:v>0.53014089530943398</c:v>
                </c:pt>
                <c:pt idx="29726">
                  <c:v>0.53015873015873005</c:v>
                </c:pt>
                <c:pt idx="29727">
                  <c:v>0.53017656500802501</c:v>
                </c:pt>
                <c:pt idx="29728">
                  <c:v>0.53019439985732097</c:v>
                </c:pt>
                <c:pt idx="29729">
                  <c:v>0.53021223470661605</c:v>
                </c:pt>
                <c:pt idx="29730">
                  <c:v>0.53023006955591201</c:v>
                </c:pt>
                <c:pt idx="29731">
                  <c:v>0.53024790440520697</c:v>
                </c:pt>
                <c:pt idx="29732">
                  <c:v>0.53026573925450304</c:v>
                </c:pt>
                <c:pt idx="29733">
                  <c:v>0.53028357410379801</c:v>
                </c:pt>
                <c:pt idx="29734">
                  <c:v>0.53030140895309397</c:v>
                </c:pt>
                <c:pt idx="29735">
                  <c:v>0.53031924380238904</c:v>
                </c:pt>
                <c:pt idx="29736">
                  <c:v>0.530337078651685</c:v>
                </c:pt>
                <c:pt idx="29737">
                  <c:v>0.53035491350098096</c:v>
                </c:pt>
                <c:pt idx="29738">
                  <c:v>0.53037274835027604</c:v>
                </c:pt>
                <c:pt idx="29739">
                  <c:v>0.530390583199572</c:v>
                </c:pt>
                <c:pt idx="29740">
                  <c:v>0.53040841804886696</c:v>
                </c:pt>
                <c:pt idx="29741">
                  <c:v>0.53042625289816303</c:v>
                </c:pt>
                <c:pt idx="29742">
                  <c:v>0.53044408774745799</c:v>
                </c:pt>
                <c:pt idx="29743">
                  <c:v>0.53046192259675395</c:v>
                </c:pt>
                <c:pt idx="29744">
                  <c:v>0.53047975744604903</c:v>
                </c:pt>
                <c:pt idx="29745">
                  <c:v>0.53049759229534499</c:v>
                </c:pt>
                <c:pt idx="29746">
                  <c:v>0.53051542714463995</c:v>
                </c:pt>
                <c:pt idx="29747">
                  <c:v>0.53053326199393602</c:v>
                </c:pt>
                <c:pt idx="29748">
                  <c:v>0.53055109684323098</c:v>
                </c:pt>
                <c:pt idx="29749">
                  <c:v>0.53056893169252695</c:v>
                </c:pt>
                <c:pt idx="29750">
                  <c:v>0.53058676654182202</c:v>
                </c:pt>
                <c:pt idx="29751">
                  <c:v>0.53060460139111798</c:v>
                </c:pt>
                <c:pt idx="29752">
                  <c:v>0.53062243624041305</c:v>
                </c:pt>
                <c:pt idx="29753">
                  <c:v>0.53064027108970901</c:v>
                </c:pt>
                <c:pt idx="29754">
                  <c:v>0.53065810593900398</c:v>
                </c:pt>
                <c:pt idx="29755">
                  <c:v>0.53067594078830005</c:v>
                </c:pt>
                <c:pt idx="29756">
                  <c:v>0.53069377563759501</c:v>
                </c:pt>
                <c:pt idx="29757">
                  <c:v>0.53071161048689097</c:v>
                </c:pt>
                <c:pt idx="29758">
                  <c:v>0.53072944533618605</c:v>
                </c:pt>
                <c:pt idx="29759">
                  <c:v>0.53074728018548201</c:v>
                </c:pt>
                <c:pt idx="29760">
                  <c:v>0.53076511503477797</c:v>
                </c:pt>
                <c:pt idx="29761">
                  <c:v>0.53078294988407304</c:v>
                </c:pt>
                <c:pt idx="29762">
                  <c:v>0.530800784733369</c:v>
                </c:pt>
                <c:pt idx="29763">
                  <c:v>0.53081861958266396</c:v>
                </c:pt>
                <c:pt idx="29764">
                  <c:v>0.53083645443196004</c:v>
                </c:pt>
                <c:pt idx="29765">
                  <c:v>0.530854289281255</c:v>
                </c:pt>
                <c:pt idx="29766">
                  <c:v>0.53087212413055096</c:v>
                </c:pt>
                <c:pt idx="29767">
                  <c:v>0.53088995897984603</c:v>
                </c:pt>
                <c:pt idx="29768">
                  <c:v>0.53090779382914199</c:v>
                </c:pt>
                <c:pt idx="29769">
                  <c:v>0.53092562867843696</c:v>
                </c:pt>
                <c:pt idx="29770">
                  <c:v>0.53094346352773303</c:v>
                </c:pt>
                <c:pt idx="29771">
                  <c:v>0.53096129837702799</c:v>
                </c:pt>
                <c:pt idx="29772">
                  <c:v>0.53097913322632395</c:v>
                </c:pt>
                <c:pt idx="29773">
                  <c:v>0.53099696807561902</c:v>
                </c:pt>
                <c:pt idx="29774">
                  <c:v>0.53101480292491499</c:v>
                </c:pt>
                <c:pt idx="29775">
                  <c:v>0.53103263777420995</c:v>
                </c:pt>
                <c:pt idx="29776">
                  <c:v>0.53105047262350602</c:v>
                </c:pt>
                <c:pt idx="29777">
                  <c:v>0.53106830747280098</c:v>
                </c:pt>
                <c:pt idx="29778">
                  <c:v>0.53108614232209705</c:v>
                </c:pt>
                <c:pt idx="29779">
                  <c:v>0.53110397717139202</c:v>
                </c:pt>
                <c:pt idx="29780">
                  <c:v>0.53112181202068798</c:v>
                </c:pt>
                <c:pt idx="29781">
                  <c:v>0.53113964686998305</c:v>
                </c:pt>
                <c:pt idx="29782">
                  <c:v>0.53115748171927901</c:v>
                </c:pt>
                <c:pt idx="29783">
                  <c:v>0.53117531656857497</c:v>
                </c:pt>
                <c:pt idx="29784">
                  <c:v>0.53119315141787005</c:v>
                </c:pt>
                <c:pt idx="29785">
                  <c:v>0.53121098626716601</c:v>
                </c:pt>
                <c:pt idx="29786">
                  <c:v>0.53122882111646097</c:v>
                </c:pt>
                <c:pt idx="29787">
                  <c:v>0.53124665596575704</c:v>
                </c:pt>
                <c:pt idx="29788">
                  <c:v>0.531264490815052</c:v>
                </c:pt>
                <c:pt idx="29789">
                  <c:v>0.53128232566434797</c:v>
                </c:pt>
                <c:pt idx="29790">
                  <c:v>0.53130016051364304</c:v>
                </c:pt>
                <c:pt idx="29791">
                  <c:v>0.531317995362939</c:v>
                </c:pt>
                <c:pt idx="29792">
                  <c:v>0.53133583021223396</c:v>
                </c:pt>
                <c:pt idx="29793">
                  <c:v>0.53135366506153003</c:v>
                </c:pt>
                <c:pt idx="29794">
                  <c:v>0.531371499910825</c:v>
                </c:pt>
                <c:pt idx="29795">
                  <c:v>0.53138933476012096</c:v>
                </c:pt>
                <c:pt idx="29796">
                  <c:v>0.53140716960941603</c:v>
                </c:pt>
                <c:pt idx="29797">
                  <c:v>0.53142500445871199</c:v>
                </c:pt>
                <c:pt idx="29798">
                  <c:v>0.53144283930800695</c:v>
                </c:pt>
                <c:pt idx="29799">
                  <c:v>0.53146067415730303</c:v>
                </c:pt>
                <c:pt idx="29800">
                  <c:v>0.53147850900659799</c:v>
                </c:pt>
                <c:pt idx="29801">
                  <c:v>0.53149634385589395</c:v>
                </c:pt>
                <c:pt idx="29802">
                  <c:v>0.53151417870518902</c:v>
                </c:pt>
                <c:pt idx="29803">
                  <c:v>0.53153201355448498</c:v>
                </c:pt>
                <c:pt idx="29804">
                  <c:v>0.53154984840378094</c:v>
                </c:pt>
                <c:pt idx="29805">
                  <c:v>0.53156768325307602</c:v>
                </c:pt>
                <c:pt idx="29806">
                  <c:v>0.53158551810237198</c:v>
                </c:pt>
                <c:pt idx="29807">
                  <c:v>0.53160335295166705</c:v>
                </c:pt>
                <c:pt idx="29808">
                  <c:v>0.53162118780096301</c:v>
                </c:pt>
                <c:pt idx="29809">
                  <c:v>0.53163902265025798</c:v>
                </c:pt>
                <c:pt idx="29810">
                  <c:v>0.53165685749955405</c:v>
                </c:pt>
                <c:pt idx="29811">
                  <c:v>0.53167469234884901</c:v>
                </c:pt>
                <c:pt idx="29812">
                  <c:v>0.53169252719814497</c:v>
                </c:pt>
                <c:pt idx="29813">
                  <c:v>0.53171036204744004</c:v>
                </c:pt>
                <c:pt idx="29814">
                  <c:v>0.53172819689673601</c:v>
                </c:pt>
                <c:pt idx="29815">
                  <c:v>0.53174603174603097</c:v>
                </c:pt>
                <c:pt idx="29816">
                  <c:v>0.53176386659532704</c:v>
                </c:pt>
                <c:pt idx="29817">
                  <c:v>0.531781701444622</c:v>
                </c:pt>
                <c:pt idx="29818">
                  <c:v>0.53179953629391796</c:v>
                </c:pt>
                <c:pt idx="29819">
                  <c:v>0.53181737114321304</c:v>
                </c:pt>
                <c:pt idx="29820">
                  <c:v>0.531835205992509</c:v>
                </c:pt>
                <c:pt idx="29821">
                  <c:v>0.53185304084180396</c:v>
                </c:pt>
                <c:pt idx="29822">
                  <c:v>0.53187087569110003</c:v>
                </c:pt>
                <c:pt idx="29823">
                  <c:v>0.53188871054039499</c:v>
                </c:pt>
                <c:pt idx="29824">
                  <c:v>0.53190654538969095</c:v>
                </c:pt>
                <c:pt idx="29825">
                  <c:v>0.53192438023898703</c:v>
                </c:pt>
                <c:pt idx="29826">
                  <c:v>0.53194221508828199</c:v>
                </c:pt>
                <c:pt idx="29827">
                  <c:v>0.53196004993757795</c:v>
                </c:pt>
                <c:pt idx="29828">
                  <c:v>0.53197788478687302</c:v>
                </c:pt>
                <c:pt idx="29829">
                  <c:v>0.53199571963616898</c:v>
                </c:pt>
                <c:pt idx="29830">
                  <c:v>0.53201355448546395</c:v>
                </c:pt>
                <c:pt idx="29831">
                  <c:v>0.53203138933476002</c:v>
                </c:pt>
                <c:pt idx="29832">
                  <c:v>0.53204922418405498</c:v>
                </c:pt>
                <c:pt idx="29833">
                  <c:v>0.53206705903335105</c:v>
                </c:pt>
                <c:pt idx="29834">
                  <c:v>0.53208489388264602</c:v>
                </c:pt>
                <c:pt idx="29835">
                  <c:v>0.53210272873194198</c:v>
                </c:pt>
                <c:pt idx="29836">
                  <c:v>0.53212056358123705</c:v>
                </c:pt>
                <c:pt idx="29837">
                  <c:v>0.53213839843053301</c:v>
                </c:pt>
                <c:pt idx="29838">
                  <c:v>0.53215623327982797</c:v>
                </c:pt>
                <c:pt idx="29839">
                  <c:v>0.53217406812912404</c:v>
                </c:pt>
                <c:pt idx="29840">
                  <c:v>0.53219190297841901</c:v>
                </c:pt>
                <c:pt idx="29841">
                  <c:v>0.53220973782771497</c:v>
                </c:pt>
                <c:pt idx="29842">
                  <c:v>0.53222757267701004</c:v>
                </c:pt>
                <c:pt idx="29843">
                  <c:v>0.532245407526306</c:v>
                </c:pt>
                <c:pt idx="29844">
                  <c:v>0.53226324237560196</c:v>
                </c:pt>
                <c:pt idx="29845">
                  <c:v>0.53228107722489704</c:v>
                </c:pt>
                <c:pt idx="29846">
                  <c:v>0.532298912074193</c:v>
                </c:pt>
                <c:pt idx="29847">
                  <c:v>0.53231674692348796</c:v>
                </c:pt>
                <c:pt idx="29848">
                  <c:v>0.53233458177278403</c:v>
                </c:pt>
                <c:pt idx="29849">
                  <c:v>0.53235241662207899</c:v>
                </c:pt>
                <c:pt idx="29850">
                  <c:v>0.53237025147137496</c:v>
                </c:pt>
                <c:pt idx="29851">
                  <c:v>0.53238808632067003</c:v>
                </c:pt>
                <c:pt idx="29852">
                  <c:v>0.53240592116996599</c:v>
                </c:pt>
                <c:pt idx="29853">
                  <c:v>0.53242375601926095</c:v>
                </c:pt>
                <c:pt idx="29854">
                  <c:v>0.53244159086855702</c:v>
                </c:pt>
                <c:pt idx="29855">
                  <c:v>0.53245942571785199</c:v>
                </c:pt>
                <c:pt idx="29856">
                  <c:v>0.53247726056714795</c:v>
                </c:pt>
                <c:pt idx="29857">
                  <c:v>0.53249509541644302</c:v>
                </c:pt>
                <c:pt idx="29858">
                  <c:v>0.53251293026573898</c:v>
                </c:pt>
                <c:pt idx="29859">
                  <c:v>0.53253076511503405</c:v>
                </c:pt>
                <c:pt idx="29860">
                  <c:v>0.53254859996433002</c:v>
                </c:pt>
                <c:pt idx="29861">
                  <c:v>0.53256643481362498</c:v>
                </c:pt>
                <c:pt idx="29862">
                  <c:v>0.53258426966292105</c:v>
                </c:pt>
                <c:pt idx="29863">
                  <c:v>0.53260210451221601</c:v>
                </c:pt>
                <c:pt idx="29864">
                  <c:v>0.53261993936151197</c:v>
                </c:pt>
                <c:pt idx="29865">
                  <c:v>0.53263777421080705</c:v>
                </c:pt>
                <c:pt idx="29866">
                  <c:v>0.53265560906010301</c:v>
                </c:pt>
                <c:pt idx="29867">
                  <c:v>0.53267344390939897</c:v>
                </c:pt>
                <c:pt idx="29868">
                  <c:v>0.53269127875869404</c:v>
                </c:pt>
                <c:pt idx="29869">
                  <c:v>0.53270911360799</c:v>
                </c:pt>
                <c:pt idx="29870">
                  <c:v>0.53272694845728497</c:v>
                </c:pt>
                <c:pt idx="29871">
                  <c:v>0.53274478330658104</c:v>
                </c:pt>
                <c:pt idx="29872">
                  <c:v>0.532762618155876</c:v>
                </c:pt>
                <c:pt idx="29873">
                  <c:v>0.53278045300517196</c:v>
                </c:pt>
                <c:pt idx="29874">
                  <c:v>0.53279828785446703</c:v>
                </c:pt>
                <c:pt idx="29875">
                  <c:v>0.532816122703763</c:v>
                </c:pt>
                <c:pt idx="29876">
                  <c:v>0.53283395755305796</c:v>
                </c:pt>
                <c:pt idx="29877">
                  <c:v>0.53285179240235403</c:v>
                </c:pt>
                <c:pt idx="29878">
                  <c:v>0.53286962725164899</c:v>
                </c:pt>
                <c:pt idx="29879">
                  <c:v>0.53288746210094495</c:v>
                </c:pt>
                <c:pt idx="29880">
                  <c:v>0.53290529695024003</c:v>
                </c:pt>
                <c:pt idx="29881">
                  <c:v>0.53292313179953599</c:v>
                </c:pt>
                <c:pt idx="29882">
                  <c:v>0.53294096664883095</c:v>
                </c:pt>
                <c:pt idx="29883">
                  <c:v>0.53295880149812702</c:v>
                </c:pt>
                <c:pt idx="29884">
                  <c:v>0.53297663634742198</c:v>
                </c:pt>
                <c:pt idx="29885">
                  <c:v>0.53299447119671794</c:v>
                </c:pt>
                <c:pt idx="29886">
                  <c:v>0.53301230604601302</c:v>
                </c:pt>
                <c:pt idx="29887">
                  <c:v>0.53303014089530898</c:v>
                </c:pt>
                <c:pt idx="29888">
                  <c:v>0.53304797574460405</c:v>
                </c:pt>
                <c:pt idx="29889">
                  <c:v>0.53306581059390001</c:v>
                </c:pt>
                <c:pt idx="29890">
                  <c:v>0.53308364544319597</c:v>
                </c:pt>
                <c:pt idx="29891">
                  <c:v>0.53310148029249105</c:v>
                </c:pt>
                <c:pt idx="29892">
                  <c:v>0.53311931514178701</c:v>
                </c:pt>
                <c:pt idx="29893">
                  <c:v>0.53313714999108197</c:v>
                </c:pt>
                <c:pt idx="29894">
                  <c:v>0.53315498484037804</c:v>
                </c:pt>
                <c:pt idx="29895">
                  <c:v>0.53317281968967301</c:v>
                </c:pt>
                <c:pt idx="29896">
                  <c:v>0.53319065453896897</c:v>
                </c:pt>
                <c:pt idx="29897">
                  <c:v>0.53320848938826404</c:v>
                </c:pt>
                <c:pt idx="29898">
                  <c:v>0.53322632423756</c:v>
                </c:pt>
                <c:pt idx="29899">
                  <c:v>0.53324415908685496</c:v>
                </c:pt>
                <c:pt idx="29900">
                  <c:v>0.53326199393615104</c:v>
                </c:pt>
                <c:pt idx="29901">
                  <c:v>0.533279828785446</c:v>
                </c:pt>
                <c:pt idx="29902">
                  <c:v>0.53329766363474196</c:v>
                </c:pt>
                <c:pt idx="29903">
                  <c:v>0.53331549848403703</c:v>
                </c:pt>
                <c:pt idx="29904">
                  <c:v>0.53333333333333299</c:v>
                </c:pt>
                <c:pt idx="29905">
                  <c:v>0.53335116818262795</c:v>
                </c:pt>
                <c:pt idx="29906">
                  <c:v>0.53336900303192403</c:v>
                </c:pt>
                <c:pt idx="29907">
                  <c:v>0.53338683788121899</c:v>
                </c:pt>
                <c:pt idx="29908">
                  <c:v>0.53340467273051495</c:v>
                </c:pt>
                <c:pt idx="29909">
                  <c:v>0.53342250757981002</c:v>
                </c:pt>
                <c:pt idx="29910">
                  <c:v>0.53344034242910598</c:v>
                </c:pt>
                <c:pt idx="29911">
                  <c:v>0.53345817727840195</c:v>
                </c:pt>
                <c:pt idx="29912">
                  <c:v>0.53347601212769702</c:v>
                </c:pt>
                <c:pt idx="29913">
                  <c:v>0.53349384697699298</c:v>
                </c:pt>
                <c:pt idx="29914">
                  <c:v>0.53351168182628805</c:v>
                </c:pt>
                <c:pt idx="29915">
                  <c:v>0.53352951667558401</c:v>
                </c:pt>
                <c:pt idx="29916">
                  <c:v>0.53354735152487898</c:v>
                </c:pt>
                <c:pt idx="29917">
                  <c:v>0.53356518637417505</c:v>
                </c:pt>
                <c:pt idx="29918">
                  <c:v>0.53358302122347001</c:v>
                </c:pt>
                <c:pt idx="29919">
                  <c:v>0.53360085607276597</c:v>
                </c:pt>
                <c:pt idx="29920">
                  <c:v>0.53361869092206105</c:v>
                </c:pt>
                <c:pt idx="29921">
                  <c:v>0.53363652577135701</c:v>
                </c:pt>
                <c:pt idx="29922">
                  <c:v>0.53365436062065197</c:v>
                </c:pt>
                <c:pt idx="29923">
                  <c:v>0.53367219546994804</c:v>
                </c:pt>
                <c:pt idx="29924">
                  <c:v>0.533690030319243</c:v>
                </c:pt>
                <c:pt idx="29925">
                  <c:v>0.53370786516853896</c:v>
                </c:pt>
                <c:pt idx="29926">
                  <c:v>0.53372570001783404</c:v>
                </c:pt>
                <c:pt idx="29927">
                  <c:v>0.53374353486713</c:v>
                </c:pt>
                <c:pt idx="29928">
                  <c:v>0.53376136971642496</c:v>
                </c:pt>
                <c:pt idx="29929">
                  <c:v>0.53377920456572103</c:v>
                </c:pt>
                <c:pt idx="29930">
                  <c:v>0.53379703941501699</c:v>
                </c:pt>
                <c:pt idx="29931">
                  <c:v>0.53381487426431196</c:v>
                </c:pt>
                <c:pt idx="29932">
                  <c:v>0.53383270911360803</c:v>
                </c:pt>
                <c:pt idx="29933">
                  <c:v>0.53385054396290299</c:v>
                </c:pt>
                <c:pt idx="29934">
                  <c:v>0.53386837881219895</c:v>
                </c:pt>
                <c:pt idx="29935">
                  <c:v>0.53388621366149402</c:v>
                </c:pt>
                <c:pt idx="29936">
                  <c:v>0.53390404851078999</c:v>
                </c:pt>
                <c:pt idx="29937">
                  <c:v>0.53392188336008495</c:v>
                </c:pt>
                <c:pt idx="29938">
                  <c:v>0.53393971820938102</c:v>
                </c:pt>
                <c:pt idx="29939">
                  <c:v>0.53395755305867598</c:v>
                </c:pt>
                <c:pt idx="29940">
                  <c:v>0.53397538790797205</c:v>
                </c:pt>
                <c:pt idx="29941">
                  <c:v>0.53399322275726702</c:v>
                </c:pt>
                <c:pt idx="29942">
                  <c:v>0.53401105760656298</c:v>
                </c:pt>
                <c:pt idx="29943">
                  <c:v>0.53402889245585805</c:v>
                </c:pt>
                <c:pt idx="29944">
                  <c:v>0.53404672730515401</c:v>
                </c:pt>
                <c:pt idx="29945">
                  <c:v>0.53406456215444897</c:v>
                </c:pt>
                <c:pt idx="29946">
                  <c:v>0.53408239700374505</c:v>
                </c:pt>
                <c:pt idx="29947">
                  <c:v>0.53410023185304001</c:v>
                </c:pt>
                <c:pt idx="29948">
                  <c:v>0.53411806670233597</c:v>
                </c:pt>
                <c:pt idx="29949">
                  <c:v>0.53413590155163104</c:v>
                </c:pt>
                <c:pt idx="29950">
                  <c:v>0.534153736400927</c:v>
                </c:pt>
                <c:pt idx="29951">
                  <c:v>0.53417157125022297</c:v>
                </c:pt>
                <c:pt idx="29952">
                  <c:v>0.53418940609951804</c:v>
                </c:pt>
                <c:pt idx="29953">
                  <c:v>0.534207240948814</c:v>
                </c:pt>
                <c:pt idx="29954">
                  <c:v>0.53422507579810896</c:v>
                </c:pt>
                <c:pt idx="29955">
                  <c:v>0.53424291064740503</c:v>
                </c:pt>
                <c:pt idx="29956">
                  <c:v>0.5342607454967</c:v>
                </c:pt>
                <c:pt idx="29957">
                  <c:v>0.53427858034599596</c:v>
                </c:pt>
                <c:pt idx="29958">
                  <c:v>0.53429641519529103</c:v>
                </c:pt>
                <c:pt idx="29959">
                  <c:v>0.53431425004458699</c:v>
                </c:pt>
                <c:pt idx="29960">
                  <c:v>0.53433208489388195</c:v>
                </c:pt>
                <c:pt idx="29961">
                  <c:v>0.53434991974317803</c:v>
                </c:pt>
                <c:pt idx="29962">
                  <c:v>0.53436775459247299</c:v>
                </c:pt>
                <c:pt idx="29963">
                  <c:v>0.53438558944176895</c:v>
                </c:pt>
                <c:pt idx="29964">
                  <c:v>0.53440342429106402</c:v>
                </c:pt>
                <c:pt idx="29965">
                  <c:v>0.53442125914035998</c:v>
                </c:pt>
                <c:pt idx="29966">
                  <c:v>0.53443909398965495</c:v>
                </c:pt>
                <c:pt idx="29967">
                  <c:v>0.53445692883895102</c:v>
                </c:pt>
                <c:pt idx="29968">
                  <c:v>0.53447476368824598</c:v>
                </c:pt>
                <c:pt idx="29969">
                  <c:v>0.53449259853754205</c:v>
                </c:pt>
                <c:pt idx="29970">
                  <c:v>0.53451043338683701</c:v>
                </c:pt>
                <c:pt idx="29971">
                  <c:v>0.53452826823613298</c:v>
                </c:pt>
                <c:pt idx="29972">
                  <c:v>0.53454610308542805</c:v>
                </c:pt>
                <c:pt idx="29973">
                  <c:v>0.53456393793472401</c:v>
                </c:pt>
                <c:pt idx="29974">
                  <c:v>0.53458177278401997</c:v>
                </c:pt>
                <c:pt idx="29975">
                  <c:v>0.53459960763331504</c:v>
                </c:pt>
                <c:pt idx="29976">
                  <c:v>0.534617442482611</c:v>
                </c:pt>
                <c:pt idx="29977">
                  <c:v>0.53463527733190597</c:v>
                </c:pt>
                <c:pt idx="29978">
                  <c:v>0.53465311218120204</c:v>
                </c:pt>
                <c:pt idx="29979">
                  <c:v>0.534670947030497</c:v>
                </c:pt>
                <c:pt idx="29980">
                  <c:v>0.53468878187979296</c:v>
                </c:pt>
                <c:pt idx="29981">
                  <c:v>0.53470661672908804</c:v>
                </c:pt>
                <c:pt idx="29982">
                  <c:v>0.534724451578384</c:v>
                </c:pt>
                <c:pt idx="29983">
                  <c:v>0.53474228642767896</c:v>
                </c:pt>
                <c:pt idx="29984">
                  <c:v>0.53476012127697503</c:v>
                </c:pt>
                <c:pt idx="29985">
                  <c:v>0.53477795612626999</c:v>
                </c:pt>
                <c:pt idx="29986">
                  <c:v>0.53479579097556595</c:v>
                </c:pt>
                <c:pt idx="29987">
                  <c:v>0.53481362582486103</c:v>
                </c:pt>
                <c:pt idx="29988">
                  <c:v>0.53483146067415699</c:v>
                </c:pt>
                <c:pt idx="29989">
                  <c:v>0.53484929552345195</c:v>
                </c:pt>
                <c:pt idx="29990">
                  <c:v>0.53486713037274802</c:v>
                </c:pt>
                <c:pt idx="29991">
                  <c:v>0.53488496522204299</c:v>
                </c:pt>
                <c:pt idx="29992">
                  <c:v>0.53490280007133895</c:v>
                </c:pt>
                <c:pt idx="29993">
                  <c:v>0.53492063492063402</c:v>
                </c:pt>
                <c:pt idx="29994">
                  <c:v>0.53493846976992998</c:v>
                </c:pt>
                <c:pt idx="29995">
                  <c:v>0.53495630461922505</c:v>
                </c:pt>
                <c:pt idx="29996">
                  <c:v>0.53497413946852101</c:v>
                </c:pt>
                <c:pt idx="29997">
                  <c:v>0.53499197431781698</c:v>
                </c:pt>
                <c:pt idx="29998">
                  <c:v>0.53500980916711205</c:v>
                </c:pt>
                <c:pt idx="29999">
                  <c:v>0.53502764401640801</c:v>
                </c:pt>
                <c:pt idx="30000">
                  <c:v>0.53504547886570297</c:v>
                </c:pt>
                <c:pt idx="30001">
                  <c:v>0.53506331371499904</c:v>
                </c:pt>
                <c:pt idx="30002">
                  <c:v>0.53508114856429401</c:v>
                </c:pt>
                <c:pt idx="30003">
                  <c:v>0.53509898341358997</c:v>
                </c:pt>
                <c:pt idx="30004">
                  <c:v>0.53511681826288504</c:v>
                </c:pt>
                <c:pt idx="30005">
                  <c:v>0.535134653112181</c:v>
                </c:pt>
                <c:pt idx="30006">
                  <c:v>0.53515248796147596</c:v>
                </c:pt>
                <c:pt idx="30007">
                  <c:v>0.53517032281077204</c:v>
                </c:pt>
                <c:pt idx="30008">
                  <c:v>0.535188157660067</c:v>
                </c:pt>
                <c:pt idx="30009">
                  <c:v>0.53520599250936296</c:v>
                </c:pt>
                <c:pt idx="30010">
                  <c:v>0.53522382735865803</c:v>
                </c:pt>
                <c:pt idx="30011">
                  <c:v>0.53524166220795399</c:v>
                </c:pt>
                <c:pt idx="30012">
                  <c:v>0.53525949705724896</c:v>
                </c:pt>
                <c:pt idx="30013">
                  <c:v>0.53527733190654503</c:v>
                </c:pt>
                <c:pt idx="30014">
                  <c:v>0.53529516675583999</c:v>
                </c:pt>
                <c:pt idx="30015">
                  <c:v>0.53531300160513595</c:v>
                </c:pt>
                <c:pt idx="30016">
                  <c:v>0.53533083645443102</c:v>
                </c:pt>
                <c:pt idx="30017">
                  <c:v>0.53534867130372699</c:v>
                </c:pt>
                <c:pt idx="30018">
                  <c:v>0.53536650615302295</c:v>
                </c:pt>
                <c:pt idx="30019">
                  <c:v>0.53538434100231802</c:v>
                </c:pt>
                <c:pt idx="30020">
                  <c:v>0.53540217585161398</c:v>
                </c:pt>
                <c:pt idx="30021">
                  <c:v>0.53542001070090905</c:v>
                </c:pt>
                <c:pt idx="30022">
                  <c:v>0.53543784555020502</c:v>
                </c:pt>
                <c:pt idx="30023">
                  <c:v>0.53545568039949998</c:v>
                </c:pt>
                <c:pt idx="30024">
                  <c:v>0.53547351524879605</c:v>
                </c:pt>
                <c:pt idx="30025">
                  <c:v>0.53549135009809101</c:v>
                </c:pt>
                <c:pt idx="30026">
                  <c:v>0.53550918494738697</c:v>
                </c:pt>
                <c:pt idx="30027">
                  <c:v>0.53552701979668205</c:v>
                </c:pt>
                <c:pt idx="30028">
                  <c:v>0.53554485464597801</c:v>
                </c:pt>
                <c:pt idx="30029">
                  <c:v>0.53556268949527297</c:v>
                </c:pt>
                <c:pt idx="30030">
                  <c:v>0.53558052434456904</c:v>
                </c:pt>
                <c:pt idx="30031">
                  <c:v>0.535598359193864</c:v>
                </c:pt>
                <c:pt idx="30032">
                  <c:v>0.53561619404315997</c:v>
                </c:pt>
                <c:pt idx="30033">
                  <c:v>0.53563402889245504</c:v>
                </c:pt>
                <c:pt idx="30034">
                  <c:v>0.535651863741751</c:v>
                </c:pt>
                <c:pt idx="30035">
                  <c:v>0.53566969859104696</c:v>
                </c:pt>
                <c:pt idx="30036">
                  <c:v>0.53568753344034203</c:v>
                </c:pt>
                <c:pt idx="30037">
                  <c:v>0.535705368289638</c:v>
                </c:pt>
                <c:pt idx="30038">
                  <c:v>0.53572320313893296</c:v>
                </c:pt>
                <c:pt idx="30039">
                  <c:v>0.53574103798822903</c:v>
                </c:pt>
                <c:pt idx="30040">
                  <c:v>0.53575887283752399</c:v>
                </c:pt>
                <c:pt idx="30041">
                  <c:v>0.53577670768681995</c:v>
                </c:pt>
                <c:pt idx="30042">
                  <c:v>0.53579454253611503</c:v>
                </c:pt>
                <c:pt idx="30043">
                  <c:v>0.53581237738541099</c:v>
                </c:pt>
                <c:pt idx="30044">
                  <c:v>0.53583021223470595</c:v>
                </c:pt>
                <c:pt idx="30045">
                  <c:v>0.53584804708400202</c:v>
                </c:pt>
                <c:pt idx="30046">
                  <c:v>0.53586588193329698</c:v>
                </c:pt>
                <c:pt idx="30047">
                  <c:v>0.53588371678259294</c:v>
                </c:pt>
                <c:pt idx="30048">
                  <c:v>0.53590155163188802</c:v>
                </c:pt>
                <c:pt idx="30049">
                  <c:v>0.53591938648118398</c:v>
                </c:pt>
                <c:pt idx="30050">
                  <c:v>0.53593722133047905</c:v>
                </c:pt>
                <c:pt idx="30051">
                  <c:v>0.53595505617977501</c:v>
                </c:pt>
                <c:pt idx="30052">
                  <c:v>0.53597289102906998</c:v>
                </c:pt>
                <c:pt idx="30053">
                  <c:v>0.53599072587836605</c:v>
                </c:pt>
                <c:pt idx="30054">
                  <c:v>0.53600856072766101</c:v>
                </c:pt>
                <c:pt idx="30055">
                  <c:v>0.53602639557695697</c:v>
                </c:pt>
                <c:pt idx="30056">
                  <c:v>0.53604423042625204</c:v>
                </c:pt>
                <c:pt idx="30057">
                  <c:v>0.53606206527554801</c:v>
                </c:pt>
                <c:pt idx="30058">
                  <c:v>0.53607990012484397</c:v>
                </c:pt>
                <c:pt idx="30059">
                  <c:v>0.53609773497413904</c:v>
                </c:pt>
                <c:pt idx="30060">
                  <c:v>0.536115569823435</c:v>
                </c:pt>
                <c:pt idx="30061">
                  <c:v>0.53613340467272996</c:v>
                </c:pt>
                <c:pt idx="30062">
                  <c:v>0.53615123952202604</c:v>
                </c:pt>
                <c:pt idx="30063">
                  <c:v>0.536169074371321</c:v>
                </c:pt>
                <c:pt idx="30064">
                  <c:v>0.53618690922061696</c:v>
                </c:pt>
                <c:pt idx="30065">
                  <c:v>0.53620474406991203</c:v>
                </c:pt>
                <c:pt idx="30066">
                  <c:v>0.53622257891920799</c:v>
                </c:pt>
                <c:pt idx="30067">
                  <c:v>0.53624041376850295</c:v>
                </c:pt>
                <c:pt idx="30068">
                  <c:v>0.53625824861779903</c:v>
                </c:pt>
                <c:pt idx="30069">
                  <c:v>0.53627608346709399</c:v>
                </c:pt>
                <c:pt idx="30070">
                  <c:v>0.53629391831638995</c:v>
                </c:pt>
                <c:pt idx="30071">
                  <c:v>0.53631175316568502</c:v>
                </c:pt>
                <c:pt idx="30072">
                  <c:v>0.53632958801498098</c:v>
                </c:pt>
                <c:pt idx="30073">
                  <c:v>0.53634742286427595</c:v>
                </c:pt>
                <c:pt idx="30074">
                  <c:v>0.53636525771357202</c:v>
                </c:pt>
                <c:pt idx="30075">
                  <c:v>0.53638309256286698</c:v>
                </c:pt>
                <c:pt idx="30076">
                  <c:v>0.53640092741216305</c:v>
                </c:pt>
                <c:pt idx="30077">
                  <c:v>0.53641876226145802</c:v>
                </c:pt>
                <c:pt idx="30078">
                  <c:v>0.53643659711075398</c:v>
                </c:pt>
                <c:pt idx="30079">
                  <c:v>0.53645443196004905</c:v>
                </c:pt>
                <c:pt idx="30080">
                  <c:v>0.53647226680934501</c:v>
                </c:pt>
                <c:pt idx="30081">
                  <c:v>0.53649010165864097</c:v>
                </c:pt>
                <c:pt idx="30082">
                  <c:v>0.53650793650793605</c:v>
                </c:pt>
                <c:pt idx="30083">
                  <c:v>0.53652577135723201</c:v>
                </c:pt>
                <c:pt idx="30084">
                  <c:v>0.53654360620652697</c:v>
                </c:pt>
                <c:pt idx="30085">
                  <c:v>0.53656144105582304</c:v>
                </c:pt>
                <c:pt idx="30086">
                  <c:v>0.536579275905118</c:v>
                </c:pt>
                <c:pt idx="30087">
                  <c:v>0.53659711075441396</c:v>
                </c:pt>
                <c:pt idx="30088">
                  <c:v>0.53661494560370904</c:v>
                </c:pt>
                <c:pt idx="30089">
                  <c:v>0.536632780453005</c:v>
                </c:pt>
                <c:pt idx="30090">
                  <c:v>0.53665061530229996</c:v>
                </c:pt>
                <c:pt idx="30091">
                  <c:v>0.53666845015159603</c:v>
                </c:pt>
                <c:pt idx="30092">
                  <c:v>0.53668628500089099</c:v>
                </c:pt>
                <c:pt idx="30093">
                  <c:v>0.53670411985018696</c:v>
                </c:pt>
                <c:pt idx="30094">
                  <c:v>0.53672195469948203</c:v>
                </c:pt>
                <c:pt idx="30095">
                  <c:v>0.53673978954877799</c:v>
                </c:pt>
                <c:pt idx="30096">
                  <c:v>0.53675762439807295</c:v>
                </c:pt>
                <c:pt idx="30097">
                  <c:v>0.53677545924736902</c:v>
                </c:pt>
                <c:pt idx="30098">
                  <c:v>0.53679329409666399</c:v>
                </c:pt>
                <c:pt idx="30099">
                  <c:v>0.53681112894595995</c:v>
                </c:pt>
                <c:pt idx="30100">
                  <c:v>0.53682896379525502</c:v>
                </c:pt>
                <c:pt idx="30101">
                  <c:v>0.53684679864455098</c:v>
                </c:pt>
                <c:pt idx="30102">
                  <c:v>0.53686463349384606</c:v>
                </c:pt>
                <c:pt idx="30103">
                  <c:v>0.53688246834314202</c:v>
                </c:pt>
                <c:pt idx="30104">
                  <c:v>0.53690030319243798</c:v>
                </c:pt>
                <c:pt idx="30105">
                  <c:v>0.53691813804173305</c:v>
                </c:pt>
                <c:pt idx="30106">
                  <c:v>0.53693597289102901</c:v>
                </c:pt>
                <c:pt idx="30107">
                  <c:v>0.53695380774032397</c:v>
                </c:pt>
                <c:pt idx="30108">
                  <c:v>0.53697164258962005</c:v>
                </c:pt>
                <c:pt idx="30109">
                  <c:v>0.53698947743891501</c:v>
                </c:pt>
                <c:pt idx="30110">
                  <c:v>0.53700731228821097</c:v>
                </c:pt>
                <c:pt idx="30111">
                  <c:v>0.53702514713750604</c:v>
                </c:pt>
                <c:pt idx="30112">
                  <c:v>0.537042981986802</c:v>
                </c:pt>
                <c:pt idx="30113">
                  <c:v>0.53706081683609697</c:v>
                </c:pt>
                <c:pt idx="30114">
                  <c:v>0.53707865168539304</c:v>
                </c:pt>
                <c:pt idx="30115">
                  <c:v>0.537096486534688</c:v>
                </c:pt>
                <c:pt idx="30116">
                  <c:v>0.53711432138398396</c:v>
                </c:pt>
                <c:pt idx="30117">
                  <c:v>0.53713215623327903</c:v>
                </c:pt>
                <c:pt idx="30118">
                  <c:v>0.537149991082575</c:v>
                </c:pt>
                <c:pt idx="30119">
                  <c:v>0.53716782593186996</c:v>
                </c:pt>
                <c:pt idx="30120">
                  <c:v>0.53718566078116603</c:v>
                </c:pt>
                <c:pt idx="30121">
                  <c:v>0.53720349563046099</c:v>
                </c:pt>
                <c:pt idx="30122">
                  <c:v>0.53722133047975695</c:v>
                </c:pt>
                <c:pt idx="30123">
                  <c:v>0.53723916532905203</c:v>
                </c:pt>
                <c:pt idx="30124">
                  <c:v>0.53725700017834799</c:v>
                </c:pt>
                <c:pt idx="30125">
                  <c:v>0.53727483502764395</c:v>
                </c:pt>
                <c:pt idx="30126">
                  <c:v>0.53729266987693902</c:v>
                </c:pt>
                <c:pt idx="30127">
                  <c:v>0.53731050472623498</c:v>
                </c:pt>
                <c:pt idx="30128">
                  <c:v>0.53732833957552995</c:v>
                </c:pt>
                <c:pt idx="30129">
                  <c:v>0.53734617442482602</c:v>
                </c:pt>
                <c:pt idx="30130">
                  <c:v>0.53736400927412098</c:v>
                </c:pt>
                <c:pt idx="30131">
                  <c:v>0.53738184412341705</c:v>
                </c:pt>
                <c:pt idx="30132">
                  <c:v>0.53739967897271201</c:v>
                </c:pt>
                <c:pt idx="30133">
                  <c:v>0.53741751382200798</c:v>
                </c:pt>
                <c:pt idx="30134">
                  <c:v>0.53743534867130305</c:v>
                </c:pt>
                <c:pt idx="30135">
                  <c:v>0.53745318352059901</c:v>
                </c:pt>
                <c:pt idx="30136">
                  <c:v>0.53747101836989397</c:v>
                </c:pt>
                <c:pt idx="30137">
                  <c:v>0.53748885321919004</c:v>
                </c:pt>
                <c:pt idx="30138">
                  <c:v>0.53750668806848501</c:v>
                </c:pt>
                <c:pt idx="30139">
                  <c:v>0.53752452291778097</c:v>
                </c:pt>
                <c:pt idx="30140">
                  <c:v>0.53754235776707604</c:v>
                </c:pt>
                <c:pt idx="30141">
                  <c:v>0.537560192616372</c:v>
                </c:pt>
                <c:pt idx="30142">
                  <c:v>0.53757802746566796</c:v>
                </c:pt>
                <c:pt idx="30143">
                  <c:v>0.53759586231496304</c:v>
                </c:pt>
                <c:pt idx="30144">
                  <c:v>0.537613697164259</c:v>
                </c:pt>
                <c:pt idx="30145">
                  <c:v>0.53763153201355396</c:v>
                </c:pt>
                <c:pt idx="30146">
                  <c:v>0.53764936686285003</c:v>
                </c:pt>
                <c:pt idx="30147">
                  <c:v>0.53766720171214499</c:v>
                </c:pt>
                <c:pt idx="30148">
                  <c:v>0.53768503656144095</c:v>
                </c:pt>
                <c:pt idx="30149">
                  <c:v>0.53770287141073603</c:v>
                </c:pt>
                <c:pt idx="30150">
                  <c:v>0.53772070626003199</c:v>
                </c:pt>
                <c:pt idx="30151">
                  <c:v>0.53773854110932695</c:v>
                </c:pt>
                <c:pt idx="30152">
                  <c:v>0.53775637595862302</c:v>
                </c:pt>
                <c:pt idx="30153">
                  <c:v>0.53777421080791799</c:v>
                </c:pt>
                <c:pt idx="30154">
                  <c:v>0.53779204565721395</c:v>
                </c:pt>
                <c:pt idx="30155">
                  <c:v>0.53780988050650902</c:v>
                </c:pt>
                <c:pt idx="30156">
                  <c:v>0.53782771535580498</c:v>
                </c:pt>
                <c:pt idx="30157">
                  <c:v>0.53784555020510005</c:v>
                </c:pt>
                <c:pt idx="30158">
                  <c:v>0.53786338505439601</c:v>
                </c:pt>
                <c:pt idx="30159">
                  <c:v>0.53788121990369098</c:v>
                </c:pt>
                <c:pt idx="30160">
                  <c:v>0.53789905475298705</c:v>
                </c:pt>
                <c:pt idx="30161">
                  <c:v>0.53791688960228201</c:v>
                </c:pt>
                <c:pt idx="30162">
                  <c:v>0.53793472445157797</c:v>
                </c:pt>
                <c:pt idx="30163">
                  <c:v>0.53795255930087305</c:v>
                </c:pt>
                <c:pt idx="30164">
                  <c:v>0.53797039415016901</c:v>
                </c:pt>
                <c:pt idx="30165">
                  <c:v>0.53798822899946497</c:v>
                </c:pt>
                <c:pt idx="30166">
                  <c:v>0.53800606384876004</c:v>
                </c:pt>
                <c:pt idx="30167">
                  <c:v>0.538023898698056</c:v>
                </c:pt>
                <c:pt idx="30168">
                  <c:v>0.53804173354735096</c:v>
                </c:pt>
                <c:pt idx="30169">
                  <c:v>0.53805956839664704</c:v>
                </c:pt>
                <c:pt idx="30170">
                  <c:v>0.538077403245942</c:v>
                </c:pt>
                <c:pt idx="30171">
                  <c:v>0.53809523809523796</c:v>
                </c:pt>
                <c:pt idx="30172">
                  <c:v>0.53811307294453303</c:v>
                </c:pt>
                <c:pt idx="30173">
                  <c:v>0.53813090779382899</c:v>
                </c:pt>
                <c:pt idx="30174">
                  <c:v>0.53814874264312396</c:v>
                </c:pt>
                <c:pt idx="30175">
                  <c:v>0.53816657749242003</c:v>
                </c:pt>
                <c:pt idx="30176">
                  <c:v>0.53818441234171499</c:v>
                </c:pt>
                <c:pt idx="30177">
                  <c:v>0.53820224719101095</c:v>
                </c:pt>
                <c:pt idx="30178">
                  <c:v>0.53822008204030602</c:v>
                </c:pt>
                <c:pt idx="30179">
                  <c:v>0.53823791688960199</c:v>
                </c:pt>
                <c:pt idx="30180">
                  <c:v>0.53825575173889695</c:v>
                </c:pt>
                <c:pt idx="30181">
                  <c:v>0.53827358658819302</c:v>
                </c:pt>
                <c:pt idx="30182">
                  <c:v>0.53829142143748798</c:v>
                </c:pt>
                <c:pt idx="30183">
                  <c:v>0.53830925628678405</c:v>
                </c:pt>
                <c:pt idx="30184">
                  <c:v>0.53832709113607902</c:v>
                </c:pt>
                <c:pt idx="30185">
                  <c:v>0.53834492598537498</c:v>
                </c:pt>
                <c:pt idx="30186">
                  <c:v>0.53836276083467005</c:v>
                </c:pt>
                <c:pt idx="30187">
                  <c:v>0.53838059568396601</c:v>
                </c:pt>
                <c:pt idx="30188">
                  <c:v>0.53839843053326197</c:v>
                </c:pt>
                <c:pt idx="30189">
                  <c:v>0.53841626538255705</c:v>
                </c:pt>
                <c:pt idx="30190">
                  <c:v>0.53843410023185301</c:v>
                </c:pt>
                <c:pt idx="30191">
                  <c:v>0.53845193508114797</c:v>
                </c:pt>
                <c:pt idx="30192">
                  <c:v>0.53846976993044404</c:v>
                </c:pt>
                <c:pt idx="30193">
                  <c:v>0.538487604779739</c:v>
                </c:pt>
                <c:pt idx="30194">
                  <c:v>0.53850543962903497</c:v>
                </c:pt>
                <c:pt idx="30195">
                  <c:v>0.53852327447833004</c:v>
                </c:pt>
                <c:pt idx="30196">
                  <c:v>0.538541109327626</c:v>
                </c:pt>
                <c:pt idx="30197">
                  <c:v>0.53855894417692096</c:v>
                </c:pt>
                <c:pt idx="30198">
                  <c:v>0.53857677902621703</c:v>
                </c:pt>
                <c:pt idx="30199">
                  <c:v>0.538594613875512</c:v>
                </c:pt>
                <c:pt idx="30200">
                  <c:v>0.53861244872480796</c:v>
                </c:pt>
                <c:pt idx="30201">
                  <c:v>0.53863028357410303</c:v>
                </c:pt>
                <c:pt idx="30202">
                  <c:v>0.53864811842339899</c:v>
                </c:pt>
                <c:pt idx="30203">
                  <c:v>0.53866595327269395</c:v>
                </c:pt>
                <c:pt idx="30204">
                  <c:v>0.53868378812199003</c:v>
                </c:pt>
                <c:pt idx="30205">
                  <c:v>0.53870162297128499</c:v>
                </c:pt>
                <c:pt idx="30206">
                  <c:v>0.53871945782058095</c:v>
                </c:pt>
                <c:pt idx="30207">
                  <c:v>0.53873729266987602</c:v>
                </c:pt>
                <c:pt idx="30208">
                  <c:v>0.53875512751917198</c:v>
                </c:pt>
                <c:pt idx="30209">
                  <c:v>0.53877296236846794</c:v>
                </c:pt>
                <c:pt idx="30210">
                  <c:v>0.53879079721776302</c:v>
                </c:pt>
                <c:pt idx="30211">
                  <c:v>0.53880863206705898</c:v>
                </c:pt>
                <c:pt idx="30212">
                  <c:v>0.53882646691635405</c:v>
                </c:pt>
                <c:pt idx="30213">
                  <c:v>0.53884430176565001</c:v>
                </c:pt>
                <c:pt idx="30214">
                  <c:v>0.53886213661494498</c:v>
                </c:pt>
                <c:pt idx="30215">
                  <c:v>0.53887997146424105</c:v>
                </c:pt>
                <c:pt idx="30216">
                  <c:v>0.53889780631353601</c:v>
                </c:pt>
                <c:pt idx="30217">
                  <c:v>0.53891564116283197</c:v>
                </c:pt>
                <c:pt idx="30218">
                  <c:v>0.53893347601212704</c:v>
                </c:pt>
                <c:pt idx="30219">
                  <c:v>0.53895131086142301</c:v>
                </c:pt>
                <c:pt idx="30220">
                  <c:v>0.53896914571071797</c:v>
                </c:pt>
                <c:pt idx="30221">
                  <c:v>0.53898698056001404</c:v>
                </c:pt>
                <c:pt idx="30222">
                  <c:v>0.539004815409309</c:v>
                </c:pt>
                <c:pt idx="30223">
                  <c:v>0.53902265025860496</c:v>
                </c:pt>
                <c:pt idx="30224">
                  <c:v>0.53904048510790004</c:v>
                </c:pt>
                <c:pt idx="30225">
                  <c:v>0.539058319957196</c:v>
                </c:pt>
                <c:pt idx="30226">
                  <c:v>0.53907615480649096</c:v>
                </c:pt>
                <c:pt idx="30227">
                  <c:v>0.53909398965578703</c:v>
                </c:pt>
                <c:pt idx="30228">
                  <c:v>0.53911182450508199</c:v>
                </c:pt>
                <c:pt idx="30229">
                  <c:v>0.53912965935437795</c:v>
                </c:pt>
                <c:pt idx="30230">
                  <c:v>0.53914749420367403</c:v>
                </c:pt>
                <c:pt idx="30231">
                  <c:v>0.53916532905296899</c:v>
                </c:pt>
                <c:pt idx="30232">
                  <c:v>0.53918316390226495</c:v>
                </c:pt>
                <c:pt idx="30233">
                  <c:v>0.53920099875156002</c:v>
                </c:pt>
                <c:pt idx="30234">
                  <c:v>0.53921883360085598</c:v>
                </c:pt>
                <c:pt idx="30235">
                  <c:v>0.53923666845015095</c:v>
                </c:pt>
                <c:pt idx="30236">
                  <c:v>0.53925450329944702</c:v>
                </c:pt>
                <c:pt idx="30237">
                  <c:v>0.53927233814874198</c:v>
                </c:pt>
                <c:pt idx="30238">
                  <c:v>0.53929017299803805</c:v>
                </c:pt>
                <c:pt idx="30239">
                  <c:v>0.53930800784733302</c:v>
                </c:pt>
                <c:pt idx="30240">
                  <c:v>0.53932584269662898</c:v>
                </c:pt>
                <c:pt idx="30241">
                  <c:v>0.53934367754592405</c:v>
                </c:pt>
                <c:pt idx="30242">
                  <c:v>0.53936151239522001</c:v>
                </c:pt>
                <c:pt idx="30243">
                  <c:v>0.53937934724451497</c:v>
                </c:pt>
                <c:pt idx="30244">
                  <c:v>0.53939718209381105</c:v>
                </c:pt>
                <c:pt idx="30245">
                  <c:v>0.53941501694310601</c:v>
                </c:pt>
                <c:pt idx="30246">
                  <c:v>0.53943285179240197</c:v>
                </c:pt>
                <c:pt idx="30247">
                  <c:v>0.53945068664169704</c:v>
                </c:pt>
                <c:pt idx="30248">
                  <c:v>0.539468521490993</c:v>
                </c:pt>
                <c:pt idx="30249">
                  <c:v>0.53948635634028896</c:v>
                </c:pt>
                <c:pt idx="30250">
                  <c:v>0.53950419118958404</c:v>
                </c:pt>
                <c:pt idx="30251">
                  <c:v>0.53952202603888</c:v>
                </c:pt>
                <c:pt idx="30252">
                  <c:v>0.53953986088817496</c:v>
                </c:pt>
                <c:pt idx="30253">
                  <c:v>0.53955769573747103</c:v>
                </c:pt>
                <c:pt idx="30254">
                  <c:v>0.53957553058676599</c:v>
                </c:pt>
                <c:pt idx="30255">
                  <c:v>0.53959336543606196</c:v>
                </c:pt>
                <c:pt idx="30256">
                  <c:v>0.53961120028535703</c:v>
                </c:pt>
                <c:pt idx="30257">
                  <c:v>0.53962903513465299</c:v>
                </c:pt>
                <c:pt idx="30258">
                  <c:v>0.53964686998394795</c:v>
                </c:pt>
                <c:pt idx="30259">
                  <c:v>0.53966470483324402</c:v>
                </c:pt>
                <c:pt idx="30260">
                  <c:v>0.53968253968253899</c:v>
                </c:pt>
                <c:pt idx="30261">
                  <c:v>0.53970037453183495</c:v>
                </c:pt>
                <c:pt idx="30262">
                  <c:v>0.53971820938113002</c:v>
                </c:pt>
                <c:pt idx="30263">
                  <c:v>0.53973604423042598</c:v>
                </c:pt>
                <c:pt idx="30264">
                  <c:v>0.53975387907972106</c:v>
                </c:pt>
                <c:pt idx="30265">
                  <c:v>0.53977171392901702</c:v>
                </c:pt>
                <c:pt idx="30266">
                  <c:v>0.53978954877831198</c:v>
                </c:pt>
                <c:pt idx="30267">
                  <c:v>0.53980738362760805</c:v>
                </c:pt>
                <c:pt idx="30268">
                  <c:v>0.53982521847690301</c:v>
                </c:pt>
                <c:pt idx="30269">
                  <c:v>0.53984305332619897</c:v>
                </c:pt>
                <c:pt idx="30270">
                  <c:v>0.53986088817549405</c:v>
                </c:pt>
                <c:pt idx="30271">
                  <c:v>0.53987872302479001</c:v>
                </c:pt>
                <c:pt idx="30272">
                  <c:v>0.53989655787408597</c:v>
                </c:pt>
                <c:pt idx="30273">
                  <c:v>0.53991439272338104</c:v>
                </c:pt>
                <c:pt idx="30274">
                  <c:v>0.539932227572677</c:v>
                </c:pt>
                <c:pt idx="30275">
                  <c:v>0.53995006242197197</c:v>
                </c:pt>
                <c:pt idx="30276">
                  <c:v>0.53996789727126804</c:v>
                </c:pt>
                <c:pt idx="30277">
                  <c:v>0.539985732120563</c:v>
                </c:pt>
                <c:pt idx="30278">
                  <c:v>0.54000356696985896</c:v>
                </c:pt>
                <c:pt idx="30279">
                  <c:v>0.54002140181915403</c:v>
                </c:pt>
                <c:pt idx="30280">
                  <c:v>0.54003923666845</c:v>
                </c:pt>
                <c:pt idx="30281">
                  <c:v>0.54005707151774496</c:v>
                </c:pt>
                <c:pt idx="30282">
                  <c:v>0.54007490636704103</c:v>
                </c:pt>
                <c:pt idx="30283">
                  <c:v>0.54009274121633599</c:v>
                </c:pt>
                <c:pt idx="30284">
                  <c:v>0.54011057606563195</c:v>
                </c:pt>
                <c:pt idx="30285">
                  <c:v>0.54012841091492703</c:v>
                </c:pt>
                <c:pt idx="30286">
                  <c:v>0.54014624576422299</c:v>
                </c:pt>
                <c:pt idx="30287">
                  <c:v>0.54016408061351795</c:v>
                </c:pt>
                <c:pt idx="30288">
                  <c:v>0.54018191546281402</c:v>
                </c:pt>
                <c:pt idx="30289">
                  <c:v>0.54019975031210898</c:v>
                </c:pt>
                <c:pt idx="30290">
                  <c:v>0.54021758516140495</c:v>
                </c:pt>
                <c:pt idx="30291">
                  <c:v>0.54023542001070002</c:v>
                </c:pt>
                <c:pt idx="30292">
                  <c:v>0.54025325485999598</c:v>
                </c:pt>
                <c:pt idx="30293">
                  <c:v>0.54027108970929105</c:v>
                </c:pt>
                <c:pt idx="30294">
                  <c:v>0.54028892455858701</c:v>
                </c:pt>
                <c:pt idx="30295">
                  <c:v>0.54030675940788297</c:v>
                </c:pt>
                <c:pt idx="30296">
                  <c:v>0.54032459425717805</c:v>
                </c:pt>
                <c:pt idx="30297">
                  <c:v>0.54034242910647401</c:v>
                </c:pt>
                <c:pt idx="30298">
                  <c:v>0.54036026395576897</c:v>
                </c:pt>
                <c:pt idx="30299">
                  <c:v>0.54037809880506504</c:v>
                </c:pt>
                <c:pt idx="30300">
                  <c:v>0.54039593365436001</c:v>
                </c:pt>
                <c:pt idx="30301">
                  <c:v>0.54041376850365597</c:v>
                </c:pt>
                <c:pt idx="30302">
                  <c:v>0.54043160335295104</c:v>
                </c:pt>
                <c:pt idx="30303">
                  <c:v>0.540449438202247</c:v>
                </c:pt>
                <c:pt idx="30304">
                  <c:v>0.54046727305154196</c:v>
                </c:pt>
                <c:pt idx="30305">
                  <c:v>0.54048510790083804</c:v>
                </c:pt>
                <c:pt idx="30306">
                  <c:v>0.540502942750133</c:v>
                </c:pt>
                <c:pt idx="30307">
                  <c:v>0.54052077759942896</c:v>
                </c:pt>
                <c:pt idx="30308">
                  <c:v>0.54053861244872403</c:v>
                </c:pt>
                <c:pt idx="30309">
                  <c:v>0.54055644729801999</c:v>
                </c:pt>
                <c:pt idx="30310">
                  <c:v>0.54057428214731496</c:v>
                </c:pt>
                <c:pt idx="30311">
                  <c:v>0.54059211699661103</c:v>
                </c:pt>
                <c:pt idx="30312">
                  <c:v>0.54060995184590599</c:v>
                </c:pt>
                <c:pt idx="30313">
                  <c:v>0.54062778669520195</c:v>
                </c:pt>
                <c:pt idx="30314">
                  <c:v>0.54064562154449702</c:v>
                </c:pt>
                <c:pt idx="30315">
                  <c:v>0.54066345639379298</c:v>
                </c:pt>
                <c:pt idx="30316">
                  <c:v>0.54068129124308895</c:v>
                </c:pt>
                <c:pt idx="30317">
                  <c:v>0.54069912609238402</c:v>
                </c:pt>
                <c:pt idx="30318">
                  <c:v>0.54071696094167998</c:v>
                </c:pt>
                <c:pt idx="30319">
                  <c:v>0.54073479579097505</c:v>
                </c:pt>
                <c:pt idx="30320">
                  <c:v>0.54075263064027101</c:v>
                </c:pt>
                <c:pt idx="30321">
                  <c:v>0.54077046548956598</c:v>
                </c:pt>
                <c:pt idx="30322">
                  <c:v>0.54078830033886205</c:v>
                </c:pt>
                <c:pt idx="30323">
                  <c:v>0.54080613518815701</c:v>
                </c:pt>
                <c:pt idx="30324">
                  <c:v>0.54082397003745297</c:v>
                </c:pt>
                <c:pt idx="30325">
                  <c:v>0.54084180488674805</c:v>
                </c:pt>
                <c:pt idx="30326">
                  <c:v>0.54085963973604401</c:v>
                </c:pt>
                <c:pt idx="30327">
                  <c:v>0.54087747458533897</c:v>
                </c:pt>
                <c:pt idx="30328">
                  <c:v>0.54089530943463504</c:v>
                </c:pt>
                <c:pt idx="30329">
                  <c:v>0.54091314428393</c:v>
                </c:pt>
                <c:pt idx="30330">
                  <c:v>0.54093097913322596</c:v>
                </c:pt>
                <c:pt idx="30331">
                  <c:v>0.54094881398252104</c:v>
                </c:pt>
                <c:pt idx="30332">
                  <c:v>0.540966648831817</c:v>
                </c:pt>
                <c:pt idx="30333">
                  <c:v>0.54098448368111196</c:v>
                </c:pt>
                <c:pt idx="30334">
                  <c:v>0.54100231853040803</c:v>
                </c:pt>
                <c:pt idx="30335">
                  <c:v>0.54102015337970399</c:v>
                </c:pt>
                <c:pt idx="30336">
                  <c:v>0.54103798822899896</c:v>
                </c:pt>
                <c:pt idx="30337">
                  <c:v>0.54105582307829503</c:v>
                </c:pt>
                <c:pt idx="30338">
                  <c:v>0.54107365792758999</c:v>
                </c:pt>
                <c:pt idx="30339">
                  <c:v>0.54109149277688595</c:v>
                </c:pt>
                <c:pt idx="30340">
                  <c:v>0.54110932762618102</c:v>
                </c:pt>
                <c:pt idx="30341">
                  <c:v>0.54112716247547699</c:v>
                </c:pt>
                <c:pt idx="30342">
                  <c:v>0.54114499732477195</c:v>
                </c:pt>
                <c:pt idx="30343">
                  <c:v>0.54116283217406802</c:v>
                </c:pt>
                <c:pt idx="30344">
                  <c:v>0.54118066702336298</c:v>
                </c:pt>
                <c:pt idx="30345">
                  <c:v>0.54119850187265905</c:v>
                </c:pt>
                <c:pt idx="30346">
                  <c:v>0.54121633672195402</c:v>
                </c:pt>
                <c:pt idx="30347">
                  <c:v>0.54123417157124998</c:v>
                </c:pt>
                <c:pt idx="30348">
                  <c:v>0.54125200642054505</c:v>
                </c:pt>
                <c:pt idx="30349">
                  <c:v>0.54126984126984101</c:v>
                </c:pt>
                <c:pt idx="30350">
                  <c:v>0.54128767611913597</c:v>
                </c:pt>
                <c:pt idx="30351">
                  <c:v>0.54130551096843205</c:v>
                </c:pt>
                <c:pt idx="30352">
                  <c:v>0.54132334581772701</c:v>
                </c:pt>
                <c:pt idx="30353">
                  <c:v>0.54134118066702297</c:v>
                </c:pt>
                <c:pt idx="30354">
                  <c:v>0.54135901551631804</c:v>
                </c:pt>
                <c:pt idx="30355">
                  <c:v>0.541376850365614</c:v>
                </c:pt>
                <c:pt idx="30356">
                  <c:v>0.54139468521490997</c:v>
                </c:pt>
                <c:pt idx="30357">
                  <c:v>0.54141252006420504</c:v>
                </c:pt>
                <c:pt idx="30358">
                  <c:v>0.541430354913501</c:v>
                </c:pt>
                <c:pt idx="30359">
                  <c:v>0.54144818976279596</c:v>
                </c:pt>
                <c:pt idx="30360">
                  <c:v>0.54146602461209203</c:v>
                </c:pt>
                <c:pt idx="30361">
                  <c:v>0.541483859461387</c:v>
                </c:pt>
                <c:pt idx="30362">
                  <c:v>0.54150169431068296</c:v>
                </c:pt>
                <c:pt idx="30363">
                  <c:v>0.54151952915997803</c:v>
                </c:pt>
                <c:pt idx="30364">
                  <c:v>0.54153736400927399</c:v>
                </c:pt>
                <c:pt idx="30365">
                  <c:v>0.54155519885856895</c:v>
                </c:pt>
                <c:pt idx="30366">
                  <c:v>0.54157303370786503</c:v>
                </c:pt>
                <c:pt idx="30367">
                  <c:v>0.54159086855715999</c:v>
                </c:pt>
                <c:pt idx="30368">
                  <c:v>0.54160870340645595</c:v>
                </c:pt>
                <c:pt idx="30369">
                  <c:v>0.54162653825575102</c:v>
                </c:pt>
                <c:pt idx="30370">
                  <c:v>0.54164437310504698</c:v>
                </c:pt>
                <c:pt idx="30371">
                  <c:v>0.54166220795434195</c:v>
                </c:pt>
                <c:pt idx="30372">
                  <c:v>0.54168004280363802</c:v>
                </c:pt>
                <c:pt idx="30373">
                  <c:v>0.54169787765293298</c:v>
                </c:pt>
                <c:pt idx="30374">
                  <c:v>0.54171571250222905</c:v>
                </c:pt>
                <c:pt idx="30375">
                  <c:v>0.54173354735152401</c:v>
                </c:pt>
                <c:pt idx="30376">
                  <c:v>0.54175138220081998</c:v>
                </c:pt>
                <c:pt idx="30377">
                  <c:v>0.54176921705011505</c:v>
                </c:pt>
                <c:pt idx="30378">
                  <c:v>0.54178705189941101</c:v>
                </c:pt>
                <c:pt idx="30379">
                  <c:v>0.54180488674870697</c:v>
                </c:pt>
                <c:pt idx="30380">
                  <c:v>0.54182272159800204</c:v>
                </c:pt>
                <c:pt idx="30381">
                  <c:v>0.54184055644729801</c:v>
                </c:pt>
                <c:pt idx="30382">
                  <c:v>0.54185839129659297</c:v>
                </c:pt>
                <c:pt idx="30383">
                  <c:v>0.54187622614588904</c:v>
                </c:pt>
                <c:pt idx="30384">
                  <c:v>0.541894060995184</c:v>
                </c:pt>
                <c:pt idx="30385">
                  <c:v>0.54191189584447996</c:v>
                </c:pt>
                <c:pt idx="30386">
                  <c:v>0.54192973069377504</c:v>
                </c:pt>
                <c:pt idx="30387">
                  <c:v>0.541947565543071</c:v>
                </c:pt>
                <c:pt idx="30388">
                  <c:v>0.54196540039236596</c:v>
                </c:pt>
                <c:pt idx="30389">
                  <c:v>0.54198323524166203</c:v>
                </c:pt>
                <c:pt idx="30390">
                  <c:v>0.54200107009095699</c:v>
                </c:pt>
                <c:pt idx="30391">
                  <c:v>0.54201890494025295</c:v>
                </c:pt>
                <c:pt idx="30392">
                  <c:v>0.54203673978954803</c:v>
                </c:pt>
                <c:pt idx="30393">
                  <c:v>0.54205457463884399</c:v>
                </c:pt>
                <c:pt idx="30394">
                  <c:v>0.54207240948813895</c:v>
                </c:pt>
                <c:pt idx="30395">
                  <c:v>0.54209024433743502</c:v>
                </c:pt>
                <c:pt idx="30396">
                  <c:v>0.54210807918672999</c:v>
                </c:pt>
                <c:pt idx="30397">
                  <c:v>0.54212591403602595</c:v>
                </c:pt>
                <c:pt idx="30398">
                  <c:v>0.54214374888532102</c:v>
                </c:pt>
                <c:pt idx="30399">
                  <c:v>0.54216158373461698</c:v>
                </c:pt>
                <c:pt idx="30400">
                  <c:v>0.54217941858391205</c:v>
                </c:pt>
                <c:pt idx="30401">
                  <c:v>0.54219725343320802</c:v>
                </c:pt>
                <c:pt idx="30402">
                  <c:v>0.54221508828250398</c:v>
                </c:pt>
                <c:pt idx="30403">
                  <c:v>0.54223292313179905</c:v>
                </c:pt>
                <c:pt idx="30404">
                  <c:v>0.54225075798109501</c:v>
                </c:pt>
                <c:pt idx="30405">
                  <c:v>0.54226859283038997</c:v>
                </c:pt>
                <c:pt idx="30406">
                  <c:v>0.54228642767968604</c:v>
                </c:pt>
                <c:pt idx="30407">
                  <c:v>0.54230426252898101</c:v>
                </c:pt>
                <c:pt idx="30408">
                  <c:v>0.54232209737827697</c:v>
                </c:pt>
                <c:pt idx="30409">
                  <c:v>0.54233993222757204</c:v>
                </c:pt>
                <c:pt idx="30410">
                  <c:v>0.542357767076868</c:v>
                </c:pt>
                <c:pt idx="30411">
                  <c:v>0.54237560192616296</c:v>
                </c:pt>
                <c:pt idx="30412">
                  <c:v>0.54239343677545904</c:v>
                </c:pt>
                <c:pt idx="30413">
                  <c:v>0.542411271624754</c:v>
                </c:pt>
                <c:pt idx="30414">
                  <c:v>0.54242910647404996</c:v>
                </c:pt>
                <c:pt idx="30415">
                  <c:v>0.54244694132334503</c:v>
                </c:pt>
                <c:pt idx="30416">
                  <c:v>0.54246477617264099</c:v>
                </c:pt>
                <c:pt idx="30417">
                  <c:v>0.54248261102193596</c:v>
                </c:pt>
                <c:pt idx="30418">
                  <c:v>0.54250044587123203</c:v>
                </c:pt>
                <c:pt idx="30419">
                  <c:v>0.54251828072052699</c:v>
                </c:pt>
                <c:pt idx="30420">
                  <c:v>0.54253611556982295</c:v>
                </c:pt>
                <c:pt idx="30421">
                  <c:v>0.54255395041911803</c:v>
                </c:pt>
                <c:pt idx="30422">
                  <c:v>0.54257178526841399</c:v>
                </c:pt>
                <c:pt idx="30423">
                  <c:v>0.54258962011770995</c:v>
                </c:pt>
                <c:pt idx="30424">
                  <c:v>0.54260745496700502</c:v>
                </c:pt>
                <c:pt idx="30425">
                  <c:v>0.54262528981630098</c:v>
                </c:pt>
                <c:pt idx="30426">
                  <c:v>0.54264312466559605</c:v>
                </c:pt>
                <c:pt idx="30427">
                  <c:v>0.54266095951489202</c:v>
                </c:pt>
                <c:pt idx="30428">
                  <c:v>0.54267879436418698</c:v>
                </c:pt>
                <c:pt idx="30429">
                  <c:v>0.54269662921348305</c:v>
                </c:pt>
                <c:pt idx="30430">
                  <c:v>0.54271446406277801</c:v>
                </c:pt>
                <c:pt idx="30431">
                  <c:v>0.54273229891207397</c:v>
                </c:pt>
                <c:pt idx="30432">
                  <c:v>0.54275013376136905</c:v>
                </c:pt>
                <c:pt idx="30433">
                  <c:v>0.54276796861066501</c:v>
                </c:pt>
                <c:pt idx="30434">
                  <c:v>0.54278580345995997</c:v>
                </c:pt>
                <c:pt idx="30435">
                  <c:v>0.54280363830925604</c:v>
                </c:pt>
                <c:pt idx="30436">
                  <c:v>0.542821473158551</c:v>
                </c:pt>
                <c:pt idx="30437">
                  <c:v>0.54283930800784697</c:v>
                </c:pt>
                <c:pt idx="30438">
                  <c:v>0.54285714285714204</c:v>
                </c:pt>
                <c:pt idx="30439">
                  <c:v>0.542874977706438</c:v>
                </c:pt>
                <c:pt idx="30440">
                  <c:v>0.54289281255573296</c:v>
                </c:pt>
                <c:pt idx="30441">
                  <c:v>0.54291064740502903</c:v>
                </c:pt>
                <c:pt idx="30442">
                  <c:v>0.542928482254325</c:v>
                </c:pt>
                <c:pt idx="30443">
                  <c:v>0.54294631710361996</c:v>
                </c:pt>
                <c:pt idx="30444">
                  <c:v>0.54296415195291603</c:v>
                </c:pt>
                <c:pt idx="30445">
                  <c:v>0.54298198680221099</c:v>
                </c:pt>
                <c:pt idx="30446">
                  <c:v>0.54299982165150695</c:v>
                </c:pt>
                <c:pt idx="30447">
                  <c:v>0.54301765650080203</c:v>
                </c:pt>
                <c:pt idx="30448">
                  <c:v>0.54303549135009799</c:v>
                </c:pt>
                <c:pt idx="30449">
                  <c:v>0.54305332619939295</c:v>
                </c:pt>
                <c:pt idx="30450">
                  <c:v>0.54307116104868902</c:v>
                </c:pt>
                <c:pt idx="30451">
                  <c:v>0.54308899589798398</c:v>
                </c:pt>
                <c:pt idx="30452">
                  <c:v>0.54310683074727995</c:v>
                </c:pt>
                <c:pt idx="30453">
                  <c:v>0.54312466559657502</c:v>
                </c:pt>
                <c:pt idx="30454">
                  <c:v>0.54314250044587098</c:v>
                </c:pt>
                <c:pt idx="30455">
                  <c:v>0.54316033529516605</c:v>
                </c:pt>
                <c:pt idx="30456">
                  <c:v>0.54317817014446201</c:v>
                </c:pt>
                <c:pt idx="30457">
                  <c:v>0.54319600499375698</c:v>
                </c:pt>
                <c:pt idx="30458">
                  <c:v>0.54321383984305305</c:v>
                </c:pt>
                <c:pt idx="30459">
                  <c:v>0.54323167469234801</c:v>
                </c:pt>
                <c:pt idx="30460">
                  <c:v>0.54324950954164397</c:v>
                </c:pt>
                <c:pt idx="30461">
                  <c:v>0.54326734439093904</c:v>
                </c:pt>
                <c:pt idx="30462">
                  <c:v>0.54328517924023501</c:v>
                </c:pt>
                <c:pt idx="30463">
                  <c:v>0.54330301408953097</c:v>
                </c:pt>
                <c:pt idx="30464">
                  <c:v>0.54332084893882604</c:v>
                </c:pt>
                <c:pt idx="30465">
                  <c:v>0.543338683788122</c:v>
                </c:pt>
                <c:pt idx="30466">
                  <c:v>0.54335651863741696</c:v>
                </c:pt>
                <c:pt idx="30467">
                  <c:v>0.54337435348671304</c:v>
                </c:pt>
                <c:pt idx="30468">
                  <c:v>0.543392188336008</c:v>
                </c:pt>
                <c:pt idx="30469">
                  <c:v>0.54341002318530396</c:v>
                </c:pt>
                <c:pt idx="30470">
                  <c:v>0.54342785803459903</c:v>
                </c:pt>
                <c:pt idx="30471">
                  <c:v>0.54344569288389499</c:v>
                </c:pt>
                <c:pt idx="30472">
                  <c:v>0.54346352773318995</c:v>
                </c:pt>
                <c:pt idx="30473">
                  <c:v>0.54348136258248603</c:v>
                </c:pt>
                <c:pt idx="30474">
                  <c:v>0.54349919743178099</c:v>
                </c:pt>
                <c:pt idx="30475">
                  <c:v>0.54351703228107695</c:v>
                </c:pt>
                <c:pt idx="30476">
                  <c:v>0.54353486713037202</c:v>
                </c:pt>
                <c:pt idx="30477">
                  <c:v>0.54355270197966798</c:v>
                </c:pt>
                <c:pt idx="30478">
                  <c:v>0.54357053682896295</c:v>
                </c:pt>
                <c:pt idx="30479">
                  <c:v>0.54358837167825902</c:v>
                </c:pt>
                <c:pt idx="30480">
                  <c:v>0.54360620652755398</c:v>
                </c:pt>
                <c:pt idx="30481">
                  <c:v>0.54362404137685005</c:v>
                </c:pt>
                <c:pt idx="30482">
                  <c:v>0.54364187622614502</c:v>
                </c:pt>
                <c:pt idx="30483">
                  <c:v>0.54365971107544098</c:v>
                </c:pt>
                <c:pt idx="30484">
                  <c:v>0.54367754592473605</c:v>
                </c:pt>
                <c:pt idx="30485">
                  <c:v>0.54369538077403201</c:v>
                </c:pt>
                <c:pt idx="30486">
                  <c:v>0.54371321562332797</c:v>
                </c:pt>
                <c:pt idx="30487">
                  <c:v>0.54373105047262305</c:v>
                </c:pt>
                <c:pt idx="30488">
                  <c:v>0.54374888532191901</c:v>
                </c:pt>
                <c:pt idx="30489">
                  <c:v>0.54376672017121397</c:v>
                </c:pt>
                <c:pt idx="30490">
                  <c:v>0.54378455502051004</c:v>
                </c:pt>
                <c:pt idx="30491">
                  <c:v>0.543802389869805</c:v>
                </c:pt>
                <c:pt idx="30492">
                  <c:v>0.54382022471910096</c:v>
                </c:pt>
                <c:pt idx="30493">
                  <c:v>0.54383805956839604</c:v>
                </c:pt>
                <c:pt idx="30494">
                  <c:v>0.543855894417692</c:v>
                </c:pt>
                <c:pt idx="30495">
                  <c:v>0.54387372926698696</c:v>
                </c:pt>
                <c:pt idx="30496">
                  <c:v>0.54389156411628303</c:v>
                </c:pt>
                <c:pt idx="30497">
                  <c:v>0.54390939896557799</c:v>
                </c:pt>
                <c:pt idx="30498">
                  <c:v>0.54392723381487396</c:v>
                </c:pt>
                <c:pt idx="30499">
                  <c:v>0.54394506866416903</c:v>
                </c:pt>
                <c:pt idx="30500">
                  <c:v>0.54396290351346499</c:v>
                </c:pt>
                <c:pt idx="30501">
                  <c:v>0.54398073836275995</c:v>
                </c:pt>
                <c:pt idx="30502">
                  <c:v>0.54399857321205602</c:v>
                </c:pt>
                <c:pt idx="30503">
                  <c:v>0.54401640806135099</c:v>
                </c:pt>
                <c:pt idx="30504">
                  <c:v>0.54403424291064695</c:v>
                </c:pt>
                <c:pt idx="30505">
                  <c:v>0.54405207775994202</c:v>
                </c:pt>
                <c:pt idx="30506">
                  <c:v>0.54406991260923798</c:v>
                </c:pt>
                <c:pt idx="30507">
                  <c:v>0.54408774745853306</c:v>
                </c:pt>
                <c:pt idx="30508">
                  <c:v>0.54410558230782902</c:v>
                </c:pt>
                <c:pt idx="30509">
                  <c:v>0.54412341715712498</c:v>
                </c:pt>
                <c:pt idx="30510">
                  <c:v>0.54414125200642005</c:v>
                </c:pt>
                <c:pt idx="30511">
                  <c:v>0.54415908685571601</c:v>
                </c:pt>
                <c:pt idx="30512">
                  <c:v>0.54417692170501097</c:v>
                </c:pt>
                <c:pt idx="30513">
                  <c:v>0.54419475655430705</c:v>
                </c:pt>
                <c:pt idx="30514">
                  <c:v>0.54421259140360201</c:v>
                </c:pt>
                <c:pt idx="30515">
                  <c:v>0.54423042625289797</c:v>
                </c:pt>
                <c:pt idx="30516">
                  <c:v>0.54424826110219304</c:v>
                </c:pt>
                <c:pt idx="30517">
                  <c:v>0.544266095951489</c:v>
                </c:pt>
                <c:pt idx="30518">
                  <c:v>0.54428393080078397</c:v>
                </c:pt>
                <c:pt idx="30519">
                  <c:v>0.54430176565008004</c:v>
                </c:pt>
                <c:pt idx="30520">
                  <c:v>0.544319600499375</c:v>
                </c:pt>
                <c:pt idx="30521">
                  <c:v>0.54433743534867096</c:v>
                </c:pt>
                <c:pt idx="30522">
                  <c:v>0.54435527019796603</c:v>
                </c:pt>
                <c:pt idx="30523">
                  <c:v>0.544373105047262</c:v>
                </c:pt>
                <c:pt idx="30524">
                  <c:v>0.54439093989655696</c:v>
                </c:pt>
                <c:pt idx="30525">
                  <c:v>0.54440877474585303</c:v>
                </c:pt>
                <c:pt idx="30526">
                  <c:v>0.54442660959514799</c:v>
                </c:pt>
                <c:pt idx="30527">
                  <c:v>0.54444444444444395</c:v>
                </c:pt>
                <c:pt idx="30528">
                  <c:v>0.54446227929373903</c:v>
                </c:pt>
                <c:pt idx="30529">
                  <c:v>0.54448011414303499</c:v>
                </c:pt>
                <c:pt idx="30530">
                  <c:v>0.54449794899233095</c:v>
                </c:pt>
                <c:pt idx="30531">
                  <c:v>0.54451578384162602</c:v>
                </c:pt>
                <c:pt idx="30532">
                  <c:v>0.54453361869092198</c:v>
                </c:pt>
                <c:pt idx="30533">
                  <c:v>0.54455145354021695</c:v>
                </c:pt>
                <c:pt idx="30534">
                  <c:v>0.54456928838951302</c:v>
                </c:pt>
                <c:pt idx="30535">
                  <c:v>0.54458712323880798</c:v>
                </c:pt>
                <c:pt idx="30536">
                  <c:v>0.54460495808810405</c:v>
                </c:pt>
                <c:pt idx="30537">
                  <c:v>0.54462279293739901</c:v>
                </c:pt>
                <c:pt idx="30538">
                  <c:v>0.54464062778669498</c:v>
                </c:pt>
                <c:pt idx="30539">
                  <c:v>0.54465846263599005</c:v>
                </c:pt>
                <c:pt idx="30540">
                  <c:v>0.54467629748528601</c:v>
                </c:pt>
                <c:pt idx="30541">
                  <c:v>0.54469413233458097</c:v>
                </c:pt>
                <c:pt idx="30542">
                  <c:v>0.54471196718387704</c:v>
                </c:pt>
                <c:pt idx="30543">
                  <c:v>0.54472980203317201</c:v>
                </c:pt>
                <c:pt idx="30544">
                  <c:v>0.54474763688246797</c:v>
                </c:pt>
                <c:pt idx="30545">
                  <c:v>0.54476547173176304</c:v>
                </c:pt>
                <c:pt idx="30546">
                  <c:v>0.544783306581059</c:v>
                </c:pt>
                <c:pt idx="30547">
                  <c:v>0.54480114143035496</c:v>
                </c:pt>
                <c:pt idx="30548">
                  <c:v>0.54481897627965004</c:v>
                </c:pt>
                <c:pt idx="30549">
                  <c:v>0.544836811128946</c:v>
                </c:pt>
                <c:pt idx="30550">
                  <c:v>0.54485464597824096</c:v>
                </c:pt>
                <c:pt idx="30551">
                  <c:v>0.54487248082753703</c:v>
                </c:pt>
                <c:pt idx="30552">
                  <c:v>0.54489031567683199</c:v>
                </c:pt>
                <c:pt idx="30553">
                  <c:v>0.54490815052612795</c:v>
                </c:pt>
                <c:pt idx="30554">
                  <c:v>0.54492598537542303</c:v>
                </c:pt>
                <c:pt idx="30555">
                  <c:v>0.54494382022471899</c:v>
                </c:pt>
                <c:pt idx="30556">
                  <c:v>0.54496165507401395</c:v>
                </c:pt>
                <c:pt idx="30557">
                  <c:v>0.54497948992331002</c:v>
                </c:pt>
                <c:pt idx="30558">
                  <c:v>0.54499732477260499</c:v>
                </c:pt>
                <c:pt idx="30559">
                  <c:v>0.54501515962190095</c:v>
                </c:pt>
                <c:pt idx="30560">
                  <c:v>0.54503299447119602</c:v>
                </c:pt>
                <c:pt idx="30561">
                  <c:v>0.54505082932049198</c:v>
                </c:pt>
                <c:pt idx="30562">
                  <c:v>0.54506866416978705</c:v>
                </c:pt>
                <c:pt idx="30563">
                  <c:v>0.54508649901908302</c:v>
                </c:pt>
                <c:pt idx="30564">
                  <c:v>0.54510433386837798</c:v>
                </c:pt>
                <c:pt idx="30565">
                  <c:v>0.54512216871767405</c:v>
                </c:pt>
                <c:pt idx="30566">
                  <c:v>0.54514000356696901</c:v>
                </c:pt>
                <c:pt idx="30567">
                  <c:v>0.54515783841626497</c:v>
                </c:pt>
                <c:pt idx="30568">
                  <c:v>0.54517567326556005</c:v>
                </c:pt>
                <c:pt idx="30569">
                  <c:v>0.54519350811485601</c:v>
                </c:pt>
                <c:pt idx="30570">
                  <c:v>0.54521134296415197</c:v>
                </c:pt>
                <c:pt idx="30571">
                  <c:v>0.54522917781344704</c:v>
                </c:pt>
                <c:pt idx="30572">
                  <c:v>0.545247012662743</c:v>
                </c:pt>
                <c:pt idx="30573">
                  <c:v>0.54526484751203796</c:v>
                </c:pt>
                <c:pt idx="30574">
                  <c:v>0.54528268236133404</c:v>
                </c:pt>
                <c:pt idx="30575">
                  <c:v>0.545300517210629</c:v>
                </c:pt>
                <c:pt idx="30576">
                  <c:v>0.54531835205992496</c:v>
                </c:pt>
                <c:pt idx="30577">
                  <c:v>0.54533618690922003</c:v>
                </c:pt>
                <c:pt idx="30578">
                  <c:v>0.54535402175851599</c:v>
                </c:pt>
                <c:pt idx="30579">
                  <c:v>0.54537185660781096</c:v>
                </c:pt>
                <c:pt idx="30580">
                  <c:v>0.54538969145710703</c:v>
                </c:pt>
                <c:pt idx="30581">
                  <c:v>0.54540752630640199</c:v>
                </c:pt>
                <c:pt idx="30582">
                  <c:v>0.54542536115569795</c:v>
                </c:pt>
                <c:pt idx="30583">
                  <c:v>0.54544319600499303</c:v>
                </c:pt>
                <c:pt idx="30584">
                  <c:v>0.54546103085428899</c:v>
                </c:pt>
                <c:pt idx="30585">
                  <c:v>0.54547886570358395</c:v>
                </c:pt>
                <c:pt idx="30586">
                  <c:v>0.54549670055288002</c:v>
                </c:pt>
                <c:pt idx="30587">
                  <c:v>0.54551453540217498</c:v>
                </c:pt>
                <c:pt idx="30588">
                  <c:v>0.54553237025147105</c:v>
                </c:pt>
                <c:pt idx="30589">
                  <c:v>0.54555020510076602</c:v>
                </c:pt>
                <c:pt idx="30590">
                  <c:v>0.54556803995006198</c:v>
                </c:pt>
                <c:pt idx="30591">
                  <c:v>0.54558587479935705</c:v>
                </c:pt>
                <c:pt idx="30592">
                  <c:v>0.54560370964865301</c:v>
                </c:pt>
                <c:pt idx="30593">
                  <c:v>0.54562154449794897</c:v>
                </c:pt>
                <c:pt idx="30594">
                  <c:v>0.54563937934724405</c:v>
                </c:pt>
                <c:pt idx="30595">
                  <c:v>0.54565721419654001</c:v>
                </c:pt>
                <c:pt idx="30596">
                  <c:v>0.54567504904583497</c:v>
                </c:pt>
                <c:pt idx="30597">
                  <c:v>0.54569288389513104</c:v>
                </c:pt>
                <c:pt idx="30598">
                  <c:v>0.545710718744426</c:v>
                </c:pt>
                <c:pt idx="30599">
                  <c:v>0.54572855359372197</c:v>
                </c:pt>
                <c:pt idx="30600">
                  <c:v>0.54574638844301704</c:v>
                </c:pt>
                <c:pt idx="30601">
                  <c:v>0.545764223292313</c:v>
                </c:pt>
                <c:pt idx="30602">
                  <c:v>0.54578205814160796</c:v>
                </c:pt>
                <c:pt idx="30603">
                  <c:v>0.54579989299090403</c:v>
                </c:pt>
                <c:pt idx="30604">
                  <c:v>0.545817727840199</c:v>
                </c:pt>
                <c:pt idx="30605">
                  <c:v>0.54583556268949496</c:v>
                </c:pt>
                <c:pt idx="30606">
                  <c:v>0.54585339753879003</c:v>
                </c:pt>
                <c:pt idx="30607">
                  <c:v>0.54587123238808599</c:v>
                </c:pt>
                <c:pt idx="30608">
                  <c:v>0.54588906723738095</c:v>
                </c:pt>
                <c:pt idx="30609">
                  <c:v>0.54590690208667703</c:v>
                </c:pt>
                <c:pt idx="30610">
                  <c:v>0.54592473693597199</c:v>
                </c:pt>
                <c:pt idx="30611">
                  <c:v>0.54594257178526795</c:v>
                </c:pt>
                <c:pt idx="30612">
                  <c:v>0.54596040663456302</c:v>
                </c:pt>
                <c:pt idx="30613">
                  <c:v>0.54597824148385898</c:v>
                </c:pt>
                <c:pt idx="30614">
                  <c:v>0.54599607633315494</c:v>
                </c:pt>
                <c:pt idx="30615">
                  <c:v>0.54601391118245002</c:v>
                </c:pt>
                <c:pt idx="30616">
                  <c:v>0.54603174603174598</c:v>
                </c:pt>
                <c:pt idx="30617">
                  <c:v>0.54604958088104105</c:v>
                </c:pt>
                <c:pt idx="30618">
                  <c:v>0.54606741573033701</c:v>
                </c:pt>
                <c:pt idx="30619">
                  <c:v>0.54608525057963198</c:v>
                </c:pt>
                <c:pt idx="30620">
                  <c:v>0.54610308542892805</c:v>
                </c:pt>
                <c:pt idx="30621">
                  <c:v>0.54612092027822301</c:v>
                </c:pt>
                <c:pt idx="30622">
                  <c:v>0.54613875512751897</c:v>
                </c:pt>
                <c:pt idx="30623">
                  <c:v>0.54615658997681404</c:v>
                </c:pt>
                <c:pt idx="30624">
                  <c:v>0.54617442482611001</c:v>
                </c:pt>
                <c:pt idx="30625">
                  <c:v>0.54619225967540497</c:v>
                </c:pt>
                <c:pt idx="30626">
                  <c:v>0.54621009452470104</c:v>
                </c:pt>
                <c:pt idx="30627">
                  <c:v>0.546227929373996</c:v>
                </c:pt>
                <c:pt idx="30628">
                  <c:v>0.54624576422329196</c:v>
                </c:pt>
                <c:pt idx="30629">
                  <c:v>0.54626359907258704</c:v>
                </c:pt>
                <c:pt idx="30630">
                  <c:v>0.546281433921883</c:v>
                </c:pt>
                <c:pt idx="30631">
                  <c:v>0.54629926877117796</c:v>
                </c:pt>
                <c:pt idx="30632">
                  <c:v>0.54631710362047403</c:v>
                </c:pt>
                <c:pt idx="30633">
                  <c:v>0.54633493846976899</c:v>
                </c:pt>
                <c:pt idx="30634">
                  <c:v>0.54635277331906495</c:v>
                </c:pt>
                <c:pt idx="30635">
                  <c:v>0.54637060816836103</c:v>
                </c:pt>
                <c:pt idx="30636">
                  <c:v>0.54638844301765599</c:v>
                </c:pt>
                <c:pt idx="30637">
                  <c:v>0.54640627786695195</c:v>
                </c:pt>
                <c:pt idx="30638">
                  <c:v>0.54642411271624702</c:v>
                </c:pt>
                <c:pt idx="30639">
                  <c:v>0.54644194756554298</c:v>
                </c:pt>
                <c:pt idx="30640">
                  <c:v>0.54645978241483795</c:v>
                </c:pt>
                <c:pt idx="30641">
                  <c:v>0.54647761726413402</c:v>
                </c:pt>
                <c:pt idx="30642">
                  <c:v>0.54649545211342898</c:v>
                </c:pt>
                <c:pt idx="30643">
                  <c:v>0.54651328696272505</c:v>
                </c:pt>
                <c:pt idx="30644">
                  <c:v>0.54653112181202002</c:v>
                </c:pt>
                <c:pt idx="30645">
                  <c:v>0.54654895666131598</c:v>
                </c:pt>
                <c:pt idx="30646">
                  <c:v>0.54656679151061105</c:v>
                </c:pt>
                <c:pt idx="30647">
                  <c:v>0.54658462635990701</c:v>
                </c:pt>
                <c:pt idx="30648">
                  <c:v>0.54660246120920197</c:v>
                </c:pt>
                <c:pt idx="30649">
                  <c:v>0.54662029605849805</c:v>
                </c:pt>
                <c:pt idx="30650">
                  <c:v>0.54663813090779301</c:v>
                </c:pt>
                <c:pt idx="30651">
                  <c:v>0.54665596575708897</c:v>
                </c:pt>
                <c:pt idx="30652">
                  <c:v>0.54667380060638404</c:v>
                </c:pt>
                <c:pt idx="30653">
                  <c:v>0.54669163545568</c:v>
                </c:pt>
                <c:pt idx="30654">
                  <c:v>0.54670947030497596</c:v>
                </c:pt>
                <c:pt idx="30655">
                  <c:v>0.54672730515427104</c:v>
                </c:pt>
                <c:pt idx="30656">
                  <c:v>0.546745140003567</c:v>
                </c:pt>
                <c:pt idx="30657">
                  <c:v>0.54676297485286196</c:v>
                </c:pt>
                <c:pt idx="30658">
                  <c:v>0.54678080970215803</c:v>
                </c:pt>
                <c:pt idx="30659">
                  <c:v>0.54679864455145299</c:v>
                </c:pt>
                <c:pt idx="30660">
                  <c:v>0.54681647940074896</c:v>
                </c:pt>
                <c:pt idx="30661">
                  <c:v>0.54683431425004403</c:v>
                </c:pt>
                <c:pt idx="30662">
                  <c:v>0.54685214909933999</c:v>
                </c:pt>
                <c:pt idx="30663">
                  <c:v>0.54686998394863495</c:v>
                </c:pt>
                <c:pt idx="30664">
                  <c:v>0.54688781879793102</c:v>
                </c:pt>
                <c:pt idx="30665">
                  <c:v>0.54690565364722599</c:v>
                </c:pt>
                <c:pt idx="30666">
                  <c:v>0.54692348849652195</c:v>
                </c:pt>
                <c:pt idx="30667">
                  <c:v>0.54694132334581702</c:v>
                </c:pt>
                <c:pt idx="30668">
                  <c:v>0.54695915819511298</c:v>
                </c:pt>
                <c:pt idx="30669">
                  <c:v>0.54697699304440806</c:v>
                </c:pt>
                <c:pt idx="30670">
                  <c:v>0.54699482789370402</c:v>
                </c:pt>
                <c:pt idx="30671">
                  <c:v>0.54701266274299898</c:v>
                </c:pt>
                <c:pt idx="30672">
                  <c:v>0.54703049759229505</c:v>
                </c:pt>
                <c:pt idx="30673">
                  <c:v>0.54704833244159001</c:v>
                </c:pt>
                <c:pt idx="30674">
                  <c:v>0.54706616729088597</c:v>
                </c:pt>
                <c:pt idx="30675">
                  <c:v>0.54708400214018105</c:v>
                </c:pt>
                <c:pt idx="30676">
                  <c:v>0.54710183698947701</c:v>
                </c:pt>
                <c:pt idx="30677">
                  <c:v>0.54711967183877297</c:v>
                </c:pt>
                <c:pt idx="30678">
                  <c:v>0.54713750668806804</c:v>
                </c:pt>
                <c:pt idx="30679">
                  <c:v>0.547155341537364</c:v>
                </c:pt>
                <c:pt idx="30680">
                  <c:v>0.54717317638665897</c:v>
                </c:pt>
                <c:pt idx="30681">
                  <c:v>0.54719101123595504</c:v>
                </c:pt>
                <c:pt idx="30682">
                  <c:v>0.54720884608525</c:v>
                </c:pt>
                <c:pt idx="30683">
                  <c:v>0.54722668093454596</c:v>
                </c:pt>
                <c:pt idx="30684">
                  <c:v>0.54724451578384103</c:v>
                </c:pt>
                <c:pt idx="30685">
                  <c:v>0.547262350633137</c:v>
                </c:pt>
                <c:pt idx="30686">
                  <c:v>0.54728018548243196</c:v>
                </c:pt>
                <c:pt idx="30687">
                  <c:v>0.54729802033172803</c:v>
                </c:pt>
                <c:pt idx="30688">
                  <c:v>0.54731585518102299</c:v>
                </c:pt>
                <c:pt idx="30689">
                  <c:v>0.54733369003031895</c:v>
                </c:pt>
                <c:pt idx="30690">
                  <c:v>0.54735152487961403</c:v>
                </c:pt>
                <c:pt idx="30691">
                  <c:v>0.54736935972890999</c:v>
                </c:pt>
                <c:pt idx="30692">
                  <c:v>0.54738719457820495</c:v>
                </c:pt>
                <c:pt idx="30693">
                  <c:v>0.54740502942750102</c:v>
                </c:pt>
                <c:pt idx="30694">
                  <c:v>0.54742286427679598</c:v>
                </c:pt>
                <c:pt idx="30695">
                  <c:v>0.54744069912609195</c:v>
                </c:pt>
                <c:pt idx="30696">
                  <c:v>0.54745853397538702</c:v>
                </c:pt>
                <c:pt idx="30697">
                  <c:v>0.54747636882468298</c:v>
                </c:pt>
                <c:pt idx="30698">
                  <c:v>0.54749420367397805</c:v>
                </c:pt>
                <c:pt idx="30699">
                  <c:v>0.54751203852327401</c:v>
                </c:pt>
                <c:pt idx="30700">
                  <c:v>0.54752987337256998</c:v>
                </c:pt>
                <c:pt idx="30701">
                  <c:v>0.54754770822186505</c:v>
                </c:pt>
                <c:pt idx="30702">
                  <c:v>0.54756554307116101</c:v>
                </c:pt>
                <c:pt idx="30703">
                  <c:v>0.54758337792045597</c:v>
                </c:pt>
                <c:pt idx="30704">
                  <c:v>0.54760121276975204</c:v>
                </c:pt>
                <c:pt idx="30705">
                  <c:v>0.54761904761904701</c:v>
                </c:pt>
                <c:pt idx="30706">
                  <c:v>0.54763688246834297</c:v>
                </c:pt>
                <c:pt idx="30707">
                  <c:v>0.54765471731763804</c:v>
                </c:pt>
                <c:pt idx="30708">
                  <c:v>0.547672552166934</c:v>
                </c:pt>
                <c:pt idx="30709">
                  <c:v>0.54769038701622896</c:v>
                </c:pt>
                <c:pt idx="30710">
                  <c:v>0.54770822186552504</c:v>
                </c:pt>
                <c:pt idx="30711">
                  <c:v>0.54772605671482</c:v>
                </c:pt>
                <c:pt idx="30712">
                  <c:v>0.54774389156411596</c:v>
                </c:pt>
                <c:pt idx="30713">
                  <c:v>0.54776172641341103</c:v>
                </c:pt>
                <c:pt idx="30714">
                  <c:v>0.54777956126270699</c:v>
                </c:pt>
                <c:pt idx="30715">
                  <c:v>0.54779739611200196</c:v>
                </c:pt>
                <c:pt idx="30716">
                  <c:v>0.54781523096129803</c:v>
                </c:pt>
                <c:pt idx="30717">
                  <c:v>0.54783306581059299</c:v>
                </c:pt>
                <c:pt idx="30718">
                  <c:v>0.54785090065988895</c:v>
                </c:pt>
                <c:pt idx="30719">
                  <c:v>0.54786873550918402</c:v>
                </c:pt>
                <c:pt idx="30720">
                  <c:v>0.54788657035847999</c:v>
                </c:pt>
                <c:pt idx="30721">
                  <c:v>0.54790440520777595</c:v>
                </c:pt>
                <c:pt idx="30722">
                  <c:v>0.54792224005707102</c:v>
                </c:pt>
                <c:pt idx="30723">
                  <c:v>0.54794007490636698</c:v>
                </c:pt>
                <c:pt idx="30724">
                  <c:v>0.54795790975566205</c:v>
                </c:pt>
                <c:pt idx="30725">
                  <c:v>0.54797574460495801</c:v>
                </c:pt>
                <c:pt idx="30726">
                  <c:v>0.54799357945425298</c:v>
                </c:pt>
                <c:pt idx="30727">
                  <c:v>0.54801141430354905</c:v>
                </c:pt>
                <c:pt idx="30728">
                  <c:v>0.54802924915284401</c:v>
                </c:pt>
                <c:pt idx="30729">
                  <c:v>0.54804708400213997</c:v>
                </c:pt>
                <c:pt idx="30730">
                  <c:v>0.54806491885143505</c:v>
                </c:pt>
                <c:pt idx="30731">
                  <c:v>0.54808275370073101</c:v>
                </c:pt>
                <c:pt idx="30732">
                  <c:v>0.54810058855002597</c:v>
                </c:pt>
                <c:pt idx="30733">
                  <c:v>0.54811842339932204</c:v>
                </c:pt>
                <c:pt idx="30734">
                  <c:v>0.548136258248617</c:v>
                </c:pt>
                <c:pt idx="30735">
                  <c:v>0.54815409309791296</c:v>
                </c:pt>
                <c:pt idx="30736">
                  <c:v>0.54817192794720804</c:v>
                </c:pt>
                <c:pt idx="30737">
                  <c:v>0.548189762796504</c:v>
                </c:pt>
                <c:pt idx="30738">
                  <c:v>0.54820759764579896</c:v>
                </c:pt>
                <c:pt idx="30739">
                  <c:v>0.54822543249509503</c:v>
                </c:pt>
                <c:pt idx="30740">
                  <c:v>0.54824326734439099</c:v>
                </c:pt>
                <c:pt idx="30741">
                  <c:v>0.54826110219368596</c:v>
                </c:pt>
                <c:pt idx="30742">
                  <c:v>0.54827893704298203</c:v>
                </c:pt>
                <c:pt idx="30743">
                  <c:v>0.54829677189227699</c:v>
                </c:pt>
                <c:pt idx="30744">
                  <c:v>0.54831460674157295</c:v>
                </c:pt>
                <c:pt idx="30745">
                  <c:v>0.54833244159086802</c:v>
                </c:pt>
                <c:pt idx="30746">
                  <c:v>0.54835027644016399</c:v>
                </c:pt>
                <c:pt idx="30747">
                  <c:v>0.54836811128945895</c:v>
                </c:pt>
                <c:pt idx="30748">
                  <c:v>0.54838594613875502</c:v>
                </c:pt>
                <c:pt idx="30749">
                  <c:v>0.54840378098804998</c:v>
                </c:pt>
                <c:pt idx="30750">
                  <c:v>0.54842161583734605</c:v>
                </c:pt>
                <c:pt idx="30751">
                  <c:v>0.54843945068664102</c:v>
                </c:pt>
                <c:pt idx="30752">
                  <c:v>0.54845728553593698</c:v>
                </c:pt>
                <c:pt idx="30753">
                  <c:v>0.54847512038523205</c:v>
                </c:pt>
                <c:pt idx="30754">
                  <c:v>0.54849295523452801</c:v>
                </c:pt>
                <c:pt idx="30755">
                  <c:v>0.54851079008382297</c:v>
                </c:pt>
                <c:pt idx="30756">
                  <c:v>0.54852862493311905</c:v>
                </c:pt>
                <c:pt idx="30757">
                  <c:v>0.54854645978241401</c:v>
                </c:pt>
                <c:pt idx="30758">
                  <c:v>0.54856429463170997</c:v>
                </c:pt>
                <c:pt idx="30759">
                  <c:v>0.54858212948100504</c:v>
                </c:pt>
                <c:pt idx="30760">
                  <c:v>0.548599964330301</c:v>
                </c:pt>
                <c:pt idx="30761">
                  <c:v>0.54861779917959697</c:v>
                </c:pt>
                <c:pt idx="30762">
                  <c:v>0.54863563402889204</c:v>
                </c:pt>
                <c:pt idx="30763">
                  <c:v>0.548653468878188</c:v>
                </c:pt>
                <c:pt idx="30764">
                  <c:v>0.54867130372748296</c:v>
                </c:pt>
                <c:pt idx="30765">
                  <c:v>0.54868913857677903</c:v>
                </c:pt>
                <c:pt idx="30766">
                  <c:v>0.548706973426074</c:v>
                </c:pt>
                <c:pt idx="30767">
                  <c:v>0.54872480827536996</c:v>
                </c:pt>
                <c:pt idx="30768">
                  <c:v>0.54874264312466503</c:v>
                </c:pt>
                <c:pt idx="30769">
                  <c:v>0.54876047797396099</c:v>
                </c:pt>
                <c:pt idx="30770">
                  <c:v>0.54877831282325595</c:v>
                </c:pt>
                <c:pt idx="30771">
                  <c:v>0.54879614767255203</c:v>
                </c:pt>
                <c:pt idx="30772">
                  <c:v>0.54881398252184699</c:v>
                </c:pt>
                <c:pt idx="30773">
                  <c:v>0.54883181737114295</c:v>
                </c:pt>
                <c:pt idx="30774">
                  <c:v>0.54884965222043802</c:v>
                </c:pt>
                <c:pt idx="30775">
                  <c:v>0.54886748706973398</c:v>
                </c:pt>
                <c:pt idx="30776">
                  <c:v>0.54888532191902895</c:v>
                </c:pt>
                <c:pt idx="30777">
                  <c:v>0.54890315676832502</c:v>
                </c:pt>
                <c:pt idx="30778">
                  <c:v>0.54892099161761998</c:v>
                </c:pt>
                <c:pt idx="30779">
                  <c:v>0.54893882646691605</c:v>
                </c:pt>
                <c:pt idx="30780">
                  <c:v>0.54895666131621101</c:v>
                </c:pt>
                <c:pt idx="30781">
                  <c:v>0.54897449616550698</c:v>
                </c:pt>
                <c:pt idx="30782">
                  <c:v>0.54899233101480205</c:v>
                </c:pt>
                <c:pt idx="30783">
                  <c:v>0.54901016586409801</c:v>
                </c:pt>
                <c:pt idx="30784">
                  <c:v>0.54902800071339397</c:v>
                </c:pt>
                <c:pt idx="30785">
                  <c:v>0.54904583556268904</c:v>
                </c:pt>
                <c:pt idx="30786">
                  <c:v>0.54906367041198501</c:v>
                </c:pt>
                <c:pt idx="30787">
                  <c:v>0.54908150526127997</c:v>
                </c:pt>
                <c:pt idx="30788">
                  <c:v>0.54909934011057604</c:v>
                </c:pt>
                <c:pt idx="30789">
                  <c:v>0.549117174959871</c:v>
                </c:pt>
                <c:pt idx="30790">
                  <c:v>0.54913500980916696</c:v>
                </c:pt>
                <c:pt idx="30791">
                  <c:v>0.54915284465846204</c:v>
                </c:pt>
                <c:pt idx="30792">
                  <c:v>0.549170679507758</c:v>
                </c:pt>
                <c:pt idx="30793">
                  <c:v>0.54918851435705296</c:v>
                </c:pt>
                <c:pt idx="30794">
                  <c:v>0.54920634920634903</c:v>
                </c:pt>
                <c:pt idx="30795">
                  <c:v>0.54922418405564399</c:v>
                </c:pt>
                <c:pt idx="30796">
                  <c:v>0.54924201890493995</c:v>
                </c:pt>
                <c:pt idx="30797">
                  <c:v>0.54925985375423503</c:v>
                </c:pt>
                <c:pt idx="30798">
                  <c:v>0.54927768860353099</c:v>
                </c:pt>
                <c:pt idx="30799">
                  <c:v>0.54929552345282595</c:v>
                </c:pt>
                <c:pt idx="30800">
                  <c:v>0.54931335830212202</c:v>
                </c:pt>
                <c:pt idx="30801">
                  <c:v>0.54933119315141699</c:v>
                </c:pt>
                <c:pt idx="30802">
                  <c:v>0.54934902800071295</c:v>
                </c:pt>
                <c:pt idx="30803">
                  <c:v>0.54936686285000802</c:v>
                </c:pt>
                <c:pt idx="30804">
                  <c:v>0.54938469769930398</c:v>
                </c:pt>
                <c:pt idx="30805">
                  <c:v>0.54940253254859905</c:v>
                </c:pt>
                <c:pt idx="30806">
                  <c:v>0.54942036739789502</c:v>
                </c:pt>
                <c:pt idx="30807">
                  <c:v>0.54943820224719098</c:v>
                </c:pt>
                <c:pt idx="30808">
                  <c:v>0.54945603709648605</c:v>
                </c:pt>
                <c:pt idx="30809">
                  <c:v>0.54947387194578201</c:v>
                </c:pt>
                <c:pt idx="30810">
                  <c:v>0.54949170679507697</c:v>
                </c:pt>
                <c:pt idx="30811">
                  <c:v>0.54950954164437305</c:v>
                </c:pt>
                <c:pt idx="30812">
                  <c:v>0.54952737649366801</c:v>
                </c:pt>
                <c:pt idx="30813">
                  <c:v>0.54954521134296397</c:v>
                </c:pt>
                <c:pt idx="30814">
                  <c:v>0.54956304619225904</c:v>
                </c:pt>
                <c:pt idx="30815">
                  <c:v>0.549580881041555</c:v>
                </c:pt>
                <c:pt idx="30816">
                  <c:v>0.54959871589084996</c:v>
                </c:pt>
                <c:pt idx="30817">
                  <c:v>0.54961655074014604</c:v>
                </c:pt>
                <c:pt idx="30818">
                  <c:v>0.549634385589441</c:v>
                </c:pt>
                <c:pt idx="30819">
                  <c:v>0.54965222043873696</c:v>
                </c:pt>
                <c:pt idx="30820">
                  <c:v>0.54967005528803203</c:v>
                </c:pt>
                <c:pt idx="30821">
                  <c:v>0.54968789013732799</c:v>
                </c:pt>
                <c:pt idx="30822">
                  <c:v>0.54970572498662296</c:v>
                </c:pt>
                <c:pt idx="30823">
                  <c:v>0.54972355983591903</c:v>
                </c:pt>
                <c:pt idx="30824">
                  <c:v>0.54974139468521399</c:v>
                </c:pt>
                <c:pt idx="30825">
                  <c:v>0.54975922953450995</c:v>
                </c:pt>
                <c:pt idx="30826">
                  <c:v>0.54977706438380503</c:v>
                </c:pt>
                <c:pt idx="30827">
                  <c:v>0.54979489923310099</c:v>
                </c:pt>
                <c:pt idx="30828">
                  <c:v>0.54981273408239695</c:v>
                </c:pt>
                <c:pt idx="30829">
                  <c:v>0.54983056893169202</c:v>
                </c:pt>
                <c:pt idx="30830">
                  <c:v>0.54984840378098798</c:v>
                </c:pt>
                <c:pt idx="30831">
                  <c:v>0.54986623863028306</c:v>
                </c:pt>
                <c:pt idx="30832">
                  <c:v>0.54988407347957902</c:v>
                </c:pt>
                <c:pt idx="30833">
                  <c:v>0.54990190832887398</c:v>
                </c:pt>
                <c:pt idx="30834">
                  <c:v>0.54991974317817005</c:v>
                </c:pt>
                <c:pt idx="30835">
                  <c:v>0.54993757802746501</c:v>
                </c:pt>
                <c:pt idx="30836">
                  <c:v>0.54995541287676097</c:v>
                </c:pt>
                <c:pt idx="30837">
                  <c:v>0.54997324772605605</c:v>
                </c:pt>
                <c:pt idx="30838">
                  <c:v>0.54999108257535201</c:v>
                </c:pt>
                <c:pt idx="30839">
                  <c:v>0.55000891742464697</c:v>
                </c:pt>
                <c:pt idx="30840">
                  <c:v>0.55002675227394304</c:v>
                </c:pt>
                <c:pt idx="30841">
                  <c:v>0.550044587123238</c:v>
                </c:pt>
                <c:pt idx="30842">
                  <c:v>0.55006242197253397</c:v>
                </c:pt>
                <c:pt idx="30843">
                  <c:v>0.55008025682182904</c:v>
                </c:pt>
                <c:pt idx="30844">
                  <c:v>0.550098091671125</c:v>
                </c:pt>
                <c:pt idx="30845">
                  <c:v>0.55011592652041996</c:v>
                </c:pt>
                <c:pt idx="30846">
                  <c:v>0.55013376136971603</c:v>
                </c:pt>
                <c:pt idx="30847">
                  <c:v>0.550151596219012</c:v>
                </c:pt>
                <c:pt idx="30848">
                  <c:v>0.55016943106830696</c:v>
                </c:pt>
                <c:pt idx="30849">
                  <c:v>0.55018726591760303</c:v>
                </c:pt>
                <c:pt idx="30850">
                  <c:v>0.55020510076689799</c:v>
                </c:pt>
                <c:pt idx="30851">
                  <c:v>0.55022293561619395</c:v>
                </c:pt>
                <c:pt idx="30852">
                  <c:v>0.55024077046548903</c:v>
                </c:pt>
                <c:pt idx="30853">
                  <c:v>0.55025860531478499</c:v>
                </c:pt>
                <c:pt idx="30854">
                  <c:v>0.55027644016407995</c:v>
                </c:pt>
                <c:pt idx="30855">
                  <c:v>0.55029427501337602</c:v>
                </c:pt>
                <c:pt idx="30856">
                  <c:v>0.55031210986267098</c:v>
                </c:pt>
                <c:pt idx="30857">
                  <c:v>0.55032994471196695</c:v>
                </c:pt>
                <c:pt idx="30858">
                  <c:v>0.55034777956126202</c:v>
                </c:pt>
                <c:pt idx="30859">
                  <c:v>0.55036561441055798</c:v>
                </c:pt>
                <c:pt idx="30860">
                  <c:v>0.55038344925985305</c:v>
                </c:pt>
                <c:pt idx="30861">
                  <c:v>0.55040128410914901</c:v>
                </c:pt>
                <c:pt idx="30862">
                  <c:v>0.55041911895844398</c:v>
                </c:pt>
                <c:pt idx="30863">
                  <c:v>0.55043695380774005</c:v>
                </c:pt>
                <c:pt idx="30864">
                  <c:v>0.55045478865703501</c:v>
                </c:pt>
                <c:pt idx="30865">
                  <c:v>0.55047262350633097</c:v>
                </c:pt>
                <c:pt idx="30866">
                  <c:v>0.55049045835562604</c:v>
                </c:pt>
                <c:pt idx="30867">
                  <c:v>0.55050829320492201</c:v>
                </c:pt>
                <c:pt idx="30868">
                  <c:v>0.55052612805421797</c:v>
                </c:pt>
                <c:pt idx="30869">
                  <c:v>0.55054396290351304</c:v>
                </c:pt>
                <c:pt idx="30870">
                  <c:v>0.550561797752809</c:v>
                </c:pt>
                <c:pt idx="30871">
                  <c:v>0.55057963260210396</c:v>
                </c:pt>
                <c:pt idx="30872">
                  <c:v>0.55059746745140004</c:v>
                </c:pt>
                <c:pt idx="30873">
                  <c:v>0.550615302300695</c:v>
                </c:pt>
                <c:pt idx="30874">
                  <c:v>0.55063313714999096</c:v>
                </c:pt>
                <c:pt idx="30875">
                  <c:v>0.55065097199928603</c:v>
                </c:pt>
                <c:pt idx="30876">
                  <c:v>0.55066880684858199</c:v>
                </c:pt>
                <c:pt idx="30877">
                  <c:v>0.55068664169787696</c:v>
                </c:pt>
                <c:pt idx="30878">
                  <c:v>0.55070447654717303</c:v>
                </c:pt>
                <c:pt idx="30879">
                  <c:v>0.55072231139646799</c:v>
                </c:pt>
                <c:pt idx="30880">
                  <c:v>0.55074014624576395</c:v>
                </c:pt>
                <c:pt idx="30881">
                  <c:v>0.55075798109505902</c:v>
                </c:pt>
                <c:pt idx="30882">
                  <c:v>0.55077581594435499</c:v>
                </c:pt>
                <c:pt idx="30883">
                  <c:v>0.55079365079364995</c:v>
                </c:pt>
                <c:pt idx="30884">
                  <c:v>0.55081148564294602</c:v>
                </c:pt>
                <c:pt idx="30885">
                  <c:v>0.55082932049224098</c:v>
                </c:pt>
                <c:pt idx="30886">
                  <c:v>0.55084715534153705</c:v>
                </c:pt>
                <c:pt idx="30887">
                  <c:v>0.55086499019083202</c:v>
                </c:pt>
                <c:pt idx="30888">
                  <c:v>0.55088282504012798</c:v>
                </c:pt>
                <c:pt idx="30889">
                  <c:v>0.55090065988942305</c:v>
                </c:pt>
                <c:pt idx="30890">
                  <c:v>0.55091849473871901</c:v>
                </c:pt>
                <c:pt idx="30891">
                  <c:v>0.55093632958801497</c:v>
                </c:pt>
                <c:pt idx="30892">
                  <c:v>0.55095416443731005</c:v>
                </c:pt>
                <c:pt idx="30893">
                  <c:v>0.55097199928660601</c:v>
                </c:pt>
                <c:pt idx="30894">
                  <c:v>0.55098983413590097</c:v>
                </c:pt>
                <c:pt idx="30895">
                  <c:v>0.55100766898519704</c:v>
                </c:pt>
                <c:pt idx="30896">
                  <c:v>0.551025503834492</c:v>
                </c:pt>
                <c:pt idx="30897">
                  <c:v>0.55104333868378796</c:v>
                </c:pt>
                <c:pt idx="30898">
                  <c:v>0.55106117353308304</c:v>
                </c:pt>
                <c:pt idx="30899">
                  <c:v>0.551079008382379</c:v>
                </c:pt>
                <c:pt idx="30900">
                  <c:v>0.55109684323167396</c:v>
                </c:pt>
                <c:pt idx="30901">
                  <c:v>0.55111467808097003</c:v>
                </c:pt>
                <c:pt idx="30902">
                  <c:v>0.55113251293026499</c:v>
                </c:pt>
                <c:pt idx="30903">
                  <c:v>0.55115034777956096</c:v>
                </c:pt>
                <c:pt idx="30904">
                  <c:v>0.55116818262885603</c:v>
                </c:pt>
                <c:pt idx="30905">
                  <c:v>0.55118601747815199</c:v>
                </c:pt>
                <c:pt idx="30906">
                  <c:v>0.55120385232744695</c:v>
                </c:pt>
                <c:pt idx="30907">
                  <c:v>0.55122168717674302</c:v>
                </c:pt>
                <c:pt idx="30908">
                  <c:v>0.55123952202603799</c:v>
                </c:pt>
                <c:pt idx="30909">
                  <c:v>0.55125735687533395</c:v>
                </c:pt>
                <c:pt idx="30910">
                  <c:v>0.55127519172462902</c:v>
                </c:pt>
                <c:pt idx="30911">
                  <c:v>0.55129302657392498</c:v>
                </c:pt>
                <c:pt idx="30912">
                  <c:v>0.55131086142322006</c:v>
                </c:pt>
                <c:pt idx="30913">
                  <c:v>0.55132869627251602</c:v>
                </c:pt>
                <c:pt idx="30914">
                  <c:v>0.55134653112181198</c:v>
                </c:pt>
                <c:pt idx="30915">
                  <c:v>0.55136436597110705</c:v>
                </c:pt>
                <c:pt idx="30916">
                  <c:v>0.55138220082040301</c:v>
                </c:pt>
                <c:pt idx="30917">
                  <c:v>0.55140003566969797</c:v>
                </c:pt>
                <c:pt idx="30918">
                  <c:v>0.55141787051899405</c:v>
                </c:pt>
                <c:pt idx="30919">
                  <c:v>0.55143570536828901</c:v>
                </c:pt>
                <c:pt idx="30920">
                  <c:v>0.55145354021758497</c:v>
                </c:pt>
                <c:pt idx="30921">
                  <c:v>0.55147137506688004</c:v>
                </c:pt>
                <c:pt idx="30922">
                  <c:v>0.551489209916176</c:v>
                </c:pt>
                <c:pt idx="30923">
                  <c:v>0.55150704476547097</c:v>
                </c:pt>
                <c:pt idx="30924">
                  <c:v>0.55152487961476704</c:v>
                </c:pt>
                <c:pt idx="30925">
                  <c:v>0.551542714464062</c:v>
                </c:pt>
                <c:pt idx="30926">
                  <c:v>0.55156054931335796</c:v>
                </c:pt>
                <c:pt idx="30927">
                  <c:v>0.55157838416265303</c:v>
                </c:pt>
                <c:pt idx="30928">
                  <c:v>0.551596219011949</c:v>
                </c:pt>
                <c:pt idx="30929">
                  <c:v>0.55161405386124396</c:v>
                </c:pt>
                <c:pt idx="30930">
                  <c:v>0.55163188871054003</c:v>
                </c:pt>
                <c:pt idx="30931">
                  <c:v>0.55164972355983499</c:v>
                </c:pt>
                <c:pt idx="30932">
                  <c:v>0.55166755840913095</c:v>
                </c:pt>
                <c:pt idx="30933">
                  <c:v>0.55168539325842603</c:v>
                </c:pt>
                <c:pt idx="30934">
                  <c:v>0.55170322810772199</c:v>
                </c:pt>
                <c:pt idx="30935">
                  <c:v>0.55172106295701795</c:v>
                </c:pt>
                <c:pt idx="30936">
                  <c:v>0.55173889780631302</c:v>
                </c:pt>
                <c:pt idx="30937">
                  <c:v>0.55175673265560898</c:v>
                </c:pt>
                <c:pt idx="30938">
                  <c:v>0.55177456750490395</c:v>
                </c:pt>
                <c:pt idx="30939">
                  <c:v>0.55179240235420002</c:v>
                </c:pt>
                <c:pt idx="30940">
                  <c:v>0.55181023720349498</c:v>
                </c:pt>
                <c:pt idx="30941">
                  <c:v>0.55182807205279105</c:v>
                </c:pt>
                <c:pt idx="30942">
                  <c:v>0.55184590690208601</c:v>
                </c:pt>
                <c:pt idx="30943">
                  <c:v>0.55186374175138198</c:v>
                </c:pt>
                <c:pt idx="30944">
                  <c:v>0.55188157660067705</c:v>
                </c:pt>
                <c:pt idx="30945">
                  <c:v>0.55189941144997301</c:v>
                </c:pt>
                <c:pt idx="30946">
                  <c:v>0.55191724629926797</c:v>
                </c:pt>
                <c:pt idx="30947">
                  <c:v>0.55193508114856404</c:v>
                </c:pt>
                <c:pt idx="30948">
                  <c:v>0.55195291599785901</c:v>
                </c:pt>
                <c:pt idx="30949">
                  <c:v>0.55197075084715497</c:v>
                </c:pt>
                <c:pt idx="30950">
                  <c:v>0.55198858569645004</c:v>
                </c:pt>
                <c:pt idx="30951">
                  <c:v>0.552006420545746</c:v>
                </c:pt>
                <c:pt idx="30952">
                  <c:v>0.55202425539504196</c:v>
                </c:pt>
                <c:pt idx="30953">
                  <c:v>0.55204209024433704</c:v>
                </c:pt>
                <c:pt idx="30954">
                  <c:v>0.552059925093633</c:v>
                </c:pt>
                <c:pt idx="30955">
                  <c:v>0.55207775994292796</c:v>
                </c:pt>
                <c:pt idx="30956">
                  <c:v>0.55209559479222403</c:v>
                </c:pt>
                <c:pt idx="30957">
                  <c:v>0.55211342964151899</c:v>
                </c:pt>
                <c:pt idx="30958">
                  <c:v>0.55213126449081495</c:v>
                </c:pt>
                <c:pt idx="30959">
                  <c:v>0.55214909934011003</c:v>
                </c:pt>
                <c:pt idx="30960">
                  <c:v>0.55216693418940599</c:v>
                </c:pt>
                <c:pt idx="30961">
                  <c:v>0.55218476903870095</c:v>
                </c:pt>
                <c:pt idx="30962">
                  <c:v>0.55220260388799702</c:v>
                </c:pt>
                <c:pt idx="30963">
                  <c:v>0.55222043873729199</c:v>
                </c:pt>
                <c:pt idx="30964">
                  <c:v>0.55223827358658795</c:v>
                </c:pt>
                <c:pt idx="30965">
                  <c:v>0.55225610843588302</c:v>
                </c:pt>
                <c:pt idx="30966">
                  <c:v>0.55227394328517898</c:v>
                </c:pt>
                <c:pt idx="30967">
                  <c:v>0.55229177813447405</c:v>
                </c:pt>
                <c:pt idx="30968">
                  <c:v>0.55230961298377002</c:v>
                </c:pt>
                <c:pt idx="30969">
                  <c:v>0.55232744783306498</c:v>
                </c:pt>
                <c:pt idx="30970">
                  <c:v>0.55234528268236105</c:v>
                </c:pt>
                <c:pt idx="30971">
                  <c:v>0.55236311753165601</c:v>
                </c:pt>
                <c:pt idx="30972">
                  <c:v>0.55238095238095197</c:v>
                </c:pt>
                <c:pt idx="30973">
                  <c:v>0.55239878723024705</c:v>
                </c:pt>
                <c:pt idx="30974">
                  <c:v>0.55241662207954301</c:v>
                </c:pt>
                <c:pt idx="30975">
                  <c:v>0.55243445692883897</c:v>
                </c:pt>
                <c:pt idx="30976">
                  <c:v>0.55245229177813404</c:v>
                </c:pt>
                <c:pt idx="30977">
                  <c:v>0.55247012662743</c:v>
                </c:pt>
                <c:pt idx="30978">
                  <c:v>0.55248796147672496</c:v>
                </c:pt>
                <c:pt idx="30979">
                  <c:v>0.55250579632602104</c:v>
                </c:pt>
                <c:pt idx="30980">
                  <c:v>0.552523631175316</c:v>
                </c:pt>
                <c:pt idx="30981">
                  <c:v>0.55254146602461196</c:v>
                </c:pt>
                <c:pt idx="30982">
                  <c:v>0.55255930087390703</c:v>
                </c:pt>
                <c:pt idx="30983">
                  <c:v>0.55257713572320299</c:v>
                </c:pt>
                <c:pt idx="30984">
                  <c:v>0.55259497057249796</c:v>
                </c:pt>
                <c:pt idx="30985">
                  <c:v>0.55261280542179403</c:v>
                </c:pt>
                <c:pt idx="30986">
                  <c:v>0.55263064027108899</c:v>
                </c:pt>
                <c:pt idx="30987">
                  <c:v>0.55264847512038495</c:v>
                </c:pt>
                <c:pt idx="30988">
                  <c:v>0.55266630996968003</c:v>
                </c:pt>
                <c:pt idx="30989">
                  <c:v>0.55268414481897599</c:v>
                </c:pt>
                <c:pt idx="30990">
                  <c:v>0.55270197966827095</c:v>
                </c:pt>
                <c:pt idx="30991">
                  <c:v>0.55271981451756702</c:v>
                </c:pt>
                <c:pt idx="30992">
                  <c:v>0.55273764936686198</c:v>
                </c:pt>
                <c:pt idx="30993">
                  <c:v>0.55275548421615806</c:v>
                </c:pt>
                <c:pt idx="30994">
                  <c:v>0.55277331906545302</c:v>
                </c:pt>
                <c:pt idx="30995">
                  <c:v>0.55279115391474898</c:v>
                </c:pt>
                <c:pt idx="30996">
                  <c:v>0.55280898876404405</c:v>
                </c:pt>
                <c:pt idx="30997">
                  <c:v>0.55282682361334001</c:v>
                </c:pt>
                <c:pt idx="30998">
                  <c:v>0.55284465846263597</c:v>
                </c:pt>
                <c:pt idx="30999">
                  <c:v>0.55286249331193105</c:v>
                </c:pt>
                <c:pt idx="31000">
                  <c:v>0.55288032816122701</c:v>
                </c:pt>
                <c:pt idx="31001">
                  <c:v>0.55289816301052197</c:v>
                </c:pt>
                <c:pt idx="31002">
                  <c:v>0.55291599785981804</c:v>
                </c:pt>
                <c:pt idx="31003">
                  <c:v>0.552933832709113</c:v>
                </c:pt>
                <c:pt idx="31004">
                  <c:v>0.55295166755840897</c:v>
                </c:pt>
                <c:pt idx="31005">
                  <c:v>0.55296950240770404</c:v>
                </c:pt>
                <c:pt idx="31006">
                  <c:v>0.552987337257</c:v>
                </c:pt>
                <c:pt idx="31007">
                  <c:v>0.55300517210629496</c:v>
                </c:pt>
                <c:pt idx="31008">
                  <c:v>0.55302300695559103</c:v>
                </c:pt>
                <c:pt idx="31009">
                  <c:v>0.553040841804886</c:v>
                </c:pt>
                <c:pt idx="31010">
                  <c:v>0.55305867665418196</c:v>
                </c:pt>
                <c:pt idx="31011">
                  <c:v>0.55307651150347703</c:v>
                </c:pt>
                <c:pt idx="31012">
                  <c:v>0.55309434635277299</c:v>
                </c:pt>
                <c:pt idx="31013">
                  <c:v>0.55311218120206795</c:v>
                </c:pt>
                <c:pt idx="31014">
                  <c:v>0.55313001605136403</c:v>
                </c:pt>
                <c:pt idx="31015">
                  <c:v>0.55314785090065899</c:v>
                </c:pt>
                <c:pt idx="31016">
                  <c:v>0.55316568574995495</c:v>
                </c:pt>
                <c:pt idx="31017">
                  <c:v>0.55318352059925002</c:v>
                </c:pt>
                <c:pt idx="31018">
                  <c:v>0.55320135544854598</c:v>
                </c:pt>
                <c:pt idx="31019">
                  <c:v>0.55321919029784195</c:v>
                </c:pt>
                <c:pt idx="31020">
                  <c:v>0.55323702514713702</c:v>
                </c:pt>
                <c:pt idx="31021">
                  <c:v>0.55325485999643298</c:v>
                </c:pt>
                <c:pt idx="31022">
                  <c:v>0.55327269484572805</c:v>
                </c:pt>
                <c:pt idx="31023">
                  <c:v>0.55329052969502401</c:v>
                </c:pt>
                <c:pt idx="31024">
                  <c:v>0.55330836454431898</c:v>
                </c:pt>
                <c:pt idx="31025">
                  <c:v>0.55332619939361505</c:v>
                </c:pt>
                <c:pt idx="31026">
                  <c:v>0.55334403424291001</c:v>
                </c:pt>
                <c:pt idx="31027">
                  <c:v>0.55336186909220597</c:v>
                </c:pt>
                <c:pt idx="31028">
                  <c:v>0.55337970394150104</c:v>
                </c:pt>
                <c:pt idx="31029">
                  <c:v>0.55339753879079701</c:v>
                </c:pt>
                <c:pt idx="31030">
                  <c:v>0.55341537364009197</c:v>
                </c:pt>
                <c:pt idx="31031">
                  <c:v>0.55343320848938804</c:v>
                </c:pt>
                <c:pt idx="31032">
                  <c:v>0.553451043338683</c:v>
                </c:pt>
                <c:pt idx="31033">
                  <c:v>0.55346887818797896</c:v>
                </c:pt>
                <c:pt idx="31034">
                  <c:v>0.55348671303727404</c:v>
                </c:pt>
                <c:pt idx="31035">
                  <c:v>0.55350454788657</c:v>
                </c:pt>
                <c:pt idx="31036">
                  <c:v>0.55352238273586496</c:v>
                </c:pt>
                <c:pt idx="31037">
                  <c:v>0.55354021758516103</c:v>
                </c:pt>
                <c:pt idx="31038">
                  <c:v>0.55355805243445599</c:v>
                </c:pt>
                <c:pt idx="31039">
                  <c:v>0.55357588728375196</c:v>
                </c:pt>
                <c:pt idx="31040">
                  <c:v>0.55359372213304803</c:v>
                </c:pt>
                <c:pt idx="31041">
                  <c:v>0.55361155698234299</c:v>
                </c:pt>
                <c:pt idx="31042">
                  <c:v>0.55362939183163895</c:v>
                </c:pt>
                <c:pt idx="31043">
                  <c:v>0.55364722668093402</c:v>
                </c:pt>
                <c:pt idx="31044">
                  <c:v>0.55366506153022998</c:v>
                </c:pt>
                <c:pt idx="31045">
                  <c:v>0.55368289637952495</c:v>
                </c:pt>
                <c:pt idx="31046">
                  <c:v>0.55370073122882102</c:v>
                </c:pt>
                <c:pt idx="31047">
                  <c:v>0.55371856607811598</c:v>
                </c:pt>
                <c:pt idx="31048">
                  <c:v>0.55373640092741205</c:v>
                </c:pt>
                <c:pt idx="31049">
                  <c:v>0.55375423577670702</c:v>
                </c:pt>
                <c:pt idx="31050">
                  <c:v>0.55377207062600298</c:v>
                </c:pt>
                <c:pt idx="31051">
                  <c:v>0.55378990547529805</c:v>
                </c:pt>
                <c:pt idx="31052">
                  <c:v>0.55380774032459401</c:v>
                </c:pt>
                <c:pt idx="31053">
                  <c:v>0.55382557517388897</c:v>
                </c:pt>
                <c:pt idx="31054">
                  <c:v>0.55384341002318505</c:v>
                </c:pt>
                <c:pt idx="31055">
                  <c:v>0.55386124487248001</c:v>
                </c:pt>
                <c:pt idx="31056">
                  <c:v>0.55387907972177597</c:v>
                </c:pt>
                <c:pt idx="31057">
                  <c:v>0.55389691457107104</c:v>
                </c:pt>
                <c:pt idx="31058">
                  <c:v>0.553914749420367</c:v>
                </c:pt>
                <c:pt idx="31059">
                  <c:v>0.55393258426966296</c:v>
                </c:pt>
                <c:pt idx="31060">
                  <c:v>0.55395041911895804</c:v>
                </c:pt>
                <c:pt idx="31061">
                  <c:v>0.553968253968254</c:v>
                </c:pt>
                <c:pt idx="31062">
                  <c:v>0.55398608881754896</c:v>
                </c:pt>
                <c:pt idx="31063">
                  <c:v>0.55400392366684503</c:v>
                </c:pt>
                <c:pt idx="31064">
                  <c:v>0.55402175851613999</c:v>
                </c:pt>
                <c:pt idx="31065">
                  <c:v>0.55403959336543596</c:v>
                </c:pt>
                <c:pt idx="31066">
                  <c:v>0.55405742821473103</c:v>
                </c:pt>
                <c:pt idx="31067">
                  <c:v>0.55407526306402699</c:v>
                </c:pt>
                <c:pt idx="31068">
                  <c:v>0.55409309791332195</c:v>
                </c:pt>
                <c:pt idx="31069">
                  <c:v>0.55411093276261802</c:v>
                </c:pt>
                <c:pt idx="31070">
                  <c:v>0.55412876761191299</c:v>
                </c:pt>
                <c:pt idx="31071">
                  <c:v>0.55414660246120895</c:v>
                </c:pt>
                <c:pt idx="31072">
                  <c:v>0.55416443731050402</c:v>
                </c:pt>
                <c:pt idx="31073">
                  <c:v>0.55418227215979998</c:v>
                </c:pt>
                <c:pt idx="31074">
                  <c:v>0.55420010700909506</c:v>
                </c:pt>
                <c:pt idx="31075">
                  <c:v>0.55421794185839102</c:v>
                </c:pt>
                <c:pt idx="31076">
                  <c:v>0.55423577670768598</c:v>
                </c:pt>
                <c:pt idx="31077">
                  <c:v>0.55425361155698205</c:v>
                </c:pt>
                <c:pt idx="31078">
                  <c:v>0.55427144640627701</c:v>
                </c:pt>
                <c:pt idx="31079">
                  <c:v>0.55428928125557297</c:v>
                </c:pt>
                <c:pt idx="31080">
                  <c:v>0.55430711610486805</c:v>
                </c:pt>
                <c:pt idx="31081">
                  <c:v>0.55432495095416401</c:v>
                </c:pt>
                <c:pt idx="31082">
                  <c:v>0.55434278580345997</c:v>
                </c:pt>
                <c:pt idx="31083">
                  <c:v>0.55436062065275504</c:v>
                </c:pt>
                <c:pt idx="31084">
                  <c:v>0.554378455502051</c:v>
                </c:pt>
                <c:pt idx="31085">
                  <c:v>0.55439629035134597</c:v>
                </c:pt>
                <c:pt idx="31086">
                  <c:v>0.55441412520064204</c:v>
                </c:pt>
                <c:pt idx="31087">
                  <c:v>0.554431960049937</c:v>
                </c:pt>
                <c:pt idx="31088">
                  <c:v>0.55444979489923296</c:v>
                </c:pt>
                <c:pt idx="31089">
                  <c:v>0.55446762974852803</c:v>
                </c:pt>
                <c:pt idx="31090">
                  <c:v>0.554485464597824</c:v>
                </c:pt>
                <c:pt idx="31091">
                  <c:v>0.55450329944711896</c:v>
                </c:pt>
                <c:pt idx="31092">
                  <c:v>0.55452113429641503</c:v>
                </c:pt>
                <c:pt idx="31093">
                  <c:v>0.55453896914570999</c:v>
                </c:pt>
                <c:pt idx="31094">
                  <c:v>0.55455680399500595</c:v>
                </c:pt>
                <c:pt idx="31095">
                  <c:v>0.55457463884430103</c:v>
                </c:pt>
                <c:pt idx="31096">
                  <c:v>0.55459247369359699</c:v>
                </c:pt>
                <c:pt idx="31097">
                  <c:v>0.55461030854289195</c:v>
                </c:pt>
                <c:pt idx="31098">
                  <c:v>0.55462814339218802</c:v>
                </c:pt>
                <c:pt idx="31099">
                  <c:v>0.55464597824148298</c:v>
                </c:pt>
                <c:pt idx="31100">
                  <c:v>0.55466381309077895</c:v>
                </c:pt>
                <c:pt idx="31101">
                  <c:v>0.55468164794007402</c:v>
                </c:pt>
                <c:pt idx="31102">
                  <c:v>0.55469948278936998</c:v>
                </c:pt>
                <c:pt idx="31103">
                  <c:v>0.55471731763866505</c:v>
                </c:pt>
                <c:pt idx="31104">
                  <c:v>0.55473515248796101</c:v>
                </c:pt>
                <c:pt idx="31105">
                  <c:v>0.55475298733725698</c:v>
                </c:pt>
                <c:pt idx="31106">
                  <c:v>0.55477082218655205</c:v>
                </c:pt>
                <c:pt idx="31107">
                  <c:v>0.55478865703584801</c:v>
                </c:pt>
                <c:pt idx="31108">
                  <c:v>0.55480649188514297</c:v>
                </c:pt>
                <c:pt idx="31109">
                  <c:v>0.55482432673443904</c:v>
                </c:pt>
                <c:pt idx="31110">
                  <c:v>0.55484216158373401</c:v>
                </c:pt>
                <c:pt idx="31111">
                  <c:v>0.55485999643302997</c:v>
                </c:pt>
                <c:pt idx="31112">
                  <c:v>0.55487783128232504</c:v>
                </c:pt>
                <c:pt idx="31113">
                  <c:v>0.554895666131621</c:v>
                </c:pt>
                <c:pt idx="31114">
                  <c:v>0.55491350098091596</c:v>
                </c:pt>
                <c:pt idx="31115">
                  <c:v>0.55493133583021204</c:v>
                </c:pt>
                <c:pt idx="31116">
                  <c:v>0.554949170679507</c:v>
                </c:pt>
                <c:pt idx="31117">
                  <c:v>0.55496700552880296</c:v>
                </c:pt>
                <c:pt idx="31118">
                  <c:v>0.55498484037809803</c:v>
                </c:pt>
                <c:pt idx="31119">
                  <c:v>0.55500267522739399</c:v>
                </c:pt>
                <c:pt idx="31120">
                  <c:v>0.55502051007668896</c:v>
                </c:pt>
                <c:pt idx="31121">
                  <c:v>0.55503834492598503</c:v>
                </c:pt>
                <c:pt idx="31122">
                  <c:v>0.55505617977527999</c:v>
                </c:pt>
                <c:pt idx="31123">
                  <c:v>0.55507401462457595</c:v>
                </c:pt>
                <c:pt idx="31124">
                  <c:v>0.55509184947387102</c:v>
                </c:pt>
                <c:pt idx="31125">
                  <c:v>0.55510968432316699</c:v>
                </c:pt>
                <c:pt idx="31126">
                  <c:v>0.55512751917246295</c:v>
                </c:pt>
                <c:pt idx="31127">
                  <c:v>0.55514535402175802</c:v>
                </c:pt>
                <c:pt idx="31128">
                  <c:v>0.55516318887105398</c:v>
                </c:pt>
                <c:pt idx="31129">
                  <c:v>0.55518102372034905</c:v>
                </c:pt>
                <c:pt idx="31130">
                  <c:v>0.55519885856964502</c:v>
                </c:pt>
                <c:pt idx="31131">
                  <c:v>0.55521669341893998</c:v>
                </c:pt>
                <c:pt idx="31132">
                  <c:v>0.55523452826823605</c:v>
                </c:pt>
                <c:pt idx="31133">
                  <c:v>0.55525236311753101</c:v>
                </c:pt>
                <c:pt idx="31134">
                  <c:v>0.55527019796682697</c:v>
                </c:pt>
                <c:pt idx="31135">
                  <c:v>0.55528803281612205</c:v>
                </c:pt>
                <c:pt idx="31136">
                  <c:v>0.55530586766541801</c:v>
                </c:pt>
                <c:pt idx="31137">
                  <c:v>0.55532370251471297</c:v>
                </c:pt>
                <c:pt idx="31138">
                  <c:v>0.55534153736400904</c:v>
                </c:pt>
                <c:pt idx="31139">
                  <c:v>0.555359372213304</c:v>
                </c:pt>
                <c:pt idx="31140">
                  <c:v>0.55537720706259996</c:v>
                </c:pt>
                <c:pt idx="31141">
                  <c:v>0.55539504191189504</c:v>
                </c:pt>
                <c:pt idx="31142">
                  <c:v>0.555412876761191</c:v>
                </c:pt>
                <c:pt idx="31143">
                  <c:v>0.55543071161048596</c:v>
                </c:pt>
                <c:pt idx="31144">
                  <c:v>0.55544854645978203</c:v>
                </c:pt>
                <c:pt idx="31145">
                  <c:v>0.555466381309077</c:v>
                </c:pt>
                <c:pt idx="31146">
                  <c:v>0.55548421615837296</c:v>
                </c:pt>
                <c:pt idx="31147">
                  <c:v>0.55550205100766903</c:v>
                </c:pt>
                <c:pt idx="31148">
                  <c:v>0.55551988585696399</c:v>
                </c:pt>
                <c:pt idx="31149">
                  <c:v>0.55553772070625995</c:v>
                </c:pt>
                <c:pt idx="31150">
                  <c:v>0.55555555555555503</c:v>
                </c:pt>
                <c:pt idx="31151">
                  <c:v>0.55557339040485099</c:v>
                </c:pt>
                <c:pt idx="31152">
                  <c:v>0.55559122525414595</c:v>
                </c:pt>
                <c:pt idx="31153">
                  <c:v>0.55560906010344202</c:v>
                </c:pt>
                <c:pt idx="31154">
                  <c:v>0.55562689495273698</c:v>
                </c:pt>
                <c:pt idx="31155">
                  <c:v>0.55564472980203305</c:v>
                </c:pt>
                <c:pt idx="31156">
                  <c:v>0.55566256465132802</c:v>
                </c:pt>
                <c:pt idx="31157">
                  <c:v>0.55568039950062398</c:v>
                </c:pt>
                <c:pt idx="31158">
                  <c:v>0.55569823434991905</c:v>
                </c:pt>
                <c:pt idx="31159">
                  <c:v>0.55571606919921501</c:v>
                </c:pt>
                <c:pt idx="31160">
                  <c:v>0.55573390404850997</c:v>
                </c:pt>
                <c:pt idx="31161">
                  <c:v>0.55575173889780605</c:v>
                </c:pt>
                <c:pt idx="31162">
                  <c:v>0.55576957374710101</c:v>
                </c:pt>
                <c:pt idx="31163">
                  <c:v>0.55578740859639697</c:v>
                </c:pt>
                <c:pt idx="31164">
                  <c:v>0.55580524344569204</c:v>
                </c:pt>
                <c:pt idx="31165">
                  <c:v>0.555823078294988</c:v>
                </c:pt>
                <c:pt idx="31166">
                  <c:v>0.55584091314428397</c:v>
                </c:pt>
                <c:pt idx="31167">
                  <c:v>0.55585874799357904</c:v>
                </c:pt>
                <c:pt idx="31168">
                  <c:v>0.555876582842875</c:v>
                </c:pt>
                <c:pt idx="31169">
                  <c:v>0.55589441769216996</c:v>
                </c:pt>
                <c:pt idx="31170">
                  <c:v>0.55591225254146603</c:v>
                </c:pt>
                <c:pt idx="31171">
                  <c:v>0.555930087390761</c:v>
                </c:pt>
                <c:pt idx="31172">
                  <c:v>0.55594792224005696</c:v>
                </c:pt>
                <c:pt idx="31173">
                  <c:v>0.55596575708935203</c:v>
                </c:pt>
                <c:pt idx="31174">
                  <c:v>0.55598359193864799</c:v>
                </c:pt>
                <c:pt idx="31175">
                  <c:v>0.55600142678794295</c:v>
                </c:pt>
                <c:pt idx="31176">
                  <c:v>0.55601926163723903</c:v>
                </c:pt>
                <c:pt idx="31177">
                  <c:v>0.55603709648653399</c:v>
                </c:pt>
                <c:pt idx="31178">
                  <c:v>0.55605493133582995</c:v>
                </c:pt>
                <c:pt idx="31179">
                  <c:v>0.55607276618512502</c:v>
                </c:pt>
                <c:pt idx="31180">
                  <c:v>0.55609060103442098</c:v>
                </c:pt>
                <c:pt idx="31181">
                  <c:v>0.55610843588371595</c:v>
                </c:pt>
                <c:pt idx="31182">
                  <c:v>0.55612627073301202</c:v>
                </c:pt>
                <c:pt idx="31183">
                  <c:v>0.55614410558230698</c:v>
                </c:pt>
                <c:pt idx="31184">
                  <c:v>0.55616194043160305</c:v>
                </c:pt>
                <c:pt idx="31185">
                  <c:v>0.55617977528089801</c:v>
                </c:pt>
                <c:pt idx="31186">
                  <c:v>0.55619761013019398</c:v>
                </c:pt>
                <c:pt idx="31187">
                  <c:v>0.55621544497948905</c:v>
                </c:pt>
                <c:pt idx="31188">
                  <c:v>0.55623327982878501</c:v>
                </c:pt>
                <c:pt idx="31189">
                  <c:v>0.55625111467808097</c:v>
                </c:pt>
                <c:pt idx="31190">
                  <c:v>0.55626894952737604</c:v>
                </c:pt>
                <c:pt idx="31191">
                  <c:v>0.55628678437667201</c:v>
                </c:pt>
                <c:pt idx="31192">
                  <c:v>0.55630461922596697</c:v>
                </c:pt>
                <c:pt idx="31193">
                  <c:v>0.55632245407526304</c:v>
                </c:pt>
                <c:pt idx="31194">
                  <c:v>0.556340288924558</c:v>
                </c:pt>
                <c:pt idx="31195">
                  <c:v>0.55635812377385396</c:v>
                </c:pt>
                <c:pt idx="31196">
                  <c:v>0.55637595862314904</c:v>
                </c:pt>
                <c:pt idx="31197">
                  <c:v>0.556393793472445</c:v>
                </c:pt>
                <c:pt idx="31198">
                  <c:v>0.55641162832173996</c:v>
                </c:pt>
                <c:pt idx="31199">
                  <c:v>0.55642946317103603</c:v>
                </c:pt>
                <c:pt idx="31200">
                  <c:v>0.55644729802033099</c:v>
                </c:pt>
                <c:pt idx="31201">
                  <c:v>0.55646513286962695</c:v>
                </c:pt>
                <c:pt idx="31202">
                  <c:v>0.55648296771892203</c:v>
                </c:pt>
                <c:pt idx="31203">
                  <c:v>0.55650080256821799</c:v>
                </c:pt>
                <c:pt idx="31204">
                  <c:v>0.55651863741751295</c:v>
                </c:pt>
                <c:pt idx="31205">
                  <c:v>0.55653647226680902</c:v>
                </c:pt>
                <c:pt idx="31206">
                  <c:v>0.55655430711610399</c:v>
                </c:pt>
                <c:pt idx="31207">
                  <c:v>0.55657214196539995</c:v>
                </c:pt>
                <c:pt idx="31208">
                  <c:v>0.55658997681469502</c:v>
                </c:pt>
                <c:pt idx="31209">
                  <c:v>0.55660781166399098</c:v>
                </c:pt>
                <c:pt idx="31210">
                  <c:v>0.55662564651328605</c:v>
                </c:pt>
                <c:pt idx="31211">
                  <c:v>0.55664348136258202</c:v>
                </c:pt>
                <c:pt idx="31212">
                  <c:v>0.55666131621187798</c:v>
                </c:pt>
                <c:pt idx="31213">
                  <c:v>0.55667915106117305</c:v>
                </c:pt>
                <c:pt idx="31214">
                  <c:v>0.55669698591046901</c:v>
                </c:pt>
                <c:pt idx="31215">
                  <c:v>0.55671482075976397</c:v>
                </c:pt>
                <c:pt idx="31216">
                  <c:v>0.55673265560906005</c:v>
                </c:pt>
                <c:pt idx="31217">
                  <c:v>0.55675049045835501</c:v>
                </c:pt>
                <c:pt idx="31218">
                  <c:v>0.55676832530765097</c:v>
                </c:pt>
                <c:pt idx="31219">
                  <c:v>0.55678616015694604</c:v>
                </c:pt>
                <c:pt idx="31220">
                  <c:v>0.556803995006242</c:v>
                </c:pt>
                <c:pt idx="31221">
                  <c:v>0.55682182985553696</c:v>
                </c:pt>
                <c:pt idx="31222">
                  <c:v>0.55683966470483304</c:v>
                </c:pt>
                <c:pt idx="31223">
                  <c:v>0.556857499554128</c:v>
                </c:pt>
                <c:pt idx="31224">
                  <c:v>0.55687533440342396</c:v>
                </c:pt>
                <c:pt idx="31225">
                  <c:v>0.55689316925271903</c:v>
                </c:pt>
                <c:pt idx="31226">
                  <c:v>0.55691100410201499</c:v>
                </c:pt>
                <c:pt idx="31227">
                  <c:v>0.55692883895130996</c:v>
                </c:pt>
                <c:pt idx="31228">
                  <c:v>0.55694667380060603</c:v>
                </c:pt>
                <c:pt idx="31229">
                  <c:v>0.55696450864990099</c:v>
                </c:pt>
                <c:pt idx="31230">
                  <c:v>0.55698234349919695</c:v>
                </c:pt>
                <c:pt idx="31231">
                  <c:v>0.55700017834849203</c:v>
                </c:pt>
                <c:pt idx="31232">
                  <c:v>0.55701801319778799</c:v>
                </c:pt>
                <c:pt idx="31233">
                  <c:v>0.55703584804708395</c:v>
                </c:pt>
                <c:pt idx="31234">
                  <c:v>0.55705368289637902</c:v>
                </c:pt>
                <c:pt idx="31235">
                  <c:v>0.55707151774567498</c:v>
                </c:pt>
                <c:pt idx="31236">
                  <c:v>0.55708935259497006</c:v>
                </c:pt>
                <c:pt idx="31237">
                  <c:v>0.55710718744426602</c:v>
                </c:pt>
                <c:pt idx="31238">
                  <c:v>0.55712502229356098</c:v>
                </c:pt>
                <c:pt idx="31239">
                  <c:v>0.55714285714285705</c:v>
                </c:pt>
                <c:pt idx="31240">
                  <c:v>0.55716069199215201</c:v>
                </c:pt>
                <c:pt idx="31241">
                  <c:v>0.55717852684144797</c:v>
                </c:pt>
                <c:pt idx="31242">
                  <c:v>0.55719636169074305</c:v>
                </c:pt>
                <c:pt idx="31243">
                  <c:v>0.55721419654003901</c:v>
                </c:pt>
                <c:pt idx="31244">
                  <c:v>0.55723203138933397</c:v>
                </c:pt>
                <c:pt idx="31245">
                  <c:v>0.55724986623863004</c:v>
                </c:pt>
                <c:pt idx="31246">
                  <c:v>0.557267701087925</c:v>
                </c:pt>
                <c:pt idx="31247">
                  <c:v>0.55728553593722097</c:v>
                </c:pt>
                <c:pt idx="31248">
                  <c:v>0.55730337078651604</c:v>
                </c:pt>
                <c:pt idx="31249">
                  <c:v>0.557321205635812</c:v>
                </c:pt>
                <c:pt idx="31250">
                  <c:v>0.55733904048510696</c:v>
                </c:pt>
                <c:pt idx="31251">
                  <c:v>0.55735687533440303</c:v>
                </c:pt>
                <c:pt idx="31252">
                  <c:v>0.557374710183699</c:v>
                </c:pt>
                <c:pt idx="31253">
                  <c:v>0.55739254503299396</c:v>
                </c:pt>
                <c:pt idx="31254">
                  <c:v>0.55741037988229003</c:v>
                </c:pt>
                <c:pt idx="31255">
                  <c:v>0.55742821473158499</c:v>
                </c:pt>
                <c:pt idx="31256">
                  <c:v>0.55744604958088095</c:v>
                </c:pt>
                <c:pt idx="31257">
                  <c:v>0.55746388443017603</c:v>
                </c:pt>
                <c:pt idx="31258">
                  <c:v>0.55748171927947199</c:v>
                </c:pt>
                <c:pt idx="31259">
                  <c:v>0.55749955412876695</c:v>
                </c:pt>
                <c:pt idx="31260">
                  <c:v>0.55751738897806302</c:v>
                </c:pt>
                <c:pt idx="31261">
                  <c:v>0.55753522382735798</c:v>
                </c:pt>
                <c:pt idx="31262">
                  <c:v>0.55755305867665395</c:v>
                </c:pt>
                <c:pt idx="31263">
                  <c:v>0.55757089352594902</c:v>
                </c:pt>
                <c:pt idx="31264">
                  <c:v>0.55758872837524498</c:v>
                </c:pt>
                <c:pt idx="31265">
                  <c:v>0.55760656322454005</c:v>
                </c:pt>
                <c:pt idx="31266">
                  <c:v>0.55762439807383601</c:v>
                </c:pt>
                <c:pt idx="31267">
                  <c:v>0.55764223292313098</c:v>
                </c:pt>
                <c:pt idx="31268">
                  <c:v>0.55766006777242705</c:v>
                </c:pt>
                <c:pt idx="31269">
                  <c:v>0.55767790262172201</c:v>
                </c:pt>
                <c:pt idx="31270">
                  <c:v>0.55769573747101797</c:v>
                </c:pt>
                <c:pt idx="31271">
                  <c:v>0.55771357232031304</c:v>
                </c:pt>
                <c:pt idx="31272">
                  <c:v>0.55773140716960901</c:v>
                </c:pt>
                <c:pt idx="31273">
                  <c:v>0.55774924201890497</c:v>
                </c:pt>
                <c:pt idx="31274">
                  <c:v>0.55776707686820004</c:v>
                </c:pt>
                <c:pt idx="31275">
                  <c:v>0.557784911717496</c:v>
                </c:pt>
                <c:pt idx="31276">
                  <c:v>0.55780274656679096</c:v>
                </c:pt>
                <c:pt idx="31277">
                  <c:v>0.55782058141608704</c:v>
                </c:pt>
                <c:pt idx="31278">
                  <c:v>0.557838416265382</c:v>
                </c:pt>
                <c:pt idx="31279">
                  <c:v>0.55785625111467796</c:v>
                </c:pt>
                <c:pt idx="31280">
                  <c:v>0.55787408596397303</c:v>
                </c:pt>
                <c:pt idx="31281">
                  <c:v>0.55789192081326899</c:v>
                </c:pt>
                <c:pt idx="31282">
                  <c:v>0.55790975566256396</c:v>
                </c:pt>
                <c:pt idx="31283">
                  <c:v>0.55792759051186003</c:v>
                </c:pt>
                <c:pt idx="31284">
                  <c:v>0.55794542536115499</c:v>
                </c:pt>
                <c:pt idx="31285">
                  <c:v>0.55796326021045095</c:v>
                </c:pt>
                <c:pt idx="31286">
                  <c:v>0.55798109505974602</c:v>
                </c:pt>
                <c:pt idx="31287">
                  <c:v>0.55799892990904199</c:v>
                </c:pt>
                <c:pt idx="31288">
                  <c:v>0.55801676475833695</c:v>
                </c:pt>
                <c:pt idx="31289">
                  <c:v>0.55803459960763302</c:v>
                </c:pt>
                <c:pt idx="31290">
                  <c:v>0.55805243445692798</c:v>
                </c:pt>
                <c:pt idx="31291">
                  <c:v>0.55807026930622405</c:v>
                </c:pt>
                <c:pt idx="31292">
                  <c:v>0.55808810415551902</c:v>
                </c:pt>
                <c:pt idx="31293">
                  <c:v>0.55810593900481498</c:v>
                </c:pt>
                <c:pt idx="31294">
                  <c:v>0.55812377385411005</c:v>
                </c:pt>
                <c:pt idx="31295">
                  <c:v>0.55814160870340601</c:v>
                </c:pt>
                <c:pt idx="31296">
                  <c:v>0.55815944355270197</c:v>
                </c:pt>
                <c:pt idx="31297">
                  <c:v>0.55817727840199705</c:v>
                </c:pt>
                <c:pt idx="31298">
                  <c:v>0.55819511325129301</c:v>
                </c:pt>
                <c:pt idx="31299">
                  <c:v>0.55821294810058797</c:v>
                </c:pt>
                <c:pt idx="31300">
                  <c:v>0.55823078294988404</c:v>
                </c:pt>
                <c:pt idx="31301">
                  <c:v>0.558248617799179</c:v>
                </c:pt>
                <c:pt idx="31302">
                  <c:v>0.55826645264847496</c:v>
                </c:pt>
                <c:pt idx="31303">
                  <c:v>0.55828428749777004</c:v>
                </c:pt>
                <c:pt idx="31304">
                  <c:v>0.558302122347066</c:v>
                </c:pt>
                <c:pt idx="31305">
                  <c:v>0.55831995719636096</c:v>
                </c:pt>
                <c:pt idx="31306">
                  <c:v>0.55833779204565703</c:v>
                </c:pt>
                <c:pt idx="31307">
                  <c:v>0.558355626894952</c:v>
                </c:pt>
                <c:pt idx="31308">
                  <c:v>0.55837346174424796</c:v>
                </c:pt>
                <c:pt idx="31309">
                  <c:v>0.55839129659354303</c:v>
                </c:pt>
                <c:pt idx="31310">
                  <c:v>0.55840913144283899</c:v>
                </c:pt>
                <c:pt idx="31311">
                  <c:v>0.55842696629213395</c:v>
                </c:pt>
                <c:pt idx="31312">
                  <c:v>0.55844480114143003</c:v>
                </c:pt>
                <c:pt idx="31313">
                  <c:v>0.55846263599072499</c:v>
                </c:pt>
                <c:pt idx="31314">
                  <c:v>0.55848047084002095</c:v>
                </c:pt>
                <c:pt idx="31315">
                  <c:v>0.55849830568931602</c:v>
                </c:pt>
                <c:pt idx="31316">
                  <c:v>0.55851614053861198</c:v>
                </c:pt>
                <c:pt idx="31317">
                  <c:v>0.55853397538790694</c:v>
                </c:pt>
                <c:pt idx="31318">
                  <c:v>0.55855181023720302</c:v>
                </c:pt>
                <c:pt idx="31319">
                  <c:v>0.55856964508649898</c:v>
                </c:pt>
                <c:pt idx="31320">
                  <c:v>0.55858747993579405</c:v>
                </c:pt>
                <c:pt idx="31321">
                  <c:v>0.55860531478509001</c:v>
                </c:pt>
                <c:pt idx="31322">
                  <c:v>0.55862314963438497</c:v>
                </c:pt>
                <c:pt idx="31323">
                  <c:v>0.55864098448368105</c:v>
                </c:pt>
                <c:pt idx="31324">
                  <c:v>0.55865881933297601</c:v>
                </c:pt>
                <c:pt idx="31325">
                  <c:v>0.55867665418227197</c:v>
                </c:pt>
                <c:pt idx="31326">
                  <c:v>0.55869448903156704</c:v>
                </c:pt>
                <c:pt idx="31327">
                  <c:v>0.558712323880863</c:v>
                </c:pt>
                <c:pt idx="31328">
                  <c:v>0.55873015873015797</c:v>
                </c:pt>
                <c:pt idx="31329">
                  <c:v>0.55874799357945404</c:v>
                </c:pt>
                <c:pt idx="31330">
                  <c:v>0.558765828428749</c:v>
                </c:pt>
                <c:pt idx="31331">
                  <c:v>0.55878366327804496</c:v>
                </c:pt>
                <c:pt idx="31332">
                  <c:v>0.55880149812734004</c:v>
                </c:pt>
                <c:pt idx="31333">
                  <c:v>0.558819332976636</c:v>
                </c:pt>
                <c:pt idx="31334">
                  <c:v>0.55883716782593096</c:v>
                </c:pt>
                <c:pt idx="31335">
                  <c:v>0.55885500267522703</c:v>
                </c:pt>
                <c:pt idx="31336">
                  <c:v>0.55887283752452199</c:v>
                </c:pt>
                <c:pt idx="31337">
                  <c:v>0.55889067237381795</c:v>
                </c:pt>
                <c:pt idx="31338">
                  <c:v>0.55890850722311303</c:v>
                </c:pt>
                <c:pt idx="31339">
                  <c:v>0.55892634207240899</c:v>
                </c:pt>
                <c:pt idx="31340">
                  <c:v>0.55894417692170495</c:v>
                </c:pt>
                <c:pt idx="31341">
                  <c:v>0.55896201177100002</c:v>
                </c:pt>
                <c:pt idx="31342">
                  <c:v>0.55897984662029598</c:v>
                </c:pt>
                <c:pt idx="31343">
                  <c:v>0.55899768146959095</c:v>
                </c:pt>
                <c:pt idx="31344">
                  <c:v>0.55901551631888702</c:v>
                </c:pt>
                <c:pt idx="31345">
                  <c:v>0.55903335116818198</c:v>
                </c:pt>
                <c:pt idx="31346">
                  <c:v>0.55905118601747805</c:v>
                </c:pt>
                <c:pt idx="31347">
                  <c:v>0.55906902086677301</c:v>
                </c:pt>
                <c:pt idx="31348">
                  <c:v>0.55908685571606898</c:v>
                </c:pt>
                <c:pt idx="31349">
                  <c:v>0.55910469056536405</c:v>
                </c:pt>
                <c:pt idx="31350">
                  <c:v>0.55912252541466001</c:v>
                </c:pt>
                <c:pt idx="31351">
                  <c:v>0.55914036026395497</c:v>
                </c:pt>
                <c:pt idx="31352">
                  <c:v>0.55915819511325104</c:v>
                </c:pt>
                <c:pt idx="31353">
                  <c:v>0.55917602996254601</c:v>
                </c:pt>
                <c:pt idx="31354">
                  <c:v>0.55919386481184197</c:v>
                </c:pt>
                <c:pt idx="31355">
                  <c:v>0.55921169966113704</c:v>
                </c:pt>
                <c:pt idx="31356">
                  <c:v>0.559229534510433</c:v>
                </c:pt>
                <c:pt idx="31357">
                  <c:v>0.55924736935972896</c:v>
                </c:pt>
                <c:pt idx="31358">
                  <c:v>0.55926520420902404</c:v>
                </c:pt>
                <c:pt idx="31359">
                  <c:v>0.55928303905832</c:v>
                </c:pt>
                <c:pt idx="31360">
                  <c:v>0.55930087390761496</c:v>
                </c:pt>
                <c:pt idx="31361">
                  <c:v>0.55931870875691103</c:v>
                </c:pt>
                <c:pt idx="31362">
                  <c:v>0.55933654360620599</c:v>
                </c:pt>
                <c:pt idx="31363">
                  <c:v>0.55935437845550195</c:v>
                </c:pt>
                <c:pt idx="31364">
                  <c:v>0.55937221330479703</c:v>
                </c:pt>
                <c:pt idx="31365">
                  <c:v>0.55939004815409299</c:v>
                </c:pt>
                <c:pt idx="31366">
                  <c:v>0.55940788300338795</c:v>
                </c:pt>
                <c:pt idx="31367">
                  <c:v>0.55942571785268402</c:v>
                </c:pt>
                <c:pt idx="31368">
                  <c:v>0.55944355270197899</c:v>
                </c:pt>
                <c:pt idx="31369">
                  <c:v>0.55946138755127495</c:v>
                </c:pt>
                <c:pt idx="31370">
                  <c:v>0.55947922240057002</c:v>
                </c:pt>
                <c:pt idx="31371">
                  <c:v>0.55949705724986598</c:v>
                </c:pt>
                <c:pt idx="31372">
                  <c:v>0.55951489209916105</c:v>
                </c:pt>
                <c:pt idx="31373">
                  <c:v>0.55953272694845702</c:v>
                </c:pt>
                <c:pt idx="31374">
                  <c:v>0.55955056179775198</c:v>
                </c:pt>
                <c:pt idx="31375">
                  <c:v>0.55956839664704805</c:v>
                </c:pt>
                <c:pt idx="31376">
                  <c:v>0.55958623149634301</c:v>
                </c:pt>
                <c:pt idx="31377">
                  <c:v>0.55960406634563897</c:v>
                </c:pt>
                <c:pt idx="31378">
                  <c:v>0.55962190119493405</c:v>
                </c:pt>
                <c:pt idx="31379">
                  <c:v>0.55963973604423001</c:v>
                </c:pt>
                <c:pt idx="31380">
                  <c:v>0.55965757089352597</c:v>
                </c:pt>
                <c:pt idx="31381">
                  <c:v>0.55967540574282104</c:v>
                </c:pt>
                <c:pt idx="31382">
                  <c:v>0.559693240592117</c:v>
                </c:pt>
                <c:pt idx="31383">
                  <c:v>0.55971107544141196</c:v>
                </c:pt>
                <c:pt idx="31384">
                  <c:v>0.55972891029070804</c:v>
                </c:pt>
                <c:pt idx="31385">
                  <c:v>0.559746745140003</c:v>
                </c:pt>
                <c:pt idx="31386">
                  <c:v>0.55976457998929896</c:v>
                </c:pt>
                <c:pt idx="31387">
                  <c:v>0.55978241483859403</c:v>
                </c:pt>
                <c:pt idx="31388">
                  <c:v>0.55980024968788999</c:v>
                </c:pt>
                <c:pt idx="31389">
                  <c:v>0.55981808453718496</c:v>
                </c:pt>
                <c:pt idx="31390">
                  <c:v>0.55983591938648103</c:v>
                </c:pt>
                <c:pt idx="31391">
                  <c:v>0.55985375423577599</c:v>
                </c:pt>
                <c:pt idx="31392">
                  <c:v>0.55987158908507195</c:v>
                </c:pt>
                <c:pt idx="31393">
                  <c:v>0.55988942393436703</c:v>
                </c:pt>
                <c:pt idx="31394">
                  <c:v>0.55990725878366299</c:v>
                </c:pt>
                <c:pt idx="31395">
                  <c:v>0.55992509363295795</c:v>
                </c:pt>
                <c:pt idx="31396">
                  <c:v>0.55994292848225402</c:v>
                </c:pt>
                <c:pt idx="31397">
                  <c:v>0.55996076333154898</c:v>
                </c:pt>
                <c:pt idx="31398">
                  <c:v>0.55997859818084506</c:v>
                </c:pt>
                <c:pt idx="31399">
                  <c:v>0.55999643303014002</c:v>
                </c:pt>
                <c:pt idx="31400">
                  <c:v>0.56001426787943598</c:v>
                </c:pt>
                <c:pt idx="31401">
                  <c:v>0.56003210272873105</c:v>
                </c:pt>
                <c:pt idx="31402">
                  <c:v>0.56004993757802701</c:v>
                </c:pt>
                <c:pt idx="31403">
                  <c:v>0.56006777242732297</c:v>
                </c:pt>
                <c:pt idx="31404">
                  <c:v>0.56008560727661805</c:v>
                </c:pt>
                <c:pt idx="31405">
                  <c:v>0.56010344212591401</c:v>
                </c:pt>
                <c:pt idx="31406">
                  <c:v>0.56012127697520897</c:v>
                </c:pt>
                <c:pt idx="31407">
                  <c:v>0.56013911182450504</c:v>
                </c:pt>
                <c:pt idx="31408">
                  <c:v>0.5601569466738</c:v>
                </c:pt>
                <c:pt idx="31409">
                  <c:v>0.56017478152309597</c:v>
                </c:pt>
                <c:pt idx="31410">
                  <c:v>0.56019261637239104</c:v>
                </c:pt>
                <c:pt idx="31411">
                  <c:v>0.560210451221687</c:v>
                </c:pt>
                <c:pt idx="31412">
                  <c:v>0.56022828607098196</c:v>
                </c:pt>
                <c:pt idx="31413">
                  <c:v>0.56024612092027803</c:v>
                </c:pt>
                <c:pt idx="31414">
                  <c:v>0.560263955769573</c:v>
                </c:pt>
                <c:pt idx="31415">
                  <c:v>0.56028179061886896</c:v>
                </c:pt>
                <c:pt idx="31416">
                  <c:v>0.56029962546816403</c:v>
                </c:pt>
                <c:pt idx="31417">
                  <c:v>0.56031746031745999</c:v>
                </c:pt>
                <c:pt idx="31418">
                  <c:v>0.56033529516675495</c:v>
                </c:pt>
                <c:pt idx="31419">
                  <c:v>0.56035313001605103</c:v>
                </c:pt>
                <c:pt idx="31420">
                  <c:v>0.56037096486534599</c:v>
                </c:pt>
                <c:pt idx="31421">
                  <c:v>0.56038879971464195</c:v>
                </c:pt>
                <c:pt idx="31422">
                  <c:v>0.56040663456393702</c:v>
                </c:pt>
                <c:pt idx="31423">
                  <c:v>0.56042446941323298</c:v>
                </c:pt>
                <c:pt idx="31424">
                  <c:v>0.56044230426252895</c:v>
                </c:pt>
                <c:pt idx="31425">
                  <c:v>0.56046013911182402</c:v>
                </c:pt>
                <c:pt idx="31426">
                  <c:v>0.56047797396111998</c:v>
                </c:pt>
                <c:pt idx="31427">
                  <c:v>0.56049580881041505</c:v>
                </c:pt>
                <c:pt idx="31428">
                  <c:v>0.56051364365971101</c:v>
                </c:pt>
                <c:pt idx="31429">
                  <c:v>0.56053147850900598</c:v>
                </c:pt>
                <c:pt idx="31430">
                  <c:v>0.56054931335830205</c:v>
                </c:pt>
                <c:pt idx="31431">
                  <c:v>0.56056714820759701</c:v>
                </c:pt>
                <c:pt idx="31432">
                  <c:v>0.56058498305689297</c:v>
                </c:pt>
                <c:pt idx="31433">
                  <c:v>0.56060281790618804</c:v>
                </c:pt>
                <c:pt idx="31434">
                  <c:v>0.56062065275548401</c:v>
                </c:pt>
                <c:pt idx="31435">
                  <c:v>0.56063848760477897</c:v>
                </c:pt>
                <c:pt idx="31436">
                  <c:v>0.56065632245407504</c:v>
                </c:pt>
                <c:pt idx="31437">
                  <c:v>0.56067415730337</c:v>
                </c:pt>
                <c:pt idx="31438">
                  <c:v>0.56069199215266596</c:v>
                </c:pt>
                <c:pt idx="31439">
                  <c:v>0.56070982700196104</c:v>
                </c:pt>
                <c:pt idx="31440">
                  <c:v>0.560727661851257</c:v>
                </c:pt>
                <c:pt idx="31441">
                  <c:v>0.56074549670055196</c:v>
                </c:pt>
                <c:pt idx="31442">
                  <c:v>0.56076333154984803</c:v>
                </c:pt>
                <c:pt idx="31443">
                  <c:v>0.56078116639914299</c:v>
                </c:pt>
                <c:pt idx="31444">
                  <c:v>0.56079900124843896</c:v>
                </c:pt>
                <c:pt idx="31445">
                  <c:v>0.56081683609773503</c:v>
                </c:pt>
                <c:pt idx="31446">
                  <c:v>0.56083467094702999</c:v>
                </c:pt>
                <c:pt idx="31447">
                  <c:v>0.56085250579632595</c:v>
                </c:pt>
                <c:pt idx="31448">
                  <c:v>0.56087034064562102</c:v>
                </c:pt>
                <c:pt idx="31449">
                  <c:v>0.56088817549491699</c:v>
                </c:pt>
                <c:pt idx="31450">
                  <c:v>0.56090601034421195</c:v>
                </c:pt>
                <c:pt idx="31451">
                  <c:v>0.56092384519350802</c:v>
                </c:pt>
                <c:pt idx="31452">
                  <c:v>0.56094168004280298</c:v>
                </c:pt>
                <c:pt idx="31453">
                  <c:v>0.56095951489209905</c:v>
                </c:pt>
                <c:pt idx="31454">
                  <c:v>0.56097734974139402</c:v>
                </c:pt>
                <c:pt idx="31455">
                  <c:v>0.56099518459068998</c:v>
                </c:pt>
                <c:pt idx="31456">
                  <c:v>0.56101301943998505</c:v>
                </c:pt>
                <c:pt idx="31457">
                  <c:v>0.56103085428928101</c:v>
                </c:pt>
                <c:pt idx="31458">
                  <c:v>0.56104868913857597</c:v>
                </c:pt>
                <c:pt idx="31459">
                  <c:v>0.56106652398787205</c:v>
                </c:pt>
                <c:pt idx="31460">
                  <c:v>0.56108435883716701</c:v>
                </c:pt>
                <c:pt idx="31461">
                  <c:v>0.56110219368646297</c:v>
                </c:pt>
                <c:pt idx="31462">
                  <c:v>0.56112002853575804</c:v>
                </c:pt>
                <c:pt idx="31463">
                  <c:v>0.561137863385054</c:v>
                </c:pt>
                <c:pt idx="31464">
                  <c:v>0.56115569823434996</c:v>
                </c:pt>
                <c:pt idx="31465">
                  <c:v>0.56117353308364504</c:v>
                </c:pt>
                <c:pt idx="31466">
                  <c:v>0.561191367932941</c:v>
                </c:pt>
                <c:pt idx="31467">
                  <c:v>0.56120920278223596</c:v>
                </c:pt>
                <c:pt idx="31468">
                  <c:v>0.56122703763153203</c:v>
                </c:pt>
                <c:pt idx="31469">
                  <c:v>0.561244872480827</c:v>
                </c:pt>
                <c:pt idx="31470">
                  <c:v>0.56126270733012296</c:v>
                </c:pt>
                <c:pt idx="31471">
                  <c:v>0.56128054217941803</c:v>
                </c:pt>
                <c:pt idx="31472">
                  <c:v>0.56129837702871399</c:v>
                </c:pt>
                <c:pt idx="31473">
                  <c:v>0.56131621187800895</c:v>
                </c:pt>
                <c:pt idx="31474">
                  <c:v>0.56133404672730502</c:v>
                </c:pt>
                <c:pt idx="31475">
                  <c:v>0.56135188157659999</c:v>
                </c:pt>
                <c:pt idx="31476">
                  <c:v>0.56136971642589595</c:v>
                </c:pt>
                <c:pt idx="31477">
                  <c:v>0.56138755127519102</c:v>
                </c:pt>
                <c:pt idx="31478">
                  <c:v>0.56140538612448698</c:v>
                </c:pt>
                <c:pt idx="31479">
                  <c:v>0.56142322097378194</c:v>
                </c:pt>
                <c:pt idx="31480">
                  <c:v>0.56144105582307802</c:v>
                </c:pt>
                <c:pt idx="31481">
                  <c:v>0.56145889067237298</c:v>
                </c:pt>
                <c:pt idx="31482">
                  <c:v>0.56147672552166905</c:v>
                </c:pt>
                <c:pt idx="31483">
                  <c:v>0.56149456037096401</c:v>
                </c:pt>
                <c:pt idx="31484">
                  <c:v>0.56151239522025997</c:v>
                </c:pt>
                <c:pt idx="31485">
                  <c:v>0.56153023006955505</c:v>
                </c:pt>
                <c:pt idx="31486">
                  <c:v>0.56154806491885101</c:v>
                </c:pt>
                <c:pt idx="31487">
                  <c:v>0.56156589976814697</c:v>
                </c:pt>
                <c:pt idx="31488">
                  <c:v>0.56158373461744204</c:v>
                </c:pt>
                <c:pt idx="31489">
                  <c:v>0.561601569466738</c:v>
                </c:pt>
                <c:pt idx="31490">
                  <c:v>0.56161940431603297</c:v>
                </c:pt>
                <c:pt idx="31491">
                  <c:v>0.56163723916532904</c:v>
                </c:pt>
                <c:pt idx="31492">
                  <c:v>0.561655074014624</c:v>
                </c:pt>
                <c:pt idx="31493">
                  <c:v>0.56167290886391996</c:v>
                </c:pt>
                <c:pt idx="31494">
                  <c:v>0.56169074371321503</c:v>
                </c:pt>
                <c:pt idx="31495">
                  <c:v>0.561708578562511</c:v>
                </c:pt>
                <c:pt idx="31496">
                  <c:v>0.56172641341180596</c:v>
                </c:pt>
                <c:pt idx="31497">
                  <c:v>0.56174424826110203</c:v>
                </c:pt>
                <c:pt idx="31498">
                  <c:v>0.56176208311039699</c:v>
                </c:pt>
                <c:pt idx="31499">
                  <c:v>0.56177991795969295</c:v>
                </c:pt>
                <c:pt idx="31500">
                  <c:v>0.56179775280898803</c:v>
                </c:pt>
                <c:pt idx="31501">
                  <c:v>0.56181558765828399</c:v>
                </c:pt>
                <c:pt idx="31502">
                  <c:v>0.56183342250757895</c:v>
                </c:pt>
                <c:pt idx="31503">
                  <c:v>0.56185125735687502</c:v>
                </c:pt>
                <c:pt idx="31504">
                  <c:v>0.56186909220616998</c:v>
                </c:pt>
                <c:pt idx="31505">
                  <c:v>0.56188692705546595</c:v>
                </c:pt>
                <c:pt idx="31506">
                  <c:v>0.56190476190476102</c:v>
                </c:pt>
                <c:pt idx="31507">
                  <c:v>0.56192259675405698</c:v>
                </c:pt>
                <c:pt idx="31508">
                  <c:v>0.56194043160335205</c:v>
                </c:pt>
                <c:pt idx="31509">
                  <c:v>0.56195826645264801</c:v>
                </c:pt>
                <c:pt idx="31510">
                  <c:v>0.56197610130194398</c:v>
                </c:pt>
                <c:pt idx="31511">
                  <c:v>0.56199393615123905</c:v>
                </c:pt>
                <c:pt idx="31512">
                  <c:v>0.56201177100053501</c:v>
                </c:pt>
                <c:pt idx="31513">
                  <c:v>0.56202960584982997</c:v>
                </c:pt>
                <c:pt idx="31514">
                  <c:v>0.56204744069912604</c:v>
                </c:pt>
                <c:pt idx="31515">
                  <c:v>0.56206527554842101</c:v>
                </c:pt>
                <c:pt idx="31516">
                  <c:v>0.56208311039771697</c:v>
                </c:pt>
                <c:pt idx="31517">
                  <c:v>0.56210094524701204</c:v>
                </c:pt>
                <c:pt idx="31518">
                  <c:v>0.562118780096308</c:v>
                </c:pt>
                <c:pt idx="31519">
                  <c:v>0.56213661494560296</c:v>
                </c:pt>
                <c:pt idx="31520">
                  <c:v>0.56215444979489904</c:v>
                </c:pt>
                <c:pt idx="31521">
                  <c:v>0.562172284644194</c:v>
                </c:pt>
                <c:pt idx="31522">
                  <c:v>0.56219011949348996</c:v>
                </c:pt>
                <c:pt idx="31523">
                  <c:v>0.56220795434278503</c:v>
                </c:pt>
                <c:pt idx="31524">
                  <c:v>0.56222578919208099</c:v>
                </c:pt>
                <c:pt idx="31525">
                  <c:v>0.56224362404137596</c:v>
                </c:pt>
                <c:pt idx="31526">
                  <c:v>0.56226145889067203</c:v>
                </c:pt>
                <c:pt idx="31527">
                  <c:v>0.56227929373996699</c:v>
                </c:pt>
                <c:pt idx="31528">
                  <c:v>0.56229712858926295</c:v>
                </c:pt>
                <c:pt idx="31529">
                  <c:v>0.56231496343855802</c:v>
                </c:pt>
                <c:pt idx="31530">
                  <c:v>0.56233279828785399</c:v>
                </c:pt>
                <c:pt idx="31531">
                  <c:v>0.56235063313714995</c:v>
                </c:pt>
                <c:pt idx="31532">
                  <c:v>0.56236846798644502</c:v>
                </c:pt>
                <c:pt idx="31533">
                  <c:v>0.56238630283574098</c:v>
                </c:pt>
                <c:pt idx="31534">
                  <c:v>0.56240413768503605</c:v>
                </c:pt>
                <c:pt idx="31535">
                  <c:v>0.56242197253433202</c:v>
                </c:pt>
                <c:pt idx="31536">
                  <c:v>0.56243980738362698</c:v>
                </c:pt>
                <c:pt idx="31537">
                  <c:v>0.56245764223292305</c:v>
                </c:pt>
                <c:pt idx="31538">
                  <c:v>0.56247547708221801</c:v>
                </c:pt>
                <c:pt idx="31539">
                  <c:v>0.56249331193151397</c:v>
                </c:pt>
                <c:pt idx="31540">
                  <c:v>0.56251114678080905</c:v>
                </c:pt>
                <c:pt idx="31541">
                  <c:v>0.56252898163010501</c:v>
                </c:pt>
                <c:pt idx="31542">
                  <c:v>0.56254681647939997</c:v>
                </c:pt>
                <c:pt idx="31543">
                  <c:v>0.56256465132869604</c:v>
                </c:pt>
                <c:pt idx="31544">
                  <c:v>0.562582486177991</c:v>
                </c:pt>
                <c:pt idx="31545">
                  <c:v>0.56260032102728696</c:v>
                </c:pt>
                <c:pt idx="31546">
                  <c:v>0.56261815587658204</c:v>
                </c:pt>
                <c:pt idx="31547">
                  <c:v>0.562635990725878</c:v>
                </c:pt>
                <c:pt idx="31548">
                  <c:v>0.56265382557517296</c:v>
                </c:pt>
                <c:pt idx="31549">
                  <c:v>0.56267166042446903</c:v>
                </c:pt>
                <c:pt idx="31550">
                  <c:v>0.562689495273764</c:v>
                </c:pt>
                <c:pt idx="31551">
                  <c:v>0.56270733012305996</c:v>
                </c:pt>
                <c:pt idx="31552">
                  <c:v>0.56272516497235603</c:v>
                </c:pt>
                <c:pt idx="31553">
                  <c:v>0.56274299982165099</c:v>
                </c:pt>
                <c:pt idx="31554">
                  <c:v>0.56276083467094695</c:v>
                </c:pt>
                <c:pt idx="31555">
                  <c:v>0.56277866952024203</c:v>
                </c:pt>
                <c:pt idx="31556">
                  <c:v>0.56279650436953799</c:v>
                </c:pt>
                <c:pt idx="31557">
                  <c:v>0.56281433921883295</c:v>
                </c:pt>
                <c:pt idx="31558">
                  <c:v>0.56283217406812902</c:v>
                </c:pt>
                <c:pt idx="31559">
                  <c:v>0.56285000891742398</c:v>
                </c:pt>
                <c:pt idx="31560">
                  <c:v>0.56286784376672006</c:v>
                </c:pt>
                <c:pt idx="31561">
                  <c:v>0.56288567861601502</c:v>
                </c:pt>
                <c:pt idx="31562">
                  <c:v>0.56290351346531098</c:v>
                </c:pt>
                <c:pt idx="31563">
                  <c:v>0.56292134831460605</c:v>
                </c:pt>
                <c:pt idx="31564">
                  <c:v>0.56293918316390201</c:v>
                </c:pt>
                <c:pt idx="31565">
                  <c:v>0.56295701801319697</c:v>
                </c:pt>
                <c:pt idx="31566">
                  <c:v>0.56297485286249305</c:v>
                </c:pt>
                <c:pt idx="31567">
                  <c:v>0.56299268771178801</c:v>
                </c:pt>
                <c:pt idx="31568">
                  <c:v>0.56301052256108397</c:v>
                </c:pt>
                <c:pt idx="31569">
                  <c:v>0.56302835741037904</c:v>
                </c:pt>
                <c:pt idx="31570">
                  <c:v>0.563046192259675</c:v>
                </c:pt>
                <c:pt idx="31571">
                  <c:v>0.56306402710897097</c:v>
                </c:pt>
                <c:pt idx="31572">
                  <c:v>0.56308186195826604</c:v>
                </c:pt>
                <c:pt idx="31573">
                  <c:v>0.563099696807562</c:v>
                </c:pt>
                <c:pt idx="31574">
                  <c:v>0.56311753165685696</c:v>
                </c:pt>
                <c:pt idx="31575">
                  <c:v>0.56313536650615303</c:v>
                </c:pt>
                <c:pt idx="31576">
                  <c:v>0.563153201355448</c:v>
                </c:pt>
                <c:pt idx="31577">
                  <c:v>0.56317103620474396</c:v>
                </c:pt>
                <c:pt idx="31578">
                  <c:v>0.56318887105403903</c:v>
                </c:pt>
                <c:pt idx="31579">
                  <c:v>0.56320670590333499</c:v>
                </c:pt>
                <c:pt idx="31580">
                  <c:v>0.56322454075262995</c:v>
                </c:pt>
                <c:pt idx="31581">
                  <c:v>0.56324237560192603</c:v>
                </c:pt>
                <c:pt idx="31582">
                  <c:v>0.56326021045122099</c:v>
                </c:pt>
                <c:pt idx="31583">
                  <c:v>0.56327804530051695</c:v>
                </c:pt>
                <c:pt idx="31584">
                  <c:v>0.56329588014981202</c:v>
                </c:pt>
                <c:pt idx="31585">
                  <c:v>0.56331371499910798</c:v>
                </c:pt>
                <c:pt idx="31586">
                  <c:v>0.56333154984840295</c:v>
                </c:pt>
                <c:pt idx="31587">
                  <c:v>0.56334938469769902</c:v>
                </c:pt>
                <c:pt idx="31588">
                  <c:v>0.56336721954699398</c:v>
                </c:pt>
                <c:pt idx="31589">
                  <c:v>0.56338505439629005</c:v>
                </c:pt>
                <c:pt idx="31590">
                  <c:v>0.56340288924558501</c:v>
                </c:pt>
                <c:pt idx="31591">
                  <c:v>0.56342072409488098</c:v>
                </c:pt>
                <c:pt idx="31592">
                  <c:v>0.56343855894417605</c:v>
                </c:pt>
                <c:pt idx="31593">
                  <c:v>0.56345639379347201</c:v>
                </c:pt>
                <c:pt idx="31594">
                  <c:v>0.56347422864276797</c:v>
                </c:pt>
                <c:pt idx="31595">
                  <c:v>0.56349206349206304</c:v>
                </c:pt>
                <c:pt idx="31596">
                  <c:v>0.56350989834135901</c:v>
                </c:pt>
                <c:pt idx="31597">
                  <c:v>0.56352773319065397</c:v>
                </c:pt>
                <c:pt idx="31598">
                  <c:v>0.56354556803995004</c:v>
                </c:pt>
                <c:pt idx="31599">
                  <c:v>0.563563402889245</c:v>
                </c:pt>
                <c:pt idx="31600">
                  <c:v>0.56358123773854096</c:v>
                </c:pt>
                <c:pt idx="31601">
                  <c:v>0.56359907258783604</c:v>
                </c:pt>
                <c:pt idx="31602">
                  <c:v>0.563616907437132</c:v>
                </c:pt>
                <c:pt idx="31603">
                  <c:v>0.56363474228642696</c:v>
                </c:pt>
                <c:pt idx="31604">
                  <c:v>0.56365257713572303</c:v>
                </c:pt>
                <c:pt idx="31605">
                  <c:v>0.56367041198501799</c:v>
                </c:pt>
                <c:pt idx="31606">
                  <c:v>0.56368824683431396</c:v>
                </c:pt>
                <c:pt idx="31607">
                  <c:v>0.56370608168360903</c:v>
                </c:pt>
                <c:pt idx="31608">
                  <c:v>0.56372391653290499</c:v>
                </c:pt>
                <c:pt idx="31609">
                  <c:v>0.56374175138219995</c:v>
                </c:pt>
                <c:pt idx="31610">
                  <c:v>0.56375958623149602</c:v>
                </c:pt>
                <c:pt idx="31611">
                  <c:v>0.56377742108079099</c:v>
                </c:pt>
                <c:pt idx="31612">
                  <c:v>0.56379525593008695</c:v>
                </c:pt>
                <c:pt idx="31613">
                  <c:v>0.56381309077938202</c:v>
                </c:pt>
                <c:pt idx="31614">
                  <c:v>0.56383092562867798</c:v>
                </c:pt>
                <c:pt idx="31615">
                  <c:v>0.56384876047797305</c:v>
                </c:pt>
                <c:pt idx="31616">
                  <c:v>0.56386659532726902</c:v>
                </c:pt>
                <c:pt idx="31617">
                  <c:v>0.56388443017656498</c:v>
                </c:pt>
                <c:pt idx="31618">
                  <c:v>0.56390226502586005</c:v>
                </c:pt>
                <c:pt idx="31619">
                  <c:v>0.56392009987515601</c:v>
                </c:pt>
                <c:pt idx="31620">
                  <c:v>0.56393793472445097</c:v>
                </c:pt>
                <c:pt idx="31621">
                  <c:v>0.56395576957374705</c:v>
                </c:pt>
                <c:pt idx="31622">
                  <c:v>0.56397360442304201</c:v>
                </c:pt>
                <c:pt idx="31623">
                  <c:v>0.56399143927233797</c:v>
                </c:pt>
                <c:pt idx="31624">
                  <c:v>0.56400927412163304</c:v>
                </c:pt>
                <c:pt idx="31625">
                  <c:v>0.564027108970929</c:v>
                </c:pt>
                <c:pt idx="31626">
                  <c:v>0.56404494382022397</c:v>
                </c:pt>
                <c:pt idx="31627">
                  <c:v>0.56406277866952004</c:v>
                </c:pt>
                <c:pt idx="31628">
                  <c:v>0.564080613518815</c:v>
                </c:pt>
                <c:pt idx="31629">
                  <c:v>0.56409844836811096</c:v>
                </c:pt>
                <c:pt idx="31630">
                  <c:v>0.56411628321740603</c:v>
                </c:pt>
                <c:pt idx="31631">
                  <c:v>0.56413411806670199</c:v>
                </c:pt>
                <c:pt idx="31632">
                  <c:v>0.56415195291599696</c:v>
                </c:pt>
                <c:pt idx="31633">
                  <c:v>0.56416978776529303</c:v>
                </c:pt>
                <c:pt idx="31634">
                  <c:v>0.56418762261458799</c:v>
                </c:pt>
                <c:pt idx="31635">
                  <c:v>0.56420545746388395</c:v>
                </c:pt>
                <c:pt idx="31636">
                  <c:v>0.56422329231317903</c:v>
                </c:pt>
                <c:pt idx="31637">
                  <c:v>0.56424112716247499</c:v>
                </c:pt>
                <c:pt idx="31638">
                  <c:v>0.56425896201177095</c:v>
                </c:pt>
                <c:pt idx="31639">
                  <c:v>0.56427679686106602</c:v>
                </c:pt>
                <c:pt idx="31640">
                  <c:v>0.56429463171036198</c:v>
                </c:pt>
                <c:pt idx="31641">
                  <c:v>0.56431246655965706</c:v>
                </c:pt>
                <c:pt idx="31642">
                  <c:v>0.56433030140895302</c:v>
                </c:pt>
                <c:pt idx="31643">
                  <c:v>0.56434813625824798</c:v>
                </c:pt>
                <c:pt idx="31644">
                  <c:v>0.56436597110754405</c:v>
                </c:pt>
                <c:pt idx="31645">
                  <c:v>0.56438380595683901</c:v>
                </c:pt>
                <c:pt idx="31646">
                  <c:v>0.56440164080613497</c:v>
                </c:pt>
                <c:pt idx="31647">
                  <c:v>0.56441947565543005</c:v>
                </c:pt>
                <c:pt idx="31648">
                  <c:v>0.56443731050472601</c:v>
                </c:pt>
                <c:pt idx="31649">
                  <c:v>0.56445514535402097</c:v>
                </c:pt>
                <c:pt idx="31650">
                  <c:v>0.56447298020331704</c:v>
                </c:pt>
                <c:pt idx="31651">
                  <c:v>0.564490815052612</c:v>
                </c:pt>
                <c:pt idx="31652">
                  <c:v>0.56450864990190797</c:v>
                </c:pt>
                <c:pt idx="31653">
                  <c:v>0.56452648475120304</c:v>
                </c:pt>
                <c:pt idx="31654">
                  <c:v>0.564544319600499</c:v>
                </c:pt>
                <c:pt idx="31655">
                  <c:v>0.56456215444979396</c:v>
                </c:pt>
                <c:pt idx="31656">
                  <c:v>0.56457998929909003</c:v>
                </c:pt>
                <c:pt idx="31657">
                  <c:v>0.564597824148386</c:v>
                </c:pt>
                <c:pt idx="31658">
                  <c:v>0.56461565899768096</c:v>
                </c:pt>
                <c:pt idx="31659">
                  <c:v>0.56463349384697703</c:v>
                </c:pt>
                <c:pt idx="31660">
                  <c:v>0.56465132869627199</c:v>
                </c:pt>
                <c:pt idx="31661">
                  <c:v>0.56466916354556795</c:v>
                </c:pt>
                <c:pt idx="31662">
                  <c:v>0.56468699839486303</c:v>
                </c:pt>
                <c:pt idx="31663">
                  <c:v>0.56470483324415899</c:v>
                </c:pt>
                <c:pt idx="31664">
                  <c:v>0.56472266809345395</c:v>
                </c:pt>
                <c:pt idx="31665">
                  <c:v>0.56474050294275002</c:v>
                </c:pt>
                <c:pt idx="31666">
                  <c:v>0.56475833779204498</c:v>
                </c:pt>
                <c:pt idx="31667">
                  <c:v>0.56477617264134095</c:v>
                </c:pt>
                <c:pt idx="31668">
                  <c:v>0.56479400749063602</c:v>
                </c:pt>
                <c:pt idx="31669">
                  <c:v>0.56481184233993198</c:v>
                </c:pt>
                <c:pt idx="31670">
                  <c:v>0.56482967718922705</c:v>
                </c:pt>
                <c:pt idx="31671">
                  <c:v>0.56484751203852301</c:v>
                </c:pt>
                <c:pt idx="31672">
                  <c:v>0.56486534688781798</c:v>
                </c:pt>
                <c:pt idx="31673">
                  <c:v>0.56488318173711405</c:v>
                </c:pt>
                <c:pt idx="31674">
                  <c:v>0.56490101658640901</c:v>
                </c:pt>
                <c:pt idx="31675">
                  <c:v>0.56491885143570497</c:v>
                </c:pt>
                <c:pt idx="31676">
                  <c:v>0.56493668628500004</c:v>
                </c:pt>
                <c:pt idx="31677">
                  <c:v>0.56495452113429601</c:v>
                </c:pt>
                <c:pt idx="31678">
                  <c:v>0.56497235598359197</c:v>
                </c:pt>
                <c:pt idx="31679">
                  <c:v>0.56499019083288704</c:v>
                </c:pt>
                <c:pt idx="31680">
                  <c:v>0.565008025682183</c:v>
                </c:pt>
                <c:pt idx="31681">
                  <c:v>0.56502586053147796</c:v>
                </c:pt>
                <c:pt idx="31682">
                  <c:v>0.56504369538077404</c:v>
                </c:pt>
                <c:pt idx="31683">
                  <c:v>0.565061530230069</c:v>
                </c:pt>
                <c:pt idx="31684">
                  <c:v>0.56507936507936496</c:v>
                </c:pt>
                <c:pt idx="31685">
                  <c:v>0.56509719992866003</c:v>
                </c:pt>
                <c:pt idx="31686">
                  <c:v>0.56511503477795599</c:v>
                </c:pt>
                <c:pt idx="31687">
                  <c:v>0.56513286962725096</c:v>
                </c:pt>
                <c:pt idx="31688">
                  <c:v>0.56515070447654703</c:v>
                </c:pt>
                <c:pt idx="31689">
                  <c:v>0.56516853932584199</c:v>
                </c:pt>
                <c:pt idx="31690">
                  <c:v>0.56518637417513795</c:v>
                </c:pt>
                <c:pt idx="31691">
                  <c:v>0.56520420902443302</c:v>
                </c:pt>
                <c:pt idx="31692">
                  <c:v>0.56522204387372899</c:v>
                </c:pt>
                <c:pt idx="31693">
                  <c:v>0.56523987872302395</c:v>
                </c:pt>
                <c:pt idx="31694">
                  <c:v>0.56525771357232002</c:v>
                </c:pt>
                <c:pt idx="31695">
                  <c:v>0.56527554842161498</c:v>
                </c:pt>
                <c:pt idx="31696">
                  <c:v>0.56529338327091105</c:v>
                </c:pt>
                <c:pt idx="31697">
                  <c:v>0.56531121812020602</c:v>
                </c:pt>
                <c:pt idx="31698">
                  <c:v>0.56532905296950198</c:v>
                </c:pt>
                <c:pt idx="31699">
                  <c:v>0.56534688781879705</c:v>
                </c:pt>
                <c:pt idx="31700">
                  <c:v>0.56536472266809301</c:v>
                </c:pt>
                <c:pt idx="31701">
                  <c:v>0.56538255751738897</c:v>
                </c:pt>
                <c:pt idx="31702">
                  <c:v>0.56540039236668405</c:v>
                </c:pt>
                <c:pt idx="31703">
                  <c:v>0.56541822721598001</c:v>
                </c:pt>
                <c:pt idx="31704">
                  <c:v>0.56543606206527497</c:v>
                </c:pt>
                <c:pt idx="31705">
                  <c:v>0.56545389691457104</c:v>
                </c:pt>
                <c:pt idx="31706">
                  <c:v>0.565471731763866</c:v>
                </c:pt>
                <c:pt idx="31707">
                  <c:v>0.56548956661316196</c:v>
                </c:pt>
                <c:pt idx="31708">
                  <c:v>0.56550740146245704</c:v>
                </c:pt>
                <c:pt idx="31709">
                  <c:v>0.565525236311753</c:v>
                </c:pt>
                <c:pt idx="31710">
                  <c:v>0.56554307116104796</c:v>
                </c:pt>
                <c:pt idx="31711">
                  <c:v>0.56556090601034403</c:v>
                </c:pt>
                <c:pt idx="31712">
                  <c:v>0.565578740859639</c:v>
                </c:pt>
                <c:pt idx="31713">
                  <c:v>0.56559657570893496</c:v>
                </c:pt>
                <c:pt idx="31714">
                  <c:v>0.56561441055823003</c:v>
                </c:pt>
                <c:pt idx="31715">
                  <c:v>0.56563224540752599</c:v>
                </c:pt>
                <c:pt idx="31716">
                  <c:v>0.56565008025682095</c:v>
                </c:pt>
                <c:pt idx="31717">
                  <c:v>0.56566791510611703</c:v>
                </c:pt>
                <c:pt idx="31718">
                  <c:v>0.56568574995541199</c:v>
                </c:pt>
                <c:pt idx="31719">
                  <c:v>0.56570358480470795</c:v>
                </c:pt>
                <c:pt idx="31720">
                  <c:v>0.56572141965400302</c:v>
                </c:pt>
                <c:pt idx="31721">
                  <c:v>0.56573925450329898</c:v>
                </c:pt>
                <c:pt idx="31722">
                  <c:v>0.56575708935259394</c:v>
                </c:pt>
                <c:pt idx="31723">
                  <c:v>0.56577492420189002</c:v>
                </c:pt>
                <c:pt idx="31724">
                  <c:v>0.56579275905118598</c:v>
                </c:pt>
                <c:pt idx="31725">
                  <c:v>0.56581059390048105</c:v>
                </c:pt>
                <c:pt idx="31726">
                  <c:v>0.56582842874977701</c:v>
                </c:pt>
                <c:pt idx="31727">
                  <c:v>0.56584626359907197</c:v>
                </c:pt>
                <c:pt idx="31728">
                  <c:v>0.56586409844836805</c:v>
                </c:pt>
                <c:pt idx="31729">
                  <c:v>0.56588193329766301</c:v>
                </c:pt>
                <c:pt idx="31730">
                  <c:v>0.56589976814695897</c:v>
                </c:pt>
                <c:pt idx="31731">
                  <c:v>0.56591760299625404</c:v>
                </c:pt>
                <c:pt idx="31732">
                  <c:v>0.56593543784555</c:v>
                </c:pt>
                <c:pt idx="31733">
                  <c:v>0.56595327269484497</c:v>
                </c:pt>
                <c:pt idx="31734">
                  <c:v>0.56597110754414104</c:v>
                </c:pt>
                <c:pt idx="31735">
                  <c:v>0.565988942393436</c:v>
                </c:pt>
                <c:pt idx="31736">
                  <c:v>0.56600677724273196</c:v>
                </c:pt>
                <c:pt idx="31737">
                  <c:v>0.56602461209202704</c:v>
                </c:pt>
                <c:pt idx="31738">
                  <c:v>0.566042446941323</c:v>
                </c:pt>
                <c:pt idx="31739">
                  <c:v>0.56606028179061796</c:v>
                </c:pt>
                <c:pt idx="31740">
                  <c:v>0.56607811663991403</c:v>
                </c:pt>
                <c:pt idx="31741">
                  <c:v>0.56609595148920899</c:v>
                </c:pt>
                <c:pt idx="31742">
                  <c:v>0.56611378633850495</c:v>
                </c:pt>
                <c:pt idx="31743">
                  <c:v>0.56613162118780003</c:v>
                </c:pt>
                <c:pt idx="31744">
                  <c:v>0.56614945603709599</c:v>
                </c:pt>
                <c:pt idx="31745">
                  <c:v>0.56616729088639195</c:v>
                </c:pt>
                <c:pt idx="31746">
                  <c:v>0.56618512573568702</c:v>
                </c:pt>
                <c:pt idx="31747">
                  <c:v>0.56620296058498298</c:v>
                </c:pt>
                <c:pt idx="31748">
                  <c:v>0.56622079543427795</c:v>
                </c:pt>
                <c:pt idx="31749">
                  <c:v>0.56623863028357402</c:v>
                </c:pt>
                <c:pt idx="31750">
                  <c:v>0.56625646513286898</c:v>
                </c:pt>
                <c:pt idx="31751">
                  <c:v>0.56627429998216505</c:v>
                </c:pt>
                <c:pt idx="31752">
                  <c:v>0.56629213483146001</c:v>
                </c:pt>
                <c:pt idx="31753">
                  <c:v>0.56630996968075598</c:v>
                </c:pt>
                <c:pt idx="31754">
                  <c:v>0.56632780453005105</c:v>
                </c:pt>
                <c:pt idx="31755">
                  <c:v>0.56634563937934701</c:v>
                </c:pt>
                <c:pt idx="31756">
                  <c:v>0.56636347422864197</c:v>
                </c:pt>
                <c:pt idx="31757">
                  <c:v>0.56638130907793804</c:v>
                </c:pt>
                <c:pt idx="31758">
                  <c:v>0.56639914392723301</c:v>
                </c:pt>
                <c:pt idx="31759">
                  <c:v>0.56641697877652897</c:v>
                </c:pt>
                <c:pt idx="31760">
                  <c:v>0.56643481362582404</c:v>
                </c:pt>
                <c:pt idx="31761">
                  <c:v>0.56645264847512</c:v>
                </c:pt>
                <c:pt idx="31762">
                  <c:v>0.56647048332441596</c:v>
                </c:pt>
                <c:pt idx="31763">
                  <c:v>0.56648831817371104</c:v>
                </c:pt>
                <c:pt idx="31764">
                  <c:v>0.566506153023007</c:v>
                </c:pt>
                <c:pt idx="31765">
                  <c:v>0.56652398787230196</c:v>
                </c:pt>
                <c:pt idx="31766">
                  <c:v>0.56654182272159803</c:v>
                </c:pt>
                <c:pt idx="31767">
                  <c:v>0.56655965757089299</c:v>
                </c:pt>
                <c:pt idx="31768">
                  <c:v>0.56657749242018896</c:v>
                </c:pt>
                <c:pt idx="31769">
                  <c:v>0.56659532726948403</c:v>
                </c:pt>
                <c:pt idx="31770">
                  <c:v>0.56661316211877999</c:v>
                </c:pt>
                <c:pt idx="31771">
                  <c:v>0.56663099696807495</c:v>
                </c:pt>
                <c:pt idx="31772">
                  <c:v>0.56664883181737102</c:v>
                </c:pt>
                <c:pt idx="31773">
                  <c:v>0.56666666666666599</c:v>
                </c:pt>
                <c:pt idx="31774">
                  <c:v>0.56668450151596195</c:v>
                </c:pt>
                <c:pt idx="31775">
                  <c:v>0.56670233636525702</c:v>
                </c:pt>
                <c:pt idx="31776">
                  <c:v>0.56672017121455298</c:v>
                </c:pt>
                <c:pt idx="31777">
                  <c:v>0.56673800606384805</c:v>
                </c:pt>
                <c:pt idx="31778">
                  <c:v>0.56675584091314402</c:v>
                </c:pt>
                <c:pt idx="31779">
                  <c:v>0.56677367576243898</c:v>
                </c:pt>
                <c:pt idx="31780">
                  <c:v>0.56679151061173505</c:v>
                </c:pt>
                <c:pt idx="31781">
                  <c:v>0.56680934546103001</c:v>
                </c:pt>
                <c:pt idx="31782">
                  <c:v>0.56682718031032597</c:v>
                </c:pt>
                <c:pt idx="31783">
                  <c:v>0.56684501515962105</c:v>
                </c:pt>
                <c:pt idx="31784">
                  <c:v>0.56686285000891701</c:v>
                </c:pt>
                <c:pt idx="31785">
                  <c:v>0.56688068485821297</c:v>
                </c:pt>
                <c:pt idx="31786">
                  <c:v>0.56689851970750804</c:v>
                </c:pt>
                <c:pt idx="31787">
                  <c:v>0.566916354556804</c:v>
                </c:pt>
                <c:pt idx="31788">
                  <c:v>0.56693418940609897</c:v>
                </c:pt>
                <c:pt idx="31789">
                  <c:v>0.56695202425539504</c:v>
                </c:pt>
                <c:pt idx="31790">
                  <c:v>0.56696985910469</c:v>
                </c:pt>
                <c:pt idx="31791">
                  <c:v>0.56698769395398596</c:v>
                </c:pt>
                <c:pt idx="31792">
                  <c:v>0.56700552880328103</c:v>
                </c:pt>
                <c:pt idx="31793">
                  <c:v>0.56702336365257699</c:v>
                </c:pt>
                <c:pt idx="31794">
                  <c:v>0.56704119850187196</c:v>
                </c:pt>
                <c:pt idx="31795">
                  <c:v>0.56705903335116803</c:v>
                </c:pt>
                <c:pt idx="31796">
                  <c:v>0.56707686820046299</c:v>
                </c:pt>
                <c:pt idx="31797">
                  <c:v>0.56709470304975895</c:v>
                </c:pt>
                <c:pt idx="31798">
                  <c:v>0.56711253789905403</c:v>
                </c:pt>
                <c:pt idx="31799">
                  <c:v>0.56713037274834999</c:v>
                </c:pt>
                <c:pt idx="31800">
                  <c:v>0.56714820759764495</c:v>
                </c:pt>
                <c:pt idx="31801">
                  <c:v>0.56716604244694102</c:v>
                </c:pt>
                <c:pt idx="31802">
                  <c:v>0.56718387729623598</c:v>
                </c:pt>
                <c:pt idx="31803">
                  <c:v>0.56720171214553206</c:v>
                </c:pt>
                <c:pt idx="31804">
                  <c:v>0.56721954699482702</c:v>
                </c:pt>
                <c:pt idx="31805">
                  <c:v>0.56723738184412298</c:v>
                </c:pt>
                <c:pt idx="31806">
                  <c:v>0.56725521669341805</c:v>
                </c:pt>
                <c:pt idx="31807">
                  <c:v>0.56727305154271401</c:v>
                </c:pt>
                <c:pt idx="31808">
                  <c:v>0.56729088639200997</c:v>
                </c:pt>
                <c:pt idx="31809">
                  <c:v>0.56730872124130505</c:v>
                </c:pt>
                <c:pt idx="31810">
                  <c:v>0.56732655609060101</c:v>
                </c:pt>
                <c:pt idx="31811">
                  <c:v>0.56734439093989597</c:v>
                </c:pt>
                <c:pt idx="31812">
                  <c:v>0.56736222578919204</c:v>
                </c:pt>
                <c:pt idx="31813">
                  <c:v>0.567380060638487</c:v>
                </c:pt>
                <c:pt idx="31814">
                  <c:v>0.56739789548778297</c:v>
                </c:pt>
                <c:pt idx="31815">
                  <c:v>0.56741573033707804</c:v>
                </c:pt>
                <c:pt idx="31816">
                  <c:v>0.567433565186374</c:v>
                </c:pt>
                <c:pt idx="31817">
                  <c:v>0.56745140003566896</c:v>
                </c:pt>
                <c:pt idx="31818">
                  <c:v>0.56746923488496503</c:v>
                </c:pt>
                <c:pt idx="31819">
                  <c:v>0.56748706973426</c:v>
                </c:pt>
                <c:pt idx="31820">
                  <c:v>0.56750490458355596</c:v>
                </c:pt>
                <c:pt idx="31821">
                  <c:v>0.56752273943285103</c:v>
                </c:pt>
                <c:pt idx="31822">
                  <c:v>0.56754057428214699</c:v>
                </c:pt>
                <c:pt idx="31823">
                  <c:v>0.56755840913144195</c:v>
                </c:pt>
                <c:pt idx="31824">
                  <c:v>0.56757624398073803</c:v>
                </c:pt>
                <c:pt idx="31825">
                  <c:v>0.56759407883003299</c:v>
                </c:pt>
                <c:pt idx="31826">
                  <c:v>0.56761191367932895</c:v>
                </c:pt>
                <c:pt idx="31827">
                  <c:v>0.56762974852862402</c:v>
                </c:pt>
                <c:pt idx="31828">
                  <c:v>0.56764758337791998</c:v>
                </c:pt>
                <c:pt idx="31829">
                  <c:v>0.56766541822721595</c:v>
                </c:pt>
                <c:pt idx="31830">
                  <c:v>0.56768325307651102</c:v>
                </c:pt>
                <c:pt idx="31831">
                  <c:v>0.56770108792580698</c:v>
                </c:pt>
                <c:pt idx="31832">
                  <c:v>0.56771892277510205</c:v>
                </c:pt>
                <c:pt idx="31833">
                  <c:v>0.56773675762439801</c:v>
                </c:pt>
                <c:pt idx="31834">
                  <c:v>0.56775459247369298</c:v>
                </c:pt>
                <c:pt idx="31835">
                  <c:v>0.56777242732298905</c:v>
                </c:pt>
                <c:pt idx="31836">
                  <c:v>0.56779026217228401</c:v>
                </c:pt>
                <c:pt idx="31837">
                  <c:v>0.56780809702157997</c:v>
                </c:pt>
                <c:pt idx="31838">
                  <c:v>0.56782593187087504</c:v>
                </c:pt>
                <c:pt idx="31839">
                  <c:v>0.56784376672017101</c:v>
                </c:pt>
                <c:pt idx="31840">
                  <c:v>0.56786160156946597</c:v>
                </c:pt>
                <c:pt idx="31841">
                  <c:v>0.56787943641876204</c:v>
                </c:pt>
                <c:pt idx="31842">
                  <c:v>0.567897271268057</c:v>
                </c:pt>
                <c:pt idx="31843">
                  <c:v>0.56791510611735296</c:v>
                </c:pt>
                <c:pt idx="31844">
                  <c:v>0.56793294096664804</c:v>
                </c:pt>
                <c:pt idx="31845">
                  <c:v>0.567950775815944</c:v>
                </c:pt>
                <c:pt idx="31846">
                  <c:v>0.56796861066523896</c:v>
                </c:pt>
                <c:pt idx="31847">
                  <c:v>0.56798644551453503</c:v>
                </c:pt>
                <c:pt idx="31848">
                  <c:v>0.56800428036382999</c:v>
                </c:pt>
                <c:pt idx="31849">
                  <c:v>0.56802211521312596</c:v>
                </c:pt>
                <c:pt idx="31850">
                  <c:v>0.56803995006242203</c:v>
                </c:pt>
                <c:pt idx="31851">
                  <c:v>0.56805778491171699</c:v>
                </c:pt>
                <c:pt idx="31852">
                  <c:v>0.56807561976101295</c:v>
                </c:pt>
                <c:pt idx="31853">
                  <c:v>0.56809345461030802</c:v>
                </c:pt>
                <c:pt idx="31854">
                  <c:v>0.56811128945960399</c:v>
                </c:pt>
                <c:pt idx="31855">
                  <c:v>0.56812912430889895</c:v>
                </c:pt>
                <c:pt idx="31856">
                  <c:v>0.56814695915819502</c:v>
                </c:pt>
                <c:pt idx="31857">
                  <c:v>0.56816479400748998</c:v>
                </c:pt>
                <c:pt idx="31858">
                  <c:v>0.56818262885678605</c:v>
                </c:pt>
                <c:pt idx="31859">
                  <c:v>0.56820046370608102</c:v>
                </c:pt>
                <c:pt idx="31860">
                  <c:v>0.56821829855537698</c:v>
                </c:pt>
                <c:pt idx="31861">
                  <c:v>0.56823613340467205</c:v>
                </c:pt>
                <c:pt idx="31862">
                  <c:v>0.56825396825396801</c:v>
                </c:pt>
                <c:pt idx="31863">
                  <c:v>0.56827180310326297</c:v>
                </c:pt>
                <c:pt idx="31864">
                  <c:v>0.56828963795255905</c:v>
                </c:pt>
                <c:pt idx="31865">
                  <c:v>0.56830747280185401</c:v>
                </c:pt>
                <c:pt idx="31866">
                  <c:v>0.56832530765114997</c:v>
                </c:pt>
                <c:pt idx="31867">
                  <c:v>0.56834314250044504</c:v>
                </c:pt>
                <c:pt idx="31868">
                  <c:v>0.568360977349741</c:v>
                </c:pt>
                <c:pt idx="31869">
                  <c:v>0.56837881219903696</c:v>
                </c:pt>
                <c:pt idx="31870">
                  <c:v>0.56839664704833204</c:v>
                </c:pt>
                <c:pt idx="31871">
                  <c:v>0.568414481897628</c:v>
                </c:pt>
                <c:pt idx="31872">
                  <c:v>0.56843231674692296</c:v>
                </c:pt>
                <c:pt idx="31873">
                  <c:v>0.56845015159621903</c:v>
                </c:pt>
                <c:pt idx="31874">
                  <c:v>0.568467986445514</c:v>
                </c:pt>
                <c:pt idx="31875">
                  <c:v>0.56848582129480996</c:v>
                </c:pt>
                <c:pt idx="31876">
                  <c:v>0.56850365614410503</c:v>
                </c:pt>
                <c:pt idx="31877">
                  <c:v>0.56852149099340099</c:v>
                </c:pt>
                <c:pt idx="31878">
                  <c:v>0.56853932584269595</c:v>
                </c:pt>
                <c:pt idx="31879">
                  <c:v>0.56855716069199203</c:v>
                </c:pt>
                <c:pt idx="31880">
                  <c:v>0.56857499554128699</c:v>
                </c:pt>
                <c:pt idx="31881">
                  <c:v>0.56859283039058295</c:v>
                </c:pt>
                <c:pt idx="31882">
                  <c:v>0.56861066523987802</c:v>
                </c:pt>
                <c:pt idx="31883">
                  <c:v>0.56862850008917398</c:v>
                </c:pt>
                <c:pt idx="31884">
                  <c:v>0.56864633493846894</c:v>
                </c:pt>
                <c:pt idx="31885">
                  <c:v>0.56866416978776502</c:v>
                </c:pt>
                <c:pt idx="31886">
                  <c:v>0.56868200463705998</c:v>
                </c:pt>
                <c:pt idx="31887">
                  <c:v>0.56869983948635605</c:v>
                </c:pt>
                <c:pt idx="31888">
                  <c:v>0.56871767433565101</c:v>
                </c:pt>
                <c:pt idx="31889">
                  <c:v>0.56873550918494697</c:v>
                </c:pt>
                <c:pt idx="31890">
                  <c:v>0.56875334403424205</c:v>
                </c:pt>
                <c:pt idx="31891">
                  <c:v>0.56877117888353801</c:v>
                </c:pt>
                <c:pt idx="31892">
                  <c:v>0.56878901373283397</c:v>
                </c:pt>
                <c:pt idx="31893">
                  <c:v>0.56880684858212904</c:v>
                </c:pt>
                <c:pt idx="31894">
                  <c:v>0.568824683431425</c:v>
                </c:pt>
                <c:pt idx="31895">
                  <c:v>0.56884251828071997</c:v>
                </c:pt>
                <c:pt idx="31896">
                  <c:v>0.56886035313001604</c:v>
                </c:pt>
                <c:pt idx="31897">
                  <c:v>0.568878187979311</c:v>
                </c:pt>
                <c:pt idx="31898">
                  <c:v>0.56889602282860696</c:v>
                </c:pt>
                <c:pt idx="31899">
                  <c:v>0.56891385767790204</c:v>
                </c:pt>
                <c:pt idx="31900">
                  <c:v>0.568931692527198</c:v>
                </c:pt>
                <c:pt idx="31901">
                  <c:v>0.56894952737649296</c:v>
                </c:pt>
                <c:pt idx="31902">
                  <c:v>0.56896736222578903</c:v>
                </c:pt>
                <c:pt idx="31903">
                  <c:v>0.56898519707508399</c:v>
                </c:pt>
                <c:pt idx="31904">
                  <c:v>0.56900303192437995</c:v>
                </c:pt>
                <c:pt idx="31905">
                  <c:v>0.56902086677367503</c:v>
                </c:pt>
                <c:pt idx="31906">
                  <c:v>0.56903870162297099</c:v>
                </c:pt>
                <c:pt idx="31907">
                  <c:v>0.56905653647226595</c:v>
                </c:pt>
                <c:pt idx="31908">
                  <c:v>0.56907437132156202</c:v>
                </c:pt>
                <c:pt idx="31909">
                  <c:v>0.56909220617085698</c:v>
                </c:pt>
                <c:pt idx="31910">
                  <c:v>0.56911004102015295</c:v>
                </c:pt>
                <c:pt idx="31911">
                  <c:v>0.56912787586944802</c:v>
                </c:pt>
                <c:pt idx="31912">
                  <c:v>0.56914571071874398</c:v>
                </c:pt>
                <c:pt idx="31913">
                  <c:v>0.56916354556803905</c:v>
                </c:pt>
                <c:pt idx="31914">
                  <c:v>0.56918138041733501</c:v>
                </c:pt>
                <c:pt idx="31915">
                  <c:v>0.56919921526663098</c:v>
                </c:pt>
                <c:pt idx="31916">
                  <c:v>0.56921705011592605</c:v>
                </c:pt>
                <c:pt idx="31917">
                  <c:v>0.56923488496522201</c:v>
                </c:pt>
                <c:pt idx="31918">
                  <c:v>0.56925271981451697</c:v>
                </c:pt>
                <c:pt idx="31919">
                  <c:v>0.56927055466381304</c:v>
                </c:pt>
                <c:pt idx="31920">
                  <c:v>0.56928838951310801</c:v>
                </c:pt>
                <c:pt idx="31921">
                  <c:v>0.56930622436240397</c:v>
                </c:pt>
                <c:pt idx="31922">
                  <c:v>0.56932405921169904</c:v>
                </c:pt>
                <c:pt idx="31923">
                  <c:v>0.569341894060995</c:v>
                </c:pt>
                <c:pt idx="31924">
                  <c:v>0.56935972891028996</c:v>
                </c:pt>
                <c:pt idx="31925">
                  <c:v>0.56937756375958604</c:v>
                </c:pt>
                <c:pt idx="31926">
                  <c:v>0.569395398608881</c:v>
                </c:pt>
                <c:pt idx="31927">
                  <c:v>0.56941323345817696</c:v>
                </c:pt>
                <c:pt idx="31928">
                  <c:v>0.56943106830747203</c:v>
                </c:pt>
                <c:pt idx="31929">
                  <c:v>0.56944890315676799</c:v>
                </c:pt>
                <c:pt idx="31930">
                  <c:v>0.56946673800606296</c:v>
                </c:pt>
                <c:pt idx="31931">
                  <c:v>0.56948457285535903</c:v>
                </c:pt>
                <c:pt idx="31932">
                  <c:v>0.56950240770465399</c:v>
                </c:pt>
                <c:pt idx="31933">
                  <c:v>0.56952024255394995</c:v>
                </c:pt>
                <c:pt idx="31934">
                  <c:v>0.56953807740324502</c:v>
                </c:pt>
                <c:pt idx="31935">
                  <c:v>0.56955591225254099</c:v>
                </c:pt>
                <c:pt idx="31936">
                  <c:v>0.56957374710183695</c:v>
                </c:pt>
                <c:pt idx="31937">
                  <c:v>0.56959158195113202</c:v>
                </c:pt>
                <c:pt idx="31938">
                  <c:v>0.56960941680042798</c:v>
                </c:pt>
                <c:pt idx="31939">
                  <c:v>0.56962725164972305</c:v>
                </c:pt>
                <c:pt idx="31940">
                  <c:v>0.56964508649901902</c:v>
                </c:pt>
                <c:pt idx="31941">
                  <c:v>0.56966292134831398</c:v>
                </c:pt>
                <c:pt idx="31942">
                  <c:v>0.56968075619761005</c:v>
                </c:pt>
                <c:pt idx="31943">
                  <c:v>0.56969859104690501</c:v>
                </c:pt>
                <c:pt idx="31944">
                  <c:v>0.56971642589620097</c:v>
                </c:pt>
                <c:pt idx="31945">
                  <c:v>0.56973426074549605</c:v>
                </c:pt>
                <c:pt idx="31946">
                  <c:v>0.56975209559479201</c:v>
                </c:pt>
                <c:pt idx="31947">
                  <c:v>0.56976993044408697</c:v>
                </c:pt>
                <c:pt idx="31948">
                  <c:v>0.56978776529338304</c:v>
                </c:pt>
                <c:pt idx="31949">
                  <c:v>0.569805600142678</c:v>
                </c:pt>
                <c:pt idx="31950">
                  <c:v>0.56982343499197396</c:v>
                </c:pt>
                <c:pt idx="31951">
                  <c:v>0.56984126984126904</c:v>
                </c:pt>
                <c:pt idx="31952">
                  <c:v>0.569859104690565</c:v>
                </c:pt>
                <c:pt idx="31953">
                  <c:v>0.56987693953985996</c:v>
                </c:pt>
                <c:pt idx="31954">
                  <c:v>0.56989477438915603</c:v>
                </c:pt>
                <c:pt idx="31955">
                  <c:v>0.569912609238451</c:v>
                </c:pt>
                <c:pt idx="31956">
                  <c:v>0.56993044408774696</c:v>
                </c:pt>
                <c:pt idx="31957">
                  <c:v>0.56994827893704303</c:v>
                </c:pt>
                <c:pt idx="31958">
                  <c:v>0.56996611378633799</c:v>
                </c:pt>
                <c:pt idx="31959">
                  <c:v>0.56998394863563395</c:v>
                </c:pt>
                <c:pt idx="31960">
                  <c:v>0.57000178348492903</c:v>
                </c:pt>
                <c:pt idx="31961">
                  <c:v>0.57001961833422499</c:v>
                </c:pt>
                <c:pt idx="31962">
                  <c:v>0.57003745318351995</c:v>
                </c:pt>
                <c:pt idx="31963">
                  <c:v>0.57005528803281602</c:v>
                </c:pt>
                <c:pt idx="31964">
                  <c:v>0.57007312288211098</c:v>
                </c:pt>
                <c:pt idx="31965">
                  <c:v>0.57009095773140706</c:v>
                </c:pt>
                <c:pt idx="31966">
                  <c:v>0.57010879258070202</c:v>
                </c:pt>
                <c:pt idx="31967">
                  <c:v>0.57012662742999798</c:v>
                </c:pt>
                <c:pt idx="31968">
                  <c:v>0.57014446227929305</c:v>
                </c:pt>
                <c:pt idx="31969">
                  <c:v>0.57016229712858901</c:v>
                </c:pt>
                <c:pt idx="31970">
                  <c:v>0.57018013197788397</c:v>
                </c:pt>
                <c:pt idx="31971">
                  <c:v>0.57019796682718005</c:v>
                </c:pt>
                <c:pt idx="31972">
                  <c:v>0.57021580167647501</c:v>
                </c:pt>
                <c:pt idx="31973">
                  <c:v>0.57023363652577097</c:v>
                </c:pt>
                <c:pt idx="31974">
                  <c:v>0.57025147137506604</c:v>
                </c:pt>
                <c:pt idx="31975">
                  <c:v>0.570269306224362</c:v>
                </c:pt>
                <c:pt idx="31976">
                  <c:v>0.57028714107365797</c:v>
                </c:pt>
                <c:pt idx="31977">
                  <c:v>0.57030497592295304</c:v>
                </c:pt>
                <c:pt idx="31978">
                  <c:v>0.570322810772249</c:v>
                </c:pt>
                <c:pt idx="31979">
                  <c:v>0.57034064562154396</c:v>
                </c:pt>
                <c:pt idx="31980">
                  <c:v>0.57035848047084003</c:v>
                </c:pt>
                <c:pt idx="31981">
                  <c:v>0.570376315320135</c:v>
                </c:pt>
                <c:pt idx="31982">
                  <c:v>0.57039415016943096</c:v>
                </c:pt>
                <c:pt idx="31983">
                  <c:v>0.57041198501872603</c:v>
                </c:pt>
                <c:pt idx="31984">
                  <c:v>0.57042981986802199</c:v>
                </c:pt>
                <c:pt idx="31985">
                  <c:v>0.57044765471731695</c:v>
                </c:pt>
                <c:pt idx="31986">
                  <c:v>0.57046548956661303</c:v>
                </c:pt>
                <c:pt idx="31987">
                  <c:v>0.57048332441590799</c:v>
                </c:pt>
                <c:pt idx="31988">
                  <c:v>0.57050115926520395</c:v>
                </c:pt>
                <c:pt idx="31989">
                  <c:v>0.57051899411449902</c:v>
                </c:pt>
                <c:pt idx="31990">
                  <c:v>0.57053682896379498</c:v>
                </c:pt>
                <c:pt idx="31991">
                  <c:v>0.57055466381308995</c:v>
                </c:pt>
                <c:pt idx="31992">
                  <c:v>0.57057249866238602</c:v>
                </c:pt>
                <c:pt idx="31993">
                  <c:v>0.57059033351168098</c:v>
                </c:pt>
                <c:pt idx="31994">
                  <c:v>0.57060816836097705</c:v>
                </c:pt>
                <c:pt idx="31995">
                  <c:v>0.57062600321027201</c:v>
                </c:pt>
                <c:pt idx="31996">
                  <c:v>0.57064383805956798</c:v>
                </c:pt>
                <c:pt idx="31997">
                  <c:v>0.57066167290886305</c:v>
                </c:pt>
                <c:pt idx="31998">
                  <c:v>0.57067950775815901</c:v>
                </c:pt>
                <c:pt idx="31999">
                  <c:v>0.57069734260745497</c:v>
                </c:pt>
                <c:pt idx="32000">
                  <c:v>0.57071517745675004</c:v>
                </c:pt>
                <c:pt idx="32001">
                  <c:v>0.57073301230604601</c:v>
                </c:pt>
                <c:pt idx="32002">
                  <c:v>0.57075084715534097</c:v>
                </c:pt>
                <c:pt idx="32003">
                  <c:v>0.57076868200463704</c:v>
                </c:pt>
                <c:pt idx="32004">
                  <c:v>0.570786516853932</c:v>
                </c:pt>
                <c:pt idx="32005">
                  <c:v>0.57080435170322796</c:v>
                </c:pt>
                <c:pt idx="32006">
                  <c:v>0.57082218655252304</c:v>
                </c:pt>
                <c:pt idx="32007">
                  <c:v>0.570840021401819</c:v>
                </c:pt>
                <c:pt idx="32008">
                  <c:v>0.57085785625111396</c:v>
                </c:pt>
                <c:pt idx="32009">
                  <c:v>0.57087569110041003</c:v>
                </c:pt>
                <c:pt idx="32010">
                  <c:v>0.57089352594970499</c:v>
                </c:pt>
                <c:pt idx="32011">
                  <c:v>0.57091136079900096</c:v>
                </c:pt>
                <c:pt idx="32012">
                  <c:v>0.57092919564829603</c:v>
                </c:pt>
                <c:pt idx="32013">
                  <c:v>0.57094703049759199</c:v>
                </c:pt>
                <c:pt idx="32014">
                  <c:v>0.57096486534688695</c:v>
                </c:pt>
                <c:pt idx="32015">
                  <c:v>0.57098270019618302</c:v>
                </c:pt>
                <c:pt idx="32016">
                  <c:v>0.57100053504547799</c:v>
                </c:pt>
                <c:pt idx="32017">
                  <c:v>0.57101836989477395</c:v>
                </c:pt>
                <c:pt idx="32018">
                  <c:v>0.57103620474406902</c:v>
                </c:pt>
                <c:pt idx="32019">
                  <c:v>0.57105403959336498</c:v>
                </c:pt>
                <c:pt idx="32020">
                  <c:v>0.57107187444266005</c:v>
                </c:pt>
                <c:pt idx="32021">
                  <c:v>0.57108970929195602</c:v>
                </c:pt>
                <c:pt idx="32022">
                  <c:v>0.57110754414125198</c:v>
                </c:pt>
                <c:pt idx="32023">
                  <c:v>0.57112537899054705</c:v>
                </c:pt>
                <c:pt idx="32024">
                  <c:v>0.57114321383984301</c:v>
                </c:pt>
                <c:pt idx="32025">
                  <c:v>0.57116104868913797</c:v>
                </c:pt>
                <c:pt idx="32026">
                  <c:v>0.57117888353843405</c:v>
                </c:pt>
                <c:pt idx="32027">
                  <c:v>0.57119671838772901</c:v>
                </c:pt>
                <c:pt idx="32028">
                  <c:v>0.57121455323702497</c:v>
                </c:pt>
                <c:pt idx="32029">
                  <c:v>0.57123238808632004</c:v>
                </c:pt>
                <c:pt idx="32030">
                  <c:v>0.571250222935616</c:v>
                </c:pt>
                <c:pt idx="32031">
                  <c:v>0.57126805778491097</c:v>
                </c:pt>
                <c:pt idx="32032">
                  <c:v>0.57128589263420704</c:v>
                </c:pt>
                <c:pt idx="32033">
                  <c:v>0.571303727483502</c:v>
                </c:pt>
                <c:pt idx="32034">
                  <c:v>0.57132156233279796</c:v>
                </c:pt>
                <c:pt idx="32035">
                  <c:v>0.57133939718209303</c:v>
                </c:pt>
                <c:pt idx="32036">
                  <c:v>0.571357232031389</c:v>
                </c:pt>
                <c:pt idx="32037">
                  <c:v>0.57137506688068396</c:v>
                </c:pt>
                <c:pt idx="32038">
                  <c:v>0.57139290172998003</c:v>
                </c:pt>
                <c:pt idx="32039">
                  <c:v>0.57141073657927499</c:v>
                </c:pt>
                <c:pt idx="32040">
                  <c:v>0.57142857142857095</c:v>
                </c:pt>
                <c:pt idx="32041">
                  <c:v>0.57144640627786603</c:v>
                </c:pt>
                <c:pt idx="32042">
                  <c:v>0.57146424112716199</c:v>
                </c:pt>
                <c:pt idx="32043">
                  <c:v>0.57148207597645795</c:v>
                </c:pt>
                <c:pt idx="32044">
                  <c:v>0.57149991082575302</c:v>
                </c:pt>
                <c:pt idx="32045">
                  <c:v>0.57151774567504898</c:v>
                </c:pt>
                <c:pt idx="32046">
                  <c:v>0.57153558052434394</c:v>
                </c:pt>
                <c:pt idx="32047">
                  <c:v>0.57155341537364002</c:v>
                </c:pt>
                <c:pt idx="32048">
                  <c:v>0.57157125022293498</c:v>
                </c:pt>
                <c:pt idx="32049">
                  <c:v>0.57158908507223105</c:v>
                </c:pt>
                <c:pt idx="32050">
                  <c:v>0.57160691992152601</c:v>
                </c:pt>
                <c:pt idx="32051">
                  <c:v>0.57162475477082197</c:v>
                </c:pt>
                <c:pt idx="32052">
                  <c:v>0.57164258962011705</c:v>
                </c:pt>
                <c:pt idx="32053">
                  <c:v>0.57166042446941301</c:v>
                </c:pt>
                <c:pt idx="32054">
                  <c:v>0.57167825931870797</c:v>
                </c:pt>
                <c:pt idx="32055">
                  <c:v>0.57169609416800404</c:v>
                </c:pt>
                <c:pt idx="32056">
                  <c:v>0.57171392901729901</c:v>
                </c:pt>
                <c:pt idx="32057">
                  <c:v>0.57173176386659497</c:v>
                </c:pt>
                <c:pt idx="32058">
                  <c:v>0.57174959871589004</c:v>
                </c:pt>
                <c:pt idx="32059">
                  <c:v>0.571767433565186</c:v>
                </c:pt>
                <c:pt idx="32060">
                  <c:v>0.57178526841448096</c:v>
                </c:pt>
                <c:pt idx="32061">
                  <c:v>0.57180310326377704</c:v>
                </c:pt>
                <c:pt idx="32062">
                  <c:v>0.571820938113073</c:v>
                </c:pt>
                <c:pt idx="32063">
                  <c:v>0.57183877296236796</c:v>
                </c:pt>
                <c:pt idx="32064">
                  <c:v>0.57185660781166403</c:v>
                </c:pt>
                <c:pt idx="32065">
                  <c:v>0.57187444266095899</c:v>
                </c:pt>
                <c:pt idx="32066">
                  <c:v>0.57189227751025495</c:v>
                </c:pt>
                <c:pt idx="32067">
                  <c:v>0.57191011235955003</c:v>
                </c:pt>
                <c:pt idx="32068">
                  <c:v>0.57192794720884599</c:v>
                </c:pt>
                <c:pt idx="32069">
                  <c:v>0.57194578205814095</c:v>
                </c:pt>
                <c:pt idx="32070">
                  <c:v>0.57196361690743702</c:v>
                </c:pt>
                <c:pt idx="32071">
                  <c:v>0.57198145175673198</c:v>
                </c:pt>
                <c:pt idx="32072">
                  <c:v>0.57199928660602795</c:v>
                </c:pt>
                <c:pt idx="32073">
                  <c:v>0.57201712145532302</c:v>
                </c:pt>
                <c:pt idx="32074">
                  <c:v>0.57203495630461898</c:v>
                </c:pt>
                <c:pt idx="32075">
                  <c:v>0.57205279115391405</c:v>
                </c:pt>
                <c:pt idx="32076">
                  <c:v>0.57207062600321001</c:v>
                </c:pt>
                <c:pt idx="32077">
                  <c:v>0.57208846085250498</c:v>
                </c:pt>
                <c:pt idx="32078">
                  <c:v>0.57210629570180105</c:v>
                </c:pt>
                <c:pt idx="32079">
                  <c:v>0.57212413055109601</c:v>
                </c:pt>
                <c:pt idx="32080">
                  <c:v>0.57214196540039197</c:v>
                </c:pt>
                <c:pt idx="32081">
                  <c:v>0.57215980024968704</c:v>
                </c:pt>
                <c:pt idx="32082">
                  <c:v>0.57217763509898301</c:v>
                </c:pt>
                <c:pt idx="32083">
                  <c:v>0.57219546994827897</c:v>
                </c:pt>
                <c:pt idx="32084">
                  <c:v>0.57221330479757404</c:v>
                </c:pt>
                <c:pt idx="32085">
                  <c:v>0.57223113964687</c:v>
                </c:pt>
                <c:pt idx="32086">
                  <c:v>0.57224897449616496</c:v>
                </c:pt>
                <c:pt idx="32087">
                  <c:v>0.57226680934546104</c:v>
                </c:pt>
                <c:pt idx="32088">
                  <c:v>0.572284644194756</c:v>
                </c:pt>
                <c:pt idx="32089">
                  <c:v>0.57230247904405196</c:v>
                </c:pt>
                <c:pt idx="32090">
                  <c:v>0.57232031389334703</c:v>
                </c:pt>
                <c:pt idx="32091">
                  <c:v>0.57233814874264299</c:v>
                </c:pt>
                <c:pt idx="32092">
                  <c:v>0.57235598359193796</c:v>
                </c:pt>
                <c:pt idx="32093">
                  <c:v>0.57237381844123403</c:v>
                </c:pt>
                <c:pt idx="32094">
                  <c:v>0.57239165329052899</c:v>
                </c:pt>
                <c:pt idx="32095">
                  <c:v>0.57240948813982495</c:v>
                </c:pt>
                <c:pt idx="32096">
                  <c:v>0.57242732298912002</c:v>
                </c:pt>
                <c:pt idx="32097">
                  <c:v>0.57244515783841599</c:v>
                </c:pt>
                <c:pt idx="32098">
                  <c:v>0.57246299268771095</c:v>
                </c:pt>
                <c:pt idx="32099">
                  <c:v>0.57248082753700702</c:v>
                </c:pt>
                <c:pt idx="32100">
                  <c:v>0.57249866238630198</c:v>
                </c:pt>
                <c:pt idx="32101">
                  <c:v>0.57251649723559805</c:v>
                </c:pt>
                <c:pt idx="32102">
                  <c:v>0.57253433208489302</c:v>
                </c:pt>
                <c:pt idx="32103">
                  <c:v>0.57255216693418898</c:v>
                </c:pt>
                <c:pt idx="32104">
                  <c:v>0.57257000178348405</c:v>
                </c:pt>
                <c:pt idx="32105">
                  <c:v>0.57258783663278001</c:v>
                </c:pt>
                <c:pt idx="32106">
                  <c:v>0.57260567148207597</c:v>
                </c:pt>
                <c:pt idx="32107">
                  <c:v>0.57262350633137105</c:v>
                </c:pt>
                <c:pt idx="32108">
                  <c:v>0.57264134118066701</c:v>
                </c:pt>
                <c:pt idx="32109">
                  <c:v>0.57265917602996197</c:v>
                </c:pt>
                <c:pt idx="32110">
                  <c:v>0.57267701087925804</c:v>
                </c:pt>
                <c:pt idx="32111">
                  <c:v>0.572694845728553</c:v>
                </c:pt>
                <c:pt idx="32112">
                  <c:v>0.57271268057784896</c:v>
                </c:pt>
                <c:pt idx="32113">
                  <c:v>0.57273051542714404</c:v>
                </c:pt>
                <c:pt idx="32114">
                  <c:v>0.57274835027644</c:v>
                </c:pt>
                <c:pt idx="32115">
                  <c:v>0.57276618512573496</c:v>
                </c:pt>
                <c:pt idx="32116">
                  <c:v>0.57278401997503103</c:v>
                </c:pt>
                <c:pt idx="32117">
                  <c:v>0.572801854824326</c:v>
                </c:pt>
                <c:pt idx="32118">
                  <c:v>0.57281968967362196</c:v>
                </c:pt>
                <c:pt idx="32119">
                  <c:v>0.57283752452291703</c:v>
                </c:pt>
                <c:pt idx="32120">
                  <c:v>0.57285535937221299</c:v>
                </c:pt>
                <c:pt idx="32121">
                  <c:v>0.57287319422150795</c:v>
                </c:pt>
                <c:pt idx="32122">
                  <c:v>0.57289102907080403</c:v>
                </c:pt>
                <c:pt idx="32123">
                  <c:v>0.57290886392009899</c:v>
                </c:pt>
                <c:pt idx="32124">
                  <c:v>0.57292669876939495</c:v>
                </c:pt>
                <c:pt idx="32125">
                  <c:v>0.57294453361869002</c:v>
                </c:pt>
                <c:pt idx="32126">
                  <c:v>0.57296236846798598</c:v>
                </c:pt>
                <c:pt idx="32127">
                  <c:v>0.57298020331728095</c:v>
                </c:pt>
                <c:pt idx="32128">
                  <c:v>0.57299803816657702</c:v>
                </c:pt>
                <c:pt idx="32129">
                  <c:v>0.57301587301587298</c:v>
                </c:pt>
                <c:pt idx="32130">
                  <c:v>0.57303370786516805</c:v>
                </c:pt>
                <c:pt idx="32131">
                  <c:v>0.57305154271446401</c:v>
                </c:pt>
                <c:pt idx="32132">
                  <c:v>0.57306937756375897</c:v>
                </c:pt>
                <c:pt idx="32133">
                  <c:v>0.57308721241305505</c:v>
                </c:pt>
                <c:pt idx="32134">
                  <c:v>0.57310504726235001</c:v>
                </c:pt>
                <c:pt idx="32135">
                  <c:v>0.57312288211164597</c:v>
                </c:pt>
                <c:pt idx="32136">
                  <c:v>0.57314071696094104</c:v>
                </c:pt>
                <c:pt idx="32137">
                  <c:v>0.573158551810237</c:v>
                </c:pt>
                <c:pt idx="32138">
                  <c:v>0.57317638665953197</c:v>
                </c:pt>
                <c:pt idx="32139">
                  <c:v>0.57319422150882804</c:v>
                </c:pt>
                <c:pt idx="32140">
                  <c:v>0.573212056358123</c:v>
                </c:pt>
                <c:pt idx="32141">
                  <c:v>0.57322989120741896</c:v>
                </c:pt>
                <c:pt idx="32142">
                  <c:v>0.57324772605671404</c:v>
                </c:pt>
                <c:pt idx="32143">
                  <c:v>0.57326556090601</c:v>
                </c:pt>
                <c:pt idx="32144">
                  <c:v>0.57328339575530496</c:v>
                </c:pt>
                <c:pt idx="32145">
                  <c:v>0.57330123060460103</c:v>
                </c:pt>
                <c:pt idx="32146">
                  <c:v>0.57331906545389599</c:v>
                </c:pt>
                <c:pt idx="32147">
                  <c:v>0.57333690030319195</c:v>
                </c:pt>
                <c:pt idx="32148">
                  <c:v>0.57335473515248703</c:v>
                </c:pt>
                <c:pt idx="32149">
                  <c:v>0.57337257000178299</c:v>
                </c:pt>
                <c:pt idx="32150">
                  <c:v>0.57339040485107895</c:v>
                </c:pt>
                <c:pt idx="32151">
                  <c:v>0.57340823970037402</c:v>
                </c:pt>
                <c:pt idx="32152">
                  <c:v>0.57342607454966998</c:v>
                </c:pt>
                <c:pt idx="32153">
                  <c:v>0.57344390939896495</c:v>
                </c:pt>
                <c:pt idx="32154">
                  <c:v>0.57346174424826102</c:v>
                </c:pt>
                <c:pt idx="32155">
                  <c:v>0.57347957909755598</c:v>
                </c:pt>
                <c:pt idx="32156">
                  <c:v>0.57349741394685205</c:v>
                </c:pt>
                <c:pt idx="32157">
                  <c:v>0.57351524879614701</c:v>
                </c:pt>
                <c:pt idx="32158">
                  <c:v>0.57353308364544298</c:v>
                </c:pt>
                <c:pt idx="32159">
                  <c:v>0.57355091849473805</c:v>
                </c:pt>
                <c:pt idx="32160">
                  <c:v>0.57356875334403401</c:v>
                </c:pt>
                <c:pt idx="32161">
                  <c:v>0.57358658819332897</c:v>
                </c:pt>
                <c:pt idx="32162">
                  <c:v>0.57360442304262504</c:v>
                </c:pt>
                <c:pt idx="32163">
                  <c:v>0.57362225789192001</c:v>
                </c:pt>
                <c:pt idx="32164">
                  <c:v>0.57364009274121597</c:v>
                </c:pt>
                <c:pt idx="32165">
                  <c:v>0.57365792759051104</c:v>
                </c:pt>
                <c:pt idx="32166">
                  <c:v>0.573675762439807</c:v>
                </c:pt>
                <c:pt idx="32167">
                  <c:v>0.57369359728910196</c:v>
                </c:pt>
                <c:pt idx="32168">
                  <c:v>0.57371143213839804</c:v>
                </c:pt>
                <c:pt idx="32169">
                  <c:v>0.573729266987694</c:v>
                </c:pt>
                <c:pt idx="32170">
                  <c:v>0.57374710183698896</c:v>
                </c:pt>
                <c:pt idx="32171">
                  <c:v>0.57376493668628503</c:v>
                </c:pt>
                <c:pt idx="32172">
                  <c:v>0.57378277153557999</c:v>
                </c:pt>
                <c:pt idx="32173">
                  <c:v>0.57380060638487596</c:v>
                </c:pt>
                <c:pt idx="32174">
                  <c:v>0.57381844123417103</c:v>
                </c:pt>
                <c:pt idx="32175">
                  <c:v>0.57383627608346699</c:v>
                </c:pt>
                <c:pt idx="32176">
                  <c:v>0.57385411093276195</c:v>
                </c:pt>
                <c:pt idx="32177">
                  <c:v>0.57387194578205802</c:v>
                </c:pt>
                <c:pt idx="32178">
                  <c:v>0.57388978063135299</c:v>
                </c:pt>
                <c:pt idx="32179">
                  <c:v>0.57390761548064895</c:v>
                </c:pt>
                <c:pt idx="32180">
                  <c:v>0.57392545032994402</c:v>
                </c:pt>
                <c:pt idx="32181">
                  <c:v>0.57394328517923998</c:v>
                </c:pt>
                <c:pt idx="32182">
                  <c:v>0.57396112002853505</c:v>
                </c:pt>
                <c:pt idx="32183">
                  <c:v>0.57397895487783102</c:v>
                </c:pt>
                <c:pt idx="32184">
                  <c:v>0.57399678972712598</c:v>
                </c:pt>
                <c:pt idx="32185">
                  <c:v>0.57401462457642205</c:v>
                </c:pt>
                <c:pt idx="32186">
                  <c:v>0.57403245942571701</c:v>
                </c:pt>
                <c:pt idx="32187">
                  <c:v>0.57405029427501297</c:v>
                </c:pt>
                <c:pt idx="32188">
                  <c:v>0.57406812912430805</c:v>
                </c:pt>
                <c:pt idx="32189">
                  <c:v>0.57408596397360401</c:v>
                </c:pt>
                <c:pt idx="32190">
                  <c:v>0.57410379882289997</c:v>
                </c:pt>
                <c:pt idx="32191">
                  <c:v>0.57412163367219504</c:v>
                </c:pt>
                <c:pt idx="32192">
                  <c:v>0.574139468521491</c:v>
                </c:pt>
                <c:pt idx="32193">
                  <c:v>0.57415730337078597</c:v>
                </c:pt>
                <c:pt idx="32194">
                  <c:v>0.57417513822008204</c:v>
                </c:pt>
                <c:pt idx="32195">
                  <c:v>0.574192973069377</c:v>
                </c:pt>
                <c:pt idx="32196">
                  <c:v>0.57421080791867296</c:v>
                </c:pt>
                <c:pt idx="32197">
                  <c:v>0.57422864276796803</c:v>
                </c:pt>
                <c:pt idx="32198">
                  <c:v>0.574246477617264</c:v>
                </c:pt>
                <c:pt idx="32199">
                  <c:v>0.57426431246655896</c:v>
                </c:pt>
                <c:pt idx="32200">
                  <c:v>0.57428214731585503</c:v>
                </c:pt>
                <c:pt idx="32201">
                  <c:v>0.57429998216514999</c:v>
                </c:pt>
                <c:pt idx="32202">
                  <c:v>0.57431781701444595</c:v>
                </c:pt>
                <c:pt idx="32203">
                  <c:v>0.57433565186374103</c:v>
                </c:pt>
                <c:pt idx="32204">
                  <c:v>0.57435348671303699</c:v>
                </c:pt>
                <c:pt idx="32205">
                  <c:v>0.57437132156233195</c:v>
                </c:pt>
                <c:pt idx="32206">
                  <c:v>0.57438915641162802</c:v>
                </c:pt>
                <c:pt idx="32207">
                  <c:v>0.57440699126092298</c:v>
                </c:pt>
                <c:pt idx="32208">
                  <c:v>0.57442482611021894</c:v>
                </c:pt>
                <c:pt idx="32209">
                  <c:v>0.57444266095951402</c:v>
                </c:pt>
                <c:pt idx="32210">
                  <c:v>0.57446049580880998</c:v>
                </c:pt>
                <c:pt idx="32211">
                  <c:v>0.57447833065810505</c:v>
                </c:pt>
                <c:pt idx="32212">
                  <c:v>0.57449616550740101</c:v>
                </c:pt>
                <c:pt idx="32213">
                  <c:v>0.57451400035669697</c:v>
                </c:pt>
                <c:pt idx="32214">
                  <c:v>0.57453183520599205</c:v>
                </c:pt>
                <c:pt idx="32215">
                  <c:v>0.57454967005528801</c:v>
                </c:pt>
                <c:pt idx="32216">
                  <c:v>0.57456750490458297</c:v>
                </c:pt>
                <c:pt idx="32217">
                  <c:v>0.57458533975387904</c:v>
                </c:pt>
                <c:pt idx="32218">
                  <c:v>0.57460317460317401</c:v>
                </c:pt>
                <c:pt idx="32219">
                  <c:v>0.57462100945246997</c:v>
                </c:pt>
                <c:pt idx="32220">
                  <c:v>0.57463884430176504</c:v>
                </c:pt>
                <c:pt idx="32221">
                  <c:v>0.574656679151061</c:v>
                </c:pt>
                <c:pt idx="32222">
                  <c:v>0.57467451400035596</c:v>
                </c:pt>
                <c:pt idx="32223">
                  <c:v>0.57469234884965203</c:v>
                </c:pt>
                <c:pt idx="32224">
                  <c:v>0.574710183698947</c:v>
                </c:pt>
                <c:pt idx="32225">
                  <c:v>0.57472801854824296</c:v>
                </c:pt>
                <c:pt idx="32226">
                  <c:v>0.57474585339753803</c:v>
                </c:pt>
                <c:pt idx="32227">
                  <c:v>0.57476368824683399</c:v>
                </c:pt>
                <c:pt idx="32228">
                  <c:v>0.57478152309612895</c:v>
                </c:pt>
                <c:pt idx="32229">
                  <c:v>0.57479935794542503</c:v>
                </c:pt>
                <c:pt idx="32230">
                  <c:v>0.57481719279471999</c:v>
                </c:pt>
                <c:pt idx="32231">
                  <c:v>0.57483502764401595</c:v>
                </c:pt>
                <c:pt idx="32232">
                  <c:v>0.57485286249331102</c:v>
                </c:pt>
                <c:pt idx="32233">
                  <c:v>0.57487069734260698</c:v>
                </c:pt>
                <c:pt idx="32234">
                  <c:v>0.57488853219190295</c:v>
                </c:pt>
                <c:pt idx="32235">
                  <c:v>0.57490636704119802</c:v>
                </c:pt>
                <c:pt idx="32236">
                  <c:v>0.57492420189049398</c:v>
                </c:pt>
                <c:pt idx="32237">
                  <c:v>0.57494203673978905</c:v>
                </c:pt>
                <c:pt idx="32238">
                  <c:v>0.57495987158908501</c:v>
                </c:pt>
                <c:pt idx="32239">
                  <c:v>0.57497770643837998</c:v>
                </c:pt>
                <c:pt idx="32240">
                  <c:v>0.57499554128767605</c:v>
                </c:pt>
                <c:pt idx="32241">
                  <c:v>0.57501337613697101</c:v>
                </c:pt>
                <c:pt idx="32242">
                  <c:v>0.57503121098626697</c:v>
                </c:pt>
                <c:pt idx="32243">
                  <c:v>0.57504904583556204</c:v>
                </c:pt>
                <c:pt idx="32244">
                  <c:v>0.57506688068485801</c:v>
                </c:pt>
                <c:pt idx="32245">
                  <c:v>0.57508471553415297</c:v>
                </c:pt>
                <c:pt idx="32246">
                  <c:v>0.57510255038344904</c:v>
                </c:pt>
                <c:pt idx="32247">
                  <c:v>0.575120385232744</c:v>
                </c:pt>
                <c:pt idx="32248">
                  <c:v>0.57513822008203996</c:v>
                </c:pt>
                <c:pt idx="32249">
                  <c:v>0.57515605493133504</c:v>
                </c:pt>
                <c:pt idx="32250">
                  <c:v>0.575173889780631</c:v>
                </c:pt>
                <c:pt idx="32251">
                  <c:v>0.57519172462992596</c:v>
                </c:pt>
                <c:pt idx="32252">
                  <c:v>0.57520955947922203</c:v>
                </c:pt>
                <c:pt idx="32253">
                  <c:v>0.57522739432851699</c:v>
                </c:pt>
                <c:pt idx="32254">
                  <c:v>0.57524522917781296</c:v>
                </c:pt>
                <c:pt idx="32255">
                  <c:v>0.57526306402710803</c:v>
                </c:pt>
                <c:pt idx="32256">
                  <c:v>0.57528089887640399</c:v>
                </c:pt>
                <c:pt idx="32257">
                  <c:v>0.57529873372569995</c:v>
                </c:pt>
                <c:pt idx="32258">
                  <c:v>0.57531656857499502</c:v>
                </c:pt>
                <c:pt idx="32259">
                  <c:v>0.57533440342429099</c:v>
                </c:pt>
                <c:pt idx="32260">
                  <c:v>0.57535223827358595</c:v>
                </c:pt>
                <c:pt idx="32261">
                  <c:v>0.57537007312288202</c:v>
                </c:pt>
                <c:pt idx="32262">
                  <c:v>0.57538790797217698</c:v>
                </c:pt>
                <c:pt idx="32263">
                  <c:v>0.57540574282147305</c:v>
                </c:pt>
                <c:pt idx="32264">
                  <c:v>0.57542357767076802</c:v>
                </c:pt>
                <c:pt idx="32265">
                  <c:v>0.57544141252006398</c:v>
                </c:pt>
                <c:pt idx="32266">
                  <c:v>0.57545924736935905</c:v>
                </c:pt>
                <c:pt idx="32267">
                  <c:v>0.57547708221865501</c:v>
                </c:pt>
                <c:pt idx="32268">
                  <c:v>0.57549491706794997</c:v>
                </c:pt>
                <c:pt idx="32269">
                  <c:v>0.57551275191724605</c:v>
                </c:pt>
                <c:pt idx="32270">
                  <c:v>0.57553058676654101</c:v>
                </c:pt>
                <c:pt idx="32271">
                  <c:v>0.57554842161583697</c:v>
                </c:pt>
                <c:pt idx="32272">
                  <c:v>0.57556625646513204</c:v>
                </c:pt>
                <c:pt idx="32273">
                  <c:v>0.575584091314428</c:v>
                </c:pt>
                <c:pt idx="32274">
                  <c:v>0.57560192616372396</c:v>
                </c:pt>
                <c:pt idx="32275">
                  <c:v>0.57561976101301904</c:v>
                </c:pt>
                <c:pt idx="32276">
                  <c:v>0.575637595862315</c:v>
                </c:pt>
                <c:pt idx="32277">
                  <c:v>0.57565543071160996</c:v>
                </c:pt>
                <c:pt idx="32278">
                  <c:v>0.57567326556090603</c:v>
                </c:pt>
                <c:pt idx="32279">
                  <c:v>0.575691100410201</c:v>
                </c:pt>
                <c:pt idx="32280">
                  <c:v>0.57570893525949696</c:v>
                </c:pt>
                <c:pt idx="32281">
                  <c:v>0.57572677010879203</c:v>
                </c:pt>
                <c:pt idx="32282">
                  <c:v>0.57574460495808799</c:v>
                </c:pt>
                <c:pt idx="32283">
                  <c:v>0.57576243980738295</c:v>
                </c:pt>
                <c:pt idx="32284">
                  <c:v>0.57578027465667903</c:v>
                </c:pt>
                <c:pt idx="32285">
                  <c:v>0.57579810950597399</c:v>
                </c:pt>
                <c:pt idx="32286">
                  <c:v>0.57581594435526995</c:v>
                </c:pt>
                <c:pt idx="32287">
                  <c:v>0.57583377920456502</c:v>
                </c:pt>
                <c:pt idx="32288">
                  <c:v>0.57585161405386098</c:v>
                </c:pt>
                <c:pt idx="32289">
                  <c:v>0.57586944890315594</c:v>
                </c:pt>
                <c:pt idx="32290">
                  <c:v>0.57588728375245202</c:v>
                </c:pt>
                <c:pt idx="32291">
                  <c:v>0.57590511860174698</c:v>
                </c:pt>
                <c:pt idx="32292">
                  <c:v>0.57592295345104305</c:v>
                </c:pt>
                <c:pt idx="32293">
                  <c:v>0.57594078830033801</c:v>
                </c:pt>
                <c:pt idx="32294">
                  <c:v>0.57595862314963397</c:v>
                </c:pt>
                <c:pt idx="32295">
                  <c:v>0.57597645799892905</c:v>
                </c:pt>
                <c:pt idx="32296">
                  <c:v>0.57599429284822501</c:v>
                </c:pt>
                <c:pt idx="32297">
                  <c:v>0.57601212769752097</c:v>
                </c:pt>
                <c:pt idx="32298">
                  <c:v>0.57602996254681604</c:v>
                </c:pt>
                <c:pt idx="32299">
                  <c:v>0.576047797396112</c:v>
                </c:pt>
                <c:pt idx="32300">
                  <c:v>0.57606563224540697</c:v>
                </c:pt>
                <c:pt idx="32301">
                  <c:v>0.57608346709470304</c:v>
                </c:pt>
                <c:pt idx="32302">
                  <c:v>0.576101301943998</c:v>
                </c:pt>
                <c:pt idx="32303">
                  <c:v>0.57611913679329396</c:v>
                </c:pt>
                <c:pt idx="32304">
                  <c:v>0.57613697164258904</c:v>
                </c:pt>
                <c:pt idx="32305">
                  <c:v>0.576154806491885</c:v>
                </c:pt>
                <c:pt idx="32306">
                  <c:v>0.57617264134117996</c:v>
                </c:pt>
                <c:pt idx="32307">
                  <c:v>0.57619047619047603</c:v>
                </c:pt>
                <c:pt idx="32308">
                  <c:v>0.57620831103977099</c:v>
                </c:pt>
                <c:pt idx="32309">
                  <c:v>0.57622614588906695</c:v>
                </c:pt>
                <c:pt idx="32310">
                  <c:v>0.57624398073836203</c:v>
                </c:pt>
                <c:pt idx="32311">
                  <c:v>0.57626181558765799</c:v>
                </c:pt>
                <c:pt idx="32312">
                  <c:v>0.57627965043695295</c:v>
                </c:pt>
                <c:pt idx="32313">
                  <c:v>0.57629748528624902</c:v>
                </c:pt>
                <c:pt idx="32314">
                  <c:v>0.57631532013554398</c:v>
                </c:pt>
                <c:pt idx="32315">
                  <c:v>0.57633315498483995</c:v>
                </c:pt>
                <c:pt idx="32316">
                  <c:v>0.57635098983413502</c:v>
                </c:pt>
                <c:pt idx="32317">
                  <c:v>0.57636882468343098</c:v>
                </c:pt>
                <c:pt idx="32318">
                  <c:v>0.57638665953272605</c:v>
                </c:pt>
                <c:pt idx="32319">
                  <c:v>0.57640449438202201</c:v>
                </c:pt>
                <c:pt idx="32320">
                  <c:v>0.57642232923131798</c:v>
                </c:pt>
                <c:pt idx="32321">
                  <c:v>0.57644016408061305</c:v>
                </c:pt>
                <c:pt idx="32322">
                  <c:v>0.57645799892990901</c:v>
                </c:pt>
                <c:pt idx="32323">
                  <c:v>0.57647583377920397</c:v>
                </c:pt>
                <c:pt idx="32324">
                  <c:v>0.57649366862850004</c:v>
                </c:pt>
                <c:pt idx="32325">
                  <c:v>0.57651150347779501</c:v>
                </c:pt>
                <c:pt idx="32326">
                  <c:v>0.57652933832709097</c:v>
                </c:pt>
                <c:pt idx="32327">
                  <c:v>0.57654717317638604</c:v>
                </c:pt>
                <c:pt idx="32328">
                  <c:v>0.576565008025682</c:v>
                </c:pt>
                <c:pt idx="32329">
                  <c:v>0.57658284287497696</c:v>
                </c:pt>
                <c:pt idx="32330">
                  <c:v>0.57660067772427304</c:v>
                </c:pt>
                <c:pt idx="32331">
                  <c:v>0.576618512573568</c:v>
                </c:pt>
                <c:pt idx="32332">
                  <c:v>0.57663634742286396</c:v>
                </c:pt>
                <c:pt idx="32333">
                  <c:v>0.57665418227215903</c:v>
                </c:pt>
                <c:pt idx="32334">
                  <c:v>0.57667201712145499</c:v>
                </c:pt>
                <c:pt idx="32335">
                  <c:v>0.57668985197074996</c:v>
                </c:pt>
                <c:pt idx="32336">
                  <c:v>0.57670768682004603</c:v>
                </c:pt>
                <c:pt idx="32337">
                  <c:v>0.57672552166934099</c:v>
                </c:pt>
                <c:pt idx="32338">
                  <c:v>0.57674335651863695</c:v>
                </c:pt>
                <c:pt idx="32339">
                  <c:v>0.57676119136793202</c:v>
                </c:pt>
                <c:pt idx="32340">
                  <c:v>0.57677902621722799</c:v>
                </c:pt>
                <c:pt idx="32341">
                  <c:v>0.57679686106652395</c:v>
                </c:pt>
                <c:pt idx="32342">
                  <c:v>0.57681469591581902</c:v>
                </c:pt>
                <c:pt idx="32343">
                  <c:v>0.57683253076511498</c:v>
                </c:pt>
                <c:pt idx="32344">
                  <c:v>0.57685036561441005</c:v>
                </c:pt>
                <c:pt idx="32345">
                  <c:v>0.57686820046370602</c:v>
                </c:pt>
                <c:pt idx="32346">
                  <c:v>0.57688603531300098</c:v>
                </c:pt>
                <c:pt idx="32347">
                  <c:v>0.57690387016229705</c:v>
                </c:pt>
                <c:pt idx="32348">
                  <c:v>0.57692170501159201</c:v>
                </c:pt>
                <c:pt idx="32349">
                  <c:v>0.57693953986088797</c:v>
                </c:pt>
                <c:pt idx="32350">
                  <c:v>0.57695737471018305</c:v>
                </c:pt>
                <c:pt idx="32351">
                  <c:v>0.57697520955947901</c:v>
                </c:pt>
                <c:pt idx="32352">
                  <c:v>0.57699304440877397</c:v>
                </c:pt>
                <c:pt idx="32353">
                  <c:v>0.57701087925807004</c:v>
                </c:pt>
                <c:pt idx="32354">
                  <c:v>0.577028714107365</c:v>
                </c:pt>
                <c:pt idx="32355">
                  <c:v>0.57704654895666097</c:v>
                </c:pt>
                <c:pt idx="32356">
                  <c:v>0.57706438380595604</c:v>
                </c:pt>
                <c:pt idx="32357">
                  <c:v>0.577082218655252</c:v>
                </c:pt>
                <c:pt idx="32358">
                  <c:v>0.57710005350454696</c:v>
                </c:pt>
                <c:pt idx="32359">
                  <c:v>0.57711788835384303</c:v>
                </c:pt>
                <c:pt idx="32360">
                  <c:v>0.577135723203138</c:v>
                </c:pt>
                <c:pt idx="32361">
                  <c:v>0.57715355805243396</c:v>
                </c:pt>
                <c:pt idx="32362">
                  <c:v>0.57717139290173003</c:v>
                </c:pt>
                <c:pt idx="32363">
                  <c:v>0.57718922775102499</c:v>
                </c:pt>
                <c:pt idx="32364">
                  <c:v>0.57720706260032095</c:v>
                </c:pt>
                <c:pt idx="32365">
                  <c:v>0.57722489744961603</c:v>
                </c:pt>
                <c:pt idx="32366">
                  <c:v>0.57724273229891199</c:v>
                </c:pt>
                <c:pt idx="32367">
                  <c:v>0.57726056714820695</c:v>
                </c:pt>
                <c:pt idx="32368">
                  <c:v>0.57727840199750302</c:v>
                </c:pt>
                <c:pt idx="32369">
                  <c:v>0.57729623684679798</c:v>
                </c:pt>
                <c:pt idx="32370">
                  <c:v>0.57731407169609406</c:v>
                </c:pt>
                <c:pt idx="32371">
                  <c:v>0.57733190654538902</c:v>
                </c:pt>
                <c:pt idx="32372">
                  <c:v>0.57734974139468498</c:v>
                </c:pt>
                <c:pt idx="32373">
                  <c:v>0.57736757624398005</c:v>
                </c:pt>
                <c:pt idx="32374">
                  <c:v>0.57738541109327601</c:v>
                </c:pt>
                <c:pt idx="32375">
                  <c:v>0.57740324594257098</c:v>
                </c:pt>
                <c:pt idx="32376">
                  <c:v>0.57742108079186705</c:v>
                </c:pt>
                <c:pt idx="32377">
                  <c:v>0.57743891564116201</c:v>
                </c:pt>
                <c:pt idx="32378">
                  <c:v>0.57745675049045797</c:v>
                </c:pt>
                <c:pt idx="32379">
                  <c:v>0.57747458533975304</c:v>
                </c:pt>
                <c:pt idx="32380">
                  <c:v>0.577492420189049</c:v>
                </c:pt>
                <c:pt idx="32381">
                  <c:v>0.57751025503834497</c:v>
                </c:pt>
                <c:pt idx="32382">
                  <c:v>0.57752808988764004</c:v>
                </c:pt>
                <c:pt idx="32383">
                  <c:v>0.577545924736936</c:v>
                </c:pt>
                <c:pt idx="32384">
                  <c:v>0.57756375958623096</c:v>
                </c:pt>
                <c:pt idx="32385">
                  <c:v>0.57758159443552703</c:v>
                </c:pt>
                <c:pt idx="32386">
                  <c:v>0.577599429284822</c:v>
                </c:pt>
                <c:pt idx="32387">
                  <c:v>0.57761726413411796</c:v>
                </c:pt>
                <c:pt idx="32388">
                  <c:v>0.57763509898341303</c:v>
                </c:pt>
                <c:pt idx="32389">
                  <c:v>0.57765293383270899</c:v>
                </c:pt>
                <c:pt idx="32390">
                  <c:v>0.57767076868200395</c:v>
                </c:pt>
                <c:pt idx="32391">
                  <c:v>0.57768860353130003</c:v>
                </c:pt>
                <c:pt idx="32392">
                  <c:v>0.57770643838059499</c:v>
                </c:pt>
                <c:pt idx="32393">
                  <c:v>0.57772427322989095</c:v>
                </c:pt>
                <c:pt idx="32394">
                  <c:v>0.57774210807918602</c:v>
                </c:pt>
                <c:pt idx="32395">
                  <c:v>0.57775994292848198</c:v>
                </c:pt>
                <c:pt idx="32396">
                  <c:v>0.57777777777777695</c:v>
                </c:pt>
                <c:pt idx="32397">
                  <c:v>0.57779561262707302</c:v>
                </c:pt>
                <c:pt idx="32398">
                  <c:v>0.57781344747636798</c:v>
                </c:pt>
                <c:pt idx="32399">
                  <c:v>0.57783128232566405</c:v>
                </c:pt>
                <c:pt idx="32400">
                  <c:v>0.57784911717495901</c:v>
                </c:pt>
                <c:pt idx="32401">
                  <c:v>0.57786695202425498</c:v>
                </c:pt>
                <c:pt idx="32402">
                  <c:v>0.57788478687355005</c:v>
                </c:pt>
                <c:pt idx="32403">
                  <c:v>0.57790262172284601</c:v>
                </c:pt>
                <c:pt idx="32404">
                  <c:v>0.57792045657214197</c:v>
                </c:pt>
                <c:pt idx="32405">
                  <c:v>0.57793829142143704</c:v>
                </c:pt>
                <c:pt idx="32406">
                  <c:v>0.57795612627073301</c:v>
                </c:pt>
                <c:pt idx="32407">
                  <c:v>0.57797396112002797</c:v>
                </c:pt>
                <c:pt idx="32408">
                  <c:v>0.57799179596932404</c:v>
                </c:pt>
                <c:pt idx="32409">
                  <c:v>0.578009630818619</c:v>
                </c:pt>
                <c:pt idx="32410">
                  <c:v>0.57802746566791496</c:v>
                </c:pt>
                <c:pt idx="32411">
                  <c:v>0.57804530051721004</c:v>
                </c:pt>
                <c:pt idx="32412">
                  <c:v>0.578063135366506</c:v>
                </c:pt>
                <c:pt idx="32413">
                  <c:v>0.57808097021580096</c:v>
                </c:pt>
                <c:pt idx="32414">
                  <c:v>0.57809880506509703</c:v>
                </c:pt>
                <c:pt idx="32415">
                  <c:v>0.57811663991439199</c:v>
                </c:pt>
                <c:pt idx="32416">
                  <c:v>0.57813447476368796</c:v>
                </c:pt>
                <c:pt idx="32417">
                  <c:v>0.57815230961298303</c:v>
                </c:pt>
                <c:pt idx="32418">
                  <c:v>0.57817014446227899</c:v>
                </c:pt>
                <c:pt idx="32419">
                  <c:v>0.57818797931157395</c:v>
                </c:pt>
                <c:pt idx="32420">
                  <c:v>0.57820581416087002</c:v>
                </c:pt>
                <c:pt idx="32421">
                  <c:v>0.57822364901016499</c:v>
                </c:pt>
                <c:pt idx="32422">
                  <c:v>0.57824148385946095</c:v>
                </c:pt>
                <c:pt idx="32423">
                  <c:v>0.57825931870875602</c:v>
                </c:pt>
                <c:pt idx="32424">
                  <c:v>0.57827715355805198</c:v>
                </c:pt>
                <c:pt idx="32425">
                  <c:v>0.57829498840734705</c:v>
                </c:pt>
                <c:pt idx="32426">
                  <c:v>0.57831282325664302</c:v>
                </c:pt>
                <c:pt idx="32427">
                  <c:v>0.57833065810593898</c:v>
                </c:pt>
                <c:pt idx="32428">
                  <c:v>0.57834849295523405</c:v>
                </c:pt>
                <c:pt idx="32429">
                  <c:v>0.57836632780453001</c:v>
                </c:pt>
                <c:pt idx="32430">
                  <c:v>0.57838416265382497</c:v>
                </c:pt>
                <c:pt idx="32431">
                  <c:v>0.57840199750312105</c:v>
                </c:pt>
                <c:pt idx="32432">
                  <c:v>0.57841983235241601</c:v>
                </c:pt>
                <c:pt idx="32433">
                  <c:v>0.57843766720171197</c:v>
                </c:pt>
                <c:pt idx="32434">
                  <c:v>0.57845550205100704</c:v>
                </c:pt>
                <c:pt idx="32435">
                  <c:v>0.578473336900303</c:v>
                </c:pt>
                <c:pt idx="32436">
                  <c:v>0.57849117174959797</c:v>
                </c:pt>
                <c:pt idx="32437">
                  <c:v>0.57850900659889404</c:v>
                </c:pt>
                <c:pt idx="32438">
                  <c:v>0.578526841448189</c:v>
                </c:pt>
                <c:pt idx="32439">
                  <c:v>0.57854467629748496</c:v>
                </c:pt>
                <c:pt idx="32440">
                  <c:v>0.57856251114678003</c:v>
                </c:pt>
                <c:pt idx="32441">
                  <c:v>0.578580345996076</c:v>
                </c:pt>
                <c:pt idx="32442">
                  <c:v>0.57859818084537096</c:v>
                </c:pt>
                <c:pt idx="32443">
                  <c:v>0.57861601569466703</c:v>
                </c:pt>
                <c:pt idx="32444">
                  <c:v>0.57863385054396199</c:v>
                </c:pt>
                <c:pt idx="32445">
                  <c:v>0.57865168539325795</c:v>
                </c:pt>
                <c:pt idx="32446">
                  <c:v>0.57866952024255303</c:v>
                </c:pt>
                <c:pt idx="32447">
                  <c:v>0.57868735509184899</c:v>
                </c:pt>
                <c:pt idx="32448">
                  <c:v>0.57870518994114495</c:v>
                </c:pt>
                <c:pt idx="32449">
                  <c:v>0.57872302479044002</c:v>
                </c:pt>
                <c:pt idx="32450">
                  <c:v>0.57874085963973598</c:v>
                </c:pt>
                <c:pt idx="32451">
                  <c:v>0.57875869448903094</c:v>
                </c:pt>
                <c:pt idx="32452">
                  <c:v>0.57877652933832702</c:v>
                </c:pt>
                <c:pt idx="32453">
                  <c:v>0.57879436418762198</c:v>
                </c:pt>
                <c:pt idx="32454">
                  <c:v>0.57881219903691805</c:v>
                </c:pt>
                <c:pt idx="32455">
                  <c:v>0.57883003388621301</c:v>
                </c:pt>
                <c:pt idx="32456">
                  <c:v>0.57884786873550897</c:v>
                </c:pt>
                <c:pt idx="32457">
                  <c:v>0.57886570358480405</c:v>
                </c:pt>
                <c:pt idx="32458">
                  <c:v>0.57888353843410001</c:v>
                </c:pt>
                <c:pt idx="32459">
                  <c:v>0.57890137328339497</c:v>
                </c:pt>
                <c:pt idx="32460">
                  <c:v>0.57891920813269104</c:v>
                </c:pt>
                <c:pt idx="32461">
                  <c:v>0.57893704298198601</c:v>
                </c:pt>
                <c:pt idx="32462">
                  <c:v>0.57895487783128197</c:v>
                </c:pt>
                <c:pt idx="32463">
                  <c:v>0.57897271268057704</c:v>
                </c:pt>
                <c:pt idx="32464">
                  <c:v>0.578990547529873</c:v>
                </c:pt>
                <c:pt idx="32465">
                  <c:v>0.57900838237916796</c:v>
                </c:pt>
                <c:pt idx="32466">
                  <c:v>0.57902621722846404</c:v>
                </c:pt>
                <c:pt idx="32467">
                  <c:v>0.57904405207776</c:v>
                </c:pt>
                <c:pt idx="32468">
                  <c:v>0.57906188692705496</c:v>
                </c:pt>
                <c:pt idx="32469">
                  <c:v>0.57907972177635103</c:v>
                </c:pt>
                <c:pt idx="32470">
                  <c:v>0.57909755662564599</c:v>
                </c:pt>
                <c:pt idx="32471">
                  <c:v>0.57911539147494195</c:v>
                </c:pt>
                <c:pt idx="32472">
                  <c:v>0.57913322632423703</c:v>
                </c:pt>
                <c:pt idx="32473">
                  <c:v>0.57915106117353299</c:v>
                </c:pt>
                <c:pt idx="32474">
                  <c:v>0.57916889602282795</c:v>
                </c:pt>
                <c:pt idx="32475">
                  <c:v>0.57918673087212402</c:v>
                </c:pt>
                <c:pt idx="32476">
                  <c:v>0.57920456572141898</c:v>
                </c:pt>
                <c:pt idx="32477">
                  <c:v>0.57922240057071495</c:v>
                </c:pt>
                <c:pt idx="32478">
                  <c:v>0.57924023542001002</c:v>
                </c:pt>
                <c:pt idx="32479">
                  <c:v>0.57925807026930598</c:v>
                </c:pt>
                <c:pt idx="32480">
                  <c:v>0.57927590511860105</c:v>
                </c:pt>
                <c:pt idx="32481">
                  <c:v>0.57929373996789701</c:v>
                </c:pt>
                <c:pt idx="32482">
                  <c:v>0.57931157481719198</c:v>
                </c:pt>
                <c:pt idx="32483">
                  <c:v>0.57932940966648805</c:v>
                </c:pt>
                <c:pt idx="32484">
                  <c:v>0.57934724451578301</c:v>
                </c:pt>
                <c:pt idx="32485">
                  <c:v>0.57936507936507897</c:v>
                </c:pt>
                <c:pt idx="32486">
                  <c:v>0.57938291421437405</c:v>
                </c:pt>
                <c:pt idx="32487">
                  <c:v>0.57940074906367001</c:v>
                </c:pt>
                <c:pt idx="32488">
                  <c:v>0.57941858391296597</c:v>
                </c:pt>
                <c:pt idx="32489">
                  <c:v>0.57943641876226104</c:v>
                </c:pt>
                <c:pt idx="32490">
                  <c:v>0.579454253611557</c:v>
                </c:pt>
                <c:pt idx="32491">
                  <c:v>0.57947208846085196</c:v>
                </c:pt>
                <c:pt idx="32492">
                  <c:v>0.57948992331014804</c:v>
                </c:pt>
                <c:pt idx="32493">
                  <c:v>0.579507758159443</c:v>
                </c:pt>
                <c:pt idx="32494">
                  <c:v>0.57952559300873896</c:v>
                </c:pt>
                <c:pt idx="32495">
                  <c:v>0.57954342785803403</c:v>
                </c:pt>
                <c:pt idx="32496">
                  <c:v>0.57956126270732999</c:v>
                </c:pt>
                <c:pt idx="32497">
                  <c:v>0.57957909755662496</c:v>
                </c:pt>
                <c:pt idx="32498">
                  <c:v>0.57959693240592103</c:v>
                </c:pt>
                <c:pt idx="32499">
                  <c:v>0.57961476725521599</c:v>
                </c:pt>
                <c:pt idx="32500">
                  <c:v>0.57963260210451195</c:v>
                </c:pt>
                <c:pt idx="32501">
                  <c:v>0.57965043695380702</c:v>
                </c:pt>
                <c:pt idx="32502">
                  <c:v>0.57966827180310299</c:v>
                </c:pt>
                <c:pt idx="32503">
                  <c:v>0.57968610665239795</c:v>
                </c:pt>
                <c:pt idx="32504">
                  <c:v>0.57970394150169402</c:v>
                </c:pt>
                <c:pt idx="32505">
                  <c:v>0.57972177635098898</c:v>
                </c:pt>
                <c:pt idx="32506">
                  <c:v>0.57973961120028505</c:v>
                </c:pt>
                <c:pt idx="32507">
                  <c:v>0.57975744604958002</c:v>
                </c:pt>
                <c:pt idx="32508">
                  <c:v>0.57977528089887598</c:v>
                </c:pt>
                <c:pt idx="32509">
                  <c:v>0.57979311574817105</c:v>
                </c:pt>
                <c:pt idx="32510">
                  <c:v>0.57981095059746701</c:v>
                </c:pt>
                <c:pt idx="32511">
                  <c:v>0.57982878544676297</c:v>
                </c:pt>
                <c:pt idx="32512">
                  <c:v>0.57984662029605805</c:v>
                </c:pt>
                <c:pt idx="32513">
                  <c:v>0.57986445514535401</c:v>
                </c:pt>
                <c:pt idx="32514">
                  <c:v>0.57988228999464897</c:v>
                </c:pt>
                <c:pt idx="32515">
                  <c:v>0.57990012484394504</c:v>
                </c:pt>
                <c:pt idx="32516">
                  <c:v>0.57991795969324</c:v>
                </c:pt>
                <c:pt idx="32517">
                  <c:v>0.57993579454253597</c:v>
                </c:pt>
                <c:pt idx="32518">
                  <c:v>0.57995362939183104</c:v>
                </c:pt>
                <c:pt idx="32519">
                  <c:v>0.579971464241127</c:v>
                </c:pt>
                <c:pt idx="32520">
                  <c:v>0.57998929909042196</c:v>
                </c:pt>
                <c:pt idx="32521">
                  <c:v>0.58000713393971803</c:v>
                </c:pt>
                <c:pt idx="32522">
                  <c:v>0.580024968789013</c:v>
                </c:pt>
                <c:pt idx="32523">
                  <c:v>0.58004280363830896</c:v>
                </c:pt>
                <c:pt idx="32524">
                  <c:v>0.58006063848760403</c:v>
                </c:pt>
                <c:pt idx="32525">
                  <c:v>0.58007847333689999</c:v>
                </c:pt>
                <c:pt idx="32526">
                  <c:v>0.58009630818619495</c:v>
                </c:pt>
                <c:pt idx="32527">
                  <c:v>0.58011414303549103</c:v>
                </c:pt>
                <c:pt idx="32528">
                  <c:v>0.58013197788478599</c:v>
                </c:pt>
                <c:pt idx="32529">
                  <c:v>0.58014981273408195</c:v>
                </c:pt>
                <c:pt idx="32530">
                  <c:v>0.58016764758337702</c:v>
                </c:pt>
                <c:pt idx="32531">
                  <c:v>0.58018548243267298</c:v>
                </c:pt>
                <c:pt idx="32532">
                  <c:v>0.58020331728196795</c:v>
                </c:pt>
                <c:pt idx="32533">
                  <c:v>0.58022115213126402</c:v>
                </c:pt>
                <c:pt idx="32534">
                  <c:v>0.58023898698055998</c:v>
                </c:pt>
                <c:pt idx="32535">
                  <c:v>0.58025682182985505</c:v>
                </c:pt>
                <c:pt idx="32536">
                  <c:v>0.58027465667915101</c:v>
                </c:pt>
                <c:pt idx="32537">
                  <c:v>0.58029249152844598</c:v>
                </c:pt>
                <c:pt idx="32538">
                  <c:v>0.58031032637774205</c:v>
                </c:pt>
                <c:pt idx="32539">
                  <c:v>0.58032816122703701</c:v>
                </c:pt>
                <c:pt idx="32540">
                  <c:v>0.58034599607633297</c:v>
                </c:pt>
                <c:pt idx="32541">
                  <c:v>0.58036383092562804</c:v>
                </c:pt>
                <c:pt idx="32542">
                  <c:v>0.580381665774924</c:v>
                </c:pt>
                <c:pt idx="32543">
                  <c:v>0.58039950062421897</c:v>
                </c:pt>
                <c:pt idx="32544">
                  <c:v>0.58041733547351504</c:v>
                </c:pt>
                <c:pt idx="32545">
                  <c:v>0.58043517032281</c:v>
                </c:pt>
                <c:pt idx="32546">
                  <c:v>0.58045300517210596</c:v>
                </c:pt>
                <c:pt idx="32547">
                  <c:v>0.58047084002140104</c:v>
                </c:pt>
                <c:pt idx="32548">
                  <c:v>0.580488674870697</c:v>
                </c:pt>
                <c:pt idx="32549">
                  <c:v>0.58050650971999196</c:v>
                </c:pt>
                <c:pt idx="32550">
                  <c:v>0.58052434456928803</c:v>
                </c:pt>
                <c:pt idx="32551">
                  <c:v>0.58054217941858299</c:v>
                </c:pt>
                <c:pt idx="32552">
                  <c:v>0.58056001426787895</c:v>
                </c:pt>
                <c:pt idx="32553">
                  <c:v>0.58057784911717403</c:v>
                </c:pt>
                <c:pt idx="32554">
                  <c:v>0.58059568396646999</c:v>
                </c:pt>
                <c:pt idx="32555">
                  <c:v>0.58061351881576595</c:v>
                </c:pt>
                <c:pt idx="32556">
                  <c:v>0.58063135366506102</c:v>
                </c:pt>
                <c:pt idx="32557">
                  <c:v>0.58064918851435698</c:v>
                </c:pt>
                <c:pt idx="32558">
                  <c:v>0.58066702336365195</c:v>
                </c:pt>
                <c:pt idx="32559">
                  <c:v>0.58068485821294802</c:v>
                </c:pt>
                <c:pt idx="32560">
                  <c:v>0.58070269306224298</c:v>
                </c:pt>
                <c:pt idx="32561">
                  <c:v>0.58072052791153905</c:v>
                </c:pt>
                <c:pt idx="32562">
                  <c:v>0.58073836276083401</c:v>
                </c:pt>
                <c:pt idx="32563">
                  <c:v>0.58075619761012998</c:v>
                </c:pt>
                <c:pt idx="32564">
                  <c:v>0.58077403245942505</c:v>
                </c:pt>
                <c:pt idx="32565">
                  <c:v>0.58079186730872101</c:v>
                </c:pt>
                <c:pt idx="32566">
                  <c:v>0.58080970215801597</c:v>
                </c:pt>
                <c:pt idx="32567">
                  <c:v>0.58082753700731204</c:v>
                </c:pt>
                <c:pt idx="32568">
                  <c:v>0.58084537185660701</c:v>
                </c:pt>
                <c:pt idx="32569">
                  <c:v>0.58086320670590297</c:v>
                </c:pt>
                <c:pt idx="32570">
                  <c:v>0.58088104155519804</c:v>
                </c:pt>
                <c:pt idx="32571">
                  <c:v>0.580898876404494</c:v>
                </c:pt>
                <c:pt idx="32572">
                  <c:v>0.58091671125378896</c:v>
                </c:pt>
                <c:pt idx="32573">
                  <c:v>0.58093454610308504</c:v>
                </c:pt>
                <c:pt idx="32574">
                  <c:v>0.580952380952381</c:v>
                </c:pt>
                <c:pt idx="32575">
                  <c:v>0.58097021580167596</c:v>
                </c:pt>
                <c:pt idx="32576">
                  <c:v>0.58098805065097203</c:v>
                </c:pt>
                <c:pt idx="32577">
                  <c:v>0.58100588550026699</c:v>
                </c:pt>
                <c:pt idx="32578">
                  <c:v>0.58102372034956296</c:v>
                </c:pt>
                <c:pt idx="32579">
                  <c:v>0.58104155519885803</c:v>
                </c:pt>
                <c:pt idx="32580">
                  <c:v>0.58105939004815399</c:v>
                </c:pt>
                <c:pt idx="32581">
                  <c:v>0.58107722489744895</c:v>
                </c:pt>
                <c:pt idx="32582">
                  <c:v>0.58109505974674502</c:v>
                </c:pt>
                <c:pt idx="32583">
                  <c:v>0.58111289459603999</c:v>
                </c:pt>
                <c:pt idx="32584">
                  <c:v>0.58113072944533595</c:v>
                </c:pt>
                <c:pt idx="32585">
                  <c:v>0.58114856429463102</c:v>
                </c:pt>
                <c:pt idx="32586">
                  <c:v>0.58116639914392698</c:v>
                </c:pt>
                <c:pt idx="32587">
                  <c:v>0.58118423399322205</c:v>
                </c:pt>
                <c:pt idx="32588">
                  <c:v>0.58120206884251802</c:v>
                </c:pt>
                <c:pt idx="32589">
                  <c:v>0.58121990369181298</c:v>
                </c:pt>
                <c:pt idx="32590">
                  <c:v>0.58123773854110905</c:v>
                </c:pt>
                <c:pt idx="32591">
                  <c:v>0.58125557339040401</c:v>
                </c:pt>
                <c:pt idx="32592">
                  <c:v>0.58127340823969997</c:v>
                </c:pt>
                <c:pt idx="32593">
                  <c:v>0.58129124308899505</c:v>
                </c:pt>
                <c:pt idx="32594">
                  <c:v>0.58130907793829101</c:v>
                </c:pt>
                <c:pt idx="32595">
                  <c:v>0.58132691278758697</c:v>
                </c:pt>
                <c:pt idx="32596">
                  <c:v>0.58134474763688204</c:v>
                </c:pt>
                <c:pt idx="32597">
                  <c:v>0.581362582486178</c:v>
                </c:pt>
                <c:pt idx="32598">
                  <c:v>0.58138041733547297</c:v>
                </c:pt>
                <c:pt idx="32599">
                  <c:v>0.58139825218476904</c:v>
                </c:pt>
                <c:pt idx="32600">
                  <c:v>0.581416087034064</c:v>
                </c:pt>
                <c:pt idx="32601">
                  <c:v>0.58143392188335996</c:v>
                </c:pt>
                <c:pt idx="32602">
                  <c:v>0.58145175673265503</c:v>
                </c:pt>
                <c:pt idx="32603">
                  <c:v>0.581469591581951</c:v>
                </c:pt>
                <c:pt idx="32604">
                  <c:v>0.58148742643124596</c:v>
                </c:pt>
                <c:pt idx="32605">
                  <c:v>0.58150526128054203</c:v>
                </c:pt>
                <c:pt idx="32606">
                  <c:v>0.58152309612983699</c:v>
                </c:pt>
                <c:pt idx="32607">
                  <c:v>0.58154093097913295</c:v>
                </c:pt>
                <c:pt idx="32608">
                  <c:v>0.58155876582842803</c:v>
                </c:pt>
                <c:pt idx="32609">
                  <c:v>0.58157660067772399</c:v>
                </c:pt>
                <c:pt idx="32610">
                  <c:v>0.58159443552701895</c:v>
                </c:pt>
                <c:pt idx="32611">
                  <c:v>0.58161227037631502</c:v>
                </c:pt>
                <c:pt idx="32612">
                  <c:v>0.58163010522560998</c:v>
                </c:pt>
                <c:pt idx="32613">
                  <c:v>0.58164794007490594</c:v>
                </c:pt>
                <c:pt idx="32614">
                  <c:v>0.58166577492420102</c:v>
                </c:pt>
                <c:pt idx="32615">
                  <c:v>0.58168360977349698</c:v>
                </c:pt>
                <c:pt idx="32616">
                  <c:v>0.58170144462279205</c:v>
                </c:pt>
                <c:pt idx="32617">
                  <c:v>0.58171927947208801</c:v>
                </c:pt>
                <c:pt idx="32618">
                  <c:v>0.58173711432138397</c:v>
                </c:pt>
                <c:pt idx="32619">
                  <c:v>0.58175494917067905</c:v>
                </c:pt>
                <c:pt idx="32620">
                  <c:v>0.58177278401997501</c:v>
                </c:pt>
                <c:pt idx="32621">
                  <c:v>0.58179061886926997</c:v>
                </c:pt>
                <c:pt idx="32622">
                  <c:v>0.58180845371856604</c:v>
                </c:pt>
                <c:pt idx="32623">
                  <c:v>0.58182628856786101</c:v>
                </c:pt>
                <c:pt idx="32624">
                  <c:v>0.58184412341715697</c:v>
                </c:pt>
                <c:pt idx="32625">
                  <c:v>0.58186195826645204</c:v>
                </c:pt>
                <c:pt idx="32626">
                  <c:v>0.581879793115748</c:v>
                </c:pt>
                <c:pt idx="32627">
                  <c:v>0.58189762796504296</c:v>
                </c:pt>
                <c:pt idx="32628">
                  <c:v>0.58191546281433904</c:v>
                </c:pt>
                <c:pt idx="32629">
                  <c:v>0.581933297663634</c:v>
                </c:pt>
                <c:pt idx="32630">
                  <c:v>0.58195113251292996</c:v>
                </c:pt>
                <c:pt idx="32631">
                  <c:v>0.58196896736222503</c:v>
                </c:pt>
                <c:pt idx="32632">
                  <c:v>0.58198680221152099</c:v>
                </c:pt>
                <c:pt idx="32633">
                  <c:v>0.58200463706081595</c:v>
                </c:pt>
                <c:pt idx="32634">
                  <c:v>0.58202247191011203</c:v>
                </c:pt>
                <c:pt idx="32635">
                  <c:v>0.58204030675940699</c:v>
                </c:pt>
                <c:pt idx="32636">
                  <c:v>0.58205814160870295</c:v>
                </c:pt>
                <c:pt idx="32637">
                  <c:v>0.58207597645799802</c:v>
                </c:pt>
                <c:pt idx="32638">
                  <c:v>0.58209381130729398</c:v>
                </c:pt>
                <c:pt idx="32639">
                  <c:v>0.58211164615658995</c:v>
                </c:pt>
                <c:pt idx="32640">
                  <c:v>0.58212948100588502</c:v>
                </c:pt>
                <c:pt idx="32641">
                  <c:v>0.58214731585518098</c:v>
                </c:pt>
                <c:pt idx="32642">
                  <c:v>0.58216515070447605</c:v>
                </c:pt>
                <c:pt idx="32643">
                  <c:v>0.58218298555377201</c:v>
                </c:pt>
                <c:pt idx="32644">
                  <c:v>0.58220082040306698</c:v>
                </c:pt>
                <c:pt idx="32645">
                  <c:v>0.58221865525236305</c:v>
                </c:pt>
                <c:pt idx="32646">
                  <c:v>0.58223649010165801</c:v>
                </c:pt>
                <c:pt idx="32647">
                  <c:v>0.58225432495095397</c:v>
                </c:pt>
                <c:pt idx="32648">
                  <c:v>0.58227215980024905</c:v>
                </c:pt>
                <c:pt idx="32649">
                  <c:v>0.58228999464954501</c:v>
                </c:pt>
                <c:pt idx="32650">
                  <c:v>0.58230782949883997</c:v>
                </c:pt>
                <c:pt idx="32651">
                  <c:v>0.58232566434813604</c:v>
                </c:pt>
                <c:pt idx="32652">
                  <c:v>0.582343499197431</c:v>
                </c:pt>
                <c:pt idx="32653">
                  <c:v>0.58236133404672696</c:v>
                </c:pt>
                <c:pt idx="32654">
                  <c:v>0.58237916889602204</c:v>
                </c:pt>
                <c:pt idx="32655">
                  <c:v>0.582397003745318</c:v>
                </c:pt>
                <c:pt idx="32656">
                  <c:v>0.58241483859461296</c:v>
                </c:pt>
                <c:pt idx="32657">
                  <c:v>0.58243267344390903</c:v>
                </c:pt>
                <c:pt idx="32658">
                  <c:v>0.58245050829320399</c:v>
                </c:pt>
                <c:pt idx="32659">
                  <c:v>0.58246834314249996</c:v>
                </c:pt>
                <c:pt idx="32660">
                  <c:v>0.58248617799179503</c:v>
                </c:pt>
                <c:pt idx="32661">
                  <c:v>0.58250401284109099</c:v>
                </c:pt>
                <c:pt idx="32662">
                  <c:v>0.58252184769038695</c:v>
                </c:pt>
                <c:pt idx="32663">
                  <c:v>0.58253968253968202</c:v>
                </c:pt>
                <c:pt idx="32664">
                  <c:v>0.58255751738897799</c:v>
                </c:pt>
                <c:pt idx="32665">
                  <c:v>0.58257535223827295</c:v>
                </c:pt>
                <c:pt idx="32666">
                  <c:v>0.58259318708756902</c:v>
                </c:pt>
                <c:pt idx="32667">
                  <c:v>0.58261102193686398</c:v>
                </c:pt>
                <c:pt idx="32668">
                  <c:v>0.58262885678616005</c:v>
                </c:pt>
                <c:pt idx="32669">
                  <c:v>0.58264669163545502</c:v>
                </c:pt>
                <c:pt idx="32670">
                  <c:v>0.58266452648475098</c:v>
                </c:pt>
                <c:pt idx="32671">
                  <c:v>0.58268236133404605</c:v>
                </c:pt>
                <c:pt idx="32672">
                  <c:v>0.58270019618334201</c:v>
                </c:pt>
                <c:pt idx="32673">
                  <c:v>0.58271803103263697</c:v>
                </c:pt>
                <c:pt idx="32674">
                  <c:v>0.58273586588193305</c:v>
                </c:pt>
                <c:pt idx="32675">
                  <c:v>0.58275370073122801</c:v>
                </c:pt>
                <c:pt idx="32676">
                  <c:v>0.58277153558052397</c:v>
                </c:pt>
                <c:pt idx="32677">
                  <c:v>0.58278937042981904</c:v>
                </c:pt>
                <c:pt idx="32678">
                  <c:v>0.582807205279115</c:v>
                </c:pt>
                <c:pt idx="32679">
                  <c:v>0.58282504012841096</c:v>
                </c:pt>
                <c:pt idx="32680">
                  <c:v>0.58284287497770604</c:v>
                </c:pt>
                <c:pt idx="32681">
                  <c:v>0.582860709827002</c:v>
                </c:pt>
                <c:pt idx="32682">
                  <c:v>0.58287854467629696</c:v>
                </c:pt>
                <c:pt idx="32683">
                  <c:v>0.58289637952559303</c:v>
                </c:pt>
                <c:pt idx="32684">
                  <c:v>0.582914214374888</c:v>
                </c:pt>
                <c:pt idx="32685">
                  <c:v>0.58293204922418396</c:v>
                </c:pt>
                <c:pt idx="32686">
                  <c:v>0.58294988407347903</c:v>
                </c:pt>
                <c:pt idx="32687">
                  <c:v>0.58296771892277499</c:v>
                </c:pt>
                <c:pt idx="32688">
                  <c:v>0.58298555377206995</c:v>
                </c:pt>
                <c:pt idx="32689">
                  <c:v>0.58300338862136603</c:v>
                </c:pt>
                <c:pt idx="32690">
                  <c:v>0.58302122347066099</c:v>
                </c:pt>
                <c:pt idx="32691">
                  <c:v>0.58303905831995695</c:v>
                </c:pt>
                <c:pt idx="32692">
                  <c:v>0.58305689316925202</c:v>
                </c:pt>
                <c:pt idx="32693">
                  <c:v>0.58307472801854798</c:v>
                </c:pt>
                <c:pt idx="32694">
                  <c:v>0.58309256286784295</c:v>
                </c:pt>
                <c:pt idx="32695">
                  <c:v>0.58311039771713902</c:v>
                </c:pt>
                <c:pt idx="32696">
                  <c:v>0.58312823256643398</c:v>
                </c:pt>
                <c:pt idx="32697">
                  <c:v>0.58314606741573005</c:v>
                </c:pt>
                <c:pt idx="32698">
                  <c:v>0.58316390226502501</c:v>
                </c:pt>
                <c:pt idx="32699">
                  <c:v>0.58318173711432097</c:v>
                </c:pt>
                <c:pt idx="32700">
                  <c:v>0.58319957196361605</c:v>
                </c:pt>
                <c:pt idx="32701">
                  <c:v>0.58321740681291201</c:v>
                </c:pt>
                <c:pt idx="32702">
                  <c:v>0.58323524166220797</c:v>
                </c:pt>
                <c:pt idx="32703">
                  <c:v>0.58325307651150304</c:v>
                </c:pt>
                <c:pt idx="32704">
                  <c:v>0.583270911360799</c:v>
                </c:pt>
                <c:pt idx="32705">
                  <c:v>0.58328874621009397</c:v>
                </c:pt>
                <c:pt idx="32706">
                  <c:v>0.58330658105939004</c:v>
                </c:pt>
                <c:pt idx="32707">
                  <c:v>0.583324415908685</c:v>
                </c:pt>
                <c:pt idx="32708">
                  <c:v>0.58334225075798096</c:v>
                </c:pt>
                <c:pt idx="32709">
                  <c:v>0.58336008560727604</c:v>
                </c:pt>
                <c:pt idx="32710">
                  <c:v>0.583377920456572</c:v>
                </c:pt>
                <c:pt idx="32711">
                  <c:v>0.58339575530586696</c:v>
                </c:pt>
                <c:pt idx="32712">
                  <c:v>0.58341359015516303</c:v>
                </c:pt>
                <c:pt idx="32713">
                  <c:v>0.58343142500445799</c:v>
                </c:pt>
                <c:pt idx="32714">
                  <c:v>0.58344925985375395</c:v>
                </c:pt>
                <c:pt idx="32715">
                  <c:v>0.58346709470304903</c:v>
                </c:pt>
                <c:pt idx="32716">
                  <c:v>0.58348492955234499</c:v>
                </c:pt>
                <c:pt idx="32717">
                  <c:v>0.58350276440163995</c:v>
                </c:pt>
                <c:pt idx="32718">
                  <c:v>0.58352059925093602</c:v>
                </c:pt>
                <c:pt idx="32719">
                  <c:v>0.58353843410023098</c:v>
                </c:pt>
                <c:pt idx="32720">
                  <c:v>0.58355626894952695</c:v>
                </c:pt>
                <c:pt idx="32721">
                  <c:v>0.58357410379882202</c:v>
                </c:pt>
                <c:pt idx="32722">
                  <c:v>0.58359193864811798</c:v>
                </c:pt>
                <c:pt idx="32723">
                  <c:v>0.58360977349741305</c:v>
                </c:pt>
                <c:pt idx="32724">
                  <c:v>0.58362760834670901</c:v>
                </c:pt>
                <c:pt idx="32725">
                  <c:v>0.58364544319600498</c:v>
                </c:pt>
                <c:pt idx="32726">
                  <c:v>0.58366327804530005</c:v>
                </c:pt>
                <c:pt idx="32727">
                  <c:v>0.58368111289459601</c:v>
                </c:pt>
                <c:pt idx="32728">
                  <c:v>0.58369894774389097</c:v>
                </c:pt>
                <c:pt idx="32729">
                  <c:v>0.58371678259318704</c:v>
                </c:pt>
                <c:pt idx="32730">
                  <c:v>0.58373461744248201</c:v>
                </c:pt>
                <c:pt idx="32731">
                  <c:v>0.58375245229177797</c:v>
                </c:pt>
                <c:pt idx="32732">
                  <c:v>0.58377028714107304</c:v>
                </c:pt>
                <c:pt idx="32733">
                  <c:v>0.583788121990369</c:v>
                </c:pt>
                <c:pt idx="32734">
                  <c:v>0.58380595683966396</c:v>
                </c:pt>
                <c:pt idx="32735">
                  <c:v>0.58382379168896004</c:v>
                </c:pt>
                <c:pt idx="32736">
                  <c:v>0.583841626538255</c:v>
                </c:pt>
                <c:pt idx="32737">
                  <c:v>0.58385946138755096</c:v>
                </c:pt>
                <c:pt idx="32738">
                  <c:v>0.58387729623684603</c:v>
                </c:pt>
                <c:pt idx="32739">
                  <c:v>0.58389513108614199</c:v>
                </c:pt>
                <c:pt idx="32740">
                  <c:v>0.58391296593543696</c:v>
                </c:pt>
                <c:pt idx="32741">
                  <c:v>0.58393080078473303</c:v>
                </c:pt>
                <c:pt idx="32742">
                  <c:v>0.58394863563402799</c:v>
                </c:pt>
                <c:pt idx="32743">
                  <c:v>0.58396647048332395</c:v>
                </c:pt>
                <c:pt idx="32744">
                  <c:v>0.58398430533261902</c:v>
                </c:pt>
                <c:pt idx="32745">
                  <c:v>0.58400214018191499</c:v>
                </c:pt>
                <c:pt idx="32746">
                  <c:v>0.58401997503121095</c:v>
                </c:pt>
                <c:pt idx="32747">
                  <c:v>0.58403780988050602</c:v>
                </c:pt>
                <c:pt idx="32748">
                  <c:v>0.58405564472980198</c:v>
                </c:pt>
                <c:pt idx="32749">
                  <c:v>0.58407347957909705</c:v>
                </c:pt>
                <c:pt idx="32750">
                  <c:v>0.58409131442839302</c:v>
                </c:pt>
                <c:pt idx="32751">
                  <c:v>0.58410914927768798</c:v>
                </c:pt>
                <c:pt idx="32752">
                  <c:v>0.58412698412698405</c:v>
                </c:pt>
                <c:pt idx="32753">
                  <c:v>0.58414481897627901</c:v>
                </c:pt>
                <c:pt idx="32754">
                  <c:v>0.58416265382557497</c:v>
                </c:pt>
                <c:pt idx="32755">
                  <c:v>0.58418048867487005</c:v>
                </c:pt>
                <c:pt idx="32756">
                  <c:v>0.58419832352416601</c:v>
                </c:pt>
                <c:pt idx="32757">
                  <c:v>0.58421615837346097</c:v>
                </c:pt>
                <c:pt idx="32758">
                  <c:v>0.58423399322275704</c:v>
                </c:pt>
                <c:pt idx="32759">
                  <c:v>0.584251828072052</c:v>
                </c:pt>
                <c:pt idx="32760">
                  <c:v>0.58426966292134797</c:v>
                </c:pt>
                <c:pt idx="32761">
                  <c:v>0.58428749777064304</c:v>
                </c:pt>
                <c:pt idx="32762">
                  <c:v>0.584305332619939</c:v>
                </c:pt>
                <c:pt idx="32763">
                  <c:v>0.58432316746923396</c:v>
                </c:pt>
                <c:pt idx="32764">
                  <c:v>0.58434100231853003</c:v>
                </c:pt>
                <c:pt idx="32765">
                  <c:v>0.584358837167825</c:v>
                </c:pt>
                <c:pt idx="32766">
                  <c:v>0.58437667201712096</c:v>
                </c:pt>
                <c:pt idx="32767">
                  <c:v>0.58439450686641703</c:v>
                </c:pt>
                <c:pt idx="32768">
                  <c:v>0.58441234171571199</c:v>
                </c:pt>
                <c:pt idx="32769">
                  <c:v>0.58443017656500795</c:v>
                </c:pt>
                <c:pt idx="32770">
                  <c:v>0.58444801141430303</c:v>
                </c:pt>
                <c:pt idx="32771">
                  <c:v>0.58446584626359899</c:v>
                </c:pt>
                <c:pt idx="32772">
                  <c:v>0.58448368111289395</c:v>
                </c:pt>
                <c:pt idx="32773">
                  <c:v>0.58450151596219002</c:v>
                </c:pt>
                <c:pt idx="32774">
                  <c:v>0.58451935081148498</c:v>
                </c:pt>
                <c:pt idx="32775">
                  <c:v>0.58453718566078094</c:v>
                </c:pt>
                <c:pt idx="32776">
                  <c:v>0.58455502051007602</c:v>
                </c:pt>
                <c:pt idx="32777">
                  <c:v>0.58457285535937198</c:v>
                </c:pt>
                <c:pt idx="32778">
                  <c:v>0.58459069020866705</c:v>
                </c:pt>
                <c:pt idx="32779">
                  <c:v>0.58460852505796301</c:v>
                </c:pt>
                <c:pt idx="32780">
                  <c:v>0.58462635990725798</c:v>
                </c:pt>
                <c:pt idx="32781">
                  <c:v>0.58464419475655405</c:v>
                </c:pt>
                <c:pt idx="32782">
                  <c:v>0.58466202960584901</c:v>
                </c:pt>
                <c:pt idx="32783">
                  <c:v>0.58467986445514497</c:v>
                </c:pt>
                <c:pt idx="32784">
                  <c:v>0.58469769930444004</c:v>
                </c:pt>
                <c:pt idx="32785">
                  <c:v>0.58471553415373601</c:v>
                </c:pt>
                <c:pt idx="32786">
                  <c:v>0.58473336900303197</c:v>
                </c:pt>
                <c:pt idx="32787">
                  <c:v>0.58475120385232704</c:v>
                </c:pt>
                <c:pt idx="32788">
                  <c:v>0.584769038701623</c:v>
                </c:pt>
                <c:pt idx="32789">
                  <c:v>0.58478687355091796</c:v>
                </c:pt>
                <c:pt idx="32790">
                  <c:v>0.58480470840021404</c:v>
                </c:pt>
                <c:pt idx="32791">
                  <c:v>0.584822543249509</c:v>
                </c:pt>
                <c:pt idx="32792">
                  <c:v>0.58484037809880496</c:v>
                </c:pt>
                <c:pt idx="32793">
                  <c:v>0.58485821294810003</c:v>
                </c:pt>
                <c:pt idx="32794">
                  <c:v>0.58487604779739599</c:v>
                </c:pt>
                <c:pt idx="32795">
                  <c:v>0.58489388264669095</c:v>
                </c:pt>
                <c:pt idx="32796">
                  <c:v>0.58491171749598703</c:v>
                </c:pt>
                <c:pt idx="32797">
                  <c:v>0.58492955234528199</c:v>
                </c:pt>
                <c:pt idx="32798">
                  <c:v>0.58494738719457795</c:v>
                </c:pt>
                <c:pt idx="32799">
                  <c:v>0.58496522204387302</c:v>
                </c:pt>
                <c:pt idx="32800">
                  <c:v>0.58498305689316898</c:v>
                </c:pt>
                <c:pt idx="32801">
                  <c:v>0.58500089174246395</c:v>
                </c:pt>
                <c:pt idx="32802">
                  <c:v>0.58501872659176002</c:v>
                </c:pt>
                <c:pt idx="32803">
                  <c:v>0.58503656144105498</c:v>
                </c:pt>
                <c:pt idx="32804">
                  <c:v>0.58505439629035105</c:v>
                </c:pt>
                <c:pt idx="32805">
                  <c:v>0.58507223113964602</c:v>
                </c:pt>
                <c:pt idx="32806">
                  <c:v>0.58509006598894198</c:v>
                </c:pt>
                <c:pt idx="32807">
                  <c:v>0.58510790083823705</c:v>
                </c:pt>
                <c:pt idx="32808">
                  <c:v>0.58512573568753301</c:v>
                </c:pt>
                <c:pt idx="32809">
                  <c:v>0.58514357053682897</c:v>
                </c:pt>
                <c:pt idx="32810">
                  <c:v>0.58516140538612404</c:v>
                </c:pt>
                <c:pt idx="32811">
                  <c:v>0.58517924023542001</c:v>
                </c:pt>
                <c:pt idx="32812">
                  <c:v>0.58519707508471497</c:v>
                </c:pt>
                <c:pt idx="32813">
                  <c:v>0.58521490993401104</c:v>
                </c:pt>
                <c:pt idx="32814">
                  <c:v>0.585232744783306</c:v>
                </c:pt>
                <c:pt idx="32815">
                  <c:v>0.58525057963260196</c:v>
                </c:pt>
                <c:pt idx="32816">
                  <c:v>0.58526841448189704</c:v>
                </c:pt>
                <c:pt idx="32817">
                  <c:v>0.585286249331193</c:v>
                </c:pt>
                <c:pt idx="32818">
                  <c:v>0.58530408418048796</c:v>
                </c:pt>
                <c:pt idx="32819">
                  <c:v>0.58532191902978403</c:v>
                </c:pt>
                <c:pt idx="32820">
                  <c:v>0.58533975387907899</c:v>
                </c:pt>
                <c:pt idx="32821">
                  <c:v>0.58535758872837496</c:v>
                </c:pt>
                <c:pt idx="32822">
                  <c:v>0.58537542357767003</c:v>
                </c:pt>
                <c:pt idx="32823">
                  <c:v>0.58539325842696599</c:v>
                </c:pt>
                <c:pt idx="32824">
                  <c:v>0.58541109327626095</c:v>
                </c:pt>
                <c:pt idx="32825">
                  <c:v>0.58542892812555702</c:v>
                </c:pt>
                <c:pt idx="32826">
                  <c:v>0.58544676297485199</c:v>
                </c:pt>
                <c:pt idx="32827">
                  <c:v>0.58546459782414795</c:v>
                </c:pt>
                <c:pt idx="32828">
                  <c:v>0.58548243267344302</c:v>
                </c:pt>
                <c:pt idx="32829">
                  <c:v>0.58550026752273898</c:v>
                </c:pt>
                <c:pt idx="32830">
                  <c:v>0.58551810237203405</c:v>
                </c:pt>
                <c:pt idx="32831">
                  <c:v>0.58553593722133002</c:v>
                </c:pt>
                <c:pt idx="32832">
                  <c:v>0.58555377207062598</c:v>
                </c:pt>
                <c:pt idx="32833">
                  <c:v>0.58557160691992105</c:v>
                </c:pt>
                <c:pt idx="32834">
                  <c:v>0.58558944176921701</c:v>
                </c:pt>
                <c:pt idx="32835">
                  <c:v>0.58560727661851197</c:v>
                </c:pt>
                <c:pt idx="32836">
                  <c:v>0.58562511146780805</c:v>
                </c:pt>
                <c:pt idx="32837">
                  <c:v>0.58564294631710301</c:v>
                </c:pt>
                <c:pt idx="32838">
                  <c:v>0.58566078116639897</c:v>
                </c:pt>
                <c:pt idx="32839">
                  <c:v>0.58567861601569404</c:v>
                </c:pt>
                <c:pt idx="32840">
                  <c:v>0.58569645086499</c:v>
                </c:pt>
                <c:pt idx="32841">
                  <c:v>0.58571428571428497</c:v>
                </c:pt>
                <c:pt idx="32842">
                  <c:v>0.58573212056358104</c:v>
                </c:pt>
                <c:pt idx="32843">
                  <c:v>0.585749955412876</c:v>
                </c:pt>
                <c:pt idx="32844">
                  <c:v>0.58576779026217196</c:v>
                </c:pt>
                <c:pt idx="32845">
                  <c:v>0.58578562511146703</c:v>
                </c:pt>
                <c:pt idx="32846">
                  <c:v>0.585803459960763</c:v>
                </c:pt>
                <c:pt idx="32847">
                  <c:v>0.58582129481005796</c:v>
                </c:pt>
                <c:pt idx="32848">
                  <c:v>0.58583912965935403</c:v>
                </c:pt>
                <c:pt idx="32849">
                  <c:v>0.58585696450864899</c:v>
                </c:pt>
                <c:pt idx="32850">
                  <c:v>0.58587479935794495</c:v>
                </c:pt>
                <c:pt idx="32851">
                  <c:v>0.58589263420724003</c:v>
                </c:pt>
                <c:pt idx="32852">
                  <c:v>0.58591046905653599</c:v>
                </c:pt>
                <c:pt idx="32853">
                  <c:v>0.58592830390583195</c:v>
                </c:pt>
                <c:pt idx="32854">
                  <c:v>0.58594613875512702</c:v>
                </c:pt>
                <c:pt idx="32855">
                  <c:v>0.58596397360442298</c:v>
                </c:pt>
                <c:pt idx="32856">
                  <c:v>0.58598180845371795</c:v>
                </c:pt>
                <c:pt idx="32857">
                  <c:v>0.58599964330301402</c:v>
                </c:pt>
                <c:pt idx="32858">
                  <c:v>0.58601747815230898</c:v>
                </c:pt>
                <c:pt idx="32859">
                  <c:v>0.58603531300160505</c:v>
                </c:pt>
                <c:pt idx="32860">
                  <c:v>0.58605314785090001</c:v>
                </c:pt>
                <c:pt idx="32861">
                  <c:v>0.58607098270019597</c:v>
                </c:pt>
                <c:pt idx="32862">
                  <c:v>0.58608881754949105</c:v>
                </c:pt>
                <c:pt idx="32863">
                  <c:v>0.58610665239878701</c:v>
                </c:pt>
                <c:pt idx="32864">
                  <c:v>0.58612448724808197</c:v>
                </c:pt>
                <c:pt idx="32865">
                  <c:v>0.58614232209737804</c:v>
                </c:pt>
                <c:pt idx="32866">
                  <c:v>0.58616015694667301</c:v>
                </c:pt>
                <c:pt idx="32867">
                  <c:v>0.58617799179596897</c:v>
                </c:pt>
                <c:pt idx="32868">
                  <c:v>0.58619582664526404</c:v>
                </c:pt>
                <c:pt idx="32869">
                  <c:v>0.58621366149456</c:v>
                </c:pt>
                <c:pt idx="32870">
                  <c:v>0.58623149634385496</c:v>
                </c:pt>
                <c:pt idx="32871">
                  <c:v>0.58624933119315104</c:v>
                </c:pt>
                <c:pt idx="32872">
                  <c:v>0.586267166042447</c:v>
                </c:pt>
                <c:pt idx="32873">
                  <c:v>0.58628500089174196</c:v>
                </c:pt>
                <c:pt idx="32874">
                  <c:v>0.58630283574103803</c:v>
                </c:pt>
                <c:pt idx="32875">
                  <c:v>0.58632067059033299</c:v>
                </c:pt>
                <c:pt idx="32876">
                  <c:v>0.58633850543962895</c:v>
                </c:pt>
                <c:pt idx="32877">
                  <c:v>0.58635634028892403</c:v>
                </c:pt>
                <c:pt idx="32878">
                  <c:v>0.58637417513821999</c:v>
                </c:pt>
                <c:pt idx="32879">
                  <c:v>0.58639200998751495</c:v>
                </c:pt>
                <c:pt idx="32880">
                  <c:v>0.58640984483681102</c:v>
                </c:pt>
                <c:pt idx="32881">
                  <c:v>0.58642767968610598</c:v>
                </c:pt>
                <c:pt idx="32882">
                  <c:v>0.58644551453540195</c:v>
                </c:pt>
                <c:pt idx="32883">
                  <c:v>0.58646334938469702</c:v>
                </c:pt>
                <c:pt idx="32884">
                  <c:v>0.58648118423399298</c:v>
                </c:pt>
                <c:pt idx="32885">
                  <c:v>0.58649901908328805</c:v>
                </c:pt>
                <c:pt idx="32886">
                  <c:v>0.58651685393258401</c:v>
                </c:pt>
                <c:pt idx="32887">
                  <c:v>0.58653468878187898</c:v>
                </c:pt>
                <c:pt idx="32888">
                  <c:v>0.58655252363117505</c:v>
                </c:pt>
                <c:pt idx="32889">
                  <c:v>0.58657035848047001</c:v>
                </c:pt>
                <c:pt idx="32890">
                  <c:v>0.58658819332976597</c:v>
                </c:pt>
                <c:pt idx="32891">
                  <c:v>0.58660602817906105</c:v>
                </c:pt>
                <c:pt idx="32892">
                  <c:v>0.58662386302835701</c:v>
                </c:pt>
                <c:pt idx="32893">
                  <c:v>0.58664169787765297</c:v>
                </c:pt>
                <c:pt idx="32894">
                  <c:v>0.58665953272694804</c:v>
                </c:pt>
                <c:pt idx="32895">
                  <c:v>0.586677367576244</c:v>
                </c:pt>
                <c:pt idx="32896">
                  <c:v>0.58669520242553896</c:v>
                </c:pt>
                <c:pt idx="32897">
                  <c:v>0.58671303727483504</c:v>
                </c:pt>
                <c:pt idx="32898">
                  <c:v>0.58673087212413</c:v>
                </c:pt>
                <c:pt idx="32899">
                  <c:v>0.58674870697342596</c:v>
                </c:pt>
                <c:pt idx="32900">
                  <c:v>0.58676654182272103</c:v>
                </c:pt>
                <c:pt idx="32901">
                  <c:v>0.58678437667201699</c:v>
                </c:pt>
                <c:pt idx="32902">
                  <c:v>0.58680221152131196</c:v>
                </c:pt>
                <c:pt idx="32903">
                  <c:v>0.58682004637060803</c:v>
                </c:pt>
                <c:pt idx="32904">
                  <c:v>0.58683788121990299</c:v>
                </c:pt>
                <c:pt idx="32905">
                  <c:v>0.58685571606919895</c:v>
                </c:pt>
                <c:pt idx="32906">
                  <c:v>0.58687355091849402</c:v>
                </c:pt>
                <c:pt idx="32907">
                  <c:v>0.58689138576778999</c:v>
                </c:pt>
                <c:pt idx="32908">
                  <c:v>0.58690922061708495</c:v>
                </c:pt>
                <c:pt idx="32909">
                  <c:v>0.58692705546638102</c:v>
                </c:pt>
                <c:pt idx="32910">
                  <c:v>0.58694489031567598</c:v>
                </c:pt>
                <c:pt idx="32911">
                  <c:v>0.58696272516497205</c:v>
                </c:pt>
                <c:pt idx="32912">
                  <c:v>0.58698056001426702</c:v>
                </c:pt>
                <c:pt idx="32913">
                  <c:v>0.58699839486356298</c:v>
                </c:pt>
                <c:pt idx="32914">
                  <c:v>0.58701622971285805</c:v>
                </c:pt>
                <c:pt idx="32915">
                  <c:v>0.58703406456215401</c:v>
                </c:pt>
                <c:pt idx="32916">
                  <c:v>0.58705189941144997</c:v>
                </c:pt>
                <c:pt idx="32917">
                  <c:v>0.58706973426074505</c:v>
                </c:pt>
                <c:pt idx="32918">
                  <c:v>0.58708756911004101</c:v>
                </c:pt>
                <c:pt idx="32919">
                  <c:v>0.58710540395933597</c:v>
                </c:pt>
                <c:pt idx="32920">
                  <c:v>0.58712323880863204</c:v>
                </c:pt>
                <c:pt idx="32921">
                  <c:v>0.587141073657927</c:v>
                </c:pt>
                <c:pt idx="32922">
                  <c:v>0.58715890850722297</c:v>
                </c:pt>
                <c:pt idx="32923">
                  <c:v>0.58717674335651804</c:v>
                </c:pt>
                <c:pt idx="32924">
                  <c:v>0.587194578205814</c:v>
                </c:pt>
                <c:pt idx="32925">
                  <c:v>0.58721241305510896</c:v>
                </c:pt>
                <c:pt idx="32926">
                  <c:v>0.58723024790440503</c:v>
                </c:pt>
                <c:pt idx="32927">
                  <c:v>0.5872480827537</c:v>
                </c:pt>
                <c:pt idx="32928">
                  <c:v>0.58726591760299596</c:v>
                </c:pt>
                <c:pt idx="32929">
                  <c:v>0.58728375245229103</c:v>
                </c:pt>
                <c:pt idx="32930">
                  <c:v>0.58730158730158699</c:v>
                </c:pt>
                <c:pt idx="32931">
                  <c:v>0.58731942215088195</c:v>
                </c:pt>
                <c:pt idx="32932">
                  <c:v>0.58733725700017803</c:v>
                </c:pt>
                <c:pt idx="32933">
                  <c:v>0.58735509184947299</c:v>
                </c:pt>
                <c:pt idx="32934">
                  <c:v>0.58737292669876895</c:v>
                </c:pt>
                <c:pt idx="32935">
                  <c:v>0.58739076154806402</c:v>
                </c:pt>
                <c:pt idx="32936">
                  <c:v>0.58740859639735998</c:v>
                </c:pt>
                <c:pt idx="32937">
                  <c:v>0.58742643124665594</c:v>
                </c:pt>
                <c:pt idx="32938">
                  <c:v>0.58744426609595102</c:v>
                </c:pt>
                <c:pt idx="32939">
                  <c:v>0.58746210094524698</c:v>
                </c:pt>
                <c:pt idx="32940">
                  <c:v>0.58747993579454205</c:v>
                </c:pt>
                <c:pt idx="32941">
                  <c:v>0.58749777064383801</c:v>
                </c:pt>
                <c:pt idx="32942">
                  <c:v>0.58751560549313298</c:v>
                </c:pt>
                <c:pt idx="32943">
                  <c:v>0.58753344034242905</c:v>
                </c:pt>
                <c:pt idx="32944">
                  <c:v>0.58755127519172401</c:v>
                </c:pt>
                <c:pt idx="32945">
                  <c:v>0.58756911004101997</c:v>
                </c:pt>
                <c:pt idx="32946">
                  <c:v>0.58758694489031504</c:v>
                </c:pt>
                <c:pt idx="32947">
                  <c:v>0.58760477973961101</c:v>
                </c:pt>
                <c:pt idx="32948">
                  <c:v>0.58762261458890597</c:v>
                </c:pt>
                <c:pt idx="32949">
                  <c:v>0.58764044943820204</c:v>
                </c:pt>
                <c:pt idx="32950">
                  <c:v>0.587658284287497</c:v>
                </c:pt>
                <c:pt idx="32951">
                  <c:v>0.58767611913679296</c:v>
                </c:pt>
                <c:pt idx="32952">
                  <c:v>0.58769395398608804</c:v>
                </c:pt>
                <c:pt idx="32953">
                  <c:v>0.587711788835384</c:v>
                </c:pt>
                <c:pt idx="32954">
                  <c:v>0.58772962368467896</c:v>
                </c:pt>
                <c:pt idx="32955">
                  <c:v>0.58774745853397503</c:v>
                </c:pt>
                <c:pt idx="32956">
                  <c:v>0.58776529338326999</c:v>
                </c:pt>
                <c:pt idx="32957">
                  <c:v>0.58778312823256595</c:v>
                </c:pt>
                <c:pt idx="32958">
                  <c:v>0.58780096308186103</c:v>
                </c:pt>
                <c:pt idx="32959">
                  <c:v>0.58781879793115699</c:v>
                </c:pt>
                <c:pt idx="32960">
                  <c:v>0.58783663278045295</c:v>
                </c:pt>
                <c:pt idx="32961">
                  <c:v>0.58785446762974802</c:v>
                </c:pt>
                <c:pt idx="32962">
                  <c:v>0.58787230247904398</c:v>
                </c:pt>
                <c:pt idx="32963">
                  <c:v>0.58789013732833895</c:v>
                </c:pt>
                <c:pt idx="32964">
                  <c:v>0.58790797217763502</c:v>
                </c:pt>
                <c:pt idx="32965">
                  <c:v>0.58792580702692998</c:v>
                </c:pt>
                <c:pt idx="32966">
                  <c:v>0.58794364187622605</c:v>
                </c:pt>
                <c:pt idx="32967">
                  <c:v>0.58796147672552102</c:v>
                </c:pt>
                <c:pt idx="32968">
                  <c:v>0.58797931157481698</c:v>
                </c:pt>
                <c:pt idx="32969">
                  <c:v>0.58799714642411205</c:v>
                </c:pt>
                <c:pt idx="32970">
                  <c:v>0.58801498127340801</c:v>
                </c:pt>
                <c:pt idx="32971">
                  <c:v>0.58803281612270297</c:v>
                </c:pt>
                <c:pt idx="32972">
                  <c:v>0.58805065097199904</c:v>
                </c:pt>
                <c:pt idx="32973">
                  <c:v>0.58806848582129401</c:v>
                </c:pt>
                <c:pt idx="32974">
                  <c:v>0.58808632067058997</c:v>
                </c:pt>
                <c:pt idx="32975">
                  <c:v>0.58810415551988504</c:v>
                </c:pt>
                <c:pt idx="32976">
                  <c:v>0.588121990369181</c:v>
                </c:pt>
                <c:pt idx="32977">
                  <c:v>0.58813982521847596</c:v>
                </c:pt>
                <c:pt idx="32978">
                  <c:v>0.58815766006777204</c:v>
                </c:pt>
                <c:pt idx="32979">
                  <c:v>0.588175494917068</c:v>
                </c:pt>
                <c:pt idx="32980">
                  <c:v>0.58819332976636296</c:v>
                </c:pt>
                <c:pt idx="32981">
                  <c:v>0.58821116461565903</c:v>
                </c:pt>
                <c:pt idx="32982">
                  <c:v>0.58822899946495399</c:v>
                </c:pt>
                <c:pt idx="32983">
                  <c:v>0.58824683431424996</c:v>
                </c:pt>
                <c:pt idx="32984">
                  <c:v>0.58826466916354503</c:v>
                </c:pt>
                <c:pt idx="32985">
                  <c:v>0.58828250401284099</c:v>
                </c:pt>
                <c:pt idx="32986">
                  <c:v>0.58830033886213595</c:v>
                </c:pt>
                <c:pt idx="32987">
                  <c:v>0.58831817371143202</c:v>
                </c:pt>
                <c:pt idx="32988">
                  <c:v>0.58833600856072699</c:v>
                </c:pt>
                <c:pt idx="32989">
                  <c:v>0.58835384341002295</c:v>
                </c:pt>
                <c:pt idx="32990">
                  <c:v>0.58837167825931802</c:v>
                </c:pt>
                <c:pt idx="32991">
                  <c:v>0.58838951310861398</c:v>
                </c:pt>
                <c:pt idx="32992">
                  <c:v>0.58840734795790905</c:v>
                </c:pt>
                <c:pt idx="32993">
                  <c:v>0.58842518280720502</c:v>
                </c:pt>
                <c:pt idx="32994">
                  <c:v>0.58844301765649998</c:v>
                </c:pt>
                <c:pt idx="32995">
                  <c:v>0.58846085250579605</c:v>
                </c:pt>
                <c:pt idx="32996">
                  <c:v>0.58847868735509101</c:v>
                </c:pt>
                <c:pt idx="32997">
                  <c:v>0.58849652220438697</c:v>
                </c:pt>
                <c:pt idx="32998">
                  <c:v>0.58851435705368205</c:v>
                </c:pt>
                <c:pt idx="32999">
                  <c:v>0.58853219190297801</c:v>
                </c:pt>
                <c:pt idx="33000">
                  <c:v>0.58855002675227397</c:v>
                </c:pt>
                <c:pt idx="33001">
                  <c:v>0.58856786160156904</c:v>
                </c:pt>
                <c:pt idx="33002">
                  <c:v>0.588585696450865</c:v>
                </c:pt>
                <c:pt idx="33003">
                  <c:v>0.58860353130015997</c:v>
                </c:pt>
                <c:pt idx="33004">
                  <c:v>0.58862136614945604</c:v>
                </c:pt>
                <c:pt idx="33005">
                  <c:v>0.588639200998751</c:v>
                </c:pt>
                <c:pt idx="33006">
                  <c:v>0.58865703584804696</c:v>
                </c:pt>
                <c:pt idx="33007">
                  <c:v>0.58867487069734203</c:v>
                </c:pt>
                <c:pt idx="33008">
                  <c:v>0.588692705546638</c:v>
                </c:pt>
                <c:pt idx="33009">
                  <c:v>0.58871054039593296</c:v>
                </c:pt>
                <c:pt idx="33010">
                  <c:v>0.58872837524522903</c:v>
                </c:pt>
                <c:pt idx="33011">
                  <c:v>0.58874621009452399</c:v>
                </c:pt>
                <c:pt idx="33012">
                  <c:v>0.58876404494381995</c:v>
                </c:pt>
                <c:pt idx="33013">
                  <c:v>0.58878187979311503</c:v>
                </c:pt>
                <c:pt idx="33014">
                  <c:v>0.58879971464241099</c:v>
                </c:pt>
                <c:pt idx="33015">
                  <c:v>0.58881754949170595</c:v>
                </c:pt>
                <c:pt idx="33016">
                  <c:v>0.58883538434100202</c:v>
                </c:pt>
                <c:pt idx="33017">
                  <c:v>0.58885321919029698</c:v>
                </c:pt>
                <c:pt idx="33018">
                  <c:v>0.58887105403959294</c:v>
                </c:pt>
                <c:pt idx="33019">
                  <c:v>0.58888888888888802</c:v>
                </c:pt>
                <c:pt idx="33020">
                  <c:v>0.58890672373818398</c:v>
                </c:pt>
                <c:pt idx="33021">
                  <c:v>0.58892455858747905</c:v>
                </c:pt>
                <c:pt idx="33022">
                  <c:v>0.58894239343677501</c:v>
                </c:pt>
                <c:pt idx="33023">
                  <c:v>0.58896022828607097</c:v>
                </c:pt>
                <c:pt idx="33024">
                  <c:v>0.58897806313536605</c:v>
                </c:pt>
                <c:pt idx="33025">
                  <c:v>0.58899589798466201</c:v>
                </c:pt>
                <c:pt idx="33026">
                  <c:v>0.58901373283395697</c:v>
                </c:pt>
                <c:pt idx="33027">
                  <c:v>0.58903156768325304</c:v>
                </c:pt>
                <c:pt idx="33028">
                  <c:v>0.58904940253254801</c:v>
                </c:pt>
                <c:pt idx="33029">
                  <c:v>0.58906723738184397</c:v>
                </c:pt>
                <c:pt idx="33030">
                  <c:v>0.58908507223113904</c:v>
                </c:pt>
                <c:pt idx="33031">
                  <c:v>0.589102907080435</c:v>
                </c:pt>
                <c:pt idx="33032">
                  <c:v>0.58912074192972996</c:v>
                </c:pt>
                <c:pt idx="33033">
                  <c:v>0.58913857677902604</c:v>
                </c:pt>
                <c:pt idx="33034">
                  <c:v>0.589156411628321</c:v>
                </c:pt>
                <c:pt idx="33035">
                  <c:v>0.58917424647761696</c:v>
                </c:pt>
                <c:pt idx="33036">
                  <c:v>0.58919208132691203</c:v>
                </c:pt>
                <c:pt idx="33037">
                  <c:v>0.58920991617620799</c:v>
                </c:pt>
                <c:pt idx="33038">
                  <c:v>0.58922775102550295</c:v>
                </c:pt>
                <c:pt idx="33039">
                  <c:v>0.58924558587479903</c:v>
                </c:pt>
                <c:pt idx="33040">
                  <c:v>0.58926342072409399</c:v>
                </c:pt>
                <c:pt idx="33041">
                  <c:v>0.58928125557338995</c:v>
                </c:pt>
                <c:pt idx="33042">
                  <c:v>0.58929909042268502</c:v>
                </c:pt>
                <c:pt idx="33043">
                  <c:v>0.58931692527198098</c:v>
                </c:pt>
                <c:pt idx="33044">
                  <c:v>0.58933476012127695</c:v>
                </c:pt>
                <c:pt idx="33045">
                  <c:v>0.58935259497057202</c:v>
                </c:pt>
                <c:pt idx="33046">
                  <c:v>0.58937042981986798</c:v>
                </c:pt>
                <c:pt idx="33047">
                  <c:v>0.58938826466916305</c:v>
                </c:pt>
                <c:pt idx="33048">
                  <c:v>0.58940609951845901</c:v>
                </c:pt>
                <c:pt idx="33049">
                  <c:v>0.58942393436775398</c:v>
                </c:pt>
                <c:pt idx="33050">
                  <c:v>0.58944176921705005</c:v>
                </c:pt>
                <c:pt idx="33051">
                  <c:v>0.58945960406634501</c:v>
                </c:pt>
                <c:pt idx="33052">
                  <c:v>0.58947743891564097</c:v>
                </c:pt>
                <c:pt idx="33053">
                  <c:v>0.58949527376493605</c:v>
                </c:pt>
                <c:pt idx="33054">
                  <c:v>0.58951310861423201</c:v>
                </c:pt>
                <c:pt idx="33055">
                  <c:v>0.58953094346352697</c:v>
                </c:pt>
                <c:pt idx="33056">
                  <c:v>0.58954877831282304</c:v>
                </c:pt>
                <c:pt idx="33057">
                  <c:v>0.589566613162118</c:v>
                </c:pt>
                <c:pt idx="33058">
                  <c:v>0.58958444801141396</c:v>
                </c:pt>
                <c:pt idx="33059">
                  <c:v>0.58960228286070904</c:v>
                </c:pt>
                <c:pt idx="33060">
                  <c:v>0.589620117710005</c:v>
                </c:pt>
                <c:pt idx="33061">
                  <c:v>0.58963795255929996</c:v>
                </c:pt>
                <c:pt idx="33062">
                  <c:v>0.58965578740859603</c:v>
                </c:pt>
                <c:pt idx="33063">
                  <c:v>0.58967362225789099</c:v>
                </c:pt>
                <c:pt idx="33064">
                  <c:v>0.58969145710718696</c:v>
                </c:pt>
                <c:pt idx="33065">
                  <c:v>0.58970929195648203</c:v>
                </c:pt>
                <c:pt idx="33066">
                  <c:v>0.58972712680577799</c:v>
                </c:pt>
                <c:pt idx="33067">
                  <c:v>0.58974496165507395</c:v>
                </c:pt>
                <c:pt idx="33068">
                  <c:v>0.58976279650436902</c:v>
                </c:pt>
                <c:pt idx="33069">
                  <c:v>0.58978063135366499</c:v>
                </c:pt>
                <c:pt idx="33070">
                  <c:v>0.58979846620295995</c:v>
                </c:pt>
                <c:pt idx="33071">
                  <c:v>0.58981630105225602</c:v>
                </c:pt>
                <c:pt idx="33072">
                  <c:v>0.58983413590155098</c:v>
                </c:pt>
                <c:pt idx="33073">
                  <c:v>0.58985197075084705</c:v>
                </c:pt>
                <c:pt idx="33074">
                  <c:v>0.58986980560014202</c:v>
                </c:pt>
                <c:pt idx="33075">
                  <c:v>0.58988764044943798</c:v>
                </c:pt>
                <c:pt idx="33076">
                  <c:v>0.58990547529873305</c:v>
                </c:pt>
                <c:pt idx="33077">
                  <c:v>0.58992331014802901</c:v>
                </c:pt>
                <c:pt idx="33078">
                  <c:v>0.58994114499732397</c:v>
                </c:pt>
                <c:pt idx="33079">
                  <c:v>0.58995897984662005</c:v>
                </c:pt>
                <c:pt idx="33080">
                  <c:v>0.58997681469591501</c:v>
                </c:pt>
                <c:pt idx="33081">
                  <c:v>0.58999464954521097</c:v>
                </c:pt>
                <c:pt idx="33082">
                  <c:v>0.59001248439450604</c:v>
                </c:pt>
                <c:pt idx="33083">
                  <c:v>0.590030319243802</c:v>
                </c:pt>
                <c:pt idx="33084">
                  <c:v>0.59004815409309797</c:v>
                </c:pt>
                <c:pt idx="33085">
                  <c:v>0.59006598894239304</c:v>
                </c:pt>
                <c:pt idx="33086">
                  <c:v>0.590083823791689</c:v>
                </c:pt>
                <c:pt idx="33087">
                  <c:v>0.59010165864098396</c:v>
                </c:pt>
                <c:pt idx="33088">
                  <c:v>0.59011949349028003</c:v>
                </c:pt>
                <c:pt idx="33089">
                  <c:v>0.590137328339575</c:v>
                </c:pt>
                <c:pt idx="33090">
                  <c:v>0.59015516318887096</c:v>
                </c:pt>
                <c:pt idx="33091">
                  <c:v>0.59017299803816603</c:v>
                </c:pt>
                <c:pt idx="33092">
                  <c:v>0.59019083288746199</c:v>
                </c:pt>
                <c:pt idx="33093">
                  <c:v>0.59020866773675695</c:v>
                </c:pt>
                <c:pt idx="33094">
                  <c:v>0.59022650258605303</c:v>
                </c:pt>
                <c:pt idx="33095">
                  <c:v>0.59024433743534799</c:v>
                </c:pt>
                <c:pt idx="33096">
                  <c:v>0.59026217228464395</c:v>
                </c:pt>
                <c:pt idx="33097">
                  <c:v>0.59028000713393902</c:v>
                </c:pt>
                <c:pt idx="33098">
                  <c:v>0.59029784198323498</c:v>
                </c:pt>
                <c:pt idx="33099">
                  <c:v>0.59031567683252995</c:v>
                </c:pt>
                <c:pt idx="33100">
                  <c:v>0.59033351168182602</c:v>
                </c:pt>
                <c:pt idx="33101">
                  <c:v>0.59035134653112098</c:v>
                </c:pt>
                <c:pt idx="33102">
                  <c:v>0.59036918138041705</c:v>
                </c:pt>
                <c:pt idx="33103">
                  <c:v>0.59038701622971201</c:v>
                </c:pt>
                <c:pt idx="33104">
                  <c:v>0.59040485107900798</c:v>
                </c:pt>
                <c:pt idx="33105">
                  <c:v>0.59042268592830305</c:v>
                </c:pt>
                <c:pt idx="33106">
                  <c:v>0.59044052077759901</c:v>
                </c:pt>
                <c:pt idx="33107">
                  <c:v>0.59045835562689497</c:v>
                </c:pt>
                <c:pt idx="33108">
                  <c:v>0.59047619047619004</c:v>
                </c:pt>
                <c:pt idx="33109">
                  <c:v>0.590494025325486</c:v>
                </c:pt>
                <c:pt idx="33110">
                  <c:v>0.59051186017478097</c:v>
                </c:pt>
                <c:pt idx="33111">
                  <c:v>0.59052969502407704</c:v>
                </c:pt>
                <c:pt idx="33112">
                  <c:v>0.590547529873372</c:v>
                </c:pt>
                <c:pt idx="33113">
                  <c:v>0.59056536472266796</c:v>
                </c:pt>
                <c:pt idx="33114">
                  <c:v>0.59058319957196304</c:v>
                </c:pt>
                <c:pt idx="33115">
                  <c:v>0.590601034421259</c:v>
                </c:pt>
                <c:pt idx="33116">
                  <c:v>0.59061886927055396</c:v>
                </c:pt>
                <c:pt idx="33117">
                  <c:v>0.59063670411985003</c:v>
                </c:pt>
                <c:pt idx="33118">
                  <c:v>0.59065453896914499</c:v>
                </c:pt>
                <c:pt idx="33119">
                  <c:v>0.59067237381844095</c:v>
                </c:pt>
                <c:pt idx="33120">
                  <c:v>0.59069020866773603</c:v>
                </c:pt>
                <c:pt idx="33121">
                  <c:v>0.59070804351703199</c:v>
                </c:pt>
                <c:pt idx="33122">
                  <c:v>0.59072587836632695</c:v>
                </c:pt>
                <c:pt idx="33123">
                  <c:v>0.59074371321562302</c:v>
                </c:pt>
                <c:pt idx="33124">
                  <c:v>0.59076154806491799</c:v>
                </c:pt>
                <c:pt idx="33125">
                  <c:v>0.59077938291421395</c:v>
                </c:pt>
                <c:pt idx="33126">
                  <c:v>0.59079721776350902</c:v>
                </c:pt>
                <c:pt idx="33127">
                  <c:v>0.59081505261280498</c:v>
                </c:pt>
                <c:pt idx="33128">
                  <c:v>0.59083288746210005</c:v>
                </c:pt>
                <c:pt idx="33129">
                  <c:v>0.59085072231139601</c:v>
                </c:pt>
                <c:pt idx="33130">
                  <c:v>0.59086855716069198</c:v>
                </c:pt>
                <c:pt idx="33131">
                  <c:v>0.59088639200998705</c:v>
                </c:pt>
                <c:pt idx="33132">
                  <c:v>0.59090422685928301</c:v>
                </c:pt>
                <c:pt idx="33133">
                  <c:v>0.59092206170857797</c:v>
                </c:pt>
                <c:pt idx="33134">
                  <c:v>0.59093989655787404</c:v>
                </c:pt>
                <c:pt idx="33135">
                  <c:v>0.59095773140716901</c:v>
                </c:pt>
                <c:pt idx="33136">
                  <c:v>0.59097556625646497</c:v>
                </c:pt>
                <c:pt idx="33137">
                  <c:v>0.59099340110576004</c:v>
                </c:pt>
                <c:pt idx="33138">
                  <c:v>0.591011235955056</c:v>
                </c:pt>
                <c:pt idx="33139">
                  <c:v>0.59102907080435096</c:v>
                </c:pt>
                <c:pt idx="33140">
                  <c:v>0.59104690565364704</c:v>
                </c:pt>
                <c:pt idx="33141">
                  <c:v>0.591064740502942</c:v>
                </c:pt>
                <c:pt idx="33142">
                  <c:v>0.59108257535223796</c:v>
                </c:pt>
                <c:pt idx="33143">
                  <c:v>0.59110041020153303</c:v>
                </c:pt>
                <c:pt idx="33144">
                  <c:v>0.59111824505082899</c:v>
                </c:pt>
                <c:pt idx="33145">
                  <c:v>0.59113607990012396</c:v>
                </c:pt>
                <c:pt idx="33146">
                  <c:v>0.59115391474942003</c:v>
                </c:pt>
                <c:pt idx="33147">
                  <c:v>0.59117174959871499</c:v>
                </c:pt>
                <c:pt idx="33148">
                  <c:v>0.59118958444801095</c:v>
                </c:pt>
                <c:pt idx="33149">
                  <c:v>0.59120741929730602</c:v>
                </c:pt>
                <c:pt idx="33150">
                  <c:v>0.59122525414660199</c:v>
                </c:pt>
                <c:pt idx="33151">
                  <c:v>0.59124308899589795</c:v>
                </c:pt>
                <c:pt idx="33152">
                  <c:v>0.59126092384519302</c:v>
                </c:pt>
                <c:pt idx="33153">
                  <c:v>0.59127875869448898</c:v>
                </c:pt>
                <c:pt idx="33154">
                  <c:v>0.59129659354378405</c:v>
                </c:pt>
                <c:pt idx="33155">
                  <c:v>0.59131442839308002</c:v>
                </c:pt>
                <c:pt idx="33156">
                  <c:v>0.59133226324237498</c:v>
                </c:pt>
                <c:pt idx="33157">
                  <c:v>0.59135009809167105</c:v>
                </c:pt>
                <c:pt idx="33158">
                  <c:v>0.59136793294096601</c:v>
                </c:pt>
                <c:pt idx="33159">
                  <c:v>0.59138576779026197</c:v>
                </c:pt>
                <c:pt idx="33160">
                  <c:v>0.59140360263955705</c:v>
                </c:pt>
                <c:pt idx="33161">
                  <c:v>0.59142143748885301</c:v>
                </c:pt>
                <c:pt idx="33162">
                  <c:v>0.59143927233814797</c:v>
                </c:pt>
                <c:pt idx="33163">
                  <c:v>0.59145710718744404</c:v>
                </c:pt>
                <c:pt idx="33164">
                  <c:v>0.591474942036739</c:v>
                </c:pt>
                <c:pt idx="33165">
                  <c:v>0.59149277688603497</c:v>
                </c:pt>
                <c:pt idx="33166">
                  <c:v>0.59151061173533004</c:v>
                </c:pt>
                <c:pt idx="33167">
                  <c:v>0.591528446584626</c:v>
                </c:pt>
                <c:pt idx="33168">
                  <c:v>0.59154628143392096</c:v>
                </c:pt>
                <c:pt idx="33169">
                  <c:v>0.59156411628321703</c:v>
                </c:pt>
                <c:pt idx="33170">
                  <c:v>0.591581951132512</c:v>
                </c:pt>
                <c:pt idx="33171">
                  <c:v>0.59159978598180796</c:v>
                </c:pt>
                <c:pt idx="33172">
                  <c:v>0.59161762083110403</c:v>
                </c:pt>
                <c:pt idx="33173">
                  <c:v>0.59163545568039899</c:v>
                </c:pt>
                <c:pt idx="33174">
                  <c:v>0.59165329052969495</c:v>
                </c:pt>
                <c:pt idx="33175">
                  <c:v>0.59167112537899003</c:v>
                </c:pt>
                <c:pt idx="33176">
                  <c:v>0.59168896022828599</c:v>
                </c:pt>
                <c:pt idx="33177">
                  <c:v>0.59170679507758095</c:v>
                </c:pt>
                <c:pt idx="33178">
                  <c:v>0.59172462992687702</c:v>
                </c:pt>
                <c:pt idx="33179">
                  <c:v>0.59174246477617198</c:v>
                </c:pt>
                <c:pt idx="33180">
                  <c:v>0.59176029962546794</c:v>
                </c:pt>
                <c:pt idx="33181">
                  <c:v>0.59177813447476302</c:v>
                </c:pt>
                <c:pt idx="33182">
                  <c:v>0.59179596932405898</c:v>
                </c:pt>
                <c:pt idx="33183">
                  <c:v>0.59181380417335405</c:v>
                </c:pt>
                <c:pt idx="33184">
                  <c:v>0.59183163902265001</c:v>
                </c:pt>
                <c:pt idx="33185">
                  <c:v>0.59184947387194498</c:v>
                </c:pt>
                <c:pt idx="33186">
                  <c:v>0.59186730872124105</c:v>
                </c:pt>
                <c:pt idx="33187">
                  <c:v>0.59188514357053601</c:v>
                </c:pt>
                <c:pt idx="33188">
                  <c:v>0.59190297841983197</c:v>
                </c:pt>
                <c:pt idx="33189">
                  <c:v>0.59192081326912704</c:v>
                </c:pt>
                <c:pt idx="33190">
                  <c:v>0.59193864811842301</c:v>
                </c:pt>
                <c:pt idx="33191">
                  <c:v>0.59195648296771897</c:v>
                </c:pt>
                <c:pt idx="33192">
                  <c:v>0.59197431781701404</c:v>
                </c:pt>
                <c:pt idx="33193">
                  <c:v>0.59199215266631</c:v>
                </c:pt>
                <c:pt idx="33194">
                  <c:v>0.59200998751560496</c:v>
                </c:pt>
                <c:pt idx="33195">
                  <c:v>0.59202782236490104</c:v>
                </c:pt>
                <c:pt idx="33196">
                  <c:v>0.592045657214196</c:v>
                </c:pt>
                <c:pt idx="33197">
                  <c:v>0.59206349206349196</c:v>
                </c:pt>
                <c:pt idx="33198">
                  <c:v>0.59208132691278703</c:v>
                </c:pt>
                <c:pt idx="33199">
                  <c:v>0.59209916176208299</c:v>
                </c:pt>
                <c:pt idx="33200">
                  <c:v>0.59211699661137795</c:v>
                </c:pt>
                <c:pt idx="33201">
                  <c:v>0.59213483146067403</c:v>
                </c:pt>
                <c:pt idx="33202">
                  <c:v>0.59215266630996899</c:v>
                </c:pt>
                <c:pt idx="33203">
                  <c:v>0.59217050115926495</c:v>
                </c:pt>
                <c:pt idx="33204">
                  <c:v>0.59218833600856002</c:v>
                </c:pt>
                <c:pt idx="33205">
                  <c:v>0.59220617085785598</c:v>
                </c:pt>
                <c:pt idx="33206">
                  <c:v>0.59222400570715095</c:v>
                </c:pt>
                <c:pt idx="33207">
                  <c:v>0.59224184055644702</c:v>
                </c:pt>
                <c:pt idx="33208">
                  <c:v>0.59225967540574198</c:v>
                </c:pt>
                <c:pt idx="33209">
                  <c:v>0.59227751025503805</c:v>
                </c:pt>
                <c:pt idx="33210">
                  <c:v>0.59229534510433302</c:v>
                </c:pt>
                <c:pt idx="33211">
                  <c:v>0.59231317995362898</c:v>
                </c:pt>
                <c:pt idx="33212">
                  <c:v>0.59233101480292405</c:v>
                </c:pt>
                <c:pt idx="33213">
                  <c:v>0.59234884965222001</c:v>
                </c:pt>
                <c:pt idx="33214">
                  <c:v>0.59236668450151597</c:v>
                </c:pt>
                <c:pt idx="33215">
                  <c:v>0.59238451935081105</c:v>
                </c:pt>
                <c:pt idx="33216">
                  <c:v>0.59240235420010701</c:v>
                </c:pt>
                <c:pt idx="33217">
                  <c:v>0.59242018904940197</c:v>
                </c:pt>
                <c:pt idx="33218">
                  <c:v>0.59243802389869804</c:v>
                </c:pt>
                <c:pt idx="33219">
                  <c:v>0.592455858747993</c:v>
                </c:pt>
                <c:pt idx="33220">
                  <c:v>0.59247369359728896</c:v>
                </c:pt>
                <c:pt idx="33221">
                  <c:v>0.59249152844658404</c:v>
                </c:pt>
                <c:pt idx="33222">
                  <c:v>0.59250936329588</c:v>
                </c:pt>
                <c:pt idx="33223">
                  <c:v>0.59252719814517496</c:v>
                </c:pt>
                <c:pt idx="33224">
                  <c:v>0.59254503299447103</c:v>
                </c:pt>
                <c:pt idx="33225">
                  <c:v>0.59256286784376599</c:v>
                </c:pt>
                <c:pt idx="33226">
                  <c:v>0.59258070269306196</c:v>
                </c:pt>
                <c:pt idx="33227">
                  <c:v>0.59259853754235703</c:v>
                </c:pt>
                <c:pt idx="33228">
                  <c:v>0.59261637239165299</c:v>
                </c:pt>
                <c:pt idx="33229">
                  <c:v>0.59263420724094795</c:v>
                </c:pt>
                <c:pt idx="33230">
                  <c:v>0.59265204209024402</c:v>
                </c:pt>
                <c:pt idx="33231">
                  <c:v>0.59266987693953899</c:v>
                </c:pt>
                <c:pt idx="33232">
                  <c:v>0.59268771178883495</c:v>
                </c:pt>
                <c:pt idx="33233">
                  <c:v>0.59270554663813002</c:v>
                </c:pt>
                <c:pt idx="33234">
                  <c:v>0.59272338148742598</c:v>
                </c:pt>
                <c:pt idx="33235">
                  <c:v>0.59274121633672106</c:v>
                </c:pt>
                <c:pt idx="33236">
                  <c:v>0.59275905118601702</c:v>
                </c:pt>
                <c:pt idx="33237">
                  <c:v>0.59277688603531298</c:v>
                </c:pt>
                <c:pt idx="33238">
                  <c:v>0.59279472088460805</c:v>
                </c:pt>
                <c:pt idx="33239">
                  <c:v>0.59281255573390401</c:v>
                </c:pt>
                <c:pt idx="33240">
                  <c:v>0.59283039058319897</c:v>
                </c:pt>
                <c:pt idx="33241">
                  <c:v>0.59284822543249505</c:v>
                </c:pt>
                <c:pt idx="33242">
                  <c:v>0.59286606028179001</c:v>
                </c:pt>
                <c:pt idx="33243">
                  <c:v>0.59288389513108597</c:v>
                </c:pt>
                <c:pt idx="33244">
                  <c:v>0.59290172998038104</c:v>
                </c:pt>
                <c:pt idx="33245">
                  <c:v>0.592919564829677</c:v>
                </c:pt>
                <c:pt idx="33246">
                  <c:v>0.59293739967897197</c:v>
                </c:pt>
                <c:pt idx="33247">
                  <c:v>0.59295523452826804</c:v>
                </c:pt>
                <c:pt idx="33248">
                  <c:v>0.592973069377563</c:v>
                </c:pt>
                <c:pt idx="33249">
                  <c:v>0.59299090422685896</c:v>
                </c:pt>
                <c:pt idx="33250">
                  <c:v>0.59300873907615403</c:v>
                </c:pt>
                <c:pt idx="33251">
                  <c:v>0.59302657392545</c:v>
                </c:pt>
                <c:pt idx="33252">
                  <c:v>0.59304440877474496</c:v>
                </c:pt>
                <c:pt idx="33253">
                  <c:v>0.59306224362404103</c:v>
                </c:pt>
                <c:pt idx="33254">
                  <c:v>0.59308007847333599</c:v>
                </c:pt>
                <c:pt idx="33255">
                  <c:v>0.59309791332263195</c:v>
                </c:pt>
                <c:pt idx="33256">
                  <c:v>0.59311574817192703</c:v>
                </c:pt>
                <c:pt idx="33257">
                  <c:v>0.59313358302122299</c:v>
                </c:pt>
                <c:pt idx="33258">
                  <c:v>0.59315141787051895</c:v>
                </c:pt>
                <c:pt idx="33259">
                  <c:v>0.59316925271981402</c:v>
                </c:pt>
                <c:pt idx="33260">
                  <c:v>0.59318708756910998</c:v>
                </c:pt>
                <c:pt idx="33261">
                  <c:v>0.59320492241840495</c:v>
                </c:pt>
                <c:pt idx="33262">
                  <c:v>0.59322275726770102</c:v>
                </c:pt>
                <c:pt idx="33263">
                  <c:v>0.59324059211699598</c:v>
                </c:pt>
                <c:pt idx="33264">
                  <c:v>0.59325842696629205</c:v>
                </c:pt>
                <c:pt idx="33265">
                  <c:v>0.59327626181558701</c:v>
                </c:pt>
                <c:pt idx="33266">
                  <c:v>0.59329409666488298</c:v>
                </c:pt>
                <c:pt idx="33267">
                  <c:v>0.59331193151417805</c:v>
                </c:pt>
                <c:pt idx="33268">
                  <c:v>0.59332976636347401</c:v>
                </c:pt>
                <c:pt idx="33269">
                  <c:v>0.59334760121276897</c:v>
                </c:pt>
                <c:pt idx="33270">
                  <c:v>0.59336543606206504</c:v>
                </c:pt>
                <c:pt idx="33271">
                  <c:v>0.59338327091136001</c:v>
                </c:pt>
                <c:pt idx="33272">
                  <c:v>0.59340110576065597</c:v>
                </c:pt>
                <c:pt idx="33273">
                  <c:v>0.59341894060995104</c:v>
                </c:pt>
                <c:pt idx="33274">
                  <c:v>0.593436775459247</c:v>
                </c:pt>
                <c:pt idx="33275">
                  <c:v>0.59345461030854196</c:v>
                </c:pt>
                <c:pt idx="33276">
                  <c:v>0.59347244515783804</c:v>
                </c:pt>
                <c:pt idx="33277">
                  <c:v>0.593490280007133</c:v>
                </c:pt>
                <c:pt idx="33278">
                  <c:v>0.59350811485642896</c:v>
                </c:pt>
                <c:pt idx="33279">
                  <c:v>0.59352594970572503</c:v>
                </c:pt>
                <c:pt idx="33280">
                  <c:v>0.59354378455501999</c:v>
                </c:pt>
                <c:pt idx="33281">
                  <c:v>0.59356161940431595</c:v>
                </c:pt>
                <c:pt idx="33282">
                  <c:v>0.59357945425361103</c:v>
                </c:pt>
                <c:pt idx="33283">
                  <c:v>0.59359728910290699</c:v>
                </c:pt>
                <c:pt idx="33284">
                  <c:v>0.59361512395220195</c:v>
                </c:pt>
                <c:pt idx="33285">
                  <c:v>0.59363295880149802</c:v>
                </c:pt>
                <c:pt idx="33286">
                  <c:v>0.59365079365079299</c:v>
                </c:pt>
                <c:pt idx="33287">
                  <c:v>0.59366862850008895</c:v>
                </c:pt>
                <c:pt idx="33288">
                  <c:v>0.59368646334938402</c:v>
                </c:pt>
                <c:pt idx="33289">
                  <c:v>0.59370429819867998</c:v>
                </c:pt>
                <c:pt idx="33290">
                  <c:v>0.59372213304797505</c:v>
                </c:pt>
                <c:pt idx="33291">
                  <c:v>0.59373996789727101</c:v>
                </c:pt>
                <c:pt idx="33292">
                  <c:v>0.59375780274656598</c:v>
                </c:pt>
                <c:pt idx="33293">
                  <c:v>0.59377563759586205</c:v>
                </c:pt>
                <c:pt idx="33294">
                  <c:v>0.59379347244515701</c:v>
                </c:pt>
                <c:pt idx="33295">
                  <c:v>0.59381130729445297</c:v>
                </c:pt>
                <c:pt idx="33296">
                  <c:v>0.59382914214374805</c:v>
                </c:pt>
                <c:pt idx="33297">
                  <c:v>0.59384697699304401</c:v>
                </c:pt>
                <c:pt idx="33298">
                  <c:v>0.59386481184233997</c:v>
                </c:pt>
                <c:pt idx="33299">
                  <c:v>0.59388264669163504</c:v>
                </c:pt>
                <c:pt idx="33300">
                  <c:v>0.593900481540931</c:v>
                </c:pt>
                <c:pt idx="33301">
                  <c:v>0.59391831639022596</c:v>
                </c:pt>
                <c:pt idx="33302">
                  <c:v>0.59393615123952204</c:v>
                </c:pt>
                <c:pt idx="33303">
                  <c:v>0.593953986088817</c:v>
                </c:pt>
                <c:pt idx="33304">
                  <c:v>0.59397182093811296</c:v>
                </c:pt>
                <c:pt idx="33305">
                  <c:v>0.59398965578740803</c:v>
                </c:pt>
                <c:pt idx="33306">
                  <c:v>0.59400749063670399</c:v>
                </c:pt>
                <c:pt idx="33307">
                  <c:v>0.59402532548599896</c:v>
                </c:pt>
                <c:pt idx="33308">
                  <c:v>0.59404316033529503</c:v>
                </c:pt>
                <c:pt idx="33309">
                  <c:v>0.59406099518458999</c:v>
                </c:pt>
                <c:pt idx="33310">
                  <c:v>0.59407883003388595</c:v>
                </c:pt>
                <c:pt idx="33311">
                  <c:v>0.59409666488318102</c:v>
                </c:pt>
                <c:pt idx="33312">
                  <c:v>0.59411449973247699</c:v>
                </c:pt>
                <c:pt idx="33313">
                  <c:v>0.59413233458177195</c:v>
                </c:pt>
                <c:pt idx="33314">
                  <c:v>0.59415016943106802</c:v>
                </c:pt>
                <c:pt idx="33315">
                  <c:v>0.59416800428036298</c:v>
                </c:pt>
                <c:pt idx="33316">
                  <c:v>0.59418583912965905</c:v>
                </c:pt>
                <c:pt idx="33317">
                  <c:v>0.59420367397895402</c:v>
                </c:pt>
                <c:pt idx="33318">
                  <c:v>0.59422150882824998</c:v>
                </c:pt>
                <c:pt idx="33319">
                  <c:v>0.59423934367754505</c:v>
                </c:pt>
                <c:pt idx="33320">
                  <c:v>0.59425717852684101</c:v>
                </c:pt>
                <c:pt idx="33321">
                  <c:v>0.59427501337613697</c:v>
                </c:pt>
                <c:pt idx="33322">
                  <c:v>0.59429284822543205</c:v>
                </c:pt>
                <c:pt idx="33323">
                  <c:v>0.59431068307472801</c:v>
                </c:pt>
                <c:pt idx="33324">
                  <c:v>0.59432851792402297</c:v>
                </c:pt>
                <c:pt idx="33325">
                  <c:v>0.59434635277331904</c:v>
                </c:pt>
                <c:pt idx="33326">
                  <c:v>0.594364187622614</c:v>
                </c:pt>
                <c:pt idx="33327">
                  <c:v>0.59438202247190997</c:v>
                </c:pt>
                <c:pt idx="33328">
                  <c:v>0.59439985732120504</c:v>
                </c:pt>
                <c:pt idx="33329">
                  <c:v>0.594417692170501</c:v>
                </c:pt>
                <c:pt idx="33330">
                  <c:v>0.59443552701979596</c:v>
                </c:pt>
                <c:pt idx="33331">
                  <c:v>0.59445336186909203</c:v>
                </c:pt>
                <c:pt idx="33332">
                  <c:v>0.594471196718387</c:v>
                </c:pt>
                <c:pt idx="33333">
                  <c:v>0.59448903156768296</c:v>
                </c:pt>
                <c:pt idx="33334">
                  <c:v>0.59450686641697803</c:v>
                </c:pt>
                <c:pt idx="33335">
                  <c:v>0.59452470126627399</c:v>
                </c:pt>
                <c:pt idx="33336">
                  <c:v>0.59454253611556895</c:v>
                </c:pt>
                <c:pt idx="33337">
                  <c:v>0.59456037096486503</c:v>
                </c:pt>
                <c:pt idx="33338">
                  <c:v>0.59457820581415999</c:v>
                </c:pt>
                <c:pt idx="33339">
                  <c:v>0.59459604066345595</c:v>
                </c:pt>
                <c:pt idx="33340">
                  <c:v>0.59461387551275102</c:v>
                </c:pt>
                <c:pt idx="33341">
                  <c:v>0.59463171036204698</c:v>
                </c:pt>
                <c:pt idx="33342">
                  <c:v>0.59464954521134294</c:v>
                </c:pt>
                <c:pt idx="33343">
                  <c:v>0.59466738006063802</c:v>
                </c:pt>
                <c:pt idx="33344">
                  <c:v>0.59468521490993398</c:v>
                </c:pt>
                <c:pt idx="33345">
                  <c:v>0.59470304975922905</c:v>
                </c:pt>
                <c:pt idx="33346">
                  <c:v>0.59472088460852501</c:v>
                </c:pt>
                <c:pt idx="33347">
                  <c:v>0.59473871945781998</c:v>
                </c:pt>
                <c:pt idx="33348">
                  <c:v>0.59475655430711605</c:v>
                </c:pt>
                <c:pt idx="33349">
                  <c:v>0.59477438915641101</c:v>
                </c:pt>
                <c:pt idx="33350">
                  <c:v>0.59479222400570697</c:v>
                </c:pt>
                <c:pt idx="33351">
                  <c:v>0.59481005885500204</c:v>
                </c:pt>
                <c:pt idx="33352">
                  <c:v>0.59482789370429801</c:v>
                </c:pt>
                <c:pt idx="33353">
                  <c:v>0.59484572855359297</c:v>
                </c:pt>
                <c:pt idx="33354">
                  <c:v>0.59486356340288904</c:v>
                </c:pt>
                <c:pt idx="33355">
                  <c:v>0.594881398252184</c:v>
                </c:pt>
                <c:pt idx="33356">
                  <c:v>0.59489923310147996</c:v>
                </c:pt>
                <c:pt idx="33357">
                  <c:v>0.59491706795077504</c:v>
                </c:pt>
                <c:pt idx="33358">
                  <c:v>0.594934902800071</c:v>
                </c:pt>
                <c:pt idx="33359">
                  <c:v>0.59495273764936596</c:v>
                </c:pt>
                <c:pt idx="33360">
                  <c:v>0.59497057249866203</c:v>
                </c:pt>
                <c:pt idx="33361">
                  <c:v>0.59498840734795699</c:v>
                </c:pt>
                <c:pt idx="33362">
                  <c:v>0.59500624219725295</c:v>
                </c:pt>
                <c:pt idx="33363">
                  <c:v>0.59502407704654803</c:v>
                </c:pt>
                <c:pt idx="33364">
                  <c:v>0.59504191189584399</c:v>
                </c:pt>
                <c:pt idx="33365">
                  <c:v>0.59505974674513995</c:v>
                </c:pt>
                <c:pt idx="33366">
                  <c:v>0.59507758159443502</c:v>
                </c:pt>
                <c:pt idx="33367">
                  <c:v>0.59509541644373098</c:v>
                </c:pt>
                <c:pt idx="33368">
                  <c:v>0.59511325129302595</c:v>
                </c:pt>
                <c:pt idx="33369">
                  <c:v>0.59513108614232202</c:v>
                </c:pt>
                <c:pt idx="33370">
                  <c:v>0.59514892099161698</c:v>
                </c:pt>
                <c:pt idx="33371">
                  <c:v>0.59516675584091305</c:v>
                </c:pt>
                <c:pt idx="33372">
                  <c:v>0.59518459069020802</c:v>
                </c:pt>
                <c:pt idx="33373">
                  <c:v>0.59520242553950398</c:v>
                </c:pt>
                <c:pt idx="33374">
                  <c:v>0.59522026038879905</c:v>
                </c:pt>
                <c:pt idx="33375">
                  <c:v>0.59523809523809501</c:v>
                </c:pt>
                <c:pt idx="33376">
                  <c:v>0.59525593008738997</c:v>
                </c:pt>
                <c:pt idx="33377">
                  <c:v>0.59527376493668605</c:v>
                </c:pt>
                <c:pt idx="33378">
                  <c:v>0.59529159978598101</c:v>
                </c:pt>
                <c:pt idx="33379">
                  <c:v>0.59530943463527697</c:v>
                </c:pt>
                <c:pt idx="33380">
                  <c:v>0.59532726948457204</c:v>
                </c:pt>
                <c:pt idx="33381">
                  <c:v>0.595345104333868</c:v>
                </c:pt>
                <c:pt idx="33382">
                  <c:v>0.59536293918316296</c:v>
                </c:pt>
                <c:pt idx="33383">
                  <c:v>0.59538077403245904</c:v>
                </c:pt>
                <c:pt idx="33384">
                  <c:v>0.595398608881755</c:v>
                </c:pt>
                <c:pt idx="33385">
                  <c:v>0.59541644373104996</c:v>
                </c:pt>
                <c:pt idx="33386">
                  <c:v>0.59543427858034603</c:v>
                </c:pt>
                <c:pt idx="33387">
                  <c:v>0.59545211342964099</c:v>
                </c:pt>
                <c:pt idx="33388">
                  <c:v>0.59546994827893696</c:v>
                </c:pt>
                <c:pt idx="33389">
                  <c:v>0.59548778312823203</c:v>
                </c:pt>
                <c:pt idx="33390">
                  <c:v>0.59550561797752799</c:v>
                </c:pt>
                <c:pt idx="33391">
                  <c:v>0.59552345282682295</c:v>
                </c:pt>
                <c:pt idx="33392">
                  <c:v>0.59554128767611902</c:v>
                </c:pt>
                <c:pt idx="33393">
                  <c:v>0.59555912252541399</c:v>
                </c:pt>
                <c:pt idx="33394">
                  <c:v>0.59557695737470995</c:v>
                </c:pt>
                <c:pt idx="33395">
                  <c:v>0.59559479222400502</c:v>
                </c:pt>
                <c:pt idx="33396">
                  <c:v>0.59561262707330098</c:v>
                </c:pt>
                <c:pt idx="33397">
                  <c:v>0.59563046192259606</c:v>
                </c:pt>
                <c:pt idx="33398">
                  <c:v>0.59564829677189202</c:v>
                </c:pt>
                <c:pt idx="33399">
                  <c:v>0.59566613162118698</c:v>
                </c:pt>
                <c:pt idx="33400">
                  <c:v>0.59568396647048305</c:v>
                </c:pt>
                <c:pt idx="33401">
                  <c:v>0.59570180131977801</c:v>
                </c:pt>
                <c:pt idx="33402">
                  <c:v>0.59571963616907397</c:v>
                </c:pt>
                <c:pt idx="33403">
                  <c:v>0.59573747101836905</c:v>
                </c:pt>
                <c:pt idx="33404">
                  <c:v>0.59575530586766501</c:v>
                </c:pt>
                <c:pt idx="33405">
                  <c:v>0.59577314071696097</c:v>
                </c:pt>
                <c:pt idx="33406">
                  <c:v>0.59579097556625604</c:v>
                </c:pt>
                <c:pt idx="33407">
                  <c:v>0.595808810415552</c:v>
                </c:pt>
                <c:pt idx="33408">
                  <c:v>0.59582664526484697</c:v>
                </c:pt>
                <c:pt idx="33409">
                  <c:v>0.59584448011414304</c:v>
                </c:pt>
                <c:pt idx="33410">
                  <c:v>0.595862314963438</c:v>
                </c:pt>
                <c:pt idx="33411">
                  <c:v>0.59588014981273396</c:v>
                </c:pt>
                <c:pt idx="33412">
                  <c:v>0.59589798466202903</c:v>
                </c:pt>
                <c:pt idx="33413">
                  <c:v>0.595915819511325</c:v>
                </c:pt>
                <c:pt idx="33414">
                  <c:v>0.59593365436061996</c:v>
                </c:pt>
                <c:pt idx="33415">
                  <c:v>0.59595148920991603</c:v>
                </c:pt>
                <c:pt idx="33416">
                  <c:v>0.59596932405921099</c:v>
                </c:pt>
                <c:pt idx="33417">
                  <c:v>0.59598715890850695</c:v>
                </c:pt>
                <c:pt idx="33418">
                  <c:v>0.59600499375780203</c:v>
                </c:pt>
                <c:pt idx="33419">
                  <c:v>0.59602282860709799</c:v>
                </c:pt>
                <c:pt idx="33420">
                  <c:v>0.59604066345639295</c:v>
                </c:pt>
                <c:pt idx="33421">
                  <c:v>0.59605849830568902</c:v>
                </c:pt>
                <c:pt idx="33422">
                  <c:v>0.59607633315498398</c:v>
                </c:pt>
                <c:pt idx="33423">
                  <c:v>0.59609416800427995</c:v>
                </c:pt>
                <c:pt idx="33424">
                  <c:v>0.59611200285357502</c:v>
                </c:pt>
                <c:pt idx="33425">
                  <c:v>0.59612983770287098</c:v>
                </c:pt>
                <c:pt idx="33426">
                  <c:v>0.59614767255216605</c:v>
                </c:pt>
                <c:pt idx="33427">
                  <c:v>0.59616550740146201</c:v>
                </c:pt>
                <c:pt idx="33428">
                  <c:v>0.59618334225075797</c:v>
                </c:pt>
                <c:pt idx="33429">
                  <c:v>0.59620117710005305</c:v>
                </c:pt>
                <c:pt idx="33430">
                  <c:v>0.59621901194934901</c:v>
                </c:pt>
                <c:pt idx="33431">
                  <c:v>0.59623684679864397</c:v>
                </c:pt>
                <c:pt idx="33432">
                  <c:v>0.59625468164794004</c:v>
                </c:pt>
                <c:pt idx="33433">
                  <c:v>0.59627251649723501</c:v>
                </c:pt>
                <c:pt idx="33434">
                  <c:v>0.59629035134653097</c:v>
                </c:pt>
                <c:pt idx="33435">
                  <c:v>0.59630818619582604</c:v>
                </c:pt>
                <c:pt idx="33436">
                  <c:v>0.596326021045122</c:v>
                </c:pt>
                <c:pt idx="33437">
                  <c:v>0.59634385589441696</c:v>
                </c:pt>
                <c:pt idx="33438">
                  <c:v>0.59636169074371304</c:v>
                </c:pt>
                <c:pt idx="33439">
                  <c:v>0.596379525593008</c:v>
                </c:pt>
                <c:pt idx="33440">
                  <c:v>0.59639736044230396</c:v>
                </c:pt>
                <c:pt idx="33441">
                  <c:v>0.59641519529159903</c:v>
                </c:pt>
                <c:pt idx="33442">
                  <c:v>0.59643303014089499</c:v>
                </c:pt>
                <c:pt idx="33443">
                  <c:v>0.59645086499018996</c:v>
                </c:pt>
                <c:pt idx="33444">
                  <c:v>0.59646869983948603</c:v>
                </c:pt>
                <c:pt idx="33445">
                  <c:v>0.59648653468878099</c:v>
                </c:pt>
                <c:pt idx="33446">
                  <c:v>0.59650436953807695</c:v>
                </c:pt>
                <c:pt idx="33447">
                  <c:v>0.59652220438737202</c:v>
                </c:pt>
                <c:pt idx="33448">
                  <c:v>0.59654003923666798</c:v>
                </c:pt>
                <c:pt idx="33449">
                  <c:v>0.59655787408596395</c:v>
                </c:pt>
                <c:pt idx="33450">
                  <c:v>0.59657570893525902</c:v>
                </c:pt>
                <c:pt idx="33451">
                  <c:v>0.59659354378455498</c:v>
                </c:pt>
                <c:pt idx="33452">
                  <c:v>0.59661137863385005</c:v>
                </c:pt>
                <c:pt idx="33453">
                  <c:v>0.59662921348314601</c:v>
                </c:pt>
                <c:pt idx="33454">
                  <c:v>0.59664704833244098</c:v>
                </c:pt>
                <c:pt idx="33455">
                  <c:v>0.59666488318173705</c:v>
                </c:pt>
                <c:pt idx="33456">
                  <c:v>0.59668271803103201</c:v>
                </c:pt>
                <c:pt idx="33457">
                  <c:v>0.59670055288032797</c:v>
                </c:pt>
                <c:pt idx="33458">
                  <c:v>0.59671838772962305</c:v>
                </c:pt>
                <c:pt idx="33459">
                  <c:v>0.59673622257891901</c:v>
                </c:pt>
                <c:pt idx="33460">
                  <c:v>0.59675405742821397</c:v>
                </c:pt>
                <c:pt idx="33461">
                  <c:v>0.59677189227751004</c:v>
                </c:pt>
                <c:pt idx="33462">
                  <c:v>0.596789727126805</c:v>
                </c:pt>
                <c:pt idx="33463">
                  <c:v>0.59680756197610096</c:v>
                </c:pt>
                <c:pt idx="33464">
                  <c:v>0.59682539682539604</c:v>
                </c:pt>
                <c:pt idx="33465">
                  <c:v>0.596843231674692</c:v>
                </c:pt>
                <c:pt idx="33466">
                  <c:v>0.59686106652398696</c:v>
                </c:pt>
                <c:pt idx="33467">
                  <c:v>0.59687890137328303</c:v>
                </c:pt>
                <c:pt idx="33468">
                  <c:v>0.59689673622257799</c:v>
                </c:pt>
                <c:pt idx="33469">
                  <c:v>0.59691457107187396</c:v>
                </c:pt>
                <c:pt idx="33470">
                  <c:v>0.59693240592116903</c:v>
                </c:pt>
                <c:pt idx="33471">
                  <c:v>0.59695024077046499</c:v>
                </c:pt>
                <c:pt idx="33472">
                  <c:v>0.59696807561976095</c:v>
                </c:pt>
                <c:pt idx="33473">
                  <c:v>0.59698591046905602</c:v>
                </c:pt>
                <c:pt idx="33474">
                  <c:v>0.59700374531835199</c:v>
                </c:pt>
                <c:pt idx="33475">
                  <c:v>0.59702158016764695</c:v>
                </c:pt>
                <c:pt idx="33476">
                  <c:v>0.59703941501694302</c:v>
                </c:pt>
                <c:pt idx="33477">
                  <c:v>0.59705724986623798</c:v>
                </c:pt>
                <c:pt idx="33478">
                  <c:v>0.59707508471553405</c:v>
                </c:pt>
                <c:pt idx="33479">
                  <c:v>0.59709291956482902</c:v>
                </c:pt>
                <c:pt idx="33480">
                  <c:v>0.59711075441412498</c:v>
                </c:pt>
                <c:pt idx="33481">
                  <c:v>0.59712858926342005</c:v>
                </c:pt>
                <c:pt idx="33482">
                  <c:v>0.59714642411271601</c:v>
                </c:pt>
                <c:pt idx="33483">
                  <c:v>0.59716425896201097</c:v>
                </c:pt>
                <c:pt idx="33484">
                  <c:v>0.59718209381130705</c:v>
                </c:pt>
                <c:pt idx="33485">
                  <c:v>0.59719992866060201</c:v>
                </c:pt>
                <c:pt idx="33486">
                  <c:v>0.59721776350989797</c:v>
                </c:pt>
                <c:pt idx="33487">
                  <c:v>0.59723559835919304</c:v>
                </c:pt>
                <c:pt idx="33488">
                  <c:v>0.597253433208489</c:v>
                </c:pt>
                <c:pt idx="33489">
                  <c:v>0.59727126805778497</c:v>
                </c:pt>
                <c:pt idx="33490">
                  <c:v>0.59728910290708004</c:v>
                </c:pt>
                <c:pt idx="33491">
                  <c:v>0.597306937756376</c:v>
                </c:pt>
                <c:pt idx="33492">
                  <c:v>0.59732477260567096</c:v>
                </c:pt>
                <c:pt idx="33493">
                  <c:v>0.59734260745496703</c:v>
                </c:pt>
                <c:pt idx="33494">
                  <c:v>0.597360442304262</c:v>
                </c:pt>
                <c:pt idx="33495">
                  <c:v>0.59737827715355796</c:v>
                </c:pt>
                <c:pt idx="33496">
                  <c:v>0.59739611200285303</c:v>
                </c:pt>
                <c:pt idx="33497">
                  <c:v>0.59741394685214899</c:v>
                </c:pt>
                <c:pt idx="33498">
                  <c:v>0.59743178170144395</c:v>
                </c:pt>
                <c:pt idx="33499">
                  <c:v>0.59744961655074003</c:v>
                </c:pt>
                <c:pt idx="33500">
                  <c:v>0.59746745140003499</c:v>
                </c:pt>
                <c:pt idx="33501">
                  <c:v>0.59748528624933095</c:v>
                </c:pt>
                <c:pt idx="33502">
                  <c:v>0.59750312109862602</c:v>
                </c:pt>
                <c:pt idx="33503">
                  <c:v>0.59752095594792198</c:v>
                </c:pt>
                <c:pt idx="33504">
                  <c:v>0.59753879079721695</c:v>
                </c:pt>
                <c:pt idx="33505">
                  <c:v>0.59755662564651302</c:v>
                </c:pt>
                <c:pt idx="33506">
                  <c:v>0.59757446049580798</c:v>
                </c:pt>
                <c:pt idx="33507">
                  <c:v>0.59759229534510405</c:v>
                </c:pt>
                <c:pt idx="33508">
                  <c:v>0.59761013019439901</c:v>
                </c:pt>
                <c:pt idx="33509">
                  <c:v>0.59762796504369498</c:v>
                </c:pt>
                <c:pt idx="33510">
                  <c:v>0.59764579989299005</c:v>
                </c:pt>
                <c:pt idx="33511">
                  <c:v>0.59766363474228601</c:v>
                </c:pt>
                <c:pt idx="33512">
                  <c:v>0.59768146959158197</c:v>
                </c:pt>
                <c:pt idx="33513">
                  <c:v>0.59769930444087704</c:v>
                </c:pt>
                <c:pt idx="33514">
                  <c:v>0.59771713929017301</c:v>
                </c:pt>
                <c:pt idx="33515">
                  <c:v>0.59773497413946797</c:v>
                </c:pt>
                <c:pt idx="33516">
                  <c:v>0.59775280898876404</c:v>
                </c:pt>
                <c:pt idx="33517">
                  <c:v>0.597770643838059</c:v>
                </c:pt>
                <c:pt idx="33518">
                  <c:v>0.59778847868735496</c:v>
                </c:pt>
                <c:pt idx="33519">
                  <c:v>0.59780631353665004</c:v>
                </c:pt>
                <c:pt idx="33520">
                  <c:v>0.597824148385946</c:v>
                </c:pt>
                <c:pt idx="33521">
                  <c:v>0.59784198323524096</c:v>
                </c:pt>
                <c:pt idx="33522">
                  <c:v>0.59785981808453703</c:v>
                </c:pt>
                <c:pt idx="33523">
                  <c:v>0.59787765293383199</c:v>
                </c:pt>
                <c:pt idx="33524">
                  <c:v>0.59789548778312795</c:v>
                </c:pt>
                <c:pt idx="33525">
                  <c:v>0.59791332263242303</c:v>
                </c:pt>
                <c:pt idx="33526">
                  <c:v>0.59793115748171899</c:v>
                </c:pt>
                <c:pt idx="33527">
                  <c:v>0.59794899233101395</c:v>
                </c:pt>
                <c:pt idx="33528">
                  <c:v>0.59796682718031002</c:v>
                </c:pt>
                <c:pt idx="33529">
                  <c:v>0.59798466202960499</c:v>
                </c:pt>
                <c:pt idx="33530">
                  <c:v>0.59800249687890095</c:v>
                </c:pt>
                <c:pt idx="33531">
                  <c:v>0.59802033172819602</c:v>
                </c:pt>
                <c:pt idx="33532">
                  <c:v>0.59803816657749198</c:v>
                </c:pt>
                <c:pt idx="33533">
                  <c:v>0.59805600142678705</c:v>
                </c:pt>
                <c:pt idx="33534">
                  <c:v>0.59807383627608302</c:v>
                </c:pt>
                <c:pt idx="33535">
                  <c:v>0.59809167112537898</c:v>
                </c:pt>
                <c:pt idx="33536">
                  <c:v>0.59810950597467405</c:v>
                </c:pt>
                <c:pt idx="33537">
                  <c:v>0.59812734082397001</c:v>
                </c:pt>
                <c:pt idx="33538">
                  <c:v>0.59814517567326497</c:v>
                </c:pt>
                <c:pt idx="33539">
                  <c:v>0.59816301052256104</c:v>
                </c:pt>
                <c:pt idx="33540">
                  <c:v>0.59818084537185601</c:v>
                </c:pt>
                <c:pt idx="33541">
                  <c:v>0.59819868022115197</c:v>
                </c:pt>
                <c:pt idx="33542">
                  <c:v>0.59821651507044704</c:v>
                </c:pt>
                <c:pt idx="33543">
                  <c:v>0.598234349919743</c:v>
                </c:pt>
                <c:pt idx="33544">
                  <c:v>0.59825218476903796</c:v>
                </c:pt>
                <c:pt idx="33545">
                  <c:v>0.59827001961833404</c:v>
                </c:pt>
                <c:pt idx="33546">
                  <c:v>0.598287854467629</c:v>
                </c:pt>
                <c:pt idx="33547">
                  <c:v>0.59830568931692496</c:v>
                </c:pt>
                <c:pt idx="33548">
                  <c:v>0.59832352416622003</c:v>
                </c:pt>
                <c:pt idx="33549">
                  <c:v>0.59834135901551599</c:v>
                </c:pt>
                <c:pt idx="33550">
                  <c:v>0.59835919386481096</c:v>
                </c:pt>
                <c:pt idx="33551">
                  <c:v>0.59837702871410703</c:v>
                </c:pt>
                <c:pt idx="33552">
                  <c:v>0.59839486356340199</c:v>
                </c:pt>
                <c:pt idx="33553">
                  <c:v>0.59841269841269795</c:v>
                </c:pt>
                <c:pt idx="33554">
                  <c:v>0.59843053326199303</c:v>
                </c:pt>
                <c:pt idx="33555">
                  <c:v>0.59844836811128899</c:v>
                </c:pt>
                <c:pt idx="33556">
                  <c:v>0.59846620296058495</c:v>
                </c:pt>
                <c:pt idx="33557">
                  <c:v>0.59848403780988002</c:v>
                </c:pt>
                <c:pt idx="33558">
                  <c:v>0.59850187265917598</c:v>
                </c:pt>
                <c:pt idx="33559">
                  <c:v>0.59851970750847105</c:v>
                </c:pt>
                <c:pt idx="33560">
                  <c:v>0.59853754235776702</c:v>
                </c:pt>
                <c:pt idx="33561">
                  <c:v>0.59855537720706198</c:v>
                </c:pt>
                <c:pt idx="33562">
                  <c:v>0.59857321205635805</c:v>
                </c:pt>
                <c:pt idx="33563">
                  <c:v>0.59859104690565301</c:v>
                </c:pt>
                <c:pt idx="33564">
                  <c:v>0.59860888175494897</c:v>
                </c:pt>
                <c:pt idx="33565">
                  <c:v>0.59862671660424405</c:v>
                </c:pt>
                <c:pt idx="33566">
                  <c:v>0.59864455145354001</c:v>
                </c:pt>
                <c:pt idx="33567">
                  <c:v>0.59866238630283497</c:v>
                </c:pt>
                <c:pt idx="33568">
                  <c:v>0.59868022115213104</c:v>
                </c:pt>
                <c:pt idx="33569">
                  <c:v>0.598698056001426</c:v>
                </c:pt>
                <c:pt idx="33570">
                  <c:v>0.59871589085072197</c:v>
                </c:pt>
                <c:pt idx="33571">
                  <c:v>0.59873372570001704</c:v>
                </c:pt>
                <c:pt idx="33572">
                  <c:v>0.598751560549313</c:v>
                </c:pt>
                <c:pt idx="33573">
                  <c:v>0.59876939539860796</c:v>
                </c:pt>
                <c:pt idx="33574">
                  <c:v>0.59878723024790403</c:v>
                </c:pt>
                <c:pt idx="33575">
                  <c:v>0.598805065097199</c:v>
                </c:pt>
                <c:pt idx="33576">
                  <c:v>0.59882289994649496</c:v>
                </c:pt>
                <c:pt idx="33577">
                  <c:v>0.59884073479579103</c:v>
                </c:pt>
                <c:pt idx="33578">
                  <c:v>0.59885856964508599</c:v>
                </c:pt>
                <c:pt idx="33579">
                  <c:v>0.59887640449438195</c:v>
                </c:pt>
                <c:pt idx="33580">
                  <c:v>0.59889423934367703</c:v>
                </c:pt>
                <c:pt idx="33581">
                  <c:v>0.59891207419297299</c:v>
                </c:pt>
                <c:pt idx="33582">
                  <c:v>0.59892990904226795</c:v>
                </c:pt>
                <c:pt idx="33583">
                  <c:v>0.59894774389156402</c:v>
                </c:pt>
                <c:pt idx="33584">
                  <c:v>0.59896557874085898</c:v>
                </c:pt>
                <c:pt idx="33585">
                  <c:v>0.59898341359015495</c:v>
                </c:pt>
                <c:pt idx="33586">
                  <c:v>0.59900124843945002</c:v>
                </c:pt>
                <c:pt idx="33587">
                  <c:v>0.59901908328874598</c:v>
                </c:pt>
                <c:pt idx="33588">
                  <c:v>0.59903691813804105</c:v>
                </c:pt>
                <c:pt idx="33589">
                  <c:v>0.59905475298733701</c:v>
                </c:pt>
                <c:pt idx="33590">
                  <c:v>0.59907258783663198</c:v>
                </c:pt>
                <c:pt idx="33591">
                  <c:v>0.59909042268592805</c:v>
                </c:pt>
                <c:pt idx="33592">
                  <c:v>0.59910825753522301</c:v>
                </c:pt>
                <c:pt idx="33593">
                  <c:v>0.59912609238451897</c:v>
                </c:pt>
                <c:pt idx="33594">
                  <c:v>0.59914392723381404</c:v>
                </c:pt>
                <c:pt idx="33595">
                  <c:v>0.59916176208311001</c:v>
                </c:pt>
                <c:pt idx="33596">
                  <c:v>0.59917959693240597</c:v>
                </c:pt>
                <c:pt idx="33597">
                  <c:v>0.59919743178170104</c:v>
                </c:pt>
                <c:pt idx="33598">
                  <c:v>0.599215266630997</c:v>
                </c:pt>
                <c:pt idx="33599">
                  <c:v>0.59923310148029196</c:v>
                </c:pt>
                <c:pt idx="33600">
                  <c:v>0.59925093632958804</c:v>
                </c:pt>
                <c:pt idx="33601">
                  <c:v>0.599268771178883</c:v>
                </c:pt>
                <c:pt idx="33602">
                  <c:v>0.59928660602817896</c:v>
                </c:pt>
                <c:pt idx="33603">
                  <c:v>0.59930444087747403</c:v>
                </c:pt>
                <c:pt idx="33604">
                  <c:v>0.59932227572676999</c:v>
                </c:pt>
                <c:pt idx="33605">
                  <c:v>0.59934011057606495</c:v>
                </c:pt>
                <c:pt idx="33606">
                  <c:v>0.59935794542536103</c:v>
                </c:pt>
                <c:pt idx="33607">
                  <c:v>0.59937578027465599</c:v>
                </c:pt>
                <c:pt idx="33608">
                  <c:v>0.59939361512395195</c:v>
                </c:pt>
                <c:pt idx="33609">
                  <c:v>0.59941144997324702</c:v>
                </c:pt>
                <c:pt idx="33610">
                  <c:v>0.59942928482254298</c:v>
                </c:pt>
                <c:pt idx="33611">
                  <c:v>0.59944711967183795</c:v>
                </c:pt>
                <c:pt idx="33612">
                  <c:v>0.59946495452113402</c:v>
                </c:pt>
                <c:pt idx="33613">
                  <c:v>0.59948278937042898</c:v>
                </c:pt>
                <c:pt idx="33614">
                  <c:v>0.59950062421972505</c:v>
                </c:pt>
                <c:pt idx="33615">
                  <c:v>0.59951845906902002</c:v>
                </c:pt>
                <c:pt idx="33616">
                  <c:v>0.59953629391831598</c:v>
                </c:pt>
                <c:pt idx="33617">
                  <c:v>0.59955412876761105</c:v>
                </c:pt>
                <c:pt idx="33618">
                  <c:v>0.59957196361690701</c:v>
                </c:pt>
                <c:pt idx="33619">
                  <c:v>0.59958979846620297</c:v>
                </c:pt>
                <c:pt idx="33620">
                  <c:v>0.59960763331549805</c:v>
                </c:pt>
                <c:pt idx="33621">
                  <c:v>0.59962546816479401</c:v>
                </c:pt>
                <c:pt idx="33622">
                  <c:v>0.59964330301408897</c:v>
                </c:pt>
                <c:pt idx="33623">
                  <c:v>0.59966113786338504</c:v>
                </c:pt>
                <c:pt idx="33624">
                  <c:v>0.59967897271268</c:v>
                </c:pt>
                <c:pt idx="33625">
                  <c:v>0.59969680756197596</c:v>
                </c:pt>
                <c:pt idx="33626">
                  <c:v>0.59971464241127104</c:v>
                </c:pt>
                <c:pt idx="33627">
                  <c:v>0.599732477260567</c:v>
                </c:pt>
                <c:pt idx="33628">
                  <c:v>0.59975031210986196</c:v>
                </c:pt>
                <c:pt idx="33629">
                  <c:v>0.59976814695915803</c:v>
                </c:pt>
                <c:pt idx="33630">
                  <c:v>0.59978598180845299</c:v>
                </c:pt>
                <c:pt idx="33631">
                  <c:v>0.59980381665774896</c:v>
                </c:pt>
                <c:pt idx="33632">
                  <c:v>0.59982165150704403</c:v>
                </c:pt>
                <c:pt idx="33633">
                  <c:v>0.59983948635633999</c:v>
                </c:pt>
                <c:pt idx="33634">
                  <c:v>0.59985732120563495</c:v>
                </c:pt>
                <c:pt idx="33635">
                  <c:v>0.59987515605493102</c:v>
                </c:pt>
                <c:pt idx="33636">
                  <c:v>0.59989299090422599</c:v>
                </c:pt>
                <c:pt idx="33637">
                  <c:v>0.59991082575352195</c:v>
                </c:pt>
                <c:pt idx="33638">
                  <c:v>0.59992866060281702</c:v>
                </c:pt>
                <c:pt idx="33639">
                  <c:v>0.59994649545211298</c:v>
                </c:pt>
                <c:pt idx="33640">
                  <c:v>0.59996433030140806</c:v>
                </c:pt>
                <c:pt idx="33641">
                  <c:v>0.59998216515070402</c:v>
                </c:pt>
                <c:pt idx="33642">
                  <c:v>0.6</c:v>
                </c:pt>
                <c:pt idx="33643">
                  <c:v>0.60001783484929505</c:v>
                </c:pt>
                <c:pt idx="33644">
                  <c:v>0.60003566969859101</c:v>
                </c:pt>
                <c:pt idx="33645">
                  <c:v>0.60005350454788597</c:v>
                </c:pt>
                <c:pt idx="33646">
                  <c:v>0.60007133939718205</c:v>
                </c:pt>
                <c:pt idx="33647">
                  <c:v>0.60008917424647701</c:v>
                </c:pt>
                <c:pt idx="33648">
                  <c:v>0.60010700909577297</c:v>
                </c:pt>
                <c:pt idx="33649">
                  <c:v>0.60012484394506804</c:v>
                </c:pt>
                <c:pt idx="33650">
                  <c:v>0.600142678794364</c:v>
                </c:pt>
                <c:pt idx="33651">
                  <c:v>0.60016051364365897</c:v>
                </c:pt>
                <c:pt idx="33652">
                  <c:v>0.60017834849295504</c:v>
                </c:pt>
                <c:pt idx="33653">
                  <c:v>0.60019618334225</c:v>
                </c:pt>
                <c:pt idx="33654">
                  <c:v>0.60021401819154596</c:v>
                </c:pt>
                <c:pt idx="33655">
                  <c:v>0.60023185304084103</c:v>
                </c:pt>
                <c:pt idx="33656">
                  <c:v>0.600249687890137</c:v>
                </c:pt>
                <c:pt idx="33657">
                  <c:v>0.60026752273943196</c:v>
                </c:pt>
                <c:pt idx="33658">
                  <c:v>0.60028535758872803</c:v>
                </c:pt>
                <c:pt idx="33659">
                  <c:v>0.60030319243802299</c:v>
                </c:pt>
                <c:pt idx="33660">
                  <c:v>0.60032102728731895</c:v>
                </c:pt>
                <c:pt idx="33661">
                  <c:v>0.60033886213661403</c:v>
                </c:pt>
                <c:pt idx="33662">
                  <c:v>0.60035669698590999</c:v>
                </c:pt>
                <c:pt idx="33663">
                  <c:v>0.60037453183520595</c:v>
                </c:pt>
                <c:pt idx="33664">
                  <c:v>0.60039236668450102</c:v>
                </c:pt>
                <c:pt idx="33665">
                  <c:v>0.60041020153379698</c:v>
                </c:pt>
                <c:pt idx="33666">
                  <c:v>0.60042803638309195</c:v>
                </c:pt>
                <c:pt idx="33667">
                  <c:v>0.60044587123238802</c:v>
                </c:pt>
                <c:pt idx="33668">
                  <c:v>0.60046370608168298</c:v>
                </c:pt>
                <c:pt idx="33669">
                  <c:v>0.60048154093097905</c:v>
                </c:pt>
                <c:pt idx="33670">
                  <c:v>0.60049937578027401</c:v>
                </c:pt>
                <c:pt idx="33671">
                  <c:v>0.60051721062956998</c:v>
                </c:pt>
                <c:pt idx="33672">
                  <c:v>0.60053504547886505</c:v>
                </c:pt>
                <c:pt idx="33673">
                  <c:v>0.60055288032816101</c:v>
                </c:pt>
                <c:pt idx="33674">
                  <c:v>0.60057071517745597</c:v>
                </c:pt>
                <c:pt idx="33675">
                  <c:v>0.60058855002675204</c:v>
                </c:pt>
                <c:pt idx="33676">
                  <c:v>0.60060638487604701</c:v>
                </c:pt>
                <c:pt idx="33677">
                  <c:v>0.60062421972534297</c:v>
                </c:pt>
                <c:pt idx="33678">
                  <c:v>0.60064205457463804</c:v>
                </c:pt>
                <c:pt idx="33679">
                  <c:v>0.600659889423934</c:v>
                </c:pt>
                <c:pt idx="33680">
                  <c:v>0.60067772427322896</c:v>
                </c:pt>
                <c:pt idx="33681">
                  <c:v>0.60069555912252504</c:v>
                </c:pt>
                <c:pt idx="33682">
                  <c:v>0.60071339397182</c:v>
                </c:pt>
                <c:pt idx="33683">
                  <c:v>0.60073122882111596</c:v>
                </c:pt>
                <c:pt idx="33684">
                  <c:v>0.60074906367041203</c:v>
                </c:pt>
                <c:pt idx="33685">
                  <c:v>0.60076689851970699</c:v>
                </c:pt>
                <c:pt idx="33686">
                  <c:v>0.60078473336900295</c:v>
                </c:pt>
                <c:pt idx="33687">
                  <c:v>0.60080256821829803</c:v>
                </c:pt>
                <c:pt idx="33688">
                  <c:v>0.60082040306759399</c:v>
                </c:pt>
                <c:pt idx="33689">
                  <c:v>0.60083823791688895</c:v>
                </c:pt>
                <c:pt idx="33690">
                  <c:v>0.60085607276618502</c:v>
                </c:pt>
                <c:pt idx="33691">
                  <c:v>0.60087390761547999</c:v>
                </c:pt>
                <c:pt idx="33692">
                  <c:v>0.60089174246477595</c:v>
                </c:pt>
                <c:pt idx="33693">
                  <c:v>0.60090957731407102</c:v>
                </c:pt>
                <c:pt idx="33694">
                  <c:v>0.60092741216336698</c:v>
                </c:pt>
                <c:pt idx="33695">
                  <c:v>0.60094524701266205</c:v>
                </c:pt>
                <c:pt idx="33696">
                  <c:v>0.60096308186195802</c:v>
                </c:pt>
                <c:pt idx="33697">
                  <c:v>0.60098091671125298</c:v>
                </c:pt>
                <c:pt idx="33698">
                  <c:v>0.60099875156054905</c:v>
                </c:pt>
                <c:pt idx="33699">
                  <c:v>0.60101658640984401</c:v>
                </c:pt>
                <c:pt idx="33700">
                  <c:v>0.60103442125913997</c:v>
                </c:pt>
                <c:pt idx="33701">
                  <c:v>0.60105225610843505</c:v>
                </c:pt>
                <c:pt idx="33702">
                  <c:v>0.60107009095773101</c:v>
                </c:pt>
                <c:pt idx="33703">
                  <c:v>0.60108792580702697</c:v>
                </c:pt>
                <c:pt idx="33704">
                  <c:v>0.60110576065632204</c:v>
                </c:pt>
                <c:pt idx="33705">
                  <c:v>0.601123595505618</c:v>
                </c:pt>
                <c:pt idx="33706">
                  <c:v>0.60114143035491296</c:v>
                </c:pt>
                <c:pt idx="33707">
                  <c:v>0.60115926520420904</c:v>
                </c:pt>
                <c:pt idx="33708">
                  <c:v>0.601177100053504</c:v>
                </c:pt>
                <c:pt idx="33709">
                  <c:v>0.60119493490279996</c:v>
                </c:pt>
                <c:pt idx="33710">
                  <c:v>0.60121276975209503</c:v>
                </c:pt>
                <c:pt idx="33711">
                  <c:v>0.60123060460139099</c:v>
                </c:pt>
                <c:pt idx="33712">
                  <c:v>0.60124843945068596</c:v>
                </c:pt>
                <c:pt idx="33713">
                  <c:v>0.60126627429998203</c:v>
                </c:pt>
                <c:pt idx="33714">
                  <c:v>0.60128410914927699</c:v>
                </c:pt>
                <c:pt idx="33715">
                  <c:v>0.60130194399857295</c:v>
                </c:pt>
                <c:pt idx="33716">
                  <c:v>0.60131977884786803</c:v>
                </c:pt>
                <c:pt idx="33717">
                  <c:v>0.60133761369716399</c:v>
                </c:pt>
                <c:pt idx="33718">
                  <c:v>0.60135544854645895</c:v>
                </c:pt>
                <c:pt idx="33719">
                  <c:v>0.60137328339575502</c:v>
                </c:pt>
                <c:pt idx="33720">
                  <c:v>0.60139111824504998</c:v>
                </c:pt>
                <c:pt idx="33721">
                  <c:v>0.60140895309434605</c:v>
                </c:pt>
                <c:pt idx="33722">
                  <c:v>0.60142678794364102</c:v>
                </c:pt>
                <c:pt idx="33723">
                  <c:v>0.60144462279293698</c:v>
                </c:pt>
                <c:pt idx="33724">
                  <c:v>0.60146245764223205</c:v>
                </c:pt>
                <c:pt idx="33725">
                  <c:v>0.60148029249152801</c:v>
                </c:pt>
                <c:pt idx="33726">
                  <c:v>0.60149812734082397</c:v>
                </c:pt>
                <c:pt idx="33727">
                  <c:v>0.60151596219011905</c:v>
                </c:pt>
                <c:pt idx="33728">
                  <c:v>0.60153379703941501</c:v>
                </c:pt>
                <c:pt idx="33729">
                  <c:v>0.60155163188870997</c:v>
                </c:pt>
                <c:pt idx="33730">
                  <c:v>0.60156946673800604</c:v>
                </c:pt>
                <c:pt idx="33731">
                  <c:v>0.601587301587301</c:v>
                </c:pt>
                <c:pt idx="33732">
                  <c:v>0.60160513643659697</c:v>
                </c:pt>
                <c:pt idx="33733">
                  <c:v>0.60162297128589204</c:v>
                </c:pt>
                <c:pt idx="33734">
                  <c:v>0.601640806135188</c:v>
                </c:pt>
                <c:pt idx="33735">
                  <c:v>0.60165864098448296</c:v>
                </c:pt>
                <c:pt idx="33736">
                  <c:v>0.60167647583377903</c:v>
                </c:pt>
                <c:pt idx="33737">
                  <c:v>0.601694310683074</c:v>
                </c:pt>
                <c:pt idx="33738">
                  <c:v>0.60171214553236996</c:v>
                </c:pt>
                <c:pt idx="33739">
                  <c:v>0.60172998038166503</c:v>
                </c:pt>
                <c:pt idx="33740">
                  <c:v>0.60174781523096099</c:v>
                </c:pt>
                <c:pt idx="33741">
                  <c:v>0.60176565008025595</c:v>
                </c:pt>
                <c:pt idx="33742">
                  <c:v>0.60178348492955203</c:v>
                </c:pt>
                <c:pt idx="33743">
                  <c:v>0.60180131977884699</c:v>
                </c:pt>
                <c:pt idx="33744">
                  <c:v>0.60181915462814295</c:v>
                </c:pt>
                <c:pt idx="33745">
                  <c:v>0.60183698947743802</c:v>
                </c:pt>
                <c:pt idx="33746">
                  <c:v>0.60185482432673398</c:v>
                </c:pt>
                <c:pt idx="33747">
                  <c:v>0.60187265917602994</c:v>
                </c:pt>
                <c:pt idx="33748">
                  <c:v>0.60189049402532502</c:v>
                </c:pt>
                <c:pt idx="33749">
                  <c:v>0.60190832887462098</c:v>
                </c:pt>
                <c:pt idx="33750">
                  <c:v>0.60192616372391605</c:v>
                </c:pt>
                <c:pt idx="33751">
                  <c:v>0.60194399857321201</c:v>
                </c:pt>
                <c:pt idx="33752">
                  <c:v>0.60196183342250698</c:v>
                </c:pt>
                <c:pt idx="33753">
                  <c:v>0.60197966827180305</c:v>
                </c:pt>
                <c:pt idx="33754">
                  <c:v>0.60199750312109801</c:v>
                </c:pt>
                <c:pt idx="33755">
                  <c:v>0.60201533797039397</c:v>
                </c:pt>
                <c:pt idx="33756">
                  <c:v>0.60203317281968904</c:v>
                </c:pt>
                <c:pt idx="33757">
                  <c:v>0.60205100766898501</c:v>
                </c:pt>
                <c:pt idx="33758">
                  <c:v>0.60206884251827997</c:v>
                </c:pt>
                <c:pt idx="33759">
                  <c:v>0.60208667736757604</c:v>
                </c:pt>
                <c:pt idx="33760">
                  <c:v>0.602104512216871</c:v>
                </c:pt>
                <c:pt idx="33761">
                  <c:v>0.60212234706616696</c:v>
                </c:pt>
                <c:pt idx="33762">
                  <c:v>0.60214018191546204</c:v>
                </c:pt>
                <c:pt idx="33763">
                  <c:v>0.602158016764758</c:v>
                </c:pt>
                <c:pt idx="33764">
                  <c:v>0.60217585161405296</c:v>
                </c:pt>
                <c:pt idx="33765">
                  <c:v>0.60219368646334903</c:v>
                </c:pt>
                <c:pt idx="33766">
                  <c:v>0.60221152131264399</c:v>
                </c:pt>
                <c:pt idx="33767">
                  <c:v>0.60222935616193995</c:v>
                </c:pt>
                <c:pt idx="33768">
                  <c:v>0.60224719101123503</c:v>
                </c:pt>
                <c:pt idx="33769">
                  <c:v>0.60226502586053099</c:v>
                </c:pt>
                <c:pt idx="33770">
                  <c:v>0.60228286070982695</c:v>
                </c:pt>
                <c:pt idx="33771">
                  <c:v>0.60230069555912202</c:v>
                </c:pt>
                <c:pt idx="33772">
                  <c:v>0.60231853040841798</c:v>
                </c:pt>
                <c:pt idx="33773">
                  <c:v>0.60233636525771295</c:v>
                </c:pt>
                <c:pt idx="33774">
                  <c:v>0.60235420010700902</c:v>
                </c:pt>
                <c:pt idx="33775">
                  <c:v>0.60237203495630398</c:v>
                </c:pt>
                <c:pt idx="33776">
                  <c:v>0.60238986980560005</c:v>
                </c:pt>
                <c:pt idx="33777">
                  <c:v>0.60240770465489502</c:v>
                </c:pt>
                <c:pt idx="33778">
                  <c:v>0.60242553950419098</c:v>
                </c:pt>
                <c:pt idx="33779">
                  <c:v>0.60244337435348605</c:v>
                </c:pt>
                <c:pt idx="33780">
                  <c:v>0.60246120920278201</c:v>
                </c:pt>
                <c:pt idx="33781">
                  <c:v>0.60247904405207697</c:v>
                </c:pt>
                <c:pt idx="33782">
                  <c:v>0.60249687890137305</c:v>
                </c:pt>
                <c:pt idx="33783">
                  <c:v>0.60251471375066801</c:v>
                </c:pt>
                <c:pt idx="33784">
                  <c:v>0.60253254859996397</c:v>
                </c:pt>
                <c:pt idx="33785">
                  <c:v>0.60255038344925904</c:v>
                </c:pt>
                <c:pt idx="33786">
                  <c:v>0.602568218298555</c:v>
                </c:pt>
                <c:pt idx="33787">
                  <c:v>0.60258605314784996</c:v>
                </c:pt>
                <c:pt idx="33788">
                  <c:v>0.60260388799714604</c:v>
                </c:pt>
                <c:pt idx="33789">
                  <c:v>0.602621722846442</c:v>
                </c:pt>
                <c:pt idx="33790">
                  <c:v>0.60263955769573696</c:v>
                </c:pt>
                <c:pt idx="33791">
                  <c:v>0.60265739254503303</c:v>
                </c:pt>
                <c:pt idx="33792">
                  <c:v>0.60267522739432799</c:v>
                </c:pt>
                <c:pt idx="33793">
                  <c:v>0.60269306224362396</c:v>
                </c:pt>
                <c:pt idx="33794">
                  <c:v>0.60271089709291903</c:v>
                </c:pt>
                <c:pt idx="33795">
                  <c:v>0.60272873194221499</c:v>
                </c:pt>
                <c:pt idx="33796">
                  <c:v>0.60274656679150995</c:v>
                </c:pt>
                <c:pt idx="33797">
                  <c:v>0.60276440164080602</c:v>
                </c:pt>
                <c:pt idx="33798">
                  <c:v>0.60278223649010099</c:v>
                </c:pt>
                <c:pt idx="33799">
                  <c:v>0.60280007133939695</c:v>
                </c:pt>
                <c:pt idx="33800">
                  <c:v>0.60281790618869202</c:v>
                </c:pt>
                <c:pt idx="33801">
                  <c:v>0.60283574103798798</c:v>
                </c:pt>
                <c:pt idx="33802">
                  <c:v>0.60285357588728306</c:v>
                </c:pt>
                <c:pt idx="33803">
                  <c:v>0.60287141073657902</c:v>
                </c:pt>
                <c:pt idx="33804">
                  <c:v>0.60288924558587398</c:v>
                </c:pt>
                <c:pt idx="33805">
                  <c:v>0.60290708043517005</c:v>
                </c:pt>
                <c:pt idx="33806">
                  <c:v>0.60292491528446501</c:v>
                </c:pt>
                <c:pt idx="33807">
                  <c:v>0.60294275013376097</c:v>
                </c:pt>
                <c:pt idx="33808">
                  <c:v>0.60296058498305605</c:v>
                </c:pt>
                <c:pt idx="33809">
                  <c:v>0.60297841983235201</c:v>
                </c:pt>
                <c:pt idx="33810">
                  <c:v>0.60299625468164797</c:v>
                </c:pt>
                <c:pt idx="33811">
                  <c:v>0.60301408953094304</c:v>
                </c:pt>
                <c:pt idx="33812">
                  <c:v>0.603031924380239</c:v>
                </c:pt>
                <c:pt idx="33813">
                  <c:v>0.60304975922953397</c:v>
                </c:pt>
                <c:pt idx="33814">
                  <c:v>0.60306759407883004</c:v>
                </c:pt>
                <c:pt idx="33815">
                  <c:v>0.603085428928125</c:v>
                </c:pt>
                <c:pt idx="33816">
                  <c:v>0.60310326377742096</c:v>
                </c:pt>
                <c:pt idx="33817">
                  <c:v>0.60312109862671603</c:v>
                </c:pt>
                <c:pt idx="33818">
                  <c:v>0.603138933476012</c:v>
                </c:pt>
                <c:pt idx="33819">
                  <c:v>0.60315676832530696</c:v>
                </c:pt>
                <c:pt idx="33820">
                  <c:v>0.60317460317460303</c:v>
                </c:pt>
                <c:pt idx="33821">
                  <c:v>0.60319243802389799</c:v>
                </c:pt>
                <c:pt idx="33822">
                  <c:v>0.60321027287319395</c:v>
                </c:pt>
                <c:pt idx="33823">
                  <c:v>0.60322810772248903</c:v>
                </c:pt>
                <c:pt idx="33824">
                  <c:v>0.60324594257178499</c:v>
                </c:pt>
                <c:pt idx="33825">
                  <c:v>0.60326377742107995</c:v>
                </c:pt>
                <c:pt idx="33826">
                  <c:v>0.60328161227037602</c:v>
                </c:pt>
                <c:pt idx="33827">
                  <c:v>0.60329944711967098</c:v>
                </c:pt>
                <c:pt idx="33828">
                  <c:v>0.60331728196896695</c:v>
                </c:pt>
                <c:pt idx="33829">
                  <c:v>0.60333511681826202</c:v>
                </c:pt>
                <c:pt idx="33830">
                  <c:v>0.60335295166755798</c:v>
                </c:pt>
                <c:pt idx="33831">
                  <c:v>0.60337078651685305</c:v>
                </c:pt>
                <c:pt idx="33832">
                  <c:v>0.60338862136614901</c:v>
                </c:pt>
                <c:pt idx="33833">
                  <c:v>0.60340645621544498</c:v>
                </c:pt>
                <c:pt idx="33834">
                  <c:v>0.60342429106474005</c:v>
                </c:pt>
                <c:pt idx="33835">
                  <c:v>0.60344212591403601</c:v>
                </c:pt>
                <c:pt idx="33836">
                  <c:v>0.60345996076333097</c:v>
                </c:pt>
                <c:pt idx="33837">
                  <c:v>0.60347779561262704</c:v>
                </c:pt>
                <c:pt idx="33838">
                  <c:v>0.60349563046192201</c:v>
                </c:pt>
                <c:pt idx="33839">
                  <c:v>0.60351346531121797</c:v>
                </c:pt>
                <c:pt idx="33840">
                  <c:v>0.60353130016051304</c:v>
                </c:pt>
                <c:pt idx="33841">
                  <c:v>0.603549135009809</c:v>
                </c:pt>
                <c:pt idx="33842">
                  <c:v>0.60356696985910396</c:v>
                </c:pt>
                <c:pt idx="33843">
                  <c:v>0.60358480470840004</c:v>
                </c:pt>
                <c:pt idx="33844">
                  <c:v>0.603602639557695</c:v>
                </c:pt>
                <c:pt idx="33845">
                  <c:v>0.60362047440699096</c:v>
                </c:pt>
                <c:pt idx="33846">
                  <c:v>0.60363830925628603</c:v>
                </c:pt>
                <c:pt idx="33847">
                  <c:v>0.60365614410558199</c:v>
                </c:pt>
                <c:pt idx="33848">
                  <c:v>0.60367397895487696</c:v>
                </c:pt>
                <c:pt idx="33849">
                  <c:v>0.60369181380417303</c:v>
                </c:pt>
                <c:pt idx="33850">
                  <c:v>0.60370964865346799</c:v>
                </c:pt>
                <c:pt idx="33851">
                  <c:v>0.60372748350276395</c:v>
                </c:pt>
                <c:pt idx="33852">
                  <c:v>0.60374531835205902</c:v>
                </c:pt>
                <c:pt idx="33853">
                  <c:v>0.60376315320135499</c:v>
                </c:pt>
                <c:pt idx="33854">
                  <c:v>0.60378098805065095</c:v>
                </c:pt>
                <c:pt idx="33855">
                  <c:v>0.60379882289994602</c:v>
                </c:pt>
                <c:pt idx="33856">
                  <c:v>0.60381665774924198</c:v>
                </c:pt>
                <c:pt idx="33857">
                  <c:v>0.60383449259853705</c:v>
                </c:pt>
                <c:pt idx="33858">
                  <c:v>0.60385232744783301</c:v>
                </c:pt>
                <c:pt idx="33859">
                  <c:v>0.60387016229712798</c:v>
                </c:pt>
                <c:pt idx="33860">
                  <c:v>0.60388799714642405</c:v>
                </c:pt>
                <c:pt idx="33861">
                  <c:v>0.60390583199571901</c:v>
                </c:pt>
                <c:pt idx="33862">
                  <c:v>0.60392366684501497</c:v>
                </c:pt>
                <c:pt idx="33863">
                  <c:v>0.60394150169431005</c:v>
                </c:pt>
                <c:pt idx="33864">
                  <c:v>0.60395933654360601</c:v>
                </c:pt>
                <c:pt idx="33865">
                  <c:v>0.60397717139290097</c:v>
                </c:pt>
                <c:pt idx="33866">
                  <c:v>0.60399500624219704</c:v>
                </c:pt>
                <c:pt idx="33867">
                  <c:v>0.604012841091492</c:v>
                </c:pt>
                <c:pt idx="33868">
                  <c:v>0.60403067594078796</c:v>
                </c:pt>
                <c:pt idx="33869">
                  <c:v>0.60404851079008304</c:v>
                </c:pt>
                <c:pt idx="33870">
                  <c:v>0.604066345639379</c:v>
                </c:pt>
                <c:pt idx="33871">
                  <c:v>0.60408418048867396</c:v>
                </c:pt>
                <c:pt idx="33872">
                  <c:v>0.60410201533797003</c:v>
                </c:pt>
                <c:pt idx="33873">
                  <c:v>0.604119850187265</c:v>
                </c:pt>
                <c:pt idx="33874">
                  <c:v>0.60413768503656096</c:v>
                </c:pt>
                <c:pt idx="33875">
                  <c:v>0.60415551988585603</c:v>
                </c:pt>
                <c:pt idx="33876">
                  <c:v>0.60417335473515199</c:v>
                </c:pt>
                <c:pt idx="33877">
                  <c:v>0.60419118958444795</c:v>
                </c:pt>
                <c:pt idx="33878">
                  <c:v>0.60420902443374302</c:v>
                </c:pt>
                <c:pt idx="33879">
                  <c:v>0.60422685928303899</c:v>
                </c:pt>
                <c:pt idx="33880">
                  <c:v>0.60424469413233395</c:v>
                </c:pt>
                <c:pt idx="33881">
                  <c:v>0.60426252898163002</c:v>
                </c:pt>
                <c:pt idx="33882">
                  <c:v>0.60428036383092498</c:v>
                </c:pt>
                <c:pt idx="33883">
                  <c:v>0.60429819868022105</c:v>
                </c:pt>
                <c:pt idx="33884">
                  <c:v>0.60431603352951602</c:v>
                </c:pt>
                <c:pt idx="33885">
                  <c:v>0.60433386837881198</c:v>
                </c:pt>
                <c:pt idx="33886">
                  <c:v>0.60435170322810705</c:v>
                </c:pt>
                <c:pt idx="33887">
                  <c:v>0.60436953807740301</c:v>
                </c:pt>
                <c:pt idx="33888">
                  <c:v>0.60438737292669797</c:v>
                </c:pt>
                <c:pt idx="33889">
                  <c:v>0.60440520777599405</c:v>
                </c:pt>
                <c:pt idx="33890">
                  <c:v>0.60442304262528901</c:v>
                </c:pt>
                <c:pt idx="33891">
                  <c:v>0.60444087747458497</c:v>
                </c:pt>
                <c:pt idx="33892">
                  <c:v>0.60445871232388004</c:v>
                </c:pt>
                <c:pt idx="33893">
                  <c:v>0.604476547173176</c:v>
                </c:pt>
                <c:pt idx="33894">
                  <c:v>0.60449438202247197</c:v>
                </c:pt>
                <c:pt idx="33895">
                  <c:v>0.60451221687176704</c:v>
                </c:pt>
                <c:pt idx="33896">
                  <c:v>0.604530051721063</c:v>
                </c:pt>
                <c:pt idx="33897">
                  <c:v>0.60454788657035796</c:v>
                </c:pt>
                <c:pt idx="33898">
                  <c:v>0.60456572141965403</c:v>
                </c:pt>
                <c:pt idx="33899">
                  <c:v>0.604583556268949</c:v>
                </c:pt>
                <c:pt idx="33900">
                  <c:v>0.60460139111824496</c:v>
                </c:pt>
                <c:pt idx="33901">
                  <c:v>0.60461922596754003</c:v>
                </c:pt>
                <c:pt idx="33902">
                  <c:v>0.60463706081683599</c:v>
                </c:pt>
                <c:pt idx="33903">
                  <c:v>0.60465489566613095</c:v>
                </c:pt>
                <c:pt idx="33904">
                  <c:v>0.60467273051542703</c:v>
                </c:pt>
                <c:pt idx="33905">
                  <c:v>0.60469056536472199</c:v>
                </c:pt>
                <c:pt idx="33906">
                  <c:v>0.60470840021401795</c:v>
                </c:pt>
                <c:pt idx="33907">
                  <c:v>0.60472623506331302</c:v>
                </c:pt>
                <c:pt idx="33908">
                  <c:v>0.60474406991260898</c:v>
                </c:pt>
                <c:pt idx="33909">
                  <c:v>0.60476190476190395</c:v>
                </c:pt>
                <c:pt idx="33910">
                  <c:v>0.60477973961120002</c:v>
                </c:pt>
                <c:pt idx="33911">
                  <c:v>0.60479757446049498</c:v>
                </c:pt>
                <c:pt idx="33912">
                  <c:v>0.60481540930979105</c:v>
                </c:pt>
                <c:pt idx="33913">
                  <c:v>0.60483324415908601</c:v>
                </c:pt>
                <c:pt idx="33914">
                  <c:v>0.60485107900838198</c:v>
                </c:pt>
                <c:pt idx="33915">
                  <c:v>0.60486891385767705</c:v>
                </c:pt>
                <c:pt idx="33916">
                  <c:v>0.60488674870697301</c:v>
                </c:pt>
                <c:pt idx="33917">
                  <c:v>0.60490458355626897</c:v>
                </c:pt>
                <c:pt idx="33918">
                  <c:v>0.60492241840556404</c:v>
                </c:pt>
                <c:pt idx="33919">
                  <c:v>0.60494025325486001</c:v>
                </c:pt>
                <c:pt idx="33920">
                  <c:v>0.60495808810415497</c:v>
                </c:pt>
                <c:pt idx="33921">
                  <c:v>0.60497592295345104</c:v>
                </c:pt>
                <c:pt idx="33922">
                  <c:v>0.604993757802746</c:v>
                </c:pt>
                <c:pt idx="33923">
                  <c:v>0.60501159265204196</c:v>
                </c:pt>
                <c:pt idx="33924">
                  <c:v>0.60502942750133704</c:v>
                </c:pt>
                <c:pt idx="33925">
                  <c:v>0.605047262350633</c:v>
                </c:pt>
                <c:pt idx="33926">
                  <c:v>0.60506509719992796</c:v>
                </c:pt>
                <c:pt idx="33927">
                  <c:v>0.60508293204922403</c:v>
                </c:pt>
                <c:pt idx="33928">
                  <c:v>0.60510076689851899</c:v>
                </c:pt>
                <c:pt idx="33929">
                  <c:v>0.60511860174781495</c:v>
                </c:pt>
                <c:pt idx="33930">
                  <c:v>0.60513643659711003</c:v>
                </c:pt>
                <c:pt idx="33931">
                  <c:v>0.60515427144640599</c:v>
                </c:pt>
                <c:pt idx="33932">
                  <c:v>0.60517210629570095</c:v>
                </c:pt>
                <c:pt idx="33933">
                  <c:v>0.60518994114499702</c:v>
                </c:pt>
                <c:pt idx="33934">
                  <c:v>0.60520777599429199</c:v>
                </c:pt>
                <c:pt idx="33935">
                  <c:v>0.60522561084358795</c:v>
                </c:pt>
                <c:pt idx="33936">
                  <c:v>0.60524344569288302</c:v>
                </c:pt>
                <c:pt idx="33937">
                  <c:v>0.60526128054217898</c:v>
                </c:pt>
                <c:pt idx="33938">
                  <c:v>0.60527911539147405</c:v>
                </c:pt>
                <c:pt idx="33939">
                  <c:v>0.60529695024077002</c:v>
                </c:pt>
                <c:pt idx="33940">
                  <c:v>0.60531478509006598</c:v>
                </c:pt>
                <c:pt idx="33941">
                  <c:v>0.60533261993936105</c:v>
                </c:pt>
                <c:pt idx="33942">
                  <c:v>0.60535045478865701</c:v>
                </c:pt>
                <c:pt idx="33943">
                  <c:v>0.60536828963795197</c:v>
                </c:pt>
                <c:pt idx="33944">
                  <c:v>0.60538612448724805</c:v>
                </c:pt>
                <c:pt idx="33945">
                  <c:v>0.60540395933654301</c:v>
                </c:pt>
                <c:pt idx="33946">
                  <c:v>0.60542179418583897</c:v>
                </c:pt>
                <c:pt idx="33947">
                  <c:v>0.60543962903513404</c:v>
                </c:pt>
                <c:pt idx="33948">
                  <c:v>0.60545746388443</c:v>
                </c:pt>
                <c:pt idx="33949">
                  <c:v>0.60547529873372496</c:v>
                </c:pt>
                <c:pt idx="33950">
                  <c:v>0.60549313358302104</c:v>
                </c:pt>
                <c:pt idx="33951">
                  <c:v>0.605510968432316</c:v>
                </c:pt>
                <c:pt idx="33952">
                  <c:v>0.60552880328161196</c:v>
                </c:pt>
                <c:pt idx="33953">
                  <c:v>0.60554663813090703</c:v>
                </c:pt>
                <c:pt idx="33954">
                  <c:v>0.60556447298020299</c:v>
                </c:pt>
                <c:pt idx="33955">
                  <c:v>0.60558230782949796</c:v>
                </c:pt>
                <c:pt idx="33956">
                  <c:v>0.60560014267879403</c:v>
                </c:pt>
                <c:pt idx="33957">
                  <c:v>0.60561797752808899</c:v>
                </c:pt>
                <c:pt idx="33958">
                  <c:v>0.60563581237738495</c:v>
                </c:pt>
                <c:pt idx="33959">
                  <c:v>0.60565364722668003</c:v>
                </c:pt>
                <c:pt idx="33960">
                  <c:v>0.60567148207597599</c:v>
                </c:pt>
                <c:pt idx="33961">
                  <c:v>0.60568931692527195</c:v>
                </c:pt>
                <c:pt idx="33962">
                  <c:v>0.60570715177456702</c:v>
                </c:pt>
                <c:pt idx="33963">
                  <c:v>0.60572498662386298</c:v>
                </c:pt>
                <c:pt idx="33964">
                  <c:v>0.60574282147315806</c:v>
                </c:pt>
                <c:pt idx="33965">
                  <c:v>0.60576065632245402</c:v>
                </c:pt>
                <c:pt idx="33966">
                  <c:v>0.60577849117174898</c:v>
                </c:pt>
                <c:pt idx="33967">
                  <c:v>0.60579632602104505</c:v>
                </c:pt>
                <c:pt idx="33968">
                  <c:v>0.60581416087034001</c:v>
                </c:pt>
                <c:pt idx="33969">
                  <c:v>0.60583199571963597</c:v>
                </c:pt>
                <c:pt idx="33970">
                  <c:v>0.60584983056893105</c:v>
                </c:pt>
                <c:pt idx="33971">
                  <c:v>0.60586766541822701</c:v>
                </c:pt>
                <c:pt idx="33972">
                  <c:v>0.60588550026752197</c:v>
                </c:pt>
                <c:pt idx="33973">
                  <c:v>0.60590333511681804</c:v>
                </c:pt>
                <c:pt idx="33974">
                  <c:v>0.605921169966113</c:v>
                </c:pt>
                <c:pt idx="33975">
                  <c:v>0.60593900481540897</c:v>
                </c:pt>
                <c:pt idx="33976">
                  <c:v>0.60595683966470404</c:v>
                </c:pt>
                <c:pt idx="33977">
                  <c:v>0.605974674514</c:v>
                </c:pt>
                <c:pt idx="33978">
                  <c:v>0.60599250936329496</c:v>
                </c:pt>
                <c:pt idx="33979">
                  <c:v>0.60601034421259103</c:v>
                </c:pt>
                <c:pt idx="33980">
                  <c:v>0.606028179061886</c:v>
                </c:pt>
                <c:pt idx="33981">
                  <c:v>0.60604601391118196</c:v>
                </c:pt>
                <c:pt idx="33982">
                  <c:v>0.60606384876047703</c:v>
                </c:pt>
                <c:pt idx="33983">
                  <c:v>0.60608168360977299</c:v>
                </c:pt>
                <c:pt idx="33984">
                  <c:v>0.60609951845906895</c:v>
                </c:pt>
                <c:pt idx="33985">
                  <c:v>0.60611735330836403</c:v>
                </c:pt>
                <c:pt idx="33986">
                  <c:v>0.60613518815765999</c:v>
                </c:pt>
                <c:pt idx="33987">
                  <c:v>0.60615302300695495</c:v>
                </c:pt>
                <c:pt idx="33988">
                  <c:v>0.60617085785625102</c:v>
                </c:pt>
                <c:pt idx="33989">
                  <c:v>0.60618869270554598</c:v>
                </c:pt>
                <c:pt idx="33990">
                  <c:v>0.60620652755484195</c:v>
                </c:pt>
                <c:pt idx="33991">
                  <c:v>0.60622436240413702</c:v>
                </c:pt>
                <c:pt idx="33992">
                  <c:v>0.60624219725343298</c:v>
                </c:pt>
                <c:pt idx="33993">
                  <c:v>0.60626003210272805</c:v>
                </c:pt>
                <c:pt idx="33994">
                  <c:v>0.60627786695202401</c:v>
                </c:pt>
                <c:pt idx="33995">
                  <c:v>0.60629570180131898</c:v>
                </c:pt>
                <c:pt idx="33996">
                  <c:v>0.60631353665061505</c:v>
                </c:pt>
                <c:pt idx="33997">
                  <c:v>0.60633137149991001</c:v>
                </c:pt>
                <c:pt idx="33998">
                  <c:v>0.60634920634920597</c:v>
                </c:pt>
                <c:pt idx="33999">
                  <c:v>0.60636704119850104</c:v>
                </c:pt>
                <c:pt idx="34000">
                  <c:v>0.60638487604779701</c:v>
                </c:pt>
                <c:pt idx="34001">
                  <c:v>0.60640271089709297</c:v>
                </c:pt>
                <c:pt idx="34002">
                  <c:v>0.60642054574638804</c:v>
                </c:pt>
                <c:pt idx="34003">
                  <c:v>0.606438380595684</c:v>
                </c:pt>
                <c:pt idx="34004">
                  <c:v>0.60645621544497896</c:v>
                </c:pt>
                <c:pt idx="34005">
                  <c:v>0.60647405029427504</c:v>
                </c:pt>
                <c:pt idx="34006">
                  <c:v>0.60649188514357</c:v>
                </c:pt>
                <c:pt idx="34007">
                  <c:v>0.60650971999286596</c:v>
                </c:pt>
                <c:pt idx="34008">
                  <c:v>0.60652755484216103</c:v>
                </c:pt>
                <c:pt idx="34009">
                  <c:v>0.60654538969145699</c:v>
                </c:pt>
                <c:pt idx="34010">
                  <c:v>0.60656322454075196</c:v>
                </c:pt>
                <c:pt idx="34011">
                  <c:v>0.60658105939004803</c:v>
                </c:pt>
                <c:pt idx="34012">
                  <c:v>0.60659889423934299</c:v>
                </c:pt>
                <c:pt idx="34013">
                  <c:v>0.60661672908863895</c:v>
                </c:pt>
                <c:pt idx="34014">
                  <c:v>0.60663456393793402</c:v>
                </c:pt>
                <c:pt idx="34015">
                  <c:v>0.60665239878722999</c:v>
                </c:pt>
                <c:pt idx="34016">
                  <c:v>0.60667023363652495</c:v>
                </c:pt>
                <c:pt idx="34017">
                  <c:v>0.60668806848582102</c:v>
                </c:pt>
                <c:pt idx="34018">
                  <c:v>0.60670590333511598</c:v>
                </c:pt>
                <c:pt idx="34019">
                  <c:v>0.60672373818441205</c:v>
                </c:pt>
                <c:pt idx="34020">
                  <c:v>0.60674157303370702</c:v>
                </c:pt>
                <c:pt idx="34021">
                  <c:v>0.60675940788300298</c:v>
                </c:pt>
                <c:pt idx="34022">
                  <c:v>0.60677724273229805</c:v>
                </c:pt>
                <c:pt idx="34023">
                  <c:v>0.60679507758159401</c:v>
                </c:pt>
                <c:pt idx="34024">
                  <c:v>0.60681291243088997</c:v>
                </c:pt>
                <c:pt idx="34025">
                  <c:v>0.60683074728018505</c:v>
                </c:pt>
                <c:pt idx="34026">
                  <c:v>0.60684858212948101</c:v>
                </c:pt>
                <c:pt idx="34027">
                  <c:v>0.60686641697877597</c:v>
                </c:pt>
                <c:pt idx="34028">
                  <c:v>0.60688425182807204</c:v>
                </c:pt>
                <c:pt idx="34029">
                  <c:v>0.606902086677367</c:v>
                </c:pt>
                <c:pt idx="34030">
                  <c:v>0.60691992152666296</c:v>
                </c:pt>
                <c:pt idx="34031">
                  <c:v>0.60693775637595804</c:v>
                </c:pt>
                <c:pt idx="34032">
                  <c:v>0.606955591225254</c:v>
                </c:pt>
                <c:pt idx="34033">
                  <c:v>0.60697342607454896</c:v>
                </c:pt>
                <c:pt idx="34034">
                  <c:v>0.60699126092384503</c:v>
                </c:pt>
                <c:pt idx="34035">
                  <c:v>0.60700909577313999</c:v>
                </c:pt>
                <c:pt idx="34036">
                  <c:v>0.60702693062243596</c:v>
                </c:pt>
                <c:pt idx="34037">
                  <c:v>0.60704476547173103</c:v>
                </c:pt>
                <c:pt idx="34038">
                  <c:v>0.60706260032102699</c:v>
                </c:pt>
                <c:pt idx="34039">
                  <c:v>0.60708043517032195</c:v>
                </c:pt>
                <c:pt idx="34040">
                  <c:v>0.60709827001961802</c:v>
                </c:pt>
                <c:pt idx="34041">
                  <c:v>0.60711610486891299</c:v>
                </c:pt>
                <c:pt idx="34042">
                  <c:v>0.60713393971820895</c:v>
                </c:pt>
                <c:pt idx="34043">
                  <c:v>0.60715177456750402</c:v>
                </c:pt>
                <c:pt idx="34044">
                  <c:v>0.60716960941679998</c:v>
                </c:pt>
                <c:pt idx="34045">
                  <c:v>0.60718744426609494</c:v>
                </c:pt>
                <c:pt idx="34046">
                  <c:v>0.60720527911539102</c:v>
                </c:pt>
                <c:pt idx="34047">
                  <c:v>0.60722311396468698</c:v>
                </c:pt>
                <c:pt idx="34048">
                  <c:v>0.60724094881398205</c:v>
                </c:pt>
                <c:pt idx="34049">
                  <c:v>0.60725878366327801</c:v>
                </c:pt>
                <c:pt idx="34050">
                  <c:v>0.60727661851257297</c:v>
                </c:pt>
                <c:pt idx="34051">
                  <c:v>0.60729445336186905</c:v>
                </c:pt>
                <c:pt idx="34052">
                  <c:v>0.60731228821116401</c:v>
                </c:pt>
                <c:pt idx="34053">
                  <c:v>0.60733012306045997</c:v>
                </c:pt>
                <c:pt idx="34054">
                  <c:v>0.60734795790975504</c:v>
                </c:pt>
                <c:pt idx="34055">
                  <c:v>0.607365792759051</c:v>
                </c:pt>
                <c:pt idx="34056">
                  <c:v>0.60738362760834597</c:v>
                </c:pt>
                <c:pt idx="34057">
                  <c:v>0.60740146245764204</c:v>
                </c:pt>
                <c:pt idx="34058">
                  <c:v>0.607419297306937</c:v>
                </c:pt>
                <c:pt idx="34059">
                  <c:v>0.60743713215623296</c:v>
                </c:pt>
                <c:pt idx="34060">
                  <c:v>0.60745496700552803</c:v>
                </c:pt>
                <c:pt idx="34061">
                  <c:v>0.607472801854824</c:v>
                </c:pt>
                <c:pt idx="34062">
                  <c:v>0.60749063670411896</c:v>
                </c:pt>
                <c:pt idx="34063">
                  <c:v>0.60750847155341503</c:v>
                </c:pt>
                <c:pt idx="34064">
                  <c:v>0.60752630640270999</c:v>
                </c:pt>
                <c:pt idx="34065">
                  <c:v>0.60754414125200595</c:v>
                </c:pt>
                <c:pt idx="34066">
                  <c:v>0.60756197610130103</c:v>
                </c:pt>
                <c:pt idx="34067">
                  <c:v>0.60757981095059699</c:v>
                </c:pt>
                <c:pt idx="34068">
                  <c:v>0.60759764579989295</c:v>
                </c:pt>
                <c:pt idx="34069">
                  <c:v>0.60761548064918802</c:v>
                </c:pt>
                <c:pt idx="34070">
                  <c:v>0.60763331549848398</c:v>
                </c:pt>
                <c:pt idx="34071">
                  <c:v>0.60765115034777895</c:v>
                </c:pt>
                <c:pt idx="34072">
                  <c:v>0.60766898519707502</c:v>
                </c:pt>
                <c:pt idx="34073">
                  <c:v>0.60768682004636998</c:v>
                </c:pt>
                <c:pt idx="34074">
                  <c:v>0.60770465489566605</c:v>
                </c:pt>
                <c:pt idx="34075">
                  <c:v>0.60772248974496101</c:v>
                </c:pt>
                <c:pt idx="34076">
                  <c:v>0.60774032459425698</c:v>
                </c:pt>
                <c:pt idx="34077">
                  <c:v>0.60775815944355205</c:v>
                </c:pt>
                <c:pt idx="34078">
                  <c:v>0.60777599429284801</c:v>
                </c:pt>
                <c:pt idx="34079">
                  <c:v>0.60779382914214297</c:v>
                </c:pt>
                <c:pt idx="34080">
                  <c:v>0.60781166399143904</c:v>
                </c:pt>
                <c:pt idx="34081">
                  <c:v>0.60782949884073401</c:v>
                </c:pt>
                <c:pt idx="34082">
                  <c:v>0.60784733369002997</c:v>
                </c:pt>
                <c:pt idx="34083">
                  <c:v>0.60786516853932504</c:v>
                </c:pt>
                <c:pt idx="34084">
                  <c:v>0.607883003388621</c:v>
                </c:pt>
                <c:pt idx="34085">
                  <c:v>0.60790083823791596</c:v>
                </c:pt>
                <c:pt idx="34086">
                  <c:v>0.60791867308721204</c:v>
                </c:pt>
                <c:pt idx="34087">
                  <c:v>0.607936507936507</c:v>
                </c:pt>
                <c:pt idx="34088">
                  <c:v>0.60795434278580296</c:v>
                </c:pt>
                <c:pt idx="34089">
                  <c:v>0.60797217763509903</c:v>
                </c:pt>
                <c:pt idx="34090">
                  <c:v>0.60799001248439399</c:v>
                </c:pt>
                <c:pt idx="34091">
                  <c:v>0.60800784733368995</c:v>
                </c:pt>
                <c:pt idx="34092">
                  <c:v>0.60802568218298503</c:v>
                </c:pt>
                <c:pt idx="34093">
                  <c:v>0.60804351703228099</c:v>
                </c:pt>
                <c:pt idx="34094">
                  <c:v>0.60806135188157595</c:v>
                </c:pt>
                <c:pt idx="34095">
                  <c:v>0.60807918673087202</c:v>
                </c:pt>
                <c:pt idx="34096">
                  <c:v>0.60809702158016699</c:v>
                </c:pt>
                <c:pt idx="34097">
                  <c:v>0.60811485642946295</c:v>
                </c:pt>
                <c:pt idx="34098">
                  <c:v>0.60813269127875802</c:v>
                </c:pt>
                <c:pt idx="34099">
                  <c:v>0.60815052612805398</c:v>
                </c:pt>
                <c:pt idx="34100">
                  <c:v>0.60816836097734905</c:v>
                </c:pt>
                <c:pt idx="34101">
                  <c:v>0.60818619582664502</c:v>
                </c:pt>
                <c:pt idx="34102">
                  <c:v>0.60820403067593998</c:v>
                </c:pt>
                <c:pt idx="34103">
                  <c:v>0.60822186552523605</c:v>
                </c:pt>
                <c:pt idx="34104">
                  <c:v>0.60823970037453101</c:v>
                </c:pt>
                <c:pt idx="34105">
                  <c:v>0.60825753522382697</c:v>
                </c:pt>
                <c:pt idx="34106">
                  <c:v>0.60827537007312205</c:v>
                </c:pt>
                <c:pt idx="34107">
                  <c:v>0.60829320492241801</c:v>
                </c:pt>
                <c:pt idx="34108">
                  <c:v>0.60831103977171397</c:v>
                </c:pt>
                <c:pt idx="34109">
                  <c:v>0.60832887462100904</c:v>
                </c:pt>
                <c:pt idx="34110">
                  <c:v>0.608346709470305</c:v>
                </c:pt>
                <c:pt idx="34111">
                  <c:v>0.60836454431959996</c:v>
                </c:pt>
                <c:pt idx="34112">
                  <c:v>0.60838237916889604</c:v>
                </c:pt>
                <c:pt idx="34113">
                  <c:v>0.608400214018191</c:v>
                </c:pt>
                <c:pt idx="34114">
                  <c:v>0.60841804886748696</c:v>
                </c:pt>
                <c:pt idx="34115">
                  <c:v>0.60843588371678203</c:v>
                </c:pt>
                <c:pt idx="34116">
                  <c:v>0.60845371856607799</c:v>
                </c:pt>
                <c:pt idx="34117">
                  <c:v>0.60847155341537296</c:v>
                </c:pt>
                <c:pt idx="34118">
                  <c:v>0.60848938826466903</c:v>
                </c:pt>
                <c:pt idx="34119">
                  <c:v>0.60850722311396399</c:v>
                </c:pt>
                <c:pt idx="34120">
                  <c:v>0.60852505796325995</c:v>
                </c:pt>
                <c:pt idx="34121">
                  <c:v>0.60854289281255503</c:v>
                </c:pt>
                <c:pt idx="34122">
                  <c:v>0.60856072766185099</c:v>
                </c:pt>
                <c:pt idx="34123">
                  <c:v>0.60857856251114595</c:v>
                </c:pt>
                <c:pt idx="34124">
                  <c:v>0.60859639736044202</c:v>
                </c:pt>
                <c:pt idx="34125">
                  <c:v>0.60861423220973698</c:v>
                </c:pt>
                <c:pt idx="34126">
                  <c:v>0.60863206705903306</c:v>
                </c:pt>
                <c:pt idx="34127">
                  <c:v>0.60864990190832802</c:v>
                </c:pt>
                <c:pt idx="34128">
                  <c:v>0.60866773675762398</c:v>
                </c:pt>
                <c:pt idx="34129">
                  <c:v>0.60868557160691905</c:v>
                </c:pt>
                <c:pt idx="34130">
                  <c:v>0.60870340645621501</c:v>
                </c:pt>
                <c:pt idx="34131">
                  <c:v>0.60872124130551097</c:v>
                </c:pt>
                <c:pt idx="34132">
                  <c:v>0.60873907615480605</c:v>
                </c:pt>
                <c:pt idx="34133">
                  <c:v>0.60875691100410201</c:v>
                </c:pt>
                <c:pt idx="34134">
                  <c:v>0.60877474585339697</c:v>
                </c:pt>
                <c:pt idx="34135">
                  <c:v>0.60879258070269304</c:v>
                </c:pt>
                <c:pt idx="34136">
                  <c:v>0.608810415551988</c:v>
                </c:pt>
                <c:pt idx="34137">
                  <c:v>0.60882825040128397</c:v>
                </c:pt>
                <c:pt idx="34138">
                  <c:v>0.60884608525057904</c:v>
                </c:pt>
                <c:pt idx="34139">
                  <c:v>0.608863920099875</c:v>
                </c:pt>
                <c:pt idx="34140">
                  <c:v>0.60888175494916996</c:v>
                </c:pt>
                <c:pt idx="34141">
                  <c:v>0.60889958979846603</c:v>
                </c:pt>
                <c:pt idx="34142">
                  <c:v>0.608917424647761</c:v>
                </c:pt>
                <c:pt idx="34143">
                  <c:v>0.60893525949705696</c:v>
                </c:pt>
                <c:pt idx="34144">
                  <c:v>0.60895309434635203</c:v>
                </c:pt>
                <c:pt idx="34145">
                  <c:v>0.60897092919564799</c:v>
                </c:pt>
                <c:pt idx="34146">
                  <c:v>0.60898876404494295</c:v>
                </c:pt>
                <c:pt idx="34147">
                  <c:v>0.60900659889423903</c:v>
                </c:pt>
                <c:pt idx="34148">
                  <c:v>0.60902443374353399</c:v>
                </c:pt>
                <c:pt idx="34149">
                  <c:v>0.60904226859282995</c:v>
                </c:pt>
                <c:pt idx="34150">
                  <c:v>0.60906010344212502</c:v>
                </c:pt>
                <c:pt idx="34151">
                  <c:v>0.60907793829142098</c:v>
                </c:pt>
                <c:pt idx="34152">
                  <c:v>0.60909577314071695</c:v>
                </c:pt>
                <c:pt idx="34153">
                  <c:v>0.60911360799001202</c:v>
                </c:pt>
                <c:pt idx="34154">
                  <c:v>0.60913144283930798</c:v>
                </c:pt>
                <c:pt idx="34155">
                  <c:v>0.60914927768860305</c:v>
                </c:pt>
                <c:pt idx="34156">
                  <c:v>0.60916711253789901</c:v>
                </c:pt>
                <c:pt idx="34157">
                  <c:v>0.60918494738719398</c:v>
                </c:pt>
                <c:pt idx="34158">
                  <c:v>0.60920278223649005</c:v>
                </c:pt>
                <c:pt idx="34159">
                  <c:v>0.60922061708578501</c:v>
                </c:pt>
                <c:pt idx="34160">
                  <c:v>0.60923845193508097</c:v>
                </c:pt>
                <c:pt idx="34161">
                  <c:v>0.60925628678437604</c:v>
                </c:pt>
                <c:pt idx="34162">
                  <c:v>0.60927412163367201</c:v>
                </c:pt>
                <c:pt idx="34163">
                  <c:v>0.60929195648296697</c:v>
                </c:pt>
                <c:pt idx="34164">
                  <c:v>0.60930979133226304</c:v>
                </c:pt>
                <c:pt idx="34165">
                  <c:v>0.609327626181558</c:v>
                </c:pt>
                <c:pt idx="34166">
                  <c:v>0.60934546103085396</c:v>
                </c:pt>
                <c:pt idx="34167">
                  <c:v>0.60936329588014904</c:v>
                </c:pt>
                <c:pt idx="34168">
                  <c:v>0.609381130729445</c:v>
                </c:pt>
                <c:pt idx="34169">
                  <c:v>0.60939896557873996</c:v>
                </c:pt>
                <c:pt idx="34170">
                  <c:v>0.60941680042803603</c:v>
                </c:pt>
                <c:pt idx="34171">
                  <c:v>0.60943463527733099</c:v>
                </c:pt>
                <c:pt idx="34172">
                  <c:v>0.60945247012662696</c:v>
                </c:pt>
                <c:pt idx="34173">
                  <c:v>0.60947030497592203</c:v>
                </c:pt>
                <c:pt idx="34174">
                  <c:v>0.60948813982521799</c:v>
                </c:pt>
                <c:pt idx="34175">
                  <c:v>0.60950597467451395</c:v>
                </c:pt>
                <c:pt idx="34176">
                  <c:v>0.60952380952380902</c:v>
                </c:pt>
                <c:pt idx="34177">
                  <c:v>0.60954164437310498</c:v>
                </c:pt>
                <c:pt idx="34178">
                  <c:v>0.60955947922239995</c:v>
                </c:pt>
                <c:pt idx="34179">
                  <c:v>0.60957731407169602</c:v>
                </c:pt>
                <c:pt idx="34180">
                  <c:v>0.60959514892099098</c:v>
                </c:pt>
                <c:pt idx="34181">
                  <c:v>0.60961298377028705</c:v>
                </c:pt>
                <c:pt idx="34182">
                  <c:v>0.60963081861958202</c:v>
                </c:pt>
                <c:pt idx="34183">
                  <c:v>0.60964865346887798</c:v>
                </c:pt>
                <c:pt idx="34184">
                  <c:v>0.60966648831817305</c:v>
                </c:pt>
                <c:pt idx="34185">
                  <c:v>0.60968432316746901</c:v>
                </c:pt>
                <c:pt idx="34186">
                  <c:v>0.60970215801676397</c:v>
                </c:pt>
                <c:pt idx="34187">
                  <c:v>0.60971999286606005</c:v>
                </c:pt>
                <c:pt idx="34188">
                  <c:v>0.60973782771535501</c:v>
                </c:pt>
                <c:pt idx="34189">
                  <c:v>0.60975566256465097</c:v>
                </c:pt>
                <c:pt idx="34190">
                  <c:v>0.60977349741394604</c:v>
                </c:pt>
                <c:pt idx="34191">
                  <c:v>0.609791332263242</c:v>
                </c:pt>
                <c:pt idx="34192">
                  <c:v>0.60980916711253697</c:v>
                </c:pt>
                <c:pt idx="34193">
                  <c:v>0.60982700196183304</c:v>
                </c:pt>
                <c:pt idx="34194">
                  <c:v>0.609844836811129</c:v>
                </c:pt>
                <c:pt idx="34195">
                  <c:v>0.60986267166042396</c:v>
                </c:pt>
                <c:pt idx="34196">
                  <c:v>0.60988050650972003</c:v>
                </c:pt>
                <c:pt idx="34197">
                  <c:v>0.60989834135901499</c:v>
                </c:pt>
                <c:pt idx="34198">
                  <c:v>0.60991617620831096</c:v>
                </c:pt>
                <c:pt idx="34199">
                  <c:v>0.60993401105760603</c:v>
                </c:pt>
                <c:pt idx="34200">
                  <c:v>0.60995184590690199</c:v>
                </c:pt>
                <c:pt idx="34201">
                  <c:v>0.60996968075619695</c:v>
                </c:pt>
                <c:pt idx="34202">
                  <c:v>0.60998751560549302</c:v>
                </c:pt>
                <c:pt idx="34203">
                  <c:v>0.61000535045478799</c:v>
                </c:pt>
                <c:pt idx="34204">
                  <c:v>0.61002318530408395</c:v>
                </c:pt>
                <c:pt idx="34205">
                  <c:v>0.61004102015337902</c:v>
                </c:pt>
                <c:pt idx="34206">
                  <c:v>0.61005885500267498</c:v>
                </c:pt>
                <c:pt idx="34207">
                  <c:v>0.61007668985197006</c:v>
                </c:pt>
                <c:pt idx="34208">
                  <c:v>0.61009452470126602</c:v>
                </c:pt>
                <c:pt idx="34209">
                  <c:v>0.61011235955056098</c:v>
                </c:pt>
                <c:pt idx="34210">
                  <c:v>0.61013019439985705</c:v>
                </c:pt>
                <c:pt idx="34211">
                  <c:v>0.61014802924915201</c:v>
                </c:pt>
                <c:pt idx="34212">
                  <c:v>0.61016586409844797</c:v>
                </c:pt>
                <c:pt idx="34213">
                  <c:v>0.61018369894774305</c:v>
                </c:pt>
                <c:pt idx="34214">
                  <c:v>0.61020153379703901</c:v>
                </c:pt>
                <c:pt idx="34215">
                  <c:v>0.61021936864633497</c:v>
                </c:pt>
                <c:pt idx="34216">
                  <c:v>0.61023720349563004</c:v>
                </c:pt>
                <c:pt idx="34217">
                  <c:v>0.610255038344926</c:v>
                </c:pt>
                <c:pt idx="34218">
                  <c:v>0.61027287319422097</c:v>
                </c:pt>
                <c:pt idx="34219">
                  <c:v>0.61029070804351704</c:v>
                </c:pt>
                <c:pt idx="34220">
                  <c:v>0.610308542892812</c:v>
                </c:pt>
                <c:pt idx="34221">
                  <c:v>0.61032637774210796</c:v>
                </c:pt>
                <c:pt idx="34222">
                  <c:v>0.61034421259140303</c:v>
                </c:pt>
                <c:pt idx="34223">
                  <c:v>0.610362047440699</c:v>
                </c:pt>
                <c:pt idx="34224">
                  <c:v>0.61037988228999396</c:v>
                </c:pt>
                <c:pt idx="34225">
                  <c:v>0.61039771713929003</c:v>
                </c:pt>
                <c:pt idx="34226">
                  <c:v>0.61041555198858499</c:v>
                </c:pt>
                <c:pt idx="34227">
                  <c:v>0.61043338683788095</c:v>
                </c:pt>
                <c:pt idx="34228">
                  <c:v>0.61045122168717603</c:v>
                </c:pt>
                <c:pt idx="34229">
                  <c:v>0.61046905653647199</c:v>
                </c:pt>
                <c:pt idx="34230">
                  <c:v>0.61048689138576695</c:v>
                </c:pt>
                <c:pt idx="34231">
                  <c:v>0.61050472623506302</c:v>
                </c:pt>
                <c:pt idx="34232">
                  <c:v>0.61052256108435798</c:v>
                </c:pt>
                <c:pt idx="34233">
                  <c:v>0.61054039593365395</c:v>
                </c:pt>
                <c:pt idx="34234">
                  <c:v>0.61055823078294902</c:v>
                </c:pt>
                <c:pt idx="34235">
                  <c:v>0.61057606563224498</c:v>
                </c:pt>
                <c:pt idx="34236">
                  <c:v>0.61059390048154005</c:v>
                </c:pt>
                <c:pt idx="34237">
                  <c:v>0.61061173533083601</c:v>
                </c:pt>
                <c:pt idx="34238">
                  <c:v>0.61062957018013198</c:v>
                </c:pt>
                <c:pt idx="34239">
                  <c:v>0.61064740502942705</c:v>
                </c:pt>
                <c:pt idx="34240">
                  <c:v>0.61066523987872301</c:v>
                </c:pt>
                <c:pt idx="34241">
                  <c:v>0.61068307472801797</c:v>
                </c:pt>
                <c:pt idx="34242">
                  <c:v>0.61070090957731404</c:v>
                </c:pt>
                <c:pt idx="34243">
                  <c:v>0.61071874442660901</c:v>
                </c:pt>
                <c:pt idx="34244">
                  <c:v>0.61073657927590497</c:v>
                </c:pt>
                <c:pt idx="34245">
                  <c:v>0.61075441412520004</c:v>
                </c:pt>
                <c:pt idx="34246">
                  <c:v>0.610772248974496</c:v>
                </c:pt>
                <c:pt idx="34247">
                  <c:v>0.61079008382379096</c:v>
                </c:pt>
                <c:pt idx="34248">
                  <c:v>0.61080791867308704</c:v>
                </c:pt>
                <c:pt idx="34249">
                  <c:v>0.610825753522382</c:v>
                </c:pt>
                <c:pt idx="34250">
                  <c:v>0.61084358837167796</c:v>
                </c:pt>
                <c:pt idx="34251">
                  <c:v>0.61086142322097303</c:v>
                </c:pt>
                <c:pt idx="34252">
                  <c:v>0.61087925807026899</c:v>
                </c:pt>
                <c:pt idx="34253">
                  <c:v>0.61089709291956396</c:v>
                </c:pt>
                <c:pt idx="34254">
                  <c:v>0.61091492776886003</c:v>
                </c:pt>
                <c:pt idx="34255">
                  <c:v>0.61093276261815499</c:v>
                </c:pt>
                <c:pt idx="34256">
                  <c:v>0.61095059746745095</c:v>
                </c:pt>
                <c:pt idx="34257">
                  <c:v>0.61096843231674602</c:v>
                </c:pt>
                <c:pt idx="34258">
                  <c:v>0.61098626716604199</c:v>
                </c:pt>
                <c:pt idx="34259">
                  <c:v>0.61100410201533795</c:v>
                </c:pt>
                <c:pt idx="34260">
                  <c:v>0.61102193686463302</c:v>
                </c:pt>
                <c:pt idx="34261">
                  <c:v>0.61103977171392898</c:v>
                </c:pt>
                <c:pt idx="34262">
                  <c:v>0.61105760656322405</c:v>
                </c:pt>
                <c:pt idx="34263">
                  <c:v>0.61107544141252002</c:v>
                </c:pt>
                <c:pt idx="34264">
                  <c:v>0.61109327626181498</c:v>
                </c:pt>
                <c:pt idx="34265">
                  <c:v>0.61111111111111105</c:v>
                </c:pt>
                <c:pt idx="34266">
                  <c:v>0.61112894596040601</c:v>
                </c:pt>
                <c:pt idx="34267">
                  <c:v>0.61114678080970197</c:v>
                </c:pt>
                <c:pt idx="34268">
                  <c:v>0.61116461565899705</c:v>
                </c:pt>
                <c:pt idx="34269">
                  <c:v>0.61118245050829301</c:v>
                </c:pt>
                <c:pt idx="34270">
                  <c:v>0.61120028535758797</c:v>
                </c:pt>
                <c:pt idx="34271">
                  <c:v>0.61121812020688404</c:v>
                </c:pt>
                <c:pt idx="34272">
                  <c:v>0.611235955056179</c:v>
                </c:pt>
                <c:pt idx="34273">
                  <c:v>0.61125378990547496</c:v>
                </c:pt>
                <c:pt idx="34274">
                  <c:v>0.61127162475477004</c:v>
                </c:pt>
                <c:pt idx="34275">
                  <c:v>0.611289459604066</c:v>
                </c:pt>
                <c:pt idx="34276">
                  <c:v>0.61130729445336096</c:v>
                </c:pt>
                <c:pt idx="34277">
                  <c:v>0.61132512930265703</c:v>
                </c:pt>
                <c:pt idx="34278">
                  <c:v>0.611342964151952</c:v>
                </c:pt>
                <c:pt idx="34279">
                  <c:v>0.61136079900124796</c:v>
                </c:pt>
                <c:pt idx="34280">
                  <c:v>0.61137863385054303</c:v>
                </c:pt>
                <c:pt idx="34281">
                  <c:v>0.61139646869983899</c:v>
                </c:pt>
                <c:pt idx="34282">
                  <c:v>0.61141430354913495</c:v>
                </c:pt>
                <c:pt idx="34283">
                  <c:v>0.61143213839843003</c:v>
                </c:pt>
                <c:pt idx="34284">
                  <c:v>0.61144997324772599</c:v>
                </c:pt>
                <c:pt idx="34285">
                  <c:v>0.61146780809702095</c:v>
                </c:pt>
                <c:pt idx="34286">
                  <c:v>0.61148564294631702</c:v>
                </c:pt>
                <c:pt idx="34287">
                  <c:v>0.61150347779561198</c:v>
                </c:pt>
                <c:pt idx="34288">
                  <c:v>0.61152131264490805</c:v>
                </c:pt>
                <c:pt idx="34289">
                  <c:v>0.61153914749420302</c:v>
                </c:pt>
                <c:pt idx="34290">
                  <c:v>0.61155698234349898</c:v>
                </c:pt>
                <c:pt idx="34291">
                  <c:v>0.61157481719279405</c:v>
                </c:pt>
                <c:pt idx="34292">
                  <c:v>0.61159265204209001</c:v>
                </c:pt>
                <c:pt idx="34293">
                  <c:v>0.61161048689138497</c:v>
                </c:pt>
                <c:pt idx="34294">
                  <c:v>0.61162832174068105</c:v>
                </c:pt>
                <c:pt idx="34295">
                  <c:v>0.61164615658997601</c:v>
                </c:pt>
                <c:pt idx="34296">
                  <c:v>0.61166399143927197</c:v>
                </c:pt>
                <c:pt idx="34297">
                  <c:v>0.61168182628856704</c:v>
                </c:pt>
                <c:pt idx="34298">
                  <c:v>0.611699661137863</c:v>
                </c:pt>
                <c:pt idx="34299">
                  <c:v>0.61171749598715797</c:v>
                </c:pt>
                <c:pt idx="34300">
                  <c:v>0.61173533083645404</c:v>
                </c:pt>
                <c:pt idx="34301">
                  <c:v>0.61175316568575</c:v>
                </c:pt>
                <c:pt idx="34302">
                  <c:v>0.61177100053504496</c:v>
                </c:pt>
                <c:pt idx="34303">
                  <c:v>0.61178883538434103</c:v>
                </c:pt>
                <c:pt idx="34304">
                  <c:v>0.611806670233636</c:v>
                </c:pt>
                <c:pt idx="34305">
                  <c:v>0.61182450508293196</c:v>
                </c:pt>
                <c:pt idx="34306">
                  <c:v>0.61184233993222703</c:v>
                </c:pt>
                <c:pt idx="34307">
                  <c:v>0.61186017478152299</c:v>
                </c:pt>
                <c:pt idx="34308">
                  <c:v>0.61187800963081795</c:v>
                </c:pt>
                <c:pt idx="34309">
                  <c:v>0.61189584448011403</c:v>
                </c:pt>
                <c:pt idx="34310">
                  <c:v>0.61191367932940899</c:v>
                </c:pt>
                <c:pt idx="34311">
                  <c:v>0.61193151417870495</c:v>
                </c:pt>
                <c:pt idx="34312">
                  <c:v>0.61194934902800002</c:v>
                </c:pt>
                <c:pt idx="34313">
                  <c:v>0.61196718387729598</c:v>
                </c:pt>
                <c:pt idx="34314">
                  <c:v>0.61198501872659095</c:v>
                </c:pt>
                <c:pt idx="34315">
                  <c:v>0.61200285357588702</c:v>
                </c:pt>
                <c:pt idx="34316">
                  <c:v>0.61202068842518198</c:v>
                </c:pt>
                <c:pt idx="34317">
                  <c:v>0.61203852327447805</c:v>
                </c:pt>
                <c:pt idx="34318">
                  <c:v>0.61205635812377301</c:v>
                </c:pt>
                <c:pt idx="34319">
                  <c:v>0.61207419297306898</c:v>
                </c:pt>
                <c:pt idx="34320">
                  <c:v>0.61209202782236405</c:v>
                </c:pt>
                <c:pt idx="34321">
                  <c:v>0.61210986267166001</c:v>
                </c:pt>
                <c:pt idx="34322">
                  <c:v>0.61212769752095597</c:v>
                </c:pt>
                <c:pt idx="34323">
                  <c:v>0.61214553237025104</c:v>
                </c:pt>
                <c:pt idx="34324">
                  <c:v>0.61216336721954701</c:v>
                </c:pt>
                <c:pt idx="34325">
                  <c:v>0.61218120206884197</c:v>
                </c:pt>
                <c:pt idx="34326">
                  <c:v>0.61219903691813804</c:v>
                </c:pt>
                <c:pt idx="34327">
                  <c:v>0.612216871767433</c:v>
                </c:pt>
                <c:pt idx="34328">
                  <c:v>0.61223470661672896</c:v>
                </c:pt>
                <c:pt idx="34329">
                  <c:v>0.61225254146602404</c:v>
                </c:pt>
                <c:pt idx="34330">
                  <c:v>0.61227037631532</c:v>
                </c:pt>
                <c:pt idx="34331">
                  <c:v>0.61228821116461496</c:v>
                </c:pt>
                <c:pt idx="34332">
                  <c:v>0.61230604601391103</c:v>
                </c:pt>
                <c:pt idx="34333">
                  <c:v>0.61232388086320599</c:v>
                </c:pt>
                <c:pt idx="34334">
                  <c:v>0.61234171571250195</c:v>
                </c:pt>
                <c:pt idx="34335">
                  <c:v>0.61235955056179703</c:v>
                </c:pt>
                <c:pt idx="34336">
                  <c:v>0.61237738541109299</c:v>
                </c:pt>
                <c:pt idx="34337">
                  <c:v>0.61239522026038795</c:v>
                </c:pt>
                <c:pt idx="34338">
                  <c:v>0.61241305510968402</c:v>
                </c:pt>
                <c:pt idx="34339">
                  <c:v>0.61243088995897899</c:v>
                </c:pt>
                <c:pt idx="34340">
                  <c:v>0.61244872480827495</c:v>
                </c:pt>
                <c:pt idx="34341">
                  <c:v>0.61246655965757002</c:v>
                </c:pt>
                <c:pt idx="34342">
                  <c:v>0.61248439450686598</c:v>
                </c:pt>
                <c:pt idx="34343">
                  <c:v>0.61250222935616105</c:v>
                </c:pt>
                <c:pt idx="34344">
                  <c:v>0.61252006420545702</c:v>
                </c:pt>
                <c:pt idx="34345">
                  <c:v>0.61253789905475298</c:v>
                </c:pt>
                <c:pt idx="34346">
                  <c:v>0.61255573390404805</c:v>
                </c:pt>
                <c:pt idx="34347">
                  <c:v>0.61257356875334401</c:v>
                </c:pt>
                <c:pt idx="34348">
                  <c:v>0.61259140360263897</c:v>
                </c:pt>
                <c:pt idx="34349">
                  <c:v>0.61260923845193505</c:v>
                </c:pt>
                <c:pt idx="34350">
                  <c:v>0.61262707330123001</c:v>
                </c:pt>
                <c:pt idx="34351">
                  <c:v>0.61264490815052597</c:v>
                </c:pt>
                <c:pt idx="34352">
                  <c:v>0.61266274299982104</c:v>
                </c:pt>
                <c:pt idx="34353">
                  <c:v>0.612680577849117</c:v>
                </c:pt>
                <c:pt idx="34354">
                  <c:v>0.61269841269841196</c:v>
                </c:pt>
                <c:pt idx="34355">
                  <c:v>0.61271624754770804</c:v>
                </c:pt>
                <c:pt idx="34356">
                  <c:v>0.612734082397003</c:v>
                </c:pt>
                <c:pt idx="34357">
                  <c:v>0.61275191724629896</c:v>
                </c:pt>
                <c:pt idx="34358">
                  <c:v>0.61276975209559403</c:v>
                </c:pt>
                <c:pt idx="34359">
                  <c:v>0.61278758694488999</c:v>
                </c:pt>
                <c:pt idx="34360">
                  <c:v>0.61280542179418496</c:v>
                </c:pt>
                <c:pt idx="34361">
                  <c:v>0.61282325664348103</c:v>
                </c:pt>
                <c:pt idx="34362">
                  <c:v>0.61284109149277599</c:v>
                </c:pt>
                <c:pt idx="34363">
                  <c:v>0.61285892634207195</c:v>
                </c:pt>
                <c:pt idx="34364">
                  <c:v>0.61287676119136703</c:v>
                </c:pt>
                <c:pt idx="34365">
                  <c:v>0.61289459604066299</c:v>
                </c:pt>
                <c:pt idx="34366">
                  <c:v>0.61291243088995895</c:v>
                </c:pt>
                <c:pt idx="34367">
                  <c:v>0.61293026573925402</c:v>
                </c:pt>
                <c:pt idx="34368">
                  <c:v>0.61294810058854998</c:v>
                </c:pt>
                <c:pt idx="34369">
                  <c:v>0.61296593543784506</c:v>
                </c:pt>
                <c:pt idx="34370">
                  <c:v>0.61298377028714102</c:v>
                </c:pt>
                <c:pt idx="34371">
                  <c:v>0.61300160513643598</c:v>
                </c:pt>
                <c:pt idx="34372">
                  <c:v>0.61301943998573205</c:v>
                </c:pt>
                <c:pt idx="34373">
                  <c:v>0.61303727483502701</c:v>
                </c:pt>
                <c:pt idx="34374">
                  <c:v>0.61305510968432297</c:v>
                </c:pt>
                <c:pt idx="34375">
                  <c:v>0.61307294453361805</c:v>
                </c:pt>
                <c:pt idx="34376">
                  <c:v>0.61309077938291401</c:v>
                </c:pt>
                <c:pt idx="34377">
                  <c:v>0.61310861423220897</c:v>
                </c:pt>
                <c:pt idx="34378">
                  <c:v>0.61312644908150504</c:v>
                </c:pt>
                <c:pt idx="34379">
                  <c:v>0.6131442839308</c:v>
                </c:pt>
                <c:pt idx="34380">
                  <c:v>0.61316211878009597</c:v>
                </c:pt>
                <c:pt idx="34381">
                  <c:v>0.61317995362939104</c:v>
                </c:pt>
                <c:pt idx="34382">
                  <c:v>0.613197788478687</c:v>
                </c:pt>
                <c:pt idx="34383">
                  <c:v>0.61321562332798196</c:v>
                </c:pt>
                <c:pt idx="34384">
                  <c:v>0.61323345817727803</c:v>
                </c:pt>
                <c:pt idx="34385">
                  <c:v>0.613251293026573</c:v>
                </c:pt>
                <c:pt idx="34386">
                  <c:v>0.61326912787586896</c:v>
                </c:pt>
                <c:pt idx="34387">
                  <c:v>0.61328696272516403</c:v>
                </c:pt>
                <c:pt idx="34388">
                  <c:v>0.61330479757445999</c:v>
                </c:pt>
                <c:pt idx="34389">
                  <c:v>0.61332263242375595</c:v>
                </c:pt>
                <c:pt idx="34390">
                  <c:v>0.61334046727305103</c:v>
                </c:pt>
                <c:pt idx="34391">
                  <c:v>0.61335830212234699</c:v>
                </c:pt>
                <c:pt idx="34392">
                  <c:v>0.61337613697164195</c:v>
                </c:pt>
                <c:pt idx="34393">
                  <c:v>0.61339397182093802</c:v>
                </c:pt>
                <c:pt idx="34394">
                  <c:v>0.61341180667023298</c:v>
                </c:pt>
                <c:pt idx="34395">
                  <c:v>0.61342964151952895</c:v>
                </c:pt>
                <c:pt idx="34396">
                  <c:v>0.61344747636882402</c:v>
                </c:pt>
                <c:pt idx="34397">
                  <c:v>0.61346531121811998</c:v>
                </c:pt>
                <c:pt idx="34398">
                  <c:v>0.61348314606741505</c:v>
                </c:pt>
                <c:pt idx="34399">
                  <c:v>0.61350098091671101</c:v>
                </c:pt>
                <c:pt idx="34400">
                  <c:v>0.61351881576600598</c:v>
                </c:pt>
                <c:pt idx="34401">
                  <c:v>0.61353665061530205</c:v>
                </c:pt>
                <c:pt idx="34402">
                  <c:v>0.61355448546459701</c:v>
                </c:pt>
                <c:pt idx="34403">
                  <c:v>0.61357232031389297</c:v>
                </c:pt>
                <c:pt idx="34404">
                  <c:v>0.61359015516318804</c:v>
                </c:pt>
                <c:pt idx="34405">
                  <c:v>0.61360799001248401</c:v>
                </c:pt>
                <c:pt idx="34406">
                  <c:v>0.61362582486177997</c:v>
                </c:pt>
                <c:pt idx="34407">
                  <c:v>0.61364365971107504</c:v>
                </c:pt>
                <c:pt idx="34408">
                  <c:v>0.613661494560371</c:v>
                </c:pt>
                <c:pt idx="34409">
                  <c:v>0.61367932940966596</c:v>
                </c:pt>
                <c:pt idx="34410">
                  <c:v>0.61369716425896204</c:v>
                </c:pt>
                <c:pt idx="34411">
                  <c:v>0.613714999108257</c:v>
                </c:pt>
                <c:pt idx="34412">
                  <c:v>0.61373283395755296</c:v>
                </c:pt>
                <c:pt idx="34413">
                  <c:v>0.61375066880684803</c:v>
                </c:pt>
                <c:pt idx="34414">
                  <c:v>0.61376850365614399</c:v>
                </c:pt>
                <c:pt idx="34415">
                  <c:v>0.61378633850543896</c:v>
                </c:pt>
                <c:pt idx="34416">
                  <c:v>0.61380417335473503</c:v>
                </c:pt>
                <c:pt idx="34417">
                  <c:v>0.61382200820402999</c:v>
                </c:pt>
                <c:pt idx="34418">
                  <c:v>0.61383984305332595</c:v>
                </c:pt>
                <c:pt idx="34419">
                  <c:v>0.61385767790262102</c:v>
                </c:pt>
                <c:pt idx="34420">
                  <c:v>0.61387551275191699</c:v>
                </c:pt>
                <c:pt idx="34421">
                  <c:v>0.61389334760121195</c:v>
                </c:pt>
                <c:pt idx="34422">
                  <c:v>0.61391118245050802</c:v>
                </c:pt>
                <c:pt idx="34423">
                  <c:v>0.61392901729980298</c:v>
                </c:pt>
                <c:pt idx="34424">
                  <c:v>0.61394685214909905</c:v>
                </c:pt>
                <c:pt idx="34425">
                  <c:v>0.61396468699839402</c:v>
                </c:pt>
                <c:pt idx="34426">
                  <c:v>0.61398252184768998</c:v>
                </c:pt>
                <c:pt idx="34427">
                  <c:v>0.61400035669698505</c:v>
                </c:pt>
                <c:pt idx="34428">
                  <c:v>0.61401819154628101</c:v>
                </c:pt>
                <c:pt idx="34429">
                  <c:v>0.61403602639557697</c:v>
                </c:pt>
                <c:pt idx="34430">
                  <c:v>0.61405386124487205</c:v>
                </c:pt>
                <c:pt idx="34431">
                  <c:v>0.61407169609416801</c:v>
                </c:pt>
                <c:pt idx="34432">
                  <c:v>0.61408953094346297</c:v>
                </c:pt>
                <c:pt idx="34433">
                  <c:v>0.61410736579275904</c:v>
                </c:pt>
                <c:pt idx="34434">
                  <c:v>0.614125200642054</c:v>
                </c:pt>
                <c:pt idx="34435">
                  <c:v>0.61414303549134996</c:v>
                </c:pt>
                <c:pt idx="34436">
                  <c:v>0.61416087034064504</c:v>
                </c:pt>
                <c:pt idx="34437">
                  <c:v>0.614178705189941</c:v>
                </c:pt>
                <c:pt idx="34438">
                  <c:v>0.61419654003923596</c:v>
                </c:pt>
                <c:pt idx="34439">
                  <c:v>0.61421437488853203</c:v>
                </c:pt>
                <c:pt idx="34440">
                  <c:v>0.614232209737827</c:v>
                </c:pt>
                <c:pt idx="34441">
                  <c:v>0.61425004458712296</c:v>
                </c:pt>
                <c:pt idx="34442">
                  <c:v>0.61426787943641803</c:v>
                </c:pt>
                <c:pt idx="34443">
                  <c:v>0.61428571428571399</c:v>
                </c:pt>
                <c:pt idx="34444">
                  <c:v>0.61430354913500895</c:v>
                </c:pt>
                <c:pt idx="34445">
                  <c:v>0.61432138398430503</c:v>
                </c:pt>
                <c:pt idx="34446">
                  <c:v>0.61433921883359999</c:v>
                </c:pt>
                <c:pt idx="34447">
                  <c:v>0.61435705368289595</c:v>
                </c:pt>
                <c:pt idx="34448">
                  <c:v>0.61437488853219102</c:v>
                </c:pt>
                <c:pt idx="34449">
                  <c:v>0.61439272338148698</c:v>
                </c:pt>
                <c:pt idx="34450">
                  <c:v>0.61441055823078194</c:v>
                </c:pt>
                <c:pt idx="34451">
                  <c:v>0.61442839308007802</c:v>
                </c:pt>
                <c:pt idx="34452">
                  <c:v>0.61444622792937398</c:v>
                </c:pt>
                <c:pt idx="34453">
                  <c:v>0.61446406277866905</c:v>
                </c:pt>
                <c:pt idx="34454">
                  <c:v>0.61448189762796501</c:v>
                </c:pt>
                <c:pt idx="34455">
                  <c:v>0.61449973247725997</c:v>
                </c:pt>
                <c:pt idx="34456">
                  <c:v>0.61451756732655605</c:v>
                </c:pt>
                <c:pt idx="34457">
                  <c:v>0.61453540217585101</c:v>
                </c:pt>
                <c:pt idx="34458">
                  <c:v>0.61455323702514697</c:v>
                </c:pt>
                <c:pt idx="34459">
                  <c:v>0.61457107187444204</c:v>
                </c:pt>
                <c:pt idx="34460">
                  <c:v>0.614588906723738</c:v>
                </c:pt>
                <c:pt idx="34461">
                  <c:v>0.61460674157303297</c:v>
                </c:pt>
                <c:pt idx="34462">
                  <c:v>0.61462457642232904</c:v>
                </c:pt>
                <c:pt idx="34463">
                  <c:v>0.614642411271624</c:v>
                </c:pt>
                <c:pt idx="34464">
                  <c:v>0.61466024612091996</c:v>
                </c:pt>
                <c:pt idx="34465">
                  <c:v>0.61467808097021503</c:v>
                </c:pt>
                <c:pt idx="34466">
                  <c:v>0.614695915819511</c:v>
                </c:pt>
                <c:pt idx="34467">
                  <c:v>0.61471375066880596</c:v>
                </c:pt>
                <c:pt idx="34468">
                  <c:v>0.61473158551810203</c:v>
                </c:pt>
                <c:pt idx="34469">
                  <c:v>0.61474942036739699</c:v>
                </c:pt>
                <c:pt idx="34470">
                  <c:v>0.61476725521669295</c:v>
                </c:pt>
                <c:pt idx="34471">
                  <c:v>0.61478509006598803</c:v>
                </c:pt>
                <c:pt idx="34472">
                  <c:v>0.61480292491528399</c:v>
                </c:pt>
                <c:pt idx="34473">
                  <c:v>0.61482075976457995</c:v>
                </c:pt>
                <c:pt idx="34474">
                  <c:v>0.61483859461387502</c:v>
                </c:pt>
                <c:pt idx="34475">
                  <c:v>0.61485642946317098</c:v>
                </c:pt>
                <c:pt idx="34476">
                  <c:v>0.61487426431246595</c:v>
                </c:pt>
                <c:pt idx="34477">
                  <c:v>0.61489209916176202</c:v>
                </c:pt>
                <c:pt idx="34478">
                  <c:v>0.61490993401105698</c:v>
                </c:pt>
                <c:pt idx="34479">
                  <c:v>0.61492776886035305</c:v>
                </c:pt>
                <c:pt idx="34480">
                  <c:v>0.61494560370964801</c:v>
                </c:pt>
                <c:pt idx="34481">
                  <c:v>0.61496343855894398</c:v>
                </c:pt>
                <c:pt idx="34482">
                  <c:v>0.61498127340823905</c:v>
                </c:pt>
                <c:pt idx="34483">
                  <c:v>0.61499910825753501</c:v>
                </c:pt>
                <c:pt idx="34484">
                  <c:v>0.61501694310682997</c:v>
                </c:pt>
                <c:pt idx="34485">
                  <c:v>0.61503477795612604</c:v>
                </c:pt>
                <c:pt idx="34486">
                  <c:v>0.61505261280542101</c:v>
                </c:pt>
                <c:pt idx="34487">
                  <c:v>0.61507044765471697</c:v>
                </c:pt>
                <c:pt idx="34488">
                  <c:v>0.61508828250401204</c:v>
                </c:pt>
                <c:pt idx="34489">
                  <c:v>0.615106117353308</c:v>
                </c:pt>
                <c:pt idx="34490">
                  <c:v>0.61512395220260296</c:v>
                </c:pt>
                <c:pt idx="34491">
                  <c:v>0.61514178705189904</c:v>
                </c:pt>
                <c:pt idx="34492">
                  <c:v>0.615159621901194</c:v>
                </c:pt>
                <c:pt idx="34493">
                  <c:v>0.61517745675048996</c:v>
                </c:pt>
                <c:pt idx="34494">
                  <c:v>0.61519529159978603</c:v>
                </c:pt>
                <c:pt idx="34495">
                  <c:v>0.61521312644908099</c:v>
                </c:pt>
                <c:pt idx="34496">
                  <c:v>0.61523096129837695</c:v>
                </c:pt>
                <c:pt idx="34497">
                  <c:v>0.61524879614767203</c:v>
                </c:pt>
                <c:pt idx="34498">
                  <c:v>0.61526663099696799</c:v>
                </c:pt>
                <c:pt idx="34499">
                  <c:v>0.61528446584626295</c:v>
                </c:pt>
                <c:pt idx="34500">
                  <c:v>0.61530230069555902</c:v>
                </c:pt>
                <c:pt idx="34501">
                  <c:v>0.61532013554485399</c:v>
                </c:pt>
                <c:pt idx="34502">
                  <c:v>0.61533797039414995</c:v>
                </c:pt>
                <c:pt idx="34503">
                  <c:v>0.61535580524344502</c:v>
                </c:pt>
                <c:pt idx="34504">
                  <c:v>0.61537364009274098</c:v>
                </c:pt>
                <c:pt idx="34505">
                  <c:v>0.61539147494203605</c:v>
                </c:pt>
                <c:pt idx="34506">
                  <c:v>0.61540930979133202</c:v>
                </c:pt>
                <c:pt idx="34507">
                  <c:v>0.61542714464062698</c:v>
                </c:pt>
                <c:pt idx="34508">
                  <c:v>0.61544497948992305</c:v>
                </c:pt>
                <c:pt idx="34509">
                  <c:v>0.61546281433921801</c:v>
                </c:pt>
                <c:pt idx="34510">
                  <c:v>0.61548064918851397</c:v>
                </c:pt>
                <c:pt idx="34511">
                  <c:v>0.61549848403780905</c:v>
                </c:pt>
                <c:pt idx="34512">
                  <c:v>0.61551631888710501</c:v>
                </c:pt>
                <c:pt idx="34513">
                  <c:v>0.61553415373640097</c:v>
                </c:pt>
                <c:pt idx="34514">
                  <c:v>0.61555198858569604</c:v>
                </c:pt>
                <c:pt idx="34515">
                  <c:v>0.615569823434992</c:v>
                </c:pt>
                <c:pt idx="34516">
                  <c:v>0.61558765828428696</c:v>
                </c:pt>
                <c:pt idx="34517">
                  <c:v>0.61560549313358304</c:v>
                </c:pt>
                <c:pt idx="34518">
                  <c:v>0.615623327982878</c:v>
                </c:pt>
                <c:pt idx="34519">
                  <c:v>0.61564116283217396</c:v>
                </c:pt>
                <c:pt idx="34520">
                  <c:v>0.61565899768146903</c:v>
                </c:pt>
                <c:pt idx="34521">
                  <c:v>0.61567683253076499</c:v>
                </c:pt>
                <c:pt idx="34522">
                  <c:v>0.61569466738005996</c:v>
                </c:pt>
                <c:pt idx="34523">
                  <c:v>0.61571250222935603</c:v>
                </c:pt>
                <c:pt idx="34524">
                  <c:v>0.61573033707865099</c:v>
                </c:pt>
                <c:pt idx="34525">
                  <c:v>0.61574817192794695</c:v>
                </c:pt>
                <c:pt idx="34526">
                  <c:v>0.61576600677724203</c:v>
                </c:pt>
                <c:pt idx="34527">
                  <c:v>0.61578384162653799</c:v>
                </c:pt>
                <c:pt idx="34528">
                  <c:v>0.61580167647583295</c:v>
                </c:pt>
                <c:pt idx="34529">
                  <c:v>0.61581951132512902</c:v>
                </c:pt>
                <c:pt idx="34530">
                  <c:v>0.61583734617442398</c:v>
                </c:pt>
                <c:pt idx="34531">
                  <c:v>0.61585518102372006</c:v>
                </c:pt>
                <c:pt idx="34532">
                  <c:v>0.61587301587301502</c:v>
                </c:pt>
                <c:pt idx="34533">
                  <c:v>0.61589085072231098</c:v>
                </c:pt>
                <c:pt idx="34534">
                  <c:v>0.61590868557160605</c:v>
                </c:pt>
                <c:pt idx="34535">
                  <c:v>0.61592652042090201</c:v>
                </c:pt>
                <c:pt idx="34536">
                  <c:v>0.61594435527019797</c:v>
                </c:pt>
                <c:pt idx="34537">
                  <c:v>0.61596219011949305</c:v>
                </c:pt>
                <c:pt idx="34538">
                  <c:v>0.61598002496878901</c:v>
                </c:pt>
                <c:pt idx="34539">
                  <c:v>0.61599785981808397</c:v>
                </c:pt>
                <c:pt idx="34540">
                  <c:v>0.61601569466738004</c:v>
                </c:pt>
                <c:pt idx="34541">
                  <c:v>0.616033529516675</c:v>
                </c:pt>
                <c:pt idx="34542">
                  <c:v>0.61605136436597097</c:v>
                </c:pt>
                <c:pt idx="34543">
                  <c:v>0.61606919921526604</c:v>
                </c:pt>
                <c:pt idx="34544">
                  <c:v>0.616087034064562</c:v>
                </c:pt>
                <c:pt idx="34545">
                  <c:v>0.61610486891385696</c:v>
                </c:pt>
                <c:pt idx="34546">
                  <c:v>0.61612270376315303</c:v>
                </c:pt>
                <c:pt idx="34547">
                  <c:v>0.616140538612448</c:v>
                </c:pt>
                <c:pt idx="34548">
                  <c:v>0.61615837346174396</c:v>
                </c:pt>
                <c:pt idx="34549">
                  <c:v>0.61617620831103903</c:v>
                </c:pt>
                <c:pt idx="34550">
                  <c:v>0.61619404316033499</c:v>
                </c:pt>
                <c:pt idx="34551">
                  <c:v>0.61621187800962995</c:v>
                </c:pt>
                <c:pt idx="34552">
                  <c:v>0.61622971285892603</c:v>
                </c:pt>
                <c:pt idx="34553">
                  <c:v>0.61624754770822099</c:v>
                </c:pt>
                <c:pt idx="34554">
                  <c:v>0.61626538255751695</c:v>
                </c:pt>
                <c:pt idx="34555">
                  <c:v>0.61628321740681202</c:v>
                </c:pt>
                <c:pt idx="34556">
                  <c:v>0.61630105225610798</c:v>
                </c:pt>
                <c:pt idx="34557">
                  <c:v>0.61631888710540395</c:v>
                </c:pt>
                <c:pt idx="34558">
                  <c:v>0.61633672195469902</c:v>
                </c:pt>
                <c:pt idx="34559">
                  <c:v>0.61635455680399498</c:v>
                </c:pt>
                <c:pt idx="34560">
                  <c:v>0.61637239165329005</c:v>
                </c:pt>
                <c:pt idx="34561">
                  <c:v>0.61639022650258601</c:v>
                </c:pt>
                <c:pt idx="34562">
                  <c:v>0.61640806135188098</c:v>
                </c:pt>
                <c:pt idx="34563">
                  <c:v>0.61642589620117705</c:v>
                </c:pt>
                <c:pt idx="34564">
                  <c:v>0.61644373105047201</c:v>
                </c:pt>
                <c:pt idx="34565">
                  <c:v>0.61646156589976797</c:v>
                </c:pt>
                <c:pt idx="34566">
                  <c:v>0.61647940074906304</c:v>
                </c:pt>
                <c:pt idx="34567">
                  <c:v>0.61649723559835901</c:v>
                </c:pt>
                <c:pt idx="34568">
                  <c:v>0.61651507044765397</c:v>
                </c:pt>
                <c:pt idx="34569">
                  <c:v>0.61653290529695004</c:v>
                </c:pt>
                <c:pt idx="34570">
                  <c:v>0.616550740146245</c:v>
                </c:pt>
                <c:pt idx="34571">
                  <c:v>0.61656857499554096</c:v>
                </c:pt>
                <c:pt idx="34572">
                  <c:v>0.61658640984483604</c:v>
                </c:pt>
                <c:pt idx="34573">
                  <c:v>0.616604244694132</c:v>
                </c:pt>
                <c:pt idx="34574">
                  <c:v>0.61662207954342696</c:v>
                </c:pt>
                <c:pt idx="34575">
                  <c:v>0.61663991439272303</c:v>
                </c:pt>
                <c:pt idx="34576">
                  <c:v>0.61665774924201799</c:v>
                </c:pt>
                <c:pt idx="34577">
                  <c:v>0.61667558409131396</c:v>
                </c:pt>
                <c:pt idx="34578">
                  <c:v>0.61669341894060903</c:v>
                </c:pt>
                <c:pt idx="34579">
                  <c:v>0.61671125378990499</c:v>
                </c:pt>
                <c:pt idx="34580">
                  <c:v>0.61672908863920095</c:v>
                </c:pt>
                <c:pt idx="34581">
                  <c:v>0.61674692348849602</c:v>
                </c:pt>
                <c:pt idx="34582">
                  <c:v>0.61676475833779199</c:v>
                </c:pt>
                <c:pt idx="34583">
                  <c:v>0.61678259318708695</c:v>
                </c:pt>
                <c:pt idx="34584">
                  <c:v>0.61680042803638302</c:v>
                </c:pt>
                <c:pt idx="34585">
                  <c:v>0.61681826288567798</c:v>
                </c:pt>
                <c:pt idx="34586">
                  <c:v>0.61683609773497405</c:v>
                </c:pt>
                <c:pt idx="34587">
                  <c:v>0.61685393258426902</c:v>
                </c:pt>
                <c:pt idx="34588">
                  <c:v>0.61687176743356498</c:v>
                </c:pt>
                <c:pt idx="34589">
                  <c:v>0.61688960228286005</c:v>
                </c:pt>
                <c:pt idx="34590">
                  <c:v>0.61690743713215601</c:v>
                </c:pt>
                <c:pt idx="34591">
                  <c:v>0.61692527198145097</c:v>
                </c:pt>
                <c:pt idx="34592">
                  <c:v>0.61694310683074705</c:v>
                </c:pt>
                <c:pt idx="34593">
                  <c:v>0.61696094168004201</c:v>
                </c:pt>
                <c:pt idx="34594">
                  <c:v>0.61697877652933797</c:v>
                </c:pt>
                <c:pt idx="34595">
                  <c:v>0.61699661137863304</c:v>
                </c:pt>
                <c:pt idx="34596">
                  <c:v>0.617014446227929</c:v>
                </c:pt>
                <c:pt idx="34597">
                  <c:v>0.61703228107722397</c:v>
                </c:pt>
                <c:pt idx="34598">
                  <c:v>0.61705011592652004</c:v>
                </c:pt>
                <c:pt idx="34599">
                  <c:v>0.617067950775816</c:v>
                </c:pt>
                <c:pt idx="34600">
                  <c:v>0.61708578562511096</c:v>
                </c:pt>
                <c:pt idx="34601">
                  <c:v>0.61710362047440703</c:v>
                </c:pt>
                <c:pt idx="34602">
                  <c:v>0.617121455323702</c:v>
                </c:pt>
                <c:pt idx="34603">
                  <c:v>0.61713929017299796</c:v>
                </c:pt>
                <c:pt idx="34604">
                  <c:v>0.61715712502229303</c:v>
                </c:pt>
                <c:pt idx="34605">
                  <c:v>0.61717495987158899</c:v>
                </c:pt>
                <c:pt idx="34606">
                  <c:v>0.61719279472088395</c:v>
                </c:pt>
                <c:pt idx="34607">
                  <c:v>0.61721062957018002</c:v>
                </c:pt>
                <c:pt idx="34608">
                  <c:v>0.61722846441947499</c:v>
                </c:pt>
                <c:pt idx="34609">
                  <c:v>0.61724629926877095</c:v>
                </c:pt>
                <c:pt idx="34610">
                  <c:v>0.61726413411806602</c:v>
                </c:pt>
                <c:pt idx="34611">
                  <c:v>0.61728196896736198</c:v>
                </c:pt>
                <c:pt idx="34612">
                  <c:v>0.61729980381665694</c:v>
                </c:pt>
                <c:pt idx="34613">
                  <c:v>0.61731763866595302</c:v>
                </c:pt>
                <c:pt idx="34614">
                  <c:v>0.61733547351524798</c:v>
                </c:pt>
                <c:pt idx="34615">
                  <c:v>0.61735330836454405</c:v>
                </c:pt>
                <c:pt idx="34616">
                  <c:v>0.61737114321383901</c:v>
                </c:pt>
                <c:pt idx="34617">
                  <c:v>0.61738897806313497</c:v>
                </c:pt>
                <c:pt idx="34618">
                  <c:v>0.61740681291243005</c:v>
                </c:pt>
                <c:pt idx="34619">
                  <c:v>0.61742464776172601</c:v>
                </c:pt>
                <c:pt idx="34620">
                  <c:v>0.61744248261102197</c:v>
                </c:pt>
                <c:pt idx="34621">
                  <c:v>0.61746031746031704</c:v>
                </c:pt>
                <c:pt idx="34622">
                  <c:v>0.617478152309613</c:v>
                </c:pt>
                <c:pt idx="34623">
                  <c:v>0.61749598715890797</c:v>
                </c:pt>
                <c:pt idx="34624">
                  <c:v>0.61751382200820404</c:v>
                </c:pt>
                <c:pt idx="34625">
                  <c:v>0.617531656857499</c:v>
                </c:pt>
                <c:pt idx="34626">
                  <c:v>0.61754949170679496</c:v>
                </c:pt>
                <c:pt idx="34627">
                  <c:v>0.61756732655609003</c:v>
                </c:pt>
                <c:pt idx="34628">
                  <c:v>0.617585161405386</c:v>
                </c:pt>
                <c:pt idx="34629">
                  <c:v>0.61760299625468096</c:v>
                </c:pt>
                <c:pt idx="34630">
                  <c:v>0.61762083110397703</c:v>
                </c:pt>
                <c:pt idx="34631">
                  <c:v>0.61763866595327199</c:v>
                </c:pt>
                <c:pt idx="34632">
                  <c:v>0.61765650080256795</c:v>
                </c:pt>
                <c:pt idx="34633">
                  <c:v>0.61767433565186303</c:v>
                </c:pt>
                <c:pt idx="34634">
                  <c:v>0.61769217050115899</c:v>
                </c:pt>
                <c:pt idx="34635">
                  <c:v>0.61771000535045395</c:v>
                </c:pt>
                <c:pt idx="34636">
                  <c:v>0.61772784019975002</c:v>
                </c:pt>
                <c:pt idx="34637">
                  <c:v>0.61774567504904498</c:v>
                </c:pt>
                <c:pt idx="34638">
                  <c:v>0.61776350989834095</c:v>
                </c:pt>
                <c:pt idx="34639">
                  <c:v>0.61778134474763602</c:v>
                </c:pt>
                <c:pt idx="34640">
                  <c:v>0.61779917959693198</c:v>
                </c:pt>
                <c:pt idx="34641">
                  <c:v>0.61781701444622705</c:v>
                </c:pt>
                <c:pt idx="34642">
                  <c:v>0.61783484929552301</c:v>
                </c:pt>
                <c:pt idx="34643">
                  <c:v>0.61785268414481898</c:v>
                </c:pt>
                <c:pt idx="34644">
                  <c:v>0.61787051899411405</c:v>
                </c:pt>
                <c:pt idx="34645">
                  <c:v>0.61788835384341001</c:v>
                </c:pt>
                <c:pt idx="34646">
                  <c:v>0.61790618869270497</c:v>
                </c:pt>
                <c:pt idx="34647">
                  <c:v>0.61792402354200104</c:v>
                </c:pt>
                <c:pt idx="34648">
                  <c:v>0.61794185839129601</c:v>
                </c:pt>
                <c:pt idx="34649">
                  <c:v>0.61795969324059197</c:v>
                </c:pt>
                <c:pt idx="34650">
                  <c:v>0.61797752808988704</c:v>
                </c:pt>
                <c:pt idx="34651">
                  <c:v>0.617995362939183</c:v>
                </c:pt>
                <c:pt idx="34652">
                  <c:v>0.61801319778847796</c:v>
                </c:pt>
                <c:pt idx="34653">
                  <c:v>0.61803103263777404</c:v>
                </c:pt>
                <c:pt idx="34654">
                  <c:v>0.618048867487069</c:v>
                </c:pt>
                <c:pt idx="34655">
                  <c:v>0.61806670233636496</c:v>
                </c:pt>
                <c:pt idx="34656">
                  <c:v>0.61808453718566003</c:v>
                </c:pt>
                <c:pt idx="34657">
                  <c:v>0.61810237203495599</c:v>
                </c:pt>
                <c:pt idx="34658">
                  <c:v>0.61812020688425096</c:v>
                </c:pt>
                <c:pt idx="34659">
                  <c:v>0.61813804173354703</c:v>
                </c:pt>
                <c:pt idx="34660">
                  <c:v>0.61815587658284199</c:v>
                </c:pt>
                <c:pt idx="34661">
                  <c:v>0.61817371143213795</c:v>
                </c:pt>
                <c:pt idx="34662">
                  <c:v>0.61819154628143302</c:v>
                </c:pt>
                <c:pt idx="34663">
                  <c:v>0.61820938113072899</c:v>
                </c:pt>
                <c:pt idx="34664">
                  <c:v>0.61822721598002495</c:v>
                </c:pt>
                <c:pt idx="34665">
                  <c:v>0.61824505082932002</c:v>
                </c:pt>
                <c:pt idx="34666">
                  <c:v>0.61826288567861598</c:v>
                </c:pt>
                <c:pt idx="34667">
                  <c:v>0.61828072052791105</c:v>
                </c:pt>
                <c:pt idx="34668">
                  <c:v>0.61829855537720702</c:v>
                </c:pt>
                <c:pt idx="34669">
                  <c:v>0.61831639022650198</c:v>
                </c:pt>
                <c:pt idx="34670">
                  <c:v>0.61833422507579805</c:v>
                </c:pt>
                <c:pt idx="34671">
                  <c:v>0.61835205992509301</c:v>
                </c:pt>
                <c:pt idx="34672">
                  <c:v>0.61836989477438897</c:v>
                </c:pt>
                <c:pt idx="34673">
                  <c:v>0.61838772962368405</c:v>
                </c:pt>
                <c:pt idx="34674">
                  <c:v>0.61840556447298001</c:v>
                </c:pt>
                <c:pt idx="34675">
                  <c:v>0.61842339932227497</c:v>
                </c:pt>
                <c:pt idx="34676">
                  <c:v>0.61844123417157104</c:v>
                </c:pt>
                <c:pt idx="34677">
                  <c:v>0.618459069020866</c:v>
                </c:pt>
                <c:pt idx="34678">
                  <c:v>0.61847690387016196</c:v>
                </c:pt>
                <c:pt idx="34679">
                  <c:v>0.61849473871945704</c:v>
                </c:pt>
                <c:pt idx="34680">
                  <c:v>0.618512573568753</c:v>
                </c:pt>
                <c:pt idx="34681">
                  <c:v>0.61853040841804796</c:v>
                </c:pt>
                <c:pt idx="34682">
                  <c:v>0.61854824326734403</c:v>
                </c:pt>
                <c:pt idx="34683">
                  <c:v>0.618566078116639</c:v>
                </c:pt>
                <c:pt idx="34684">
                  <c:v>0.61858391296593496</c:v>
                </c:pt>
                <c:pt idx="34685">
                  <c:v>0.61860174781523003</c:v>
                </c:pt>
                <c:pt idx="34686">
                  <c:v>0.61861958266452599</c:v>
                </c:pt>
                <c:pt idx="34687">
                  <c:v>0.61863741751382195</c:v>
                </c:pt>
                <c:pt idx="34688">
                  <c:v>0.61865525236311703</c:v>
                </c:pt>
                <c:pt idx="34689">
                  <c:v>0.61867308721241299</c:v>
                </c:pt>
                <c:pt idx="34690">
                  <c:v>0.61869092206170795</c:v>
                </c:pt>
                <c:pt idx="34691">
                  <c:v>0.61870875691100402</c:v>
                </c:pt>
                <c:pt idx="34692">
                  <c:v>0.61872659176029898</c:v>
                </c:pt>
                <c:pt idx="34693">
                  <c:v>0.61874442660959506</c:v>
                </c:pt>
                <c:pt idx="34694">
                  <c:v>0.61876226145889002</c:v>
                </c:pt>
                <c:pt idx="34695">
                  <c:v>0.61878009630818598</c:v>
                </c:pt>
                <c:pt idx="34696">
                  <c:v>0.61879793115748105</c:v>
                </c:pt>
                <c:pt idx="34697">
                  <c:v>0.61881576600677701</c:v>
                </c:pt>
                <c:pt idx="34698">
                  <c:v>0.61883360085607197</c:v>
                </c:pt>
                <c:pt idx="34699">
                  <c:v>0.61885143570536805</c:v>
                </c:pt>
                <c:pt idx="34700">
                  <c:v>0.61886927055466301</c:v>
                </c:pt>
                <c:pt idx="34701">
                  <c:v>0.61888710540395897</c:v>
                </c:pt>
                <c:pt idx="34702">
                  <c:v>0.61890494025325404</c:v>
                </c:pt>
                <c:pt idx="34703">
                  <c:v>0.61892277510255</c:v>
                </c:pt>
                <c:pt idx="34704">
                  <c:v>0.61894060995184497</c:v>
                </c:pt>
                <c:pt idx="34705">
                  <c:v>0.61895844480114104</c:v>
                </c:pt>
                <c:pt idx="34706">
                  <c:v>0.618976279650437</c:v>
                </c:pt>
                <c:pt idx="34707">
                  <c:v>0.61899411449973196</c:v>
                </c:pt>
                <c:pt idx="34708">
                  <c:v>0.61901194934902803</c:v>
                </c:pt>
                <c:pt idx="34709">
                  <c:v>0.619029784198323</c:v>
                </c:pt>
                <c:pt idx="34710">
                  <c:v>0.61904761904761896</c:v>
                </c:pt>
                <c:pt idx="34711">
                  <c:v>0.61906545389691403</c:v>
                </c:pt>
                <c:pt idx="34712">
                  <c:v>0.61908328874620999</c:v>
                </c:pt>
                <c:pt idx="34713">
                  <c:v>0.61910112359550495</c:v>
                </c:pt>
                <c:pt idx="34714">
                  <c:v>0.61911895844480103</c:v>
                </c:pt>
                <c:pt idx="34715">
                  <c:v>0.61913679329409599</c:v>
                </c:pt>
                <c:pt idx="34716">
                  <c:v>0.61915462814339195</c:v>
                </c:pt>
                <c:pt idx="34717">
                  <c:v>0.61917246299268702</c:v>
                </c:pt>
                <c:pt idx="34718">
                  <c:v>0.61919029784198298</c:v>
                </c:pt>
                <c:pt idx="34719">
                  <c:v>0.61920813269127795</c:v>
                </c:pt>
                <c:pt idx="34720">
                  <c:v>0.61922596754057402</c:v>
                </c:pt>
                <c:pt idx="34721">
                  <c:v>0.61924380238986898</c:v>
                </c:pt>
                <c:pt idx="34722">
                  <c:v>0.61926163723916505</c:v>
                </c:pt>
                <c:pt idx="34723">
                  <c:v>0.61927947208846001</c:v>
                </c:pt>
                <c:pt idx="34724">
                  <c:v>0.61929730693775598</c:v>
                </c:pt>
                <c:pt idx="34725">
                  <c:v>0.61931514178705105</c:v>
                </c:pt>
                <c:pt idx="34726">
                  <c:v>0.61933297663634701</c:v>
                </c:pt>
                <c:pt idx="34727">
                  <c:v>0.61935081148564297</c:v>
                </c:pt>
                <c:pt idx="34728">
                  <c:v>0.61936864633493804</c:v>
                </c:pt>
                <c:pt idx="34729">
                  <c:v>0.61938648118423401</c:v>
                </c:pt>
                <c:pt idx="34730">
                  <c:v>0.61940431603352897</c:v>
                </c:pt>
                <c:pt idx="34731">
                  <c:v>0.61942215088282504</c:v>
                </c:pt>
                <c:pt idx="34732">
                  <c:v>0.61943998573212</c:v>
                </c:pt>
                <c:pt idx="34733">
                  <c:v>0.61945782058141596</c:v>
                </c:pt>
                <c:pt idx="34734">
                  <c:v>0.61947565543071104</c:v>
                </c:pt>
                <c:pt idx="34735">
                  <c:v>0.619493490280007</c:v>
                </c:pt>
                <c:pt idx="34736">
                  <c:v>0.61951132512930196</c:v>
                </c:pt>
                <c:pt idx="34737">
                  <c:v>0.61952915997859803</c:v>
                </c:pt>
                <c:pt idx="34738">
                  <c:v>0.61954699482789299</c:v>
                </c:pt>
                <c:pt idx="34739">
                  <c:v>0.61956482967718896</c:v>
                </c:pt>
                <c:pt idx="34740">
                  <c:v>0.61958266452648403</c:v>
                </c:pt>
                <c:pt idx="34741">
                  <c:v>0.61960049937577999</c:v>
                </c:pt>
                <c:pt idx="34742">
                  <c:v>0.61961833422507495</c:v>
                </c:pt>
                <c:pt idx="34743">
                  <c:v>0.61963616907437102</c:v>
                </c:pt>
                <c:pt idx="34744">
                  <c:v>0.61965400392366599</c:v>
                </c:pt>
                <c:pt idx="34745">
                  <c:v>0.61967183877296195</c:v>
                </c:pt>
                <c:pt idx="34746">
                  <c:v>0.61968967362225702</c:v>
                </c:pt>
                <c:pt idx="34747">
                  <c:v>0.61970750847155298</c:v>
                </c:pt>
                <c:pt idx="34748">
                  <c:v>0.61972534332084805</c:v>
                </c:pt>
                <c:pt idx="34749">
                  <c:v>0.61974317817014402</c:v>
                </c:pt>
                <c:pt idx="34750">
                  <c:v>0.61976101301943998</c:v>
                </c:pt>
                <c:pt idx="34751">
                  <c:v>0.61977884786873505</c:v>
                </c:pt>
                <c:pt idx="34752">
                  <c:v>0.61979668271803101</c:v>
                </c:pt>
                <c:pt idx="34753">
                  <c:v>0.61981451756732597</c:v>
                </c:pt>
                <c:pt idx="34754">
                  <c:v>0.61983235241662205</c:v>
                </c:pt>
                <c:pt idx="34755">
                  <c:v>0.61985018726591701</c:v>
                </c:pt>
                <c:pt idx="34756">
                  <c:v>0.61986802211521297</c:v>
                </c:pt>
                <c:pt idx="34757">
                  <c:v>0.61988585696450804</c:v>
                </c:pt>
                <c:pt idx="34758">
                  <c:v>0.619903691813804</c:v>
                </c:pt>
                <c:pt idx="34759">
                  <c:v>0.61992152666309897</c:v>
                </c:pt>
                <c:pt idx="34760">
                  <c:v>0.61993936151239504</c:v>
                </c:pt>
                <c:pt idx="34761">
                  <c:v>0.61995719636169</c:v>
                </c:pt>
                <c:pt idx="34762">
                  <c:v>0.61997503121098596</c:v>
                </c:pt>
                <c:pt idx="34763">
                  <c:v>0.61999286606028103</c:v>
                </c:pt>
                <c:pt idx="34764">
                  <c:v>0.62001070090957699</c:v>
                </c:pt>
                <c:pt idx="34765">
                  <c:v>0.62002853575887196</c:v>
                </c:pt>
                <c:pt idx="34766">
                  <c:v>0.62004637060816803</c:v>
                </c:pt>
                <c:pt idx="34767">
                  <c:v>0.62006420545746299</c:v>
                </c:pt>
                <c:pt idx="34768">
                  <c:v>0.62008204030675895</c:v>
                </c:pt>
                <c:pt idx="34769">
                  <c:v>0.62009987515605403</c:v>
                </c:pt>
                <c:pt idx="34770">
                  <c:v>0.62011771000534999</c:v>
                </c:pt>
                <c:pt idx="34771">
                  <c:v>0.62013554485464595</c:v>
                </c:pt>
                <c:pt idx="34772">
                  <c:v>0.62015337970394102</c:v>
                </c:pt>
                <c:pt idx="34773">
                  <c:v>0.62017121455323698</c:v>
                </c:pt>
                <c:pt idx="34774">
                  <c:v>0.62018904940253194</c:v>
                </c:pt>
                <c:pt idx="34775">
                  <c:v>0.62020688425182802</c:v>
                </c:pt>
                <c:pt idx="34776">
                  <c:v>0.62022471910112298</c:v>
                </c:pt>
                <c:pt idx="34777">
                  <c:v>0.62024255395041905</c:v>
                </c:pt>
                <c:pt idx="34778">
                  <c:v>0.62026038879971401</c:v>
                </c:pt>
                <c:pt idx="34779">
                  <c:v>0.62027822364900997</c:v>
                </c:pt>
                <c:pt idx="34780">
                  <c:v>0.62029605849830505</c:v>
                </c:pt>
                <c:pt idx="34781">
                  <c:v>0.62031389334760101</c:v>
                </c:pt>
                <c:pt idx="34782">
                  <c:v>0.62033172819689597</c:v>
                </c:pt>
                <c:pt idx="34783">
                  <c:v>0.62034956304619204</c:v>
                </c:pt>
                <c:pt idx="34784">
                  <c:v>0.620367397895487</c:v>
                </c:pt>
                <c:pt idx="34785">
                  <c:v>0.62038523274478297</c:v>
                </c:pt>
                <c:pt idx="34786">
                  <c:v>0.62040306759407804</c:v>
                </c:pt>
                <c:pt idx="34787">
                  <c:v>0.620420902443374</c:v>
                </c:pt>
                <c:pt idx="34788">
                  <c:v>0.62043873729266896</c:v>
                </c:pt>
                <c:pt idx="34789">
                  <c:v>0.62045657214196503</c:v>
                </c:pt>
                <c:pt idx="34790">
                  <c:v>0.62047440699126</c:v>
                </c:pt>
                <c:pt idx="34791">
                  <c:v>0.62049224184055596</c:v>
                </c:pt>
                <c:pt idx="34792">
                  <c:v>0.62051007668985103</c:v>
                </c:pt>
                <c:pt idx="34793">
                  <c:v>0.62052791153914699</c:v>
                </c:pt>
                <c:pt idx="34794">
                  <c:v>0.62054574638844295</c:v>
                </c:pt>
                <c:pt idx="34795">
                  <c:v>0.62056358123773803</c:v>
                </c:pt>
                <c:pt idx="34796">
                  <c:v>0.62058141608703399</c:v>
                </c:pt>
                <c:pt idx="34797">
                  <c:v>0.62059925093632895</c:v>
                </c:pt>
                <c:pt idx="34798">
                  <c:v>0.62061708578562502</c:v>
                </c:pt>
                <c:pt idx="34799">
                  <c:v>0.62063492063491998</c:v>
                </c:pt>
                <c:pt idx="34800">
                  <c:v>0.62065275548421595</c:v>
                </c:pt>
                <c:pt idx="34801">
                  <c:v>0.62067059033351102</c:v>
                </c:pt>
                <c:pt idx="34802">
                  <c:v>0.62068842518280698</c:v>
                </c:pt>
                <c:pt idx="34803">
                  <c:v>0.62070626003210205</c:v>
                </c:pt>
                <c:pt idx="34804">
                  <c:v>0.62072409488139801</c:v>
                </c:pt>
                <c:pt idx="34805">
                  <c:v>0.62074192973069298</c:v>
                </c:pt>
                <c:pt idx="34806">
                  <c:v>0.62075976457998905</c:v>
                </c:pt>
                <c:pt idx="34807">
                  <c:v>0.62077759942928401</c:v>
                </c:pt>
                <c:pt idx="34808">
                  <c:v>0.62079543427857997</c:v>
                </c:pt>
                <c:pt idx="34809">
                  <c:v>0.62081326912787504</c:v>
                </c:pt>
                <c:pt idx="34810">
                  <c:v>0.62083110397717101</c:v>
                </c:pt>
                <c:pt idx="34811">
                  <c:v>0.62084893882646697</c:v>
                </c:pt>
                <c:pt idx="34812">
                  <c:v>0.62086677367576204</c:v>
                </c:pt>
                <c:pt idx="34813">
                  <c:v>0.620884608525058</c:v>
                </c:pt>
                <c:pt idx="34814">
                  <c:v>0.62090244337435296</c:v>
                </c:pt>
                <c:pt idx="34815">
                  <c:v>0.62092027822364904</c:v>
                </c:pt>
                <c:pt idx="34816">
                  <c:v>0.620938113072944</c:v>
                </c:pt>
                <c:pt idx="34817">
                  <c:v>0.62095594792223996</c:v>
                </c:pt>
                <c:pt idx="34818">
                  <c:v>0.62097378277153503</c:v>
                </c:pt>
                <c:pt idx="34819">
                  <c:v>0.62099161762083099</c:v>
                </c:pt>
                <c:pt idx="34820">
                  <c:v>0.62100945247012596</c:v>
                </c:pt>
                <c:pt idx="34821">
                  <c:v>0.62102728731942203</c:v>
                </c:pt>
                <c:pt idx="34822">
                  <c:v>0.62104512216871699</c:v>
                </c:pt>
                <c:pt idx="34823">
                  <c:v>0.62106295701801295</c:v>
                </c:pt>
                <c:pt idx="34824">
                  <c:v>0.62108079186730802</c:v>
                </c:pt>
                <c:pt idx="34825">
                  <c:v>0.62109862671660399</c:v>
                </c:pt>
                <c:pt idx="34826">
                  <c:v>0.62111646156589895</c:v>
                </c:pt>
                <c:pt idx="34827">
                  <c:v>0.62113429641519502</c:v>
                </c:pt>
                <c:pt idx="34828">
                  <c:v>0.62115213126448998</c:v>
                </c:pt>
                <c:pt idx="34829">
                  <c:v>0.62116996611378605</c:v>
                </c:pt>
                <c:pt idx="34830">
                  <c:v>0.62118780096308102</c:v>
                </c:pt>
                <c:pt idx="34831">
                  <c:v>0.62120563581237698</c:v>
                </c:pt>
                <c:pt idx="34832">
                  <c:v>0.62122347066167205</c:v>
                </c:pt>
                <c:pt idx="34833">
                  <c:v>0.62124130551096801</c:v>
                </c:pt>
                <c:pt idx="34834">
                  <c:v>0.62125914036026397</c:v>
                </c:pt>
                <c:pt idx="34835">
                  <c:v>0.62127697520955905</c:v>
                </c:pt>
                <c:pt idx="34836">
                  <c:v>0.62129481005885501</c:v>
                </c:pt>
                <c:pt idx="34837">
                  <c:v>0.62131264490814997</c:v>
                </c:pt>
                <c:pt idx="34838">
                  <c:v>0.62133047975744604</c:v>
                </c:pt>
                <c:pt idx="34839">
                  <c:v>0.621348314606741</c:v>
                </c:pt>
                <c:pt idx="34840">
                  <c:v>0.62136614945603696</c:v>
                </c:pt>
                <c:pt idx="34841">
                  <c:v>0.62138398430533204</c:v>
                </c:pt>
                <c:pt idx="34842">
                  <c:v>0.621401819154628</c:v>
                </c:pt>
                <c:pt idx="34843">
                  <c:v>0.62141965400392296</c:v>
                </c:pt>
                <c:pt idx="34844">
                  <c:v>0.62143748885321903</c:v>
                </c:pt>
                <c:pt idx="34845">
                  <c:v>0.621455323702514</c:v>
                </c:pt>
                <c:pt idx="34846">
                  <c:v>0.62147315855180996</c:v>
                </c:pt>
                <c:pt idx="34847">
                  <c:v>0.62149099340110503</c:v>
                </c:pt>
                <c:pt idx="34848">
                  <c:v>0.62150882825040099</c:v>
                </c:pt>
                <c:pt idx="34849">
                  <c:v>0.62152666309969595</c:v>
                </c:pt>
                <c:pt idx="34850">
                  <c:v>0.62154449794899203</c:v>
                </c:pt>
                <c:pt idx="34851">
                  <c:v>0.62156233279828699</c:v>
                </c:pt>
                <c:pt idx="34852">
                  <c:v>0.62158016764758295</c:v>
                </c:pt>
                <c:pt idx="34853">
                  <c:v>0.62159800249687802</c:v>
                </c:pt>
                <c:pt idx="34854">
                  <c:v>0.62161583734617398</c:v>
                </c:pt>
                <c:pt idx="34855">
                  <c:v>0.62163367219546894</c:v>
                </c:pt>
                <c:pt idx="34856">
                  <c:v>0.62165150704476502</c:v>
                </c:pt>
                <c:pt idx="34857">
                  <c:v>0.62166934189406098</c:v>
                </c:pt>
                <c:pt idx="34858">
                  <c:v>0.62168717674335605</c:v>
                </c:pt>
                <c:pt idx="34859">
                  <c:v>0.62170501159265201</c:v>
                </c:pt>
                <c:pt idx="34860">
                  <c:v>0.62172284644194697</c:v>
                </c:pt>
                <c:pt idx="34861">
                  <c:v>0.62174068129124305</c:v>
                </c:pt>
                <c:pt idx="34862">
                  <c:v>0.62175851614053801</c:v>
                </c:pt>
                <c:pt idx="34863">
                  <c:v>0.62177635098983397</c:v>
                </c:pt>
                <c:pt idx="34864">
                  <c:v>0.62179418583912904</c:v>
                </c:pt>
                <c:pt idx="34865">
                  <c:v>0.621812020688425</c:v>
                </c:pt>
                <c:pt idx="34866">
                  <c:v>0.62182985553771997</c:v>
                </c:pt>
                <c:pt idx="34867">
                  <c:v>0.62184769038701604</c:v>
                </c:pt>
                <c:pt idx="34868">
                  <c:v>0.621865525236311</c:v>
                </c:pt>
                <c:pt idx="34869">
                  <c:v>0.62188336008560696</c:v>
                </c:pt>
                <c:pt idx="34870">
                  <c:v>0.62190119493490204</c:v>
                </c:pt>
                <c:pt idx="34871">
                  <c:v>0.621919029784198</c:v>
                </c:pt>
                <c:pt idx="34872">
                  <c:v>0.62193686463349296</c:v>
                </c:pt>
                <c:pt idx="34873">
                  <c:v>0.62195469948278903</c:v>
                </c:pt>
                <c:pt idx="34874">
                  <c:v>0.62197253433208399</c:v>
                </c:pt>
                <c:pt idx="34875">
                  <c:v>0.62199036918137995</c:v>
                </c:pt>
                <c:pt idx="34876">
                  <c:v>0.62200820403067503</c:v>
                </c:pt>
                <c:pt idx="34877">
                  <c:v>0.62202603887997099</c:v>
                </c:pt>
                <c:pt idx="34878">
                  <c:v>0.62204387372926695</c:v>
                </c:pt>
                <c:pt idx="34879">
                  <c:v>0.62206170857856202</c:v>
                </c:pt>
                <c:pt idx="34880">
                  <c:v>0.62207954342785798</c:v>
                </c:pt>
                <c:pt idx="34881">
                  <c:v>0.62209737827715295</c:v>
                </c:pt>
                <c:pt idx="34882">
                  <c:v>0.62211521312644902</c:v>
                </c:pt>
                <c:pt idx="34883">
                  <c:v>0.62213304797574398</c:v>
                </c:pt>
                <c:pt idx="34884">
                  <c:v>0.62215088282504005</c:v>
                </c:pt>
                <c:pt idx="34885">
                  <c:v>0.62216871767433501</c:v>
                </c:pt>
                <c:pt idx="34886">
                  <c:v>0.62218655252363098</c:v>
                </c:pt>
                <c:pt idx="34887">
                  <c:v>0.62220438737292605</c:v>
                </c:pt>
                <c:pt idx="34888">
                  <c:v>0.62222222222222201</c:v>
                </c:pt>
                <c:pt idx="34889">
                  <c:v>0.62224005707151697</c:v>
                </c:pt>
                <c:pt idx="34890">
                  <c:v>0.62225789192081304</c:v>
                </c:pt>
                <c:pt idx="34891">
                  <c:v>0.62227572677010801</c:v>
                </c:pt>
                <c:pt idx="34892">
                  <c:v>0.62229356161940397</c:v>
                </c:pt>
                <c:pt idx="34893">
                  <c:v>0.62231139646869904</c:v>
                </c:pt>
                <c:pt idx="34894">
                  <c:v>0.622329231317995</c:v>
                </c:pt>
                <c:pt idx="34895">
                  <c:v>0.62234706616728996</c:v>
                </c:pt>
                <c:pt idx="34896">
                  <c:v>0.62236490101658604</c:v>
                </c:pt>
                <c:pt idx="34897">
                  <c:v>0.622382735865881</c:v>
                </c:pt>
                <c:pt idx="34898">
                  <c:v>0.62240057071517696</c:v>
                </c:pt>
                <c:pt idx="34899">
                  <c:v>0.62241840556447303</c:v>
                </c:pt>
                <c:pt idx="34900">
                  <c:v>0.62243624041376799</c:v>
                </c:pt>
                <c:pt idx="34901">
                  <c:v>0.62245407526306396</c:v>
                </c:pt>
                <c:pt idx="34902">
                  <c:v>0.62247191011235903</c:v>
                </c:pt>
                <c:pt idx="34903">
                  <c:v>0.62248974496165499</c:v>
                </c:pt>
                <c:pt idx="34904">
                  <c:v>0.62250757981094995</c:v>
                </c:pt>
                <c:pt idx="34905">
                  <c:v>0.62252541466024602</c:v>
                </c:pt>
                <c:pt idx="34906">
                  <c:v>0.62254324950954099</c:v>
                </c:pt>
                <c:pt idx="34907">
                  <c:v>0.62256108435883695</c:v>
                </c:pt>
                <c:pt idx="34908">
                  <c:v>0.62257891920813202</c:v>
                </c:pt>
                <c:pt idx="34909">
                  <c:v>0.62259675405742798</c:v>
                </c:pt>
                <c:pt idx="34910">
                  <c:v>0.62261458890672305</c:v>
                </c:pt>
                <c:pt idx="34911">
                  <c:v>0.62263242375601902</c:v>
                </c:pt>
                <c:pt idx="34912">
                  <c:v>0.62265025860531398</c:v>
                </c:pt>
                <c:pt idx="34913">
                  <c:v>0.62266809345461005</c:v>
                </c:pt>
                <c:pt idx="34914">
                  <c:v>0.62268592830390501</c:v>
                </c:pt>
                <c:pt idx="34915">
                  <c:v>0.62270376315320097</c:v>
                </c:pt>
                <c:pt idx="34916">
                  <c:v>0.62272159800249605</c:v>
                </c:pt>
                <c:pt idx="34917">
                  <c:v>0.62273943285179201</c:v>
                </c:pt>
                <c:pt idx="34918">
                  <c:v>0.62275726770108797</c:v>
                </c:pt>
                <c:pt idx="34919">
                  <c:v>0.62277510255038304</c:v>
                </c:pt>
                <c:pt idx="34920">
                  <c:v>0.622792937399679</c:v>
                </c:pt>
                <c:pt idx="34921">
                  <c:v>0.62281077224897397</c:v>
                </c:pt>
                <c:pt idx="34922">
                  <c:v>0.62282860709827004</c:v>
                </c:pt>
                <c:pt idx="34923">
                  <c:v>0.622846441947565</c:v>
                </c:pt>
                <c:pt idx="34924">
                  <c:v>0.62286427679686096</c:v>
                </c:pt>
                <c:pt idx="34925">
                  <c:v>0.62288211164615603</c:v>
                </c:pt>
                <c:pt idx="34926">
                  <c:v>0.62289994649545199</c:v>
                </c:pt>
                <c:pt idx="34927">
                  <c:v>0.62291778134474696</c:v>
                </c:pt>
                <c:pt idx="34928">
                  <c:v>0.62293561619404303</c:v>
                </c:pt>
                <c:pt idx="34929">
                  <c:v>0.62295345104333799</c:v>
                </c:pt>
                <c:pt idx="34930">
                  <c:v>0.62297128589263395</c:v>
                </c:pt>
                <c:pt idx="34931">
                  <c:v>0.62298912074192903</c:v>
                </c:pt>
                <c:pt idx="34932">
                  <c:v>0.62300695559122499</c:v>
                </c:pt>
                <c:pt idx="34933">
                  <c:v>0.62302479044051995</c:v>
                </c:pt>
                <c:pt idx="34934">
                  <c:v>0.62304262528981602</c:v>
                </c:pt>
                <c:pt idx="34935">
                  <c:v>0.62306046013911098</c:v>
                </c:pt>
                <c:pt idx="34936">
                  <c:v>0.62307829498840706</c:v>
                </c:pt>
                <c:pt idx="34937">
                  <c:v>0.62309612983770202</c:v>
                </c:pt>
                <c:pt idx="34938">
                  <c:v>0.62311396468699798</c:v>
                </c:pt>
                <c:pt idx="34939">
                  <c:v>0.62313179953629305</c:v>
                </c:pt>
                <c:pt idx="34940">
                  <c:v>0.62314963438558901</c:v>
                </c:pt>
                <c:pt idx="34941">
                  <c:v>0.62316746923488497</c:v>
                </c:pt>
                <c:pt idx="34942">
                  <c:v>0.62318530408418005</c:v>
                </c:pt>
                <c:pt idx="34943">
                  <c:v>0.62320313893347601</c:v>
                </c:pt>
                <c:pt idx="34944">
                  <c:v>0.62322097378277097</c:v>
                </c:pt>
                <c:pt idx="34945">
                  <c:v>0.62323880863206704</c:v>
                </c:pt>
                <c:pt idx="34946">
                  <c:v>0.623256643481362</c:v>
                </c:pt>
                <c:pt idx="34947">
                  <c:v>0.62327447833065797</c:v>
                </c:pt>
                <c:pt idx="34948">
                  <c:v>0.62329231317995304</c:v>
                </c:pt>
                <c:pt idx="34949">
                  <c:v>0.623310148029249</c:v>
                </c:pt>
                <c:pt idx="34950">
                  <c:v>0.62332798287854396</c:v>
                </c:pt>
                <c:pt idx="34951">
                  <c:v>0.62334581772784003</c:v>
                </c:pt>
                <c:pt idx="34952">
                  <c:v>0.623363652577135</c:v>
                </c:pt>
                <c:pt idx="34953">
                  <c:v>0.62338148742643096</c:v>
                </c:pt>
                <c:pt idx="34954">
                  <c:v>0.62339932227572603</c:v>
                </c:pt>
                <c:pt idx="34955">
                  <c:v>0.62341715712502199</c:v>
                </c:pt>
                <c:pt idx="34956">
                  <c:v>0.62343499197431695</c:v>
                </c:pt>
                <c:pt idx="34957">
                  <c:v>0.62345282682361303</c:v>
                </c:pt>
                <c:pt idx="34958">
                  <c:v>0.62347066167290799</c:v>
                </c:pt>
                <c:pt idx="34959">
                  <c:v>0.62348849652220395</c:v>
                </c:pt>
                <c:pt idx="34960">
                  <c:v>0.62350633137149902</c:v>
                </c:pt>
                <c:pt idx="34961">
                  <c:v>0.62352416622079498</c:v>
                </c:pt>
                <c:pt idx="34962">
                  <c:v>0.62354200107009095</c:v>
                </c:pt>
                <c:pt idx="34963">
                  <c:v>0.62355983591938602</c:v>
                </c:pt>
                <c:pt idx="34964">
                  <c:v>0.62357767076868198</c:v>
                </c:pt>
                <c:pt idx="34965">
                  <c:v>0.62359550561797705</c:v>
                </c:pt>
                <c:pt idx="34966">
                  <c:v>0.62361334046727301</c:v>
                </c:pt>
                <c:pt idx="34967">
                  <c:v>0.62363117531656798</c:v>
                </c:pt>
                <c:pt idx="34968">
                  <c:v>0.62364901016586405</c:v>
                </c:pt>
                <c:pt idx="34969">
                  <c:v>0.62366684501515901</c:v>
                </c:pt>
                <c:pt idx="34970">
                  <c:v>0.62368467986445497</c:v>
                </c:pt>
                <c:pt idx="34971">
                  <c:v>0.62370251471375004</c:v>
                </c:pt>
                <c:pt idx="34972">
                  <c:v>0.62372034956304601</c:v>
                </c:pt>
                <c:pt idx="34973">
                  <c:v>0.62373818441234097</c:v>
                </c:pt>
                <c:pt idx="34974">
                  <c:v>0.62375601926163704</c:v>
                </c:pt>
                <c:pt idx="34975">
                  <c:v>0.623773854110932</c:v>
                </c:pt>
                <c:pt idx="34976">
                  <c:v>0.62379168896022796</c:v>
                </c:pt>
                <c:pt idx="34977">
                  <c:v>0.62380952380952304</c:v>
                </c:pt>
                <c:pt idx="34978">
                  <c:v>0.623827358658819</c:v>
                </c:pt>
                <c:pt idx="34979">
                  <c:v>0.62384519350811396</c:v>
                </c:pt>
                <c:pt idx="34980">
                  <c:v>0.62386302835741003</c:v>
                </c:pt>
                <c:pt idx="34981">
                  <c:v>0.62388086320670499</c:v>
                </c:pt>
                <c:pt idx="34982">
                  <c:v>0.62389869805600096</c:v>
                </c:pt>
                <c:pt idx="34983">
                  <c:v>0.62391653290529603</c:v>
                </c:pt>
                <c:pt idx="34984">
                  <c:v>0.62393436775459199</c:v>
                </c:pt>
                <c:pt idx="34985">
                  <c:v>0.62395220260388795</c:v>
                </c:pt>
                <c:pt idx="34986">
                  <c:v>0.62397003745318302</c:v>
                </c:pt>
                <c:pt idx="34987">
                  <c:v>0.62398787230247899</c:v>
                </c:pt>
                <c:pt idx="34988">
                  <c:v>0.62400570715177395</c:v>
                </c:pt>
                <c:pt idx="34989">
                  <c:v>0.62402354200107002</c:v>
                </c:pt>
                <c:pt idx="34990">
                  <c:v>0.62404137685036498</c:v>
                </c:pt>
                <c:pt idx="34991">
                  <c:v>0.62405921169966105</c:v>
                </c:pt>
                <c:pt idx="34992">
                  <c:v>0.62407704654895602</c:v>
                </c:pt>
                <c:pt idx="34993">
                  <c:v>0.62409488139825198</c:v>
                </c:pt>
                <c:pt idx="34994">
                  <c:v>0.62411271624754705</c:v>
                </c:pt>
                <c:pt idx="34995">
                  <c:v>0.62413055109684301</c:v>
                </c:pt>
                <c:pt idx="34996">
                  <c:v>0.62414838594613797</c:v>
                </c:pt>
                <c:pt idx="34997">
                  <c:v>0.62416622079543405</c:v>
                </c:pt>
                <c:pt idx="34998">
                  <c:v>0.62418405564472901</c:v>
                </c:pt>
                <c:pt idx="34999">
                  <c:v>0.62420189049402497</c:v>
                </c:pt>
                <c:pt idx="35000">
                  <c:v>0.62421972534332004</c:v>
                </c:pt>
                <c:pt idx="35001">
                  <c:v>0.624237560192616</c:v>
                </c:pt>
                <c:pt idx="35002">
                  <c:v>0.62425539504191097</c:v>
                </c:pt>
                <c:pt idx="35003">
                  <c:v>0.62427322989120704</c:v>
                </c:pt>
                <c:pt idx="35004">
                  <c:v>0.624291064740502</c:v>
                </c:pt>
                <c:pt idx="35005">
                  <c:v>0.62430889958979796</c:v>
                </c:pt>
                <c:pt idx="35006">
                  <c:v>0.62432673443909403</c:v>
                </c:pt>
                <c:pt idx="35007">
                  <c:v>0.624344569288389</c:v>
                </c:pt>
                <c:pt idx="35008">
                  <c:v>0.62436240413768496</c:v>
                </c:pt>
                <c:pt idx="35009">
                  <c:v>0.62438023898698003</c:v>
                </c:pt>
                <c:pt idx="35010">
                  <c:v>0.62439807383627599</c:v>
                </c:pt>
                <c:pt idx="35011">
                  <c:v>0.62441590868557095</c:v>
                </c:pt>
                <c:pt idx="35012">
                  <c:v>0.62443374353486703</c:v>
                </c:pt>
                <c:pt idx="35013">
                  <c:v>0.62445157838416199</c:v>
                </c:pt>
                <c:pt idx="35014">
                  <c:v>0.62446941323345795</c:v>
                </c:pt>
                <c:pt idx="35015">
                  <c:v>0.62448724808275302</c:v>
                </c:pt>
                <c:pt idx="35016">
                  <c:v>0.62450508293204898</c:v>
                </c:pt>
                <c:pt idx="35017">
                  <c:v>0.62452291778134394</c:v>
                </c:pt>
                <c:pt idx="35018">
                  <c:v>0.62454075263064002</c:v>
                </c:pt>
                <c:pt idx="35019">
                  <c:v>0.62455858747993498</c:v>
                </c:pt>
                <c:pt idx="35020">
                  <c:v>0.62457642232923105</c:v>
                </c:pt>
                <c:pt idx="35021">
                  <c:v>0.62459425717852601</c:v>
                </c:pt>
                <c:pt idx="35022">
                  <c:v>0.62461209202782197</c:v>
                </c:pt>
                <c:pt idx="35023">
                  <c:v>0.62462992687711705</c:v>
                </c:pt>
                <c:pt idx="35024">
                  <c:v>0.62464776172641301</c:v>
                </c:pt>
                <c:pt idx="35025">
                  <c:v>0.62466559657570897</c:v>
                </c:pt>
                <c:pt idx="35026">
                  <c:v>0.62468343142500404</c:v>
                </c:pt>
                <c:pt idx="35027">
                  <c:v>0.6247012662743</c:v>
                </c:pt>
                <c:pt idx="35028">
                  <c:v>0.62471910112359497</c:v>
                </c:pt>
                <c:pt idx="35029">
                  <c:v>0.62473693597289104</c:v>
                </c:pt>
                <c:pt idx="35030">
                  <c:v>0.624754770822186</c:v>
                </c:pt>
                <c:pt idx="35031">
                  <c:v>0.62477260567148196</c:v>
                </c:pt>
                <c:pt idx="35032">
                  <c:v>0.62479044052077704</c:v>
                </c:pt>
                <c:pt idx="35033">
                  <c:v>0.624808275370073</c:v>
                </c:pt>
                <c:pt idx="35034">
                  <c:v>0.62482611021936796</c:v>
                </c:pt>
                <c:pt idx="35035">
                  <c:v>0.62484394506866403</c:v>
                </c:pt>
                <c:pt idx="35036">
                  <c:v>0.62486177991795899</c:v>
                </c:pt>
                <c:pt idx="35037">
                  <c:v>0.62487961476725495</c:v>
                </c:pt>
                <c:pt idx="35038">
                  <c:v>0.62489744961655003</c:v>
                </c:pt>
                <c:pt idx="35039">
                  <c:v>0.62491528446584599</c:v>
                </c:pt>
                <c:pt idx="35040">
                  <c:v>0.62493311931514095</c:v>
                </c:pt>
                <c:pt idx="35041">
                  <c:v>0.62495095416443702</c:v>
                </c:pt>
                <c:pt idx="35042">
                  <c:v>0.62496878901373198</c:v>
                </c:pt>
                <c:pt idx="35043">
                  <c:v>0.62498662386302795</c:v>
                </c:pt>
                <c:pt idx="35044">
                  <c:v>0.62500445871232302</c:v>
                </c:pt>
                <c:pt idx="35045">
                  <c:v>0.62502229356161898</c:v>
                </c:pt>
                <c:pt idx="35046">
                  <c:v>0.62504012841091405</c:v>
                </c:pt>
                <c:pt idx="35047">
                  <c:v>0.62505796326021001</c:v>
                </c:pt>
                <c:pt idx="35048">
                  <c:v>0.62507579810950598</c:v>
                </c:pt>
                <c:pt idx="35049">
                  <c:v>0.62509363295880105</c:v>
                </c:pt>
                <c:pt idx="35050">
                  <c:v>0.62511146780809701</c:v>
                </c:pt>
                <c:pt idx="35051">
                  <c:v>0.62512930265739197</c:v>
                </c:pt>
                <c:pt idx="35052">
                  <c:v>0.62514713750668804</c:v>
                </c:pt>
                <c:pt idx="35053">
                  <c:v>0.62516497235598301</c:v>
                </c:pt>
                <c:pt idx="35054">
                  <c:v>0.62518280720527897</c:v>
                </c:pt>
                <c:pt idx="35055">
                  <c:v>0.62520064205457404</c:v>
                </c:pt>
                <c:pt idx="35056">
                  <c:v>0.62521847690387</c:v>
                </c:pt>
                <c:pt idx="35057">
                  <c:v>0.62523631175316496</c:v>
                </c:pt>
                <c:pt idx="35058">
                  <c:v>0.62525414660246104</c:v>
                </c:pt>
                <c:pt idx="35059">
                  <c:v>0.625271981451756</c:v>
                </c:pt>
                <c:pt idx="35060">
                  <c:v>0.62528981630105196</c:v>
                </c:pt>
                <c:pt idx="35061">
                  <c:v>0.62530765115034703</c:v>
                </c:pt>
                <c:pt idx="35062">
                  <c:v>0.62532548599964299</c:v>
                </c:pt>
                <c:pt idx="35063">
                  <c:v>0.62534332084893796</c:v>
                </c:pt>
                <c:pt idx="35064">
                  <c:v>0.62536115569823403</c:v>
                </c:pt>
                <c:pt idx="35065">
                  <c:v>0.62537899054752899</c:v>
                </c:pt>
                <c:pt idx="35066">
                  <c:v>0.62539682539682495</c:v>
                </c:pt>
                <c:pt idx="35067">
                  <c:v>0.62541466024612002</c:v>
                </c:pt>
                <c:pt idx="35068">
                  <c:v>0.62543249509541599</c:v>
                </c:pt>
                <c:pt idx="35069">
                  <c:v>0.62545032994471195</c:v>
                </c:pt>
                <c:pt idx="35070">
                  <c:v>0.62546816479400702</c:v>
                </c:pt>
                <c:pt idx="35071">
                  <c:v>0.62548599964330298</c:v>
                </c:pt>
                <c:pt idx="35072">
                  <c:v>0.62550383449259805</c:v>
                </c:pt>
                <c:pt idx="35073">
                  <c:v>0.62552166934189402</c:v>
                </c:pt>
                <c:pt idx="35074">
                  <c:v>0.62553950419118898</c:v>
                </c:pt>
                <c:pt idx="35075">
                  <c:v>0.62555733904048505</c:v>
                </c:pt>
                <c:pt idx="35076">
                  <c:v>0.62557517388978001</c:v>
                </c:pt>
                <c:pt idx="35077">
                  <c:v>0.62559300873907597</c:v>
                </c:pt>
                <c:pt idx="35078">
                  <c:v>0.62561084358837105</c:v>
                </c:pt>
                <c:pt idx="35079">
                  <c:v>0.62562867843766701</c:v>
                </c:pt>
                <c:pt idx="35080">
                  <c:v>0.62564651328696197</c:v>
                </c:pt>
                <c:pt idx="35081">
                  <c:v>0.62566434813625804</c:v>
                </c:pt>
                <c:pt idx="35082">
                  <c:v>0.625682182985553</c:v>
                </c:pt>
                <c:pt idx="35083">
                  <c:v>0.62570001783484896</c:v>
                </c:pt>
                <c:pt idx="35084">
                  <c:v>0.62571785268414404</c:v>
                </c:pt>
                <c:pt idx="35085">
                  <c:v>0.62573568753344</c:v>
                </c:pt>
                <c:pt idx="35086">
                  <c:v>0.62575352238273496</c:v>
                </c:pt>
                <c:pt idx="35087">
                  <c:v>0.62577135723203103</c:v>
                </c:pt>
                <c:pt idx="35088">
                  <c:v>0.625789192081326</c:v>
                </c:pt>
                <c:pt idx="35089">
                  <c:v>0.62580702693062196</c:v>
                </c:pt>
                <c:pt idx="35090">
                  <c:v>0.62582486177991703</c:v>
                </c:pt>
                <c:pt idx="35091">
                  <c:v>0.62584269662921299</c:v>
                </c:pt>
                <c:pt idx="35092">
                  <c:v>0.62586053147850895</c:v>
                </c:pt>
                <c:pt idx="35093">
                  <c:v>0.62587836632780403</c:v>
                </c:pt>
                <c:pt idx="35094">
                  <c:v>0.62589620117709999</c:v>
                </c:pt>
                <c:pt idx="35095">
                  <c:v>0.62591403602639495</c:v>
                </c:pt>
                <c:pt idx="35096">
                  <c:v>0.62593187087569102</c:v>
                </c:pt>
                <c:pt idx="35097">
                  <c:v>0.62594970572498598</c:v>
                </c:pt>
                <c:pt idx="35098">
                  <c:v>0.62596754057428206</c:v>
                </c:pt>
                <c:pt idx="35099">
                  <c:v>0.62598537542357702</c:v>
                </c:pt>
                <c:pt idx="35100">
                  <c:v>0.62600321027287298</c:v>
                </c:pt>
                <c:pt idx="35101">
                  <c:v>0.62602104512216805</c:v>
                </c:pt>
                <c:pt idx="35102">
                  <c:v>0.62603887997146401</c:v>
                </c:pt>
                <c:pt idx="35103">
                  <c:v>0.62605671482075897</c:v>
                </c:pt>
                <c:pt idx="35104">
                  <c:v>0.62607454967005505</c:v>
                </c:pt>
                <c:pt idx="35105">
                  <c:v>0.62609238451935001</c:v>
                </c:pt>
                <c:pt idx="35106">
                  <c:v>0.62611021936864597</c:v>
                </c:pt>
                <c:pt idx="35107">
                  <c:v>0.62612805421794104</c:v>
                </c:pt>
                <c:pt idx="35108">
                  <c:v>0.626145889067237</c:v>
                </c:pt>
                <c:pt idx="35109">
                  <c:v>0.62616372391653197</c:v>
                </c:pt>
                <c:pt idx="35110">
                  <c:v>0.62618155876582804</c:v>
                </c:pt>
                <c:pt idx="35111">
                  <c:v>0.626199393615124</c:v>
                </c:pt>
                <c:pt idx="35112">
                  <c:v>0.62621722846441896</c:v>
                </c:pt>
                <c:pt idx="35113">
                  <c:v>0.62623506331371503</c:v>
                </c:pt>
                <c:pt idx="35114">
                  <c:v>0.62625289816301</c:v>
                </c:pt>
                <c:pt idx="35115">
                  <c:v>0.62627073301230596</c:v>
                </c:pt>
                <c:pt idx="35116">
                  <c:v>0.62628856786160103</c:v>
                </c:pt>
                <c:pt idx="35117">
                  <c:v>0.62630640271089699</c:v>
                </c:pt>
                <c:pt idx="35118">
                  <c:v>0.62632423756019195</c:v>
                </c:pt>
                <c:pt idx="35119">
                  <c:v>0.62634207240948803</c:v>
                </c:pt>
                <c:pt idx="35120">
                  <c:v>0.62635990725878299</c:v>
                </c:pt>
                <c:pt idx="35121">
                  <c:v>0.62637774210807895</c:v>
                </c:pt>
                <c:pt idx="35122">
                  <c:v>0.62639557695737402</c:v>
                </c:pt>
                <c:pt idx="35123">
                  <c:v>0.62641341180666998</c:v>
                </c:pt>
                <c:pt idx="35124">
                  <c:v>0.62643124665596495</c:v>
                </c:pt>
                <c:pt idx="35125">
                  <c:v>0.62644908150526102</c:v>
                </c:pt>
                <c:pt idx="35126">
                  <c:v>0.62646691635455598</c:v>
                </c:pt>
                <c:pt idx="35127">
                  <c:v>0.62648475120385205</c:v>
                </c:pt>
                <c:pt idx="35128">
                  <c:v>0.62650258605314701</c:v>
                </c:pt>
                <c:pt idx="35129">
                  <c:v>0.62652042090244298</c:v>
                </c:pt>
                <c:pt idx="35130">
                  <c:v>0.62653825575173805</c:v>
                </c:pt>
                <c:pt idx="35131">
                  <c:v>0.62655609060103401</c:v>
                </c:pt>
                <c:pt idx="35132">
                  <c:v>0.62657392545032997</c:v>
                </c:pt>
                <c:pt idx="35133">
                  <c:v>0.62659176029962504</c:v>
                </c:pt>
                <c:pt idx="35134">
                  <c:v>0.62660959514892101</c:v>
                </c:pt>
                <c:pt idx="35135">
                  <c:v>0.62662742999821597</c:v>
                </c:pt>
                <c:pt idx="35136">
                  <c:v>0.62664526484751204</c:v>
                </c:pt>
                <c:pt idx="35137">
                  <c:v>0.626663099696807</c:v>
                </c:pt>
                <c:pt idx="35138">
                  <c:v>0.62668093454610296</c:v>
                </c:pt>
                <c:pt idx="35139">
                  <c:v>0.62669876939539804</c:v>
                </c:pt>
                <c:pt idx="35140">
                  <c:v>0.626716604244694</c:v>
                </c:pt>
                <c:pt idx="35141">
                  <c:v>0.62673443909398896</c:v>
                </c:pt>
                <c:pt idx="35142">
                  <c:v>0.62675227394328503</c:v>
                </c:pt>
                <c:pt idx="35143">
                  <c:v>0.62677010879257999</c:v>
                </c:pt>
                <c:pt idx="35144">
                  <c:v>0.62678794364187596</c:v>
                </c:pt>
                <c:pt idx="35145">
                  <c:v>0.62680577849117103</c:v>
                </c:pt>
                <c:pt idx="35146">
                  <c:v>0.62682361334046699</c:v>
                </c:pt>
                <c:pt idx="35147">
                  <c:v>0.62684144818976195</c:v>
                </c:pt>
                <c:pt idx="35148">
                  <c:v>0.62685928303905802</c:v>
                </c:pt>
                <c:pt idx="35149">
                  <c:v>0.62687711788835299</c:v>
                </c:pt>
                <c:pt idx="35150">
                  <c:v>0.62689495273764895</c:v>
                </c:pt>
                <c:pt idx="35151">
                  <c:v>0.62691278758694402</c:v>
                </c:pt>
                <c:pt idx="35152">
                  <c:v>0.62693062243623998</c:v>
                </c:pt>
                <c:pt idx="35153">
                  <c:v>0.62694845728553505</c:v>
                </c:pt>
                <c:pt idx="35154">
                  <c:v>0.62696629213483102</c:v>
                </c:pt>
                <c:pt idx="35155">
                  <c:v>0.62698412698412698</c:v>
                </c:pt>
                <c:pt idx="35156">
                  <c:v>0.62700196183342205</c:v>
                </c:pt>
                <c:pt idx="35157">
                  <c:v>0.62701979668271801</c:v>
                </c:pt>
                <c:pt idx="35158">
                  <c:v>0.62703763153201297</c:v>
                </c:pt>
                <c:pt idx="35159">
                  <c:v>0.62705546638130905</c:v>
                </c:pt>
                <c:pt idx="35160">
                  <c:v>0.62707330123060401</c:v>
                </c:pt>
                <c:pt idx="35161">
                  <c:v>0.62709113607989997</c:v>
                </c:pt>
                <c:pt idx="35162">
                  <c:v>0.62710897092919504</c:v>
                </c:pt>
                <c:pt idx="35163">
                  <c:v>0.627126805778491</c:v>
                </c:pt>
                <c:pt idx="35164">
                  <c:v>0.62714464062778597</c:v>
                </c:pt>
                <c:pt idx="35165">
                  <c:v>0.62716247547708204</c:v>
                </c:pt>
                <c:pt idx="35166">
                  <c:v>0.627180310326377</c:v>
                </c:pt>
                <c:pt idx="35167">
                  <c:v>0.62719814517567296</c:v>
                </c:pt>
                <c:pt idx="35168">
                  <c:v>0.62721598002496803</c:v>
                </c:pt>
                <c:pt idx="35169">
                  <c:v>0.627233814874264</c:v>
                </c:pt>
                <c:pt idx="35170">
                  <c:v>0.62725164972355896</c:v>
                </c:pt>
                <c:pt idx="35171">
                  <c:v>0.62726948457285503</c:v>
                </c:pt>
                <c:pt idx="35172">
                  <c:v>0.62728731942214999</c:v>
                </c:pt>
                <c:pt idx="35173">
                  <c:v>0.62730515427144595</c:v>
                </c:pt>
                <c:pt idx="35174">
                  <c:v>0.62732298912074103</c:v>
                </c:pt>
                <c:pt idx="35175">
                  <c:v>0.62734082397003699</c:v>
                </c:pt>
                <c:pt idx="35176">
                  <c:v>0.62735865881933295</c:v>
                </c:pt>
                <c:pt idx="35177">
                  <c:v>0.62737649366862802</c:v>
                </c:pt>
                <c:pt idx="35178">
                  <c:v>0.62739432851792398</c:v>
                </c:pt>
                <c:pt idx="35179">
                  <c:v>0.62741216336721894</c:v>
                </c:pt>
                <c:pt idx="35180">
                  <c:v>0.62742999821651502</c:v>
                </c:pt>
                <c:pt idx="35181">
                  <c:v>0.62744783306580998</c:v>
                </c:pt>
                <c:pt idx="35182">
                  <c:v>0.62746566791510605</c:v>
                </c:pt>
                <c:pt idx="35183">
                  <c:v>0.62748350276440101</c:v>
                </c:pt>
                <c:pt idx="35184">
                  <c:v>0.62750133761369697</c:v>
                </c:pt>
                <c:pt idx="35185">
                  <c:v>0.62751917246299205</c:v>
                </c:pt>
                <c:pt idx="35186">
                  <c:v>0.62753700731228801</c:v>
                </c:pt>
                <c:pt idx="35187">
                  <c:v>0.62755484216158297</c:v>
                </c:pt>
                <c:pt idx="35188">
                  <c:v>0.62757267701087904</c:v>
                </c:pt>
                <c:pt idx="35189">
                  <c:v>0.62759051186017401</c:v>
                </c:pt>
                <c:pt idx="35190">
                  <c:v>0.62760834670946997</c:v>
                </c:pt>
                <c:pt idx="35191">
                  <c:v>0.62762618155876504</c:v>
                </c:pt>
                <c:pt idx="35192">
                  <c:v>0.627644016408061</c:v>
                </c:pt>
                <c:pt idx="35193">
                  <c:v>0.62766185125735596</c:v>
                </c:pt>
                <c:pt idx="35194">
                  <c:v>0.62767968610665203</c:v>
                </c:pt>
                <c:pt idx="35195">
                  <c:v>0.627697520955947</c:v>
                </c:pt>
                <c:pt idx="35196">
                  <c:v>0.62771535580524296</c:v>
                </c:pt>
                <c:pt idx="35197">
                  <c:v>0.62773319065453803</c:v>
                </c:pt>
                <c:pt idx="35198">
                  <c:v>0.62775102550383399</c:v>
                </c:pt>
                <c:pt idx="35199">
                  <c:v>0.62776886035312995</c:v>
                </c:pt>
                <c:pt idx="35200">
                  <c:v>0.62778669520242503</c:v>
                </c:pt>
                <c:pt idx="35201">
                  <c:v>0.62780453005172099</c:v>
                </c:pt>
                <c:pt idx="35202">
                  <c:v>0.62782236490101595</c:v>
                </c:pt>
                <c:pt idx="35203">
                  <c:v>0.62784019975031202</c:v>
                </c:pt>
                <c:pt idx="35204">
                  <c:v>0.62785803459960698</c:v>
                </c:pt>
                <c:pt idx="35205">
                  <c:v>0.62787586944890295</c:v>
                </c:pt>
                <c:pt idx="35206">
                  <c:v>0.62789370429819802</c:v>
                </c:pt>
                <c:pt idx="35207">
                  <c:v>0.62791153914749398</c:v>
                </c:pt>
                <c:pt idx="35208">
                  <c:v>0.62792937399678905</c:v>
                </c:pt>
                <c:pt idx="35209">
                  <c:v>0.62794720884608501</c:v>
                </c:pt>
                <c:pt idx="35210">
                  <c:v>0.62796504369537998</c:v>
                </c:pt>
                <c:pt idx="35211">
                  <c:v>0.62798287854467605</c:v>
                </c:pt>
                <c:pt idx="35212">
                  <c:v>0.62800071339397101</c:v>
                </c:pt>
                <c:pt idx="35213">
                  <c:v>0.62801854824326697</c:v>
                </c:pt>
                <c:pt idx="35214">
                  <c:v>0.62803638309256204</c:v>
                </c:pt>
                <c:pt idx="35215">
                  <c:v>0.62805421794185801</c:v>
                </c:pt>
                <c:pt idx="35216">
                  <c:v>0.62807205279115397</c:v>
                </c:pt>
                <c:pt idx="35217">
                  <c:v>0.62808988764044904</c:v>
                </c:pt>
                <c:pt idx="35218">
                  <c:v>0.628107722489745</c:v>
                </c:pt>
                <c:pt idx="35219">
                  <c:v>0.62812555733903996</c:v>
                </c:pt>
                <c:pt idx="35220">
                  <c:v>0.62814339218833604</c:v>
                </c:pt>
                <c:pt idx="35221">
                  <c:v>0.628161227037631</c:v>
                </c:pt>
                <c:pt idx="35222">
                  <c:v>0.62817906188692696</c:v>
                </c:pt>
                <c:pt idx="35223">
                  <c:v>0.62819689673622203</c:v>
                </c:pt>
                <c:pt idx="35224">
                  <c:v>0.62821473158551799</c:v>
                </c:pt>
                <c:pt idx="35225">
                  <c:v>0.62823256643481296</c:v>
                </c:pt>
                <c:pt idx="35226">
                  <c:v>0.62825040128410903</c:v>
                </c:pt>
                <c:pt idx="35227">
                  <c:v>0.62826823613340399</c:v>
                </c:pt>
                <c:pt idx="35228">
                  <c:v>0.62828607098269995</c:v>
                </c:pt>
                <c:pt idx="35229">
                  <c:v>0.62830390583199502</c:v>
                </c:pt>
                <c:pt idx="35230">
                  <c:v>0.62832174068129099</c:v>
                </c:pt>
                <c:pt idx="35231">
                  <c:v>0.62833957553058595</c:v>
                </c:pt>
                <c:pt idx="35232">
                  <c:v>0.62835741037988202</c:v>
                </c:pt>
                <c:pt idx="35233">
                  <c:v>0.62837524522917698</c:v>
                </c:pt>
                <c:pt idx="35234">
                  <c:v>0.62839308007847305</c:v>
                </c:pt>
                <c:pt idx="35235">
                  <c:v>0.62841091492776802</c:v>
                </c:pt>
                <c:pt idx="35236">
                  <c:v>0.62842874977706398</c:v>
                </c:pt>
                <c:pt idx="35237">
                  <c:v>0.62844658462635905</c:v>
                </c:pt>
                <c:pt idx="35238">
                  <c:v>0.62846441947565501</c:v>
                </c:pt>
                <c:pt idx="35239">
                  <c:v>0.62848225432495097</c:v>
                </c:pt>
                <c:pt idx="35240">
                  <c:v>0.62850008917424605</c:v>
                </c:pt>
                <c:pt idx="35241">
                  <c:v>0.62851792402354201</c:v>
                </c:pt>
                <c:pt idx="35242">
                  <c:v>0.62853575887283697</c:v>
                </c:pt>
                <c:pt idx="35243">
                  <c:v>0.62855359372213304</c:v>
                </c:pt>
                <c:pt idx="35244">
                  <c:v>0.628571428571428</c:v>
                </c:pt>
                <c:pt idx="35245">
                  <c:v>0.62858926342072396</c:v>
                </c:pt>
                <c:pt idx="35246">
                  <c:v>0.62860709827001904</c:v>
                </c:pt>
                <c:pt idx="35247">
                  <c:v>0.628624933119315</c:v>
                </c:pt>
                <c:pt idx="35248">
                  <c:v>0.62864276796860996</c:v>
                </c:pt>
                <c:pt idx="35249">
                  <c:v>0.62866060281790603</c:v>
                </c:pt>
                <c:pt idx="35250">
                  <c:v>0.628678437667201</c:v>
                </c:pt>
                <c:pt idx="35251">
                  <c:v>0.62869627251649696</c:v>
                </c:pt>
                <c:pt idx="35252">
                  <c:v>0.62871410736579203</c:v>
                </c:pt>
                <c:pt idx="35253">
                  <c:v>0.62873194221508799</c:v>
                </c:pt>
                <c:pt idx="35254">
                  <c:v>0.62874977706438295</c:v>
                </c:pt>
                <c:pt idx="35255">
                  <c:v>0.62876761191367903</c:v>
                </c:pt>
                <c:pt idx="35256">
                  <c:v>0.62878544676297399</c:v>
                </c:pt>
                <c:pt idx="35257">
                  <c:v>0.62880328161226995</c:v>
                </c:pt>
                <c:pt idx="35258">
                  <c:v>0.62882111646156502</c:v>
                </c:pt>
                <c:pt idx="35259">
                  <c:v>0.62883895131086098</c:v>
                </c:pt>
                <c:pt idx="35260">
                  <c:v>0.62885678616015594</c:v>
                </c:pt>
                <c:pt idx="35261">
                  <c:v>0.62887462100945202</c:v>
                </c:pt>
                <c:pt idx="35262">
                  <c:v>0.62889245585874798</c:v>
                </c:pt>
                <c:pt idx="35263">
                  <c:v>0.62891029070804305</c:v>
                </c:pt>
                <c:pt idx="35264">
                  <c:v>0.62892812555733901</c:v>
                </c:pt>
                <c:pt idx="35265">
                  <c:v>0.62894596040663397</c:v>
                </c:pt>
                <c:pt idx="35266">
                  <c:v>0.62896379525593005</c:v>
                </c:pt>
                <c:pt idx="35267">
                  <c:v>0.62898163010522501</c:v>
                </c:pt>
                <c:pt idx="35268">
                  <c:v>0.62899946495452097</c:v>
                </c:pt>
                <c:pt idx="35269">
                  <c:v>0.62901729980381604</c:v>
                </c:pt>
                <c:pt idx="35270">
                  <c:v>0.629035134653112</c:v>
                </c:pt>
                <c:pt idx="35271">
                  <c:v>0.62905296950240697</c:v>
                </c:pt>
                <c:pt idx="35272">
                  <c:v>0.62907080435170304</c:v>
                </c:pt>
                <c:pt idx="35273">
                  <c:v>0.629088639200998</c:v>
                </c:pt>
                <c:pt idx="35274">
                  <c:v>0.62910647405029396</c:v>
                </c:pt>
                <c:pt idx="35275">
                  <c:v>0.62912430889958904</c:v>
                </c:pt>
                <c:pt idx="35276">
                  <c:v>0.629142143748885</c:v>
                </c:pt>
                <c:pt idx="35277">
                  <c:v>0.62915997859817996</c:v>
                </c:pt>
                <c:pt idx="35278">
                  <c:v>0.62917781344747603</c:v>
                </c:pt>
                <c:pt idx="35279">
                  <c:v>0.62919564829677099</c:v>
                </c:pt>
                <c:pt idx="35280">
                  <c:v>0.62921348314606695</c:v>
                </c:pt>
                <c:pt idx="35281">
                  <c:v>0.62923131799536203</c:v>
                </c:pt>
                <c:pt idx="35282">
                  <c:v>0.62924915284465799</c:v>
                </c:pt>
                <c:pt idx="35283">
                  <c:v>0.62926698769395395</c:v>
                </c:pt>
                <c:pt idx="35284">
                  <c:v>0.62928482254324902</c:v>
                </c:pt>
                <c:pt idx="35285">
                  <c:v>0.62930265739254498</c:v>
                </c:pt>
                <c:pt idx="35286">
                  <c:v>0.62932049224183995</c:v>
                </c:pt>
                <c:pt idx="35287">
                  <c:v>0.62933832709113602</c:v>
                </c:pt>
                <c:pt idx="35288">
                  <c:v>0.62935616194043098</c:v>
                </c:pt>
                <c:pt idx="35289">
                  <c:v>0.62937399678972705</c:v>
                </c:pt>
                <c:pt idx="35290">
                  <c:v>0.62939183163902201</c:v>
                </c:pt>
                <c:pt idx="35291">
                  <c:v>0.62940966648831798</c:v>
                </c:pt>
                <c:pt idx="35292">
                  <c:v>0.62942750133761305</c:v>
                </c:pt>
                <c:pt idx="35293">
                  <c:v>0.62944533618690901</c:v>
                </c:pt>
                <c:pt idx="35294">
                  <c:v>0.62946317103620397</c:v>
                </c:pt>
                <c:pt idx="35295">
                  <c:v>0.62948100588550004</c:v>
                </c:pt>
                <c:pt idx="35296">
                  <c:v>0.62949884073479501</c:v>
                </c:pt>
                <c:pt idx="35297">
                  <c:v>0.62951667558409097</c:v>
                </c:pt>
                <c:pt idx="35298">
                  <c:v>0.62953451043338604</c:v>
                </c:pt>
                <c:pt idx="35299">
                  <c:v>0.629552345282682</c:v>
                </c:pt>
                <c:pt idx="35300">
                  <c:v>0.62957018013197696</c:v>
                </c:pt>
                <c:pt idx="35301">
                  <c:v>0.62958801498127304</c:v>
                </c:pt>
                <c:pt idx="35302">
                  <c:v>0.629605849830568</c:v>
                </c:pt>
                <c:pt idx="35303">
                  <c:v>0.62962368467986396</c:v>
                </c:pt>
                <c:pt idx="35304">
                  <c:v>0.62964151952916003</c:v>
                </c:pt>
                <c:pt idx="35305">
                  <c:v>0.62965935437845499</c:v>
                </c:pt>
                <c:pt idx="35306">
                  <c:v>0.62967718922775096</c:v>
                </c:pt>
                <c:pt idx="35307">
                  <c:v>0.62969502407704603</c:v>
                </c:pt>
                <c:pt idx="35308">
                  <c:v>0.62971285892634199</c:v>
                </c:pt>
                <c:pt idx="35309">
                  <c:v>0.62973069377563695</c:v>
                </c:pt>
                <c:pt idx="35310">
                  <c:v>0.62974852862493302</c:v>
                </c:pt>
                <c:pt idx="35311">
                  <c:v>0.62976636347422799</c:v>
                </c:pt>
                <c:pt idx="35312">
                  <c:v>0.62978419832352395</c:v>
                </c:pt>
                <c:pt idx="35313">
                  <c:v>0.62980203317281902</c:v>
                </c:pt>
                <c:pt idx="35314">
                  <c:v>0.62981986802211498</c:v>
                </c:pt>
                <c:pt idx="35315">
                  <c:v>0.62983770287141005</c:v>
                </c:pt>
                <c:pt idx="35316">
                  <c:v>0.62985553772070602</c:v>
                </c:pt>
                <c:pt idx="35317">
                  <c:v>0.62987337257000098</c:v>
                </c:pt>
                <c:pt idx="35318">
                  <c:v>0.62989120741929705</c:v>
                </c:pt>
                <c:pt idx="35319">
                  <c:v>0.62990904226859201</c:v>
                </c:pt>
                <c:pt idx="35320">
                  <c:v>0.62992687711788797</c:v>
                </c:pt>
                <c:pt idx="35321">
                  <c:v>0.62994471196718305</c:v>
                </c:pt>
                <c:pt idx="35322">
                  <c:v>0.62996254681647901</c:v>
                </c:pt>
                <c:pt idx="35323">
                  <c:v>0.62998038166577497</c:v>
                </c:pt>
                <c:pt idx="35324">
                  <c:v>0.62999821651507004</c:v>
                </c:pt>
                <c:pt idx="35325">
                  <c:v>0.630016051364366</c:v>
                </c:pt>
                <c:pt idx="35326">
                  <c:v>0.63003388621366097</c:v>
                </c:pt>
                <c:pt idx="35327">
                  <c:v>0.63005172106295704</c:v>
                </c:pt>
                <c:pt idx="35328">
                  <c:v>0.630069555912252</c:v>
                </c:pt>
                <c:pt idx="35329">
                  <c:v>0.63008739076154796</c:v>
                </c:pt>
                <c:pt idx="35330">
                  <c:v>0.63010522561084303</c:v>
                </c:pt>
                <c:pt idx="35331">
                  <c:v>0.630123060460139</c:v>
                </c:pt>
                <c:pt idx="35332">
                  <c:v>0.63014089530943396</c:v>
                </c:pt>
                <c:pt idx="35333">
                  <c:v>0.63015873015873003</c:v>
                </c:pt>
                <c:pt idx="35334">
                  <c:v>0.63017656500802499</c:v>
                </c:pt>
                <c:pt idx="35335">
                  <c:v>0.63019439985732095</c:v>
                </c:pt>
                <c:pt idx="35336">
                  <c:v>0.63021223470661603</c:v>
                </c:pt>
                <c:pt idx="35337">
                  <c:v>0.63023006955591199</c:v>
                </c:pt>
                <c:pt idx="35338">
                  <c:v>0.63024790440520695</c:v>
                </c:pt>
                <c:pt idx="35339">
                  <c:v>0.63026573925450302</c:v>
                </c:pt>
                <c:pt idx="35340">
                  <c:v>0.63028357410379798</c:v>
                </c:pt>
                <c:pt idx="35341">
                  <c:v>0.63030140895309394</c:v>
                </c:pt>
                <c:pt idx="35342">
                  <c:v>0.63031924380238902</c:v>
                </c:pt>
                <c:pt idx="35343">
                  <c:v>0.63033707865168498</c:v>
                </c:pt>
                <c:pt idx="35344">
                  <c:v>0.63035491350098005</c:v>
                </c:pt>
                <c:pt idx="35345">
                  <c:v>0.63037274835027601</c:v>
                </c:pt>
                <c:pt idx="35346">
                  <c:v>0.63039058319957197</c:v>
                </c:pt>
                <c:pt idx="35347">
                  <c:v>0.63040841804886705</c:v>
                </c:pt>
                <c:pt idx="35348">
                  <c:v>0.63042625289816301</c:v>
                </c:pt>
                <c:pt idx="35349">
                  <c:v>0.63044408774745797</c:v>
                </c:pt>
                <c:pt idx="35350">
                  <c:v>0.63046192259675404</c:v>
                </c:pt>
                <c:pt idx="35351">
                  <c:v>0.63047975744604901</c:v>
                </c:pt>
                <c:pt idx="35352">
                  <c:v>0.63049759229534497</c:v>
                </c:pt>
                <c:pt idx="35353">
                  <c:v>0.63051542714464004</c:v>
                </c:pt>
                <c:pt idx="35354">
                  <c:v>0.630533261993936</c:v>
                </c:pt>
                <c:pt idx="35355">
                  <c:v>0.63055109684323096</c:v>
                </c:pt>
                <c:pt idx="35356">
                  <c:v>0.63056893169252703</c:v>
                </c:pt>
                <c:pt idx="35357">
                  <c:v>0.630586766541822</c:v>
                </c:pt>
                <c:pt idx="35358">
                  <c:v>0.63060460139111796</c:v>
                </c:pt>
                <c:pt idx="35359">
                  <c:v>0.63062243624041303</c:v>
                </c:pt>
                <c:pt idx="35360">
                  <c:v>0.63064027108970899</c:v>
                </c:pt>
                <c:pt idx="35361">
                  <c:v>0.63065810593900395</c:v>
                </c:pt>
                <c:pt idx="35362">
                  <c:v>0.63067594078830003</c:v>
                </c:pt>
                <c:pt idx="35363">
                  <c:v>0.63069377563759499</c:v>
                </c:pt>
                <c:pt idx="35364">
                  <c:v>0.63071161048689095</c:v>
                </c:pt>
                <c:pt idx="35365">
                  <c:v>0.63072944533618602</c:v>
                </c:pt>
                <c:pt idx="35366">
                  <c:v>0.63074728018548198</c:v>
                </c:pt>
                <c:pt idx="35367">
                  <c:v>0.63076511503477795</c:v>
                </c:pt>
                <c:pt idx="35368">
                  <c:v>0.63078294988407302</c:v>
                </c:pt>
                <c:pt idx="35369">
                  <c:v>0.63080078473336898</c:v>
                </c:pt>
                <c:pt idx="35370">
                  <c:v>0.63081861958266405</c:v>
                </c:pt>
                <c:pt idx="35371">
                  <c:v>0.63083645443196001</c:v>
                </c:pt>
                <c:pt idx="35372">
                  <c:v>0.63085428928125498</c:v>
                </c:pt>
                <c:pt idx="35373">
                  <c:v>0.63087212413055105</c:v>
                </c:pt>
                <c:pt idx="35374">
                  <c:v>0.63088995897984601</c:v>
                </c:pt>
                <c:pt idx="35375">
                  <c:v>0.63090779382914197</c:v>
                </c:pt>
                <c:pt idx="35376">
                  <c:v>0.63092562867843704</c:v>
                </c:pt>
                <c:pt idx="35377">
                  <c:v>0.63094346352773301</c:v>
                </c:pt>
                <c:pt idx="35378">
                  <c:v>0.63096129837702797</c:v>
                </c:pt>
                <c:pt idx="35379">
                  <c:v>0.63097913322632404</c:v>
                </c:pt>
                <c:pt idx="35380">
                  <c:v>0.630996968075619</c:v>
                </c:pt>
                <c:pt idx="35381">
                  <c:v>0.63101480292491496</c:v>
                </c:pt>
                <c:pt idx="35382">
                  <c:v>0.63103263777421004</c:v>
                </c:pt>
                <c:pt idx="35383">
                  <c:v>0.631050472623506</c:v>
                </c:pt>
                <c:pt idx="35384">
                  <c:v>0.63106830747280096</c:v>
                </c:pt>
                <c:pt idx="35385">
                  <c:v>0.63108614232209703</c:v>
                </c:pt>
                <c:pt idx="35386">
                  <c:v>0.63110397717139199</c:v>
                </c:pt>
                <c:pt idx="35387">
                  <c:v>0.63112181202068796</c:v>
                </c:pt>
                <c:pt idx="35388">
                  <c:v>0.63113964686998303</c:v>
                </c:pt>
                <c:pt idx="35389">
                  <c:v>0.63115748171927899</c:v>
                </c:pt>
                <c:pt idx="35390">
                  <c:v>0.63117531656857495</c:v>
                </c:pt>
                <c:pt idx="35391">
                  <c:v>0.63119315141787002</c:v>
                </c:pt>
                <c:pt idx="35392">
                  <c:v>0.63121098626716599</c:v>
                </c:pt>
                <c:pt idx="35393">
                  <c:v>0.63122882111646095</c:v>
                </c:pt>
                <c:pt idx="35394">
                  <c:v>0.63124665596575702</c:v>
                </c:pt>
                <c:pt idx="35395">
                  <c:v>0.63126449081505198</c:v>
                </c:pt>
                <c:pt idx="35396">
                  <c:v>0.63128232566434805</c:v>
                </c:pt>
                <c:pt idx="35397">
                  <c:v>0.63130016051364302</c:v>
                </c:pt>
                <c:pt idx="35398">
                  <c:v>0.63131799536293898</c:v>
                </c:pt>
                <c:pt idx="35399">
                  <c:v>0.63133583021223405</c:v>
                </c:pt>
                <c:pt idx="35400">
                  <c:v>0.63135366506153001</c:v>
                </c:pt>
                <c:pt idx="35401">
                  <c:v>0.63137149991082497</c:v>
                </c:pt>
                <c:pt idx="35402">
                  <c:v>0.63138933476012105</c:v>
                </c:pt>
                <c:pt idx="35403">
                  <c:v>0.63140716960941601</c:v>
                </c:pt>
                <c:pt idx="35404">
                  <c:v>0.63142500445871197</c:v>
                </c:pt>
                <c:pt idx="35405">
                  <c:v>0.63144283930800704</c:v>
                </c:pt>
                <c:pt idx="35406">
                  <c:v>0.631460674157303</c:v>
                </c:pt>
                <c:pt idx="35407">
                  <c:v>0.63147850900659797</c:v>
                </c:pt>
                <c:pt idx="35408">
                  <c:v>0.63149634385589404</c:v>
                </c:pt>
                <c:pt idx="35409">
                  <c:v>0.631514178705189</c:v>
                </c:pt>
                <c:pt idx="35410">
                  <c:v>0.63153201355448496</c:v>
                </c:pt>
                <c:pt idx="35411">
                  <c:v>0.63154984840378103</c:v>
                </c:pt>
                <c:pt idx="35412">
                  <c:v>0.631567683253076</c:v>
                </c:pt>
                <c:pt idx="35413">
                  <c:v>0.63158551810237196</c:v>
                </c:pt>
                <c:pt idx="35414">
                  <c:v>0.63160335295166703</c:v>
                </c:pt>
                <c:pt idx="35415">
                  <c:v>0.63162118780096299</c:v>
                </c:pt>
                <c:pt idx="35416">
                  <c:v>0.63163902265025795</c:v>
                </c:pt>
                <c:pt idx="35417">
                  <c:v>0.63165685749955403</c:v>
                </c:pt>
                <c:pt idx="35418">
                  <c:v>0.63167469234884899</c:v>
                </c:pt>
                <c:pt idx="35419">
                  <c:v>0.63169252719814495</c:v>
                </c:pt>
                <c:pt idx="35420">
                  <c:v>0.63171036204744002</c:v>
                </c:pt>
                <c:pt idx="35421">
                  <c:v>0.63172819689673598</c:v>
                </c:pt>
                <c:pt idx="35422">
                  <c:v>0.63174603174603094</c:v>
                </c:pt>
                <c:pt idx="35423">
                  <c:v>0.63176386659532702</c:v>
                </c:pt>
                <c:pt idx="35424">
                  <c:v>0.63178170144462198</c:v>
                </c:pt>
                <c:pt idx="35425">
                  <c:v>0.63179953629391805</c:v>
                </c:pt>
                <c:pt idx="35426">
                  <c:v>0.63181737114321301</c:v>
                </c:pt>
                <c:pt idx="35427">
                  <c:v>0.63183520599250897</c:v>
                </c:pt>
                <c:pt idx="35428">
                  <c:v>0.63185304084180405</c:v>
                </c:pt>
                <c:pt idx="35429">
                  <c:v>0.63187087569110001</c:v>
                </c:pt>
                <c:pt idx="35430">
                  <c:v>0.63188871054039597</c:v>
                </c:pt>
                <c:pt idx="35431">
                  <c:v>0.63190654538969104</c:v>
                </c:pt>
                <c:pt idx="35432">
                  <c:v>0.631924380238987</c:v>
                </c:pt>
                <c:pt idx="35433">
                  <c:v>0.63194221508828197</c:v>
                </c:pt>
                <c:pt idx="35434">
                  <c:v>0.63196004993757804</c:v>
                </c:pt>
                <c:pt idx="35435">
                  <c:v>0.631977884786873</c:v>
                </c:pt>
                <c:pt idx="35436">
                  <c:v>0.63199571963616896</c:v>
                </c:pt>
                <c:pt idx="35437">
                  <c:v>0.63201355448546404</c:v>
                </c:pt>
                <c:pt idx="35438">
                  <c:v>0.63203138933476</c:v>
                </c:pt>
                <c:pt idx="35439">
                  <c:v>0.63204922418405496</c:v>
                </c:pt>
                <c:pt idx="35440">
                  <c:v>0.63206705903335103</c:v>
                </c:pt>
                <c:pt idx="35441">
                  <c:v>0.63208489388264599</c:v>
                </c:pt>
                <c:pt idx="35442">
                  <c:v>0.63210272873194195</c:v>
                </c:pt>
                <c:pt idx="35443">
                  <c:v>0.63212056358123703</c:v>
                </c:pt>
                <c:pt idx="35444">
                  <c:v>0.63213839843053299</c:v>
                </c:pt>
                <c:pt idx="35445">
                  <c:v>0.63215623327982795</c:v>
                </c:pt>
                <c:pt idx="35446">
                  <c:v>0.63217406812912402</c:v>
                </c:pt>
                <c:pt idx="35447">
                  <c:v>0.63219190297841898</c:v>
                </c:pt>
                <c:pt idx="35448">
                  <c:v>0.63220973782771495</c:v>
                </c:pt>
                <c:pt idx="35449">
                  <c:v>0.63222757267701002</c:v>
                </c:pt>
                <c:pt idx="35450">
                  <c:v>0.63224540752630598</c:v>
                </c:pt>
                <c:pt idx="35451">
                  <c:v>0.63226324237560105</c:v>
                </c:pt>
                <c:pt idx="35452">
                  <c:v>0.63228107722489701</c:v>
                </c:pt>
                <c:pt idx="35453">
                  <c:v>0.63229891207419298</c:v>
                </c:pt>
                <c:pt idx="35454">
                  <c:v>0.63231674692348805</c:v>
                </c:pt>
                <c:pt idx="35455">
                  <c:v>0.63233458177278401</c:v>
                </c:pt>
                <c:pt idx="35456">
                  <c:v>0.63235241662207897</c:v>
                </c:pt>
                <c:pt idx="35457">
                  <c:v>0.63237025147137504</c:v>
                </c:pt>
                <c:pt idx="35458">
                  <c:v>0.63238808632067001</c:v>
                </c:pt>
                <c:pt idx="35459">
                  <c:v>0.63240592116996597</c:v>
                </c:pt>
                <c:pt idx="35460">
                  <c:v>0.63242375601926104</c:v>
                </c:pt>
                <c:pt idx="35461">
                  <c:v>0.632441590868557</c:v>
                </c:pt>
                <c:pt idx="35462">
                  <c:v>0.63245942571785196</c:v>
                </c:pt>
                <c:pt idx="35463">
                  <c:v>0.63247726056714804</c:v>
                </c:pt>
                <c:pt idx="35464">
                  <c:v>0.632495095416443</c:v>
                </c:pt>
                <c:pt idx="35465">
                  <c:v>0.63251293026573896</c:v>
                </c:pt>
                <c:pt idx="35466">
                  <c:v>0.63253076511503403</c:v>
                </c:pt>
                <c:pt idx="35467">
                  <c:v>0.63254859996432999</c:v>
                </c:pt>
                <c:pt idx="35468">
                  <c:v>0.63256643481362496</c:v>
                </c:pt>
                <c:pt idx="35469">
                  <c:v>0.63258426966292103</c:v>
                </c:pt>
                <c:pt idx="35470">
                  <c:v>0.63260210451221599</c:v>
                </c:pt>
                <c:pt idx="35471">
                  <c:v>0.63261993936151195</c:v>
                </c:pt>
                <c:pt idx="35472">
                  <c:v>0.63263777421080702</c:v>
                </c:pt>
                <c:pt idx="35473">
                  <c:v>0.63265560906010299</c:v>
                </c:pt>
                <c:pt idx="35474">
                  <c:v>0.63267344390939895</c:v>
                </c:pt>
                <c:pt idx="35475">
                  <c:v>0.63269127875869402</c:v>
                </c:pt>
                <c:pt idx="35476">
                  <c:v>0.63270911360798998</c:v>
                </c:pt>
                <c:pt idx="35477">
                  <c:v>0.63272694845728505</c:v>
                </c:pt>
                <c:pt idx="35478">
                  <c:v>0.63274478330658102</c:v>
                </c:pt>
                <c:pt idx="35479">
                  <c:v>0.63276261815587598</c:v>
                </c:pt>
                <c:pt idx="35480">
                  <c:v>0.63278045300517205</c:v>
                </c:pt>
                <c:pt idx="35481">
                  <c:v>0.63279828785446701</c:v>
                </c:pt>
                <c:pt idx="35482">
                  <c:v>0.63281612270376297</c:v>
                </c:pt>
                <c:pt idx="35483">
                  <c:v>0.63283395755305805</c:v>
                </c:pt>
                <c:pt idx="35484">
                  <c:v>0.63285179240235401</c:v>
                </c:pt>
                <c:pt idx="35485">
                  <c:v>0.63286962725164897</c:v>
                </c:pt>
                <c:pt idx="35486">
                  <c:v>0.63288746210094504</c:v>
                </c:pt>
                <c:pt idx="35487">
                  <c:v>0.63290529695024</c:v>
                </c:pt>
                <c:pt idx="35488">
                  <c:v>0.63292313179953597</c:v>
                </c:pt>
                <c:pt idx="35489">
                  <c:v>0.63294096664883104</c:v>
                </c:pt>
                <c:pt idx="35490">
                  <c:v>0.632958801498127</c:v>
                </c:pt>
                <c:pt idx="35491">
                  <c:v>0.63297663634742196</c:v>
                </c:pt>
                <c:pt idx="35492">
                  <c:v>0.63299447119671803</c:v>
                </c:pt>
                <c:pt idx="35493">
                  <c:v>0.633012306046013</c:v>
                </c:pt>
                <c:pt idx="35494">
                  <c:v>0.63303014089530896</c:v>
                </c:pt>
                <c:pt idx="35495">
                  <c:v>0.63304797574460403</c:v>
                </c:pt>
                <c:pt idx="35496">
                  <c:v>0.63306581059389999</c:v>
                </c:pt>
                <c:pt idx="35497">
                  <c:v>0.63308364544319595</c:v>
                </c:pt>
                <c:pt idx="35498">
                  <c:v>0.63310148029249103</c:v>
                </c:pt>
                <c:pt idx="35499">
                  <c:v>0.63311931514178699</c:v>
                </c:pt>
                <c:pt idx="35500">
                  <c:v>0.63313714999108195</c:v>
                </c:pt>
                <c:pt idx="35501">
                  <c:v>0.63315498484037802</c:v>
                </c:pt>
                <c:pt idx="35502">
                  <c:v>0.63317281968967298</c:v>
                </c:pt>
                <c:pt idx="35503">
                  <c:v>0.63319065453896894</c:v>
                </c:pt>
                <c:pt idx="35504">
                  <c:v>0.63320848938826402</c:v>
                </c:pt>
                <c:pt idx="35505">
                  <c:v>0.63322632423755998</c:v>
                </c:pt>
                <c:pt idx="35506">
                  <c:v>0.63324415908685505</c:v>
                </c:pt>
                <c:pt idx="35507">
                  <c:v>0.63326199393615101</c:v>
                </c:pt>
                <c:pt idx="35508">
                  <c:v>0.63327982878544598</c:v>
                </c:pt>
                <c:pt idx="35509">
                  <c:v>0.63329766363474205</c:v>
                </c:pt>
                <c:pt idx="35510">
                  <c:v>0.63331549848403701</c:v>
                </c:pt>
                <c:pt idx="35511">
                  <c:v>0.63333333333333297</c:v>
                </c:pt>
                <c:pt idx="35512">
                  <c:v>0.63335116818262804</c:v>
                </c:pt>
                <c:pt idx="35513">
                  <c:v>0.633369003031924</c:v>
                </c:pt>
                <c:pt idx="35514">
                  <c:v>0.63338683788121897</c:v>
                </c:pt>
                <c:pt idx="35515">
                  <c:v>0.63340467273051504</c:v>
                </c:pt>
                <c:pt idx="35516">
                  <c:v>0.633422507579811</c:v>
                </c:pt>
                <c:pt idx="35517">
                  <c:v>0.63344034242910596</c:v>
                </c:pt>
                <c:pt idx="35518">
                  <c:v>0.63345817727840203</c:v>
                </c:pt>
                <c:pt idx="35519">
                  <c:v>0.633476012127697</c:v>
                </c:pt>
                <c:pt idx="35520">
                  <c:v>0.63349384697699296</c:v>
                </c:pt>
                <c:pt idx="35521">
                  <c:v>0.63351168182628803</c:v>
                </c:pt>
                <c:pt idx="35522">
                  <c:v>0.63352951667558399</c:v>
                </c:pt>
                <c:pt idx="35523">
                  <c:v>0.63354735152487895</c:v>
                </c:pt>
                <c:pt idx="35524">
                  <c:v>0.63356518637417503</c:v>
                </c:pt>
                <c:pt idx="35525">
                  <c:v>0.63358302122346999</c:v>
                </c:pt>
                <c:pt idx="35526">
                  <c:v>0.63360085607276595</c:v>
                </c:pt>
                <c:pt idx="35527">
                  <c:v>0.63361869092206102</c:v>
                </c:pt>
                <c:pt idx="35528">
                  <c:v>0.63363652577135698</c:v>
                </c:pt>
                <c:pt idx="35529">
                  <c:v>0.63365436062065195</c:v>
                </c:pt>
                <c:pt idx="35530">
                  <c:v>0.63367219546994802</c:v>
                </c:pt>
                <c:pt idx="35531">
                  <c:v>0.63369003031924298</c:v>
                </c:pt>
                <c:pt idx="35532">
                  <c:v>0.63370786516853905</c:v>
                </c:pt>
                <c:pt idx="35533">
                  <c:v>0.63372570001783401</c:v>
                </c:pt>
                <c:pt idx="35534">
                  <c:v>0.63374353486712998</c:v>
                </c:pt>
                <c:pt idx="35535">
                  <c:v>0.63376136971642505</c:v>
                </c:pt>
                <c:pt idx="35536">
                  <c:v>0.63377920456572101</c:v>
                </c:pt>
                <c:pt idx="35537">
                  <c:v>0.63379703941501697</c:v>
                </c:pt>
                <c:pt idx="35538">
                  <c:v>0.63381487426431204</c:v>
                </c:pt>
                <c:pt idx="35539">
                  <c:v>0.63383270911360801</c:v>
                </c:pt>
                <c:pt idx="35540">
                  <c:v>0.63385054396290297</c:v>
                </c:pt>
                <c:pt idx="35541">
                  <c:v>0.63386837881219904</c:v>
                </c:pt>
                <c:pt idx="35542">
                  <c:v>0.633886213661494</c:v>
                </c:pt>
                <c:pt idx="35543">
                  <c:v>0.63390404851078996</c:v>
                </c:pt>
                <c:pt idx="35544">
                  <c:v>0.63392188336008504</c:v>
                </c:pt>
                <c:pt idx="35545">
                  <c:v>0.633939718209381</c:v>
                </c:pt>
                <c:pt idx="35546">
                  <c:v>0.63395755305867596</c:v>
                </c:pt>
                <c:pt idx="35547">
                  <c:v>0.63397538790797203</c:v>
                </c:pt>
                <c:pt idx="35548">
                  <c:v>0.63399322275726699</c:v>
                </c:pt>
                <c:pt idx="35549">
                  <c:v>0.63401105760656296</c:v>
                </c:pt>
                <c:pt idx="35550">
                  <c:v>0.63402889245585803</c:v>
                </c:pt>
                <c:pt idx="35551">
                  <c:v>0.63404672730515399</c:v>
                </c:pt>
                <c:pt idx="35552">
                  <c:v>0.63406456215444895</c:v>
                </c:pt>
                <c:pt idx="35553">
                  <c:v>0.63408239700374502</c:v>
                </c:pt>
                <c:pt idx="35554">
                  <c:v>0.63410023185303999</c:v>
                </c:pt>
                <c:pt idx="35555">
                  <c:v>0.63411806670233595</c:v>
                </c:pt>
                <c:pt idx="35556">
                  <c:v>0.63413590155163102</c:v>
                </c:pt>
                <c:pt idx="35557">
                  <c:v>0.63415373640092698</c:v>
                </c:pt>
                <c:pt idx="35558">
                  <c:v>0.63417157125022205</c:v>
                </c:pt>
                <c:pt idx="35559">
                  <c:v>0.63418940609951802</c:v>
                </c:pt>
                <c:pt idx="35560">
                  <c:v>0.63420724094881398</c:v>
                </c:pt>
                <c:pt idx="35561">
                  <c:v>0.63422507579810905</c:v>
                </c:pt>
                <c:pt idx="35562">
                  <c:v>0.63424291064740501</c:v>
                </c:pt>
                <c:pt idx="35563">
                  <c:v>0.63426074549669997</c:v>
                </c:pt>
                <c:pt idx="35564">
                  <c:v>0.63427858034599605</c:v>
                </c:pt>
                <c:pt idx="35565">
                  <c:v>0.63429641519529101</c:v>
                </c:pt>
                <c:pt idx="35566">
                  <c:v>0.63431425004458697</c:v>
                </c:pt>
                <c:pt idx="35567">
                  <c:v>0.63433208489388204</c:v>
                </c:pt>
                <c:pt idx="35568">
                  <c:v>0.634349919743178</c:v>
                </c:pt>
                <c:pt idx="35569">
                  <c:v>0.63436775459247297</c:v>
                </c:pt>
                <c:pt idx="35570">
                  <c:v>0.63438558944176904</c:v>
                </c:pt>
                <c:pt idx="35571">
                  <c:v>0.634403424291064</c:v>
                </c:pt>
                <c:pt idx="35572">
                  <c:v>0.63442125914035996</c:v>
                </c:pt>
                <c:pt idx="35573">
                  <c:v>0.63443909398965503</c:v>
                </c:pt>
                <c:pt idx="35574">
                  <c:v>0.634456928838951</c:v>
                </c:pt>
                <c:pt idx="35575">
                  <c:v>0.63447476368824596</c:v>
                </c:pt>
                <c:pt idx="35576">
                  <c:v>0.63449259853754203</c:v>
                </c:pt>
                <c:pt idx="35577">
                  <c:v>0.63451043338683699</c:v>
                </c:pt>
                <c:pt idx="35578">
                  <c:v>0.63452826823613295</c:v>
                </c:pt>
                <c:pt idx="35579">
                  <c:v>0.63454610308542803</c:v>
                </c:pt>
                <c:pt idx="35580">
                  <c:v>0.63456393793472399</c:v>
                </c:pt>
                <c:pt idx="35581">
                  <c:v>0.63458177278401995</c:v>
                </c:pt>
                <c:pt idx="35582">
                  <c:v>0.63459960763331502</c:v>
                </c:pt>
                <c:pt idx="35583">
                  <c:v>0.63461744248261098</c:v>
                </c:pt>
                <c:pt idx="35584">
                  <c:v>0.63463527733190594</c:v>
                </c:pt>
                <c:pt idx="35585">
                  <c:v>0.63465311218120202</c:v>
                </c:pt>
                <c:pt idx="35586">
                  <c:v>0.63467094703049698</c:v>
                </c:pt>
                <c:pt idx="35587">
                  <c:v>0.63468878187979305</c:v>
                </c:pt>
                <c:pt idx="35588">
                  <c:v>0.63470661672908801</c:v>
                </c:pt>
                <c:pt idx="35589">
                  <c:v>0.63472445157838397</c:v>
                </c:pt>
                <c:pt idx="35590">
                  <c:v>0.63474228642767905</c:v>
                </c:pt>
                <c:pt idx="35591">
                  <c:v>0.63476012127697501</c:v>
                </c:pt>
                <c:pt idx="35592">
                  <c:v>0.63477795612626997</c:v>
                </c:pt>
                <c:pt idx="35593">
                  <c:v>0.63479579097556604</c:v>
                </c:pt>
                <c:pt idx="35594">
                  <c:v>0.63481362582486101</c:v>
                </c:pt>
                <c:pt idx="35595">
                  <c:v>0.63483146067415697</c:v>
                </c:pt>
                <c:pt idx="35596">
                  <c:v>0.63484929552345204</c:v>
                </c:pt>
                <c:pt idx="35597">
                  <c:v>0.634867130372748</c:v>
                </c:pt>
                <c:pt idx="35598">
                  <c:v>0.63488496522204296</c:v>
                </c:pt>
                <c:pt idx="35599">
                  <c:v>0.63490280007133904</c:v>
                </c:pt>
                <c:pt idx="35600">
                  <c:v>0.634920634920634</c:v>
                </c:pt>
                <c:pt idx="35601">
                  <c:v>0.63493846976992996</c:v>
                </c:pt>
                <c:pt idx="35602">
                  <c:v>0.63495630461922503</c:v>
                </c:pt>
                <c:pt idx="35603">
                  <c:v>0.63497413946852099</c:v>
                </c:pt>
                <c:pt idx="35604">
                  <c:v>0.63499197431781695</c:v>
                </c:pt>
                <c:pt idx="35605">
                  <c:v>0.63500980916711203</c:v>
                </c:pt>
                <c:pt idx="35606">
                  <c:v>0.63502764401640799</c:v>
                </c:pt>
                <c:pt idx="35607">
                  <c:v>0.63504547886570295</c:v>
                </c:pt>
                <c:pt idx="35608">
                  <c:v>0.63506331371499902</c:v>
                </c:pt>
                <c:pt idx="35609">
                  <c:v>0.63508114856429398</c:v>
                </c:pt>
                <c:pt idx="35610">
                  <c:v>0.63509898341358995</c:v>
                </c:pt>
                <c:pt idx="35611">
                  <c:v>0.63511681826288502</c:v>
                </c:pt>
                <c:pt idx="35612">
                  <c:v>0.63513465311218098</c:v>
                </c:pt>
                <c:pt idx="35613">
                  <c:v>0.63515248796147605</c:v>
                </c:pt>
                <c:pt idx="35614">
                  <c:v>0.63517032281077201</c:v>
                </c:pt>
                <c:pt idx="35615">
                  <c:v>0.63518815766006698</c:v>
                </c:pt>
                <c:pt idx="35616">
                  <c:v>0.63520599250936305</c:v>
                </c:pt>
                <c:pt idx="35617">
                  <c:v>0.63522382735865801</c:v>
                </c:pt>
                <c:pt idx="35618">
                  <c:v>0.63524166220795397</c:v>
                </c:pt>
                <c:pt idx="35619">
                  <c:v>0.63525949705724905</c:v>
                </c:pt>
                <c:pt idx="35620">
                  <c:v>0.63527733190654501</c:v>
                </c:pt>
                <c:pt idx="35621">
                  <c:v>0.63529516675584097</c:v>
                </c:pt>
                <c:pt idx="35622">
                  <c:v>0.63531300160513604</c:v>
                </c:pt>
                <c:pt idx="35623">
                  <c:v>0.635330836454432</c:v>
                </c:pt>
                <c:pt idx="35624">
                  <c:v>0.63534867130372696</c:v>
                </c:pt>
                <c:pt idx="35625">
                  <c:v>0.63536650615302304</c:v>
                </c:pt>
                <c:pt idx="35626">
                  <c:v>0.635384341002318</c:v>
                </c:pt>
                <c:pt idx="35627">
                  <c:v>0.63540217585161396</c:v>
                </c:pt>
                <c:pt idx="35628">
                  <c:v>0.63542001070090903</c:v>
                </c:pt>
                <c:pt idx="35629">
                  <c:v>0.63543784555020499</c:v>
                </c:pt>
                <c:pt idx="35630">
                  <c:v>0.63545568039949996</c:v>
                </c:pt>
                <c:pt idx="35631">
                  <c:v>0.63547351524879603</c:v>
                </c:pt>
                <c:pt idx="35632">
                  <c:v>0.63549135009809099</c:v>
                </c:pt>
                <c:pt idx="35633">
                  <c:v>0.63550918494738695</c:v>
                </c:pt>
                <c:pt idx="35634">
                  <c:v>0.63552701979668202</c:v>
                </c:pt>
                <c:pt idx="35635">
                  <c:v>0.63554485464597799</c:v>
                </c:pt>
                <c:pt idx="35636">
                  <c:v>0.63556268949527295</c:v>
                </c:pt>
                <c:pt idx="35637">
                  <c:v>0.63558052434456902</c:v>
                </c:pt>
                <c:pt idx="35638">
                  <c:v>0.63559835919386398</c:v>
                </c:pt>
                <c:pt idx="35639">
                  <c:v>0.63561619404316005</c:v>
                </c:pt>
                <c:pt idx="35640">
                  <c:v>0.63563402889245502</c:v>
                </c:pt>
                <c:pt idx="35641">
                  <c:v>0.63565186374175098</c:v>
                </c:pt>
                <c:pt idx="35642">
                  <c:v>0.63566969859104605</c:v>
                </c:pt>
                <c:pt idx="35643">
                  <c:v>0.63568753344034201</c:v>
                </c:pt>
                <c:pt idx="35644">
                  <c:v>0.63570536828963797</c:v>
                </c:pt>
                <c:pt idx="35645">
                  <c:v>0.63572320313893305</c:v>
                </c:pt>
                <c:pt idx="35646">
                  <c:v>0.63574103798822901</c:v>
                </c:pt>
                <c:pt idx="35647">
                  <c:v>0.63575887283752397</c:v>
                </c:pt>
                <c:pt idx="35648">
                  <c:v>0.63577670768682004</c:v>
                </c:pt>
                <c:pt idx="35649">
                  <c:v>0.635794542536115</c:v>
                </c:pt>
                <c:pt idx="35650">
                  <c:v>0.63581237738541097</c:v>
                </c:pt>
                <c:pt idx="35651">
                  <c:v>0.63583021223470604</c:v>
                </c:pt>
                <c:pt idx="35652">
                  <c:v>0.635848047084002</c:v>
                </c:pt>
                <c:pt idx="35653">
                  <c:v>0.63586588193329696</c:v>
                </c:pt>
                <c:pt idx="35654">
                  <c:v>0.63588371678259303</c:v>
                </c:pt>
                <c:pt idx="35655">
                  <c:v>0.635901551631888</c:v>
                </c:pt>
                <c:pt idx="35656">
                  <c:v>0.63591938648118396</c:v>
                </c:pt>
                <c:pt idx="35657">
                  <c:v>0.63593722133047903</c:v>
                </c:pt>
                <c:pt idx="35658">
                  <c:v>0.63595505617977499</c:v>
                </c:pt>
                <c:pt idx="35659">
                  <c:v>0.63597289102906995</c:v>
                </c:pt>
                <c:pt idx="35660">
                  <c:v>0.63599072587836603</c:v>
                </c:pt>
                <c:pt idx="35661">
                  <c:v>0.63600856072766099</c:v>
                </c:pt>
                <c:pt idx="35662">
                  <c:v>0.63602639557695695</c:v>
                </c:pt>
                <c:pt idx="35663">
                  <c:v>0.63604423042625202</c:v>
                </c:pt>
                <c:pt idx="35664">
                  <c:v>0.63606206527554798</c:v>
                </c:pt>
                <c:pt idx="35665">
                  <c:v>0.63607990012484295</c:v>
                </c:pt>
                <c:pt idx="35666">
                  <c:v>0.63609773497413902</c:v>
                </c:pt>
                <c:pt idx="35667">
                  <c:v>0.63611556982343498</c:v>
                </c:pt>
                <c:pt idx="35668">
                  <c:v>0.63613340467273005</c:v>
                </c:pt>
                <c:pt idx="35669">
                  <c:v>0.63615123952202601</c:v>
                </c:pt>
                <c:pt idx="35670">
                  <c:v>0.63616907437132098</c:v>
                </c:pt>
                <c:pt idx="35671">
                  <c:v>0.63618690922061705</c:v>
                </c:pt>
                <c:pt idx="35672">
                  <c:v>0.63620474406991201</c:v>
                </c:pt>
                <c:pt idx="35673">
                  <c:v>0.63622257891920797</c:v>
                </c:pt>
                <c:pt idx="35674">
                  <c:v>0.63624041376850304</c:v>
                </c:pt>
                <c:pt idx="35675">
                  <c:v>0.636258248617799</c:v>
                </c:pt>
                <c:pt idx="35676">
                  <c:v>0.63627608346709397</c:v>
                </c:pt>
                <c:pt idx="35677">
                  <c:v>0.63629391831639004</c:v>
                </c:pt>
                <c:pt idx="35678">
                  <c:v>0.636311753165685</c:v>
                </c:pt>
                <c:pt idx="35679">
                  <c:v>0.63632958801498096</c:v>
                </c:pt>
                <c:pt idx="35680">
                  <c:v>0.63634742286427604</c:v>
                </c:pt>
                <c:pt idx="35681">
                  <c:v>0.636365257713572</c:v>
                </c:pt>
                <c:pt idx="35682">
                  <c:v>0.63638309256286696</c:v>
                </c:pt>
                <c:pt idx="35683">
                  <c:v>0.63640092741216303</c:v>
                </c:pt>
                <c:pt idx="35684">
                  <c:v>0.63641876226145799</c:v>
                </c:pt>
                <c:pt idx="35685">
                  <c:v>0.63643659711075395</c:v>
                </c:pt>
                <c:pt idx="35686">
                  <c:v>0.63645443196004903</c:v>
                </c:pt>
                <c:pt idx="35687">
                  <c:v>0.63647226680934499</c:v>
                </c:pt>
                <c:pt idx="35688">
                  <c:v>0.63649010165864095</c:v>
                </c:pt>
                <c:pt idx="35689">
                  <c:v>0.63650793650793602</c:v>
                </c:pt>
                <c:pt idx="35690">
                  <c:v>0.63652577135723198</c:v>
                </c:pt>
                <c:pt idx="35691">
                  <c:v>0.63654360620652695</c:v>
                </c:pt>
                <c:pt idx="35692">
                  <c:v>0.63656144105582302</c:v>
                </c:pt>
                <c:pt idx="35693">
                  <c:v>0.63657927590511798</c:v>
                </c:pt>
                <c:pt idx="35694">
                  <c:v>0.63659711075441405</c:v>
                </c:pt>
                <c:pt idx="35695">
                  <c:v>0.63661494560370901</c:v>
                </c:pt>
                <c:pt idx="35696">
                  <c:v>0.63663278045300498</c:v>
                </c:pt>
                <c:pt idx="35697">
                  <c:v>0.63665061530230005</c:v>
                </c:pt>
                <c:pt idx="35698">
                  <c:v>0.63666845015159601</c:v>
                </c:pt>
                <c:pt idx="35699">
                  <c:v>0.63668628500089097</c:v>
                </c:pt>
                <c:pt idx="35700">
                  <c:v>0.63670411985018704</c:v>
                </c:pt>
                <c:pt idx="35701">
                  <c:v>0.63672195469948201</c:v>
                </c:pt>
                <c:pt idx="35702">
                  <c:v>0.63673978954877797</c:v>
                </c:pt>
                <c:pt idx="35703">
                  <c:v>0.63675762439807304</c:v>
                </c:pt>
                <c:pt idx="35704">
                  <c:v>0.636775459247369</c:v>
                </c:pt>
                <c:pt idx="35705">
                  <c:v>0.63679329409666396</c:v>
                </c:pt>
                <c:pt idx="35706">
                  <c:v>0.63681112894596004</c:v>
                </c:pt>
                <c:pt idx="35707">
                  <c:v>0.636828963795255</c:v>
                </c:pt>
                <c:pt idx="35708">
                  <c:v>0.63684679864455096</c:v>
                </c:pt>
                <c:pt idx="35709">
                  <c:v>0.63686463349384703</c:v>
                </c:pt>
                <c:pt idx="35710">
                  <c:v>0.63688246834314199</c:v>
                </c:pt>
                <c:pt idx="35711">
                  <c:v>0.63690030319243796</c:v>
                </c:pt>
                <c:pt idx="35712">
                  <c:v>0.63691813804173303</c:v>
                </c:pt>
                <c:pt idx="35713">
                  <c:v>0.63693597289102899</c:v>
                </c:pt>
                <c:pt idx="35714">
                  <c:v>0.63695380774032395</c:v>
                </c:pt>
                <c:pt idx="35715">
                  <c:v>0.63697164258962002</c:v>
                </c:pt>
                <c:pt idx="35716">
                  <c:v>0.63698947743891499</c:v>
                </c:pt>
                <c:pt idx="35717">
                  <c:v>0.63700731228821095</c:v>
                </c:pt>
                <c:pt idx="35718">
                  <c:v>0.63702514713750602</c:v>
                </c:pt>
                <c:pt idx="35719">
                  <c:v>0.63704298198680198</c:v>
                </c:pt>
                <c:pt idx="35720">
                  <c:v>0.63706081683609705</c:v>
                </c:pt>
                <c:pt idx="35721">
                  <c:v>0.63707865168539302</c:v>
                </c:pt>
                <c:pt idx="35722">
                  <c:v>0.63709648653468798</c:v>
                </c:pt>
                <c:pt idx="35723">
                  <c:v>0.63711432138398405</c:v>
                </c:pt>
                <c:pt idx="35724">
                  <c:v>0.63713215623327901</c:v>
                </c:pt>
                <c:pt idx="35725">
                  <c:v>0.63714999108257497</c:v>
                </c:pt>
                <c:pt idx="35726">
                  <c:v>0.63716782593187005</c:v>
                </c:pt>
                <c:pt idx="35727">
                  <c:v>0.63718566078116601</c:v>
                </c:pt>
                <c:pt idx="35728">
                  <c:v>0.63720349563046197</c:v>
                </c:pt>
                <c:pt idx="35729">
                  <c:v>0.63722133047975704</c:v>
                </c:pt>
                <c:pt idx="35730">
                  <c:v>0.637239165329053</c:v>
                </c:pt>
                <c:pt idx="35731">
                  <c:v>0.63725700017834797</c:v>
                </c:pt>
                <c:pt idx="35732">
                  <c:v>0.63727483502764404</c:v>
                </c:pt>
                <c:pt idx="35733">
                  <c:v>0.637292669876939</c:v>
                </c:pt>
                <c:pt idx="35734">
                  <c:v>0.63731050472623496</c:v>
                </c:pt>
                <c:pt idx="35735">
                  <c:v>0.63732833957553003</c:v>
                </c:pt>
                <c:pt idx="35736">
                  <c:v>0.637346174424826</c:v>
                </c:pt>
                <c:pt idx="35737">
                  <c:v>0.63736400927412096</c:v>
                </c:pt>
                <c:pt idx="35738">
                  <c:v>0.63738184412341703</c:v>
                </c:pt>
                <c:pt idx="35739">
                  <c:v>0.63739967897271199</c:v>
                </c:pt>
                <c:pt idx="35740">
                  <c:v>0.63741751382200795</c:v>
                </c:pt>
                <c:pt idx="35741">
                  <c:v>0.63743534867130303</c:v>
                </c:pt>
                <c:pt idx="35742">
                  <c:v>0.63745318352059899</c:v>
                </c:pt>
                <c:pt idx="35743">
                  <c:v>0.63747101836989395</c:v>
                </c:pt>
                <c:pt idx="35744">
                  <c:v>0.63748885321919002</c:v>
                </c:pt>
                <c:pt idx="35745">
                  <c:v>0.63750668806848498</c:v>
                </c:pt>
                <c:pt idx="35746">
                  <c:v>0.63752452291778094</c:v>
                </c:pt>
                <c:pt idx="35747">
                  <c:v>0.63754235776707602</c:v>
                </c:pt>
                <c:pt idx="35748">
                  <c:v>0.63756019261637198</c:v>
                </c:pt>
                <c:pt idx="35749">
                  <c:v>0.63757802746566705</c:v>
                </c:pt>
                <c:pt idx="35750">
                  <c:v>0.63759586231496301</c:v>
                </c:pt>
                <c:pt idx="35751">
                  <c:v>0.63761369716425897</c:v>
                </c:pt>
                <c:pt idx="35752">
                  <c:v>0.63763153201355405</c:v>
                </c:pt>
                <c:pt idx="35753">
                  <c:v>0.63764936686285001</c:v>
                </c:pt>
                <c:pt idx="35754">
                  <c:v>0.63766720171214497</c:v>
                </c:pt>
                <c:pt idx="35755">
                  <c:v>0.63768503656144104</c:v>
                </c:pt>
                <c:pt idx="35756">
                  <c:v>0.63770287141073601</c:v>
                </c:pt>
                <c:pt idx="35757">
                  <c:v>0.63772070626003197</c:v>
                </c:pt>
                <c:pt idx="35758">
                  <c:v>0.63773854110932704</c:v>
                </c:pt>
                <c:pt idx="35759">
                  <c:v>0.637756375958623</c:v>
                </c:pt>
                <c:pt idx="35760">
                  <c:v>0.63777421080791796</c:v>
                </c:pt>
                <c:pt idx="35761">
                  <c:v>0.63779204565721404</c:v>
                </c:pt>
                <c:pt idx="35762">
                  <c:v>0.637809880506509</c:v>
                </c:pt>
                <c:pt idx="35763">
                  <c:v>0.63782771535580496</c:v>
                </c:pt>
                <c:pt idx="35764">
                  <c:v>0.63784555020510003</c:v>
                </c:pt>
                <c:pt idx="35765">
                  <c:v>0.63786338505439599</c:v>
                </c:pt>
                <c:pt idx="35766">
                  <c:v>0.63788121990369095</c:v>
                </c:pt>
                <c:pt idx="35767">
                  <c:v>0.63789905475298703</c:v>
                </c:pt>
                <c:pt idx="35768">
                  <c:v>0.63791688960228199</c:v>
                </c:pt>
                <c:pt idx="35769">
                  <c:v>0.63793472445157795</c:v>
                </c:pt>
                <c:pt idx="35770">
                  <c:v>0.63795255930087302</c:v>
                </c:pt>
                <c:pt idx="35771">
                  <c:v>0.63797039415016898</c:v>
                </c:pt>
                <c:pt idx="35772">
                  <c:v>0.63798822899946495</c:v>
                </c:pt>
                <c:pt idx="35773">
                  <c:v>0.63800606384876002</c:v>
                </c:pt>
                <c:pt idx="35774">
                  <c:v>0.63802389869805598</c:v>
                </c:pt>
                <c:pt idx="35775">
                  <c:v>0.63804173354735105</c:v>
                </c:pt>
                <c:pt idx="35776">
                  <c:v>0.63805956839664701</c:v>
                </c:pt>
                <c:pt idx="35777">
                  <c:v>0.63807740324594198</c:v>
                </c:pt>
                <c:pt idx="35778">
                  <c:v>0.63809523809523805</c:v>
                </c:pt>
                <c:pt idx="35779">
                  <c:v>0.63811307294453301</c:v>
                </c:pt>
                <c:pt idx="35780">
                  <c:v>0.63813090779382897</c:v>
                </c:pt>
                <c:pt idx="35781">
                  <c:v>0.63814874264312405</c:v>
                </c:pt>
                <c:pt idx="35782">
                  <c:v>0.63816657749242001</c:v>
                </c:pt>
                <c:pt idx="35783">
                  <c:v>0.63818441234171497</c:v>
                </c:pt>
                <c:pt idx="35784">
                  <c:v>0.63820224719101104</c:v>
                </c:pt>
                <c:pt idx="35785">
                  <c:v>0.638220082040306</c:v>
                </c:pt>
                <c:pt idx="35786">
                  <c:v>0.63823791688960196</c:v>
                </c:pt>
                <c:pt idx="35787">
                  <c:v>0.63825575173889704</c:v>
                </c:pt>
                <c:pt idx="35788">
                  <c:v>0.638273586588193</c:v>
                </c:pt>
                <c:pt idx="35789">
                  <c:v>0.63829142143748796</c:v>
                </c:pt>
                <c:pt idx="35790">
                  <c:v>0.63830925628678403</c:v>
                </c:pt>
                <c:pt idx="35791">
                  <c:v>0.63832709113607899</c:v>
                </c:pt>
                <c:pt idx="35792">
                  <c:v>0.63834492598537496</c:v>
                </c:pt>
                <c:pt idx="35793">
                  <c:v>0.63836276083467003</c:v>
                </c:pt>
                <c:pt idx="35794">
                  <c:v>0.63838059568396599</c:v>
                </c:pt>
                <c:pt idx="35795">
                  <c:v>0.63839843053326195</c:v>
                </c:pt>
                <c:pt idx="35796">
                  <c:v>0.63841626538255702</c:v>
                </c:pt>
                <c:pt idx="35797">
                  <c:v>0.63843410023185299</c:v>
                </c:pt>
                <c:pt idx="35798">
                  <c:v>0.63845193508114795</c:v>
                </c:pt>
                <c:pt idx="35799">
                  <c:v>0.63846976993044402</c:v>
                </c:pt>
                <c:pt idx="35800">
                  <c:v>0.63848760477973898</c:v>
                </c:pt>
                <c:pt idx="35801">
                  <c:v>0.63850543962903505</c:v>
                </c:pt>
                <c:pt idx="35802">
                  <c:v>0.63852327447833002</c:v>
                </c:pt>
                <c:pt idx="35803">
                  <c:v>0.63854110932762598</c:v>
                </c:pt>
                <c:pt idx="35804">
                  <c:v>0.63855894417692105</c:v>
                </c:pt>
                <c:pt idx="35805">
                  <c:v>0.63857677902621701</c:v>
                </c:pt>
                <c:pt idx="35806">
                  <c:v>0.63859461387551197</c:v>
                </c:pt>
                <c:pt idx="35807">
                  <c:v>0.63861244872480805</c:v>
                </c:pt>
                <c:pt idx="35808">
                  <c:v>0.63863028357410301</c:v>
                </c:pt>
                <c:pt idx="35809">
                  <c:v>0.63864811842339897</c:v>
                </c:pt>
                <c:pt idx="35810">
                  <c:v>0.63866595327269404</c:v>
                </c:pt>
                <c:pt idx="35811">
                  <c:v>0.63868378812199</c:v>
                </c:pt>
                <c:pt idx="35812">
                  <c:v>0.63870162297128497</c:v>
                </c:pt>
                <c:pt idx="35813">
                  <c:v>0.63871945782058104</c:v>
                </c:pt>
                <c:pt idx="35814">
                  <c:v>0.638737292669876</c:v>
                </c:pt>
                <c:pt idx="35815">
                  <c:v>0.63875512751917196</c:v>
                </c:pt>
                <c:pt idx="35816">
                  <c:v>0.63877296236846803</c:v>
                </c:pt>
                <c:pt idx="35817">
                  <c:v>0.638790797217763</c:v>
                </c:pt>
                <c:pt idx="35818">
                  <c:v>0.63880863206705896</c:v>
                </c:pt>
                <c:pt idx="35819">
                  <c:v>0.63882646691635403</c:v>
                </c:pt>
                <c:pt idx="35820">
                  <c:v>0.63884430176564999</c:v>
                </c:pt>
                <c:pt idx="35821">
                  <c:v>0.63886213661494495</c:v>
                </c:pt>
                <c:pt idx="35822">
                  <c:v>0.63887997146424103</c:v>
                </c:pt>
                <c:pt idx="35823">
                  <c:v>0.63889780631353599</c:v>
                </c:pt>
                <c:pt idx="35824">
                  <c:v>0.63891564116283195</c:v>
                </c:pt>
                <c:pt idx="35825">
                  <c:v>0.63893347601212702</c:v>
                </c:pt>
                <c:pt idx="35826">
                  <c:v>0.63895131086142298</c:v>
                </c:pt>
                <c:pt idx="35827">
                  <c:v>0.63896914571071795</c:v>
                </c:pt>
                <c:pt idx="35828">
                  <c:v>0.63898698056001402</c:v>
                </c:pt>
                <c:pt idx="35829">
                  <c:v>0.63900481540930898</c:v>
                </c:pt>
                <c:pt idx="35830">
                  <c:v>0.63902265025860505</c:v>
                </c:pt>
                <c:pt idx="35831">
                  <c:v>0.63904048510790001</c:v>
                </c:pt>
                <c:pt idx="35832">
                  <c:v>0.63905831995719597</c:v>
                </c:pt>
                <c:pt idx="35833">
                  <c:v>0.63907615480649105</c:v>
                </c:pt>
                <c:pt idx="35834">
                  <c:v>0.63909398965578701</c:v>
                </c:pt>
                <c:pt idx="35835">
                  <c:v>0.63911182450508297</c:v>
                </c:pt>
                <c:pt idx="35836">
                  <c:v>0.63912965935437804</c:v>
                </c:pt>
                <c:pt idx="35837">
                  <c:v>0.639147494203674</c:v>
                </c:pt>
                <c:pt idx="35838">
                  <c:v>0.63916532905296897</c:v>
                </c:pt>
                <c:pt idx="35839">
                  <c:v>0.63918316390226504</c:v>
                </c:pt>
                <c:pt idx="35840">
                  <c:v>0.63920099875156</c:v>
                </c:pt>
                <c:pt idx="35841">
                  <c:v>0.63921883360085596</c:v>
                </c:pt>
                <c:pt idx="35842">
                  <c:v>0.63923666845015104</c:v>
                </c:pt>
                <c:pt idx="35843">
                  <c:v>0.639254503299447</c:v>
                </c:pt>
                <c:pt idx="35844">
                  <c:v>0.63927233814874196</c:v>
                </c:pt>
                <c:pt idx="35845">
                  <c:v>0.63929017299803803</c:v>
                </c:pt>
                <c:pt idx="35846">
                  <c:v>0.63930800784733299</c:v>
                </c:pt>
                <c:pt idx="35847">
                  <c:v>0.63932584269662895</c:v>
                </c:pt>
                <c:pt idx="35848">
                  <c:v>0.63934367754592403</c:v>
                </c:pt>
                <c:pt idx="35849">
                  <c:v>0.63936151239521999</c:v>
                </c:pt>
                <c:pt idx="35850">
                  <c:v>0.63937934724451495</c:v>
                </c:pt>
                <c:pt idx="35851">
                  <c:v>0.63939718209381102</c:v>
                </c:pt>
                <c:pt idx="35852">
                  <c:v>0.63941501694310598</c:v>
                </c:pt>
                <c:pt idx="35853">
                  <c:v>0.63943285179240195</c:v>
                </c:pt>
                <c:pt idx="35854">
                  <c:v>0.63945068664169702</c:v>
                </c:pt>
                <c:pt idx="35855">
                  <c:v>0.63946852149099298</c:v>
                </c:pt>
                <c:pt idx="35856">
                  <c:v>0.63948635634028805</c:v>
                </c:pt>
                <c:pt idx="35857">
                  <c:v>0.63950419118958401</c:v>
                </c:pt>
                <c:pt idx="35858">
                  <c:v>0.63952202603887998</c:v>
                </c:pt>
                <c:pt idx="35859">
                  <c:v>0.63953986088817505</c:v>
                </c:pt>
                <c:pt idx="35860">
                  <c:v>0.63955769573747101</c:v>
                </c:pt>
                <c:pt idx="35861">
                  <c:v>0.63957553058676597</c:v>
                </c:pt>
                <c:pt idx="35862">
                  <c:v>0.63959336543606204</c:v>
                </c:pt>
                <c:pt idx="35863">
                  <c:v>0.63961120028535701</c:v>
                </c:pt>
                <c:pt idx="35864">
                  <c:v>0.63962903513465297</c:v>
                </c:pt>
                <c:pt idx="35865">
                  <c:v>0.63964686998394804</c:v>
                </c:pt>
                <c:pt idx="35866">
                  <c:v>0.639664704833244</c:v>
                </c:pt>
                <c:pt idx="35867">
                  <c:v>0.63968253968253896</c:v>
                </c:pt>
                <c:pt idx="35868">
                  <c:v>0.63970037453183504</c:v>
                </c:pt>
                <c:pt idx="35869">
                  <c:v>0.63971820938113</c:v>
                </c:pt>
                <c:pt idx="35870">
                  <c:v>0.63973604423042596</c:v>
                </c:pt>
                <c:pt idx="35871">
                  <c:v>0.63975387907972103</c:v>
                </c:pt>
                <c:pt idx="35872">
                  <c:v>0.63977171392901699</c:v>
                </c:pt>
                <c:pt idx="35873">
                  <c:v>0.63978954877831196</c:v>
                </c:pt>
                <c:pt idx="35874">
                  <c:v>0.63980738362760803</c:v>
                </c:pt>
                <c:pt idx="35875">
                  <c:v>0.63982521847690299</c:v>
                </c:pt>
                <c:pt idx="35876">
                  <c:v>0.63984305332619895</c:v>
                </c:pt>
                <c:pt idx="35877">
                  <c:v>0.63986088817549402</c:v>
                </c:pt>
                <c:pt idx="35878">
                  <c:v>0.63987872302478999</c:v>
                </c:pt>
                <c:pt idx="35879">
                  <c:v>0.63989655787408595</c:v>
                </c:pt>
                <c:pt idx="35880">
                  <c:v>0.63991439272338102</c:v>
                </c:pt>
                <c:pt idx="35881">
                  <c:v>0.63993222757267698</c:v>
                </c:pt>
                <c:pt idx="35882">
                  <c:v>0.63995006242197205</c:v>
                </c:pt>
                <c:pt idx="35883">
                  <c:v>0.63996789727126802</c:v>
                </c:pt>
                <c:pt idx="35884">
                  <c:v>0.63998573212056298</c:v>
                </c:pt>
                <c:pt idx="35885">
                  <c:v>0.64000356696985905</c:v>
                </c:pt>
                <c:pt idx="35886">
                  <c:v>0.64002140181915401</c:v>
                </c:pt>
                <c:pt idx="35887">
                  <c:v>0.64003923666844997</c:v>
                </c:pt>
                <c:pt idx="35888">
                  <c:v>0.64005707151774505</c:v>
                </c:pt>
                <c:pt idx="35889">
                  <c:v>0.64007490636704101</c:v>
                </c:pt>
                <c:pt idx="35890">
                  <c:v>0.64009274121633597</c:v>
                </c:pt>
                <c:pt idx="35891">
                  <c:v>0.64011057606563204</c:v>
                </c:pt>
                <c:pt idx="35892">
                  <c:v>0.640128410914927</c:v>
                </c:pt>
                <c:pt idx="35893">
                  <c:v>0.64014624576422297</c:v>
                </c:pt>
                <c:pt idx="35894">
                  <c:v>0.64016408061351804</c:v>
                </c:pt>
                <c:pt idx="35895">
                  <c:v>0.640181915462814</c:v>
                </c:pt>
                <c:pt idx="35896">
                  <c:v>0.64019975031210896</c:v>
                </c:pt>
                <c:pt idx="35897">
                  <c:v>0.64021758516140503</c:v>
                </c:pt>
                <c:pt idx="35898">
                  <c:v>0.6402354200107</c:v>
                </c:pt>
                <c:pt idx="35899">
                  <c:v>0.64025325485999596</c:v>
                </c:pt>
                <c:pt idx="35900">
                  <c:v>0.64027108970929103</c:v>
                </c:pt>
                <c:pt idx="35901">
                  <c:v>0.64028892455858699</c:v>
                </c:pt>
                <c:pt idx="35902">
                  <c:v>0.64030675940788295</c:v>
                </c:pt>
                <c:pt idx="35903">
                  <c:v>0.64032459425717803</c:v>
                </c:pt>
                <c:pt idx="35904">
                  <c:v>0.64034242910647399</c:v>
                </c:pt>
                <c:pt idx="35905">
                  <c:v>0.64036026395576895</c:v>
                </c:pt>
                <c:pt idx="35906">
                  <c:v>0.64037809880506502</c:v>
                </c:pt>
                <c:pt idx="35907">
                  <c:v>0.64039593365435998</c:v>
                </c:pt>
                <c:pt idx="35908">
                  <c:v>0.64041376850365594</c:v>
                </c:pt>
                <c:pt idx="35909">
                  <c:v>0.64043160335295102</c:v>
                </c:pt>
                <c:pt idx="35910">
                  <c:v>0.64044943820224698</c:v>
                </c:pt>
                <c:pt idx="35911">
                  <c:v>0.64046727305154205</c:v>
                </c:pt>
                <c:pt idx="35912">
                  <c:v>0.64048510790083801</c:v>
                </c:pt>
                <c:pt idx="35913">
                  <c:v>0.64050294275013298</c:v>
                </c:pt>
                <c:pt idx="35914">
                  <c:v>0.64052077759942905</c:v>
                </c:pt>
                <c:pt idx="35915">
                  <c:v>0.64053861244872401</c:v>
                </c:pt>
                <c:pt idx="35916">
                  <c:v>0.64055644729801997</c:v>
                </c:pt>
                <c:pt idx="35917">
                  <c:v>0.64057428214731504</c:v>
                </c:pt>
                <c:pt idx="35918">
                  <c:v>0.64059211699661101</c:v>
                </c:pt>
                <c:pt idx="35919">
                  <c:v>0.64060995184590597</c:v>
                </c:pt>
                <c:pt idx="35920">
                  <c:v>0.64062778669520204</c:v>
                </c:pt>
                <c:pt idx="35921">
                  <c:v>0.640645621544498</c:v>
                </c:pt>
                <c:pt idx="35922">
                  <c:v>0.64066345639379296</c:v>
                </c:pt>
                <c:pt idx="35923">
                  <c:v>0.64068129124308903</c:v>
                </c:pt>
                <c:pt idx="35924">
                  <c:v>0.640699126092384</c:v>
                </c:pt>
                <c:pt idx="35925">
                  <c:v>0.64071696094167996</c:v>
                </c:pt>
                <c:pt idx="35926">
                  <c:v>0.64073479579097503</c:v>
                </c:pt>
                <c:pt idx="35927">
                  <c:v>0.64075263064027099</c:v>
                </c:pt>
                <c:pt idx="35928">
                  <c:v>0.64077046548956595</c:v>
                </c:pt>
                <c:pt idx="35929">
                  <c:v>0.64078830033886203</c:v>
                </c:pt>
                <c:pt idx="35930">
                  <c:v>0.64080613518815699</c:v>
                </c:pt>
                <c:pt idx="35931">
                  <c:v>0.64082397003745295</c:v>
                </c:pt>
                <c:pt idx="35932">
                  <c:v>0.64084180488674802</c:v>
                </c:pt>
                <c:pt idx="35933">
                  <c:v>0.64085963973604398</c:v>
                </c:pt>
                <c:pt idx="35934">
                  <c:v>0.64087747458533895</c:v>
                </c:pt>
                <c:pt idx="35935">
                  <c:v>0.64089530943463502</c:v>
                </c:pt>
                <c:pt idx="35936">
                  <c:v>0.64091314428392998</c:v>
                </c:pt>
                <c:pt idx="35937">
                  <c:v>0.64093097913322605</c:v>
                </c:pt>
                <c:pt idx="35938">
                  <c:v>0.64094881398252102</c:v>
                </c:pt>
                <c:pt idx="35939">
                  <c:v>0.64096664883181698</c:v>
                </c:pt>
                <c:pt idx="35940">
                  <c:v>0.64098448368111205</c:v>
                </c:pt>
                <c:pt idx="35941">
                  <c:v>0.64100231853040801</c:v>
                </c:pt>
                <c:pt idx="35942">
                  <c:v>0.64102015337970397</c:v>
                </c:pt>
                <c:pt idx="35943">
                  <c:v>0.64103798822899904</c:v>
                </c:pt>
                <c:pt idx="35944">
                  <c:v>0.64105582307829501</c:v>
                </c:pt>
                <c:pt idx="35945">
                  <c:v>0.64107365792758997</c:v>
                </c:pt>
                <c:pt idx="35946">
                  <c:v>0.64109149277688604</c:v>
                </c:pt>
                <c:pt idx="35947">
                  <c:v>0.641109327626181</c:v>
                </c:pt>
                <c:pt idx="35948">
                  <c:v>0.64112716247547696</c:v>
                </c:pt>
                <c:pt idx="35949">
                  <c:v>0.64114499732477204</c:v>
                </c:pt>
                <c:pt idx="35950">
                  <c:v>0.641162832174068</c:v>
                </c:pt>
                <c:pt idx="35951">
                  <c:v>0.64118066702336296</c:v>
                </c:pt>
                <c:pt idx="35952">
                  <c:v>0.64119850187265903</c:v>
                </c:pt>
                <c:pt idx="35953">
                  <c:v>0.64121633672195399</c:v>
                </c:pt>
                <c:pt idx="35954">
                  <c:v>0.64123417157124996</c:v>
                </c:pt>
                <c:pt idx="35955">
                  <c:v>0.64125200642054503</c:v>
                </c:pt>
                <c:pt idx="35956">
                  <c:v>0.64126984126984099</c:v>
                </c:pt>
                <c:pt idx="35957">
                  <c:v>0.64128767611913595</c:v>
                </c:pt>
                <c:pt idx="35958">
                  <c:v>0.64130551096843202</c:v>
                </c:pt>
                <c:pt idx="35959">
                  <c:v>0.64132334581772699</c:v>
                </c:pt>
                <c:pt idx="35960">
                  <c:v>0.64134118066702295</c:v>
                </c:pt>
                <c:pt idx="35961">
                  <c:v>0.64135901551631802</c:v>
                </c:pt>
                <c:pt idx="35962">
                  <c:v>0.64137685036561398</c:v>
                </c:pt>
                <c:pt idx="35963">
                  <c:v>0.64139468521490905</c:v>
                </c:pt>
                <c:pt idx="35964">
                  <c:v>0.64141252006420502</c:v>
                </c:pt>
                <c:pt idx="35965">
                  <c:v>0.64143035491350098</c:v>
                </c:pt>
                <c:pt idx="35966">
                  <c:v>0.64144818976279605</c:v>
                </c:pt>
                <c:pt idx="35967">
                  <c:v>0.64146602461209201</c:v>
                </c:pt>
                <c:pt idx="35968">
                  <c:v>0.64148385946138697</c:v>
                </c:pt>
                <c:pt idx="35969">
                  <c:v>0.64150169431068305</c:v>
                </c:pt>
                <c:pt idx="35970">
                  <c:v>0.64151952915997801</c:v>
                </c:pt>
                <c:pt idx="35971">
                  <c:v>0.64153736400927397</c:v>
                </c:pt>
                <c:pt idx="35972">
                  <c:v>0.64155519885856904</c:v>
                </c:pt>
                <c:pt idx="35973">
                  <c:v>0.641573033707865</c:v>
                </c:pt>
                <c:pt idx="35974">
                  <c:v>0.64159086855715997</c:v>
                </c:pt>
                <c:pt idx="35975">
                  <c:v>0.64160870340645604</c:v>
                </c:pt>
                <c:pt idx="35976">
                  <c:v>0.641626538255751</c:v>
                </c:pt>
                <c:pt idx="35977">
                  <c:v>0.64164437310504696</c:v>
                </c:pt>
                <c:pt idx="35978">
                  <c:v>0.64166220795434203</c:v>
                </c:pt>
                <c:pt idx="35979">
                  <c:v>0.641680042803638</c:v>
                </c:pt>
                <c:pt idx="35980">
                  <c:v>0.64169787765293296</c:v>
                </c:pt>
                <c:pt idx="35981">
                  <c:v>0.64171571250222903</c:v>
                </c:pt>
                <c:pt idx="35982">
                  <c:v>0.64173354735152399</c:v>
                </c:pt>
                <c:pt idx="35983">
                  <c:v>0.64175138220081995</c:v>
                </c:pt>
                <c:pt idx="35984">
                  <c:v>0.64176921705011503</c:v>
                </c:pt>
                <c:pt idx="35985">
                  <c:v>0.64178705189941099</c:v>
                </c:pt>
                <c:pt idx="35986">
                  <c:v>0.64180488674870695</c:v>
                </c:pt>
                <c:pt idx="35987">
                  <c:v>0.64182272159800202</c:v>
                </c:pt>
                <c:pt idx="35988">
                  <c:v>0.64184055644729798</c:v>
                </c:pt>
                <c:pt idx="35989">
                  <c:v>0.64185839129659294</c:v>
                </c:pt>
                <c:pt idx="35990">
                  <c:v>0.64187622614588902</c:v>
                </c:pt>
                <c:pt idx="35991">
                  <c:v>0.64189406099518398</c:v>
                </c:pt>
                <c:pt idx="35992">
                  <c:v>0.64191189584448005</c:v>
                </c:pt>
                <c:pt idx="35993">
                  <c:v>0.64192973069377501</c:v>
                </c:pt>
                <c:pt idx="35994">
                  <c:v>0.64194756554307097</c:v>
                </c:pt>
                <c:pt idx="35995">
                  <c:v>0.64196540039236605</c:v>
                </c:pt>
                <c:pt idx="35996">
                  <c:v>0.64198323524166201</c:v>
                </c:pt>
                <c:pt idx="35997">
                  <c:v>0.64200107009095697</c:v>
                </c:pt>
                <c:pt idx="35998">
                  <c:v>0.64201890494025304</c:v>
                </c:pt>
                <c:pt idx="35999">
                  <c:v>0.64203673978954801</c:v>
                </c:pt>
                <c:pt idx="36000">
                  <c:v>0.64205457463884397</c:v>
                </c:pt>
                <c:pt idx="36001">
                  <c:v>0.64207240948813904</c:v>
                </c:pt>
                <c:pt idx="36002">
                  <c:v>0.642090244337435</c:v>
                </c:pt>
                <c:pt idx="36003">
                  <c:v>0.64210807918672996</c:v>
                </c:pt>
                <c:pt idx="36004">
                  <c:v>0.64212591403602604</c:v>
                </c:pt>
                <c:pt idx="36005">
                  <c:v>0.642143748885321</c:v>
                </c:pt>
                <c:pt idx="36006">
                  <c:v>0.64216158373461696</c:v>
                </c:pt>
                <c:pt idx="36007">
                  <c:v>0.64217941858391203</c:v>
                </c:pt>
                <c:pt idx="36008">
                  <c:v>0.64219725343320799</c:v>
                </c:pt>
                <c:pt idx="36009">
                  <c:v>0.64221508828250395</c:v>
                </c:pt>
                <c:pt idx="36010">
                  <c:v>0.64223292313179903</c:v>
                </c:pt>
                <c:pt idx="36011">
                  <c:v>0.64225075798109499</c:v>
                </c:pt>
                <c:pt idx="36012">
                  <c:v>0.64226859283038995</c:v>
                </c:pt>
                <c:pt idx="36013">
                  <c:v>0.64228642767968602</c:v>
                </c:pt>
                <c:pt idx="36014">
                  <c:v>0.64230426252898098</c:v>
                </c:pt>
                <c:pt idx="36015">
                  <c:v>0.64232209737827695</c:v>
                </c:pt>
                <c:pt idx="36016">
                  <c:v>0.64233993222757202</c:v>
                </c:pt>
                <c:pt idx="36017">
                  <c:v>0.64235776707686798</c:v>
                </c:pt>
                <c:pt idx="36018">
                  <c:v>0.64237560192616305</c:v>
                </c:pt>
                <c:pt idx="36019">
                  <c:v>0.64239343677545901</c:v>
                </c:pt>
                <c:pt idx="36020">
                  <c:v>0.64241127162475398</c:v>
                </c:pt>
                <c:pt idx="36021">
                  <c:v>0.64242910647405005</c:v>
                </c:pt>
                <c:pt idx="36022">
                  <c:v>0.64244694132334501</c:v>
                </c:pt>
                <c:pt idx="36023">
                  <c:v>0.64246477617264097</c:v>
                </c:pt>
                <c:pt idx="36024">
                  <c:v>0.64248261102193605</c:v>
                </c:pt>
                <c:pt idx="36025">
                  <c:v>0.64250044587123201</c:v>
                </c:pt>
                <c:pt idx="36026">
                  <c:v>0.64251828072052697</c:v>
                </c:pt>
                <c:pt idx="36027">
                  <c:v>0.64253611556982304</c:v>
                </c:pt>
                <c:pt idx="36028">
                  <c:v>0.642553950419119</c:v>
                </c:pt>
                <c:pt idx="36029">
                  <c:v>0.64257178526841396</c:v>
                </c:pt>
                <c:pt idx="36030">
                  <c:v>0.64258962011771004</c:v>
                </c:pt>
                <c:pt idx="36031">
                  <c:v>0.642607454967005</c:v>
                </c:pt>
                <c:pt idx="36032">
                  <c:v>0.64262528981630096</c:v>
                </c:pt>
                <c:pt idx="36033">
                  <c:v>0.64264312466559603</c:v>
                </c:pt>
                <c:pt idx="36034">
                  <c:v>0.64266095951489199</c:v>
                </c:pt>
                <c:pt idx="36035">
                  <c:v>0.64267879436418696</c:v>
                </c:pt>
                <c:pt idx="36036">
                  <c:v>0.64269662921348303</c:v>
                </c:pt>
                <c:pt idx="36037">
                  <c:v>0.64271446406277799</c:v>
                </c:pt>
                <c:pt idx="36038">
                  <c:v>0.64273229891207395</c:v>
                </c:pt>
                <c:pt idx="36039">
                  <c:v>0.64275013376136902</c:v>
                </c:pt>
                <c:pt idx="36040">
                  <c:v>0.64276796861066499</c:v>
                </c:pt>
                <c:pt idx="36041">
                  <c:v>0.64278580345995995</c:v>
                </c:pt>
                <c:pt idx="36042">
                  <c:v>0.64280363830925602</c:v>
                </c:pt>
                <c:pt idx="36043">
                  <c:v>0.64282147315855098</c:v>
                </c:pt>
                <c:pt idx="36044">
                  <c:v>0.64283930800784705</c:v>
                </c:pt>
                <c:pt idx="36045">
                  <c:v>0.64285714285714202</c:v>
                </c:pt>
                <c:pt idx="36046">
                  <c:v>0.64287497770643798</c:v>
                </c:pt>
                <c:pt idx="36047">
                  <c:v>0.64289281255573305</c:v>
                </c:pt>
                <c:pt idx="36048">
                  <c:v>0.64291064740502901</c:v>
                </c:pt>
                <c:pt idx="36049">
                  <c:v>0.64292848225432497</c:v>
                </c:pt>
                <c:pt idx="36050">
                  <c:v>0.64294631710362005</c:v>
                </c:pt>
                <c:pt idx="36051">
                  <c:v>0.64296415195291601</c:v>
                </c:pt>
                <c:pt idx="36052">
                  <c:v>0.64298198680221097</c:v>
                </c:pt>
                <c:pt idx="36053">
                  <c:v>0.64299982165150704</c:v>
                </c:pt>
                <c:pt idx="36054">
                  <c:v>0.643017656500802</c:v>
                </c:pt>
                <c:pt idx="36055">
                  <c:v>0.64303549135009797</c:v>
                </c:pt>
                <c:pt idx="36056">
                  <c:v>0.64305332619939304</c:v>
                </c:pt>
                <c:pt idx="36057">
                  <c:v>0.643071161048689</c:v>
                </c:pt>
                <c:pt idx="36058">
                  <c:v>0.64308899589798396</c:v>
                </c:pt>
                <c:pt idx="36059">
                  <c:v>0.64310683074728003</c:v>
                </c:pt>
                <c:pt idx="36060">
                  <c:v>0.643124665596575</c:v>
                </c:pt>
                <c:pt idx="36061">
                  <c:v>0.64314250044587096</c:v>
                </c:pt>
                <c:pt idx="36062">
                  <c:v>0.64316033529516603</c:v>
                </c:pt>
                <c:pt idx="36063">
                  <c:v>0.64317817014446199</c:v>
                </c:pt>
                <c:pt idx="36064">
                  <c:v>0.64319600499375695</c:v>
                </c:pt>
                <c:pt idx="36065">
                  <c:v>0.64321383984305303</c:v>
                </c:pt>
                <c:pt idx="36066">
                  <c:v>0.64323167469234799</c:v>
                </c:pt>
                <c:pt idx="36067">
                  <c:v>0.64324950954164395</c:v>
                </c:pt>
                <c:pt idx="36068">
                  <c:v>0.64326734439093902</c:v>
                </c:pt>
                <c:pt idx="36069">
                  <c:v>0.64328517924023498</c:v>
                </c:pt>
                <c:pt idx="36070">
                  <c:v>0.64330301408953094</c:v>
                </c:pt>
                <c:pt idx="36071">
                  <c:v>0.64332084893882602</c:v>
                </c:pt>
                <c:pt idx="36072">
                  <c:v>0.64333868378812198</c:v>
                </c:pt>
                <c:pt idx="36073">
                  <c:v>0.64335651863741705</c:v>
                </c:pt>
                <c:pt idx="36074">
                  <c:v>0.64337435348671301</c:v>
                </c:pt>
                <c:pt idx="36075">
                  <c:v>0.64339218833600798</c:v>
                </c:pt>
                <c:pt idx="36076">
                  <c:v>0.64341002318530405</c:v>
                </c:pt>
                <c:pt idx="36077">
                  <c:v>0.64342785803459901</c:v>
                </c:pt>
                <c:pt idx="36078">
                  <c:v>0.64344569288389497</c:v>
                </c:pt>
                <c:pt idx="36079">
                  <c:v>0.64346352773319004</c:v>
                </c:pt>
                <c:pt idx="36080">
                  <c:v>0.64348136258248601</c:v>
                </c:pt>
                <c:pt idx="36081">
                  <c:v>0.64349919743178097</c:v>
                </c:pt>
                <c:pt idx="36082">
                  <c:v>0.64351703228107704</c:v>
                </c:pt>
                <c:pt idx="36083">
                  <c:v>0.643534867130372</c:v>
                </c:pt>
                <c:pt idx="36084">
                  <c:v>0.64355270197966796</c:v>
                </c:pt>
                <c:pt idx="36085">
                  <c:v>0.64357053682896304</c:v>
                </c:pt>
                <c:pt idx="36086">
                  <c:v>0.643588371678259</c:v>
                </c:pt>
                <c:pt idx="36087">
                  <c:v>0.64360620652755396</c:v>
                </c:pt>
                <c:pt idx="36088">
                  <c:v>0.64362404137685003</c:v>
                </c:pt>
                <c:pt idx="36089">
                  <c:v>0.64364187622614499</c:v>
                </c:pt>
                <c:pt idx="36090">
                  <c:v>0.64365971107544095</c:v>
                </c:pt>
                <c:pt idx="36091">
                  <c:v>0.64367754592473603</c:v>
                </c:pt>
                <c:pt idx="36092">
                  <c:v>0.64369538077403199</c:v>
                </c:pt>
                <c:pt idx="36093">
                  <c:v>0.64371321562332795</c:v>
                </c:pt>
                <c:pt idx="36094">
                  <c:v>0.64373105047262302</c:v>
                </c:pt>
                <c:pt idx="36095">
                  <c:v>0.64374888532191898</c:v>
                </c:pt>
                <c:pt idx="36096">
                  <c:v>0.64376672017121395</c:v>
                </c:pt>
                <c:pt idx="36097">
                  <c:v>0.64378455502051002</c:v>
                </c:pt>
                <c:pt idx="36098">
                  <c:v>0.64380238986980498</c:v>
                </c:pt>
                <c:pt idx="36099">
                  <c:v>0.64382022471910105</c:v>
                </c:pt>
                <c:pt idx="36100">
                  <c:v>0.64383805956839602</c:v>
                </c:pt>
                <c:pt idx="36101">
                  <c:v>0.64385589441769198</c:v>
                </c:pt>
                <c:pt idx="36102">
                  <c:v>0.64387372926698705</c:v>
                </c:pt>
                <c:pt idx="36103">
                  <c:v>0.64389156411628301</c:v>
                </c:pt>
                <c:pt idx="36104">
                  <c:v>0.64390939896557797</c:v>
                </c:pt>
                <c:pt idx="36105">
                  <c:v>0.64392723381487404</c:v>
                </c:pt>
                <c:pt idx="36106">
                  <c:v>0.64394506866416901</c:v>
                </c:pt>
                <c:pt idx="36107">
                  <c:v>0.64396290351346497</c:v>
                </c:pt>
                <c:pt idx="36108">
                  <c:v>0.64398073836276004</c:v>
                </c:pt>
                <c:pt idx="36109">
                  <c:v>0.643998573212056</c:v>
                </c:pt>
                <c:pt idx="36110">
                  <c:v>0.64401640806135096</c:v>
                </c:pt>
                <c:pt idx="36111">
                  <c:v>0.64403424291064704</c:v>
                </c:pt>
                <c:pt idx="36112">
                  <c:v>0.644052077759942</c:v>
                </c:pt>
                <c:pt idx="36113">
                  <c:v>0.64406991260923796</c:v>
                </c:pt>
                <c:pt idx="36114">
                  <c:v>0.64408774745853303</c:v>
                </c:pt>
                <c:pt idx="36115">
                  <c:v>0.64410558230782899</c:v>
                </c:pt>
                <c:pt idx="36116">
                  <c:v>0.64412341715712496</c:v>
                </c:pt>
                <c:pt idx="36117">
                  <c:v>0.64414125200642003</c:v>
                </c:pt>
                <c:pt idx="36118">
                  <c:v>0.64415908685571599</c:v>
                </c:pt>
                <c:pt idx="36119">
                  <c:v>0.64417692170501095</c:v>
                </c:pt>
                <c:pt idx="36120">
                  <c:v>0.64419475655430702</c:v>
                </c:pt>
                <c:pt idx="36121">
                  <c:v>0.64421259140360199</c:v>
                </c:pt>
                <c:pt idx="36122">
                  <c:v>0.64423042625289795</c:v>
                </c:pt>
                <c:pt idx="36123">
                  <c:v>0.64424826110219302</c:v>
                </c:pt>
                <c:pt idx="36124">
                  <c:v>0.64426609595148898</c:v>
                </c:pt>
                <c:pt idx="36125">
                  <c:v>0.64428393080078405</c:v>
                </c:pt>
                <c:pt idx="36126">
                  <c:v>0.64430176565008002</c:v>
                </c:pt>
                <c:pt idx="36127">
                  <c:v>0.64431960049937498</c:v>
                </c:pt>
                <c:pt idx="36128">
                  <c:v>0.64433743534867105</c:v>
                </c:pt>
                <c:pt idx="36129">
                  <c:v>0.64435527019796601</c:v>
                </c:pt>
                <c:pt idx="36130">
                  <c:v>0.64437310504726197</c:v>
                </c:pt>
                <c:pt idx="36131">
                  <c:v>0.64439093989655705</c:v>
                </c:pt>
                <c:pt idx="36132">
                  <c:v>0.64440877474585301</c:v>
                </c:pt>
                <c:pt idx="36133">
                  <c:v>0.64442660959514897</c:v>
                </c:pt>
                <c:pt idx="36134">
                  <c:v>0.64444444444444404</c:v>
                </c:pt>
                <c:pt idx="36135">
                  <c:v>0.64446227929374</c:v>
                </c:pt>
                <c:pt idx="36136">
                  <c:v>0.64448011414303497</c:v>
                </c:pt>
                <c:pt idx="36137">
                  <c:v>0.64449794899233104</c:v>
                </c:pt>
                <c:pt idx="36138">
                  <c:v>0.644515783841626</c:v>
                </c:pt>
                <c:pt idx="36139">
                  <c:v>0.64453361869092196</c:v>
                </c:pt>
                <c:pt idx="36140">
                  <c:v>0.64455145354021703</c:v>
                </c:pt>
                <c:pt idx="36141">
                  <c:v>0.644569288389513</c:v>
                </c:pt>
                <c:pt idx="36142">
                  <c:v>0.64458712323880796</c:v>
                </c:pt>
                <c:pt idx="36143">
                  <c:v>0.64460495808810403</c:v>
                </c:pt>
                <c:pt idx="36144">
                  <c:v>0.64462279293739899</c:v>
                </c:pt>
                <c:pt idx="36145">
                  <c:v>0.64464062778669495</c:v>
                </c:pt>
                <c:pt idx="36146">
                  <c:v>0.64465846263599003</c:v>
                </c:pt>
                <c:pt idx="36147">
                  <c:v>0.64467629748528599</c:v>
                </c:pt>
                <c:pt idx="36148">
                  <c:v>0.64469413233458095</c:v>
                </c:pt>
                <c:pt idx="36149">
                  <c:v>0.64471196718387702</c:v>
                </c:pt>
                <c:pt idx="36150">
                  <c:v>0.64472980203317198</c:v>
                </c:pt>
                <c:pt idx="36151">
                  <c:v>0.64474763688246794</c:v>
                </c:pt>
                <c:pt idx="36152">
                  <c:v>0.64476547173176302</c:v>
                </c:pt>
                <c:pt idx="36153">
                  <c:v>0.64478330658105898</c:v>
                </c:pt>
                <c:pt idx="36154">
                  <c:v>0.64480114143035405</c:v>
                </c:pt>
                <c:pt idx="36155">
                  <c:v>0.64481897627965001</c:v>
                </c:pt>
                <c:pt idx="36156">
                  <c:v>0.64483681112894597</c:v>
                </c:pt>
                <c:pt idx="36157">
                  <c:v>0.64485464597824105</c:v>
                </c:pt>
                <c:pt idx="36158">
                  <c:v>0.64487248082753701</c:v>
                </c:pt>
                <c:pt idx="36159">
                  <c:v>0.64489031567683197</c:v>
                </c:pt>
                <c:pt idx="36160">
                  <c:v>0.64490815052612804</c:v>
                </c:pt>
                <c:pt idx="36161">
                  <c:v>0.64492598537542301</c:v>
                </c:pt>
                <c:pt idx="36162">
                  <c:v>0.64494382022471897</c:v>
                </c:pt>
                <c:pt idx="36163">
                  <c:v>0.64496165507401404</c:v>
                </c:pt>
                <c:pt idx="36164">
                  <c:v>0.64497948992331</c:v>
                </c:pt>
                <c:pt idx="36165">
                  <c:v>0.64499732477260496</c:v>
                </c:pt>
                <c:pt idx="36166">
                  <c:v>0.64501515962190104</c:v>
                </c:pt>
                <c:pt idx="36167">
                  <c:v>0.645032994471196</c:v>
                </c:pt>
                <c:pt idx="36168">
                  <c:v>0.64505082932049196</c:v>
                </c:pt>
                <c:pt idx="36169">
                  <c:v>0.64506866416978703</c:v>
                </c:pt>
                <c:pt idx="36170">
                  <c:v>0.64508649901908299</c:v>
                </c:pt>
                <c:pt idx="36171">
                  <c:v>0.64510433386837795</c:v>
                </c:pt>
                <c:pt idx="36172">
                  <c:v>0.64512216871767403</c:v>
                </c:pt>
                <c:pt idx="36173">
                  <c:v>0.64514000356696899</c:v>
                </c:pt>
                <c:pt idx="36174">
                  <c:v>0.64515783841626495</c:v>
                </c:pt>
                <c:pt idx="36175">
                  <c:v>0.64517567326556002</c:v>
                </c:pt>
                <c:pt idx="36176">
                  <c:v>0.64519350811485598</c:v>
                </c:pt>
                <c:pt idx="36177">
                  <c:v>0.64521134296415195</c:v>
                </c:pt>
                <c:pt idx="36178">
                  <c:v>0.64522917781344702</c:v>
                </c:pt>
                <c:pt idx="36179">
                  <c:v>0.64524701266274298</c:v>
                </c:pt>
                <c:pt idx="36180">
                  <c:v>0.64526484751203805</c:v>
                </c:pt>
                <c:pt idx="36181">
                  <c:v>0.64528268236133401</c:v>
                </c:pt>
                <c:pt idx="36182">
                  <c:v>0.64530051721062898</c:v>
                </c:pt>
                <c:pt idx="36183">
                  <c:v>0.64531835205992505</c:v>
                </c:pt>
                <c:pt idx="36184">
                  <c:v>0.64533618690922001</c:v>
                </c:pt>
                <c:pt idx="36185">
                  <c:v>0.64535402175851597</c:v>
                </c:pt>
                <c:pt idx="36186">
                  <c:v>0.64537185660781105</c:v>
                </c:pt>
                <c:pt idx="36187">
                  <c:v>0.64538969145710701</c:v>
                </c:pt>
                <c:pt idx="36188">
                  <c:v>0.64540752630640197</c:v>
                </c:pt>
                <c:pt idx="36189">
                  <c:v>0.64542536115569804</c:v>
                </c:pt>
                <c:pt idx="36190">
                  <c:v>0.645443196004993</c:v>
                </c:pt>
                <c:pt idx="36191">
                  <c:v>0.64546103085428896</c:v>
                </c:pt>
                <c:pt idx="36192">
                  <c:v>0.64547886570358404</c:v>
                </c:pt>
                <c:pt idx="36193">
                  <c:v>0.64549670055288</c:v>
                </c:pt>
                <c:pt idx="36194">
                  <c:v>0.64551453540217496</c:v>
                </c:pt>
                <c:pt idx="36195">
                  <c:v>0.64553237025147103</c:v>
                </c:pt>
                <c:pt idx="36196">
                  <c:v>0.64555020510076599</c:v>
                </c:pt>
                <c:pt idx="36197">
                  <c:v>0.64556803995006196</c:v>
                </c:pt>
                <c:pt idx="36198">
                  <c:v>0.64558587479935703</c:v>
                </c:pt>
                <c:pt idx="36199">
                  <c:v>0.64560370964865299</c:v>
                </c:pt>
                <c:pt idx="36200">
                  <c:v>0.64562154449794895</c:v>
                </c:pt>
                <c:pt idx="36201">
                  <c:v>0.64563937934724402</c:v>
                </c:pt>
                <c:pt idx="36202">
                  <c:v>0.64565721419653999</c:v>
                </c:pt>
                <c:pt idx="36203">
                  <c:v>0.64567504904583495</c:v>
                </c:pt>
                <c:pt idx="36204">
                  <c:v>0.64569288389513102</c:v>
                </c:pt>
                <c:pt idx="36205">
                  <c:v>0.64571071874442598</c:v>
                </c:pt>
                <c:pt idx="36206">
                  <c:v>0.64572855359372205</c:v>
                </c:pt>
                <c:pt idx="36207">
                  <c:v>0.64574638844301702</c:v>
                </c:pt>
                <c:pt idx="36208">
                  <c:v>0.64576422329231298</c:v>
                </c:pt>
                <c:pt idx="36209">
                  <c:v>0.64578205814160805</c:v>
                </c:pt>
                <c:pt idx="36210">
                  <c:v>0.64579989299090401</c:v>
                </c:pt>
                <c:pt idx="36211">
                  <c:v>0.64581772784019897</c:v>
                </c:pt>
                <c:pt idx="36212">
                  <c:v>0.64583556268949505</c:v>
                </c:pt>
                <c:pt idx="36213">
                  <c:v>0.64585339753879001</c:v>
                </c:pt>
                <c:pt idx="36214">
                  <c:v>0.64587123238808597</c:v>
                </c:pt>
                <c:pt idx="36215">
                  <c:v>0.64588906723738104</c:v>
                </c:pt>
                <c:pt idx="36216">
                  <c:v>0.645906902086677</c:v>
                </c:pt>
                <c:pt idx="36217">
                  <c:v>0.64592473693597197</c:v>
                </c:pt>
                <c:pt idx="36218">
                  <c:v>0.64594257178526804</c:v>
                </c:pt>
                <c:pt idx="36219">
                  <c:v>0.645960406634563</c:v>
                </c:pt>
                <c:pt idx="36220">
                  <c:v>0.64597824148385896</c:v>
                </c:pt>
                <c:pt idx="36221">
                  <c:v>0.64599607633315503</c:v>
                </c:pt>
                <c:pt idx="36222">
                  <c:v>0.64601391118245</c:v>
                </c:pt>
                <c:pt idx="36223">
                  <c:v>0.64603174603174596</c:v>
                </c:pt>
                <c:pt idx="36224">
                  <c:v>0.64604958088104103</c:v>
                </c:pt>
                <c:pt idx="36225">
                  <c:v>0.64606741573033699</c:v>
                </c:pt>
                <c:pt idx="36226">
                  <c:v>0.64608525057963195</c:v>
                </c:pt>
                <c:pt idx="36227">
                  <c:v>0.64610308542892803</c:v>
                </c:pt>
                <c:pt idx="36228">
                  <c:v>0.64612092027822299</c:v>
                </c:pt>
                <c:pt idx="36229">
                  <c:v>0.64613875512751895</c:v>
                </c:pt>
                <c:pt idx="36230">
                  <c:v>0.64615658997681402</c:v>
                </c:pt>
                <c:pt idx="36231">
                  <c:v>0.64617442482610998</c:v>
                </c:pt>
                <c:pt idx="36232">
                  <c:v>0.64619225967540495</c:v>
                </c:pt>
                <c:pt idx="36233">
                  <c:v>0.64621009452470102</c:v>
                </c:pt>
                <c:pt idx="36234">
                  <c:v>0.64622792937399598</c:v>
                </c:pt>
                <c:pt idx="36235">
                  <c:v>0.64624576422329205</c:v>
                </c:pt>
                <c:pt idx="36236">
                  <c:v>0.64626359907258701</c:v>
                </c:pt>
                <c:pt idx="36237">
                  <c:v>0.64628143392188298</c:v>
                </c:pt>
                <c:pt idx="36238">
                  <c:v>0.64629926877117805</c:v>
                </c:pt>
                <c:pt idx="36239">
                  <c:v>0.64631710362047401</c:v>
                </c:pt>
                <c:pt idx="36240">
                  <c:v>0.64633493846976997</c:v>
                </c:pt>
                <c:pt idx="36241">
                  <c:v>0.64635277331906504</c:v>
                </c:pt>
                <c:pt idx="36242">
                  <c:v>0.646370608168361</c:v>
                </c:pt>
                <c:pt idx="36243">
                  <c:v>0.64638844301765597</c:v>
                </c:pt>
                <c:pt idx="36244">
                  <c:v>0.64640627786695204</c:v>
                </c:pt>
                <c:pt idx="36245">
                  <c:v>0.646424112716247</c:v>
                </c:pt>
                <c:pt idx="36246">
                  <c:v>0.64644194756554296</c:v>
                </c:pt>
                <c:pt idx="36247">
                  <c:v>0.64645978241483804</c:v>
                </c:pt>
                <c:pt idx="36248">
                  <c:v>0.646477617264134</c:v>
                </c:pt>
                <c:pt idx="36249">
                  <c:v>0.64649545211342896</c:v>
                </c:pt>
                <c:pt idx="36250">
                  <c:v>0.64651328696272503</c:v>
                </c:pt>
                <c:pt idx="36251">
                  <c:v>0.64653112181201999</c:v>
                </c:pt>
                <c:pt idx="36252">
                  <c:v>0.64654895666131595</c:v>
                </c:pt>
                <c:pt idx="36253">
                  <c:v>0.64656679151061103</c:v>
                </c:pt>
                <c:pt idx="36254">
                  <c:v>0.64658462635990699</c:v>
                </c:pt>
                <c:pt idx="36255">
                  <c:v>0.64660246120920195</c:v>
                </c:pt>
                <c:pt idx="36256">
                  <c:v>0.64662029605849802</c:v>
                </c:pt>
                <c:pt idx="36257">
                  <c:v>0.64663813090779299</c:v>
                </c:pt>
                <c:pt idx="36258">
                  <c:v>0.64665596575708895</c:v>
                </c:pt>
                <c:pt idx="36259">
                  <c:v>0.64667380060638402</c:v>
                </c:pt>
                <c:pt idx="36260">
                  <c:v>0.64669163545567998</c:v>
                </c:pt>
                <c:pt idx="36261">
                  <c:v>0.64670947030497505</c:v>
                </c:pt>
                <c:pt idx="36262">
                  <c:v>0.64672730515427101</c:v>
                </c:pt>
                <c:pt idx="36263">
                  <c:v>0.64674514000356698</c:v>
                </c:pt>
                <c:pt idx="36264">
                  <c:v>0.64676297485286205</c:v>
                </c:pt>
                <c:pt idx="36265">
                  <c:v>0.64678080970215801</c:v>
                </c:pt>
                <c:pt idx="36266">
                  <c:v>0.64679864455145297</c:v>
                </c:pt>
                <c:pt idx="36267">
                  <c:v>0.64681647940074904</c:v>
                </c:pt>
                <c:pt idx="36268">
                  <c:v>0.64683431425004401</c:v>
                </c:pt>
                <c:pt idx="36269">
                  <c:v>0.64685214909933997</c:v>
                </c:pt>
                <c:pt idx="36270">
                  <c:v>0.64686998394863504</c:v>
                </c:pt>
                <c:pt idx="36271">
                  <c:v>0.646887818797931</c:v>
                </c:pt>
                <c:pt idx="36272">
                  <c:v>0.64690565364722596</c:v>
                </c:pt>
                <c:pt idx="36273">
                  <c:v>0.64692348849652204</c:v>
                </c:pt>
                <c:pt idx="36274">
                  <c:v>0.646941323345817</c:v>
                </c:pt>
                <c:pt idx="36275">
                  <c:v>0.64695915819511296</c:v>
                </c:pt>
                <c:pt idx="36276">
                  <c:v>0.64697699304440803</c:v>
                </c:pt>
                <c:pt idx="36277">
                  <c:v>0.64699482789370399</c:v>
                </c:pt>
                <c:pt idx="36278">
                  <c:v>0.64701266274299896</c:v>
                </c:pt>
                <c:pt idx="36279">
                  <c:v>0.64703049759229503</c:v>
                </c:pt>
                <c:pt idx="36280">
                  <c:v>0.64704833244158999</c:v>
                </c:pt>
                <c:pt idx="36281">
                  <c:v>0.64706616729088595</c:v>
                </c:pt>
                <c:pt idx="36282">
                  <c:v>0.64708400214018102</c:v>
                </c:pt>
                <c:pt idx="36283">
                  <c:v>0.64710183698947699</c:v>
                </c:pt>
                <c:pt idx="36284">
                  <c:v>0.64711967183877295</c:v>
                </c:pt>
                <c:pt idx="36285">
                  <c:v>0.64713750668806802</c:v>
                </c:pt>
                <c:pt idx="36286">
                  <c:v>0.64715534153736398</c:v>
                </c:pt>
                <c:pt idx="36287">
                  <c:v>0.64717317638665905</c:v>
                </c:pt>
                <c:pt idx="36288">
                  <c:v>0.64719101123595502</c:v>
                </c:pt>
                <c:pt idx="36289">
                  <c:v>0.64720884608524998</c:v>
                </c:pt>
                <c:pt idx="36290">
                  <c:v>0.64722668093454605</c:v>
                </c:pt>
                <c:pt idx="36291">
                  <c:v>0.64724451578384101</c:v>
                </c:pt>
                <c:pt idx="36292">
                  <c:v>0.64726235063313697</c:v>
                </c:pt>
                <c:pt idx="36293">
                  <c:v>0.64728018548243205</c:v>
                </c:pt>
                <c:pt idx="36294">
                  <c:v>0.64729802033172801</c:v>
                </c:pt>
                <c:pt idx="36295">
                  <c:v>0.64731585518102297</c:v>
                </c:pt>
                <c:pt idx="36296">
                  <c:v>0.64733369003031904</c:v>
                </c:pt>
                <c:pt idx="36297">
                  <c:v>0.647351524879614</c:v>
                </c:pt>
                <c:pt idx="36298">
                  <c:v>0.64736935972890997</c:v>
                </c:pt>
                <c:pt idx="36299">
                  <c:v>0.64738719457820504</c:v>
                </c:pt>
                <c:pt idx="36300">
                  <c:v>0.647405029427501</c:v>
                </c:pt>
                <c:pt idx="36301">
                  <c:v>0.64742286427679596</c:v>
                </c:pt>
                <c:pt idx="36302">
                  <c:v>0.64744069912609203</c:v>
                </c:pt>
                <c:pt idx="36303">
                  <c:v>0.647458533975387</c:v>
                </c:pt>
                <c:pt idx="36304">
                  <c:v>0.64747636882468296</c:v>
                </c:pt>
                <c:pt idx="36305">
                  <c:v>0.64749420367397803</c:v>
                </c:pt>
                <c:pt idx="36306">
                  <c:v>0.64751203852327399</c:v>
                </c:pt>
                <c:pt idx="36307">
                  <c:v>0.64752987337256995</c:v>
                </c:pt>
                <c:pt idx="36308">
                  <c:v>0.64754770822186503</c:v>
                </c:pt>
                <c:pt idx="36309">
                  <c:v>0.64756554307116099</c:v>
                </c:pt>
                <c:pt idx="36310">
                  <c:v>0.64758337792045595</c:v>
                </c:pt>
                <c:pt idx="36311">
                  <c:v>0.64760121276975202</c:v>
                </c:pt>
                <c:pt idx="36312">
                  <c:v>0.64761904761904698</c:v>
                </c:pt>
                <c:pt idx="36313">
                  <c:v>0.64763688246834294</c:v>
                </c:pt>
                <c:pt idx="36314">
                  <c:v>0.64765471731763802</c:v>
                </c:pt>
                <c:pt idx="36315">
                  <c:v>0.64767255216693398</c:v>
                </c:pt>
                <c:pt idx="36316">
                  <c:v>0.64769038701622905</c:v>
                </c:pt>
                <c:pt idx="36317">
                  <c:v>0.64770822186552501</c:v>
                </c:pt>
                <c:pt idx="36318">
                  <c:v>0.64772605671481998</c:v>
                </c:pt>
                <c:pt idx="36319">
                  <c:v>0.64774389156411605</c:v>
                </c:pt>
                <c:pt idx="36320">
                  <c:v>0.64776172641341101</c:v>
                </c:pt>
                <c:pt idx="36321">
                  <c:v>0.64777956126270697</c:v>
                </c:pt>
                <c:pt idx="36322">
                  <c:v>0.64779739611200204</c:v>
                </c:pt>
                <c:pt idx="36323">
                  <c:v>0.64781523096129801</c:v>
                </c:pt>
                <c:pt idx="36324">
                  <c:v>0.64783306581059297</c:v>
                </c:pt>
                <c:pt idx="36325">
                  <c:v>0.64785090065988904</c:v>
                </c:pt>
                <c:pt idx="36326">
                  <c:v>0.647868735509185</c:v>
                </c:pt>
                <c:pt idx="36327">
                  <c:v>0.64788657035847996</c:v>
                </c:pt>
                <c:pt idx="36328">
                  <c:v>0.64790440520777604</c:v>
                </c:pt>
                <c:pt idx="36329">
                  <c:v>0.647922240057071</c:v>
                </c:pt>
                <c:pt idx="36330">
                  <c:v>0.64794007490636696</c:v>
                </c:pt>
                <c:pt idx="36331">
                  <c:v>0.64795790975566203</c:v>
                </c:pt>
                <c:pt idx="36332">
                  <c:v>0.64797574460495799</c:v>
                </c:pt>
                <c:pt idx="36333">
                  <c:v>0.64799357945425295</c:v>
                </c:pt>
                <c:pt idx="36334">
                  <c:v>0.64801141430354903</c:v>
                </c:pt>
                <c:pt idx="36335">
                  <c:v>0.64802924915284399</c:v>
                </c:pt>
                <c:pt idx="36336">
                  <c:v>0.64804708400213995</c:v>
                </c:pt>
                <c:pt idx="36337">
                  <c:v>0.64806491885143502</c:v>
                </c:pt>
                <c:pt idx="36338">
                  <c:v>0.64808275370073098</c:v>
                </c:pt>
                <c:pt idx="36339">
                  <c:v>0.64810058855002595</c:v>
                </c:pt>
                <c:pt idx="36340">
                  <c:v>0.64811842339932202</c:v>
                </c:pt>
                <c:pt idx="36341">
                  <c:v>0.64813625824861698</c:v>
                </c:pt>
                <c:pt idx="36342">
                  <c:v>0.64815409309791305</c:v>
                </c:pt>
                <c:pt idx="36343">
                  <c:v>0.64817192794720802</c:v>
                </c:pt>
                <c:pt idx="36344">
                  <c:v>0.64818976279650398</c:v>
                </c:pt>
                <c:pt idx="36345">
                  <c:v>0.64820759764579905</c:v>
                </c:pt>
                <c:pt idx="36346">
                  <c:v>0.64822543249509501</c:v>
                </c:pt>
                <c:pt idx="36347">
                  <c:v>0.64824326734439097</c:v>
                </c:pt>
                <c:pt idx="36348">
                  <c:v>0.64826110219368605</c:v>
                </c:pt>
                <c:pt idx="36349">
                  <c:v>0.64827893704298201</c:v>
                </c:pt>
                <c:pt idx="36350">
                  <c:v>0.64829677189227697</c:v>
                </c:pt>
                <c:pt idx="36351">
                  <c:v>0.64831460674157304</c:v>
                </c:pt>
                <c:pt idx="36352">
                  <c:v>0.648332441590868</c:v>
                </c:pt>
                <c:pt idx="36353">
                  <c:v>0.64835027644016396</c:v>
                </c:pt>
                <c:pt idx="36354">
                  <c:v>0.64836811128945904</c:v>
                </c:pt>
                <c:pt idx="36355">
                  <c:v>0.648385946138755</c:v>
                </c:pt>
                <c:pt idx="36356">
                  <c:v>0.64840378098804996</c:v>
                </c:pt>
                <c:pt idx="36357">
                  <c:v>0.64842161583734603</c:v>
                </c:pt>
                <c:pt idx="36358">
                  <c:v>0.64843945068664099</c:v>
                </c:pt>
                <c:pt idx="36359">
                  <c:v>0.64845728553593696</c:v>
                </c:pt>
                <c:pt idx="36360">
                  <c:v>0.64847512038523203</c:v>
                </c:pt>
                <c:pt idx="36361">
                  <c:v>0.64849295523452799</c:v>
                </c:pt>
                <c:pt idx="36362">
                  <c:v>0.64851079008382295</c:v>
                </c:pt>
                <c:pt idx="36363">
                  <c:v>0.64852862493311902</c:v>
                </c:pt>
                <c:pt idx="36364">
                  <c:v>0.64854645978241399</c:v>
                </c:pt>
                <c:pt idx="36365">
                  <c:v>0.64856429463170995</c:v>
                </c:pt>
                <c:pt idx="36366">
                  <c:v>0.64858212948100502</c:v>
                </c:pt>
                <c:pt idx="36367">
                  <c:v>0.64859996433030098</c:v>
                </c:pt>
                <c:pt idx="36368">
                  <c:v>0.64861779917959606</c:v>
                </c:pt>
                <c:pt idx="36369">
                  <c:v>0.64863563402889202</c:v>
                </c:pt>
                <c:pt idx="36370">
                  <c:v>0.64865346887818798</c:v>
                </c:pt>
                <c:pt idx="36371">
                  <c:v>0.64867130372748305</c:v>
                </c:pt>
                <c:pt idx="36372">
                  <c:v>0.64868913857677901</c:v>
                </c:pt>
                <c:pt idx="36373">
                  <c:v>0.64870697342607397</c:v>
                </c:pt>
                <c:pt idx="36374">
                  <c:v>0.64872480827537005</c:v>
                </c:pt>
                <c:pt idx="36375">
                  <c:v>0.64874264312466501</c:v>
                </c:pt>
                <c:pt idx="36376">
                  <c:v>0.64876047797396097</c:v>
                </c:pt>
                <c:pt idx="36377">
                  <c:v>0.64877831282325604</c:v>
                </c:pt>
                <c:pt idx="36378">
                  <c:v>0.648796147672552</c:v>
                </c:pt>
                <c:pt idx="36379">
                  <c:v>0.64881398252184697</c:v>
                </c:pt>
                <c:pt idx="36380">
                  <c:v>0.64883181737114304</c:v>
                </c:pt>
                <c:pt idx="36381">
                  <c:v>0.648849652220438</c:v>
                </c:pt>
                <c:pt idx="36382">
                  <c:v>0.64886748706973396</c:v>
                </c:pt>
                <c:pt idx="36383">
                  <c:v>0.64888532191902903</c:v>
                </c:pt>
                <c:pt idx="36384">
                  <c:v>0.648903156768325</c:v>
                </c:pt>
                <c:pt idx="36385">
                  <c:v>0.64892099161761996</c:v>
                </c:pt>
                <c:pt idx="36386">
                  <c:v>0.64893882646691603</c:v>
                </c:pt>
                <c:pt idx="36387">
                  <c:v>0.64895666131621099</c:v>
                </c:pt>
                <c:pt idx="36388">
                  <c:v>0.64897449616550695</c:v>
                </c:pt>
                <c:pt idx="36389">
                  <c:v>0.64899233101480203</c:v>
                </c:pt>
                <c:pt idx="36390">
                  <c:v>0.64901016586409799</c:v>
                </c:pt>
                <c:pt idx="36391">
                  <c:v>0.64902800071339395</c:v>
                </c:pt>
                <c:pt idx="36392">
                  <c:v>0.64904583556268902</c:v>
                </c:pt>
                <c:pt idx="36393">
                  <c:v>0.64906367041198498</c:v>
                </c:pt>
                <c:pt idx="36394">
                  <c:v>0.64908150526127995</c:v>
                </c:pt>
                <c:pt idx="36395">
                  <c:v>0.64909934011057602</c:v>
                </c:pt>
                <c:pt idx="36396">
                  <c:v>0.64911717495987098</c:v>
                </c:pt>
                <c:pt idx="36397">
                  <c:v>0.64913500980916705</c:v>
                </c:pt>
                <c:pt idx="36398">
                  <c:v>0.64915284465846201</c:v>
                </c:pt>
                <c:pt idx="36399">
                  <c:v>0.64917067950775798</c:v>
                </c:pt>
                <c:pt idx="36400">
                  <c:v>0.64918851435705305</c:v>
                </c:pt>
                <c:pt idx="36401">
                  <c:v>0.64920634920634901</c:v>
                </c:pt>
                <c:pt idx="36402">
                  <c:v>0.64922418405564397</c:v>
                </c:pt>
                <c:pt idx="36403">
                  <c:v>0.64924201890494004</c:v>
                </c:pt>
                <c:pt idx="36404">
                  <c:v>0.64925985375423501</c:v>
                </c:pt>
                <c:pt idx="36405">
                  <c:v>0.64927768860353097</c:v>
                </c:pt>
                <c:pt idx="36406">
                  <c:v>0.64929552345282604</c:v>
                </c:pt>
                <c:pt idx="36407">
                  <c:v>0.649313358302122</c:v>
                </c:pt>
                <c:pt idx="36408">
                  <c:v>0.64933119315141696</c:v>
                </c:pt>
                <c:pt idx="36409">
                  <c:v>0.64934902800071304</c:v>
                </c:pt>
                <c:pt idx="36410">
                  <c:v>0.649366862850008</c:v>
                </c:pt>
                <c:pt idx="36411">
                  <c:v>0.64938469769930396</c:v>
                </c:pt>
                <c:pt idx="36412">
                  <c:v>0.64940253254859903</c:v>
                </c:pt>
                <c:pt idx="36413">
                  <c:v>0.64942036739789499</c:v>
                </c:pt>
                <c:pt idx="36414">
                  <c:v>0.64943820224719095</c:v>
                </c:pt>
                <c:pt idx="36415">
                  <c:v>0.64945603709648603</c:v>
                </c:pt>
                <c:pt idx="36416">
                  <c:v>0.64947387194578199</c:v>
                </c:pt>
                <c:pt idx="36417">
                  <c:v>0.64949170679507695</c:v>
                </c:pt>
                <c:pt idx="36418">
                  <c:v>0.64950954164437302</c:v>
                </c:pt>
                <c:pt idx="36419">
                  <c:v>0.64952737649366799</c:v>
                </c:pt>
                <c:pt idx="36420">
                  <c:v>0.64954521134296395</c:v>
                </c:pt>
                <c:pt idx="36421">
                  <c:v>0.64956304619225902</c:v>
                </c:pt>
                <c:pt idx="36422">
                  <c:v>0.64958088104155498</c:v>
                </c:pt>
                <c:pt idx="36423">
                  <c:v>0.64959871589085005</c:v>
                </c:pt>
                <c:pt idx="36424">
                  <c:v>0.64961655074014601</c:v>
                </c:pt>
                <c:pt idx="36425">
                  <c:v>0.64963438558944098</c:v>
                </c:pt>
                <c:pt idx="36426">
                  <c:v>0.64965222043873705</c:v>
                </c:pt>
                <c:pt idx="36427">
                  <c:v>0.64967005528803201</c:v>
                </c:pt>
                <c:pt idx="36428">
                  <c:v>0.64968789013732797</c:v>
                </c:pt>
                <c:pt idx="36429">
                  <c:v>0.64970572498662305</c:v>
                </c:pt>
                <c:pt idx="36430">
                  <c:v>0.64972355983591901</c:v>
                </c:pt>
                <c:pt idx="36431">
                  <c:v>0.64974139468521397</c:v>
                </c:pt>
                <c:pt idx="36432">
                  <c:v>0.64975922953451004</c:v>
                </c:pt>
                <c:pt idx="36433">
                  <c:v>0.649777064383806</c:v>
                </c:pt>
                <c:pt idx="36434">
                  <c:v>0.64979489923310096</c:v>
                </c:pt>
                <c:pt idx="36435">
                  <c:v>0.64981273408239704</c:v>
                </c:pt>
                <c:pt idx="36436">
                  <c:v>0.649830568931692</c:v>
                </c:pt>
                <c:pt idx="36437">
                  <c:v>0.64984840378098796</c:v>
                </c:pt>
                <c:pt idx="36438">
                  <c:v>0.64986623863028303</c:v>
                </c:pt>
                <c:pt idx="36439">
                  <c:v>0.64988407347957899</c:v>
                </c:pt>
                <c:pt idx="36440">
                  <c:v>0.64990190832887396</c:v>
                </c:pt>
                <c:pt idx="36441">
                  <c:v>0.64991974317817003</c:v>
                </c:pt>
                <c:pt idx="36442">
                  <c:v>0.64993757802746499</c:v>
                </c:pt>
                <c:pt idx="36443">
                  <c:v>0.64995541287676095</c:v>
                </c:pt>
                <c:pt idx="36444">
                  <c:v>0.64997324772605602</c:v>
                </c:pt>
                <c:pt idx="36445">
                  <c:v>0.64999108257535199</c:v>
                </c:pt>
                <c:pt idx="36446">
                  <c:v>0.65000891742464695</c:v>
                </c:pt>
                <c:pt idx="36447">
                  <c:v>0.65002675227394302</c:v>
                </c:pt>
                <c:pt idx="36448">
                  <c:v>0.65004458712323798</c:v>
                </c:pt>
                <c:pt idx="36449">
                  <c:v>0.65006242197253405</c:v>
                </c:pt>
                <c:pt idx="36450">
                  <c:v>0.65008025682182902</c:v>
                </c:pt>
                <c:pt idx="36451">
                  <c:v>0.65009809167112498</c:v>
                </c:pt>
                <c:pt idx="36452">
                  <c:v>0.65011592652042005</c:v>
                </c:pt>
                <c:pt idx="36453">
                  <c:v>0.65013376136971601</c:v>
                </c:pt>
                <c:pt idx="36454">
                  <c:v>0.65015159621901197</c:v>
                </c:pt>
                <c:pt idx="36455">
                  <c:v>0.65016943106830705</c:v>
                </c:pt>
                <c:pt idx="36456">
                  <c:v>0.65018726591760301</c:v>
                </c:pt>
                <c:pt idx="36457">
                  <c:v>0.65020510076689797</c:v>
                </c:pt>
                <c:pt idx="36458">
                  <c:v>0.65022293561619404</c:v>
                </c:pt>
                <c:pt idx="36459">
                  <c:v>0.650240770465489</c:v>
                </c:pt>
                <c:pt idx="36460">
                  <c:v>0.65025860531478497</c:v>
                </c:pt>
                <c:pt idx="36461">
                  <c:v>0.65027644016408004</c:v>
                </c:pt>
                <c:pt idx="36462">
                  <c:v>0.650294275013376</c:v>
                </c:pt>
                <c:pt idx="36463">
                  <c:v>0.65031210986267096</c:v>
                </c:pt>
                <c:pt idx="36464">
                  <c:v>0.65032994471196703</c:v>
                </c:pt>
                <c:pt idx="36465">
                  <c:v>0.650347779561262</c:v>
                </c:pt>
                <c:pt idx="36466">
                  <c:v>0.65036561441055796</c:v>
                </c:pt>
                <c:pt idx="36467">
                  <c:v>0.65038344925985303</c:v>
                </c:pt>
                <c:pt idx="36468">
                  <c:v>0.65040128410914899</c:v>
                </c:pt>
                <c:pt idx="36469">
                  <c:v>0.65041911895844395</c:v>
                </c:pt>
                <c:pt idx="36470">
                  <c:v>0.65043695380774003</c:v>
                </c:pt>
                <c:pt idx="36471">
                  <c:v>0.65045478865703499</c:v>
                </c:pt>
                <c:pt idx="36472">
                  <c:v>0.65047262350633095</c:v>
                </c:pt>
                <c:pt idx="36473">
                  <c:v>0.65049045835562602</c:v>
                </c:pt>
                <c:pt idx="36474">
                  <c:v>0.65050829320492198</c:v>
                </c:pt>
                <c:pt idx="36475">
                  <c:v>0.65052612805421794</c:v>
                </c:pt>
                <c:pt idx="36476">
                  <c:v>0.65054396290351302</c:v>
                </c:pt>
                <c:pt idx="36477">
                  <c:v>0.65056179775280898</c:v>
                </c:pt>
                <c:pt idx="36478">
                  <c:v>0.65057963260210405</c:v>
                </c:pt>
                <c:pt idx="36479">
                  <c:v>0.65059746745140001</c:v>
                </c:pt>
                <c:pt idx="36480">
                  <c:v>0.65061530230069498</c:v>
                </c:pt>
                <c:pt idx="36481">
                  <c:v>0.65063313714999105</c:v>
                </c:pt>
                <c:pt idx="36482">
                  <c:v>0.65065097199928601</c:v>
                </c:pt>
                <c:pt idx="36483">
                  <c:v>0.65066880684858197</c:v>
                </c:pt>
                <c:pt idx="36484">
                  <c:v>0.65068664169787704</c:v>
                </c:pt>
                <c:pt idx="36485">
                  <c:v>0.65070447654717301</c:v>
                </c:pt>
                <c:pt idx="36486">
                  <c:v>0.65072231139646797</c:v>
                </c:pt>
                <c:pt idx="36487">
                  <c:v>0.65074014624576404</c:v>
                </c:pt>
                <c:pt idx="36488">
                  <c:v>0.650757981095059</c:v>
                </c:pt>
                <c:pt idx="36489">
                  <c:v>0.65077581594435496</c:v>
                </c:pt>
                <c:pt idx="36490">
                  <c:v>0.65079365079365004</c:v>
                </c:pt>
                <c:pt idx="36491">
                  <c:v>0.650811485642946</c:v>
                </c:pt>
                <c:pt idx="36492">
                  <c:v>0.65082932049224096</c:v>
                </c:pt>
                <c:pt idx="36493">
                  <c:v>0.65084715534153703</c:v>
                </c:pt>
                <c:pt idx="36494">
                  <c:v>0.65086499019083199</c:v>
                </c:pt>
                <c:pt idx="36495">
                  <c:v>0.65088282504012795</c:v>
                </c:pt>
                <c:pt idx="36496">
                  <c:v>0.65090065988942303</c:v>
                </c:pt>
                <c:pt idx="36497">
                  <c:v>0.65091849473871899</c:v>
                </c:pt>
                <c:pt idx="36498">
                  <c:v>0.65093632958801495</c:v>
                </c:pt>
                <c:pt idx="36499">
                  <c:v>0.65095416443731002</c:v>
                </c:pt>
                <c:pt idx="36500">
                  <c:v>0.65097199928660598</c:v>
                </c:pt>
                <c:pt idx="36501">
                  <c:v>0.65098983413590095</c:v>
                </c:pt>
                <c:pt idx="36502">
                  <c:v>0.65100766898519702</c:v>
                </c:pt>
                <c:pt idx="36503">
                  <c:v>0.65102550383449198</c:v>
                </c:pt>
                <c:pt idx="36504">
                  <c:v>0.65104333868378805</c:v>
                </c:pt>
                <c:pt idx="36505">
                  <c:v>0.65106117353308302</c:v>
                </c:pt>
                <c:pt idx="36506">
                  <c:v>0.65107900838237898</c:v>
                </c:pt>
                <c:pt idx="36507">
                  <c:v>0.65109684323167405</c:v>
                </c:pt>
                <c:pt idx="36508">
                  <c:v>0.65111467808097001</c:v>
                </c:pt>
                <c:pt idx="36509">
                  <c:v>0.65113251293026497</c:v>
                </c:pt>
                <c:pt idx="36510">
                  <c:v>0.65115034777956105</c:v>
                </c:pt>
                <c:pt idx="36511">
                  <c:v>0.65116818262885601</c:v>
                </c:pt>
                <c:pt idx="36512">
                  <c:v>0.65118601747815197</c:v>
                </c:pt>
                <c:pt idx="36513">
                  <c:v>0.65120385232744704</c:v>
                </c:pt>
                <c:pt idx="36514">
                  <c:v>0.651221687176743</c:v>
                </c:pt>
                <c:pt idx="36515">
                  <c:v>0.65123952202603796</c:v>
                </c:pt>
                <c:pt idx="36516">
                  <c:v>0.65125735687533404</c:v>
                </c:pt>
                <c:pt idx="36517">
                  <c:v>0.651275191724629</c:v>
                </c:pt>
                <c:pt idx="36518">
                  <c:v>0.65129302657392496</c:v>
                </c:pt>
                <c:pt idx="36519">
                  <c:v>0.65131086142322003</c:v>
                </c:pt>
                <c:pt idx="36520">
                  <c:v>0.65132869627251599</c:v>
                </c:pt>
                <c:pt idx="36521">
                  <c:v>0.65134653112181196</c:v>
                </c:pt>
                <c:pt idx="36522">
                  <c:v>0.65136436597110703</c:v>
                </c:pt>
                <c:pt idx="36523">
                  <c:v>0.65138220082040299</c:v>
                </c:pt>
                <c:pt idx="36524">
                  <c:v>0.65140003566969795</c:v>
                </c:pt>
                <c:pt idx="36525">
                  <c:v>0.65141787051899402</c:v>
                </c:pt>
                <c:pt idx="36526">
                  <c:v>0.65143570536828899</c:v>
                </c:pt>
                <c:pt idx="36527">
                  <c:v>0.65145354021758495</c:v>
                </c:pt>
                <c:pt idx="36528">
                  <c:v>0.65147137506688002</c:v>
                </c:pt>
                <c:pt idx="36529">
                  <c:v>0.65148920991617598</c:v>
                </c:pt>
                <c:pt idx="36530">
                  <c:v>0.65150704476547106</c:v>
                </c:pt>
                <c:pt idx="36531">
                  <c:v>0.65152487961476702</c:v>
                </c:pt>
                <c:pt idx="36532">
                  <c:v>0.65154271446406198</c:v>
                </c:pt>
                <c:pt idx="36533">
                  <c:v>0.65156054931335805</c:v>
                </c:pt>
                <c:pt idx="36534">
                  <c:v>0.65157838416265301</c:v>
                </c:pt>
                <c:pt idx="36535">
                  <c:v>0.65159621901194897</c:v>
                </c:pt>
                <c:pt idx="36536">
                  <c:v>0.65161405386124405</c:v>
                </c:pt>
                <c:pt idx="36537">
                  <c:v>0.65163188871054001</c:v>
                </c:pt>
                <c:pt idx="36538">
                  <c:v>0.65164972355983597</c:v>
                </c:pt>
                <c:pt idx="36539">
                  <c:v>0.65166755840913104</c:v>
                </c:pt>
                <c:pt idx="36540">
                  <c:v>0.651685393258427</c:v>
                </c:pt>
                <c:pt idx="36541">
                  <c:v>0.65170322810772197</c:v>
                </c:pt>
                <c:pt idx="36542">
                  <c:v>0.65172106295701804</c:v>
                </c:pt>
                <c:pt idx="36543">
                  <c:v>0.651738897806313</c:v>
                </c:pt>
                <c:pt idx="36544">
                  <c:v>0.65175673265560896</c:v>
                </c:pt>
                <c:pt idx="36545">
                  <c:v>0.65177456750490403</c:v>
                </c:pt>
                <c:pt idx="36546">
                  <c:v>0.6517924023542</c:v>
                </c:pt>
                <c:pt idx="36547">
                  <c:v>0.65181023720349496</c:v>
                </c:pt>
                <c:pt idx="36548">
                  <c:v>0.65182807205279103</c:v>
                </c:pt>
                <c:pt idx="36549">
                  <c:v>0.65184590690208599</c:v>
                </c:pt>
                <c:pt idx="36550">
                  <c:v>0.65186374175138195</c:v>
                </c:pt>
                <c:pt idx="36551">
                  <c:v>0.65188157660067703</c:v>
                </c:pt>
                <c:pt idx="36552">
                  <c:v>0.65189941144997299</c:v>
                </c:pt>
                <c:pt idx="36553">
                  <c:v>0.65191724629926795</c:v>
                </c:pt>
                <c:pt idx="36554">
                  <c:v>0.65193508114856402</c:v>
                </c:pt>
                <c:pt idx="36555">
                  <c:v>0.65195291599785898</c:v>
                </c:pt>
                <c:pt idx="36556">
                  <c:v>0.65197075084715495</c:v>
                </c:pt>
                <c:pt idx="36557">
                  <c:v>0.65198858569645002</c:v>
                </c:pt>
                <c:pt idx="36558">
                  <c:v>0.65200642054574598</c:v>
                </c:pt>
                <c:pt idx="36559">
                  <c:v>0.65202425539504105</c:v>
                </c:pt>
                <c:pt idx="36560">
                  <c:v>0.65204209024433701</c:v>
                </c:pt>
                <c:pt idx="36561">
                  <c:v>0.65205992509363297</c:v>
                </c:pt>
                <c:pt idx="36562">
                  <c:v>0.65207775994292805</c:v>
                </c:pt>
                <c:pt idx="36563">
                  <c:v>0.65209559479222401</c:v>
                </c:pt>
                <c:pt idx="36564">
                  <c:v>0.65211342964151897</c:v>
                </c:pt>
                <c:pt idx="36565">
                  <c:v>0.65213126449081504</c:v>
                </c:pt>
                <c:pt idx="36566">
                  <c:v>0.65214909934011001</c:v>
                </c:pt>
                <c:pt idx="36567">
                  <c:v>0.65216693418940597</c:v>
                </c:pt>
                <c:pt idx="36568">
                  <c:v>0.65218476903870104</c:v>
                </c:pt>
                <c:pt idx="36569">
                  <c:v>0.652202603887997</c:v>
                </c:pt>
                <c:pt idx="36570">
                  <c:v>0.65222043873729196</c:v>
                </c:pt>
                <c:pt idx="36571">
                  <c:v>0.65223827358658804</c:v>
                </c:pt>
                <c:pt idx="36572">
                  <c:v>0.652256108435883</c:v>
                </c:pt>
                <c:pt idx="36573">
                  <c:v>0.65227394328517896</c:v>
                </c:pt>
                <c:pt idx="36574">
                  <c:v>0.65229177813447403</c:v>
                </c:pt>
                <c:pt idx="36575">
                  <c:v>0.65230961298376999</c:v>
                </c:pt>
                <c:pt idx="36576">
                  <c:v>0.65232744783306496</c:v>
                </c:pt>
                <c:pt idx="36577">
                  <c:v>0.65234528268236103</c:v>
                </c:pt>
                <c:pt idx="36578">
                  <c:v>0.65236311753165599</c:v>
                </c:pt>
                <c:pt idx="36579">
                  <c:v>0.65238095238095195</c:v>
                </c:pt>
                <c:pt idx="36580">
                  <c:v>0.65239878723024702</c:v>
                </c:pt>
                <c:pt idx="36581">
                  <c:v>0.65241662207954298</c:v>
                </c:pt>
                <c:pt idx="36582">
                  <c:v>0.65243445692883895</c:v>
                </c:pt>
                <c:pt idx="36583">
                  <c:v>0.65245229177813402</c:v>
                </c:pt>
                <c:pt idx="36584">
                  <c:v>0.65247012662742998</c:v>
                </c:pt>
                <c:pt idx="36585">
                  <c:v>0.65248796147672505</c:v>
                </c:pt>
                <c:pt idx="36586">
                  <c:v>0.65250579632602101</c:v>
                </c:pt>
                <c:pt idx="36587">
                  <c:v>0.65252363117531598</c:v>
                </c:pt>
                <c:pt idx="36588">
                  <c:v>0.65254146602461205</c:v>
                </c:pt>
                <c:pt idx="36589">
                  <c:v>0.65255930087390701</c:v>
                </c:pt>
                <c:pt idx="36590">
                  <c:v>0.65257713572320297</c:v>
                </c:pt>
                <c:pt idx="36591">
                  <c:v>0.65259497057249805</c:v>
                </c:pt>
                <c:pt idx="36592">
                  <c:v>0.65261280542179401</c:v>
                </c:pt>
                <c:pt idx="36593">
                  <c:v>0.65263064027108897</c:v>
                </c:pt>
                <c:pt idx="36594">
                  <c:v>0.65264847512038504</c:v>
                </c:pt>
                <c:pt idx="36595">
                  <c:v>0.65266630996968</c:v>
                </c:pt>
                <c:pt idx="36596">
                  <c:v>0.65268414481897596</c:v>
                </c:pt>
                <c:pt idx="36597">
                  <c:v>0.65270197966827104</c:v>
                </c:pt>
                <c:pt idx="36598">
                  <c:v>0.652719814517567</c:v>
                </c:pt>
                <c:pt idx="36599">
                  <c:v>0.65273764936686196</c:v>
                </c:pt>
                <c:pt idx="36600">
                  <c:v>0.65275548421615803</c:v>
                </c:pt>
                <c:pt idx="36601">
                  <c:v>0.65277331906545299</c:v>
                </c:pt>
                <c:pt idx="36602">
                  <c:v>0.65279115391474896</c:v>
                </c:pt>
                <c:pt idx="36603">
                  <c:v>0.65280898876404403</c:v>
                </c:pt>
                <c:pt idx="36604">
                  <c:v>0.65282682361333999</c:v>
                </c:pt>
                <c:pt idx="36605">
                  <c:v>0.65284465846263595</c:v>
                </c:pt>
                <c:pt idx="36606">
                  <c:v>0.65286249331193102</c:v>
                </c:pt>
                <c:pt idx="36607">
                  <c:v>0.65288032816122699</c:v>
                </c:pt>
                <c:pt idx="36608">
                  <c:v>0.65289816301052195</c:v>
                </c:pt>
                <c:pt idx="36609">
                  <c:v>0.65291599785981802</c:v>
                </c:pt>
                <c:pt idx="36610">
                  <c:v>0.65293383270911298</c:v>
                </c:pt>
                <c:pt idx="36611">
                  <c:v>0.65295166755840905</c:v>
                </c:pt>
                <c:pt idx="36612">
                  <c:v>0.65296950240770402</c:v>
                </c:pt>
                <c:pt idx="36613">
                  <c:v>0.65298733725699998</c:v>
                </c:pt>
                <c:pt idx="36614">
                  <c:v>0.65300517210629505</c:v>
                </c:pt>
                <c:pt idx="36615">
                  <c:v>0.65302300695559101</c:v>
                </c:pt>
                <c:pt idx="36616">
                  <c:v>0.65304084180488597</c:v>
                </c:pt>
                <c:pt idx="36617">
                  <c:v>0.65305867665418205</c:v>
                </c:pt>
                <c:pt idx="36618">
                  <c:v>0.65307651150347701</c:v>
                </c:pt>
                <c:pt idx="36619">
                  <c:v>0.65309434635277297</c:v>
                </c:pt>
                <c:pt idx="36620">
                  <c:v>0.65311218120206804</c:v>
                </c:pt>
                <c:pt idx="36621">
                  <c:v>0.653130016051364</c:v>
                </c:pt>
                <c:pt idx="36622">
                  <c:v>0.65314785090065897</c:v>
                </c:pt>
                <c:pt idx="36623">
                  <c:v>0.65316568574995504</c:v>
                </c:pt>
                <c:pt idx="36624">
                  <c:v>0.65318352059925</c:v>
                </c:pt>
                <c:pt idx="36625">
                  <c:v>0.65320135544854596</c:v>
                </c:pt>
                <c:pt idx="36626">
                  <c:v>0.65321919029784203</c:v>
                </c:pt>
                <c:pt idx="36627">
                  <c:v>0.653237025147137</c:v>
                </c:pt>
                <c:pt idx="36628">
                  <c:v>0.65325485999643296</c:v>
                </c:pt>
                <c:pt idx="36629">
                  <c:v>0.65327269484572803</c:v>
                </c:pt>
                <c:pt idx="36630">
                  <c:v>0.65329052969502399</c:v>
                </c:pt>
                <c:pt idx="36631">
                  <c:v>0.65330836454431895</c:v>
                </c:pt>
                <c:pt idx="36632">
                  <c:v>0.65332619939361503</c:v>
                </c:pt>
                <c:pt idx="36633">
                  <c:v>0.65334403424290999</c:v>
                </c:pt>
                <c:pt idx="36634">
                  <c:v>0.65336186909220595</c:v>
                </c:pt>
                <c:pt idx="36635">
                  <c:v>0.65337970394150102</c:v>
                </c:pt>
                <c:pt idx="36636">
                  <c:v>0.65339753879079698</c:v>
                </c:pt>
                <c:pt idx="36637">
                  <c:v>0.65341537364009195</c:v>
                </c:pt>
                <c:pt idx="36638">
                  <c:v>0.65343320848938802</c:v>
                </c:pt>
                <c:pt idx="36639">
                  <c:v>0.65345104333868298</c:v>
                </c:pt>
                <c:pt idx="36640">
                  <c:v>0.65346887818797905</c:v>
                </c:pt>
                <c:pt idx="36641">
                  <c:v>0.65348671303727401</c:v>
                </c:pt>
                <c:pt idx="36642">
                  <c:v>0.65350454788656998</c:v>
                </c:pt>
                <c:pt idx="36643">
                  <c:v>0.65352238273586505</c:v>
                </c:pt>
                <c:pt idx="36644">
                  <c:v>0.65354021758516101</c:v>
                </c:pt>
                <c:pt idx="36645">
                  <c:v>0.65355805243445697</c:v>
                </c:pt>
                <c:pt idx="36646">
                  <c:v>0.65357588728375204</c:v>
                </c:pt>
                <c:pt idx="36647">
                  <c:v>0.65359372213304801</c:v>
                </c:pt>
                <c:pt idx="36648">
                  <c:v>0.65361155698234297</c:v>
                </c:pt>
                <c:pt idx="36649">
                  <c:v>0.65362939183163904</c:v>
                </c:pt>
                <c:pt idx="36650">
                  <c:v>0.653647226680934</c:v>
                </c:pt>
                <c:pt idx="36651">
                  <c:v>0.65366506153022996</c:v>
                </c:pt>
                <c:pt idx="36652">
                  <c:v>0.65368289637952504</c:v>
                </c:pt>
                <c:pt idx="36653">
                  <c:v>0.653700731228821</c:v>
                </c:pt>
                <c:pt idx="36654">
                  <c:v>0.65371856607811596</c:v>
                </c:pt>
                <c:pt idx="36655">
                  <c:v>0.65373640092741203</c:v>
                </c:pt>
                <c:pt idx="36656">
                  <c:v>0.65375423577670699</c:v>
                </c:pt>
                <c:pt idx="36657">
                  <c:v>0.65377207062600295</c:v>
                </c:pt>
                <c:pt idx="36658">
                  <c:v>0.65378990547529803</c:v>
                </c:pt>
                <c:pt idx="36659">
                  <c:v>0.65380774032459399</c:v>
                </c:pt>
                <c:pt idx="36660">
                  <c:v>0.65382557517388895</c:v>
                </c:pt>
                <c:pt idx="36661">
                  <c:v>0.65384341002318502</c:v>
                </c:pt>
                <c:pt idx="36662">
                  <c:v>0.65386124487247999</c:v>
                </c:pt>
                <c:pt idx="36663">
                  <c:v>0.65387907972177595</c:v>
                </c:pt>
                <c:pt idx="36664">
                  <c:v>0.65389691457107102</c:v>
                </c:pt>
                <c:pt idx="36665">
                  <c:v>0.65391474942036698</c:v>
                </c:pt>
                <c:pt idx="36666">
                  <c:v>0.65393258426966205</c:v>
                </c:pt>
                <c:pt idx="36667">
                  <c:v>0.65395041911895802</c:v>
                </c:pt>
                <c:pt idx="36668">
                  <c:v>0.65396825396825398</c:v>
                </c:pt>
                <c:pt idx="36669">
                  <c:v>0.65398608881754905</c:v>
                </c:pt>
                <c:pt idx="36670">
                  <c:v>0.65400392366684501</c:v>
                </c:pt>
                <c:pt idx="36671">
                  <c:v>0.65402175851613997</c:v>
                </c:pt>
                <c:pt idx="36672">
                  <c:v>0.65403959336543604</c:v>
                </c:pt>
                <c:pt idx="36673">
                  <c:v>0.65405742821473101</c:v>
                </c:pt>
                <c:pt idx="36674">
                  <c:v>0.65407526306402697</c:v>
                </c:pt>
                <c:pt idx="36675">
                  <c:v>0.65409309791332204</c:v>
                </c:pt>
                <c:pt idx="36676">
                  <c:v>0.654110932762618</c:v>
                </c:pt>
                <c:pt idx="36677">
                  <c:v>0.65412876761191296</c:v>
                </c:pt>
                <c:pt idx="36678">
                  <c:v>0.65414660246120904</c:v>
                </c:pt>
                <c:pt idx="36679">
                  <c:v>0.654164437310504</c:v>
                </c:pt>
                <c:pt idx="36680">
                  <c:v>0.65418227215979996</c:v>
                </c:pt>
                <c:pt idx="36681">
                  <c:v>0.65420010700909503</c:v>
                </c:pt>
                <c:pt idx="36682">
                  <c:v>0.65421794185839099</c:v>
                </c:pt>
                <c:pt idx="36683">
                  <c:v>0.65423577670768596</c:v>
                </c:pt>
                <c:pt idx="36684">
                  <c:v>0.65425361155698203</c:v>
                </c:pt>
                <c:pt idx="36685">
                  <c:v>0.65427144640627699</c:v>
                </c:pt>
                <c:pt idx="36686">
                  <c:v>0.65428928125557295</c:v>
                </c:pt>
                <c:pt idx="36687">
                  <c:v>0.65430711610486803</c:v>
                </c:pt>
                <c:pt idx="36688">
                  <c:v>0.65432495095416399</c:v>
                </c:pt>
                <c:pt idx="36689">
                  <c:v>0.65434278580345995</c:v>
                </c:pt>
                <c:pt idx="36690">
                  <c:v>0.65436062065275502</c:v>
                </c:pt>
                <c:pt idx="36691">
                  <c:v>0.65437845550205098</c:v>
                </c:pt>
                <c:pt idx="36692">
                  <c:v>0.65439629035134605</c:v>
                </c:pt>
                <c:pt idx="36693">
                  <c:v>0.65441412520064202</c:v>
                </c:pt>
                <c:pt idx="36694">
                  <c:v>0.65443196004993698</c:v>
                </c:pt>
                <c:pt idx="36695">
                  <c:v>0.65444979489923305</c:v>
                </c:pt>
                <c:pt idx="36696">
                  <c:v>0.65446762974852801</c:v>
                </c:pt>
                <c:pt idx="36697">
                  <c:v>0.65448546459782397</c:v>
                </c:pt>
                <c:pt idx="36698">
                  <c:v>0.65450329944711905</c:v>
                </c:pt>
                <c:pt idx="36699">
                  <c:v>0.65452113429641501</c:v>
                </c:pt>
                <c:pt idx="36700">
                  <c:v>0.65453896914570997</c:v>
                </c:pt>
                <c:pt idx="36701">
                  <c:v>0.65455680399500604</c:v>
                </c:pt>
                <c:pt idx="36702">
                  <c:v>0.654574638844301</c:v>
                </c:pt>
                <c:pt idx="36703">
                  <c:v>0.65459247369359697</c:v>
                </c:pt>
                <c:pt idx="36704">
                  <c:v>0.65461030854289204</c:v>
                </c:pt>
                <c:pt idx="36705">
                  <c:v>0.654628143392188</c:v>
                </c:pt>
                <c:pt idx="36706">
                  <c:v>0.65464597824148296</c:v>
                </c:pt>
                <c:pt idx="36707">
                  <c:v>0.65466381309077903</c:v>
                </c:pt>
                <c:pt idx="36708">
                  <c:v>0.654681647940074</c:v>
                </c:pt>
                <c:pt idx="36709">
                  <c:v>0.65469948278936996</c:v>
                </c:pt>
                <c:pt idx="36710">
                  <c:v>0.65471731763866503</c:v>
                </c:pt>
                <c:pt idx="36711">
                  <c:v>0.65473515248796099</c:v>
                </c:pt>
                <c:pt idx="36712">
                  <c:v>0.65475298733725695</c:v>
                </c:pt>
                <c:pt idx="36713">
                  <c:v>0.65477082218655203</c:v>
                </c:pt>
                <c:pt idx="36714">
                  <c:v>0.65478865703584799</c:v>
                </c:pt>
                <c:pt idx="36715">
                  <c:v>0.65480649188514295</c:v>
                </c:pt>
                <c:pt idx="36716">
                  <c:v>0.65482432673443902</c:v>
                </c:pt>
                <c:pt idx="36717">
                  <c:v>0.65484216158373398</c:v>
                </c:pt>
                <c:pt idx="36718">
                  <c:v>0.65485999643302994</c:v>
                </c:pt>
                <c:pt idx="36719">
                  <c:v>0.65487783128232502</c:v>
                </c:pt>
                <c:pt idx="36720">
                  <c:v>0.65489566613162098</c:v>
                </c:pt>
                <c:pt idx="36721">
                  <c:v>0.65491350098091605</c:v>
                </c:pt>
                <c:pt idx="36722">
                  <c:v>0.65493133583021201</c:v>
                </c:pt>
                <c:pt idx="36723">
                  <c:v>0.65494917067950698</c:v>
                </c:pt>
                <c:pt idx="36724">
                  <c:v>0.65496700552880305</c:v>
                </c:pt>
                <c:pt idx="36725">
                  <c:v>0.65498484037809801</c:v>
                </c:pt>
                <c:pt idx="36726">
                  <c:v>0.65500267522739397</c:v>
                </c:pt>
                <c:pt idx="36727">
                  <c:v>0.65502051007668904</c:v>
                </c:pt>
                <c:pt idx="36728">
                  <c:v>0.65503834492598501</c:v>
                </c:pt>
                <c:pt idx="36729">
                  <c:v>0.65505617977527997</c:v>
                </c:pt>
                <c:pt idx="36730">
                  <c:v>0.65507401462457604</c:v>
                </c:pt>
                <c:pt idx="36731">
                  <c:v>0.655091849473872</c:v>
                </c:pt>
                <c:pt idx="36732">
                  <c:v>0.65510968432316696</c:v>
                </c:pt>
                <c:pt idx="36733">
                  <c:v>0.65512751917246304</c:v>
                </c:pt>
                <c:pt idx="36734">
                  <c:v>0.655145354021758</c:v>
                </c:pt>
                <c:pt idx="36735">
                  <c:v>0.65516318887105396</c:v>
                </c:pt>
                <c:pt idx="36736">
                  <c:v>0.65518102372034903</c:v>
                </c:pt>
                <c:pt idx="36737">
                  <c:v>0.65519885856964499</c:v>
                </c:pt>
                <c:pt idx="36738">
                  <c:v>0.65521669341893995</c:v>
                </c:pt>
                <c:pt idx="36739">
                  <c:v>0.65523452826823603</c:v>
                </c:pt>
                <c:pt idx="36740">
                  <c:v>0.65525236311753099</c:v>
                </c:pt>
                <c:pt idx="36741">
                  <c:v>0.65527019796682695</c:v>
                </c:pt>
                <c:pt idx="36742">
                  <c:v>0.65528803281612202</c:v>
                </c:pt>
                <c:pt idx="36743">
                  <c:v>0.65530586766541798</c:v>
                </c:pt>
                <c:pt idx="36744">
                  <c:v>0.65532370251471295</c:v>
                </c:pt>
                <c:pt idx="36745">
                  <c:v>0.65534153736400902</c:v>
                </c:pt>
                <c:pt idx="36746">
                  <c:v>0.65535937221330398</c:v>
                </c:pt>
                <c:pt idx="36747">
                  <c:v>0.65537720706260005</c:v>
                </c:pt>
                <c:pt idx="36748">
                  <c:v>0.65539504191189502</c:v>
                </c:pt>
                <c:pt idx="36749">
                  <c:v>0.65541287676119098</c:v>
                </c:pt>
                <c:pt idx="36750">
                  <c:v>0.65543071161048605</c:v>
                </c:pt>
                <c:pt idx="36751">
                  <c:v>0.65544854645978201</c:v>
                </c:pt>
                <c:pt idx="36752">
                  <c:v>0.65546638130907797</c:v>
                </c:pt>
                <c:pt idx="36753">
                  <c:v>0.65548421615837305</c:v>
                </c:pt>
                <c:pt idx="36754">
                  <c:v>0.65550205100766901</c:v>
                </c:pt>
                <c:pt idx="36755">
                  <c:v>0.65551988585696397</c:v>
                </c:pt>
                <c:pt idx="36756">
                  <c:v>0.65553772070626004</c:v>
                </c:pt>
                <c:pt idx="36757">
                  <c:v>0.655555555555555</c:v>
                </c:pt>
                <c:pt idx="36758">
                  <c:v>0.65557339040485096</c:v>
                </c:pt>
                <c:pt idx="36759">
                  <c:v>0.65559122525414604</c:v>
                </c:pt>
                <c:pt idx="36760">
                  <c:v>0.655609060103442</c:v>
                </c:pt>
                <c:pt idx="36761">
                  <c:v>0.65562689495273696</c:v>
                </c:pt>
                <c:pt idx="36762">
                  <c:v>0.65564472980203303</c:v>
                </c:pt>
                <c:pt idx="36763">
                  <c:v>0.65566256465132799</c:v>
                </c:pt>
                <c:pt idx="36764">
                  <c:v>0.65568039950062396</c:v>
                </c:pt>
                <c:pt idx="36765">
                  <c:v>0.65569823434991903</c:v>
                </c:pt>
                <c:pt idx="36766">
                  <c:v>0.65571606919921499</c:v>
                </c:pt>
                <c:pt idx="36767">
                  <c:v>0.65573390404850995</c:v>
                </c:pt>
                <c:pt idx="36768">
                  <c:v>0.65575173889780602</c:v>
                </c:pt>
                <c:pt idx="36769">
                  <c:v>0.65576957374710099</c:v>
                </c:pt>
                <c:pt idx="36770">
                  <c:v>0.65578740859639695</c:v>
                </c:pt>
                <c:pt idx="36771">
                  <c:v>0.65580524344569202</c:v>
                </c:pt>
                <c:pt idx="36772">
                  <c:v>0.65582307829498798</c:v>
                </c:pt>
                <c:pt idx="36773">
                  <c:v>0.65584091314428306</c:v>
                </c:pt>
                <c:pt idx="36774">
                  <c:v>0.65585874799357902</c:v>
                </c:pt>
                <c:pt idx="36775">
                  <c:v>0.65587658284287498</c:v>
                </c:pt>
                <c:pt idx="36776">
                  <c:v>0.65589441769217005</c:v>
                </c:pt>
                <c:pt idx="36777">
                  <c:v>0.65591225254146601</c:v>
                </c:pt>
                <c:pt idx="36778">
                  <c:v>0.65593008739076097</c:v>
                </c:pt>
                <c:pt idx="36779">
                  <c:v>0.65594792224005705</c:v>
                </c:pt>
                <c:pt idx="36780">
                  <c:v>0.65596575708935201</c:v>
                </c:pt>
                <c:pt idx="36781">
                  <c:v>0.65598359193864797</c:v>
                </c:pt>
                <c:pt idx="36782">
                  <c:v>0.65600142678794304</c:v>
                </c:pt>
                <c:pt idx="36783">
                  <c:v>0.656019261637239</c:v>
                </c:pt>
                <c:pt idx="36784">
                  <c:v>0.65603709648653397</c:v>
                </c:pt>
                <c:pt idx="36785">
                  <c:v>0.65605493133583004</c:v>
                </c:pt>
                <c:pt idx="36786">
                  <c:v>0.656072766185125</c:v>
                </c:pt>
                <c:pt idx="36787">
                  <c:v>0.65609060103442096</c:v>
                </c:pt>
                <c:pt idx="36788">
                  <c:v>0.65610843588371603</c:v>
                </c:pt>
                <c:pt idx="36789">
                  <c:v>0.656126270733012</c:v>
                </c:pt>
                <c:pt idx="36790">
                  <c:v>0.65614410558230696</c:v>
                </c:pt>
                <c:pt idx="36791">
                  <c:v>0.65616194043160303</c:v>
                </c:pt>
                <c:pt idx="36792">
                  <c:v>0.65617977528089799</c:v>
                </c:pt>
                <c:pt idx="36793">
                  <c:v>0.65619761013019395</c:v>
                </c:pt>
                <c:pt idx="36794">
                  <c:v>0.65621544497948903</c:v>
                </c:pt>
                <c:pt idx="36795">
                  <c:v>0.65623327982878499</c:v>
                </c:pt>
                <c:pt idx="36796">
                  <c:v>0.65625111467808095</c:v>
                </c:pt>
                <c:pt idx="36797">
                  <c:v>0.65626894952737602</c:v>
                </c:pt>
                <c:pt idx="36798">
                  <c:v>0.65628678437667198</c:v>
                </c:pt>
                <c:pt idx="36799">
                  <c:v>0.65630461922596695</c:v>
                </c:pt>
                <c:pt idx="36800">
                  <c:v>0.65632245407526302</c:v>
                </c:pt>
                <c:pt idx="36801">
                  <c:v>0.65634028892455798</c:v>
                </c:pt>
                <c:pt idx="36802">
                  <c:v>0.65635812377385405</c:v>
                </c:pt>
                <c:pt idx="36803">
                  <c:v>0.65637595862314901</c:v>
                </c:pt>
                <c:pt idx="36804">
                  <c:v>0.65639379347244498</c:v>
                </c:pt>
                <c:pt idx="36805">
                  <c:v>0.65641162832174005</c:v>
                </c:pt>
                <c:pt idx="36806">
                  <c:v>0.65642946317103601</c:v>
                </c:pt>
                <c:pt idx="36807">
                  <c:v>0.65644729802033097</c:v>
                </c:pt>
                <c:pt idx="36808">
                  <c:v>0.65646513286962704</c:v>
                </c:pt>
                <c:pt idx="36809">
                  <c:v>0.65648296771892201</c:v>
                </c:pt>
                <c:pt idx="36810">
                  <c:v>0.65650080256821797</c:v>
                </c:pt>
                <c:pt idx="36811">
                  <c:v>0.65651863741751304</c:v>
                </c:pt>
                <c:pt idx="36812">
                  <c:v>0.656536472266809</c:v>
                </c:pt>
                <c:pt idx="36813">
                  <c:v>0.65655430711610396</c:v>
                </c:pt>
                <c:pt idx="36814">
                  <c:v>0.65657214196540004</c:v>
                </c:pt>
                <c:pt idx="36815">
                  <c:v>0.656589976814695</c:v>
                </c:pt>
                <c:pt idx="36816">
                  <c:v>0.65660781166399096</c:v>
                </c:pt>
                <c:pt idx="36817">
                  <c:v>0.65662564651328603</c:v>
                </c:pt>
                <c:pt idx="36818">
                  <c:v>0.65664348136258199</c:v>
                </c:pt>
                <c:pt idx="36819">
                  <c:v>0.65666131621187795</c:v>
                </c:pt>
                <c:pt idx="36820">
                  <c:v>0.65667915106117303</c:v>
                </c:pt>
                <c:pt idx="36821">
                  <c:v>0.65669698591046899</c:v>
                </c:pt>
                <c:pt idx="36822">
                  <c:v>0.65671482075976395</c:v>
                </c:pt>
                <c:pt idx="36823">
                  <c:v>0.65673265560906002</c:v>
                </c:pt>
                <c:pt idx="36824">
                  <c:v>0.65675049045835499</c:v>
                </c:pt>
                <c:pt idx="36825">
                  <c:v>0.65676832530765095</c:v>
                </c:pt>
                <c:pt idx="36826">
                  <c:v>0.65678616015694602</c:v>
                </c:pt>
                <c:pt idx="36827">
                  <c:v>0.65680399500624198</c:v>
                </c:pt>
                <c:pt idx="36828">
                  <c:v>0.65682182985553705</c:v>
                </c:pt>
                <c:pt idx="36829">
                  <c:v>0.65683966470483302</c:v>
                </c:pt>
                <c:pt idx="36830">
                  <c:v>0.65685749955412798</c:v>
                </c:pt>
                <c:pt idx="36831">
                  <c:v>0.65687533440342405</c:v>
                </c:pt>
                <c:pt idx="36832">
                  <c:v>0.65689316925271901</c:v>
                </c:pt>
                <c:pt idx="36833">
                  <c:v>0.65691100410201497</c:v>
                </c:pt>
                <c:pt idx="36834">
                  <c:v>0.65692883895131005</c:v>
                </c:pt>
                <c:pt idx="36835">
                  <c:v>0.65694667380060601</c:v>
                </c:pt>
                <c:pt idx="36836">
                  <c:v>0.65696450864990097</c:v>
                </c:pt>
                <c:pt idx="36837">
                  <c:v>0.65698234349919704</c:v>
                </c:pt>
                <c:pt idx="36838">
                  <c:v>0.657000178348493</c:v>
                </c:pt>
                <c:pt idx="36839">
                  <c:v>0.65701801319778796</c:v>
                </c:pt>
                <c:pt idx="36840">
                  <c:v>0.65703584804708404</c:v>
                </c:pt>
                <c:pt idx="36841">
                  <c:v>0.657053682896379</c:v>
                </c:pt>
                <c:pt idx="36842">
                  <c:v>0.65707151774567496</c:v>
                </c:pt>
                <c:pt idx="36843">
                  <c:v>0.65708935259497003</c:v>
                </c:pt>
                <c:pt idx="36844">
                  <c:v>0.65710718744426599</c:v>
                </c:pt>
                <c:pt idx="36845">
                  <c:v>0.65712502229356096</c:v>
                </c:pt>
                <c:pt idx="36846">
                  <c:v>0.65714285714285703</c:v>
                </c:pt>
                <c:pt idx="36847">
                  <c:v>0.65716069199215199</c:v>
                </c:pt>
                <c:pt idx="36848">
                  <c:v>0.65717852684144795</c:v>
                </c:pt>
                <c:pt idx="36849">
                  <c:v>0.65719636169074303</c:v>
                </c:pt>
                <c:pt idx="36850">
                  <c:v>0.65721419654003899</c:v>
                </c:pt>
                <c:pt idx="36851">
                  <c:v>0.65723203138933395</c:v>
                </c:pt>
                <c:pt idx="36852">
                  <c:v>0.65724986623863002</c:v>
                </c:pt>
                <c:pt idx="36853">
                  <c:v>0.65726770108792498</c:v>
                </c:pt>
                <c:pt idx="36854">
                  <c:v>0.65728553593722105</c:v>
                </c:pt>
                <c:pt idx="36855">
                  <c:v>0.65730337078651602</c:v>
                </c:pt>
                <c:pt idx="36856">
                  <c:v>0.65732120563581198</c:v>
                </c:pt>
                <c:pt idx="36857">
                  <c:v>0.65733904048510705</c:v>
                </c:pt>
                <c:pt idx="36858">
                  <c:v>0.65735687533440301</c:v>
                </c:pt>
                <c:pt idx="36859">
                  <c:v>0.65737471018369897</c:v>
                </c:pt>
                <c:pt idx="36860">
                  <c:v>0.65739254503299405</c:v>
                </c:pt>
                <c:pt idx="36861">
                  <c:v>0.65741037988229001</c:v>
                </c:pt>
                <c:pt idx="36862">
                  <c:v>0.65742821473158497</c:v>
                </c:pt>
                <c:pt idx="36863">
                  <c:v>0.65744604958088104</c:v>
                </c:pt>
                <c:pt idx="36864">
                  <c:v>0.657463884430176</c:v>
                </c:pt>
                <c:pt idx="36865">
                  <c:v>0.65748171927947197</c:v>
                </c:pt>
                <c:pt idx="36866">
                  <c:v>0.65749955412876704</c:v>
                </c:pt>
                <c:pt idx="36867">
                  <c:v>0.657517388978063</c:v>
                </c:pt>
                <c:pt idx="36868">
                  <c:v>0.65753522382735796</c:v>
                </c:pt>
                <c:pt idx="36869">
                  <c:v>0.65755305867665403</c:v>
                </c:pt>
                <c:pt idx="36870">
                  <c:v>0.657570893525949</c:v>
                </c:pt>
                <c:pt idx="36871">
                  <c:v>0.65758872837524496</c:v>
                </c:pt>
                <c:pt idx="36872">
                  <c:v>0.65760656322454003</c:v>
                </c:pt>
                <c:pt idx="36873">
                  <c:v>0.65762439807383599</c:v>
                </c:pt>
                <c:pt idx="36874">
                  <c:v>0.65764223292313095</c:v>
                </c:pt>
                <c:pt idx="36875">
                  <c:v>0.65766006777242703</c:v>
                </c:pt>
                <c:pt idx="36876">
                  <c:v>0.65767790262172199</c:v>
                </c:pt>
                <c:pt idx="36877">
                  <c:v>0.65769573747101795</c:v>
                </c:pt>
                <c:pt idx="36878">
                  <c:v>0.65771357232031302</c:v>
                </c:pt>
                <c:pt idx="36879">
                  <c:v>0.65773140716960898</c:v>
                </c:pt>
                <c:pt idx="36880">
                  <c:v>0.65774924201890494</c:v>
                </c:pt>
                <c:pt idx="36881">
                  <c:v>0.65776707686820002</c:v>
                </c:pt>
                <c:pt idx="36882">
                  <c:v>0.65778491171749598</c:v>
                </c:pt>
                <c:pt idx="36883">
                  <c:v>0.65780274656679105</c:v>
                </c:pt>
                <c:pt idx="36884">
                  <c:v>0.65782058141608701</c:v>
                </c:pt>
                <c:pt idx="36885">
                  <c:v>0.65783841626538198</c:v>
                </c:pt>
                <c:pt idx="36886">
                  <c:v>0.65785625111467805</c:v>
                </c:pt>
                <c:pt idx="36887">
                  <c:v>0.65787408596397301</c:v>
                </c:pt>
                <c:pt idx="36888">
                  <c:v>0.65789192081326897</c:v>
                </c:pt>
                <c:pt idx="36889">
                  <c:v>0.65790975566256404</c:v>
                </c:pt>
                <c:pt idx="36890">
                  <c:v>0.65792759051186001</c:v>
                </c:pt>
                <c:pt idx="36891">
                  <c:v>0.65794542536115497</c:v>
                </c:pt>
                <c:pt idx="36892">
                  <c:v>0.65796326021045104</c:v>
                </c:pt>
                <c:pt idx="36893">
                  <c:v>0.657981095059746</c:v>
                </c:pt>
                <c:pt idx="36894">
                  <c:v>0.65799892990904196</c:v>
                </c:pt>
                <c:pt idx="36895">
                  <c:v>0.65801676475833704</c:v>
                </c:pt>
                <c:pt idx="36896">
                  <c:v>0.658034599607633</c:v>
                </c:pt>
                <c:pt idx="36897">
                  <c:v>0.65805243445692796</c:v>
                </c:pt>
                <c:pt idx="36898">
                  <c:v>0.65807026930622403</c:v>
                </c:pt>
                <c:pt idx="36899">
                  <c:v>0.65808810415551899</c:v>
                </c:pt>
                <c:pt idx="36900">
                  <c:v>0.65810593900481495</c:v>
                </c:pt>
                <c:pt idx="36901">
                  <c:v>0.65812377385411003</c:v>
                </c:pt>
                <c:pt idx="36902">
                  <c:v>0.65814160870340599</c:v>
                </c:pt>
                <c:pt idx="36903">
                  <c:v>0.65815944355270195</c:v>
                </c:pt>
                <c:pt idx="36904">
                  <c:v>0.65817727840199702</c:v>
                </c:pt>
                <c:pt idx="36905">
                  <c:v>0.65819511325129298</c:v>
                </c:pt>
                <c:pt idx="36906">
                  <c:v>0.65821294810058795</c:v>
                </c:pt>
                <c:pt idx="36907">
                  <c:v>0.65823078294988402</c:v>
                </c:pt>
                <c:pt idx="36908">
                  <c:v>0.65824861779917898</c:v>
                </c:pt>
                <c:pt idx="36909">
                  <c:v>0.65826645264847505</c:v>
                </c:pt>
                <c:pt idx="36910">
                  <c:v>0.65828428749777002</c:v>
                </c:pt>
                <c:pt idx="36911">
                  <c:v>0.65830212234706598</c:v>
                </c:pt>
                <c:pt idx="36912">
                  <c:v>0.65831995719636105</c:v>
                </c:pt>
                <c:pt idx="36913">
                  <c:v>0.65833779204565701</c:v>
                </c:pt>
                <c:pt idx="36914">
                  <c:v>0.65835562689495197</c:v>
                </c:pt>
                <c:pt idx="36915">
                  <c:v>0.65837346174424805</c:v>
                </c:pt>
                <c:pt idx="36916">
                  <c:v>0.65839129659354301</c:v>
                </c:pt>
                <c:pt idx="36917">
                  <c:v>0.65840913144283897</c:v>
                </c:pt>
                <c:pt idx="36918">
                  <c:v>0.65842696629213404</c:v>
                </c:pt>
                <c:pt idx="36919">
                  <c:v>0.65844480114143</c:v>
                </c:pt>
                <c:pt idx="36920">
                  <c:v>0.65846263599072496</c:v>
                </c:pt>
                <c:pt idx="36921">
                  <c:v>0.65848047084002104</c:v>
                </c:pt>
                <c:pt idx="36922">
                  <c:v>0.658498305689316</c:v>
                </c:pt>
                <c:pt idx="36923">
                  <c:v>0.65851614053861196</c:v>
                </c:pt>
                <c:pt idx="36924">
                  <c:v>0.65853397538790703</c:v>
                </c:pt>
                <c:pt idx="36925">
                  <c:v>0.65855181023720299</c:v>
                </c:pt>
                <c:pt idx="36926">
                  <c:v>0.65856964508649896</c:v>
                </c:pt>
                <c:pt idx="36927">
                  <c:v>0.65858747993579403</c:v>
                </c:pt>
                <c:pt idx="36928">
                  <c:v>0.65860531478508999</c:v>
                </c:pt>
                <c:pt idx="36929">
                  <c:v>0.65862314963438495</c:v>
                </c:pt>
                <c:pt idx="36930">
                  <c:v>0.65864098448368102</c:v>
                </c:pt>
                <c:pt idx="36931">
                  <c:v>0.65865881933297599</c:v>
                </c:pt>
                <c:pt idx="36932">
                  <c:v>0.65867665418227195</c:v>
                </c:pt>
                <c:pt idx="36933">
                  <c:v>0.65869448903156702</c:v>
                </c:pt>
                <c:pt idx="36934">
                  <c:v>0.65871232388086298</c:v>
                </c:pt>
                <c:pt idx="36935">
                  <c:v>0.65873015873015806</c:v>
                </c:pt>
                <c:pt idx="36936">
                  <c:v>0.65874799357945402</c:v>
                </c:pt>
                <c:pt idx="36937">
                  <c:v>0.65876582842874898</c:v>
                </c:pt>
                <c:pt idx="36938">
                  <c:v>0.65878366327804505</c:v>
                </c:pt>
                <c:pt idx="36939">
                  <c:v>0.65880149812734001</c:v>
                </c:pt>
                <c:pt idx="36940">
                  <c:v>0.65881933297663597</c:v>
                </c:pt>
                <c:pt idx="36941">
                  <c:v>0.65883716782593105</c:v>
                </c:pt>
                <c:pt idx="36942">
                  <c:v>0.65885500267522701</c:v>
                </c:pt>
                <c:pt idx="36943">
                  <c:v>0.65887283752452297</c:v>
                </c:pt>
                <c:pt idx="36944">
                  <c:v>0.65889067237381804</c:v>
                </c:pt>
                <c:pt idx="36945">
                  <c:v>0.658908507223114</c:v>
                </c:pt>
                <c:pt idx="36946">
                  <c:v>0.65892634207240897</c:v>
                </c:pt>
                <c:pt idx="36947">
                  <c:v>0.65894417692170504</c:v>
                </c:pt>
                <c:pt idx="36948">
                  <c:v>0.658962011771</c:v>
                </c:pt>
                <c:pt idx="36949">
                  <c:v>0.65897984662029596</c:v>
                </c:pt>
                <c:pt idx="36950">
                  <c:v>0.65899768146959103</c:v>
                </c:pt>
                <c:pt idx="36951">
                  <c:v>0.659015516318887</c:v>
                </c:pt>
                <c:pt idx="36952">
                  <c:v>0.65903335116818196</c:v>
                </c:pt>
                <c:pt idx="36953">
                  <c:v>0.65905118601747803</c:v>
                </c:pt>
                <c:pt idx="36954">
                  <c:v>0.65906902086677299</c:v>
                </c:pt>
                <c:pt idx="36955">
                  <c:v>0.65908685571606895</c:v>
                </c:pt>
                <c:pt idx="36956">
                  <c:v>0.65910469056536403</c:v>
                </c:pt>
                <c:pt idx="36957">
                  <c:v>0.65912252541465999</c:v>
                </c:pt>
                <c:pt idx="36958">
                  <c:v>0.65914036026395495</c:v>
                </c:pt>
                <c:pt idx="36959">
                  <c:v>0.65915819511325102</c:v>
                </c:pt>
                <c:pt idx="36960">
                  <c:v>0.65917602996254598</c:v>
                </c:pt>
                <c:pt idx="36961">
                  <c:v>0.65919386481184195</c:v>
                </c:pt>
                <c:pt idx="36962">
                  <c:v>0.65921169966113702</c:v>
                </c:pt>
                <c:pt idx="36963">
                  <c:v>0.65922953451043298</c:v>
                </c:pt>
                <c:pt idx="36964">
                  <c:v>0.65924736935972805</c:v>
                </c:pt>
                <c:pt idx="36965">
                  <c:v>0.65926520420902401</c:v>
                </c:pt>
                <c:pt idx="36966">
                  <c:v>0.65928303905831998</c:v>
                </c:pt>
                <c:pt idx="36967">
                  <c:v>0.65930087390761505</c:v>
                </c:pt>
                <c:pt idx="36968">
                  <c:v>0.65931870875691101</c:v>
                </c:pt>
                <c:pt idx="36969">
                  <c:v>0.65933654360620597</c:v>
                </c:pt>
                <c:pt idx="36970">
                  <c:v>0.65935437845550204</c:v>
                </c:pt>
                <c:pt idx="36971">
                  <c:v>0.65937221330479701</c:v>
                </c:pt>
                <c:pt idx="36972">
                  <c:v>0.65939004815409297</c:v>
                </c:pt>
                <c:pt idx="36973">
                  <c:v>0.65940788300338804</c:v>
                </c:pt>
                <c:pt idx="36974">
                  <c:v>0.659425717852684</c:v>
                </c:pt>
                <c:pt idx="36975">
                  <c:v>0.65944355270197896</c:v>
                </c:pt>
                <c:pt idx="36976">
                  <c:v>0.65946138755127504</c:v>
                </c:pt>
                <c:pt idx="36977">
                  <c:v>0.65947922240057</c:v>
                </c:pt>
                <c:pt idx="36978">
                  <c:v>0.65949705724986596</c:v>
                </c:pt>
                <c:pt idx="36979">
                  <c:v>0.65951489209916103</c:v>
                </c:pt>
                <c:pt idx="36980">
                  <c:v>0.65953272694845699</c:v>
                </c:pt>
                <c:pt idx="36981">
                  <c:v>0.65955056179775196</c:v>
                </c:pt>
                <c:pt idx="36982">
                  <c:v>0.65956839664704803</c:v>
                </c:pt>
                <c:pt idx="36983">
                  <c:v>0.65958623149634299</c:v>
                </c:pt>
                <c:pt idx="36984">
                  <c:v>0.65960406634563895</c:v>
                </c:pt>
                <c:pt idx="36985">
                  <c:v>0.65962190119493402</c:v>
                </c:pt>
                <c:pt idx="36986">
                  <c:v>0.65963973604422999</c:v>
                </c:pt>
                <c:pt idx="36987">
                  <c:v>0.65965757089352595</c:v>
                </c:pt>
                <c:pt idx="36988">
                  <c:v>0.65967540574282102</c:v>
                </c:pt>
                <c:pt idx="36989">
                  <c:v>0.65969324059211698</c:v>
                </c:pt>
                <c:pt idx="36990">
                  <c:v>0.65971107544141205</c:v>
                </c:pt>
                <c:pt idx="36991">
                  <c:v>0.65972891029070801</c:v>
                </c:pt>
                <c:pt idx="36992">
                  <c:v>0.65974674514000298</c:v>
                </c:pt>
                <c:pt idx="36993">
                  <c:v>0.65976457998929905</c:v>
                </c:pt>
                <c:pt idx="36994">
                  <c:v>0.65978241483859401</c:v>
                </c:pt>
                <c:pt idx="36995">
                  <c:v>0.65980024968788997</c:v>
                </c:pt>
                <c:pt idx="36996">
                  <c:v>0.65981808453718505</c:v>
                </c:pt>
                <c:pt idx="36997">
                  <c:v>0.65983591938648101</c:v>
                </c:pt>
                <c:pt idx="36998">
                  <c:v>0.65985375423577597</c:v>
                </c:pt>
                <c:pt idx="36999">
                  <c:v>0.65987158908507204</c:v>
                </c:pt>
                <c:pt idx="37000">
                  <c:v>0.659889423934367</c:v>
                </c:pt>
                <c:pt idx="37001">
                  <c:v>0.65990725878366296</c:v>
                </c:pt>
                <c:pt idx="37002">
                  <c:v>0.65992509363295804</c:v>
                </c:pt>
                <c:pt idx="37003">
                  <c:v>0.659942928482254</c:v>
                </c:pt>
                <c:pt idx="37004">
                  <c:v>0.65996076333154896</c:v>
                </c:pt>
                <c:pt idx="37005">
                  <c:v>0.65997859818084503</c:v>
                </c:pt>
                <c:pt idx="37006">
                  <c:v>0.65999643303014</c:v>
                </c:pt>
                <c:pt idx="37007">
                  <c:v>0.66001426787943596</c:v>
                </c:pt>
                <c:pt idx="37008">
                  <c:v>0.66003210272873103</c:v>
                </c:pt>
                <c:pt idx="37009">
                  <c:v>0.66004993757802699</c:v>
                </c:pt>
                <c:pt idx="37010">
                  <c:v>0.66006777242732295</c:v>
                </c:pt>
                <c:pt idx="37011">
                  <c:v>0.66008560727661802</c:v>
                </c:pt>
                <c:pt idx="37012">
                  <c:v>0.66010344212591399</c:v>
                </c:pt>
                <c:pt idx="37013">
                  <c:v>0.66012127697520895</c:v>
                </c:pt>
                <c:pt idx="37014">
                  <c:v>0.66013911182450502</c:v>
                </c:pt>
                <c:pt idx="37015">
                  <c:v>0.66015694667379998</c:v>
                </c:pt>
                <c:pt idx="37016">
                  <c:v>0.66017478152309605</c:v>
                </c:pt>
                <c:pt idx="37017">
                  <c:v>0.66019261637239102</c:v>
                </c:pt>
                <c:pt idx="37018">
                  <c:v>0.66021045122168698</c:v>
                </c:pt>
                <c:pt idx="37019">
                  <c:v>0.66022828607098205</c:v>
                </c:pt>
                <c:pt idx="37020">
                  <c:v>0.66024612092027801</c:v>
                </c:pt>
                <c:pt idx="37021">
                  <c:v>0.66026395576957297</c:v>
                </c:pt>
                <c:pt idx="37022">
                  <c:v>0.66028179061886905</c:v>
                </c:pt>
                <c:pt idx="37023">
                  <c:v>0.66029962546816401</c:v>
                </c:pt>
                <c:pt idx="37024">
                  <c:v>0.66031746031745997</c:v>
                </c:pt>
                <c:pt idx="37025">
                  <c:v>0.66033529516675504</c:v>
                </c:pt>
                <c:pt idx="37026">
                  <c:v>0.660353130016051</c:v>
                </c:pt>
                <c:pt idx="37027">
                  <c:v>0.66037096486534597</c:v>
                </c:pt>
                <c:pt idx="37028">
                  <c:v>0.66038879971464204</c:v>
                </c:pt>
                <c:pt idx="37029">
                  <c:v>0.660406634563937</c:v>
                </c:pt>
                <c:pt idx="37030">
                  <c:v>0.66042446941323296</c:v>
                </c:pt>
                <c:pt idx="37031">
                  <c:v>0.66044230426252903</c:v>
                </c:pt>
                <c:pt idx="37032">
                  <c:v>0.660460139111824</c:v>
                </c:pt>
                <c:pt idx="37033">
                  <c:v>0.66047797396111996</c:v>
                </c:pt>
                <c:pt idx="37034">
                  <c:v>0.66049580881041503</c:v>
                </c:pt>
                <c:pt idx="37035">
                  <c:v>0.66051364365971099</c:v>
                </c:pt>
                <c:pt idx="37036">
                  <c:v>0.66053147850900595</c:v>
                </c:pt>
                <c:pt idx="37037">
                  <c:v>0.66054931335830203</c:v>
                </c:pt>
                <c:pt idx="37038">
                  <c:v>0.66056714820759699</c:v>
                </c:pt>
                <c:pt idx="37039">
                  <c:v>0.66058498305689295</c:v>
                </c:pt>
                <c:pt idx="37040">
                  <c:v>0.66060281790618802</c:v>
                </c:pt>
                <c:pt idx="37041">
                  <c:v>0.66062065275548398</c:v>
                </c:pt>
                <c:pt idx="37042">
                  <c:v>0.66063848760477895</c:v>
                </c:pt>
                <c:pt idx="37043">
                  <c:v>0.66065632245407502</c:v>
                </c:pt>
                <c:pt idx="37044">
                  <c:v>0.66067415730336998</c:v>
                </c:pt>
                <c:pt idx="37045">
                  <c:v>0.66069199215266605</c:v>
                </c:pt>
                <c:pt idx="37046">
                  <c:v>0.66070982700196101</c:v>
                </c:pt>
                <c:pt idx="37047">
                  <c:v>0.66072766185125698</c:v>
                </c:pt>
                <c:pt idx="37048">
                  <c:v>0.66074549670055205</c:v>
                </c:pt>
                <c:pt idx="37049">
                  <c:v>0.66076333154984801</c:v>
                </c:pt>
                <c:pt idx="37050">
                  <c:v>0.66078116639914397</c:v>
                </c:pt>
                <c:pt idx="37051">
                  <c:v>0.66079900124843904</c:v>
                </c:pt>
                <c:pt idx="37052">
                  <c:v>0.66081683609773501</c:v>
                </c:pt>
                <c:pt idx="37053">
                  <c:v>0.66083467094702997</c:v>
                </c:pt>
                <c:pt idx="37054">
                  <c:v>0.66085250579632604</c:v>
                </c:pt>
                <c:pt idx="37055">
                  <c:v>0.660870340645621</c:v>
                </c:pt>
                <c:pt idx="37056">
                  <c:v>0.66088817549491696</c:v>
                </c:pt>
                <c:pt idx="37057">
                  <c:v>0.66090601034421204</c:v>
                </c:pt>
                <c:pt idx="37058">
                  <c:v>0.660923845193508</c:v>
                </c:pt>
                <c:pt idx="37059">
                  <c:v>0.66094168004280296</c:v>
                </c:pt>
                <c:pt idx="37060">
                  <c:v>0.66095951489209903</c:v>
                </c:pt>
                <c:pt idx="37061">
                  <c:v>0.66097734974139399</c:v>
                </c:pt>
                <c:pt idx="37062">
                  <c:v>0.66099518459068995</c:v>
                </c:pt>
                <c:pt idx="37063">
                  <c:v>0.66101301943998503</c:v>
                </c:pt>
                <c:pt idx="37064">
                  <c:v>0.66103085428928099</c:v>
                </c:pt>
                <c:pt idx="37065">
                  <c:v>0.66104868913857595</c:v>
                </c:pt>
                <c:pt idx="37066">
                  <c:v>0.66106652398787202</c:v>
                </c:pt>
                <c:pt idx="37067">
                  <c:v>0.66108435883716699</c:v>
                </c:pt>
                <c:pt idx="37068">
                  <c:v>0.66110219368646295</c:v>
                </c:pt>
                <c:pt idx="37069">
                  <c:v>0.66112002853575802</c:v>
                </c:pt>
                <c:pt idx="37070">
                  <c:v>0.66113786338505398</c:v>
                </c:pt>
                <c:pt idx="37071">
                  <c:v>0.66115569823434905</c:v>
                </c:pt>
                <c:pt idx="37072">
                  <c:v>0.66117353308364502</c:v>
                </c:pt>
                <c:pt idx="37073">
                  <c:v>0.66119136793294098</c:v>
                </c:pt>
                <c:pt idx="37074">
                  <c:v>0.66120920278223605</c:v>
                </c:pt>
                <c:pt idx="37075">
                  <c:v>0.66122703763153201</c:v>
                </c:pt>
                <c:pt idx="37076">
                  <c:v>0.66124487248082697</c:v>
                </c:pt>
                <c:pt idx="37077">
                  <c:v>0.66126270733012305</c:v>
                </c:pt>
                <c:pt idx="37078">
                  <c:v>0.66128054217941801</c:v>
                </c:pt>
                <c:pt idx="37079">
                  <c:v>0.66129837702871397</c:v>
                </c:pt>
                <c:pt idx="37080">
                  <c:v>0.66131621187800904</c:v>
                </c:pt>
                <c:pt idx="37081">
                  <c:v>0.661334046727305</c:v>
                </c:pt>
                <c:pt idx="37082">
                  <c:v>0.66135188157659996</c:v>
                </c:pt>
                <c:pt idx="37083">
                  <c:v>0.66136971642589604</c:v>
                </c:pt>
                <c:pt idx="37084">
                  <c:v>0.661387551275191</c:v>
                </c:pt>
                <c:pt idx="37085">
                  <c:v>0.66140538612448696</c:v>
                </c:pt>
                <c:pt idx="37086">
                  <c:v>0.66142322097378203</c:v>
                </c:pt>
                <c:pt idx="37087">
                  <c:v>0.66144105582307799</c:v>
                </c:pt>
                <c:pt idx="37088">
                  <c:v>0.66145889067237296</c:v>
                </c:pt>
                <c:pt idx="37089">
                  <c:v>0.66147672552166903</c:v>
                </c:pt>
                <c:pt idx="37090">
                  <c:v>0.66149456037096399</c:v>
                </c:pt>
                <c:pt idx="37091">
                  <c:v>0.66151239522025995</c:v>
                </c:pt>
                <c:pt idx="37092">
                  <c:v>0.66153023006955503</c:v>
                </c:pt>
                <c:pt idx="37093">
                  <c:v>0.66154806491885099</c:v>
                </c:pt>
                <c:pt idx="37094">
                  <c:v>0.66156589976814695</c:v>
                </c:pt>
                <c:pt idx="37095">
                  <c:v>0.66158373461744202</c:v>
                </c:pt>
                <c:pt idx="37096">
                  <c:v>0.66160156946673798</c:v>
                </c:pt>
                <c:pt idx="37097">
                  <c:v>0.66161940431603306</c:v>
                </c:pt>
                <c:pt idx="37098">
                  <c:v>0.66163723916532902</c:v>
                </c:pt>
                <c:pt idx="37099">
                  <c:v>0.66165507401462398</c:v>
                </c:pt>
                <c:pt idx="37100">
                  <c:v>0.66167290886392005</c:v>
                </c:pt>
                <c:pt idx="37101">
                  <c:v>0.66169074371321501</c:v>
                </c:pt>
                <c:pt idx="37102">
                  <c:v>0.66170857856251097</c:v>
                </c:pt>
                <c:pt idx="37103">
                  <c:v>0.66172641341180605</c:v>
                </c:pt>
                <c:pt idx="37104">
                  <c:v>0.66174424826110201</c:v>
                </c:pt>
                <c:pt idx="37105">
                  <c:v>0.66176208311039697</c:v>
                </c:pt>
                <c:pt idx="37106">
                  <c:v>0.66177991795969304</c:v>
                </c:pt>
                <c:pt idx="37107">
                  <c:v>0.661797752808988</c:v>
                </c:pt>
                <c:pt idx="37108">
                  <c:v>0.66181558765828397</c:v>
                </c:pt>
                <c:pt idx="37109">
                  <c:v>0.66183342250757904</c:v>
                </c:pt>
                <c:pt idx="37110">
                  <c:v>0.661851257356875</c:v>
                </c:pt>
                <c:pt idx="37111">
                  <c:v>0.66186909220616996</c:v>
                </c:pt>
                <c:pt idx="37112">
                  <c:v>0.66188692705546603</c:v>
                </c:pt>
                <c:pt idx="37113">
                  <c:v>0.661904761904761</c:v>
                </c:pt>
                <c:pt idx="37114">
                  <c:v>0.66192259675405696</c:v>
                </c:pt>
                <c:pt idx="37115">
                  <c:v>0.66194043160335203</c:v>
                </c:pt>
                <c:pt idx="37116">
                  <c:v>0.66195826645264799</c:v>
                </c:pt>
                <c:pt idx="37117">
                  <c:v>0.66197610130194395</c:v>
                </c:pt>
                <c:pt idx="37118">
                  <c:v>0.66199393615123903</c:v>
                </c:pt>
                <c:pt idx="37119">
                  <c:v>0.66201177100053499</c:v>
                </c:pt>
                <c:pt idx="37120">
                  <c:v>0.66202960584982995</c:v>
                </c:pt>
                <c:pt idx="37121">
                  <c:v>0.66204744069912602</c:v>
                </c:pt>
                <c:pt idx="37122">
                  <c:v>0.66206527554842098</c:v>
                </c:pt>
                <c:pt idx="37123">
                  <c:v>0.66208311039771695</c:v>
                </c:pt>
                <c:pt idx="37124">
                  <c:v>0.66210094524701202</c:v>
                </c:pt>
                <c:pt idx="37125">
                  <c:v>0.66211878009630798</c:v>
                </c:pt>
                <c:pt idx="37126">
                  <c:v>0.66213661494560305</c:v>
                </c:pt>
                <c:pt idx="37127">
                  <c:v>0.66215444979489901</c:v>
                </c:pt>
                <c:pt idx="37128">
                  <c:v>0.66217228464419398</c:v>
                </c:pt>
                <c:pt idx="37129">
                  <c:v>0.66219011949349005</c:v>
                </c:pt>
                <c:pt idx="37130">
                  <c:v>0.66220795434278501</c:v>
                </c:pt>
                <c:pt idx="37131">
                  <c:v>0.66222578919208097</c:v>
                </c:pt>
                <c:pt idx="37132">
                  <c:v>0.66224362404137604</c:v>
                </c:pt>
                <c:pt idx="37133">
                  <c:v>0.66226145889067201</c:v>
                </c:pt>
                <c:pt idx="37134">
                  <c:v>0.66227929373996697</c:v>
                </c:pt>
                <c:pt idx="37135">
                  <c:v>0.66229712858926304</c:v>
                </c:pt>
                <c:pt idx="37136">
                  <c:v>0.662314963438558</c:v>
                </c:pt>
                <c:pt idx="37137">
                  <c:v>0.66233279828785396</c:v>
                </c:pt>
                <c:pt idx="37138">
                  <c:v>0.66235063313715004</c:v>
                </c:pt>
                <c:pt idx="37139">
                  <c:v>0.662368467986445</c:v>
                </c:pt>
                <c:pt idx="37140">
                  <c:v>0.66238630283574096</c:v>
                </c:pt>
                <c:pt idx="37141">
                  <c:v>0.66240413768503603</c:v>
                </c:pt>
                <c:pt idx="37142">
                  <c:v>0.66242197253433199</c:v>
                </c:pt>
                <c:pt idx="37143">
                  <c:v>0.66243980738362696</c:v>
                </c:pt>
                <c:pt idx="37144">
                  <c:v>0.66245764223292303</c:v>
                </c:pt>
                <c:pt idx="37145">
                  <c:v>0.66247547708221799</c:v>
                </c:pt>
                <c:pt idx="37146">
                  <c:v>0.66249331193151395</c:v>
                </c:pt>
                <c:pt idx="37147">
                  <c:v>0.66251114678080902</c:v>
                </c:pt>
                <c:pt idx="37148">
                  <c:v>0.66252898163010499</c:v>
                </c:pt>
                <c:pt idx="37149">
                  <c:v>0.66254681647939995</c:v>
                </c:pt>
                <c:pt idx="37150">
                  <c:v>0.66256465132869602</c:v>
                </c:pt>
                <c:pt idx="37151">
                  <c:v>0.66258248617799098</c:v>
                </c:pt>
                <c:pt idx="37152">
                  <c:v>0.66260032102728705</c:v>
                </c:pt>
                <c:pt idx="37153">
                  <c:v>0.66261815587658202</c:v>
                </c:pt>
                <c:pt idx="37154">
                  <c:v>0.66263599072587798</c:v>
                </c:pt>
                <c:pt idx="37155">
                  <c:v>0.66265382557517305</c:v>
                </c:pt>
                <c:pt idx="37156">
                  <c:v>0.66267166042446901</c:v>
                </c:pt>
                <c:pt idx="37157">
                  <c:v>0.66268949527376497</c:v>
                </c:pt>
                <c:pt idx="37158">
                  <c:v>0.66270733012306005</c:v>
                </c:pt>
                <c:pt idx="37159">
                  <c:v>0.66272516497235601</c:v>
                </c:pt>
                <c:pt idx="37160">
                  <c:v>0.66274299982165097</c:v>
                </c:pt>
                <c:pt idx="37161">
                  <c:v>0.66276083467094704</c:v>
                </c:pt>
                <c:pt idx="37162">
                  <c:v>0.662778669520242</c:v>
                </c:pt>
                <c:pt idx="37163">
                  <c:v>0.66279650436953796</c:v>
                </c:pt>
                <c:pt idx="37164">
                  <c:v>0.66281433921883304</c:v>
                </c:pt>
                <c:pt idx="37165">
                  <c:v>0.662832174068129</c:v>
                </c:pt>
                <c:pt idx="37166">
                  <c:v>0.66285000891742396</c:v>
                </c:pt>
                <c:pt idx="37167">
                  <c:v>0.66286784376672003</c:v>
                </c:pt>
                <c:pt idx="37168">
                  <c:v>0.66288567861601499</c:v>
                </c:pt>
                <c:pt idx="37169">
                  <c:v>0.66290351346531096</c:v>
                </c:pt>
                <c:pt idx="37170">
                  <c:v>0.66292134831460603</c:v>
                </c:pt>
                <c:pt idx="37171">
                  <c:v>0.66293918316390199</c:v>
                </c:pt>
                <c:pt idx="37172">
                  <c:v>0.66295701801319695</c:v>
                </c:pt>
                <c:pt idx="37173">
                  <c:v>0.66297485286249302</c:v>
                </c:pt>
                <c:pt idx="37174">
                  <c:v>0.66299268771178799</c:v>
                </c:pt>
                <c:pt idx="37175">
                  <c:v>0.66301052256108395</c:v>
                </c:pt>
                <c:pt idx="37176">
                  <c:v>0.66302835741037902</c:v>
                </c:pt>
                <c:pt idx="37177">
                  <c:v>0.66304619225967498</c:v>
                </c:pt>
                <c:pt idx="37178">
                  <c:v>0.66306402710897006</c:v>
                </c:pt>
                <c:pt idx="37179">
                  <c:v>0.66308186195826602</c:v>
                </c:pt>
                <c:pt idx="37180">
                  <c:v>0.66309969680756198</c:v>
                </c:pt>
                <c:pt idx="37181">
                  <c:v>0.66311753165685705</c:v>
                </c:pt>
                <c:pt idx="37182">
                  <c:v>0.66313536650615301</c:v>
                </c:pt>
                <c:pt idx="37183">
                  <c:v>0.66315320135544797</c:v>
                </c:pt>
                <c:pt idx="37184">
                  <c:v>0.66317103620474405</c:v>
                </c:pt>
                <c:pt idx="37185">
                  <c:v>0.66318887105403901</c:v>
                </c:pt>
                <c:pt idx="37186">
                  <c:v>0.66320670590333497</c:v>
                </c:pt>
                <c:pt idx="37187">
                  <c:v>0.66322454075263004</c:v>
                </c:pt>
                <c:pt idx="37188">
                  <c:v>0.663242375601926</c:v>
                </c:pt>
                <c:pt idx="37189">
                  <c:v>0.66326021045122097</c:v>
                </c:pt>
                <c:pt idx="37190">
                  <c:v>0.66327804530051704</c:v>
                </c:pt>
                <c:pt idx="37191">
                  <c:v>0.663295880149812</c:v>
                </c:pt>
                <c:pt idx="37192">
                  <c:v>0.66331371499910796</c:v>
                </c:pt>
                <c:pt idx="37193">
                  <c:v>0.66333154984840303</c:v>
                </c:pt>
                <c:pt idx="37194">
                  <c:v>0.663349384697699</c:v>
                </c:pt>
                <c:pt idx="37195">
                  <c:v>0.66336721954699396</c:v>
                </c:pt>
                <c:pt idx="37196">
                  <c:v>0.66338505439629003</c:v>
                </c:pt>
                <c:pt idx="37197">
                  <c:v>0.66340288924558499</c:v>
                </c:pt>
                <c:pt idx="37198">
                  <c:v>0.66342072409488095</c:v>
                </c:pt>
                <c:pt idx="37199">
                  <c:v>0.66343855894417603</c:v>
                </c:pt>
                <c:pt idx="37200">
                  <c:v>0.66345639379347199</c:v>
                </c:pt>
                <c:pt idx="37201">
                  <c:v>0.66347422864276795</c:v>
                </c:pt>
                <c:pt idx="37202">
                  <c:v>0.66349206349206302</c:v>
                </c:pt>
                <c:pt idx="37203">
                  <c:v>0.66350989834135898</c:v>
                </c:pt>
                <c:pt idx="37204">
                  <c:v>0.66352773319065395</c:v>
                </c:pt>
                <c:pt idx="37205">
                  <c:v>0.66354556803995002</c:v>
                </c:pt>
                <c:pt idx="37206">
                  <c:v>0.66356340288924498</c:v>
                </c:pt>
                <c:pt idx="37207">
                  <c:v>0.66358123773854105</c:v>
                </c:pt>
                <c:pt idx="37208">
                  <c:v>0.66359907258783601</c:v>
                </c:pt>
                <c:pt idx="37209">
                  <c:v>0.66361690743713198</c:v>
                </c:pt>
                <c:pt idx="37210">
                  <c:v>0.66363474228642705</c:v>
                </c:pt>
                <c:pt idx="37211">
                  <c:v>0.66365257713572301</c:v>
                </c:pt>
                <c:pt idx="37212">
                  <c:v>0.66367041198501797</c:v>
                </c:pt>
                <c:pt idx="37213">
                  <c:v>0.66368824683431404</c:v>
                </c:pt>
                <c:pt idx="37214">
                  <c:v>0.66370608168360901</c:v>
                </c:pt>
                <c:pt idx="37215">
                  <c:v>0.66372391653290497</c:v>
                </c:pt>
                <c:pt idx="37216">
                  <c:v>0.66374175138220004</c:v>
                </c:pt>
                <c:pt idx="37217">
                  <c:v>0.663759586231496</c:v>
                </c:pt>
                <c:pt idx="37218">
                  <c:v>0.66377742108079096</c:v>
                </c:pt>
                <c:pt idx="37219">
                  <c:v>0.66379525593008704</c:v>
                </c:pt>
                <c:pt idx="37220">
                  <c:v>0.663813090779382</c:v>
                </c:pt>
                <c:pt idx="37221">
                  <c:v>0.66383092562867796</c:v>
                </c:pt>
                <c:pt idx="37222">
                  <c:v>0.66384876047797303</c:v>
                </c:pt>
                <c:pt idx="37223">
                  <c:v>0.66386659532726899</c:v>
                </c:pt>
                <c:pt idx="37224">
                  <c:v>0.66388443017656495</c:v>
                </c:pt>
                <c:pt idx="37225">
                  <c:v>0.66390226502586003</c:v>
                </c:pt>
                <c:pt idx="37226">
                  <c:v>0.66392009987515599</c:v>
                </c:pt>
                <c:pt idx="37227">
                  <c:v>0.66393793472445095</c:v>
                </c:pt>
                <c:pt idx="37228">
                  <c:v>0.66395576957374702</c:v>
                </c:pt>
                <c:pt idx="37229">
                  <c:v>0.66397360442304199</c:v>
                </c:pt>
                <c:pt idx="37230">
                  <c:v>0.66399143927233795</c:v>
                </c:pt>
                <c:pt idx="37231">
                  <c:v>0.66400927412163302</c:v>
                </c:pt>
                <c:pt idx="37232">
                  <c:v>0.66402710897092898</c:v>
                </c:pt>
                <c:pt idx="37233">
                  <c:v>0.66404494382022405</c:v>
                </c:pt>
                <c:pt idx="37234">
                  <c:v>0.66406277866952002</c:v>
                </c:pt>
                <c:pt idx="37235">
                  <c:v>0.66408061351881498</c:v>
                </c:pt>
                <c:pt idx="37236">
                  <c:v>0.66409844836811105</c:v>
                </c:pt>
                <c:pt idx="37237">
                  <c:v>0.66411628321740601</c:v>
                </c:pt>
                <c:pt idx="37238">
                  <c:v>0.66413411806670197</c:v>
                </c:pt>
                <c:pt idx="37239">
                  <c:v>0.66415195291599705</c:v>
                </c:pt>
                <c:pt idx="37240">
                  <c:v>0.66416978776529301</c:v>
                </c:pt>
                <c:pt idx="37241">
                  <c:v>0.66418762261458797</c:v>
                </c:pt>
                <c:pt idx="37242">
                  <c:v>0.66420545746388404</c:v>
                </c:pt>
                <c:pt idx="37243">
                  <c:v>0.66422329231318</c:v>
                </c:pt>
                <c:pt idx="37244">
                  <c:v>0.66424112716247496</c:v>
                </c:pt>
                <c:pt idx="37245">
                  <c:v>0.66425896201177104</c:v>
                </c:pt>
                <c:pt idx="37246">
                  <c:v>0.664276796861066</c:v>
                </c:pt>
                <c:pt idx="37247">
                  <c:v>0.66429463171036196</c:v>
                </c:pt>
                <c:pt idx="37248">
                  <c:v>0.66431246655965703</c:v>
                </c:pt>
                <c:pt idx="37249">
                  <c:v>0.66433030140895299</c:v>
                </c:pt>
                <c:pt idx="37250">
                  <c:v>0.66434813625824796</c:v>
                </c:pt>
                <c:pt idx="37251">
                  <c:v>0.66436597110754403</c:v>
                </c:pt>
                <c:pt idx="37252">
                  <c:v>0.66438380595683899</c:v>
                </c:pt>
                <c:pt idx="37253">
                  <c:v>0.66440164080613495</c:v>
                </c:pt>
                <c:pt idx="37254">
                  <c:v>0.66441947565543003</c:v>
                </c:pt>
                <c:pt idx="37255">
                  <c:v>0.66443731050472599</c:v>
                </c:pt>
                <c:pt idx="37256">
                  <c:v>0.66445514535402095</c:v>
                </c:pt>
                <c:pt idx="37257">
                  <c:v>0.66447298020331702</c:v>
                </c:pt>
                <c:pt idx="37258">
                  <c:v>0.66449081505261198</c:v>
                </c:pt>
                <c:pt idx="37259">
                  <c:v>0.66450864990190806</c:v>
                </c:pt>
                <c:pt idx="37260">
                  <c:v>0.66452648475120302</c:v>
                </c:pt>
                <c:pt idx="37261">
                  <c:v>0.66454431960049898</c:v>
                </c:pt>
                <c:pt idx="37262">
                  <c:v>0.66456215444979405</c:v>
                </c:pt>
                <c:pt idx="37263">
                  <c:v>0.66457998929909001</c:v>
                </c:pt>
                <c:pt idx="37264">
                  <c:v>0.66459782414838597</c:v>
                </c:pt>
                <c:pt idx="37265">
                  <c:v>0.66461565899768105</c:v>
                </c:pt>
                <c:pt idx="37266">
                  <c:v>0.66463349384697701</c:v>
                </c:pt>
                <c:pt idx="37267">
                  <c:v>0.66465132869627197</c:v>
                </c:pt>
                <c:pt idx="37268">
                  <c:v>0.66466916354556804</c:v>
                </c:pt>
                <c:pt idx="37269">
                  <c:v>0.664686998394863</c:v>
                </c:pt>
                <c:pt idx="37270">
                  <c:v>0.66470483324415897</c:v>
                </c:pt>
                <c:pt idx="37271">
                  <c:v>0.66472266809345404</c:v>
                </c:pt>
                <c:pt idx="37272">
                  <c:v>0.66474050294275</c:v>
                </c:pt>
                <c:pt idx="37273">
                  <c:v>0.66475833779204496</c:v>
                </c:pt>
                <c:pt idx="37274">
                  <c:v>0.66477617264134103</c:v>
                </c:pt>
                <c:pt idx="37275">
                  <c:v>0.664794007490636</c:v>
                </c:pt>
                <c:pt idx="37276">
                  <c:v>0.66481184233993196</c:v>
                </c:pt>
                <c:pt idx="37277">
                  <c:v>0.66482967718922703</c:v>
                </c:pt>
                <c:pt idx="37278">
                  <c:v>0.66484751203852299</c:v>
                </c:pt>
                <c:pt idx="37279">
                  <c:v>0.66486534688781795</c:v>
                </c:pt>
                <c:pt idx="37280">
                  <c:v>0.66488318173711403</c:v>
                </c:pt>
                <c:pt idx="37281">
                  <c:v>0.66490101658640899</c:v>
                </c:pt>
                <c:pt idx="37282">
                  <c:v>0.66491885143570495</c:v>
                </c:pt>
                <c:pt idx="37283">
                  <c:v>0.66493668628500002</c:v>
                </c:pt>
                <c:pt idx="37284">
                  <c:v>0.66495452113429598</c:v>
                </c:pt>
                <c:pt idx="37285">
                  <c:v>0.66497235598359195</c:v>
                </c:pt>
                <c:pt idx="37286">
                  <c:v>0.66499019083288702</c:v>
                </c:pt>
                <c:pt idx="37287">
                  <c:v>0.66500802568218298</c:v>
                </c:pt>
                <c:pt idx="37288">
                  <c:v>0.66502586053147805</c:v>
                </c:pt>
                <c:pt idx="37289">
                  <c:v>0.66504369538077401</c:v>
                </c:pt>
                <c:pt idx="37290">
                  <c:v>0.66506153023006898</c:v>
                </c:pt>
                <c:pt idx="37291">
                  <c:v>0.66507936507936505</c:v>
                </c:pt>
                <c:pt idx="37292">
                  <c:v>0.66509719992866001</c:v>
                </c:pt>
                <c:pt idx="37293">
                  <c:v>0.66511503477795597</c:v>
                </c:pt>
                <c:pt idx="37294">
                  <c:v>0.66513286962725104</c:v>
                </c:pt>
                <c:pt idx="37295">
                  <c:v>0.66515070447654701</c:v>
                </c:pt>
                <c:pt idx="37296">
                  <c:v>0.66516853932584197</c:v>
                </c:pt>
                <c:pt idx="37297">
                  <c:v>0.66518637417513804</c:v>
                </c:pt>
                <c:pt idx="37298">
                  <c:v>0.665204209024433</c:v>
                </c:pt>
                <c:pt idx="37299">
                  <c:v>0.66522204387372896</c:v>
                </c:pt>
                <c:pt idx="37300">
                  <c:v>0.66523987872302404</c:v>
                </c:pt>
                <c:pt idx="37301">
                  <c:v>0.66525771357232</c:v>
                </c:pt>
                <c:pt idx="37302">
                  <c:v>0.66527554842161496</c:v>
                </c:pt>
                <c:pt idx="37303">
                  <c:v>0.66529338327091103</c:v>
                </c:pt>
                <c:pt idx="37304">
                  <c:v>0.66531121812020599</c:v>
                </c:pt>
                <c:pt idx="37305">
                  <c:v>0.66532905296950196</c:v>
                </c:pt>
                <c:pt idx="37306">
                  <c:v>0.66534688781879703</c:v>
                </c:pt>
                <c:pt idx="37307">
                  <c:v>0.66536472266809299</c:v>
                </c:pt>
                <c:pt idx="37308">
                  <c:v>0.66538255751738895</c:v>
                </c:pt>
                <c:pt idx="37309">
                  <c:v>0.66540039236668402</c:v>
                </c:pt>
                <c:pt idx="37310">
                  <c:v>0.66541822721597998</c:v>
                </c:pt>
                <c:pt idx="37311">
                  <c:v>0.66543606206527495</c:v>
                </c:pt>
                <c:pt idx="37312">
                  <c:v>0.66545389691457102</c:v>
                </c:pt>
                <c:pt idx="37313">
                  <c:v>0.66547173176386598</c:v>
                </c:pt>
                <c:pt idx="37314">
                  <c:v>0.66548956661316205</c:v>
                </c:pt>
                <c:pt idx="37315">
                  <c:v>0.66550740146245702</c:v>
                </c:pt>
                <c:pt idx="37316">
                  <c:v>0.66552523631175298</c:v>
                </c:pt>
                <c:pt idx="37317">
                  <c:v>0.66554307116104805</c:v>
                </c:pt>
                <c:pt idx="37318">
                  <c:v>0.66556090601034401</c:v>
                </c:pt>
                <c:pt idx="37319">
                  <c:v>0.66557874085963897</c:v>
                </c:pt>
                <c:pt idx="37320">
                  <c:v>0.66559657570893505</c:v>
                </c:pt>
                <c:pt idx="37321">
                  <c:v>0.66561441055823001</c:v>
                </c:pt>
                <c:pt idx="37322">
                  <c:v>0.66563224540752597</c:v>
                </c:pt>
                <c:pt idx="37323">
                  <c:v>0.66565008025682104</c:v>
                </c:pt>
                <c:pt idx="37324">
                  <c:v>0.665667915106117</c:v>
                </c:pt>
                <c:pt idx="37325">
                  <c:v>0.66568574995541197</c:v>
                </c:pt>
                <c:pt idx="37326">
                  <c:v>0.66570358480470804</c:v>
                </c:pt>
                <c:pt idx="37327">
                  <c:v>0.665721419654003</c:v>
                </c:pt>
                <c:pt idx="37328">
                  <c:v>0.66573925450329896</c:v>
                </c:pt>
                <c:pt idx="37329">
                  <c:v>0.66575708935259403</c:v>
                </c:pt>
                <c:pt idx="37330">
                  <c:v>0.66577492420188999</c:v>
                </c:pt>
                <c:pt idx="37331">
                  <c:v>0.66579275905118596</c:v>
                </c:pt>
                <c:pt idx="37332">
                  <c:v>0.66581059390048103</c:v>
                </c:pt>
                <c:pt idx="37333">
                  <c:v>0.66582842874977699</c:v>
                </c:pt>
                <c:pt idx="37334">
                  <c:v>0.66584626359907195</c:v>
                </c:pt>
                <c:pt idx="37335">
                  <c:v>0.66586409844836802</c:v>
                </c:pt>
                <c:pt idx="37336">
                  <c:v>0.66588193329766299</c:v>
                </c:pt>
                <c:pt idx="37337">
                  <c:v>0.66589976814695895</c:v>
                </c:pt>
                <c:pt idx="37338">
                  <c:v>0.66591760299625402</c:v>
                </c:pt>
                <c:pt idx="37339">
                  <c:v>0.66593543784554998</c:v>
                </c:pt>
                <c:pt idx="37340">
                  <c:v>0.66595327269484506</c:v>
                </c:pt>
                <c:pt idx="37341">
                  <c:v>0.66597110754414102</c:v>
                </c:pt>
                <c:pt idx="37342">
                  <c:v>0.66598894239343598</c:v>
                </c:pt>
                <c:pt idx="37343">
                  <c:v>0.66600677724273205</c:v>
                </c:pt>
                <c:pt idx="37344">
                  <c:v>0.66602461209202701</c:v>
                </c:pt>
                <c:pt idx="37345">
                  <c:v>0.66604244694132297</c:v>
                </c:pt>
                <c:pt idx="37346">
                  <c:v>0.66606028179061805</c:v>
                </c:pt>
                <c:pt idx="37347">
                  <c:v>0.66607811663991401</c:v>
                </c:pt>
                <c:pt idx="37348">
                  <c:v>0.66609595148920997</c:v>
                </c:pt>
                <c:pt idx="37349">
                  <c:v>0.66611378633850504</c:v>
                </c:pt>
                <c:pt idx="37350">
                  <c:v>0.666131621187801</c:v>
                </c:pt>
                <c:pt idx="37351">
                  <c:v>0.66614945603709597</c:v>
                </c:pt>
                <c:pt idx="37352">
                  <c:v>0.66616729088639204</c:v>
                </c:pt>
                <c:pt idx="37353">
                  <c:v>0.666185125735687</c:v>
                </c:pt>
                <c:pt idx="37354">
                  <c:v>0.66620296058498296</c:v>
                </c:pt>
                <c:pt idx="37355">
                  <c:v>0.66622079543427803</c:v>
                </c:pt>
                <c:pt idx="37356">
                  <c:v>0.666238630283574</c:v>
                </c:pt>
                <c:pt idx="37357">
                  <c:v>0.66625646513286896</c:v>
                </c:pt>
                <c:pt idx="37358">
                  <c:v>0.66627429998216503</c:v>
                </c:pt>
                <c:pt idx="37359">
                  <c:v>0.66629213483145999</c:v>
                </c:pt>
                <c:pt idx="37360">
                  <c:v>0.66630996968075595</c:v>
                </c:pt>
                <c:pt idx="37361">
                  <c:v>0.66632780453005103</c:v>
                </c:pt>
                <c:pt idx="37362">
                  <c:v>0.66634563937934699</c:v>
                </c:pt>
                <c:pt idx="37363">
                  <c:v>0.66636347422864195</c:v>
                </c:pt>
                <c:pt idx="37364">
                  <c:v>0.66638130907793802</c:v>
                </c:pt>
                <c:pt idx="37365">
                  <c:v>0.66639914392723298</c:v>
                </c:pt>
                <c:pt idx="37366">
                  <c:v>0.66641697877652895</c:v>
                </c:pt>
                <c:pt idx="37367">
                  <c:v>0.66643481362582402</c:v>
                </c:pt>
                <c:pt idx="37368">
                  <c:v>0.66645264847511998</c:v>
                </c:pt>
                <c:pt idx="37369">
                  <c:v>0.66647048332441505</c:v>
                </c:pt>
                <c:pt idx="37370">
                  <c:v>0.66648831817371101</c:v>
                </c:pt>
                <c:pt idx="37371">
                  <c:v>0.66650615302300698</c:v>
                </c:pt>
                <c:pt idx="37372">
                  <c:v>0.66652398787230205</c:v>
                </c:pt>
                <c:pt idx="37373">
                  <c:v>0.66654182272159801</c:v>
                </c:pt>
                <c:pt idx="37374">
                  <c:v>0.66655965757089297</c:v>
                </c:pt>
                <c:pt idx="37375">
                  <c:v>0.66657749242018904</c:v>
                </c:pt>
                <c:pt idx="37376">
                  <c:v>0.66659532726948401</c:v>
                </c:pt>
                <c:pt idx="37377">
                  <c:v>0.66661316211877997</c:v>
                </c:pt>
                <c:pt idx="37378">
                  <c:v>0.66663099696807504</c:v>
                </c:pt>
                <c:pt idx="37379">
                  <c:v>0.666648831817371</c:v>
                </c:pt>
                <c:pt idx="37380">
                  <c:v>0.66666666666666596</c:v>
                </c:pt>
                <c:pt idx="37381">
                  <c:v>0.66668450151596204</c:v>
                </c:pt>
                <c:pt idx="37382">
                  <c:v>0.666702336365257</c:v>
                </c:pt>
                <c:pt idx="37383">
                  <c:v>0.66672017121455296</c:v>
                </c:pt>
                <c:pt idx="37384">
                  <c:v>0.66673800606384803</c:v>
                </c:pt>
                <c:pt idx="37385">
                  <c:v>0.66675584091314399</c:v>
                </c:pt>
                <c:pt idx="37386">
                  <c:v>0.66677367576243896</c:v>
                </c:pt>
                <c:pt idx="37387">
                  <c:v>0.66679151061173503</c:v>
                </c:pt>
                <c:pt idx="37388">
                  <c:v>0.66680934546102999</c:v>
                </c:pt>
                <c:pt idx="37389">
                  <c:v>0.66682718031032595</c:v>
                </c:pt>
                <c:pt idx="37390">
                  <c:v>0.66684501515962102</c:v>
                </c:pt>
                <c:pt idx="37391">
                  <c:v>0.66686285000891699</c:v>
                </c:pt>
                <c:pt idx="37392">
                  <c:v>0.66688068485821295</c:v>
                </c:pt>
                <c:pt idx="37393">
                  <c:v>0.66689851970750802</c:v>
                </c:pt>
                <c:pt idx="37394">
                  <c:v>0.66691635455680398</c:v>
                </c:pt>
                <c:pt idx="37395">
                  <c:v>0.66693418940609905</c:v>
                </c:pt>
                <c:pt idx="37396">
                  <c:v>0.66695202425539502</c:v>
                </c:pt>
                <c:pt idx="37397">
                  <c:v>0.66696985910468998</c:v>
                </c:pt>
                <c:pt idx="37398">
                  <c:v>0.66698769395398605</c:v>
                </c:pt>
                <c:pt idx="37399">
                  <c:v>0.66700552880328101</c:v>
                </c:pt>
                <c:pt idx="37400">
                  <c:v>0.66702336365257697</c:v>
                </c:pt>
                <c:pt idx="37401">
                  <c:v>0.66704119850187205</c:v>
                </c:pt>
                <c:pt idx="37402">
                  <c:v>0.66705903335116801</c:v>
                </c:pt>
                <c:pt idx="37403">
                  <c:v>0.66707686820046297</c:v>
                </c:pt>
                <c:pt idx="37404">
                  <c:v>0.66709470304975904</c:v>
                </c:pt>
                <c:pt idx="37405">
                  <c:v>0.667112537899054</c:v>
                </c:pt>
                <c:pt idx="37406">
                  <c:v>0.66713037274834996</c:v>
                </c:pt>
                <c:pt idx="37407">
                  <c:v>0.66714820759764504</c:v>
                </c:pt>
                <c:pt idx="37408">
                  <c:v>0.667166042446941</c:v>
                </c:pt>
                <c:pt idx="37409">
                  <c:v>0.66718387729623596</c:v>
                </c:pt>
                <c:pt idx="37410">
                  <c:v>0.66720171214553203</c:v>
                </c:pt>
                <c:pt idx="37411">
                  <c:v>0.667219546994827</c:v>
                </c:pt>
                <c:pt idx="37412">
                  <c:v>0.66723738184412296</c:v>
                </c:pt>
                <c:pt idx="37413">
                  <c:v>0.66725521669341803</c:v>
                </c:pt>
                <c:pt idx="37414">
                  <c:v>0.66727305154271399</c:v>
                </c:pt>
                <c:pt idx="37415">
                  <c:v>0.66729088639200995</c:v>
                </c:pt>
                <c:pt idx="37416">
                  <c:v>0.66730872124130503</c:v>
                </c:pt>
                <c:pt idx="37417">
                  <c:v>0.66732655609060099</c:v>
                </c:pt>
                <c:pt idx="37418">
                  <c:v>0.66734439093989595</c:v>
                </c:pt>
                <c:pt idx="37419">
                  <c:v>0.66736222578919202</c:v>
                </c:pt>
                <c:pt idx="37420">
                  <c:v>0.66738006063848698</c:v>
                </c:pt>
                <c:pt idx="37421">
                  <c:v>0.66739789548778305</c:v>
                </c:pt>
                <c:pt idx="37422">
                  <c:v>0.66741573033707802</c:v>
                </c:pt>
                <c:pt idx="37423">
                  <c:v>0.66743356518637398</c:v>
                </c:pt>
                <c:pt idx="37424">
                  <c:v>0.66745140003566905</c:v>
                </c:pt>
                <c:pt idx="37425">
                  <c:v>0.66746923488496501</c:v>
                </c:pt>
                <c:pt idx="37426">
                  <c:v>0.66748706973425997</c:v>
                </c:pt>
                <c:pt idx="37427">
                  <c:v>0.66750490458355605</c:v>
                </c:pt>
                <c:pt idx="37428">
                  <c:v>0.66752273943285101</c:v>
                </c:pt>
                <c:pt idx="37429">
                  <c:v>0.66754057428214697</c:v>
                </c:pt>
                <c:pt idx="37430">
                  <c:v>0.66755840913144204</c:v>
                </c:pt>
                <c:pt idx="37431">
                  <c:v>0.667576243980738</c:v>
                </c:pt>
                <c:pt idx="37432">
                  <c:v>0.66759407883003297</c:v>
                </c:pt>
                <c:pt idx="37433">
                  <c:v>0.66761191367932904</c:v>
                </c:pt>
                <c:pt idx="37434">
                  <c:v>0.667629748528624</c:v>
                </c:pt>
                <c:pt idx="37435">
                  <c:v>0.66764758337791996</c:v>
                </c:pt>
                <c:pt idx="37436">
                  <c:v>0.66766541822721603</c:v>
                </c:pt>
                <c:pt idx="37437">
                  <c:v>0.667683253076511</c:v>
                </c:pt>
                <c:pt idx="37438">
                  <c:v>0.66770108792580696</c:v>
                </c:pt>
                <c:pt idx="37439">
                  <c:v>0.66771892277510203</c:v>
                </c:pt>
                <c:pt idx="37440">
                  <c:v>0.66773675762439799</c:v>
                </c:pt>
                <c:pt idx="37441">
                  <c:v>0.66775459247369295</c:v>
                </c:pt>
                <c:pt idx="37442">
                  <c:v>0.66777242732298903</c:v>
                </c:pt>
                <c:pt idx="37443">
                  <c:v>0.66779026217228399</c:v>
                </c:pt>
                <c:pt idx="37444">
                  <c:v>0.66780809702157995</c:v>
                </c:pt>
                <c:pt idx="37445">
                  <c:v>0.66782593187087502</c:v>
                </c:pt>
                <c:pt idx="37446">
                  <c:v>0.66784376672017098</c:v>
                </c:pt>
                <c:pt idx="37447">
                  <c:v>0.66786160156946595</c:v>
                </c:pt>
                <c:pt idx="37448">
                  <c:v>0.66787943641876202</c:v>
                </c:pt>
                <c:pt idx="37449">
                  <c:v>0.66789727126805698</c:v>
                </c:pt>
                <c:pt idx="37450">
                  <c:v>0.66791510611735305</c:v>
                </c:pt>
                <c:pt idx="37451">
                  <c:v>0.66793294096664801</c:v>
                </c:pt>
                <c:pt idx="37452">
                  <c:v>0.66795077581594398</c:v>
                </c:pt>
                <c:pt idx="37453">
                  <c:v>0.66796861066523905</c:v>
                </c:pt>
                <c:pt idx="37454">
                  <c:v>0.66798644551453501</c:v>
                </c:pt>
                <c:pt idx="37455">
                  <c:v>0.66800428036383097</c:v>
                </c:pt>
                <c:pt idx="37456">
                  <c:v>0.66802211521312604</c:v>
                </c:pt>
                <c:pt idx="37457">
                  <c:v>0.66803995006242201</c:v>
                </c:pt>
                <c:pt idx="37458">
                  <c:v>0.66805778491171697</c:v>
                </c:pt>
                <c:pt idx="37459">
                  <c:v>0.66807561976101304</c:v>
                </c:pt>
                <c:pt idx="37460">
                  <c:v>0.668093454610308</c:v>
                </c:pt>
                <c:pt idx="37461">
                  <c:v>0.66811128945960396</c:v>
                </c:pt>
                <c:pt idx="37462">
                  <c:v>0.66812912430889904</c:v>
                </c:pt>
                <c:pt idx="37463">
                  <c:v>0.668146959158195</c:v>
                </c:pt>
                <c:pt idx="37464">
                  <c:v>0.66816479400748996</c:v>
                </c:pt>
                <c:pt idx="37465">
                  <c:v>0.66818262885678603</c:v>
                </c:pt>
                <c:pt idx="37466">
                  <c:v>0.66820046370608099</c:v>
                </c:pt>
                <c:pt idx="37467">
                  <c:v>0.66821829855537695</c:v>
                </c:pt>
                <c:pt idx="37468">
                  <c:v>0.66823613340467203</c:v>
                </c:pt>
                <c:pt idx="37469">
                  <c:v>0.66825396825396799</c:v>
                </c:pt>
                <c:pt idx="37470">
                  <c:v>0.66827180310326295</c:v>
                </c:pt>
                <c:pt idx="37471">
                  <c:v>0.66828963795255902</c:v>
                </c:pt>
                <c:pt idx="37472">
                  <c:v>0.66830747280185399</c:v>
                </c:pt>
                <c:pt idx="37473">
                  <c:v>0.66832530765114995</c:v>
                </c:pt>
                <c:pt idx="37474">
                  <c:v>0.66834314250044502</c:v>
                </c:pt>
                <c:pt idx="37475">
                  <c:v>0.66836097734974098</c:v>
                </c:pt>
                <c:pt idx="37476">
                  <c:v>0.66837881219903605</c:v>
                </c:pt>
                <c:pt idx="37477">
                  <c:v>0.66839664704833202</c:v>
                </c:pt>
                <c:pt idx="37478">
                  <c:v>0.66841448189762798</c:v>
                </c:pt>
                <c:pt idx="37479">
                  <c:v>0.66843231674692305</c:v>
                </c:pt>
                <c:pt idx="37480">
                  <c:v>0.66845015159621901</c:v>
                </c:pt>
                <c:pt idx="37481">
                  <c:v>0.66846798644551397</c:v>
                </c:pt>
                <c:pt idx="37482">
                  <c:v>0.66848582129481005</c:v>
                </c:pt>
                <c:pt idx="37483">
                  <c:v>0.66850365614410501</c:v>
                </c:pt>
                <c:pt idx="37484">
                  <c:v>0.66852149099340097</c:v>
                </c:pt>
                <c:pt idx="37485">
                  <c:v>0.66853932584269604</c:v>
                </c:pt>
                <c:pt idx="37486">
                  <c:v>0.668557160691992</c:v>
                </c:pt>
                <c:pt idx="37487">
                  <c:v>0.66857499554128696</c:v>
                </c:pt>
                <c:pt idx="37488">
                  <c:v>0.66859283039058304</c:v>
                </c:pt>
                <c:pt idx="37489">
                  <c:v>0.668610665239878</c:v>
                </c:pt>
                <c:pt idx="37490">
                  <c:v>0.66862850008917396</c:v>
                </c:pt>
                <c:pt idx="37491">
                  <c:v>0.66864633493846903</c:v>
                </c:pt>
                <c:pt idx="37492">
                  <c:v>0.66866416978776499</c:v>
                </c:pt>
                <c:pt idx="37493">
                  <c:v>0.66868200463705996</c:v>
                </c:pt>
                <c:pt idx="37494">
                  <c:v>0.66869983948635603</c:v>
                </c:pt>
                <c:pt idx="37495">
                  <c:v>0.66871767433565099</c:v>
                </c:pt>
                <c:pt idx="37496">
                  <c:v>0.66873550918494695</c:v>
                </c:pt>
                <c:pt idx="37497">
                  <c:v>0.66875334403424203</c:v>
                </c:pt>
                <c:pt idx="37498">
                  <c:v>0.66877117888353799</c:v>
                </c:pt>
                <c:pt idx="37499">
                  <c:v>0.66878901373283395</c:v>
                </c:pt>
                <c:pt idx="37500">
                  <c:v>0.66880684858212902</c:v>
                </c:pt>
                <c:pt idx="37501">
                  <c:v>0.66882468343142498</c:v>
                </c:pt>
                <c:pt idx="37502">
                  <c:v>0.66884251828072006</c:v>
                </c:pt>
                <c:pt idx="37503">
                  <c:v>0.66886035313001602</c:v>
                </c:pt>
                <c:pt idx="37504">
                  <c:v>0.66887818797931098</c:v>
                </c:pt>
                <c:pt idx="37505">
                  <c:v>0.66889602282860705</c:v>
                </c:pt>
                <c:pt idx="37506">
                  <c:v>0.66891385767790201</c:v>
                </c:pt>
                <c:pt idx="37507">
                  <c:v>0.66893169252719797</c:v>
                </c:pt>
                <c:pt idx="37508">
                  <c:v>0.66894952737649305</c:v>
                </c:pt>
                <c:pt idx="37509">
                  <c:v>0.66896736222578901</c:v>
                </c:pt>
                <c:pt idx="37510">
                  <c:v>0.66898519707508397</c:v>
                </c:pt>
                <c:pt idx="37511">
                  <c:v>0.66900303192438004</c:v>
                </c:pt>
                <c:pt idx="37512">
                  <c:v>0.669020866773675</c:v>
                </c:pt>
                <c:pt idx="37513">
                  <c:v>0.66903870162297097</c:v>
                </c:pt>
                <c:pt idx="37514">
                  <c:v>0.66905653647226604</c:v>
                </c:pt>
                <c:pt idx="37515">
                  <c:v>0.669074371321562</c:v>
                </c:pt>
                <c:pt idx="37516">
                  <c:v>0.66909220617085696</c:v>
                </c:pt>
                <c:pt idx="37517">
                  <c:v>0.66911004102015303</c:v>
                </c:pt>
                <c:pt idx="37518">
                  <c:v>0.669127875869448</c:v>
                </c:pt>
                <c:pt idx="37519">
                  <c:v>0.66914571071874396</c:v>
                </c:pt>
                <c:pt idx="37520">
                  <c:v>0.66916354556803903</c:v>
                </c:pt>
                <c:pt idx="37521">
                  <c:v>0.66918138041733499</c:v>
                </c:pt>
                <c:pt idx="37522">
                  <c:v>0.66919921526663095</c:v>
                </c:pt>
                <c:pt idx="37523">
                  <c:v>0.66921705011592603</c:v>
                </c:pt>
                <c:pt idx="37524">
                  <c:v>0.66923488496522199</c:v>
                </c:pt>
                <c:pt idx="37525">
                  <c:v>0.66925271981451695</c:v>
                </c:pt>
                <c:pt idx="37526">
                  <c:v>0.66927055466381302</c:v>
                </c:pt>
                <c:pt idx="37527">
                  <c:v>0.66928838951310798</c:v>
                </c:pt>
                <c:pt idx="37528">
                  <c:v>0.66930622436240395</c:v>
                </c:pt>
                <c:pt idx="37529">
                  <c:v>0.66932405921169902</c:v>
                </c:pt>
                <c:pt idx="37530">
                  <c:v>0.66934189406099498</c:v>
                </c:pt>
                <c:pt idx="37531">
                  <c:v>0.66935972891029005</c:v>
                </c:pt>
                <c:pt idx="37532">
                  <c:v>0.66937756375958601</c:v>
                </c:pt>
                <c:pt idx="37533">
                  <c:v>0.66939539860888098</c:v>
                </c:pt>
                <c:pt idx="37534">
                  <c:v>0.66941323345817705</c:v>
                </c:pt>
                <c:pt idx="37535">
                  <c:v>0.66943106830747201</c:v>
                </c:pt>
                <c:pt idx="37536">
                  <c:v>0.66944890315676797</c:v>
                </c:pt>
                <c:pt idx="37537">
                  <c:v>0.66946673800606304</c:v>
                </c:pt>
                <c:pt idx="37538">
                  <c:v>0.66948457285535901</c:v>
                </c:pt>
                <c:pt idx="37539">
                  <c:v>0.66950240770465397</c:v>
                </c:pt>
                <c:pt idx="37540">
                  <c:v>0.66952024255395004</c:v>
                </c:pt>
                <c:pt idx="37541">
                  <c:v>0.669538077403245</c:v>
                </c:pt>
                <c:pt idx="37542">
                  <c:v>0.66955591225254096</c:v>
                </c:pt>
                <c:pt idx="37543">
                  <c:v>0.66957374710183704</c:v>
                </c:pt>
                <c:pt idx="37544">
                  <c:v>0.669591581951132</c:v>
                </c:pt>
                <c:pt idx="37545">
                  <c:v>0.66960941680042796</c:v>
                </c:pt>
                <c:pt idx="37546">
                  <c:v>0.66962725164972303</c:v>
                </c:pt>
                <c:pt idx="37547">
                  <c:v>0.66964508649901899</c:v>
                </c:pt>
                <c:pt idx="37548">
                  <c:v>0.66966292134831396</c:v>
                </c:pt>
                <c:pt idx="37549">
                  <c:v>0.66968075619761003</c:v>
                </c:pt>
                <c:pt idx="37550">
                  <c:v>0.66969859104690499</c:v>
                </c:pt>
                <c:pt idx="37551">
                  <c:v>0.66971642589620095</c:v>
                </c:pt>
                <c:pt idx="37552">
                  <c:v>0.66973426074549602</c:v>
                </c:pt>
                <c:pt idx="37553">
                  <c:v>0.66975209559479199</c:v>
                </c:pt>
                <c:pt idx="37554">
                  <c:v>0.66976993044408695</c:v>
                </c:pt>
                <c:pt idx="37555">
                  <c:v>0.66978776529338302</c:v>
                </c:pt>
                <c:pt idx="37556">
                  <c:v>0.66980560014267798</c:v>
                </c:pt>
                <c:pt idx="37557">
                  <c:v>0.66982343499197405</c:v>
                </c:pt>
                <c:pt idx="37558">
                  <c:v>0.66984126984126902</c:v>
                </c:pt>
                <c:pt idx="37559">
                  <c:v>0.66985910469056498</c:v>
                </c:pt>
                <c:pt idx="37560">
                  <c:v>0.66987693953986005</c:v>
                </c:pt>
                <c:pt idx="37561">
                  <c:v>0.66989477438915601</c:v>
                </c:pt>
                <c:pt idx="37562">
                  <c:v>0.66991260923845197</c:v>
                </c:pt>
                <c:pt idx="37563">
                  <c:v>0.66993044408774705</c:v>
                </c:pt>
                <c:pt idx="37564">
                  <c:v>0.66994827893704301</c:v>
                </c:pt>
                <c:pt idx="37565">
                  <c:v>0.66996611378633797</c:v>
                </c:pt>
                <c:pt idx="37566">
                  <c:v>0.66998394863563404</c:v>
                </c:pt>
                <c:pt idx="37567">
                  <c:v>0.670001783484929</c:v>
                </c:pt>
                <c:pt idx="37568">
                  <c:v>0.67001961833422496</c:v>
                </c:pt>
                <c:pt idx="37569">
                  <c:v>0.67003745318352004</c:v>
                </c:pt>
                <c:pt idx="37570">
                  <c:v>0.670055288032816</c:v>
                </c:pt>
                <c:pt idx="37571">
                  <c:v>0.67007312288211096</c:v>
                </c:pt>
                <c:pt idx="37572">
                  <c:v>0.67009095773140703</c:v>
                </c:pt>
                <c:pt idx="37573">
                  <c:v>0.670108792580702</c:v>
                </c:pt>
                <c:pt idx="37574">
                  <c:v>0.67012662742999796</c:v>
                </c:pt>
                <c:pt idx="37575">
                  <c:v>0.67014446227929303</c:v>
                </c:pt>
                <c:pt idx="37576">
                  <c:v>0.67016229712858899</c:v>
                </c:pt>
                <c:pt idx="37577">
                  <c:v>0.67018013197788395</c:v>
                </c:pt>
                <c:pt idx="37578">
                  <c:v>0.67019796682718003</c:v>
                </c:pt>
                <c:pt idx="37579">
                  <c:v>0.67021580167647499</c:v>
                </c:pt>
                <c:pt idx="37580">
                  <c:v>0.67023363652577095</c:v>
                </c:pt>
                <c:pt idx="37581">
                  <c:v>0.67025147137506602</c:v>
                </c:pt>
                <c:pt idx="37582">
                  <c:v>0.67026930622436198</c:v>
                </c:pt>
                <c:pt idx="37583">
                  <c:v>0.67028714107365694</c:v>
                </c:pt>
                <c:pt idx="37584">
                  <c:v>0.67030497592295302</c:v>
                </c:pt>
                <c:pt idx="37585">
                  <c:v>0.67032281077224898</c:v>
                </c:pt>
                <c:pt idx="37586">
                  <c:v>0.67034064562154405</c:v>
                </c:pt>
                <c:pt idx="37587">
                  <c:v>0.67035848047084001</c:v>
                </c:pt>
                <c:pt idx="37588">
                  <c:v>0.67037631532013497</c:v>
                </c:pt>
                <c:pt idx="37589">
                  <c:v>0.67039415016943105</c:v>
                </c:pt>
                <c:pt idx="37590">
                  <c:v>0.67041198501872601</c:v>
                </c:pt>
                <c:pt idx="37591">
                  <c:v>0.67042981986802197</c:v>
                </c:pt>
                <c:pt idx="37592">
                  <c:v>0.67044765471731704</c:v>
                </c:pt>
                <c:pt idx="37593">
                  <c:v>0.670465489566613</c:v>
                </c:pt>
                <c:pt idx="37594">
                  <c:v>0.67048332441590797</c:v>
                </c:pt>
                <c:pt idx="37595">
                  <c:v>0.67050115926520404</c:v>
                </c:pt>
                <c:pt idx="37596">
                  <c:v>0.670518994114499</c:v>
                </c:pt>
                <c:pt idx="37597">
                  <c:v>0.67053682896379496</c:v>
                </c:pt>
                <c:pt idx="37598">
                  <c:v>0.67055466381309003</c:v>
                </c:pt>
                <c:pt idx="37599">
                  <c:v>0.670572498662386</c:v>
                </c:pt>
                <c:pt idx="37600">
                  <c:v>0.67059033351168096</c:v>
                </c:pt>
                <c:pt idx="37601">
                  <c:v>0.67060816836097703</c:v>
                </c:pt>
                <c:pt idx="37602">
                  <c:v>0.67062600321027199</c:v>
                </c:pt>
                <c:pt idx="37603">
                  <c:v>0.67064383805956795</c:v>
                </c:pt>
                <c:pt idx="37604">
                  <c:v>0.67066167290886303</c:v>
                </c:pt>
                <c:pt idx="37605">
                  <c:v>0.67067950775815899</c:v>
                </c:pt>
                <c:pt idx="37606">
                  <c:v>0.67069734260745495</c:v>
                </c:pt>
                <c:pt idx="37607">
                  <c:v>0.67071517745675002</c:v>
                </c:pt>
                <c:pt idx="37608">
                  <c:v>0.67073301230604598</c:v>
                </c:pt>
                <c:pt idx="37609">
                  <c:v>0.67075084715534095</c:v>
                </c:pt>
                <c:pt idx="37610">
                  <c:v>0.67076868200463702</c:v>
                </c:pt>
                <c:pt idx="37611">
                  <c:v>0.67078651685393198</c:v>
                </c:pt>
                <c:pt idx="37612">
                  <c:v>0.67080435170322805</c:v>
                </c:pt>
                <c:pt idx="37613">
                  <c:v>0.67082218655252301</c:v>
                </c:pt>
                <c:pt idx="37614">
                  <c:v>0.67084002140181898</c:v>
                </c:pt>
                <c:pt idx="37615">
                  <c:v>0.67085785625111405</c:v>
                </c:pt>
                <c:pt idx="37616">
                  <c:v>0.67087569110041001</c:v>
                </c:pt>
                <c:pt idx="37617">
                  <c:v>0.67089352594970497</c:v>
                </c:pt>
                <c:pt idx="37618">
                  <c:v>0.67091136079900104</c:v>
                </c:pt>
                <c:pt idx="37619">
                  <c:v>0.67092919564829601</c:v>
                </c:pt>
                <c:pt idx="37620">
                  <c:v>0.67094703049759197</c:v>
                </c:pt>
                <c:pt idx="37621">
                  <c:v>0.67096486534688704</c:v>
                </c:pt>
                <c:pt idx="37622">
                  <c:v>0.670982700196183</c:v>
                </c:pt>
                <c:pt idx="37623">
                  <c:v>0.67100053504547796</c:v>
                </c:pt>
                <c:pt idx="37624">
                  <c:v>0.67101836989477404</c:v>
                </c:pt>
                <c:pt idx="37625">
                  <c:v>0.671036204744069</c:v>
                </c:pt>
                <c:pt idx="37626">
                  <c:v>0.67105403959336496</c:v>
                </c:pt>
                <c:pt idx="37627">
                  <c:v>0.67107187444266003</c:v>
                </c:pt>
                <c:pt idx="37628">
                  <c:v>0.67108970929195599</c:v>
                </c:pt>
                <c:pt idx="37629">
                  <c:v>0.67110754414125195</c:v>
                </c:pt>
                <c:pt idx="37630">
                  <c:v>0.67112537899054703</c:v>
                </c:pt>
                <c:pt idx="37631">
                  <c:v>0.67114321383984299</c:v>
                </c:pt>
                <c:pt idx="37632">
                  <c:v>0.67116104868913795</c:v>
                </c:pt>
                <c:pt idx="37633">
                  <c:v>0.67117888353843402</c:v>
                </c:pt>
                <c:pt idx="37634">
                  <c:v>0.67119671838772899</c:v>
                </c:pt>
                <c:pt idx="37635">
                  <c:v>0.67121455323702495</c:v>
                </c:pt>
                <c:pt idx="37636">
                  <c:v>0.67123238808632002</c:v>
                </c:pt>
                <c:pt idx="37637">
                  <c:v>0.67125022293561598</c:v>
                </c:pt>
                <c:pt idx="37638">
                  <c:v>0.67126805778491105</c:v>
                </c:pt>
                <c:pt idx="37639">
                  <c:v>0.67128589263420702</c:v>
                </c:pt>
                <c:pt idx="37640">
                  <c:v>0.67130372748350198</c:v>
                </c:pt>
                <c:pt idx="37641">
                  <c:v>0.67132156233279805</c:v>
                </c:pt>
                <c:pt idx="37642">
                  <c:v>0.67133939718209301</c:v>
                </c:pt>
                <c:pt idx="37643">
                  <c:v>0.67135723203138897</c:v>
                </c:pt>
                <c:pt idx="37644">
                  <c:v>0.67137506688068405</c:v>
                </c:pt>
                <c:pt idx="37645">
                  <c:v>0.67139290172998001</c:v>
                </c:pt>
                <c:pt idx="37646">
                  <c:v>0.67141073657927497</c:v>
                </c:pt>
                <c:pt idx="37647">
                  <c:v>0.67142857142857104</c:v>
                </c:pt>
                <c:pt idx="37648">
                  <c:v>0.671446406277867</c:v>
                </c:pt>
                <c:pt idx="37649">
                  <c:v>0.67146424112716196</c:v>
                </c:pt>
                <c:pt idx="37650">
                  <c:v>0.67148207597645804</c:v>
                </c:pt>
                <c:pt idx="37651">
                  <c:v>0.671499910825753</c:v>
                </c:pt>
                <c:pt idx="37652">
                  <c:v>0.67151774567504896</c:v>
                </c:pt>
                <c:pt idx="37653">
                  <c:v>0.67153558052434403</c:v>
                </c:pt>
                <c:pt idx="37654">
                  <c:v>0.67155341537363999</c:v>
                </c:pt>
                <c:pt idx="37655">
                  <c:v>0.67157125022293496</c:v>
                </c:pt>
                <c:pt idx="37656">
                  <c:v>0.67158908507223103</c:v>
                </c:pt>
                <c:pt idx="37657">
                  <c:v>0.67160691992152599</c:v>
                </c:pt>
                <c:pt idx="37658">
                  <c:v>0.67162475477082195</c:v>
                </c:pt>
                <c:pt idx="37659">
                  <c:v>0.67164258962011703</c:v>
                </c:pt>
                <c:pt idx="37660">
                  <c:v>0.67166042446941299</c:v>
                </c:pt>
                <c:pt idx="37661">
                  <c:v>0.67167825931870795</c:v>
                </c:pt>
                <c:pt idx="37662">
                  <c:v>0.67169609416800402</c:v>
                </c:pt>
                <c:pt idx="37663">
                  <c:v>0.67171392901729898</c:v>
                </c:pt>
                <c:pt idx="37664">
                  <c:v>0.67173176386659506</c:v>
                </c:pt>
                <c:pt idx="37665">
                  <c:v>0.67174959871589002</c:v>
                </c:pt>
                <c:pt idx="37666">
                  <c:v>0.67176743356518598</c:v>
                </c:pt>
                <c:pt idx="37667">
                  <c:v>0.67178526841448105</c:v>
                </c:pt>
                <c:pt idx="37668">
                  <c:v>0.67180310326377701</c:v>
                </c:pt>
                <c:pt idx="37669">
                  <c:v>0.67182093811307297</c:v>
                </c:pt>
                <c:pt idx="37670">
                  <c:v>0.67183877296236805</c:v>
                </c:pt>
                <c:pt idx="37671">
                  <c:v>0.67185660781166401</c:v>
                </c:pt>
                <c:pt idx="37672">
                  <c:v>0.67187444266095897</c:v>
                </c:pt>
                <c:pt idx="37673">
                  <c:v>0.67189227751025504</c:v>
                </c:pt>
                <c:pt idx="37674">
                  <c:v>0.67191011235955</c:v>
                </c:pt>
                <c:pt idx="37675">
                  <c:v>0.67192794720884597</c:v>
                </c:pt>
                <c:pt idx="37676">
                  <c:v>0.67194578205814104</c:v>
                </c:pt>
                <c:pt idx="37677">
                  <c:v>0.671963616907437</c:v>
                </c:pt>
                <c:pt idx="37678">
                  <c:v>0.67198145175673196</c:v>
                </c:pt>
                <c:pt idx="37679">
                  <c:v>0.67199928660602803</c:v>
                </c:pt>
                <c:pt idx="37680">
                  <c:v>0.672017121455323</c:v>
                </c:pt>
                <c:pt idx="37681">
                  <c:v>0.67203495630461896</c:v>
                </c:pt>
                <c:pt idx="37682">
                  <c:v>0.67205279115391403</c:v>
                </c:pt>
                <c:pt idx="37683">
                  <c:v>0.67207062600320999</c:v>
                </c:pt>
                <c:pt idx="37684">
                  <c:v>0.67208846085250495</c:v>
                </c:pt>
                <c:pt idx="37685">
                  <c:v>0.67210629570180103</c:v>
                </c:pt>
                <c:pt idx="37686">
                  <c:v>0.67212413055109599</c:v>
                </c:pt>
                <c:pt idx="37687">
                  <c:v>0.67214196540039195</c:v>
                </c:pt>
                <c:pt idx="37688">
                  <c:v>0.67215980024968702</c:v>
                </c:pt>
                <c:pt idx="37689">
                  <c:v>0.67217763509898298</c:v>
                </c:pt>
                <c:pt idx="37690">
                  <c:v>0.67219546994827895</c:v>
                </c:pt>
                <c:pt idx="37691">
                  <c:v>0.67221330479757402</c:v>
                </c:pt>
                <c:pt idx="37692">
                  <c:v>0.67223113964686998</c:v>
                </c:pt>
                <c:pt idx="37693">
                  <c:v>0.67224897449616505</c:v>
                </c:pt>
                <c:pt idx="37694">
                  <c:v>0.67226680934546101</c:v>
                </c:pt>
                <c:pt idx="37695">
                  <c:v>0.67228464419475598</c:v>
                </c:pt>
                <c:pt idx="37696">
                  <c:v>0.67230247904405205</c:v>
                </c:pt>
                <c:pt idx="37697">
                  <c:v>0.67232031389334701</c:v>
                </c:pt>
                <c:pt idx="37698">
                  <c:v>0.67233814874264297</c:v>
                </c:pt>
                <c:pt idx="37699">
                  <c:v>0.67235598359193804</c:v>
                </c:pt>
                <c:pt idx="37700">
                  <c:v>0.67237381844123401</c:v>
                </c:pt>
                <c:pt idx="37701">
                  <c:v>0.67239165329052897</c:v>
                </c:pt>
                <c:pt idx="37702">
                  <c:v>0.67240948813982504</c:v>
                </c:pt>
                <c:pt idx="37703">
                  <c:v>0.67242732298912</c:v>
                </c:pt>
                <c:pt idx="37704">
                  <c:v>0.67244515783841596</c:v>
                </c:pt>
                <c:pt idx="37705">
                  <c:v>0.67246299268771104</c:v>
                </c:pt>
                <c:pt idx="37706">
                  <c:v>0.672480827537007</c:v>
                </c:pt>
                <c:pt idx="37707">
                  <c:v>0.67249866238630196</c:v>
                </c:pt>
                <c:pt idx="37708">
                  <c:v>0.67251649723559803</c:v>
                </c:pt>
                <c:pt idx="37709">
                  <c:v>0.67253433208489299</c:v>
                </c:pt>
                <c:pt idx="37710">
                  <c:v>0.67255216693418896</c:v>
                </c:pt>
                <c:pt idx="37711">
                  <c:v>0.67257000178348403</c:v>
                </c:pt>
                <c:pt idx="37712">
                  <c:v>0.67258783663277999</c:v>
                </c:pt>
                <c:pt idx="37713">
                  <c:v>0.67260567148207595</c:v>
                </c:pt>
                <c:pt idx="37714">
                  <c:v>0.67262350633137102</c:v>
                </c:pt>
                <c:pt idx="37715">
                  <c:v>0.67264134118066699</c:v>
                </c:pt>
                <c:pt idx="37716">
                  <c:v>0.67265917602996195</c:v>
                </c:pt>
                <c:pt idx="37717">
                  <c:v>0.67267701087925802</c:v>
                </c:pt>
                <c:pt idx="37718">
                  <c:v>0.67269484572855298</c:v>
                </c:pt>
                <c:pt idx="37719">
                  <c:v>0.67271268057784905</c:v>
                </c:pt>
                <c:pt idx="37720">
                  <c:v>0.67273051542714402</c:v>
                </c:pt>
                <c:pt idx="37721">
                  <c:v>0.67274835027643998</c:v>
                </c:pt>
                <c:pt idx="37722">
                  <c:v>0.67276618512573505</c:v>
                </c:pt>
                <c:pt idx="37723">
                  <c:v>0.67278401997503101</c:v>
                </c:pt>
                <c:pt idx="37724">
                  <c:v>0.67280185482432597</c:v>
                </c:pt>
                <c:pt idx="37725">
                  <c:v>0.67281968967362205</c:v>
                </c:pt>
                <c:pt idx="37726">
                  <c:v>0.67283752452291701</c:v>
                </c:pt>
                <c:pt idx="37727">
                  <c:v>0.67285535937221297</c:v>
                </c:pt>
                <c:pt idx="37728">
                  <c:v>0.67287319422150804</c:v>
                </c:pt>
                <c:pt idx="37729">
                  <c:v>0.672891029070804</c:v>
                </c:pt>
                <c:pt idx="37730">
                  <c:v>0.67290886392009897</c:v>
                </c:pt>
                <c:pt idx="37731">
                  <c:v>0.67292669876939504</c:v>
                </c:pt>
                <c:pt idx="37732">
                  <c:v>0.67294453361869</c:v>
                </c:pt>
                <c:pt idx="37733">
                  <c:v>0.67296236846798596</c:v>
                </c:pt>
                <c:pt idx="37734">
                  <c:v>0.67298020331728103</c:v>
                </c:pt>
                <c:pt idx="37735">
                  <c:v>0.672998038166577</c:v>
                </c:pt>
                <c:pt idx="37736">
                  <c:v>0.67301587301587296</c:v>
                </c:pt>
                <c:pt idx="37737">
                  <c:v>0.67303370786516803</c:v>
                </c:pt>
                <c:pt idx="37738">
                  <c:v>0.67305154271446399</c:v>
                </c:pt>
                <c:pt idx="37739">
                  <c:v>0.67306937756375895</c:v>
                </c:pt>
                <c:pt idx="37740">
                  <c:v>0.67308721241305502</c:v>
                </c:pt>
                <c:pt idx="37741">
                  <c:v>0.67310504726234999</c:v>
                </c:pt>
                <c:pt idx="37742">
                  <c:v>0.67312288211164595</c:v>
                </c:pt>
                <c:pt idx="37743">
                  <c:v>0.67314071696094102</c:v>
                </c:pt>
                <c:pt idx="37744">
                  <c:v>0.67315855181023698</c:v>
                </c:pt>
                <c:pt idx="37745">
                  <c:v>0.67317638665953194</c:v>
                </c:pt>
                <c:pt idx="37746">
                  <c:v>0.67319422150882802</c:v>
                </c:pt>
                <c:pt idx="37747">
                  <c:v>0.67321205635812298</c:v>
                </c:pt>
                <c:pt idx="37748">
                  <c:v>0.67322989120741905</c:v>
                </c:pt>
                <c:pt idx="37749">
                  <c:v>0.67324772605671401</c:v>
                </c:pt>
                <c:pt idx="37750">
                  <c:v>0.67326556090600997</c:v>
                </c:pt>
                <c:pt idx="37751">
                  <c:v>0.67328339575530505</c:v>
                </c:pt>
                <c:pt idx="37752">
                  <c:v>0.67330123060460101</c:v>
                </c:pt>
                <c:pt idx="37753">
                  <c:v>0.67331906545389697</c:v>
                </c:pt>
                <c:pt idx="37754">
                  <c:v>0.67333690030319204</c:v>
                </c:pt>
                <c:pt idx="37755">
                  <c:v>0.673354735152488</c:v>
                </c:pt>
                <c:pt idx="37756">
                  <c:v>0.67337257000178297</c:v>
                </c:pt>
                <c:pt idx="37757">
                  <c:v>0.67339040485107904</c:v>
                </c:pt>
                <c:pt idx="37758">
                  <c:v>0.673408239700374</c:v>
                </c:pt>
                <c:pt idx="37759">
                  <c:v>0.67342607454966996</c:v>
                </c:pt>
                <c:pt idx="37760">
                  <c:v>0.67344390939896503</c:v>
                </c:pt>
                <c:pt idx="37761">
                  <c:v>0.673461744248261</c:v>
                </c:pt>
                <c:pt idx="37762">
                  <c:v>0.67347957909755596</c:v>
                </c:pt>
                <c:pt idx="37763">
                  <c:v>0.67349741394685203</c:v>
                </c:pt>
                <c:pt idx="37764">
                  <c:v>0.67351524879614699</c:v>
                </c:pt>
                <c:pt idx="37765">
                  <c:v>0.67353308364544295</c:v>
                </c:pt>
                <c:pt idx="37766">
                  <c:v>0.67355091849473803</c:v>
                </c:pt>
                <c:pt idx="37767">
                  <c:v>0.67356875334403399</c:v>
                </c:pt>
                <c:pt idx="37768">
                  <c:v>0.67358658819332895</c:v>
                </c:pt>
                <c:pt idx="37769">
                  <c:v>0.67360442304262502</c:v>
                </c:pt>
                <c:pt idx="37770">
                  <c:v>0.67362225789191998</c:v>
                </c:pt>
                <c:pt idx="37771">
                  <c:v>0.67364009274121595</c:v>
                </c:pt>
                <c:pt idx="37772">
                  <c:v>0.67365792759051102</c:v>
                </c:pt>
                <c:pt idx="37773">
                  <c:v>0.67367576243980698</c:v>
                </c:pt>
                <c:pt idx="37774">
                  <c:v>0.67369359728910205</c:v>
                </c:pt>
                <c:pt idx="37775">
                  <c:v>0.67371143213839801</c:v>
                </c:pt>
                <c:pt idx="37776">
                  <c:v>0.67372926698769398</c:v>
                </c:pt>
                <c:pt idx="37777">
                  <c:v>0.67374710183698905</c:v>
                </c:pt>
                <c:pt idx="37778">
                  <c:v>0.67376493668628501</c:v>
                </c:pt>
                <c:pt idx="37779">
                  <c:v>0.67378277153557997</c:v>
                </c:pt>
                <c:pt idx="37780">
                  <c:v>0.67380060638487604</c:v>
                </c:pt>
                <c:pt idx="37781">
                  <c:v>0.67381844123417101</c:v>
                </c:pt>
                <c:pt idx="37782">
                  <c:v>0.67383627608346697</c:v>
                </c:pt>
                <c:pt idx="37783">
                  <c:v>0.67385411093276204</c:v>
                </c:pt>
                <c:pt idx="37784">
                  <c:v>0.673871945782058</c:v>
                </c:pt>
                <c:pt idx="37785">
                  <c:v>0.67388978063135296</c:v>
                </c:pt>
                <c:pt idx="37786">
                  <c:v>0.67390761548064904</c:v>
                </c:pt>
                <c:pt idx="37787">
                  <c:v>0.673925450329944</c:v>
                </c:pt>
                <c:pt idx="37788">
                  <c:v>0.67394328517923996</c:v>
                </c:pt>
                <c:pt idx="37789">
                  <c:v>0.67396112002853503</c:v>
                </c:pt>
                <c:pt idx="37790">
                  <c:v>0.67397895487783099</c:v>
                </c:pt>
                <c:pt idx="37791">
                  <c:v>0.67399678972712596</c:v>
                </c:pt>
                <c:pt idx="37792">
                  <c:v>0.67401462457642203</c:v>
                </c:pt>
                <c:pt idx="37793">
                  <c:v>0.67403245942571699</c:v>
                </c:pt>
                <c:pt idx="37794">
                  <c:v>0.67405029427501295</c:v>
                </c:pt>
                <c:pt idx="37795">
                  <c:v>0.67406812912430802</c:v>
                </c:pt>
                <c:pt idx="37796">
                  <c:v>0.67408596397360399</c:v>
                </c:pt>
                <c:pt idx="37797">
                  <c:v>0.67410379882289995</c:v>
                </c:pt>
                <c:pt idx="37798">
                  <c:v>0.67412163367219502</c:v>
                </c:pt>
                <c:pt idx="37799">
                  <c:v>0.67413946852149098</c:v>
                </c:pt>
                <c:pt idx="37800">
                  <c:v>0.67415730337078605</c:v>
                </c:pt>
                <c:pt idx="37801">
                  <c:v>0.67417513822008202</c:v>
                </c:pt>
                <c:pt idx="37802">
                  <c:v>0.67419297306937698</c:v>
                </c:pt>
                <c:pt idx="37803">
                  <c:v>0.67421080791867305</c:v>
                </c:pt>
                <c:pt idx="37804">
                  <c:v>0.67422864276796801</c:v>
                </c:pt>
                <c:pt idx="37805">
                  <c:v>0.67424647761726397</c:v>
                </c:pt>
                <c:pt idx="37806">
                  <c:v>0.67426431246655905</c:v>
                </c:pt>
                <c:pt idx="37807">
                  <c:v>0.67428214731585501</c:v>
                </c:pt>
                <c:pt idx="37808">
                  <c:v>0.67429998216514997</c:v>
                </c:pt>
                <c:pt idx="37809">
                  <c:v>0.67431781701444604</c:v>
                </c:pt>
                <c:pt idx="37810">
                  <c:v>0.674335651863741</c:v>
                </c:pt>
                <c:pt idx="37811">
                  <c:v>0.67435348671303696</c:v>
                </c:pt>
                <c:pt idx="37812">
                  <c:v>0.67437132156233204</c:v>
                </c:pt>
                <c:pt idx="37813">
                  <c:v>0.674389156411628</c:v>
                </c:pt>
                <c:pt idx="37814">
                  <c:v>0.67440699126092296</c:v>
                </c:pt>
                <c:pt idx="37815">
                  <c:v>0.67442482611021903</c:v>
                </c:pt>
                <c:pt idx="37816">
                  <c:v>0.674442660959514</c:v>
                </c:pt>
                <c:pt idx="37817">
                  <c:v>0.67446049580880996</c:v>
                </c:pt>
                <c:pt idx="37818">
                  <c:v>0.67447833065810503</c:v>
                </c:pt>
                <c:pt idx="37819">
                  <c:v>0.67449616550740099</c:v>
                </c:pt>
                <c:pt idx="37820">
                  <c:v>0.67451400035669695</c:v>
                </c:pt>
                <c:pt idx="37821">
                  <c:v>0.67453183520599203</c:v>
                </c:pt>
                <c:pt idx="37822">
                  <c:v>0.67454967005528799</c:v>
                </c:pt>
                <c:pt idx="37823">
                  <c:v>0.67456750490458295</c:v>
                </c:pt>
                <c:pt idx="37824">
                  <c:v>0.67458533975387902</c:v>
                </c:pt>
                <c:pt idx="37825">
                  <c:v>0.67460317460317398</c:v>
                </c:pt>
                <c:pt idx="37826">
                  <c:v>0.67462100945247006</c:v>
                </c:pt>
                <c:pt idx="37827">
                  <c:v>0.67463884430176502</c:v>
                </c:pt>
                <c:pt idx="37828">
                  <c:v>0.67465667915106098</c:v>
                </c:pt>
                <c:pt idx="37829">
                  <c:v>0.67467451400035605</c:v>
                </c:pt>
                <c:pt idx="37830">
                  <c:v>0.67469234884965201</c:v>
                </c:pt>
                <c:pt idx="37831">
                  <c:v>0.67471018369894697</c:v>
                </c:pt>
                <c:pt idx="37832">
                  <c:v>0.67472801854824305</c:v>
                </c:pt>
                <c:pt idx="37833">
                  <c:v>0.67474585339753801</c:v>
                </c:pt>
                <c:pt idx="37834">
                  <c:v>0.67476368824683397</c:v>
                </c:pt>
                <c:pt idx="37835">
                  <c:v>0.67478152309612904</c:v>
                </c:pt>
                <c:pt idx="37836">
                  <c:v>0.674799357945425</c:v>
                </c:pt>
                <c:pt idx="37837">
                  <c:v>0.67481719279471997</c:v>
                </c:pt>
                <c:pt idx="37838">
                  <c:v>0.67483502764401604</c:v>
                </c:pt>
                <c:pt idx="37839">
                  <c:v>0.674852862493311</c:v>
                </c:pt>
                <c:pt idx="37840">
                  <c:v>0.67487069734260696</c:v>
                </c:pt>
                <c:pt idx="37841">
                  <c:v>0.67488853219190204</c:v>
                </c:pt>
                <c:pt idx="37842">
                  <c:v>0.674906367041198</c:v>
                </c:pt>
                <c:pt idx="37843">
                  <c:v>0.67492420189049396</c:v>
                </c:pt>
                <c:pt idx="37844">
                  <c:v>0.67494203673978903</c:v>
                </c:pt>
                <c:pt idx="37845">
                  <c:v>0.67495987158908499</c:v>
                </c:pt>
                <c:pt idx="37846">
                  <c:v>0.67497770643837995</c:v>
                </c:pt>
                <c:pt idx="37847">
                  <c:v>0.67499554128767603</c:v>
                </c:pt>
                <c:pt idx="37848">
                  <c:v>0.67501337613697099</c:v>
                </c:pt>
                <c:pt idx="37849">
                  <c:v>0.67503121098626695</c:v>
                </c:pt>
                <c:pt idx="37850">
                  <c:v>0.67504904583556202</c:v>
                </c:pt>
                <c:pt idx="37851">
                  <c:v>0.67506688068485798</c:v>
                </c:pt>
                <c:pt idx="37852">
                  <c:v>0.67508471553415295</c:v>
                </c:pt>
                <c:pt idx="37853">
                  <c:v>0.67510255038344902</c:v>
                </c:pt>
                <c:pt idx="37854">
                  <c:v>0.67512038523274398</c:v>
                </c:pt>
                <c:pt idx="37855">
                  <c:v>0.67513822008204005</c:v>
                </c:pt>
                <c:pt idx="37856">
                  <c:v>0.67515605493133501</c:v>
                </c:pt>
                <c:pt idx="37857">
                  <c:v>0.67517388978063098</c:v>
                </c:pt>
                <c:pt idx="37858">
                  <c:v>0.67519172462992605</c:v>
                </c:pt>
                <c:pt idx="37859">
                  <c:v>0.67520955947922201</c:v>
                </c:pt>
                <c:pt idx="37860">
                  <c:v>0.67522739432851797</c:v>
                </c:pt>
                <c:pt idx="37861">
                  <c:v>0.67524522917781304</c:v>
                </c:pt>
                <c:pt idx="37862">
                  <c:v>0.67526306402710901</c:v>
                </c:pt>
                <c:pt idx="37863">
                  <c:v>0.67528089887640397</c:v>
                </c:pt>
                <c:pt idx="37864">
                  <c:v>0.67529873372570004</c:v>
                </c:pt>
                <c:pt idx="37865">
                  <c:v>0.675316568574995</c:v>
                </c:pt>
                <c:pt idx="37866">
                  <c:v>0.67533440342429096</c:v>
                </c:pt>
                <c:pt idx="37867">
                  <c:v>0.67535223827358604</c:v>
                </c:pt>
                <c:pt idx="37868">
                  <c:v>0.675370073122882</c:v>
                </c:pt>
                <c:pt idx="37869">
                  <c:v>0.67538790797217696</c:v>
                </c:pt>
                <c:pt idx="37870">
                  <c:v>0.67540574282147303</c:v>
                </c:pt>
                <c:pt idx="37871">
                  <c:v>0.67542357767076799</c:v>
                </c:pt>
                <c:pt idx="37872">
                  <c:v>0.67544141252006396</c:v>
                </c:pt>
                <c:pt idx="37873">
                  <c:v>0.67545924736935903</c:v>
                </c:pt>
                <c:pt idx="37874">
                  <c:v>0.67547708221865499</c:v>
                </c:pt>
                <c:pt idx="37875">
                  <c:v>0.67549491706794995</c:v>
                </c:pt>
                <c:pt idx="37876">
                  <c:v>0.67551275191724602</c:v>
                </c:pt>
                <c:pt idx="37877">
                  <c:v>0.67553058676654099</c:v>
                </c:pt>
                <c:pt idx="37878">
                  <c:v>0.67554842161583695</c:v>
                </c:pt>
                <c:pt idx="37879">
                  <c:v>0.67556625646513202</c:v>
                </c:pt>
                <c:pt idx="37880">
                  <c:v>0.67558409131442798</c:v>
                </c:pt>
                <c:pt idx="37881">
                  <c:v>0.67560192616372305</c:v>
                </c:pt>
                <c:pt idx="37882">
                  <c:v>0.67561976101301902</c:v>
                </c:pt>
                <c:pt idx="37883">
                  <c:v>0.67563759586231498</c:v>
                </c:pt>
                <c:pt idx="37884">
                  <c:v>0.67565543071161005</c:v>
                </c:pt>
                <c:pt idx="37885">
                  <c:v>0.67567326556090601</c:v>
                </c:pt>
                <c:pt idx="37886">
                  <c:v>0.67569110041020097</c:v>
                </c:pt>
                <c:pt idx="37887">
                  <c:v>0.67570893525949705</c:v>
                </c:pt>
                <c:pt idx="37888">
                  <c:v>0.67572677010879201</c:v>
                </c:pt>
                <c:pt idx="37889">
                  <c:v>0.67574460495808797</c:v>
                </c:pt>
                <c:pt idx="37890">
                  <c:v>0.67576243980738304</c:v>
                </c:pt>
                <c:pt idx="37891">
                  <c:v>0.675780274656679</c:v>
                </c:pt>
                <c:pt idx="37892">
                  <c:v>0.67579810950597397</c:v>
                </c:pt>
                <c:pt idx="37893">
                  <c:v>0.67581594435527004</c:v>
                </c:pt>
                <c:pt idx="37894">
                  <c:v>0.675833779204565</c:v>
                </c:pt>
                <c:pt idx="37895">
                  <c:v>0.67585161405386096</c:v>
                </c:pt>
                <c:pt idx="37896">
                  <c:v>0.67586944890315603</c:v>
                </c:pt>
                <c:pt idx="37897">
                  <c:v>0.67588728375245199</c:v>
                </c:pt>
                <c:pt idx="37898">
                  <c:v>0.67590511860174696</c:v>
                </c:pt>
                <c:pt idx="37899">
                  <c:v>0.67592295345104303</c:v>
                </c:pt>
                <c:pt idx="37900">
                  <c:v>0.67594078830033799</c:v>
                </c:pt>
                <c:pt idx="37901">
                  <c:v>0.67595862314963395</c:v>
                </c:pt>
                <c:pt idx="37902">
                  <c:v>0.67597645799892903</c:v>
                </c:pt>
                <c:pt idx="37903">
                  <c:v>0.67599429284822499</c:v>
                </c:pt>
                <c:pt idx="37904">
                  <c:v>0.67601212769752095</c:v>
                </c:pt>
                <c:pt idx="37905">
                  <c:v>0.67602996254681602</c:v>
                </c:pt>
                <c:pt idx="37906">
                  <c:v>0.67604779739611198</c:v>
                </c:pt>
                <c:pt idx="37907">
                  <c:v>0.67606563224540706</c:v>
                </c:pt>
                <c:pt idx="37908">
                  <c:v>0.67608346709470302</c:v>
                </c:pt>
                <c:pt idx="37909">
                  <c:v>0.67610130194399798</c:v>
                </c:pt>
                <c:pt idx="37910">
                  <c:v>0.67611913679329405</c:v>
                </c:pt>
                <c:pt idx="37911">
                  <c:v>0.67613697164258901</c:v>
                </c:pt>
                <c:pt idx="37912">
                  <c:v>0.67615480649188497</c:v>
                </c:pt>
                <c:pt idx="37913">
                  <c:v>0.67617264134118005</c:v>
                </c:pt>
                <c:pt idx="37914">
                  <c:v>0.67619047619047601</c:v>
                </c:pt>
                <c:pt idx="37915">
                  <c:v>0.67620831103977097</c:v>
                </c:pt>
                <c:pt idx="37916">
                  <c:v>0.67622614588906704</c:v>
                </c:pt>
                <c:pt idx="37917">
                  <c:v>0.676243980738362</c:v>
                </c:pt>
                <c:pt idx="37918">
                  <c:v>0.67626181558765797</c:v>
                </c:pt>
                <c:pt idx="37919">
                  <c:v>0.67627965043695304</c:v>
                </c:pt>
                <c:pt idx="37920">
                  <c:v>0.676297485286249</c:v>
                </c:pt>
                <c:pt idx="37921">
                  <c:v>0.67631532013554396</c:v>
                </c:pt>
                <c:pt idx="37922">
                  <c:v>0.67633315498484003</c:v>
                </c:pt>
                <c:pt idx="37923">
                  <c:v>0.676350989834135</c:v>
                </c:pt>
                <c:pt idx="37924">
                  <c:v>0.67636882468343096</c:v>
                </c:pt>
                <c:pt idx="37925">
                  <c:v>0.67638665953272603</c:v>
                </c:pt>
                <c:pt idx="37926">
                  <c:v>0.67640449438202199</c:v>
                </c:pt>
                <c:pt idx="37927">
                  <c:v>0.67642232923131795</c:v>
                </c:pt>
                <c:pt idx="37928">
                  <c:v>0.67644016408061303</c:v>
                </c:pt>
                <c:pt idx="37929">
                  <c:v>0.67645799892990899</c:v>
                </c:pt>
                <c:pt idx="37930">
                  <c:v>0.67647583377920395</c:v>
                </c:pt>
                <c:pt idx="37931">
                  <c:v>0.67649366862850002</c:v>
                </c:pt>
                <c:pt idx="37932">
                  <c:v>0.67651150347779498</c:v>
                </c:pt>
                <c:pt idx="37933">
                  <c:v>0.67652933832709095</c:v>
                </c:pt>
                <c:pt idx="37934">
                  <c:v>0.67654717317638602</c:v>
                </c:pt>
                <c:pt idx="37935">
                  <c:v>0.67656500802568198</c:v>
                </c:pt>
                <c:pt idx="37936">
                  <c:v>0.67658284287497705</c:v>
                </c:pt>
                <c:pt idx="37937">
                  <c:v>0.67660067772427301</c:v>
                </c:pt>
                <c:pt idx="37938">
                  <c:v>0.67661851257356798</c:v>
                </c:pt>
                <c:pt idx="37939">
                  <c:v>0.67663634742286405</c:v>
                </c:pt>
                <c:pt idx="37940">
                  <c:v>0.67665418227215901</c:v>
                </c:pt>
                <c:pt idx="37941">
                  <c:v>0.67667201712145497</c:v>
                </c:pt>
                <c:pt idx="37942">
                  <c:v>0.67668985197075004</c:v>
                </c:pt>
                <c:pt idx="37943">
                  <c:v>0.67670768682004601</c:v>
                </c:pt>
                <c:pt idx="37944">
                  <c:v>0.67672552166934097</c:v>
                </c:pt>
                <c:pt idx="37945">
                  <c:v>0.67674335651863704</c:v>
                </c:pt>
                <c:pt idx="37946">
                  <c:v>0.676761191367932</c:v>
                </c:pt>
                <c:pt idx="37947">
                  <c:v>0.67677902621722796</c:v>
                </c:pt>
                <c:pt idx="37948">
                  <c:v>0.67679686106652404</c:v>
                </c:pt>
                <c:pt idx="37949">
                  <c:v>0.676814695915819</c:v>
                </c:pt>
                <c:pt idx="37950">
                  <c:v>0.67683253076511496</c:v>
                </c:pt>
                <c:pt idx="37951">
                  <c:v>0.67685036561441003</c:v>
                </c:pt>
                <c:pt idx="37952">
                  <c:v>0.67686820046370599</c:v>
                </c:pt>
                <c:pt idx="37953">
                  <c:v>0.67688603531300096</c:v>
                </c:pt>
                <c:pt idx="37954">
                  <c:v>0.67690387016229703</c:v>
                </c:pt>
                <c:pt idx="37955">
                  <c:v>0.67692170501159199</c:v>
                </c:pt>
                <c:pt idx="37956">
                  <c:v>0.67693953986088795</c:v>
                </c:pt>
                <c:pt idx="37957">
                  <c:v>0.67695737471018302</c:v>
                </c:pt>
                <c:pt idx="37958">
                  <c:v>0.67697520955947899</c:v>
                </c:pt>
                <c:pt idx="37959">
                  <c:v>0.67699304440877395</c:v>
                </c:pt>
                <c:pt idx="37960">
                  <c:v>0.67701087925807002</c:v>
                </c:pt>
                <c:pt idx="37961">
                  <c:v>0.67702871410736498</c:v>
                </c:pt>
                <c:pt idx="37962">
                  <c:v>0.67704654895666105</c:v>
                </c:pt>
                <c:pt idx="37963">
                  <c:v>0.67706438380595602</c:v>
                </c:pt>
                <c:pt idx="37964">
                  <c:v>0.67708221865525198</c:v>
                </c:pt>
                <c:pt idx="37965">
                  <c:v>0.67710005350454705</c:v>
                </c:pt>
                <c:pt idx="37966">
                  <c:v>0.67711788835384301</c:v>
                </c:pt>
                <c:pt idx="37967">
                  <c:v>0.67713572320313897</c:v>
                </c:pt>
                <c:pt idx="37968">
                  <c:v>0.67715355805243405</c:v>
                </c:pt>
                <c:pt idx="37969">
                  <c:v>0.67717139290173001</c:v>
                </c:pt>
                <c:pt idx="37970">
                  <c:v>0.67718922775102497</c:v>
                </c:pt>
                <c:pt idx="37971">
                  <c:v>0.67720706260032104</c:v>
                </c:pt>
                <c:pt idx="37972">
                  <c:v>0.677224897449616</c:v>
                </c:pt>
                <c:pt idx="37973">
                  <c:v>0.67724273229891196</c:v>
                </c:pt>
                <c:pt idx="37974">
                  <c:v>0.67726056714820704</c:v>
                </c:pt>
                <c:pt idx="37975">
                  <c:v>0.677278401997503</c:v>
                </c:pt>
                <c:pt idx="37976">
                  <c:v>0.67729623684679796</c:v>
                </c:pt>
                <c:pt idx="37977">
                  <c:v>0.67731407169609403</c:v>
                </c:pt>
                <c:pt idx="37978">
                  <c:v>0.677331906545389</c:v>
                </c:pt>
                <c:pt idx="37979">
                  <c:v>0.67734974139468496</c:v>
                </c:pt>
                <c:pt idx="37980">
                  <c:v>0.67736757624398003</c:v>
                </c:pt>
                <c:pt idx="37981">
                  <c:v>0.67738541109327599</c:v>
                </c:pt>
                <c:pt idx="37982">
                  <c:v>0.67740324594257095</c:v>
                </c:pt>
                <c:pt idx="37983">
                  <c:v>0.67742108079186703</c:v>
                </c:pt>
                <c:pt idx="37984">
                  <c:v>0.67743891564116199</c:v>
                </c:pt>
                <c:pt idx="37985">
                  <c:v>0.67745675049045795</c:v>
                </c:pt>
                <c:pt idx="37986">
                  <c:v>0.67747458533975302</c:v>
                </c:pt>
                <c:pt idx="37987">
                  <c:v>0.67749242018904898</c:v>
                </c:pt>
                <c:pt idx="37988">
                  <c:v>0.67751025503834394</c:v>
                </c:pt>
                <c:pt idx="37989">
                  <c:v>0.67752808988764002</c:v>
                </c:pt>
                <c:pt idx="37990">
                  <c:v>0.67754592473693598</c:v>
                </c:pt>
                <c:pt idx="37991">
                  <c:v>0.67756375958623105</c:v>
                </c:pt>
                <c:pt idx="37992">
                  <c:v>0.67758159443552701</c:v>
                </c:pt>
                <c:pt idx="37993">
                  <c:v>0.67759942928482197</c:v>
                </c:pt>
                <c:pt idx="37994">
                  <c:v>0.67761726413411805</c:v>
                </c:pt>
                <c:pt idx="37995">
                  <c:v>0.67763509898341301</c:v>
                </c:pt>
                <c:pt idx="37996">
                  <c:v>0.67765293383270897</c:v>
                </c:pt>
                <c:pt idx="37997">
                  <c:v>0.67767076868200404</c:v>
                </c:pt>
                <c:pt idx="37998">
                  <c:v>0.6776886035313</c:v>
                </c:pt>
                <c:pt idx="37999">
                  <c:v>0.67770643838059497</c:v>
                </c:pt>
                <c:pt idx="38000">
                  <c:v>0.67772427322989104</c:v>
                </c:pt>
                <c:pt idx="38001">
                  <c:v>0.677742108079186</c:v>
                </c:pt>
                <c:pt idx="38002">
                  <c:v>0.67775994292848196</c:v>
                </c:pt>
                <c:pt idx="38003">
                  <c:v>0.67777777777777704</c:v>
                </c:pt>
                <c:pt idx="38004">
                  <c:v>0.677795612627073</c:v>
                </c:pt>
                <c:pt idx="38005">
                  <c:v>0.67781344747636796</c:v>
                </c:pt>
                <c:pt idx="38006">
                  <c:v>0.67783128232566403</c:v>
                </c:pt>
                <c:pt idx="38007">
                  <c:v>0.67784911717495899</c:v>
                </c:pt>
                <c:pt idx="38008">
                  <c:v>0.67786695202425495</c:v>
                </c:pt>
                <c:pt idx="38009">
                  <c:v>0.67788478687355003</c:v>
                </c:pt>
                <c:pt idx="38010">
                  <c:v>0.67790262172284599</c:v>
                </c:pt>
                <c:pt idx="38011">
                  <c:v>0.67792045657214195</c:v>
                </c:pt>
                <c:pt idx="38012">
                  <c:v>0.67793829142143702</c:v>
                </c:pt>
                <c:pt idx="38013">
                  <c:v>0.67795612627073298</c:v>
                </c:pt>
                <c:pt idx="38014">
                  <c:v>0.67797396112002795</c:v>
                </c:pt>
                <c:pt idx="38015">
                  <c:v>0.67799179596932402</c:v>
                </c:pt>
                <c:pt idx="38016">
                  <c:v>0.67800963081861898</c:v>
                </c:pt>
                <c:pt idx="38017">
                  <c:v>0.67802746566791505</c:v>
                </c:pt>
                <c:pt idx="38018">
                  <c:v>0.67804530051721001</c:v>
                </c:pt>
                <c:pt idx="38019">
                  <c:v>0.67806313536650598</c:v>
                </c:pt>
                <c:pt idx="38020">
                  <c:v>0.67808097021580105</c:v>
                </c:pt>
                <c:pt idx="38021">
                  <c:v>0.67809880506509701</c:v>
                </c:pt>
                <c:pt idx="38022">
                  <c:v>0.67811663991439197</c:v>
                </c:pt>
                <c:pt idx="38023">
                  <c:v>0.67813447476368804</c:v>
                </c:pt>
                <c:pt idx="38024">
                  <c:v>0.67815230961298301</c:v>
                </c:pt>
                <c:pt idx="38025">
                  <c:v>0.67817014446227897</c:v>
                </c:pt>
                <c:pt idx="38026">
                  <c:v>0.67818797931157404</c:v>
                </c:pt>
                <c:pt idx="38027">
                  <c:v>0.67820581416087</c:v>
                </c:pt>
                <c:pt idx="38028">
                  <c:v>0.67822364901016496</c:v>
                </c:pt>
                <c:pt idx="38029">
                  <c:v>0.67824148385946104</c:v>
                </c:pt>
                <c:pt idx="38030">
                  <c:v>0.678259318708756</c:v>
                </c:pt>
                <c:pt idx="38031">
                  <c:v>0.67827715355805196</c:v>
                </c:pt>
                <c:pt idx="38032">
                  <c:v>0.67829498840734703</c:v>
                </c:pt>
                <c:pt idx="38033">
                  <c:v>0.67831282325664299</c:v>
                </c:pt>
                <c:pt idx="38034">
                  <c:v>0.67833065810593896</c:v>
                </c:pt>
                <c:pt idx="38035">
                  <c:v>0.67834849295523403</c:v>
                </c:pt>
                <c:pt idx="38036">
                  <c:v>0.67836632780452999</c:v>
                </c:pt>
                <c:pt idx="38037">
                  <c:v>0.67838416265382495</c:v>
                </c:pt>
                <c:pt idx="38038">
                  <c:v>0.67840199750312102</c:v>
                </c:pt>
                <c:pt idx="38039">
                  <c:v>0.67841983235241599</c:v>
                </c:pt>
                <c:pt idx="38040">
                  <c:v>0.67843766720171195</c:v>
                </c:pt>
                <c:pt idx="38041">
                  <c:v>0.67845550205100702</c:v>
                </c:pt>
                <c:pt idx="38042">
                  <c:v>0.67847333690030298</c:v>
                </c:pt>
                <c:pt idx="38043">
                  <c:v>0.67849117174959805</c:v>
                </c:pt>
                <c:pt idx="38044">
                  <c:v>0.67850900659889402</c:v>
                </c:pt>
                <c:pt idx="38045">
                  <c:v>0.67852684144818898</c:v>
                </c:pt>
                <c:pt idx="38046">
                  <c:v>0.67854467629748505</c:v>
                </c:pt>
                <c:pt idx="38047">
                  <c:v>0.67856251114678001</c:v>
                </c:pt>
                <c:pt idx="38048">
                  <c:v>0.67858034599607597</c:v>
                </c:pt>
                <c:pt idx="38049">
                  <c:v>0.67859818084537105</c:v>
                </c:pt>
                <c:pt idx="38050">
                  <c:v>0.67861601569466701</c:v>
                </c:pt>
                <c:pt idx="38051">
                  <c:v>0.67863385054396197</c:v>
                </c:pt>
                <c:pt idx="38052">
                  <c:v>0.67865168539325804</c:v>
                </c:pt>
                <c:pt idx="38053">
                  <c:v>0.678669520242554</c:v>
                </c:pt>
                <c:pt idx="38054">
                  <c:v>0.67868735509184897</c:v>
                </c:pt>
                <c:pt idx="38055">
                  <c:v>0.67870518994114504</c:v>
                </c:pt>
                <c:pt idx="38056">
                  <c:v>0.67872302479044</c:v>
                </c:pt>
                <c:pt idx="38057">
                  <c:v>0.67874085963973596</c:v>
                </c:pt>
                <c:pt idx="38058">
                  <c:v>0.67875869448903103</c:v>
                </c:pt>
                <c:pt idx="38059">
                  <c:v>0.67877652933832699</c:v>
                </c:pt>
                <c:pt idx="38060">
                  <c:v>0.67879436418762196</c:v>
                </c:pt>
                <c:pt idx="38061">
                  <c:v>0.67881219903691803</c:v>
                </c:pt>
                <c:pt idx="38062">
                  <c:v>0.67883003388621299</c:v>
                </c:pt>
                <c:pt idx="38063">
                  <c:v>0.67884786873550895</c:v>
                </c:pt>
                <c:pt idx="38064">
                  <c:v>0.67886570358480403</c:v>
                </c:pt>
                <c:pt idx="38065">
                  <c:v>0.67888353843409999</c:v>
                </c:pt>
                <c:pt idx="38066">
                  <c:v>0.67890137328339495</c:v>
                </c:pt>
                <c:pt idx="38067">
                  <c:v>0.67891920813269102</c:v>
                </c:pt>
                <c:pt idx="38068">
                  <c:v>0.67893704298198598</c:v>
                </c:pt>
                <c:pt idx="38069">
                  <c:v>0.67895487783128206</c:v>
                </c:pt>
                <c:pt idx="38070">
                  <c:v>0.67897271268057702</c:v>
                </c:pt>
                <c:pt idx="38071">
                  <c:v>0.67899054752987298</c:v>
                </c:pt>
                <c:pt idx="38072">
                  <c:v>0.67900838237916805</c:v>
                </c:pt>
                <c:pt idx="38073">
                  <c:v>0.67902621722846401</c:v>
                </c:pt>
                <c:pt idx="38074">
                  <c:v>0.67904405207775997</c:v>
                </c:pt>
                <c:pt idx="38075">
                  <c:v>0.67906188692705505</c:v>
                </c:pt>
                <c:pt idx="38076">
                  <c:v>0.67907972177635101</c:v>
                </c:pt>
                <c:pt idx="38077">
                  <c:v>0.67909755662564597</c:v>
                </c:pt>
                <c:pt idx="38078">
                  <c:v>0.67911539147494204</c:v>
                </c:pt>
                <c:pt idx="38079">
                  <c:v>0.679133226324237</c:v>
                </c:pt>
                <c:pt idx="38080">
                  <c:v>0.67915106117353297</c:v>
                </c:pt>
                <c:pt idx="38081">
                  <c:v>0.67916889602282804</c:v>
                </c:pt>
                <c:pt idx="38082">
                  <c:v>0.679186730872124</c:v>
                </c:pt>
                <c:pt idx="38083">
                  <c:v>0.67920456572141896</c:v>
                </c:pt>
                <c:pt idx="38084">
                  <c:v>0.67922240057071503</c:v>
                </c:pt>
                <c:pt idx="38085">
                  <c:v>0.67924023542001</c:v>
                </c:pt>
                <c:pt idx="38086">
                  <c:v>0.67925807026930596</c:v>
                </c:pt>
                <c:pt idx="38087">
                  <c:v>0.67927590511860103</c:v>
                </c:pt>
                <c:pt idx="38088">
                  <c:v>0.67929373996789699</c:v>
                </c:pt>
                <c:pt idx="38089">
                  <c:v>0.67931157481719195</c:v>
                </c:pt>
                <c:pt idx="38090">
                  <c:v>0.67932940966648803</c:v>
                </c:pt>
                <c:pt idx="38091">
                  <c:v>0.67934724451578299</c:v>
                </c:pt>
                <c:pt idx="38092">
                  <c:v>0.67936507936507895</c:v>
                </c:pt>
                <c:pt idx="38093">
                  <c:v>0.67938291421437402</c:v>
                </c:pt>
                <c:pt idx="38094">
                  <c:v>0.67940074906366998</c:v>
                </c:pt>
                <c:pt idx="38095">
                  <c:v>0.67941858391296595</c:v>
                </c:pt>
                <c:pt idx="38096">
                  <c:v>0.67943641876226102</c:v>
                </c:pt>
                <c:pt idx="38097">
                  <c:v>0.67945425361155698</c:v>
                </c:pt>
                <c:pt idx="38098">
                  <c:v>0.67947208846085205</c:v>
                </c:pt>
                <c:pt idx="38099">
                  <c:v>0.67948992331014801</c:v>
                </c:pt>
                <c:pt idx="38100">
                  <c:v>0.67950775815944298</c:v>
                </c:pt>
                <c:pt idx="38101">
                  <c:v>0.67952559300873905</c:v>
                </c:pt>
                <c:pt idx="38102">
                  <c:v>0.67954342785803401</c:v>
                </c:pt>
                <c:pt idx="38103">
                  <c:v>0.67956126270732997</c:v>
                </c:pt>
                <c:pt idx="38104">
                  <c:v>0.67957909755662504</c:v>
                </c:pt>
                <c:pt idx="38105">
                  <c:v>0.67959693240592101</c:v>
                </c:pt>
                <c:pt idx="38106">
                  <c:v>0.67961476725521597</c:v>
                </c:pt>
                <c:pt idx="38107">
                  <c:v>0.67963260210451204</c:v>
                </c:pt>
                <c:pt idx="38108">
                  <c:v>0.679650436953807</c:v>
                </c:pt>
                <c:pt idx="38109">
                  <c:v>0.67966827180310296</c:v>
                </c:pt>
                <c:pt idx="38110">
                  <c:v>0.67968610665239804</c:v>
                </c:pt>
                <c:pt idx="38111">
                  <c:v>0.679703941501694</c:v>
                </c:pt>
                <c:pt idx="38112">
                  <c:v>0.67972177635098896</c:v>
                </c:pt>
                <c:pt idx="38113">
                  <c:v>0.67973961120028503</c:v>
                </c:pt>
                <c:pt idx="38114">
                  <c:v>0.67975744604957999</c:v>
                </c:pt>
                <c:pt idx="38115">
                  <c:v>0.67977528089887596</c:v>
                </c:pt>
                <c:pt idx="38116">
                  <c:v>0.67979311574817103</c:v>
                </c:pt>
                <c:pt idx="38117">
                  <c:v>0.67981095059746699</c:v>
                </c:pt>
                <c:pt idx="38118">
                  <c:v>0.67982878544676295</c:v>
                </c:pt>
                <c:pt idx="38119">
                  <c:v>0.67984662029605802</c:v>
                </c:pt>
                <c:pt idx="38120">
                  <c:v>0.67986445514535399</c:v>
                </c:pt>
                <c:pt idx="38121">
                  <c:v>0.67988228999464895</c:v>
                </c:pt>
                <c:pt idx="38122">
                  <c:v>0.67990012484394502</c:v>
                </c:pt>
                <c:pt idx="38123">
                  <c:v>0.67991795969323998</c:v>
                </c:pt>
                <c:pt idx="38124">
                  <c:v>0.67993579454253605</c:v>
                </c:pt>
                <c:pt idx="38125">
                  <c:v>0.67995362939183102</c:v>
                </c:pt>
                <c:pt idx="38126">
                  <c:v>0.67997146424112698</c:v>
                </c:pt>
                <c:pt idx="38127">
                  <c:v>0.67998929909042205</c:v>
                </c:pt>
                <c:pt idx="38128">
                  <c:v>0.68000713393971801</c:v>
                </c:pt>
                <c:pt idx="38129">
                  <c:v>0.68002496878901297</c:v>
                </c:pt>
                <c:pt idx="38130">
                  <c:v>0.68004280363830905</c:v>
                </c:pt>
                <c:pt idx="38131">
                  <c:v>0.68006063848760401</c:v>
                </c:pt>
                <c:pt idx="38132">
                  <c:v>0.68007847333689997</c:v>
                </c:pt>
                <c:pt idx="38133">
                  <c:v>0.68009630818619504</c:v>
                </c:pt>
                <c:pt idx="38134">
                  <c:v>0.680114143035491</c:v>
                </c:pt>
                <c:pt idx="38135">
                  <c:v>0.68013197788478597</c:v>
                </c:pt>
                <c:pt idx="38136">
                  <c:v>0.68014981273408204</c:v>
                </c:pt>
                <c:pt idx="38137">
                  <c:v>0.680167647583377</c:v>
                </c:pt>
                <c:pt idx="38138">
                  <c:v>0.68018548243267296</c:v>
                </c:pt>
                <c:pt idx="38139">
                  <c:v>0.68020331728196803</c:v>
                </c:pt>
                <c:pt idx="38140">
                  <c:v>0.680221152131264</c:v>
                </c:pt>
                <c:pt idx="38141">
                  <c:v>0.68023898698055996</c:v>
                </c:pt>
                <c:pt idx="38142">
                  <c:v>0.68025682182985503</c:v>
                </c:pt>
                <c:pt idx="38143">
                  <c:v>0.68027465667915099</c:v>
                </c:pt>
                <c:pt idx="38144">
                  <c:v>0.68029249152844595</c:v>
                </c:pt>
                <c:pt idx="38145">
                  <c:v>0.68031032637774203</c:v>
                </c:pt>
                <c:pt idx="38146">
                  <c:v>0.68032816122703699</c:v>
                </c:pt>
                <c:pt idx="38147">
                  <c:v>0.68034599607633295</c:v>
                </c:pt>
                <c:pt idx="38148">
                  <c:v>0.68036383092562802</c:v>
                </c:pt>
                <c:pt idx="38149">
                  <c:v>0.68038166577492398</c:v>
                </c:pt>
                <c:pt idx="38150">
                  <c:v>0.68039950062421894</c:v>
                </c:pt>
                <c:pt idx="38151">
                  <c:v>0.68041733547351502</c:v>
                </c:pt>
                <c:pt idx="38152">
                  <c:v>0.68043517032280998</c:v>
                </c:pt>
                <c:pt idx="38153">
                  <c:v>0.68045300517210605</c:v>
                </c:pt>
                <c:pt idx="38154">
                  <c:v>0.68047084002140101</c:v>
                </c:pt>
                <c:pt idx="38155">
                  <c:v>0.68048867487069697</c:v>
                </c:pt>
                <c:pt idx="38156">
                  <c:v>0.68050650971999205</c:v>
                </c:pt>
                <c:pt idx="38157">
                  <c:v>0.68052434456928801</c:v>
                </c:pt>
                <c:pt idx="38158">
                  <c:v>0.68054217941858297</c:v>
                </c:pt>
                <c:pt idx="38159">
                  <c:v>0.68056001426787904</c:v>
                </c:pt>
                <c:pt idx="38160">
                  <c:v>0.680577849117175</c:v>
                </c:pt>
                <c:pt idx="38161">
                  <c:v>0.68059568396646997</c:v>
                </c:pt>
                <c:pt idx="38162">
                  <c:v>0.68061351881576604</c:v>
                </c:pt>
                <c:pt idx="38163">
                  <c:v>0.680631353665061</c:v>
                </c:pt>
                <c:pt idx="38164">
                  <c:v>0.68064918851435696</c:v>
                </c:pt>
                <c:pt idx="38165">
                  <c:v>0.68066702336365204</c:v>
                </c:pt>
                <c:pt idx="38166">
                  <c:v>0.680684858212948</c:v>
                </c:pt>
                <c:pt idx="38167">
                  <c:v>0.68070269306224296</c:v>
                </c:pt>
                <c:pt idx="38168">
                  <c:v>0.68072052791153903</c:v>
                </c:pt>
                <c:pt idx="38169">
                  <c:v>0.68073836276083399</c:v>
                </c:pt>
                <c:pt idx="38170">
                  <c:v>0.68075619761012995</c:v>
                </c:pt>
                <c:pt idx="38171">
                  <c:v>0.68077403245942503</c:v>
                </c:pt>
                <c:pt idx="38172">
                  <c:v>0.68079186730872099</c:v>
                </c:pt>
                <c:pt idx="38173">
                  <c:v>0.68080970215801595</c:v>
                </c:pt>
                <c:pt idx="38174">
                  <c:v>0.68082753700731202</c:v>
                </c:pt>
                <c:pt idx="38175">
                  <c:v>0.68084537185660698</c:v>
                </c:pt>
                <c:pt idx="38176">
                  <c:v>0.68086320670590295</c:v>
                </c:pt>
                <c:pt idx="38177">
                  <c:v>0.68088104155519802</c:v>
                </c:pt>
                <c:pt idx="38178">
                  <c:v>0.68089887640449398</c:v>
                </c:pt>
                <c:pt idx="38179">
                  <c:v>0.68091671125378905</c:v>
                </c:pt>
                <c:pt idx="38180">
                  <c:v>0.68093454610308501</c:v>
                </c:pt>
                <c:pt idx="38181">
                  <c:v>0.68095238095238098</c:v>
                </c:pt>
                <c:pt idx="38182">
                  <c:v>0.68097021580167605</c:v>
                </c:pt>
                <c:pt idx="38183">
                  <c:v>0.68098805065097201</c:v>
                </c:pt>
                <c:pt idx="38184">
                  <c:v>0.68100588550026697</c:v>
                </c:pt>
                <c:pt idx="38185">
                  <c:v>0.68102372034956304</c:v>
                </c:pt>
                <c:pt idx="38186">
                  <c:v>0.68104155519885801</c:v>
                </c:pt>
                <c:pt idx="38187">
                  <c:v>0.68105939004815397</c:v>
                </c:pt>
                <c:pt idx="38188">
                  <c:v>0.68107722489744904</c:v>
                </c:pt>
                <c:pt idx="38189">
                  <c:v>0.681095059746745</c:v>
                </c:pt>
                <c:pt idx="38190">
                  <c:v>0.68111289459603996</c:v>
                </c:pt>
                <c:pt idx="38191">
                  <c:v>0.68113072944533604</c:v>
                </c:pt>
                <c:pt idx="38192">
                  <c:v>0.681148564294631</c:v>
                </c:pt>
                <c:pt idx="38193">
                  <c:v>0.68116639914392696</c:v>
                </c:pt>
                <c:pt idx="38194">
                  <c:v>0.68118423399322203</c:v>
                </c:pt>
                <c:pt idx="38195">
                  <c:v>0.68120206884251799</c:v>
                </c:pt>
                <c:pt idx="38196">
                  <c:v>0.68121990369181296</c:v>
                </c:pt>
                <c:pt idx="38197">
                  <c:v>0.68123773854110903</c:v>
                </c:pt>
                <c:pt idx="38198">
                  <c:v>0.68125557339040399</c:v>
                </c:pt>
                <c:pt idx="38199">
                  <c:v>0.68127340823969995</c:v>
                </c:pt>
                <c:pt idx="38200">
                  <c:v>0.68129124308899502</c:v>
                </c:pt>
                <c:pt idx="38201">
                  <c:v>0.68130907793829099</c:v>
                </c:pt>
                <c:pt idx="38202">
                  <c:v>0.68132691278758695</c:v>
                </c:pt>
                <c:pt idx="38203">
                  <c:v>0.68134474763688202</c:v>
                </c:pt>
                <c:pt idx="38204">
                  <c:v>0.68136258248617798</c:v>
                </c:pt>
                <c:pt idx="38205">
                  <c:v>0.68138041733547305</c:v>
                </c:pt>
                <c:pt idx="38206">
                  <c:v>0.68139825218476902</c:v>
                </c:pt>
                <c:pt idx="38207">
                  <c:v>0.68141608703406398</c:v>
                </c:pt>
                <c:pt idx="38208">
                  <c:v>0.68143392188336005</c:v>
                </c:pt>
                <c:pt idx="38209">
                  <c:v>0.68145175673265501</c:v>
                </c:pt>
                <c:pt idx="38210">
                  <c:v>0.68146959158195097</c:v>
                </c:pt>
                <c:pt idx="38211">
                  <c:v>0.68148742643124605</c:v>
                </c:pt>
                <c:pt idx="38212">
                  <c:v>0.68150526128054201</c:v>
                </c:pt>
                <c:pt idx="38213">
                  <c:v>0.68152309612983697</c:v>
                </c:pt>
                <c:pt idx="38214">
                  <c:v>0.68154093097913304</c:v>
                </c:pt>
                <c:pt idx="38215">
                  <c:v>0.681558765828428</c:v>
                </c:pt>
                <c:pt idx="38216">
                  <c:v>0.68157660067772396</c:v>
                </c:pt>
                <c:pt idx="38217">
                  <c:v>0.68159443552701904</c:v>
                </c:pt>
                <c:pt idx="38218">
                  <c:v>0.681612270376315</c:v>
                </c:pt>
                <c:pt idx="38219">
                  <c:v>0.68163010522560996</c:v>
                </c:pt>
                <c:pt idx="38220">
                  <c:v>0.68164794007490603</c:v>
                </c:pt>
                <c:pt idx="38221">
                  <c:v>0.681665774924201</c:v>
                </c:pt>
                <c:pt idx="38222">
                  <c:v>0.68168360977349696</c:v>
                </c:pt>
                <c:pt idx="38223">
                  <c:v>0.68170144462279203</c:v>
                </c:pt>
                <c:pt idx="38224">
                  <c:v>0.68171927947208799</c:v>
                </c:pt>
                <c:pt idx="38225">
                  <c:v>0.68173711432138395</c:v>
                </c:pt>
                <c:pt idx="38226">
                  <c:v>0.68175494917067903</c:v>
                </c:pt>
                <c:pt idx="38227">
                  <c:v>0.68177278401997499</c:v>
                </c:pt>
                <c:pt idx="38228">
                  <c:v>0.68179061886926995</c:v>
                </c:pt>
                <c:pt idx="38229">
                  <c:v>0.68180845371856602</c:v>
                </c:pt>
                <c:pt idx="38230">
                  <c:v>0.68182628856786098</c:v>
                </c:pt>
                <c:pt idx="38231">
                  <c:v>0.68184412341715706</c:v>
                </c:pt>
                <c:pt idx="38232">
                  <c:v>0.68186195826645202</c:v>
                </c:pt>
                <c:pt idx="38233">
                  <c:v>0.68187979311574798</c:v>
                </c:pt>
                <c:pt idx="38234">
                  <c:v>0.68189762796504305</c:v>
                </c:pt>
                <c:pt idx="38235">
                  <c:v>0.68191546281433901</c:v>
                </c:pt>
                <c:pt idx="38236">
                  <c:v>0.68193329766363397</c:v>
                </c:pt>
                <c:pt idx="38237">
                  <c:v>0.68195113251293005</c:v>
                </c:pt>
                <c:pt idx="38238">
                  <c:v>0.68196896736222501</c:v>
                </c:pt>
                <c:pt idx="38239">
                  <c:v>0.68198680221152097</c:v>
                </c:pt>
                <c:pt idx="38240">
                  <c:v>0.68200463706081604</c:v>
                </c:pt>
                <c:pt idx="38241">
                  <c:v>0.682022471910112</c:v>
                </c:pt>
                <c:pt idx="38242">
                  <c:v>0.68204030675940697</c:v>
                </c:pt>
                <c:pt idx="38243">
                  <c:v>0.68205814160870304</c:v>
                </c:pt>
                <c:pt idx="38244">
                  <c:v>0.682075976457998</c:v>
                </c:pt>
                <c:pt idx="38245">
                  <c:v>0.68209381130729396</c:v>
                </c:pt>
                <c:pt idx="38246">
                  <c:v>0.68211164615658904</c:v>
                </c:pt>
                <c:pt idx="38247">
                  <c:v>0.682129481005885</c:v>
                </c:pt>
                <c:pt idx="38248">
                  <c:v>0.68214731585518096</c:v>
                </c:pt>
                <c:pt idx="38249">
                  <c:v>0.68216515070447603</c:v>
                </c:pt>
                <c:pt idx="38250">
                  <c:v>0.68218298555377199</c:v>
                </c:pt>
                <c:pt idx="38251">
                  <c:v>0.68220082040306695</c:v>
                </c:pt>
                <c:pt idx="38252">
                  <c:v>0.68221865525236303</c:v>
                </c:pt>
                <c:pt idx="38253">
                  <c:v>0.68223649010165799</c:v>
                </c:pt>
                <c:pt idx="38254">
                  <c:v>0.68225432495095395</c:v>
                </c:pt>
                <c:pt idx="38255">
                  <c:v>0.68227215980024902</c:v>
                </c:pt>
                <c:pt idx="38256">
                  <c:v>0.68228999464954498</c:v>
                </c:pt>
                <c:pt idx="38257">
                  <c:v>0.68230782949883995</c:v>
                </c:pt>
                <c:pt idx="38258">
                  <c:v>0.68232566434813602</c:v>
                </c:pt>
                <c:pt idx="38259">
                  <c:v>0.68234349919743098</c:v>
                </c:pt>
                <c:pt idx="38260">
                  <c:v>0.68236133404672705</c:v>
                </c:pt>
                <c:pt idx="38261">
                  <c:v>0.68237916889602201</c:v>
                </c:pt>
                <c:pt idx="38262">
                  <c:v>0.68239700374531798</c:v>
                </c:pt>
                <c:pt idx="38263">
                  <c:v>0.68241483859461305</c:v>
                </c:pt>
                <c:pt idx="38264">
                  <c:v>0.68243267344390901</c:v>
                </c:pt>
                <c:pt idx="38265">
                  <c:v>0.68245050829320497</c:v>
                </c:pt>
                <c:pt idx="38266">
                  <c:v>0.68246834314250004</c:v>
                </c:pt>
                <c:pt idx="38267">
                  <c:v>0.68248617799179601</c:v>
                </c:pt>
                <c:pt idx="38268">
                  <c:v>0.68250401284109097</c:v>
                </c:pt>
                <c:pt idx="38269">
                  <c:v>0.68252184769038704</c:v>
                </c:pt>
                <c:pt idx="38270">
                  <c:v>0.682539682539682</c:v>
                </c:pt>
                <c:pt idx="38271">
                  <c:v>0.68255751738897796</c:v>
                </c:pt>
                <c:pt idx="38272">
                  <c:v>0.68257535223827304</c:v>
                </c:pt>
                <c:pt idx="38273">
                  <c:v>0.682593187087569</c:v>
                </c:pt>
                <c:pt idx="38274">
                  <c:v>0.68261102193686396</c:v>
                </c:pt>
                <c:pt idx="38275">
                  <c:v>0.68262885678616003</c:v>
                </c:pt>
                <c:pt idx="38276">
                  <c:v>0.68264669163545499</c:v>
                </c:pt>
                <c:pt idx="38277">
                  <c:v>0.68266452648475096</c:v>
                </c:pt>
                <c:pt idx="38278">
                  <c:v>0.68268236133404603</c:v>
                </c:pt>
                <c:pt idx="38279">
                  <c:v>0.68270019618334199</c:v>
                </c:pt>
                <c:pt idx="38280">
                  <c:v>0.68271803103263695</c:v>
                </c:pt>
                <c:pt idx="38281">
                  <c:v>0.68273586588193302</c:v>
                </c:pt>
                <c:pt idx="38282">
                  <c:v>0.68275370073122799</c:v>
                </c:pt>
                <c:pt idx="38283">
                  <c:v>0.68277153558052395</c:v>
                </c:pt>
                <c:pt idx="38284">
                  <c:v>0.68278937042981902</c:v>
                </c:pt>
                <c:pt idx="38285">
                  <c:v>0.68280720527911498</c:v>
                </c:pt>
                <c:pt idx="38286">
                  <c:v>0.68282504012841005</c:v>
                </c:pt>
                <c:pt idx="38287">
                  <c:v>0.68284287497770602</c:v>
                </c:pt>
                <c:pt idx="38288">
                  <c:v>0.68286070982700198</c:v>
                </c:pt>
                <c:pt idx="38289">
                  <c:v>0.68287854467629705</c:v>
                </c:pt>
                <c:pt idx="38290">
                  <c:v>0.68289637952559301</c:v>
                </c:pt>
                <c:pt idx="38291">
                  <c:v>0.68291421437488797</c:v>
                </c:pt>
                <c:pt idx="38292">
                  <c:v>0.68293204922418405</c:v>
                </c:pt>
                <c:pt idx="38293">
                  <c:v>0.68294988407347901</c:v>
                </c:pt>
                <c:pt idx="38294">
                  <c:v>0.68296771892277497</c:v>
                </c:pt>
                <c:pt idx="38295">
                  <c:v>0.68298555377207004</c:v>
                </c:pt>
                <c:pt idx="38296">
                  <c:v>0.683003388621366</c:v>
                </c:pt>
                <c:pt idx="38297">
                  <c:v>0.68302122347066097</c:v>
                </c:pt>
                <c:pt idx="38298">
                  <c:v>0.68303905831995704</c:v>
                </c:pt>
                <c:pt idx="38299">
                  <c:v>0.683056893169252</c:v>
                </c:pt>
                <c:pt idx="38300">
                  <c:v>0.68307472801854796</c:v>
                </c:pt>
                <c:pt idx="38301">
                  <c:v>0.68309256286784303</c:v>
                </c:pt>
                <c:pt idx="38302">
                  <c:v>0.683110397717139</c:v>
                </c:pt>
                <c:pt idx="38303">
                  <c:v>0.68312823256643396</c:v>
                </c:pt>
                <c:pt idx="38304">
                  <c:v>0.68314606741573003</c:v>
                </c:pt>
                <c:pt idx="38305">
                  <c:v>0.68316390226502499</c:v>
                </c:pt>
                <c:pt idx="38306">
                  <c:v>0.68318173711432095</c:v>
                </c:pt>
                <c:pt idx="38307">
                  <c:v>0.68319957196361603</c:v>
                </c:pt>
                <c:pt idx="38308">
                  <c:v>0.68321740681291199</c:v>
                </c:pt>
                <c:pt idx="38309">
                  <c:v>0.68323524166220795</c:v>
                </c:pt>
                <c:pt idx="38310">
                  <c:v>0.68325307651150302</c:v>
                </c:pt>
                <c:pt idx="38311">
                  <c:v>0.68327091136079898</c:v>
                </c:pt>
                <c:pt idx="38312">
                  <c:v>0.68328874621009394</c:v>
                </c:pt>
                <c:pt idx="38313">
                  <c:v>0.68330658105939002</c:v>
                </c:pt>
                <c:pt idx="38314">
                  <c:v>0.68332441590868498</c:v>
                </c:pt>
                <c:pt idx="38315">
                  <c:v>0.68334225075798105</c:v>
                </c:pt>
                <c:pt idx="38316">
                  <c:v>0.68336008560727601</c:v>
                </c:pt>
                <c:pt idx="38317">
                  <c:v>0.68337792045657197</c:v>
                </c:pt>
                <c:pt idx="38318">
                  <c:v>0.68339575530586705</c:v>
                </c:pt>
                <c:pt idx="38319">
                  <c:v>0.68341359015516301</c:v>
                </c:pt>
                <c:pt idx="38320">
                  <c:v>0.68343142500445797</c:v>
                </c:pt>
                <c:pt idx="38321">
                  <c:v>0.68344925985375404</c:v>
                </c:pt>
                <c:pt idx="38322">
                  <c:v>0.68346709470304901</c:v>
                </c:pt>
                <c:pt idx="38323">
                  <c:v>0.68348492955234497</c:v>
                </c:pt>
                <c:pt idx="38324">
                  <c:v>0.68350276440164004</c:v>
                </c:pt>
                <c:pt idx="38325">
                  <c:v>0.683520599250936</c:v>
                </c:pt>
                <c:pt idx="38326">
                  <c:v>0.68353843410023096</c:v>
                </c:pt>
                <c:pt idx="38327">
                  <c:v>0.68355626894952703</c:v>
                </c:pt>
                <c:pt idx="38328">
                  <c:v>0.683574103798822</c:v>
                </c:pt>
                <c:pt idx="38329">
                  <c:v>0.68359193864811796</c:v>
                </c:pt>
                <c:pt idx="38330">
                  <c:v>0.68360977349741303</c:v>
                </c:pt>
                <c:pt idx="38331">
                  <c:v>0.68362760834670899</c:v>
                </c:pt>
                <c:pt idx="38332">
                  <c:v>0.68364544319600495</c:v>
                </c:pt>
                <c:pt idx="38333">
                  <c:v>0.68366327804530003</c:v>
                </c:pt>
                <c:pt idx="38334">
                  <c:v>0.68368111289459599</c:v>
                </c:pt>
                <c:pt idx="38335">
                  <c:v>0.68369894774389095</c:v>
                </c:pt>
                <c:pt idx="38336">
                  <c:v>0.68371678259318702</c:v>
                </c:pt>
                <c:pt idx="38337">
                  <c:v>0.68373461744248198</c:v>
                </c:pt>
                <c:pt idx="38338">
                  <c:v>0.68375245229177795</c:v>
                </c:pt>
                <c:pt idx="38339">
                  <c:v>0.68377028714107302</c:v>
                </c:pt>
                <c:pt idx="38340">
                  <c:v>0.68378812199036898</c:v>
                </c:pt>
                <c:pt idx="38341">
                  <c:v>0.68380595683966405</c:v>
                </c:pt>
                <c:pt idx="38342">
                  <c:v>0.68382379168896001</c:v>
                </c:pt>
                <c:pt idx="38343">
                  <c:v>0.68384162653825498</c:v>
                </c:pt>
                <c:pt idx="38344">
                  <c:v>0.68385946138755105</c:v>
                </c:pt>
                <c:pt idx="38345">
                  <c:v>0.68387729623684601</c:v>
                </c:pt>
                <c:pt idx="38346">
                  <c:v>0.68389513108614197</c:v>
                </c:pt>
                <c:pt idx="38347">
                  <c:v>0.68391296593543704</c:v>
                </c:pt>
                <c:pt idx="38348">
                  <c:v>0.68393080078473301</c:v>
                </c:pt>
                <c:pt idx="38349">
                  <c:v>0.68394863563402797</c:v>
                </c:pt>
                <c:pt idx="38350">
                  <c:v>0.68396647048332404</c:v>
                </c:pt>
                <c:pt idx="38351">
                  <c:v>0.683984305332619</c:v>
                </c:pt>
                <c:pt idx="38352">
                  <c:v>0.68400214018191496</c:v>
                </c:pt>
                <c:pt idx="38353">
                  <c:v>0.68401997503121104</c:v>
                </c:pt>
                <c:pt idx="38354">
                  <c:v>0.684037809880506</c:v>
                </c:pt>
                <c:pt idx="38355">
                  <c:v>0.68405564472980196</c:v>
                </c:pt>
                <c:pt idx="38356">
                  <c:v>0.68407347957909703</c:v>
                </c:pt>
                <c:pt idx="38357">
                  <c:v>0.68409131442839299</c:v>
                </c:pt>
                <c:pt idx="38358">
                  <c:v>0.68410914927768796</c:v>
                </c:pt>
                <c:pt idx="38359">
                  <c:v>0.68412698412698403</c:v>
                </c:pt>
                <c:pt idx="38360">
                  <c:v>0.68414481897627899</c:v>
                </c:pt>
                <c:pt idx="38361">
                  <c:v>0.68416265382557495</c:v>
                </c:pt>
                <c:pt idx="38362">
                  <c:v>0.68418048867487002</c:v>
                </c:pt>
                <c:pt idx="38363">
                  <c:v>0.68419832352416599</c:v>
                </c:pt>
                <c:pt idx="38364">
                  <c:v>0.68421615837346095</c:v>
                </c:pt>
                <c:pt idx="38365">
                  <c:v>0.68423399322275702</c:v>
                </c:pt>
                <c:pt idx="38366">
                  <c:v>0.68425182807205198</c:v>
                </c:pt>
                <c:pt idx="38367">
                  <c:v>0.68426966292134805</c:v>
                </c:pt>
                <c:pt idx="38368">
                  <c:v>0.68428749777064302</c:v>
                </c:pt>
                <c:pt idx="38369">
                  <c:v>0.68430533261993898</c:v>
                </c:pt>
                <c:pt idx="38370">
                  <c:v>0.68432316746923405</c:v>
                </c:pt>
                <c:pt idx="38371">
                  <c:v>0.68434100231853001</c:v>
                </c:pt>
                <c:pt idx="38372">
                  <c:v>0.68435883716782597</c:v>
                </c:pt>
                <c:pt idx="38373">
                  <c:v>0.68437667201712105</c:v>
                </c:pt>
                <c:pt idx="38374">
                  <c:v>0.68439450686641701</c:v>
                </c:pt>
                <c:pt idx="38375">
                  <c:v>0.68441234171571197</c:v>
                </c:pt>
                <c:pt idx="38376">
                  <c:v>0.68443017656500804</c:v>
                </c:pt>
                <c:pt idx="38377">
                  <c:v>0.684448011414303</c:v>
                </c:pt>
                <c:pt idx="38378">
                  <c:v>0.68446584626359896</c:v>
                </c:pt>
                <c:pt idx="38379">
                  <c:v>0.68448368111289404</c:v>
                </c:pt>
                <c:pt idx="38380">
                  <c:v>0.68450151596219</c:v>
                </c:pt>
                <c:pt idx="38381">
                  <c:v>0.68451935081148496</c:v>
                </c:pt>
                <c:pt idx="38382">
                  <c:v>0.68453718566078103</c:v>
                </c:pt>
                <c:pt idx="38383">
                  <c:v>0.684555020510076</c:v>
                </c:pt>
                <c:pt idx="38384">
                  <c:v>0.68457285535937196</c:v>
                </c:pt>
                <c:pt idx="38385">
                  <c:v>0.68459069020866703</c:v>
                </c:pt>
                <c:pt idx="38386">
                  <c:v>0.68460852505796299</c:v>
                </c:pt>
                <c:pt idx="38387">
                  <c:v>0.68462635990725795</c:v>
                </c:pt>
                <c:pt idx="38388">
                  <c:v>0.68464419475655403</c:v>
                </c:pt>
                <c:pt idx="38389">
                  <c:v>0.68466202960584899</c:v>
                </c:pt>
                <c:pt idx="38390">
                  <c:v>0.68467986445514495</c:v>
                </c:pt>
                <c:pt idx="38391">
                  <c:v>0.68469769930444002</c:v>
                </c:pt>
                <c:pt idx="38392">
                  <c:v>0.68471553415373598</c:v>
                </c:pt>
                <c:pt idx="38393">
                  <c:v>0.68473336900303094</c:v>
                </c:pt>
                <c:pt idx="38394">
                  <c:v>0.68475120385232702</c:v>
                </c:pt>
                <c:pt idx="38395">
                  <c:v>0.68476903870162298</c:v>
                </c:pt>
                <c:pt idx="38396">
                  <c:v>0.68478687355091805</c:v>
                </c:pt>
                <c:pt idx="38397">
                  <c:v>0.68480470840021401</c:v>
                </c:pt>
                <c:pt idx="38398">
                  <c:v>0.68482254324950897</c:v>
                </c:pt>
                <c:pt idx="38399">
                  <c:v>0.68484037809880505</c:v>
                </c:pt>
                <c:pt idx="38400">
                  <c:v>0.68485821294810001</c:v>
                </c:pt>
                <c:pt idx="38401">
                  <c:v>0.68487604779739597</c:v>
                </c:pt>
                <c:pt idx="38402">
                  <c:v>0.68489388264669104</c:v>
                </c:pt>
                <c:pt idx="38403">
                  <c:v>0.684911717495987</c:v>
                </c:pt>
                <c:pt idx="38404">
                  <c:v>0.68492955234528197</c:v>
                </c:pt>
                <c:pt idx="38405">
                  <c:v>0.68494738719457804</c:v>
                </c:pt>
                <c:pt idx="38406">
                  <c:v>0.684965222043873</c:v>
                </c:pt>
                <c:pt idx="38407">
                  <c:v>0.68498305689316896</c:v>
                </c:pt>
                <c:pt idx="38408">
                  <c:v>0.68500089174246404</c:v>
                </c:pt>
                <c:pt idx="38409">
                  <c:v>0.68501872659176</c:v>
                </c:pt>
                <c:pt idx="38410">
                  <c:v>0.68503656144105496</c:v>
                </c:pt>
                <c:pt idx="38411">
                  <c:v>0.68505439629035103</c:v>
                </c:pt>
                <c:pt idx="38412">
                  <c:v>0.68507223113964599</c:v>
                </c:pt>
                <c:pt idx="38413">
                  <c:v>0.68509006598894195</c:v>
                </c:pt>
                <c:pt idx="38414">
                  <c:v>0.68510790083823703</c:v>
                </c:pt>
                <c:pt idx="38415">
                  <c:v>0.68512573568753299</c:v>
                </c:pt>
                <c:pt idx="38416">
                  <c:v>0.68514357053682895</c:v>
                </c:pt>
                <c:pt idx="38417">
                  <c:v>0.68516140538612402</c:v>
                </c:pt>
                <c:pt idx="38418">
                  <c:v>0.68517924023541998</c:v>
                </c:pt>
                <c:pt idx="38419">
                  <c:v>0.68519707508471495</c:v>
                </c:pt>
                <c:pt idx="38420">
                  <c:v>0.68521490993401102</c:v>
                </c:pt>
                <c:pt idx="38421">
                  <c:v>0.68523274478330598</c:v>
                </c:pt>
                <c:pt idx="38422">
                  <c:v>0.68525057963260205</c:v>
                </c:pt>
                <c:pt idx="38423">
                  <c:v>0.68526841448189701</c:v>
                </c:pt>
                <c:pt idx="38424">
                  <c:v>0.68528624933119298</c:v>
                </c:pt>
                <c:pt idx="38425">
                  <c:v>0.68530408418048805</c:v>
                </c:pt>
                <c:pt idx="38426">
                  <c:v>0.68532191902978401</c:v>
                </c:pt>
                <c:pt idx="38427">
                  <c:v>0.68533975387907897</c:v>
                </c:pt>
                <c:pt idx="38428">
                  <c:v>0.68535758872837504</c:v>
                </c:pt>
                <c:pt idx="38429">
                  <c:v>0.68537542357767001</c:v>
                </c:pt>
                <c:pt idx="38430">
                  <c:v>0.68539325842696597</c:v>
                </c:pt>
                <c:pt idx="38431">
                  <c:v>0.68541109327626104</c:v>
                </c:pt>
                <c:pt idx="38432">
                  <c:v>0.685428928125557</c:v>
                </c:pt>
                <c:pt idx="38433">
                  <c:v>0.68544676297485196</c:v>
                </c:pt>
                <c:pt idx="38434">
                  <c:v>0.68546459782414804</c:v>
                </c:pt>
                <c:pt idx="38435">
                  <c:v>0.685482432673443</c:v>
                </c:pt>
                <c:pt idx="38436">
                  <c:v>0.68550026752273896</c:v>
                </c:pt>
                <c:pt idx="38437">
                  <c:v>0.68551810237203403</c:v>
                </c:pt>
                <c:pt idx="38438">
                  <c:v>0.68553593722132999</c:v>
                </c:pt>
                <c:pt idx="38439">
                  <c:v>0.68555377207062596</c:v>
                </c:pt>
                <c:pt idx="38440">
                  <c:v>0.68557160691992103</c:v>
                </c:pt>
                <c:pt idx="38441">
                  <c:v>0.68558944176921699</c:v>
                </c:pt>
                <c:pt idx="38442">
                  <c:v>0.68560727661851195</c:v>
                </c:pt>
                <c:pt idx="38443">
                  <c:v>0.68562511146780802</c:v>
                </c:pt>
                <c:pt idx="38444">
                  <c:v>0.68564294631710299</c:v>
                </c:pt>
                <c:pt idx="38445">
                  <c:v>0.68566078116639895</c:v>
                </c:pt>
                <c:pt idx="38446">
                  <c:v>0.68567861601569402</c:v>
                </c:pt>
                <c:pt idx="38447">
                  <c:v>0.68569645086498998</c:v>
                </c:pt>
                <c:pt idx="38448">
                  <c:v>0.68571428571428505</c:v>
                </c:pt>
                <c:pt idx="38449">
                  <c:v>0.68573212056358102</c:v>
                </c:pt>
                <c:pt idx="38450">
                  <c:v>0.68574995541287598</c:v>
                </c:pt>
                <c:pt idx="38451">
                  <c:v>0.68576779026217205</c:v>
                </c:pt>
                <c:pt idx="38452">
                  <c:v>0.68578562511146701</c:v>
                </c:pt>
                <c:pt idx="38453">
                  <c:v>0.68580345996076297</c:v>
                </c:pt>
                <c:pt idx="38454">
                  <c:v>0.68582129481005805</c:v>
                </c:pt>
                <c:pt idx="38455">
                  <c:v>0.68583912965935401</c:v>
                </c:pt>
                <c:pt idx="38456">
                  <c:v>0.68585696450864897</c:v>
                </c:pt>
                <c:pt idx="38457">
                  <c:v>0.68587479935794504</c:v>
                </c:pt>
                <c:pt idx="38458">
                  <c:v>0.685892634207241</c:v>
                </c:pt>
                <c:pt idx="38459">
                  <c:v>0.68591046905653597</c:v>
                </c:pt>
                <c:pt idx="38460">
                  <c:v>0.68592830390583204</c:v>
                </c:pt>
                <c:pt idx="38461">
                  <c:v>0.685946138755127</c:v>
                </c:pt>
                <c:pt idx="38462">
                  <c:v>0.68596397360442296</c:v>
                </c:pt>
                <c:pt idx="38463">
                  <c:v>0.68598180845371803</c:v>
                </c:pt>
                <c:pt idx="38464">
                  <c:v>0.685999643303014</c:v>
                </c:pt>
                <c:pt idx="38465">
                  <c:v>0.68601747815230896</c:v>
                </c:pt>
                <c:pt idx="38466">
                  <c:v>0.68603531300160503</c:v>
                </c:pt>
                <c:pt idx="38467">
                  <c:v>0.68605314785089999</c:v>
                </c:pt>
                <c:pt idx="38468">
                  <c:v>0.68607098270019595</c:v>
                </c:pt>
                <c:pt idx="38469">
                  <c:v>0.68608881754949103</c:v>
                </c:pt>
                <c:pt idx="38470">
                  <c:v>0.68610665239878699</c:v>
                </c:pt>
                <c:pt idx="38471">
                  <c:v>0.68612448724808195</c:v>
                </c:pt>
                <c:pt idx="38472">
                  <c:v>0.68614232209737802</c:v>
                </c:pt>
                <c:pt idx="38473">
                  <c:v>0.68616015694667298</c:v>
                </c:pt>
                <c:pt idx="38474">
                  <c:v>0.68617799179596894</c:v>
                </c:pt>
                <c:pt idx="38475">
                  <c:v>0.68619582664526402</c:v>
                </c:pt>
                <c:pt idx="38476">
                  <c:v>0.68621366149455998</c:v>
                </c:pt>
                <c:pt idx="38477">
                  <c:v>0.68623149634385505</c:v>
                </c:pt>
                <c:pt idx="38478">
                  <c:v>0.68624933119315101</c:v>
                </c:pt>
                <c:pt idx="38479">
                  <c:v>0.68626716604244697</c:v>
                </c:pt>
                <c:pt idx="38480">
                  <c:v>0.68628500089174205</c:v>
                </c:pt>
                <c:pt idx="38481">
                  <c:v>0.68630283574103801</c:v>
                </c:pt>
                <c:pt idx="38482">
                  <c:v>0.68632067059033297</c:v>
                </c:pt>
                <c:pt idx="38483">
                  <c:v>0.68633850543962904</c:v>
                </c:pt>
                <c:pt idx="38484">
                  <c:v>0.68635634028892401</c:v>
                </c:pt>
                <c:pt idx="38485">
                  <c:v>0.68637417513821997</c:v>
                </c:pt>
                <c:pt idx="38486">
                  <c:v>0.68639200998751504</c:v>
                </c:pt>
                <c:pt idx="38487">
                  <c:v>0.686409844836811</c:v>
                </c:pt>
                <c:pt idx="38488">
                  <c:v>0.68642767968610596</c:v>
                </c:pt>
                <c:pt idx="38489">
                  <c:v>0.68644551453540203</c:v>
                </c:pt>
                <c:pt idx="38490">
                  <c:v>0.686463349384697</c:v>
                </c:pt>
                <c:pt idx="38491">
                  <c:v>0.68648118423399296</c:v>
                </c:pt>
                <c:pt idx="38492">
                  <c:v>0.68649901908328803</c:v>
                </c:pt>
                <c:pt idx="38493">
                  <c:v>0.68651685393258399</c:v>
                </c:pt>
                <c:pt idx="38494">
                  <c:v>0.68653468878187895</c:v>
                </c:pt>
                <c:pt idx="38495">
                  <c:v>0.68655252363117503</c:v>
                </c:pt>
                <c:pt idx="38496">
                  <c:v>0.68657035848046999</c:v>
                </c:pt>
                <c:pt idx="38497">
                  <c:v>0.68658819332976595</c:v>
                </c:pt>
                <c:pt idx="38498">
                  <c:v>0.68660602817906102</c:v>
                </c:pt>
                <c:pt idx="38499">
                  <c:v>0.68662386302835698</c:v>
                </c:pt>
                <c:pt idx="38500">
                  <c:v>0.68664169787765295</c:v>
                </c:pt>
                <c:pt idx="38501">
                  <c:v>0.68665953272694802</c:v>
                </c:pt>
                <c:pt idx="38502">
                  <c:v>0.68667736757624398</c:v>
                </c:pt>
                <c:pt idx="38503">
                  <c:v>0.68669520242553905</c:v>
                </c:pt>
                <c:pt idx="38504">
                  <c:v>0.68671303727483501</c:v>
                </c:pt>
                <c:pt idx="38505">
                  <c:v>0.68673087212412998</c:v>
                </c:pt>
                <c:pt idx="38506">
                  <c:v>0.68674870697342605</c:v>
                </c:pt>
                <c:pt idx="38507">
                  <c:v>0.68676654182272101</c:v>
                </c:pt>
                <c:pt idx="38508">
                  <c:v>0.68678437667201697</c:v>
                </c:pt>
                <c:pt idx="38509">
                  <c:v>0.68680221152131204</c:v>
                </c:pt>
                <c:pt idx="38510">
                  <c:v>0.68682004637060801</c:v>
                </c:pt>
                <c:pt idx="38511">
                  <c:v>0.68683788121990297</c:v>
                </c:pt>
                <c:pt idx="38512">
                  <c:v>0.68685571606919904</c:v>
                </c:pt>
                <c:pt idx="38513">
                  <c:v>0.686873550918494</c:v>
                </c:pt>
                <c:pt idx="38514">
                  <c:v>0.68689138576778996</c:v>
                </c:pt>
                <c:pt idx="38515">
                  <c:v>0.68690922061708504</c:v>
                </c:pt>
                <c:pt idx="38516">
                  <c:v>0.686927055466381</c:v>
                </c:pt>
                <c:pt idx="38517">
                  <c:v>0.68694489031567596</c:v>
                </c:pt>
                <c:pt idx="38518">
                  <c:v>0.68696272516497203</c:v>
                </c:pt>
                <c:pt idx="38519">
                  <c:v>0.68698056001426699</c:v>
                </c:pt>
                <c:pt idx="38520">
                  <c:v>0.68699839486356296</c:v>
                </c:pt>
                <c:pt idx="38521">
                  <c:v>0.68701622971285803</c:v>
                </c:pt>
                <c:pt idx="38522">
                  <c:v>0.68703406456215399</c:v>
                </c:pt>
                <c:pt idx="38523">
                  <c:v>0.68705189941144995</c:v>
                </c:pt>
                <c:pt idx="38524">
                  <c:v>0.68706973426074502</c:v>
                </c:pt>
                <c:pt idx="38525">
                  <c:v>0.68708756911004099</c:v>
                </c:pt>
                <c:pt idx="38526">
                  <c:v>0.68710540395933595</c:v>
                </c:pt>
                <c:pt idx="38527">
                  <c:v>0.68712323880863202</c:v>
                </c:pt>
                <c:pt idx="38528">
                  <c:v>0.68714107365792698</c:v>
                </c:pt>
                <c:pt idx="38529">
                  <c:v>0.68715890850722305</c:v>
                </c:pt>
                <c:pt idx="38530">
                  <c:v>0.68717674335651802</c:v>
                </c:pt>
                <c:pt idx="38531">
                  <c:v>0.68719457820581398</c:v>
                </c:pt>
                <c:pt idx="38532">
                  <c:v>0.68721241305510905</c:v>
                </c:pt>
                <c:pt idx="38533">
                  <c:v>0.68723024790440501</c:v>
                </c:pt>
                <c:pt idx="38534">
                  <c:v>0.68724808275369997</c:v>
                </c:pt>
                <c:pt idx="38535">
                  <c:v>0.68726591760299605</c:v>
                </c:pt>
                <c:pt idx="38536">
                  <c:v>0.68728375245229101</c:v>
                </c:pt>
                <c:pt idx="38537">
                  <c:v>0.68730158730158697</c:v>
                </c:pt>
                <c:pt idx="38538">
                  <c:v>0.68731942215088204</c:v>
                </c:pt>
                <c:pt idx="38539">
                  <c:v>0.687337257000178</c:v>
                </c:pt>
                <c:pt idx="38540">
                  <c:v>0.68735509184947297</c:v>
                </c:pt>
                <c:pt idx="38541">
                  <c:v>0.68737292669876904</c:v>
                </c:pt>
                <c:pt idx="38542">
                  <c:v>0.687390761548064</c:v>
                </c:pt>
                <c:pt idx="38543">
                  <c:v>0.68740859639735996</c:v>
                </c:pt>
                <c:pt idx="38544">
                  <c:v>0.68742643124665503</c:v>
                </c:pt>
                <c:pt idx="38545">
                  <c:v>0.687444266095951</c:v>
                </c:pt>
                <c:pt idx="38546">
                  <c:v>0.68746210094524696</c:v>
                </c:pt>
                <c:pt idx="38547">
                  <c:v>0.68747993579454203</c:v>
                </c:pt>
                <c:pt idx="38548">
                  <c:v>0.68749777064383799</c:v>
                </c:pt>
                <c:pt idx="38549">
                  <c:v>0.68751560549313295</c:v>
                </c:pt>
                <c:pt idx="38550">
                  <c:v>0.68753344034242903</c:v>
                </c:pt>
                <c:pt idx="38551">
                  <c:v>0.68755127519172399</c:v>
                </c:pt>
                <c:pt idx="38552">
                  <c:v>0.68756911004101995</c:v>
                </c:pt>
                <c:pt idx="38553">
                  <c:v>0.68758694489031502</c:v>
                </c:pt>
                <c:pt idx="38554">
                  <c:v>0.68760477973961098</c:v>
                </c:pt>
                <c:pt idx="38555">
                  <c:v>0.68762261458890594</c:v>
                </c:pt>
                <c:pt idx="38556">
                  <c:v>0.68764044943820202</c:v>
                </c:pt>
                <c:pt idx="38557">
                  <c:v>0.68765828428749698</c:v>
                </c:pt>
                <c:pt idx="38558">
                  <c:v>0.68767611913679305</c:v>
                </c:pt>
                <c:pt idx="38559">
                  <c:v>0.68769395398608801</c:v>
                </c:pt>
                <c:pt idx="38560">
                  <c:v>0.68771178883538397</c:v>
                </c:pt>
                <c:pt idx="38561">
                  <c:v>0.68772962368467905</c:v>
                </c:pt>
                <c:pt idx="38562">
                  <c:v>0.68774745853397501</c:v>
                </c:pt>
                <c:pt idx="38563">
                  <c:v>0.68776529338326997</c:v>
                </c:pt>
                <c:pt idx="38564">
                  <c:v>0.68778312823256604</c:v>
                </c:pt>
                <c:pt idx="38565">
                  <c:v>0.687800963081862</c:v>
                </c:pt>
                <c:pt idx="38566">
                  <c:v>0.68781879793115697</c:v>
                </c:pt>
                <c:pt idx="38567">
                  <c:v>0.68783663278045304</c:v>
                </c:pt>
                <c:pt idx="38568">
                  <c:v>0.687854467629748</c:v>
                </c:pt>
                <c:pt idx="38569">
                  <c:v>0.68787230247904396</c:v>
                </c:pt>
                <c:pt idx="38570">
                  <c:v>0.68789013732833904</c:v>
                </c:pt>
                <c:pt idx="38571">
                  <c:v>0.687907972177635</c:v>
                </c:pt>
                <c:pt idx="38572">
                  <c:v>0.68792580702692996</c:v>
                </c:pt>
                <c:pt idx="38573">
                  <c:v>0.68794364187622603</c:v>
                </c:pt>
                <c:pt idx="38574">
                  <c:v>0.68796147672552099</c:v>
                </c:pt>
                <c:pt idx="38575">
                  <c:v>0.68797931157481695</c:v>
                </c:pt>
                <c:pt idx="38576">
                  <c:v>0.68799714642411203</c:v>
                </c:pt>
                <c:pt idx="38577">
                  <c:v>0.68801498127340799</c:v>
                </c:pt>
                <c:pt idx="38578">
                  <c:v>0.68803281612270295</c:v>
                </c:pt>
                <c:pt idx="38579">
                  <c:v>0.68805065097199902</c:v>
                </c:pt>
                <c:pt idx="38580">
                  <c:v>0.68806848582129398</c:v>
                </c:pt>
                <c:pt idx="38581">
                  <c:v>0.68808632067058995</c:v>
                </c:pt>
                <c:pt idx="38582">
                  <c:v>0.68810415551988502</c:v>
                </c:pt>
                <c:pt idx="38583">
                  <c:v>0.68812199036918098</c:v>
                </c:pt>
                <c:pt idx="38584">
                  <c:v>0.68813982521847605</c:v>
                </c:pt>
                <c:pt idx="38585">
                  <c:v>0.68815766006777201</c:v>
                </c:pt>
                <c:pt idx="38586">
                  <c:v>0.68817549491706798</c:v>
                </c:pt>
                <c:pt idx="38587">
                  <c:v>0.68819332976636305</c:v>
                </c:pt>
                <c:pt idx="38588">
                  <c:v>0.68821116461565901</c:v>
                </c:pt>
                <c:pt idx="38589">
                  <c:v>0.68822899946495397</c:v>
                </c:pt>
                <c:pt idx="38590">
                  <c:v>0.68824683431425004</c:v>
                </c:pt>
                <c:pt idx="38591">
                  <c:v>0.68826466916354501</c:v>
                </c:pt>
                <c:pt idx="38592">
                  <c:v>0.68828250401284097</c:v>
                </c:pt>
                <c:pt idx="38593">
                  <c:v>0.68830033886213604</c:v>
                </c:pt>
                <c:pt idx="38594">
                  <c:v>0.688318173711432</c:v>
                </c:pt>
                <c:pt idx="38595">
                  <c:v>0.68833600856072696</c:v>
                </c:pt>
                <c:pt idx="38596">
                  <c:v>0.68835384341002304</c:v>
                </c:pt>
                <c:pt idx="38597">
                  <c:v>0.688371678259318</c:v>
                </c:pt>
                <c:pt idx="38598">
                  <c:v>0.68838951310861396</c:v>
                </c:pt>
                <c:pt idx="38599">
                  <c:v>0.68840734795790903</c:v>
                </c:pt>
                <c:pt idx="38600">
                  <c:v>0.68842518280720499</c:v>
                </c:pt>
                <c:pt idx="38601">
                  <c:v>0.68844301765649996</c:v>
                </c:pt>
                <c:pt idx="38602">
                  <c:v>0.68846085250579603</c:v>
                </c:pt>
                <c:pt idx="38603">
                  <c:v>0.68847868735509099</c:v>
                </c:pt>
                <c:pt idx="38604">
                  <c:v>0.68849652220438695</c:v>
                </c:pt>
                <c:pt idx="38605">
                  <c:v>0.68851435705368202</c:v>
                </c:pt>
                <c:pt idx="38606">
                  <c:v>0.68853219190297799</c:v>
                </c:pt>
                <c:pt idx="38607">
                  <c:v>0.68855002675227395</c:v>
                </c:pt>
                <c:pt idx="38608">
                  <c:v>0.68856786160156902</c:v>
                </c:pt>
                <c:pt idx="38609">
                  <c:v>0.68858569645086498</c:v>
                </c:pt>
                <c:pt idx="38610">
                  <c:v>0.68860353130016005</c:v>
                </c:pt>
                <c:pt idx="38611">
                  <c:v>0.68862136614945602</c:v>
                </c:pt>
                <c:pt idx="38612">
                  <c:v>0.68863920099875098</c:v>
                </c:pt>
                <c:pt idx="38613">
                  <c:v>0.68865703584804705</c:v>
                </c:pt>
                <c:pt idx="38614">
                  <c:v>0.68867487069734201</c:v>
                </c:pt>
                <c:pt idx="38615">
                  <c:v>0.68869270554663797</c:v>
                </c:pt>
                <c:pt idx="38616">
                  <c:v>0.68871054039593305</c:v>
                </c:pt>
                <c:pt idx="38617">
                  <c:v>0.68872837524522901</c:v>
                </c:pt>
                <c:pt idx="38618">
                  <c:v>0.68874621009452397</c:v>
                </c:pt>
                <c:pt idx="38619">
                  <c:v>0.68876404494382004</c:v>
                </c:pt>
                <c:pt idx="38620">
                  <c:v>0.688781879793115</c:v>
                </c:pt>
                <c:pt idx="38621">
                  <c:v>0.68879971464241097</c:v>
                </c:pt>
                <c:pt idx="38622">
                  <c:v>0.68881754949170604</c:v>
                </c:pt>
                <c:pt idx="38623">
                  <c:v>0.688835384341002</c:v>
                </c:pt>
                <c:pt idx="38624">
                  <c:v>0.68885321919029696</c:v>
                </c:pt>
                <c:pt idx="38625">
                  <c:v>0.68887105403959303</c:v>
                </c:pt>
                <c:pt idx="38626">
                  <c:v>0.688888888888888</c:v>
                </c:pt>
                <c:pt idx="38627">
                  <c:v>0.68890672373818396</c:v>
                </c:pt>
                <c:pt idx="38628">
                  <c:v>0.68892455858747903</c:v>
                </c:pt>
                <c:pt idx="38629">
                  <c:v>0.68894239343677499</c:v>
                </c:pt>
                <c:pt idx="38630">
                  <c:v>0.68896022828607095</c:v>
                </c:pt>
                <c:pt idx="38631">
                  <c:v>0.68897806313536603</c:v>
                </c:pt>
                <c:pt idx="38632">
                  <c:v>0.68899589798466199</c:v>
                </c:pt>
                <c:pt idx="38633">
                  <c:v>0.68901373283395695</c:v>
                </c:pt>
                <c:pt idx="38634">
                  <c:v>0.68903156768325302</c:v>
                </c:pt>
                <c:pt idx="38635">
                  <c:v>0.68904940253254798</c:v>
                </c:pt>
                <c:pt idx="38636">
                  <c:v>0.68906723738184406</c:v>
                </c:pt>
                <c:pt idx="38637">
                  <c:v>0.68908507223113902</c:v>
                </c:pt>
                <c:pt idx="38638">
                  <c:v>0.68910290708043498</c:v>
                </c:pt>
                <c:pt idx="38639">
                  <c:v>0.68912074192973005</c:v>
                </c:pt>
                <c:pt idx="38640">
                  <c:v>0.68913857677902601</c:v>
                </c:pt>
                <c:pt idx="38641">
                  <c:v>0.68915641162832098</c:v>
                </c:pt>
                <c:pt idx="38642">
                  <c:v>0.68917424647761705</c:v>
                </c:pt>
                <c:pt idx="38643">
                  <c:v>0.68919208132691201</c:v>
                </c:pt>
                <c:pt idx="38644">
                  <c:v>0.68920991617620797</c:v>
                </c:pt>
                <c:pt idx="38645">
                  <c:v>0.68922775102550304</c:v>
                </c:pt>
                <c:pt idx="38646">
                  <c:v>0.689245585874799</c:v>
                </c:pt>
                <c:pt idx="38647">
                  <c:v>0.68926342072409397</c:v>
                </c:pt>
                <c:pt idx="38648">
                  <c:v>0.68928125557339004</c:v>
                </c:pt>
                <c:pt idx="38649">
                  <c:v>0.689299090422685</c:v>
                </c:pt>
                <c:pt idx="38650">
                  <c:v>0.68931692527198096</c:v>
                </c:pt>
                <c:pt idx="38651">
                  <c:v>0.68933476012127604</c:v>
                </c:pt>
                <c:pt idx="38652">
                  <c:v>0.689352594970572</c:v>
                </c:pt>
                <c:pt idx="38653">
                  <c:v>0.68937042981986796</c:v>
                </c:pt>
                <c:pt idx="38654">
                  <c:v>0.68938826466916303</c:v>
                </c:pt>
                <c:pt idx="38655">
                  <c:v>0.68940609951845899</c:v>
                </c:pt>
                <c:pt idx="38656">
                  <c:v>0.68942393436775395</c:v>
                </c:pt>
                <c:pt idx="38657">
                  <c:v>0.68944176921705003</c:v>
                </c:pt>
                <c:pt idx="38658">
                  <c:v>0.68945960406634499</c:v>
                </c:pt>
                <c:pt idx="38659">
                  <c:v>0.68947743891564095</c:v>
                </c:pt>
                <c:pt idx="38660">
                  <c:v>0.68949527376493602</c:v>
                </c:pt>
                <c:pt idx="38661">
                  <c:v>0.68951310861423198</c:v>
                </c:pt>
                <c:pt idx="38662">
                  <c:v>0.68953094346352695</c:v>
                </c:pt>
                <c:pt idx="38663">
                  <c:v>0.68954877831282302</c:v>
                </c:pt>
                <c:pt idx="38664">
                  <c:v>0.68956661316211798</c:v>
                </c:pt>
                <c:pt idx="38665">
                  <c:v>0.68958444801141405</c:v>
                </c:pt>
                <c:pt idx="38666">
                  <c:v>0.68960228286070901</c:v>
                </c:pt>
                <c:pt idx="38667">
                  <c:v>0.68962011771000498</c:v>
                </c:pt>
                <c:pt idx="38668">
                  <c:v>0.68963795255930005</c:v>
                </c:pt>
                <c:pt idx="38669">
                  <c:v>0.68965578740859601</c:v>
                </c:pt>
                <c:pt idx="38670">
                  <c:v>0.68967362225789197</c:v>
                </c:pt>
                <c:pt idx="38671">
                  <c:v>0.68969145710718704</c:v>
                </c:pt>
                <c:pt idx="38672">
                  <c:v>0.68970929195648301</c:v>
                </c:pt>
                <c:pt idx="38673">
                  <c:v>0.68972712680577797</c:v>
                </c:pt>
                <c:pt idx="38674">
                  <c:v>0.68974496165507404</c:v>
                </c:pt>
                <c:pt idx="38675">
                  <c:v>0.689762796504369</c:v>
                </c:pt>
                <c:pt idx="38676">
                  <c:v>0.68978063135366496</c:v>
                </c:pt>
                <c:pt idx="38677">
                  <c:v>0.68979846620296004</c:v>
                </c:pt>
                <c:pt idx="38678">
                  <c:v>0.689816301052256</c:v>
                </c:pt>
                <c:pt idx="38679">
                  <c:v>0.68983413590155096</c:v>
                </c:pt>
                <c:pt idx="38680">
                  <c:v>0.68985197075084703</c:v>
                </c:pt>
                <c:pt idx="38681">
                  <c:v>0.68986980560014199</c:v>
                </c:pt>
                <c:pt idx="38682">
                  <c:v>0.68988764044943796</c:v>
                </c:pt>
                <c:pt idx="38683">
                  <c:v>0.68990547529873303</c:v>
                </c:pt>
                <c:pt idx="38684">
                  <c:v>0.68992331014802899</c:v>
                </c:pt>
                <c:pt idx="38685">
                  <c:v>0.68994114499732395</c:v>
                </c:pt>
                <c:pt idx="38686">
                  <c:v>0.68995897984662002</c:v>
                </c:pt>
                <c:pt idx="38687">
                  <c:v>0.68997681469591499</c:v>
                </c:pt>
                <c:pt idx="38688">
                  <c:v>0.68999464954521095</c:v>
                </c:pt>
                <c:pt idx="38689">
                  <c:v>0.69001248439450602</c:v>
                </c:pt>
                <c:pt idx="38690">
                  <c:v>0.69003031924380198</c:v>
                </c:pt>
                <c:pt idx="38691">
                  <c:v>0.69004815409309705</c:v>
                </c:pt>
                <c:pt idx="38692">
                  <c:v>0.69006598894239302</c:v>
                </c:pt>
                <c:pt idx="38693">
                  <c:v>0.69008382379168898</c:v>
                </c:pt>
                <c:pt idx="38694">
                  <c:v>0.69010165864098405</c:v>
                </c:pt>
                <c:pt idx="38695">
                  <c:v>0.69011949349028001</c:v>
                </c:pt>
                <c:pt idx="38696">
                  <c:v>0.69013732833957497</c:v>
                </c:pt>
                <c:pt idx="38697">
                  <c:v>0.69015516318887105</c:v>
                </c:pt>
                <c:pt idx="38698">
                  <c:v>0.69017299803816601</c:v>
                </c:pt>
                <c:pt idx="38699">
                  <c:v>0.69019083288746197</c:v>
                </c:pt>
                <c:pt idx="38700">
                  <c:v>0.69020866773675704</c:v>
                </c:pt>
                <c:pt idx="38701">
                  <c:v>0.690226502586053</c:v>
                </c:pt>
                <c:pt idx="38702">
                  <c:v>0.69024433743534797</c:v>
                </c:pt>
                <c:pt idx="38703">
                  <c:v>0.69026217228464404</c:v>
                </c:pt>
                <c:pt idx="38704">
                  <c:v>0.690280007133939</c:v>
                </c:pt>
                <c:pt idx="38705">
                  <c:v>0.69029784198323496</c:v>
                </c:pt>
                <c:pt idx="38706">
                  <c:v>0.69031567683253003</c:v>
                </c:pt>
                <c:pt idx="38707">
                  <c:v>0.690333511681826</c:v>
                </c:pt>
                <c:pt idx="38708">
                  <c:v>0.69035134653112096</c:v>
                </c:pt>
                <c:pt idx="38709">
                  <c:v>0.69036918138041703</c:v>
                </c:pt>
                <c:pt idx="38710">
                  <c:v>0.69038701622971199</c:v>
                </c:pt>
                <c:pt idx="38711">
                  <c:v>0.69040485107900795</c:v>
                </c:pt>
                <c:pt idx="38712">
                  <c:v>0.69042268592830303</c:v>
                </c:pt>
                <c:pt idx="38713">
                  <c:v>0.69044052077759899</c:v>
                </c:pt>
                <c:pt idx="38714">
                  <c:v>0.69045835562689495</c:v>
                </c:pt>
                <c:pt idx="38715">
                  <c:v>0.69047619047619002</c:v>
                </c:pt>
                <c:pt idx="38716">
                  <c:v>0.69049402532548598</c:v>
                </c:pt>
                <c:pt idx="38717">
                  <c:v>0.69051186017478094</c:v>
                </c:pt>
                <c:pt idx="38718">
                  <c:v>0.69052969502407702</c:v>
                </c:pt>
                <c:pt idx="38719">
                  <c:v>0.69054752987337198</c:v>
                </c:pt>
                <c:pt idx="38720">
                  <c:v>0.69056536472266805</c:v>
                </c:pt>
                <c:pt idx="38721">
                  <c:v>0.69058319957196301</c:v>
                </c:pt>
                <c:pt idx="38722">
                  <c:v>0.69060103442125897</c:v>
                </c:pt>
                <c:pt idx="38723">
                  <c:v>0.69061886927055405</c:v>
                </c:pt>
                <c:pt idx="38724">
                  <c:v>0.69063670411985001</c:v>
                </c:pt>
                <c:pt idx="38725">
                  <c:v>0.69065453896914497</c:v>
                </c:pt>
                <c:pt idx="38726">
                  <c:v>0.69067237381844104</c:v>
                </c:pt>
                <c:pt idx="38727">
                  <c:v>0.69069020866773601</c:v>
                </c:pt>
                <c:pt idx="38728">
                  <c:v>0.69070804351703197</c:v>
                </c:pt>
                <c:pt idx="38729">
                  <c:v>0.69072587836632704</c:v>
                </c:pt>
                <c:pt idx="38730">
                  <c:v>0.690743713215623</c:v>
                </c:pt>
                <c:pt idx="38731">
                  <c:v>0.69076154806491796</c:v>
                </c:pt>
                <c:pt idx="38732">
                  <c:v>0.69077938291421404</c:v>
                </c:pt>
                <c:pt idx="38733">
                  <c:v>0.690797217763509</c:v>
                </c:pt>
                <c:pt idx="38734">
                  <c:v>0.69081505261280496</c:v>
                </c:pt>
                <c:pt idx="38735">
                  <c:v>0.69083288746210003</c:v>
                </c:pt>
                <c:pt idx="38736">
                  <c:v>0.69085072231139599</c:v>
                </c:pt>
                <c:pt idx="38737">
                  <c:v>0.69086855716069195</c:v>
                </c:pt>
                <c:pt idx="38738">
                  <c:v>0.69088639200998703</c:v>
                </c:pt>
                <c:pt idx="38739">
                  <c:v>0.69090422685928299</c:v>
                </c:pt>
                <c:pt idx="38740">
                  <c:v>0.69092206170857795</c:v>
                </c:pt>
                <c:pt idx="38741">
                  <c:v>0.69093989655787402</c:v>
                </c:pt>
                <c:pt idx="38742">
                  <c:v>0.69095773140716898</c:v>
                </c:pt>
                <c:pt idx="38743">
                  <c:v>0.69097556625646495</c:v>
                </c:pt>
                <c:pt idx="38744">
                  <c:v>0.69099340110576002</c:v>
                </c:pt>
                <c:pt idx="38745">
                  <c:v>0.69101123595505598</c:v>
                </c:pt>
                <c:pt idx="38746">
                  <c:v>0.69102907080435105</c:v>
                </c:pt>
                <c:pt idx="38747">
                  <c:v>0.69104690565364701</c:v>
                </c:pt>
                <c:pt idx="38748">
                  <c:v>0.69106474050294198</c:v>
                </c:pt>
                <c:pt idx="38749">
                  <c:v>0.69108257535223805</c:v>
                </c:pt>
                <c:pt idx="38750">
                  <c:v>0.69110041020153301</c:v>
                </c:pt>
                <c:pt idx="38751">
                  <c:v>0.69111824505082897</c:v>
                </c:pt>
                <c:pt idx="38752">
                  <c:v>0.69113607990012405</c:v>
                </c:pt>
                <c:pt idx="38753">
                  <c:v>0.69115391474942001</c:v>
                </c:pt>
                <c:pt idx="38754">
                  <c:v>0.69117174959871497</c:v>
                </c:pt>
                <c:pt idx="38755">
                  <c:v>0.69118958444801104</c:v>
                </c:pt>
                <c:pt idx="38756">
                  <c:v>0.691207419297306</c:v>
                </c:pt>
                <c:pt idx="38757">
                  <c:v>0.69122525414660196</c:v>
                </c:pt>
                <c:pt idx="38758">
                  <c:v>0.69124308899589804</c:v>
                </c:pt>
                <c:pt idx="38759">
                  <c:v>0.691260923845193</c:v>
                </c:pt>
                <c:pt idx="38760">
                  <c:v>0.69127875869448896</c:v>
                </c:pt>
                <c:pt idx="38761">
                  <c:v>0.69129659354378403</c:v>
                </c:pt>
                <c:pt idx="38762">
                  <c:v>0.69131442839307999</c:v>
                </c:pt>
                <c:pt idx="38763">
                  <c:v>0.69133226324237496</c:v>
                </c:pt>
                <c:pt idx="38764">
                  <c:v>0.69135009809167103</c:v>
                </c:pt>
                <c:pt idx="38765">
                  <c:v>0.69136793294096599</c:v>
                </c:pt>
                <c:pt idx="38766">
                  <c:v>0.69138576779026195</c:v>
                </c:pt>
                <c:pt idx="38767">
                  <c:v>0.69140360263955702</c:v>
                </c:pt>
                <c:pt idx="38768">
                  <c:v>0.69142143748885299</c:v>
                </c:pt>
                <c:pt idx="38769">
                  <c:v>0.69143927233814795</c:v>
                </c:pt>
                <c:pt idx="38770">
                  <c:v>0.69145710718744402</c:v>
                </c:pt>
                <c:pt idx="38771">
                  <c:v>0.69147494203673898</c:v>
                </c:pt>
                <c:pt idx="38772">
                  <c:v>0.69149277688603505</c:v>
                </c:pt>
                <c:pt idx="38773">
                  <c:v>0.69151061173533002</c:v>
                </c:pt>
                <c:pt idx="38774">
                  <c:v>0.69152844658462598</c:v>
                </c:pt>
                <c:pt idx="38775">
                  <c:v>0.69154628143392105</c:v>
                </c:pt>
                <c:pt idx="38776">
                  <c:v>0.69156411628321701</c:v>
                </c:pt>
                <c:pt idx="38777">
                  <c:v>0.69158195113251297</c:v>
                </c:pt>
                <c:pt idx="38778">
                  <c:v>0.69159978598180805</c:v>
                </c:pt>
                <c:pt idx="38779">
                  <c:v>0.69161762083110401</c:v>
                </c:pt>
                <c:pt idx="38780">
                  <c:v>0.69163545568039897</c:v>
                </c:pt>
                <c:pt idx="38781">
                  <c:v>0.69165329052969504</c:v>
                </c:pt>
                <c:pt idx="38782">
                  <c:v>0.69167112537899</c:v>
                </c:pt>
                <c:pt idx="38783">
                  <c:v>0.69168896022828597</c:v>
                </c:pt>
                <c:pt idx="38784">
                  <c:v>0.69170679507758104</c:v>
                </c:pt>
                <c:pt idx="38785">
                  <c:v>0.691724629926877</c:v>
                </c:pt>
                <c:pt idx="38786">
                  <c:v>0.69174246477617196</c:v>
                </c:pt>
                <c:pt idx="38787">
                  <c:v>0.69176029962546803</c:v>
                </c:pt>
                <c:pt idx="38788">
                  <c:v>0.691778134474763</c:v>
                </c:pt>
                <c:pt idx="38789">
                  <c:v>0.69179596932405896</c:v>
                </c:pt>
                <c:pt idx="38790">
                  <c:v>0.69181380417335403</c:v>
                </c:pt>
                <c:pt idx="38791">
                  <c:v>0.69183163902264999</c:v>
                </c:pt>
                <c:pt idx="38792">
                  <c:v>0.69184947387194495</c:v>
                </c:pt>
                <c:pt idx="38793">
                  <c:v>0.69186730872124103</c:v>
                </c:pt>
                <c:pt idx="38794">
                  <c:v>0.69188514357053599</c:v>
                </c:pt>
                <c:pt idx="38795">
                  <c:v>0.69190297841983195</c:v>
                </c:pt>
                <c:pt idx="38796">
                  <c:v>0.69192081326912702</c:v>
                </c:pt>
                <c:pt idx="38797">
                  <c:v>0.69193864811842298</c:v>
                </c:pt>
                <c:pt idx="38798">
                  <c:v>0.69195648296771795</c:v>
                </c:pt>
                <c:pt idx="38799">
                  <c:v>0.69197431781701402</c:v>
                </c:pt>
                <c:pt idx="38800">
                  <c:v>0.69199215266630998</c:v>
                </c:pt>
                <c:pt idx="38801">
                  <c:v>0.69200998751560505</c:v>
                </c:pt>
                <c:pt idx="38802">
                  <c:v>0.69202782236490101</c:v>
                </c:pt>
                <c:pt idx="38803">
                  <c:v>0.69204565721419598</c:v>
                </c:pt>
                <c:pt idx="38804">
                  <c:v>0.69206349206349205</c:v>
                </c:pt>
                <c:pt idx="38805">
                  <c:v>0.69208132691278701</c:v>
                </c:pt>
                <c:pt idx="38806">
                  <c:v>0.69209916176208297</c:v>
                </c:pt>
                <c:pt idx="38807">
                  <c:v>0.69211699661137804</c:v>
                </c:pt>
                <c:pt idx="38808">
                  <c:v>0.692134831460674</c:v>
                </c:pt>
                <c:pt idx="38809">
                  <c:v>0.69215266630996897</c:v>
                </c:pt>
                <c:pt idx="38810">
                  <c:v>0.69217050115926504</c:v>
                </c:pt>
                <c:pt idx="38811">
                  <c:v>0.69218833600856</c:v>
                </c:pt>
                <c:pt idx="38812">
                  <c:v>0.69220617085785596</c:v>
                </c:pt>
                <c:pt idx="38813">
                  <c:v>0.69222400570715104</c:v>
                </c:pt>
                <c:pt idx="38814">
                  <c:v>0.692241840556447</c:v>
                </c:pt>
                <c:pt idx="38815">
                  <c:v>0.69225967540574196</c:v>
                </c:pt>
                <c:pt idx="38816">
                  <c:v>0.69227751025503803</c:v>
                </c:pt>
                <c:pt idx="38817">
                  <c:v>0.69229534510433299</c:v>
                </c:pt>
                <c:pt idx="38818">
                  <c:v>0.69231317995362895</c:v>
                </c:pt>
                <c:pt idx="38819">
                  <c:v>0.69233101480292403</c:v>
                </c:pt>
                <c:pt idx="38820">
                  <c:v>0.69234884965221999</c:v>
                </c:pt>
                <c:pt idx="38821">
                  <c:v>0.69236668450151595</c:v>
                </c:pt>
                <c:pt idx="38822">
                  <c:v>0.69238451935081102</c:v>
                </c:pt>
                <c:pt idx="38823">
                  <c:v>0.69240235420010698</c:v>
                </c:pt>
                <c:pt idx="38824">
                  <c:v>0.69242018904940195</c:v>
                </c:pt>
                <c:pt idx="38825">
                  <c:v>0.69243802389869802</c:v>
                </c:pt>
                <c:pt idx="38826">
                  <c:v>0.69245585874799298</c:v>
                </c:pt>
                <c:pt idx="38827">
                  <c:v>0.69247369359728905</c:v>
                </c:pt>
                <c:pt idx="38828">
                  <c:v>0.69249152844658401</c:v>
                </c:pt>
                <c:pt idx="38829">
                  <c:v>0.69250936329587998</c:v>
                </c:pt>
                <c:pt idx="38830">
                  <c:v>0.69252719814517505</c:v>
                </c:pt>
                <c:pt idx="38831">
                  <c:v>0.69254503299447101</c:v>
                </c:pt>
                <c:pt idx="38832">
                  <c:v>0.69256286784376597</c:v>
                </c:pt>
                <c:pt idx="38833">
                  <c:v>0.69258070269306204</c:v>
                </c:pt>
                <c:pt idx="38834">
                  <c:v>0.69259853754235701</c:v>
                </c:pt>
                <c:pt idx="38835">
                  <c:v>0.69261637239165297</c:v>
                </c:pt>
                <c:pt idx="38836">
                  <c:v>0.69263420724094804</c:v>
                </c:pt>
                <c:pt idx="38837">
                  <c:v>0.692652042090244</c:v>
                </c:pt>
                <c:pt idx="38838">
                  <c:v>0.69266987693953896</c:v>
                </c:pt>
                <c:pt idx="38839">
                  <c:v>0.69268771178883504</c:v>
                </c:pt>
                <c:pt idx="38840">
                  <c:v>0.69270554663813</c:v>
                </c:pt>
                <c:pt idx="38841">
                  <c:v>0.69272338148742596</c:v>
                </c:pt>
                <c:pt idx="38842">
                  <c:v>0.69274121633672103</c:v>
                </c:pt>
                <c:pt idx="38843">
                  <c:v>0.69275905118601699</c:v>
                </c:pt>
                <c:pt idx="38844">
                  <c:v>0.69277688603531296</c:v>
                </c:pt>
                <c:pt idx="38845">
                  <c:v>0.69279472088460803</c:v>
                </c:pt>
                <c:pt idx="38846">
                  <c:v>0.69281255573390399</c:v>
                </c:pt>
                <c:pt idx="38847">
                  <c:v>0.69283039058319895</c:v>
                </c:pt>
                <c:pt idx="38848">
                  <c:v>0.69284822543249502</c:v>
                </c:pt>
                <c:pt idx="38849">
                  <c:v>0.69286606028178999</c:v>
                </c:pt>
                <c:pt idx="38850">
                  <c:v>0.69288389513108595</c:v>
                </c:pt>
                <c:pt idx="38851">
                  <c:v>0.69290172998038102</c:v>
                </c:pt>
                <c:pt idx="38852">
                  <c:v>0.69291956482967698</c:v>
                </c:pt>
                <c:pt idx="38853">
                  <c:v>0.69293739967897205</c:v>
                </c:pt>
                <c:pt idx="38854">
                  <c:v>0.69295523452826802</c:v>
                </c:pt>
                <c:pt idx="38855">
                  <c:v>0.69297306937756298</c:v>
                </c:pt>
                <c:pt idx="38856">
                  <c:v>0.69299090422685905</c:v>
                </c:pt>
                <c:pt idx="38857">
                  <c:v>0.69300873907615401</c:v>
                </c:pt>
                <c:pt idx="38858">
                  <c:v>0.69302657392544997</c:v>
                </c:pt>
                <c:pt idx="38859">
                  <c:v>0.69304440877474505</c:v>
                </c:pt>
                <c:pt idx="38860">
                  <c:v>0.69306224362404101</c:v>
                </c:pt>
                <c:pt idx="38861">
                  <c:v>0.69308007847333597</c:v>
                </c:pt>
                <c:pt idx="38862">
                  <c:v>0.69309791332263204</c:v>
                </c:pt>
                <c:pt idx="38863">
                  <c:v>0.693115748171927</c:v>
                </c:pt>
                <c:pt idx="38864">
                  <c:v>0.69313358302122297</c:v>
                </c:pt>
                <c:pt idx="38865">
                  <c:v>0.69315141787051904</c:v>
                </c:pt>
                <c:pt idx="38866">
                  <c:v>0.693169252719814</c:v>
                </c:pt>
                <c:pt idx="38867">
                  <c:v>0.69318708756910996</c:v>
                </c:pt>
                <c:pt idx="38868">
                  <c:v>0.69320492241840503</c:v>
                </c:pt>
                <c:pt idx="38869">
                  <c:v>0.693222757267701</c:v>
                </c:pt>
                <c:pt idx="38870">
                  <c:v>0.69324059211699596</c:v>
                </c:pt>
                <c:pt idx="38871">
                  <c:v>0.69325842696629203</c:v>
                </c:pt>
                <c:pt idx="38872">
                  <c:v>0.69327626181558699</c:v>
                </c:pt>
                <c:pt idx="38873">
                  <c:v>0.69329409666488295</c:v>
                </c:pt>
                <c:pt idx="38874">
                  <c:v>0.69331193151417803</c:v>
                </c:pt>
                <c:pt idx="38875">
                  <c:v>0.69332976636347399</c:v>
                </c:pt>
                <c:pt idx="38876">
                  <c:v>0.69334760121276895</c:v>
                </c:pt>
                <c:pt idx="38877">
                  <c:v>0.69336543606206502</c:v>
                </c:pt>
                <c:pt idx="38878">
                  <c:v>0.69338327091135998</c:v>
                </c:pt>
                <c:pt idx="38879">
                  <c:v>0.69340110576065594</c:v>
                </c:pt>
                <c:pt idx="38880">
                  <c:v>0.69341894060995102</c:v>
                </c:pt>
                <c:pt idx="38881">
                  <c:v>0.69343677545924698</c:v>
                </c:pt>
                <c:pt idx="38882">
                  <c:v>0.69345461030854205</c:v>
                </c:pt>
                <c:pt idx="38883">
                  <c:v>0.69347244515783801</c:v>
                </c:pt>
                <c:pt idx="38884">
                  <c:v>0.69349028000713397</c:v>
                </c:pt>
                <c:pt idx="38885">
                  <c:v>0.69350811485642905</c:v>
                </c:pt>
                <c:pt idx="38886">
                  <c:v>0.69352594970572501</c:v>
                </c:pt>
                <c:pt idx="38887">
                  <c:v>0.69354378455501997</c:v>
                </c:pt>
                <c:pt idx="38888">
                  <c:v>0.69356161940431604</c:v>
                </c:pt>
                <c:pt idx="38889">
                  <c:v>0.69357945425361101</c:v>
                </c:pt>
                <c:pt idx="38890">
                  <c:v>0.69359728910290697</c:v>
                </c:pt>
                <c:pt idx="38891">
                  <c:v>0.69361512395220204</c:v>
                </c:pt>
                <c:pt idx="38892">
                  <c:v>0.693632958801498</c:v>
                </c:pt>
                <c:pt idx="38893">
                  <c:v>0.69365079365079296</c:v>
                </c:pt>
                <c:pt idx="38894">
                  <c:v>0.69366862850008904</c:v>
                </c:pt>
                <c:pt idx="38895">
                  <c:v>0.693686463349384</c:v>
                </c:pt>
                <c:pt idx="38896">
                  <c:v>0.69370429819867996</c:v>
                </c:pt>
                <c:pt idx="38897">
                  <c:v>0.69372213304797503</c:v>
                </c:pt>
                <c:pt idx="38898">
                  <c:v>0.69373996789727099</c:v>
                </c:pt>
                <c:pt idx="38899">
                  <c:v>0.69375780274656595</c:v>
                </c:pt>
                <c:pt idx="38900">
                  <c:v>0.69377563759586203</c:v>
                </c:pt>
                <c:pt idx="38901">
                  <c:v>0.69379347244515699</c:v>
                </c:pt>
                <c:pt idx="38902">
                  <c:v>0.69381130729445295</c:v>
                </c:pt>
                <c:pt idx="38903">
                  <c:v>0.69382914214374802</c:v>
                </c:pt>
                <c:pt idx="38904">
                  <c:v>0.69384697699304398</c:v>
                </c:pt>
                <c:pt idx="38905">
                  <c:v>0.69386481184233995</c:v>
                </c:pt>
                <c:pt idx="38906">
                  <c:v>0.69388264669163502</c:v>
                </c:pt>
                <c:pt idx="38907">
                  <c:v>0.69390048154093098</c:v>
                </c:pt>
                <c:pt idx="38908">
                  <c:v>0.69391831639022605</c:v>
                </c:pt>
                <c:pt idx="38909">
                  <c:v>0.69393615123952201</c:v>
                </c:pt>
                <c:pt idx="38910">
                  <c:v>0.69395398608881698</c:v>
                </c:pt>
                <c:pt idx="38911">
                  <c:v>0.69397182093811305</c:v>
                </c:pt>
                <c:pt idx="38912">
                  <c:v>0.69398965578740801</c:v>
                </c:pt>
                <c:pt idx="38913">
                  <c:v>0.69400749063670397</c:v>
                </c:pt>
                <c:pt idx="38914">
                  <c:v>0.69402532548599905</c:v>
                </c:pt>
                <c:pt idx="38915">
                  <c:v>0.69404316033529501</c:v>
                </c:pt>
                <c:pt idx="38916">
                  <c:v>0.69406099518458997</c:v>
                </c:pt>
                <c:pt idx="38917">
                  <c:v>0.69407883003388604</c:v>
                </c:pt>
                <c:pt idx="38918">
                  <c:v>0.694096664883181</c:v>
                </c:pt>
                <c:pt idx="38919">
                  <c:v>0.69411449973247696</c:v>
                </c:pt>
                <c:pt idx="38920">
                  <c:v>0.69413233458177204</c:v>
                </c:pt>
                <c:pt idx="38921">
                  <c:v>0.694150169431068</c:v>
                </c:pt>
                <c:pt idx="38922">
                  <c:v>0.69416800428036296</c:v>
                </c:pt>
                <c:pt idx="38923">
                  <c:v>0.69418583912965903</c:v>
                </c:pt>
                <c:pt idx="38924">
                  <c:v>0.69420367397895399</c:v>
                </c:pt>
                <c:pt idx="38925">
                  <c:v>0.69422150882824996</c:v>
                </c:pt>
                <c:pt idx="38926">
                  <c:v>0.69423934367754503</c:v>
                </c:pt>
                <c:pt idx="38927">
                  <c:v>0.69425717852684099</c:v>
                </c:pt>
                <c:pt idx="38928">
                  <c:v>0.69427501337613695</c:v>
                </c:pt>
                <c:pt idx="38929">
                  <c:v>0.69429284822543202</c:v>
                </c:pt>
                <c:pt idx="38930">
                  <c:v>0.69431068307472799</c:v>
                </c:pt>
                <c:pt idx="38931">
                  <c:v>0.69432851792402295</c:v>
                </c:pt>
                <c:pt idx="38932">
                  <c:v>0.69434635277331902</c:v>
                </c:pt>
                <c:pt idx="38933">
                  <c:v>0.69436418762261398</c:v>
                </c:pt>
                <c:pt idx="38934">
                  <c:v>0.69438202247191005</c:v>
                </c:pt>
                <c:pt idx="38935">
                  <c:v>0.69439985732120502</c:v>
                </c:pt>
                <c:pt idx="38936">
                  <c:v>0.69441769217050098</c:v>
                </c:pt>
                <c:pt idx="38937">
                  <c:v>0.69443552701979605</c:v>
                </c:pt>
                <c:pt idx="38938">
                  <c:v>0.69445336186909201</c:v>
                </c:pt>
                <c:pt idx="38939">
                  <c:v>0.69447119671838697</c:v>
                </c:pt>
                <c:pt idx="38940">
                  <c:v>0.69448903156768305</c:v>
                </c:pt>
                <c:pt idx="38941">
                  <c:v>0.69450686641697801</c:v>
                </c:pt>
                <c:pt idx="38942">
                  <c:v>0.69452470126627397</c:v>
                </c:pt>
                <c:pt idx="38943">
                  <c:v>0.69454253611556904</c:v>
                </c:pt>
                <c:pt idx="38944">
                  <c:v>0.694560370964865</c:v>
                </c:pt>
                <c:pt idx="38945">
                  <c:v>0.69457820581415997</c:v>
                </c:pt>
                <c:pt idx="38946">
                  <c:v>0.69459604066345604</c:v>
                </c:pt>
                <c:pt idx="38947">
                  <c:v>0.694613875512751</c:v>
                </c:pt>
                <c:pt idx="38948">
                  <c:v>0.69463171036204696</c:v>
                </c:pt>
                <c:pt idx="38949">
                  <c:v>0.69464954521134203</c:v>
                </c:pt>
                <c:pt idx="38950">
                  <c:v>0.694667380060638</c:v>
                </c:pt>
                <c:pt idx="38951">
                  <c:v>0.69468521490993396</c:v>
                </c:pt>
                <c:pt idx="38952">
                  <c:v>0.69470304975922903</c:v>
                </c:pt>
                <c:pt idx="38953">
                  <c:v>0.69472088460852499</c:v>
                </c:pt>
                <c:pt idx="38954">
                  <c:v>0.69473871945781995</c:v>
                </c:pt>
                <c:pt idx="38955">
                  <c:v>0.69475655430711603</c:v>
                </c:pt>
                <c:pt idx="38956">
                  <c:v>0.69477438915641099</c:v>
                </c:pt>
                <c:pt idx="38957">
                  <c:v>0.69479222400570695</c:v>
                </c:pt>
                <c:pt idx="38958">
                  <c:v>0.69481005885500202</c:v>
                </c:pt>
                <c:pt idx="38959">
                  <c:v>0.69482789370429798</c:v>
                </c:pt>
                <c:pt idx="38960">
                  <c:v>0.69484572855359295</c:v>
                </c:pt>
                <c:pt idx="38961">
                  <c:v>0.69486356340288902</c:v>
                </c:pt>
                <c:pt idx="38962">
                  <c:v>0.69488139825218398</c:v>
                </c:pt>
                <c:pt idx="38963">
                  <c:v>0.69489923310148005</c:v>
                </c:pt>
                <c:pt idx="38964">
                  <c:v>0.69491706795077501</c:v>
                </c:pt>
                <c:pt idx="38965">
                  <c:v>0.69493490280007097</c:v>
                </c:pt>
                <c:pt idx="38966">
                  <c:v>0.69495273764936605</c:v>
                </c:pt>
                <c:pt idx="38967">
                  <c:v>0.69497057249866201</c:v>
                </c:pt>
                <c:pt idx="38968">
                  <c:v>0.69498840734795697</c:v>
                </c:pt>
                <c:pt idx="38969">
                  <c:v>0.69500624219725304</c:v>
                </c:pt>
                <c:pt idx="38970">
                  <c:v>0.695024077046549</c:v>
                </c:pt>
                <c:pt idx="38971">
                  <c:v>0.69504191189584397</c:v>
                </c:pt>
                <c:pt idx="38972">
                  <c:v>0.69505974674514004</c:v>
                </c:pt>
                <c:pt idx="38973">
                  <c:v>0.695077581594435</c:v>
                </c:pt>
                <c:pt idx="38974">
                  <c:v>0.69509541644373096</c:v>
                </c:pt>
                <c:pt idx="38975">
                  <c:v>0.69511325129302604</c:v>
                </c:pt>
                <c:pt idx="38976">
                  <c:v>0.695131086142322</c:v>
                </c:pt>
                <c:pt idx="38977">
                  <c:v>0.69514892099161696</c:v>
                </c:pt>
                <c:pt idx="38978">
                  <c:v>0.69516675584091303</c:v>
                </c:pt>
                <c:pt idx="38979">
                  <c:v>0.69518459069020799</c:v>
                </c:pt>
                <c:pt idx="38980">
                  <c:v>0.69520242553950395</c:v>
                </c:pt>
                <c:pt idx="38981">
                  <c:v>0.69522026038879903</c:v>
                </c:pt>
                <c:pt idx="38982">
                  <c:v>0.69523809523809499</c:v>
                </c:pt>
                <c:pt idx="38983">
                  <c:v>0.69525593008738995</c:v>
                </c:pt>
                <c:pt idx="38984">
                  <c:v>0.69527376493668602</c:v>
                </c:pt>
                <c:pt idx="38985">
                  <c:v>0.69529159978598098</c:v>
                </c:pt>
                <c:pt idx="38986">
                  <c:v>0.69530943463527695</c:v>
                </c:pt>
                <c:pt idx="38987">
                  <c:v>0.69532726948457202</c:v>
                </c:pt>
                <c:pt idx="38988">
                  <c:v>0.69534510433386798</c:v>
                </c:pt>
                <c:pt idx="38989">
                  <c:v>0.69536293918316305</c:v>
                </c:pt>
                <c:pt idx="38990">
                  <c:v>0.69538077403245901</c:v>
                </c:pt>
                <c:pt idx="38991">
                  <c:v>0.69539860888175498</c:v>
                </c:pt>
                <c:pt idx="38992">
                  <c:v>0.69541644373105005</c:v>
                </c:pt>
                <c:pt idx="38993">
                  <c:v>0.69543427858034601</c:v>
                </c:pt>
                <c:pt idx="38994">
                  <c:v>0.69545211342964097</c:v>
                </c:pt>
                <c:pt idx="38995">
                  <c:v>0.69546994827893704</c:v>
                </c:pt>
                <c:pt idx="38996">
                  <c:v>0.69548778312823201</c:v>
                </c:pt>
                <c:pt idx="38997">
                  <c:v>0.69550561797752797</c:v>
                </c:pt>
                <c:pt idx="38998">
                  <c:v>0.69552345282682304</c:v>
                </c:pt>
                <c:pt idx="38999">
                  <c:v>0.695541287676119</c:v>
                </c:pt>
                <c:pt idx="39000">
                  <c:v>0.69555912252541396</c:v>
                </c:pt>
                <c:pt idx="39001">
                  <c:v>0.69557695737471004</c:v>
                </c:pt>
                <c:pt idx="39002">
                  <c:v>0.695594792224005</c:v>
                </c:pt>
                <c:pt idx="39003">
                  <c:v>0.69561262707330096</c:v>
                </c:pt>
                <c:pt idx="39004">
                  <c:v>0.69563046192259603</c:v>
                </c:pt>
                <c:pt idx="39005">
                  <c:v>0.69564829677189199</c:v>
                </c:pt>
                <c:pt idx="39006">
                  <c:v>0.69566613162118696</c:v>
                </c:pt>
                <c:pt idx="39007">
                  <c:v>0.69568396647048303</c:v>
                </c:pt>
                <c:pt idx="39008">
                  <c:v>0.69570180131977799</c:v>
                </c:pt>
                <c:pt idx="39009">
                  <c:v>0.69571963616907395</c:v>
                </c:pt>
                <c:pt idx="39010">
                  <c:v>0.69573747101836902</c:v>
                </c:pt>
                <c:pt idx="39011">
                  <c:v>0.69575530586766499</c:v>
                </c:pt>
                <c:pt idx="39012">
                  <c:v>0.69577314071696095</c:v>
                </c:pt>
                <c:pt idx="39013">
                  <c:v>0.69579097556625602</c:v>
                </c:pt>
                <c:pt idx="39014">
                  <c:v>0.69580881041555198</c:v>
                </c:pt>
                <c:pt idx="39015">
                  <c:v>0.69582664526484705</c:v>
                </c:pt>
                <c:pt idx="39016">
                  <c:v>0.69584448011414302</c:v>
                </c:pt>
                <c:pt idx="39017">
                  <c:v>0.69586231496343798</c:v>
                </c:pt>
                <c:pt idx="39018">
                  <c:v>0.69588014981273405</c:v>
                </c:pt>
                <c:pt idx="39019">
                  <c:v>0.69589798466202901</c:v>
                </c:pt>
                <c:pt idx="39020">
                  <c:v>0.69591581951132497</c:v>
                </c:pt>
                <c:pt idx="39021">
                  <c:v>0.69593365436062005</c:v>
                </c:pt>
                <c:pt idx="39022">
                  <c:v>0.69595148920991601</c:v>
                </c:pt>
                <c:pt idx="39023">
                  <c:v>0.69596932405921097</c:v>
                </c:pt>
                <c:pt idx="39024">
                  <c:v>0.69598715890850704</c:v>
                </c:pt>
                <c:pt idx="39025">
                  <c:v>0.696004993757802</c:v>
                </c:pt>
                <c:pt idx="39026">
                  <c:v>0.69602282860709797</c:v>
                </c:pt>
                <c:pt idx="39027">
                  <c:v>0.69604066345639304</c:v>
                </c:pt>
                <c:pt idx="39028">
                  <c:v>0.696058498305689</c:v>
                </c:pt>
                <c:pt idx="39029">
                  <c:v>0.69607633315498396</c:v>
                </c:pt>
                <c:pt idx="39030">
                  <c:v>0.69609416800428003</c:v>
                </c:pt>
                <c:pt idx="39031">
                  <c:v>0.696112002853575</c:v>
                </c:pt>
                <c:pt idx="39032">
                  <c:v>0.69612983770287096</c:v>
                </c:pt>
                <c:pt idx="39033">
                  <c:v>0.69614767255216603</c:v>
                </c:pt>
                <c:pt idx="39034">
                  <c:v>0.69616550740146199</c:v>
                </c:pt>
                <c:pt idx="39035">
                  <c:v>0.69618334225075795</c:v>
                </c:pt>
                <c:pt idx="39036">
                  <c:v>0.69620117710005303</c:v>
                </c:pt>
                <c:pt idx="39037">
                  <c:v>0.69621901194934899</c:v>
                </c:pt>
                <c:pt idx="39038">
                  <c:v>0.69623684679864395</c:v>
                </c:pt>
                <c:pt idx="39039">
                  <c:v>0.69625468164794002</c:v>
                </c:pt>
                <c:pt idx="39040">
                  <c:v>0.69627251649723498</c:v>
                </c:pt>
                <c:pt idx="39041">
                  <c:v>0.69629035134653094</c:v>
                </c:pt>
                <c:pt idx="39042">
                  <c:v>0.69630818619582602</c:v>
                </c:pt>
                <c:pt idx="39043">
                  <c:v>0.69632602104512198</c:v>
                </c:pt>
                <c:pt idx="39044">
                  <c:v>0.69634385589441705</c:v>
                </c:pt>
                <c:pt idx="39045">
                  <c:v>0.69636169074371301</c:v>
                </c:pt>
                <c:pt idx="39046">
                  <c:v>0.69637952559300798</c:v>
                </c:pt>
                <c:pt idx="39047">
                  <c:v>0.69639736044230405</c:v>
                </c:pt>
                <c:pt idx="39048">
                  <c:v>0.69641519529159901</c:v>
                </c:pt>
                <c:pt idx="39049">
                  <c:v>0.69643303014089497</c:v>
                </c:pt>
                <c:pt idx="39050">
                  <c:v>0.69645086499019004</c:v>
                </c:pt>
                <c:pt idx="39051">
                  <c:v>0.69646869983948601</c:v>
                </c:pt>
                <c:pt idx="39052">
                  <c:v>0.69648653468878097</c:v>
                </c:pt>
                <c:pt idx="39053">
                  <c:v>0.69650436953807704</c:v>
                </c:pt>
                <c:pt idx="39054">
                  <c:v>0.696522204387372</c:v>
                </c:pt>
                <c:pt idx="39055">
                  <c:v>0.69654003923666796</c:v>
                </c:pt>
                <c:pt idx="39056">
                  <c:v>0.69655787408596304</c:v>
                </c:pt>
                <c:pt idx="39057">
                  <c:v>0.696575708935259</c:v>
                </c:pt>
                <c:pt idx="39058">
                  <c:v>0.69659354378455496</c:v>
                </c:pt>
                <c:pt idx="39059">
                  <c:v>0.69661137863385003</c:v>
                </c:pt>
                <c:pt idx="39060">
                  <c:v>0.69662921348314599</c:v>
                </c:pt>
                <c:pt idx="39061">
                  <c:v>0.69664704833244095</c:v>
                </c:pt>
                <c:pt idx="39062">
                  <c:v>0.69666488318173703</c:v>
                </c:pt>
                <c:pt idx="39063">
                  <c:v>0.69668271803103199</c:v>
                </c:pt>
                <c:pt idx="39064">
                  <c:v>0.69670055288032795</c:v>
                </c:pt>
                <c:pt idx="39065">
                  <c:v>0.69671838772962302</c:v>
                </c:pt>
                <c:pt idx="39066">
                  <c:v>0.69673622257891898</c:v>
                </c:pt>
                <c:pt idx="39067">
                  <c:v>0.69675405742821395</c:v>
                </c:pt>
                <c:pt idx="39068">
                  <c:v>0.69677189227751002</c:v>
                </c:pt>
                <c:pt idx="39069">
                  <c:v>0.69678972712680498</c:v>
                </c:pt>
                <c:pt idx="39070">
                  <c:v>0.69680756197610105</c:v>
                </c:pt>
                <c:pt idx="39071">
                  <c:v>0.69682539682539602</c:v>
                </c:pt>
                <c:pt idx="39072">
                  <c:v>0.69684323167469198</c:v>
                </c:pt>
                <c:pt idx="39073">
                  <c:v>0.69686106652398705</c:v>
                </c:pt>
                <c:pt idx="39074">
                  <c:v>0.69687890137328301</c:v>
                </c:pt>
                <c:pt idx="39075">
                  <c:v>0.69689673622257897</c:v>
                </c:pt>
                <c:pt idx="39076">
                  <c:v>0.69691457107187404</c:v>
                </c:pt>
                <c:pt idx="39077">
                  <c:v>0.69693240592117001</c:v>
                </c:pt>
                <c:pt idx="39078">
                  <c:v>0.69695024077046497</c:v>
                </c:pt>
                <c:pt idx="39079">
                  <c:v>0.69696807561976104</c:v>
                </c:pt>
                <c:pt idx="39080">
                  <c:v>0.696985910469056</c:v>
                </c:pt>
                <c:pt idx="39081">
                  <c:v>0.69700374531835196</c:v>
                </c:pt>
                <c:pt idx="39082">
                  <c:v>0.69702158016764704</c:v>
                </c:pt>
                <c:pt idx="39083">
                  <c:v>0.697039415016943</c:v>
                </c:pt>
                <c:pt idx="39084">
                  <c:v>0.69705724986623796</c:v>
                </c:pt>
                <c:pt idx="39085">
                  <c:v>0.69707508471553403</c:v>
                </c:pt>
                <c:pt idx="39086">
                  <c:v>0.69709291956482899</c:v>
                </c:pt>
                <c:pt idx="39087">
                  <c:v>0.69711075441412496</c:v>
                </c:pt>
                <c:pt idx="39088">
                  <c:v>0.69712858926342003</c:v>
                </c:pt>
                <c:pt idx="39089">
                  <c:v>0.69714642411271599</c:v>
                </c:pt>
                <c:pt idx="39090">
                  <c:v>0.69716425896201095</c:v>
                </c:pt>
                <c:pt idx="39091">
                  <c:v>0.69718209381130702</c:v>
                </c:pt>
                <c:pt idx="39092">
                  <c:v>0.69719992866060199</c:v>
                </c:pt>
                <c:pt idx="39093">
                  <c:v>0.69721776350989795</c:v>
                </c:pt>
                <c:pt idx="39094">
                  <c:v>0.69723559835919302</c:v>
                </c:pt>
                <c:pt idx="39095">
                  <c:v>0.69725343320848898</c:v>
                </c:pt>
                <c:pt idx="39096">
                  <c:v>0.69727126805778405</c:v>
                </c:pt>
                <c:pt idx="39097">
                  <c:v>0.69728910290708002</c:v>
                </c:pt>
                <c:pt idx="39098">
                  <c:v>0.69730693775637598</c:v>
                </c:pt>
                <c:pt idx="39099">
                  <c:v>0.69732477260567105</c:v>
                </c:pt>
                <c:pt idx="39100">
                  <c:v>0.69734260745496701</c:v>
                </c:pt>
                <c:pt idx="39101">
                  <c:v>0.69736044230426197</c:v>
                </c:pt>
                <c:pt idx="39102">
                  <c:v>0.69737827715355805</c:v>
                </c:pt>
                <c:pt idx="39103">
                  <c:v>0.69739611200285301</c:v>
                </c:pt>
                <c:pt idx="39104">
                  <c:v>0.69741394685214897</c:v>
                </c:pt>
                <c:pt idx="39105">
                  <c:v>0.69743178170144404</c:v>
                </c:pt>
                <c:pt idx="39106">
                  <c:v>0.69744961655074</c:v>
                </c:pt>
                <c:pt idx="39107">
                  <c:v>0.69746745140003497</c:v>
                </c:pt>
                <c:pt idx="39108">
                  <c:v>0.69748528624933104</c:v>
                </c:pt>
                <c:pt idx="39109">
                  <c:v>0.697503121098626</c:v>
                </c:pt>
                <c:pt idx="39110">
                  <c:v>0.69752095594792196</c:v>
                </c:pt>
                <c:pt idx="39111">
                  <c:v>0.69753879079721703</c:v>
                </c:pt>
                <c:pt idx="39112">
                  <c:v>0.697556625646513</c:v>
                </c:pt>
                <c:pt idx="39113">
                  <c:v>0.69757446049580796</c:v>
                </c:pt>
                <c:pt idx="39114">
                  <c:v>0.69759229534510403</c:v>
                </c:pt>
                <c:pt idx="39115">
                  <c:v>0.69761013019439899</c:v>
                </c:pt>
                <c:pt idx="39116">
                  <c:v>0.69762796504369495</c:v>
                </c:pt>
                <c:pt idx="39117">
                  <c:v>0.69764579989299003</c:v>
                </c:pt>
                <c:pt idx="39118">
                  <c:v>0.69766363474228599</c:v>
                </c:pt>
                <c:pt idx="39119">
                  <c:v>0.69768146959158195</c:v>
                </c:pt>
                <c:pt idx="39120">
                  <c:v>0.69769930444087702</c:v>
                </c:pt>
                <c:pt idx="39121">
                  <c:v>0.69771713929017298</c:v>
                </c:pt>
                <c:pt idx="39122">
                  <c:v>0.69773497413946794</c:v>
                </c:pt>
                <c:pt idx="39123">
                  <c:v>0.69775280898876402</c:v>
                </c:pt>
                <c:pt idx="39124">
                  <c:v>0.69777064383805898</c:v>
                </c:pt>
                <c:pt idx="39125">
                  <c:v>0.69778847868735505</c:v>
                </c:pt>
                <c:pt idx="39126">
                  <c:v>0.69780631353665001</c:v>
                </c:pt>
                <c:pt idx="39127">
                  <c:v>0.69782414838594597</c:v>
                </c:pt>
                <c:pt idx="39128">
                  <c:v>0.69784198323524105</c:v>
                </c:pt>
                <c:pt idx="39129">
                  <c:v>0.69785981808453701</c:v>
                </c:pt>
                <c:pt idx="39130">
                  <c:v>0.69787765293383197</c:v>
                </c:pt>
                <c:pt idx="39131">
                  <c:v>0.69789548778312804</c:v>
                </c:pt>
                <c:pt idx="39132">
                  <c:v>0.69791332263242301</c:v>
                </c:pt>
                <c:pt idx="39133">
                  <c:v>0.69793115748171897</c:v>
                </c:pt>
                <c:pt idx="39134">
                  <c:v>0.69794899233101404</c:v>
                </c:pt>
                <c:pt idx="39135">
                  <c:v>0.69796682718031</c:v>
                </c:pt>
                <c:pt idx="39136">
                  <c:v>0.69798466202960496</c:v>
                </c:pt>
                <c:pt idx="39137">
                  <c:v>0.69800249687890104</c:v>
                </c:pt>
                <c:pt idx="39138">
                  <c:v>0.698020331728196</c:v>
                </c:pt>
                <c:pt idx="39139">
                  <c:v>0.69803816657749196</c:v>
                </c:pt>
                <c:pt idx="39140">
                  <c:v>0.69805600142678703</c:v>
                </c:pt>
                <c:pt idx="39141">
                  <c:v>0.69807383627608299</c:v>
                </c:pt>
                <c:pt idx="39142">
                  <c:v>0.69809167112537895</c:v>
                </c:pt>
                <c:pt idx="39143">
                  <c:v>0.69810950597467403</c:v>
                </c:pt>
                <c:pt idx="39144">
                  <c:v>0.69812734082396999</c:v>
                </c:pt>
                <c:pt idx="39145">
                  <c:v>0.69814517567326495</c:v>
                </c:pt>
                <c:pt idx="39146">
                  <c:v>0.69816301052256102</c:v>
                </c:pt>
                <c:pt idx="39147">
                  <c:v>0.69818084537185598</c:v>
                </c:pt>
                <c:pt idx="39148">
                  <c:v>0.69819868022115195</c:v>
                </c:pt>
                <c:pt idx="39149">
                  <c:v>0.69821651507044702</c:v>
                </c:pt>
                <c:pt idx="39150">
                  <c:v>0.69823434991974298</c:v>
                </c:pt>
                <c:pt idx="39151">
                  <c:v>0.69825218476903805</c:v>
                </c:pt>
                <c:pt idx="39152">
                  <c:v>0.69827001961833401</c:v>
                </c:pt>
                <c:pt idx="39153">
                  <c:v>0.69828785446762898</c:v>
                </c:pt>
                <c:pt idx="39154">
                  <c:v>0.69830568931692505</c:v>
                </c:pt>
                <c:pt idx="39155">
                  <c:v>0.69832352416622001</c:v>
                </c:pt>
                <c:pt idx="39156">
                  <c:v>0.69834135901551597</c:v>
                </c:pt>
                <c:pt idx="39157">
                  <c:v>0.69835919386481105</c:v>
                </c:pt>
                <c:pt idx="39158">
                  <c:v>0.69837702871410701</c:v>
                </c:pt>
                <c:pt idx="39159">
                  <c:v>0.69839486356340197</c:v>
                </c:pt>
                <c:pt idx="39160">
                  <c:v>0.69841269841269804</c:v>
                </c:pt>
                <c:pt idx="39161">
                  <c:v>0.698430533261993</c:v>
                </c:pt>
                <c:pt idx="39162">
                  <c:v>0.69844836811128896</c:v>
                </c:pt>
                <c:pt idx="39163">
                  <c:v>0.69846620296058504</c:v>
                </c:pt>
                <c:pt idx="39164">
                  <c:v>0.69848403780988</c:v>
                </c:pt>
                <c:pt idx="39165">
                  <c:v>0.69850187265917596</c:v>
                </c:pt>
                <c:pt idx="39166">
                  <c:v>0.69851970750847103</c:v>
                </c:pt>
                <c:pt idx="39167">
                  <c:v>0.69853754235776699</c:v>
                </c:pt>
                <c:pt idx="39168">
                  <c:v>0.69855537720706196</c:v>
                </c:pt>
                <c:pt idx="39169">
                  <c:v>0.69857321205635803</c:v>
                </c:pt>
                <c:pt idx="39170">
                  <c:v>0.69859104690565299</c:v>
                </c:pt>
                <c:pt idx="39171">
                  <c:v>0.69860888175494895</c:v>
                </c:pt>
                <c:pt idx="39172">
                  <c:v>0.69862671660424402</c:v>
                </c:pt>
                <c:pt idx="39173">
                  <c:v>0.69864455145353999</c:v>
                </c:pt>
                <c:pt idx="39174">
                  <c:v>0.69866238630283495</c:v>
                </c:pt>
                <c:pt idx="39175">
                  <c:v>0.69868022115213102</c:v>
                </c:pt>
                <c:pt idx="39176">
                  <c:v>0.69869805600142598</c:v>
                </c:pt>
                <c:pt idx="39177">
                  <c:v>0.69871589085072205</c:v>
                </c:pt>
                <c:pt idx="39178">
                  <c:v>0.69873372570001702</c:v>
                </c:pt>
                <c:pt idx="39179">
                  <c:v>0.69875156054931298</c:v>
                </c:pt>
                <c:pt idx="39180">
                  <c:v>0.69876939539860805</c:v>
                </c:pt>
                <c:pt idx="39181">
                  <c:v>0.69878723024790401</c:v>
                </c:pt>
                <c:pt idx="39182">
                  <c:v>0.69880506509719997</c:v>
                </c:pt>
                <c:pt idx="39183">
                  <c:v>0.69882289994649505</c:v>
                </c:pt>
                <c:pt idx="39184">
                  <c:v>0.69884073479579101</c:v>
                </c:pt>
                <c:pt idx="39185">
                  <c:v>0.69885856964508597</c:v>
                </c:pt>
                <c:pt idx="39186">
                  <c:v>0.69887640449438204</c:v>
                </c:pt>
                <c:pt idx="39187">
                  <c:v>0.698894239343677</c:v>
                </c:pt>
                <c:pt idx="39188">
                  <c:v>0.69891207419297297</c:v>
                </c:pt>
                <c:pt idx="39189">
                  <c:v>0.69892990904226804</c:v>
                </c:pt>
                <c:pt idx="39190">
                  <c:v>0.698947743891564</c:v>
                </c:pt>
                <c:pt idx="39191">
                  <c:v>0.69896557874085896</c:v>
                </c:pt>
                <c:pt idx="39192">
                  <c:v>0.69898341359015503</c:v>
                </c:pt>
                <c:pt idx="39193">
                  <c:v>0.69900124843945</c:v>
                </c:pt>
                <c:pt idx="39194">
                  <c:v>0.69901908328874596</c:v>
                </c:pt>
                <c:pt idx="39195">
                  <c:v>0.69903691813804103</c:v>
                </c:pt>
                <c:pt idx="39196">
                  <c:v>0.69905475298733699</c:v>
                </c:pt>
                <c:pt idx="39197">
                  <c:v>0.69907258783663195</c:v>
                </c:pt>
                <c:pt idx="39198">
                  <c:v>0.69909042268592803</c:v>
                </c:pt>
                <c:pt idx="39199">
                  <c:v>0.69910825753522299</c:v>
                </c:pt>
                <c:pt idx="39200">
                  <c:v>0.69912609238451895</c:v>
                </c:pt>
                <c:pt idx="39201">
                  <c:v>0.69914392723381402</c:v>
                </c:pt>
                <c:pt idx="39202">
                  <c:v>0.69916176208310998</c:v>
                </c:pt>
                <c:pt idx="39203">
                  <c:v>0.69917959693240594</c:v>
                </c:pt>
                <c:pt idx="39204">
                  <c:v>0.69919743178170102</c:v>
                </c:pt>
                <c:pt idx="39205">
                  <c:v>0.69921526663099698</c:v>
                </c:pt>
                <c:pt idx="39206">
                  <c:v>0.69923310148029205</c:v>
                </c:pt>
                <c:pt idx="39207">
                  <c:v>0.69925093632958801</c:v>
                </c:pt>
                <c:pt idx="39208">
                  <c:v>0.69926877117888298</c:v>
                </c:pt>
                <c:pt idx="39209">
                  <c:v>0.69928660602817905</c:v>
                </c:pt>
                <c:pt idx="39210">
                  <c:v>0.69930444087747401</c:v>
                </c:pt>
                <c:pt idx="39211">
                  <c:v>0.69932227572676997</c:v>
                </c:pt>
                <c:pt idx="39212">
                  <c:v>0.69934011057606504</c:v>
                </c:pt>
                <c:pt idx="39213">
                  <c:v>0.69935794542536101</c:v>
                </c:pt>
                <c:pt idx="39214">
                  <c:v>0.69937578027465597</c:v>
                </c:pt>
                <c:pt idx="39215">
                  <c:v>0.69939361512395204</c:v>
                </c:pt>
                <c:pt idx="39216">
                  <c:v>0.699411449973247</c:v>
                </c:pt>
                <c:pt idx="39217">
                  <c:v>0.69942928482254296</c:v>
                </c:pt>
                <c:pt idx="39218">
                  <c:v>0.69944711967183804</c:v>
                </c:pt>
                <c:pt idx="39219">
                  <c:v>0.699464954521134</c:v>
                </c:pt>
                <c:pt idx="39220">
                  <c:v>0.69948278937042896</c:v>
                </c:pt>
                <c:pt idx="39221">
                  <c:v>0.69950062421972503</c:v>
                </c:pt>
                <c:pt idx="39222">
                  <c:v>0.69951845906901999</c:v>
                </c:pt>
                <c:pt idx="39223">
                  <c:v>0.69953629391831595</c:v>
                </c:pt>
                <c:pt idx="39224">
                  <c:v>0.69955412876761103</c:v>
                </c:pt>
                <c:pt idx="39225">
                  <c:v>0.69957196361690699</c:v>
                </c:pt>
                <c:pt idx="39226">
                  <c:v>0.69958979846620295</c:v>
                </c:pt>
                <c:pt idx="39227">
                  <c:v>0.69960763331549802</c:v>
                </c:pt>
                <c:pt idx="39228">
                  <c:v>0.69962546816479398</c:v>
                </c:pt>
                <c:pt idx="39229">
                  <c:v>0.69964330301408895</c:v>
                </c:pt>
                <c:pt idx="39230">
                  <c:v>0.69966113786338502</c:v>
                </c:pt>
                <c:pt idx="39231">
                  <c:v>0.69967897271267998</c:v>
                </c:pt>
                <c:pt idx="39232">
                  <c:v>0.69969680756197605</c:v>
                </c:pt>
                <c:pt idx="39233">
                  <c:v>0.69971464241127102</c:v>
                </c:pt>
                <c:pt idx="39234">
                  <c:v>0.69973247726056698</c:v>
                </c:pt>
                <c:pt idx="39235">
                  <c:v>0.69975031210986205</c:v>
                </c:pt>
                <c:pt idx="39236">
                  <c:v>0.69976814695915801</c:v>
                </c:pt>
                <c:pt idx="39237">
                  <c:v>0.69978598180845297</c:v>
                </c:pt>
                <c:pt idx="39238">
                  <c:v>0.69980381665774904</c:v>
                </c:pt>
                <c:pt idx="39239">
                  <c:v>0.69982165150704401</c:v>
                </c:pt>
                <c:pt idx="39240">
                  <c:v>0.69983948635633997</c:v>
                </c:pt>
                <c:pt idx="39241">
                  <c:v>0.69985732120563504</c:v>
                </c:pt>
                <c:pt idx="39242">
                  <c:v>0.699875156054931</c:v>
                </c:pt>
                <c:pt idx="39243">
                  <c:v>0.69989299090422596</c:v>
                </c:pt>
                <c:pt idx="39244">
                  <c:v>0.69991082575352204</c:v>
                </c:pt>
                <c:pt idx="39245">
                  <c:v>0.699928660602817</c:v>
                </c:pt>
                <c:pt idx="39246">
                  <c:v>0.69994649545211296</c:v>
                </c:pt>
                <c:pt idx="39247">
                  <c:v>0.69996433030140803</c:v>
                </c:pt>
                <c:pt idx="39248">
                  <c:v>0.69998216515070399</c:v>
                </c:pt>
                <c:pt idx="39249">
                  <c:v>0.7</c:v>
                </c:pt>
                <c:pt idx="39250">
                  <c:v>0.70001783484929503</c:v>
                </c:pt>
                <c:pt idx="39251">
                  <c:v>0.70003566969859099</c:v>
                </c:pt>
                <c:pt idx="39252">
                  <c:v>0.70005350454788595</c:v>
                </c:pt>
                <c:pt idx="39253">
                  <c:v>0.70007133939718202</c:v>
                </c:pt>
                <c:pt idx="39254">
                  <c:v>0.70008917424647699</c:v>
                </c:pt>
                <c:pt idx="39255">
                  <c:v>0.70010700909577295</c:v>
                </c:pt>
                <c:pt idx="39256">
                  <c:v>0.70012484394506802</c:v>
                </c:pt>
                <c:pt idx="39257">
                  <c:v>0.70014267879436398</c:v>
                </c:pt>
                <c:pt idx="39258">
                  <c:v>0.70016051364365905</c:v>
                </c:pt>
                <c:pt idx="39259">
                  <c:v>0.70017834849295502</c:v>
                </c:pt>
                <c:pt idx="39260">
                  <c:v>0.70019618334224998</c:v>
                </c:pt>
                <c:pt idx="39261">
                  <c:v>0.70021401819154605</c:v>
                </c:pt>
                <c:pt idx="39262">
                  <c:v>0.70023185304084101</c:v>
                </c:pt>
                <c:pt idx="39263">
                  <c:v>0.70024968789013697</c:v>
                </c:pt>
                <c:pt idx="39264">
                  <c:v>0.70026752273943205</c:v>
                </c:pt>
                <c:pt idx="39265">
                  <c:v>0.70028535758872801</c:v>
                </c:pt>
                <c:pt idx="39266">
                  <c:v>0.70030319243802297</c:v>
                </c:pt>
                <c:pt idx="39267">
                  <c:v>0.70032102728731904</c:v>
                </c:pt>
                <c:pt idx="39268">
                  <c:v>0.700338862136614</c:v>
                </c:pt>
                <c:pt idx="39269">
                  <c:v>0.70035669698590997</c:v>
                </c:pt>
                <c:pt idx="39270">
                  <c:v>0.70037453183520604</c:v>
                </c:pt>
                <c:pt idx="39271">
                  <c:v>0.700392366684501</c:v>
                </c:pt>
                <c:pt idx="39272">
                  <c:v>0.70041020153379696</c:v>
                </c:pt>
                <c:pt idx="39273">
                  <c:v>0.70042803638309203</c:v>
                </c:pt>
                <c:pt idx="39274">
                  <c:v>0.700445871232388</c:v>
                </c:pt>
                <c:pt idx="39275">
                  <c:v>0.70046370608168296</c:v>
                </c:pt>
                <c:pt idx="39276">
                  <c:v>0.70048154093097903</c:v>
                </c:pt>
                <c:pt idx="39277">
                  <c:v>0.70049937578027399</c:v>
                </c:pt>
                <c:pt idx="39278">
                  <c:v>0.70051721062956995</c:v>
                </c:pt>
                <c:pt idx="39279">
                  <c:v>0.70053504547886503</c:v>
                </c:pt>
                <c:pt idx="39280">
                  <c:v>0.70055288032816099</c:v>
                </c:pt>
                <c:pt idx="39281">
                  <c:v>0.70057071517745595</c:v>
                </c:pt>
                <c:pt idx="39282">
                  <c:v>0.70058855002675202</c:v>
                </c:pt>
                <c:pt idx="39283">
                  <c:v>0.70060638487604698</c:v>
                </c:pt>
                <c:pt idx="39284">
                  <c:v>0.70062421972534294</c:v>
                </c:pt>
                <c:pt idx="39285">
                  <c:v>0.70064205457463802</c:v>
                </c:pt>
                <c:pt idx="39286">
                  <c:v>0.70065988942393398</c:v>
                </c:pt>
                <c:pt idx="39287">
                  <c:v>0.70067772427322905</c:v>
                </c:pt>
                <c:pt idx="39288">
                  <c:v>0.70069555912252501</c:v>
                </c:pt>
                <c:pt idx="39289">
                  <c:v>0.70071339397182097</c:v>
                </c:pt>
                <c:pt idx="39290">
                  <c:v>0.70073122882111605</c:v>
                </c:pt>
                <c:pt idx="39291">
                  <c:v>0.70074906367041201</c:v>
                </c:pt>
                <c:pt idx="39292">
                  <c:v>0.70076689851970697</c:v>
                </c:pt>
                <c:pt idx="39293">
                  <c:v>0.70078473336900304</c:v>
                </c:pt>
                <c:pt idx="39294">
                  <c:v>0.70080256821829801</c:v>
                </c:pt>
                <c:pt idx="39295">
                  <c:v>0.70082040306759397</c:v>
                </c:pt>
                <c:pt idx="39296">
                  <c:v>0.70083823791688904</c:v>
                </c:pt>
                <c:pt idx="39297">
                  <c:v>0.700856072766185</c:v>
                </c:pt>
                <c:pt idx="39298">
                  <c:v>0.70087390761547996</c:v>
                </c:pt>
                <c:pt idx="39299">
                  <c:v>0.70089174246477604</c:v>
                </c:pt>
                <c:pt idx="39300">
                  <c:v>0.700909577314071</c:v>
                </c:pt>
                <c:pt idx="39301">
                  <c:v>0.70092741216336696</c:v>
                </c:pt>
                <c:pt idx="39302">
                  <c:v>0.70094524701266203</c:v>
                </c:pt>
                <c:pt idx="39303">
                  <c:v>0.70096308186195799</c:v>
                </c:pt>
                <c:pt idx="39304">
                  <c:v>0.70098091671125295</c:v>
                </c:pt>
                <c:pt idx="39305">
                  <c:v>0.70099875156054903</c:v>
                </c:pt>
                <c:pt idx="39306">
                  <c:v>0.70101658640984399</c:v>
                </c:pt>
                <c:pt idx="39307">
                  <c:v>0.70103442125913995</c:v>
                </c:pt>
                <c:pt idx="39308">
                  <c:v>0.70105225610843502</c:v>
                </c:pt>
                <c:pt idx="39309">
                  <c:v>0.70107009095773098</c:v>
                </c:pt>
                <c:pt idx="39310">
                  <c:v>0.70108792580702695</c:v>
                </c:pt>
                <c:pt idx="39311">
                  <c:v>0.70110576065632202</c:v>
                </c:pt>
                <c:pt idx="39312">
                  <c:v>0.70112359550561798</c:v>
                </c:pt>
                <c:pt idx="39313">
                  <c:v>0.70114143035491305</c:v>
                </c:pt>
                <c:pt idx="39314">
                  <c:v>0.70115926520420901</c:v>
                </c:pt>
                <c:pt idx="39315">
                  <c:v>0.70117710005350398</c:v>
                </c:pt>
                <c:pt idx="39316">
                  <c:v>0.70119493490280005</c:v>
                </c:pt>
                <c:pt idx="39317">
                  <c:v>0.70121276975209501</c:v>
                </c:pt>
                <c:pt idx="39318">
                  <c:v>0.70123060460139097</c:v>
                </c:pt>
                <c:pt idx="39319">
                  <c:v>0.70124843945068605</c:v>
                </c:pt>
                <c:pt idx="39320">
                  <c:v>0.70126627429998201</c:v>
                </c:pt>
                <c:pt idx="39321">
                  <c:v>0.70128410914927697</c:v>
                </c:pt>
                <c:pt idx="39322">
                  <c:v>0.70130194399857304</c:v>
                </c:pt>
                <c:pt idx="39323">
                  <c:v>0.701319778847868</c:v>
                </c:pt>
                <c:pt idx="39324">
                  <c:v>0.70133761369716396</c:v>
                </c:pt>
                <c:pt idx="39325">
                  <c:v>0.70135544854645904</c:v>
                </c:pt>
                <c:pt idx="39326">
                  <c:v>0.701373283395755</c:v>
                </c:pt>
                <c:pt idx="39327">
                  <c:v>0.70139111824504996</c:v>
                </c:pt>
                <c:pt idx="39328">
                  <c:v>0.70140895309434603</c:v>
                </c:pt>
                <c:pt idx="39329">
                  <c:v>0.70142678794364099</c:v>
                </c:pt>
                <c:pt idx="39330">
                  <c:v>0.70144462279293696</c:v>
                </c:pt>
                <c:pt idx="39331">
                  <c:v>0.70146245764223203</c:v>
                </c:pt>
                <c:pt idx="39332">
                  <c:v>0.70148029249152799</c:v>
                </c:pt>
                <c:pt idx="39333">
                  <c:v>0.70149812734082395</c:v>
                </c:pt>
                <c:pt idx="39334">
                  <c:v>0.70151596219011902</c:v>
                </c:pt>
                <c:pt idx="39335">
                  <c:v>0.70153379703941499</c:v>
                </c:pt>
                <c:pt idx="39336">
                  <c:v>0.70155163188870995</c:v>
                </c:pt>
                <c:pt idx="39337">
                  <c:v>0.70156946673800602</c:v>
                </c:pt>
                <c:pt idx="39338">
                  <c:v>0.70158730158730098</c:v>
                </c:pt>
                <c:pt idx="39339">
                  <c:v>0.70160513643659705</c:v>
                </c:pt>
                <c:pt idx="39340">
                  <c:v>0.70162297128589202</c:v>
                </c:pt>
                <c:pt idx="39341">
                  <c:v>0.70164080613518798</c:v>
                </c:pt>
                <c:pt idx="39342">
                  <c:v>0.70165864098448305</c:v>
                </c:pt>
                <c:pt idx="39343">
                  <c:v>0.70167647583377901</c:v>
                </c:pt>
                <c:pt idx="39344">
                  <c:v>0.70169431068307397</c:v>
                </c:pt>
                <c:pt idx="39345">
                  <c:v>0.70171214553237005</c:v>
                </c:pt>
                <c:pt idx="39346">
                  <c:v>0.70172998038166501</c:v>
                </c:pt>
                <c:pt idx="39347">
                  <c:v>0.70174781523096097</c:v>
                </c:pt>
                <c:pt idx="39348">
                  <c:v>0.70176565008025604</c:v>
                </c:pt>
                <c:pt idx="39349">
                  <c:v>0.701783484929552</c:v>
                </c:pt>
                <c:pt idx="39350">
                  <c:v>0.70180131977884697</c:v>
                </c:pt>
                <c:pt idx="39351">
                  <c:v>0.70181915462814304</c:v>
                </c:pt>
                <c:pt idx="39352">
                  <c:v>0.701836989477438</c:v>
                </c:pt>
                <c:pt idx="39353">
                  <c:v>0.70185482432673396</c:v>
                </c:pt>
                <c:pt idx="39354">
                  <c:v>0.70187265917602903</c:v>
                </c:pt>
                <c:pt idx="39355">
                  <c:v>0.701890494025325</c:v>
                </c:pt>
                <c:pt idx="39356">
                  <c:v>0.70190832887462096</c:v>
                </c:pt>
                <c:pt idx="39357">
                  <c:v>0.70192616372391603</c:v>
                </c:pt>
                <c:pt idx="39358">
                  <c:v>0.70194399857321199</c:v>
                </c:pt>
                <c:pt idx="39359">
                  <c:v>0.70196183342250695</c:v>
                </c:pt>
                <c:pt idx="39360">
                  <c:v>0.70197966827180303</c:v>
                </c:pt>
                <c:pt idx="39361">
                  <c:v>0.70199750312109799</c:v>
                </c:pt>
                <c:pt idx="39362">
                  <c:v>0.70201533797039395</c:v>
                </c:pt>
                <c:pt idx="39363">
                  <c:v>0.70203317281968902</c:v>
                </c:pt>
                <c:pt idx="39364">
                  <c:v>0.70205100766898498</c:v>
                </c:pt>
                <c:pt idx="39365">
                  <c:v>0.70206884251827995</c:v>
                </c:pt>
                <c:pt idx="39366">
                  <c:v>0.70208667736757602</c:v>
                </c:pt>
                <c:pt idx="39367">
                  <c:v>0.70210451221687098</c:v>
                </c:pt>
                <c:pt idx="39368">
                  <c:v>0.70212234706616705</c:v>
                </c:pt>
                <c:pt idx="39369">
                  <c:v>0.70214018191546201</c:v>
                </c:pt>
                <c:pt idx="39370">
                  <c:v>0.70215801676475798</c:v>
                </c:pt>
                <c:pt idx="39371">
                  <c:v>0.70217585161405305</c:v>
                </c:pt>
                <c:pt idx="39372">
                  <c:v>0.70219368646334901</c:v>
                </c:pt>
                <c:pt idx="39373">
                  <c:v>0.70221152131264397</c:v>
                </c:pt>
                <c:pt idx="39374">
                  <c:v>0.70222935616194004</c:v>
                </c:pt>
                <c:pt idx="39375">
                  <c:v>0.702247191011236</c:v>
                </c:pt>
                <c:pt idx="39376">
                  <c:v>0.70226502586053097</c:v>
                </c:pt>
                <c:pt idx="39377">
                  <c:v>0.70228286070982704</c:v>
                </c:pt>
                <c:pt idx="39378">
                  <c:v>0.702300695559122</c:v>
                </c:pt>
                <c:pt idx="39379">
                  <c:v>0.70231853040841796</c:v>
                </c:pt>
                <c:pt idx="39380">
                  <c:v>0.70233636525771304</c:v>
                </c:pt>
                <c:pt idx="39381">
                  <c:v>0.702354200107009</c:v>
                </c:pt>
                <c:pt idx="39382">
                  <c:v>0.70237203495630396</c:v>
                </c:pt>
                <c:pt idx="39383">
                  <c:v>0.70238986980560003</c:v>
                </c:pt>
                <c:pt idx="39384">
                  <c:v>0.70240770465489499</c:v>
                </c:pt>
                <c:pt idx="39385">
                  <c:v>0.70242553950419095</c:v>
                </c:pt>
                <c:pt idx="39386">
                  <c:v>0.70244337435348603</c:v>
                </c:pt>
                <c:pt idx="39387">
                  <c:v>0.70246120920278199</c:v>
                </c:pt>
                <c:pt idx="39388">
                  <c:v>0.70247904405207695</c:v>
                </c:pt>
                <c:pt idx="39389">
                  <c:v>0.70249687890137302</c:v>
                </c:pt>
                <c:pt idx="39390">
                  <c:v>0.70251471375066799</c:v>
                </c:pt>
                <c:pt idx="39391">
                  <c:v>0.70253254859996395</c:v>
                </c:pt>
                <c:pt idx="39392">
                  <c:v>0.70255038344925902</c:v>
                </c:pt>
                <c:pt idx="39393">
                  <c:v>0.70256821829855498</c:v>
                </c:pt>
                <c:pt idx="39394">
                  <c:v>0.70258605314785005</c:v>
                </c:pt>
                <c:pt idx="39395">
                  <c:v>0.70260388799714601</c:v>
                </c:pt>
                <c:pt idx="39396">
                  <c:v>0.70262172284644198</c:v>
                </c:pt>
                <c:pt idx="39397">
                  <c:v>0.70263955769573705</c:v>
                </c:pt>
                <c:pt idx="39398">
                  <c:v>0.70265739254503301</c:v>
                </c:pt>
                <c:pt idx="39399">
                  <c:v>0.70267522739432797</c:v>
                </c:pt>
                <c:pt idx="39400">
                  <c:v>0.70269306224362404</c:v>
                </c:pt>
                <c:pt idx="39401">
                  <c:v>0.70271089709291901</c:v>
                </c:pt>
                <c:pt idx="39402">
                  <c:v>0.70272873194221497</c:v>
                </c:pt>
                <c:pt idx="39403">
                  <c:v>0.70274656679151004</c:v>
                </c:pt>
                <c:pt idx="39404">
                  <c:v>0.702764401640806</c:v>
                </c:pt>
                <c:pt idx="39405">
                  <c:v>0.70278223649010096</c:v>
                </c:pt>
                <c:pt idx="39406">
                  <c:v>0.70280007133939704</c:v>
                </c:pt>
                <c:pt idx="39407">
                  <c:v>0.702817906188692</c:v>
                </c:pt>
                <c:pt idx="39408">
                  <c:v>0.70283574103798796</c:v>
                </c:pt>
                <c:pt idx="39409">
                  <c:v>0.70285357588728303</c:v>
                </c:pt>
                <c:pt idx="39410">
                  <c:v>0.70287141073657899</c:v>
                </c:pt>
                <c:pt idx="39411">
                  <c:v>0.70288924558587396</c:v>
                </c:pt>
                <c:pt idx="39412">
                  <c:v>0.70290708043517003</c:v>
                </c:pt>
                <c:pt idx="39413">
                  <c:v>0.70292491528446499</c:v>
                </c:pt>
                <c:pt idx="39414">
                  <c:v>0.70294275013376095</c:v>
                </c:pt>
                <c:pt idx="39415">
                  <c:v>0.70296058498305602</c:v>
                </c:pt>
                <c:pt idx="39416">
                  <c:v>0.70297841983235199</c:v>
                </c:pt>
                <c:pt idx="39417">
                  <c:v>0.70299625468164795</c:v>
                </c:pt>
                <c:pt idx="39418">
                  <c:v>0.70301408953094302</c:v>
                </c:pt>
                <c:pt idx="39419">
                  <c:v>0.70303192438023898</c:v>
                </c:pt>
                <c:pt idx="39420">
                  <c:v>0.70304975922953405</c:v>
                </c:pt>
                <c:pt idx="39421">
                  <c:v>0.70306759407883002</c:v>
                </c:pt>
                <c:pt idx="39422">
                  <c:v>0.70308542892812498</c:v>
                </c:pt>
                <c:pt idx="39423">
                  <c:v>0.70310326377742105</c:v>
                </c:pt>
                <c:pt idx="39424">
                  <c:v>0.70312109862671601</c:v>
                </c:pt>
                <c:pt idx="39425">
                  <c:v>0.70313893347601197</c:v>
                </c:pt>
                <c:pt idx="39426">
                  <c:v>0.70315676832530705</c:v>
                </c:pt>
                <c:pt idx="39427">
                  <c:v>0.70317460317460301</c:v>
                </c:pt>
                <c:pt idx="39428">
                  <c:v>0.70319243802389797</c:v>
                </c:pt>
                <c:pt idx="39429">
                  <c:v>0.70321027287319404</c:v>
                </c:pt>
                <c:pt idx="39430">
                  <c:v>0.703228107722489</c:v>
                </c:pt>
                <c:pt idx="39431">
                  <c:v>0.70324594257178497</c:v>
                </c:pt>
                <c:pt idx="39432">
                  <c:v>0.70326377742108004</c:v>
                </c:pt>
                <c:pt idx="39433">
                  <c:v>0.703281612270376</c:v>
                </c:pt>
                <c:pt idx="39434">
                  <c:v>0.70329944711967096</c:v>
                </c:pt>
                <c:pt idx="39435">
                  <c:v>0.70331728196896703</c:v>
                </c:pt>
                <c:pt idx="39436">
                  <c:v>0.703335116818262</c:v>
                </c:pt>
                <c:pt idx="39437">
                  <c:v>0.70335295166755796</c:v>
                </c:pt>
                <c:pt idx="39438">
                  <c:v>0.70337078651685303</c:v>
                </c:pt>
                <c:pt idx="39439">
                  <c:v>0.70338862136614899</c:v>
                </c:pt>
                <c:pt idx="39440">
                  <c:v>0.70340645621544495</c:v>
                </c:pt>
                <c:pt idx="39441">
                  <c:v>0.70342429106474003</c:v>
                </c:pt>
                <c:pt idx="39442">
                  <c:v>0.70344212591403599</c:v>
                </c:pt>
                <c:pt idx="39443">
                  <c:v>0.70345996076333095</c:v>
                </c:pt>
                <c:pt idx="39444">
                  <c:v>0.70347779561262702</c:v>
                </c:pt>
                <c:pt idx="39445">
                  <c:v>0.70349563046192198</c:v>
                </c:pt>
                <c:pt idx="39446">
                  <c:v>0.70351346531121794</c:v>
                </c:pt>
                <c:pt idx="39447">
                  <c:v>0.70353130016051302</c:v>
                </c:pt>
                <c:pt idx="39448">
                  <c:v>0.70354913500980898</c:v>
                </c:pt>
                <c:pt idx="39449">
                  <c:v>0.70356696985910405</c:v>
                </c:pt>
                <c:pt idx="39450">
                  <c:v>0.70358480470840001</c:v>
                </c:pt>
                <c:pt idx="39451">
                  <c:v>0.70360263955769498</c:v>
                </c:pt>
                <c:pt idx="39452">
                  <c:v>0.70362047440699105</c:v>
                </c:pt>
                <c:pt idx="39453">
                  <c:v>0.70363830925628601</c:v>
                </c:pt>
                <c:pt idx="39454">
                  <c:v>0.70365614410558197</c:v>
                </c:pt>
                <c:pt idx="39455">
                  <c:v>0.70367397895487704</c:v>
                </c:pt>
                <c:pt idx="39456">
                  <c:v>0.70369181380417301</c:v>
                </c:pt>
                <c:pt idx="39457">
                  <c:v>0.70370964865346797</c:v>
                </c:pt>
                <c:pt idx="39458">
                  <c:v>0.70372748350276404</c:v>
                </c:pt>
                <c:pt idx="39459">
                  <c:v>0.703745318352059</c:v>
                </c:pt>
                <c:pt idx="39460">
                  <c:v>0.70376315320135496</c:v>
                </c:pt>
                <c:pt idx="39461">
                  <c:v>0.70378098805065004</c:v>
                </c:pt>
                <c:pt idx="39462">
                  <c:v>0.703798822899946</c:v>
                </c:pt>
                <c:pt idx="39463">
                  <c:v>0.70381665774924196</c:v>
                </c:pt>
                <c:pt idx="39464">
                  <c:v>0.70383449259853703</c:v>
                </c:pt>
                <c:pt idx="39465">
                  <c:v>0.70385232744783299</c:v>
                </c:pt>
                <c:pt idx="39466">
                  <c:v>0.70387016229712795</c:v>
                </c:pt>
                <c:pt idx="39467">
                  <c:v>0.70388799714642403</c:v>
                </c:pt>
                <c:pt idx="39468">
                  <c:v>0.70390583199571899</c:v>
                </c:pt>
                <c:pt idx="39469">
                  <c:v>0.70392366684501495</c:v>
                </c:pt>
                <c:pt idx="39470">
                  <c:v>0.70394150169431002</c:v>
                </c:pt>
                <c:pt idx="39471">
                  <c:v>0.70395933654360598</c:v>
                </c:pt>
                <c:pt idx="39472">
                  <c:v>0.70397717139290095</c:v>
                </c:pt>
                <c:pt idx="39473">
                  <c:v>0.70399500624219702</c:v>
                </c:pt>
                <c:pt idx="39474">
                  <c:v>0.70401284109149198</c:v>
                </c:pt>
                <c:pt idx="39475">
                  <c:v>0.70403067594078805</c:v>
                </c:pt>
                <c:pt idx="39476">
                  <c:v>0.70404851079008302</c:v>
                </c:pt>
                <c:pt idx="39477">
                  <c:v>0.70406634563937898</c:v>
                </c:pt>
                <c:pt idx="39478">
                  <c:v>0.70408418048867405</c:v>
                </c:pt>
                <c:pt idx="39479">
                  <c:v>0.70410201533797001</c:v>
                </c:pt>
                <c:pt idx="39480">
                  <c:v>0.70411985018726597</c:v>
                </c:pt>
                <c:pt idx="39481">
                  <c:v>0.70413768503656105</c:v>
                </c:pt>
                <c:pt idx="39482">
                  <c:v>0.70415551988585701</c:v>
                </c:pt>
                <c:pt idx="39483">
                  <c:v>0.70417335473515197</c:v>
                </c:pt>
                <c:pt idx="39484">
                  <c:v>0.70419118958444804</c:v>
                </c:pt>
                <c:pt idx="39485">
                  <c:v>0.704209024433743</c:v>
                </c:pt>
                <c:pt idx="39486">
                  <c:v>0.70422685928303896</c:v>
                </c:pt>
                <c:pt idx="39487">
                  <c:v>0.70424469413233404</c:v>
                </c:pt>
                <c:pt idx="39488">
                  <c:v>0.70426252898163</c:v>
                </c:pt>
                <c:pt idx="39489">
                  <c:v>0.70428036383092496</c:v>
                </c:pt>
                <c:pt idx="39490">
                  <c:v>0.70429819868022103</c:v>
                </c:pt>
                <c:pt idx="39491">
                  <c:v>0.70431603352951599</c:v>
                </c:pt>
                <c:pt idx="39492">
                  <c:v>0.70433386837881196</c:v>
                </c:pt>
                <c:pt idx="39493">
                  <c:v>0.70435170322810703</c:v>
                </c:pt>
                <c:pt idx="39494">
                  <c:v>0.70436953807740299</c:v>
                </c:pt>
                <c:pt idx="39495">
                  <c:v>0.70438737292669795</c:v>
                </c:pt>
                <c:pt idx="39496">
                  <c:v>0.70440520777599402</c:v>
                </c:pt>
                <c:pt idx="39497">
                  <c:v>0.70442304262528899</c:v>
                </c:pt>
                <c:pt idx="39498">
                  <c:v>0.70444087747458495</c:v>
                </c:pt>
                <c:pt idx="39499">
                  <c:v>0.70445871232388002</c:v>
                </c:pt>
                <c:pt idx="39500">
                  <c:v>0.70447654717317598</c:v>
                </c:pt>
                <c:pt idx="39501">
                  <c:v>0.70449438202247106</c:v>
                </c:pt>
                <c:pt idx="39502">
                  <c:v>0.70451221687176702</c:v>
                </c:pt>
                <c:pt idx="39503">
                  <c:v>0.70453005172106298</c:v>
                </c:pt>
                <c:pt idx="39504">
                  <c:v>0.70454788657035805</c:v>
                </c:pt>
                <c:pt idx="39505">
                  <c:v>0.70456572141965401</c:v>
                </c:pt>
                <c:pt idx="39506">
                  <c:v>0.70458355626894897</c:v>
                </c:pt>
                <c:pt idx="39507">
                  <c:v>0.70460139111824505</c:v>
                </c:pt>
                <c:pt idx="39508">
                  <c:v>0.70461922596754001</c:v>
                </c:pt>
                <c:pt idx="39509">
                  <c:v>0.70463706081683597</c:v>
                </c:pt>
                <c:pt idx="39510">
                  <c:v>0.70465489566613104</c:v>
                </c:pt>
                <c:pt idx="39511">
                  <c:v>0.704672730515427</c:v>
                </c:pt>
                <c:pt idx="39512">
                  <c:v>0.70469056536472197</c:v>
                </c:pt>
                <c:pt idx="39513">
                  <c:v>0.70470840021401804</c:v>
                </c:pt>
                <c:pt idx="39514">
                  <c:v>0.704726235063313</c:v>
                </c:pt>
                <c:pt idx="39515">
                  <c:v>0.70474406991260896</c:v>
                </c:pt>
                <c:pt idx="39516">
                  <c:v>0.70476190476190403</c:v>
                </c:pt>
                <c:pt idx="39517">
                  <c:v>0.7047797396112</c:v>
                </c:pt>
                <c:pt idx="39518">
                  <c:v>0.70479757446049496</c:v>
                </c:pt>
                <c:pt idx="39519">
                  <c:v>0.70481540930979103</c:v>
                </c:pt>
                <c:pt idx="39520">
                  <c:v>0.70483324415908599</c:v>
                </c:pt>
                <c:pt idx="39521">
                  <c:v>0.70485107900838195</c:v>
                </c:pt>
                <c:pt idx="39522">
                  <c:v>0.70486891385767703</c:v>
                </c:pt>
                <c:pt idx="39523">
                  <c:v>0.70488674870697299</c:v>
                </c:pt>
                <c:pt idx="39524">
                  <c:v>0.70490458355626895</c:v>
                </c:pt>
                <c:pt idx="39525">
                  <c:v>0.70492241840556402</c:v>
                </c:pt>
                <c:pt idx="39526">
                  <c:v>0.70494025325485998</c:v>
                </c:pt>
                <c:pt idx="39527">
                  <c:v>0.70495808810415495</c:v>
                </c:pt>
                <c:pt idx="39528">
                  <c:v>0.70497592295345102</c:v>
                </c:pt>
                <c:pt idx="39529">
                  <c:v>0.70499375780274598</c:v>
                </c:pt>
                <c:pt idx="39530">
                  <c:v>0.70501159265204205</c:v>
                </c:pt>
                <c:pt idx="39531">
                  <c:v>0.70502942750133701</c:v>
                </c:pt>
                <c:pt idx="39532">
                  <c:v>0.70504726235063298</c:v>
                </c:pt>
                <c:pt idx="39533">
                  <c:v>0.70506509719992805</c:v>
                </c:pt>
                <c:pt idx="39534">
                  <c:v>0.70508293204922401</c:v>
                </c:pt>
                <c:pt idx="39535">
                  <c:v>0.70510076689851897</c:v>
                </c:pt>
                <c:pt idx="39536">
                  <c:v>0.70511860174781504</c:v>
                </c:pt>
                <c:pt idx="39537">
                  <c:v>0.70513643659711001</c:v>
                </c:pt>
                <c:pt idx="39538">
                  <c:v>0.70515427144640597</c:v>
                </c:pt>
                <c:pt idx="39539">
                  <c:v>0.70517210629570104</c:v>
                </c:pt>
                <c:pt idx="39540">
                  <c:v>0.705189941144997</c:v>
                </c:pt>
                <c:pt idx="39541">
                  <c:v>0.70520777599429196</c:v>
                </c:pt>
                <c:pt idx="39542">
                  <c:v>0.70522561084358804</c:v>
                </c:pt>
                <c:pt idx="39543">
                  <c:v>0.705243445692883</c:v>
                </c:pt>
                <c:pt idx="39544">
                  <c:v>0.70526128054217896</c:v>
                </c:pt>
                <c:pt idx="39545">
                  <c:v>0.70527911539147403</c:v>
                </c:pt>
                <c:pt idx="39546">
                  <c:v>0.70529695024076999</c:v>
                </c:pt>
                <c:pt idx="39547">
                  <c:v>0.70531478509006595</c:v>
                </c:pt>
                <c:pt idx="39548">
                  <c:v>0.70533261993936103</c:v>
                </c:pt>
                <c:pt idx="39549">
                  <c:v>0.70535045478865699</c:v>
                </c:pt>
                <c:pt idx="39550">
                  <c:v>0.70536828963795195</c:v>
                </c:pt>
                <c:pt idx="39551">
                  <c:v>0.70538612448724802</c:v>
                </c:pt>
                <c:pt idx="39552">
                  <c:v>0.70540395933654298</c:v>
                </c:pt>
                <c:pt idx="39553">
                  <c:v>0.70542179418583895</c:v>
                </c:pt>
                <c:pt idx="39554">
                  <c:v>0.70543962903513402</c:v>
                </c:pt>
                <c:pt idx="39555">
                  <c:v>0.70545746388442998</c:v>
                </c:pt>
                <c:pt idx="39556">
                  <c:v>0.70547529873372505</c:v>
                </c:pt>
                <c:pt idx="39557">
                  <c:v>0.70549313358302101</c:v>
                </c:pt>
                <c:pt idx="39558">
                  <c:v>0.70551096843231598</c:v>
                </c:pt>
                <c:pt idx="39559">
                  <c:v>0.70552880328161205</c:v>
                </c:pt>
                <c:pt idx="39560">
                  <c:v>0.70554663813090701</c:v>
                </c:pt>
                <c:pt idx="39561">
                  <c:v>0.70556447298020297</c:v>
                </c:pt>
                <c:pt idx="39562">
                  <c:v>0.70558230782949805</c:v>
                </c:pt>
                <c:pt idx="39563">
                  <c:v>0.70560014267879401</c:v>
                </c:pt>
                <c:pt idx="39564">
                  <c:v>0.70561797752808897</c:v>
                </c:pt>
                <c:pt idx="39565">
                  <c:v>0.70563581237738504</c:v>
                </c:pt>
                <c:pt idx="39566">
                  <c:v>0.70565364722668</c:v>
                </c:pt>
                <c:pt idx="39567">
                  <c:v>0.70567148207597596</c:v>
                </c:pt>
                <c:pt idx="39568">
                  <c:v>0.70568931692527204</c:v>
                </c:pt>
                <c:pt idx="39569">
                  <c:v>0.705707151774567</c:v>
                </c:pt>
                <c:pt idx="39570">
                  <c:v>0.70572498662386296</c:v>
                </c:pt>
                <c:pt idx="39571">
                  <c:v>0.70574282147315803</c:v>
                </c:pt>
                <c:pt idx="39572">
                  <c:v>0.70576065632245399</c:v>
                </c:pt>
                <c:pt idx="39573">
                  <c:v>0.70577849117174896</c:v>
                </c:pt>
                <c:pt idx="39574">
                  <c:v>0.70579632602104503</c:v>
                </c:pt>
                <c:pt idx="39575">
                  <c:v>0.70581416087033999</c:v>
                </c:pt>
                <c:pt idx="39576">
                  <c:v>0.70583199571963595</c:v>
                </c:pt>
                <c:pt idx="39577">
                  <c:v>0.70584983056893102</c:v>
                </c:pt>
                <c:pt idx="39578">
                  <c:v>0.70586766541822699</c:v>
                </c:pt>
                <c:pt idx="39579">
                  <c:v>0.70588550026752195</c:v>
                </c:pt>
                <c:pt idx="39580">
                  <c:v>0.70590333511681802</c:v>
                </c:pt>
                <c:pt idx="39581">
                  <c:v>0.70592116996611298</c:v>
                </c:pt>
                <c:pt idx="39582">
                  <c:v>0.70593900481540905</c:v>
                </c:pt>
                <c:pt idx="39583">
                  <c:v>0.70595683966470402</c:v>
                </c:pt>
                <c:pt idx="39584">
                  <c:v>0.70597467451399998</c:v>
                </c:pt>
                <c:pt idx="39585">
                  <c:v>0.70599250936329505</c:v>
                </c:pt>
                <c:pt idx="39586">
                  <c:v>0.70601034421259101</c:v>
                </c:pt>
                <c:pt idx="39587">
                  <c:v>0.70602817906188697</c:v>
                </c:pt>
                <c:pt idx="39588">
                  <c:v>0.70604601391118205</c:v>
                </c:pt>
                <c:pt idx="39589">
                  <c:v>0.70606384876047801</c:v>
                </c:pt>
                <c:pt idx="39590">
                  <c:v>0.70608168360977297</c:v>
                </c:pt>
                <c:pt idx="39591">
                  <c:v>0.70609951845906904</c:v>
                </c:pt>
                <c:pt idx="39592">
                  <c:v>0.706117353308364</c:v>
                </c:pt>
                <c:pt idx="39593">
                  <c:v>0.70613518815765997</c:v>
                </c:pt>
                <c:pt idx="39594">
                  <c:v>0.70615302300695504</c:v>
                </c:pt>
                <c:pt idx="39595">
                  <c:v>0.706170857856251</c:v>
                </c:pt>
                <c:pt idx="39596">
                  <c:v>0.70618869270554596</c:v>
                </c:pt>
                <c:pt idx="39597">
                  <c:v>0.70620652755484203</c:v>
                </c:pt>
                <c:pt idx="39598">
                  <c:v>0.706224362404137</c:v>
                </c:pt>
                <c:pt idx="39599">
                  <c:v>0.70624219725343296</c:v>
                </c:pt>
                <c:pt idx="39600">
                  <c:v>0.70626003210272803</c:v>
                </c:pt>
                <c:pt idx="39601">
                  <c:v>0.70627786695202399</c:v>
                </c:pt>
                <c:pt idx="39602">
                  <c:v>0.70629570180131895</c:v>
                </c:pt>
                <c:pt idx="39603">
                  <c:v>0.70631353665061503</c:v>
                </c:pt>
                <c:pt idx="39604">
                  <c:v>0.70633137149990999</c:v>
                </c:pt>
                <c:pt idx="39605">
                  <c:v>0.70634920634920595</c:v>
                </c:pt>
                <c:pt idx="39606">
                  <c:v>0.70636704119850102</c:v>
                </c:pt>
                <c:pt idx="39607">
                  <c:v>0.70638487604779698</c:v>
                </c:pt>
                <c:pt idx="39608">
                  <c:v>0.70640271089709294</c:v>
                </c:pt>
                <c:pt idx="39609">
                  <c:v>0.70642054574638802</c:v>
                </c:pt>
                <c:pt idx="39610">
                  <c:v>0.70643838059568398</c:v>
                </c:pt>
                <c:pt idx="39611">
                  <c:v>0.70645621544497905</c:v>
                </c:pt>
                <c:pt idx="39612">
                  <c:v>0.70647405029427501</c:v>
                </c:pt>
                <c:pt idx="39613">
                  <c:v>0.70649188514356998</c:v>
                </c:pt>
                <c:pt idx="39614">
                  <c:v>0.70650971999286605</c:v>
                </c:pt>
                <c:pt idx="39615">
                  <c:v>0.70652755484216101</c:v>
                </c:pt>
                <c:pt idx="39616">
                  <c:v>0.70654538969145697</c:v>
                </c:pt>
                <c:pt idx="39617">
                  <c:v>0.70656322454075204</c:v>
                </c:pt>
                <c:pt idx="39618">
                  <c:v>0.70658105939004801</c:v>
                </c:pt>
                <c:pt idx="39619">
                  <c:v>0.70659889423934297</c:v>
                </c:pt>
                <c:pt idx="39620">
                  <c:v>0.70661672908863904</c:v>
                </c:pt>
                <c:pt idx="39621">
                  <c:v>0.706634563937934</c:v>
                </c:pt>
                <c:pt idx="39622">
                  <c:v>0.70665239878722996</c:v>
                </c:pt>
                <c:pt idx="39623">
                  <c:v>0.70667023363652504</c:v>
                </c:pt>
                <c:pt idx="39624">
                  <c:v>0.706688068485821</c:v>
                </c:pt>
                <c:pt idx="39625">
                  <c:v>0.70670590333511596</c:v>
                </c:pt>
                <c:pt idx="39626">
                  <c:v>0.70672373818441203</c:v>
                </c:pt>
                <c:pt idx="39627">
                  <c:v>0.70674157303370699</c:v>
                </c:pt>
                <c:pt idx="39628">
                  <c:v>0.70675940788300295</c:v>
                </c:pt>
                <c:pt idx="39629">
                  <c:v>0.70677724273229803</c:v>
                </c:pt>
                <c:pt idx="39630">
                  <c:v>0.70679507758159399</c:v>
                </c:pt>
                <c:pt idx="39631">
                  <c:v>0.70681291243088995</c:v>
                </c:pt>
                <c:pt idx="39632">
                  <c:v>0.70683074728018502</c:v>
                </c:pt>
                <c:pt idx="39633">
                  <c:v>0.70684858212948098</c:v>
                </c:pt>
                <c:pt idx="39634">
                  <c:v>0.70686641697877595</c:v>
                </c:pt>
                <c:pt idx="39635">
                  <c:v>0.70688425182807202</c:v>
                </c:pt>
                <c:pt idx="39636">
                  <c:v>0.70690208667736698</c:v>
                </c:pt>
                <c:pt idx="39637">
                  <c:v>0.70691992152666305</c:v>
                </c:pt>
                <c:pt idx="39638">
                  <c:v>0.70693775637595802</c:v>
                </c:pt>
                <c:pt idx="39639">
                  <c:v>0.70695559122525398</c:v>
                </c:pt>
                <c:pt idx="39640">
                  <c:v>0.70697342607454905</c:v>
                </c:pt>
                <c:pt idx="39641">
                  <c:v>0.70699126092384501</c:v>
                </c:pt>
                <c:pt idx="39642">
                  <c:v>0.70700909577313997</c:v>
                </c:pt>
                <c:pt idx="39643">
                  <c:v>0.70702693062243605</c:v>
                </c:pt>
                <c:pt idx="39644">
                  <c:v>0.70704476547173101</c:v>
                </c:pt>
                <c:pt idx="39645">
                  <c:v>0.70706260032102697</c:v>
                </c:pt>
                <c:pt idx="39646">
                  <c:v>0.70708043517032204</c:v>
                </c:pt>
                <c:pt idx="39647">
                  <c:v>0.707098270019618</c:v>
                </c:pt>
                <c:pt idx="39648">
                  <c:v>0.70711610486891296</c:v>
                </c:pt>
                <c:pt idx="39649">
                  <c:v>0.70713393971820904</c:v>
                </c:pt>
                <c:pt idx="39650">
                  <c:v>0.707151774567504</c:v>
                </c:pt>
                <c:pt idx="39651">
                  <c:v>0.70716960941679996</c:v>
                </c:pt>
                <c:pt idx="39652">
                  <c:v>0.70718744426609503</c:v>
                </c:pt>
                <c:pt idx="39653">
                  <c:v>0.70720527911539099</c:v>
                </c:pt>
                <c:pt idx="39654">
                  <c:v>0.70722311396468696</c:v>
                </c:pt>
                <c:pt idx="39655">
                  <c:v>0.70724094881398203</c:v>
                </c:pt>
                <c:pt idx="39656">
                  <c:v>0.70725878366327799</c:v>
                </c:pt>
                <c:pt idx="39657">
                  <c:v>0.70727661851257295</c:v>
                </c:pt>
                <c:pt idx="39658">
                  <c:v>0.70729445336186902</c:v>
                </c:pt>
                <c:pt idx="39659">
                  <c:v>0.70731228821116399</c:v>
                </c:pt>
                <c:pt idx="39660">
                  <c:v>0.70733012306045995</c:v>
                </c:pt>
                <c:pt idx="39661">
                  <c:v>0.70734795790975502</c:v>
                </c:pt>
                <c:pt idx="39662">
                  <c:v>0.70736579275905098</c:v>
                </c:pt>
                <c:pt idx="39663">
                  <c:v>0.70738362760834606</c:v>
                </c:pt>
                <c:pt idx="39664">
                  <c:v>0.70740146245764202</c:v>
                </c:pt>
                <c:pt idx="39665">
                  <c:v>0.70741929730693698</c:v>
                </c:pt>
                <c:pt idx="39666">
                  <c:v>0.70743713215623305</c:v>
                </c:pt>
                <c:pt idx="39667">
                  <c:v>0.70745496700552801</c:v>
                </c:pt>
                <c:pt idx="39668">
                  <c:v>0.70747280185482397</c:v>
                </c:pt>
                <c:pt idx="39669">
                  <c:v>0.70749063670411905</c:v>
                </c:pt>
                <c:pt idx="39670">
                  <c:v>0.70750847155341501</c:v>
                </c:pt>
                <c:pt idx="39671">
                  <c:v>0.70752630640270997</c:v>
                </c:pt>
                <c:pt idx="39672">
                  <c:v>0.70754414125200604</c:v>
                </c:pt>
                <c:pt idx="39673">
                  <c:v>0.707561976101301</c:v>
                </c:pt>
                <c:pt idx="39674">
                  <c:v>0.70757981095059697</c:v>
                </c:pt>
                <c:pt idx="39675">
                  <c:v>0.70759764579989304</c:v>
                </c:pt>
                <c:pt idx="39676">
                  <c:v>0.707615480649188</c:v>
                </c:pt>
                <c:pt idx="39677">
                  <c:v>0.70763331549848396</c:v>
                </c:pt>
                <c:pt idx="39678">
                  <c:v>0.70765115034777903</c:v>
                </c:pt>
                <c:pt idx="39679">
                  <c:v>0.707668985197075</c:v>
                </c:pt>
                <c:pt idx="39680">
                  <c:v>0.70768682004636996</c:v>
                </c:pt>
                <c:pt idx="39681">
                  <c:v>0.70770465489566603</c:v>
                </c:pt>
                <c:pt idx="39682">
                  <c:v>0.70772248974496099</c:v>
                </c:pt>
                <c:pt idx="39683">
                  <c:v>0.70774032459425695</c:v>
                </c:pt>
                <c:pt idx="39684">
                  <c:v>0.70775815944355203</c:v>
                </c:pt>
                <c:pt idx="39685">
                  <c:v>0.70777599429284799</c:v>
                </c:pt>
                <c:pt idx="39686">
                  <c:v>0.70779382914214295</c:v>
                </c:pt>
                <c:pt idx="39687">
                  <c:v>0.70781166399143902</c:v>
                </c:pt>
                <c:pt idx="39688">
                  <c:v>0.70782949884073398</c:v>
                </c:pt>
                <c:pt idx="39689">
                  <c:v>0.70784733369002995</c:v>
                </c:pt>
                <c:pt idx="39690">
                  <c:v>0.70786516853932502</c:v>
                </c:pt>
                <c:pt idx="39691">
                  <c:v>0.70788300338862098</c:v>
                </c:pt>
                <c:pt idx="39692">
                  <c:v>0.70790083823791605</c:v>
                </c:pt>
                <c:pt idx="39693">
                  <c:v>0.70791867308721201</c:v>
                </c:pt>
                <c:pt idx="39694">
                  <c:v>0.70793650793650797</c:v>
                </c:pt>
                <c:pt idx="39695">
                  <c:v>0.70795434278580305</c:v>
                </c:pt>
                <c:pt idx="39696">
                  <c:v>0.70797217763509901</c:v>
                </c:pt>
                <c:pt idx="39697">
                  <c:v>0.70799001248439397</c:v>
                </c:pt>
                <c:pt idx="39698">
                  <c:v>0.70800784733369004</c:v>
                </c:pt>
                <c:pt idx="39699">
                  <c:v>0.70802568218298501</c:v>
                </c:pt>
                <c:pt idx="39700">
                  <c:v>0.70804351703228097</c:v>
                </c:pt>
                <c:pt idx="39701">
                  <c:v>0.70806135188157604</c:v>
                </c:pt>
                <c:pt idx="39702">
                  <c:v>0.708079186730872</c:v>
                </c:pt>
                <c:pt idx="39703">
                  <c:v>0.70809702158016696</c:v>
                </c:pt>
                <c:pt idx="39704">
                  <c:v>0.70811485642946304</c:v>
                </c:pt>
                <c:pt idx="39705">
                  <c:v>0.708132691278758</c:v>
                </c:pt>
                <c:pt idx="39706">
                  <c:v>0.70815052612805396</c:v>
                </c:pt>
                <c:pt idx="39707">
                  <c:v>0.70816836097734903</c:v>
                </c:pt>
                <c:pt idx="39708">
                  <c:v>0.70818619582664499</c:v>
                </c:pt>
                <c:pt idx="39709">
                  <c:v>0.70820403067593996</c:v>
                </c:pt>
                <c:pt idx="39710">
                  <c:v>0.70822186552523603</c:v>
                </c:pt>
                <c:pt idx="39711">
                  <c:v>0.70823970037453099</c:v>
                </c:pt>
                <c:pt idx="39712">
                  <c:v>0.70825753522382695</c:v>
                </c:pt>
                <c:pt idx="39713">
                  <c:v>0.70827537007312202</c:v>
                </c:pt>
                <c:pt idx="39714">
                  <c:v>0.70829320492241798</c:v>
                </c:pt>
                <c:pt idx="39715">
                  <c:v>0.70831103977171395</c:v>
                </c:pt>
                <c:pt idx="39716">
                  <c:v>0.70832887462100902</c:v>
                </c:pt>
                <c:pt idx="39717">
                  <c:v>0.70834670947030498</c:v>
                </c:pt>
                <c:pt idx="39718">
                  <c:v>0.70836454431960005</c:v>
                </c:pt>
                <c:pt idx="39719">
                  <c:v>0.70838237916889601</c:v>
                </c:pt>
                <c:pt idx="39720">
                  <c:v>0.70840021401819098</c:v>
                </c:pt>
                <c:pt idx="39721">
                  <c:v>0.70841804886748705</c:v>
                </c:pt>
                <c:pt idx="39722">
                  <c:v>0.70843588371678201</c:v>
                </c:pt>
                <c:pt idx="39723">
                  <c:v>0.70845371856607797</c:v>
                </c:pt>
                <c:pt idx="39724">
                  <c:v>0.70847155341537305</c:v>
                </c:pt>
                <c:pt idx="39725">
                  <c:v>0.70848938826466901</c:v>
                </c:pt>
                <c:pt idx="39726">
                  <c:v>0.70850722311396397</c:v>
                </c:pt>
                <c:pt idx="39727">
                  <c:v>0.70852505796326004</c:v>
                </c:pt>
                <c:pt idx="39728">
                  <c:v>0.708542892812555</c:v>
                </c:pt>
                <c:pt idx="39729">
                  <c:v>0.70856072766185096</c:v>
                </c:pt>
                <c:pt idx="39730">
                  <c:v>0.70857856251114604</c:v>
                </c:pt>
                <c:pt idx="39731">
                  <c:v>0.708596397360442</c:v>
                </c:pt>
                <c:pt idx="39732">
                  <c:v>0.70861423220973696</c:v>
                </c:pt>
                <c:pt idx="39733">
                  <c:v>0.70863206705903303</c:v>
                </c:pt>
                <c:pt idx="39734">
                  <c:v>0.70864990190832799</c:v>
                </c:pt>
                <c:pt idx="39735">
                  <c:v>0.70866773675762396</c:v>
                </c:pt>
                <c:pt idx="39736">
                  <c:v>0.70868557160691903</c:v>
                </c:pt>
                <c:pt idx="39737">
                  <c:v>0.70870340645621499</c:v>
                </c:pt>
                <c:pt idx="39738">
                  <c:v>0.70872124130551095</c:v>
                </c:pt>
                <c:pt idx="39739">
                  <c:v>0.70873907615480602</c:v>
                </c:pt>
                <c:pt idx="39740">
                  <c:v>0.70875691100410199</c:v>
                </c:pt>
                <c:pt idx="39741">
                  <c:v>0.70877474585339695</c:v>
                </c:pt>
                <c:pt idx="39742">
                  <c:v>0.70879258070269302</c:v>
                </c:pt>
                <c:pt idx="39743">
                  <c:v>0.70881041555198798</c:v>
                </c:pt>
                <c:pt idx="39744">
                  <c:v>0.70882825040128405</c:v>
                </c:pt>
                <c:pt idx="39745">
                  <c:v>0.70884608525057902</c:v>
                </c:pt>
                <c:pt idx="39746">
                  <c:v>0.70886392009987498</c:v>
                </c:pt>
                <c:pt idx="39747">
                  <c:v>0.70888175494917005</c:v>
                </c:pt>
                <c:pt idx="39748">
                  <c:v>0.70889958979846601</c:v>
                </c:pt>
                <c:pt idx="39749">
                  <c:v>0.70891742464776097</c:v>
                </c:pt>
                <c:pt idx="39750">
                  <c:v>0.70893525949705705</c:v>
                </c:pt>
                <c:pt idx="39751">
                  <c:v>0.70895309434635201</c:v>
                </c:pt>
                <c:pt idx="39752">
                  <c:v>0.70897092919564797</c:v>
                </c:pt>
                <c:pt idx="39753">
                  <c:v>0.70898876404494304</c:v>
                </c:pt>
                <c:pt idx="39754">
                  <c:v>0.709006598894239</c:v>
                </c:pt>
                <c:pt idx="39755">
                  <c:v>0.70902443374353397</c:v>
                </c:pt>
                <c:pt idx="39756">
                  <c:v>0.70904226859283004</c:v>
                </c:pt>
                <c:pt idx="39757">
                  <c:v>0.709060103442125</c:v>
                </c:pt>
                <c:pt idx="39758">
                  <c:v>0.70907793829142096</c:v>
                </c:pt>
                <c:pt idx="39759">
                  <c:v>0.70909577314071603</c:v>
                </c:pt>
                <c:pt idx="39760">
                  <c:v>0.709113607990012</c:v>
                </c:pt>
                <c:pt idx="39761">
                  <c:v>0.70913144283930796</c:v>
                </c:pt>
                <c:pt idx="39762">
                  <c:v>0.70914927768860303</c:v>
                </c:pt>
                <c:pt idx="39763">
                  <c:v>0.70916711253789899</c:v>
                </c:pt>
                <c:pt idx="39764">
                  <c:v>0.70918494738719395</c:v>
                </c:pt>
                <c:pt idx="39765">
                  <c:v>0.70920278223649003</c:v>
                </c:pt>
                <c:pt idx="39766">
                  <c:v>0.70922061708578499</c:v>
                </c:pt>
                <c:pt idx="39767">
                  <c:v>0.70923845193508095</c:v>
                </c:pt>
                <c:pt idx="39768">
                  <c:v>0.70925628678437602</c:v>
                </c:pt>
                <c:pt idx="39769">
                  <c:v>0.70927412163367198</c:v>
                </c:pt>
                <c:pt idx="39770">
                  <c:v>0.70929195648296695</c:v>
                </c:pt>
                <c:pt idx="39771">
                  <c:v>0.70930979133226302</c:v>
                </c:pt>
                <c:pt idx="39772">
                  <c:v>0.70932762618155798</c:v>
                </c:pt>
                <c:pt idx="39773">
                  <c:v>0.70934546103085405</c:v>
                </c:pt>
                <c:pt idx="39774">
                  <c:v>0.70936329588014901</c:v>
                </c:pt>
                <c:pt idx="39775">
                  <c:v>0.70938113072944498</c:v>
                </c:pt>
                <c:pt idx="39776">
                  <c:v>0.70939896557874005</c:v>
                </c:pt>
                <c:pt idx="39777">
                  <c:v>0.70941680042803601</c:v>
                </c:pt>
                <c:pt idx="39778">
                  <c:v>0.70943463527733097</c:v>
                </c:pt>
                <c:pt idx="39779">
                  <c:v>0.70945247012662704</c:v>
                </c:pt>
                <c:pt idx="39780">
                  <c:v>0.70947030497592301</c:v>
                </c:pt>
                <c:pt idx="39781">
                  <c:v>0.70948813982521797</c:v>
                </c:pt>
                <c:pt idx="39782">
                  <c:v>0.70950597467451404</c:v>
                </c:pt>
                <c:pt idx="39783">
                  <c:v>0.709523809523809</c:v>
                </c:pt>
                <c:pt idx="39784">
                  <c:v>0.70954164437310496</c:v>
                </c:pt>
                <c:pt idx="39785">
                  <c:v>0.70955947922240004</c:v>
                </c:pt>
                <c:pt idx="39786">
                  <c:v>0.709577314071696</c:v>
                </c:pt>
                <c:pt idx="39787">
                  <c:v>0.70959514892099096</c:v>
                </c:pt>
                <c:pt idx="39788">
                  <c:v>0.70961298377028703</c:v>
                </c:pt>
                <c:pt idx="39789">
                  <c:v>0.70963081861958199</c:v>
                </c:pt>
                <c:pt idx="39790">
                  <c:v>0.70964865346887795</c:v>
                </c:pt>
                <c:pt idx="39791">
                  <c:v>0.70966648831817303</c:v>
                </c:pt>
                <c:pt idx="39792">
                  <c:v>0.70968432316746899</c:v>
                </c:pt>
                <c:pt idx="39793">
                  <c:v>0.70970215801676395</c:v>
                </c:pt>
                <c:pt idx="39794">
                  <c:v>0.70971999286606002</c:v>
                </c:pt>
                <c:pt idx="39795">
                  <c:v>0.70973782771535499</c:v>
                </c:pt>
                <c:pt idx="39796">
                  <c:v>0.70975566256465095</c:v>
                </c:pt>
                <c:pt idx="39797">
                  <c:v>0.70977349741394602</c:v>
                </c:pt>
                <c:pt idx="39798">
                  <c:v>0.70979133226324198</c:v>
                </c:pt>
                <c:pt idx="39799">
                  <c:v>0.70980916711253705</c:v>
                </c:pt>
                <c:pt idx="39800">
                  <c:v>0.70982700196183302</c:v>
                </c:pt>
                <c:pt idx="39801">
                  <c:v>0.70984483681112898</c:v>
                </c:pt>
                <c:pt idx="39802">
                  <c:v>0.70986267166042405</c:v>
                </c:pt>
                <c:pt idx="39803">
                  <c:v>0.70988050650972001</c:v>
                </c:pt>
                <c:pt idx="39804">
                  <c:v>0.70989834135901497</c:v>
                </c:pt>
                <c:pt idx="39805">
                  <c:v>0.70991617620831104</c:v>
                </c:pt>
                <c:pt idx="39806">
                  <c:v>0.70993401105760601</c:v>
                </c:pt>
                <c:pt idx="39807">
                  <c:v>0.70995184590690197</c:v>
                </c:pt>
                <c:pt idx="39808">
                  <c:v>0.70996968075619704</c:v>
                </c:pt>
                <c:pt idx="39809">
                  <c:v>0.709987515605493</c:v>
                </c:pt>
                <c:pt idx="39810">
                  <c:v>0.71000535045478796</c:v>
                </c:pt>
                <c:pt idx="39811">
                  <c:v>0.71002318530408404</c:v>
                </c:pt>
                <c:pt idx="39812">
                  <c:v>0.710041020153379</c:v>
                </c:pt>
                <c:pt idx="39813">
                  <c:v>0.71005885500267496</c:v>
                </c:pt>
                <c:pt idx="39814">
                  <c:v>0.71007668985197003</c:v>
                </c:pt>
                <c:pt idx="39815">
                  <c:v>0.71009452470126599</c:v>
                </c:pt>
                <c:pt idx="39816">
                  <c:v>0.71011235955056096</c:v>
                </c:pt>
                <c:pt idx="39817">
                  <c:v>0.71013019439985703</c:v>
                </c:pt>
                <c:pt idx="39818">
                  <c:v>0.71014802924915199</c:v>
                </c:pt>
                <c:pt idx="39819">
                  <c:v>0.71016586409844795</c:v>
                </c:pt>
                <c:pt idx="39820">
                  <c:v>0.71018369894774303</c:v>
                </c:pt>
                <c:pt idx="39821">
                  <c:v>0.71020153379703899</c:v>
                </c:pt>
                <c:pt idx="39822">
                  <c:v>0.71021936864633495</c:v>
                </c:pt>
                <c:pt idx="39823">
                  <c:v>0.71023720349563002</c:v>
                </c:pt>
                <c:pt idx="39824">
                  <c:v>0.71025503834492598</c:v>
                </c:pt>
                <c:pt idx="39825">
                  <c:v>0.71027287319422105</c:v>
                </c:pt>
                <c:pt idx="39826">
                  <c:v>0.71029070804351702</c:v>
                </c:pt>
                <c:pt idx="39827">
                  <c:v>0.71030854289281198</c:v>
                </c:pt>
                <c:pt idx="39828">
                  <c:v>0.71032637774210805</c:v>
                </c:pt>
                <c:pt idx="39829">
                  <c:v>0.71034421259140301</c:v>
                </c:pt>
                <c:pt idx="39830">
                  <c:v>0.71036204744069897</c:v>
                </c:pt>
                <c:pt idx="39831">
                  <c:v>0.71037988228999405</c:v>
                </c:pt>
                <c:pt idx="39832">
                  <c:v>0.71039771713929001</c:v>
                </c:pt>
                <c:pt idx="39833">
                  <c:v>0.71041555198858497</c:v>
                </c:pt>
                <c:pt idx="39834">
                  <c:v>0.71043338683788104</c:v>
                </c:pt>
                <c:pt idx="39835">
                  <c:v>0.710451221687176</c:v>
                </c:pt>
                <c:pt idx="39836">
                  <c:v>0.71046905653647197</c:v>
                </c:pt>
                <c:pt idx="39837">
                  <c:v>0.71048689138576704</c:v>
                </c:pt>
                <c:pt idx="39838">
                  <c:v>0.710504726235063</c:v>
                </c:pt>
                <c:pt idx="39839">
                  <c:v>0.71052256108435796</c:v>
                </c:pt>
                <c:pt idx="39840">
                  <c:v>0.71054039593365403</c:v>
                </c:pt>
                <c:pt idx="39841">
                  <c:v>0.710558230782949</c:v>
                </c:pt>
                <c:pt idx="39842">
                  <c:v>0.71057606563224496</c:v>
                </c:pt>
                <c:pt idx="39843">
                  <c:v>0.71059390048154003</c:v>
                </c:pt>
                <c:pt idx="39844">
                  <c:v>0.71061173533083599</c:v>
                </c:pt>
                <c:pt idx="39845">
                  <c:v>0.71062957018013195</c:v>
                </c:pt>
                <c:pt idx="39846">
                  <c:v>0.71064740502942703</c:v>
                </c:pt>
                <c:pt idx="39847">
                  <c:v>0.71066523987872299</c:v>
                </c:pt>
                <c:pt idx="39848">
                  <c:v>0.71068307472801795</c:v>
                </c:pt>
                <c:pt idx="39849">
                  <c:v>0.71070090957731402</c:v>
                </c:pt>
                <c:pt idx="39850">
                  <c:v>0.71071874442660898</c:v>
                </c:pt>
                <c:pt idx="39851">
                  <c:v>0.71073657927590494</c:v>
                </c:pt>
                <c:pt idx="39852">
                  <c:v>0.71075441412520002</c:v>
                </c:pt>
                <c:pt idx="39853">
                  <c:v>0.71077224897449598</c:v>
                </c:pt>
                <c:pt idx="39854">
                  <c:v>0.71079008382379105</c:v>
                </c:pt>
                <c:pt idx="39855">
                  <c:v>0.71080791867308701</c:v>
                </c:pt>
                <c:pt idx="39856">
                  <c:v>0.71082575352238198</c:v>
                </c:pt>
                <c:pt idx="39857">
                  <c:v>0.71084358837167805</c:v>
                </c:pt>
                <c:pt idx="39858">
                  <c:v>0.71086142322097301</c:v>
                </c:pt>
                <c:pt idx="39859">
                  <c:v>0.71087925807026897</c:v>
                </c:pt>
                <c:pt idx="39860">
                  <c:v>0.71089709291956404</c:v>
                </c:pt>
                <c:pt idx="39861">
                  <c:v>0.71091492776886001</c:v>
                </c:pt>
                <c:pt idx="39862">
                  <c:v>0.71093276261815497</c:v>
                </c:pt>
                <c:pt idx="39863">
                  <c:v>0.71095059746745104</c:v>
                </c:pt>
                <c:pt idx="39864">
                  <c:v>0.710968432316746</c:v>
                </c:pt>
                <c:pt idx="39865">
                  <c:v>0.71098626716604196</c:v>
                </c:pt>
                <c:pt idx="39866">
                  <c:v>0.71100410201533704</c:v>
                </c:pt>
                <c:pt idx="39867">
                  <c:v>0.711021936864633</c:v>
                </c:pt>
                <c:pt idx="39868">
                  <c:v>0.71103977171392896</c:v>
                </c:pt>
                <c:pt idx="39869">
                  <c:v>0.71105760656322403</c:v>
                </c:pt>
                <c:pt idx="39870">
                  <c:v>0.71107544141251999</c:v>
                </c:pt>
                <c:pt idx="39871">
                  <c:v>0.71109327626181495</c:v>
                </c:pt>
                <c:pt idx="39872">
                  <c:v>0.71111111111111103</c:v>
                </c:pt>
                <c:pt idx="39873">
                  <c:v>0.71112894596040599</c:v>
                </c:pt>
                <c:pt idx="39874">
                  <c:v>0.71114678080970195</c:v>
                </c:pt>
                <c:pt idx="39875">
                  <c:v>0.71116461565899702</c:v>
                </c:pt>
                <c:pt idx="39876">
                  <c:v>0.71118245050829298</c:v>
                </c:pt>
                <c:pt idx="39877">
                  <c:v>0.71120028535758795</c:v>
                </c:pt>
                <c:pt idx="39878">
                  <c:v>0.71121812020688402</c:v>
                </c:pt>
                <c:pt idx="39879">
                  <c:v>0.71123595505617898</c:v>
                </c:pt>
                <c:pt idx="39880">
                  <c:v>0.71125378990547505</c:v>
                </c:pt>
                <c:pt idx="39881">
                  <c:v>0.71127162475477002</c:v>
                </c:pt>
                <c:pt idx="39882">
                  <c:v>0.71128945960406598</c:v>
                </c:pt>
                <c:pt idx="39883">
                  <c:v>0.71130729445336105</c:v>
                </c:pt>
                <c:pt idx="39884">
                  <c:v>0.71132512930265701</c:v>
                </c:pt>
                <c:pt idx="39885">
                  <c:v>0.71134296415195197</c:v>
                </c:pt>
                <c:pt idx="39886">
                  <c:v>0.71136079900124805</c:v>
                </c:pt>
                <c:pt idx="39887">
                  <c:v>0.71137863385054401</c:v>
                </c:pt>
                <c:pt idx="39888">
                  <c:v>0.71139646869983897</c:v>
                </c:pt>
                <c:pt idx="39889">
                  <c:v>0.71141430354913504</c:v>
                </c:pt>
                <c:pt idx="39890">
                  <c:v>0.71143213839843</c:v>
                </c:pt>
                <c:pt idx="39891">
                  <c:v>0.71144997324772596</c:v>
                </c:pt>
                <c:pt idx="39892">
                  <c:v>0.71146780809702104</c:v>
                </c:pt>
                <c:pt idx="39893">
                  <c:v>0.711485642946317</c:v>
                </c:pt>
                <c:pt idx="39894">
                  <c:v>0.71150347779561196</c:v>
                </c:pt>
                <c:pt idx="39895">
                  <c:v>0.71152131264490803</c:v>
                </c:pt>
                <c:pt idx="39896">
                  <c:v>0.71153914749420299</c:v>
                </c:pt>
                <c:pt idx="39897">
                  <c:v>0.71155698234349896</c:v>
                </c:pt>
                <c:pt idx="39898">
                  <c:v>0.71157481719279403</c:v>
                </c:pt>
                <c:pt idx="39899">
                  <c:v>0.71159265204208999</c:v>
                </c:pt>
                <c:pt idx="39900">
                  <c:v>0.71161048689138495</c:v>
                </c:pt>
                <c:pt idx="39901">
                  <c:v>0.71162832174068102</c:v>
                </c:pt>
                <c:pt idx="39902">
                  <c:v>0.71164615658997599</c:v>
                </c:pt>
                <c:pt idx="39903">
                  <c:v>0.71166399143927195</c:v>
                </c:pt>
                <c:pt idx="39904">
                  <c:v>0.71168182628856702</c:v>
                </c:pt>
                <c:pt idx="39905">
                  <c:v>0.71169966113786298</c:v>
                </c:pt>
                <c:pt idx="39906">
                  <c:v>0.71171749598715806</c:v>
                </c:pt>
                <c:pt idx="39907">
                  <c:v>0.71173533083645402</c:v>
                </c:pt>
                <c:pt idx="39908">
                  <c:v>0.71175316568574998</c:v>
                </c:pt>
                <c:pt idx="39909">
                  <c:v>0.71177100053504505</c:v>
                </c:pt>
                <c:pt idx="39910">
                  <c:v>0.71178883538434101</c:v>
                </c:pt>
                <c:pt idx="39911">
                  <c:v>0.71180667023363597</c:v>
                </c:pt>
                <c:pt idx="39912">
                  <c:v>0.71182450508293205</c:v>
                </c:pt>
                <c:pt idx="39913">
                  <c:v>0.71184233993222701</c:v>
                </c:pt>
                <c:pt idx="39914">
                  <c:v>0.71186017478152297</c:v>
                </c:pt>
                <c:pt idx="39915">
                  <c:v>0.71187800963081804</c:v>
                </c:pt>
                <c:pt idx="39916">
                  <c:v>0.711895844480114</c:v>
                </c:pt>
                <c:pt idx="39917">
                  <c:v>0.71191367932940897</c:v>
                </c:pt>
                <c:pt idx="39918">
                  <c:v>0.71193151417870504</c:v>
                </c:pt>
                <c:pt idx="39919">
                  <c:v>0.711949349028</c:v>
                </c:pt>
                <c:pt idx="39920">
                  <c:v>0.71196718387729596</c:v>
                </c:pt>
                <c:pt idx="39921">
                  <c:v>0.71198501872659103</c:v>
                </c:pt>
                <c:pt idx="39922">
                  <c:v>0.712002853575887</c:v>
                </c:pt>
                <c:pt idx="39923">
                  <c:v>0.71202068842518196</c:v>
                </c:pt>
                <c:pt idx="39924">
                  <c:v>0.71203852327447803</c:v>
                </c:pt>
                <c:pt idx="39925">
                  <c:v>0.71205635812377299</c:v>
                </c:pt>
                <c:pt idx="39926">
                  <c:v>0.71207419297306895</c:v>
                </c:pt>
                <c:pt idx="39927">
                  <c:v>0.71209202782236403</c:v>
                </c:pt>
                <c:pt idx="39928">
                  <c:v>0.71210986267165999</c:v>
                </c:pt>
                <c:pt idx="39929">
                  <c:v>0.71212769752095595</c:v>
                </c:pt>
                <c:pt idx="39930">
                  <c:v>0.71214553237025102</c:v>
                </c:pt>
                <c:pt idx="39931">
                  <c:v>0.71216336721954698</c:v>
                </c:pt>
                <c:pt idx="39932">
                  <c:v>0.71218120206884195</c:v>
                </c:pt>
                <c:pt idx="39933">
                  <c:v>0.71219903691813802</c:v>
                </c:pt>
                <c:pt idx="39934">
                  <c:v>0.71221687176743298</c:v>
                </c:pt>
                <c:pt idx="39935">
                  <c:v>0.71223470661672905</c:v>
                </c:pt>
                <c:pt idx="39936">
                  <c:v>0.71225254146602401</c:v>
                </c:pt>
                <c:pt idx="39937">
                  <c:v>0.71227037631531998</c:v>
                </c:pt>
                <c:pt idx="39938">
                  <c:v>0.71228821116461505</c:v>
                </c:pt>
                <c:pt idx="39939">
                  <c:v>0.71230604601391101</c:v>
                </c:pt>
                <c:pt idx="39940">
                  <c:v>0.71232388086320597</c:v>
                </c:pt>
                <c:pt idx="39941">
                  <c:v>0.71234171571250204</c:v>
                </c:pt>
                <c:pt idx="39942">
                  <c:v>0.71235955056179701</c:v>
                </c:pt>
                <c:pt idx="39943">
                  <c:v>0.71237738541109297</c:v>
                </c:pt>
                <c:pt idx="39944">
                  <c:v>0.71239522026038804</c:v>
                </c:pt>
                <c:pt idx="39945">
                  <c:v>0.712413055109684</c:v>
                </c:pt>
                <c:pt idx="39946">
                  <c:v>0.71243088995897896</c:v>
                </c:pt>
                <c:pt idx="39947">
                  <c:v>0.71244872480827504</c:v>
                </c:pt>
                <c:pt idx="39948">
                  <c:v>0.71246655965757</c:v>
                </c:pt>
                <c:pt idx="39949">
                  <c:v>0.71248439450686596</c:v>
                </c:pt>
                <c:pt idx="39950">
                  <c:v>0.71250222935616103</c:v>
                </c:pt>
                <c:pt idx="39951">
                  <c:v>0.71252006420545699</c:v>
                </c:pt>
                <c:pt idx="39952">
                  <c:v>0.71253789905475295</c:v>
                </c:pt>
                <c:pt idx="39953">
                  <c:v>0.71255573390404803</c:v>
                </c:pt>
                <c:pt idx="39954">
                  <c:v>0.71257356875334399</c:v>
                </c:pt>
                <c:pt idx="39955">
                  <c:v>0.71259140360263895</c:v>
                </c:pt>
                <c:pt idx="39956">
                  <c:v>0.71260923845193502</c:v>
                </c:pt>
                <c:pt idx="39957">
                  <c:v>0.71262707330122999</c:v>
                </c:pt>
                <c:pt idx="39958">
                  <c:v>0.71264490815052595</c:v>
                </c:pt>
                <c:pt idx="39959">
                  <c:v>0.71266274299982102</c:v>
                </c:pt>
                <c:pt idx="39960">
                  <c:v>0.71268057784911698</c:v>
                </c:pt>
                <c:pt idx="39961">
                  <c:v>0.71269841269841205</c:v>
                </c:pt>
                <c:pt idx="39962">
                  <c:v>0.71271624754770802</c:v>
                </c:pt>
                <c:pt idx="39963">
                  <c:v>0.71273408239700298</c:v>
                </c:pt>
                <c:pt idx="39964">
                  <c:v>0.71275191724629905</c:v>
                </c:pt>
                <c:pt idx="39965">
                  <c:v>0.71276975209559401</c:v>
                </c:pt>
                <c:pt idx="39966">
                  <c:v>0.71278758694488997</c:v>
                </c:pt>
                <c:pt idx="39967">
                  <c:v>0.71280542179418505</c:v>
                </c:pt>
                <c:pt idx="39968">
                  <c:v>0.71282325664348101</c:v>
                </c:pt>
                <c:pt idx="39969">
                  <c:v>0.71284109149277597</c:v>
                </c:pt>
                <c:pt idx="39970">
                  <c:v>0.71285892634207204</c:v>
                </c:pt>
                <c:pt idx="39971">
                  <c:v>0.712876761191367</c:v>
                </c:pt>
                <c:pt idx="39972">
                  <c:v>0.71289459604066296</c:v>
                </c:pt>
                <c:pt idx="39973">
                  <c:v>0.71291243088995804</c:v>
                </c:pt>
                <c:pt idx="39974">
                  <c:v>0.712930265739254</c:v>
                </c:pt>
                <c:pt idx="39975">
                  <c:v>0.71294810058854996</c:v>
                </c:pt>
                <c:pt idx="39976">
                  <c:v>0.71296593543784503</c:v>
                </c:pt>
                <c:pt idx="39977">
                  <c:v>0.71298377028714099</c:v>
                </c:pt>
                <c:pt idx="39978">
                  <c:v>0.71300160513643596</c:v>
                </c:pt>
                <c:pt idx="39979">
                  <c:v>0.71301943998573203</c:v>
                </c:pt>
                <c:pt idx="39980">
                  <c:v>0.71303727483502699</c:v>
                </c:pt>
                <c:pt idx="39981">
                  <c:v>0.71305510968432295</c:v>
                </c:pt>
                <c:pt idx="39982">
                  <c:v>0.71307294453361802</c:v>
                </c:pt>
                <c:pt idx="39983">
                  <c:v>0.71309077938291399</c:v>
                </c:pt>
                <c:pt idx="39984">
                  <c:v>0.71310861423220895</c:v>
                </c:pt>
                <c:pt idx="39985">
                  <c:v>0.71312644908150502</c:v>
                </c:pt>
                <c:pt idx="39986">
                  <c:v>0.71314428393079998</c:v>
                </c:pt>
                <c:pt idx="39987">
                  <c:v>0.71316211878009605</c:v>
                </c:pt>
                <c:pt idx="39988">
                  <c:v>0.71317995362939102</c:v>
                </c:pt>
                <c:pt idx="39989">
                  <c:v>0.71319778847868698</c:v>
                </c:pt>
                <c:pt idx="39990">
                  <c:v>0.71321562332798205</c:v>
                </c:pt>
                <c:pt idx="39991">
                  <c:v>0.71323345817727801</c:v>
                </c:pt>
                <c:pt idx="39992">
                  <c:v>0.71325129302657397</c:v>
                </c:pt>
                <c:pt idx="39993">
                  <c:v>0.71326912787586905</c:v>
                </c:pt>
                <c:pt idx="39994">
                  <c:v>0.71328696272516501</c:v>
                </c:pt>
                <c:pt idx="39995">
                  <c:v>0.71330479757445997</c:v>
                </c:pt>
                <c:pt idx="39996">
                  <c:v>0.71332263242375604</c:v>
                </c:pt>
                <c:pt idx="39997">
                  <c:v>0.713340467273051</c:v>
                </c:pt>
                <c:pt idx="39998">
                  <c:v>0.71335830212234697</c:v>
                </c:pt>
                <c:pt idx="39999">
                  <c:v>0.71337613697164204</c:v>
                </c:pt>
                <c:pt idx="40000">
                  <c:v>0.713393971820938</c:v>
                </c:pt>
                <c:pt idx="40001">
                  <c:v>0.71341180667023296</c:v>
                </c:pt>
                <c:pt idx="40002">
                  <c:v>0.71342964151952903</c:v>
                </c:pt>
                <c:pt idx="40003">
                  <c:v>0.713447476368824</c:v>
                </c:pt>
                <c:pt idx="40004">
                  <c:v>0.71346531121811996</c:v>
                </c:pt>
                <c:pt idx="40005">
                  <c:v>0.71348314606741503</c:v>
                </c:pt>
                <c:pt idx="40006">
                  <c:v>0.71350098091671099</c:v>
                </c:pt>
                <c:pt idx="40007">
                  <c:v>0.71351881576600595</c:v>
                </c:pt>
                <c:pt idx="40008">
                  <c:v>0.71353665061530203</c:v>
                </c:pt>
                <c:pt idx="40009">
                  <c:v>0.71355448546459699</c:v>
                </c:pt>
                <c:pt idx="40010">
                  <c:v>0.71357232031389295</c:v>
                </c:pt>
                <c:pt idx="40011">
                  <c:v>0.71359015516318802</c:v>
                </c:pt>
                <c:pt idx="40012">
                  <c:v>0.71360799001248398</c:v>
                </c:pt>
                <c:pt idx="40013">
                  <c:v>0.71362582486177994</c:v>
                </c:pt>
                <c:pt idx="40014">
                  <c:v>0.71364365971107502</c:v>
                </c:pt>
                <c:pt idx="40015">
                  <c:v>0.71366149456037098</c:v>
                </c:pt>
                <c:pt idx="40016">
                  <c:v>0.71367932940966605</c:v>
                </c:pt>
                <c:pt idx="40017">
                  <c:v>0.71369716425896201</c:v>
                </c:pt>
                <c:pt idx="40018">
                  <c:v>0.71371499910825698</c:v>
                </c:pt>
                <c:pt idx="40019">
                  <c:v>0.71373283395755305</c:v>
                </c:pt>
                <c:pt idx="40020">
                  <c:v>0.71375066880684801</c:v>
                </c:pt>
                <c:pt idx="40021">
                  <c:v>0.71376850365614397</c:v>
                </c:pt>
                <c:pt idx="40022">
                  <c:v>0.71378633850543904</c:v>
                </c:pt>
                <c:pt idx="40023">
                  <c:v>0.71380417335473501</c:v>
                </c:pt>
                <c:pt idx="40024">
                  <c:v>0.71382200820402997</c:v>
                </c:pt>
                <c:pt idx="40025">
                  <c:v>0.71383984305332604</c:v>
                </c:pt>
                <c:pt idx="40026">
                  <c:v>0.713857677902621</c:v>
                </c:pt>
                <c:pt idx="40027">
                  <c:v>0.71387551275191696</c:v>
                </c:pt>
                <c:pt idx="40028">
                  <c:v>0.71389334760121204</c:v>
                </c:pt>
                <c:pt idx="40029">
                  <c:v>0.713911182450508</c:v>
                </c:pt>
                <c:pt idx="40030">
                  <c:v>0.71392901729980296</c:v>
                </c:pt>
                <c:pt idx="40031">
                  <c:v>0.71394685214909903</c:v>
                </c:pt>
                <c:pt idx="40032">
                  <c:v>0.71396468699839399</c:v>
                </c:pt>
                <c:pt idx="40033">
                  <c:v>0.71398252184768995</c:v>
                </c:pt>
                <c:pt idx="40034">
                  <c:v>0.71400035669698503</c:v>
                </c:pt>
                <c:pt idx="40035">
                  <c:v>0.71401819154628099</c:v>
                </c:pt>
                <c:pt idx="40036">
                  <c:v>0.71403602639557695</c:v>
                </c:pt>
                <c:pt idx="40037">
                  <c:v>0.71405386124487202</c:v>
                </c:pt>
                <c:pt idx="40038">
                  <c:v>0.71407169609416798</c:v>
                </c:pt>
                <c:pt idx="40039">
                  <c:v>0.71408953094346295</c:v>
                </c:pt>
                <c:pt idx="40040">
                  <c:v>0.71410736579275902</c:v>
                </c:pt>
                <c:pt idx="40041">
                  <c:v>0.71412520064205398</c:v>
                </c:pt>
                <c:pt idx="40042">
                  <c:v>0.71414303549135005</c:v>
                </c:pt>
                <c:pt idx="40043">
                  <c:v>0.71416087034064502</c:v>
                </c:pt>
                <c:pt idx="40044">
                  <c:v>0.71417870518994098</c:v>
                </c:pt>
                <c:pt idx="40045">
                  <c:v>0.71419654003923605</c:v>
                </c:pt>
                <c:pt idx="40046">
                  <c:v>0.71421437488853201</c:v>
                </c:pt>
                <c:pt idx="40047">
                  <c:v>0.71423220973782697</c:v>
                </c:pt>
                <c:pt idx="40048">
                  <c:v>0.71425004458712305</c:v>
                </c:pt>
                <c:pt idx="40049">
                  <c:v>0.71426787943641801</c:v>
                </c:pt>
                <c:pt idx="40050">
                  <c:v>0.71428571428571397</c:v>
                </c:pt>
                <c:pt idx="40051">
                  <c:v>0.71430354913500904</c:v>
                </c:pt>
                <c:pt idx="40052">
                  <c:v>0.714321383984305</c:v>
                </c:pt>
                <c:pt idx="40053">
                  <c:v>0.71433921883359996</c:v>
                </c:pt>
                <c:pt idx="40054">
                  <c:v>0.71435705368289604</c:v>
                </c:pt>
                <c:pt idx="40055">
                  <c:v>0.714374888532191</c:v>
                </c:pt>
                <c:pt idx="40056">
                  <c:v>0.71439272338148696</c:v>
                </c:pt>
                <c:pt idx="40057">
                  <c:v>0.71441055823078203</c:v>
                </c:pt>
                <c:pt idx="40058">
                  <c:v>0.71442839308007799</c:v>
                </c:pt>
                <c:pt idx="40059">
                  <c:v>0.71444622792937396</c:v>
                </c:pt>
                <c:pt idx="40060">
                  <c:v>0.71446406277866903</c:v>
                </c:pt>
                <c:pt idx="40061">
                  <c:v>0.71448189762796499</c:v>
                </c:pt>
                <c:pt idx="40062">
                  <c:v>0.71449973247725995</c:v>
                </c:pt>
                <c:pt idx="40063">
                  <c:v>0.71451756732655602</c:v>
                </c:pt>
                <c:pt idx="40064">
                  <c:v>0.71453540217585099</c:v>
                </c:pt>
                <c:pt idx="40065">
                  <c:v>0.71455323702514695</c:v>
                </c:pt>
                <c:pt idx="40066">
                  <c:v>0.71457107187444202</c:v>
                </c:pt>
                <c:pt idx="40067">
                  <c:v>0.71458890672373798</c:v>
                </c:pt>
                <c:pt idx="40068">
                  <c:v>0.71460674157303306</c:v>
                </c:pt>
                <c:pt idx="40069">
                  <c:v>0.71462457642232902</c:v>
                </c:pt>
                <c:pt idx="40070">
                  <c:v>0.71464241127162398</c:v>
                </c:pt>
                <c:pt idx="40071">
                  <c:v>0.71466024612092005</c:v>
                </c:pt>
                <c:pt idx="40072">
                  <c:v>0.71467808097021501</c:v>
                </c:pt>
                <c:pt idx="40073">
                  <c:v>0.71469591581951097</c:v>
                </c:pt>
                <c:pt idx="40074">
                  <c:v>0.71471375066880605</c:v>
                </c:pt>
                <c:pt idx="40075">
                  <c:v>0.71473158551810201</c:v>
                </c:pt>
                <c:pt idx="40076">
                  <c:v>0.71474942036739697</c:v>
                </c:pt>
                <c:pt idx="40077">
                  <c:v>0.71476725521669304</c:v>
                </c:pt>
                <c:pt idx="40078">
                  <c:v>0.714785090065988</c:v>
                </c:pt>
                <c:pt idx="40079">
                  <c:v>0.71480292491528397</c:v>
                </c:pt>
                <c:pt idx="40080">
                  <c:v>0.71482075976458004</c:v>
                </c:pt>
                <c:pt idx="40081">
                  <c:v>0.714838594613875</c:v>
                </c:pt>
                <c:pt idx="40082">
                  <c:v>0.71485642946317096</c:v>
                </c:pt>
                <c:pt idx="40083">
                  <c:v>0.71487426431246603</c:v>
                </c:pt>
                <c:pt idx="40084">
                  <c:v>0.714892099161762</c:v>
                </c:pt>
                <c:pt idx="40085">
                  <c:v>0.71490993401105696</c:v>
                </c:pt>
                <c:pt idx="40086">
                  <c:v>0.71492776886035303</c:v>
                </c:pt>
                <c:pt idx="40087">
                  <c:v>0.71494560370964799</c:v>
                </c:pt>
                <c:pt idx="40088">
                  <c:v>0.71496343855894395</c:v>
                </c:pt>
                <c:pt idx="40089">
                  <c:v>0.71498127340823903</c:v>
                </c:pt>
                <c:pt idx="40090">
                  <c:v>0.71499910825753499</c:v>
                </c:pt>
                <c:pt idx="40091">
                  <c:v>0.71501694310682995</c:v>
                </c:pt>
                <c:pt idx="40092">
                  <c:v>0.71503477795612602</c:v>
                </c:pt>
                <c:pt idx="40093">
                  <c:v>0.71505261280542098</c:v>
                </c:pt>
                <c:pt idx="40094">
                  <c:v>0.71507044765471695</c:v>
                </c:pt>
                <c:pt idx="40095">
                  <c:v>0.71508828250401202</c:v>
                </c:pt>
                <c:pt idx="40096">
                  <c:v>0.71510611735330798</c:v>
                </c:pt>
                <c:pt idx="40097">
                  <c:v>0.71512395220260305</c:v>
                </c:pt>
                <c:pt idx="40098">
                  <c:v>0.71514178705189901</c:v>
                </c:pt>
                <c:pt idx="40099">
                  <c:v>0.71515962190119498</c:v>
                </c:pt>
                <c:pt idx="40100">
                  <c:v>0.71517745675049005</c:v>
                </c:pt>
                <c:pt idx="40101">
                  <c:v>0.71519529159978601</c:v>
                </c:pt>
                <c:pt idx="40102">
                  <c:v>0.71521312644908097</c:v>
                </c:pt>
                <c:pt idx="40103">
                  <c:v>0.71523096129837704</c:v>
                </c:pt>
                <c:pt idx="40104">
                  <c:v>0.71524879614767201</c:v>
                </c:pt>
                <c:pt idx="40105">
                  <c:v>0.71526663099696797</c:v>
                </c:pt>
                <c:pt idx="40106">
                  <c:v>0.71528446584626304</c:v>
                </c:pt>
                <c:pt idx="40107">
                  <c:v>0.715302300695559</c:v>
                </c:pt>
                <c:pt idx="40108">
                  <c:v>0.71532013554485396</c:v>
                </c:pt>
                <c:pt idx="40109">
                  <c:v>0.71533797039415004</c:v>
                </c:pt>
                <c:pt idx="40110">
                  <c:v>0.715355805243445</c:v>
                </c:pt>
                <c:pt idx="40111">
                  <c:v>0.71537364009274096</c:v>
                </c:pt>
                <c:pt idx="40112">
                  <c:v>0.71539147494203603</c:v>
                </c:pt>
                <c:pt idx="40113">
                  <c:v>0.71540930979133199</c:v>
                </c:pt>
                <c:pt idx="40114">
                  <c:v>0.71542714464062696</c:v>
                </c:pt>
                <c:pt idx="40115">
                  <c:v>0.71544497948992303</c:v>
                </c:pt>
                <c:pt idx="40116">
                  <c:v>0.71546281433921799</c:v>
                </c:pt>
                <c:pt idx="40117">
                  <c:v>0.71548064918851395</c:v>
                </c:pt>
                <c:pt idx="40118">
                  <c:v>0.71549848403780902</c:v>
                </c:pt>
                <c:pt idx="40119">
                  <c:v>0.71551631888710499</c:v>
                </c:pt>
                <c:pt idx="40120">
                  <c:v>0.71553415373640095</c:v>
                </c:pt>
                <c:pt idx="40121">
                  <c:v>0.71555198858569602</c:v>
                </c:pt>
                <c:pt idx="40122">
                  <c:v>0.71556982343499198</c:v>
                </c:pt>
                <c:pt idx="40123">
                  <c:v>0.71558765828428705</c:v>
                </c:pt>
                <c:pt idx="40124">
                  <c:v>0.71560549313358301</c:v>
                </c:pt>
                <c:pt idx="40125">
                  <c:v>0.71562332798287798</c:v>
                </c:pt>
                <c:pt idx="40126">
                  <c:v>0.71564116283217405</c:v>
                </c:pt>
                <c:pt idx="40127">
                  <c:v>0.71565899768146901</c:v>
                </c:pt>
                <c:pt idx="40128">
                  <c:v>0.71567683253076497</c:v>
                </c:pt>
                <c:pt idx="40129">
                  <c:v>0.71569466738006005</c:v>
                </c:pt>
                <c:pt idx="40130">
                  <c:v>0.71571250222935601</c:v>
                </c:pt>
                <c:pt idx="40131">
                  <c:v>0.71573033707865097</c:v>
                </c:pt>
                <c:pt idx="40132">
                  <c:v>0.71574817192794704</c:v>
                </c:pt>
                <c:pt idx="40133">
                  <c:v>0.715766006777242</c:v>
                </c:pt>
                <c:pt idx="40134">
                  <c:v>0.71578384162653796</c:v>
                </c:pt>
                <c:pt idx="40135">
                  <c:v>0.71580167647583304</c:v>
                </c:pt>
                <c:pt idx="40136">
                  <c:v>0.715819511325129</c:v>
                </c:pt>
                <c:pt idx="40137">
                  <c:v>0.71583734617442396</c:v>
                </c:pt>
                <c:pt idx="40138">
                  <c:v>0.71585518102372003</c:v>
                </c:pt>
                <c:pt idx="40139">
                  <c:v>0.715873015873015</c:v>
                </c:pt>
                <c:pt idx="40140">
                  <c:v>0.71589085072231096</c:v>
                </c:pt>
                <c:pt idx="40141">
                  <c:v>0.71590868557160603</c:v>
                </c:pt>
                <c:pt idx="40142">
                  <c:v>0.71592652042090199</c:v>
                </c:pt>
                <c:pt idx="40143">
                  <c:v>0.71594435527019795</c:v>
                </c:pt>
                <c:pt idx="40144">
                  <c:v>0.71596219011949302</c:v>
                </c:pt>
                <c:pt idx="40145">
                  <c:v>0.71598002496878899</c:v>
                </c:pt>
                <c:pt idx="40146">
                  <c:v>0.71599785981808395</c:v>
                </c:pt>
                <c:pt idx="40147">
                  <c:v>0.71601569466738002</c:v>
                </c:pt>
                <c:pt idx="40148">
                  <c:v>0.71603352951667498</c:v>
                </c:pt>
                <c:pt idx="40149">
                  <c:v>0.71605136436597105</c:v>
                </c:pt>
                <c:pt idx="40150">
                  <c:v>0.71606919921526602</c:v>
                </c:pt>
                <c:pt idx="40151">
                  <c:v>0.71608703406456198</c:v>
                </c:pt>
                <c:pt idx="40152">
                  <c:v>0.71610486891385705</c:v>
                </c:pt>
                <c:pt idx="40153">
                  <c:v>0.71612270376315301</c:v>
                </c:pt>
                <c:pt idx="40154">
                  <c:v>0.71614053861244797</c:v>
                </c:pt>
                <c:pt idx="40155">
                  <c:v>0.71615837346174405</c:v>
                </c:pt>
                <c:pt idx="40156">
                  <c:v>0.71617620831103901</c:v>
                </c:pt>
                <c:pt idx="40157">
                  <c:v>0.71619404316033497</c:v>
                </c:pt>
                <c:pt idx="40158">
                  <c:v>0.71621187800963004</c:v>
                </c:pt>
                <c:pt idx="40159">
                  <c:v>0.716229712858926</c:v>
                </c:pt>
                <c:pt idx="40160">
                  <c:v>0.71624754770822097</c:v>
                </c:pt>
                <c:pt idx="40161">
                  <c:v>0.71626538255751704</c:v>
                </c:pt>
                <c:pt idx="40162">
                  <c:v>0.716283217406812</c:v>
                </c:pt>
                <c:pt idx="40163">
                  <c:v>0.71630105225610796</c:v>
                </c:pt>
                <c:pt idx="40164">
                  <c:v>0.71631888710540303</c:v>
                </c:pt>
                <c:pt idx="40165">
                  <c:v>0.716336721954699</c:v>
                </c:pt>
                <c:pt idx="40166">
                  <c:v>0.71635455680399496</c:v>
                </c:pt>
                <c:pt idx="40167">
                  <c:v>0.71637239165329003</c:v>
                </c:pt>
                <c:pt idx="40168">
                  <c:v>0.71639022650258599</c:v>
                </c:pt>
                <c:pt idx="40169">
                  <c:v>0.71640806135188095</c:v>
                </c:pt>
                <c:pt idx="40170">
                  <c:v>0.71642589620117703</c:v>
                </c:pt>
                <c:pt idx="40171">
                  <c:v>0.71644373105047199</c:v>
                </c:pt>
                <c:pt idx="40172">
                  <c:v>0.71646156589976795</c:v>
                </c:pt>
                <c:pt idx="40173">
                  <c:v>0.71647940074906302</c:v>
                </c:pt>
                <c:pt idx="40174">
                  <c:v>0.71649723559835898</c:v>
                </c:pt>
                <c:pt idx="40175">
                  <c:v>0.71651507044765395</c:v>
                </c:pt>
                <c:pt idx="40176">
                  <c:v>0.71653290529695002</c:v>
                </c:pt>
                <c:pt idx="40177">
                  <c:v>0.71655074014624498</c:v>
                </c:pt>
                <c:pt idx="40178">
                  <c:v>0.71656857499554105</c:v>
                </c:pt>
                <c:pt idx="40179">
                  <c:v>0.71658640984483601</c:v>
                </c:pt>
                <c:pt idx="40180">
                  <c:v>0.71660424469413198</c:v>
                </c:pt>
                <c:pt idx="40181">
                  <c:v>0.71662207954342705</c:v>
                </c:pt>
                <c:pt idx="40182">
                  <c:v>0.71663991439272301</c:v>
                </c:pt>
                <c:pt idx="40183">
                  <c:v>0.71665774924201797</c:v>
                </c:pt>
                <c:pt idx="40184">
                  <c:v>0.71667558409131404</c:v>
                </c:pt>
                <c:pt idx="40185">
                  <c:v>0.71669341894061001</c:v>
                </c:pt>
                <c:pt idx="40186">
                  <c:v>0.71671125378990497</c:v>
                </c:pt>
                <c:pt idx="40187">
                  <c:v>0.71672908863920104</c:v>
                </c:pt>
                <c:pt idx="40188">
                  <c:v>0.716746923488496</c:v>
                </c:pt>
                <c:pt idx="40189">
                  <c:v>0.71676475833779196</c:v>
                </c:pt>
                <c:pt idx="40190">
                  <c:v>0.71678259318708704</c:v>
                </c:pt>
                <c:pt idx="40191">
                  <c:v>0.716800428036383</c:v>
                </c:pt>
                <c:pt idx="40192">
                  <c:v>0.71681826288567796</c:v>
                </c:pt>
                <c:pt idx="40193">
                  <c:v>0.71683609773497403</c:v>
                </c:pt>
                <c:pt idx="40194">
                  <c:v>0.71685393258426899</c:v>
                </c:pt>
                <c:pt idx="40195">
                  <c:v>0.71687176743356495</c:v>
                </c:pt>
                <c:pt idx="40196">
                  <c:v>0.71688960228286003</c:v>
                </c:pt>
                <c:pt idx="40197">
                  <c:v>0.71690743713215599</c:v>
                </c:pt>
                <c:pt idx="40198">
                  <c:v>0.71692527198145095</c:v>
                </c:pt>
                <c:pt idx="40199">
                  <c:v>0.71694310683074702</c:v>
                </c:pt>
                <c:pt idx="40200">
                  <c:v>0.71696094168004199</c:v>
                </c:pt>
                <c:pt idx="40201">
                  <c:v>0.71697877652933795</c:v>
                </c:pt>
                <c:pt idx="40202">
                  <c:v>0.71699661137863302</c:v>
                </c:pt>
                <c:pt idx="40203">
                  <c:v>0.71701444622792898</c:v>
                </c:pt>
                <c:pt idx="40204">
                  <c:v>0.71703228107722405</c:v>
                </c:pt>
                <c:pt idx="40205">
                  <c:v>0.71705011592652002</c:v>
                </c:pt>
                <c:pt idx="40206">
                  <c:v>0.71706795077581598</c:v>
                </c:pt>
                <c:pt idx="40207">
                  <c:v>0.71708578562511105</c:v>
                </c:pt>
                <c:pt idx="40208">
                  <c:v>0.71710362047440701</c:v>
                </c:pt>
                <c:pt idx="40209">
                  <c:v>0.71712145532370197</c:v>
                </c:pt>
                <c:pt idx="40210">
                  <c:v>0.71713929017299805</c:v>
                </c:pt>
                <c:pt idx="40211">
                  <c:v>0.71715712502229301</c:v>
                </c:pt>
                <c:pt idx="40212">
                  <c:v>0.71717495987158897</c:v>
                </c:pt>
                <c:pt idx="40213">
                  <c:v>0.71719279472088404</c:v>
                </c:pt>
                <c:pt idx="40214">
                  <c:v>0.71721062957018</c:v>
                </c:pt>
                <c:pt idx="40215">
                  <c:v>0.71722846441947496</c:v>
                </c:pt>
                <c:pt idx="40216">
                  <c:v>0.71724629926877104</c:v>
                </c:pt>
                <c:pt idx="40217">
                  <c:v>0.717264134118066</c:v>
                </c:pt>
                <c:pt idx="40218">
                  <c:v>0.71728196896736196</c:v>
                </c:pt>
                <c:pt idx="40219">
                  <c:v>0.71729980381665703</c:v>
                </c:pt>
                <c:pt idx="40220">
                  <c:v>0.71731763866595299</c:v>
                </c:pt>
                <c:pt idx="40221">
                  <c:v>0.71733547351524796</c:v>
                </c:pt>
                <c:pt idx="40222">
                  <c:v>0.71735330836454403</c:v>
                </c:pt>
                <c:pt idx="40223">
                  <c:v>0.71737114321383899</c:v>
                </c:pt>
                <c:pt idx="40224">
                  <c:v>0.71738897806313495</c:v>
                </c:pt>
                <c:pt idx="40225">
                  <c:v>0.71740681291243003</c:v>
                </c:pt>
                <c:pt idx="40226">
                  <c:v>0.71742464776172599</c:v>
                </c:pt>
                <c:pt idx="40227">
                  <c:v>0.71744248261102195</c:v>
                </c:pt>
                <c:pt idx="40228">
                  <c:v>0.71746031746031702</c:v>
                </c:pt>
                <c:pt idx="40229">
                  <c:v>0.71747815230961298</c:v>
                </c:pt>
                <c:pt idx="40230">
                  <c:v>0.71749598715890806</c:v>
                </c:pt>
                <c:pt idx="40231">
                  <c:v>0.71751382200820402</c:v>
                </c:pt>
                <c:pt idx="40232">
                  <c:v>0.71753165685749898</c:v>
                </c:pt>
                <c:pt idx="40233">
                  <c:v>0.71754949170679505</c:v>
                </c:pt>
                <c:pt idx="40234">
                  <c:v>0.71756732655609001</c:v>
                </c:pt>
                <c:pt idx="40235">
                  <c:v>0.71758516140538597</c:v>
                </c:pt>
                <c:pt idx="40236">
                  <c:v>0.71760299625468105</c:v>
                </c:pt>
                <c:pt idx="40237">
                  <c:v>0.71762083110397701</c:v>
                </c:pt>
                <c:pt idx="40238">
                  <c:v>0.71763866595327197</c:v>
                </c:pt>
                <c:pt idx="40239">
                  <c:v>0.71765650080256804</c:v>
                </c:pt>
                <c:pt idx="40240">
                  <c:v>0.717674335651863</c:v>
                </c:pt>
                <c:pt idx="40241">
                  <c:v>0.71769217050115897</c:v>
                </c:pt>
                <c:pt idx="40242">
                  <c:v>0.71771000535045404</c:v>
                </c:pt>
                <c:pt idx="40243">
                  <c:v>0.71772784019975</c:v>
                </c:pt>
                <c:pt idx="40244">
                  <c:v>0.71774567504904496</c:v>
                </c:pt>
                <c:pt idx="40245">
                  <c:v>0.71776350989834103</c:v>
                </c:pt>
                <c:pt idx="40246">
                  <c:v>0.717781344747636</c:v>
                </c:pt>
                <c:pt idx="40247">
                  <c:v>0.71779917959693196</c:v>
                </c:pt>
                <c:pt idx="40248">
                  <c:v>0.71781701444622703</c:v>
                </c:pt>
                <c:pt idx="40249">
                  <c:v>0.71783484929552299</c:v>
                </c:pt>
                <c:pt idx="40250">
                  <c:v>0.71785268414481895</c:v>
                </c:pt>
                <c:pt idx="40251">
                  <c:v>0.71787051899411403</c:v>
                </c:pt>
                <c:pt idx="40252">
                  <c:v>0.71788835384340999</c:v>
                </c:pt>
                <c:pt idx="40253">
                  <c:v>0.71790618869270495</c:v>
                </c:pt>
                <c:pt idx="40254">
                  <c:v>0.71792402354200102</c:v>
                </c:pt>
                <c:pt idx="40255">
                  <c:v>0.71794185839129598</c:v>
                </c:pt>
                <c:pt idx="40256">
                  <c:v>0.71795969324059195</c:v>
                </c:pt>
                <c:pt idx="40257">
                  <c:v>0.71797752808988702</c:v>
                </c:pt>
                <c:pt idx="40258">
                  <c:v>0.71799536293918298</c:v>
                </c:pt>
                <c:pt idx="40259">
                  <c:v>0.71801319778847805</c:v>
                </c:pt>
                <c:pt idx="40260">
                  <c:v>0.71803103263777401</c:v>
                </c:pt>
                <c:pt idx="40261">
                  <c:v>0.71804886748706898</c:v>
                </c:pt>
                <c:pt idx="40262">
                  <c:v>0.71806670233636505</c:v>
                </c:pt>
                <c:pt idx="40263">
                  <c:v>0.71808453718566001</c:v>
                </c:pt>
                <c:pt idx="40264">
                  <c:v>0.71810237203495597</c:v>
                </c:pt>
                <c:pt idx="40265">
                  <c:v>0.71812020688425104</c:v>
                </c:pt>
                <c:pt idx="40266">
                  <c:v>0.71813804173354701</c:v>
                </c:pt>
                <c:pt idx="40267">
                  <c:v>0.71815587658284197</c:v>
                </c:pt>
                <c:pt idx="40268">
                  <c:v>0.71817371143213804</c:v>
                </c:pt>
                <c:pt idx="40269">
                  <c:v>0.718191546281433</c:v>
                </c:pt>
                <c:pt idx="40270">
                  <c:v>0.71820938113072896</c:v>
                </c:pt>
                <c:pt idx="40271">
                  <c:v>0.71822721598002404</c:v>
                </c:pt>
                <c:pt idx="40272">
                  <c:v>0.71824505082932</c:v>
                </c:pt>
                <c:pt idx="40273">
                  <c:v>0.71826288567861596</c:v>
                </c:pt>
                <c:pt idx="40274">
                  <c:v>0.71828072052791103</c:v>
                </c:pt>
                <c:pt idx="40275">
                  <c:v>0.71829855537720699</c:v>
                </c:pt>
                <c:pt idx="40276">
                  <c:v>0.71831639022650196</c:v>
                </c:pt>
                <c:pt idx="40277">
                  <c:v>0.71833422507579803</c:v>
                </c:pt>
                <c:pt idx="40278">
                  <c:v>0.71835205992509299</c:v>
                </c:pt>
                <c:pt idx="40279">
                  <c:v>0.71836989477438895</c:v>
                </c:pt>
                <c:pt idx="40280">
                  <c:v>0.71838772962368402</c:v>
                </c:pt>
                <c:pt idx="40281">
                  <c:v>0.71840556447297998</c:v>
                </c:pt>
                <c:pt idx="40282">
                  <c:v>0.71842339932227495</c:v>
                </c:pt>
                <c:pt idx="40283">
                  <c:v>0.71844123417157102</c:v>
                </c:pt>
                <c:pt idx="40284">
                  <c:v>0.71845906902086598</c:v>
                </c:pt>
                <c:pt idx="40285">
                  <c:v>0.71847690387016205</c:v>
                </c:pt>
                <c:pt idx="40286">
                  <c:v>0.71849473871945702</c:v>
                </c:pt>
                <c:pt idx="40287">
                  <c:v>0.71851257356875298</c:v>
                </c:pt>
                <c:pt idx="40288">
                  <c:v>0.71853040841804805</c:v>
                </c:pt>
                <c:pt idx="40289">
                  <c:v>0.71854824326734401</c:v>
                </c:pt>
                <c:pt idx="40290">
                  <c:v>0.71856607811663897</c:v>
                </c:pt>
                <c:pt idx="40291">
                  <c:v>0.71858391296593505</c:v>
                </c:pt>
                <c:pt idx="40292">
                  <c:v>0.71860174781523101</c:v>
                </c:pt>
                <c:pt idx="40293">
                  <c:v>0.71861958266452597</c:v>
                </c:pt>
                <c:pt idx="40294">
                  <c:v>0.71863741751382204</c:v>
                </c:pt>
                <c:pt idx="40295">
                  <c:v>0.718655252363117</c:v>
                </c:pt>
                <c:pt idx="40296">
                  <c:v>0.71867308721241296</c:v>
                </c:pt>
                <c:pt idx="40297">
                  <c:v>0.71869092206170804</c:v>
                </c:pt>
                <c:pt idx="40298">
                  <c:v>0.718708756911004</c:v>
                </c:pt>
                <c:pt idx="40299">
                  <c:v>0.71872659176029896</c:v>
                </c:pt>
                <c:pt idx="40300">
                  <c:v>0.71874442660959503</c:v>
                </c:pt>
                <c:pt idx="40301">
                  <c:v>0.71876226145888999</c:v>
                </c:pt>
                <c:pt idx="40302">
                  <c:v>0.71878009630818596</c:v>
                </c:pt>
                <c:pt idx="40303">
                  <c:v>0.71879793115748103</c:v>
                </c:pt>
                <c:pt idx="40304">
                  <c:v>0.71881576600677699</c:v>
                </c:pt>
                <c:pt idx="40305">
                  <c:v>0.71883360085607195</c:v>
                </c:pt>
                <c:pt idx="40306">
                  <c:v>0.71885143570536802</c:v>
                </c:pt>
                <c:pt idx="40307">
                  <c:v>0.71886927055466299</c:v>
                </c:pt>
                <c:pt idx="40308">
                  <c:v>0.71888710540395895</c:v>
                </c:pt>
                <c:pt idx="40309">
                  <c:v>0.71890494025325402</c:v>
                </c:pt>
                <c:pt idx="40310">
                  <c:v>0.71892277510254998</c:v>
                </c:pt>
                <c:pt idx="40311">
                  <c:v>0.71894060995184506</c:v>
                </c:pt>
                <c:pt idx="40312">
                  <c:v>0.71895844480114102</c:v>
                </c:pt>
                <c:pt idx="40313">
                  <c:v>0.71897627965043698</c:v>
                </c:pt>
                <c:pt idx="40314">
                  <c:v>0.71899411449973205</c:v>
                </c:pt>
                <c:pt idx="40315">
                  <c:v>0.71901194934902801</c:v>
                </c:pt>
                <c:pt idx="40316">
                  <c:v>0.71902978419832297</c:v>
                </c:pt>
                <c:pt idx="40317">
                  <c:v>0.71904761904761905</c:v>
                </c:pt>
                <c:pt idx="40318">
                  <c:v>0.71906545389691401</c:v>
                </c:pt>
                <c:pt idx="40319">
                  <c:v>0.71908328874620997</c:v>
                </c:pt>
                <c:pt idx="40320">
                  <c:v>0.71910112359550504</c:v>
                </c:pt>
                <c:pt idx="40321">
                  <c:v>0.719118958444801</c:v>
                </c:pt>
                <c:pt idx="40322">
                  <c:v>0.71913679329409597</c:v>
                </c:pt>
                <c:pt idx="40323">
                  <c:v>0.71915462814339204</c:v>
                </c:pt>
                <c:pt idx="40324">
                  <c:v>0.719172462992687</c:v>
                </c:pt>
                <c:pt idx="40325">
                  <c:v>0.71919029784198296</c:v>
                </c:pt>
                <c:pt idx="40326">
                  <c:v>0.71920813269127803</c:v>
                </c:pt>
                <c:pt idx="40327">
                  <c:v>0.719225967540574</c:v>
                </c:pt>
                <c:pt idx="40328">
                  <c:v>0.71924380238986896</c:v>
                </c:pt>
                <c:pt idx="40329">
                  <c:v>0.71926163723916503</c:v>
                </c:pt>
                <c:pt idx="40330">
                  <c:v>0.71927947208845999</c:v>
                </c:pt>
                <c:pt idx="40331">
                  <c:v>0.71929730693775595</c:v>
                </c:pt>
                <c:pt idx="40332">
                  <c:v>0.71931514178705103</c:v>
                </c:pt>
                <c:pt idx="40333">
                  <c:v>0.71933297663634699</c:v>
                </c:pt>
                <c:pt idx="40334">
                  <c:v>0.71935081148564295</c:v>
                </c:pt>
                <c:pt idx="40335">
                  <c:v>0.71936864633493802</c:v>
                </c:pt>
                <c:pt idx="40336">
                  <c:v>0.71938648118423398</c:v>
                </c:pt>
                <c:pt idx="40337">
                  <c:v>0.71940431603352895</c:v>
                </c:pt>
                <c:pt idx="40338">
                  <c:v>0.71942215088282502</c:v>
                </c:pt>
                <c:pt idx="40339">
                  <c:v>0.71943998573211998</c:v>
                </c:pt>
                <c:pt idx="40340">
                  <c:v>0.71945782058141605</c:v>
                </c:pt>
                <c:pt idx="40341">
                  <c:v>0.71947565543071101</c:v>
                </c:pt>
                <c:pt idx="40342">
                  <c:v>0.71949349028000698</c:v>
                </c:pt>
                <c:pt idx="40343">
                  <c:v>0.71951132512930205</c:v>
                </c:pt>
                <c:pt idx="40344">
                  <c:v>0.71952915997859801</c:v>
                </c:pt>
                <c:pt idx="40345">
                  <c:v>0.71954699482789297</c:v>
                </c:pt>
                <c:pt idx="40346">
                  <c:v>0.71956482967718904</c:v>
                </c:pt>
                <c:pt idx="40347">
                  <c:v>0.71958266452648401</c:v>
                </c:pt>
                <c:pt idx="40348">
                  <c:v>0.71960049937577997</c:v>
                </c:pt>
                <c:pt idx="40349">
                  <c:v>0.71961833422507504</c:v>
                </c:pt>
                <c:pt idx="40350">
                  <c:v>0.719636169074371</c:v>
                </c:pt>
                <c:pt idx="40351">
                  <c:v>0.71965400392366596</c:v>
                </c:pt>
                <c:pt idx="40352">
                  <c:v>0.71967183877296204</c:v>
                </c:pt>
                <c:pt idx="40353">
                  <c:v>0.719689673622257</c:v>
                </c:pt>
                <c:pt idx="40354">
                  <c:v>0.71970750847155296</c:v>
                </c:pt>
                <c:pt idx="40355">
                  <c:v>0.71972534332084803</c:v>
                </c:pt>
                <c:pt idx="40356">
                  <c:v>0.71974317817014399</c:v>
                </c:pt>
                <c:pt idx="40357">
                  <c:v>0.71976101301943995</c:v>
                </c:pt>
                <c:pt idx="40358">
                  <c:v>0.71977884786873503</c:v>
                </c:pt>
                <c:pt idx="40359">
                  <c:v>0.71979668271803099</c:v>
                </c:pt>
                <c:pt idx="40360">
                  <c:v>0.71981451756732595</c:v>
                </c:pt>
                <c:pt idx="40361">
                  <c:v>0.71983235241662202</c:v>
                </c:pt>
                <c:pt idx="40362">
                  <c:v>0.71985018726591699</c:v>
                </c:pt>
                <c:pt idx="40363">
                  <c:v>0.71986802211521295</c:v>
                </c:pt>
                <c:pt idx="40364">
                  <c:v>0.71988585696450802</c:v>
                </c:pt>
                <c:pt idx="40365">
                  <c:v>0.71990369181380398</c:v>
                </c:pt>
                <c:pt idx="40366">
                  <c:v>0.71992152666309905</c:v>
                </c:pt>
                <c:pt idx="40367">
                  <c:v>0.71993936151239502</c:v>
                </c:pt>
                <c:pt idx="40368">
                  <c:v>0.71995719636168998</c:v>
                </c:pt>
                <c:pt idx="40369">
                  <c:v>0.71997503121098605</c:v>
                </c:pt>
                <c:pt idx="40370">
                  <c:v>0.71999286606028101</c:v>
                </c:pt>
                <c:pt idx="40371">
                  <c:v>0.72001070090957697</c:v>
                </c:pt>
                <c:pt idx="40372">
                  <c:v>0.72002853575887205</c:v>
                </c:pt>
                <c:pt idx="40373">
                  <c:v>0.72004637060816801</c:v>
                </c:pt>
                <c:pt idx="40374">
                  <c:v>0.72006420545746297</c:v>
                </c:pt>
                <c:pt idx="40375">
                  <c:v>0.72008204030675904</c:v>
                </c:pt>
                <c:pt idx="40376">
                  <c:v>0.720099875156054</c:v>
                </c:pt>
                <c:pt idx="40377">
                  <c:v>0.72011771000534996</c:v>
                </c:pt>
                <c:pt idx="40378">
                  <c:v>0.72013554485464504</c:v>
                </c:pt>
                <c:pt idx="40379">
                  <c:v>0.720153379703941</c:v>
                </c:pt>
                <c:pt idx="40380">
                  <c:v>0.72017121455323696</c:v>
                </c:pt>
                <c:pt idx="40381">
                  <c:v>0.72018904940253203</c:v>
                </c:pt>
                <c:pt idx="40382">
                  <c:v>0.72020688425182799</c:v>
                </c:pt>
                <c:pt idx="40383">
                  <c:v>0.72022471910112296</c:v>
                </c:pt>
                <c:pt idx="40384">
                  <c:v>0.72024255395041903</c:v>
                </c:pt>
                <c:pt idx="40385">
                  <c:v>0.72026038879971399</c:v>
                </c:pt>
                <c:pt idx="40386">
                  <c:v>0.72027822364900995</c:v>
                </c:pt>
                <c:pt idx="40387">
                  <c:v>0.72029605849830503</c:v>
                </c:pt>
                <c:pt idx="40388">
                  <c:v>0.72031389334760099</c:v>
                </c:pt>
                <c:pt idx="40389">
                  <c:v>0.72033172819689595</c:v>
                </c:pt>
                <c:pt idx="40390">
                  <c:v>0.72034956304619202</c:v>
                </c:pt>
                <c:pt idx="40391">
                  <c:v>0.72036739789548698</c:v>
                </c:pt>
                <c:pt idx="40392">
                  <c:v>0.72038523274478306</c:v>
                </c:pt>
                <c:pt idx="40393">
                  <c:v>0.72040306759407802</c:v>
                </c:pt>
                <c:pt idx="40394">
                  <c:v>0.72042090244337398</c:v>
                </c:pt>
                <c:pt idx="40395">
                  <c:v>0.72043873729266905</c:v>
                </c:pt>
                <c:pt idx="40396">
                  <c:v>0.72045657214196501</c:v>
                </c:pt>
                <c:pt idx="40397">
                  <c:v>0.72047440699126097</c:v>
                </c:pt>
                <c:pt idx="40398">
                  <c:v>0.72049224184055605</c:v>
                </c:pt>
                <c:pt idx="40399">
                  <c:v>0.72051007668985201</c:v>
                </c:pt>
                <c:pt idx="40400">
                  <c:v>0.72052791153914697</c:v>
                </c:pt>
                <c:pt idx="40401">
                  <c:v>0.72054574638844304</c:v>
                </c:pt>
                <c:pt idx="40402">
                  <c:v>0.720563581237738</c:v>
                </c:pt>
                <c:pt idx="40403">
                  <c:v>0.72058141608703397</c:v>
                </c:pt>
                <c:pt idx="40404">
                  <c:v>0.72059925093632904</c:v>
                </c:pt>
                <c:pt idx="40405">
                  <c:v>0.720617085785625</c:v>
                </c:pt>
                <c:pt idx="40406">
                  <c:v>0.72063492063491996</c:v>
                </c:pt>
                <c:pt idx="40407">
                  <c:v>0.72065275548421603</c:v>
                </c:pt>
                <c:pt idx="40408">
                  <c:v>0.720670590333511</c:v>
                </c:pt>
                <c:pt idx="40409">
                  <c:v>0.72068842518280696</c:v>
                </c:pt>
                <c:pt idx="40410">
                  <c:v>0.72070626003210203</c:v>
                </c:pt>
                <c:pt idx="40411">
                  <c:v>0.72072409488139799</c:v>
                </c:pt>
                <c:pt idx="40412">
                  <c:v>0.72074192973069295</c:v>
                </c:pt>
                <c:pt idx="40413">
                  <c:v>0.72075976457998903</c:v>
                </c:pt>
                <c:pt idx="40414">
                  <c:v>0.72077759942928399</c:v>
                </c:pt>
                <c:pt idx="40415">
                  <c:v>0.72079543427857995</c:v>
                </c:pt>
                <c:pt idx="40416">
                  <c:v>0.72081326912787502</c:v>
                </c:pt>
                <c:pt idx="40417">
                  <c:v>0.72083110397717098</c:v>
                </c:pt>
                <c:pt idx="40418">
                  <c:v>0.72084893882646695</c:v>
                </c:pt>
                <c:pt idx="40419">
                  <c:v>0.72086677367576202</c:v>
                </c:pt>
                <c:pt idx="40420">
                  <c:v>0.72088460852505798</c:v>
                </c:pt>
                <c:pt idx="40421">
                  <c:v>0.72090244337435305</c:v>
                </c:pt>
                <c:pt idx="40422">
                  <c:v>0.72092027822364901</c:v>
                </c:pt>
                <c:pt idx="40423">
                  <c:v>0.72093811307294398</c:v>
                </c:pt>
                <c:pt idx="40424">
                  <c:v>0.72095594792224005</c:v>
                </c:pt>
                <c:pt idx="40425">
                  <c:v>0.72097378277153501</c:v>
                </c:pt>
                <c:pt idx="40426">
                  <c:v>0.72099161762083097</c:v>
                </c:pt>
                <c:pt idx="40427">
                  <c:v>0.72100945247012604</c:v>
                </c:pt>
                <c:pt idx="40428">
                  <c:v>0.72102728731942201</c:v>
                </c:pt>
                <c:pt idx="40429">
                  <c:v>0.72104512216871697</c:v>
                </c:pt>
                <c:pt idx="40430">
                  <c:v>0.72106295701801304</c:v>
                </c:pt>
                <c:pt idx="40431">
                  <c:v>0.721080791867308</c:v>
                </c:pt>
                <c:pt idx="40432">
                  <c:v>0.72109862671660396</c:v>
                </c:pt>
                <c:pt idx="40433">
                  <c:v>0.72111646156589904</c:v>
                </c:pt>
                <c:pt idx="40434">
                  <c:v>0.721134296415195</c:v>
                </c:pt>
                <c:pt idx="40435">
                  <c:v>0.72115213126448996</c:v>
                </c:pt>
                <c:pt idx="40436">
                  <c:v>0.72116996611378603</c:v>
                </c:pt>
                <c:pt idx="40437">
                  <c:v>0.72118780096308099</c:v>
                </c:pt>
                <c:pt idx="40438">
                  <c:v>0.72120563581237696</c:v>
                </c:pt>
                <c:pt idx="40439">
                  <c:v>0.72122347066167203</c:v>
                </c:pt>
                <c:pt idx="40440">
                  <c:v>0.72124130551096799</c:v>
                </c:pt>
                <c:pt idx="40441">
                  <c:v>0.72125914036026395</c:v>
                </c:pt>
                <c:pt idx="40442">
                  <c:v>0.72127697520955902</c:v>
                </c:pt>
                <c:pt idx="40443">
                  <c:v>0.72129481005885498</c:v>
                </c:pt>
                <c:pt idx="40444">
                  <c:v>0.72131264490814995</c:v>
                </c:pt>
                <c:pt idx="40445">
                  <c:v>0.72133047975744602</c:v>
                </c:pt>
                <c:pt idx="40446">
                  <c:v>0.72134831460674098</c:v>
                </c:pt>
                <c:pt idx="40447">
                  <c:v>0.72136614945603705</c:v>
                </c:pt>
                <c:pt idx="40448">
                  <c:v>0.72138398430533202</c:v>
                </c:pt>
                <c:pt idx="40449">
                  <c:v>0.72140181915462798</c:v>
                </c:pt>
                <c:pt idx="40450">
                  <c:v>0.72141965400392305</c:v>
                </c:pt>
                <c:pt idx="40451">
                  <c:v>0.72143748885321901</c:v>
                </c:pt>
                <c:pt idx="40452">
                  <c:v>0.72145532370251397</c:v>
                </c:pt>
                <c:pt idx="40453">
                  <c:v>0.72147315855181005</c:v>
                </c:pt>
                <c:pt idx="40454">
                  <c:v>0.72149099340110501</c:v>
                </c:pt>
                <c:pt idx="40455">
                  <c:v>0.72150882825040097</c:v>
                </c:pt>
                <c:pt idx="40456">
                  <c:v>0.72152666309969604</c:v>
                </c:pt>
                <c:pt idx="40457">
                  <c:v>0.721544497948992</c:v>
                </c:pt>
                <c:pt idx="40458">
                  <c:v>0.72156233279828697</c:v>
                </c:pt>
                <c:pt idx="40459">
                  <c:v>0.72158016764758304</c:v>
                </c:pt>
                <c:pt idx="40460">
                  <c:v>0.721598002496878</c:v>
                </c:pt>
                <c:pt idx="40461">
                  <c:v>0.72161583734617396</c:v>
                </c:pt>
                <c:pt idx="40462">
                  <c:v>0.72163367219546903</c:v>
                </c:pt>
                <c:pt idx="40463">
                  <c:v>0.72165150704476499</c:v>
                </c:pt>
                <c:pt idx="40464">
                  <c:v>0.72166934189406096</c:v>
                </c:pt>
                <c:pt idx="40465">
                  <c:v>0.72168717674335603</c:v>
                </c:pt>
                <c:pt idx="40466">
                  <c:v>0.72170501159265199</c:v>
                </c:pt>
                <c:pt idx="40467">
                  <c:v>0.72172284644194695</c:v>
                </c:pt>
                <c:pt idx="40468">
                  <c:v>0.72174068129124302</c:v>
                </c:pt>
                <c:pt idx="40469">
                  <c:v>0.72175851614053799</c:v>
                </c:pt>
                <c:pt idx="40470">
                  <c:v>0.72177635098983395</c:v>
                </c:pt>
                <c:pt idx="40471">
                  <c:v>0.72179418583912902</c:v>
                </c:pt>
                <c:pt idx="40472">
                  <c:v>0.72181202068842498</c:v>
                </c:pt>
                <c:pt idx="40473">
                  <c:v>0.72182985553772006</c:v>
                </c:pt>
                <c:pt idx="40474">
                  <c:v>0.72184769038701602</c:v>
                </c:pt>
                <c:pt idx="40475">
                  <c:v>0.72186552523631098</c:v>
                </c:pt>
                <c:pt idx="40476">
                  <c:v>0.72188336008560705</c:v>
                </c:pt>
                <c:pt idx="40477">
                  <c:v>0.72190119493490201</c:v>
                </c:pt>
                <c:pt idx="40478">
                  <c:v>0.72191902978419797</c:v>
                </c:pt>
                <c:pt idx="40479">
                  <c:v>0.72193686463349305</c:v>
                </c:pt>
                <c:pt idx="40480">
                  <c:v>0.72195469948278901</c:v>
                </c:pt>
                <c:pt idx="40481">
                  <c:v>0.72197253433208397</c:v>
                </c:pt>
                <c:pt idx="40482">
                  <c:v>0.72199036918138004</c:v>
                </c:pt>
                <c:pt idx="40483">
                  <c:v>0.722008204030675</c:v>
                </c:pt>
                <c:pt idx="40484">
                  <c:v>0.72202603887997097</c:v>
                </c:pt>
                <c:pt idx="40485">
                  <c:v>0.72204387372926704</c:v>
                </c:pt>
                <c:pt idx="40486">
                  <c:v>0.722061708578562</c:v>
                </c:pt>
                <c:pt idx="40487">
                  <c:v>0.72207954342785796</c:v>
                </c:pt>
                <c:pt idx="40488">
                  <c:v>0.72209737827715303</c:v>
                </c:pt>
                <c:pt idx="40489">
                  <c:v>0.722115213126449</c:v>
                </c:pt>
                <c:pt idx="40490">
                  <c:v>0.72213304797574396</c:v>
                </c:pt>
                <c:pt idx="40491">
                  <c:v>0.72215088282504003</c:v>
                </c:pt>
                <c:pt idx="40492">
                  <c:v>0.72216871767433499</c:v>
                </c:pt>
                <c:pt idx="40493">
                  <c:v>0.72218655252363095</c:v>
                </c:pt>
                <c:pt idx="40494">
                  <c:v>0.72220438737292603</c:v>
                </c:pt>
                <c:pt idx="40495">
                  <c:v>0.72222222222222199</c:v>
                </c:pt>
                <c:pt idx="40496">
                  <c:v>0.72224005707151695</c:v>
                </c:pt>
                <c:pt idx="40497">
                  <c:v>0.72225789192081302</c:v>
                </c:pt>
                <c:pt idx="40498">
                  <c:v>0.72227572677010798</c:v>
                </c:pt>
                <c:pt idx="40499">
                  <c:v>0.72229356161940395</c:v>
                </c:pt>
                <c:pt idx="40500">
                  <c:v>0.72231139646869902</c:v>
                </c:pt>
                <c:pt idx="40501">
                  <c:v>0.72232923131799498</c:v>
                </c:pt>
                <c:pt idx="40502">
                  <c:v>0.72234706616729005</c:v>
                </c:pt>
                <c:pt idx="40503">
                  <c:v>0.72236490101658601</c:v>
                </c:pt>
                <c:pt idx="40504">
                  <c:v>0.72238273586588198</c:v>
                </c:pt>
                <c:pt idx="40505">
                  <c:v>0.72240057071517705</c:v>
                </c:pt>
                <c:pt idx="40506">
                  <c:v>0.72241840556447301</c:v>
                </c:pt>
                <c:pt idx="40507">
                  <c:v>0.72243624041376797</c:v>
                </c:pt>
                <c:pt idx="40508">
                  <c:v>0.72245407526306404</c:v>
                </c:pt>
                <c:pt idx="40509">
                  <c:v>0.72247191011235901</c:v>
                </c:pt>
                <c:pt idx="40510">
                  <c:v>0.72248974496165497</c:v>
                </c:pt>
                <c:pt idx="40511">
                  <c:v>0.72250757981095004</c:v>
                </c:pt>
                <c:pt idx="40512">
                  <c:v>0.722525414660246</c:v>
                </c:pt>
                <c:pt idx="40513">
                  <c:v>0.72254324950954096</c:v>
                </c:pt>
                <c:pt idx="40514">
                  <c:v>0.72256108435883704</c:v>
                </c:pt>
                <c:pt idx="40515">
                  <c:v>0.722578919208132</c:v>
                </c:pt>
                <c:pt idx="40516">
                  <c:v>0.72259675405742796</c:v>
                </c:pt>
                <c:pt idx="40517">
                  <c:v>0.72261458890672303</c:v>
                </c:pt>
                <c:pt idx="40518">
                  <c:v>0.72263242375601899</c:v>
                </c:pt>
                <c:pt idx="40519">
                  <c:v>0.72265025860531396</c:v>
                </c:pt>
                <c:pt idx="40520">
                  <c:v>0.72266809345461003</c:v>
                </c:pt>
                <c:pt idx="40521">
                  <c:v>0.72268592830390499</c:v>
                </c:pt>
                <c:pt idx="40522">
                  <c:v>0.72270376315320095</c:v>
                </c:pt>
                <c:pt idx="40523">
                  <c:v>0.72272159800249602</c:v>
                </c:pt>
                <c:pt idx="40524">
                  <c:v>0.72273943285179199</c:v>
                </c:pt>
                <c:pt idx="40525">
                  <c:v>0.72275726770108795</c:v>
                </c:pt>
                <c:pt idx="40526">
                  <c:v>0.72277510255038302</c:v>
                </c:pt>
                <c:pt idx="40527">
                  <c:v>0.72279293739967898</c:v>
                </c:pt>
                <c:pt idx="40528">
                  <c:v>0.72281077224897405</c:v>
                </c:pt>
                <c:pt idx="40529">
                  <c:v>0.72282860709827002</c:v>
                </c:pt>
                <c:pt idx="40530">
                  <c:v>0.72284644194756498</c:v>
                </c:pt>
                <c:pt idx="40531">
                  <c:v>0.72286427679686105</c:v>
                </c:pt>
                <c:pt idx="40532">
                  <c:v>0.72288211164615601</c:v>
                </c:pt>
                <c:pt idx="40533">
                  <c:v>0.72289994649545197</c:v>
                </c:pt>
                <c:pt idx="40534">
                  <c:v>0.72291778134474705</c:v>
                </c:pt>
                <c:pt idx="40535">
                  <c:v>0.72293561619404301</c:v>
                </c:pt>
                <c:pt idx="40536">
                  <c:v>0.72295345104333797</c:v>
                </c:pt>
                <c:pt idx="40537">
                  <c:v>0.72297128589263404</c:v>
                </c:pt>
                <c:pt idx="40538">
                  <c:v>0.722989120741929</c:v>
                </c:pt>
                <c:pt idx="40539">
                  <c:v>0.72300695559122496</c:v>
                </c:pt>
                <c:pt idx="40540">
                  <c:v>0.72302479044052004</c:v>
                </c:pt>
                <c:pt idx="40541">
                  <c:v>0.723042625289816</c:v>
                </c:pt>
                <c:pt idx="40542">
                  <c:v>0.72306046013911096</c:v>
                </c:pt>
                <c:pt idx="40543">
                  <c:v>0.72307829498840703</c:v>
                </c:pt>
                <c:pt idx="40544">
                  <c:v>0.723096129837702</c:v>
                </c:pt>
                <c:pt idx="40545">
                  <c:v>0.72311396468699796</c:v>
                </c:pt>
                <c:pt idx="40546">
                  <c:v>0.72313179953629303</c:v>
                </c:pt>
                <c:pt idx="40547">
                  <c:v>0.72314963438558899</c:v>
                </c:pt>
                <c:pt idx="40548">
                  <c:v>0.72316746923488495</c:v>
                </c:pt>
                <c:pt idx="40549">
                  <c:v>0.72318530408418003</c:v>
                </c:pt>
                <c:pt idx="40550">
                  <c:v>0.72320313893347599</c:v>
                </c:pt>
                <c:pt idx="40551">
                  <c:v>0.72322097378277095</c:v>
                </c:pt>
                <c:pt idx="40552">
                  <c:v>0.72323880863206702</c:v>
                </c:pt>
                <c:pt idx="40553">
                  <c:v>0.72325664348136198</c:v>
                </c:pt>
                <c:pt idx="40554">
                  <c:v>0.72327447833065805</c:v>
                </c:pt>
                <c:pt idx="40555">
                  <c:v>0.72329231317995302</c:v>
                </c:pt>
                <c:pt idx="40556">
                  <c:v>0.72331014802924898</c:v>
                </c:pt>
                <c:pt idx="40557">
                  <c:v>0.72332798287854405</c:v>
                </c:pt>
                <c:pt idx="40558">
                  <c:v>0.72334581772784001</c:v>
                </c:pt>
                <c:pt idx="40559">
                  <c:v>0.72336365257713497</c:v>
                </c:pt>
                <c:pt idx="40560">
                  <c:v>0.72338148742643105</c:v>
                </c:pt>
                <c:pt idx="40561">
                  <c:v>0.72339932227572601</c:v>
                </c:pt>
                <c:pt idx="40562">
                  <c:v>0.72341715712502197</c:v>
                </c:pt>
                <c:pt idx="40563">
                  <c:v>0.72343499197431704</c:v>
                </c:pt>
                <c:pt idx="40564">
                  <c:v>0.723452826823613</c:v>
                </c:pt>
                <c:pt idx="40565">
                  <c:v>0.72347066167290797</c:v>
                </c:pt>
                <c:pt idx="40566">
                  <c:v>0.72348849652220404</c:v>
                </c:pt>
                <c:pt idx="40567">
                  <c:v>0.723506331371499</c:v>
                </c:pt>
                <c:pt idx="40568">
                  <c:v>0.72352416622079496</c:v>
                </c:pt>
                <c:pt idx="40569">
                  <c:v>0.72354200107009004</c:v>
                </c:pt>
                <c:pt idx="40570">
                  <c:v>0.723559835919386</c:v>
                </c:pt>
                <c:pt idx="40571">
                  <c:v>0.72357767076868196</c:v>
                </c:pt>
                <c:pt idx="40572">
                  <c:v>0.72359550561797703</c:v>
                </c:pt>
                <c:pt idx="40573">
                  <c:v>0.72361334046727299</c:v>
                </c:pt>
                <c:pt idx="40574">
                  <c:v>0.72363117531656795</c:v>
                </c:pt>
                <c:pt idx="40575">
                  <c:v>0.72364901016586403</c:v>
                </c:pt>
                <c:pt idx="40576">
                  <c:v>0.72366684501515899</c:v>
                </c:pt>
                <c:pt idx="40577">
                  <c:v>0.72368467986445495</c:v>
                </c:pt>
                <c:pt idx="40578">
                  <c:v>0.72370251471375002</c:v>
                </c:pt>
                <c:pt idx="40579">
                  <c:v>0.72372034956304598</c:v>
                </c:pt>
                <c:pt idx="40580">
                  <c:v>0.72373818441234095</c:v>
                </c:pt>
                <c:pt idx="40581">
                  <c:v>0.72375601926163702</c:v>
                </c:pt>
                <c:pt idx="40582">
                  <c:v>0.72377385411093198</c:v>
                </c:pt>
                <c:pt idx="40583">
                  <c:v>0.72379168896022805</c:v>
                </c:pt>
                <c:pt idx="40584">
                  <c:v>0.72380952380952301</c:v>
                </c:pt>
                <c:pt idx="40585">
                  <c:v>0.72382735865881898</c:v>
                </c:pt>
                <c:pt idx="40586">
                  <c:v>0.72384519350811405</c:v>
                </c:pt>
                <c:pt idx="40587">
                  <c:v>0.72386302835741001</c:v>
                </c:pt>
                <c:pt idx="40588">
                  <c:v>0.72388086320670497</c:v>
                </c:pt>
                <c:pt idx="40589">
                  <c:v>0.72389869805600104</c:v>
                </c:pt>
                <c:pt idx="40590">
                  <c:v>0.72391653290529701</c:v>
                </c:pt>
                <c:pt idx="40591">
                  <c:v>0.72393436775459197</c:v>
                </c:pt>
                <c:pt idx="40592">
                  <c:v>0.72395220260388804</c:v>
                </c:pt>
                <c:pt idx="40593">
                  <c:v>0.723970037453183</c:v>
                </c:pt>
                <c:pt idx="40594">
                  <c:v>0.72398787230247896</c:v>
                </c:pt>
                <c:pt idx="40595">
                  <c:v>0.72400570715177404</c:v>
                </c:pt>
                <c:pt idx="40596">
                  <c:v>0.72402354200107</c:v>
                </c:pt>
                <c:pt idx="40597">
                  <c:v>0.72404137685036496</c:v>
                </c:pt>
                <c:pt idx="40598">
                  <c:v>0.72405921169966103</c:v>
                </c:pt>
                <c:pt idx="40599">
                  <c:v>0.72407704654895599</c:v>
                </c:pt>
                <c:pt idx="40600">
                  <c:v>0.72409488139825195</c:v>
                </c:pt>
                <c:pt idx="40601">
                  <c:v>0.72411271624754703</c:v>
                </c:pt>
                <c:pt idx="40602">
                  <c:v>0.72413055109684299</c:v>
                </c:pt>
                <c:pt idx="40603">
                  <c:v>0.72414838594613795</c:v>
                </c:pt>
                <c:pt idx="40604">
                  <c:v>0.72416622079543402</c:v>
                </c:pt>
                <c:pt idx="40605">
                  <c:v>0.72418405564472899</c:v>
                </c:pt>
                <c:pt idx="40606">
                  <c:v>0.72420189049402495</c:v>
                </c:pt>
                <c:pt idx="40607">
                  <c:v>0.72421972534332002</c:v>
                </c:pt>
                <c:pt idx="40608">
                  <c:v>0.72423756019261598</c:v>
                </c:pt>
                <c:pt idx="40609">
                  <c:v>0.72425539504191105</c:v>
                </c:pt>
                <c:pt idx="40610">
                  <c:v>0.72427322989120702</c:v>
                </c:pt>
                <c:pt idx="40611">
                  <c:v>0.72429106474050298</c:v>
                </c:pt>
                <c:pt idx="40612">
                  <c:v>0.72430889958979805</c:v>
                </c:pt>
                <c:pt idx="40613">
                  <c:v>0.72432673443909401</c:v>
                </c:pt>
                <c:pt idx="40614">
                  <c:v>0.72434456928838897</c:v>
                </c:pt>
                <c:pt idx="40615">
                  <c:v>0.72436240413768505</c:v>
                </c:pt>
                <c:pt idx="40616">
                  <c:v>0.72438023898698001</c:v>
                </c:pt>
                <c:pt idx="40617">
                  <c:v>0.72439807383627597</c:v>
                </c:pt>
                <c:pt idx="40618">
                  <c:v>0.72441590868557104</c:v>
                </c:pt>
                <c:pt idx="40619">
                  <c:v>0.724433743534867</c:v>
                </c:pt>
                <c:pt idx="40620">
                  <c:v>0.72445157838416196</c:v>
                </c:pt>
                <c:pt idx="40621">
                  <c:v>0.72446941323345804</c:v>
                </c:pt>
                <c:pt idx="40622">
                  <c:v>0.724487248082753</c:v>
                </c:pt>
                <c:pt idx="40623">
                  <c:v>0.72450508293204896</c:v>
                </c:pt>
                <c:pt idx="40624">
                  <c:v>0.72452291778134403</c:v>
                </c:pt>
                <c:pt idx="40625">
                  <c:v>0.72454075263063999</c:v>
                </c:pt>
                <c:pt idx="40626">
                  <c:v>0.72455858747993496</c:v>
                </c:pt>
                <c:pt idx="40627">
                  <c:v>0.72457642232923103</c:v>
                </c:pt>
                <c:pt idx="40628">
                  <c:v>0.72459425717852599</c:v>
                </c:pt>
                <c:pt idx="40629">
                  <c:v>0.72461209202782195</c:v>
                </c:pt>
                <c:pt idx="40630">
                  <c:v>0.72462992687711703</c:v>
                </c:pt>
                <c:pt idx="40631">
                  <c:v>0.72464776172641299</c:v>
                </c:pt>
                <c:pt idx="40632">
                  <c:v>0.72466559657570895</c:v>
                </c:pt>
                <c:pt idx="40633">
                  <c:v>0.72468343142500402</c:v>
                </c:pt>
                <c:pt idx="40634">
                  <c:v>0.72470126627429998</c:v>
                </c:pt>
                <c:pt idx="40635">
                  <c:v>0.72471910112359506</c:v>
                </c:pt>
                <c:pt idx="40636">
                  <c:v>0.72473693597289102</c:v>
                </c:pt>
                <c:pt idx="40637">
                  <c:v>0.72475477082218598</c:v>
                </c:pt>
                <c:pt idx="40638">
                  <c:v>0.72477260567148205</c:v>
                </c:pt>
                <c:pt idx="40639">
                  <c:v>0.72479044052077701</c:v>
                </c:pt>
                <c:pt idx="40640">
                  <c:v>0.72480827537007297</c:v>
                </c:pt>
                <c:pt idx="40641">
                  <c:v>0.72482611021936805</c:v>
                </c:pt>
                <c:pt idx="40642">
                  <c:v>0.72484394506866401</c:v>
                </c:pt>
                <c:pt idx="40643">
                  <c:v>0.72486177991795897</c:v>
                </c:pt>
                <c:pt idx="40644">
                  <c:v>0.72487961476725504</c:v>
                </c:pt>
                <c:pt idx="40645">
                  <c:v>0.72489744961655</c:v>
                </c:pt>
                <c:pt idx="40646">
                  <c:v>0.72491528446584597</c:v>
                </c:pt>
                <c:pt idx="40647">
                  <c:v>0.72493311931514104</c:v>
                </c:pt>
                <c:pt idx="40648">
                  <c:v>0.724950954164437</c:v>
                </c:pt>
                <c:pt idx="40649">
                  <c:v>0.72496878901373196</c:v>
                </c:pt>
                <c:pt idx="40650">
                  <c:v>0.72498662386302803</c:v>
                </c:pt>
                <c:pt idx="40651">
                  <c:v>0.725004458712323</c:v>
                </c:pt>
                <c:pt idx="40652">
                  <c:v>0.72502229356161896</c:v>
                </c:pt>
                <c:pt idx="40653">
                  <c:v>0.72504012841091403</c:v>
                </c:pt>
                <c:pt idx="40654">
                  <c:v>0.72505796326020999</c:v>
                </c:pt>
                <c:pt idx="40655">
                  <c:v>0.72507579810950595</c:v>
                </c:pt>
                <c:pt idx="40656">
                  <c:v>0.72509363295880103</c:v>
                </c:pt>
                <c:pt idx="40657">
                  <c:v>0.72511146780809699</c:v>
                </c:pt>
                <c:pt idx="40658">
                  <c:v>0.72512930265739195</c:v>
                </c:pt>
                <c:pt idx="40659">
                  <c:v>0.72514713750668802</c:v>
                </c:pt>
                <c:pt idx="40660">
                  <c:v>0.72516497235598298</c:v>
                </c:pt>
                <c:pt idx="40661">
                  <c:v>0.72518280720527895</c:v>
                </c:pt>
                <c:pt idx="40662">
                  <c:v>0.72520064205457402</c:v>
                </c:pt>
                <c:pt idx="40663">
                  <c:v>0.72521847690386998</c:v>
                </c:pt>
                <c:pt idx="40664">
                  <c:v>0.72523631175316505</c:v>
                </c:pt>
                <c:pt idx="40665">
                  <c:v>0.72525414660246101</c:v>
                </c:pt>
                <c:pt idx="40666">
                  <c:v>0.72527198145175598</c:v>
                </c:pt>
                <c:pt idx="40667">
                  <c:v>0.72528981630105205</c:v>
                </c:pt>
                <c:pt idx="40668">
                  <c:v>0.72530765115034701</c:v>
                </c:pt>
                <c:pt idx="40669">
                  <c:v>0.72532548599964297</c:v>
                </c:pt>
                <c:pt idx="40670">
                  <c:v>0.72534332084893804</c:v>
                </c:pt>
                <c:pt idx="40671">
                  <c:v>0.72536115569823401</c:v>
                </c:pt>
                <c:pt idx="40672">
                  <c:v>0.72537899054752897</c:v>
                </c:pt>
                <c:pt idx="40673">
                  <c:v>0.72539682539682504</c:v>
                </c:pt>
                <c:pt idx="40674">
                  <c:v>0.72541466024612</c:v>
                </c:pt>
                <c:pt idx="40675">
                  <c:v>0.72543249509541596</c:v>
                </c:pt>
                <c:pt idx="40676">
                  <c:v>0.72545032994471104</c:v>
                </c:pt>
                <c:pt idx="40677">
                  <c:v>0.725468164794007</c:v>
                </c:pt>
                <c:pt idx="40678">
                  <c:v>0.72548599964330296</c:v>
                </c:pt>
                <c:pt idx="40679">
                  <c:v>0.72550383449259803</c:v>
                </c:pt>
                <c:pt idx="40680">
                  <c:v>0.72552166934189399</c:v>
                </c:pt>
                <c:pt idx="40681">
                  <c:v>0.72553950419118896</c:v>
                </c:pt>
                <c:pt idx="40682">
                  <c:v>0.72555733904048503</c:v>
                </c:pt>
                <c:pt idx="40683">
                  <c:v>0.72557517388977999</c:v>
                </c:pt>
                <c:pt idx="40684">
                  <c:v>0.72559300873907595</c:v>
                </c:pt>
                <c:pt idx="40685">
                  <c:v>0.72561084358837102</c:v>
                </c:pt>
                <c:pt idx="40686">
                  <c:v>0.72562867843766699</c:v>
                </c:pt>
                <c:pt idx="40687">
                  <c:v>0.72564651328696195</c:v>
                </c:pt>
                <c:pt idx="40688">
                  <c:v>0.72566434813625802</c:v>
                </c:pt>
                <c:pt idx="40689">
                  <c:v>0.72568218298555298</c:v>
                </c:pt>
                <c:pt idx="40690">
                  <c:v>0.72570001783484905</c:v>
                </c:pt>
                <c:pt idx="40691">
                  <c:v>0.72571785268414402</c:v>
                </c:pt>
                <c:pt idx="40692">
                  <c:v>0.72573568753343998</c:v>
                </c:pt>
                <c:pt idx="40693">
                  <c:v>0.72575352238273505</c:v>
                </c:pt>
                <c:pt idx="40694">
                  <c:v>0.72577135723203101</c:v>
                </c:pt>
                <c:pt idx="40695">
                  <c:v>0.72578919208132597</c:v>
                </c:pt>
                <c:pt idx="40696">
                  <c:v>0.72580702693062205</c:v>
                </c:pt>
                <c:pt idx="40697">
                  <c:v>0.72582486177991801</c:v>
                </c:pt>
                <c:pt idx="40698">
                  <c:v>0.72584269662921297</c:v>
                </c:pt>
                <c:pt idx="40699">
                  <c:v>0.72586053147850904</c:v>
                </c:pt>
                <c:pt idx="40700">
                  <c:v>0.725878366327804</c:v>
                </c:pt>
                <c:pt idx="40701">
                  <c:v>0.72589620117709996</c:v>
                </c:pt>
                <c:pt idx="40702">
                  <c:v>0.72591403602639504</c:v>
                </c:pt>
                <c:pt idx="40703">
                  <c:v>0.725931870875691</c:v>
                </c:pt>
                <c:pt idx="40704">
                  <c:v>0.72594970572498596</c:v>
                </c:pt>
                <c:pt idx="40705">
                  <c:v>0.72596754057428203</c:v>
                </c:pt>
                <c:pt idx="40706">
                  <c:v>0.725985375423577</c:v>
                </c:pt>
                <c:pt idx="40707">
                  <c:v>0.72600321027287296</c:v>
                </c:pt>
                <c:pt idx="40708">
                  <c:v>0.72602104512216803</c:v>
                </c:pt>
                <c:pt idx="40709">
                  <c:v>0.72603887997146399</c:v>
                </c:pt>
                <c:pt idx="40710">
                  <c:v>0.72605671482075895</c:v>
                </c:pt>
                <c:pt idx="40711">
                  <c:v>0.72607454967005502</c:v>
                </c:pt>
                <c:pt idx="40712">
                  <c:v>0.72609238451934999</c:v>
                </c:pt>
                <c:pt idx="40713">
                  <c:v>0.72611021936864595</c:v>
                </c:pt>
                <c:pt idx="40714">
                  <c:v>0.72612805421794102</c:v>
                </c:pt>
                <c:pt idx="40715">
                  <c:v>0.72614588906723698</c:v>
                </c:pt>
                <c:pt idx="40716">
                  <c:v>0.72616372391653194</c:v>
                </c:pt>
                <c:pt idx="40717">
                  <c:v>0.72618155876582802</c:v>
                </c:pt>
                <c:pt idx="40718">
                  <c:v>0.72619939361512398</c:v>
                </c:pt>
                <c:pt idx="40719">
                  <c:v>0.72621722846441905</c:v>
                </c:pt>
                <c:pt idx="40720">
                  <c:v>0.72623506331371501</c:v>
                </c:pt>
                <c:pt idx="40721">
                  <c:v>0.72625289816300997</c:v>
                </c:pt>
                <c:pt idx="40722">
                  <c:v>0.72627073301230605</c:v>
                </c:pt>
                <c:pt idx="40723">
                  <c:v>0.72628856786160101</c:v>
                </c:pt>
                <c:pt idx="40724">
                  <c:v>0.72630640271089697</c:v>
                </c:pt>
                <c:pt idx="40725">
                  <c:v>0.72632423756019204</c:v>
                </c:pt>
                <c:pt idx="40726">
                  <c:v>0.726342072409488</c:v>
                </c:pt>
                <c:pt idx="40727">
                  <c:v>0.72635990725878297</c:v>
                </c:pt>
                <c:pt idx="40728">
                  <c:v>0.72637774210807904</c:v>
                </c:pt>
                <c:pt idx="40729">
                  <c:v>0.726395576957374</c:v>
                </c:pt>
                <c:pt idx="40730">
                  <c:v>0.72641341180666996</c:v>
                </c:pt>
                <c:pt idx="40731">
                  <c:v>0.72643124665596503</c:v>
                </c:pt>
                <c:pt idx="40732">
                  <c:v>0.726449081505261</c:v>
                </c:pt>
                <c:pt idx="40733">
                  <c:v>0.72646691635455596</c:v>
                </c:pt>
                <c:pt idx="40734">
                  <c:v>0.72648475120385203</c:v>
                </c:pt>
                <c:pt idx="40735">
                  <c:v>0.72650258605314699</c:v>
                </c:pt>
                <c:pt idx="40736">
                  <c:v>0.72652042090244295</c:v>
                </c:pt>
                <c:pt idx="40737">
                  <c:v>0.72653825575173803</c:v>
                </c:pt>
                <c:pt idx="40738">
                  <c:v>0.72655609060103399</c:v>
                </c:pt>
                <c:pt idx="40739">
                  <c:v>0.72657392545032995</c:v>
                </c:pt>
                <c:pt idx="40740">
                  <c:v>0.72659176029962502</c:v>
                </c:pt>
                <c:pt idx="40741">
                  <c:v>0.72660959514892098</c:v>
                </c:pt>
                <c:pt idx="40742">
                  <c:v>0.72662742999821595</c:v>
                </c:pt>
                <c:pt idx="40743">
                  <c:v>0.72664526484751202</c:v>
                </c:pt>
                <c:pt idx="40744">
                  <c:v>0.72666309969680698</c:v>
                </c:pt>
                <c:pt idx="40745">
                  <c:v>0.72668093454610305</c:v>
                </c:pt>
                <c:pt idx="40746">
                  <c:v>0.72669876939539801</c:v>
                </c:pt>
                <c:pt idx="40747">
                  <c:v>0.72671660424469398</c:v>
                </c:pt>
                <c:pt idx="40748">
                  <c:v>0.72673443909398905</c:v>
                </c:pt>
                <c:pt idx="40749">
                  <c:v>0.72675227394328501</c:v>
                </c:pt>
                <c:pt idx="40750">
                  <c:v>0.72677010879257997</c:v>
                </c:pt>
                <c:pt idx="40751">
                  <c:v>0.72678794364187604</c:v>
                </c:pt>
                <c:pt idx="40752">
                  <c:v>0.72680577849117101</c:v>
                </c:pt>
                <c:pt idx="40753">
                  <c:v>0.72682361334046697</c:v>
                </c:pt>
                <c:pt idx="40754">
                  <c:v>0.72684144818976204</c:v>
                </c:pt>
                <c:pt idx="40755">
                  <c:v>0.726859283039058</c:v>
                </c:pt>
                <c:pt idx="40756">
                  <c:v>0.72687711788835296</c:v>
                </c:pt>
                <c:pt idx="40757">
                  <c:v>0.72689495273764904</c:v>
                </c:pt>
                <c:pt idx="40758">
                  <c:v>0.726912787586944</c:v>
                </c:pt>
                <c:pt idx="40759">
                  <c:v>0.72693062243623996</c:v>
                </c:pt>
                <c:pt idx="40760">
                  <c:v>0.72694845728553503</c:v>
                </c:pt>
                <c:pt idx="40761">
                  <c:v>0.72696629213483099</c:v>
                </c:pt>
                <c:pt idx="40762">
                  <c:v>0.72698412698412695</c:v>
                </c:pt>
                <c:pt idx="40763">
                  <c:v>0.72700196183342203</c:v>
                </c:pt>
                <c:pt idx="40764">
                  <c:v>0.72701979668271799</c:v>
                </c:pt>
                <c:pt idx="40765">
                  <c:v>0.72703763153201295</c:v>
                </c:pt>
                <c:pt idx="40766">
                  <c:v>0.72705546638130902</c:v>
                </c:pt>
                <c:pt idx="40767">
                  <c:v>0.72707330123060399</c:v>
                </c:pt>
                <c:pt idx="40768">
                  <c:v>0.72709113607989995</c:v>
                </c:pt>
                <c:pt idx="40769">
                  <c:v>0.72710897092919502</c:v>
                </c:pt>
                <c:pt idx="40770">
                  <c:v>0.72712680577849098</c:v>
                </c:pt>
                <c:pt idx="40771">
                  <c:v>0.72714464062778605</c:v>
                </c:pt>
                <c:pt idx="40772">
                  <c:v>0.72716247547708202</c:v>
                </c:pt>
                <c:pt idx="40773">
                  <c:v>0.72718031032637698</c:v>
                </c:pt>
                <c:pt idx="40774">
                  <c:v>0.72719814517567305</c:v>
                </c:pt>
                <c:pt idx="40775">
                  <c:v>0.72721598002496801</c:v>
                </c:pt>
                <c:pt idx="40776">
                  <c:v>0.72723381487426397</c:v>
                </c:pt>
                <c:pt idx="40777">
                  <c:v>0.72725164972355905</c:v>
                </c:pt>
                <c:pt idx="40778">
                  <c:v>0.72726948457285501</c:v>
                </c:pt>
                <c:pt idx="40779">
                  <c:v>0.72728731942214997</c:v>
                </c:pt>
                <c:pt idx="40780">
                  <c:v>0.72730515427144604</c:v>
                </c:pt>
                <c:pt idx="40781">
                  <c:v>0.727322989120741</c:v>
                </c:pt>
                <c:pt idx="40782">
                  <c:v>0.72734082397003696</c:v>
                </c:pt>
                <c:pt idx="40783">
                  <c:v>0.72735865881933204</c:v>
                </c:pt>
                <c:pt idx="40784">
                  <c:v>0.727376493668628</c:v>
                </c:pt>
                <c:pt idx="40785">
                  <c:v>0.72739432851792396</c:v>
                </c:pt>
                <c:pt idx="40786">
                  <c:v>0.72741216336721903</c:v>
                </c:pt>
                <c:pt idx="40787">
                  <c:v>0.72742999821651499</c:v>
                </c:pt>
                <c:pt idx="40788">
                  <c:v>0.72744783306580996</c:v>
                </c:pt>
                <c:pt idx="40789">
                  <c:v>0.72746566791510603</c:v>
                </c:pt>
                <c:pt idx="40790">
                  <c:v>0.72748350276440099</c:v>
                </c:pt>
                <c:pt idx="40791">
                  <c:v>0.72750133761369695</c:v>
                </c:pt>
                <c:pt idx="40792">
                  <c:v>0.72751917246299203</c:v>
                </c:pt>
                <c:pt idx="40793">
                  <c:v>0.72753700731228799</c:v>
                </c:pt>
                <c:pt idx="40794">
                  <c:v>0.72755484216158295</c:v>
                </c:pt>
                <c:pt idx="40795">
                  <c:v>0.72757267701087902</c:v>
                </c:pt>
                <c:pt idx="40796">
                  <c:v>0.72759051186017398</c:v>
                </c:pt>
                <c:pt idx="40797">
                  <c:v>0.72760834670947006</c:v>
                </c:pt>
                <c:pt idx="40798">
                  <c:v>0.72762618155876502</c:v>
                </c:pt>
                <c:pt idx="40799">
                  <c:v>0.72764401640806098</c:v>
                </c:pt>
                <c:pt idx="40800">
                  <c:v>0.72766185125735605</c:v>
                </c:pt>
                <c:pt idx="40801">
                  <c:v>0.72767968610665201</c:v>
                </c:pt>
                <c:pt idx="40802">
                  <c:v>0.72769752095594797</c:v>
                </c:pt>
                <c:pt idx="40803">
                  <c:v>0.72771535580524305</c:v>
                </c:pt>
                <c:pt idx="40804">
                  <c:v>0.72773319065453901</c:v>
                </c:pt>
                <c:pt idx="40805">
                  <c:v>0.72775102550383397</c:v>
                </c:pt>
                <c:pt idx="40806">
                  <c:v>0.72776886035313004</c:v>
                </c:pt>
                <c:pt idx="40807">
                  <c:v>0.727786695202425</c:v>
                </c:pt>
                <c:pt idx="40808">
                  <c:v>0.72780453005172097</c:v>
                </c:pt>
                <c:pt idx="40809">
                  <c:v>0.72782236490101604</c:v>
                </c:pt>
                <c:pt idx="40810">
                  <c:v>0.727840199750312</c:v>
                </c:pt>
                <c:pt idx="40811">
                  <c:v>0.72785803459960696</c:v>
                </c:pt>
                <c:pt idx="40812">
                  <c:v>0.72787586944890303</c:v>
                </c:pt>
                <c:pt idx="40813">
                  <c:v>0.727893704298198</c:v>
                </c:pt>
                <c:pt idx="40814">
                  <c:v>0.72791153914749396</c:v>
                </c:pt>
                <c:pt idx="40815">
                  <c:v>0.72792937399678903</c:v>
                </c:pt>
                <c:pt idx="40816">
                  <c:v>0.72794720884608499</c:v>
                </c:pt>
                <c:pt idx="40817">
                  <c:v>0.72796504369537995</c:v>
                </c:pt>
                <c:pt idx="40818">
                  <c:v>0.72798287854467603</c:v>
                </c:pt>
                <c:pt idx="40819">
                  <c:v>0.72800071339397099</c:v>
                </c:pt>
                <c:pt idx="40820">
                  <c:v>0.72801854824326695</c:v>
                </c:pt>
                <c:pt idx="40821">
                  <c:v>0.72803638309256202</c:v>
                </c:pt>
                <c:pt idx="40822">
                  <c:v>0.72805421794185798</c:v>
                </c:pt>
                <c:pt idx="40823">
                  <c:v>0.72807205279115395</c:v>
                </c:pt>
                <c:pt idx="40824">
                  <c:v>0.72808988764044902</c:v>
                </c:pt>
                <c:pt idx="40825">
                  <c:v>0.72810772248974498</c:v>
                </c:pt>
                <c:pt idx="40826">
                  <c:v>0.72812555733904005</c:v>
                </c:pt>
                <c:pt idx="40827">
                  <c:v>0.72814339218833601</c:v>
                </c:pt>
                <c:pt idx="40828">
                  <c:v>0.72816122703763098</c:v>
                </c:pt>
                <c:pt idx="40829">
                  <c:v>0.72817906188692705</c:v>
                </c:pt>
                <c:pt idx="40830">
                  <c:v>0.72819689673622201</c:v>
                </c:pt>
                <c:pt idx="40831">
                  <c:v>0.72821473158551797</c:v>
                </c:pt>
                <c:pt idx="40832">
                  <c:v>0.72823256643481304</c:v>
                </c:pt>
                <c:pt idx="40833">
                  <c:v>0.72825040128410901</c:v>
                </c:pt>
                <c:pt idx="40834">
                  <c:v>0.72826823613340397</c:v>
                </c:pt>
                <c:pt idx="40835">
                  <c:v>0.72828607098270004</c:v>
                </c:pt>
                <c:pt idx="40836">
                  <c:v>0.728303905831995</c:v>
                </c:pt>
                <c:pt idx="40837">
                  <c:v>0.72832174068129096</c:v>
                </c:pt>
                <c:pt idx="40838">
                  <c:v>0.72833957553058604</c:v>
                </c:pt>
                <c:pt idx="40839">
                  <c:v>0.728357410379882</c:v>
                </c:pt>
                <c:pt idx="40840">
                  <c:v>0.72837524522917696</c:v>
                </c:pt>
                <c:pt idx="40841">
                  <c:v>0.72839308007847303</c:v>
                </c:pt>
                <c:pt idx="40842">
                  <c:v>0.72841091492776799</c:v>
                </c:pt>
                <c:pt idx="40843">
                  <c:v>0.72842874977706396</c:v>
                </c:pt>
                <c:pt idx="40844">
                  <c:v>0.72844658462635903</c:v>
                </c:pt>
                <c:pt idx="40845">
                  <c:v>0.72846441947565499</c:v>
                </c:pt>
                <c:pt idx="40846">
                  <c:v>0.72848225432495095</c:v>
                </c:pt>
                <c:pt idx="40847">
                  <c:v>0.72850008917424602</c:v>
                </c:pt>
                <c:pt idx="40848">
                  <c:v>0.72851792402354199</c:v>
                </c:pt>
                <c:pt idx="40849">
                  <c:v>0.72853575887283695</c:v>
                </c:pt>
                <c:pt idx="40850">
                  <c:v>0.72855359372213302</c:v>
                </c:pt>
                <c:pt idx="40851">
                  <c:v>0.72857142857142798</c:v>
                </c:pt>
                <c:pt idx="40852">
                  <c:v>0.72858926342072405</c:v>
                </c:pt>
                <c:pt idx="40853">
                  <c:v>0.72860709827001902</c:v>
                </c:pt>
                <c:pt idx="40854">
                  <c:v>0.72862493311931498</c:v>
                </c:pt>
                <c:pt idx="40855">
                  <c:v>0.72864276796861005</c:v>
                </c:pt>
                <c:pt idx="40856">
                  <c:v>0.72866060281790601</c:v>
                </c:pt>
                <c:pt idx="40857">
                  <c:v>0.72867843766720097</c:v>
                </c:pt>
                <c:pt idx="40858">
                  <c:v>0.72869627251649705</c:v>
                </c:pt>
                <c:pt idx="40859">
                  <c:v>0.72871410736579201</c:v>
                </c:pt>
                <c:pt idx="40860">
                  <c:v>0.72873194221508797</c:v>
                </c:pt>
                <c:pt idx="40861">
                  <c:v>0.72874977706438304</c:v>
                </c:pt>
                <c:pt idx="40862">
                  <c:v>0.728767611913679</c:v>
                </c:pt>
                <c:pt idx="40863">
                  <c:v>0.72878544676297397</c:v>
                </c:pt>
                <c:pt idx="40864">
                  <c:v>0.72880328161227004</c:v>
                </c:pt>
                <c:pt idx="40865">
                  <c:v>0.728821116461565</c:v>
                </c:pt>
                <c:pt idx="40866">
                  <c:v>0.72883895131086096</c:v>
                </c:pt>
                <c:pt idx="40867">
                  <c:v>0.72885678616015603</c:v>
                </c:pt>
                <c:pt idx="40868">
                  <c:v>0.728874621009452</c:v>
                </c:pt>
                <c:pt idx="40869">
                  <c:v>0.72889245585874796</c:v>
                </c:pt>
                <c:pt idx="40870">
                  <c:v>0.72891029070804303</c:v>
                </c:pt>
                <c:pt idx="40871">
                  <c:v>0.72892812555733899</c:v>
                </c:pt>
                <c:pt idx="40872">
                  <c:v>0.72894596040663395</c:v>
                </c:pt>
                <c:pt idx="40873">
                  <c:v>0.72896379525593002</c:v>
                </c:pt>
                <c:pt idx="40874">
                  <c:v>0.72898163010522499</c:v>
                </c:pt>
                <c:pt idx="40875">
                  <c:v>0.72899946495452095</c:v>
                </c:pt>
                <c:pt idx="40876">
                  <c:v>0.72901729980381602</c:v>
                </c:pt>
                <c:pt idx="40877">
                  <c:v>0.72903513465311198</c:v>
                </c:pt>
                <c:pt idx="40878">
                  <c:v>0.72905296950240694</c:v>
                </c:pt>
                <c:pt idx="40879">
                  <c:v>0.72907080435170302</c:v>
                </c:pt>
                <c:pt idx="40880">
                  <c:v>0.72908863920099798</c:v>
                </c:pt>
                <c:pt idx="40881">
                  <c:v>0.72910647405029405</c:v>
                </c:pt>
                <c:pt idx="40882">
                  <c:v>0.72912430889958901</c:v>
                </c:pt>
                <c:pt idx="40883">
                  <c:v>0.72914214374888497</c:v>
                </c:pt>
                <c:pt idx="40884">
                  <c:v>0.72915997859818005</c:v>
                </c:pt>
                <c:pt idx="40885">
                  <c:v>0.72917781344747601</c:v>
                </c:pt>
                <c:pt idx="40886">
                  <c:v>0.72919564829677097</c:v>
                </c:pt>
                <c:pt idx="40887">
                  <c:v>0.72921348314606704</c:v>
                </c:pt>
                <c:pt idx="40888">
                  <c:v>0.72923131799536201</c:v>
                </c:pt>
                <c:pt idx="40889">
                  <c:v>0.72924915284465797</c:v>
                </c:pt>
                <c:pt idx="40890">
                  <c:v>0.72926698769395404</c:v>
                </c:pt>
                <c:pt idx="40891">
                  <c:v>0.729284822543249</c:v>
                </c:pt>
                <c:pt idx="40892">
                  <c:v>0.72930265739254496</c:v>
                </c:pt>
                <c:pt idx="40893">
                  <c:v>0.72932049224184003</c:v>
                </c:pt>
                <c:pt idx="40894">
                  <c:v>0.729338327091136</c:v>
                </c:pt>
                <c:pt idx="40895">
                  <c:v>0.72935616194043096</c:v>
                </c:pt>
                <c:pt idx="40896">
                  <c:v>0.72937399678972703</c:v>
                </c:pt>
                <c:pt idx="40897">
                  <c:v>0.72939183163902199</c:v>
                </c:pt>
                <c:pt idx="40898">
                  <c:v>0.72940966648831795</c:v>
                </c:pt>
                <c:pt idx="40899">
                  <c:v>0.72942750133761303</c:v>
                </c:pt>
                <c:pt idx="40900">
                  <c:v>0.72944533618690899</c:v>
                </c:pt>
                <c:pt idx="40901">
                  <c:v>0.72946317103620395</c:v>
                </c:pt>
                <c:pt idx="40902">
                  <c:v>0.72948100588550002</c:v>
                </c:pt>
                <c:pt idx="40903">
                  <c:v>0.72949884073479498</c:v>
                </c:pt>
                <c:pt idx="40904">
                  <c:v>0.72951667558409095</c:v>
                </c:pt>
                <c:pt idx="40905">
                  <c:v>0.72953451043338602</c:v>
                </c:pt>
                <c:pt idx="40906">
                  <c:v>0.72955234528268198</c:v>
                </c:pt>
                <c:pt idx="40907">
                  <c:v>0.72957018013197705</c:v>
                </c:pt>
                <c:pt idx="40908">
                  <c:v>0.72958801498127301</c:v>
                </c:pt>
                <c:pt idx="40909">
                  <c:v>0.72960584983056898</c:v>
                </c:pt>
                <c:pt idx="40910">
                  <c:v>0.72962368467986405</c:v>
                </c:pt>
                <c:pt idx="40911">
                  <c:v>0.72964151952916001</c:v>
                </c:pt>
                <c:pt idx="40912">
                  <c:v>0.72965935437845497</c:v>
                </c:pt>
                <c:pt idx="40913">
                  <c:v>0.72967718922775104</c:v>
                </c:pt>
                <c:pt idx="40914">
                  <c:v>0.72969502407704601</c:v>
                </c:pt>
                <c:pt idx="40915">
                  <c:v>0.72971285892634197</c:v>
                </c:pt>
                <c:pt idx="40916">
                  <c:v>0.72973069377563704</c:v>
                </c:pt>
                <c:pt idx="40917">
                  <c:v>0.729748528624933</c:v>
                </c:pt>
                <c:pt idx="40918">
                  <c:v>0.72976636347422796</c:v>
                </c:pt>
                <c:pt idx="40919">
                  <c:v>0.72978419832352404</c:v>
                </c:pt>
                <c:pt idx="40920">
                  <c:v>0.729802033172819</c:v>
                </c:pt>
                <c:pt idx="40921">
                  <c:v>0.72981986802211496</c:v>
                </c:pt>
                <c:pt idx="40922">
                  <c:v>0.72983770287141003</c:v>
                </c:pt>
                <c:pt idx="40923">
                  <c:v>0.72985553772070599</c:v>
                </c:pt>
                <c:pt idx="40924">
                  <c:v>0.72987337257000096</c:v>
                </c:pt>
                <c:pt idx="40925">
                  <c:v>0.72989120741929703</c:v>
                </c:pt>
                <c:pt idx="40926">
                  <c:v>0.72990904226859199</c:v>
                </c:pt>
                <c:pt idx="40927">
                  <c:v>0.72992687711788795</c:v>
                </c:pt>
                <c:pt idx="40928">
                  <c:v>0.72994471196718302</c:v>
                </c:pt>
                <c:pt idx="40929">
                  <c:v>0.72996254681647899</c:v>
                </c:pt>
                <c:pt idx="40930">
                  <c:v>0.72998038166577495</c:v>
                </c:pt>
                <c:pt idx="40931">
                  <c:v>0.72999821651507002</c:v>
                </c:pt>
                <c:pt idx="40932">
                  <c:v>0.73001605136436598</c:v>
                </c:pt>
                <c:pt idx="40933">
                  <c:v>0.73003388621366105</c:v>
                </c:pt>
                <c:pt idx="40934">
                  <c:v>0.73005172106295702</c:v>
                </c:pt>
                <c:pt idx="40935">
                  <c:v>0.73006955591225198</c:v>
                </c:pt>
                <c:pt idx="40936">
                  <c:v>0.73008739076154805</c:v>
                </c:pt>
                <c:pt idx="40937">
                  <c:v>0.73010522561084301</c:v>
                </c:pt>
                <c:pt idx="40938">
                  <c:v>0.73012306046013897</c:v>
                </c:pt>
                <c:pt idx="40939">
                  <c:v>0.73014089530943405</c:v>
                </c:pt>
                <c:pt idx="40940">
                  <c:v>0.73015873015873001</c:v>
                </c:pt>
                <c:pt idx="40941">
                  <c:v>0.73017656500802497</c:v>
                </c:pt>
                <c:pt idx="40942">
                  <c:v>0.73019439985732104</c:v>
                </c:pt>
                <c:pt idx="40943">
                  <c:v>0.730212234706616</c:v>
                </c:pt>
                <c:pt idx="40944">
                  <c:v>0.73023006955591196</c:v>
                </c:pt>
                <c:pt idx="40945">
                  <c:v>0.73024790440520704</c:v>
                </c:pt>
                <c:pt idx="40946">
                  <c:v>0.730265739254503</c:v>
                </c:pt>
                <c:pt idx="40947">
                  <c:v>0.73028357410379796</c:v>
                </c:pt>
                <c:pt idx="40948">
                  <c:v>0.73030140895309403</c:v>
                </c:pt>
                <c:pt idx="40949">
                  <c:v>0.730319243802389</c:v>
                </c:pt>
                <c:pt idx="40950">
                  <c:v>0.73033707865168496</c:v>
                </c:pt>
                <c:pt idx="40951">
                  <c:v>0.73035491350098003</c:v>
                </c:pt>
                <c:pt idx="40952">
                  <c:v>0.73037274835027599</c:v>
                </c:pt>
                <c:pt idx="40953">
                  <c:v>0.73039058319957195</c:v>
                </c:pt>
                <c:pt idx="40954">
                  <c:v>0.73040841804886703</c:v>
                </c:pt>
                <c:pt idx="40955">
                  <c:v>0.73042625289816299</c:v>
                </c:pt>
                <c:pt idx="40956">
                  <c:v>0.73044408774745795</c:v>
                </c:pt>
                <c:pt idx="40957">
                  <c:v>0.73046192259675402</c:v>
                </c:pt>
                <c:pt idx="40958">
                  <c:v>0.73047975744604898</c:v>
                </c:pt>
                <c:pt idx="40959">
                  <c:v>0.73049759229534506</c:v>
                </c:pt>
                <c:pt idx="40960">
                  <c:v>0.73051542714464002</c:v>
                </c:pt>
                <c:pt idx="40961">
                  <c:v>0.73053326199393598</c:v>
                </c:pt>
                <c:pt idx="40962">
                  <c:v>0.73055109684323105</c:v>
                </c:pt>
                <c:pt idx="40963">
                  <c:v>0.73056893169252701</c:v>
                </c:pt>
                <c:pt idx="40964">
                  <c:v>0.73058676654182197</c:v>
                </c:pt>
                <c:pt idx="40965">
                  <c:v>0.73060460139111805</c:v>
                </c:pt>
                <c:pt idx="40966">
                  <c:v>0.73062243624041301</c:v>
                </c:pt>
                <c:pt idx="40967">
                  <c:v>0.73064027108970897</c:v>
                </c:pt>
                <c:pt idx="40968">
                  <c:v>0.73065810593900404</c:v>
                </c:pt>
                <c:pt idx="40969">
                  <c:v>0.7306759407883</c:v>
                </c:pt>
                <c:pt idx="40970">
                  <c:v>0.73069377563759497</c:v>
                </c:pt>
                <c:pt idx="40971">
                  <c:v>0.73071161048689104</c:v>
                </c:pt>
                <c:pt idx="40972">
                  <c:v>0.730729445336186</c:v>
                </c:pt>
                <c:pt idx="40973">
                  <c:v>0.73074728018548196</c:v>
                </c:pt>
                <c:pt idx="40974">
                  <c:v>0.73076511503477704</c:v>
                </c:pt>
                <c:pt idx="40975">
                  <c:v>0.730782949884073</c:v>
                </c:pt>
                <c:pt idx="40976">
                  <c:v>0.73080078473336896</c:v>
                </c:pt>
                <c:pt idx="40977">
                  <c:v>0.73081861958266403</c:v>
                </c:pt>
                <c:pt idx="40978">
                  <c:v>0.73083645443195999</c:v>
                </c:pt>
                <c:pt idx="40979">
                  <c:v>0.73085428928125495</c:v>
                </c:pt>
                <c:pt idx="40980">
                  <c:v>0.73087212413055103</c:v>
                </c:pt>
                <c:pt idx="40981">
                  <c:v>0.73088995897984599</c:v>
                </c:pt>
                <c:pt idx="40982">
                  <c:v>0.73090779382914195</c:v>
                </c:pt>
                <c:pt idx="40983">
                  <c:v>0.73092562867843702</c:v>
                </c:pt>
                <c:pt idx="40984">
                  <c:v>0.73094346352773298</c:v>
                </c:pt>
                <c:pt idx="40985">
                  <c:v>0.73096129837702795</c:v>
                </c:pt>
                <c:pt idx="40986">
                  <c:v>0.73097913322632402</c:v>
                </c:pt>
                <c:pt idx="40987">
                  <c:v>0.73099696807561898</c:v>
                </c:pt>
                <c:pt idx="40988">
                  <c:v>0.73101480292491505</c:v>
                </c:pt>
                <c:pt idx="40989">
                  <c:v>0.73103263777421001</c:v>
                </c:pt>
                <c:pt idx="40990">
                  <c:v>0.73105047262350598</c:v>
                </c:pt>
                <c:pt idx="40991">
                  <c:v>0.73106830747280105</c:v>
                </c:pt>
                <c:pt idx="40992">
                  <c:v>0.73108614232209701</c:v>
                </c:pt>
                <c:pt idx="40993">
                  <c:v>0.73110397717139197</c:v>
                </c:pt>
                <c:pt idx="40994">
                  <c:v>0.73112181202068804</c:v>
                </c:pt>
                <c:pt idx="40995">
                  <c:v>0.73113964686998301</c:v>
                </c:pt>
                <c:pt idx="40996">
                  <c:v>0.73115748171927897</c:v>
                </c:pt>
                <c:pt idx="40997">
                  <c:v>0.73117531656857504</c:v>
                </c:pt>
                <c:pt idx="40998">
                  <c:v>0.73119315141787</c:v>
                </c:pt>
                <c:pt idx="40999">
                  <c:v>0.73121098626716596</c:v>
                </c:pt>
                <c:pt idx="41000">
                  <c:v>0.73122882111646104</c:v>
                </c:pt>
                <c:pt idx="41001">
                  <c:v>0.731246655965757</c:v>
                </c:pt>
                <c:pt idx="41002">
                  <c:v>0.73126449081505196</c:v>
                </c:pt>
                <c:pt idx="41003">
                  <c:v>0.73128232566434803</c:v>
                </c:pt>
                <c:pt idx="41004">
                  <c:v>0.73130016051364299</c:v>
                </c:pt>
                <c:pt idx="41005">
                  <c:v>0.73131799536293896</c:v>
                </c:pt>
                <c:pt idx="41006">
                  <c:v>0.73133583021223403</c:v>
                </c:pt>
                <c:pt idx="41007">
                  <c:v>0.73135366506152999</c:v>
                </c:pt>
                <c:pt idx="41008">
                  <c:v>0.73137149991082495</c:v>
                </c:pt>
                <c:pt idx="41009">
                  <c:v>0.73138933476012102</c:v>
                </c:pt>
                <c:pt idx="41010">
                  <c:v>0.73140716960941599</c:v>
                </c:pt>
                <c:pt idx="41011">
                  <c:v>0.73142500445871195</c:v>
                </c:pt>
                <c:pt idx="41012">
                  <c:v>0.73144283930800702</c:v>
                </c:pt>
                <c:pt idx="41013">
                  <c:v>0.73146067415730298</c:v>
                </c:pt>
                <c:pt idx="41014">
                  <c:v>0.73147850900659805</c:v>
                </c:pt>
                <c:pt idx="41015">
                  <c:v>0.73149634385589402</c:v>
                </c:pt>
                <c:pt idx="41016">
                  <c:v>0.73151417870518998</c:v>
                </c:pt>
                <c:pt idx="41017">
                  <c:v>0.73153201355448505</c:v>
                </c:pt>
                <c:pt idx="41018">
                  <c:v>0.73154984840378101</c:v>
                </c:pt>
                <c:pt idx="41019">
                  <c:v>0.73156768325307597</c:v>
                </c:pt>
                <c:pt idx="41020">
                  <c:v>0.73158551810237205</c:v>
                </c:pt>
                <c:pt idx="41021">
                  <c:v>0.73160335295166701</c:v>
                </c:pt>
                <c:pt idx="41022">
                  <c:v>0.73162118780096297</c:v>
                </c:pt>
                <c:pt idx="41023">
                  <c:v>0.73163902265025804</c:v>
                </c:pt>
                <c:pt idx="41024">
                  <c:v>0.731656857499554</c:v>
                </c:pt>
                <c:pt idx="41025">
                  <c:v>0.73167469234884897</c:v>
                </c:pt>
                <c:pt idx="41026">
                  <c:v>0.73169252719814504</c:v>
                </c:pt>
                <c:pt idx="41027">
                  <c:v>0.73171036204744</c:v>
                </c:pt>
                <c:pt idx="41028">
                  <c:v>0.73172819689673596</c:v>
                </c:pt>
                <c:pt idx="41029">
                  <c:v>0.73174603174603103</c:v>
                </c:pt>
                <c:pt idx="41030">
                  <c:v>0.73176386659532699</c:v>
                </c:pt>
                <c:pt idx="41031">
                  <c:v>0.73178170144462196</c:v>
                </c:pt>
                <c:pt idx="41032">
                  <c:v>0.73179953629391803</c:v>
                </c:pt>
                <c:pt idx="41033">
                  <c:v>0.73181737114321299</c:v>
                </c:pt>
                <c:pt idx="41034">
                  <c:v>0.73183520599250895</c:v>
                </c:pt>
                <c:pt idx="41035">
                  <c:v>0.73185304084180403</c:v>
                </c:pt>
                <c:pt idx="41036">
                  <c:v>0.73187087569109999</c:v>
                </c:pt>
                <c:pt idx="41037">
                  <c:v>0.73188871054039595</c:v>
                </c:pt>
                <c:pt idx="41038">
                  <c:v>0.73190654538969102</c:v>
                </c:pt>
                <c:pt idx="41039">
                  <c:v>0.73192438023898698</c:v>
                </c:pt>
                <c:pt idx="41040">
                  <c:v>0.73194221508828206</c:v>
                </c:pt>
                <c:pt idx="41041">
                  <c:v>0.73196004993757802</c:v>
                </c:pt>
                <c:pt idx="41042">
                  <c:v>0.73197788478687298</c:v>
                </c:pt>
                <c:pt idx="41043">
                  <c:v>0.73199571963616905</c:v>
                </c:pt>
                <c:pt idx="41044">
                  <c:v>0.73201355448546401</c:v>
                </c:pt>
                <c:pt idx="41045">
                  <c:v>0.73203138933475997</c:v>
                </c:pt>
                <c:pt idx="41046">
                  <c:v>0.73204922418405505</c:v>
                </c:pt>
                <c:pt idx="41047">
                  <c:v>0.73206705903335101</c:v>
                </c:pt>
                <c:pt idx="41048">
                  <c:v>0.73208489388264597</c:v>
                </c:pt>
                <c:pt idx="41049">
                  <c:v>0.73210272873194204</c:v>
                </c:pt>
                <c:pt idx="41050">
                  <c:v>0.732120563581237</c:v>
                </c:pt>
                <c:pt idx="41051">
                  <c:v>0.73213839843053297</c:v>
                </c:pt>
                <c:pt idx="41052">
                  <c:v>0.73215623327982804</c:v>
                </c:pt>
                <c:pt idx="41053">
                  <c:v>0.732174068129124</c:v>
                </c:pt>
                <c:pt idx="41054">
                  <c:v>0.73219190297841896</c:v>
                </c:pt>
                <c:pt idx="41055">
                  <c:v>0.73220973782771503</c:v>
                </c:pt>
                <c:pt idx="41056">
                  <c:v>0.73222757267701</c:v>
                </c:pt>
                <c:pt idx="41057">
                  <c:v>0.73224540752630596</c:v>
                </c:pt>
                <c:pt idx="41058">
                  <c:v>0.73226324237560103</c:v>
                </c:pt>
                <c:pt idx="41059">
                  <c:v>0.73228107722489699</c:v>
                </c:pt>
                <c:pt idx="41060">
                  <c:v>0.73229891207419295</c:v>
                </c:pt>
                <c:pt idx="41061">
                  <c:v>0.73231674692348803</c:v>
                </c:pt>
                <c:pt idx="41062">
                  <c:v>0.73233458177278399</c:v>
                </c:pt>
                <c:pt idx="41063">
                  <c:v>0.73235241662207895</c:v>
                </c:pt>
                <c:pt idx="41064">
                  <c:v>0.73237025147137502</c:v>
                </c:pt>
                <c:pt idx="41065">
                  <c:v>0.73238808632066998</c:v>
                </c:pt>
                <c:pt idx="41066">
                  <c:v>0.73240592116996595</c:v>
                </c:pt>
                <c:pt idx="41067">
                  <c:v>0.73242375601926102</c:v>
                </c:pt>
                <c:pt idx="41068">
                  <c:v>0.73244159086855698</c:v>
                </c:pt>
                <c:pt idx="41069">
                  <c:v>0.73245942571785205</c:v>
                </c:pt>
                <c:pt idx="41070">
                  <c:v>0.73247726056714801</c:v>
                </c:pt>
                <c:pt idx="41071">
                  <c:v>0.73249509541644298</c:v>
                </c:pt>
                <c:pt idx="41072">
                  <c:v>0.73251293026573905</c:v>
                </c:pt>
                <c:pt idx="41073">
                  <c:v>0.73253076511503401</c:v>
                </c:pt>
                <c:pt idx="41074">
                  <c:v>0.73254859996432997</c:v>
                </c:pt>
                <c:pt idx="41075">
                  <c:v>0.73256643481362504</c:v>
                </c:pt>
                <c:pt idx="41076">
                  <c:v>0.73258426966292101</c:v>
                </c:pt>
                <c:pt idx="41077">
                  <c:v>0.73260210451221597</c:v>
                </c:pt>
                <c:pt idx="41078">
                  <c:v>0.73261993936151204</c:v>
                </c:pt>
                <c:pt idx="41079">
                  <c:v>0.732637774210807</c:v>
                </c:pt>
                <c:pt idx="41080">
                  <c:v>0.73265560906010296</c:v>
                </c:pt>
                <c:pt idx="41081">
                  <c:v>0.73267344390939804</c:v>
                </c:pt>
                <c:pt idx="41082">
                  <c:v>0.732691278758694</c:v>
                </c:pt>
                <c:pt idx="41083">
                  <c:v>0.73270911360798996</c:v>
                </c:pt>
                <c:pt idx="41084">
                  <c:v>0.73272694845728503</c:v>
                </c:pt>
                <c:pt idx="41085">
                  <c:v>0.73274478330658099</c:v>
                </c:pt>
                <c:pt idx="41086">
                  <c:v>0.73276261815587596</c:v>
                </c:pt>
                <c:pt idx="41087">
                  <c:v>0.73278045300517203</c:v>
                </c:pt>
                <c:pt idx="41088">
                  <c:v>0.73279828785446699</c:v>
                </c:pt>
                <c:pt idx="41089">
                  <c:v>0.73281612270376295</c:v>
                </c:pt>
                <c:pt idx="41090">
                  <c:v>0.73283395755305802</c:v>
                </c:pt>
                <c:pt idx="41091">
                  <c:v>0.73285179240235399</c:v>
                </c:pt>
                <c:pt idx="41092">
                  <c:v>0.73286962725164895</c:v>
                </c:pt>
                <c:pt idx="41093">
                  <c:v>0.73288746210094502</c:v>
                </c:pt>
                <c:pt idx="41094">
                  <c:v>0.73290529695023998</c:v>
                </c:pt>
                <c:pt idx="41095">
                  <c:v>0.73292313179953605</c:v>
                </c:pt>
                <c:pt idx="41096">
                  <c:v>0.73294096664883102</c:v>
                </c:pt>
                <c:pt idx="41097">
                  <c:v>0.73295880149812698</c:v>
                </c:pt>
                <c:pt idx="41098">
                  <c:v>0.73297663634742205</c:v>
                </c:pt>
                <c:pt idx="41099">
                  <c:v>0.73299447119671801</c:v>
                </c:pt>
                <c:pt idx="41100">
                  <c:v>0.73301230604601297</c:v>
                </c:pt>
                <c:pt idx="41101">
                  <c:v>0.73303014089530905</c:v>
                </c:pt>
                <c:pt idx="41102">
                  <c:v>0.73304797574460501</c:v>
                </c:pt>
                <c:pt idx="41103">
                  <c:v>0.73306581059389997</c:v>
                </c:pt>
                <c:pt idx="41104">
                  <c:v>0.73308364544319604</c:v>
                </c:pt>
                <c:pt idx="41105">
                  <c:v>0.733101480292491</c:v>
                </c:pt>
                <c:pt idx="41106">
                  <c:v>0.73311931514178696</c:v>
                </c:pt>
                <c:pt idx="41107">
                  <c:v>0.73313714999108204</c:v>
                </c:pt>
                <c:pt idx="41108">
                  <c:v>0.733154984840378</c:v>
                </c:pt>
                <c:pt idx="41109">
                  <c:v>0.73317281968967296</c:v>
                </c:pt>
                <c:pt idx="41110">
                  <c:v>0.73319065453896903</c:v>
                </c:pt>
                <c:pt idx="41111">
                  <c:v>0.733208489388264</c:v>
                </c:pt>
                <c:pt idx="41112">
                  <c:v>0.73322632423755996</c:v>
                </c:pt>
                <c:pt idx="41113">
                  <c:v>0.73324415908685503</c:v>
                </c:pt>
                <c:pt idx="41114">
                  <c:v>0.73326199393615099</c:v>
                </c:pt>
                <c:pt idx="41115">
                  <c:v>0.73327982878544595</c:v>
                </c:pt>
                <c:pt idx="41116">
                  <c:v>0.73329766363474203</c:v>
                </c:pt>
                <c:pt idx="41117">
                  <c:v>0.73331549848403699</c:v>
                </c:pt>
                <c:pt idx="41118">
                  <c:v>0.73333333333333295</c:v>
                </c:pt>
                <c:pt idx="41119">
                  <c:v>0.73335116818262802</c:v>
                </c:pt>
                <c:pt idx="41120">
                  <c:v>0.73336900303192398</c:v>
                </c:pt>
                <c:pt idx="41121">
                  <c:v>0.73338683788121894</c:v>
                </c:pt>
                <c:pt idx="41122">
                  <c:v>0.73340467273051502</c:v>
                </c:pt>
                <c:pt idx="41123">
                  <c:v>0.73342250757981098</c:v>
                </c:pt>
                <c:pt idx="41124">
                  <c:v>0.73344034242910605</c:v>
                </c:pt>
                <c:pt idx="41125">
                  <c:v>0.73345817727840201</c:v>
                </c:pt>
                <c:pt idx="41126">
                  <c:v>0.73347601212769697</c:v>
                </c:pt>
                <c:pt idx="41127">
                  <c:v>0.73349384697699305</c:v>
                </c:pt>
                <c:pt idx="41128">
                  <c:v>0.73351168182628801</c:v>
                </c:pt>
                <c:pt idx="41129">
                  <c:v>0.73352951667558397</c:v>
                </c:pt>
                <c:pt idx="41130">
                  <c:v>0.73354735152487904</c:v>
                </c:pt>
                <c:pt idx="41131">
                  <c:v>0.733565186374175</c:v>
                </c:pt>
                <c:pt idx="41132">
                  <c:v>0.73358302122346997</c:v>
                </c:pt>
                <c:pt idx="41133">
                  <c:v>0.73360085607276604</c:v>
                </c:pt>
                <c:pt idx="41134">
                  <c:v>0.733618690922061</c:v>
                </c:pt>
                <c:pt idx="41135">
                  <c:v>0.73363652577135696</c:v>
                </c:pt>
                <c:pt idx="41136">
                  <c:v>0.73365436062065204</c:v>
                </c:pt>
                <c:pt idx="41137">
                  <c:v>0.733672195469948</c:v>
                </c:pt>
                <c:pt idx="41138">
                  <c:v>0.73369003031924296</c:v>
                </c:pt>
                <c:pt idx="41139">
                  <c:v>0.73370786516853903</c:v>
                </c:pt>
                <c:pt idx="41140">
                  <c:v>0.73372570001783399</c:v>
                </c:pt>
                <c:pt idx="41141">
                  <c:v>0.73374353486712995</c:v>
                </c:pt>
                <c:pt idx="41142">
                  <c:v>0.73376136971642503</c:v>
                </c:pt>
                <c:pt idx="41143">
                  <c:v>0.73377920456572099</c:v>
                </c:pt>
                <c:pt idx="41144">
                  <c:v>0.73379703941501695</c:v>
                </c:pt>
                <c:pt idx="41145">
                  <c:v>0.73381487426431202</c:v>
                </c:pt>
                <c:pt idx="41146">
                  <c:v>0.73383270911360798</c:v>
                </c:pt>
                <c:pt idx="41147">
                  <c:v>0.73385054396290295</c:v>
                </c:pt>
                <c:pt idx="41148">
                  <c:v>0.73386837881219902</c:v>
                </c:pt>
                <c:pt idx="41149">
                  <c:v>0.73388621366149398</c:v>
                </c:pt>
                <c:pt idx="41150">
                  <c:v>0.73390404851079005</c:v>
                </c:pt>
                <c:pt idx="41151">
                  <c:v>0.73392188336008501</c:v>
                </c:pt>
                <c:pt idx="41152">
                  <c:v>0.73393971820938098</c:v>
                </c:pt>
                <c:pt idx="41153">
                  <c:v>0.73395755305867605</c:v>
                </c:pt>
                <c:pt idx="41154">
                  <c:v>0.73397538790797201</c:v>
                </c:pt>
                <c:pt idx="41155">
                  <c:v>0.73399322275726697</c:v>
                </c:pt>
                <c:pt idx="41156">
                  <c:v>0.73401105760656304</c:v>
                </c:pt>
                <c:pt idx="41157">
                  <c:v>0.73402889245585801</c:v>
                </c:pt>
                <c:pt idx="41158">
                  <c:v>0.73404672730515397</c:v>
                </c:pt>
                <c:pt idx="41159">
                  <c:v>0.73406456215444904</c:v>
                </c:pt>
                <c:pt idx="41160">
                  <c:v>0.734082397003745</c:v>
                </c:pt>
                <c:pt idx="41161">
                  <c:v>0.73410023185303996</c:v>
                </c:pt>
                <c:pt idx="41162">
                  <c:v>0.73411806670233604</c:v>
                </c:pt>
                <c:pt idx="41163">
                  <c:v>0.734135901551631</c:v>
                </c:pt>
                <c:pt idx="41164">
                  <c:v>0.73415373640092696</c:v>
                </c:pt>
                <c:pt idx="41165">
                  <c:v>0.73417157125022203</c:v>
                </c:pt>
                <c:pt idx="41166">
                  <c:v>0.73418940609951799</c:v>
                </c:pt>
                <c:pt idx="41167">
                  <c:v>0.73420724094881396</c:v>
                </c:pt>
                <c:pt idx="41168">
                  <c:v>0.73422507579810903</c:v>
                </c:pt>
                <c:pt idx="41169">
                  <c:v>0.73424291064740499</c:v>
                </c:pt>
                <c:pt idx="41170">
                  <c:v>0.73426074549669995</c:v>
                </c:pt>
                <c:pt idx="41171">
                  <c:v>0.73427858034599602</c:v>
                </c:pt>
                <c:pt idx="41172">
                  <c:v>0.73429641519529099</c:v>
                </c:pt>
                <c:pt idx="41173">
                  <c:v>0.73431425004458695</c:v>
                </c:pt>
                <c:pt idx="41174">
                  <c:v>0.73433208489388202</c:v>
                </c:pt>
                <c:pt idx="41175">
                  <c:v>0.73434991974317798</c:v>
                </c:pt>
                <c:pt idx="41176">
                  <c:v>0.73436775459247305</c:v>
                </c:pt>
                <c:pt idx="41177">
                  <c:v>0.73438558944176902</c:v>
                </c:pt>
                <c:pt idx="41178">
                  <c:v>0.73440342429106398</c:v>
                </c:pt>
                <c:pt idx="41179">
                  <c:v>0.73442125914036005</c:v>
                </c:pt>
                <c:pt idx="41180">
                  <c:v>0.73443909398965501</c:v>
                </c:pt>
                <c:pt idx="41181">
                  <c:v>0.73445692883895097</c:v>
                </c:pt>
                <c:pt idx="41182">
                  <c:v>0.73447476368824605</c:v>
                </c:pt>
                <c:pt idx="41183">
                  <c:v>0.73449259853754201</c:v>
                </c:pt>
                <c:pt idx="41184">
                  <c:v>0.73451043338683697</c:v>
                </c:pt>
                <c:pt idx="41185">
                  <c:v>0.73452826823613304</c:v>
                </c:pt>
                <c:pt idx="41186">
                  <c:v>0.734546103085428</c:v>
                </c:pt>
                <c:pt idx="41187">
                  <c:v>0.73456393793472397</c:v>
                </c:pt>
                <c:pt idx="41188">
                  <c:v>0.73458177278401904</c:v>
                </c:pt>
                <c:pt idx="41189">
                  <c:v>0.734599607633315</c:v>
                </c:pt>
                <c:pt idx="41190">
                  <c:v>0.73461744248261096</c:v>
                </c:pt>
                <c:pt idx="41191">
                  <c:v>0.73463527733190603</c:v>
                </c:pt>
                <c:pt idx="41192">
                  <c:v>0.73465311218120199</c:v>
                </c:pt>
                <c:pt idx="41193">
                  <c:v>0.73467094703049696</c:v>
                </c:pt>
                <c:pt idx="41194">
                  <c:v>0.73468878187979303</c:v>
                </c:pt>
                <c:pt idx="41195">
                  <c:v>0.73470661672908799</c:v>
                </c:pt>
                <c:pt idx="41196">
                  <c:v>0.73472445157838395</c:v>
                </c:pt>
                <c:pt idx="41197">
                  <c:v>0.73474228642767903</c:v>
                </c:pt>
                <c:pt idx="41198">
                  <c:v>0.73476012127697499</c:v>
                </c:pt>
                <c:pt idx="41199">
                  <c:v>0.73477795612626995</c:v>
                </c:pt>
                <c:pt idx="41200">
                  <c:v>0.73479579097556602</c:v>
                </c:pt>
                <c:pt idx="41201">
                  <c:v>0.73481362582486098</c:v>
                </c:pt>
                <c:pt idx="41202">
                  <c:v>0.73483146067415706</c:v>
                </c:pt>
                <c:pt idx="41203">
                  <c:v>0.73484929552345202</c:v>
                </c:pt>
                <c:pt idx="41204">
                  <c:v>0.73486713037274798</c:v>
                </c:pt>
                <c:pt idx="41205">
                  <c:v>0.73488496522204305</c:v>
                </c:pt>
                <c:pt idx="41206">
                  <c:v>0.73490280007133901</c:v>
                </c:pt>
                <c:pt idx="41207">
                  <c:v>0.73492063492063497</c:v>
                </c:pt>
                <c:pt idx="41208">
                  <c:v>0.73493846976993005</c:v>
                </c:pt>
                <c:pt idx="41209">
                  <c:v>0.73495630461922601</c:v>
                </c:pt>
                <c:pt idx="41210">
                  <c:v>0.73497413946852097</c:v>
                </c:pt>
                <c:pt idx="41211">
                  <c:v>0.73499197431781704</c:v>
                </c:pt>
                <c:pt idx="41212">
                  <c:v>0.735009809167112</c:v>
                </c:pt>
                <c:pt idx="41213">
                  <c:v>0.73502764401640797</c:v>
                </c:pt>
                <c:pt idx="41214">
                  <c:v>0.73504547886570304</c:v>
                </c:pt>
                <c:pt idx="41215">
                  <c:v>0.735063313714999</c:v>
                </c:pt>
                <c:pt idx="41216">
                  <c:v>0.73508114856429396</c:v>
                </c:pt>
                <c:pt idx="41217">
                  <c:v>0.73509898341359003</c:v>
                </c:pt>
                <c:pt idx="41218">
                  <c:v>0.735116818262885</c:v>
                </c:pt>
                <c:pt idx="41219">
                  <c:v>0.73513465311218096</c:v>
                </c:pt>
                <c:pt idx="41220">
                  <c:v>0.73515248796147603</c:v>
                </c:pt>
                <c:pt idx="41221">
                  <c:v>0.73517032281077199</c:v>
                </c:pt>
                <c:pt idx="41222">
                  <c:v>0.73518815766006695</c:v>
                </c:pt>
                <c:pt idx="41223">
                  <c:v>0.73520599250936303</c:v>
                </c:pt>
                <c:pt idx="41224">
                  <c:v>0.73522382735865799</c:v>
                </c:pt>
                <c:pt idx="41225">
                  <c:v>0.73524166220795395</c:v>
                </c:pt>
                <c:pt idx="41226">
                  <c:v>0.73525949705724902</c:v>
                </c:pt>
                <c:pt idx="41227">
                  <c:v>0.73527733190654498</c:v>
                </c:pt>
                <c:pt idx="41228">
                  <c:v>0.73529516675584095</c:v>
                </c:pt>
                <c:pt idx="41229">
                  <c:v>0.73531300160513602</c:v>
                </c:pt>
                <c:pt idx="41230">
                  <c:v>0.73533083645443198</c:v>
                </c:pt>
                <c:pt idx="41231">
                  <c:v>0.73534867130372705</c:v>
                </c:pt>
                <c:pt idx="41232">
                  <c:v>0.73536650615302301</c:v>
                </c:pt>
                <c:pt idx="41233">
                  <c:v>0.73538434100231798</c:v>
                </c:pt>
                <c:pt idx="41234">
                  <c:v>0.73540217585161405</c:v>
                </c:pt>
                <c:pt idx="41235">
                  <c:v>0.73542001070090901</c:v>
                </c:pt>
                <c:pt idx="41236">
                  <c:v>0.73543784555020497</c:v>
                </c:pt>
                <c:pt idx="41237">
                  <c:v>0.73545568039950004</c:v>
                </c:pt>
                <c:pt idx="41238">
                  <c:v>0.73547351524879601</c:v>
                </c:pt>
                <c:pt idx="41239">
                  <c:v>0.73549135009809097</c:v>
                </c:pt>
                <c:pt idx="41240">
                  <c:v>0.73550918494738704</c:v>
                </c:pt>
                <c:pt idx="41241">
                  <c:v>0.735527019796682</c:v>
                </c:pt>
                <c:pt idx="41242">
                  <c:v>0.73554485464597796</c:v>
                </c:pt>
                <c:pt idx="41243">
                  <c:v>0.73556268949527304</c:v>
                </c:pt>
                <c:pt idx="41244">
                  <c:v>0.735580524344569</c:v>
                </c:pt>
                <c:pt idx="41245">
                  <c:v>0.73559835919386396</c:v>
                </c:pt>
                <c:pt idx="41246">
                  <c:v>0.73561619404316003</c:v>
                </c:pt>
                <c:pt idx="41247">
                  <c:v>0.73563402889245499</c:v>
                </c:pt>
                <c:pt idx="41248">
                  <c:v>0.73565186374175096</c:v>
                </c:pt>
                <c:pt idx="41249">
                  <c:v>0.73566969859104603</c:v>
                </c:pt>
                <c:pt idx="41250">
                  <c:v>0.73568753344034199</c:v>
                </c:pt>
                <c:pt idx="41251">
                  <c:v>0.73570536828963795</c:v>
                </c:pt>
                <c:pt idx="41252">
                  <c:v>0.73572320313893302</c:v>
                </c:pt>
                <c:pt idx="41253">
                  <c:v>0.73574103798822899</c:v>
                </c:pt>
                <c:pt idx="41254">
                  <c:v>0.73575887283752395</c:v>
                </c:pt>
                <c:pt idx="41255">
                  <c:v>0.73577670768682002</c:v>
                </c:pt>
                <c:pt idx="41256">
                  <c:v>0.73579454253611498</c:v>
                </c:pt>
                <c:pt idx="41257">
                  <c:v>0.73581237738541105</c:v>
                </c:pt>
                <c:pt idx="41258">
                  <c:v>0.73583021223470602</c:v>
                </c:pt>
                <c:pt idx="41259">
                  <c:v>0.73584804708400198</c:v>
                </c:pt>
                <c:pt idx="41260">
                  <c:v>0.73586588193329705</c:v>
                </c:pt>
                <c:pt idx="41261">
                  <c:v>0.73588371678259301</c:v>
                </c:pt>
                <c:pt idx="41262">
                  <c:v>0.73590155163188797</c:v>
                </c:pt>
                <c:pt idx="41263">
                  <c:v>0.73591938648118405</c:v>
                </c:pt>
                <c:pt idx="41264">
                  <c:v>0.73593722133047901</c:v>
                </c:pt>
                <c:pt idx="41265">
                  <c:v>0.73595505617977497</c:v>
                </c:pt>
                <c:pt idx="41266">
                  <c:v>0.73597289102907004</c:v>
                </c:pt>
                <c:pt idx="41267">
                  <c:v>0.735990725878366</c:v>
                </c:pt>
                <c:pt idx="41268">
                  <c:v>0.73600856072766097</c:v>
                </c:pt>
                <c:pt idx="41269">
                  <c:v>0.73602639557695704</c:v>
                </c:pt>
                <c:pt idx="41270">
                  <c:v>0.736044230426252</c:v>
                </c:pt>
                <c:pt idx="41271">
                  <c:v>0.73606206527554796</c:v>
                </c:pt>
                <c:pt idx="41272">
                  <c:v>0.73607990012484303</c:v>
                </c:pt>
                <c:pt idx="41273">
                  <c:v>0.736097734974139</c:v>
                </c:pt>
                <c:pt idx="41274">
                  <c:v>0.73611556982343496</c:v>
                </c:pt>
                <c:pt idx="41275">
                  <c:v>0.73613340467273003</c:v>
                </c:pt>
                <c:pt idx="41276">
                  <c:v>0.73615123952202599</c:v>
                </c:pt>
                <c:pt idx="41277">
                  <c:v>0.73616907437132095</c:v>
                </c:pt>
                <c:pt idx="41278">
                  <c:v>0.73618690922061703</c:v>
                </c:pt>
                <c:pt idx="41279">
                  <c:v>0.73620474406991199</c:v>
                </c:pt>
                <c:pt idx="41280">
                  <c:v>0.73622257891920795</c:v>
                </c:pt>
                <c:pt idx="41281">
                  <c:v>0.73624041376850302</c:v>
                </c:pt>
                <c:pt idx="41282">
                  <c:v>0.73625824861779898</c:v>
                </c:pt>
                <c:pt idx="41283">
                  <c:v>0.73627608346709394</c:v>
                </c:pt>
                <c:pt idx="41284">
                  <c:v>0.73629391831639002</c:v>
                </c:pt>
                <c:pt idx="41285">
                  <c:v>0.73631175316568498</c:v>
                </c:pt>
                <c:pt idx="41286">
                  <c:v>0.73632958801498105</c:v>
                </c:pt>
                <c:pt idx="41287">
                  <c:v>0.73634742286427601</c:v>
                </c:pt>
                <c:pt idx="41288">
                  <c:v>0.73636525771357197</c:v>
                </c:pt>
                <c:pt idx="41289">
                  <c:v>0.73638309256286705</c:v>
                </c:pt>
                <c:pt idx="41290">
                  <c:v>0.73640092741216301</c:v>
                </c:pt>
                <c:pt idx="41291">
                  <c:v>0.73641876226145797</c:v>
                </c:pt>
                <c:pt idx="41292">
                  <c:v>0.73643659711075404</c:v>
                </c:pt>
                <c:pt idx="41293">
                  <c:v>0.73645443196004901</c:v>
                </c:pt>
                <c:pt idx="41294">
                  <c:v>0.73647226680934497</c:v>
                </c:pt>
                <c:pt idx="41295">
                  <c:v>0.73649010165864104</c:v>
                </c:pt>
                <c:pt idx="41296">
                  <c:v>0.736507936507936</c:v>
                </c:pt>
                <c:pt idx="41297">
                  <c:v>0.73652577135723196</c:v>
                </c:pt>
                <c:pt idx="41298">
                  <c:v>0.73654360620652704</c:v>
                </c:pt>
                <c:pt idx="41299">
                  <c:v>0.736561441055823</c:v>
                </c:pt>
                <c:pt idx="41300">
                  <c:v>0.73657927590511796</c:v>
                </c:pt>
                <c:pt idx="41301">
                  <c:v>0.73659711075441403</c:v>
                </c:pt>
                <c:pt idx="41302">
                  <c:v>0.73661494560370899</c:v>
                </c:pt>
                <c:pt idx="41303">
                  <c:v>0.73663278045300495</c:v>
                </c:pt>
                <c:pt idx="41304">
                  <c:v>0.73665061530230003</c:v>
                </c:pt>
                <c:pt idx="41305">
                  <c:v>0.73666845015159599</c:v>
                </c:pt>
                <c:pt idx="41306">
                  <c:v>0.73668628500089095</c:v>
                </c:pt>
                <c:pt idx="41307">
                  <c:v>0.73670411985018702</c:v>
                </c:pt>
                <c:pt idx="41308">
                  <c:v>0.73672195469948198</c:v>
                </c:pt>
                <c:pt idx="41309">
                  <c:v>0.73673978954877795</c:v>
                </c:pt>
                <c:pt idx="41310">
                  <c:v>0.73675762439807302</c:v>
                </c:pt>
                <c:pt idx="41311">
                  <c:v>0.73677545924736898</c:v>
                </c:pt>
                <c:pt idx="41312">
                  <c:v>0.73679329409666405</c:v>
                </c:pt>
                <c:pt idx="41313">
                  <c:v>0.73681112894596001</c:v>
                </c:pt>
                <c:pt idx="41314">
                  <c:v>0.73682896379525598</c:v>
                </c:pt>
                <c:pt idx="41315">
                  <c:v>0.73684679864455105</c:v>
                </c:pt>
                <c:pt idx="41316">
                  <c:v>0.73686463349384701</c:v>
                </c:pt>
                <c:pt idx="41317">
                  <c:v>0.73688246834314197</c:v>
                </c:pt>
                <c:pt idx="41318">
                  <c:v>0.73690030319243804</c:v>
                </c:pt>
                <c:pt idx="41319">
                  <c:v>0.73691813804173301</c:v>
                </c:pt>
                <c:pt idx="41320">
                  <c:v>0.73693597289102897</c:v>
                </c:pt>
                <c:pt idx="41321">
                  <c:v>0.73695380774032404</c:v>
                </c:pt>
                <c:pt idx="41322">
                  <c:v>0.73697164258962</c:v>
                </c:pt>
                <c:pt idx="41323">
                  <c:v>0.73698947743891496</c:v>
                </c:pt>
                <c:pt idx="41324">
                  <c:v>0.73700731228821104</c:v>
                </c:pt>
                <c:pt idx="41325">
                  <c:v>0.737025147137506</c:v>
                </c:pt>
                <c:pt idx="41326">
                  <c:v>0.73704298198680196</c:v>
                </c:pt>
                <c:pt idx="41327">
                  <c:v>0.73706081683609703</c:v>
                </c:pt>
                <c:pt idx="41328">
                  <c:v>0.73707865168539299</c:v>
                </c:pt>
                <c:pt idx="41329">
                  <c:v>0.73709648653468796</c:v>
                </c:pt>
                <c:pt idx="41330">
                  <c:v>0.73711432138398403</c:v>
                </c:pt>
                <c:pt idx="41331">
                  <c:v>0.73713215623327899</c:v>
                </c:pt>
                <c:pt idx="41332">
                  <c:v>0.73714999108257495</c:v>
                </c:pt>
                <c:pt idx="41333">
                  <c:v>0.73716782593187002</c:v>
                </c:pt>
                <c:pt idx="41334">
                  <c:v>0.73718566078116599</c:v>
                </c:pt>
                <c:pt idx="41335">
                  <c:v>0.73720349563046195</c:v>
                </c:pt>
                <c:pt idx="41336">
                  <c:v>0.73722133047975702</c:v>
                </c:pt>
                <c:pt idx="41337">
                  <c:v>0.73723916532905298</c:v>
                </c:pt>
                <c:pt idx="41338">
                  <c:v>0.73725700017834805</c:v>
                </c:pt>
                <c:pt idx="41339">
                  <c:v>0.73727483502764402</c:v>
                </c:pt>
                <c:pt idx="41340">
                  <c:v>0.73729266987693898</c:v>
                </c:pt>
                <c:pt idx="41341">
                  <c:v>0.73731050472623505</c:v>
                </c:pt>
                <c:pt idx="41342">
                  <c:v>0.73732833957553001</c:v>
                </c:pt>
                <c:pt idx="41343">
                  <c:v>0.73734617442482597</c:v>
                </c:pt>
                <c:pt idx="41344">
                  <c:v>0.73736400927412105</c:v>
                </c:pt>
                <c:pt idx="41345">
                  <c:v>0.73738184412341701</c:v>
                </c:pt>
                <c:pt idx="41346">
                  <c:v>0.73739967897271197</c:v>
                </c:pt>
                <c:pt idx="41347">
                  <c:v>0.73741751382200804</c:v>
                </c:pt>
                <c:pt idx="41348">
                  <c:v>0.737435348671303</c:v>
                </c:pt>
                <c:pt idx="41349">
                  <c:v>0.73745318352059896</c:v>
                </c:pt>
                <c:pt idx="41350">
                  <c:v>0.73747101836989404</c:v>
                </c:pt>
                <c:pt idx="41351">
                  <c:v>0.73748885321919</c:v>
                </c:pt>
                <c:pt idx="41352">
                  <c:v>0.73750668806848496</c:v>
                </c:pt>
                <c:pt idx="41353">
                  <c:v>0.73752452291778103</c:v>
                </c:pt>
                <c:pt idx="41354">
                  <c:v>0.737542357767076</c:v>
                </c:pt>
                <c:pt idx="41355">
                  <c:v>0.73756019261637196</c:v>
                </c:pt>
                <c:pt idx="41356">
                  <c:v>0.73757802746566703</c:v>
                </c:pt>
                <c:pt idx="41357">
                  <c:v>0.73759586231496299</c:v>
                </c:pt>
                <c:pt idx="41358">
                  <c:v>0.73761369716425895</c:v>
                </c:pt>
                <c:pt idx="41359">
                  <c:v>0.73763153201355403</c:v>
                </c:pt>
                <c:pt idx="41360">
                  <c:v>0.73764936686284999</c:v>
                </c:pt>
                <c:pt idx="41361">
                  <c:v>0.73766720171214495</c:v>
                </c:pt>
                <c:pt idx="41362">
                  <c:v>0.73768503656144102</c:v>
                </c:pt>
                <c:pt idx="41363">
                  <c:v>0.73770287141073598</c:v>
                </c:pt>
                <c:pt idx="41364">
                  <c:v>0.73772070626003206</c:v>
                </c:pt>
                <c:pt idx="41365">
                  <c:v>0.73773854110932702</c:v>
                </c:pt>
                <c:pt idx="41366">
                  <c:v>0.73775637595862298</c:v>
                </c:pt>
                <c:pt idx="41367">
                  <c:v>0.73777421080791805</c:v>
                </c:pt>
                <c:pt idx="41368">
                  <c:v>0.73779204565721401</c:v>
                </c:pt>
                <c:pt idx="41369">
                  <c:v>0.73780988050650897</c:v>
                </c:pt>
                <c:pt idx="41370">
                  <c:v>0.73782771535580505</c:v>
                </c:pt>
                <c:pt idx="41371">
                  <c:v>0.73784555020510001</c:v>
                </c:pt>
                <c:pt idx="41372">
                  <c:v>0.73786338505439597</c:v>
                </c:pt>
                <c:pt idx="41373">
                  <c:v>0.73788121990369104</c:v>
                </c:pt>
                <c:pt idx="41374">
                  <c:v>0.737899054752987</c:v>
                </c:pt>
                <c:pt idx="41375">
                  <c:v>0.73791688960228197</c:v>
                </c:pt>
                <c:pt idx="41376">
                  <c:v>0.73793472445157804</c:v>
                </c:pt>
                <c:pt idx="41377">
                  <c:v>0.737952559300873</c:v>
                </c:pt>
                <c:pt idx="41378">
                  <c:v>0.73797039415016896</c:v>
                </c:pt>
                <c:pt idx="41379">
                  <c:v>0.73798822899946404</c:v>
                </c:pt>
                <c:pt idx="41380">
                  <c:v>0.73800606384876</c:v>
                </c:pt>
                <c:pt idx="41381">
                  <c:v>0.73802389869805596</c:v>
                </c:pt>
                <c:pt idx="41382">
                  <c:v>0.73804173354735103</c:v>
                </c:pt>
                <c:pt idx="41383">
                  <c:v>0.73805956839664699</c:v>
                </c:pt>
                <c:pt idx="41384">
                  <c:v>0.73807740324594195</c:v>
                </c:pt>
                <c:pt idx="41385">
                  <c:v>0.73809523809523803</c:v>
                </c:pt>
                <c:pt idx="41386">
                  <c:v>0.73811307294453299</c:v>
                </c:pt>
                <c:pt idx="41387">
                  <c:v>0.73813090779382895</c:v>
                </c:pt>
                <c:pt idx="41388">
                  <c:v>0.73814874264312402</c:v>
                </c:pt>
                <c:pt idx="41389">
                  <c:v>0.73816657749241998</c:v>
                </c:pt>
                <c:pt idx="41390">
                  <c:v>0.73818441234171495</c:v>
                </c:pt>
                <c:pt idx="41391">
                  <c:v>0.73820224719101102</c:v>
                </c:pt>
                <c:pt idx="41392">
                  <c:v>0.73822008204030598</c:v>
                </c:pt>
                <c:pt idx="41393">
                  <c:v>0.73823791688960205</c:v>
                </c:pt>
                <c:pt idx="41394">
                  <c:v>0.73825575173889701</c:v>
                </c:pt>
                <c:pt idx="41395">
                  <c:v>0.73827358658819298</c:v>
                </c:pt>
                <c:pt idx="41396">
                  <c:v>0.73829142143748805</c:v>
                </c:pt>
                <c:pt idx="41397">
                  <c:v>0.73830925628678401</c:v>
                </c:pt>
                <c:pt idx="41398">
                  <c:v>0.73832709113607897</c:v>
                </c:pt>
                <c:pt idx="41399">
                  <c:v>0.73834492598537504</c:v>
                </c:pt>
                <c:pt idx="41400">
                  <c:v>0.73836276083467001</c:v>
                </c:pt>
                <c:pt idx="41401">
                  <c:v>0.73838059568396597</c:v>
                </c:pt>
                <c:pt idx="41402">
                  <c:v>0.73839843053326204</c:v>
                </c:pt>
                <c:pt idx="41403">
                  <c:v>0.738416265382557</c:v>
                </c:pt>
                <c:pt idx="41404">
                  <c:v>0.73843410023185296</c:v>
                </c:pt>
                <c:pt idx="41405">
                  <c:v>0.73845193508114804</c:v>
                </c:pt>
                <c:pt idx="41406">
                  <c:v>0.738469769930444</c:v>
                </c:pt>
                <c:pt idx="41407">
                  <c:v>0.73848760477973896</c:v>
                </c:pt>
                <c:pt idx="41408">
                  <c:v>0.73850543962903503</c:v>
                </c:pt>
                <c:pt idx="41409">
                  <c:v>0.73852327447832999</c:v>
                </c:pt>
                <c:pt idx="41410">
                  <c:v>0.73854110932762596</c:v>
                </c:pt>
                <c:pt idx="41411">
                  <c:v>0.73855894417692103</c:v>
                </c:pt>
                <c:pt idx="41412">
                  <c:v>0.73857677902621699</c:v>
                </c:pt>
                <c:pt idx="41413">
                  <c:v>0.73859461387551195</c:v>
                </c:pt>
                <c:pt idx="41414">
                  <c:v>0.73861244872480802</c:v>
                </c:pt>
                <c:pt idx="41415">
                  <c:v>0.73863028357410299</c:v>
                </c:pt>
                <c:pt idx="41416">
                  <c:v>0.73864811842339895</c:v>
                </c:pt>
                <c:pt idx="41417">
                  <c:v>0.73866595327269402</c:v>
                </c:pt>
                <c:pt idx="41418">
                  <c:v>0.73868378812198998</c:v>
                </c:pt>
                <c:pt idx="41419">
                  <c:v>0.73870162297128505</c:v>
                </c:pt>
                <c:pt idx="41420">
                  <c:v>0.73871945782058102</c:v>
                </c:pt>
                <c:pt idx="41421">
                  <c:v>0.73873729266987698</c:v>
                </c:pt>
                <c:pt idx="41422">
                  <c:v>0.73875512751917205</c:v>
                </c:pt>
                <c:pt idx="41423">
                  <c:v>0.73877296236846801</c:v>
                </c:pt>
                <c:pt idx="41424">
                  <c:v>0.73879079721776297</c:v>
                </c:pt>
                <c:pt idx="41425">
                  <c:v>0.73880863206705905</c:v>
                </c:pt>
                <c:pt idx="41426">
                  <c:v>0.73882646691635401</c:v>
                </c:pt>
                <c:pt idx="41427">
                  <c:v>0.73884430176564997</c:v>
                </c:pt>
                <c:pt idx="41428">
                  <c:v>0.73886213661494504</c:v>
                </c:pt>
                <c:pt idx="41429">
                  <c:v>0.738879971464241</c:v>
                </c:pt>
                <c:pt idx="41430">
                  <c:v>0.73889780631353597</c:v>
                </c:pt>
                <c:pt idx="41431">
                  <c:v>0.73891564116283204</c:v>
                </c:pt>
                <c:pt idx="41432">
                  <c:v>0.738933476012127</c:v>
                </c:pt>
                <c:pt idx="41433">
                  <c:v>0.73895131086142296</c:v>
                </c:pt>
                <c:pt idx="41434">
                  <c:v>0.73896914571071803</c:v>
                </c:pt>
                <c:pt idx="41435">
                  <c:v>0.738986980560014</c:v>
                </c:pt>
                <c:pt idx="41436">
                  <c:v>0.73900481540930896</c:v>
                </c:pt>
                <c:pt idx="41437">
                  <c:v>0.73902265025860503</c:v>
                </c:pt>
                <c:pt idx="41438">
                  <c:v>0.73904048510789999</c:v>
                </c:pt>
                <c:pt idx="41439">
                  <c:v>0.73905831995719595</c:v>
                </c:pt>
                <c:pt idx="41440">
                  <c:v>0.73907615480649103</c:v>
                </c:pt>
                <c:pt idx="41441">
                  <c:v>0.73909398965578699</c:v>
                </c:pt>
                <c:pt idx="41442">
                  <c:v>0.73911182450508295</c:v>
                </c:pt>
                <c:pt idx="41443">
                  <c:v>0.73912965935437802</c:v>
                </c:pt>
                <c:pt idx="41444">
                  <c:v>0.73914749420367398</c:v>
                </c:pt>
                <c:pt idx="41445">
                  <c:v>0.73916532905296894</c:v>
                </c:pt>
                <c:pt idx="41446">
                  <c:v>0.73918316390226502</c:v>
                </c:pt>
                <c:pt idx="41447">
                  <c:v>0.73920099875155998</c:v>
                </c:pt>
                <c:pt idx="41448">
                  <c:v>0.73921883360085605</c:v>
                </c:pt>
                <c:pt idx="41449">
                  <c:v>0.73923666845015101</c:v>
                </c:pt>
                <c:pt idx="41450">
                  <c:v>0.73925450329944697</c:v>
                </c:pt>
                <c:pt idx="41451">
                  <c:v>0.73927233814874205</c:v>
                </c:pt>
                <c:pt idx="41452">
                  <c:v>0.73929017299803801</c:v>
                </c:pt>
                <c:pt idx="41453">
                  <c:v>0.73930800784733297</c:v>
                </c:pt>
                <c:pt idx="41454">
                  <c:v>0.73932584269662904</c:v>
                </c:pt>
                <c:pt idx="41455">
                  <c:v>0.73934367754592401</c:v>
                </c:pt>
                <c:pt idx="41456">
                  <c:v>0.73936151239521997</c:v>
                </c:pt>
                <c:pt idx="41457">
                  <c:v>0.73937934724451504</c:v>
                </c:pt>
                <c:pt idx="41458">
                  <c:v>0.739397182093811</c:v>
                </c:pt>
                <c:pt idx="41459">
                  <c:v>0.73941501694310596</c:v>
                </c:pt>
                <c:pt idx="41460">
                  <c:v>0.73943285179240203</c:v>
                </c:pt>
                <c:pt idx="41461">
                  <c:v>0.739450686641697</c:v>
                </c:pt>
                <c:pt idx="41462">
                  <c:v>0.73946852149099296</c:v>
                </c:pt>
                <c:pt idx="41463">
                  <c:v>0.73948635634028803</c:v>
                </c:pt>
                <c:pt idx="41464">
                  <c:v>0.73950419118958399</c:v>
                </c:pt>
                <c:pt idx="41465">
                  <c:v>0.73952202603887995</c:v>
                </c:pt>
                <c:pt idx="41466">
                  <c:v>0.73953986088817503</c:v>
                </c:pt>
                <c:pt idx="41467">
                  <c:v>0.73955769573747099</c:v>
                </c:pt>
                <c:pt idx="41468">
                  <c:v>0.73957553058676595</c:v>
                </c:pt>
                <c:pt idx="41469">
                  <c:v>0.73959336543606202</c:v>
                </c:pt>
                <c:pt idx="41470">
                  <c:v>0.73961120028535698</c:v>
                </c:pt>
                <c:pt idx="41471">
                  <c:v>0.73962903513465295</c:v>
                </c:pt>
                <c:pt idx="41472">
                  <c:v>0.73964686998394802</c:v>
                </c:pt>
                <c:pt idx="41473">
                  <c:v>0.73966470483324398</c:v>
                </c:pt>
                <c:pt idx="41474">
                  <c:v>0.73968253968253905</c:v>
                </c:pt>
                <c:pt idx="41475">
                  <c:v>0.73970037453183501</c:v>
                </c:pt>
                <c:pt idx="41476">
                  <c:v>0.73971820938112998</c:v>
                </c:pt>
                <c:pt idx="41477">
                  <c:v>0.73973604423042605</c:v>
                </c:pt>
                <c:pt idx="41478">
                  <c:v>0.73975387907972101</c:v>
                </c:pt>
                <c:pt idx="41479">
                  <c:v>0.73977171392901697</c:v>
                </c:pt>
                <c:pt idx="41480">
                  <c:v>0.73978954877831204</c:v>
                </c:pt>
                <c:pt idx="41481">
                  <c:v>0.73980738362760801</c:v>
                </c:pt>
                <c:pt idx="41482">
                  <c:v>0.73982521847690297</c:v>
                </c:pt>
                <c:pt idx="41483">
                  <c:v>0.73984305332619904</c:v>
                </c:pt>
                <c:pt idx="41484">
                  <c:v>0.739860888175494</c:v>
                </c:pt>
                <c:pt idx="41485">
                  <c:v>0.73987872302478996</c:v>
                </c:pt>
                <c:pt idx="41486">
                  <c:v>0.73989655787408504</c:v>
                </c:pt>
                <c:pt idx="41487">
                  <c:v>0.739914392723381</c:v>
                </c:pt>
                <c:pt idx="41488">
                  <c:v>0.73993222757267696</c:v>
                </c:pt>
                <c:pt idx="41489">
                  <c:v>0.73995006242197203</c:v>
                </c:pt>
                <c:pt idx="41490">
                  <c:v>0.73996789727126799</c:v>
                </c:pt>
                <c:pt idx="41491">
                  <c:v>0.73998573212056296</c:v>
                </c:pt>
                <c:pt idx="41492">
                  <c:v>0.74000356696985903</c:v>
                </c:pt>
                <c:pt idx="41493">
                  <c:v>0.74002140181915399</c:v>
                </c:pt>
                <c:pt idx="41494">
                  <c:v>0.74003923666844995</c:v>
                </c:pt>
                <c:pt idx="41495">
                  <c:v>0.74005707151774502</c:v>
                </c:pt>
                <c:pt idx="41496">
                  <c:v>0.74007490636704099</c:v>
                </c:pt>
                <c:pt idx="41497">
                  <c:v>0.74009274121633595</c:v>
                </c:pt>
                <c:pt idx="41498">
                  <c:v>0.74011057606563202</c:v>
                </c:pt>
                <c:pt idx="41499">
                  <c:v>0.74012841091492698</c:v>
                </c:pt>
                <c:pt idx="41500">
                  <c:v>0.74014624576422305</c:v>
                </c:pt>
                <c:pt idx="41501">
                  <c:v>0.74016408061351802</c:v>
                </c:pt>
                <c:pt idx="41502">
                  <c:v>0.74018191546281398</c:v>
                </c:pt>
                <c:pt idx="41503">
                  <c:v>0.74019975031210905</c:v>
                </c:pt>
                <c:pt idx="41504">
                  <c:v>0.74021758516140501</c:v>
                </c:pt>
                <c:pt idx="41505">
                  <c:v>0.74023542001069997</c:v>
                </c:pt>
                <c:pt idx="41506">
                  <c:v>0.74025325485999605</c:v>
                </c:pt>
                <c:pt idx="41507">
                  <c:v>0.74027108970929201</c:v>
                </c:pt>
                <c:pt idx="41508">
                  <c:v>0.74028892455858697</c:v>
                </c:pt>
                <c:pt idx="41509">
                  <c:v>0.74030675940788304</c:v>
                </c:pt>
                <c:pt idx="41510">
                  <c:v>0.740324594257178</c:v>
                </c:pt>
                <c:pt idx="41511">
                  <c:v>0.74034242910647396</c:v>
                </c:pt>
                <c:pt idx="41512">
                  <c:v>0.74036026395576904</c:v>
                </c:pt>
                <c:pt idx="41513">
                  <c:v>0.740378098805065</c:v>
                </c:pt>
                <c:pt idx="41514">
                  <c:v>0.74039593365435996</c:v>
                </c:pt>
                <c:pt idx="41515">
                  <c:v>0.74041376850365603</c:v>
                </c:pt>
                <c:pt idx="41516">
                  <c:v>0.740431603352951</c:v>
                </c:pt>
                <c:pt idx="41517">
                  <c:v>0.74044943820224696</c:v>
                </c:pt>
                <c:pt idx="41518">
                  <c:v>0.74046727305154203</c:v>
                </c:pt>
                <c:pt idx="41519">
                  <c:v>0.74048510790083799</c:v>
                </c:pt>
                <c:pt idx="41520">
                  <c:v>0.74050294275013295</c:v>
                </c:pt>
                <c:pt idx="41521">
                  <c:v>0.74052077759942903</c:v>
                </c:pt>
                <c:pt idx="41522">
                  <c:v>0.74053861244872399</c:v>
                </c:pt>
                <c:pt idx="41523">
                  <c:v>0.74055644729801995</c:v>
                </c:pt>
                <c:pt idx="41524">
                  <c:v>0.74057428214731502</c:v>
                </c:pt>
                <c:pt idx="41525">
                  <c:v>0.74059211699661098</c:v>
                </c:pt>
                <c:pt idx="41526">
                  <c:v>0.74060995184590594</c:v>
                </c:pt>
                <c:pt idx="41527">
                  <c:v>0.74062778669520202</c:v>
                </c:pt>
                <c:pt idx="41528">
                  <c:v>0.74064562154449798</c:v>
                </c:pt>
                <c:pt idx="41529">
                  <c:v>0.74066345639379305</c:v>
                </c:pt>
                <c:pt idx="41530">
                  <c:v>0.74068129124308901</c:v>
                </c:pt>
                <c:pt idx="41531">
                  <c:v>0.74069912609238397</c:v>
                </c:pt>
                <c:pt idx="41532">
                  <c:v>0.74071696094168005</c:v>
                </c:pt>
                <c:pt idx="41533">
                  <c:v>0.74073479579097501</c:v>
                </c:pt>
                <c:pt idx="41534">
                  <c:v>0.74075263064027097</c:v>
                </c:pt>
                <c:pt idx="41535">
                  <c:v>0.74077046548956604</c:v>
                </c:pt>
                <c:pt idx="41536">
                  <c:v>0.740788300338862</c:v>
                </c:pt>
                <c:pt idx="41537">
                  <c:v>0.74080613518815697</c:v>
                </c:pt>
                <c:pt idx="41538">
                  <c:v>0.74082397003745304</c:v>
                </c:pt>
                <c:pt idx="41539">
                  <c:v>0.740841804886748</c:v>
                </c:pt>
                <c:pt idx="41540">
                  <c:v>0.74085963973604396</c:v>
                </c:pt>
                <c:pt idx="41541">
                  <c:v>0.74087747458533904</c:v>
                </c:pt>
                <c:pt idx="41542">
                  <c:v>0.740895309434635</c:v>
                </c:pt>
                <c:pt idx="41543">
                  <c:v>0.74091314428392996</c:v>
                </c:pt>
                <c:pt idx="41544">
                  <c:v>0.74093097913322603</c:v>
                </c:pt>
                <c:pt idx="41545">
                  <c:v>0.74094881398252099</c:v>
                </c:pt>
                <c:pt idx="41546">
                  <c:v>0.74096664883181695</c:v>
                </c:pt>
                <c:pt idx="41547">
                  <c:v>0.74098448368111203</c:v>
                </c:pt>
                <c:pt idx="41548">
                  <c:v>0.74100231853040799</c:v>
                </c:pt>
                <c:pt idx="41549">
                  <c:v>0.74102015337970395</c:v>
                </c:pt>
                <c:pt idx="41550">
                  <c:v>0.74103798822899902</c:v>
                </c:pt>
                <c:pt idx="41551">
                  <c:v>0.74105582307829498</c:v>
                </c:pt>
                <c:pt idx="41552">
                  <c:v>0.74107365792758995</c:v>
                </c:pt>
                <c:pt idx="41553">
                  <c:v>0.74109149277688602</c:v>
                </c:pt>
                <c:pt idx="41554">
                  <c:v>0.74110932762618098</c:v>
                </c:pt>
                <c:pt idx="41555">
                  <c:v>0.74112716247547705</c:v>
                </c:pt>
                <c:pt idx="41556">
                  <c:v>0.74114499732477201</c:v>
                </c:pt>
                <c:pt idx="41557">
                  <c:v>0.74116283217406798</c:v>
                </c:pt>
                <c:pt idx="41558">
                  <c:v>0.74118066702336305</c:v>
                </c:pt>
                <c:pt idx="41559">
                  <c:v>0.74119850187265901</c:v>
                </c:pt>
                <c:pt idx="41560">
                  <c:v>0.74121633672195397</c:v>
                </c:pt>
                <c:pt idx="41561">
                  <c:v>0.74123417157125004</c:v>
                </c:pt>
                <c:pt idx="41562">
                  <c:v>0.74125200642054501</c:v>
                </c:pt>
                <c:pt idx="41563">
                  <c:v>0.74126984126984097</c:v>
                </c:pt>
                <c:pt idx="41564">
                  <c:v>0.74128767611913604</c:v>
                </c:pt>
                <c:pt idx="41565">
                  <c:v>0.741305510968432</c:v>
                </c:pt>
                <c:pt idx="41566">
                  <c:v>0.74132334581772696</c:v>
                </c:pt>
                <c:pt idx="41567">
                  <c:v>0.74134118066702304</c:v>
                </c:pt>
                <c:pt idx="41568">
                  <c:v>0.741359015516318</c:v>
                </c:pt>
                <c:pt idx="41569">
                  <c:v>0.74137685036561396</c:v>
                </c:pt>
                <c:pt idx="41570">
                  <c:v>0.74139468521490903</c:v>
                </c:pt>
                <c:pt idx="41571">
                  <c:v>0.74141252006420499</c:v>
                </c:pt>
                <c:pt idx="41572">
                  <c:v>0.74143035491350096</c:v>
                </c:pt>
                <c:pt idx="41573">
                  <c:v>0.74144818976279603</c:v>
                </c:pt>
                <c:pt idx="41574">
                  <c:v>0.74146602461209199</c:v>
                </c:pt>
                <c:pt idx="41575">
                  <c:v>0.74148385946138695</c:v>
                </c:pt>
                <c:pt idx="41576">
                  <c:v>0.74150169431068302</c:v>
                </c:pt>
                <c:pt idx="41577">
                  <c:v>0.74151952915997799</c:v>
                </c:pt>
                <c:pt idx="41578">
                  <c:v>0.74153736400927395</c:v>
                </c:pt>
                <c:pt idx="41579">
                  <c:v>0.74155519885856902</c:v>
                </c:pt>
                <c:pt idx="41580">
                  <c:v>0.74157303370786498</c:v>
                </c:pt>
                <c:pt idx="41581">
                  <c:v>0.74159086855716005</c:v>
                </c:pt>
                <c:pt idx="41582">
                  <c:v>0.74160870340645602</c:v>
                </c:pt>
                <c:pt idx="41583">
                  <c:v>0.74162653825575098</c:v>
                </c:pt>
                <c:pt idx="41584">
                  <c:v>0.74164437310504705</c:v>
                </c:pt>
                <c:pt idx="41585">
                  <c:v>0.74166220795434201</c:v>
                </c:pt>
                <c:pt idx="41586">
                  <c:v>0.74168004280363797</c:v>
                </c:pt>
                <c:pt idx="41587">
                  <c:v>0.74169787765293305</c:v>
                </c:pt>
                <c:pt idx="41588">
                  <c:v>0.74171571250222901</c:v>
                </c:pt>
                <c:pt idx="41589">
                  <c:v>0.74173354735152397</c:v>
                </c:pt>
                <c:pt idx="41590">
                  <c:v>0.74175138220082004</c:v>
                </c:pt>
                <c:pt idx="41591">
                  <c:v>0.741769217050115</c:v>
                </c:pt>
                <c:pt idx="41592">
                  <c:v>0.74178705189941097</c:v>
                </c:pt>
                <c:pt idx="41593">
                  <c:v>0.74180488674870604</c:v>
                </c:pt>
                <c:pt idx="41594">
                  <c:v>0.741822721598002</c:v>
                </c:pt>
                <c:pt idx="41595">
                  <c:v>0.74184055644729796</c:v>
                </c:pt>
                <c:pt idx="41596">
                  <c:v>0.74185839129659303</c:v>
                </c:pt>
                <c:pt idx="41597">
                  <c:v>0.741876226145889</c:v>
                </c:pt>
                <c:pt idx="41598">
                  <c:v>0.74189406099518396</c:v>
                </c:pt>
                <c:pt idx="41599">
                  <c:v>0.74191189584448003</c:v>
                </c:pt>
                <c:pt idx="41600">
                  <c:v>0.74192973069377499</c:v>
                </c:pt>
                <c:pt idx="41601">
                  <c:v>0.74194756554307095</c:v>
                </c:pt>
                <c:pt idx="41602">
                  <c:v>0.74196540039236603</c:v>
                </c:pt>
                <c:pt idx="41603">
                  <c:v>0.74198323524166199</c:v>
                </c:pt>
                <c:pt idx="41604">
                  <c:v>0.74200107009095695</c:v>
                </c:pt>
                <c:pt idx="41605">
                  <c:v>0.74201890494025302</c:v>
                </c:pt>
                <c:pt idx="41606">
                  <c:v>0.74203673978954798</c:v>
                </c:pt>
                <c:pt idx="41607">
                  <c:v>0.74205457463884394</c:v>
                </c:pt>
                <c:pt idx="41608">
                  <c:v>0.74207240948813902</c:v>
                </c:pt>
                <c:pt idx="41609">
                  <c:v>0.74209024433743498</c:v>
                </c:pt>
                <c:pt idx="41610">
                  <c:v>0.74210807918673005</c:v>
                </c:pt>
                <c:pt idx="41611">
                  <c:v>0.74212591403602601</c:v>
                </c:pt>
                <c:pt idx="41612">
                  <c:v>0.74214374888532197</c:v>
                </c:pt>
                <c:pt idx="41613">
                  <c:v>0.74216158373461705</c:v>
                </c:pt>
                <c:pt idx="41614">
                  <c:v>0.74217941858391301</c:v>
                </c:pt>
                <c:pt idx="41615">
                  <c:v>0.74219725343320797</c:v>
                </c:pt>
                <c:pt idx="41616">
                  <c:v>0.74221508828250404</c:v>
                </c:pt>
                <c:pt idx="41617">
                  <c:v>0.74223292313179901</c:v>
                </c:pt>
                <c:pt idx="41618">
                  <c:v>0.74225075798109497</c:v>
                </c:pt>
                <c:pt idx="41619">
                  <c:v>0.74226859283039004</c:v>
                </c:pt>
                <c:pt idx="41620">
                  <c:v>0.742286427679686</c:v>
                </c:pt>
                <c:pt idx="41621">
                  <c:v>0.74230426252898096</c:v>
                </c:pt>
                <c:pt idx="41622">
                  <c:v>0.74232209737827703</c:v>
                </c:pt>
                <c:pt idx="41623">
                  <c:v>0.742339932227572</c:v>
                </c:pt>
                <c:pt idx="41624">
                  <c:v>0.74235776707686796</c:v>
                </c:pt>
                <c:pt idx="41625">
                  <c:v>0.74237560192616303</c:v>
                </c:pt>
                <c:pt idx="41626">
                  <c:v>0.74239343677545899</c:v>
                </c:pt>
                <c:pt idx="41627">
                  <c:v>0.74241127162475395</c:v>
                </c:pt>
                <c:pt idx="41628">
                  <c:v>0.74242910647405003</c:v>
                </c:pt>
                <c:pt idx="41629">
                  <c:v>0.74244694132334499</c:v>
                </c:pt>
                <c:pt idx="41630">
                  <c:v>0.74246477617264095</c:v>
                </c:pt>
                <c:pt idx="41631">
                  <c:v>0.74248261102193602</c:v>
                </c:pt>
                <c:pt idx="41632">
                  <c:v>0.74250044587123198</c:v>
                </c:pt>
                <c:pt idx="41633">
                  <c:v>0.74251828072052795</c:v>
                </c:pt>
                <c:pt idx="41634">
                  <c:v>0.74253611556982302</c:v>
                </c:pt>
                <c:pt idx="41635">
                  <c:v>0.74255395041911898</c:v>
                </c:pt>
                <c:pt idx="41636">
                  <c:v>0.74257178526841405</c:v>
                </c:pt>
                <c:pt idx="41637">
                  <c:v>0.74258962011771001</c:v>
                </c:pt>
                <c:pt idx="41638">
                  <c:v>0.74260745496700498</c:v>
                </c:pt>
                <c:pt idx="41639">
                  <c:v>0.74262528981630105</c:v>
                </c:pt>
                <c:pt idx="41640">
                  <c:v>0.74264312466559601</c:v>
                </c:pt>
                <c:pt idx="41641">
                  <c:v>0.74266095951489197</c:v>
                </c:pt>
                <c:pt idx="41642">
                  <c:v>0.74267879436418704</c:v>
                </c:pt>
                <c:pt idx="41643">
                  <c:v>0.74269662921348301</c:v>
                </c:pt>
                <c:pt idx="41644">
                  <c:v>0.74271446406277797</c:v>
                </c:pt>
                <c:pt idx="41645">
                  <c:v>0.74273229891207404</c:v>
                </c:pt>
                <c:pt idx="41646">
                  <c:v>0.742750133761369</c:v>
                </c:pt>
                <c:pt idx="41647">
                  <c:v>0.74276796861066496</c:v>
                </c:pt>
                <c:pt idx="41648">
                  <c:v>0.74278580345996004</c:v>
                </c:pt>
                <c:pt idx="41649">
                  <c:v>0.742803638309256</c:v>
                </c:pt>
                <c:pt idx="41650">
                  <c:v>0.74282147315855096</c:v>
                </c:pt>
                <c:pt idx="41651">
                  <c:v>0.74283930800784703</c:v>
                </c:pt>
                <c:pt idx="41652">
                  <c:v>0.74285714285714199</c:v>
                </c:pt>
                <c:pt idx="41653">
                  <c:v>0.74287497770643796</c:v>
                </c:pt>
                <c:pt idx="41654">
                  <c:v>0.74289281255573303</c:v>
                </c:pt>
                <c:pt idx="41655">
                  <c:v>0.74291064740502899</c:v>
                </c:pt>
                <c:pt idx="41656">
                  <c:v>0.74292848225432495</c:v>
                </c:pt>
                <c:pt idx="41657">
                  <c:v>0.74294631710362002</c:v>
                </c:pt>
                <c:pt idx="41658">
                  <c:v>0.74296415195291599</c:v>
                </c:pt>
                <c:pt idx="41659">
                  <c:v>0.74298198680221095</c:v>
                </c:pt>
                <c:pt idx="41660">
                  <c:v>0.74299982165150702</c:v>
                </c:pt>
                <c:pt idx="41661">
                  <c:v>0.74301765650080198</c:v>
                </c:pt>
                <c:pt idx="41662">
                  <c:v>0.74303549135009805</c:v>
                </c:pt>
                <c:pt idx="41663">
                  <c:v>0.74305332619939302</c:v>
                </c:pt>
                <c:pt idx="41664">
                  <c:v>0.74307116104868898</c:v>
                </c:pt>
                <c:pt idx="41665">
                  <c:v>0.74308899589798405</c:v>
                </c:pt>
                <c:pt idx="41666">
                  <c:v>0.74310683074728001</c:v>
                </c:pt>
                <c:pt idx="41667">
                  <c:v>0.74312466559657497</c:v>
                </c:pt>
                <c:pt idx="41668">
                  <c:v>0.74314250044587105</c:v>
                </c:pt>
                <c:pt idx="41669">
                  <c:v>0.74316033529516601</c:v>
                </c:pt>
                <c:pt idx="41670">
                  <c:v>0.74317817014446197</c:v>
                </c:pt>
                <c:pt idx="41671">
                  <c:v>0.74319600499375704</c:v>
                </c:pt>
                <c:pt idx="41672">
                  <c:v>0.743213839843053</c:v>
                </c:pt>
                <c:pt idx="41673">
                  <c:v>0.74323167469234797</c:v>
                </c:pt>
                <c:pt idx="41674">
                  <c:v>0.74324950954164404</c:v>
                </c:pt>
                <c:pt idx="41675">
                  <c:v>0.743267344390939</c:v>
                </c:pt>
                <c:pt idx="41676">
                  <c:v>0.74328517924023496</c:v>
                </c:pt>
                <c:pt idx="41677">
                  <c:v>0.74330301408953003</c:v>
                </c:pt>
                <c:pt idx="41678">
                  <c:v>0.743320848938826</c:v>
                </c:pt>
                <c:pt idx="41679">
                  <c:v>0.74333868378812196</c:v>
                </c:pt>
                <c:pt idx="41680">
                  <c:v>0.74335651863741703</c:v>
                </c:pt>
                <c:pt idx="41681">
                  <c:v>0.74337435348671299</c:v>
                </c:pt>
                <c:pt idx="41682">
                  <c:v>0.74339218833600795</c:v>
                </c:pt>
                <c:pt idx="41683">
                  <c:v>0.74341002318530403</c:v>
                </c:pt>
                <c:pt idx="41684">
                  <c:v>0.74342785803459899</c:v>
                </c:pt>
                <c:pt idx="41685">
                  <c:v>0.74344569288389495</c:v>
                </c:pt>
                <c:pt idx="41686">
                  <c:v>0.74346352773319002</c:v>
                </c:pt>
                <c:pt idx="41687">
                  <c:v>0.74348136258248598</c:v>
                </c:pt>
                <c:pt idx="41688">
                  <c:v>0.74349919743178094</c:v>
                </c:pt>
                <c:pt idx="41689">
                  <c:v>0.74351703228107702</c:v>
                </c:pt>
                <c:pt idx="41690">
                  <c:v>0.74353486713037198</c:v>
                </c:pt>
                <c:pt idx="41691">
                  <c:v>0.74355270197966805</c:v>
                </c:pt>
                <c:pt idx="41692">
                  <c:v>0.74357053682896301</c:v>
                </c:pt>
                <c:pt idx="41693">
                  <c:v>0.74358837167825897</c:v>
                </c:pt>
                <c:pt idx="41694">
                  <c:v>0.74360620652755405</c:v>
                </c:pt>
                <c:pt idx="41695">
                  <c:v>0.74362404137685001</c:v>
                </c:pt>
                <c:pt idx="41696">
                  <c:v>0.74364187622614497</c:v>
                </c:pt>
                <c:pt idx="41697">
                  <c:v>0.74365971107544104</c:v>
                </c:pt>
                <c:pt idx="41698">
                  <c:v>0.74367754592473601</c:v>
                </c:pt>
                <c:pt idx="41699">
                  <c:v>0.74369538077403197</c:v>
                </c:pt>
                <c:pt idx="41700">
                  <c:v>0.74371321562332704</c:v>
                </c:pt>
                <c:pt idx="41701">
                  <c:v>0.743731050472623</c:v>
                </c:pt>
                <c:pt idx="41702">
                  <c:v>0.74374888532191896</c:v>
                </c:pt>
                <c:pt idx="41703">
                  <c:v>0.74376672017121404</c:v>
                </c:pt>
                <c:pt idx="41704">
                  <c:v>0.74378455502051</c:v>
                </c:pt>
                <c:pt idx="41705">
                  <c:v>0.74380238986980496</c:v>
                </c:pt>
                <c:pt idx="41706">
                  <c:v>0.74382022471910103</c:v>
                </c:pt>
                <c:pt idx="41707">
                  <c:v>0.74383805956839599</c:v>
                </c:pt>
                <c:pt idx="41708">
                  <c:v>0.74385589441769195</c:v>
                </c:pt>
                <c:pt idx="41709">
                  <c:v>0.74387372926698703</c:v>
                </c:pt>
                <c:pt idx="41710">
                  <c:v>0.74389156411628299</c:v>
                </c:pt>
                <c:pt idx="41711">
                  <c:v>0.74390939896557795</c:v>
                </c:pt>
                <c:pt idx="41712">
                  <c:v>0.74392723381487402</c:v>
                </c:pt>
                <c:pt idx="41713">
                  <c:v>0.74394506866416898</c:v>
                </c:pt>
                <c:pt idx="41714">
                  <c:v>0.74396290351346495</c:v>
                </c:pt>
                <c:pt idx="41715">
                  <c:v>0.74398073836276002</c:v>
                </c:pt>
                <c:pt idx="41716">
                  <c:v>0.74399857321205598</c:v>
                </c:pt>
                <c:pt idx="41717">
                  <c:v>0.74401640806135105</c:v>
                </c:pt>
                <c:pt idx="41718">
                  <c:v>0.74403424291064701</c:v>
                </c:pt>
                <c:pt idx="41719">
                  <c:v>0.74405207775994298</c:v>
                </c:pt>
                <c:pt idx="41720">
                  <c:v>0.74406991260923805</c:v>
                </c:pt>
                <c:pt idx="41721">
                  <c:v>0.74408774745853401</c:v>
                </c:pt>
                <c:pt idx="41722">
                  <c:v>0.74410558230782897</c:v>
                </c:pt>
                <c:pt idx="41723">
                  <c:v>0.74412341715712504</c:v>
                </c:pt>
                <c:pt idx="41724">
                  <c:v>0.74414125200642001</c:v>
                </c:pt>
                <c:pt idx="41725">
                  <c:v>0.74415908685571597</c:v>
                </c:pt>
                <c:pt idx="41726">
                  <c:v>0.74417692170501104</c:v>
                </c:pt>
                <c:pt idx="41727">
                  <c:v>0.744194756554307</c:v>
                </c:pt>
                <c:pt idx="41728">
                  <c:v>0.74421259140360196</c:v>
                </c:pt>
                <c:pt idx="41729">
                  <c:v>0.74423042625289804</c:v>
                </c:pt>
                <c:pt idx="41730">
                  <c:v>0.744248261102193</c:v>
                </c:pt>
                <c:pt idx="41731">
                  <c:v>0.74426609595148896</c:v>
                </c:pt>
                <c:pt idx="41732">
                  <c:v>0.74428393080078403</c:v>
                </c:pt>
                <c:pt idx="41733">
                  <c:v>0.74430176565007999</c:v>
                </c:pt>
                <c:pt idx="41734">
                  <c:v>0.74431960049937496</c:v>
                </c:pt>
                <c:pt idx="41735">
                  <c:v>0.74433743534867103</c:v>
                </c:pt>
                <c:pt idx="41736">
                  <c:v>0.74435527019796599</c:v>
                </c:pt>
                <c:pt idx="41737">
                  <c:v>0.74437310504726195</c:v>
                </c:pt>
                <c:pt idx="41738">
                  <c:v>0.74439093989655702</c:v>
                </c:pt>
                <c:pt idx="41739">
                  <c:v>0.74440877474585299</c:v>
                </c:pt>
                <c:pt idx="41740">
                  <c:v>0.74442660959514895</c:v>
                </c:pt>
                <c:pt idx="41741">
                  <c:v>0.74444444444444402</c:v>
                </c:pt>
                <c:pt idx="41742">
                  <c:v>0.74446227929373998</c:v>
                </c:pt>
                <c:pt idx="41743">
                  <c:v>0.74448011414303505</c:v>
                </c:pt>
                <c:pt idx="41744">
                  <c:v>0.74449794899233102</c:v>
                </c:pt>
                <c:pt idx="41745">
                  <c:v>0.74451578384162598</c:v>
                </c:pt>
                <c:pt idx="41746">
                  <c:v>0.74453361869092205</c:v>
                </c:pt>
                <c:pt idx="41747">
                  <c:v>0.74455145354021701</c:v>
                </c:pt>
                <c:pt idx="41748">
                  <c:v>0.74456928838951297</c:v>
                </c:pt>
                <c:pt idx="41749">
                  <c:v>0.74458712323880805</c:v>
                </c:pt>
                <c:pt idx="41750">
                  <c:v>0.74460495808810401</c:v>
                </c:pt>
                <c:pt idx="41751">
                  <c:v>0.74462279293739897</c:v>
                </c:pt>
                <c:pt idx="41752">
                  <c:v>0.74464062778669504</c:v>
                </c:pt>
                <c:pt idx="41753">
                  <c:v>0.74465846263599</c:v>
                </c:pt>
                <c:pt idx="41754">
                  <c:v>0.74467629748528597</c:v>
                </c:pt>
                <c:pt idx="41755">
                  <c:v>0.74469413233458104</c:v>
                </c:pt>
                <c:pt idx="41756">
                  <c:v>0.744711967183877</c:v>
                </c:pt>
                <c:pt idx="41757">
                  <c:v>0.74472980203317196</c:v>
                </c:pt>
                <c:pt idx="41758">
                  <c:v>0.74474763688246803</c:v>
                </c:pt>
                <c:pt idx="41759">
                  <c:v>0.744765471731763</c:v>
                </c:pt>
                <c:pt idx="41760">
                  <c:v>0.74478330658105896</c:v>
                </c:pt>
                <c:pt idx="41761">
                  <c:v>0.74480114143035403</c:v>
                </c:pt>
                <c:pt idx="41762">
                  <c:v>0.74481897627964999</c:v>
                </c:pt>
                <c:pt idx="41763">
                  <c:v>0.74483681112894595</c:v>
                </c:pt>
                <c:pt idx="41764">
                  <c:v>0.74485464597824103</c:v>
                </c:pt>
                <c:pt idx="41765">
                  <c:v>0.74487248082753699</c:v>
                </c:pt>
                <c:pt idx="41766">
                  <c:v>0.74489031567683195</c:v>
                </c:pt>
                <c:pt idx="41767">
                  <c:v>0.74490815052612802</c:v>
                </c:pt>
                <c:pt idx="41768">
                  <c:v>0.74492598537542298</c:v>
                </c:pt>
                <c:pt idx="41769">
                  <c:v>0.74494382022471906</c:v>
                </c:pt>
                <c:pt idx="41770">
                  <c:v>0.74496165507401402</c:v>
                </c:pt>
                <c:pt idx="41771">
                  <c:v>0.74497948992330998</c:v>
                </c:pt>
                <c:pt idx="41772">
                  <c:v>0.74499732477260505</c:v>
                </c:pt>
                <c:pt idx="41773">
                  <c:v>0.74501515962190101</c:v>
                </c:pt>
                <c:pt idx="41774">
                  <c:v>0.74503299447119598</c:v>
                </c:pt>
                <c:pt idx="41775">
                  <c:v>0.74505082932049205</c:v>
                </c:pt>
                <c:pt idx="41776">
                  <c:v>0.74506866416978701</c:v>
                </c:pt>
                <c:pt idx="41777">
                  <c:v>0.74508649901908297</c:v>
                </c:pt>
                <c:pt idx="41778">
                  <c:v>0.74510433386837804</c:v>
                </c:pt>
                <c:pt idx="41779">
                  <c:v>0.745122168717674</c:v>
                </c:pt>
                <c:pt idx="41780">
                  <c:v>0.74514000356696897</c:v>
                </c:pt>
                <c:pt idx="41781">
                  <c:v>0.74515783841626504</c:v>
                </c:pt>
                <c:pt idx="41782">
                  <c:v>0.74517567326556</c:v>
                </c:pt>
                <c:pt idx="41783">
                  <c:v>0.74519350811485596</c:v>
                </c:pt>
                <c:pt idx="41784">
                  <c:v>0.74521134296415104</c:v>
                </c:pt>
                <c:pt idx="41785">
                  <c:v>0.745229177813447</c:v>
                </c:pt>
                <c:pt idx="41786">
                  <c:v>0.74524701266274296</c:v>
                </c:pt>
                <c:pt idx="41787">
                  <c:v>0.74526484751203803</c:v>
                </c:pt>
                <c:pt idx="41788">
                  <c:v>0.74528268236133399</c:v>
                </c:pt>
                <c:pt idx="41789">
                  <c:v>0.74530051721062895</c:v>
                </c:pt>
                <c:pt idx="41790">
                  <c:v>0.74531835205992503</c:v>
                </c:pt>
                <c:pt idx="41791">
                  <c:v>0.74533618690921999</c:v>
                </c:pt>
                <c:pt idx="41792">
                  <c:v>0.74535402175851595</c:v>
                </c:pt>
                <c:pt idx="41793">
                  <c:v>0.74537185660781102</c:v>
                </c:pt>
                <c:pt idx="41794">
                  <c:v>0.74538969145710698</c:v>
                </c:pt>
                <c:pt idx="41795">
                  <c:v>0.74540752630640195</c:v>
                </c:pt>
                <c:pt idx="41796">
                  <c:v>0.74542536115569802</c:v>
                </c:pt>
                <c:pt idx="41797">
                  <c:v>0.74544319600499298</c:v>
                </c:pt>
                <c:pt idx="41798">
                  <c:v>0.74546103085428905</c:v>
                </c:pt>
                <c:pt idx="41799">
                  <c:v>0.74547886570358401</c:v>
                </c:pt>
                <c:pt idx="41800">
                  <c:v>0.74549670055287998</c:v>
                </c:pt>
                <c:pt idx="41801">
                  <c:v>0.74551453540217505</c:v>
                </c:pt>
                <c:pt idx="41802">
                  <c:v>0.74553237025147101</c:v>
                </c:pt>
                <c:pt idx="41803">
                  <c:v>0.74555020510076597</c:v>
                </c:pt>
                <c:pt idx="41804">
                  <c:v>0.74556803995006204</c:v>
                </c:pt>
                <c:pt idx="41805">
                  <c:v>0.74558587479935701</c:v>
                </c:pt>
                <c:pt idx="41806">
                  <c:v>0.74560370964865297</c:v>
                </c:pt>
                <c:pt idx="41807">
                  <c:v>0.74562154449794904</c:v>
                </c:pt>
                <c:pt idx="41808">
                  <c:v>0.745639379347244</c:v>
                </c:pt>
                <c:pt idx="41809">
                  <c:v>0.74565721419653996</c:v>
                </c:pt>
                <c:pt idx="41810">
                  <c:v>0.74567504904583504</c:v>
                </c:pt>
                <c:pt idx="41811">
                  <c:v>0.745692883895131</c:v>
                </c:pt>
                <c:pt idx="41812">
                  <c:v>0.74571071874442596</c:v>
                </c:pt>
                <c:pt idx="41813">
                  <c:v>0.74572855359372203</c:v>
                </c:pt>
                <c:pt idx="41814">
                  <c:v>0.74574638844301699</c:v>
                </c:pt>
                <c:pt idx="41815">
                  <c:v>0.74576422329231296</c:v>
                </c:pt>
                <c:pt idx="41816">
                  <c:v>0.74578205814160803</c:v>
                </c:pt>
                <c:pt idx="41817">
                  <c:v>0.74579989299090399</c:v>
                </c:pt>
                <c:pt idx="41818">
                  <c:v>0.74581772784019895</c:v>
                </c:pt>
                <c:pt idx="41819">
                  <c:v>0.74583556268949502</c:v>
                </c:pt>
                <c:pt idx="41820">
                  <c:v>0.74585339753878999</c:v>
                </c:pt>
                <c:pt idx="41821">
                  <c:v>0.74587123238808595</c:v>
                </c:pt>
                <c:pt idx="41822">
                  <c:v>0.74588906723738102</c:v>
                </c:pt>
                <c:pt idx="41823">
                  <c:v>0.74590690208667698</c:v>
                </c:pt>
                <c:pt idx="41824">
                  <c:v>0.74592473693597205</c:v>
                </c:pt>
                <c:pt idx="41825">
                  <c:v>0.74594257178526802</c:v>
                </c:pt>
                <c:pt idx="41826">
                  <c:v>0.74596040663456398</c:v>
                </c:pt>
                <c:pt idx="41827">
                  <c:v>0.74597824148385905</c:v>
                </c:pt>
                <c:pt idx="41828">
                  <c:v>0.74599607633315501</c:v>
                </c:pt>
                <c:pt idx="41829">
                  <c:v>0.74601391118244997</c:v>
                </c:pt>
                <c:pt idx="41830">
                  <c:v>0.74603174603174605</c:v>
                </c:pt>
                <c:pt idx="41831">
                  <c:v>0.74604958088104101</c:v>
                </c:pt>
                <c:pt idx="41832">
                  <c:v>0.74606741573033697</c:v>
                </c:pt>
                <c:pt idx="41833">
                  <c:v>0.74608525057963204</c:v>
                </c:pt>
                <c:pt idx="41834">
                  <c:v>0.746103085428928</c:v>
                </c:pt>
                <c:pt idx="41835">
                  <c:v>0.74612092027822297</c:v>
                </c:pt>
                <c:pt idx="41836">
                  <c:v>0.74613875512751904</c:v>
                </c:pt>
                <c:pt idx="41837">
                  <c:v>0.746156589976814</c:v>
                </c:pt>
                <c:pt idx="41838">
                  <c:v>0.74617442482610996</c:v>
                </c:pt>
                <c:pt idx="41839">
                  <c:v>0.74619225967540503</c:v>
                </c:pt>
                <c:pt idx="41840">
                  <c:v>0.746210094524701</c:v>
                </c:pt>
                <c:pt idx="41841">
                  <c:v>0.74622792937399596</c:v>
                </c:pt>
                <c:pt idx="41842">
                  <c:v>0.74624576422329203</c:v>
                </c:pt>
                <c:pt idx="41843">
                  <c:v>0.74626359907258699</c:v>
                </c:pt>
                <c:pt idx="41844">
                  <c:v>0.74628143392188295</c:v>
                </c:pt>
                <c:pt idx="41845">
                  <c:v>0.74629926877117803</c:v>
                </c:pt>
                <c:pt idx="41846">
                  <c:v>0.74631710362047399</c:v>
                </c:pt>
                <c:pt idx="41847">
                  <c:v>0.74633493846976995</c:v>
                </c:pt>
                <c:pt idx="41848">
                  <c:v>0.74635277331906502</c:v>
                </c:pt>
                <c:pt idx="41849">
                  <c:v>0.74637060816836098</c:v>
                </c:pt>
                <c:pt idx="41850">
                  <c:v>0.74638844301765594</c:v>
                </c:pt>
                <c:pt idx="41851">
                  <c:v>0.74640627786695202</c:v>
                </c:pt>
                <c:pt idx="41852">
                  <c:v>0.74642411271624698</c:v>
                </c:pt>
                <c:pt idx="41853">
                  <c:v>0.74644194756554305</c:v>
                </c:pt>
                <c:pt idx="41854">
                  <c:v>0.74645978241483801</c:v>
                </c:pt>
                <c:pt idx="41855">
                  <c:v>0.74647761726413397</c:v>
                </c:pt>
                <c:pt idx="41856">
                  <c:v>0.74649545211342905</c:v>
                </c:pt>
                <c:pt idx="41857">
                  <c:v>0.74651328696272501</c:v>
                </c:pt>
                <c:pt idx="41858">
                  <c:v>0.74653112181201997</c:v>
                </c:pt>
                <c:pt idx="41859">
                  <c:v>0.74654895666131604</c:v>
                </c:pt>
                <c:pt idx="41860">
                  <c:v>0.74656679151061101</c:v>
                </c:pt>
                <c:pt idx="41861">
                  <c:v>0.74658462635990697</c:v>
                </c:pt>
                <c:pt idx="41862">
                  <c:v>0.74660246120920204</c:v>
                </c:pt>
                <c:pt idx="41863">
                  <c:v>0.746620296058498</c:v>
                </c:pt>
                <c:pt idx="41864">
                  <c:v>0.74663813090779296</c:v>
                </c:pt>
                <c:pt idx="41865">
                  <c:v>0.74665596575708904</c:v>
                </c:pt>
                <c:pt idx="41866">
                  <c:v>0.746673800606384</c:v>
                </c:pt>
                <c:pt idx="41867">
                  <c:v>0.74669163545567996</c:v>
                </c:pt>
                <c:pt idx="41868">
                  <c:v>0.74670947030497503</c:v>
                </c:pt>
                <c:pt idx="41869">
                  <c:v>0.74672730515427099</c:v>
                </c:pt>
                <c:pt idx="41870">
                  <c:v>0.74674514000356695</c:v>
                </c:pt>
                <c:pt idx="41871">
                  <c:v>0.74676297485286203</c:v>
                </c:pt>
                <c:pt idx="41872">
                  <c:v>0.74678080970215799</c:v>
                </c:pt>
                <c:pt idx="41873">
                  <c:v>0.74679864455145295</c:v>
                </c:pt>
                <c:pt idx="41874">
                  <c:v>0.74681647940074902</c:v>
                </c:pt>
                <c:pt idx="41875">
                  <c:v>0.74683431425004398</c:v>
                </c:pt>
                <c:pt idx="41876">
                  <c:v>0.74685214909933995</c:v>
                </c:pt>
                <c:pt idx="41877">
                  <c:v>0.74686998394863502</c:v>
                </c:pt>
                <c:pt idx="41878">
                  <c:v>0.74688781879793098</c:v>
                </c:pt>
                <c:pt idx="41879">
                  <c:v>0.74690565364722605</c:v>
                </c:pt>
                <c:pt idx="41880">
                  <c:v>0.74692348849652201</c:v>
                </c:pt>
                <c:pt idx="41881">
                  <c:v>0.74694132334581698</c:v>
                </c:pt>
                <c:pt idx="41882">
                  <c:v>0.74695915819511305</c:v>
                </c:pt>
                <c:pt idx="41883">
                  <c:v>0.74697699304440801</c:v>
                </c:pt>
                <c:pt idx="41884">
                  <c:v>0.74699482789370397</c:v>
                </c:pt>
                <c:pt idx="41885">
                  <c:v>0.74701266274299905</c:v>
                </c:pt>
                <c:pt idx="41886">
                  <c:v>0.74703049759229501</c:v>
                </c:pt>
                <c:pt idx="41887">
                  <c:v>0.74704833244158997</c:v>
                </c:pt>
                <c:pt idx="41888">
                  <c:v>0.74706616729088604</c:v>
                </c:pt>
                <c:pt idx="41889">
                  <c:v>0.747084002140181</c:v>
                </c:pt>
                <c:pt idx="41890">
                  <c:v>0.74710183698947696</c:v>
                </c:pt>
                <c:pt idx="41891">
                  <c:v>0.74711967183877204</c:v>
                </c:pt>
                <c:pt idx="41892">
                  <c:v>0.747137506688068</c:v>
                </c:pt>
                <c:pt idx="41893">
                  <c:v>0.74715534153736396</c:v>
                </c:pt>
                <c:pt idx="41894">
                  <c:v>0.74717317638665903</c:v>
                </c:pt>
                <c:pt idx="41895">
                  <c:v>0.74719101123595499</c:v>
                </c:pt>
                <c:pt idx="41896">
                  <c:v>0.74720884608524996</c:v>
                </c:pt>
                <c:pt idx="41897">
                  <c:v>0.74722668093454603</c:v>
                </c:pt>
                <c:pt idx="41898">
                  <c:v>0.74724451578384099</c:v>
                </c:pt>
                <c:pt idx="41899">
                  <c:v>0.74726235063313695</c:v>
                </c:pt>
                <c:pt idx="41900">
                  <c:v>0.74728018548243202</c:v>
                </c:pt>
                <c:pt idx="41901">
                  <c:v>0.74729802033172799</c:v>
                </c:pt>
                <c:pt idx="41902">
                  <c:v>0.74731585518102295</c:v>
                </c:pt>
                <c:pt idx="41903">
                  <c:v>0.74733369003031902</c:v>
                </c:pt>
                <c:pt idx="41904">
                  <c:v>0.74735152487961398</c:v>
                </c:pt>
                <c:pt idx="41905">
                  <c:v>0.74736935972891005</c:v>
                </c:pt>
                <c:pt idx="41906">
                  <c:v>0.74738719457820502</c:v>
                </c:pt>
                <c:pt idx="41907">
                  <c:v>0.74740502942750098</c:v>
                </c:pt>
                <c:pt idx="41908">
                  <c:v>0.74742286427679605</c:v>
                </c:pt>
                <c:pt idx="41909">
                  <c:v>0.74744069912609201</c:v>
                </c:pt>
                <c:pt idx="41910">
                  <c:v>0.74745853397538697</c:v>
                </c:pt>
                <c:pt idx="41911">
                  <c:v>0.74747636882468305</c:v>
                </c:pt>
                <c:pt idx="41912">
                  <c:v>0.74749420367397901</c:v>
                </c:pt>
                <c:pt idx="41913">
                  <c:v>0.74751203852327397</c:v>
                </c:pt>
                <c:pt idx="41914">
                  <c:v>0.74752987337257004</c:v>
                </c:pt>
                <c:pt idx="41915">
                  <c:v>0.747547708221865</c:v>
                </c:pt>
                <c:pt idx="41916">
                  <c:v>0.74756554307116097</c:v>
                </c:pt>
                <c:pt idx="41917">
                  <c:v>0.74758337792045604</c:v>
                </c:pt>
                <c:pt idx="41918">
                  <c:v>0.747601212769752</c:v>
                </c:pt>
                <c:pt idx="41919">
                  <c:v>0.74761904761904696</c:v>
                </c:pt>
                <c:pt idx="41920">
                  <c:v>0.74763688246834303</c:v>
                </c:pt>
                <c:pt idx="41921">
                  <c:v>0.747654717317638</c:v>
                </c:pt>
                <c:pt idx="41922">
                  <c:v>0.74767255216693396</c:v>
                </c:pt>
                <c:pt idx="41923">
                  <c:v>0.74769038701622903</c:v>
                </c:pt>
                <c:pt idx="41924">
                  <c:v>0.74770822186552499</c:v>
                </c:pt>
                <c:pt idx="41925">
                  <c:v>0.74772605671481995</c:v>
                </c:pt>
                <c:pt idx="41926">
                  <c:v>0.74774389156411603</c:v>
                </c:pt>
                <c:pt idx="41927">
                  <c:v>0.74776172641341099</c:v>
                </c:pt>
                <c:pt idx="41928">
                  <c:v>0.74777956126270695</c:v>
                </c:pt>
                <c:pt idx="41929">
                  <c:v>0.74779739611200202</c:v>
                </c:pt>
                <c:pt idx="41930">
                  <c:v>0.74781523096129798</c:v>
                </c:pt>
                <c:pt idx="41931">
                  <c:v>0.74783306581059295</c:v>
                </c:pt>
                <c:pt idx="41932">
                  <c:v>0.74785090065988902</c:v>
                </c:pt>
                <c:pt idx="41933">
                  <c:v>0.74786873550918498</c:v>
                </c:pt>
                <c:pt idx="41934">
                  <c:v>0.74788657035848005</c:v>
                </c:pt>
                <c:pt idx="41935">
                  <c:v>0.74790440520777601</c:v>
                </c:pt>
                <c:pt idx="41936">
                  <c:v>0.74792224005707098</c:v>
                </c:pt>
                <c:pt idx="41937">
                  <c:v>0.74794007490636705</c:v>
                </c:pt>
                <c:pt idx="41938">
                  <c:v>0.74795790975566201</c:v>
                </c:pt>
                <c:pt idx="41939">
                  <c:v>0.74797574460495797</c:v>
                </c:pt>
                <c:pt idx="41940">
                  <c:v>0.74799357945425304</c:v>
                </c:pt>
                <c:pt idx="41941">
                  <c:v>0.748011414303549</c:v>
                </c:pt>
                <c:pt idx="41942">
                  <c:v>0.74802924915284397</c:v>
                </c:pt>
                <c:pt idx="41943">
                  <c:v>0.74804708400214004</c:v>
                </c:pt>
                <c:pt idx="41944">
                  <c:v>0.748064918851435</c:v>
                </c:pt>
                <c:pt idx="41945">
                  <c:v>0.74808275370073096</c:v>
                </c:pt>
                <c:pt idx="41946">
                  <c:v>0.74810058855002604</c:v>
                </c:pt>
                <c:pt idx="41947">
                  <c:v>0.748118423399322</c:v>
                </c:pt>
                <c:pt idx="41948">
                  <c:v>0.74813625824861696</c:v>
                </c:pt>
                <c:pt idx="41949">
                  <c:v>0.74815409309791303</c:v>
                </c:pt>
                <c:pt idx="41950">
                  <c:v>0.74817192794720799</c:v>
                </c:pt>
                <c:pt idx="41951">
                  <c:v>0.74818976279650395</c:v>
                </c:pt>
                <c:pt idx="41952">
                  <c:v>0.74820759764579903</c:v>
                </c:pt>
                <c:pt idx="41953">
                  <c:v>0.74822543249509499</c:v>
                </c:pt>
                <c:pt idx="41954">
                  <c:v>0.74824326734439095</c:v>
                </c:pt>
                <c:pt idx="41955">
                  <c:v>0.74826110219368602</c:v>
                </c:pt>
                <c:pt idx="41956">
                  <c:v>0.74827893704298198</c:v>
                </c:pt>
                <c:pt idx="41957">
                  <c:v>0.74829677189227695</c:v>
                </c:pt>
                <c:pt idx="41958">
                  <c:v>0.74831460674157302</c:v>
                </c:pt>
                <c:pt idx="41959">
                  <c:v>0.74833244159086798</c:v>
                </c:pt>
                <c:pt idx="41960">
                  <c:v>0.74835027644016405</c:v>
                </c:pt>
                <c:pt idx="41961">
                  <c:v>0.74836811128945901</c:v>
                </c:pt>
                <c:pt idx="41962">
                  <c:v>0.74838594613875498</c:v>
                </c:pt>
                <c:pt idx="41963">
                  <c:v>0.74840378098805005</c:v>
                </c:pt>
                <c:pt idx="41964">
                  <c:v>0.74842161583734601</c:v>
                </c:pt>
                <c:pt idx="41965">
                  <c:v>0.74843945068664097</c:v>
                </c:pt>
                <c:pt idx="41966">
                  <c:v>0.74845728553593704</c:v>
                </c:pt>
                <c:pt idx="41967">
                  <c:v>0.74847512038523201</c:v>
                </c:pt>
                <c:pt idx="41968">
                  <c:v>0.74849295523452797</c:v>
                </c:pt>
                <c:pt idx="41969">
                  <c:v>0.74851079008382304</c:v>
                </c:pt>
                <c:pt idx="41970">
                  <c:v>0.748528624933119</c:v>
                </c:pt>
                <c:pt idx="41971">
                  <c:v>0.74854645978241396</c:v>
                </c:pt>
                <c:pt idx="41972">
                  <c:v>0.74856429463171004</c:v>
                </c:pt>
                <c:pt idx="41973">
                  <c:v>0.748582129481005</c:v>
                </c:pt>
                <c:pt idx="41974">
                  <c:v>0.74859996433030096</c:v>
                </c:pt>
                <c:pt idx="41975">
                  <c:v>0.74861779917959603</c:v>
                </c:pt>
                <c:pt idx="41976">
                  <c:v>0.74863563402889199</c:v>
                </c:pt>
                <c:pt idx="41977">
                  <c:v>0.74865346887818796</c:v>
                </c:pt>
                <c:pt idx="41978">
                  <c:v>0.74867130372748303</c:v>
                </c:pt>
                <c:pt idx="41979">
                  <c:v>0.74868913857677899</c:v>
                </c:pt>
                <c:pt idx="41980">
                  <c:v>0.74870697342607395</c:v>
                </c:pt>
                <c:pt idx="41981">
                  <c:v>0.74872480827537002</c:v>
                </c:pt>
                <c:pt idx="41982">
                  <c:v>0.74874264312466499</c:v>
                </c:pt>
                <c:pt idx="41983">
                  <c:v>0.74876047797396095</c:v>
                </c:pt>
                <c:pt idx="41984">
                  <c:v>0.74877831282325602</c:v>
                </c:pt>
                <c:pt idx="41985">
                  <c:v>0.74879614767255198</c:v>
                </c:pt>
                <c:pt idx="41986">
                  <c:v>0.74881398252184705</c:v>
                </c:pt>
                <c:pt idx="41987">
                  <c:v>0.74883181737114302</c:v>
                </c:pt>
                <c:pt idx="41988">
                  <c:v>0.74884965222043798</c:v>
                </c:pt>
                <c:pt idx="41989">
                  <c:v>0.74886748706973405</c:v>
                </c:pt>
                <c:pt idx="41990">
                  <c:v>0.74888532191902901</c:v>
                </c:pt>
                <c:pt idx="41991">
                  <c:v>0.74890315676832497</c:v>
                </c:pt>
                <c:pt idx="41992">
                  <c:v>0.74892099161762005</c:v>
                </c:pt>
                <c:pt idx="41993">
                  <c:v>0.74893882646691601</c:v>
                </c:pt>
                <c:pt idx="41994">
                  <c:v>0.74895666131621097</c:v>
                </c:pt>
                <c:pt idx="41995">
                  <c:v>0.74897449616550704</c:v>
                </c:pt>
                <c:pt idx="41996">
                  <c:v>0.748992331014802</c:v>
                </c:pt>
                <c:pt idx="41997">
                  <c:v>0.74901016586409797</c:v>
                </c:pt>
                <c:pt idx="41998">
                  <c:v>0.74902800071339304</c:v>
                </c:pt>
                <c:pt idx="41999">
                  <c:v>0.749045835562689</c:v>
                </c:pt>
                <c:pt idx="42000">
                  <c:v>0.74906367041198496</c:v>
                </c:pt>
                <c:pt idx="42001">
                  <c:v>0.74908150526128003</c:v>
                </c:pt>
                <c:pt idx="42002">
                  <c:v>0.749099340110576</c:v>
                </c:pt>
                <c:pt idx="42003">
                  <c:v>0.74911717495987096</c:v>
                </c:pt>
                <c:pt idx="42004">
                  <c:v>0.74913500980916703</c:v>
                </c:pt>
                <c:pt idx="42005">
                  <c:v>0.74915284465846199</c:v>
                </c:pt>
                <c:pt idx="42006">
                  <c:v>0.74917067950775795</c:v>
                </c:pt>
                <c:pt idx="42007">
                  <c:v>0.74918851435705303</c:v>
                </c:pt>
                <c:pt idx="42008">
                  <c:v>0.74920634920634899</c:v>
                </c:pt>
                <c:pt idx="42009">
                  <c:v>0.74922418405564395</c:v>
                </c:pt>
                <c:pt idx="42010">
                  <c:v>0.74924201890494002</c:v>
                </c:pt>
                <c:pt idx="42011">
                  <c:v>0.74925985375423498</c:v>
                </c:pt>
                <c:pt idx="42012">
                  <c:v>0.74927768860353094</c:v>
                </c:pt>
                <c:pt idx="42013">
                  <c:v>0.74929552345282602</c:v>
                </c:pt>
                <c:pt idx="42014">
                  <c:v>0.74931335830212198</c:v>
                </c:pt>
                <c:pt idx="42015">
                  <c:v>0.74933119315141705</c:v>
                </c:pt>
                <c:pt idx="42016">
                  <c:v>0.74934902800071301</c:v>
                </c:pt>
                <c:pt idx="42017">
                  <c:v>0.74936686285000798</c:v>
                </c:pt>
                <c:pt idx="42018">
                  <c:v>0.74938469769930405</c:v>
                </c:pt>
                <c:pt idx="42019">
                  <c:v>0.74940253254860001</c:v>
                </c:pt>
                <c:pt idx="42020">
                  <c:v>0.74942036739789497</c:v>
                </c:pt>
                <c:pt idx="42021">
                  <c:v>0.74943820224719104</c:v>
                </c:pt>
                <c:pt idx="42022">
                  <c:v>0.74945603709648601</c:v>
                </c:pt>
                <c:pt idx="42023">
                  <c:v>0.74947387194578197</c:v>
                </c:pt>
                <c:pt idx="42024">
                  <c:v>0.74949170679507704</c:v>
                </c:pt>
                <c:pt idx="42025">
                  <c:v>0.749509541644373</c:v>
                </c:pt>
                <c:pt idx="42026">
                  <c:v>0.74952737649366796</c:v>
                </c:pt>
                <c:pt idx="42027">
                  <c:v>0.74954521134296404</c:v>
                </c:pt>
                <c:pt idx="42028">
                  <c:v>0.749563046192259</c:v>
                </c:pt>
                <c:pt idx="42029">
                  <c:v>0.74958088104155496</c:v>
                </c:pt>
                <c:pt idx="42030">
                  <c:v>0.74959871589085003</c:v>
                </c:pt>
                <c:pt idx="42031">
                  <c:v>0.74961655074014599</c:v>
                </c:pt>
                <c:pt idx="42032">
                  <c:v>0.74963438558944095</c:v>
                </c:pt>
                <c:pt idx="42033">
                  <c:v>0.74965222043873703</c:v>
                </c:pt>
                <c:pt idx="42034">
                  <c:v>0.74967005528803199</c:v>
                </c:pt>
                <c:pt idx="42035">
                  <c:v>0.74968789013732795</c:v>
                </c:pt>
                <c:pt idx="42036">
                  <c:v>0.74970572498662302</c:v>
                </c:pt>
                <c:pt idx="42037">
                  <c:v>0.74972355983591898</c:v>
                </c:pt>
                <c:pt idx="42038">
                  <c:v>0.74974139468521495</c:v>
                </c:pt>
                <c:pt idx="42039">
                  <c:v>0.74975922953451002</c:v>
                </c:pt>
                <c:pt idx="42040">
                  <c:v>0.74977706438380598</c:v>
                </c:pt>
                <c:pt idx="42041">
                  <c:v>0.74979489923310105</c:v>
                </c:pt>
                <c:pt idx="42042">
                  <c:v>0.74981273408239701</c:v>
                </c:pt>
                <c:pt idx="42043">
                  <c:v>0.74983056893169198</c:v>
                </c:pt>
                <c:pt idx="42044">
                  <c:v>0.74984840378098805</c:v>
                </c:pt>
                <c:pt idx="42045">
                  <c:v>0.74986623863028301</c:v>
                </c:pt>
                <c:pt idx="42046">
                  <c:v>0.74988407347957897</c:v>
                </c:pt>
                <c:pt idx="42047">
                  <c:v>0.74990190832887405</c:v>
                </c:pt>
                <c:pt idx="42048">
                  <c:v>0.74991974317817001</c:v>
                </c:pt>
                <c:pt idx="42049">
                  <c:v>0.74993757802746497</c:v>
                </c:pt>
                <c:pt idx="42050">
                  <c:v>0.74995541287676104</c:v>
                </c:pt>
                <c:pt idx="42051">
                  <c:v>0.749973247726056</c:v>
                </c:pt>
                <c:pt idx="42052">
                  <c:v>0.74999108257535196</c:v>
                </c:pt>
                <c:pt idx="42053">
                  <c:v>0.75000891742464704</c:v>
                </c:pt>
                <c:pt idx="42054">
                  <c:v>0.750026752273943</c:v>
                </c:pt>
                <c:pt idx="42055">
                  <c:v>0.75004458712323796</c:v>
                </c:pt>
                <c:pt idx="42056">
                  <c:v>0.75006242197253403</c:v>
                </c:pt>
                <c:pt idx="42057">
                  <c:v>0.75008025682182899</c:v>
                </c:pt>
                <c:pt idx="42058">
                  <c:v>0.75009809167112496</c:v>
                </c:pt>
                <c:pt idx="42059">
                  <c:v>0.75011592652042003</c:v>
                </c:pt>
                <c:pt idx="42060">
                  <c:v>0.75013376136971599</c:v>
                </c:pt>
                <c:pt idx="42061">
                  <c:v>0.75015159621901195</c:v>
                </c:pt>
                <c:pt idx="42062">
                  <c:v>0.75016943106830702</c:v>
                </c:pt>
                <c:pt idx="42063">
                  <c:v>0.75018726591760299</c:v>
                </c:pt>
                <c:pt idx="42064">
                  <c:v>0.75020510076689795</c:v>
                </c:pt>
                <c:pt idx="42065">
                  <c:v>0.75022293561619402</c:v>
                </c:pt>
                <c:pt idx="42066">
                  <c:v>0.75024077046548898</c:v>
                </c:pt>
                <c:pt idx="42067">
                  <c:v>0.75025860531478505</c:v>
                </c:pt>
                <c:pt idx="42068">
                  <c:v>0.75027644016408002</c:v>
                </c:pt>
                <c:pt idx="42069">
                  <c:v>0.75029427501337598</c:v>
                </c:pt>
                <c:pt idx="42070">
                  <c:v>0.75031210986267105</c:v>
                </c:pt>
                <c:pt idx="42071">
                  <c:v>0.75032994471196701</c:v>
                </c:pt>
                <c:pt idx="42072">
                  <c:v>0.75034777956126197</c:v>
                </c:pt>
                <c:pt idx="42073">
                  <c:v>0.75036561441055805</c:v>
                </c:pt>
                <c:pt idx="42074">
                  <c:v>0.75038344925985301</c:v>
                </c:pt>
                <c:pt idx="42075">
                  <c:v>0.75040128410914897</c:v>
                </c:pt>
                <c:pt idx="42076">
                  <c:v>0.75041911895844404</c:v>
                </c:pt>
                <c:pt idx="42077">
                  <c:v>0.75043695380774</c:v>
                </c:pt>
                <c:pt idx="42078">
                  <c:v>0.75045478865703497</c:v>
                </c:pt>
                <c:pt idx="42079">
                  <c:v>0.75047262350633104</c:v>
                </c:pt>
                <c:pt idx="42080">
                  <c:v>0.750490458355626</c:v>
                </c:pt>
                <c:pt idx="42081">
                  <c:v>0.75050829320492196</c:v>
                </c:pt>
                <c:pt idx="42082">
                  <c:v>0.75052612805421703</c:v>
                </c:pt>
                <c:pt idx="42083">
                  <c:v>0.750543962903513</c:v>
                </c:pt>
                <c:pt idx="42084">
                  <c:v>0.75056179775280896</c:v>
                </c:pt>
                <c:pt idx="42085">
                  <c:v>0.75057963260210403</c:v>
                </c:pt>
                <c:pt idx="42086">
                  <c:v>0.75059746745139999</c:v>
                </c:pt>
                <c:pt idx="42087">
                  <c:v>0.75061530230069495</c:v>
                </c:pt>
                <c:pt idx="42088">
                  <c:v>0.75063313714999103</c:v>
                </c:pt>
                <c:pt idx="42089">
                  <c:v>0.75065097199928599</c:v>
                </c:pt>
                <c:pt idx="42090">
                  <c:v>0.75066880684858195</c:v>
                </c:pt>
                <c:pt idx="42091">
                  <c:v>0.75068664169787702</c:v>
                </c:pt>
                <c:pt idx="42092">
                  <c:v>0.75070447654717298</c:v>
                </c:pt>
                <c:pt idx="42093">
                  <c:v>0.75072231139646795</c:v>
                </c:pt>
                <c:pt idx="42094">
                  <c:v>0.75074014624576402</c:v>
                </c:pt>
                <c:pt idx="42095">
                  <c:v>0.75075798109505898</c:v>
                </c:pt>
                <c:pt idx="42096">
                  <c:v>0.75077581594435505</c:v>
                </c:pt>
                <c:pt idx="42097">
                  <c:v>0.75079365079365001</c:v>
                </c:pt>
                <c:pt idx="42098">
                  <c:v>0.75081148564294597</c:v>
                </c:pt>
                <c:pt idx="42099">
                  <c:v>0.75082932049224105</c:v>
                </c:pt>
                <c:pt idx="42100">
                  <c:v>0.75084715534153701</c:v>
                </c:pt>
                <c:pt idx="42101">
                  <c:v>0.75086499019083197</c:v>
                </c:pt>
                <c:pt idx="42102">
                  <c:v>0.75088282504012804</c:v>
                </c:pt>
                <c:pt idx="42103">
                  <c:v>0.75090065988942301</c:v>
                </c:pt>
                <c:pt idx="42104">
                  <c:v>0.75091849473871897</c:v>
                </c:pt>
                <c:pt idx="42105">
                  <c:v>0.75093632958801404</c:v>
                </c:pt>
                <c:pt idx="42106">
                  <c:v>0.75095416443731</c:v>
                </c:pt>
                <c:pt idx="42107">
                  <c:v>0.75097199928660596</c:v>
                </c:pt>
                <c:pt idx="42108">
                  <c:v>0.75098983413590104</c:v>
                </c:pt>
                <c:pt idx="42109">
                  <c:v>0.751007668985197</c:v>
                </c:pt>
                <c:pt idx="42110">
                  <c:v>0.75102550383449196</c:v>
                </c:pt>
                <c:pt idx="42111">
                  <c:v>0.75104333868378803</c:v>
                </c:pt>
                <c:pt idx="42112">
                  <c:v>0.75106117353308299</c:v>
                </c:pt>
                <c:pt idx="42113">
                  <c:v>0.75107900838237895</c:v>
                </c:pt>
                <c:pt idx="42114">
                  <c:v>0.75109684323167403</c:v>
                </c:pt>
                <c:pt idx="42115">
                  <c:v>0.75111467808096999</c:v>
                </c:pt>
                <c:pt idx="42116">
                  <c:v>0.75113251293026495</c:v>
                </c:pt>
                <c:pt idx="42117">
                  <c:v>0.75115034777956102</c:v>
                </c:pt>
                <c:pt idx="42118">
                  <c:v>0.75116818262885598</c:v>
                </c:pt>
                <c:pt idx="42119">
                  <c:v>0.75118601747815195</c:v>
                </c:pt>
                <c:pt idx="42120">
                  <c:v>0.75120385232744702</c:v>
                </c:pt>
                <c:pt idx="42121">
                  <c:v>0.75122168717674298</c:v>
                </c:pt>
                <c:pt idx="42122">
                  <c:v>0.75123952202603805</c:v>
                </c:pt>
                <c:pt idx="42123">
                  <c:v>0.75125735687533401</c:v>
                </c:pt>
                <c:pt idx="42124">
                  <c:v>0.75127519172462998</c:v>
                </c:pt>
                <c:pt idx="42125">
                  <c:v>0.75129302657392505</c:v>
                </c:pt>
                <c:pt idx="42126">
                  <c:v>0.75131086142322101</c:v>
                </c:pt>
                <c:pt idx="42127">
                  <c:v>0.75132869627251597</c:v>
                </c:pt>
                <c:pt idx="42128">
                  <c:v>0.75134653112181204</c:v>
                </c:pt>
                <c:pt idx="42129">
                  <c:v>0.75136436597110701</c:v>
                </c:pt>
                <c:pt idx="42130">
                  <c:v>0.75138220082040297</c:v>
                </c:pt>
                <c:pt idx="42131">
                  <c:v>0.75140003566969804</c:v>
                </c:pt>
                <c:pt idx="42132">
                  <c:v>0.751417870518994</c:v>
                </c:pt>
                <c:pt idx="42133">
                  <c:v>0.75143570536828896</c:v>
                </c:pt>
                <c:pt idx="42134">
                  <c:v>0.75145354021758504</c:v>
                </c:pt>
                <c:pt idx="42135">
                  <c:v>0.75147137506688</c:v>
                </c:pt>
                <c:pt idx="42136">
                  <c:v>0.75148920991617596</c:v>
                </c:pt>
                <c:pt idx="42137">
                  <c:v>0.75150704476547103</c:v>
                </c:pt>
                <c:pt idx="42138">
                  <c:v>0.75152487961476699</c:v>
                </c:pt>
                <c:pt idx="42139">
                  <c:v>0.75154271446406196</c:v>
                </c:pt>
                <c:pt idx="42140">
                  <c:v>0.75156054931335803</c:v>
                </c:pt>
                <c:pt idx="42141">
                  <c:v>0.75157838416265299</c:v>
                </c:pt>
                <c:pt idx="42142">
                  <c:v>0.75159621901194895</c:v>
                </c:pt>
                <c:pt idx="42143">
                  <c:v>0.75161405386124402</c:v>
                </c:pt>
                <c:pt idx="42144">
                  <c:v>0.75163188871053999</c:v>
                </c:pt>
                <c:pt idx="42145">
                  <c:v>0.75164972355983595</c:v>
                </c:pt>
                <c:pt idx="42146">
                  <c:v>0.75166755840913102</c:v>
                </c:pt>
                <c:pt idx="42147">
                  <c:v>0.75168539325842698</c:v>
                </c:pt>
                <c:pt idx="42148">
                  <c:v>0.75170322810772205</c:v>
                </c:pt>
                <c:pt idx="42149">
                  <c:v>0.75172106295701802</c:v>
                </c:pt>
                <c:pt idx="42150">
                  <c:v>0.75173889780631298</c:v>
                </c:pt>
                <c:pt idx="42151">
                  <c:v>0.75175673265560905</c:v>
                </c:pt>
                <c:pt idx="42152">
                  <c:v>0.75177456750490401</c:v>
                </c:pt>
                <c:pt idx="42153">
                  <c:v>0.75179240235419997</c:v>
                </c:pt>
                <c:pt idx="42154">
                  <c:v>0.75181023720349505</c:v>
                </c:pt>
                <c:pt idx="42155">
                  <c:v>0.75182807205279101</c:v>
                </c:pt>
                <c:pt idx="42156">
                  <c:v>0.75184590690208597</c:v>
                </c:pt>
                <c:pt idx="42157">
                  <c:v>0.75186374175138204</c:v>
                </c:pt>
                <c:pt idx="42158">
                  <c:v>0.751881576600677</c:v>
                </c:pt>
                <c:pt idx="42159">
                  <c:v>0.75189941144997297</c:v>
                </c:pt>
                <c:pt idx="42160">
                  <c:v>0.75191724629926804</c:v>
                </c:pt>
                <c:pt idx="42161">
                  <c:v>0.751935081148564</c:v>
                </c:pt>
                <c:pt idx="42162">
                  <c:v>0.75195291599785896</c:v>
                </c:pt>
                <c:pt idx="42163">
                  <c:v>0.75197075084715503</c:v>
                </c:pt>
                <c:pt idx="42164">
                  <c:v>0.75198858569645</c:v>
                </c:pt>
                <c:pt idx="42165">
                  <c:v>0.75200642054574596</c:v>
                </c:pt>
                <c:pt idx="42166">
                  <c:v>0.75202425539504103</c:v>
                </c:pt>
                <c:pt idx="42167">
                  <c:v>0.75204209024433699</c:v>
                </c:pt>
                <c:pt idx="42168">
                  <c:v>0.75205992509363295</c:v>
                </c:pt>
                <c:pt idx="42169">
                  <c:v>0.75207775994292803</c:v>
                </c:pt>
                <c:pt idx="42170">
                  <c:v>0.75209559479222399</c:v>
                </c:pt>
                <c:pt idx="42171">
                  <c:v>0.75211342964151895</c:v>
                </c:pt>
                <c:pt idx="42172">
                  <c:v>0.75213126449081502</c:v>
                </c:pt>
                <c:pt idx="42173">
                  <c:v>0.75214909934010998</c:v>
                </c:pt>
                <c:pt idx="42174">
                  <c:v>0.75216693418940594</c:v>
                </c:pt>
                <c:pt idx="42175">
                  <c:v>0.75218476903870102</c:v>
                </c:pt>
                <c:pt idx="42176">
                  <c:v>0.75220260388799698</c:v>
                </c:pt>
                <c:pt idx="42177">
                  <c:v>0.75222043873729205</c:v>
                </c:pt>
                <c:pt idx="42178">
                  <c:v>0.75223827358658801</c:v>
                </c:pt>
                <c:pt idx="42179">
                  <c:v>0.75225610843588298</c:v>
                </c:pt>
                <c:pt idx="42180">
                  <c:v>0.75227394328517905</c:v>
                </c:pt>
                <c:pt idx="42181">
                  <c:v>0.75229177813447401</c:v>
                </c:pt>
                <c:pt idx="42182">
                  <c:v>0.75230961298376997</c:v>
                </c:pt>
                <c:pt idx="42183">
                  <c:v>0.75232744783306504</c:v>
                </c:pt>
                <c:pt idx="42184">
                  <c:v>0.75234528268236101</c:v>
                </c:pt>
                <c:pt idx="42185">
                  <c:v>0.75236311753165597</c:v>
                </c:pt>
                <c:pt idx="42186">
                  <c:v>0.75238095238095204</c:v>
                </c:pt>
                <c:pt idx="42187">
                  <c:v>0.752398787230247</c:v>
                </c:pt>
                <c:pt idx="42188">
                  <c:v>0.75241662207954296</c:v>
                </c:pt>
                <c:pt idx="42189">
                  <c:v>0.75243445692883804</c:v>
                </c:pt>
                <c:pt idx="42190">
                  <c:v>0.752452291778134</c:v>
                </c:pt>
                <c:pt idx="42191">
                  <c:v>0.75247012662742996</c:v>
                </c:pt>
                <c:pt idx="42192">
                  <c:v>0.75248796147672503</c:v>
                </c:pt>
                <c:pt idx="42193">
                  <c:v>0.75250579632602099</c:v>
                </c:pt>
                <c:pt idx="42194">
                  <c:v>0.75252363117531595</c:v>
                </c:pt>
                <c:pt idx="42195">
                  <c:v>0.75254146602461203</c:v>
                </c:pt>
                <c:pt idx="42196">
                  <c:v>0.75255930087390699</c:v>
                </c:pt>
                <c:pt idx="42197">
                  <c:v>0.75257713572320295</c:v>
                </c:pt>
                <c:pt idx="42198">
                  <c:v>0.75259497057249802</c:v>
                </c:pt>
                <c:pt idx="42199">
                  <c:v>0.75261280542179398</c:v>
                </c:pt>
                <c:pt idx="42200">
                  <c:v>0.75263064027108895</c:v>
                </c:pt>
                <c:pt idx="42201">
                  <c:v>0.75264847512038502</c:v>
                </c:pt>
                <c:pt idx="42202">
                  <c:v>0.75266630996967998</c:v>
                </c:pt>
                <c:pt idx="42203">
                  <c:v>0.75268414481897605</c:v>
                </c:pt>
                <c:pt idx="42204">
                  <c:v>0.75270197966827102</c:v>
                </c:pt>
                <c:pt idx="42205">
                  <c:v>0.75271981451756698</c:v>
                </c:pt>
                <c:pt idx="42206">
                  <c:v>0.75273764936686205</c:v>
                </c:pt>
                <c:pt idx="42207">
                  <c:v>0.75275548421615801</c:v>
                </c:pt>
                <c:pt idx="42208">
                  <c:v>0.75277331906545297</c:v>
                </c:pt>
                <c:pt idx="42209">
                  <c:v>0.75279115391474904</c:v>
                </c:pt>
                <c:pt idx="42210">
                  <c:v>0.75280898876404401</c:v>
                </c:pt>
                <c:pt idx="42211">
                  <c:v>0.75282682361333997</c:v>
                </c:pt>
                <c:pt idx="42212">
                  <c:v>0.75284465846263604</c:v>
                </c:pt>
                <c:pt idx="42213">
                  <c:v>0.752862493311931</c:v>
                </c:pt>
                <c:pt idx="42214">
                  <c:v>0.75288032816122696</c:v>
                </c:pt>
                <c:pt idx="42215">
                  <c:v>0.75289816301052204</c:v>
                </c:pt>
                <c:pt idx="42216">
                  <c:v>0.752915997859818</c:v>
                </c:pt>
                <c:pt idx="42217">
                  <c:v>0.75293383270911296</c:v>
                </c:pt>
                <c:pt idx="42218">
                  <c:v>0.75295166755840903</c:v>
                </c:pt>
                <c:pt idx="42219">
                  <c:v>0.75296950240770399</c:v>
                </c:pt>
                <c:pt idx="42220">
                  <c:v>0.75298733725699996</c:v>
                </c:pt>
                <c:pt idx="42221">
                  <c:v>0.75300517210629503</c:v>
                </c:pt>
                <c:pt idx="42222">
                  <c:v>0.75302300695559099</c:v>
                </c:pt>
                <c:pt idx="42223">
                  <c:v>0.75304084180488595</c:v>
                </c:pt>
                <c:pt idx="42224">
                  <c:v>0.75305867665418202</c:v>
                </c:pt>
                <c:pt idx="42225">
                  <c:v>0.75307651150347699</c:v>
                </c:pt>
                <c:pt idx="42226">
                  <c:v>0.75309434635277295</c:v>
                </c:pt>
                <c:pt idx="42227">
                  <c:v>0.75311218120206802</c:v>
                </c:pt>
                <c:pt idx="42228">
                  <c:v>0.75313001605136398</c:v>
                </c:pt>
                <c:pt idx="42229">
                  <c:v>0.75314785090065905</c:v>
                </c:pt>
                <c:pt idx="42230">
                  <c:v>0.75316568574995502</c:v>
                </c:pt>
                <c:pt idx="42231">
                  <c:v>0.75318352059925098</c:v>
                </c:pt>
                <c:pt idx="42232">
                  <c:v>0.75320135544854605</c:v>
                </c:pt>
                <c:pt idx="42233">
                  <c:v>0.75321919029784201</c:v>
                </c:pt>
                <c:pt idx="42234">
                  <c:v>0.75323702514713697</c:v>
                </c:pt>
                <c:pt idx="42235">
                  <c:v>0.75325485999643305</c:v>
                </c:pt>
                <c:pt idx="42236">
                  <c:v>0.75327269484572801</c:v>
                </c:pt>
                <c:pt idx="42237">
                  <c:v>0.75329052969502397</c:v>
                </c:pt>
                <c:pt idx="42238">
                  <c:v>0.75330836454431904</c:v>
                </c:pt>
                <c:pt idx="42239">
                  <c:v>0.753326199393615</c:v>
                </c:pt>
                <c:pt idx="42240">
                  <c:v>0.75334403424290997</c:v>
                </c:pt>
                <c:pt idx="42241">
                  <c:v>0.75336186909220604</c:v>
                </c:pt>
                <c:pt idx="42242">
                  <c:v>0.753379703941501</c:v>
                </c:pt>
                <c:pt idx="42243">
                  <c:v>0.75339753879079696</c:v>
                </c:pt>
                <c:pt idx="42244">
                  <c:v>0.75341537364009203</c:v>
                </c:pt>
                <c:pt idx="42245">
                  <c:v>0.753433208489388</c:v>
                </c:pt>
                <c:pt idx="42246">
                  <c:v>0.75345104333868296</c:v>
                </c:pt>
                <c:pt idx="42247">
                  <c:v>0.75346887818797903</c:v>
                </c:pt>
                <c:pt idx="42248">
                  <c:v>0.75348671303727399</c:v>
                </c:pt>
                <c:pt idx="42249">
                  <c:v>0.75350454788656995</c:v>
                </c:pt>
                <c:pt idx="42250">
                  <c:v>0.75352238273586503</c:v>
                </c:pt>
                <c:pt idx="42251">
                  <c:v>0.75354021758516099</c:v>
                </c:pt>
                <c:pt idx="42252">
                  <c:v>0.75355805243445695</c:v>
                </c:pt>
                <c:pt idx="42253">
                  <c:v>0.75357588728375202</c:v>
                </c:pt>
                <c:pt idx="42254">
                  <c:v>0.75359372213304798</c:v>
                </c:pt>
                <c:pt idx="42255">
                  <c:v>0.75361155698234294</c:v>
                </c:pt>
                <c:pt idx="42256">
                  <c:v>0.75362939183163902</c:v>
                </c:pt>
                <c:pt idx="42257">
                  <c:v>0.75364722668093398</c:v>
                </c:pt>
                <c:pt idx="42258">
                  <c:v>0.75366506153023005</c:v>
                </c:pt>
                <c:pt idx="42259">
                  <c:v>0.75368289637952501</c:v>
                </c:pt>
                <c:pt idx="42260">
                  <c:v>0.75370073122882097</c:v>
                </c:pt>
                <c:pt idx="42261">
                  <c:v>0.75371856607811605</c:v>
                </c:pt>
                <c:pt idx="42262">
                  <c:v>0.75373640092741201</c:v>
                </c:pt>
                <c:pt idx="42263">
                  <c:v>0.75375423577670697</c:v>
                </c:pt>
                <c:pt idx="42264">
                  <c:v>0.75377207062600304</c:v>
                </c:pt>
                <c:pt idx="42265">
                  <c:v>0.75378990547529801</c:v>
                </c:pt>
                <c:pt idx="42266">
                  <c:v>0.75380774032459397</c:v>
                </c:pt>
                <c:pt idx="42267">
                  <c:v>0.75382557517388904</c:v>
                </c:pt>
                <c:pt idx="42268">
                  <c:v>0.753843410023185</c:v>
                </c:pt>
                <c:pt idx="42269">
                  <c:v>0.75386124487247996</c:v>
                </c:pt>
                <c:pt idx="42270">
                  <c:v>0.75387907972177604</c:v>
                </c:pt>
                <c:pt idx="42271">
                  <c:v>0.753896914571071</c:v>
                </c:pt>
                <c:pt idx="42272">
                  <c:v>0.75391474942036696</c:v>
                </c:pt>
                <c:pt idx="42273">
                  <c:v>0.75393258426966203</c:v>
                </c:pt>
                <c:pt idx="42274">
                  <c:v>0.75395041911895799</c:v>
                </c:pt>
                <c:pt idx="42275">
                  <c:v>0.75396825396825395</c:v>
                </c:pt>
                <c:pt idx="42276">
                  <c:v>0.75398608881754903</c:v>
                </c:pt>
                <c:pt idx="42277">
                  <c:v>0.75400392366684499</c:v>
                </c:pt>
                <c:pt idx="42278">
                  <c:v>0.75402175851613995</c:v>
                </c:pt>
                <c:pt idx="42279">
                  <c:v>0.75403959336543602</c:v>
                </c:pt>
                <c:pt idx="42280">
                  <c:v>0.75405742821473098</c:v>
                </c:pt>
                <c:pt idx="42281">
                  <c:v>0.75407526306402695</c:v>
                </c:pt>
                <c:pt idx="42282">
                  <c:v>0.75409309791332202</c:v>
                </c:pt>
                <c:pt idx="42283">
                  <c:v>0.75411093276261798</c:v>
                </c:pt>
                <c:pt idx="42284">
                  <c:v>0.75412876761191305</c:v>
                </c:pt>
                <c:pt idx="42285">
                  <c:v>0.75414660246120901</c:v>
                </c:pt>
                <c:pt idx="42286">
                  <c:v>0.75416443731050398</c:v>
                </c:pt>
                <c:pt idx="42287">
                  <c:v>0.75418227215980005</c:v>
                </c:pt>
                <c:pt idx="42288">
                  <c:v>0.75420010700909501</c:v>
                </c:pt>
                <c:pt idx="42289">
                  <c:v>0.75421794185839097</c:v>
                </c:pt>
                <c:pt idx="42290">
                  <c:v>0.75423577670768605</c:v>
                </c:pt>
                <c:pt idx="42291">
                  <c:v>0.75425361155698201</c:v>
                </c:pt>
                <c:pt idx="42292">
                  <c:v>0.75427144640627697</c:v>
                </c:pt>
                <c:pt idx="42293">
                  <c:v>0.75428928125557304</c:v>
                </c:pt>
                <c:pt idx="42294">
                  <c:v>0.754307116104868</c:v>
                </c:pt>
                <c:pt idx="42295">
                  <c:v>0.75432495095416396</c:v>
                </c:pt>
                <c:pt idx="42296">
                  <c:v>0.75434278580345904</c:v>
                </c:pt>
                <c:pt idx="42297">
                  <c:v>0.754360620652755</c:v>
                </c:pt>
                <c:pt idx="42298">
                  <c:v>0.75437845550205096</c:v>
                </c:pt>
                <c:pt idx="42299">
                  <c:v>0.75439629035134603</c:v>
                </c:pt>
                <c:pt idx="42300">
                  <c:v>0.75441412520064199</c:v>
                </c:pt>
                <c:pt idx="42301">
                  <c:v>0.75443196004993696</c:v>
                </c:pt>
                <c:pt idx="42302">
                  <c:v>0.75444979489923303</c:v>
                </c:pt>
                <c:pt idx="42303">
                  <c:v>0.75446762974852799</c:v>
                </c:pt>
                <c:pt idx="42304">
                  <c:v>0.75448546459782395</c:v>
                </c:pt>
                <c:pt idx="42305">
                  <c:v>0.75450329944711902</c:v>
                </c:pt>
                <c:pt idx="42306">
                  <c:v>0.75452113429641499</c:v>
                </c:pt>
                <c:pt idx="42307">
                  <c:v>0.75453896914570995</c:v>
                </c:pt>
                <c:pt idx="42308">
                  <c:v>0.75455680399500602</c:v>
                </c:pt>
                <c:pt idx="42309">
                  <c:v>0.75457463884430098</c:v>
                </c:pt>
                <c:pt idx="42310">
                  <c:v>0.75459247369359705</c:v>
                </c:pt>
                <c:pt idx="42311">
                  <c:v>0.75461030854289202</c:v>
                </c:pt>
                <c:pt idx="42312">
                  <c:v>0.75462814339218798</c:v>
                </c:pt>
                <c:pt idx="42313">
                  <c:v>0.75464597824148305</c:v>
                </c:pt>
                <c:pt idx="42314">
                  <c:v>0.75466381309077901</c:v>
                </c:pt>
                <c:pt idx="42315">
                  <c:v>0.75468164794007397</c:v>
                </c:pt>
                <c:pt idx="42316">
                  <c:v>0.75469948278937005</c:v>
                </c:pt>
                <c:pt idx="42317">
                  <c:v>0.75471731763866601</c:v>
                </c:pt>
                <c:pt idx="42318">
                  <c:v>0.75473515248796097</c:v>
                </c:pt>
                <c:pt idx="42319">
                  <c:v>0.75475298733725704</c:v>
                </c:pt>
                <c:pt idx="42320">
                  <c:v>0.754770822186552</c:v>
                </c:pt>
                <c:pt idx="42321">
                  <c:v>0.75478865703584797</c:v>
                </c:pt>
                <c:pt idx="42322">
                  <c:v>0.75480649188514304</c:v>
                </c:pt>
                <c:pt idx="42323">
                  <c:v>0.754824326734439</c:v>
                </c:pt>
                <c:pt idx="42324">
                  <c:v>0.75484216158373396</c:v>
                </c:pt>
                <c:pt idx="42325">
                  <c:v>0.75485999643303003</c:v>
                </c:pt>
                <c:pt idx="42326">
                  <c:v>0.754877831282325</c:v>
                </c:pt>
                <c:pt idx="42327">
                  <c:v>0.75489566613162096</c:v>
                </c:pt>
                <c:pt idx="42328">
                  <c:v>0.75491350098091603</c:v>
                </c:pt>
                <c:pt idx="42329">
                  <c:v>0.75493133583021199</c:v>
                </c:pt>
                <c:pt idx="42330">
                  <c:v>0.75494917067950695</c:v>
                </c:pt>
                <c:pt idx="42331">
                  <c:v>0.75496700552880303</c:v>
                </c:pt>
                <c:pt idx="42332">
                  <c:v>0.75498484037809799</c:v>
                </c:pt>
                <c:pt idx="42333">
                  <c:v>0.75500267522739395</c:v>
                </c:pt>
                <c:pt idx="42334">
                  <c:v>0.75502051007668902</c:v>
                </c:pt>
                <c:pt idx="42335">
                  <c:v>0.75503834492598498</c:v>
                </c:pt>
                <c:pt idx="42336">
                  <c:v>0.75505617977528094</c:v>
                </c:pt>
                <c:pt idx="42337">
                  <c:v>0.75507401462457602</c:v>
                </c:pt>
                <c:pt idx="42338">
                  <c:v>0.75509184947387198</c:v>
                </c:pt>
                <c:pt idx="42339">
                  <c:v>0.75510968432316705</c:v>
                </c:pt>
                <c:pt idx="42340">
                  <c:v>0.75512751917246301</c:v>
                </c:pt>
                <c:pt idx="42341">
                  <c:v>0.75514535402175798</c:v>
                </c:pt>
                <c:pt idx="42342">
                  <c:v>0.75516318887105405</c:v>
                </c:pt>
                <c:pt idx="42343">
                  <c:v>0.75518102372034901</c:v>
                </c:pt>
                <c:pt idx="42344">
                  <c:v>0.75519885856964497</c:v>
                </c:pt>
                <c:pt idx="42345">
                  <c:v>0.75521669341894004</c:v>
                </c:pt>
                <c:pt idx="42346">
                  <c:v>0.75523452826823601</c:v>
                </c:pt>
                <c:pt idx="42347">
                  <c:v>0.75525236311753097</c:v>
                </c:pt>
                <c:pt idx="42348">
                  <c:v>0.75527019796682704</c:v>
                </c:pt>
                <c:pt idx="42349">
                  <c:v>0.755288032816122</c:v>
                </c:pt>
                <c:pt idx="42350">
                  <c:v>0.75530586766541796</c:v>
                </c:pt>
                <c:pt idx="42351">
                  <c:v>0.75532370251471304</c:v>
                </c:pt>
                <c:pt idx="42352">
                  <c:v>0.755341537364009</c:v>
                </c:pt>
                <c:pt idx="42353">
                  <c:v>0.75535937221330396</c:v>
                </c:pt>
                <c:pt idx="42354">
                  <c:v>0.75537720706260003</c:v>
                </c:pt>
                <c:pt idx="42355">
                  <c:v>0.75539504191189499</c:v>
                </c:pt>
                <c:pt idx="42356">
                  <c:v>0.75541287676119095</c:v>
                </c:pt>
                <c:pt idx="42357">
                  <c:v>0.75543071161048603</c:v>
                </c:pt>
                <c:pt idx="42358">
                  <c:v>0.75544854645978199</c:v>
                </c:pt>
                <c:pt idx="42359">
                  <c:v>0.75546638130907795</c:v>
                </c:pt>
                <c:pt idx="42360">
                  <c:v>0.75548421615837302</c:v>
                </c:pt>
                <c:pt idx="42361">
                  <c:v>0.75550205100766898</c:v>
                </c:pt>
                <c:pt idx="42362">
                  <c:v>0.75551988585696395</c:v>
                </c:pt>
                <c:pt idx="42363">
                  <c:v>0.75553772070626002</c:v>
                </c:pt>
                <c:pt idx="42364">
                  <c:v>0.75555555555555498</c:v>
                </c:pt>
                <c:pt idx="42365">
                  <c:v>0.75557339040485105</c:v>
                </c:pt>
                <c:pt idx="42366">
                  <c:v>0.75559122525414602</c:v>
                </c:pt>
                <c:pt idx="42367">
                  <c:v>0.75560906010344198</c:v>
                </c:pt>
                <c:pt idx="42368">
                  <c:v>0.75562689495273705</c:v>
                </c:pt>
                <c:pt idx="42369">
                  <c:v>0.75564472980203301</c:v>
                </c:pt>
                <c:pt idx="42370">
                  <c:v>0.75566256465132797</c:v>
                </c:pt>
                <c:pt idx="42371">
                  <c:v>0.75568039950062404</c:v>
                </c:pt>
                <c:pt idx="42372">
                  <c:v>0.75569823434991901</c:v>
                </c:pt>
                <c:pt idx="42373">
                  <c:v>0.75571606919921497</c:v>
                </c:pt>
                <c:pt idx="42374">
                  <c:v>0.75573390404851004</c:v>
                </c:pt>
                <c:pt idx="42375">
                  <c:v>0.755751738897806</c:v>
                </c:pt>
                <c:pt idx="42376">
                  <c:v>0.75576957374710096</c:v>
                </c:pt>
                <c:pt idx="42377">
                  <c:v>0.75578740859639704</c:v>
                </c:pt>
                <c:pt idx="42378">
                  <c:v>0.755805243445692</c:v>
                </c:pt>
                <c:pt idx="42379">
                  <c:v>0.75582307829498796</c:v>
                </c:pt>
                <c:pt idx="42380">
                  <c:v>0.75584091314428303</c:v>
                </c:pt>
                <c:pt idx="42381">
                  <c:v>0.75585874799357899</c:v>
                </c:pt>
                <c:pt idx="42382">
                  <c:v>0.75587658284287496</c:v>
                </c:pt>
                <c:pt idx="42383">
                  <c:v>0.75589441769217003</c:v>
                </c:pt>
                <c:pt idx="42384">
                  <c:v>0.75591225254146599</c:v>
                </c:pt>
                <c:pt idx="42385">
                  <c:v>0.75593008739076095</c:v>
                </c:pt>
                <c:pt idx="42386">
                  <c:v>0.75594792224005702</c:v>
                </c:pt>
                <c:pt idx="42387">
                  <c:v>0.75596575708935199</c:v>
                </c:pt>
                <c:pt idx="42388">
                  <c:v>0.75598359193864795</c:v>
                </c:pt>
                <c:pt idx="42389">
                  <c:v>0.75600142678794302</c:v>
                </c:pt>
                <c:pt idx="42390">
                  <c:v>0.75601926163723898</c:v>
                </c:pt>
                <c:pt idx="42391">
                  <c:v>0.75603709648653405</c:v>
                </c:pt>
                <c:pt idx="42392">
                  <c:v>0.75605493133583002</c:v>
                </c:pt>
                <c:pt idx="42393">
                  <c:v>0.75607276618512498</c:v>
                </c:pt>
                <c:pt idx="42394">
                  <c:v>0.75609060103442105</c:v>
                </c:pt>
                <c:pt idx="42395">
                  <c:v>0.75610843588371601</c:v>
                </c:pt>
                <c:pt idx="42396">
                  <c:v>0.75612627073301197</c:v>
                </c:pt>
                <c:pt idx="42397">
                  <c:v>0.75614410558230705</c:v>
                </c:pt>
                <c:pt idx="42398">
                  <c:v>0.75616194043160301</c:v>
                </c:pt>
                <c:pt idx="42399">
                  <c:v>0.75617977528089797</c:v>
                </c:pt>
                <c:pt idx="42400">
                  <c:v>0.75619761013019404</c:v>
                </c:pt>
                <c:pt idx="42401">
                  <c:v>0.756215444979489</c:v>
                </c:pt>
                <c:pt idx="42402">
                  <c:v>0.75623327982878497</c:v>
                </c:pt>
                <c:pt idx="42403">
                  <c:v>0.75625111467808004</c:v>
                </c:pt>
                <c:pt idx="42404">
                  <c:v>0.756268949527376</c:v>
                </c:pt>
                <c:pt idx="42405">
                  <c:v>0.75628678437667196</c:v>
                </c:pt>
                <c:pt idx="42406">
                  <c:v>0.75630461922596703</c:v>
                </c:pt>
                <c:pt idx="42407">
                  <c:v>0.756322454075263</c:v>
                </c:pt>
                <c:pt idx="42408">
                  <c:v>0.75634028892455796</c:v>
                </c:pt>
                <c:pt idx="42409">
                  <c:v>0.75635812377385403</c:v>
                </c:pt>
                <c:pt idx="42410">
                  <c:v>0.75637595862314899</c:v>
                </c:pt>
                <c:pt idx="42411">
                  <c:v>0.75639379347244495</c:v>
                </c:pt>
                <c:pt idx="42412">
                  <c:v>0.75641162832174003</c:v>
                </c:pt>
                <c:pt idx="42413">
                  <c:v>0.75642946317103599</c:v>
                </c:pt>
                <c:pt idx="42414">
                  <c:v>0.75644729802033095</c:v>
                </c:pt>
                <c:pt idx="42415">
                  <c:v>0.75646513286962702</c:v>
                </c:pt>
                <c:pt idx="42416">
                  <c:v>0.75648296771892198</c:v>
                </c:pt>
                <c:pt idx="42417">
                  <c:v>0.75650080256821794</c:v>
                </c:pt>
                <c:pt idx="42418">
                  <c:v>0.75651863741751302</c:v>
                </c:pt>
                <c:pt idx="42419">
                  <c:v>0.75653647226680898</c:v>
                </c:pt>
                <c:pt idx="42420">
                  <c:v>0.75655430711610405</c:v>
                </c:pt>
                <c:pt idx="42421">
                  <c:v>0.75657214196540001</c:v>
                </c:pt>
                <c:pt idx="42422">
                  <c:v>0.75658997681469498</c:v>
                </c:pt>
                <c:pt idx="42423">
                  <c:v>0.75660781166399105</c:v>
                </c:pt>
                <c:pt idx="42424">
                  <c:v>0.75662564651328701</c:v>
                </c:pt>
                <c:pt idx="42425">
                  <c:v>0.75664348136258197</c:v>
                </c:pt>
                <c:pt idx="42426">
                  <c:v>0.75666131621187804</c:v>
                </c:pt>
                <c:pt idx="42427">
                  <c:v>0.75667915106117301</c:v>
                </c:pt>
                <c:pt idx="42428">
                  <c:v>0.75669698591046897</c:v>
                </c:pt>
                <c:pt idx="42429">
                  <c:v>0.75671482075976404</c:v>
                </c:pt>
                <c:pt idx="42430">
                  <c:v>0.75673265560906</c:v>
                </c:pt>
                <c:pt idx="42431">
                  <c:v>0.75675049045835496</c:v>
                </c:pt>
                <c:pt idx="42432">
                  <c:v>0.75676832530765104</c:v>
                </c:pt>
                <c:pt idx="42433">
                  <c:v>0.756786160156946</c:v>
                </c:pt>
                <c:pt idx="42434">
                  <c:v>0.75680399500624196</c:v>
                </c:pt>
                <c:pt idx="42435">
                  <c:v>0.75682182985553703</c:v>
                </c:pt>
                <c:pt idx="42436">
                  <c:v>0.75683966470483299</c:v>
                </c:pt>
                <c:pt idx="42437">
                  <c:v>0.75685749955412795</c:v>
                </c:pt>
                <c:pt idx="42438">
                  <c:v>0.75687533440342403</c:v>
                </c:pt>
                <c:pt idx="42439">
                  <c:v>0.75689316925271899</c:v>
                </c:pt>
                <c:pt idx="42440">
                  <c:v>0.75691100410201495</c:v>
                </c:pt>
                <c:pt idx="42441">
                  <c:v>0.75692883895131002</c:v>
                </c:pt>
                <c:pt idx="42442">
                  <c:v>0.75694667380060598</c:v>
                </c:pt>
                <c:pt idx="42443">
                  <c:v>0.75696450864990195</c:v>
                </c:pt>
                <c:pt idx="42444">
                  <c:v>0.75698234349919702</c:v>
                </c:pt>
                <c:pt idx="42445">
                  <c:v>0.75700017834849298</c:v>
                </c:pt>
                <c:pt idx="42446">
                  <c:v>0.75701801319778805</c:v>
                </c:pt>
                <c:pt idx="42447">
                  <c:v>0.75703584804708401</c:v>
                </c:pt>
                <c:pt idx="42448">
                  <c:v>0.75705368289637898</c:v>
                </c:pt>
                <c:pt idx="42449">
                  <c:v>0.75707151774567505</c:v>
                </c:pt>
                <c:pt idx="42450">
                  <c:v>0.75708935259497001</c:v>
                </c:pt>
                <c:pt idx="42451">
                  <c:v>0.75710718744426597</c:v>
                </c:pt>
                <c:pt idx="42452">
                  <c:v>0.75712502229356105</c:v>
                </c:pt>
                <c:pt idx="42453">
                  <c:v>0.75714285714285701</c:v>
                </c:pt>
                <c:pt idx="42454">
                  <c:v>0.75716069199215197</c:v>
                </c:pt>
                <c:pt idx="42455">
                  <c:v>0.75717852684144804</c:v>
                </c:pt>
                <c:pt idx="42456">
                  <c:v>0.757196361690743</c:v>
                </c:pt>
                <c:pt idx="42457">
                  <c:v>0.75721419654003896</c:v>
                </c:pt>
                <c:pt idx="42458">
                  <c:v>0.75723203138933404</c:v>
                </c:pt>
                <c:pt idx="42459">
                  <c:v>0.75724986623863</c:v>
                </c:pt>
                <c:pt idx="42460">
                  <c:v>0.75726770108792496</c:v>
                </c:pt>
                <c:pt idx="42461">
                  <c:v>0.75728553593722103</c:v>
                </c:pt>
                <c:pt idx="42462">
                  <c:v>0.75730337078651599</c:v>
                </c:pt>
                <c:pt idx="42463">
                  <c:v>0.75732120563581196</c:v>
                </c:pt>
                <c:pt idx="42464">
                  <c:v>0.75733904048510703</c:v>
                </c:pt>
                <c:pt idx="42465">
                  <c:v>0.75735687533440299</c:v>
                </c:pt>
                <c:pt idx="42466">
                  <c:v>0.75737471018369895</c:v>
                </c:pt>
                <c:pt idx="42467">
                  <c:v>0.75739254503299402</c:v>
                </c:pt>
                <c:pt idx="42468">
                  <c:v>0.75741037988228999</c:v>
                </c:pt>
                <c:pt idx="42469">
                  <c:v>0.75742821473158495</c:v>
                </c:pt>
                <c:pt idx="42470">
                  <c:v>0.75744604958088102</c:v>
                </c:pt>
                <c:pt idx="42471">
                  <c:v>0.75746388443017598</c:v>
                </c:pt>
                <c:pt idx="42472">
                  <c:v>0.75748171927947205</c:v>
                </c:pt>
                <c:pt idx="42473">
                  <c:v>0.75749955412876702</c:v>
                </c:pt>
                <c:pt idx="42474">
                  <c:v>0.75751738897806298</c:v>
                </c:pt>
                <c:pt idx="42475">
                  <c:v>0.75753522382735805</c:v>
                </c:pt>
                <c:pt idx="42476">
                  <c:v>0.75755305867665401</c:v>
                </c:pt>
                <c:pt idx="42477">
                  <c:v>0.75757089352594897</c:v>
                </c:pt>
                <c:pt idx="42478">
                  <c:v>0.75758872837524505</c:v>
                </c:pt>
                <c:pt idx="42479">
                  <c:v>0.75760656322454001</c:v>
                </c:pt>
                <c:pt idx="42480">
                  <c:v>0.75762439807383597</c:v>
                </c:pt>
                <c:pt idx="42481">
                  <c:v>0.75764223292313104</c:v>
                </c:pt>
                <c:pt idx="42482">
                  <c:v>0.757660067772427</c:v>
                </c:pt>
                <c:pt idx="42483">
                  <c:v>0.75767790262172197</c:v>
                </c:pt>
                <c:pt idx="42484">
                  <c:v>0.75769573747101804</c:v>
                </c:pt>
                <c:pt idx="42485">
                  <c:v>0.757713572320313</c:v>
                </c:pt>
                <c:pt idx="42486">
                  <c:v>0.75773140716960896</c:v>
                </c:pt>
                <c:pt idx="42487">
                  <c:v>0.75774924201890403</c:v>
                </c:pt>
                <c:pt idx="42488">
                  <c:v>0.7577670768682</c:v>
                </c:pt>
                <c:pt idx="42489">
                  <c:v>0.75778491171749596</c:v>
                </c:pt>
                <c:pt idx="42490">
                  <c:v>0.75780274656679103</c:v>
                </c:pt>
                <c:pt idx="42491">
                  <c:v>0.75782058141608699</c:v>
                </c:pt>
                <c:pt idx="42492">
                  <c:v>0.75783841626538195</c:v>
                </c:pt>
                <c:pt idx="42493">
                  <c:v>0.75785625111467803</c:v>
                </c:pt>
                <c:pt idx="42494">
                  <c:v>0.75787408596397299</c:v>
                </c:pt>
                <c:pt idx="42495">
                  <c:v>0.75789192081326895</c:v>
                </c:pt>
                <c:pt idx="42496">
                  <c:v>0.75790975566256402</c:v>
                </c:pt>
                <c:pt idx="42497">
                  <c:v>0.75792759051185998</c:v>
                </c:pt>
                <c:pt idx="42498">
                  <c:v>0.75794542536115495</c:v>
                </c:pt>
                <c:pt idx="42499">
                  <c:v>0.75796326021045102</c:v>
                </c:pt>
                <c:pt idx="42500">
                  <c:v>0.75798109505974598</c:v>
                </c:pt>
                <c:pt idx="42501">
                  <c:v>0.75799892990904205</c:v>
                </c:pt>
                <c:pt idx="42502">
                  <c:v>0.75801676475833701</c:v>
                </c:pt>
                <c:pt idx="42503">
                  <c:v>0.75803459960763298</c:v>
                </c:pt>
                <c:pt idx="42504">
                  <c:v>0.75805243445692805</c:v>
                </c:pt>
                <c:pt idx="42505">
                  <c:v>0.75807026930622401</c:v>
                </c:pt>
                <c:pt idx="42506">
                  <c:v>0.75808810415551897</c:v>
                </c:pt>
                <c:pt idx="42507">
                  <c:v>0.75810593900481504</c:v>
                </c:pt>
                <c:pt idx="42508">
                  <c:v>0.75812377385411001</c:v>
                </c:pt>
                <c:pt idx="42509">
                  <c:v>0.75814160870340597</c:v>
                </c:pt>
                <c:pt idx="42510">
                  <c:v>0.75815944355270104</c:v>
                </c:pt>
                <c:pt idx="42511">
                  <c:v>0.758177278401997</c:v>
                </c:pt>
                <c:pt idx="42512">
                  <c:v>0.75819511325129296</c:v>
                </c:pt>
                <c:pt idx="42513">
                  <c:v>0.75821294810058804</c:v>
                </c:pt>
                <c:pt idx="42514">
                  <c:v>0.758230782949884</c:v>
                </c:pt>
                <c:pt idx="42515">
                  <c:v>0.75824861779917896</c:v>
                </c:pt>
                <c:pt idx="42516">
                  <c:v>0.75826645264847503</c:v>
                </c:pt>
                <c:pt idx="42517">
                  <c:v>0.75828428749776999</c:v>
                </c:pt>
                <c:pt idx="42518">
                  <c:v>0.75830212234706595</c:v>
                </c:pt>
                <c:pt idx="42519">
                  <c:v>0.75831995719636103</c:v>
                </c:pt>
                <c:pt idx="42520">
                  <c:v>0.75833779204565699</c:v>
                </c:pt>
                <c:pt idx="42521">
                  <c:v>0.75835562689495195</c:v>
                </c:pt>
                <c:pt idx="42522">
                  <c:v>0.75837346174424802</c:v>
                </c:pt>
                <c:pt idx="42523">
                  <c:v>0.75839129659354299</c:v>
                </c:pt>
                <c:pt idx="42524">
                  <c:v>0.75840913144283895</c:v>
                </c:pt>
                <c:pt idx="42525">
                  <c:v>0.75842696629213402</c:v>
                </c:pt>
                <c:pt idx="42526">
                  <c:v>0.75844480114142998</c:v>
                </c:pt>
                <c:pt idx="42527">
                  <c:v>0.75846263599072505</c:v>
                </c:pt>
                <c:pt idx="42528">
                  <c:v>0.75848047084002101</c:v>
                </c:pt>
                <c:pt idx="42529">
                  <c:v>0.75849830568931698</c:v>
                </c:pt>
                <c:pt idx="42530">
                  <c:v>0.75851614053861205</c:v>
                </c:pt>
                <c:pt idx="42531">
                  <c:v>0.75853397538790801</c:v>
                </c:pt>
                <c:pt idx="42532">
                  <c:v>0.75855181023720297</c:v>
                </c:pt>
                <c:pt idx="42533">
                  <c:v>0.75856964508649904</c:v>
                </c:pt>
                <c:pt idx="42534">
                  <c:v>0.75858747993579401</c:v>
                </c:pt>
                <c:pt idx="42535">
                  <c:v>0.75860531478508997</c:v>
                </c:pt>
                <c:pt idx="42536">
                  <c:v>0.75862314963438504</c:v>
                </c:pt>
                <c:pt idx="42537">
                  <c:v>0.758640984483681</c:v>
                </c:pt>
                <c:pt idx="42538">
                  <c:v>0.75865881933297596</c:v>
                </c:pt>
                <c:pt idx="42539">
                  <c:v>0.75867665418227204</c:v>
                </c:pt>
                <c:pt idx="42540">
                  <c:v>0.758694489031567</c:v>
                </c:pt>
                <c:pt idx="42541">
                  <c:v>0.75871232388086296</c:v>
                </c:pt>
                <c:pt idx="42542">
                  <c:v>0.75873015873015803</c:v>
                </c:pt>
                <c:pt idx="42543">
                  <c:v>0.75874799357945399</c:v>
                </c:pt>
                <c:pt idx="42544">
                  <c:v>0.75876582842874896</c:v>
                </c:pt>
                <c:pt idx="42545">
                  <c:v>0.75878366327804503</c:v>
                </c:pt>
                <c:pt idx="42546">
                  <c:v>0.75880149812733999</c:v>
                </c:pt>
                <c:pt idx="42547">
                  <c:v>0.75881933297663595</c:v>
                </c:pt>
                <c:pt idx="42548">
                  <c:v>0.75883716782593102</c:v>
                </c:pt>
                <c:pt idx="42549">
                  <c:v>0.75885500267522699</c:v>
                </c:pt>
                <c:pt idx="42550">
                  <c:v>0.75887283752452295</c:v>
                </c:pt>
                <c:pt idx="42551">
                  <c:v>0.75889067237381802</c:v>
                </c:pt>
                <c:pt idx="42552">
                  <c:v>0.75890850722311398</c:v>
                </c:pt>
                <c:pt idx="42553">
                  <c:v>0.75892634207240905</c:v>
                </c:pt>
                <c:pt idx="42554">
                  <c:v>0.75894417692170502</c:v>
                </c:pt>
                <c:pt idx="42555">
                  <c:v>0.75896201177099998</c:v>
                </c:pt>
                <c:pt idx="42556">
                  <c:v>0.75897984662029605</c:v>
                </c:pt>
                <c:pt idx="42557">
                  <c:v>0.75899768146959101</c:v>
                </c:pt>
                <c:pt idx="42558">
                  <c:v>0.75901551631888697</c:v>
                </c:pt>
                <c:pt idx="42559">
                  <c:v>0.75903335116818205</c:v>
                </c:pt>
                <c:pt idx="42560">
                  <c:v>0.75905118601747801</c:v>
                </c:pt>
                <c:pt idx="42561">
                  <c:v>0.75906902086677297</c:v>
                </c:pt>
                <c:pt idx="42562">
                  <c:v>0.75908685571606904</c:v>
                </c:pt>
                <c:pt idx="42563">
                  <c:v>0.759104690565364</c:v>
                </c:pt>
                <c:pt idx="42564">
                  <c:v>0.75912252541465997</c:v>
                </c:pt>
                <c:pt idx="42565">
                  <c:v>0.75914036026395504</c:v>
                </c:pt>
                <c:pt idx="42566">
                  <c:v>0.759158195113251</c:v>
                </c:pt>
                <c:pt idx="42567">
                  <c:v>0.75917602996254596</c:v>
                </c:pt>
                <c:pt idx="42568">
                  <c:v>0.75919386481184203</c:v>
                </c:pt>
                <c:pt idx="42569">
                  <c:v>0.759211699661137</c:v>
                </c:pt>
                <c:pt idx="42570">
                  <c:v>0.75922953451043296</c:v>
                </c:pt>
                <c:pt idx="42571">
                  <c:v>0.75924736935972803</c:v>
                </c:pt>
                <c:pt idx="42572">
                  <c:v>0.75926520420902399</c:v>
                </c:pt>
                <c:pt idx="42573">
                  <c:v>0.75928303905831995</c:v>
                </c:pt>
                <c:pt idx="42574">
                  <c:v>0.75930087390761503</c:v>
                </c:pt>
                <c:pt idx="42575">
                  <c:v>0.75931870875691099</c:v>
                </c:pt>
                <c:pt idx="42576">
                  <c:v>0.75933654360620595</c:v>
                </c:pt>
                <c:pt idx="42577">
                  <c:v>0.75935437845550202</c:v>
                </c:pt>
                <c:pt idx="42578">
                  <c:v>0.75937221330479698</c:v>
                </c:pt>
                <c:pt idx="42579">
                  <c:v>0.75939004815409294</c:v>
                </c:pt>
                <c:pt idx="42580">
                  <c:v>0.75940788300338802</c:v>
                </c:pt>
                <c:pt idx="42581">
                  <c:v>0.75942571785268398</c:v>
                </c:pt>
                <c:pt idx="42582">
                  <c:v>0.75944355270197905</c:v>
                </c:pt>
                <c:pt idx="42583">
                  <c:v>0.75946138755127501</c:v>
                </c:pt>
                <c:pt idx="42584">
                  <c:v>0.75947922240056998</c:v>
                </c:pt>
                <c:pt idx="42585">
                  <c:v>0.75949705724986605</c:v>
                </c:pt>
                <c:pt idx="42586">
                  <c:v>0.75951489209916101</c:v>
                </c:pt>
                <c:pt idx="42587">
                  <c:v>0.75953272694845697</c:v>
                </c:pt>
                <c:pt idx="42588">
                  <c:v>0.75955056179775204</c:v>
                </c:pt>
                <c:pt idx="42589">
                  <c:v>0.75956839664704801</c:v>
                </c:pt>
                <c:pt idx="42590">
                  <c:v>0.75958623149634297</c:v>
                </c:pt>
                <c:pt idx="42591">
                  <c:v>0.75960406634563904</c:v>
                </c:pt>
                <c:pt idx="42592">
                  <c:v>0.759621901194934</c:v>
                </c:pt>
                <c:pt idx="42593">
                  <c:v>0.75963973604422996</c:v>
                </c:pt>
                <c:pt idx="42594">
                  <c:v>0.75965757089352504</c:v>
                </c:pt>
                <c:pt idx="42595">
                  <c:v>0.759675405742821</c:v>
                </c:pt>
                <c:pt idx="42596">
                  <c:v>0.75969324059211696</c:v>
                </c:pt>
                <c:pt idx="42597">
                  <c:v>0.75971107544141203</c:v>
                </c:pt>
                <c:pt idx="42598">
                  <c:v>0.75972891029070799</c:v>
                </c:pt>
                <c:pt idx="42599">
                  <c:v>0.75974674514000295</c:v>
                </c:pt>
                <c:pt idx="42600">
                  <c:v>0.75976457998929903</c:v>
                </c:pt>
                <c:pt idx="42601">
                  <c:v>0.75978241483859399</c:v>
                </c:pt>
                <c:pt idx="42602">
                  <c:v>0.75980024968788995</c:v>
                </c:pt>
                <c:pt idx="42603">
                  <c:v>0.75981808453718502</c:v>
                </c:pt>
                <c:pt idx="42604">
                  <c:v>0.75983591938648098</c:v>
                </c:pt>
                <c:pt idx="42605">
                  <c:v>0.75985375423577595</c:v>
                </c:pt>
                <c:pt idx="42606">
                  <c:v>0.75987158908507202</c:v>
                </c:pt>
                <c:pt idx="42607">
                  <c:v>0.75988942393436698</c:v>
                </c:pt>
                <c:pt idx="42608">
                  <c:v>0.75990725878366305</c:v>
                </c:pt>
                <c:pt idx="42609">
                  <c:v>0.75992509363295802</c:v>
                </c:pt>
                <c:pt idx="42610">
                  <c:v>0.75994292848225398</c:v>
                </c:pt>
                <c:pt idx="42611">
                  <c:v>0.75996076333154905</c:v>
                </c:pt>
                <c:pt idx="42612">
                  <c:v>0.75997859818084501</c:v>
                </c:pt>
                <c:pt idx="42613">
                  <c:v>0.75999643303013997</c:v>
                </c:pt>
                <c:pt idx="42614">
                  <c:v>0.76001426787943605</c:v>
                </c:pt>
                <c:pt idx="42615">
                  <c:v>0.76003210272873101</c:v>
                </c:pt>
                <c:pt idx="42616">
                  <c:v>0.76004993757802697</c:v>
                </c:pt>
                <c:pt idx="42617">
                  <c:v>0.76006777242732304</c:v>
                </c:pt>
                <c:pt idx="42618">
                  <c:v>0.760085607276618</c:v>
                </c:pt>
                <c:pt idx="42619">
                  <c:v>0.76010344212591396</c:v>
                </c:pt>
                <c:pt idx="42620">
                  <c:v>0.76012127697520904</c:v>
                </c:pt>
                <c:pt idx="42621">
                  <c:v>0.760139111824505</c:v>
                </c:pt>
                <c:pt idx="42622">
                  <c:v>0.76015694667379996</c:v>
                </c:pt>
                <c:pt idx="42623">
                  <c:v>0.76017478152309603</c:v>
                </c:pt>
                <c:pt idx="42624">
                  <c:v>0.76019261637239099</c:v>
                </c:pt>
                <c:pt idx="42625">
                  <c:v>0.76021045122168696</c:v>
                </c:pt>
                <c:pt idx="42626">
                  <c:v>0.76022828607098203</c:v>
                </c:pt>
                <c:pt idx="42627">
                  <c:v>0.76024612092027799</c:v>
                </c:pt>
                <c:pt idx="42628">
                  <c:v>0.76026395576957295</c:v>
                </c:pt>
                <c:pt idx="42629">
                  <c:v>0.76028179061886902</c:v>
                </c:pt>
                <c:pt idx="42630">
                  <c:v>0.76029962546816399</c:v>
                </c:pt>
                <c:pt idx="42631">
                  <c:v>0.76031746031745995</c:v>
                </c:pt>
                <c:pt idx="42632">
                  <c:v>0.76033529516675502</c:v>
                </c:pt>
                <c:pt idx="42633">
                  <c:v>0.76035313001605098</c:v>
                </c:pt>
                <c:pt idx="42634">
                  <c:v>0.76037096486534606</c:v>
                </c:pt>
                <c:pt idx="42635">
                  <c:v>0.76038879971464202</c:v>
                </c:pt>
                <c:pt idx="42636">
                  <c:v>0.76040663456393798</c:v>
                </c:pt>
                <c:pt idx="42637">
                  <c:v>0.76042446941323305</c:v>
                </c:pt>
                <c:pt idx="42638">
                  <c:v>0.76044230426252901</c:v>
                </c:pt>
                <c:pt idx="42639">
                  <c:v>0.76046013911182397</c:v>
                </c:pt>
                <c:pt idx="42640">
                  <c:v>0.76047797396112005</c:v>
                </c:pt>
                <c:pt idx="42641">
                  <c:v>0.76049580881041501</c:v>
                </c:pt>
                <c:pt idx="42642">
                  <c:v>0.76051364365971097</c:v>
                </c:pt>
                <c:pt idx="42643">
                  <c:v>0.76053147850900604</c:v>
                </c:pt>
                <c:pt idx="42644">
                  <c:v>0.760549313358302</c:v>
                </c:pt>
                <c:pt idx="42645">
                  <c:v>0.76056714820759697</c:v>
                </c:pt>
                <c:pt idx="42646">
                  <c:v>0.76058498305689304</c:v>
                </c:pt>
                <c:pt idx="42647">
                  <c:v>0.760602817906188</c:v>
                </c:pt>
                <c:pt idx="42648">
                  <c:v>0.76062065275548396</c:v>
                </c:pt>
                <c:pt idx="42649">
                  <c:v>0.76063848760477903</c:v>
                </c:pt>
                <c:pt idx="42650">
                  <c:v>0.760656322454075</c:v>
                </c:pt>
                <c:pt idx="42651">
                  <c:v>0.76067415730336996</c:v>
                </c:pt>
                <c:pt idx="42652">
                  <c:v>0.76069199215266603</c:v>
                </c:pt>
                <c:pt idx="42653">
                  <c:v>0.76070982700196099</c:v>
                </c:pt>
                <c:pt idx="42654">
                  <c:v>0.76072766185125695</c:v>
                </c:pt>
                <c:pt idx="42655">
                  <c:v>0.76074549670055203</c:v>
                </c:pt>
                <c:pt idx="42656">
                  <c:v>0.76076333154984799</c:v>
                </c:pt>
                <c:pt idx="42657">
                  <c:v>0.76078116639914395</c:v>
                </c:pt>
                <c:pt idx="42658">
                  <c:v>0.76079900124843902</c:v>
                </c:pt>
                <c:pt idx="42659">
                  <c:v>0.76081683609773498</c:v>
                </c:pt>
                <c:pt idx="42660">
                  <c:v>0.76083467094702995</c:v>
                </c:pt>
                <c:pt idx="42661">
                  <c:v>0.76085250579632602</c:v>
                </c:pt>
                <c:pt idx="42662">
                  <c:v>0.76087034064562098</c:v>
                </c:pt>
                <c:pt idx="42663">
                  <c:v>0.76088817549491705</c:v>
                </c:pt>
                <c:pt idx="42664">
                  <c:v>0.76090601034421201</c:v>
                </c:pt>
                <c:pt idx="42665">
                  <c:v>0.76092384519350798</c:v>
                </c:pt>
                <c:pt idx="42666">
                  <c:v>0.76094168004280305</c:v>
                </c:pt>
                <c:pt idx="42667">
                  <c:v>0.76095951489209901</c:v>
                </c:pt>
                <c:pt idx="42668">
                  <c:v>0.76097734974139397</c:v>
                </c:pt>
                <c:pt idx="42669">
                  <c:v>0.76099518459069004</c:v>
                </c:pt>
                <c:pt idx="42670">
                  <c:v>0.76101301943998501</c:v>
                </c:pt>
                <c:pt idx="42671">
                  <c:v>0.76103085428928097</c:v>
                </c:pt>
                <c:pt idx="42672">
                  <c:v>0.76104868913857604</c:v>
                </c:pt>
                <c:pt idx="42673">
                  <c:v>0.761066523987872</c:v>
                </c:pt>
                <c:pt idx="42674">
                  <c:v>0.76108435883716696</c:v>
                </c:pt>
                <c:pt idx="42675">
                  <c:v>0.76110219368646304</c:v>
                </c:pt>
                <c:pt idx="42676">
                  <c:v>0.761120028535758</c:v>
                </c:pt>
                <c:pt idx="42677">
                  <c:v>0.76113786338505396</c:v>
                </c:pt>
                <c:pt idx="42678">
                  <c:v>0.76115569823434903</c:v>
                </c:pt>
                <c:pt idx="42679">
                  <c:v>0.76117353308364499</c:v>
                </c:pt>
                <c:pt idx="42680">
                  <c:v>0.76119136793294095</c:v>
                </c:pt>
                <c:pt idx="42681">
                  <c:v>0.76120920278223603</c:v>
                </c:pt>
                <c:pt idx="42682">
                  <c:v>0.76122703763153199</c:v>
                </c:pt>
                <c:pt idx="42683">
                  <c:v>0.76124487248082695</c:v>
                </c:pt>
                <c:pt idx="42684">
                  <c:v>0.76126270733012302</c:v>
                </c:pt>
                <c:pt idx="42685">
                  <c:v>0.76128054217941798</c:v>
                </c:pt>
                <c:pt idx="42686">
                  <c:v>0.76129837702871395</c:v>
                </c:pt>
                <c:pt idx="42687">
                  <c:v>0.76131621187800902</c:v>
                </c:pt>
                <c:pt idx="42688">
                  <c:v>0.76133404672730498</c:v>
                </c:pt>
                <c:pt idx="42689">
                  <c:v>0.76135188157660005</c:v>
                </c:pt>
                <c:pt idx="42690">
                  <c:v>0.76136971642589601</c:v>
                </c:pt>
                <c:pt idx="42691">
                  <c:v>0.76138755127519098</c:v>
                </c:pt>
                <c:pt idx="42692">
                  <c:v>0.76140538612448705</c:v>
                </c:pt>
                <c:pt idx="42693">
                  <c:v>0.76142322097378201</c:v>
                </c:pt>
                <c:pt idx="42694">
                  <c:v>0.76144105582307797</c:v>
                </c:pt>
                <c:pt idx="42695">
                  <c:v>0.76145889067237305</c:v>
                </c:pt>
                <c:pt idx="42696">
                  <c:v>0.76147672552166901</c:v>
                </c:pt>
                <c:pt idx="42697">
                  <c:v>0.76149456037096397</c:v>
                </c:pt>
                <c:pt idx="42698">
                  <c:v>0.76151239522026004</c:v>
                </c:pt>
                <c:pt idx="42699">
                  <c:v>0.761530230069555</c:v>
                </c:pt>
                <c:pt idx="42700">
                  <c:v>0.76154806491885096</c:v>
                </c:pt>
                <c:pt idx="42701">
                  <c:v>0.76156589976814604</c:v>
                </c:pt>
                <c:pt idx="42702">
                  <c:v>0.761583734617442</c:v>
                </c:pt>
                <c:pt idx="42703">
                  <c:v>0.76160156946673796</c:v>
                </c:pt>
                <c:pt idx="42704">
                  <c:v>0.76161940431603303</c:v>
                </c:pt>
                <c:pt idx="42705">
                  <c:v>0.76163723916532899</c:v>
                </c:pt>
                <c:pt idx="42706">
                  <c:v>0.76165507401462396</c:v>
                </c:pt>
                <c:pt idx="42707">
                  <c:v>0.76167290886392003</c:v>
                </c:pt>
                <c:pt idx="42708">
                  <c:v>0.76169074371321499</c:v>
                </c:pt>
                <c:pt idx="42709">
                  <c:v>0.76170857856251095</c:v>
                </c:pt>
                <c:pt idx="42710">
                  <c:v>0.76172641341180602</c:v>
                </c:pt>
                <c:pt idx="42711">
                  <c:v>0.76174424826110199</c:v>
                </c:pt>
                <c:pt idx="42712">
                  <c:v>0.76176208311039695</c:v>
                </c:pt>
                <c:pt idx="42713">
                  <c:v>0.76177991795969302</c:v>
                </c:pt>
                <c:pt idx="42714">
                  <c:v>0.76179775280898798</c:v>
                </c:pt>
                <c:pt idx="42715">
                  <c:v>0.76181558765828405</c:v>
                </c:pt>
                <c:pt idx="42716">
                  <c:v>0.76183342250757902</c:v>
                </c:pt>
                <c:pt idx="42717">
                  <c:v>0.76185125735687498</c:v>
                </c:pt>
                <c:pt idx="42718">
                  <c:v>0.76186909220617005</c:v>
                </c:pt>
                <c:pt idx="42719">
                  <c:v>0.76188692705546601</c:v>
                </c:pt>
                <c:pt idx="42720">
                  <c:v>0.76190476190476097</c:v>
                </c:pt>
                <c:pt idx="42721">
                  <c:v>0.76192259675405705</c:v>
                </c:pt>
                <c:pt idx="42722">
                  <c:v>0.76194043160335201</c:v>
                </c:pt>
                <c:pt idx="42723">
                  <c:v>0.76195826645264797</c:v>
                </c:pt>
                <c:pt idx="42724">
                  <c:v>0.76197610130194404</c:v>
                </c:pt>
                <c:pt idx="42725">
                  <c:v>0.761993936151239</c:v>
                </c:pt>
                <c:pt idx="42726">
                  <c:v>0.76201177100053497</c:v>
                </c:pt>
                <c:pt idx="42727">
                  <c:v>0.76202960584983004</c:v>
                </c:pt>
                <c:pt idx="42728">
                  <c:v>0.762047440699126</c:v>
                </c:pt>
                <c:pt idx="42729">
                  <c:v>0.76206527554842096</c:v>
                </c:pt>
                <c:pt idx="42730">
                  <c:v>0.76208311039771703</c:v>
                </c:pt>
                <c:pt idx="42731">
                  <c:v>0.762100945247012</c:v>
                </c:pt>
                <c:pt idx="42732">
                  <c:v>0.76211878009630796</c:v>
                </c:pt>
                <c:pt idx="42733">
                  <c:v>0.76213661494560303</c:v>
                </c:pt>
                <c:pt idx="42734">
                  <c:v>0.76215444979489899</c:v>
                </c:pt>
                <c:pt idx="42735">
                  <c:v>0.76217228464419395</c:v>
                </c:pt>
                <c:pt idx="42736">
                  <c:v>0.76219011949349003</c:v>
                </c:pt>
                <c:pt idx="42737">
                  <c:v>0.76220795434278499</c:v>
                </c:pt>
                <c:pt idx="42738">
                  <c:v>0.76222578919208095</c:v>
                </c:pt>
                <c:pt idx="42739">
                  <c:v>0.76224362404137602</c:v>
                </c:pt>
                <c:pt idx="42740">
                  <c:v>0.76226145889067198</c:v>
                </c:pt>
                <c:pt idx="42741">
                  <c:v>0.76227929373996794</c:v>
                </c:pt>
                <c:pt idx="42742">
                  <c:v>0.76229712858926302</c:v>
                </c:pt>
                <c:pt idx="42743">
                  <c:v>0.76231496343855898</c:v>
                </c:pt>
                <c:pt idx="42744">
                  <c:v>0.76233279828785405</c:v>
                </c:pt>
                <c:pt idx="42745">
                  <c:v>0.76235063313715001</c:v>
                </c:pt>
                <c:pt idx="42746">
                  <c:v>0.76236846798644498</c:v>
                </c:pt>
                <c:pt idx="42747">
                  <c:v>0.76238630283574105</c:v>
                </c:pt>
                <c:pt idx="42748">
                  <c:v>0.76240413768503601</c:v>
                </c:pt>
                <c:pt idx="42749">
                  <c:v>0.76242197253433197</c:v>
                </c:pt>
                <c:pt idx="42750">
                  <c:v>0.76243980738362704</c:v>
                </c:pt>
                <c:pt idx="42751">
                  <c:v>0.76245764223292301</c:v>
                </c:pt>
                <c:pt idx="42752">
                  <c:v>0.76247547708221797</c:v>
                </c:pt>
                <c:pt idx="42753">
                  <c:v>0.76249331193151404</c:v>
                </c:pt>
                <c:pt idx="42754">
                  <c:v>0.762511146780809</c:v>
                </c:pt>
                <c:pt idx="42755">
                  <c:v>0.76252898163010496</c:v>
                </c:pt>
                <c:pt idx="42756">
                  <c:v>0.76254681647940004</c:v>
                </c:pt>
                <c:pt idx="42757">
                  <c:v>0.762564651328696</c:v>
                </c:pt>
                <c:pt idx="42758">
                  <c:v>0.76258248617799096</c:v>
                </c:pt>
                <c:pt idx="42759">
                  <c:v>0.76260032102728703</c:v>
                </c:pt>
                <c:pt idx="42760">
                  <c:v>0.76261815587658199</c:v>
                </c:pt>
                <c:pt idx="42761">
                  <c:v>0.76263599072587795</c:v>
                </c:pt>
                <c:pt idx="42762">
                  <c:v>0.76265382557517303</c:v>
                </c:pt>
                <c:pt idx="42763">
                  <c:v>0.76267166042446899</c:v>
                </c:pt>
                <c:pt idx="42764">
                  <c:v>0.76268949527376495</c:v>
                </c:pt>
                <c:pt idx="42765">
                  <c:v>0.76270733012306002</c:v>
                </c:pt>
                <c:pt idx="42766">
                  <c:v>0.76272516497235598</c:v>
                </c:pt>
                <c:pt idx="42767">
                  <c:v>0.76274299982165095</c:v>
                </c:pt>
                <c:pt idx="42768">
                  <c:v>0.76276083467094702</c:v>
                </c:pt>
                <c:pt idx="42769">
                  <c:v>0.76277866952024198</c:v>
                </c:pt>
                <c:pt idx="42770">
                  <c:v>0.76279650436953805</c:v>
                </c:pt>
                <c:pt idx="42771">
                  <c:v>0.76281433921883302</c:v>
                </c:pt>
                <c:pt idx="42772">
                  <c:v>0.76283217406812898</c:v>
                </c:pt>
                <c:pt idx="42773">
                  <c:v>0.76285000891742405</c:v>
                </c:pt>
                <c:pt idx="42774">
                  <c:v>0.76286784376672001</c:v>
                </c:pt>
                <c:pt idx="42775">
                  <c:v>0.76288567861601497</c:v>
                </c:pt>
                <c:pt idx="42776">
                  <c:v>0.76290351346531105</c:v>
                </c:pt>
                <c:pt idx="42777">
                  <c:v>0.76292134831460601</c:v>
                </c:pt>
                <c:pt idx="42778">
                  <c:v>0.76293918316390197</c:v>
                </c:pt>
                <c:pt idx="42779">
                  <c:v>0.76295701801319704</c:v>
                </c:pt>
                <c:pt idx="42780">
                  <c:v>0.762974852862493</c:v>
                </c:pt>
                <c:pt idx="42781">
                  <c:v>0.76299268771178796</c:v>
                </c:pt>
                <c:pt idx="42782">
                  <c:v>0.76301052256108404</c:v>
                </c:pt>
                <c:pt idx="42783">
                  <c:v>0.763028357410379</c:v>
                </c:pt>
                <c:pt idx="42784">
                  <c:v>0.76304619225967496</c:v>
                </c:pt>
                <c:pt idx="42785">
                  <c:v>0.76306402710897003</c:v>
                </c:pt>
                <c:pt idx="42786">
                  <c:v>0.76308186195826599</c:v>
                </c:pt>
                <c:pt idx="42787">
                  <c:v>0.76309969680756196</c:v>
                </c:pt>
                <c:pt idx="42788">
                  <c:v>0.76311753165685703</c:v>
                </c:pt>
                <c:pt idx="42789">
                  <c:v>0.76313536650615299</c:v>
                </c:pt>
                <c:pt idx="42790">
                  <c:v>0.76315320135544795</c:v>
                </c:pt>
                <c:pt idx="42791">
                  <c:v>0.76317103620474402</c:v>
                </c:pt>
                <c:pt idx="42792">
                  <c:v>0.76318887105403899</c:v>
                </c:pt>
                <c:pt idx="42793">
                  <c:v>0.76320670590333495</c:v>
                </c:pt>
                <c:pt idx="42794">
                  <c:v>0.76322454075263002</c:v>
                </c:pt>
                <c:pt idx="42795">
                  <c:v>0.76324237560192598</c:v>
                </c:pt>
                <c:pt idx="42796">
                  <c:v>0.76326021045122106</c:v>
                </c:pt>
                <c:pt idx="42797">
                  <c:v>0.76327804530051702</c:v>
                </c:pt>
                <c:pt idx="42798">
                  <c:v>0.76329588014981198</c:v>
                </c:pt>
                <c:pt idx="42799">
                  <c:v>0.76331371499910805</c:v>
                </c:pt>
                <c:pt idx="42800">
                  <c:v>0.76333154984840301</c:v>
                </c:pt>
                <c:pt idx="42801">
                  <c:v>0.76334938469769897</c:v>
                </c:pt>
                <c:pt idx="42802">
                  <c:v>0.76336721954699405</c:v>
                </c:pt>
                <c:pt idx="42803">
                  <c:v>0.76338505439629001</c:v>
                </c:pt>
                <c:pt idx="42804">
                  <c:v>0.76340288924558497</c:v>
                </c:pt>
                <c:pt idx="42805">
                  <c:v>0.76342072409488104</c:v>
                </c:pt>
                <c:pt idx="42806">
                  <c:v>0.763438558944176</c:v>
                </c:pt>
                <c:pt idx="42807">
                  <c:v>0.76345639379347197</c:v>
                </c:pt>
                <c:pt idx="42808">
                  <c:v>0.76347422864276704</c:v>
                </c:pt>
                <c:pt idx="42809">
                  <c:v>0.763492063492063</c:v>
                </c:pt>
                <c:pt idx="42810">
                  <c:v>0.76350989834135896</c:v>
                </c:pt>
                <c:pt idx="42811">
                  <c:v>0.76352773319065403</c:v>
                </c:pt>
                <c:pt idx="42812">
                  <c:v>0.76354556803995</c:v>
                </c:pt>
                <c:pt idx="42813">
                  <c:v>0.76356340288924496</c:v>
                </c:pt>
                <c:pt idx="42814">
                  <c:v>0.76358123773854103</c:v>
                </c:pt>
                <c:pt idx="42815">
                  <c:v>0.76359907258783599</c:v>
                </c:pt>
                <c:pt idx="42816">
                  <c:v>0.76361690743713195</c:v>
                </c:pt>
                <c:pt idx="42817">
                  <c:v>0.76363474228642703</c:v>
                </c:pt>
                <c:pt idx="42818">
                  <c:v>0.76365257713572299</c:v>
                </c:pt>
                <c:pt idx="42819">
                  <c:v>0.76367041198501795</c:v>
                </c:pt>
                <c:pt idx="42820">
                  <c:v>0.76368824683431402</c:v>
                </c:pt>
                <c:pt idx="42821">
                  <c:v>0.76370608168360898</c:v>
                </c:pt>
                <c:pt idx="42822">
                  <c:v>0.76372391653290495</c:v>
                </c:pt>
                <c:pt idx="42823">
                  <c:v>0.76374175138220002</c:v>
                </c:pt>
                <c:pt idx="42824">
                  <c:v>0.76375958623149598</c:v>
                </c:pt>
                <c:pt idx="42825">
                  <c:v>0.76377742108079105</c:v>
                </c:pt>
                <c:pt idx="42826">
                  <c:v>0.76379525593008701</c:v>
                </c:pt>
                <c:pt idx="42827">
                  <c:v>0.76381309077938198</c:v>
                </c:pt>
                <c:pt idx="42828">
                  <c:v>0.76383092562867805</c:v>
                </c:pt>
                <c:pt idx="42829">
                  <c:v>0.76384876047797401</c:v>
                </c:pt>
                <c:pt idx="42830">
                  <c:v>0.76386659532726897</c:v>
                </c:pt>
                <c:pt idx="42831">
                  <c:v>0.76388443017656504</c:v>
                </c:pt>
                <c:pt idx="42832">
                  <c:v>0.76390226502586001</c:v>
                </c:pt>
                <c:pt idx="42833">
                  <c:v>0.76392009987515597</c:v>
                </c:pt>
                <c:pt idx="42834">
                  <c:v>0.76393793472445104</c:v>
                </c:pt>
                <c:pt idx="42835">
                  <c:v>0.763955769573747</c:v>
                </c:pt>
                <c:pt idx="42836">
                  <c:v>0.76397360442304196</c:v>
                </c:pt>
                <c:pt idx="42837">
                  <c:v>0.76399143927233804</c:v>
                </c:pt>
                <c:pt idx="42838">
                  <c:v>0.764009274121633</c:v>
                </c:pt>
                <c:pt idx="42839">
                  <c:v>0.76402710897092896</c:v>
                </c:pt>
                <c:pt idx="42840">
                  <c:v>0.76404494382022403</c:v>
                </c:pt>
                <c:pt idx="42841">
                  <c:v>0.76406277866951999</c:v>
                </c:pt>
                <c:pt idx="42842">
                  <c:v>0.76408061351881496</c:v>
                </c:pt>
                <c:pt idx="42843">
                  <c:v>0.76409844836811103</c:v>
                </c:pt>
                <c:pt idx="42844">
                  <c:v>0.76411628321740599</c:v>
                </c:pt>
                <c:pt idx="42845">
                  <c:v>0.76413411806670195</c:v>
                </c:pt>
                <c:pt idx="42846">
                  <c:v>0.76415195291599702</c:v>
                </c:pt>
                <c:pt idx="42847">
                  <c:v>0.76416978776529298</c:v>
                </c:pt>
                <c:pt idx="42848">
                  <c:v>0.76418762261458895</c:v>
                </c:pt>
                <c:pt idx="42849">
                  <c:v>0.76420545746388402</c:v>
                </c:pt>
                <c:pt idx="42850">
                  <c:v>0.76422329231317998</c:v>
                </c:pt>
                <c:pt idx="42851">
                  <c:v>0.76424112716247505</c:v>
                </c:pt>
                <c:pt idx="42852">
                  <c:v>0.76425896201177101</c:v>
                </c:pt>
                <c:pt idx="42853">
                  <c:v>0.76427679686106598</c:v>
                </c:pt>
                <c:pt idx="42854">
                  <c:v>0.76429463171036205</c:v>
                </c:pt>
                <c:pt idx="42855">
                  <c:v>0.76431246655965701</c:v>
                </c:pt>
                <c:pt idx="42856">
                  <c:v>0.76433030140895297</c:v>
                </c:pt>
                <c:pt idx="42857">
                  <c:v>0.76434813625824805</c:v>
                </c:pt>
                <c:pt idx="42858">
                  <c:v>0.76436597110754401</c:v>
                </c:pt>
                <c:pt idx="42859">
                  <c:v>0.76438380595683897</c:v>
                </c:pt>
                <c:pt idx="42860">
                  <c:v>0.76440164080613504</c:v>
                </c:pt>
                <c:pt idx="42861">
                  <c:v>0.76441947565543</c:v>
                </c:pt>
                <c:pt idx="42862">
                  <c:v>0.76443731050472596</c:v>
                </c:pt>
                <c:pt idx="42863">
                  <c:v>0.76445514535402104</c:v>
                </c:pt>
                <c:pt idx="42864">
                  <c:v>0.764472980203317</c:v>
                </c:pt>
                <c:pt idx="42865">
                  <c:v>0.76449081505261196</c:v>
                </c:pt>
                <c:pt idx="42866">
                  <c:v>0.76450864990190803</c:v>
                </c:pt>
                <c:pt idx="42867">
                  <c:v>0.76452648475120299</c:v>
                </c:pt>
                <c:pt idx="42868">
                  <c:v>0.76454431960049896</c:v>
                </c:pt>
                <c:pt idx="42869">
                  <c:v>0.76456215444979403</c:v>
                </c:pt>
                <c:pt idx="42870">
                  <c:v>0.76457998929908999</c:v>
                </c:pt>
                <c:pt idx="42871">
                  <c:v>0.76459782414838595</c:v>
                </c:pt>
                <c:pt idx="42872">
                  <c:v>0.76461565899768102</c:v>
                </c:pt>
                <c:pt idx="42873">
                  <c:v>0.76463349384697699</c:v>
                </c:pt>
                <c:pt idx="42874">
                  <c:v>0.76465132869627195</c:v>
                </c:pt>
                <c:pt idx="42875">
                  <c:v>0.76466916354556802</c:v>
                </c:pt>
                <c:pt idx="42876">
                  <c:v>0.76468699839486298</c:v>
                </c:pt>
                <c:pt idx="42877">
                  <c:v>0.76470483324415905</c:v>
                </c:pt>
                <c:pt idx="42878">
                  <c:v>0.76472266809345402</c:v>
                </c:pt>
                <c:pt idx="42879">
                  <c:v>0.76474050294274998</c:v>
                </c:pt>
                <c:pt idx="42880">
                  <c:v>0.76475833779204505</c:v>
                </c:pt>
                <c:pt idx="42881">
                  <c:v>0.76477617264134101</c:v>
                </c:pt>
                <c:pt idx="42882">
                  <c:v>0.76479400749063597</c:v>
                </c:pt>
                <c:pt idx="42883">
                  <c:v>0.76481184233993205</c:v>
                </c:pt>
                <c:pt idx="42884">
                  <c:v>0.76482967718922701</c:v>
                </c:pt>
                <c:pt idx="42885">
                  <c:v>0.76484751203852297</c:v>
                </c:pt>
                <c:pt idx="42886">
                  <c:v>0.76486534688781804</c:v>
                </c:pt>
                <c:pt idx="42887">
                  <c:v>0.764883181737114</c:v>
                </c:pt>
                <c:pt idx="42888">
                  <c:v>0.76490101658640897</c:v>
                </c:pt>
                <c:pt idx="42889">
                  <c:v>0.76491885143570504</c:v>
                </c:pt>
                <c:pt idx="42890">
                  <c:v>0.764936686285</c:v>
                </c:pt>
                <c:pt idx="42891">
                  <c:v>0.76495452113429596</c:v>
                </c:pt>
                <c:pt idx="42892">
                  <c:v>0.76497235598359103</c:v>
                </c:pt>
                <c:pt idx="42893">
                  <c:v>0.764990190832887</c:v>
                </c:pt>
                <c:pt idx="42894">
                  <c:v>0.76500802568218296</c:v>
                </c:pt>
                <c:pt idx="42895">
                  <c:v>0.76502586053147803</c:v>
                </c:pt>
                <c:pt idx="42896">
                  <c:v>0.76504369538077399</c:v>
                </c:pt>
                <c:pt idx="42897">
                  <c:v>0.76506153023006895</c:v>
                </c:pt>
                <c:pt idx="42898">
                  <c:v>0.76507936507936503</c:v>
                </c:pt>
                <c:pt idx="42899">
                  <c:v>0.76509719992865999</c:v>
                </c:pt>
                <c:pt idx="42900">
                  <c:v>0.76511503477795595</c:v>
                </c:pt>
                <c:pt idx="42901">
                  <c:v>0.76513286962725102</c:v>
                </c:pt>
                <c:pt idx="42902">
                  <c:v>0.76515070447654698</c:v>
                </c:pt>
                <c:pt idx="42903">
                  <c:v>0.76516853932584195</c:v>
                </c:pt>
                <c:pt idx="42904">
                  <c:v>0.76518637417513802</c:v>
                </c:pt>
                <c:pt idx="42905">
                  <c:v>0.76520420902443298</c:v>
                </c:pt>
                <c:pt idx="42906">
                  <c:v>0.76522204387372905</c:v>
                </c:pt>
                <c:pt idx="42907">
                  <c:v>0.76523987872302401</c:v>
                </c:pt>
                <c:pt idx="42908">
                  <c:v>0.76525771357231998</c:v>
                </c:pt>
                <c:pt idx="42909">
                  <c:v>0.76527554842161505</c:v>
                </c:pt>
                <c:pt idx="42910">
                  <c:v>0.76529338327091101</c:v>
                </c:pt>
                <c:pt idx="42911">
                  <c:v>0.76531121812020597</c:v>
                </c:pt>
                <c:pt idx="42912">
                  <c:v>0.76532905296950204</c:v>
                </c:pt>
                <c:pt idx="42913">
                  <c:v>0.76534688781879701</c:v>
                </c:pt>
                <c:pt idx="42914">
                  <c:v>0.76536472266809297</c:v>
                </c:pt>
                <c:pt idx="42915">
                  <c:v>0.76538255751738804</c:v>
                </c:pt>
                <c:pt idx="42916">
                  <c:v>0.765400392366684</c:v>
                </c:pt>
                <c:pt idx="42917">
                  <c:v>0.76541822721597996</c:v>
                </c:pt>
                <c:pt idx="42918">
                  <c:v>0.76543606206527504</c:v>
                </c:pt>
                <c:pt idx="42919">
                  <c:v>0.765453896914571</c:v>
                </c:pt>
                <c:pt idx="42920">
                  <c:v>0.76547173176386596</c:v>
                </c:pt>
                <c:pt idx="42921">
                  <c:v>0.76548956661316203</c:v>
                </c:pt>
                <c:pt idx="42922">
                  <c:v>0.76550740146245699</c:v>
                </c:pt>
                <c:pt idx="42923">
                  <c:v>0.76552523631175295</c:v>
                </c:pt>
                <c:pt idx="42924">
                  <c:v>0.76554307116104803</c:v>
                </c:pt>
                <c:pt idx="42925">
                  <c:v>0.76556090601034399</c:v>
                </c:pt>
                <c:pt idx="42926">
                  <c:v>0.76557874085963895</c:v>
                </c:pt>
                <c:pt idx="42927">
                  <c:v>0.76559657570893502</c:v>
                </c:pt>
                <c:pt idx="42928">
                  <c:v>0.76561441055822999</c:v>
                </c:pt>
                <c:pt idx="42929">
                  <c:v>0.76563224540752595</c:v>
                </c:pt>
                <c:pt idx="42930">
                  <c:v>0.76565008025682102</c:v>
                </c:pt>
                <c:pt idx="42931">
                  <c:v>0.76566791510611698</c:v>
                </c:pt>
                <c:pt idx="42932">
                  <c:v>0.76568574995541205</c:v>
                </c:pt>
                <c:pt idx="42933">
                  <c:v>0.76570358480470802</c:v>
                </c:pt>
                <c:pt idx="42934">
                  <c:v>0.76572141965400398</c:v>
                </c:pt>
                <c:pt idx="42935">
                  <c:v>0.76573925450329905</c:v>
                </c:pt>
                <c:pt idx="42936">
                  <c:v>0.76575708935259501</c:v>
                </c:pt>
                <c:pt idx="42937">
                  <c:v>0.76577492420188997</c:v>
                </c:pt>
                <c:pt idx="42938">
                  <c:v>0.76579275905118604</c:v>
                </c:pt>
                <c:pt idx="42939">
                  <c:v>0.76581059390048101</c:v>
                </c:pt>
                <c:pt idx="42940">
                  <c:v>0.76582842874977697</c:v>
                </c:pt>
                <c:pt idx="42941">
                  <c:v>0.76584626359907204</c:v>
                </c:pt>
                <c:pt idx="42942">
                  <c:v>0.765864098448368</c:v>
                </c:pt>
                <c:pt idx="42943">
                  <c:v>0.76588193329766296</c:v>
                </c:pt>
                <c:pt idx="42944">
                  <c:v>0.76589976814695904</c:v>
                </c:pt>
                <c:pt idx="42945">
                  <c:v>0.765917602996254</c:v>
                </c:pt>
                <c:pt idx="42946">
                  <c:v>0.76593543784554996</c:v>
                </c:pt>
                <c:pt idx="42947">
                  <c:v>0.76595327269484503</c:v>
                </c:pt>
                <c:pt idx="42948">
                  <c:v>0.76597110754414099</c:v>
                </c:pt>
                <c:pt idx="42949">
                  <c:v>0.76598894239343596</c:v>
                </c:pt>
                <c:pt idx="42950">
                  <c:v>0.76600677724273203</c:v>
                </c:pt>
                <c:pt idx="42951">
                  <c:v>0.76602461209202699</c:v>
                </c:pt>
                <c:pt idx="42952">
                  <c:v>0.76604244694132295</c:v>
                </c:pt>
                <c:pt idx="42953">
                  <c:v>0.76606028179061803</c:v>
                </c:pt>
                <c:pt idx="42954">
                  <c:v>0.76607811663991399</c:v>
                </c:pt>
                <c:pt idx="42955">
                  <c:v>0.76609595148920995</c:v>
                </c:pt>
                <c:pt idx="42956">
                  <c:v>0.76611378633850502</c:v>
                </c:pt>
                <c:pt idx="42957">
                  <c:v>0.76613162118780098</c:v>
                </c:pt>
                <c:pt idx="42958">
                  <c:v>0.76614945603709605</c:v>
                </c:pt>
                <c:pt idx="42959">
                  <c:v>0.76616729088639202</c:v>
                </c:pt>
                <c:pt idx="42960">
                  <c:v>0.76618512573568698</c:v>
                </c:pt>
                <c:pt idx="42961">
                  <c:v>0.76620296058498305</c:v>
                </c:pt>
                <c:pt idx="42962">
                  <c:v>0.76622079543427801</c:v>
                </c:pt>
                <c:pt idx="42963">
                  <c:v>0.76623863028357397</c:v>
                </c:pt>
                <c:pt idx="42964">
                  <c:v>0.76625646513286905</c:v>
                </c:pt>
                <c:pt idx="42965">
                  <c:v>0.76627429998216501</c:v>
                </c:pt>
                <c:pt idx="42966">
                  <c:v>0.76629213483145997</c:v>
                </c:pt>
                <c:pt idx="42967">
                  <c:v>0.76630996968075604</c:v>
                </c:pt>
                <c:pt idx="42968">
                  <c:v>0.766327804530051</c:v>
                </c:pt>
                <c:pt idx="42969">
                  <c:v>0.76634563937934697</c:v>
                </c:pt>
                <c:pt idx="42970">
                  <c:v>0.76636347422864204</c:v>
                </c:pt>
                <c:pt idx="42971">
                  <c:v>0.766381309077938</c:v>
                </c:pt>
                <c:pt idx="42972">
                  <c:v>0.76639914392723296</c:v>
                </c:pt>
                <c:pt idx="42973">
                  <c:v>0.76641697877652903</c:v>
                </c:pt>
                <c:pt idx="42974">
                  <c:v>0.766434813625824</c:v>
                </c:pt>
                <c:pt idx="42975">
                  <c:v>0.76645264847511996</c:v>
                </c:pt>
                <c:pt idx="42976">
                  <c:v>0.76647048332441503</c:v>
                </c:pt>
                <c:pt idx="42977">
                  <c:v>0.76648831817371099</c:v>
                </c:pt>
                <c:pt idx="42978">
                  <c:v>0.76650615302300695</c:v>
                </c:pt>
                <c:pt idx="42979">
                  <c:v>0.76652398787230203</c:v>
                </c:pt>
                <c:pt idx="42980">
                  <c:v>0.76654182272159799</c:v>
                </c:pt>
                <c:pt idx="42981">
                  <c:v>0.76655965757089295</c:v>
                </c:pt>
                <c:pt idx="42982">
                  <c:v>0.76657749242018902</c:v>
                </c:pt>
                <c:pt idx="42983">
                  <c:v>0.76659532726948398</c:v>
                </c:pt>
                <c:pt idx="42984">
                  <c:v>0.76661316211877994</c:v>
                </c:pt>
                <c:pt idx="42985">
                  <c:v>0.76663099696807502</c:v>
                </c:pt>
                <c:pt idx="42986">
                  <c:v>0.76664883181737098</c:v>
                </c:pt>
                <c:pt idx="42987">
                  <c:v>0.76666666666666605</c:v>
                </c:pt>
                <c:pt idx="42988">
                  <c:v>0.76668450151596201</c:v>
                </c:pt>
                <c:pt idx="42989">
                  <c:v>0.76670233636525698</c:v>
                </c:pt>
                <c:pt idx="42990">
                  <c:v>0.76672017121455305</c:v>
                </c:pt>
                <c:pt idx="42991">
                  <c:v>0.76673800606384801</c:v>
                </c:pt>
                <c:pt idx="42992">
                  <c:v>0.76675584091314397</c:v>
                </c:pt>
                <c:pt idx="42993">
                  <c:v>0.76677367576243904</c:v>
                </c:pt>
                <c:pt idx="42994">
                  <c:v>0.76679151061173501</c:v>
                </c:pt>
                <c:pt idx="42995">
                  <c:v>0.76680934546102997</c:v>
                </c:pt>
                <c:pt idx="42996">
                  <c:v>0.76682718031032604</c:v>
                </c:pt>
                <c:pt idx="42997">
                  <c:v>0.766845015159621</c:v>
                </c:pt>
                <c:pt idx="42998">
                  <c:v>0.76686285000891696</c:v>
                </c:pt>
                <c:pt idx="42999">
                  <c:v>0.76688068485821204</c:v>
                </c:pt>
                <c:pt idx="43000">
                  <c:v>0.766898519707508</c:v>
                </c:pt>
                <c:pt idx="43001">
                  <c:v>0.76691635455680396</c:v>
                </c:pt>
                <c:pt idx="43002">
                  <c:v>0.76693418940609903</c:v>
                </c:pt>
                <c:pt idx="43003">
                  <c:v>0.76695202425539499</c:v>
                </c:pt>
                <c:pt idx="43004">
                  <c:v>0.76696985910468995</c:v>
                </c:pt>
                <c:pt idx="43005">
                  <c:v>0.76698769395398603</c:v>
                </c:pt>
                <c:pt idx="43006">
                  <c:v>0.76700552880328099</c:v>
                </c:pt>
                <c:pt idx="43007">
                  <c:v>0.76702336365257695</c:v>
                </c:pt>
                <c:pt idx="43008">
                  <c:v>0.76704119850187202</c:v>
                </c:pt>
                <c:pt idx="43009">
                  <c:v>0.76705903335116798</c:v>
                </c:pt>
                <c:pt idx="43010">
                  <c:v>0.76707686820046295</c:v>
                </c:pt>
                <c:pt idx="43011">
                  <c:v>0.76709470304975902</c:v>
                </c:pt>
                <c:pt idx="43012">
                  <c:v>0.76711253789905398</c:v>
                </c:pt>
                <c:pt idx="43013">
                  <c:v>0.76713037274835005</c:v>
                </c:pt>
                <c:pt idx="43014">
                  <c:v>0.76714820759764502</c:v>
                </c:pt>
                <c:pt idx="43015">
                  <c:v>0.76716604244694098</c:v>
                </c:pt>
                <c:pt idx="43016">
                  <c:v>0.76718387729623605</c:v>
                </c:pt>
                <c:pt idx="43017">
                  <c:v>0.76720171214553201</c:v>
                </c:pt>
                <c:pt idx="43018">
                  <c:v>0.76721954699482697</c:v>
                </c:pt>
                <c:pt idx="43019">
                  <c:v>0.76723738184412305</c:v>
                </c:pt>
                <c:pt idx="43020">
                  <c:v>0.76725521669341801</c:v>
                </c:pt>
                <c:pt idx="43021">
                  <c:v>0.76727305154271397</c:v>
                </c:pt>
                <c:pt idx="43022">
                  <c:v>0.76729088639201004</c:v>
                </c:pt>
                <c:pt idx="43023">
                  <c:v>0.767308721241305</c:v>
                </c:pt>
                <c:pt idx="43024">
                  <c:v>0.76732655609060096</c:v>
                </c:pt>
                <c:pt idx="43025">
                  <c:v>0.76734439093989604</c:v>
                </c:pt>
                <c:pt idx="43026">
                  <c:v>0.767362225789192</c:v>
                </c:pt>
                <c:pt idx="43027">
                  <c:v>0.76738006063848696</c:v>
                </c:pt>
                <c:pt idx="43028">
                  <c:v>0.76739789548778303</c:v>
                </c:pt>
                <c:pt idx="43029">
                  <c:v>0.76741573033707799</c:v>
                </c:pt>
                <c:pt idx="43030">
                  <c:v>0.76743356518637396</c:v>
                </c:pt>
                <c:pt idx="43031">
                  <c:v>0.76745140003566903</c:v>
                </c:pt>
                <c:pt idx="43032">
                  <c:v>0.76746923488496499</c:v>
                </c:pt>
                <c:pt idx="43033">
                  <c:v>0.76748706973425995</c:v>
                </c:pt>
                <c:pt idx="43034">
                  <c:v>0.76750490458355602</c:v>
                </c:pt>
                <c:pt idx="43035">
                  <c:v>0.76752273943285099</c:v>
                </c:pt>
                <c:pt idx="43036">
                  <c:v>0.76754057428214695</c:v>
                </c:pt>
                <c:pt idx="43037">
                  <c:v>0.76755840913144202</c:v>
                </c:pt>
                <c:pt idx="43038">
                  <c:v>0.76757624398073798</c:v>
                </c:pt>
                <c:pt idx="43039">
                  <c:v>0.76759407883003306</c:v>
                </c:pt>
                <c:pt idx="43040">
                  <c:v>0.76761191367932902</c:v>
                </c:pt>
                <c:pt idx="43041">
                  <c:v>0.76762974852862498</c:v>
                </c:pt>
                <c:pt idx="43042">
                  <c:v>0.76764758337792005</c:v>
                </c:pt>
                <c:pt idx="43043">
                  <c:v>0.76766541822721601</c:v>
                </c:pt>
                <c:pt idx="43044">
                  <c:v>0.76768325307651097</c:v>
                </c:pt>
                <c:pt idx="43045">
                  <c:v>0.76770108792580705</c:v>
                </c:pt>
                <c:pt idx="43046">
                  <c:v>0.76771892277510201</c:v>
                </c:pt>
                <c:pt idx="43047">
                  <c:v>0.76773675762439797</c:v>
                </c:pt>
                <c:pt idx="43048">
                  <c:v>0.76775459247369304</c:v>
                </c:pt>
                <c:pt idx="43049">
                  <c:v>0.767772427322989</c:v>
                </c:pt>
                <c:pt idx="43050">
                  <c:v>0.76779026217228397</c:v>
                </c:pt>
                <c:pt idx="43051">
                  <c:v>0.76780809702158004</c:v>
                </c:pt>
                <c:pt idx="43052">
                  <c:v>0.767825931870875</c:v>
                </c:pt>
                <c:pt idx="43053">
                  <c:v>0.76784376672017096</c:v>
                </c:pt>
                <c:pt idx="43054">
                  <c:v>0.76786160156946603</c:v>
                </c:pt>
                <c:pt idx="43055">
                  <c:v>0.767879436418762</c:v>
                </c:pt>
                <c:pt idx="43056">
                  <c:v>0.76789727126805696</c:v>
                </c:pt>
                <c:pt idx="43057">
                  <c:v>0.76791510611735303</c:v>
                </c:pt>
                <c:pt idx="43058">
                  <c:v>0.76793294096664799</c:v>
                </c:pt>
                <c:pt idx="43059">
                  <c:v>0.76795077581594395</c:v>
                </c:pt>
                <c:pt idx="43060">
                  <c:v>0.76796861066523903</c:v>
                </c:pt>
                <c:pt idx="43061">
                  <c:v>0.76798644551453499</c:v>
                </c:pt>
                <c:pt idx="43062">
                  <c:v>0.76800428036383095</c:v>
                </c:pt>
                <c:pt idx="43063">
                  <c:v>0.76802211521312602</c:v>
                </c:pt>
                <c:pt idx="43064">
                  <c:v>0.76803995006242198</c:v>
                </c:pt>
                <c:pt idx="43065">
                  <c:v>0.76805778491171695</c:v>
                </c:pt>
                <c:pt idx="43066">
                  <c:v>0.76807561976101302</c:v>
                </c:pt>
                <c:pt idx="43067">
                  <c:v>0.76809345461030798</c:v>
                </c:pt>
                <c:pt idx="43068">
                  <c:v>0.76811128945960405</c:v>
                </c:pt>
                <c:pt idx="43069">
                  <c:v>0.76812912430889901</c:v>
                </c:pt>
                <c:pt idx="43070">
                  <c:v>0.76814695915819498</c:v>
                </c:pt>
                <c:pt idx="43071">
                  <c:v>0.76816479400749005</c:v>
                </c:pt>
                <c:pt idx="43072">
                  <c:v>0.76818262885678601</c:v>
                </c:pt>
                <c:pt idx="43073">
                  <c:v>0.76820046370608097</c:v>
                </c:pt>
                <c:pt idx="43074">
                  <c:v>0.76821829855537704</c:v>
                </c:pt>
                <c:pt idx="43075">
                  <c:v>0.76823613340467201</c:v>
                </c:pt>
                <c:pt idx="43076">
                  <c:v>0.76825396825396797</c:v>
                </c:pt>
                <c:pt idx="43077">
                  <c:v>0.76827180310326304</c:v>
                </c:pt>
                <c:pt idx="43078">
                  <c:v>0.768289637952559</c:v>
                </c:pt>
                <c:pt idx="43079">
                  <c:v>0.76830747280185396</c:v>
                </c:pt>
                <c:pt idx="43080">
                  <c:v>0.76832530765115004</c:v>
                </c:pt>
                <c:pt idx="43081">
                  <c:v>0.768343142500445</c:v>
                </c:pt>
                <c:pt idx="43082">
                  <c:v>0.76836097734974096</c:v>
                </c:pt>
                <c:pt idx="43083">
                  <c:v>0.76837881219903603</c:v>
                </c:pt>
                <c:pt idx="43084">
                  <c:v>0.76839664704833199</c:v>
                </c:pt>
                <c:pt idx="43085">
                  <c:v>0.76841448189762795</c:v>
                </c:pt>
                <c:pt idx="43086">
                  <c:v>0.76843231674692303</c:v>
                </c:pt>
                <c:pt idx="43087">
                  <c:v>0.76845015159621899</c:v>
                </c:pt>
                <c:pt idx="43088">
                  <c:v>0.76846798644551395</c:v>
                </c:pt>
                <c:pt idx="43089">
                  <c:v>0.76848582129481002</c:v>
                </c:pt>
                <c:pt idx="43090">
                  <c:v>0.76850365614410499</c:v>
                </c:pt>
                <c:pt idx="43091">
                  <c:v>0.76852149099340095</c:v>
                </c:pt>
                <c:pt idx="43092">
                  <c:v>0.76853932584269602</c:v>
                </c:pt>
                <c:pt idx="43093">
                  <c:v>0.76855716069199198</c:v>
                </c:pt>
                <c:pt idx="43094">
                  <c:v>0.76857499554128705</c:v>
                </c:pt>
                <c:pt idx="43095">
                  <c:v>0.76859283039058302</c:v>
                </c:pt>
                <c:pt idx="43096">
                  <c:v>0.76861066523987798</c:v>
                </c:pt>
                <c:pt idx="43097">
                  <c:v>0.76862850008917405</c:v>
                </c:pt>
                <c:pt idx="43098">
                  <c:v>0.76864633493846901</c:v>
                </c:pt>
                <c:pt idx="43099">
                  <c:v>0.76866416978776497</c:v>
                </c:pt>
                <c:pt idx="43100">
                  <c:v>0.76868200463706005</c:v>
                </c:pt>
                <c:pt idx="43101">
                  <c:v>0.76869983948635601</c:v>
                </c:pt>
                <c:pt idx="43102">
                  <c:v>0.76871767433565097</c:v>
                </c:pt>
                <c:pt idx="43103">
                  <c:v>0.76873550918494704</c:v>
                </c:pt>
                <c:pt idx="43104">
                  <c:v>0.768753344034242</c:v>
                </c:pt>
                <c:pt idx="43105">
                  <c:v>0.76877117888353796</c:v>
                </c:pt>
                <c:pt idx="43106">
                  <c:v>0.76878901373283304</c:v>
                </c:pt>
                <c:pt idx="43107">
                  <c:v>0.768806848582129</c:v>
                </c:pt>
                <c:pt idx="43108">
                  <c:v>0.76882468343142496</c:v>
                </c:pt>
                <c:pt idx="43109">
                  <c:v>0.76884251828072003</c:v>
                </c:pt>
                <c:pt idx="43110">
                  <c:v>0.76886035313001599</c:v>
                </c:pt>
                <c:pt idx="43111">
                  <c:v>0.76887818797931096</c:v>
                </c:pt>
                <c:pt idx="43112">
                  <c:v>0.76889602282860703</c:v>
                </c:pt>
                <c:pt idx="43113">
                  <c:v>0.76891385767790199</c:v>
                </c:pt>
                <c:pt idx="43114">
                  <c:v>0.76893169252719795</c:v>
                </c:pt>
                <c:pt idx="43115">
                  <c:v>0.76894952737649302</c:v>
                </c:pt>
                <c:pt idx="43116">
                  <c:v>0.76896736222578899</c:v>
                </c:pt>
                <c:pt idx="43117">
                  <c:v>0.76898519707508395</c:v>
                </c:pt>
                <c:pt idx="43118">
                  <c:v>0.76900303192438002</c:v>
                </c:pt>
                <c:pt idx="43119">
                  <c:v>0.76902086677367498</c:v>
                </c:pt>
                <c:pt idx="43120">
                  <c:v>0.76903870162297105</c:v>
                </c:pt>
                <c:pt idx="43121">
                  <c:v>0.76905653647226602</c:v>
                </c:pt>
                <c:pt idx="43122">
                  <c:v>0.76907437132156198</c:v>
                </c:pt>
                <c:pt idx="43123">
                  <c:v>0.76909220617085705</c:v>
                </c:pt>
                <c:pt idx="43124">
                  <c:v>0.76911004102015301</c:v>
                </c:pt>
                <c:pt idx="43125">
                  <c:v>0.76912787586944797</c:v>
                </c:pt>
                <c:pt idx="43126">
                  <c:v>0.76914571071874405</c:v>
                </c:pt>
                <c:pt idx="43127">
                  <c:v>0.76916354556803901</c:v>
                </c:pt>
                <c:pt idx="43128">
                  <c:v>0.76918138041733497</c:v>
                </c:pt>
                <c:pt idx="43129">
                  <c:v>0.76919921526663104</c:v>
                </c:pt>
                <c:pt idx="43130">
                  <c:v>0.769217050115926</c:v>
                </c:pt>
                <c:pt idx="43131">
                  <c:v>0.76923488496522197</c:v>
                </c:pt>
                <c:pt idx="43132">
                  <c:v>0.76925271981451704</c:v>
                </c:pt>
                <c:pt idx="43133">
                  <c:v>0.769270554663813</c:v>
                </c:pt>
                <c:pt idx="43134">
                  <c:v>0.76928838951310796</c:v>
                </c:pt>
                <c:pt idx="43135">
                  <c:v>0.76930622436240403</c:v>
                </c:pt>
                <c:pt idx="43136">
                  <c:v>0.769324059211699</c:v>
                </c:pt>
                <c:pt idx="43137">
                  <c:v>0.76934189406099496</c:v>
                </c:pt>
                <c:pt idx="43138">
                  <c:v>0.76935972891029003</c:v>
                </c:pt>
                <c:pt idx="43139">
                  <c:v>0.76937756375958599</c:v>
                </c:pt>
                <c:pt idx="43140">
                  <c:v>0.76939539860888095</c:v>
                </c:pt>
                <c:pt idx="43141">
                  <c:v>0.76941323345817703</c:v>
                </c:pt>
                <c:pt idx="43142">
                  <c:v>0.76943106830747199</c:v>
                </c:pt>
                <c:pt idx="43143">
                  <c:v>0.76944890315676795</c:v>
                </c:pt>
                <c:pt idx="43144">
                  <c:v>0.76946673800606302</c:v>
                </c:pt>
                <c:pt idx="43145">
                  <c:v>0.76948457285535898</c:v>
                </c:pt>
                <c:pt idx="43146">
                  <c:v>0.76950240770465494</c:v>
                </c:pt>
                <c:pt idx="43147">
                  <c:v>0.76952024255395002</c:v>
                </c:pt>
                <c:pt idx="43148">
                  <c:v>0.76953807740324598</c:v>
                </c:pt>
                <c:pt idx="43149">
                  <c:v>0.76955591225254105</c:v>
                </c:pt>
                <c:pt idx="43150">
                  <c:v>0.76957374710183701</c:v>
                </c:pt>
                <c:pt idx="43151">
                  <c:v>0.76959158195113198</c:v>
                </c:pt>
                <c:pt idx="43152">
                  <c:v>0.76960941680042805</c:v>
                </c:pt>
                <c:pt idx="43153">
                  <c:v>0.76962725164972301</c:v>
                </c:pt>
                <c:pt idx="43154">
                  <c:v>0.76964508649901897</c:v>
                </c:pt>
                <c:pt idx="43155">
                  <c:v>0.76966292134831404</c:v>
                </c:pt>
                <c:pt idx="43156">
                  <c:v>0.76968075619761001</c:v>
                </c:pt>
                <c:pt idx="43157">
                  <c:v>0.76969859104690497</c:v>
                </c:pt>
                <c:pt idx="43158">
                  <c:v>0.76971642589620104</c:v>
                </c:pt>
                <c:pt idx="43159">
                  <c:v>0.769734260745496</c:v>
                </c:pt>
                <c:pt idx="43160">
                  <c:v>0.76975209559479196</c:v>
                </c:pt>
                <c:pt idx="43161">
                  <c:v>0.76976993044408704</c:v>
                </c:pt>
                <c:pt idx="43162">
                  <c:v>0.769787765293383</c:v>
                </c:pt>
                <c:pt idx="43163">
                  <c:v>0.76980560014267796</c:v>
                </c:pt>
                <c:pt idx="43164">
                  <c:v>0.76982343499197403</c:v>
                </c:pt>
                <c:pt idx="43165">
                  <c:v>0.76984126984126899</c:v>
                </c:pt>
                <c:pt idx="43166">
                  <c:v>0.76985910469056495</c:v>
                </c:pt>
                <c:pt idx="43167">
                  <c:v>0.76987693953986003</c:v>
                </c:pt>
                <c:pt idx="43168">
                  <c:v>0.76989477438915599</c:v>
                </c:pt>
                <c:pt idx="43169">
                  <c:v>0.76991260923845195</c:v>
                </c:pt>
                <c:pt idx="43170">
                  <c:v>0.76993044408774702</c:v>
                </c:pt>
                <c:pt idx="43171">
                  <c:v>0.76994827893704298</c:v>
                </c:pt>
                <c:pt idx="43172">
                  <c:v>0.76996611378633795</c:v>
                </c:pt>
                <c:pt idx="43173">
                  <c:v>0.76998394863563402</c:v>
                </c:pt>
                <c:pt idx="43174">
                  <c:v>0.77000178348492898</c:v>
                </c:pt>
                <c:pt idx="43175">
                  <c:v>0.77001961833422505</c:v>
                </c:pt>
                <c:pt idx="43176">
                  <c:v>0.77003745318352002</c:v>
                </c:pt>
                <c:pt idx="43177">
                  <c:v>0.77005528803281598</c:v>
                </c:pt>
                <c:pt idx="43178">
                  <c:v>0.77007312288211105</c:v>
                </c:pt>
                <c:pt idx="43179">
                  <c:v>0.77009095773140701</c:v>
                </c:pt>
                <c:pt idx="43180">
                  <c:v>0.77010879258070197</c:v>
                </c:pt>
                <c:pt idx="43181">
                  <c:v>0.77012662742999805</c:v>
                </c:pt>
                <c:pt idx="43182">
                  <c:v>0.77014446227929301</c:v>
                </c:pt>
                <c:pt idx="43183">
                  <c:v>0.77016229712858897</c:v>
                </c:pt>
                <c:pt idx="43184">
                  <c:v>0.77018013197788404</c:v>
                </c:pt>
                <c:pt idx="43185">
                  <c:v>0.77019796682718</c:v>
                </c:pt>
                <c:pt idx="43186">
                  <c:v>0.77021580167647496</c:v>
                </c:pt>
                <c:pt idx="43187">
                  <c:v>0.77023363652577104</c:v>
                </c:pt>
                <c:pt idx="43188">
                  <c:v>0.770251471375066</c:v>
                </c:pt>
                <c:pt idx="43189">
                  <c:v>0.77026930622436196</c:v>
                </c:pt>
                <c:pt idx="43190">
                  <c:v>0.77028714107365703</c:v>
                </c:pt>
                <c:pt idx="43191">
                  <c:v>0.77030497592295299</c:v>
                </c:pt>
                <c:pt idx="43192">
                  <c:v>0.77032281077224896</c:v>
                </c:pt>
                <c:pt idx="43193">
                  <c:v>0.77034064562154403</c:v>
                </c:pt>
                <c:pt idx="43194">
                  <c:v>0.77035848047083999</c:v>
                </c:pt>
                <c:pt idx="43195">
                  <c:v>0.77037631532013495</c:v>
                </c:pt>
                <c:pt idx="43196">
                  <c:v>0.77039415016943102</c:v>
                </c:pt>
                <c:pt idx="43197">
                  <c:v>0.77041198501872599</c:v>
                </c:pt>
                <c:pt idx="43198">
                  <c:v>0.77042981986802195</c:v>
                </c:pt>
                <c:pt idx="43199">
                  <c:v>0.77044765471731702</c:v>
                </c:pt>
                <c:pt idx="43200">
                  <c:v>0.77046548956661298</c:v>
                </c:pt>
                <c:pt idx="43201">
                  <c:v>0.77048332441590806</c:v>
                </c:pt>
                <c:pt idx="43202">
                  <c:v>0.77050115926520402</c:v>
                </c:pt>
                <c:pt idx="43203">
                  <c:v>0.77051899411449898</c:v>
                </c:pt>
                <c:pt idx="43204">
                  <c:v>0.77053682896379505</c:v>
                </c:pt>
                <c:pt idx="43205">
                  <c:v>0.77055466381309001</c:v>
                </c:pt>
                <c:pt idx="43206">
                  <c:v>0.77057249866238597</c:v>
                </c:pt>
                <c:pt idx="43207">
                  <c:v>0.77059033351168105</c:v>
                </c:pt>
                <c:pt idx="43208">
                  <c:v>0.77060816836097701</c:v>
                </c:pt>
                <c:pt idx="43209">
                  <c:v>0.77062600321027197</c:v>
                </c:pt>
                <c:pt idx="43210">
                  <c:v>0.77064383805956804</c:v>
                </c:pt>
                <c:pt idx="43211">
                  <c:v>0.770661672908863</c:v>
                </c:pt>
                <c:pt idx="43212">
                  <c:v>0.77067950775815897</c:v>
                </c:pt>
                <c:pt idx="43213">
                  <c:v>0.77069734260745404</c:v>
                </c:pt>
                <c:pt idx="43214">
                  <c:v>0.77071517745675</c:v>
                </c:pt>
                <c:pt idx="43215">
                  <c:v>0.77073301230604596</c:v>
                </c:pt>
                <c:pt idx="43216">
                  <c:v>0.77075084715534103</c:v>
                </c:pt>
                <c:pt idx="43217">
                  <c:v>0.770768682004637</c:v>
                </c:pt>
                <c:pt idx="43218">
                  <c:v>0.77078651685393196</c:v>
                </c:pt>
                <c:pt idx="43219">
                  <c:v>0.77080435170322803</c:v>
                </c:pt>
                <c:pt idx="43220">
                  <c:v>0.77082218655252299</c:v>
                </c:pt>
                <c:pt idx="43221">
                  <c:v>0.77084002140181895</c:v>
                </c:pt>
                <c:pt idx="43222">
                  <c:v>0.77085785625111403</c:v>
                </c:pt>
                <c:pt idx="43223">
                  <c:v>0.77087569110040999</c:v>
                </c:pt>
                <c:pt idx="43224">
                  <c:v>0.77089352594970495</c:v>
                </c:pt>
                <c:pt idx="43225">
                  <c:v>0.77091136079900102</c:v>
                </c:pt>
                <c:pt idx="43226">
                  <c:v>0.77092919564829598</c:v>
                </c:pt>
                <c:pt idx="43227">
                  <c:v>0.77094703049759195</c:v>
                </c:pt>
                <c:pt idx="43228">
                  <c:v>0.77096486534688702</c:v>
                </c:pt>
                <c:pt idx="43229">
                  <c:v>0.77098270019618298</c:v>
                </c:pt>
                <c:pt idx="43230">
                  <c:v>0.77100053504547805</c:v>
                </c:pt>
                <c:pt idx="43231">
                  <c:v>0.77101836989477401</c:v>
                </c:pt>
                <c:pt idx="43232">
                  <c:v>0.77103620474406898</c:v>
                </c:pt>
                <c:pt idx="43233">
                  <c:v>0.77105403959336505</c:v>
                </c:pt>
                <c:pt idx="43234">
                  <c:v>0.77107187444266101</c:v>
                </c:pt>
                <c:pt idx="43235">
                  <c:v>0.77108970929195597</c:v>
                </c:pt>
                <c:pt idx="43236">
                  <c:v>0.77110754414125204</c:v>
                </c:pt>
                <c:pt idx="43237">
                  <c:v>0.77112537899054701</c:v>
                </c:pt>
                <c:pt idx="43238">
                  <c:v>0.77114321383984297</c:v>
                </c:pt>
                <c:pt idx="43239">
                  <c:v>0.77116104868913804</c:v>
                </c:pt>
                <c:pt idx="43240">
                  <c:v>0.771178883538434</c:v>
                </c:pt>
                <c:pt idx="43241">
                  <c:v>0.77119671838772896</c:v>
                </c:pt>
                <c:pt idx="43242">
                  <c:v>0.77121455323702504</c:v>
                </c:pt>
                <c:pt idx="43243">
                  <c:v>0.77123238808632</c:v>
                </c:pt>
                <c:pt idx="43244">
                  <c:v>0.77125022293561596</c:v>
                </c:pt>
                <c:pt idx="43245">
                  <c:v>0.77126805778491103</c:v>
                </c:pt>
                <c:pt idx="43246">
                  <c:v>0.77128589263420699</c:v>
                </c:pt>
                <c:pt idx="43247">
                  <c:v>0.77130372748350196</c:v>
                </c:pt>
                <c:pt idx="43248">
                  <c:v>0.77132156233279803</c:v>
                </c:pt>
                <c:pt idx="43249">
                  <c:v>0.77133939718209299</c:v>
                </c:pt>
                <c:pt idx="43250">
                  <c:v>0.77135723203138895</c:v>
                </c:pt>
                <c:pt idx="43251">
                  <c:v>0.77137506688068402</c:v>
                </c:pt>
                <c:pt idx="43252">
                  <c:v>0.77139290172997999</c:v>
                </c:pt>
                <c:pt idx="43253">
                  <c:v>0.77141073657927595</c:v>
                </c:pt>
                <c:pt idx="43254">
                  <c:v>0.77142857142857102</c:v>
                </c:pt>
                <c:pt idx="43255">
                  <c:v>0.77144640627786698</c:v>
                </c:pt>
                <c:pt idx="43256">
                  <c:v>0.77146424112716205</c:v>
                </c:pt>
                <c:pt idx="43257">
                  <c:v>0.77148207597645801</c:v>
                </c:pt>
                <c:pt idx="43258">
                  <c:v>0.77149991082575298</c:v>
                </c:pt>
                <c:pt idx="43259">
                  <c:v>0.77151774567504905</c:v>
                </c:pt>
                <c:pt idx="43260">
                  <c:v>0.77153558052434401</c:v>
                </c:pt>
                <c:pt idx="43261">
                  <c:v>0.77155341537363997</c:v>
                </c:pt>
                <c:pt idx="43262">
                  <c:v>0.77157125022293505</c:v>
                </c:pt>
                <c:pt idx="43263">
                  <c:v>0.77158908507223101</c:v>
                </c:pt>
                <c:pt idx="43264">
                  <c:v>0.77160691992152597</c:v>
                </c:pt>
                <c:pt idx="43265">
                  <c:v>0.77162475477082204</c:v>
                </c:pt>
                <c:pt idx="43266">
                  <c:v>0.771642589620117</c:v>
                </c:pt>
                <c:pt idx="43267">
                  <c:v>0.77166042446941296</c:v>
                </c:pt>
                <c:pt idx="43268">
                  <c:v>0.77167825931870804</c:v>
                </c:pt>
                <c:pt idx="43269">
                  <c:v>0.771696094168004</c:v>
                </c:pt>
                <c:pt idx="43270">
                  <c:v>0.77171392901729896</c:v>
                </c:pt>
                <c:pt idx="43271">
                  <c:v>0.77173176386659503</c:v>
                </c:pt>
                <c:pt idx="43272">
                  <c:v>0.77174959871589</c:v>
                </c:pt>
                <c:pt idx="43273">
                  <c:v>0.77176743356518596</c:v>
                </c:pt>
                <c:pt idx="43274">
                  <c:v>0.77178526841448103</c:v>
                </c:pt>
                <c:pt idx="43275">
                  <c:v>0.77180310326377699</c:v>
                </c:pt>
                <c:pt idx="43276">
                  <c:v>0.77182093811307295</c:v>
                </c:pt>
                <c:pt idx="43277">
                  <c:v>0.77183877296236802</c:v>
                </c:pt>
                <c:pt idx="43278">
                  <c:v>0.77185660781166399</c:v>
                </c:pt>
                <c:pt idx="43279">
                  <c:v>0.77187444266095895</c:v>
                </c:pt>
                <c:pt idx="43280">
                  <c:v>0.77189227751025502</c:v>
                </c:pt>
                <c:pt idx="43281">
                  <c:v>0.77191011235954998</c:v>
                </c:pt>
                <c:pt idx="43282">
                  <c:v>0.77192794720884605</c:v>
                </c:pt>
                <c:pt idx="43283">
                  <c:v>0.77194578205814102</c:v>
                </c:pt>
                <c:pt idx="43284">
                  <c:v>0.77196361690743698</c:v>
                </c:pt>
                <c:pt idx="43285">
                  <c:v>0.77198145175673205</c:v>
                </c:pt>
                <c:pt idx="43286">
                  <c:v>0.77199928660602801</c:v>
                </c:pt>
                <c:pt idx="43287">
                  <c:v>0.77201712145532297</c:v>
                </c:pt>
                <c:pt idx="43288">
                  <c:v>0.77203495630461905</c:v>
                </c:pt>
                <c:pt idx="43289">
                  <c:v>0.77205279115391401</c:v>
                </c:pt>
                <c:pt idx="43290">
                  <c:v>0.77207062600320997</c:v>
                </c:pt>
                <c:pt idx="43291">
                  <c:v>0.77208846085250504</c:v>
                </c:pt>
                <c:pt idx="43292">
                  <c:v>0.772106295701801</c:v>
                </c:pt>
                <c:pt idx="43293">
                  <c:v>0.77212413055109597</c:v>
                </c:pt>
                <c:pt idx="43294">
                  <c:v>0.77214196540039204</c:v>
                </c:pt>
                <c:pt idx="43295">
                  <c:v>0.772159800249687</c:v>
                </c:pt>
                <c:pt idx="43296">
                  <c:v>0.77217763509898296</c:v>
                </c:pt>
                <c:pt idx="43297">
                  <c:v>0.77219546994827803</c:v>
                </c:pt>
                <c:pt idx="43298">
                  <c:v>0.772213304797574</c:v>
                </c:pt>
                <c:pt idx="43299">
                  <c:v>0.77223113964686996</c:v>
                </c:pt>
                <c:pt idx="43300">
                  <c:v>0.77224897449616503</c:v>
                </c:pt>
                <c:pt idx="43301">
                  <c:v>0.77226680934546099</c:v>
                </c:pt>
                <c:pt idx="43302">
                  <c:v>0.77228464419475595</c:v>
                </c:pt>
                <c:pt idx="43303">
                  <c:v>0.77230247904405203</c:v>
                </c:pt>
                <c:pt idx="43304">
                  <c:v>0.77232031389334699</c:v>
                </c:pt>
                <c:pt idx="43305">
                  <c:v>0.77233814874264295</c:v>
                </c:pt>
                <c:pt idx="43306">
                  <c:v>0.77235598359193802</c:v>
                </c:pt>
                <c:pt idx="43307">
                  <c:v>0.77237381844123398</c:v>
                </c:pt>
                <c:pt idx="43308">
                  <c:v>0.77239165329052895</c:v>
                </c:pt>
                <c:pt idx="43309">
                  <c:v>0.77240948813982502</c:v>
                </c:pt>
                <c:pt idx="43310">
                  <c:v>0.77242732298911998</c:v>
                </c:pt>
                <c:pt idx="43311">
                  <c:v>0.77244515783841605</c:v>
                </c:pt>
                <c:pt idx="43312">
                  <c:v>0.77246299268771101</c:v>
                </c:pt>
                <c:pt idx="43313">
                  <c:v>0.77248082753700698</c:v>
                </c:pt>
                <c:pt idx="43314">
                  <c:v>0.77249866238630205</c:v>
                </c:pt>
                <c:pt idx="43315">
                  <c:v>0.77251649723559801</c:v>
                </c:pt>
                <c:pt idx="43316">
                  <c:v>0.77253433208489297</c:v>
                </c:pt>
                <c:pt idx="43317">
                  <c:v>0.77255216693418904</c:v>
                </c:pt>
                <c:pt idx="43318">
                  <c:v>0.77257000178348401</c:v>
                </c:pt>
                <c:pt idx="43319">
                  <c:v>0.77258783663277997</c:v>
                </c:pt>
                <c:pt idx="43320">
                  <c:v>0.77260567148207504</c:v>
                </c:pt>
                <c:pt idx="43321">
                  <c:v>0.772623506331371</c:v>
                </c:pt>
                <c:pt idx="43322">
                  <c:v>0.77264134118066696</c:v>
                </c:pt>
                <c:pt idx="43323">
                  <c:v>0.77265917602996204</c:v>
                </c:pt>
                <c:pt idx="43324">
                  <c:v>0.772677010879258</c:v>
                </c:pt>
                <c:pt idx="43325">
                  <c:v>0.77269484572855296</c:v>
                </c:pt>
                <c:pt idx="43326">
                  <c:v>0.77271268057784903</c:v>
                </c:pt>
                <c:pt idx="43327">
                  <c:v>0.77273051542714399</c:v>
                </c:pt>
                <c:pt idx="43328">
                  <c:v>0.77274835027643995</c:v>
                </c:pt>
                <c:pt idx="43329">
                  <c:v>0.77276618512573503</c:v>
                </c:pt>
                <c:pt idx="43330">
                  <c:v>0.77278401997503099</c:v>
                </c:pt>
                <c:pt idx="43331">
                  <c:v>0.77280185482432595</c:v>
                </c:pt>
                <c:pt idx="43332">
                  <c:v>0.77281968967362202</c:v>
                </c:pt>
                <c:pt idx="43333">
                  <c:v>0.77283752452291699</c:v>
                </c:pt>
                <c:pt idx="43334">
                  <c:v>0.77285535937221295</c:v>
                </c:pt>
                <c:pt idx="43335">
                  <c:v>0.77287319422150802</c:v>
                </c:pt>
                <c:pt idx="43336">
                  <c:v>0.77289102907080398</c:v>
                </c:pt>
                <c:pt idx="43337">
                  <c:v>0.77290886392009905</c:v>
                </c:pt>
                <c:pt idx="43338">
                  <c:v>0.77292669876939502</c:v>
                </c:pt>
                <c:pt idx="43339">
                  <c:v>0.77294453361869098</c:v>
                </c:pt>
                <c:pt idx="43340">
                  <c:v>0.77296236846798605</c:v>
                </c:pt>
                <c:pt idx="43341">
                  <c:v>0.77298020331728201</c:v>
                </c:pt>
                <c:pt idx="43342">
                  <c:v>0.77299803816657697</c:v>
                </c:pt>
                <c:pt idx="43343">
                  <c:v>0.77301587301587305</c:v>
                </c:pt>
                <c:pt idx="43344">
                  <c:v>0.77303370786516801</c:v>
                </c:pt>
                <c:pt idx="43345">
                  <c:v>0.77305154271446397</c:v>
                </c:pt>
                <c:pt idx="43346">
                  <c:v>0.77306937756375904</c:v>
                </c:pt>
                <c:pt idx="43347">
                  <c:v>0.773087212413055</c:v>
                </c:pt>
                <c:pt idx="43348">
                  <c:v>0.77310504726234996</c:v>
                </c:pt>
                <c:pt idx="43349">
                  <c:v>0.77312288211164604</c:v>
                </c:pt>
                <c:pt idx="43350">
                  <c:v>0.773140716960941</c:v>
                </c:pt>
                <c:pt idx="43351">
                  <c:v>0.77315855181023696</c:v>
                </c:pt>
                <c:pt idx="43352">
                  <c:v>0.77317638665953203</c:v>
                </c:pt>
                <c:pt idx="43353">
                  <c:v>0.77319422150882799</c:v>
                </c:pt>
                <c:pt idx="43354">
                  <c:v>0.77321205635812296</c:v>
                </c:pt>
                <c:pt idx="43355">
                  <c:v>0.77322989120741903</c:v>
                </c:pt>
                <c:pt idx="43356">
                  <c:v>0.77324772605671399</c:v>
                </c:pt>
                <c:pt idx="43357">
                  <c:v>0.77326556090600995</c:v>
                </c:pt>
                <c:pt idx="43358">
                  <c:v>0.77328339575530503</c:v>
                </c:pt>
                <c:pt idx="43359">
                  <c:v>0.77330123060460099</c:v>
                </c:pt>
                <c:pt idx="43360">
                  <c:v>0.77331906545389695</c:v>
                </c:pt>
                <c:pt idx="43361">
                  <c:v>0.77333690030319202</c:v>
                </c:pt>
                <c:pt idx="43362">
                  <c:v>0.77335473515248798</c:v>
                </c:pt>
                <c:pt idx="43363">
                  <c:v>0.77337257000178306</c:v>
                </c:pt>
                <c:pt idx="43364">
                  <c:v>0.77339040485107902</c:v>
                </c:pt>
                <c:pt idx="43365">
                  <c:v>0.77340823970037398</c:v>
                </c:pt>
                <c:pt idx="43366">
                  <c:v>0.77342607454967005</c:v>
                </c:pt>
                <c:pt idx="43367">
                  <c:v>0.77344390939896501</c:v>
                </c:pt>
                <c:pt idx="43368">
                  <c:v>0.77346174424826097</c:v>
                </c:pt>
                <c:pt idx="43369">
                  <c:v>0.77347957909755605</c:v>
                </c:pt>
                <c:pt idx="43370">
                  <c:v>0.77349741394685201</c:v>
                </c:pt>
                <c:pt idx="43371">
                  <c:v>0.77351524879614697</c:v>
                </c:pt>
                <c:pt idx="43372">
                  <c:v>0.77353308364544304</c:v>
                </c:pt>
                <c:pt idx="43373">
                  <c:v>0.773550918494738</c:v>
                </c:pt>
                <c:pt idx="43374">
                  <c:v>0.77356875334403397</c:v>
                </c:pt>
                <c:pt idx="43375">
                  <c:v>0.77358658819332904</c:v>
                </c:pt>
                <c:pt idx="43376">
                  <c:v>0.773604423042625</c:v>
                </c:pt>
                <c:pt idx="43377">
                  <c:v>0.77362225789191996</c:v>
                </c:pt>
                <c:pt idx="43378">
                  <c:v>0.77364009274121603</c:v>
                </c:pt>
                <c:pt idx="43379">
                  <c:v>0.773657927590511</c:v>
                </c:pt>
                <c:pt idx="43380">
                  <c:v>0.77367576243980696</c:v>
                </c:pt>
                <c:pt idx="43381">
                  <c:v>0.77369359728910203</c:v>
                </c:pt>
                <c:pt idx="43382">
                  <c:v>0.77371143213839799</c:v>
                </c:pt>
                <c:pt idx="43383">
                  <c:v>0.77372926698769395</c:v>
                </c:pt>
                <c:pt idx="43384">
                  <c:v>0.77374710183698903</c:v>
                </c:pt>
                <c:pt idx="43385">
                  <c:v>0.77376493668628499</c:v>
                </c:pt>
                <c:pt idx="43386">
                  <c:v>0.77378277153557995</c:v>
                </c:pt>
                <c:pt idx="43387">
                  <c:v>0.77380060638487602</c:v>
                </c:pt>
                <c:pt idx="43388">
                  <c:v>0.77381844123417098</c:v>
                </c:pt>
                <c:pt idx="43389">
                  <c:v>0.77383627608346695</c:v>
                </c:pt>
                <c:pt idx="43390">
                  <c:v>0.77385411093276202</c:v>
                </c:pt>
                <c:pt idx="43391">
                  <c:v>0.77387194578205798</c:v>
                </c:pt>
                <c:pt idx="43392">
                  <c:v>0.77388978063135305</c:v>
                </c:pt>
                <c:pt idx="43393">
                  <c:v>0.77390761548064901</c:v>
                </c:pt>
                <c:pt idx="43394">
                  <c:v>0.77392545032994398</c:v>
                </c:pt>
                <c:pt idx="43395">
                  <c:v>0.77394328517924005</c:v>
                </c:pt>
                <c:pt idx="43396">
                  <c:v>0.77396112002853501</c:v>
                </c:pt>
                <c:pt idx="43397">
                  <c:v>0.77397895487783097</c:v>
                </c:pt>
                <c:pt idx="43398">
                  <c:v>0.77399678972712604</c:v>
                </c:pt>
                <c:pt idx="43399">
                  <c:v>0.77401462457642201</c:v>
                </c:pt>
                <c:pt idx="43400">
                  <c:v>0.77403245942571697</c:v>
                </c:pt>
                <c:pt idx="43401">
                  <c:v>0.77405029427501304</c:v>
                </c:pt>
                <c:pt idx="43402">
                  <c:v>0.774068129124308</c:v>
                </c:pt>
                <c:pt idx="43403">
                  <c:v>0.77408596397360396</c:v>
                </c:pt>
                <c:pt idx="43404">
                  <c:v>0.77410379882289904</c:v>
                </c:pt>
                <c:pt idx="43405">
                  <c:v>0.774121633672195</c:v>
                </c:pt>
                <c:pt idx="43406">
                  <c:v>0.77413946852149096</c:v>
                </c:pt>
                <c:pt idx="43407">
                  <c:v>0.77415730337078603</c:v>
                </c:pt>
                <c:pt idx="43408">
                  <c:v>0.77417513822008199</c:v>
                </c:pt>
                <c:pt idx="43409">
                  <c:v>0.77419297306937696</c:v>
                </c:pt>
                <c:pt idx="43410">
                  <c:v>0.77421080791867303</c:v>
                </c:pt>
                <c:pt idx="43411">
                  <c:v>0.77422864276796799</c:v>
                </c:pt>
                <c:pt idx="43412">
                  <c:v>0.77424647761726395</c:v>
                </c:pt>
                <c:pt idx="43413">
                  <c:v>0.77426431246655902</c:v>
                </c:pt>
                <c:pt idx="43414">
                  <c:v>0.77428214731585498</c:v>
                </c:pt>
                <c:pt idx="43415">
                  <c:v>0.77429998216514995</c:v>
                </c:pt>
                <c:pt idx="43416">
                  <c:v>0.77431781701444602</c:v>
                </c:pt>
                <c:pt idx="43417">
                  <c:v>0.77433565186374098</c:v>
                </c:pt>
                <c:pt idx="43418">
                  <c:v>0.77435348671303705</c:v>
                </c:pt>
                <c:pt idx="43419">
                  <c:v>0.77437132156233202</c:v>
                </c:pt>
                <c:pt idx="43420">
                  <c:v>0.77438915641162798</c:v>
                </c:pt>
                <c:pt idx="43421">
                  <c:v>0.77440699126092305</c:v>
                </c:pt>
                <c:pt idx="43422">
                  <c:v>0.77442482611021901</c:v>
                </c:pt>
                <c:pt idx="43423">
                  <c:v>0.77444266095951397</c:v>
                </c:pt>
                <c:pt idx="43424">
                  <c:v>0.77446049580881005</c:v>
                </c:pt>
                <c:pt idx="43425">
                  <c:v>0.77447833065810501</c:v>
                </c:pt>
                <c:pt idx="43426">
                  <c:v>0.77449616550740097</c:v>
                </c:pt>
                <c:pt idx="43427">
                  <c:v>0.77451400035669704</c:v>
                </c:pt>
                <c:pt idx="43428">
                  <c:v>0.774531835205992</c:v>
                </c:pt>
                <c:pt idx="43429">
                  <c:v>0.77454967005528796</c:v>
                </c:pt>
                <c:pt idx="43430">
                  <c:v>0.77456750490458304</c:v>
                </c:pt>
                <c:pt idx="43431">
                  <c:v>0.774585339753879</c:v>
                </c:pt>
                <c:pt idx="43432">
                  <c:v>0.77460317460317396</c:v>
                </c:pt>
                <c:pt idx="43433">
                  <c:v>0.77462100945247003</c:v>
                </c:pt>
                <c:pt idx="43434">
                  <c:v>0.77463884430176499</c:v>
                </c:pt>
                <c:pt idx="43435">
                  <c:v>0.77465667915106096</c:v>
                </c:pt>
                <c:pt idx="43436">
                  <c:v>0.77467451400035603</c:v>
                </c:pt>
                <c:pt idx="43437">
                  <c:v>0.77469234884965199</c:v>
                </c:pt>
                <c:pt idx="43438">
                  <c:v>0.77471018369894695</c:v>
                </c:pt>
                <c:pt idx="43439">
                  <c:v>0.77472801854824302</c:v>
                </c:pt>
                <c:pt idx="43440">
                  <c:v>0.77474585339753799</c:v>
                </c:pt>
                <c:pt idx="43441">
                  <c:v>0.77476368824683395</c:v>
                </c:pt>
                <c:pt idx="43442">
                  <c:v>0.77478152309612902</c:v>
                </c:pt>
                <c:pt idx="43443">
                  <c:v>0.77479935794542498</c:v>
                </c:pt>
                <c:pt idx="43444">
                  <c:v>0.77481719279472006</c:v>
                </c:pt>
                <c:pt idx="43445">
                  <c:v>0.77483502764401602</c:v>
                </c:pt>
                <c:pt idx="43446">
                  <c:v>0.77485286249331198</c:v>
                </c:pt>
                <c:pt idx="43447">
                  <c:v>0.77487069734260705</c:v>
                </c:pt>
                <c:pt idx="43448">
                  <c:v>0.77488853219190301</c:v>
                </c:pt>
                <c:pt idx="43449">
                  <c:v>0.77490636704119797</c:v>
                </c:pt>
                <c:pt idx="43450">
                  <c:v>0.77492420189049405</c:v>
                </c:pt>
                <c:pt idx="43451">
                  <c:v>0.77494203673978901</c:v>
                </c:pt>
                <c:pt idx="43452">
                  <c:v>0.77495987158908497</c:v>
                </c:pt>
                <c:pt idx="43453">
                  <c:v>0.77497770643838004</c:v>
                </c:pt>
                <c:pt idx="43454">
                  <c:v>0.774995541287676</c:v>
                </c:pt>
                <c:pt idx="43455">
                  <c:v>0.77501337613697097</c:v>
                </c:pt>
                <c:pt idx="43456">
                  <c:v>0.77503121098626704</c:v>
                </c:pt>
                <c:pt idx="43457">
                  <c:v>0.775049045835562</c:v>
                </c:pt>
                <c:pt idx="43458">
                  <c:v>0.77506688068485796</c:v>
                </c:pt>
                <c:pt idx="43459">
                  <c:v>0.77508471553415303</c:v>
                </c:pt>
                <c:pt idx="43460">
                  <c:v>0.775102550383449</c:v>
                </c:pt>
                <c:pt idx="43461">
                  <c:v>0.77512038523274396</c:v>
                </c:pt>
                <c:pt idx="43462">
                  <c:v>0.77513822008204003</c:v>
                </c:pt>
                <c:pt idx="43463">
                  <c:v>0.77515605493133499</c:v>
                </c:pt>
                <c:pt idx="43464">
                  <c:v>0.77517388978063095</c:v>
                </c:pt>
                <c:pt idx="43465">
                  <c:v>0.77519172462992603</c:v>
                </c:pt>
                <c:pt idx="43466">
                  <c:v>0.77520955947922199</c:v>
                </c:pt>
                <c:pt idx="43467">
                  <c:v>0.77522739432851795</c:v>
                </c:pt>
                <c:pt idx="43468">
                  <c:v>0.77524522917781302</c:v>
                </c:pt>
                <c:pt idx="43469">
                  <c:v>0.77526306402710898</c:v>
                </c:pt>
                <c:pt idx="43470">
                  <c:v>0.77528089887640395</c:v>
                </c:pt>
                <c:pt idx="43471">
                  <c:v>0.77529873372570002</c:v>
                </c:pt>
                <c:pt idx="43472">
                  <c:v>0.77531656857499498</c:v>
                </c:pt>
                <c:pt idx="43473">
                  <c:v>0.77533440342429105</c:v>
                </c:pt>
                <c:pt idx="43474">
                  <c:v>0.77535223827358601</c:v>
                </c:pt>
                <c:pt idx="43475">
                  <c:v>0.77537007312288198</c:v>
                </c:pt>
                <c:pt idx="43476">
                  <c:v>0.77538790797217705</c:v>
                </c:pt>
                <c:pt idx="43477">
                  <c:v>0.77540574282147301</c:v>
                </c:pt>
                <c:pt idx="43478">
                  <c:v>0.77542357767076797</c:v>
                </c:pt>
                <c:pt idx="43479">
                  <c:v>0.77544141252006404</c:v>
                </c:pt>
                <c:pt idx="43480">
                  <c:v>0.77545924736935901</c:v>
                </c:pt>
                <c:pt idx="43481">
                  <c:v>0.77547708221865497</c:v>
                </c:pt>
                <c:pt idx="43482">
                  <c:v>0.77549491706795004</c:v>
                </c:pt>
                <c:pt idx="43483">
                  <c:v>0.775512751917246</c:v>
                </c:pt>
                <c:pt idx="43484">
                  <c:v>0.77553058676654096</c:v>
                </c:pt>
                <c:pt idx="43485">
                  <c:v>0.77554842161583704</c:v>
                </c:pt>
                <c:pt idx="43486">
                  <c:v>0.775566256465132</c:v>
                </c:pt>
                <c:pt idx="43487">
                  <c:v>0.77558409131442796</c:v>
                </c:pt>
                <c:pt idx="43488">
                  <c:v>0.77560192616372303</c:v>
                </c:pt>
                <c:pt idx="43489">
                  <c:v>0.77561976101301899</c:v>
                </c:pt>
                <c:pt idx="43490">
                  <c:v>0.77563759586231495</c:v>
                </c:pt>
                <c:pt idx="43491">
                  <c:v>0.77565543071161003</c:v>
                </c:pt>
                <c:pt idx="43492">
                  <c:v>0.77567326556090599</c:v>
                </c:pt>
                <c:pt idx="43493">
                  <c:v>0.77569110041020095</c:v>
                </c:pt>
                <c:pt idx="43494">
                  <c:v>0.77570893525949702</c:v>
                </c:pt>
                <c:pt idx="43495">
                  <c:v>0.77572677010879199</c:v>
                </c:pt>
                <c:pt idx="43496">
                  <c:v>0.77574460495808795</c:v>
                </c:pt>
                <c:pt idx="43497">
                  <c:v>0.77576243980738302</c:v>
                </c:pt>
                <c:pt idx="43498">
                  <c:v>0.77578027465667898</c:v>
                </c:pt>
                <c:pt idx="43499">
                  <c:v>0.77579810950597405</c:v>
                </c:pt>
                <c:pt idx="43500">
                  <c:v>0.77581594435527002</c:v>
                </c:pt>
                <c:pt idx="43501">
                  <c:v>0.77583377920456498</c:v>
                </c:pt>
                <c:pt idx="43502">
                  <c:v>0.77585161405386105</c:v>
                </c:pt>
                <c:pt idx="43503">
                  <c:v>0.77586944890315601</c:v>
                </c:pt>
                <c:pt idx="43504">
                  <c:v>0.77588728375245197</c:v>
                </c:pt>
                <c:pt idx="43505">
                  <c:v>0.77590511860174705</c:v>
                </c:pt>
                <c:pt idx="43506">
                  <c:v>0.77592295345104301</c:v>
                </c:pt>
                <c:pt idx="43507">
                  <c:v>0.77594078830033797</c:v>
                </c:pt>
                <c:pt idx="43508">
                  <c:v>0.77595862314963404</c:v>
                </c:pt>
                <c:pt idx="43509">
                  <c:v>0.775976457998929</c:v>
                </c:pt>
                <c:pt idx="43510">
                  <c:v>0.77599429284822496</c:v>
                </c:pt>
                <c:pt idx="43511">
                  <c:v>0.77601212769752004</c:v>
                </c:pt>
                <c:pt idx="43512">
                  <c:v>0.776029962546816</c:v>
                </c:pt>
                <c:pt idx="43513">
                  <c:v>0.77604779739611196</c:v>
                </c:pt>
                <c:pt idx="43514">
                  <c:v>0.77606563224540703</c:v>
                </c:pt>
                <c:pt idx="43515">
                  <c:v>0.77608346709470299</c:v>
                </c:pt>
                <c:pt idx="43516">
                  <c:v>0.77610130194399796</c:v>
                </c:pt>
                <c:pt idx="43517">
                  <c:v>0.77611913679329403</c:v>
                </c:pt>
                <c:pt idx="43518">
                  <c:v>0.77613697164258899</c:v>
                </c:pt>
                <c:pt idx="43519">
                  <c:v>0.77615480649188495</c:v>
                </c:pt>
                <c:pt idx="43520">
                  <c:v>0.77617264134118003</c:v>
                </c:pt>
                <c:pt idx="43521">
                  <c:v>0.77619047619047599</c:v>
                </c:pt>
                <c:pt idx="43522">
                  <c:v>0.77620831103977095</c:v>
                </c:pt>
                <c:pt idx="43523">
                  <c:v>0.77622614588906702</c:v>
                </c:pt>
                <c:pt idx="43524">
                  <c:v>0.77624398073836198</c:v>
                </c:pt>
                <c:pt idx="43525">
                  <c:v>0.77626181558765806</c:v>
                </c:pt>
                <c:pt idx="43526">
                  <c:v>0.77627965043695302</c:v>
                </c:pt>
                <c:pt idx="43527">
                  <c:v>0.77629748528624898</c:v>
                </c:pt>
                <c:pt idx="43528">
                  <c:v>0.77631532013554405</c:v>
                </c:pt>
                <c:pt idx="43529">
                  <c:v>0.77633315498484001</c:v>
                </c:pt>
                <c:pt idx="43530">
                  <c:v>0.77635098983413497</c:v>
                </c:pt>
                <c:pt idx="43531">
                  <c:v>0.77636882468343105</c:v>
                </c:pt>
                <c:pt idx="43532">
                  <c:v>0.77638665953272601</c:v>
                </c:pt>
                <c:pt idx="43533">
                  <c:v>0.77640449438202197</c:v>
                </c:pt>
                <c:pt idx="43534">
                  <c:v>0.77642232923131804</c:v>
                </c:pt>
                <c:pt idx="43535">
                  <c:v>0.776440164080613</c:v>
                </c:pt>
                <c:pt idx="43536">
                  <c:v>0.77645799892990897</c:v>
                </c:pt>
                <c:pt idx="43537">
                  <c:v>0.77647583377920404</c:v>
                </c:pt>
                <c:pt idx="43538">
                  <c:v>0.7764936686285</c:v>
                </c:pt>
                <c:pt idx="43539">
                  <c:v>0.77651150347779496</c:v>
                </c:pt>
                <c:pt idx="43540">
                  <c:v>0.77652933832709103</c:v>
                </c:pt>
                <c:pt idx="43541">
                  <c:v>0.776547173176386</c:v>
                </c:pt>
                <c:pt idx="43542">
                  <c:v>0.77656500802568196</c:v>
                </c:pt>
                <c:pt idx="43543">
                  <c:v>0.77658284287497703</c:v>
                </c:pt>
                <c:pt idx="43544">
                  <c:v>0.77660067772427299</c:v>
                </c:pt>
                <c:pt idx="43545">
                  <c:v>0.77661851257356795</c:v>
                </c:pt>
                <c:pt idx="43546">
                  <c:v>0.77663634742286403</c:v>
                </c:pt>
                <c:pt idx="43547">
                  <c:v>0.77665418227215899</c:v>
                </c:pt>
                <c:pt idx="43548">
                  <c:v>0.77667201712145495</c:v>
                </c:pt>
                <c:pt idx="43549">
                  <c:v>0.77668985197075002</c:v>
                </c:pt>
                <c:pt idx="43550">
                  <c:v>0.77670768682004598</c:v>
                </c:pt>
                <c:pt idx="43551">
                  <c:v>0.77672552166934195</c:v>
                </c:pt>
                <c:pt idx="43552">
                  <c:v>0.77674335651863702</c:v>
                </c:pt>
                <c:pt idx="43553">
                  <c:v>0.77676119136793298</c:v>
                </c:pt>
                <c:pt idx="43554">
                  <c:v>0.77677902621722805</c:v>
                </c:pt>
                <c:pt idx="43555">
                  <c:v>0.77679686106652401</c:v>
                </c:pt>
                <c:pt idx="43556">
                  <c:v>0.77681469591581898</c:v>
                </c:pt>
                <c:pt idx="43557">
                  <c:v>0.77683253076511505</c:v>
                </c:pt>
                <c:pt idx="43558">
                  <c:v>0.77685036561441001</c:v>
                </c:pt>
                <c:pt idx="43559">
                  <c:v>0.77686820046370597</c:v>
                </c:pt>
                <c:pt idx="43560">
                  <c:v>0.77688603531300104</c:v>
                </c:pt>
                <c:pt idx="43561">
                  <c:v>0.77690387016229701</c:v>
                </c:pt>
                <c:pt idx="43562">
                  <c:v>0.77692170501159197</c:v>
                </c:pt>
                <c:pt idx="43563">
                  <c:v>0.77693953986088804</c:v>
                </c:pt>
                <c:pt idx="43564">
                  <c:v>0.776957374710183</c:v>
                </c:pt>
                <c:pt idx="43565">
                  <c:v>0.77697520955947896</c:v>
                </c:pt>
                <c:pt idx="43566">
                  <c:v>0.77699304440877404</c:v>
                </c:pt>
                <c:pt idx="43567">
                  <c:v>0.77701087925807</c:v>
                </c:pt>
                <c:pt idx="43568">
                  <c:v>0.77702871410736496</c:v>
                </c:pt>
                <c:pt idx="43569">
                  <c:v>0.77704654895666103</c:v>
                </c:pt>
                <c:pt idx="43570">
                  <c:v>0.77706438380595599</c:v>
                </c:pt>
                <c:pt idx="43571">
                  <c:v>0.77708221865525196</c:v>
                </c:pt>
                <c:pt idx="43572">
                  <c:v>0.77710005350454703</c:v>
                </c:pt>
                <c:pt idx="43573">
                  <c:v>0.77711788835384299</c:v>
                </c:pt>
                <c:pt idx="43574">
                  <c:v>0.77713572320313895</c:v>
                </c:pt>
                <c:pt idx="43575">
                  <c:v>0.77715355805243402</c:v>
                </c:pt>
                <c:pt idx="43576">
                  <c:v>0.77717139290172998</c:v>
                </c:pt>
                <c:pt idx="43577">
                  <c:v>0.77718922775102495</c:v>
                </c:pt>
                <c:pt idx="43578">
                  <c:v>0.77720706260032102</c:v>
                </c:pt>
                <c:pt idx="43579">
                  <c:v>0.77722489744961598</c:v>
                </c:pt>
                <c:pt idx="43580">
                  <c:v>0.77724273229891205</c:v>
                </c:pt>
                <c:pt idx="43581">
                  <c:v>0.77726056714820702</c:v>
                </c:pt>
                <c:pt idx="43582">
                  <c:v>0.77727840199750298</c:v>
                </c:pt>
                <c:pt idx="43583">
                  <c:v>0.77729623684679805</c:v>
                </c:pt>
                <c:pt idx="43584">
                  <c:v>0.77731407169609401</c:v>
                </c:pt>
                <c:pt idx="43585">
                  <c:v>0.77733190654538897</c:v>
                </c:pt>
                <c:pt idx="43586">
                  <c:v>0.77734974139468505</c:v>
                </c:pt>
                <c:pt idx="43587">
                  <c:v>0.77736757624398001</c:v>
                </c:pt>
                <c:pt idx="43588">
                  <c:v>0.77738541109327597</c:v>
                </c:pt>
                <c:pt idx="43589">
                  <c:v>0.77740324594257104</c:v>
                </c:pt>
                <c:pt idx="43590">
                  <c:v>0.777421080791867</c:v>
                </c:pt>
                <c:pt idx="43591">
                  <c:v>0.77743891564116197</c:v>
                </c:pt>
                <c:pt idx="43592">
                  <c:v>0.77745675049045804</c:v>
                </c:pt>
                <c:pt idx="43593">
                  <c:v>0.777474585339753</c:v>
                </c:pt>
                <c:pt idx="43594">
                  <c:v>0.77749242018904896</c:v>
                </c:pt>
                <c:pt idx="43595">
                  <c:v>0.77751025503834403</c:v>
                </c:pt>
                <c:pt idx="43596">
                  <c:v>0.77752808988763999</c:v>
                </c:pt>
                <c:pt idx="43597">
                  <c:v>0.77754592473693596</c:v>
                </c:pt>
                <c:pt idx="43598">
                  <c:v>0.77756375958623103</c:v>
                </c:pt>
                <c:pt idx="43599">
                  <c:v>0.77758159443552699</c:v>
                </c:pt>
                <c:pt idx="43600">
                  <c:v>0.77759942928482195</c:v>
                </c:pt>
                <c:pt idx="43601">
                  <c:v>0.77761726413411802</c:v>
                </c:pt>
                <c:pt idx="43602">
                  <c:v>0.77763509898341299</c:v>
                </c:pt>
                <c:pt idx="43603">
                  <c:v>0.77765293383270895</c:v>
                </c:pt>
                <c:pt idx="43604">
                  <c:v>0.77767076868200402</c:v>
                </c:pt>
                <c:pt idx="43605">
                  <c:v>0.77768860353129998</c:v>
                </c:pt>
                <c:pt idx="43606">
                  <c:v>0.77770643838059506</c:v>
                </c:pt>
                <c:pt idx="43607">
                  <c:v>0.77772427322989102</c:v>
                </c:pt>
                <c:pt idx="43608">
                  <c:v>0.77774210807918598</c:v>
                </c:pt>
                <c:pt idx="43609">
                  <c:v>0.77775994292848205</c:v>
                </c:pt>
                <c:pt idx="43610">
                  <c:v>0.77777777777777701</c:v>
                </c:pt>
                <c:pt idx="43611">
                  <c:v>0.77779561262707297</c:v>
                </c:pt>
                <c:pt idx="43612">
                  <c:v>0.77781344747636805</c:v>
                </c:pt>
                <c:pt idx="43613">
                  <c:v>0.77783128232566401</c:v>
                </c:pt>
                <c:pt idx="43614">
                  <c:v>0.77784911717495897</c:v>
                </c:pt>
                <c:pt idx="43615">
                  <c:v>0.77786695202425504</c:v>
                </c:pt>
                <c:pt idx="43616">
                  <c:v>0.77788478687355</c:v>
                </c:pt>
                <c:pt idx="43617">
                  <c:v>0.77790262172284597</c:v>
                </c:pt>
                <c:pt idx="43618">
                  <c:v>0.77792045657214104</c:v>
                </c:pt>
                <c:pt idx="43619">
                  <c:v>0.777938291421437</c:v>
                </c:pt>
                <c:pt idx="43620">
                  <c:v>0.77795612627073296</c:v>
                </c:pt>
                <c:pt idx="43621">
                  <c:v>0.77797396112002803</c:v>
                </c:pt>
                <c:pt idx="43622">
                  <c:v>0.777991795969324</c:v>
                </c:pt>
                <c:pt idx="43623">
                  <c:v>0.77800963081861896</c:v>
                </c:pt>
                <c:pt idx="43624">
                  <c:v>0.77802746566791503</c:v>
                </c:pt>
                <c:pt idx="43625">
                  <c:v>0.77804530051720999</c:v>
                </c:pt>
                <c:pt idx="43626">
                  <c:v>0.77806313536650595</c:v>
                </c:pt>
                <c:pt idx="43627">
                  <c:v>0.77808097021580103</c:v>
                </c:pt>
                <c:pt idx="43628">
                  <c:v>0.77809880506509699</c:v>
                </c:pt>
                <c:pt idx="43629">
                  <c:v>0.77811663991439195</c:v>
                </c:pt>
                <c:pt idx="43630">
                  <c:v>0.77813447476368802</c:v>
                </c:pt>
                <c:pt idx="43631">
                  <c:v>0.77815230961298298</c:v>
                </c:pt>
                <c:pt idx="43632">
                  <c:v>0.77817014446227895</c:v>
                </c:pt>
                <c:pt idx="43633">
                  <c:v>0.77818797931157402</c:v>
                </c:pt>
                <c:pt idx="43634">
                  <c:v>0.77820581416086998</c:v>
                </c:pt>
                <c:pt idx="43635">
                  <c:v>0.77822364901016505</c:v>
                </c:pt>
                <c:pt idx="43636">
                  <c:v>0.77824148385946101</c:v>
                </c:pt>
                <c:pt idx="43637">
                  <c:v>0.77825931870875598</c:v>
                </c:pt>
                <c:pt idx="43638">
                  <c:v>0.77827715355805205</c:v>
                </c:pt>
                <c:pt idx="43639">
                  <c:v>0.77829498840734801</c:v>
                </c:pt>
                <c:pt idx="43640">
                  <c:v>0.77831282325664297</c:v>
                </c:pt>
                <c:pt idx="43641">
                  <c:v>0.77833065810593904</c:v>
                </c:pt>
                <c:pt idx="43642">
                  <c:v>0.77834849295523401</c:v>
                </c:pt>
                <c:pt idx="43643">
                  <c:v>0.77836632780452997</c:v>
                </c:pt>
                <c:pt idx="43644">
                  <c:v>0.77838416265382504</c:v>
                </c:pt>
                <c:pt idx="43645">
                  <c:v>0.778401997503121</c:v>
                </c:pt>
                <c:pt idx="43646">
                  <c:v>0.77841983235241596</c:v>
                </c:pt>
                <c:pt idx="43647">
                  <c:v>0.77843766720171204</c:v>
                </c:pt>
                <c:pt idx="43648">
                  <c:v>0.778455502051007</c:v>
                </c:pt>
                <c:pt idx="43649">
                  <c:v>0.77847333690030296</c:v>
                </c:pt>
                <c:pt idx="43650">
                  <c:v>0.77849117174959803</c:v>
                </c:pt>
                <c:pt idx="43651">
                  <c:v>0.77850900659889399</c:v>
                </c:pt>
                <c:pt idx="43652">
                  <c:v>0.77852684144818896</c:v>
                </c:pt>
                <c:pt idx="43653">
                  <c:v>0.77854467629748503</c:v>
                </c:pt>
                <c:pt idx="43654">
                  <c:v>0.77856251114677999</c:v>
                </c:pt>
                <c:pt idx="43655">
                  <c:v>0.77858034599607595</c:v>
                </c:pt>
                <c:pt idx="43656">
                  <c:v>0.77859818084537102</c:v>
                </c:pt>
                <c:pt idx="43657">
                  <c:v>0.77861601569466699</c:v>
                </c:pt>
                <c:pt idx="43658">
                  <c:v>0.77863385054396295</c:v>
                </c:pt>
                <c:pt idx="43659">
                  <c:v>0.77865168539325802</c:v>
                </c:pt>
                <c:pt idx="43660">
                  <c:v>0.77866952024255398</c:v>
                </c:pt>
                <c:pt idx="43661">
                  <c:v>0.77868735509184905</c:v>
                </c:pt>
                <c:pt idx="43662">
                  <c:v>0.77870518994114502</c:v>
                </c:pt>
                <c:pt idx="43663">
                  <c:v>0.77872302479043998</c:v>
                </c:pt>
                <c:pt idx="43664">
                  <c:v>0.77874085963973605</c:v>
                </c:pt>
                <c:pt idx="43665">
                  <c:v>0.77875869448903101</c:v>
                </c:pt>
                <c:pt idx="43666">
                  <c:v>0.77877652933832697</c:v>
                </c:pt>
                <c:pt idx="43667">
                  <c:v>0.77879436418762205</c:v>
                </c:pt>
                <c:pt idx="43668">
                  <c:v>0.77881219903691801</c:v>
                </c:pt>
                <c:pt idx="43669">
                  <c:v>0.77883003388621297</c:v>
                </c:pt>
                <c:pt idx="43670">
                  <c:v>0.77884786873550904</c:v>
                </c:pt>
                <c:pt idx="43671">
                  <c:v>0.778865703584804</c:v>
                </c:pt>
                <c:pt idx="43672">
                  <c:v>0.77888353843409996</c:v>
                </c:pt>
                <c:pt idx="43673">
                  <c:v>0.77890137328339504</c:v>
                </c:pt>
                <c:pt idx="43674">
                  <c:v>0.778919208132691</c:v>
                </c:pt>
                <c:pt idx="43675">
                  <c:v>0.77893704298198596</c:v>
                </c:pt>
                <c:pt idx="43676">
                  <c:v>0.77895487783128203</c:v>
                </c:pt>
                <c:pt idx="43677">
                  <c:v>0.778972712680577</c:v>
                </c:pt>
                <c:pt idx="43678">
                  <c:v>0.77899054752987296</c:v>
                </c:pt>
                <c:pt idx="43679">
                  <c:v>0.77900838237916803</c:v>
                </c:pt>
                <c:pt idx="43680">
                  <c:v>0.77902621722846399</c:v>
                </c:pt>
                <c:pt idx="43681">
                  <c:v>0.77904405207775995</c:v>
                </c:pt>
                <c:pt idx="43682">
                  <c:v>0.77906188692705503</c:v>
                </c:pt>
                <c:pt idx="43683">
                  <c:v>0.77907972177635099</c:v>
                </c:pt>
                <c:pt idx="43684">
                  <c:v>0.77909755662564595</c:v>
                </c:pt>
                <c:pt idx="43685">
                  <c:v>0.77911539147494202</c:v>
                </c:pt>
                <c:pt idx="43686">
                  <c:v>0.77913322632423698</c:v>
                </c:pt>
                <c:pt idx="43687">
                  <c:v>0.77915106117353305</c:v>
                </c:pt>
                <c:pt idx="43688">
                  <c:v>0.77916889602282802</c:v>
                </c:pt>
                <c:pt idx="43689">
                  <c:v>0.77918673087212398</c:v>
                </c:pt>
                <c:pt idx="43690">
                  <c:v>0.77920456572141905</c:v>
                </c:pt>
                <c:pt idx="43691">
                  <c:v>0.77922240057071501</c:v>
                </c:pt>
                <c:pt idx="43692">
                  <c:v>0.77924023542000997</c:v>
                </c:pt>
                <c:pt idx="43693">
                  <c:v>0.77925807026930605</c:v>
                </c:pt>
                <c:pt idx="43694">
                  <c:v>0.77927590511860101</c:v>
                </c:pt>
                <c:pt idx="43695">
                  <c:v>0.77929373996789697</c:v>
                </c:pt>
                <c:pt idx="43696">
                  <c:v>0.77931157481719204</c:v>
                </c:pt>
                <c:pt idx="43697">
                  <c:v>0.779329409666488</c:v>
                </c:pt>
                <c:pt idx="43698">
                  <c:v>0.77934724451578297</c:v>
                </c:pt>
                <c:pt idx="43699">
                  <c:v>0.77936507936507904</c:v>
                </c:pt>
                <c:pt idx="43700">
                  <c:v>0.779382914214374</c:v>
                </c:pt>
                <c:pt idx="43701">
                  <c:v>0.77940074906366996</c:v>
                </c:pt>
                <c:pt idx="43702">
                  <c:v>0.77941858391296504</c:v>
                </c:pt>
                <c:pt idx="43703">
                  <c:v>0.779436418762261</c:v>
                </c:pt>
                <c:pt idx="43704">
                  <c:v>0.77945425361155696</c:v>
                </c:pt>
                <c:pt idx="43705">
                  <c:v>0.77947208846085203</c:v>
                </c:pt>
                <c:pt idx="43706">
                  <c:v>0.77948992331014799</c:v>
                </c:pt>
                <c:pt idx="43707">
                  <c:v>0.77950775815944295</c:v>
                </c:pt>
                <c:pt idx="43708">
                  <c:v>0.77952559300873903</c:v>
                </c:pt>
                <c:pt idx="43709">
                  <c:v>0.77954342785803399</c:v>
                </c:pt>
                <c:pt idx="43710">
                  <c:v>0.77956126270732995</c:v>
                </c:pt>
                <c:pt idx="43711">
                  <c:v>0.77957909755662502</c:v>
                </c:pt>
                <c:pt idx="43712">
                  <c:v>0.77959693240592098</c:v>
                </c:pt>
                <c:pt idx="43713">
                  <c:v>0.77961476725521595</c:v>
                </c:pt>
                <c:pt idx="43714">
                  <c:v>0.77963260210451202</c:v>
                </c:pt>
                <c:pt idx="43715">
                  <c:v>0.77965043695380698</c:v>
                </c:pt>
                <c:pt idx="43716">
                  <c:v>0.77966827180310305</c:v>
                </c:pt>
                <c:pt idx="43717">
                  <c:v>0.77968610665239801</c:v>
                </c:pt>
                <c:pt idx="43718">
                  <c:v>0.77970394150169398</c:v>
                </c:pt>
                <c:pt idx="43719">
                  <c:v>0.77972177635098905</c:v>
                </c:pt>
                <c:pt idx="43720">
                  <c:v>0.77973961120028501</c:v>
                </c:pt>
                <c:pt idx="43721">
                  <c:v>0.77975744604957997</c:v>
                </c:pt>
                <c:pt idx="43722">
                  <c:v>0.77977528089887604</c:v>
                </c:pt>
                <c:pt idx="43723">
                  <c:v>0.77979311574817101</c:v>
                </c:pt>
                <c:pt idx="43724">
                  <c:v>0.77981095059746697</c:v>
                </c:pt>
                <c:pt idx="43725">
                  <c:v>0.77982878544676204</c:v>
                </c:pt>
                <c:pt idx="43726">
                  <c:v>0.779846620296058</c:v>
                </c:pt>
                <c:pt idx="43727">
                  <c:v>0.77986445514535396</c:v>
                </c:pt>
                <c:pt idx="43728">
                  <c:v>0.77988228999464904</c:v>
                </c:pt>
                <c:pt idx="43729">
                  <c:v>0.779900124843945</c:v>
                </c:pt>
                <c:pt idx="43730">
                  <c:v>0.77991795969323996</c:v>
                </c:pt>
                <c:pt idx="43731">
                  <c:v>0.77993579454253603</c:v>
                </c:pt>
                <c:pt idx="43732">
                  <c:v>0.77995362939183099</c:v>
                </c:pt>
                <c:pt idx="43733">
                  <c:v>0.77997146424112695</c:v>
                </c:pt>
                <c:pt idx="43734">
                  <c:v>0.77998929909042203</c:v>
                </c:pt>
                <c:pt idx="43735">
                  <c:v>0.78000713393971799</c:v>
                </c:pt>
                <c:pt idx="43736">
                  <c:v>0.78002496878901295</c:v>
                </c:pt>
                <c:pt idx="43737">
                  <c:v>0.78004280363830902</c:v>
                </c:pt>
                <c:pt idx="43738">
                  <c:v>0.78006063848760399</c:v>
                </c:pt>
                <c:pt idx="43739">
                  <c:v>0.78007847333689995</c:v>
                </c:pt>
                <c:pt idx="43740">
                  <c:v>0.78009630818619502</c:v>
                </c:pt>
                <c:pt idx="43741">
                  <c:v>0.78011414303549098</c:v>
                </c:pt>
                <c:pt idx="43742">
                  <c:v>0.78013197788478605</c:v>
                </c:pt>
                <c:pt idx="43743">
                  <c:v>0.78014981273408202</c:v>
                </c:pt>
                <c:pt idx="43744">
                  <c:v>0.78016764758337698</c:v>
                </c:pt>
                <c:pt idx="43745">
                  <c:v>0.78018548243267305</c:v>
                </c:pt>
                <c:pt idx="43746">
                  <c:v>0.78020331728196901</c:v>
                </c:pt>
                <c:pt idx="43747">
                  <c:v>0.78022115213126397</c:v>
                </c:pt>
                <c:pt idx="43748">
                  <c:v>0.78023898698056005</c:v>
                </c:pt>
                <c:pt idx="43749">
                  <c:v>0.78025682182985501</c:v>
                </c:pt>
                <c:pt idx="43750">
                  <c:v>0.78027465667915097</c:v>
                </c:pt>
                <c:pt idx="43751">
                  <c:v>0.78029249152844604</c:v>
                </c:pt>
                <c:pt idx="43752">
                  <c:v>0.780310326377742</c:v>
                </c:pt>
                <c:pt idx="43753">
                  <c:v>0.78032816122703696</c:v>
                </c:pt>
                <c:pt idx="43754">
                  <c:v>0.78034599607633304</c:v>
                </c:pt>
                <c:pt idx="43755">
                  <c:v>0.780363830925628</c:v>
                </c:pt>
                <c:pt idx="43756">
                  <c:v>0.78038166577492396</c:v>
                </c:pt>
                <c:pt idx="43757">
                  <c:v>0.78039950062421903</c:v>
                </c:pt>
                <c:pt idx="43758">
                  <c:v>0.78041733547351499</c:v>
                </c:pt>
                <c:pt idx="43759">
                  <c:v>0.78043517032280996</c:v>
                </c:pt>
                <c:pt idx="43760">
                  <c:v>0.78045300517210603</c:v>
                </c:pt>
                <c:pt idx="43761">
                  <c:v>0.78047084002140099</c:v>
                </c:pt>
                <c:pt idx="43762">
                  <c:v>0.78048867487069695</c:v>
                </c:pt>
                <c:pt idx="43763">
                  <c:v>0.78050650971999203</c:v>
                </c:pt>
                <c:pt idx="43764">
                  <c:v>0.78052434456928799</c:v>
                </c:pt>
                <c:pt idx="43765">
                  <c:v>0.78054217941858395</c:v>
                </c:pt>
                <c:pt idx="43766">
                  <c:v>0.78056001426787902</c:v>
                </c:pt>
                <c:pt idx="43767">
                  <c:v>0.78057784911717498</c:v>
                </c:pt>
                <c:pt idx="43768">
                  <c:v>0.78059568396647006</c:v>
                </c:pt>
                <c:pt idx="43769">
                  <c:v>0.78061351881576602</c:v>
                </c:pt>
                <c:pt idx="43770">
                  <c:v>0.78063135366506098</c:v>
                </c:pt>
                <c:pt idx="43771">
                  <c:v>0.78064918851435705</c:v>
                </c:pt>
                <c:pt idx="43772">
                  <c:v>0.78066702336365201</c:v>
                </c:pt>
                <c:pt idx="43773">
                  <c:v>0.78068485821294797</c:v>
                </c:pt>
                <c:pt idx="43774">
                  <c:v>0.78070269306224305</c:v>
                </c:pt>
                <c:pt idx="43775">
                  <c:v>0.78072052791153901</c:v>
                </c:pt>
                <c:pt idx="43776">
                  <c:v>0.78073836276083397</c:v>
                </c:pt>
                <c:pt idx="43777">
                  <c:v>0.78075619761013004</c:v>
                </c:pt>
                <c:pt idx="43778">
                  <c:v>0.780774032459425</c:v>
                </c:pt>
                <c:pt idx="43779">
                  <c:v>0.78079186730872097</c:v>
                </c:pt>
                <c:pt idx="43780">
                  <c:v>0.78080970215801604</c:v>
                </c:pt>
                <c:pt idx="43781">
                  <c:v>0.780827537007312</c:v>
                </c:pt>
                <c:pt idx="43782">
                  <c:v>0.78084537185660696</c:v>
                </c:pt>
                <c:pt idx="43783">
                  <c:v>0.78086320670590303</c:v>
                </c:pt>
                <c:pt idx="43784">
                  <c:v>0.780881041555198</c:v>
                </c:pt>
                <c:pt idx="43785">
                  <c:v>0.78089887640449396</c:v>
                </c:pt>
                <c:pt idx="43786">
                  <c:v>0.78091671125378903</c:v>
                </c:pt>
                <c:pt idx="43787">
                  <c:v>0.78093454610308499</c:v>
                </c:pt>
                <c:pt idx="43788">
                  <c:v>0.78095238095238095</c:v>
                </c:pt>
                <c:pt idx="43789">
                  <c:v>0.78097021580167603</c:v>
                </c:pt>
                <c:pt idx="43790">
                  <c:v>0.78098805065097199</c:v>
                </c:pt>
                <c:pt idx="43791">
                  <c:v>0.78100588550026695</c:v>
                </c:pt>
                <c:pt idx="43792">
                  <c:v>0.78102372034956302</c:v>
                </c:pt>
                <c:pt idx="43793">
                  <c:v>0.78104155519885798</c:v>
                </c:pt>
                <c:pt idx="43794">
                  <c:v>0.78105939004815395</c:v>
                </c:pt>
                <c:pt idx="43795">
                  <c:v>0.78107722489744902</c:v>
                </c:pt>
                <c:pt idx="43796">
                  <c:v>0.78109505974674498</c:v>
                </c:pt>
                <c:pt idx="43797">
                  <c:v>0.78111289459604005</c:v>
                </c:pt>
                <c:pt idx="43798">
                  <c:v>0.78113072944533601</c:v>
                </c:pt>
                <c:pt idx="43799">
                  <c:v>0.78114856429463098</c:v>
                </c:pt>
                <c:pt idx="43800">
                  <c:v>0.78116639914392705</c:v>
                </c:pt>
                <c:pt idx="43801">
                  <c:v>0.78118423399322201</c:v>
                </c:pt>
                <c:pt idx="43802">
                  <c:v>0.78120206884251797</c:v>
                </c:pt>
                <c:pt idx="43803">
                  <c:v>0.78121990369181304</c:v>
                </c:pt>
                <c:pt idx="43804">
                  <c:v>0.78123773854110901</c:v>
                </c:pt>
                <c:pt idx="43805">
                  <c:v>0.78125557339040397</c:v>
                </c:pt>
                <c:pt idx="43806">
                  <c:v>0.78127340823970004</c:v>
                </c:pt>
                <c:pt idx="43807">
                  <c:v>0.781291243088995</c:v>
                </c:pt>
                <c:pt idx="43808">
                  <c:v>0.78130907793829096</c:v>
                </c:pt>
                <c:pt idx="43809">
                  <c:v>0.78132691278758604</c:v>
                </c:pt>
                <c:pt idx="43810">
                  <c:v>0.781344747636882</c:v>
                </c:pt>
                <c:pt idx="43811">
                  <c:v>0.78136258248617796</c:v>
                </c:pt>
                <c:pt idx="43812">
                  <c:v>0.78138041733547303</c:v>
                </c:pt>
                <c:pt idx="43813">
                  <c:v>0.78139825218476899</c:v>
                </c:pt>
                <c:pt idx="43814">
                  <c:v>0.78141608703406396</c:v>
                </c:pt>
                <c:pt idx="43815">
                  <c:v>0.78143392188336003</c:v>
                </c:pt>
                <c:pt idx="43816">
                  <c:v>0.78145175673265499</c:v>
                </c:pt>
                <c:pt idx="43817">
                  <c:v>0.78146959158195095</c:v>
                </c:pt>
                <c:pt idx="43818">
                  <c:v>0.78148742643124602</c:v>
                </c:pt>
                <c:pt idx="43819">
                  <c:v>0.78150526128054199</c:v>
                </c:pt>
                <c:pt idx="43820">
                  <c:v>0.78152309612983695</c:v>
                </c:pt>
                <c:pt idx="43821">
                  <c:v>0.78154093097913302</c:v>
                </c:pt>
                <c:pt idx="43822">
                  <c:v>0.78155876582842798</c:v>
                </c:pt>
                <c:pt idx="43823">
                  <c:v>0.78157660067772405</c:v>
                </c:pt>
                <c:pt idx="43824">
                  <c:v>0.78159443552701902</c:v>
                </c:pt>
                <c:pt idx="43825">
                  <c:v>0.78161227037631498</c:v>
                </c:pt>
                <c:pt idx="43826">
                  <c:v>0.78163010522561005</c:v>
                </c:pt>
                <c:pt idx="43827">
                  <c:v>0.78164794007490601</c:v>
                </c:pt>
                <c:pt idx="43828">
                  <c:v>0.78166577492420097</c:v>
                </c:pt>
                <c:pt idx="43829">
                  <c:v>0.78168360977349705</c:v>
                </c:pt>
                <c:pt idx="43830">
                  <c:v>0.78170144462279201</c:v>
                </c:pt>
                <c:pt idx="43831">
                  <c:v>0.78171927947208797</c:v>
                </c:pt>
                <c:pt idx="43832">
                  <c:v>0.78173711432138304</c:v>
                </c:pt>
                <c:pt idx="43833">
                  <c:v>0.781754949170679</c:v>
                </c:pt>
                <c:pt idx="43834">
                  <c:v>0.78177278401997496</c:v>
                </c:pt>
                <c:pt idx="43835">
                  <c:v>0.78179061886927004</c:v>
                </c:pt>
                <c:pt idx="43836">
                  <c:v>0.781808453718566</c:v>
                </c:pt>
                <c:pt idx="43837">
                  <c:v>0.78182628856786096</c:v>
                </c:pt>
                <c:pt idx="43838">
                  <c:v>0.78184412341715703</c:v>
                </c:pt>
                <c:pt idx="43839">
                  <c:v>0.781861958266452</c:v>
                </c:pt>
                <c:pt idx="43840">
                  <c:v>0.78187979311574796</c:v>
                </c:pt>
                <c:pt idx="43841">
                  <c:v>0.78189762796504303</c:v>
                </c:pt>
                <c:pt idx="43842">
                  <c:v>0.78191546281433899</c:v>
                </c:pt>
                <c:pt idx="43843">
                  <c:v>0.78193329766363395</c:v>
                </c:pt>
                <c:pt idx="43844">
                  <c:v>0.78195113251293002</c:v>
                </c:pt>
                <c:pt idx="43845">
                  <c:v>0.78196896736222499</c:v>
                </c:pt>
                <c:pt idx="43846">
                  <c:v>0.78198680221152095</c:v>
                </c:pt>
                <c:pt idx="43847">
                  <c:v>0.78200463706081602</c:v>
                </c:pt>
                <c:pt idx="43848">
                  <c:v>0.78202247191011198</c:v>
                </c:pt>
                <c:pt idx="43849">
                  <c:v>0.78204030675940694</c:v>
                </c:pt>
                <c:pt idx="43850">
                  <c:v>0.78205814160870302</c:v>
                </c:pt>
                <c:pt idx="43851">
                  <c:v>0.78207597645799898</c:v>
                </c:pt>
                <c:pt idx="43852">
                  <c:v>0.78209381130729405</c:v>
                </c:pt>
                <c:pt idx="43853">
                  <c:v>0.78211164615659001</c:v>
                </c:pt>
                <c:pt idx="43854">
                  <c:v>0.78212948100588497</c:v>
                </c:pt>
                <c:pt idx="43855">
                  <c:v>0.78214731585518105</c:v>
                </c:pt>
                <c:pt idx="43856">
                  <c:v>0.78216515070447601</c:v>
                </c:pt>
                <c:pt idx="43857">
                  <c:v>0.78218298555377197</c:v>
                </c:pt>
                <c:pt idx="43858">
                  <c:v>0.78220082040306704</c:v>
                </c:pt>
                <c:pt idx="43859">
                  <c:v>0.782218655252363</c:v>
                </c:pt>
                <c:pt idx="43860">
                  <c:v>0.78223649010165797</c:v>
                </c:pt>
                <c:pt idx="43861">
                  <c:v>0.78225432495095404</c:v>
                </c:pt>
                <c:pt idx="43862">
                  <c:v>0.782272159800249</c:v>
                </c:pt>
                <c:pt idx="43863">
                  <c:v>0.78228999464954496</c:v>
                </c:pt>
                <c:pt idx="43864">
                  <c:v>0.78230782949884003</c:v>
                </c:pt>
                <c:pt idx="43865">
                  <c:v>0.782325664348136</c:v>
                </c:pt>
                <c:pt idx="43866">
                  <c:v>0.78234349919743096</c:v>
                </c:pt>
                <c:pt idx="43867">
                  <c:v>0.78236133404672703</c:v>
                </c:pt>
                <c:pt idx="43868">
                  <c:v>0.78237916889602199</c:v>
                </c:pt>
                <c:pt idx="43869">
                  <c:v>0.78239700374531795</c:v>
                </c:pt>
                <c:pt idx="43870">
                  <c:v>0.78241483859461303</c:v>
                </c:pt>
                <c:pt idx="43871">
                  <c:v>0.78243267344390899</c:v>
                </c:pt>
                <c:pt idx="43872">
                  <c:v>0.78245050829320495</c:v>
                </c:pt>
                <c:pt idx="43873">
                  <c:v>0.78246834314250002</c:v>
                </c:pt>
                <c:pt idx="43874">
                  <c:v>0.78248617799179598</c:v>
                </c:pt>
                <c:pt idx="43875">
                  <c:v>0.78250401284109095</c:v>
                </c:pt>
                <c:pt idx="43876">
                  <c:v>0.78252184769038702</c:v>
                </c:pt>
                <c:pt idx="43877">
                  <c:v>0.78253968253968198</c:v>
                </c:pt>
                <c:pt idx="43878">
                  <c:v>0.78255751738897805</c:v>
                </c:pt>
                <c:pt idx="43879">
                  <c:v>0.78257535223827301</c:v>
                </c:pt>
                <c:pt idx="43880">
                  <c:v>0.78259318708756898</c:v>
                </c:pt>
                <c:pt idx="43881">
                  <c:v>0.78261102193686405</c:v>
                </c:pt>
                <c:pt idx="43882">
                  <c:v>0.78262885678616001</c:v>
                </c:pt>
                <c:pt idx="43883">
                  <c:v>0.78264669163545497</c:v>
                </c:pt>
                <c:pt idx="43884">
                  <c:v>0.78266452648475104</c:v>
                </c:pt>
                <c:pt idx="43885">
                  <c:v>0.78268236133404601</c:v>
                </c:pt>
                <c:pt idx="43886">
                  <c:v>0.78270019618334197</c:v>
                </c:pt>
                <c:pt idx="43887">
                  <c:v>0.78271803103263704</c:v>
                </c:pt>
                <c:pt idx="43888">
                  <c:v>0.782735865881933</c:v>
                </c:pt>
                <c:pt idx="43889">
                  <c:v>0.78275370073122796</c:v>
                </c:pt>
                <c:pt idx="43890">
                  <c:v>0.78277153558052404</c:v>
                </c:pt>
                <c:pt idx="43891">
                  <c:v>0.782789370429819</c:v>
                </c:pt>
                <c:pt idx="43892">
                  <c:v>0.78280720527911496</c:v>
                </c:pt>
                <c:pt idx="43893">
                  <c:v>0.78282504012841003</c:v>
                </c:pt>
                <c:pt idx="43894">
                  <c:v>0.78284287497770599</c:v>
                </c:pt>
                <c:pt idx="43895">
                  <c:v>0.78286070982700195</c:v>
                </c:pt>
                <c:pt idx="43896">
                  <c:v>0.78287854467629703</c:v>
                </c:pt>
                <c:pt idx="43897">
                  <c:v>0.78289637952559299</c:v>
                </c:pt>
                <c:pt idx="43898">
                  <c:v>0.78291421437488795</c:v>
                </c:pt>
                <c:pt idx="43899">
                  <c:v>0.78293204922418402</c:v>
                </c:pt>
                <c:pt idx="43900">
                  <c:v>0.78294988407347899</c:v>
                </c:pt>
                <c:pt idx="43901">
                  <c:v>0.78296771892277495</c:v>
                </c:pt>
                <c:pt idx="43902">
                  <c:v>0.78298555377207002</c:v>
                </c:pt>
                <c:pt idx="43903">
                  <c:v>0.78300338862136598</c:v>
                </c:pt>
                <c:pt idx="43904">
                  <c:v>0.78302122347066105</c:v>
                </c:pt>
                <c:pt idx="43905">
                  <c:v>0.78303905831995702</c:v>
                </c:pt>
                <c:pt idx="43906">
                  <c:v>0.78305689316925198</c:v>
                </c:pt>
                <c:pt idx="43907">
                  <c:v>0.78307472801854805</c:v>
                </c:pt>
                <c:pt idx="43908">
                  <c:v>0.78309256286784301</c:v>
                </c:pt>
                <c:pt idx="43909">
                  <c:v>0.78311039771713897</c:v>
                </c:pt>
                <c:pt idx="43910">
                  <c:v>0.78312823256643405</c:v>
                </c:pt>
                <c:pt idx="43911">
                  <c:v>0.78314606741573001</c:v>
                </c:pt>
                <c:pt idx="43912">
                  <c:v>0.78316390226502497</c:v>
                </c:pt>
                <c:pt idx="43913">
                  <c:v>0.78318173711432104</c:v>
                </c:pt>
                <c:pt idx="43914">
                  <c:v>0.783199571963616</c:v>
                </c:pt>
                <c:pt idx="43915">
                  <c:v>0.78321740681291196</c:v>
                </c:pt>
                <c:pt idx="43916">
                  <c:v>0.78323524166220704</c:v>
                </c:pt>
                <c:pt idx="43917">
                  <c:v>0.783253076511503</c:v>
                </c:pt>
                <c:pt idx="43918">
                  <c:v>0.78327091136079896</c:v>
                </c:pt>
                <c:pt idx="43919">
                  <c:v>0.78328874621009403</c:v>
                </c:pt>
                <c:pt idx="43920">
                  <c:v>0.78330658105938999</c:v>
                </c:pt>
                <c:pt idx="43921">
                  <c:v>0.78332441590868496</c:v>
                </c:pt>
                <c:pt idx="43922">
                  <c:v>0.78334225075798103</c:v>
                </c:pt>
                <c:pt idx="43923">
                  <c:v>0.78336008560727599</c:v>
                </c:pt>
                <c:pt idx="43924">
                  <c:v>0.78337792045657195</c:v>
                </c:pt>
                <c:pt idx="43925">
                  <c:v>0.78339575530586703</c:v>
                </c:pt>
                <c:pt idx="43926">
                  <c:v>0.78341359015516299</c:v>
                </c:pt>
                <c:pt idx="43927">
                  <c:v>0.78343142500445795</c:v>
                </c:pt>
                <c:pt idx="43928">
                  <c:v>0.78344925985375402</c:v>
                </c:pt>
                <c:pt idx="43929">
                  <c:v>0.78346709470304898</c:v>
                </c:pt>
                <c:pt idx="43930">
                  <c:v>0.78348492955234506</c:v>
                </c:pt>
                <c:pt idx="43931">
                  <c:v>0.78350276440164002</c:v>
                </c:pt>
                <c:pt idx="43932">
                  <c:v>0.78352059925093598</c:v>
                </c:pt>
                <c:pt idx="43933">
                  <c:v>0.78353843410023105</c:v>
                </c:pt>
                <c:pt idx="43934">
                  <c:v>0.78355626894952701</c:v>
                </c:pt>
                <c:pt idx="43935">
                  <c:v>0.78357410379882197</c:v>
                </c:pt>
                <c:pt idx="43936">
                  <c:v>0.78359193864811805</c:v>
                </c:pt>
                <c:pt idx="43937">
                  <c:v>0.78360977349741301</c:v>
                </c:pt>
                <c:pt idx="43938">
                  <c:v>0.78362760834670897</c:v>
                </c:pt>
                <c:pt idx="43939">
                  <c:v>0.78364544319600504</c:v>
                </c:pt>
                <c:pt idx="43940">
                  <c:v>0.7836632780453</c:v>
                </c:pt>
                <c:pt idx="43941">
                  <c:v>0.78368111289459597</c:v>
                </c:pt>
                <c:pt idx="43942">
                  <c:v>0.78369894774389104</c:v>
                </c:pt>
                <c:pt idx="43943">
                  <c:v>0.783716782593187</c:v>
                </c:pt>
                <c:pt idx="43944">
                  <c:v>0.78373461744248196</c:v>
                </c:pt>
                <c:pt idx="43945">
                  <c:v>0.78375245229177803</c:v>
                </c:pt>
                <c:pt idx="43946">
                  <c:v>0.783770287141073</c:v>
                </c:pt>
                <c:pt idx="43947">
                  <c:v>0.78378812199036896</c:v>
                </c:pt>
                <c:pt idx="43948">
                  <c:v>0.78380595683966403</c:v>
                </c:pt>
                <c:pt idx="43949">
                  <c:v>0.78382379168895999</c:v>
                </c:pt>
                <c:pt idx="43950">
                  <c:v>0.78384162653825495</c:v>
                </c:pt>
                <c:pt idx="43951">
                  <c:v>0.78385946138755103</c:v>
                </c:pt>
                <c:pt idx="43952">
                  <c:v>0.78387729623684599</c:v>
                </c:pt>
                <c:pt idx="43953">
                  <c:v>0.78389513108614195</c:v>
                </c:pt>
                <c:pt idx="43954">
                  <c:v>0.78391296593543702</c:v>
                </c:pt>
                <c:pt idx="43955">
                  <c:v>0.78393080078473298</c:v>
                </c:pt>
                <c:pt idx="43956">
                  <c:v>0.78394863563402895</c:v>
                </c:pt>
                <c:pt idx="43957">
                  <c:v>0.78396647048332402</c:v>
                </c:pt>
                <c:pt idx="43958">
                  <c:v>0.78398430533261998</c:v>
                </c:pt>
                <c:pt idx="43959">
                  <c:v>0.78400214018191505</c:v>
                </c:pt>
                <c:pt idx="43960">
                  <c:v>0.78401997503121101</c:v>
                </c:pt>
                <c:pt idx="43961">
                  <c:v>0.78403780988050598</c:v>
                </c:pt>
                <c:pt idx="43962">
                  <c:v>0.78405564472980205</c:v>
                </c:pt>
                <c:pt idx="43963">
                  <c:v>0.78407347957909701</c:v>
                </c:pt>
                <c:pt idx="43964">
                  <c:v>0.78409131442839297</c:v>
                </c:pt>
                <c:pt idx="43965">
                  <c:v>0.78410914927768804</c:v>
                </c:pt>
                <c:pt idx="43966">
                  <c:v>0.78412698412698401</c:v>
                </c:pt>
                <c:pt idx="43967">
                  <c:v>0.78414481897627897</c:v>
                </c:pt>
                <c:pt idx="43968">
                  <c:v>0.78416265382557504</c:v>
                </c:pt>
                <c:pt idx="43969">
                  <c:v>0.78418048867487</c:v>
                </c:pt>
                <c:pt idx="43970">
                  <c:v>0.78419832352416596</c:v>
                </c:pt>
                <c:pt idx="43971">
                  <c:v>0.78421615837346104</c:v>
                </c:pt>
                <c:pt idx="43972">
                  <c:v>0.784233993222757</c:v>
                </c:pt>
                <c:pt idx="43973">
                  <c:v>0.78425182807205196</c:v>
                </c:pt>
                <c:pt idx="43974">
                  <c:v>0.78426966292134803</c:v>
                </c:pt>
                <c:pt idx="43975">
                  <c:v>0.78428749777064299</c:v>
                </c:pt>
                <c:pt idx="43976">
                  <c:v>0.78430533261993896</c:v>
                </c:pt>
                <c:pt idx="43977">
                  <c:v>0.78432316746923403</c:v>
                </c:pt>
                <c:pt idx="43978">
                  <c:v>0.78434100231852999</c:v>
                </c:pt>
                <c:pt idx="43979">
                  <c:v>0.78435883716782595</c:v>
                </c:pt>
                <c:pt idx="43980">
                  <c:v>0.78437667201712102</c:v>
                </c:pt>
                <c:pt idx="43981">
                  <c:v>0.78439450686641699</c:v>
                </c:pt>
                <c:pt idx="43982">
                  <c:v>0.78441234171571195</c:v>
                </c:pt>
                <c:pt idx="43983">
                  <c:v>0.78443017656500802</c:v>
                </c:pt>
                <c:pt idx="43984">
                  <c:v>0.78444801141430298</c:v>
                </c:pt>
                <c:pt idx="43985">
                  <c:v>0.78446584626359905</c:v>
                </c:pt>
                <c:pt idx="43986">
                  <c:v>0.78448368111289402</c:v>
                </c:pt>
                <c:pt idx="43987">
                  <c:v>0.78450151596218998</c:v>
                </c:pt>
                <c:pt idx="43988">
                  <c:v>0.78451935081148505</c:v>
                </c:pt>
                <c:pt idx="43989">
                  <c:v>0.78453718566078101</c:v>
                </c:pt>
                <c:pt idx="43990">
                  <c:v>0.78455502051007597</c:v>
                </c:pt>
                <c:pt idx="43991">
                  <c:v>0.78457285535937205</c:v>
                </c:pt>
                <c:pt idx="43992">
                  <c:v>0.78459069020866701</c:v>
                </c:pt>
                <c:pt idx="43993">
                  <c:v>0.78460852505796297</c:v>
                </c:pt>
                <c:pt idx="43994">
                  <c:v>0.78462635990725804</c:v>
                </c:pt>
                <c:pt idx="43995">
                  <c:v>0.784644194756554</c:v>
                </c:pt>
                <c:pt idx="43996">
                  <c:v>0.78466202960584897</c:v>
                </c:pt>
                <c:pt idx="43997">
                  <c:v>0.78467986445514504</c:v>
                </c:pt>
                <c:pt idx="43998">
                  <c:v>0.78469769930444</c:v>
                </c:pt>
                <c:pt idx="43999">
                  <c:v>0.78471553415373596</c:v>
                </c:pt>
                <c:pt idx="44000">
                  <c:v>0.78473336900303103</c:v>
                </c:pt>
                <c:pt idx="44001">
                  <c:v>0.784751203852327</c:v>
                </c:pt>
                <c:pt idx="44002">
                  <c:v>0.78476903870162296</c:v>
                </c:pt>
                <c:pt idx="44003">
                  <c:v>0.78478687355091803</c:v>
                </c:pt>
                <c:pt idx="44004">
                  <c:v>0.78480470840021399</c:v>
                </c:pt>
                <c:pt idx="44005">
                  <c:v>0.78482254324950895</c:v>
                </c:pt>
                <c:pt idx="44006">
                  <c:v>0.78484037809880502</c:v>
                </c:pt>
                <c:pt idx="44007">
                  <c:v>0.78485821294809999</c:v>
                </c:pt>
                <c:pt idx="44008">
                  <c:v>0.78487604779739595</c:v>
                </c:pt>
                <c:pt idx="44009">
                  <c:v>0.78489388264669102</c:v>
                </c:pt>
                <c:pt idx="44010">
                  <c:v>0.78491171749598698</c:v>
                </c:pt>
                <c:pt idx="44011">
                  <c:v>0.78492955234528194</c:v>
                </c:pt>
                <c:pt idx="44012">
                  <c:v>0.78494738719457802</c:v>
                </c:pt>
                <c:pt idx="44013">
                  <c:v>0.78496522204387298</c:v>
                </c:pt>
                <c:pt idx="44014">
                  <c:v>0.78498305689316905</c:v>
                </c:pt>
                <c:pt idx="44015">
                  <c:v>0.78500089174246401</c:v>
                </c:pt>
                <c:pt idx="44016">
                  <c:v>0.78501872659175997</c:v>
                </c:pt>
                <c:pt idx="44017">
                  <c:v>0.78503656144105505</c:v>
                </c:pt>
                <c:pt idx="44018">
                  <c:v>0.78505439629035101</c:v>
                </c:pt>
                <c:pt idx="44019">
                  <c:v>0.78507223113964597</c:v>
                </c:pt>
                <c:pt idx="44020">
                  <c:v>0.78509006598894204</c:v>
                </c:pt>
                <c:pt idx="44021">
                  <c:v>0.78510790083823701</c:v>
                </c:pt>
                <c:pt idx="44022">
                  <c:v>0.78512573568753297</c:v>
                </c:pt>
                <c:pt idx="44023">
                  <c:v>0.78514357053682804</c:v>
                </c:pt>
                <c:pt idx="44024">
                  <c:v>0.785161405386124</c:v>
                </c:pt>
                <c:pt idx="44025">
                  <c:v>0.78517924023541996</c:v>
                </c:pt>
                <c:pt idx="44026">
                  <c:v>0.78519707508471503</c:v>
                </c:pt>
                <c:pt idx="44027">
                  <c:v>0.785214909934011</c:v>
                </c:pt>
                <c:pt idx="44028">
                  <c:v>0.78523274478330596</c:v>
                </c:pt>
                <c:pt idx="44029">
                  <c:v>0.78525057963260203</c:v>
                </c:pt>
                <c:pt idx="44030">
                  <c:v>0.78526841448189699</c:v>
                </c:pt>
                <c:pt idx="44031">
                  <c:v>0.78528624933119295</c:v>
                </c:pt>
                <c:pt idx="44032">
                  <c:v>0.78530408418048803</c:v>
                </c:pt>
                <c:pt idx="44033">
                  <c:v>0.78532191902978399</c:v>
                </c:pt>
                <c:pt idx="44034">
                  <c:v>0.78533975387907895</c:v>
                </c:pt>
                <c:pt idx="44035">
                  <c:v>0.78535758872837502</c:v>
                </c:pt>
                <c:pt idx="44036">
                  <c:v>0.78537542357766998</c:v>
                </c:pt>
                <c:pt idx="44037">
                  <c:v>0.78539325842696595</c:v>
                </c:pt>
                <c:pt idx="44038">
                  <c:v>0.78541109327626102</c:v>
                </c:pt>
                <c:pt idx="44039">
                  <c:v>0.78542892812555698</c:v>
                </c:pt>
                <c:pt idx="44040">
                  <c:v>0.78544676297485205</c:v>
                </c:pt>
                <c:pt idx="44041">
                  <c:v>0.78546459782414801</c:v>
                </c:pt>
                <c:pt idx="44042">
                  <c:v>0.78548243267344298</c:v>
                </c:pt>
                <c:pt idx="44043">
                  <c:v>0.78550026752273905</c:v>
                </c:pt>
                <c:pt idx="44044">
                  <c:v>0.78551810237203501</c:v>
                </c:pt>
                <c:pt idx="44045">
                  <c:v>0.78553593722132997</c:v>
                </c:pt>
                <c:pt idx="44046">
                  <c:v>0.78555377207062604</c:v>
                </c:pt>
                <c:pt idx="44047">
                  <c:v>0.78557160691992101</c:v>
                </c:pt>
                <c:pt idx="44048">
                  <c:v>0.78558944176921697</c:v>
                </c:pt>
                <c:pt idx="44049">
                  <c:v>0.78560727661851204</c:v>
                </c:pt>
                <c:pt idx="44050">
                  <c:v>0.785625111467808</c:v>
                </c:pt>
                <c:pt idx="44051">
                  <c:v>0.78564294631710296</c:v>
                </c:pt>
                <c:pt idx="44052">
                  <c:v>0.78566078116639904</c:v>
                </c:pt>
                <c:pt idx="44053">
                  <c:v>0.785678616015694</c:v>
                </c:pt>
                <c:pt idx="44054">
                  <c:v>0.78569645086498996</c:v>
                </c:pt>
                <c:pt idx="44055">
                  <c:v>0.78571428571428503</c:v>
                </c:pt>
                <c:pt idx="44056">
                  <c:v>0.78573212056358099</c:v>
                </c:pt>
                <c:pt idx="44057">
                  <c:v>0.78574995541287596</c:v>
                </c:pt>
                <c:pt idx="44058">
                  <c:v>0.78576779026217203</c:v>
                </c:pt>
                <c:pt idx="44059">
                  <c:v>0.78578562511146699</c:v>
                </c:pt>
                <c:pt idx="44060">
                  <c:v>0.78580345996076295</c:v>
                </c:pt>
                <c:pt idx="44061">
                  <c:v>0.78582129481005802</c:v>
                </c:pt>
                <c:pt idx="44062">
                  <c:v>0.78583912965935399</c:v>
                </c:pt>
                <c:pt idx="44063">
                  <c:v>0.78585696450864995</c:v>
                </c:pt>
                <c:pt idx="44064">
                  <c:v>0.78587479935794502</c:v>
                </c:pt>
                <c:pt idx="44065">
                  <c:v>0.78589263420724098</c:v>
                </c:pt>
                <c:pt idx="44066">
                  <c:v>0.78591046905653605</c:v>
                </c:pt>
                <c:pt idx="44067">
                  <c:v>0.78592830390583202</c:v>
                </c:pt>
                <c:pt idx="44068">
                  <c:v>0.78594613875512698</c:v>
                </c:pt>
                <c:pt idx="44069">
                  <c:v>0.78596397360442305</c:v>
                </c:pt>
                <c:pt idx="44070">
                  <c:v>0.78598180845371801</c:v>
                </c:pt>
                <c:pt idx="44071">
                  <c:v>0.78599964330301397</c:v>
                </c:pt>
                <c:pt idx="44072">
                  <c:v>0.78601747815230905</c:v>
                </c:pt>
                <c:pt idx="44073">
                  <c:v>0.78603531300160501</c:v>
                </c:pt>
                <c:pt idx="44074">
                  <c:v>0.78605314785089997</c:v>
                </c:pt>
                <c:pt idx="44075">
                  <c:v>0.78607098270019604</c:v>
                </c:pt>
                <c:pt idx="44076">
                  <c:v>0.786088817549491</c:v>
                </c:pt>
                <c:pt idx="44077">
                  <c:v>0.78610665239878696</c:v>
                </c:pt>
                <c:pt idx="44078">
                  <c:v>0.78612448724808204</c:v>
                </c:pt>
                <c:pt idx="44079">
                  <c:v>0.786142322097378</c:v>
                </c:pt>
                <c:pt idx="44080">
                  <c:v>0.78616015694667296</c:v>
                </c:pt>
                <c:pt idx="44081">
                  <c:v>0.78617799179596903</c:v>
                </c:pt>
                <c:pt idx="44082">
                  <c:v>0.786195826645264</c:v>
                </c:pt>
                <c:pt idx="44083">
                  <c:v>0.78621366149455996</c:v>
                </c:pt>
                <c:pt idx="44084">
                  <c:v>0.78623149634385503</c:v>
                </c:pt>
                <c:pt idx="44085">
                  <c:v>0.78624933119315099</c:v>
                </c:pt>
                <c:pt idx="44086">
                  <c:v>0.78626716604244695</c:v>
                </c:pt>
                <c:pt idx="44087">
                  <c:v>0.78628500089174203</c:v>
                </c:pt>
                <c:pt idx="44088">
                  <c:v>0.78630283574103799</c:v>
                </c:pt>
                <c:pt idx="44089">
                  <c:v>0.78632067059033295</c:v>
                </c:pt>
                <c:pt idx="44090">
                  <c:v>0.78633850543962902</c:v>
                </c:pt>
                <c:pt idx="44091">
                  <c:v>0.78635634028892398</c:v>
                </c:pt>
                <c:pt idx="44092">
                  <c:v>0.78637417513822006</c:v>
                </c:pt>
                <c:pt idx="44093">
                  <c:v>0.78639200998751502</c:v>
                </c:pt>
                <c:pt idx="44094">
                  <c:v>0.78640984483681098</c:v>
                </c:pt>
                <c:pt idx="44095">
                  <c:v>0.78642767968610605</c:v>
                </c:pt>
                <c:pt idx="44096">
                  <c:v>0.78644551453540201</c:v>
                </c:pt>
                <c:pt idx="44097">
                  <c:v>0.78646334938469697</c:v>
                </c:pt>
                <c:pt idx="44098">
                  <c:v>0.78648118423399305</c:v>
                </c:pt>
                <c:pt idx="44099">
                  <c:v>0.78649901908328801</c:v>
                </c:pt>
                <c:pt idx="44100">
                  <c:v>0.78651685393258397</c:v>
                </c:pt>
                <c:pt idx="44101">
                  <c:v>0.78653468878187904</c:v>
                </c:pt>
                <c:pt idx="44102">
                  <c:v>0.786552523631175</c:v>
                </c:pt>
                <c:pt idx="44103">
                  <c:v>0.78657035848046997</c:v>
                </c:pt>
                <c:pt idx="44104">
                  <c:v>0.78658819332976604</c:v>
                </c:pt>
                <c:pt idx="44105">
                  <c:v>0.786606028179061</c:v>
                </c:pt>
                <c:pt idx="44106">
                  <c:v>0.78662386302835696</c:v>
                </c:pt>
                <c:pt idx="44107">
                  <c:v>0.78664169787765204</c:v>
                </c:pt>
                <c:pt idx="44108">
                  <c:v>0.786659532726948</c:v>
                </c:pt>
                <c:pt idx="44109">
                  <c:v>0.78667736757624396</c:v>
                </c:pt>
                <c:pt idx="44110">
                  <c:v>0.78669520242553903</c:v>
                </c:pt>
                <c:pt idx="44111">
                  <c:v>0.78671303727483499</c:v>
                </c:pt>
                <c:pt idx="44112">
                  <c:v>0.78673087212412995</c:v>
                </c:pt>
                <c:pt idx="44113">
                  <c:v>0.78674870697342603</c:v>
                </c:pt>
                <c:pt idx="44114">
                  <c:v>0.78676654182272099</c:v>
                </c:pt>
                <c:pt idx="44115">
                  <c:v>0.78678437667201695</c:v>
                </c:pt>
                <c:pt idx="44116">
                  <c:v>0.78680221152131202</c:v>
                </c:pt>
                <c:pt idx="44117">
                  <c:v>0.78682004637060798</c:v>
                </c:pt>
                <c:pt idx="44118">
                  <c:v>0.78683788121990295</c:v>
                </c:pt>
                <c:pt idx="44119">
                  <c:v>0.78685571606919902</c:v>
                </c:pt>
                <c:pt idx="44120">
                  <c:v>0.78687355091849398</c:v>
                </c:pt>
                <c:pt idx="44121">
                  <c:v>0.78689138576779005</c:v>
                </c:pt>
                <c:pt idx="44122">
                  <c:v>0.78690922061708501</c:v>
                </c:pt>
                <c:pt idx="44123">
                  <c:v>0.78692705546638098</c:v>
                </c:pt>
                <c:pt idx="44124">
                  <c:v>0.78694489031567605</c:v>
                </c:pt>
                <c:pt idx="44125">
                  <c:v>0.78696272516497201</c:v>
                </c:pt>
                <c:pt idx="44126">
                  <c:v>0.78698056001426697</c:v>
                </c:pt>
                <c:pt idx="44127">
                  <c:v>0.78699839486356304</c:v>
                </c:pt>
                <c:pt idx="44128">
                  <c:v>0.78701622971285801</c:v>
                </c:pt>
                <c:pt idx="44129">
                  <c:v>0.78703406456215397</c:v>
                </c:pt>
                <c:pt idx="44130">
                  <c:v>0.78705189941144904</c:v>
                </c:pt>
                <c:pt idx="44131">
                  <c:v>0.787069734260745</c:v>
                </c:pt>
                <c:pt idx="44132">
                  <c:v>0.78708756911004096</c:v>
                </c:pt>
                <c:pt idx="44133">
                  <c:v>0.78710540395933604</c:v>
                </c:pt>
                <c:pt idx="44134">
                  <c:v>0.787123238808632</c:v>
                </c:pt>
                <c:pt idx="44135">
                  <c:v>0.78714107365792696</c:v>
                </c:pt>
                <c:pt idx="44136">
                  <c:v>0.78715890850722303</c:v>
                </c:pt>
                <c:pt idx="44137">
                  <c:v>0.78717674335651799</c:v>
                </c:pt>
                <c:pt idx="44138">
                  <c:v>0.78719457820581396</c:v>
                </c:pt>
                <c:pt idx="44139">
                  <c:v>0.78721241305510903</c:v>
                </c:pt>
                <c:pt idx="44140">
                  <c:v>0.78723024790440499</c:v>
                </c:pt>
                <c:pt idx="44141">
                  <c:v>0.78724808275369995</c:v>
                </c:pt>
                <c:pt idx="44142">
                  <c:v>0.78726591760299602</c:v>
                </c:pt>
                <c:pt idx="44143">
                  <c:v>0.78728375245229099</c:v>
                </c:pt>
                <c:pt idx="44144">
                  <c:v>0.78730158730158695</c:v>
                </c:pt>
                <c:pt idx="44145">
                  <c:v>0.78731942215088202</c:v>
                </c:pt>
                <c:pt idx="44146">
                  <c:v>0.78733725700017798</c:v>
                </c:pt>
                <c:pt idx="44147">
                  <c:v>0.78735509184947305</c:v>
                </c:pt>
                <c:pt idx="44148">
                  <c:v>0.78737292669876902</c:v>
                </c:pt>
                <c:pt idx="44149">
                  <c:v>0.78739076154806398</c:v>
                </c:pt>
                <c:pt idx="44150">
                  <c:v>0.78740859639736005</c:v>
                </c:pt>
                <c:pt idx="44151">
                  <c:v>0.78742643124665601</c:v>
                </c:pt>
                <c:pt idx="44152">
                  <c:v>0.78744426609595097</c:v>
                </c:pt>
                <c:pt idx="44153">
                  <c:v>0.78746210094524705</c:v>
                </c:pt>
                <c:pt idx="44154">
                  <c:v>0.78747993579454201</c:v>
                </c:pt>
                <c:pt idx="44155">
                  <c:v>0.78749777064383797</c:v>
                </c:pt>
                <c:pt idx="44156">
                  <c:v>0.78751560549313304</c:v>
                </c:pt>
                <c:pt idx="44157">
                  <c:v>0.787533440342429</c:v>
                </c:pt>
                <c:pt idx="44158">
                  <c:v>0.78755127519172397</c:v>
                </c:pt>
                <c:pt idx="44159">
                  <c:v>0.78756911004102004</c:v>
                </c:pt>
                <c:pt idx="44160">
                  <c:v>0.787586944890315</c:v>
                </c:pt>
                <c:pt idx="44161">
                  <c:v>0.78760477973961096</c:v>
                </c:pt>
                <c:pt idx="44162">
                  <c:v>0.78762261458890603</c:v>
                </c:pt>
                <c:pt idx="44163">
                  <c:v>0.78764044943820199</c:v>
                </c:pt>
                <c:pt idx="44164">
                  <c:v>0.78765828428749696</c:v>
                </c:pt>
                <c:pt idx="44165">
                  <c:v>0.78767611913679303</c:v>
                </c:pt>
                <c:pt idx="44166">
                  <c:v>0.78769395398608799</c:v>
                </c:pt>
                <c:pt idx="44167">
                  <c:v>0.78771178883538395</c:v>
                </c:pt>
                <c:pt idx="44168">
                  <c:v>0.78772962368467903</c:v>
                </c:pt>
                <c:pt idx="44169">
                  <c:v>0.78774745853397499</c:v>
                </c:pt>
                <c:pt idx="44170">
                  <c:v>0.78776529338327095</c:v>
                </c:pt>
                <c:pt idx="44171">
                  <c:v>0.78778312823256602</c:v>
                </c:pt>
                <c:pt idx="44172">
                  <c:v>0.78780096308186198</c:v>
                </c:pt>
                <c:pt idx="44173">
                  <c:v>0.78781879793115706</c:v>
                </c:pt>
                <c:pt idx="44174">
                  <c:v>0.78783663278045302</c:v>
                </c:pt>
                <c:pt idx="44175">
                  <c:v>0.78785446762974798</c:v>
                </c:pt>
                <c:pt idx="44176">
                  <c:v>0.78787230247904405</c:v>
                </c:pt>
                <c:pt idx="44177">
                  <c:v>0.78789013732833901</c:v>
                </c:pt>
                <c:pt idx="44178">
                  <c:v>0.78790797217763497</c:v>
                </c:pt>
                <c:pt idx="44179">
                  <c:v>0.78792580702693005</c:v>
                </c:pt>
                <c:pt idx="44180">
                  <c:v>0.78794364187622601</c:v>
                </c:pt>
                <c:pt idx="44181">
                  <c:v>0.78796147672552097</c:v>
                </c:pt>
                <c:pt idx="44182">
                  <c:v>0.78797931157481704</c:v>
                </c:pt>
                <c:pt idx="44183">
                  <c:v>0.787997146424112</c:v>
                </c:pt>
                <c:pt idx="44184">
                  <c:v>0.78801498127340797</c:v>
                </c:pt>
                <c:pt idx="44185">
                  <c:v>0.78803281612270304</c:v>
                </c:pt>
                <c:pt idx="44186">
                  <c:v>0.788050650971999</c:v>
                </c:pt>
                <c:pt idx="44187">
                  <c:v>0.78806848582129396</c:v>
                </c:pt>
                <c:pt idx="44188">
                  <c:v>0.78808632067059003</c:v>
                </c:pt>
                <c:pt idx="44189">
                  <c:v>0.788104155519885</c:v>
                </c:pt>
                <c:pt idx="44190">
                  <c:v>0.78812199036918096</c:v>
                </c:pt>
                <c:pt idx="44191">
                  <c:v>0.78813982521847603</c:v>
                </c:pt>
                <c:pt idx="44192">
                  <c:v>0.78815766006777199</c:v>
                </c:pt>
                <c:pt idx="44193">
                  <c:v>0.78817549491706795</c:v>
                </c:pt>
                <c:pt idx="44194">
                  <c:v>0.78819332976636303</c:v>
                </c:pt>
                <c:pt idx="44195">
                  <c:v>0.78821116461565899</c:v>
                </c:pt>
                <c:pt idx="44196">
                  <c:v>0.78822899946495395</c:v>
                </c:pt>
                <c:pt idx="44197">
                  <c:v>0.78824683431425002</c:v>
                </c:pt>
                <c:pt idx="44198">
                  <c:v>0.78826466916354498</c:v>
                </c:pt>
                <c:pt idx="44199">
                  <c:v>0.78828250401284095</c:v>
                </c:pt>
                <c:pt idx="44200">
                  <c:v>0.78830033886213602</c:v>
                </c:pt>
                <c:pt idx="44201">
                  <c:v>0.78831817371143198</c:v>
                </c:pt>
                <c:pt idx="44202">
                  <c:v>0.78833600856072705</c:v>
                </c:pt>
                <c:pt idx="44203">
                  <c:v>0.78835384341002301</c:v>
                </c:pt>
                <c:pt idx="44204">
                  <c:v>0.78837167825931798</c:v>
                </c:pt>
                <c:pt idx="44205">
                  <c:v>0.78838951310861405</c:v>
                </c:pt>
                <c:pt idx="44206">
                  <c:v>0.78840734795790901</c:v>
                </c:pt>
                <c:pt idx="44207">
                  <c:v>0.78842518280720497</c:v>
                </c:pt>
                <c:pt idx="44208">
                  <c:v>0.78844301765650004</c:v>
                </c:pt>
                <c:pt idx="44209">
                  <c:v>0.78846085250579601</c:v>
                </c:pt>
                <c:pt idx="44210">
                  <c:v>0.78847868735509097</c:v>
                </c:pt>
                <c:pt idx="44211">
                  <c:v>0.78849652220438704</c:v>
                </c:pt>
                <c:pt idx="44212">
                  <c:v>0.788514357053682</c:v>
                </c:pt>
                <c:pt idx="44213">
                  <c:v>0.78853219190297796</c:v>
                </c:pt>
                <c:pt idx="44214">
                  <c:v>0.78855002675227304</c:v>
                </c:pt>
                <c:pt idx="44215">
                  <c:v>0.788567861601569</c:v>
                </c:pt>
                <c:pt idx="44216">
                  <c:v>0.78858569645086496</c:v>
                </c:pt>
                <c:pt idx="44217">
                  <c:v>0.78860353130016003</c:v>
                </c:pt>
                <c:pt idx="44218">
                  <c:v>0.78862136614945599</c:v>
                </c:pt>
                <c:pt idx="44219">
                  <c:v>0.78863920099875096</c:v>
                </c:pt>
                <c:pt idx="44220">
                  <c:v>0.78865703584804703</c:v>
                </c:pt>
                <c:pt idx="44221">
                  <c:v>0.78867487069734199</c:v>
                </c:pt>
                <c:pt idx="44222">
                  <c:v>0.78869270554663795</c:v>
                </c:pt>
                <c:pt idx="44223">
                  <c:v>0.78871054039593302</c:v>
                </c:pt>
                <c:pt idx="44224">
                  <c:v>0.78872837524522899</c:v>
                </c:pt>
                <c:pt idx="44225">
                  <c:v>0.78874621009452395</c:v>
                </c:pt>
                <c:pt idx="44226">
                  <c:v>0.78876404494382002</c:v>
                </c:pt>
                <c:pt idx="44227">
                  <c:v>0.78878187979311498</c:v>
                </c:pt>
                <c:pt idx="44228">
                  <c:v>0.78879971464241105</c:v>
                </c:pt>
                <c:pt idx="44229">
                  <c:v>0.78881754949170602</c:v>
                </c:pt>
                <c:pt idx="44230">
                  <c:v>0.78883538434100198</c:v>
                </c:pt>
                <c:pt idx="44231">
                  <c:v>0.78885321919029705</c:v>
                </c:pt>
                <c:pt idx="44232">
                  <c:v>0.78887105403959301</c:v>
                </c:pt>
                <c:pt idx="44233">
                  <c:v>0.78888888888888797</c:v>
                </c:pt>
                <c:pt idx="44234">
                  <c:v>0.78890672373818405</c:v>
                </c:pt>
                <c:pt idx="44235">
                  <c:v>0.78892455858747901</c:v>
                </c:pt>
                <c:pt idx="44236">
                  <c:v>0.78894239343677497</c:v>
                </c:pt>
                <c:pt idx="44237">
                  <c:v>0.78896022828607004</c:v>
                </c:pt>
                <c:pt idx="44238">
                  <c:v>0.788978063135366</c:v>
                </c:pt>
                <c:pt idx="44239">
                  <c:v>0.78899589798466196</c:v>
                </c:pt>
                <c:pt idx="44240">
                  <c:v>0.78901373283395704</c:v>
                </c:pt>
                <c:pt idx="44241">
                  <c:v>0.789031567683253</c:v>
                </c:pt>
                <c:pt idx="44242">
                  <c:v>0.78904940253254796</c:v>
                </c:pt>
                <c:pt idx="44243">
                  <c:v>0.78906723738184403</c:v>
                </c:pt>
                <c:pt idx="44244">
                  <c:v>0.789085072231139</c:v>
                </c:pt>
                <c:pt idx="44245">
                  <c:v>0.78910290708043496</c:v>
                </c:pt>
                <c:pt idx="44246">
                  <c:v>0.78912074192973003</c:v>
                </c:pt>
                <c:pt idx="44247">
                  <c:v>0.78913857677902599</c:v>
                </c:pt>
                <c:pt idx="44248">
                  <c:v>0.78915641162832095</c:v>
                </c:pt>
                <c:pt idx="44249">
                  <c:v>0.78917424647761703</c:v>
                </c:pt>
                <c:pt idx="44250">
                  <c:v>0.78919208132691199</c:v>
                </c:pt>
                <c:pt idx="44251">
                  <c:v>0.78920991617620795</c:v>
                </c:pt>
                <c:pt idx="44252">
                  <c:v>0.78922775102550302</c:v>
                </c:pt>
                <c:pt idx="44253">
                  <c:v>0.78924558587479898</c:v>
                </c:pt>
                <c:pt idx="44254">
                  <c:v>0.78926342072409394</c:v>
                </c:pt>
                <c:pt idx="44255">
                  <c:v>0.78928125557339002</c:v>
                </c:pt>
                <c:pt idx="44256">
                  <c:v>0.78929909042268598</c:v>
                </c:pt>
                <c:pt idx="44257">
                  <c:v>0.78931692527198105</c:v>
                </c:pt>
                <c:pt idx="44258">
                  <c:v>0.78933476012127701</c:v>
                </c:pt>
                <c:pt idx="44259">
                  <c:v>0.78935259497057197</c:v>
                </c:pt>
                <c:pt idx="44260">
                  <c:v>0.78937042981986805</c:v>
                </c:pt>
                <c:pt idx="44261">
                  <c:v>0.78938826466916301</c:v>
                </c:pt>
                <c:pt idx="44262">
                  <c:v>0.78940609951845897</c:v>
                </c:pt>
                <c:pt idx="44263">
                  <c:v>0.78942393436775404</c:v>
                </c:pt>
                <c:pt idx="44264">
                  <c:v>0.78944176921705</c:v>
                </c:pt>
                <c:pt idx="44265">
                  <c:v>0.78945960406634497</c:v>
                </c:pt>
                <c:pt idx="44266">
                  <c:v>0.78947743891564104</c:v>
                </c:pt>
                <c:pt idx="44267">
                  <c:v>0.789495273764936</c:v>
                </c:pt>
                <c:pt idx="44268">
                  <c:v>0.78951310861423196</c:v>
                </c:pt>
                <c:pt idx="44269">
                  <c:v>0.78953094346352704</c:v>
                </c:pt>
                <c:pt idx="44270">
                  <c:v>0.789548778312823</c:v>
                </c:pt>
                <c:pt idx="44271">
                  <c:v>0.78956661316211796</c:v>
                </c:pt>
                <c:pt idx="44272">
                  <c:v>0.78958444801141403</c:v>
                </c:pt>
                <c:pt idx="44273">
                  <c:v>0.78960228286070899</c:v>
                </c:pt>
                <c:pt idx="44274">
                  <c:v>0.78962011771000495</c:v>
                </c:pt>
                <c:pt idx="44275">
                  <c:v>0.78963795255930003</c:v>
                </c:pt>
                <c:pt idx="44276">
                  <c:v>0.78965578740859599</c:v>
                </c:pt>
                <c:pt idx="44277">
                  <c:v>0.78967362225789195</c:v>
                </c:pt>
                <c:pt idx="44278">
                  <c:v>0.78969145710718702</c:v>
                </c:pt>
                <c:pt idx="44279">
                  <c:v>0.78970929195648298</c:v>
                </c:pt>
                <c:pt idx="44280">
                  <c:v>0.78972712680577795</c:v>
                </c:pt>
                <c:pt idx="44281">
                  <c:v>0.78974496165507402</c:v>
                </c:pt>
                <c:pt idx="44282">
                  <c:v>0.78976279650436898</c:v>
                </c:pt>
                <c:pt idx="44283">
                  <c:v>0.78978063135366505</c:v>
                </c:pt>
                <c:pt idx="44284">
                  <c:v>0.78979846620296001</c:v>
                </c:pt>
                <c:pt idx="44285">
                  <c:v>0.78981630105225598</c:v>
                </c:pt>
                <c:pt idx="44286">
                  <c:v>0.78983413590155105</c:v>
                </c:pt>
                <c:pt idx="44287">
                  <c:v>0.78985197075084701</c:v>
                </c:pt>
                <c:pt idx="44288">
                  <c:v>0.78986980560014197</c:v>
                </c:pt>
                <c:pt idx="44289">
                  <c:v>0.78988764044943804</c:v>
                </c:pt>
                <c:pt idx="44290">
                  <c:v>0.78990547529873301</c:v>
                </c:pt>
                <c:pt idx="44291">
                  <c:v>0.78992331014802897</c:v>
                </c:pt>
                <c:pt idx="44292">
                  <c:v>0.78994114499732404</c:v>
                </c:pt>
                <c:pt idx="44293">
                  <c:v>0.78995897984662</c:v>
                </c:pt>
                <c:pt idx="44294">
                  <c:v>0.78997681469591496</c:v>
                </c:pt>
                <c:pt idx="44295">
                  <c:v>0.78999464954521104</c:v>
                </c:pt>
                <c:pt idx="44296">
                  <c:v>0.790012484394506</c:v>
                </c:pt>
                <c:pt idx="44297">
                  <c:v>0.79003031924380196</c:v>
                </c:pt>
                <c:pt idx="44298">
                  <c:v>0.79004815409309703</c:v>
                </c:pt>
                <c:pt idx="44299">
                  <c:v>0.79006598894239299</c:v>
                </c:pt>
                <c:pt idx="44300">
                  <c:v>0.79008382379168896</c:v>
                </c:pt>
                <c:pt idx="44301">
                  <c:v>0.79010165864098403</c:v>
                </c:pt>
                <c:pt idx="44302">
                  <c:v>0.79011949349027999</c:v>
                </c:pt>
                <c:pt idx="44303">
                  <c:v>0.79013732833957495</c:v>
                </c:pt>
                <c:pt idx="44304">
                  <c:v>0.79015516318887102</c:v>
                </c:pt>
                <c:pt idx="44305">
                  <c:v>0.79017299803816599</c:v>
                </c:pt>
                <c:pt idx="44306">
                  <c:v>0.79019083288746195</c:v>
                </c:pt>
                <c:pt idx="44307">
                  <c:v>0.79020866773675702</c:v>
                </c:pt>
                <c:pt idx="44308">
                  <c:v>0.79022650258605298</c:v>
                </c:pt>
                <c:pt idx="44309">
                  <c:v>0.79024433743534805</c:v>
                </c:pt>
                <c:pt idx="44310">
                  <c:v>0.79026217228464402</c:v>
                </c:pt>
                <c:pt idx="44311">
                  <c:v>0.79028000713393898</c:v>
                </c:pt>
                <c:pt idx="44312">
                  <c:v>0.79029784198323505</c:v>
                </c:pt>
                <c:pt idx="44313">
                  <c:v>0.79031567683253001</c:v>
                </c:pt>
                <c:pt idx="44314">
                  <c:v>0.79033351168182597</c:v>
                </c:pt>
                <c:pt idx="44315">
                  <c:v>0.79035134653112105</c:v>
                </c:pt>
                <c:pt idx="44316">
                  <c:v>0.79036918138041701</c:v>
                </c:pt>
                <c:pt idx="44317">
                  <c:v>0.79038701622971197</c:v>
                </c:pt>
                <c:pt idx="44318">
                  <c:v>0.79040485107900804</c:v>
                </c:pt>
                <c:pt idx="44319">
                  <c:v>0.790422685928303</c:v>
                </c:pt>
                <c:pt idx="44320">
                  <c:v>0.79044052077759897</c:v>
                </c:pt>
                <c:pt idx="44321">
                  <c:v>0.79045835562689404</c:v>
                </c:pt>
                <c:pt idx="44322">
                  <c:v>0.79047619047619</c:v>
                </c:pt>
                <c:pt idx="44323">
                  <c:v>0.79049402532548596</c:v>
                </c:pt>
                <c:pt idx="44324">
                  <c:v>0.79051186017478103</c:v>
                </c:pt>
                <c:pt idx="44325">
                  <c:v>0.79052969502407699</c:v>
                </c:pt>
                <c:pt idx="44326">
                  <c:v>0.79054752987337196</c:v>
                </c:pt>
                <c:pt idx="44327">
                  <c:v>0.79056536472266803</c:v>
                </c:pt>
                <c:pt idx="44328">
                  <c:v>0.79058319957196299</c:v>
                </c:pt>
                <c:pt idx="44329">
                  <c:v>0.79060103442125895</c:v>
                </c:pt>
                <c:pt idx="44330">
                  <c:v>0.79061886927055403</c:v>
                </c:pt>
                <c:pt idx="44331">
                  <c:v>0.79063670411984999</c:v>
                </c:pt>
                <c:pt idx="44332">
                  <c:v>0.79065453896914495</c:v>
                </c:pt>
                <c:pt idx="44333">
                  <c:v>0.79067237381844102</c:v>
                </c:pt>
                <c:pt idx="44334">
                  <c:v>0.79069020866773598</c:v>
                </c:pt>
                <c:pt idx="44335">
                  <c:v>0.79070804351703206</c:v>
                </c:pt>
                <c:pt idx="44336">
                  <c:v>0.79072587836632702</c:v>
                </c:pt>
                <c:pt idx="44337">
                  <c:v>0.79074371321562298</c:v>
                </c:pt>
                <c:pt idx="44338">
                  <c:v>0.79076154806491805</c:v>
                </c:pt>
                <c:pt idx="44339">
                  <c:v>0.79077938291421401</c:v>
                </c:pt>
                <c:pt idx="44340">
                  <c:v>0.79079721776350897</c:v>
                </c:pt>
                <c:pt idx="44341">
                  <c:v>0.79081505261280505</c:v>
                </c:pt>
                <c:pt idx="44342">
                  <c:v>0.79083288746210001</c:v>
                </c:pt>
                <c:pt idx="44343">
                  <c:v>0.79085072231139597</c:v>
                </c:pt>
                <c:pt idx="44344">
                  <c:v>0.79086855716069204</c:v>
                </c:pt>
                <c:pt idx="44345">
                  <c:v>0.790886392009987</c:v>
                </c:pt>
                <c:pt idx="44346">
                  <c:v>0.79090422685928297</c:v>
                </c:pt>
                <c:pt idx="44347">
                  <c:v>0.79092206170857804</c:v>
                </c:pt>
                <c:pt idx="44348">
                  <c:v>0.790939896557874</c:v>
                </c:pt>
                <c:pt idx="44349">
                  <c:v>0.79095773140716896</c:v>
                </c:pt>
                <c:pt idx="44350">
                  <c:v>0.79097556625646503</c:v>
                </c:pt>
                <c:pt idx="44351">
                  <c:v>0.79099340110576</c:v>
                </c:pt>
                <c:pt idx="44352">
                  <c:v>0.79101123595505596</c:v>
                </c:pt>
                <c:pt idx="44353">
                  <c:v>0.79102907080435103</c:v>
                </c:pt>
                <c:pt idx="44354">
                  <c:v>0.79104690565364699</c:v>
                </c:pt>
                <c:pt idx="44355">
                  <c:v>0.79106474050294195</c:v>
                </c:pt>
                <c:pt idx="44356">
                  <c:v>0.79108257535223803</c:v>
                </c:pt>
                <c:pt idx="44357">
                  <c:v>0.79110041020153299</c:v>
                </c:pt>
                <c:pt idx="44358">
                  <c:v>0.79111824505082895</c:v>
                </c:pt>
                <c:pt idx="44359">
                  <c:v>0.79113607990012402</c:v>
                </c:pt>
                <c:pt idx="44360">
                  <c:v>0.79115391474941998</c:v>
                </c:pt>
                <c:pt idx="44361">
                  <c:v>0.79117174959871595</c:v>
                </c:pt>
                <c:pt idx="44362">
                  <c:v>0.79118958444801102</c:v>
                </c:pt>
                <c:pt idx="44363">
                  <c:v>0.79120741929730698</c:v>
                </c:pt>
                <c:pt idx="44364">
                  <c:v>0.79122525414660205</c:v>
                </c:pt>
                <c:pt idx="44365">
                  <c:v>0.79124308899589801</c:v>
                </c:pt>
                <c:pt idx="44366">
                  <c:v>0.79126092384519298</c:v>
                </c:pt>
                <c:pt idx="44367">
                  <c:v>0.79127875869448905</c:v>
                </c:pt>
                <c:pt idx="44368">
                  <c:v>0.79129659354378401</c:v>
                </c:pt>
                <c:pt idx="44369">
                  <c:v>0.79131442839307997</c:v>
                </c:pt>
                <c:pt idx="44370">
                  <c:v>0.79133226324237504</c:v>
                </c:pt>
                <c:pt idx="44371">
                  <c:v>0.79135009809167101</c:v>
                </c:pt>
                <c:pt idx="44372">
                  <c:v>0.79136793294096597</c:v>
                </c:pt>
                <c:pt idx="44373">
                  <c:v>0.79138576779026204</c:v>
                </c:pt>
                <c:pt idx="44374">
                  <c:v>0.791403602639557</c:v>
                </c:pt>
                <c:pt idx="44375">
                  <c:v>0.79142143748885296</c:v>
                </c:pt>
                <c:pt idx="44376">
                  <c:v>0.79143927233814804</c:v>
                </c:pt>
                <c:pt idx="44377">
                  <c:v>0.791457107187444</c:v>
                </c:pt>
                <c:pt idx="44378">
                  <c:v>0.79147494203673896</c:v>
                </c:pt>
                <c:pt idx="44379">
                  <c:v>0.79149277688603503</c:v>
                </c:pt>
                <c:pt idx="44380">
                  <c:v>0.79151061173532999</c:v>
                </c:pt>
                <c:pt idx="44381">
                  <c:v>0.79152844658462596</c:v>
                </c:pt>
                <c:pt idx="44382">
                  <c:v>0.79154628143392103</c:v>
                </c:pt>
                <c:pt idx="44383">
                  <c:v>0.79156411628321699</c:v>
                </c:pt>
                <c:pt idx="44384">
                  <c:v>0.79158195113251295</c:v>
                </c:pt>
                <c:pt idx="44385">
                  <c:v>0.79159978598180802</c:v>
                </c:pt>
                <c:pt idx="44386">
                  <c:v>0.79161762083110399</c:v>
                </c:pt>
                <c:pt idx="44387">
                  <c:v>0.79163545568039895</c:v>
                </c:pt>
                <c:pt idx="44388">
                  <c:v>0.79165329052969502</c:v>
                </c:pt>
                <c:pt idx="44389">
                  <c:v>0.79167112537898998</c:v>
                </c:pt>
                <c:pt idx="44390">
                  <c:v>0.79168896022828605</c:v>
                </c:pt>
                <c:pt idx="44391">
                  <c:v>0.79170679507758102</c:v>
                </c:pt>
                <c:pt idx="44392">
                  <c:v>0.79172462992687698</c:v>
                </c:pt>
                <c:pt idx="44393">
                  <c:v>0.79174246477617205</c:v>
                </c:pt>
                <c:pt idx="44394">
                  <c:v>0.79176029962546801</c:v>
                </c:pt>
                <c:pt idx="44395">
                  <c:v>0.79177813447476297</c:v>
                </c:pt>
                <c:pt idx="44396">
                  <c:v>0.79179596932405905</c:v>
                </c:pt>
                <c:pt idx="44397">
                  <c:v>0.79181380417335401</c:v>
                </c:pt>
                <c:pt idx="44398">
                  <c:v>0.79183163902264997</c:v>
                </c:pt>
                <c:pt idx="44399">
                  <c:v>0.79184947387194504</c:v>
                </c:pt>
                <c:pt idx="44400">
                  <c:v>0.791867308721241</c:v>
                </c:pt>
                <c:pt idx="44401">
                  <c:v>0.79188514357053597</c:v>
                </c:pt>
                <c:pt idx="44402">
                  <c:v>0.79190297841983204</c:v>
                </c:pt>
                <c:pt idx="44403">
                  <c:v>0.791920813269127</c:v>
                </c:pt>
                <c:pt idx="44404">
                  <c:v>0.79193864811842296</c:v>
                </c:pt>
                <c:pt idx="44405">
                  <c:v>0.79195648296771803</c:v>
                </c:pt>
                <c:pt idx="44406">
                  <c:v>0.791974317817014</c:v>
                </c:pt>
                <c:pt idx="44407">
                  <c:v>0.79199215266630996</c:v>
                </c:pt>
                <c:pt idx="44408">
                  <c:v>0.79200998751560503</c:v>
                </c:pt>
                <c:pt idx="44409">
                  <c:v>0.79202782236490099</c:v>
                </c:pt>
                <c:pt idx="44410">
                  <c:v>0.79204565721419595</c:v>
                </c:pt>
                <c:pt idx="44411">
                  <c:v>0.79206349206349203</c:v>
                </c:pt>
                <c:pt idx="44412">
                  <c:v>0.79208132691278699</c:v>
                </c:pt>
                <c:pt idx="44413">
                  <c:v>0.79209916176208295</c:v>
                </c:pt>
                <c:pt idx="44414">
                  <c:v>0.79211699661137802</c:v>
                </c:pt>
                <c:pt idx="44415">
                  <c:v>0.79213483146067398</c:v>
                </c:pt>
                <c:pt idx="44416">
                  <c:v>0.79215266630996894</c:v>
                </c:pt>
                <c:pt idx="44417">
                  <c:v>0.79217050115926502</c:v>
                </c:pt>
                <c:pt idx="44418">
                  <c:v>0.79218833600855998</c:v>
                </c:pt>
                <c:pt idx="44419">
                  <c:v>0.79220617085785605</c:v>
                </c:pt>
                <c:pt idx="44420">
                  <c:v>0.79222400570715101</c:v>
                </c:pt>
                <c:pt idx="44421">
                  <c:v>0.79224184055644697</c:v>
                </c:pt>
                <c:pt idx="44422">
                  <c:v>0.79225967540574205</c:v>
                </c:pt>
                <c:pt idx="44423">
                  <c:v>0.79227751025503801</c:v>
                </c:pt>
                <c:pt idx="44424">
                  <c:v>0.79229534510433297</c:v>
                </c:pt>
                <c:pt idx="44425">
                  <c:v>0.79231317995362904</c:v>
                </c:pt>
                <c:pt idx="44426">
                  <c:v>0.79233101480292401</c:v>
                </c:pt>
                <c:pt idx="44427">
                  <c:v>0.79234884965221997</c:v>
                </c:pt>
                <c:pt idx="44428">
                  <c:v>0.79236668450151504</c:v>
                </c:pt>
                <c:pt idx="44429">
                  <c:v>0.792384519350811</c:v>
                </c:pt>
                <c:pt idx="44430">
                  <c:v>0.79240235420010696</c:v>
                </c:pt>
                <c:pt idx="44431">
                  <c:v>0.79242018904940204</c:v>
                </c:pt>
                <c:pt idx="44432">
                  <c:v>0.792438023898698</c:v>
                </c:pt>
                <c:pt idx="44433">
                  <c:v>0.79245585874799296</c:v>
                </c:pt>
                <c:pt idx="44434">
                  <c:v>0.79247369359728903</c:v>
                </c:pt>
                <c:pt idx="44435">
                  <c:v>0.79249152844658399</c:v>
                </c:pt>
                <c:pt idx="44436">
                  <c:v>0.79250936329587995</c:v>
                </c:pt>
                <c:pt idx="44437">
                  <c:v>0.79252719814517503</c:v>
                </c:pt>
                <c:pt idx="44438">
                  <c:v>0.79254503299447099</c:v>
                </c:pt>
                <c:pt idx="44439">
                  <c:v>0.79256286784376595</c:v>
                </c:pt>
                <c:pt idx="44440">
                  <c:v>0.79258070269306202</c:v>
                </c:pt>
                <c:pt idx="44441">
                  <c:v>0.79259853754235698</c:v>
                </c:pt>
                <c:pt idx="44442">
                  <c:v>0.79261637239165295</c:v>
                </c:pt>
                <c:pt idx="44443">
                  <c:v>0.79263420724094802</c:v>
                </c:pt>
                <c:pt idx="44444">
                  <c:v>0.79265204209024398</c:v>
                </c:pt>
                <c:pt idx="44445">
                  <c:v>0.79266987693953905</c:v>
                </c:pt>
                <c:pt idx="44446">
                  <c:v>0.79268771178883501</c:v>
                </c:pt>
                <c:pt idx="44447">
                  <c:v>0.79270554663812998</c:v>
                </c:pt>
                <c:pt idx="44448">
                  <c:v>0.79272338148742605</c:v>
                </c:pt>
                <c:pt idx="44449">
                  <c:v>0.79274121633672201</c:v>
                </c:pt>
                <c:pt idx="44450">
                  <c:v>0.79275905118601697</c:v>
                </c:pt>
                <c:pt idx="44451">
                  <c:v>0.79277688603531304</c:v>
                </c:pt>
                <c:pt idx="44452">
                  <c:v>0.79279472088460801</c:v>
                </c:pt>
                <c:pt idx="44453">
                  <c:v>0.79281255573390397</c:v>
                </c:pt>
                <c:pt idx="44454">
                  <c:v>0.79283039058319904</c:v>
                </c:pt>
                <c:pt idx="44455">
                  <c:v>0.792848225432495</c:v>
                </c:pt>
                <c:pt idx="44456">
                  <c:v>0.79286606028178996</c:v>
                </c:pt>
                <c:pt idx="44457">
                  <c:v>0.79288389513108604</c:v>
                </c:pt>
                <c:pt idx="44458">
                  <c:v>0.792901729980381</c:v>
                </c:pt>
                <c:pt idx="44459">
                  <c:v>0.79291956482967696</c:v>
                </c:pt>
                <c:pt idx="44460">
                  <c:v>0.79293739967897203</c:v>
                </c:pt>
                <c:pt idx="44461">
                  <c:v>0.79295523452826799</c:v>
                </c:pt>
                <c:pt idx="44462">
                  <c:v>0.79297306937756296</c:v>
                </c:pt>
                <c:pt idx="44463">
                  <c:v>0.79299090422685903</c:v>
                </c:pt>
                <c:pt idx="44464">
                  <c:v>0.79300873907615399</c:v>
                </c:pt>
                <c:pt idx="44465">
                  <c:v>0.79302657392544995</c:v>
                </c:pt>
                <c:pt idx="44466">
                  <c:v>0.79304440877474502</c:v>
                </c:pt>
                <c:pt idx="44467">
                  <c:v>0.79306224362404099</c:v>
                </c:pt>
                <c:pt idx="44468">
                  <c:v>0.79308007847333695</c:v>
                </c:pt>
                <c:pt idx="44469">
                  <c:v>0.79309791332263202</c:v>
                </c:pt>
                <c:pt idx="44470">
                  <c:v>0.79311574817192798</c:v>
                </c:pt>
                <c:pt idx="44471">
                  <c:v>0.79313358302122305</c:v>
                </c:pt>
                <c:pt idx="44472">
                  <c:v>0.79315141787051902</c:v>
                </c:pt>
                <c:pt idx="44473">
                  <c:v>0.79316925271981398</c:v>
                </c:pt>
                <c:pt idx="44474">
                  <c:v>0.79318708756911005</c:v>
                </c:pt>
                <c:pt idx="44475">
                  <c:v>0.79320492241840501</c:v>
                </c:pt>
                <c:pt idx="44476">
                  <c:v>0.79322275726770097</c:v>
                </c:pt>
                <c:pt idx="44477">
                  <c:v>0.79324059211699605</c:v>
                </c:pt>
                <c:pt idx="44478">
                  <c:v>0.79325842696629201</c:v>
                </c:pt>
                <c:pt idx="44479">
                  <c:v>0.79327626181558697</c:v>
                </c:pt>
                <c:pt idx="44480">
                  <c:v>0.79329409666488304</c:v>
                </c:pt>
                <c:pt idx="44481">
                  <c:v>0.793311931514178</c:v>
                </c:pt>
                <c:pt idx="44482">
                  <c:v>0.79332976636347396</c:v>
                </c:pt>
                <c:pt idx="44483">
                  <c:v>0.79334760121276904</c:v>
                </c:pt>
                <c:pt idx="44484">
                  <c:v>0.793365436062065</c:v>
                </c:pt>
                <c:pt idx="44485">
                  <c:v>0.79338327091135996</c:v>
                </c:pt>
                <c:pt idx="44486">
                  <c:v>0.79340110576065603</c:v>
                </c:pt>
                <c:pt idx="44487">
                  <c:v>0.793418940609951</c:v>
                </c:pt>
                <c:pt idx="44488">
                  <c:v>0.79343677545924696</c:v>
                </c:pt>
                <c:pt idx="44489">
                  <c:v>0.79345461030854203</c:v>
                </c:pt>
                <c:pt idx="44490">
                  <c:v>0.79347244515783799</c:v>
                </c:pt>
                <c:pt idx="44491">
                  <c:v>0.79349028000713395</c:v>
                </c:pt>
                <c:pt idx="44492">
                  <c:v>0.79350811485642903</c:v>
                </c:pt>
                <c:pt idx="44493">
                  <c:v>0.79352594970572499</c:v>
                </c:pt>
                <c:pt idx="44494">
                  <c:v>0.79354378455501995</c:v>
                </c:pt>
                <c:pt idx="44495">
                  <c:v>0.79356161940431602</c:v>
                </c:pt>
                <c:pt idx="44496">
                  <c:v>0.79357945425361098</c:v>
                </c:pt>
                <c:pt idx="44497">
                  <c:v>0.79359728910290706</c:v>
                </c:pt>
                <c:pt idx="44498">
                  <c:v>0.79361512395220202</c:v>
                </c:pt>
                <c:pt idx="44499">
                  <c:v>0.79363295880149798</c:v>
                </c:pt>
                <c:pt idx="44500">
                  <c:v>0.79365079365079305</c:v>
                </c:pt>
                <c:pt idx="44501">
                  <c:v>0.79366862850008901</c:v>
                </c:pt>
                <c:pt idx="44502">
                  <c:v>0.79368646334938397</c:v>
                </c:pt>
                <c:pt idx="44503">
                  <c:v>0.79370429819868005</c:v>
                </c:pt>
                <c:pt idx="44504">
                  <c:v>0.79372213304797501</c:v>
                </c:pt>
                <c:pt idx="44505">
                  <c:v>0.79373996789727097</c:v>
                </c:pt>
                <c:pt idx="44506">
                  <c:v>0.79375780274656604</c:v>
                </c:pt>
                <c:pt idx="44507">
                  <c:v>0.793775637595862</c:v>
                </c:pt>
                <c:pt idx="44508">
                  <c:v>0.79379347244515697</c:v>
                </c:pt>
                <c:pt idx="44509">
                  <c:v>0.79381130729445304</c:v>
                </c:pt>
                <c:pt idx="44510">
                  <c:v>0.793829142143748</c:v>
                </c:pt>
                <c:pt idx="44511">
                  <c:v>0.79384697699304396</c:v>
                </c:pt>
                <c:pt idx="44512">
                  <c:v>0.79386481184233904</c:v>
                </c:pt>
                <c:pt idx="44513">
                  <c:v>0.793882646691635</c:v>
                </c:pt>
                <c:pt idx="44514">
                  <c:v>0.79390048154093096</c:v>
                </c:pt>
                <c:pt idx="44515">
                  <c:v>0.79391831639022603</c:v>
                </c:pt>
                <c:pt idx="44516">
                  <c:v>0.79393615123952199</c:v>
                </c:pt>
                <c:pt idx="44517">
                  <c:v>0.79395398608881695</c:v>
                </c:pt>
                <c:pt idx="44518">
                  <c:v>0.79397182093811303</c:v>
                </c:pt>
                <c:pt idx="44519">
                  <c:v>0.79398965578740799</c:v>
                </c:pt>
                <c:pt idx="44520">
                  <c:v>0.79400749063670395</c:v>
                </c:pt>
                <c:pt idx="44521">
                  <c:v>0.79402532548599902</c:v>
                </c:pt>
                <c:pt idx="44522">
                  <c:v>0.79404316033529498</c:v>
                </c:pt>
                <c:pt idx="44523">
                  <c:v>0.79406099518458995</c:v>
                </c:pt>
                <c:pt idx="44524">
                  <c:v>0.79407883003388602</c:v>
                </c:pt>
                <c:pt idx="44525">
                  <c:v>0.79409666488318098</c:v>
                </c:pt>
                <c:pt idx="44526">
                  <c:v>0.79411449973247705</c:v>
                </c:pt>
                <c:pt idx="44527">
                  <c:v>0.79413233458177201</c:v>
                </c:pt>
                <c:pt idx="44528">
                  <c:v>0.79415016943106798</c:v>
                </c:pt>
                <c:pt idx="44529">
                  <c:v>0.79416800428036305</c:v>
                </c:pt>
                <c:pt idx="44530">
                  <c:v>0.79418583912965901</c:v>
                </c:pt>
                <c:pt idx="44531">
                  <c:v>0.79420367397895397</c:v>
                </c:pt>
                <c:pt idx="44532">
                  <c:v>0.79422150882825004</c:v>
                </c:pt>
                <c:pt idx="44533">
                  <c:v>0.79423934367754501</c:v>
                </c:pt>
                <c:pt idx="44534">
                  <c:v>0.79425717852684097</c:v>
                </c:pt>
                <c:pt idx="44535">
                  <c:v>0.79427501337613604</c:v>
                </c:pt>
                <c:pt idx="44536">
                  <c:v>0.794292848225432</c:v>
                </c:pt>
                <c:pt idx="44537">
                  <c:v>0.79431068307472796</c:v>
                </c:pt>
                <c:pt idx="44538">
                  <c:v>0.79432851792402304</c:v>
                </c:pt>
                <c:pt idx="44539">
                  <c:v>0.794346352773319</c:v>
                </c:pt>
                <c:pt idx="44540">
                  <c:v>0.79436418762261396</c:v>
                </c:pt>
                <c:pt idx="44541">
                  <c:v>0.79438202247191003</c:v>
                </c:pt>
                <c:pt idx="44542">
                  <c:v>0.79439985732120499</c:v>
                </c:pt>
                <c:pt idx="44543">
                  <c:v>0.79441769217050096</c:v>
                </c:pt>
                <c:pt idx="44544">
                  <c:v>0.79443552701979603</c:v>
                </c:pt>
                <c:pt idx="44545">
                  <c:v>0.79445336186909199</c:v>
                </c:pt>
                <c:pt idx="44546">
                  <c:v>0.79447119671838695</c:v>
                </c:pt>
                <c:pt idx="44547">
                  <c:v>0.79448903156768302</c:v>
                </c:pt>
                <c:pt idx="44548">
                  <c:v>0.79450686641697799</c:v>
                </c:pt>
                <c:pt idx="44549">
                  <c:v>0.79452470126627395</c:v>
                </c:pt>
                <c:pt idx="44550">
                  <c:v>0.79454253611556902</c:v>
                </c:pt>
                <c:pt idx="44551">
                  <c:v>0.79456037096486498</c:v>
                </c:pt>
                <c:pt idx="44552">
                  <c:v>0.79457820581416005</c:v>
                </c:pt>
                <c:pt idx="44553">
                  <c:v>0.79459604066345602</c:v>
                </c:pt>
                <c:pt idx="44554">
                  <c:v>0.79461387551275098</c:v>
                </c:pt>
                <c:pt idx="44555">
                  <c:v>0.79463171036204705</c:v>
                </c:pt>
                <c:pt idx="44556">
                  <c:v>0.79464954521134301</c:v>
                </c:pt>
                <c:pt idx="44557">
                  <c:v>0.79466738006063797</c:v>
                </c:pt>
                <c:pt idx="44558">
                  <c:v>0.79468521490993405</c:v>
                </c:pt>
                <c:pt idx="44559">
                  <c:v>0.79470304975922901</c:v>
                </c:pt>
                <c:pt idx="44560">
                  <c:v>0.79472088460852497</c:v>
                </c:pt>
                <c:pt idx="44561">
                  <c:v>0.79473871945782004</c:v>
                </c:pt>
                <c:pt idx="44562">
                  <c:v>0.794756554307116</c:v>
                </c:pt>
                <c:pt idx="44563">
                  <c:v>0.79477438915641097</c:v>
                </c:pt>
                <c:pt idx="44564">
                  <c:v>0.79479222400570704</c:v>
                </c:pt>
                <c:pt idx="44565">
                  <c:v>0.794810058855002</c:v>
                </c:pt>
                <c:pt idx="44566">
                  <c:v>0.79482789370429796</c:v>
                </c:pt>
                <c:pt idx="44567">
                  <c:v>0.79484572855359303</c:v>
                </c:pt>
                <c:pt idx="44568">
                  <c:v>0.794863563402889</c:v>
                </c:pt>
                <c:pt idx="44569">
                  <c:v>0.79488139825218396</c:v>
                </c:pt>
                <c:pt idx="44570">
                  <c:v>0.79489923310148003</c:v>
                </c:pt>
                <c:pt idx="44571">
                  <c:v>0.79491706795077499</c:v>
                </c:pt>
                <c:pt idx="44572">
                  <c:v>0.79493490280007095</c:v>
                </c:pt>
                <c:pt idx="44573">
                  <c:v>0.79495273764936603</c:v>
                </c:pt>
                <c:pt idx="44574">
                  <c:v>0.79497057249866199</c:v>
                </c:pt>
                <c:pt idx="44575">
                  <c:v>0.79498840734795795</c:v>
                </c:pt>
                <c:pt idx="44576">
                  <c:v>0.79500624219725302</c:v>
                </c:pt>
                <c:pt idx="44577">
                  <c:v>0.79502407704654898</c:v>
                </c:pt>
                <c:pt idx="44578">
                  <c:v>0.79504191189584394</c:v>
                </c:pt>
                <c:pt idx="44579">
                  <c:v>0.79505974674514002</c:v>
                </c:pt>
                <c:pt idx="44580">
                  <c:v>0.79507758159443498</c:v>
                </c:pt>
                <c:pt idx="44581">
                  <c:v>0.79509541644373105</c:v>
                </c:pt>
                <c:pt idx="44582">
                  <c:v>0.79511325129302601</c:v>
                </c:pt>
                <c:pt idx="44583">
                  <c:v>0.79513108614232197</c:v>
                </c:pt>
                <c:pt idx="44584">
                  <c:v>0.79514892099161705</c:v>
                </c:pt>
                <c:pt idx="44585">
                  <c:v>0.79516675584091301</c:v>
                </c:pt>
                <c:pt idx="44586">
                  <c:v>0.79518459069020797</c:v>
                </c:pt>
                <c:pt idx="44587">
                  <c:v>0.79520242553950404</c:v>
                </c:pt>
                <c:pt idx="44588">
                  <c:v>0.79522026038879901</c:v>
                </c:pt>
                <c:pt idx="44589">
                  <c:v>0.79523809523809497</c:v>
                </c:pt>
                <c:pt idx="44590">
                  <c:v>0.79525593008739004</c:v>
                </c:pt>
                <c:pt idx="44591">
                  <c:v>0.795273764936686</c:v>
                </c:pt>
                <c:pt idx="44592">
                  <c:v>0.79529159978598096</c:v>
                </c:pt>
                <c:pt idx="44593">
                  <c:v>0.79530943463527703</c:v>
                </c:pt>
                <c:pt idx="44594">
                  <c:v>0.795327269484572</c:v>
                </c:pt>
                <c:pt idx="44595">
                  <c:v>0.79534510433386796</c:v>
                </c:pt>
                <c:pt idx="44596">
                  <c:v>0.79536293918316303</c:v>
                </c:pt>
                <c:pt idx="44597">
                  <c:v>0.79538077403245899</c:v>
                </c:pt>
                <c:pt idx="44598">
                  <c:v>0.79539860888175495</c:v>
                </c:pt>
                <c:pt idx="44599">
                  <c:v>0.79541644373105003</c:v>
                </c:pt>
                <c:pt idx="44600">
                  <c:v>0.79543427858034599</c:v>
                </c:pt>
                <c:pt idx="44601">
                  <c:v>0.79545211342964095</c:v>
                </c:pt>
                <c:pt idx="44602">
                  <c:v>0.79546994827893702</c:v>
                </c:pt>
                <c:pt idx="44603">
                  <c:v>0.79548778312823198</c:v>
                </c:pt>
                <c:pt idx="44604">
                  <c:v>0.79550561797752795</c:v>
                </c:pt>
                <c:pt idx="44605">
                  <c:v>0.79552345282682302</c:v>
                </c:pt>
                <c:pt idx="44606">
                  <c:v>0.79554128767611898</c:v>
                </c:pt>
                <c:pt idx="44607">
                  <c:v>0.79555912252541405</c:v>
                </c:pt>
                <c:pt idx="44608">
                  <c:v>0.79557695737471001</c:v>
                </c:pt>
                <c:pt idx="44609">
                  <c:v>0.79559479222400498</c:v>
                </c:pt>
                <c:pt idx="44610">
                  <c:v>0.79561262707330105</c:v>
                </c:pt>
                <c:pt idx="44611">
                  <c:v>0.79563046192259601</c:v>
                </c:pt>
                <c:pt idx="44612">
                  <c:v>0.79564829677189197</c:v>
                </c:pt>
                <c:pt idx="44613">
                  <c:v>0.79566613162118704</c:v>
                </c:pt>
                <c:pt idx="44614">
                  <c:v>0.79568396647048301</c:v>
                </c:pt>
                <c:pt idx="44615">
                  <c:v>0.79570180131977797</c:v>
                </c:pt>
                <c:pt idx="44616">
                  <c:v>0.79571963616907404</c:v>
                </c:pt>
                <c:pt idx="44617">
                  <c:v>0.795737471018369</c:v>
                </c:pt>
                <c:pt idx="44618">
                  <c:v>0.79575530586766496</c:v>
                </c:pt>
                <c:pt idx="44619">
                  <c:v>0.79577314071696004</c:v>
                </c:pt>
                <c:pt idx="44620">
                  <c:v>0.795790975566256</c:v>
                </c:pt>
                <c:pt idx="44621">
                  <c:v>0.79580881041555196</c:v>
                </c:pt>
                <c:pt idx="44622">
                  <c:v>0.79582664526484703</c:v>
                </c:pt>
                <c:pt idx="44623">
                  <c:v>0.79584448011414299</c:v>
                </c:pt>
                <c:pt idx="44624">
                  <c:v>0.79586231496343796</c:v>
                </c:pt>
                <c:pt idx="44625">
                  <c:v>0.79588014981273403</c:v>
                </c:pt>
                <c:pt idx="44626">
                  <c:v>0.79589798466202899</c:v>
                </c:pt>
                <c:pt idx="44627">
                  <c:v>0.79591581951132495</c:v>
                </c:pt>
                <c:pt idx="44628">
                  <c:v>0.79593365436062002</c:v>
                </c:pt>
                <c:pt idx="44629">
                  <c:v>0.79595148920991599</c:v>
                </c:pt>
                <c:pt idx="44630">
                  <c:v>0.79596932405921095</c:v>
                </c:pt>
                <c:pt idx="44631">
                  <c:v>0.79598715890850702</c:v>
                </c:pt>
                <c:pt idx="44632">
                  <c:v>0.79600499375780198</c:v>
                </c:pt>
                <c:pt idx="44633">
                  <c:v>0.79602282860709805</c:v>
                </c:pt>
                <c:pt idx="44634">
                  <c:v>0.79604066345639302</c:v>
                </c:pt>
                <c:pt idx="44635">
                  <c:v>0.79605849830568898</c:v>
                </c:pt>
                <c:pt idx="44636">
                  <c:v>0.79607633315498405</c:v>
                </c:pt>
                <c:pt idx="44637">
                  <c:v>0.79609416800428001</c:v>
                </c:pt>
                <c:pt idx="44638">
                  <c:v>0.79611200285357497</c:v>
                </c:pt>
                <c:pt idx="44639">
                  <c:v>0.79612983770287105</c:v>
                </c:pt>
                <c:pt idx="44640">
                  <c:v>0.79614767255216601</c:v>
                </c:pt>
                <c:pt idx="44641">
                  <c:v>0.79616550740146197</c:v>
                </c:pt>
                <c:pt idx="44642">
                  <c:v>0.79618334225075704</c:v>
                </c:pt>
                <c:pt idx="44643">
                  <c:v>0.796201177100053</c:v>
                </c:pt>
                <c:pt idx="44644">
                  <c:v>0.79621901194934896</c:v>
                </c:pt>
                <c:pt idx="44645">
                  <c:v>0.79623684679864404</c:v>
                </c:pt>
                <c:pt idx="44646">
                  <c:v>0.79625468164794</c:v>
                </c:pt>
                <c:pt idx="44647">
                  <c:v>0.79627251649723496</c:v>
                </c:pt>
                <c:pt idx="44648">
                  <c:v>0.79629035134653103</c:v>
                </c:pt>
                <c:pt idx="44649">
                  <c:v>0.796308186195826</c:v>
                </c:pt>
                <c:pt idx="44650">
                  <c:v>0.79632602104512196</c:v>
                </c:pt>
                <c:pt idx="44651">
                  <c:v>0.79634385589441703</c:v>
                </c:pt>
                <c:pt idx="44652">
                  <c:v>0.79636169074371299</c:v>
                </c:pt>
                <c:pt idx="44653">
                  <c:v>0.79637952559300795</c:v>
                </c:pt>
                <c:pt idx="44654">
                  <c:v>0.79639736044230403</c:v>
                </c:pt>
                <c:pt idx="44655">
                  <c:v>0.79641519529159899</c:v>
                </c:pt>
                <c:pt idx="44656">
                  <c:v>0.79643303014089495</c:v>
                </c:pt>
                <c:pt idx="44657">
                  <c:v>0.79645086499019002</c:v>
                </c:pt>
                <c:pt idx="44658">
                  <c:v>0.79646869983948598</c:v>
                </c:pt>
                <c:pt idx="44659">
                  <c:v>0.79648653468878094</c:v>
                </c:pt>
                <c:pt idx="44660">
                  <c:v>0.79650436953807702</c:v>
                </c:pt>
                <c:pt idx="44661">
                  <c:v>0.79652220438737298</c:v>
                </c:pt>
                <c:pt idx="44662">
                  <c:v>0.79654003923666805</c:v>
                </c:pt>
                <c:pt idx="44663">
                  <c:v>0.79655787408596401</c:v>
                </c:pt>
                <c:pt idx="44664">
                  <c:v>0.79657570893525897</c:v>
                </c:pt>
                <c:pt idx="44665">
                  <c:v>0.79659354378455505</c:v>
                </c:pt>
                <c:pt idx="44666">
                  <c:v>0.79661137863385001</c:v>
                </c:pt>
                <c:pt idx="44667">
                  <c:v>0.79662921348314597</c:v>
                </c:pt>
                <c:pt idx="44668">
                  <c:v>0.79664704833244104</c:v>
                </c:pt>
                <c:pt idx="44669">
                  <c:v>0.796664883181737</c:v>
                </c:pt>
                <c:pt idx="44670">
                  <c:v>0.79668271803103197</c:v>
                </c:pt>
                <c:pt idx="44671">
                  <c:v>0.79670055288032804</c:v>
                </c:pt>
                <c:pt idx="44672">
                  <c:v>0.796718387729623</c:v>
                </c:pt>
                <c:pt idx="44673">
                  <c:v>0.79673622257891896</c:v>
                </c:pt>
                <c:pt idx="44674">
                  <c:v>0.79675405742821404</c:v>
                </c:pt>
                <c:pt idx="44675">
                  <c:v>0.79677189227751</c:v>
                </c:pt>
                <c:pt idx="44676">
                  <c:v>0.79678972712680496</c:v>
                </c:pt>
                <c:pt idx="44677">
                  <c:v>0.79680756197610103</c:v>
                </c:pt>
                <c:pt idx="44678">
                  <c:v>0.79682539682539599</c:v>
                </c:pt>
                <c:pt idx="44679">
                  <c:v>0.79684323167469195</c:v>
                </c:pt>
                <c:pt idx="44680">
                  <c:v>0.79686106652398703</c:v>
                </c:pt>
                <c:pt idx="44681">
                  <c:v>0.79687890137328299</c:v>
                </c:pt>
                <c:pt idx="44682">
                  <c:v>0.79689673622257895</c:v>
                </c:pt>
                <c:pt idx="44683">
                  <c:v>0.79691457107187402</c:v>
                </c:pt>
                <c:pt idx="44684">
                  <c:v>0.79693240592116998</c:v>
                </c:pt>
                <c:pt idx="44685">
                  <c:v>0.79695024077046495</c:v>
                </c:pt>
                <c:pt idx="44686">
                  <c:v>0.79696807561976102</c:v>
                </c:pt>
                <c:pt idx="44687">
                  <c:v>0.79698591046905598</c:v>
                </c:pt>
                <c:pt idx="44688">
                  <c:v>0.79700374531835205</c:v>
                </c:pt>
                <c:pt idx="44689">
                  <c:v>0.79702158016764701</c:v>
                </c:pt>
                <c:pt idx="44690">
                  <c:v>0.79703941501694298</c:v>
                </c:pt>
                <c:pt idx="44691">
                  <c:v>0.79705724986623805</c:v>
                </c:pt>
                <c:pt idx="44692">
                  <c:v>0.79707508471553401</c:v>
                </c:pt>
                <c:pt idx="44693">
                  <c:v>0.79709291956482897</c:v>
                </c:pt>
                <c:pt idx="44694">
                  <c:v>0.79711075441412504</c:v>
                </c:pt>
                <c:pt idx="44695">
                  <c:v>0.79712858926342001</c:v>
                </c:pt>
                <c:pt idx="44696">
                  <c:v>0.79714642411271597</c:v>
                </c:pt>
                <c:pt idx="44697">
                  <c:v>0.79716425896201104</c:v>
                </c:pt>
                <c:pt idx="44698">
                  <c:v>0.797182093811307</c:v>
                </c:pt>
                <c:pt idx="44699">
                  <c:v>0.79719992866060196</c:v>
                </c:pt>
                <c:pt idx="44700">
                  <c:v>0.79721776350989804</c:v>
                </c:pt>
                <c:pt idx="44701">
                  <c:v>0.797235598359193</c:v>
                </c:pt>
                <c:pt idx="44702">
                  <c:v>0.79725343320848896</c:v>
                </c:pt>
                <c:pt idx="44703">
                  <c:v>0.79727126805778403</c:v>
                </c:pt>
                <c:pt idx="44704">
                  <c:v>0.79728910290707999</c:v>
                </c:pt>
                <c:pt idx="44705">
                  <c:v>0.79730693775637596</c:v>
                </c:pt>
                <c:pt idx="44706">
                  <c:v>0.79732477260567103</c:v>
                </c:pt>
                <c:pt idx="44707">
                  <c:v>0.79734260745496699</c:v>
                </c:pt>
                <c:pt idx="44708">
                  <c:v>0.79736044230426195</c:v>
                </c:pt>
                <c:pt idx="44709">
                  <c:v>0.79737827715355802</c:v>
                </c:pt>
                <c:pt idx="44710">
                  <c:v>0.79739611200285299</c:v>
                </c:pt>
                <c:pt idx="44711">
                  <c:v>0.79741394685214895</c:v>
                </c:pt>
                <c:pt idx="44712">
                  <c:v>0.79743178170144402</c:v>
                </c:pt>
                <c:pt idx="44713">
                  <c:v>0.79744961655073998</c:v>
                </c:pt>
                <c:pt idx="44714">
                  <c:v>0.79746745140003505</c:v>
                </c:pt>
                <c:pt idx="44715">
                  <c:v>0.79748528624933102</c:v>
                </c:pt>
                <c:pt idx="44716">
                  <c:v>0.79750312109862598</c:v>
                </c:pt>
                <c:pt idx="44717">
                  <c:v>0.79752095594792205</c:v>
                </c:pt>
                <c:pt idx="44718">
                  <c:v>0.79753879079721701</c:v>
                </c:pt>
                <c:pt idx="44719">
                  <c:v>0.79755662564651297</c:v>
                </c:pt>
                <c:pt idx="44720">
                  <c:v>0.79757446049580805</c:v>
                </c:pt>
                <c:pt idx="44721">
                  <c:v>0.79759229534510401</c:v>
                </c:pt>
                <c:pt idx="44722">
                  <c:v>0.79761013019439897</c:v>
                </c:pt>
                <c:pt idx="44723">
                  <c:v>0.79762796504369504</c:v>
                </c:pt>
                <c:pt idx="44724">
                  <c:v>0.79764579989299</c:v>
                </c:pt>
                <c:pt idx="44725">
                  <c:v>0.79766363474228597</c:v>
                </c:pt>
                <c:pt idx="44726">
                  <c:v>0.79768146959158104</c:v>
                </c:pt>
                <c:pt idx="44727">
                  <c:v>0.797699304440877</c:v>
                </c:pt>
                <c:pt idx="44728">
                  <c:v>0.79771713929017296</c:v>
                </c:pt>
                <c:pt idx="44729">
                  <c:v>0.79773497413946803</c:v>
                </c:pt>
                <c:pt idx="44730">
                  <c:v>0.797752808988764</c:v>
                </c:pt>
                <c:pt idx="44731">
                  <c:v>0.79777064383805896</c:v>
                </c:pt>
                <c:pt idx="44732">
                  <c:v>0.79778847868735503</c:v>
                </c:pt>
                <c:pt idx="44733">
                  <c:v>0.79780631353664999</c:v>
                </c:pt>
                <c:pt idx="44734">
                  <c:v>0.79782414838594595</c:v>
                </c:pt>
                <c:pt idx="44735">
                  <c:v>0.79784198323524103</c:v>
                </c:pt>
                <c:pt idx="44736">
                  <c:v>0.79785981808453699</c:v>
                </c:pt>
                <c:pt idx="44737">
                  <c:v>0.79787765293383195</c:v>
                </c:pt>
                <c:pt idx="44738">
                  <c:v>0.79789548778312802</c:v>
                </c:pt>
                <c:pt idx="44739">
                  <c:v>0.79791332263242298</c:v>
                </c:pt>
                <c:pt idx="44740">
                  <c:v>0.79793115748171894</c:v>
                </c:pt>
                <c:pt idx="44741">
                  <c:v>0.79794899233101402</c:v>
                </c:pt>
                <c:pt idx="44742">
                  <c:v>0.79796682718030998</c:v>
                </c:pt>
                <c:pt idx="44743">
                  <c:v>0.79798466202960505</c:v>
                </c:pt>
                <c:pt idx="44744">
                  <c:v>0.79800249687890101</c:v>
                </c:pt>
                <c:pt idx="44745">
                  <c:v>0.79802033172819598</c:v>
                </c:pt>
                <c:pt idx="44746">
                  <c:v>0.79803816657749205</c:v>
                </c:pt>
                <c:pt idx="44747">
                  <c:v>0.79805600142678701</c:v>
                </c:pt>
                <c:pt idx="44748">
                  <c:v>0.79807383627608297</c:v>
                </c:pt>
                <c:pt idx="44749">
                  <c:v>0.79809167112537904</c:v>
                </c:pt>
                <c:pt idx="44750">
                  <c:v>0.79810950597467401</c:v>
                </c:pt>
                <c:pt idx="44751">
                  <c:v>0.79812734082396997</c:v>
                </c:pt>
                <c:pt idx="44752">
                  <c:v>0.79814517567326504</c:v>
                </c:pt>
                <c:pt idx="44753">
                  <c:v>0.798163010522561</c:v>
                </c:pt>
                <c:pt idx="44754">
                  <c:v>0.79818084537185596</c:v>
                </c:pt>
                <c:pt idx="44755">
                  <c:v>0.79819868022115203</c:v>
                </c:pt>
                <c:pt idx="44756">
                  <c:v>0.798216515070447</c:v>
                </c:pt>
                <c:pt idx="44757">
                  <c:v>0.79823434991974296</c:v>
                </c:pt>
                <c:pt idx="44758">
                  <c:v>0.79825218476903803</c:v>
                </c:pt>
                <c:pt idx="44759">
                  <c:v>0.79827001961833399</c:v>
                </c:pt>
                <c:pt idx="44760">
                  <c:v>0.79828785446762895</c:v>
                </c:pt>
                <c:pt idx="44761">
                  <c:v>0.79830568931692503</c:v>
                </c:pt>
                <c:pt idx="44762">
                  <c:v>0.79832352416621999</c:v>
                </c:pt>
                <c:pt idx="44763">
                  <c:v>0.79834135901551595</c:v>
                </c:pt>
                <c:pt idx="44764">
                  <c:v>0.79835919386481102</c:v>
                </c:pt>
                <c:pt idx="44765">
                  <c:v>0.79837702871410698</c:v>
                </c:pt>
                <c:pt idx="44766">
                  <c:v>0.79839486356340195</c:v>
                </c:pt>
                <c:pt idx="44767">
                  <c:v>0.79841269841269802</c:v>
                </c:pt>
                <c:pt idx="44768">
                  <c:v>0.79843053326199398</c:v>
                </c:pt>
                <c:pt idx="44769">
                  <c:v>0.79844836811128905</c:v>
                </c:pt>
                <c:pt idx="44770">
                  <c:v>0.79846620296058501</c:v>
                </c:pt>
                <c:pt idx="44771">
                  <c:v>0.79848403780987998</c:v>
                </c:pt>
                <c:pt idx="44772">
                  <c:v>0.79850187265917605</c:v>
                </c:pt>
                <c:pt idx="44773">
                  <c:v>0.79851970750847101</c:v>
                </c:pt>
                <c:pt idx="44774">
                  <c:v>0.79853754235776697</c:v>
                </c:pt>
                <c:pt idx="44775">
                  <c:v>0.79855537720706204</c:v>
                </c:pt>
                <c:pt idx="44776">
                  <c:v>0.79857321205635801</c:v>
                </c:pt>
                <c:pt idx="44777">
                  <c:v>0.79859104690565297</c:v>
                </c:pt>
                <c:pt idx="44778">
                  <c:v>0.79860888175494904</c:v>
                </c:pt>
                <c:pt idx="44779">
                  <c:v>0.798626716604244</c:v>
                </c:pt>
                <c:pt idx="44780">
                  <c:v>0.79864455145353996</c:v>
                </c:pt>
                <c:pt idx="44781">
                  <c:v>0.79866238630283504</c:v>
                </c:pt>
                <c:pt idx="44782">
                  <c:v>0.798680221152131</c:v>
                </c:pt>
                <c:pt idx="44783">
                  <c:v>0.79869805600142596</c:v>
                </c:pt>
                <c:pt idx="44784">
                  <c:v>0.79871589085072203</c:v>
                </c:pt>
                <c:pt idx="44785">
                  <c:v>0.79873372570001699</c:v>
                </c:pt>
                <c:pt idx="44786">
                  <c:v>0.79875156054931296</c:v>
                </c:pt>
                <c:pt idx="44787">
                  <c:v>0.79876939539860803</c:v>
                </c:pt>
                <c:pt idx="44788">
                  <c:v>0.79878723024790399</c:v>
                </c:pt>
                <c:pt idx="44789">
                  <c:v>0.79880506509719995</c:v>
                </c:pt>
                <c:pt idx="44790">
                  <c:v>0.79882289994649502</c:v>
                </c:pt>
                <c:pt idx="44791">
                  <c:v>0.79884073479579099</c:v>
                </c:pt>
                <c:pt idx="44792">
                  <c:v>0.79885856964508595</c:v>
                </c:pt>
                <c:pt idx="44793">
                  <c:v>0.79887640449438202</c:v>
                </c:pt>
                <c:pt idx="44794">
                  <c:v>0.79889423934367698</c:v>
                </c:pt>
                <c:pt idx="44795">
                  <c:v>0.79891207419297305</c:v>
                </c:pt>
                <c:pt idx="44796">
                  <c:v>0.79892990904226802</c:v>
                </c:pt>
                <c:pt idx="44797">
                  <c:v>0.79894774389156398</c:v>
                </c:pt>
                <c:pt idx="44798">
                  <c:v>0.79896557874085905</c:v>
                </c:pt>
                <c:pt idx="44799">
                  <c:v>0.79898341359015501</c:v>
                </c:pt>
                <c:pt idx="44800">
                  <c:v>0.79900124843944997</c:v>
                </c:pt>
                <c:pt idx="44801">
                  <c:v>0.79901908328874605</c:v>
                </c:pt>
                <c:pt idx="44802">
                  <c:v>0.79903691813804101</c:v>
                </c:pt>
                <c:pt idx="44803">
                  <c:v>0.79905475298733697</c:v>
                </c:pt>
                <c:pt idx="44804">
                  <c:v>0.79907258783663204</c:v>
                </c:pt>
                <c:pt idx="44805">
                  <c:v>0.799090422685928</c:v>
                </c:pt>
                <c:pt idx="44806">
                  <c:v>0.79910825753522297</c:v>
                </c:pt>
                <c:pt idx="44807">
                  <c:v>0.79912609238451904</c:v>
                </c:pt>
                <c:pt idx="44808">
                  <c:v>0.799143927233814</c:v>
                </c:pt>
                <c:pt idx="44809">
                  <c:v>0.79916176208310996</c:v>
                </c:pt>
                <c:pt idx="44810">
                  <c:v>0.79917959693240503</c:v>
                </c:pt>
                <c:pt idx="44811">
                  <c:v>0.799197431781701</c:v>
                </c:pt>
                <c:pt idx="44812">
                  <c:v>0.79921526663099696</c:v>
                </c:pt>
                <c:pt idx="44813">
                  <c:v>0.79923310148029203</c:v>
                </c:pt>
                <c:pt idx="44814">
                  <c:v>0.79925093632958799</c:v>
                </c:pt>
                <c:pt idx="44815">
                  <c:v>0.79926877117888295</c:v>
                </c:pt>
                <c:pt idx="44816">
                  <c:v>0.79928660602817903</c:v>
                </c:pt>
                <c:pt idx="44817">
                  <c:v>0.79930444087747399</c:v>
                </c:pt>
                <c:pt idx="44818">
                  <c:v>0.79932227572676995</c:v>
                </c:pt>
                <c:pt idx="44819">
                  <c:v>0.79934011057606502</c:v>
                </c:pt>
                <c:pt idx="44820">
                  <c:v>0.79935794542536098</c:v>
                </c:pt>
                <c:pt idx="44821">
                  <c:v>0.79937578027465594</c:v>
                </c:pt>
                <c:pt idx="44822">
                  <c:v>0.79939361512395202</c:v>
                </c:pt>
                <c:pt idx="44823">
                  <c:v>0.79941144997324698</c:v>
                </c:pt>
                <c:pt idx="44824">
                  <c:v>0.79942928482254305</c:v>
                </c:pt>
                <c:pt idx="44825">
                  <c:v>0.79944711967183801</c:v>
                </c:pt>
                <c:pt idx="44826">
                  <c:v>0.79946495452113397</c:v>
                </c:pt>
                <c:pt idx="44827">
                  <c:v>0.79948278937042905</c:v>
                </c:pt>
                <c:pt idx="44828">
                  <c:v>0.79950062421972501</c:v>
                </c:pt>
                <c:pt idx="44829">
                  <c:v>0.79951845906901997</c:v>
                </c:pt>
                <c:pt idx="44830">
                  <c:v>0.79953629391831604</c:v>
                </c:pt>
                <c:pt idx="44831">
                  <c:v>0.79955412876761101</c:v>
                </c:pt>
                <c:pt idx="44832">
                  <c:v>0.79957196361690697</c:v>
                </c:pt>
                <c:pt idx="44833">
                  <c:v>0.79958979846620204</c:v>
                </c:pt>
                <c:pt idx="44834">
                  <c:v>0.799607633315498</c:v>
                </c:pt>
                <c:pt idx="44835">
                  <c:v>0.79962546816479396</c:v>
                </c:pt>
                <c:pt idx="44836">
                  <c:v>0.79964330301408904</c:v>
                </c:pt>
                <c:pt idx="44837">
                  <c:v>0.799661137863385</c:v>
                </c:pt>
                <c:pt idx="44838">
                  <c:v>0.79967897271267996</c:v>
                </c:pt>
                <c:pt idx="44839">
                  <c:v>0.79969680756197603</c:v>
                </c:pt>
                <c:pt idx="44840">
                  <c:v>0.79971464241127099</c:v>
                </c:pt>
                <c:pt idx="44841">
                  <c:v>0.79973247726056695</c:v>
                </c:pt>
                <c:pt idx="44842">
                  <c:v>0.79975031210986203</c:v>
                </c:pt>
                <c:pt idx="44843">
                  <c:v>0.79976814695915799</c:v>
                </c:pt>
                <c:pt idx="44844">
                  <c:v>0.79978598180845295</c:v>
                </c:pt>
                <c:pt idx="44845">
                  <c:v>0.79980381665774902</c:v>
                </c:pt>
                <c:pt idx="44846">
                  <c:v>0.79982165150704398</c:v>
                </c:pt>
                <c:pt idx="44847">
                  <c:v>0.79983948635633995</c:v>
                </c:pt>
                <c:pt idx="44848">
                  <c:v>0.79985732120563502</c:v>
                </c:pt>
                <c:pt idx="44849">
                  <c:v>0.79987515605493098</c:v>
                </c:pt>
                <c:pt idx="44850">
                  <c:v>0.79989299090422605</c:v>
                </c:pt>
                <c:pt idx="44851">
                  <c:v>0.79991082575352201</c:v>
                </c:pt>
                <c:pt idx="44852">
                  <c:v>0.79992866060281698</c:v>
                </c:pt>
                <c:pt idx="44853">
                  <c:v>0.79994649545211305</c:v>
                </c:pt>
                <c:pt idx="44854">
                  <c:v>0.79996433030140801</c:v>
                </c:pt>
                <c:pt idx="44855">
                  <c:v>0.79998216515070397</c:v>
                </c:pt>
                <c:pt idx="44856">
                  <c:v>0.8</c:v>
                </c:pt>
                <c:pt idx="44857">
                  <c:v>0.80001783484929501</c:v>
                </c:pt>
                <c:pt idx="44858">
                  <c:v>0.80003566969859097</c:v>
                </c:pt>
                <c:pt idx="44859">
                  <c:v>0.80005350454788604</c:v>
                </c:pt>
                <c:pt idx="44860">
                  <c:v>0.800071339397182</c:v>
                </c:pt>
                <c:pt idx="44861">
                  <c:v>0.80008917424647696</c:v>
                </c:pt>
                <c:pt idx="44862">
                  <c:v>0.80010700909577304</c:v>
                </c:pt>
                <c:pt idx="44863">
                  <c:v>0.800124843945068</c:v>
                </c:pt>
                <c:pt idx="44864">
                  <c:v>0.80014267879436396</c:v>
                </c:pt>
                <c:pt idx="44865">
                  <c:v>0.80016051364365903</c:v>
                </c:pt>
                <c:pt idx="44866">
                  <c:v>0.80017834849295499</c:v>
                </c:pt>
                <c:pt idx="44867">
                  <c:v>0.80019618334224996</c:v>
                </c:pt>
                <c:pt idx="44868">
                  <c:v>0.80021401819154603</c:v>
                </c:pt>
                <c:pt idx="44869">
                  <c:v>0.80023185304084099</c:v>
                </c:pt>
                <c:pt idx="44870">
                  <c:v>0.80024968789013695</c:v>
                </c:pt>
                <c:pt idx="44871">
                  <c:v>0.80026752273943202</c:v>
                </c:pt>
                <c:pt idx="44872">
                  <c:v>0.80028535758872799</c:v>
                </c:pt>
                <c:pt idx="44873">
                  <c:v>0.80030319243802395</c:v>
                </c:pt>
                <c:pt idx="44874">
                  <c:v>0.80032102728731902</c:v>
                </c:pt>
                <c:pt idx="44875">
                  <c:v>0.80033886213661498</c:v>
                </c:pt>
                <c:pt idx="44876">
                  <c:v>0.80035669698591005</c:v>
                </c:pt>
                <c:pt idx="44877">
                  <c:v>0.80037453183520602</c:v>
                </c:pt>
                <c:pt idx="44878">
                  <c:v>0.80039236668450098</c:v>
                </c:pt>
                <c:pt idx="44879">
                  <c:v>0.80041020153379705</c:v>
                </c:pt>
                <c:pt idx="44880">
                  <c:v>0.80042803638309201</c:v>
                </c:pt>
                <c:pt idx="44881">
                  <c:v>0.80044587123238797</c:v>
                </c:pt>
                <c:pt idx="44882">
                  <c:v>0.80046370608168305</c:v>
                </c:pt>
                <c:pt idx="44883">
                  <c:v>0.80048154093097901</c:v>
                </c:pt>
                <c:pt idx="44884">
                  <c:v>0.80049937578027397</c:v>
                </c:pt>
                <c:pt idx="44885">
                  <c:v>0.80051721062957004</c:v>
                </c:pt>
                <c:pt idx="44886">
                  <c:v>0.800535045478865</c:v>
                </c:pt>
                <c:pt idx="44887">
                  <c:v>0.80055288032816097</c:v>
                </c:pt>
                <c:pt idx="44888">
                  <c:v>0.80057071517745604</c:v>
                </c:pt>
                <c:pt idx="44889">
                  <c:v>0.800588550026752</c:v>
                </c:pt>
                <c:pt idx="44890">
                  <c:v>0.80060638487604696</c:v>
                </c:pt>
                <c:pt idx="44891">
                  <c:v>0.80062421972534303</c:v>
                </c:pt>
                <c:pt idx="44892">
                  <c:v>0.800642054574638</c:v>
                </c:pt>
                <c:pt idx="44893">
                  <c:v>0.80065988942393396</c:v>
                </c:pt>
                <c:pt idx="44894">
                  <c:v>0.80067772427322903</c:v>
                </c:pt>
                <c:pt idx="44895">
                  <c:v>0.80069555912252499</c:v>
                </c:pt>
                <c:pt idx="44896">
                  <c:v>0.80071339397182095</c:v>
                </c:pt>
                <c:pt idx="44897">
                  <c:v>0.80073122882111603</c:v>
                </c:pt>
                <c:pt idx="44898">
                  <c:v>0.80074906367041199</c:v>
                </c:pt>
                <c:pt idx="44899">
                  <c:v>0.80076689851970695</c:v>
                </c:pt>
                <c:pt idx="44900">
                  <c:v>0.80078473336900302</c:v>
                </c:pt>
                <c:pt idx="44901">
                  <c:v>0.80080256821829798</c:v>
                </c:pt>
                <c:pt idx="44902">
                  <c:v>0.80082040306759406</c:v>
                </c:pt>
                <c:pt idx="44903">
                  <c:v>0.80083823791688902</c:v>
                </c:pt>
                <c:pt idx="44904">
                  <c:v>0.80085607276618498</c:v>
                </c:pt>
                <c:pt idx="44905">
                  <c:v>0.80087390761548005</c:v>
                </c:pt>
                <c:pt idx="44906">
                  <c:v>0.80089174246477601</c:v>
                </c:pt>
                <c:pt idx="44907">
                  <c:v>0.80090957731407098</c:v>
                </c:pt>
                <c:pt idx="44908">
                  <c:v>0.80092741216336705</c:v>
                </c:pt>
                <c:pt idx="44909">
                  <c:v>0.80094524701266201</c:v>
                </c:pt>
                <c:pt idx="44910">
                  <c:v>0.80096308186195797</c:v>
                </c:pt>
                <c:pt idx="44911">
                  <c:v>0.80098091671125304</c:v>
                </c:pt>
                <c:pt idx="44912">
                  <c:v>0.800998751560549</c:v>
                </c:pt>
                <c:pt idx="44913">
                  <c:v>0.80101658640984397</c:v>
                </c:pt>
                <c:pt idx="44914">
                  <c:v>0.80103442125914004</c:v>
                </c:pt>
                <c:pt idx="44915">
                  <c:v>0.801052256108435</c:v>
                </c:pt>
                <c:pt idx="44916">
                  <c:v>0.80107009095773096</c:v>
                </c:pt>
                <c:pt idx="44917">
                  <c:v>0.80108792580702604</c:v>
                </c:pt>
                <c:pt idx="44918">
                  <c:v>0.801105760656322</c:v>
                </c:pt>
                <c:pt idx="44919">
                  <c:v>0.80112359550561796</c:v>
                </c:pt>
                <c:pt idx="44920">
                  <c:v>0.80114143035491303</c:v>
                </c:pt>
                <c:pt idx="44921">
                  <c:v>0.80115926520420899</c:v>
                </c:pt>
                <c:pt idx="44922">
                  <c:v>0.80117710005350395</c:v>
                </c:pt>
                <c:pt idx="44923">
                  <c:v>0.80119493490280003</c:v>
                </c:pt>
                <c:pt idx="44924">
                  <c:v>0.80121276975209499</c:v>
                </c:pt>
                <c:pt idx="44925">
                  <c:v>0.80123060460139095</c:v>
                </c:pt>
                <c:pt idx="44926">
                  <c:v>0.80124843945068602</c:v>
                </c:pt>
                <c:pt idx="44927">
                  <c:v>0.80126627429998198</c:v>
                </c:pt>
                <c:pt idx="44928">
                  <c:v>0.80128410914927695</c:v>
                </c:pt>
                <c:pt idx="44929">
                  <c:v>0.80130194399857302</c:v>
                </c:pt>
                <c:pt idx="44930">
                  <c:v>0.80131977884786798</c:v>
                </c:pt>
                <c:pt idx="44931">
                  <c:v>0.80133761369716405</c:v>
                </c:pt>
                <c:pt idx="44932">
                  <c:v>0.80135544854645901</c:v>
                </c:pt>
                <c:pt idx="44933">
                  <c:v>0.80137328339575498</c:v>
                </c:pt>
                <c:pt idx="44934">
                  <c:v>0.80139111824505005</c:v>
                </c:pt>
                <c:pt idx="44935">
                  <c:v>0.80140895309434601</c:v>
                </c:pt>
                <c:pt idx="44936">
                  <c:v>0.80142678794364097</c:v>
                </c:pt>
                <c:pt idx="44937">
                  <c:v>0.80144462279293704</c:v>
                </c:pt>
                <c:pt idx="44938">
                  <c:v>0.80146245764223201</c:v>
                </c:pt>
                <c:pt idx="44939">
                  <c:v>0.80148029249152797</c:v>
                </c:pt>
                <c:pt idx="44940">
                  <c:v>0.80149812734082304</c:v>
                </c:pt>
                <c:pt idx="44941">
                  <c:v>0.801515962190119</c:v>
                </c:pt>
                <c:pt idx="44942">
                  <c:v>0.80153379703941496</c:v>
                </c:pt>
                <c:pt idx="44943">
                  <c:v>0.80155163188871004</c:v>
                </c:pt>
                <c:pt idx="44944">
                  <c:v>0.801569466738006</c:v>
                </c:pt>
                <c:pt idx="44945">
                  <c:v>0.80158730158730096</c:v>
                </c:pt>
                <c:pt idx="44946">
                  <c:v>0.80160513643659703</c:v>
                </c:pt>
                <c:pt idx="44947">
                  <c:v>0.80162297128589199</c:v>
                </c:pt>
                <c:pt idx="44948">
                  <c:v>0.80164080613518796</c:v>
                </c:pt>
                <c:pt idx="44949">
                  <c:v>0.80165864098448303</c:v>
                </c:pt>
                <c:pt idx="44950">
                  <c:v>0.80167647583377899</c:v>
                </c:pt>
                <c:pt idx="44951">
                  <c:v>0.80169431068307395</c:v>
                </c:pt>
                <c:pt idx="44952">
                  <c:v>0.80171214553237002</c:v>
                </c:pt>
                <c:pt idx="44953">
                  <c:v>0.80172998038166499</c:v>
                </c:pt>
                <c:pt idx="44954">
                  <c:v>0.80174781523096095</c:v>
                </c:pt>
                <c:pt idx="44955">
                  <c:v>0.80176565008025602</c:v>
                </c:pt>
                <c:pt idx="44956">
                  <c:v>0.80178348492955198</c:v>
                </c:pt>
                <c:pt idx="44957">
                  <c:v>0.80180131977884705</c:v>
                </c:pt>
                <c:pt idx="44958">
                  <c:v>0.80181915462814302</c:v>
                </c:pt>
                <c:pt idx="44959">
                  <c:v>0.80183698947743798</c:v>
                </c:pt>
                <c:pt idx="44960">
                  <c:v>0.80185482432673405</c:v>
                </c:pt>
                <c:pt idx="44961">
                  <c:v>0.80187265917603001</c:v>
                </c:pt>
                <c:pt idx="44962">
                  <c:v>0.80189049402532497</c:v>
                </c:pt>
                <c:pt idx="44963">
                  <c:v>0.80190832887462105</c:v>
                </c:pt>
                <c:pt idx="44964">
                  <c:v>0.80192616372391601</c:v>
                </c:pt>
                <c:pt idx="44965">
                  <c:v>0.80194399857321197</c:v>
                </c:pt>
                <c:pt idx="44966">
                  <c:v>0.80196183342250704</c:v>
                </c:pt>
                <c:pt idx="44967">
                  <c:v>0.801979668271803</c:v>
                </c:pt>
                <c:pt idx="44968">
                  <c:v>0.80199750312109797</c:v>
                </c:pt>
                <c:pt idx="44969">
                  <c:v>0.80201533797039404</c:v>
                </c:pt>
                <c:pt idx="44970">
                  <c:v>0.802033172819689</c:v>
                </c:pt>
                <c:pt idx="44971">
                  <c:v>0.80205100766898496</c:v>
                </c:pt>
                <c:pt idx="44972">
                  <c:v>0.80206884251828003</c:v>
                </c:pt>
                <c:pt idx="44973">
                  <c:v>0.802086677367576</c:v>
                </c:pt>
                <c:pt idx="44974">
                  <c:v>0.80210451221687096</c:v>
                </c:pt>
                <c:pt idx="44975">
                  <c:v>0.80212234706616703</c:v>
                </c:pt>
                <c:pt idx="44976">
                  <c:v>0.80214018191546199</c:v>
                </c:pt>
                <c:pt idx="44977">
                  <c:v>0.80215801676475795</c:v>
                </c:pt>
                <c:pt idx="44978">
                  <c:v>0.80217585161405303</c:v>
                </c:pt>
                <c:pt idx="44979">
                  <c:v>0.80219368646334899</c:v>
                </c:pt>
                <c:pt idx="44980">
                  <c:v>0.80221152131264495</c:v>
                </c:pt>
                <c:pt idx="44981">
                  <c:v>0.80222935616194002</c:v>
                </c:pt>
                <c:pt idx="44982">
                  <c:v>0.80224719101123598</c:v>
                </c:pt>
                <c:pt idx="44983">
                  <c:v>0.80226502586053094</c:v>
                </c:pt>
                <c:pt idx="44984">
                  <c:v>0.80228286070982702</c:v>
                </c:pt>
                <c:pt idx="44985">
                  <c:v>0.80230069555912198</c:v>
                </c:pt>
                <c:pt idx="44986">
                  <c:v>0.80231853040841805</c:v>
                </c:pt>
                <c:pt idx="44987">
                  <c:v>0.80233636525771301</c:v>
                </c:pt>
                <c:pt idx="44988">
                  <c:v>0.80235420010700897</c:v>
                </c:pt>
                <c:pt idx="44989">
                  <c:v>0.80237203495630405</c:v>
                </c:pt>
                <c:pt idx="44990">
                  <c:v>0.80238986980560001</c:v>
                </c:pt>
                <c:pt idx="44991">
                  <c:v>0.80240770465489497</c:v>
                </c:pt>
                <c:pt idx="44992">
                  <c:v>0.80242553950419104</c:v>
                </c:pt>
                <c:pt idx="44993">
                  <c:v>0.80244337435348601</c:v>
                </c:pt>
                <c:pt idx="44994">
                  <c:v>0.80246120920278197</c:v>
                </c:pt>
                <c:pt idx="44995">
                  <c:v>0.80247904405207704</c:v>
                </c:pt>
                <c:pt idx="44996">
                  <c:v>0.802496878901373</c:v>
                </c:pt>
                <c:pt idx="44997">
                  <c:v>0.80251471375066796</c:v>
                </c:pt>
                <c:pt idx="44998">
                  <c:v>0.80253254859996404</c:v>
                </c:pt>
                <c:pt idx="44999">
                  <c:v>0.802550383449259</c:v>
                </c:pt>
                <c:pt idx="45000">
                  <c:v>0.80256821829855496</c:v>
                </c:pt>
                <c:pt idx="45001">
                  <c:v>0.80258605314785003</c:v>
                </c:pt>
                <c:pt idx="45002">
                  <c:v>0.80260388799714599</c:v>
                </c:pt>
                <c:pt idx="45003">
                  <c:v>0.80262172284644195</c:v>
                </c:pt>
                <c:pt idx="45004">
                  <c:v>0.80263955769573703</c:v>
                </c:pt>
                <c:pt idx="45005">
                  <c:v>0.80265739254503299</c:v>
                </c:pt>
                <c:pt idx="45006">
                  <c:v>0.80267522739432795</c:v>
                </c:pt>
                <c:pt idx="45007">
                  <c:v>0.80269306224362402</c:v>
                </c:pt>
                <c:pt idx="45008">
                  <c:v>0.80271089709291898</c:v>
                </c:pt>
                <c:pt idx="45009">
                  <c:v>0.80272873194221495</c:v>
                </c:pt>
                <c:pt idx="45010">
                  <c:v>0.80274656679151002</c:v>
                </c:pt>
                <c:pt idx="45011">
                  <c:v>0.80276440164080598</c:v>
                </c:pt>
                <c:pt idx="45012">
                  <c:v>0.80278223649010105</c:v>
                </c:pt>
                <c:pt idx="45013">
                  <c:v>0.80280007133939701</c:v>
                </c:pt>
                <c:pt idx="45014">
                  <c:v>0.80281790618869198</c:v>
                </c:pt>
                <c:pt idx="45015">
                  <c:v>0.80283574103798805</c:v>
                </c:pt>
                <c:pt idx="45016">
                  <c:v>0.80285357588728301</c:v>
                </c:pt>
                <c:pt idx="45017">
                  <c:v>0.80287141073657897</c:v>
                </c:pt>
                <c:pt idx="45018">
                  <c:v>0.80288924558587405</c:v>
                </c:pt>
                <c:pt idx="45019">
                  <c:v>0.80290708043517001</c:v>
                </c:pt>
                <c:pt idx="45020">
                  <c:v>0.80292491528446497</c:v>
                </c:pt>
                <c:pt idx="45021">
                  <c:v>0.80294275013376104</c:v>
                </c:pt>
                <c:pt idx="45022">
                  <c:v>0.802960584983056</c:v>
                </c:pt>
                <c:pt idx="45023">
                  <c:v>0.80297841983235196</c:v>
                </c:pt>
                <c:pt idx="45024">
                  <c:v>0.80299625468164704</c:v>
                </c:pt>
                <c:pt idx="45025">
                  <c:v>0.803014089530943</c:v>
                </c:pt>
                <c:pt idx="45026">
                  <c:v>0.80303192438023896</c:v>
                </c:pt>
                <c:pt idx="45027">
                  <c:v>0.80304975922953403</c:v>
                </c:pt>
                <c:pt idx="45028">
                  <c:v>0.80306759407882999</c:v>
                </c:pt>
                <c:pt idx="45029">
                  <c:v>0.80308542892812496</c:v>
                </c:pt>
                <c:pt idx="45030">
                  <c:v>0.80310326377742103</c:v>
                </c:pt>
                <c:pt idx="45031">
                  <c:v>0.80312109862671599</c:v>
                </c:pt>
                <c:pt idx="45032">
                  <c:v>0.80313893347601195</c:v>
                </c:pt>
                <c:pt idx="45033">
                  <c:v>0.80315676832530702</c:v>
                </c:pt>
                <c:pt idx="45034">
                  <c:v>0.80317460317460299</c:v>
                </c:pt>
                <c:pt idx="45035">
                  <c:v>0.80319243802389795</c:v>
                </c:pt>
                <c:pt idx="45036">
                  <c:v>0.80321027287319402</c:v>
                </c:pt>
                <c:pt idx="45037">
                  <c:v>0.80322810772248898</c:v>
                </c:pt>
                <c:pt idx="45038">
                  <c:v>0.80324594257178505</c:v>
                </c:pt>
                <c:pt idx="45039">
                  <c:v>0.80326377742108002</c:v>
                </c:pt>
                <c:pt idx="45040">
                  <c:v>0.80328161227037598</c:v>
                </c:pt>
                <c:pt idx="45041">
                  <c:v>0.80329944711967105</c:v>
                </c:pt>
                <c:pt idx="45042">
                  <c:v>0.80331728196896701</c:v>
                </c:pt>
                <c:pt idx="45043">
                  <c:v>0.80333511681826197</c:v>
                </c:pt>
                <c:pt idx="45044">
                  <c:v>0.80335295166755805</c:v>
                </c:pt>
                <c:pt idx="45045">
                  <c:v>0.80337078651685301</c:v>
                </c:pt>
                <c:pt idx="45046">
                  <c:v>0.80338862136614897</c:v>
                </c:pt>
                <c:pt idx="45047">
                  <c:v>0.80340645621544404</c:v>
                </c:pt>
                <c:pt idx="45048">
                  <c:v>0.80342429106474</c:v>
                </c:pt>
                <c:pt idx="45049">
                  <c:v>0.80344212591403597</c:v>
                </c:pt>
                <c:pt idx="45050">
                  <c:v>0.80345996076333104</c:v>
                </c:pt>
                <c:pt idx="45051">
                  <c:v>0.803477795612627</c:v>
                </c:pt>
                <c:pt idx="45052">
                  <c:v>0.80349563046192196</c:v>
                </c:pt>
                <c:pt idx="45053">
                  <c:v>0.80351346531121803</c:v>
                </c:pt>
                <c:pt idx="45054">
                  <c:v>0.803531300160513</c:v>
                </c:pt>
                <c:pt idx="45055">
                  <c:v>0.80354913500980896</c:v>
                </c:pt>
                <c:pt idx="45056">
                  <c:v>0.80356696985910403</c:v>
                </c:pt>
                <c:pt idx="45057">
                  <c:v>0.80358480470839999</c:v>
                </c:pt>
                <c:pt idx="45058">
                  <c:v>0.80360263955769495</c:v>
                </c:pt>
                <c:pt idx="45059">
                  <c:v>0.80362047440699103</c:v>
                </c:pt>
                <c:pt idx="45060">
                  <c:v>0.80363830925628599</c:v>
                </c:pt>
                <c:pt idx="45061">
                  <c:v>0.80365614410558195</c:v>
                </c:pt>
                <c:pt idx="45062">
                  <c:v>0.80367397895487702</c:v>
                </c:pt>
                <c:pt idx="45063">
                  <c:v>0.80369181380417298</c:v>
                </c:pt>
                <c:pt idx="45064">
                  <c:v>0.80370964865346795</c:v>
                </c:pt>
                <c:pt idx="45065">
                  <c:v>0.80372748350276402</c:v>
                </c:pt>
                <c:pt idx="45066">
                  <c:v>0.80374531835205998</c:v>
                </c:pt>
                <c:pt idx="45067">
                  <c:v>0.80376315320135505</c:v>
                </c:pt>
                <c:pt idx="45068">
                  <c:v>0.80378098805065101</c:v>
                </c:pt>
                <c:pt idx="45069">
                  <c:v>0.80379882289994597</c:v>
                </c:pt>
                <c:pt idx="45070">
                  <c:v>0.80381665774924205</c:v>
                </c:pt>
                <c:pt idx="45071">
                  <c:v>0.80383449259853701</c:v>
                </c:pt>
                <c:pt idx="45072">
                  <c:v>0.80385232744783297</c:v>
                </c:pt>
                <c:pt idx="45073">
                  <c:v>0.80387016229712804</c:v>
                </c:pt>
                <c:pt idx="45074">
                  <c:v>0.803887997146424</c:v>
                </c:pt>
                <c:pt idx="45075">
                  <c:v>0.80390583199571897</c:v>
                </c:pt>
                <c:pt idx="45076">
                  <c:v>0.80392366684501504</c:v>
                </c:pt>
                <c:pt idx="45077">
                  <c:v>0.80394150169431</c:v>
                </c:pt>
                <c:pt idx="45078">
                  <c:v>0.80395933654360596</c:v>
                </c:pt>
                <c:pt idx="45079">
                  <c:v>0.80397717139290104</c:v>
                </c:pt>
                <c:pt idx="45080">
                  <c:v>0.803995006242197</c:v>
                </c:pt>
                <c:pt idx="45081">
                  <c:v>0.80401284109149196</c:v>
                </c:pt>
                <c:pt idx="45082">
                  <c:v>0.80403067594078803</c:v>
                </c:pt>
                <c:pt idx="45083">
                  <c:v>0.80404851079008299</c:v>
                </c:pt>
                <c:pt idx="45084">
                  <c:v>0.80406634563937895</c:v>
                </c:pt>
                <c:pt idx="45085">
                  <c:v>0.80408418048867403</c:v>
                </c:pt>
                <c:pt idx="45086">
                  <c:v>0.80410201533796999</c:v>
                </c:pt>
                <c:pt idx="45087">
                  <c:v>0.80411985018726595</c:v>
                </c:pt>
                <c:pt idx="45088">
                  <c:v>0.80413768503656102</c:v>
                </c:pt>
                <c:pt idx="45089">
                  <c:v>0.80415551988585698</c:v>
                </c:pt>
                <c:pt idx="45090">
                  <c:v>0.80417335473515195</c:v>
                </c:pt>
                <c:pt idx="45091">
                  <c:v>0.80419118958444802</c:v>
                </c:pt>
                <c:pt idx="45092">
                  <c:v>0.80420902443374298</c:v>
                </c:pt>
                <c:pt idx="45093">
                  <c:v>0.80422685928303905</c:v>
                </c:pt>
                <c:pt idx="45094">
                  <c:v>0.80424469413233401</c:v>
                </c:pt>
                <c:pt idx="45095">
                  <c:v>0.80426252898162998</c:v>
                </c:pt>
                <c:pt idx="45096">
                  <c:v>0.80428036383092505</c:v>
                </c:pt>
                <c:pt idx="45097">
                  <c:v>0.80429819868022101</c:v>
                </c:pt>
                <c:pt idx="45098">
                  <c:v>0.80431603352951597</c:v>
                </c:pt>
                <c:pt idx="45099">
                  <c:v>0.80433386837881204</c:v>
                </c:pt>
                <c:pt idx="45100">
                  <c:v>0.80435170322810701</c:v>
                </c:pt>
                <c:pt idx="45101">
                  <c:v>0.80436953807740297</c:v>
                </c:pt>
                <c:pt idx="45102">
                  <c:v>0.80438737292669804</c:v>
                </c:pt>
                <c:pt idx="45103">
                  <c:v>0.804405207775994</c:v>
                </c:pt>
                <c:pt idx="45104">
                  <c:v>0.80442304262528896</c:v>
                </c:pt>
                <c:pt idx="45105">
                  <c:v>0.80444087747458504</c:v>
                </c:pt>
                <c:pt idx="45106">
                  <c:v>0.80445871232388</c:v>
                </c:pt>
                <c:pt idx="45107">
                  <c:v>0.80447654717317596</c:v>
                </c:pt>
                <c:pt idx="45108">
                  <c:v>0.80449438202247103</c:v>
                </c:pt>
                <c:pt idx="45109">
                  <c:v>0.80451221687176699</c:v>
                </c:pt>
                <c:pt idx="45110">
                  <c:v>0.80453005172106296</c:v>
                </c:pt>
                <c:pt idx="45111">
                  <c:v>0.80454788657035803</c:v>
                </c:pt>
                <c:pt idx="45112">
                  <c:v>0.80456572141965399</c:v>
                </c:pt>
                <c:pt idx="45113">
                  <c:v>0.80458355626894895</c:v>
                </c:pt>
                <c:pt idx="45114">
                  <c:v>0.80460139111824502</c:v>
                </c:pt>
                <c:pt idx="45115">
                  <c:v>0.80461922596753999</c:v>
                </c:pt>
                <c:pt idx="45116">
                  <c:v>0.80463706081683595</c:v>
                </c:pt>
                <c:pt idx="45117">
                  <c:v>0.80465489566613102</c:v>
                </c:pt>
                <c:pt idx="45118">
                  <c:v>0.80467273051542698</c:v>
                </c:pt>
                <c:pt idx="45119">
                  <c:v>0.80469056536472205</c:v>
                </c:pt>
                <c:pt idx="45120">
                  <c:v>0.80470840021401802</c:v>
                </c:pt>
                <c:pt idx="45121">
                  <c:v>0.80472623506331298</c:v>
                </c:pt>
                <c:pt idx="45122">
                  <c:v>0.80474406991260905</c:v>
                </c:pt>
                <c:pt idx="45123">
                  <c:v>0.80476190476190401</c:v>
                </c:pt>
                <c:pt idx="45124">
                  <c:v>0.80477973961119997</c:v>
                </c:pt>
                <c:pt idx="45125">
                  <c:v>0.80479757446049505</c:v>
                </c:pt>
                <c:pt idx="45126">
                  <c:v>0.80481540930979101</c:v>
                </c:pt>
                <c:pt idx="45127">
                  <c:v>0.80483324415908597</c:v>
                </c:pt>
                <c:pt idx="45128">
                  <c:v>0.80485107900838204</c:v>
                </c:pt>
                <c:pt idx="45129">
                  <c:v>0.804868913857677</c:v>
                </c:pt>
                <c:pt idx="45130">
                  <c:v>0.80488674870697297</c:v>
                </c:pt>
                <c:pt idx="45131">
                  <c:v>0.80490458355626804</c:v>
                </c:pt>
                <c:pt idx="45132">
                  <c:v>0.804922418405564</c:v>
                </c:pt>
                <c:pt idx="45133">
                  <c:v>0.80494025325485996</c:v>
                </c:pt>
                <c:pt idx="45134">
                  <c:v>0.80495808810415503</c:v>
                </c:pt>
                <c:pt idx="45135">
                  <c:v>0.804975922953451</c:v>
                </c:pt>
                <c:pt idx="45136">
                  <c:v>0.80499375780274596</c:v>
                </c:pt>
                <c:pt idx="45137">
                  <c:v>0.80501159265204203</c:v>
                </c:pt>
                <c:pt idx="45138">
                  <c:v>0.80502942750133699</c:v>
                </c:pt>
                <c:pt idx="45139">
                  <c:v>0.80504726235063295</c:v>
                </c:pt>
                <c:pt idx="45140">
                  <c:v>0.80506509719992803</c:v>
                </c:pt>
                <c:pt idx="45141">
                  <c:v>0.80508293204922399</c:v>
                </c:pt>
                <c:pt idx="45142">
                  <c:v>0.80510076689851895</c:v>
                </c:pt>
                <c:pt idx="45143">
                  <c:v>0.80511860174781502</c:v>
                </c:pt>
                <c:pt idx="45144">
                  <c:v>0.80513643659710998</c:v>
                </c:pt>
                <c:pt idx="45145">
                  <c:v>0.80515427144640594</c:v>
                </c:pt>
                <c:pt idx="45146">
                  <c:v>0.80517210629570102</c:v>
                </c:pt>
                <c:pt idx="45147">
                  <c:v>0.80518994114499698</c:v>
                </c:pt>
                <c:pt idx="45148">
                  <c:v>0.80520777599429205</c:v>
                </c:pt>
                <c:pt idx="45149">
                  <c:v>0.80522561084358801</c:v>
                </c:pt>
                <c:pt idx="45150">
                  <c:v>0.80524344569288298</c:v>
                </c:pt>
                <c:pt idx="45151">
                  <c:v>0.80526128054217905</c:v>
                </c:pt>
                <c:pt idx="45152">
                  <c:v>0.80527911539147401</c:v>
                </c:pt>
                <c:pt idx="45153">
                  <c:v>0.80529695024076997</c:v>
                </c:pt>
                <c:pt idx="45154">
                  <c:v>0.80531478509006604</c:v>
                </c:pt>
                <c:pt idx="45155">
                  <c:v>0.80533261993936101</c:v>
                </c:pt>
                <c:pt idx="45156">
                  <c:v>0.80535045478865697</c:v>
                </c:pt>
                <c:pt idx="45157">
                  <c:v>0.80536828963795204</c:v>
                </c:pt>
                <c:pt idx="45158">
                  <c:v>0.805386124487248</c:v>
                </c:pt>
                <c:pt idx="45159">
                  <c:v>0.80540395933654296</c:v>
                </c:pt>
                <c:pt idx="45160">
                  <c:v>0.80542179418583904</c:v>
                </c:pt>
                <c:pt idx="45161">
                  <c:v>0.805439629035134</c:v>
                </c:pt>
                <c:pt idx="45162">
                  <c:v>0.80545746388442996</c:v>
                </c:pt>
                <c:pt idx="45163">
                  <c:v>0.80547529873372503</c:v>
                </c:pt>
                <c:pt idx="45164">
                  <c:v>0.80549313358302099</c:v>
                </c:pt>
                <c:pt idx="45165">
                  <c:v>0.80551096843231595</c:v>
                </c:pt>
                <c:pt idx="45166">
                  <c:v>0.80552880328161203</c:v>
                </c:pt>
                <c:pt idx="45167">
                  <c:v>0.80554663813090699</c:v>
                </c:pt>
                <c:pt idx="45168">
                  <c:v>0.80556447298020295</c:v>
                </c:pt>
                <c:pt idx="45169">
                  <c:v>0.80558230782949802</c:v>
                </c:pt>
                <c:pt idx="45170">
                  <c:v>0.80560014267879398</c:v>
                </c:pt>
                <c:pt idx="45171">
                  <c:v>0.80561797752808895</c:v>
                </c:pt>
                <c:pt idx="45172">
                  <c:v>0.80563581237738502</c:v>
                </c:pt>
                <c:pt idx="45173">
                  <c:v>0.80565364722668098</c:v>
                </c:pt>
                <c:pt idx="45174">
                  <c:v>0.80567148207597605</c:v>
                </c:pt>
                <c:pt idx="45175">
                  <c:v>0.80568931692527201</c:v>
                </c:pt>
                <c:pt idx="45176">
                  <c:v>0.80570715177456698</c:v>
                </c:pt>
                <c:pt idx="45177">
                  <c:v>0.80572498662386305</c:v>
                </c:pt>
                <c:pt idx="45178">
                  <c:v>0.80574282147315801</c:v>
                </c:pt>
                <c:pt idx="45179">
                  <c:v>0.80576065632245397</c:v>
                </c:pt>
                <c:pt idx="45180">
                  <c:v>0.80577849117174905</c:v>
                </c:pt>
                <c:pt idx="45181">
                  <c:v>0.80579632602104501</c:v>
                </c:pt>
                <c:pt idx="45182">
                  <c:v>0.80581416087033997</c:v>
                </c:pt>
                <c:pt idx="45183">
                  <c:v>0.80583199571963604</c:v>
                </c:pt>
                <c:pt idx="45184">
                  <c:v>0.805849830568931</c:v>
                </c:pt>
                <c:pt idx="45185">
                  <c:v>0.80586766541822696</c:v>
                </c:pt>
                <c:pt idx="45186">
                  <c:v>0.80588550026752204</c:v>
                </c:pt>
                <c:pt idx="45187">
                  <c:v>0.805903335116818</c:v>
                </c:pt>
                <c:pt idx="45188">
                  <c:v>0.80592116996611296</c:v>
                </c:pt>
                <c:pt idx="45189">
                  <c:v>0.80593900481540903</c:v>
                </c:pt>
                <c:pt idx="45190">
                  <c:v>0.80595683966470399</c:v>
                </c:pt>
                <c:pt idx="45191">
                  <c:v>0.80597467451399996</c:v>
                </c:pt>
                <c:pt idx="45192">
                  <c:v>0.80599250936329503</c:v>
                </c:pt>
                <c:pt idx="45193">
                  <c:v>0.80601034421259099</c:v>
                </c:pt>
                <c:pt idx="45194">
                  <c:v>0.80602817906188695</c:v>
                </c:pt>
                <c:pt idx="45195">
                  <c:v>0.80604601391118202</c:v>
                </c:pt>
                <c:pt idx="45196">
                  <c:v>0.80606384876047799</c:v>
                </c:pt>
                <c:pt idx="45197">
                  <c:v>0.80608168360977295</c:v>
                </c:pt>
                <c:pt idx="45198">
                  <c:v>0.80609951845906902</c:v>
                </c:pt>
                <c:pt idx="45199">
                  <c:v>0.80611735330836398</c:v>
                </c:pt>
                <c:pt idx="45200">
                  <c:v>0.80613518815766005</c:v>
                </c:pt>
                <c:pt idx="45201">
                  <c:v>0.80615302300695502</c:v>
                </c:pt>
                <c:pt idx="45202">
                  <c:v>0.80617085785625098</c:v>
                </c:pt>
                <c:pt idx="45203">
                  <c:v>0.80618869270554605</c:v>
                </c:pt>
                <c:pt idx="45204">
                  <c:v>0.80620652755484201</c:v>
                </c:pt>
                <c:pt idx="45205">
                  <c:v>0.80622436240413697</c:v>
                </c:pt>
                <c:pt idx="45206">
                  <c:v>0.80624219725343305</c:v>
                </c:pt>
                <c:pt idx="45207">
                  <c:v>0.80626003210272801</c:v>
                </c:pt>
                <c:pt idx="45208">
                  <c:v>0.80627786695202397</c:v>
                </c:pt>
                <c:pt idx="45209">
                  <c:v>0.80629570180131904</c:v>
                </c:pt>
                <c:pt idx="45210">
                  <c:v>0.806313536650615</c:v>
                </c:pt>
                <c:pt idx="45211">
                  <c:v>0.80633137149990997</c:v>
                </c:pt>
                <c:pt idx="45212">
                  <c:v>0.80634920634920604</c:v>
                </c:pt>
                <c:pt idx="45213">
                  <c:v>0.806367041198501</c:v>
                </c:pt>
                <c:pt idx="45214">
                  <c:v>0.80638487604779696</c:v>
                </c:pt>
                <c:pt idx="45215">
                  <c:v>0.80640271089709203</c:v>
                </c:pt>
                <c:pt idx="45216">
                  <c:v>0.806420545746388</c:v>
                </c:pt>
                <c:pt idx="45217">
                  <c:v>0.80643838059568396</c:v>
                </c:pt>
                <c:pt idx="45218">
                  <c:v>0.80645621544497903</c:v>
                </c:pt>
                <c:pt idx="45219">
                  <c:v>0.80647405029427499</c:v>
                </c:pt>
                <c:pt idx="45220">
                  <c:v>0.80649188514356995</c:v>
                </c:pt>
                <c:pt idx="45221">
                  <c:v>0.80650971999286603</c:v>
                </c:pt>
                <c:pt idx="45222">
                  <c:v>0.80652755484216099</c:v>
                </c:pt>
                <c:pt idx="45223">
                  <c:v>0.80654538969145695</c:v>
                </c:pt>
                <c:pt idx="45224">
                  <c:v>0.80656322454075202</c:v>
                </c:pt>
                <c:pt idx="45225">
                  <c:v>0.80658105939004798</c:v>
                </c:pt>
                <c:pt idx="45226">
                  <c:v>0.80659889423934295</c:v>
                </c:pt>
                <c:pt idx="45227">
                  <c:v>0.80661672908863902</c:v>
                </c:pt>
                <c:pt idx="45228">
                  <c:v>0.80663456393793398</c:v>
                </c:pt>
                <c:pt idx="45229">
                  <c:v>0.80665239878723005</c:v>
                </c:pt>
                <c:pt idx="45230">
                  <c:v>0.80667023363652501</c:v>
                </c:pt>
                <c:pt idx="45231">
                  <c:v>0.80668806848582097</c:v>
                </c:pt>
                <c:pt idx="45232">
                  <c:v>0.80670590333511605</c:v>
                </c:pt>
                <c:pt idx="45233">
                  <c:v>0.80672373818441201</c:v>
                </c:pt>
                <c:pt idx="45234">
                  <c:v>0.80674157303370697</c:v>
                </c:pt>
                <c:pt idx="45235">
                  <c:v>0.80675940788300304</c:v>
                </c:pt>
                <c:pt idx="45236">
                  <c:v>0.80677724273229801</c:v>
                </c:pt>
                <c:pt idx="45237">
                  <c:v>0.80679507758159397</c:v>
                </c:pt>
                <c:pt idx="45238">
                  <c:v>0.80681291243088904</c:v>
                </c:pt>
                <c:pt idx="45239">
                  <c:v>0.806830747280185</c:v>
                </c:pt>
                <c:pt idx="45240">
                  <c:v>0.80684858212948096</c:v>
                </c:pt>
                <c:pt idx="45241">
                  <c:v>0.80686641697877604</c:v>
                </c:pt>
                <c:pt idx="45242">
                  <c:v>0.806884251828072</c:v>
                </c:pt>
                <c:pt idx="45243">
                  <c:v>0.80690208667736696</c:v>
                </c:pt>
                <c:pt idx="45244">
                  <c:v>0.80691992152666303</c:v>
                </c:pt>
                <c:pt idx="45245">
                  <c:v>0.80693775637595799</c:v>
                </c:pt>
                <c:pt idx="45246">
                  <c:v>0.80695559122525395</c:v>
                </c:pt>
                <c:pt idx="45247">
                  <c:v>0.80697342607454903</c:v>
                </c:pt>
                <c:pt idx="45248">
                  <c:v>0.80699126092384499</c:v>
                </c:pt>
                <c:pt idx="45249">
                  <c:v>0.80700909577313995</c:v>
                </c:pt>
                <c:pt idx="45250">
                  <c:v>0.80702693062243602</c:v>
                </c:pt>
                <c:pt idx="45251">
                  <c:v>0.80704476547173098</c:v>
                </c:pt>
                <c:pt idx="45252">
                  <c:v>0.80706260032102695</c:v>
                </c:pt>
                <c:pt idx="45253">
                  <c:v>0.80708043517032202</c:v>
                </c:pt>
                <c:pt idx="45254">
                  <c:v>0.80709827001961798</c:v>
                </c:pt>
                <c:pt idx="45255">
                  <c:v>0.80711610486891305</c:v>
                </c:pt>
                <c:pt idx="45256">
                  <c:v>0.80713393971820901</c:v>
                </c:pt>
                <c:pt idx="45257">
                  <c:v>0.80715177456750398</c:v>
                </c:pt>
                <c:pt idx="45258">
                  <c:v>0.80716960941680005</c:v>
                </c:pt>
                <c:pt idx="45259">
                  <c:v>0.80718744426609501</c:v>
                </c:pt>
                <c:pt idx="45260">
                  <c:v>0.80720527911539097</c:v>
                </c:pt>
                <c:pt idx="45261">
                  <c:v>0.80722311396468704</c:v>
                </c:pt>
                <c:pt idx="45262">
                  <c:v>0.80724094881398201</c:v>
                </c:pt>
                <c:pt idx="45263">
                  <c:v>0.80725878366327797</c:v>
                </c:pt>
                <c:pt idx="45264">
                  <c:v>0.80727661851257304</c:v>
                </c:pt>
                <c:pt idx="45265">
                  <c:v>0.807294453361869</c:v>
                </c:pt>
                <c:pt idx="45266">
                  <c:v>0.80731228821116396</c:v>
                </c:pt>
                <c:pt idx="45267">
                  <c:v>0.80733012306046004</c:v>
                </c:pt>
                <c:pt idx="45268">
                  <c:v>0.807347957909755</c:v>
                </c:pt>
                <c:pt idx="45269">
                  <c:v>0.80736579275905096</c:v>
                </c:pt>
                <c:pt idx="45270">
                  <c:v>0.80738362760834603</c:v>
                </c:pt>
                <c:pt idx="45271">
                  <c:v>0.80740146245764199</c:v>
                </c:pt>
                <c:pt idx="45272">
                  <c:v>0.80741929730693696</c:v>
                </c:pt>
                <c:pt idx="45273">
                  <c:v>0.80743713215623303</c:v>
                </c:pt>
                <c:pt idx="45274">
                  <c:v>0.80745496700552799</c:v>
                </c:pt>
                <c:pt idx="45275">
                  <c:v>0.80747280185482395</c:v>
                </c:pt>
                <c:pt idx="45276">
                  <c:v>0.80749063670411902</c:v>
                </c:pt>
                <c:pt idx="45277">
                  <c:v>0.80750847155341499</c:v>
                </c:pt>
                <c:pt idx="45278">
                  <c:v>0.80752630640271095</c:v>
                </c:pt>
                <c:pt idx="45279">
                  <c:v>0.80754414125200602</c:v>
                </c:pt>
                <c:pt idx="45280">
                  <c:v>0.80756197610130198</c:v>
                </c:pt>
                <c:pt idx="45281">
                  <c:v>0.80757981095059705</c:v>
                </c:pt>
                <c:pt idx="45282">
                  <c:v>0.80759764579989302</c:v>
                </c:pt>
                <c:pt idx="45283">
                  <c:v>0.80761548064918798</c:v>
                </c:pt>
                <c:pt idx="45284">
                  <c:v>0.80763331549848405</c:v>
                </c:pt>
                <c:pt idx="45285">
                  <c:v>0.80765115034777901</c:v>
                </c:pt>
                <c:pt idx="45286">
                  <c:v>0.80766898519707497</c:v>
                </c:pt>
                <c:pt idx="45287">
                  <c:v>0.80768682004637005</c:v>
                </c:pt>
                <c:pt idx="45288">
                  <c:v>0.80770465489566601</c:v>
                </c:pt>
                <c:pt idx="45289">
                  <c:v>0.80772248974496097</c:v>
                </c:pt>
                <c:pt idx="45290">
                  <c:v>0.80774032459425704</c:v>
                </c:pt>
                <c:pt idx="45291">
                  <c:v>0.807758159443552</c:v>
                </c:pt>
                <c:pt idx="45292">
                  <c:v>0.80777599429284797</c:v>
                </c:pt>
                <c:pt idx="45293">
                  <c:v>0.80779382914214304</c:v>
                </c:pt>
                <c:pt idx="45294">
                  <c:v>0.807811663991439</c:v>
                </c:pt>
                <c:pt idx="45295">
                  <c:v>0.80782949884073396</c:v>
                </c:pt>
                <c:pt idx="45296">
                  <c:v>0.80784733369003003</c:v>
                </c:pt>
                <c:pt idx="45297">
                  <c:v>0.807865168539325</c:v>
                </c:pt>
                <c:pt idx="45298">
                  <c:v>0.80788300338862096</c:v>
                </c:pt>
                <c:pt idx="45299">
                  <c:v>0.80790083823791603</c:v>
                </c:pt>
                <c:pt idx="45300">
                  <c:v>0.80791867308721199</c:v>
                </c:pt>
                <c:pt idx="45301">
                  <c:v>0.80793650793650795</c:v>
                </c:pt>
                <c:pt idx="45302">
                  <c:v>0.80795434278580303</c:v>
                </c:pt>
                <c:pt idx="45303">
                  <c:v>0.80797217763509899</c:v>
                </c:pt>
                <c:pt idx="45304">
                  <c:v>0.80799001248439395</c:v>
                </c:pt>
                <c:pt idx="45305">
                  <c:v>0.80800784733369002</c:v>
                </c:pt>
                <c:pt idx="45306">
                  <c:v>0.80802568218298498</c:v>
                </c:pt>
                <c:pt idx="45307">
                  <c:v>0.80804351703228094</c:v>
                </c:pt>
                <c:pt idx="45308">
                  <c:v>0.80806135188157602</c:v>
                </c:pt>
                <c:pt idx="45309">
                  <c:v>0.80807918673087198</c:v>
                </c:pt>
                <c:pt idx="45310">
                  <c:v>0.80809702158016705</c:v>
                </c:pt>
                <c:pt idx="45311">
                  <c:v>0.80811485642946301</c:v>
                </c:pt>
                <c:pt idx="45312">
                  <c:v>0.80813269127875798</c:v>
                </c:pt>
                <c:pt idx="45313">
                  <c:v>0.80815052612805405</c:v>
                </c:pt>
                <c:pt idx="45314">
                  <c:v>0.80816836097734901</c:v>
                </c:pt>
                <c:pt idx="45315">
                  <c:v>0.80818619582664497</c:v>
                </c:pt>
                <c:pt idx="45316">
                  <c:v>0.80820403067594004</c:v>
                </c:pt>
                <c:pt idx="45317">
                  <c:v>0.80822186552523601</c:v>
                </c:pt>
                <c:pt idx="45318">
                  <c:v>0.80823970037453097</c:v>
                </c:pt>
                <c:pt idx="45319">
                  <c:v>0.80825753522382704</c:v>
                </c:pt>
                <c:pt idx="45320">
                  <c:v>0.808275370073122</c:v>
                </c:pt>
                <c:pt idx="45321">
                  <c:v>0.80829320492241796</c:v>
                </c:pt>
                <c:pt idx="45322">
                  <c:v>0.80831103977171304</c:v>
                </c:pt>
                <c:pt idx="45323">
                  <c:v>0.808328874621009</c:v>
                </c:pt>
                <c:pt idx="45324">
                  <c:v>0.80834670947030496</c:v>
                </c:pt>
                <c:pt idx="45325">
                  <c:v>0.80836454431960003</c:v>
                </c:pt>
                <c:pt idx="45326">
                  <c:v>0.80838237916889599</c:v>
                </c:pt>
                <c:pt idx="45327">
                  <c:v>0.80840021401819095</c:v>
                </c:pt>
                <c:pt idx="45328">
                  <c:v>0.80841804886748703</c:v>
                </c:pt>
                <c:pt idx="45329">
                  <c:v>0.80843588371678199</c:v>
                </c:pt>
                <c:pt idx="45330">
                  <c:v>0.80845371856607795</c:v>
                </c:pt>
                <c:pt idx="45331">
                  <c:v>0.80847155341537302</c:v>
                </c:pt>
                <c:pt idx="45332">
                  <c:v>0.80848938826466898</c:v>
                </c:pt>
                <c:pt idx="45333">
                  <c:v>0.80850722311396395</c:v>
                </c:pt>
                <c:pt idx="45334">
                  <c:v>0.80852505796326002</c:v>
                </c:pt>
                <c:pt idx="45335">
                  <c:v>0.80854289281255498</c:v>
                </c:pt>
                <c:pt idx="45336">
                  <c:v>0.80856072766185105</c:v>
                </c:pt>
                <c:pt idx="45337">
                  <c:v>0.80857856251114602</c:v>
                </c:pt>
                <c:pt idx="45338">
                  <c:v>0.80859639736044198</c:v>
                </c:pt>
                <c:pt idx="45339">
                  <c:v>0.80861423220973705</c:v>
                </c:pt>
                <c:pt idx="45340">
                  <c:v>0.80863206705903301</c:v>
                </c:pt>
                <c:pt idx="45341">
                  <c:v>0.80864990190832797</c:v>
                </c:pt>
                <c:pt idx="45342">
                  <c:v>0.80866773675762404</c:v>
                </c:pt>
                <c:pt idx="45343">
                  <c:v>0.80868557160691901</c:v>
                </c:pt>
                <c:pt idx="45344">
                  <c:v>0.80870340645621497</c:v>
                </c:pt>
                <c:pt idx="45345">
                  <c:v>0.80872124130551004</c:v>
                </c:pt>
                <c:pt idx="45346">
                  <c:v>0.808739076154806</c:v>
                </c:pt>
                <c:pt idx="45347">
                  <c:v>0.80875691100410196</c:v>
                </c:pt>
                <c:pt idx="45348">
                  <c:v>0.80877474585339704</c:v>
                </c:pt>
                <c:pt idx="45349">
                  <c:v>0.808792580702693</c:v>
                </c:pt>
                <c:pt idx="45350">
                  <c:v>0.80881041555198796</c:v>
                </c:pt>
                <c:pt idx="45351">
                  <c:v>0.80882825040128403</c:v>
                </c:pt>
                <c:pt idx="45352">
                  <c:v>0.80884608525057899</c:v>
                </c:pt>
                <c:pt idx="45353">
                  <c:v>0.80886392009987496</c:v>
                </c:pt>
                <c:pt idx="45354">
                  <c:v>0.80888175494917003</c:v>
                </c:pt>
                <c:pt idx="45355">
                  <c:v>0.80889958979846599</c:v>
                </c:pt>
                <c:pt idx="45356">
                  <c:v>0.80891742464776095</c:v>
                </c:pt>
                <c:pt idx="45357">
                  <c:v>0.80893525949705702</c:v>
                </c:pt>
                <c:pt idx="45358">
                  <c:v>0.80895309434635199</c:v>
                </c:pt>
                <c:pt idx="45359">
                  <c:v>0.80897092919564795</c:v>
                </c:pt>
                <c:pt idx="45360">
                  <c:v>0.80898876404494302</c:v>
                </c:pt>
                <c:pt idx="45361">
                  <c:v>0.80900659889423898</c:v>
                </c:pt>
                <c:pt idx="45362">
                  <c:v>0.80902443374353405</c:v>
                </c:pt>
                <c:pt idx="45363">
                  <c:v>0.80904226859283002</c:v>
                </c:pt>
                <c:pt idx="45364">
                  <c:v>0.80906010344212498</c:v>
                </c:pt>
                <c:pt idx="45365">
                  <c:v>0.80907793829142105</c:v>
                </c:pt>
                <c:pt idx="45366">
                  <c:v>0.80909577314071701</c:v>
                </c:pt>
                <c:pt idx="45367">
                  <c:v>0.80911360799001197</c:v>
                </c:pt>
                <c:pt idx="45368">
                  <c:v>0.80913144283930805</c:v>
                </c:pt>
                <c:pt idx="45369">
                  <c:v>0.80914927768860301</c:v>
                </c:pt>
                <c:pt idx="45370">
                  <c:v>0.80916711253789897</c:v>
                </c:pt>
                <c:pt idx="45371">
                  <c:v>0.80918494738719404</c:v>
                </c:pt>
                <c:pt idx="45372">
                  <c:v>0.80920278223649</c:v>
                </c:pt>
                <c:pt idx="45373">
                  <c:v>0.80922061708578497</c:v>
                </c:pt>
                <c:pt idx="45374">
                  <c:v>0.80923845193508104</c:v>
                </c:pt>
                <c:pt idx="45375">
                  <c:v>0.809256286784376</c:v>
                </c:pt>
                <c:pt idx="45376">
                  <c:v>0.80927412163367196</c:v>
                </c:pt>
                <c:pt idx="45377">
                  <c:v>0.80929195648296703</c:v>
                </c:pt>
                <c:pt idx="45378">
                  <c:v>0.809309791332263</c:v>
                </c:pt>
                <c:pt idx="45379">
                  <c:v>0.80932762618155796</c:v>
                </c:pt>
                <c:pt idx="45380">
                  <c:v>0.80934546103085403</c:v>
                </c:pt>
                <c:pt idx="45381">
                  <c:v>0.80936329588014899</c:v>
                </c:pt>
                <c:pt idx="45382">
                  <c:v>0.80938113072944495</c:v>
                </c:pt>
                <c:pt idx="45383">
                  <c:v>0.80939896557874003</c:v>
                </c:pt>
                <c:pt idx="45384">
                  <c:v>0.80941680042803599</c:v>
                </c:pt>
                <c:pt idx="45385">
                  <c:v>0.80943463527733195</c:v>
                </c:pt>
                <c:pt idx="45386">
                  <c:v>0.80945247012662702</c:v>
                </c:pt>
                <c:pt idx="45387">
                  <c:v>0.80947030497592298</c:v>
                </c:pt>
                <c:pt idx="45388">
                  <c:v>0.80948813982521794</c:v>
                </c:pt>
                <c:pt idx="45389">
                  <c:v>0.80950597467451402</c:v>
                </c:pt>
                <c:pt idx="45390">
                  <c:v>0.80952380952380898</c:v>
                </c:pt>
                <c:pt idx="45391">
                  <c:v>0.80954164437310505</c:v>
                </c:pt>
                <c:pt idx="45392">
                  <c:v>0.80955947922240001</c:v>
                </c:pt>
                <c:pt idx="45393">
                  <c:v>0.80957731407169597</c:v>
                </c:pt>
                <c:pt idx="45394">
                  <c:v>0.80959514892099105</c:v>
                </c:pt>
                <c:pt idx="45395">
                  <c:v>0.80961298377028701</c:v>
                </c:pt>
                <c:pt idx="45396">
                  <c:v>0.80963081861958197</c:v>
                </c:pt>
                <c:pt idx="45397">
                  <c:v>0.80964865346887804</c:v>
                </c:pt>
                <c:pt idx="45398">
                  <c:v>0.80966648831817301</c:v>
                </c:pt>
                <c:pt idx="45399">
                  <c:v>0.80968432316746897</c:v>
                </c:pt>
                <c:pt idx="45400">
                  <c:v>0.80970215801676404</c:v>
                </c:pt>
                <c:pt idx="45401">
                  <c:v>0.80971999286606</c:v>
                </c:pt>
                <c:pt idx="45402">
                  <c:v>0.80973782771535496</c:v>
                </c:pt>
                <c:pt idx="45403">
                  <c:v>0.80975566256465104</c:v>
                </c:pt>
                <c:pt idx="45404">
                  <c:v>0.809773497413946</c:v>
                </c:pt>
                <c:pt idx="45405">
                  <c:v>0.80979133226324196</c:v>
                </c:pt>
                <c:pt idx="45406">
                  <c:v>0.80980916711253703</c:v>
                </c:pt>
                <c:pt idx="45407">
                  <c:v>0.80982700196183299</c:v>
                </c:pt>
                <c:pt idx="45408">
                  <c:v>0.80984483681112895</c:v>
                </c:pt>
                <c:pt idx="45409">
                  <c:v>0.80986267166042403</c:v>
                </c:pt>
                <c:pt idx="45410">
                  <c:v>0.80988050650971999</c:v>
                </c:pt>
                <c:pt idx="45411">
                  <c:v>0.80989834135901495</c:v>
                </c:pt>
                <c:pt idx="45412">
                  <c:v>0.80991617620831102</c:v>
                </c:pt>
                <c:pt idx="45413">
                  <c:v>0.80993401105760598</c:v>
                </c:pt>
                <c:pt idx="45414">
                  <c:v>0.80995184590690195</c:v>
                </c:pt>
                <c:pt idx="45415">
                  <c:v>0.80996968075619702</c:v>
                </c:pt>
                <c:pt idx="45416">
                  <c:v>0.80998751560549298</c:v>
                </c:pt>
                <c:pt idx="45417">
                  <c:v>0.81000535045478805</c:v>
                </c:pt>
                <c:pt idx="45418">
                  <c:v>0.81002318530408401</c:v>
                </c:pt>
                <c:pt idx="45419">
                  <c:v>0.81004102015337898</c:v>
                </c:pt>
                <c:pt idx="45420">
                  <c:v>0.81005885500267505</c:v>
                </c:pt>
                <c:pt idx="45421">
                  <c:v>0.81007668985197001</c:v>
                </c:pt>
                <c:pt idx="45422">
                  <c:v>0.81009452470126597</c:v>
                </c:pt>
                <c:pt idx="45423">
                  <c:v>0.81011235955056105</c:v>
                </c:pt>
                <c:pt idx="45424">
                  <c:v>0.81013019439985701</c:v>
                </c:pt>
                <c:pt idx="45425">
                  <c:v>0.81014802924915197</c:v>
                </c:pt>
                <c:pt idx="45426">
                  <c:v>0.81016586409844804</c:v>
                </c:pt>
                <c:pt idx="45427">
                  <c:v>0.810183698947743</c:v>
                </c:pt>
                <c:pt idx="45428">
                  <c:v>0.81020153379703896</c:v>
                </c:pt>
                <c:pt idx="45429">
                  <c:v>0.81021936864633404</c:v>
                </c:pt>
                <c:pt idx="45430">
                  <c:v>0.81023720349563</c:v>
                </c:pt>
                <c:pt idx="45431">
                  <c:v>0.81025503834492596</c:v>
                </c:pt>
                <c:pt idx="45432">
                  <c:v>0.81027287319422103</c:v>
                </c:pt>
                <c:pt idx="45433">
                  <c:v>0.81029070804351699</c:v>
                </c:pt>
                <c:pt idx="45434">
                  <c:v>0.81030854289281196</c:v>
                </c:pt>
                <c:pt idx="45435">
                  <c:v>0.81032637774210803</c:v>
                </c:pt>
                <c:pt idx="45436">
                  <c:v>0.81034421259140299</c:v>
                </c:pt>
                <c:pt idx="45437">
                  <c:v>0.81036204744069895</c:v>
                </c:pt>
                <c:pt idx="45438">
                  <c:v>0.81037988228999402</c:v>
                </c:pt>
                <c:pt idx="45439">
                  <c:v>0.81039771713928999</c:v>
                </c:pt>
                <c:pt idx="45440">
                  <c:v>0.81041555198858495</c:v>
                </c:pt>
                <c:pt idx="45441">
                  <c:v>0.81043338683788102</c:v>
                </c:pt>
                <c:pt idx="45442">
                  <c:v>0.81045122168717598</c:v>
                </c:pt>
                <c:pt idx="45443">
                  <c:v>0.81046905653647205</c:v>
                </c:pt>
                <c:pt idx="45444">
                  <c:v>0.81048689138576702</c:v>
                </c:pt>
                <c:pt idx="45445">
                  <c:v>0.81050472623506298</c:v>
                </c:pt>
                <c:pt idx="45446">
                  <c:v>0.81052256108435805</c:v>
                </c:pt>
                <c:pt idx="45447">
                  <c:v>0.81054039593365401</c:v>
                </c:pt>
                <c:pt idx="45448">
                  <c:v>0.81055823078294897</c:v>
                </c:pt>
                <c:pt idx="45449">
                  <c:v>0.81057606563224505</c:v>
                </c:pt>
                <c:pt idx="45450">
                  <c:v>0.81059390048154001</c:v>
                </c:pt>
                <c:pt idx="45451">
                  <c:v>0.81061173533083597</c:v>
                </c:pt>
                <c:pt idx="45452">
                  <c:v>0.81062957018013104</c:v>
                </c:pt>
                <c:pt idx="45453">
                  <c:v>0.810647405029427</c:v>
                </c:pt>
                <c:pt idx="45454">
                  <c:v>0.81066523987872297</c:v>
                </c:pt>
                <c:pt idx="45455">
                  <c:v>0.81068307472801804</c:v>
                </c:pt>
                <c:pt idx="45456">
                  <c:v>0.810700909577314</c:v>
                </c:pt>
                <c:pt idx="45457">
                  <c:v>0.81071874442660896</c:v>
                </c:pt>
                <c:pt idx="45458">
                  <c:v>0.81073657927590503</c:v>
                </c:pt>
                <c:pt idx="45459">
                  <c:v>0.8107544141252</c:v>
                </c:pt>
                <c:pt idx="45460">
                  <c:v>0.81077224897449596</c:v>
                </c:pt>
                <c:pt idx="45461">
                  <c:v>0.81079008382379103</c:v>
                </c:pt>
                <c:pt idx="45462">
                  <c:v>0.81080791867308699</c:v>
                </c:pt>
                <c:pt idx="45463">
                  <c:v>0.81082575352238195</c:v>
                </c:pt>
                <c:pt idx="45464">
                  <c:v>0.81084358837167803</c:v>
                </c:pt>
                <c:pt idx="45465">
                  <c:v>0.81086142322097299</c:v>
                </c:pt>
                <c:pt idx="45466">
                  <c:v>0.81087925807026895</c:v>
                </c:pt>
                <c:pt idx="45467">
                  <c:v>0.81089709291956402</c:v>
                </c:pt>
                <c:pt idx="45468">
                  <c:v>0.81091492776885998</c:v>
                </c:pt>
                <c:pt idx="45469">
                  <c:v>0.81093276261815495</c:v>
                </c:pt>
                <c:pt idx="45470">
                  <c:v>0.81095059746745102</c:v>
                </c:pt>
                <c:pt idx="45471">
                  <c:v>0.81096843231674698</c:v>
                </c:pt>
                <c:pt idx="45472">
                  <c:v>0.81098626716604205</c:v>
                </c:pt>
                <c:pt idx="45473">
                  <c:v>0.81100410201533801</c:v>
                </c:pt>
                <c:pt idx="45474">
                  <c:v>0.81102193686463298</c:v>
                </c:pt>
                <c:pt idx="45475">
                  <c:v>0.81103977171392905</c:v>
                </c:pt>
                <c:pt idx="45476">
                  <c:v>0.81105760656322401</c:v>
                </c:pt>
                <c:pt idx="45477">
                  <c:v>0.81107544141251997</c:v>
                </c:pt>
                <c:pt idx="45478">
                  <c:v>0.81109327626181504</c:v>
                </c:pt>
                <c:pt idx="45479">
                  <c:v>0.81111111111111101</c:v>
                </c:pt>
                <c:pt idx="45480">
                  <c:v>0.81112894596040597</c:v>
                </c:pt>
                <c:pt idx="45481">
                  <c:v>0.81114678080970204</c:v>
                </c:pt>
                <c:pt idx="45482">
                  <c:v>0.811164615658997</c:v>
                </c:pt>
                <c:pt idx="45483">
                  <c:v>0.81118245050829296</c:v>
                </c:pt>
                <c:pt idx="45484">
                  <c:v>0.81120028535758804</c:v>
                </c:pt>
                <c:pt idx="45485">
                  <c:v>0.811218120206884</c:v>
                </c:pt>
                <c:pt idx="45486">
                  <c:v>0.81123595505617896</c:v>
                </c:pt>
                <c:pt idx="45487">
                  <c:v>0.81125378990547503</c:v>
                </c:pt>
                <c:pt idx="45488">
                  <c:v>0.81127162475476999</c:v>
                </c:pt>
                <c:pt idx="45489">
                  <c:v>0.81128945960406595</c:v>
                </c:pt>
                <c:pt idx="45490">
                  <c:v>0.81130729445336103</c:v>
                </c:pt>
                <c:pt idx="45491">
                  <c:v>0.81132512930265699</c:v>
                </c:pt>
                <c:pt idx="45492">
                  <c:v>0.81134296415195295</c:v>
                </c:pt>
                <c:pt idx="45493">
                  <c:v>0.81136079900124802</c:v>
                </c:pt>
                <c:pt idx="45494">
                  <c:v>0.81137863385054398</c:v>
                </c:pt>
                <c:pt idx="45495">
                  <c:v>0.81139646869983895</c:v>
                </c:pt>
                <c:pt idx="45496">
                  <c:v>0.81141430354913502</c:v>
                </c:pt>
                <c:pt idx="45497">
                  <c:v>0.81143213839842998</c:v>
                </c:pt>
                <c:pt idx="45498">
                  <c:v>0.81144997324772605</c:v>
                </c:pt>
                <c:pt idx="45499">
                  <c:v>0.81146780809702102</c:v>
                </c:pt>
                <c:pt idx="45500">
                  <c:v>0.81148564294631698</c:v>
                </c:pt>
                <c:pt idx="45501">
                  <c:v>0.81150347779561205</c:v>
                </c:pt>
                <c:pt idx="45502">
                  <c:v>0.81152131264490801</c:v>
                </c:pt>
                <c:pt idx="45503">
                  <c:v>0.81153914749420297</c:v>
                </c:pt>
                <c:pt idx="45504">
                  <c:v>0.81155698234349904</c:v>
                </c:pt>
                <c:pt idx="45505">
                  <c:v>0.81157481719279401</c:v>
                </c:pt>
                <c:pt idx="45506">
                  <c:v>0.81159265204208997</c:v>
                </c:pt>
                <c:pt idx="45507">
                  <c:v>0.81161048689138504</c:v>
                </c:pt>
                <c:pt idx="45508">
                  <c:v>0.811628321740681</c:v>
                </c:pt>
                <c:pt idx="45509">
                  <c:v>0.81164615658997596</c:v>
                </c:pt>
                <c:pt idx="45510">
                  <c:v>0.81166399143927204</c:v>
                </c:pt>
                <c:pt idx="45511">
                  <c:v>0.811681826288567</c:v>
                </c:pt>
                <c:pt idx="45512">
                  <c:v>0.81169966113786296</c:v>
                </c:pt>
                <c:pt idx="45513">
                  <c:v>0.81171749598715803</c:v>
                </c:pt>
                <c:pt idx="45514">
                  <c:v>0.81173533083645399</c:v>
                </c:pt>
                <c:pt idx="45515">
                  <c:v>0.81175316568574996</c:v>
                </c:pt>
                <c:pt idx="45516">
                  <c:v>0.81177100053504503</c:v>
                </c:pt>
                <c:pt idx="45517">
                  <c:v>0.81178883538434099</c:v>
                </c:pt>
                <c:pt idx="45518">
                  <c:v>0.81180667023363595</c:v>
                </c:pt>
                <c:pt idx="45519">
                  <c:v>0.81182450508293202</c:v>
                </c:pt>
                <c:pt idx="45520">
                  <c:v>0.81184233993222699</c:v>
                </c:pt>
                <c:pt idx="45521">
                  <c:v>0.81186017478152295</c:v>
                </c:pt>
                <c:pt idx="45522">
                  <c:v>0.81187800963081802</c:v>
                </c:pt>
                <c:pt idx="45523">
                  <c:v>0.81189584448011398</c:v>
                </c:pt>
                <c:pt idx="45524">
                  <c:v>0.81191367932940905</c:v>
                </c:pt>
                <c:pt idx="45525">
                  <c:v>0.81193151417870502</c:v>
                </c:pt>
                <c:pt idx="45526">
                  <c:v>0.81194934902799998</c:v>
                </c:pt>
                <c:pt idx="45527">
                  <c:v>0.81196718387729605</c:v>
                </c:pt>
                <c:pt idx="45528">
                  <c:v>0.81198501872659101</c:v>
                </c:pt>
                <c:pt idx="45529">
                  <c:v>0.81200285357588697</c:v>
                </c:pt>
                <c:pt idx="45530">
                  <c:v>0.81202068842518205</c:v>
                </c:pt>
                <c:pt idx="45531">
                  <c:v>0.81203852327447801</c:v>
                </c:pt>
                <c:pt idx="45532">
                  <c:v>0.81205635812377297</c:v>
                </c:pt>
                <c:pt idx="45533">
                  <c:v>0.81207419297306904</c:v>
                </c:pt>
                <c:pt idx="45534">
                  <c:v>0.812092027822364</c:v>
                </c:pt>
                <c:pt idx="45535">
                  <c:v>0.81210986267165997</c:v>
                </c:pt>
                <c:pt idx="45536">
                  <c:v>0.81212769752095504</c:v>
                </c:pt>
                <c:pt idx="45537">
                  <c:v>0.812145532370251</c:v>
                </c:pt>
                <c:pt idx="45538">
                  <c:v>0.81216336721954696</c:v>
                </c:pt>
                <c:pt idx="45539">
                  <c:v>0.81218120206884203</c:v>
                </c:pt>
                <c:pt idx="45540">
                  <c:v>0.812199036918138</c:v>
                </c:pt>
                <c:pt idx="45541">
                  <c:v>0.81221687176743296</c:v>
                </c:pt>
                <c:pt idx="45542">
                  <c:v>0.81223470661672903</c:v>
                </c:pt>
                <c:pt idx="45543">
                  <c:v>0.81225254146602399</c:v>
                </c:pt>
                <c:pt idx="45544">
                  <c:v>0.81227037631531995</c:v>
                </c:pt>
                <c:pt idx="45545">
                  <c:v>0.81228821116461503</c:v>
                </c:pt>
                <c:pt idx="45546">
                  <c:v>0.81230604601391099</c:v>
                </c:pt>
                <c:pt idx="45547">
                  <c:v>0.81232388086320595</c:v>
                </c:pt>
                <c:pt idx="45548">
                  <c:v>0.81234171571250202</c:v>
                </c:pt>
                <c:pt idx="45549">
                  <c:v>0.81235955056179698</c:v>
                </c:pt>
                <c:pt idx="45550">
                  <c:v>0.81237738541109294</c:v>
                </c:pt>
                <c:pt idx="45551">
                  <c:v>0.81239522026038802</c:v>
                </c:pt>
                <c:pt idx="45552">
                  <c:v>0.81241305510968398</c:v>
                </c:pt>
                <c:pt idx="45553">
                  <c:v>0.81243088995897905</c:v>
                </c:pt>
                <c:pt idx="45554">
                  <c:v>0.81244872480827501</c:v>
                </c:pt>
                <c:pt idx="45555">
                  <c:v>0.81246655965756998</c:v>
                </c:pt>
                <c:pt idx="45556">
                  <c:v>0.81248439450686605</c:v>
                </c:pt>
                <c:pt idx="45557">
                  <c:v>0.81250222935616101</c:v>
                </c:pt>
                <c:pt idx="45558">
                  <c:v>0.81252006420545697</c:v>
                </c:pt>
                <c:pt idx="45559">
                  <c:v>0.81253789905475204</c:v>
                </c:pt>
                <c:pt idx="45560">
                  <c:v>0.81255573390404801</c:v>
                </c:pt>
                <c:pt idx="45561">
                  <c:v>0.81257356875334397</c:v>
                </c:pt>
                <c:pt idx="45562">
                  <c:v>0.81259140360263904</c:v>
                </c:pt>
                <c:pt idx="45563">
                  <c:v>0.812609238451935</c:v>
                </c:pt>
                <c:pt idx="45564">
                  <c:v>0.81262707330122996</c:v>
                </c:pt>
                <c:pt idx="45565">
                  <c:v>0.81264490815052604</c:v>
                </c:pt>
                <c:pt idx="45566">
                  <c:v>0.812662742999821</c:v>
                </c:pt>
                <c:pt idx="45567">
                  <c:v>0.81268057784911696</c:v>
                </c:pt>
                <c:pt idx="45568">
                  <c:v>0.81269841269841203</c:v>
                </c:pt>
                <c:pt idx="45569">
                  <c:v>0.81271624754770799</c:v>
                </c:pt>
                <c:pt idx="45570">
                  <c:v>0.81273408239700295</c:v>
                </c:pt>
                <c:pt idx="45571">
                  <c:v>0.81275191724629903</c:v>
                </c:pt>
                <c:pt idx="45572">
                  <c:v>0.81276975209559399</c:v>
                </c:pt>
                <c:pt idx="45573">
                  <c:v>0.81278758694488995</c:v>
                </c:pt>
                <c:pt idx="45574">
                  <c:v>0.81280542179418502</c:v>
                </c:pt>
                <c:pt idx="45575">
                  <c:v>0.81282325664348098</c:v>
                </c:pt>
                <c:pt idx="45576">
                  <c:v>0.81284109149277595</c:v>
                </c:pt>
                <c:pt idx="45577">
                  <c:v>0.81285892634207202</c:v>
                </c:pt>
                <c:pt idx="45578">
                  <c:v>0.81287676119136798</c:v>
                </c:pt>
                <c:pt idx="45579">
                  <c:v>0.81289459604066305</c:v>
                </c:pt>
                <c:pt idx="45580">
                  <c:v>0.81291243088995901</c:v>
                </c:pt>
                <c:pt idx="45581">
                  <c:v>0.81293026573925398</c:v>
                </c:pt>
                <c:pt idx="45582">
                  <c:v>0.81294810058855005</c:v>
                </c:pt>
                <c:pt idx="45583">
                  <c:v>0.81296593543784501</c:v>
                </c:pt>
                <c:pt idx="45584">
                  <c:v>0.81298377028714097</c:v>
                </c:pt>
                <c:pt idx="45585">
                  <c:v>0.81300160513643605</c:v>
                </c:pt>
                <c:pt idx="45586">
                  <c:v>0.81301943998573201</c:v>
                </c:pt>
                <c:pt idx="45587">
                  <c:v>0.81303727483502697</c:v>
                </c:pt>
                <c:pt idx="45588">
                  <c:v>0.81305510968432304</c:v>
                </c:pt>
                <c:pt idx="45589">
                  <c:v>0.813072944533618</c:v>
                </c:pt>
                <c:pt idx="45590">
                  <c:v>0.81309077938291396</c:v>
                </c:pt>
                <c:pt idx="45591">
                  <c:v>0.81310861423220904</c:v>
                </c:pt>
                <c:pt idx="45592">
                  <c:v>0.813126449081505</c:v>
                </c:pt>
                <c:pt idx="45593">
                  <c:v>0.81314428393079996</c:v>
                </c:pt>
                <c:pt idx="45594">
                  <c:v>0.81316211878009603</c:v>
                </c:pt>
                <c:pt idx="45595">
                  <c:v>0.81317995362939099</c:v>
                </c:pt>
                <c:pt idx="45596">
                  <c:v>0.81319778847868696</c:v>
                </c:pt>
                <c:pt idx="45597">
                  <c:v>0.81321562332798203</c:v>
                </c:pt>
                <c:pt idx="45598">
                  <c:v>0.81323345817727799</c:v>
                </c:pt>
                <c:pt idx="45599">
                  <c:v>0.81325129302657395</c:v>
                </c:pt>
                <c:pt idx="45600">
                  <c:v>0.81326912787586902</c:v>
                </c:pt>
                <c:pt idx="45601">
                  <c:v>0.81328696272516499</c:v>
                </c:pt>
                <c:pt idx="45602">
                  <c:v>0.81330479757445995</c:v>
                </c:pt>
                <c:pt idx="45603">
                  <c:v>0.81332263242375602</c:v>
                </c:pt>
                <c:pt idx="45604">
                  <c:v>0.81334046727305098</c:v>
                </c:pt>
                <c:pt idx="45605">
                  <c:v>0.81335830212234705</c:v>
                </c:pt>
                <c:pt idx="45606">
                  <c:v>0.81337613697164202</c:v>
                </c:pt>
                <c:pt idx="45607">
                  <c:v>0.81339397182093798</c:v>
                </c:pt>
                <c:pt idx="45608">
                  <c:v>0.81341180667023305</c:v>
                </c:pt>
                <c:pt idx="45609">
                  <c:v>0.81342964151952901</c:v>
                </c:pt>
                <c:pt idx="45610">
                  <c:v>0.81344747636882397</c:v>
                </c:pt>
                <c:pt idx="45611">
                  <c:v>0.81346531121812005</c:v>
                </c:pt>
                <c:pt idx="45612">
                  <c:v>0.81348314606741501</c:v>
                </c:pt>
                <c:pt idx="45613">
                  <c:v>0.81350098091671097</c:v>
                </c:pt>
                <c:pt idx="45614">
                  <c:v>0.81351881576600604</c:v>
                </c:pt>
                <c:pt idx="45615">
                  <c:v>0.813536650615302</c:v>
                </c:pt>
                <c:pt idx="45616">
                  <c:v>0.81355448546459697</c:v>
                </c:pt>
                <c:pt idx="45617">
                  <c:v>0.81357232031389304</c:v>
                </c:pt>
                <c:pt idx="45618">
                  <c:v>0.813590155163188</c:v>
                </c:pt>
                <c:pt idx="45619">
                  <c:v>0.81360799001248396</c:v>
                </c:pt>
                <c:pt idx="45620">
                  <c:v>0.81362582486177903</c:v>
                </c:pt>
                <c:pt idx="45621">
                  <c:v>0.813643659711075</c:v>
                </c:pt>
                <c:pt idx="45622">
                  <c:v>0.81366149456037096</c:v>
                </c:pt>
                <c:pt idx="45623">
                  <c:v>0.81367932940966603</c:v>
                </c:pt>
                <c:pt idx="45624">
                  <c:v>0.81369716425896199</c:v>
                </c:pt>
                <c:pt idx="45625">
                  <c:v>0.81371499910825695</c:v>
                </c:pt>
                <c:pt idx="45626">
                  <c:v>0.81373283395755303</c:v>
                </c:pt>
                <c:pt idx="45627">
                  <c:v>0.81375066880684799</c:v>
                </c:pt>
                <c:pt idx="45628">
                  <c:v>0.81376850365614395</c:v>
                </c:pt>
                <c:pt idx="45629">
                  <c:v>0.81378633850543902</c:v>
                </c:pt>
                <c:pt idx="45630">
                  <c:v>0.81380417335473498</c:v>
                </c:pt>
                <c:pt idx="45631">
                  <c:v>0.81382200820402995</c:v>
                </c:pt>
                <c:pt idx="45632">
                  <c:v>0.81383984305332602</c:v>
                </c:pt>
                <c:pt idx="45633">
                  <c:v>0.81385767790262098</c:v>
                </c:pt>
                <c:pt idx="45634">
                  <c:v>0.81387551275191705</c:v>
                </c:pt>
                <c:pt idx="45635">
                  <c:v>0.81389334760121201</c:v>
                </c:pt>
                <c:pt idx="45636">
                  <c:v>0.81391118245050798</c:v>
                </c:pt>
                <c:pt idx="45637">
                  <c:v>0.81392901729980305</c:v>
                </c:pt>
                <c:pt idx="45638">
                  <c:v>0.81394685214909901</c:v>
                </c:pt>
                <c:pt idx="45639">
                  <c:v>0.81396468699839397</c:v>
                </c:pt>
                <c:pt idx="45640">
                  <c:v>0.81398252184769004</c:v>
                </c:pt>
                <c:pt idx="45641">
                  <c:v>0.81400035669698501</c:v>
                </c:pt>
                <c:pt idx="45642">
                  <c:v>0.81401819154628097</c:v>
                </c:pt>
                <c:pt idx="45643">
                  <c:v>0.81403602639557604</c:v>
                </c:pt>
                <c:pt idx="45644">
                  <c:v>0.814053861244872</c:v>
                </c:pt>
                <c:pt idx="45645">
                  <c:v>0.81407169609416796</c:v>
                </c:pt>
                <c:pt idx="45646">
                  <c:v>0.81408953094346304</c:v>
                </c:pt>
                <c:pt idx="45647">
                  <c:v>0.814107365792759</c:v>
                </c:pt>
                <c:pt idx="45648">
                  <c:v>0.81412520064205396</c:v>
                </c:pt>
                <c:pt idx="45649">
                  <c:v>0.81414303549135003</c:v>
                </c:pt>
                <c:pt idx="45650">
                  <c:v>0.81416087034064499</c:v>
                </c:pt>
                <c:pt idx="45651">
                  <c:v>0.81417870518994095</c:v>
                </c:pt>
                <c:pt idx="45652">
                  <c:v>0.81419654003923603</c:v>
                </c:pt>
                <c:pt idx="45653">
                  <c:v>0.81421437488853199</c:v>
                </c:pt>
                <c:pt idx="45654">
                  <c:v>0.81423220973782695</c:v>
                </c:pt>
                <c:pt idx="45655">
                  <c:v>0.81425004458712302</c:v>
                </c:pt>
                <c:pt idx="45656">
                  <c:v>0.81426787943641799</c:v>
                </c:pt>
                <c:pt idx="45657">
                  <c:v>0.81428571428571395</c:v>
                </c:pt>
                <c:pt idx="45658">
                  <c:v>0.81430354913500902</c:v>
                </c:pt>
                <c:pt idx="45659">
                  <c:v>0.81432138398430498</c:v>
                </c:pt>
                <c:pt idx="45660">
                  <c:v>0.81433921883360005</c:v>
                </c:pt>
                <c:pt idx="45661">
                  <c:v>0.81435705368289601</c:v>
                </c:pt>
                <c:pt idx="45662">
                  <c:v>0.81437488853219098</c:v>
                </c:pt>
                <c:pt idx="45663">
                  <c:v>0.81439272338148705</c:v>
                </c:pt>
                <c:pt idx="45664">
                  <c:v>0.81441055823078201</c:v>
                </c:pt>
                <c:pt idx="45665">
                  <c:v>0.81442839308007797</c:v>
                </c:pt>
                <c:pt idx="45666">
                  <c:v>0.81444622792937404</c:v>
                </c:pt>
                <c:pt idx="45667">
                  <c:v>0.81446406277866901</c:v>
                </c:pt>
                <c:pt idx="45668">
                  <c:v>0.81448189762796497</c:v>
                </c:pt>
                <c:pt idx="45669">
                  <c:v>0.81449973247726004</c:v>
                </c:pt>
                <c:pt idx="45670">
                  <c:v>0.814517567326556</c:v>
                </c:pt>
                <c:pt idx="45671">
                  <c:v>0.81453540217585096</c:v>
                </c:pt>
                <c:pt idx="45672">
                  <c:v>0.81455323702514704</c:v>
                </c:pt>
                <c:pt idx="45673">
                  <c:v>0.814571071874442</c:v>
                </c:pt>
                <c:pt idx="45674">
                  <c:v>0.81458890672373796</c:v>
                </c:pt>
                <c:pt idx="45675">
                  <c:v>0.81460674157303303</c:v>
                </c:pt>
                <c:pt idx="45676">
                  <c:v>0.81462457642232899</c:v>
                </c:pt>
                <c:pt idx="45677">
                  <c:v>0.81464241127162396</c:v>
                </c:pt>
                <c:pt idx="45678">
                  <c:v>0.81466024612092003</c:v>
                </c:pt>
                <c:pt idx="45679">
                  <c:v>0.81467808097021499</c:v>
                </c:pt>
                <c:pt idx="45680">
                  <c:v>0.81469591581951095</c:v>
                </c:pt>
                <c:pt idx="45681">
                  <c:v>0.81471375066880602</c:v>
                </c:pt>
                <c:pt idx="45682">
                  <c:v>0.81473158551810199</c:v>
                </c:pt>
                <c:pt idx="45683">
                  <c:v>0.81474942036739795</c:v>
                </c:pt>
                <c:pt idx="45684">
                  <c:v>0.81476725521669302</c:v>
                </c:pt>
                <c:pt idx="45685">
                  <c:v>0.81478509006598898</c:v>
                </c:pt>
                <c:pt idx="45686">
                  <c:v>0.81480292491528405</c:v>
                </c:pt>
                <c:pt idx="45687">
                  <c:v>0.81482075976458002</c:v>
                </c:pt>
                <c:pt idx="45688">
                  <c:v>0.81483859461387498</c:v>
                </c:pt>
                <c:pt idx="45689">
                  <c:v>0.81485642946317105</c:v>
                </c:pt>
                <c:pt idx="45690">
                  <c:v>0.81487426431246601</c:v>
                </c:pt>
                <c:pt idx="45691">
                  <c:v>0.81489209916176197</c:v>
                </c:pt>
                <c:pt idx="45692">
                  <c:v>0.81490993401105705</c:v>
                </c:pt>
                <c:pt idx="45693">
                  <c:v>0.81492776886035301</c:v>
                </c:pt>
                <c:pt idx="45694">
                  <c:v>0.81494560370964797</c:v>
                </c:pt>
                <c:pt idx="45695">
                  <c:v>0.81496343855894404</c:v>
                </c:pt>
                <c:pt idx="45696">
                  <c:v>0.814981273408239</c:v>
                </c:pt>
                <c:pt idx="45697">
                  <c:v>0.81499910825753497</c:v>
                </c:pt>
                <c:pt idx="45698">
                  <c:v>0.81501694310683004</c:v>
                </c:pt>
                <c:pt idx="45699">
                  <c:v>0.815034777956126</c:v>
                </c:pt>
                <c:pt idx="45700">
                  <c:v>0.81505261280542096</c:v>
                </c:pt>
                <c:pt idx="45701">
                  <c:v>0.81507044765471703</c:v>
                </c:pt>
                <c:pt idx="45702">
                  <c:v>0.815088282504012</c:v>
                </c:pt>
                <c:pt idx="45703">
                  <c:v>0.81510611735330796</c:v>
                </c:pt>
                <c:pt idx="45704">
                  <c:v>0.81512395220260303</c:v>
                </c:pt>
                <c:pt idx="45705">
                  <c:v>0.81514178705189899</c:v>
                </c:pt>
                <c:pt idx="45706">
                  <c:v>0.81515962190119495</c:v>
                </c:pt>
                <c:pt idx="45707">
                  <c:v>0.81517745675049003</c:v>
                </c:pt>
                <c:pt idx="45708">
                  <c:v>0.81519529159978599</c:v>
                </c:pt>
                <c:pt idx="45709">
                  <c:v>0.81521312644908095</c:v>
                </c:pt>
                <c:pt idx="45710">
                  <c:v>0.81523096129837702</c:v>
                </c:pt>
                <c:pt idx="45711">
                  <c:v>0.81524879614767198</c:v>
                </c:pt>
                <c:pt idx="45712">
                  <c:v>0.81526663099696794</c:v>
                </c:pt>
                <c:pt idx="45713">
                  <c:v>0.81528446584626302</c:v>
                </c:pt>
                <c:pt idx="45714">
                  <c:v>0.81530230069555898</c:v>
                </c:pt>
                <c:pt idx="45715">
                  <c:v>0.81532013554485405</c:v>
                </c:pt>
                <c:pt idx="45716">
                  <c:v>0.81533797039415001</c:v>
                </c:pt>
                <c:pt idx="45717">
                  <c:v>0.81535580524344498</c:v>
                </c:pt>
                <c:pt idx="45718">
                  <c:v>0.81537364009274105</c:v>
                </c:pt>
                <c:pt idx="45719">
                  <c:v>0.81539147494203601</c:v>
                </c:pt>
                <c:pt idx="45720">
                  <c:v>0.81540930979133197</c:v>
                </c:pt>
                <c:pt idx="45721">
                  <c:v>0.81542714464062704</c:v>
                </c:pt>
                <c:pt idx="45722">
                  <c:v>0.81544497948992301</c:v>
                </c:pt>
                <c:pt idx="45723">
                  <c:v>0.81546281433921797</c:v>
                </c:pt>
                <c:pt idx="45724">
                  <c:v>0.81548064918851404</c:v>
                </c:pt>
                <c:pt idx="45725">
                  <c:v>0.815498484037809</c:v>
                </c:pt>
                <c:pt idx="45726">
                  <c:v>0.81551631888710496</c:v>
                </c:pt>
                <c:pt idx="45727">
                  <c:v>0.81553415373640004</c:v>
                </c:pt>
                <c:pt idx="45728">
                  <c:v>0.815551988585696</c:v>
                </c:pt>
                <c:pt idx="45729">
                  <c:v>0.81556982343499196</c:v>
                </c:pt>
                <c:pt idx="45730">
                  <c:v>0.81558765828428703</c:v>
                </c:pt>
                <c:pt idx="45731">
                  <c:v>0.81560549313358299</c:v>
                </c:pt>
                <c:pt idx="45732">
                  <c:v>0.81562332798287795</c:v>
                </c:pt>
                <c:pt idx="45733">
                  <c:v>0.81564116283217403</c:v>
                </c:pt>
                <c:pt idx="45734">
                  <c:v>0.81565899768146899</c:v>
                </c:pt>
                <c:pt idx="45735">
                  <c:v>0.81567683253076495</c:v>
                </c:pt>
                <c:pt idx="45736">
                  <c:v>0.81569466738006002</c:v>
                </c:pt>
                <c:pt idx="45737">
                  <c:v>0.81571250222935598</c:v>
                </c:pt>
                <c:pt idx="45738">
                  <c:v>0.81573033707865095</c:v>
                </c:pt>
                <c:pt idx="45739">
                  <c:v>0.81574817192794702</c:v>
                </c:pt>
                <c:pt idx="45740">
                  <c:v>0.81576600677724198</c:v>
                </c:pt>
                <c:pt idx="45741">
                  <c:v>0.81578384162653805</c:v>
                </c:pt>
                <c:pt idx="45742">
                  <c:v>0.81580167647583302</c:v>
                </c:pt>
                <c:pt idx="45743">
                  <c:v>0.81581951132512898</c:v>
                </c:pt>
                <c:pt idx="45744">
                  <c:v>0.81583734617442405</c:v>
                </c:pt>
                <c:pt idx="45745">
                  <c:v>0.81585518102372001</c:v>
                </c:pt>
                <c:pt idx="45746">
                  <c:v>0.81587301587301497</c:v>
                </c:pt>
                <c:pt idx="45747">
                  <c:v>0.81589085072231105</c:v>
                </c:pt>
                <c:pt idx="45748">
                  <c:v>0.81590868557160601</c:v>
                </c:pt>
                <c:pt idx="45749">
                  <c:v>0.81592652042090197</c:v>
                </c:pt>
                <c:pt idx="45750">
                  <c:v>0.81594435527019704</c:v>
                </c:pt>
                <c:pt idx="45751">
                  <c:v>0.815962190119493</c:v>
                </c:pt>
                <c:pt idx="45752">
                  <c:v>0.81598002496878896</c:v>
                </c:pt>
                <c:pt idx="45753">
                  <c:v>0.81599785981808404</c:v>
                </c:pt>
                <c:pt idx="45754">
                  <c:v>0.81601569466738</c:v>
                </c:pt>
                <c:pt idx="45755">
                  <c:v>0.81603352951667496</c:v>
                </c:pt>
                <c:pt idx="45756">
                  <c:v>0.81605136436597103</c:v>
                </c:pt>
                <c:pt idx="45757">
                  <c:v>0.81606919921526599</c:v>
                </c:pt>
                <c:pt idx="45758">
                  <c:v>0.81608703406456196</c:v>
                </c:pt>
                <c:pt idx="45759">
                  <c:v>0.81610486891385703</c:v>
                </c:pt>
                <c:pt idx="45760">
                  <c:v>0.81612270376315299</c:v>
                </c:pt>
                <c:pt idx="45761">
                  <c:v>0.81614053861244795</c:v>
                </c:pt>
                <c:pt idx="45762">
                  <c:v>0.81615837346174402</c:v>
                </c:pt>
                <c:pt idx="45763">
                  <c:v>0.81617620831103899</c:v>
                </c:pt>
                <c:pt idx="45764">
                  <c:v>0.81619404316033495</c:v>
                </c:pt>
                <c:pt idx="45765">
                  <c:v>0.81621187800963002</c:v>
                </c:pt>
                <c:pt idx="45766">
                  <c:v>0.81622971285892598</c:v>
                </c:pt>
                <c:pt idx="45767">
                  <c:v>0.81624754770822106</c:v>
                </c:pt>
                <c:pt idx="45768">
                  <c:v>0.81626538255751702</c:v>
                </c:pt>
                <c:pt idx="45769">
                  <c:v>0.81628321740681198</c:v>
                </c:pt>
                <c:pt idx="45770">
                  <c:v>0.81630105225610805</c:v>
                </c:pt>
                <c:pt idx="45771">
                  <c:v>0.81631888710540401</c:v>
                </c:pt>
                <c:pt idx="45772">
                  <c:v>0.81633672195469897</c:v>
                </c:pt>
                <c:pt idx="45773">
                  <c:v>0.81635455680399505</c:v>
                </c:pt>
                <c:pt idx="45774">
                  <c:v>0.81637239165329001</c:v>
                </c:pt>
                <c:pt idx="45775">
                  <c:v>0.81639022650258597</c:v>
                </c:pt>
                <c:pt idx="45776">
                  <c:v>0.81640806135188104</c:v>
                </c:pt>
                <c:pt idx="45777">
                  <c:v>0.816425896201177</c:v>
                </c:pt>
                <c:pt idx="45778">
                  <c:v>0.81644373105047197</c:v>
                </c:pt>
                <c:pt idx="45779">
                  <c:v>0.81646156589976804</c:v>
                </c:pt>
                <c:pt idx="45780">
                  <c:v>0.816479400749063</c:v>
                </c:pt>
                <c:pt idx="45781">
                  <c:v>0.81649723559835896</c:v>
                </c:pt>
                <c:pt idx="45782">
                  <c:v>0.81651507044765403</c:v>
                </c:pt>
                <c:pt idx="45783">
                  <c:v>0.81653290529695</c:v>
                </c:pt>
                <c:pt idx="45784">
                  <c:v>0.81655074014624496</c:v>
                </c:pt>
                <c:pt idx="45785">
                  <c:v>0.81656857499554103</c:v>
                </c:pt>
                <c:pt idx="45786">
                  <c:v>0.81658640984483599</c:v>
                </c:pt>
                <c:pt idx="45787">
                  <c:v>0.81660424469413195</c:v>
                </c:pt>
                <c:pt idx="45788">
                  <c:v>0.81662207954342703</c:v>
                </c:pt>
                <c:pt idx="45789">
                  <c:v>0.81663991439272299</c:v>
                </c:pt>
                <c:pt idx="45790">
                  <c:v>0.81665774924201895</c:v>
                </c:pt>
                <c:pt idx="45791">
                  <c:v>0.81667558409131402</c:v>
                </c:pt>
                <c:pt idx="45792">
                  <c:v>0.81669341894060998</c:v>
                </c:pt>
                <c:pt idx="45793">
                  <c:v>0.81671125378990495</c:v>
                </c:pt>
                <c:pt idx="45794">
                  <c:v>0.81672908863920102</c:v>
                </c:pt>
                <c:pt idx="45795">
                  <c:v>0.81674692348849598</c:v>
                </c:pt>
                <c:pt idx="45796">
                  <c:v>0.81676475833779205</c:v>
                </c:pt>
                <c:pt idx="45797">
                  <c:v>0.81678259318708701</c:v>
                </c:pt>
                <c:pt idx="45798">
                  <c:v>0.81680042803638297</c:v>
                </c:pt>
                <c:pt idx="45799">
                  <c:v>0.81681826288567805</c:v>
                </c:pt>
                <c:pt idx="45800">
                  <c:v>0.81683609773497401</c:v>
                </c:pt>
                <c:pt idx="45801">
                  <c:v>0.81685393258426897</c:v>
                </c:pt>
                <c:pt idx="45802">
                  <c:v>0.81687176743356504</c:v>
                </c:pt>
                <c:pt idx="45803">
                  <c:v>0.81688960228286001</c:v>
                </c:pt>
                <c:pt idx="45804">
                  <c:v>0.81690743713215597</c:v>
                </c:pt>
                <c:pt idx="45805">
                  <c:v>0.81692527198145104</c:v>
                </c:pt>
                <c:pt idx="45806">
                  <c:v>0.816943106830747</c:v>
                </c:pt>
                <c:pt idx="45807">
                  <c:v>0.81696094168004196</c:v>
                </c:pt>
                <c:pt idx="45808">
                  <c:v>0.81697877652933804</c:v>
                </c:pt>
                <c:pt idx="45809">
                  <c:v>0.816996611378633</c:v>
                </c:pt>
                <c:pt idx="45810">
                  <c:v>0.81701444622792896</c:v>
                </c:pt>
                <c:pt idx="45811">
                  <c:v>0.81703228107722403</c:v>
                </c:pt>
                <c:pt idx="45812">
                  <c:v>0.81705011592651999</c:v>
                </c:pt>
                <c:pt idx="45813">
                  <c:v>0.81706795077581595</c:v>
                </c:pt>
                <c:pt idx="45814">
                  <c:v>0.81708578562511103</c:v>
                </c:pt>
                <c:pt idx="45815">
                  <c:v>0.81710362047440699</c:v>
                </c:pt>
                <c:pt idx="45816">
                  <c:v>0.81712145532370195</c:v>
                </c:pt>
                <c:pt idx="45817">
                  <c:v>0.81713929017299802</c:v>
                </c:pt>
                <c:pt idx="45818">
                  <c:v>0.81715712502229298</c:v>
                </c:pt>
                <c:pt idx="45819">
                  <c:v>0.81717495987158895</c:v>
                </c:pt>
                <c:pt idx="45820">
                  <c:v>0.81719279472088402</c:v>
                </c:pt>
                <c:pt idx="45821">
                  <c:v>0.81721062957017998</c:v>
                </c:pt>
                <c:pt idx="45822">
                  <c:v>0.81722846441947505</c:v>
                </c:pt>
                <c:pt idx="45823">
                  <c:v>0.81724629926877101</c:v>
                </c:pt>
                <c:pt idx="45824">
                  <c:v>0.81726413411806598</c:v>
                </c:pt>
                <c:pt idx="45825">
                  <c:v>0.81728196896736205</c:v>
                </c:pt>
                <c:pt idx="45826">
                  <c:v>0.81729980381665701</c:v>
                </c:pt>
                <c:pt idx="45827">
                  <c:v>0.81731763866595297</c:v>
                </c:pt>
                <c:pt idx="45828">
                  <c:v>0.81733547351524805</c:v>
                </c:pt>
                <c:pt idx="45829">
                  <c:v>0.81735330836454401</c:v>
                </c:pt>
                <c:pt idx="45830">
                  <c:v>0.81737114321383897</c:v>
                </c:pt>
                <c:pt idx="45831">
                  <c:v>0.81738897806313504</c:v>
                </c:pt>
                <c:pt idx="45832">
                  <c:v>0.81740681291243</c:v>
                </c:pt>
                <c:pt idx="45833">
                  <c:v>0.81742464776172596</c:v>
                </c:pt>
                <c:pt idx="45834">
                  <c:v>0.81744248261102104</c:v>
                </c:pt>
                <c:pt idx="45835">
                  <c:v>0.817460317460317</c:v>
                </c:pt>
                <c:pt idx="45836">
                  <c:v>0.81747815230961296</c:v>
                </c:pt>
                <c:pt idx="45837">
                  <c:v>0.81749598715890803</c:v>
                </c:pt>
                <c:pt idx="45838">
                  <c:v>0.81751382200820399</c:v>
                </c:pt>
                <c:pt idx="45839">
                  <c:v>0.81753165685749896</c:v>
                </c:pt>
                <c:pt idx="45840">
                  <c:v>0.81754949170679503</c:v>
                </c:pt>
                <c:pt idx="45841">
                  <c:v>0.81756732655608999</c:v>
                </c:pt>
                <c:pt idx="45842">
                  <c:v>0.81758516140538595</c:v>
                </c:pt>
                <c:pt idx="45843">
                  <c:v>0.81760299625468102</c:v>
                </c:pt>
                <c:pt idx="45844">
                  <c:v>0.81762083110397699</c:v>
                </c:pt>
                <c:pt idx="45845">
                  <c:v>0.81763866595327195</c:v>
                </c:pt>
                <c:pt idx="45846">
                  <c:v>0.81765650080256802</c:v>
                </c:pt>
                <c:pt idx="45847">
                  <c:v>0.81767433565186298</c:v>
                </c:pt>
                <c:pt idx="45848">
                  <c:v>0.81769217050115905</c:v>
                </c:pt>
                <c:pt idx="45849">
                  <c:v>0.81771000535045402</c:v>
                </c:pt>
                <c:pt idx="45850">
                  <c:v>0.81772784019974998</c:v>
                </c:pt>
                <c:pt idx="45851">
                  <c:v>0.81774567504904505</c:v>
                </c:pt>
                <c:pt idx="45852">
                  <c:v>0.81776350989834101</c:v>
                </c:pt>
                <c:pt idx="45853">
                  <c:v>0.81778134474763597</c:v>
                </c:pt>
                <c:pt idx="45854">
                  <c:v>0.81779917959693205</c:v>
                </c:pt>
                <c:pt idx="45855">
                  <c:v>0.81781701444622701</c:v>
                </c:pt>
                <c:pt idx="45856">
                  <c:v>0.81783484929552297</c:v>
                </c:pt>
                <c:pt idx="45857">
                  <c:v>0.81785268414481804</c:v>
                </c:pt>
                <c:pt idx="45858">
                  <c:v>0.817870518994114</c:v>
                </c:pt>
                <c:pt idx="45859">
                  <c:v>0.81788835384340997</c:v>
                </c:pt>
                <c:pt idx="45860">
                  <c:v>0.81790618869270504</c:v>
                </c:pt>
                <c:pt idx="45861">
                  <c:v>0.817924023542001</c:v>
                </c:pt>
                <c:pt idx="45862">
                  <c:v>0.81794185839129596</c:v>
                </c:pt>
                <c:pt idx="45863">
                  <c:v>0.81795969324059203</c:v>
                </c:pt>
                <c:pt idx="45864">
                  <c:v>0.817977528089887</c:v>
                </c:pt>
                <c:pt idx="45865">
                  <c:v>0.81799536293918296</c:v>
                </c:pt>
                <c:pt idx="45866">
                  <c:v>0.81801319778847803</c:v>
                </c:pt>
                <c:pt idx="45867">
                  <c:v>0.81803103263777399</c:v>
                </c:pt>
                <c:pt idx="45868">
                  <c:v>0.81804886748706895</c:v>
                </c:pt>
                <c:pt idx="45869">
                  <c:v>0.81806670233636503</c:v>
                </c:pt>
                <c:pt idx="45870">
                  <c:v>0.81808453718565999</c:v>
                </c:pt>
                <c:pt idx="45871">
                  <c:v>0.81810237203495595</c:v>
                </c:pt>
                <c:pt idx="45872">
                  <c:v>0.81812020688425102</c:v>
                </c:pt>
                <c:pt idx="45873">
                  <c:v>0.81813804173354698</c:v>
                </c:pt>
                <c:pt idx="45874">
                  <c:v>0.81815587658284195</c:v>
                </c:pt>
                <c:pt idx="45875">
                  <c:v>0.81817371143213802</c:v>
                </c:pt>
                <c:pt idx="45876">
                  <c:v>0.81819154628143298</c:v>
                </c:pt>
                <c:pt idx="45877">
                  <c:v>0.81820938113072905</c:v>
                </c:pt>
                <c:pt idx="45878">
                  <c:v>0.81822721598002501</c:v>
                </c:pt>
                <c:pt idx="45879">
                  <c:v>0.81824505082931998</c:v>
                </c:pt>
                <c:pt idx="45880">
                  <c:v>0.81826288567861605</c:v>
                </c:pt>
                <c:pt idx="45881">
                  <c:v>0.81828072052791101</c:v>
                </c:pt>
                <c:pt idx="45882">
                  <c:v>0.81829855537720697</c:v>
                </c:pt>
                <c:pt idx="45883">
                  <c:v>0.81831639022650204</c:v>
                </c:pt>
                <c:pt idx="45884">
                  <c:v>0.81833422507579801</c:v>
                </c:pt>
                <c:pt idx="45885">
                  <c:v>0.81835205992509297</c:v>
                </c:pt>
                <c:pt idx="45886">
                  <c:v>0.81836989477438904</c:v>
                </c:pt>
                <c:pt idx="45887">
                  <c:v>0.818387729623684</c:v>
                </c:pt>
                <c:pt idx="45888">
                  <c:v>0.81840556447297996</c:v>
                </c:pt>
                <c:pt idx="45889">
                  <c:v>0.81842339932227504</c:v>
                </c:pt>
                <c:pt idx="45890">
                  <c:v>0.818441234171571</c:v>
                </c:pt>
                <c:pt idx="45891">
                  <c:v>0.81845906902086596</c:v>
                </c:pt>
                <c:pt idx="45892">
                  <c:v>0.81847690387016203</c:v>
                </c:pt>
                <c:pt idx="45893">
                  <c:v>0.81849473871945699</c:v>
                </c:pt>
                <c:pt idx="45894">
                  <c:v>0.81851257356875295</c:v>
                </c:pt>
                <c:pt idx="45895">
                  <c:v>0.81853040841804803</c:v>
                </c:pt>
                <c:pt idx="45896">
                  <c:v>0.81854824326734399</c:v>
                </c:pt>
                <c:pt idx="45897">
                  <c:v>0.81856607811663995</c:v>
                </c:pt>
                <c:pt idx="45898">
                  <c:v>0.81858391296593502</c:v>
                </c:pt>
                <c:pt idx="45899">
                  <c:v>0.81860174781523098</c:v>
                </c:pt>
                <c:pt idx="45900">
                  <c:v>0.81861958266452595</c:v>
                </c:pt>
                <c:pt idx="45901">
                  <c:v>0.81863741751382202</c:v>
                </c:pt>
                <c:pt idx="45902">
                  <c:v>0.81865525236311698</c:v>
                </c:pt>
                <c:pt idx="45903">
                  <c:v>0.81867308721241305</c:v>
                </c:pt>
                <c:pt idx="45904">
                  <c:v>0.81869092206170802</c:v>
                </c:pt>
                <c:pt idx="45905">
                  <c:v>0.81870875691100398</c:v>
                </c:pt>
                <c:pt idx="45906">
                  <c:v>0.81872659176029905</c:v>
                </c:pt>
                <c:pt idx="45907">
                  <c:v>0.81874442660959501</c:v>
                </c:pt>
                <c:pt idx="45908">
                  <c:v>0.81876226145888997</c:v>
                </c:pt>
                <c:pt idx="45909">
                  <c:v>0.81878009630818605</c:v>
                </c:pt>
                <c:pt idx="45910">
                  <c:v>0.81879793115748101</c:v>
                </c:pt>
                <c:pt idx="45911">
                  <c:v>0.81881576600677697</c:v>
                </c:pt>
                <c:pt idx="45912">
                  <c:v>0.81883360085607204</c:v>
                </c:pt>
                <c:pt idx="45913">
                  <c:v>0.818851435705368</c:v>
                </c:pt>
                <c:pt idx="45914">
                  <c:v>0.81886927055466296</c:v>
                </c:pt>
                <c:pt idx="45915">
                  <c:v>0.81888710540395904</c:v>
                </c:pt>
                <c:pt idx="45916">
                  <c:v>0.818904940253254</c:v>
                </c:pt>
                <c:pt idx="45917">
                  <c:v>0.81892277510254996</c:v>
                </c:pt>
                <c:pt idx="45918">
                  <c:v>0.81894060995184503</c:v>
                </c:pt>
                <c:pt idx="45919">
                  <c:v>0.81895844480114099</c:v>
                </c:pt>
                <c:pt idx="45920">
                  <c:v>0.81897627965043696</c:v>
                </c:pt>
                <c:pt idx="45921">
                  <c:v>0.81899411449973203</c:v>
                </c:pt>
                <c:pt idx="45922">
                  <c:v>0.81901194934902799</c:v>
                </c:pt>
                <c:pt idx="45923">
                  <c:v>0.81902978419832295</c:v>
                </c:pt>
                <c:pt idx="45924">
                  <c:v>0.81904761904761902</c:v>
                </c:pt>
                <c:pt idx="45925">
                  <c:v>0.81906545389691399</c:v>
                </c:pt>
                <c:pt idx="45926">
                  <c:v>0.81908328874620995</c:v>
                </c:pt>
                <c:pt idx="45927">
                  <c:v>0.81910112359550502</c:v>
                </c:pt>
                <c:pt idx="45928">
                  <c:v>0.81911895844480098</c:v>
                </c:pt>
                <c:pt idx="45929">
                  <c:v>0.81913679329409606</c:v>
                </c:pt>
                <c:pt idx="45930">
                  <c:v>0.81915462814339202</c:v>
                </c:pt>
                <c:pt idx="45931">
                  <c:v>0.81917246299268698</c:v>
                </c:pt>
                <c:pt idx="45932">
                  <c:v>0.81919029784198305</c:v>
                </c:pt>
                <c:pt idx="45933">
                  <c:v>0.81920813269127801</c:v>
                </c:pt>
                <c:pt idx="45934">
                  <c:v>0.81922596754057397</c:v>
                </c:pt>
                <c:pt idx="45935">
                  <c:v>0.81924380238986905</c:v>
                </c:pt>
                <c:pt idx="45936">
                  <c:v>0.81926163723916501</c:v>
                </c:pt>
                <c:pt idx="45937">
                  <c:v>0.81927947208845997</c:v>
                </c:pt>
                <c:pt idx="45938">
                  <c:v>0.81929730693775604</c:v>
                </c:pt>
                <c:pt idx="45939">
                  <c:v>0.819315141787051</c:v>
                </c:pt>
                <c:pt idx="45940">
                  <c:v>0.81933297663634697</c:v>
                </c:pt>
                <c:pt idx="45941">
                  <c:v>0.81935081148564204</c:v>
                </c:pt>
                <c:pt idx="45942">
                  <c:v>0.819368646334938</c:v>
                </c:pt>
                <c:pt idx="45943">
                  <c:v>0.81938648118423396</c:v>
                </c:pt>
                <c:pt idx="45944">
                  <c:v>0.81940431603352903</c:v>
                </c:pt>
                <c:pt idx="45945">
                  <c:v>0.819422150882825</c:v>
                </c:pt>
                <c:pt idx="45946">
                  <c:v>0.81943998573211996</c:v>
                </c:pt>
                <c:pt idx="45947">
                  <c:v>0.81945782058141603</c:v>
                </c:pt>
                <c:pt idx="45948">
                  <c:v>0.81947565543071099</c:v>
                </c:pt>
                <c:pt idx="45949">
                  <c:v>0.81949349028000695</c:v>
                </c:pt>
                <c:pt idx="45950">
                  <c:v>0.81951132512930203</c:v>
                </c:pt>
                <c:pt idx="45951">
                  <c:v>0.81952915997859799</c:v>
                </c:pt>
                <c:pt idx="45952">
                  <c:v>0.81954699482789295</c:v>
                </c:pt>
                <c:pt idx="45953">
                  <c:v>0.81956482967718902</c:v>
                </c:pt>
                <c:pt idx="45954">
                  <c:v>0.81958266452648398</c:v>
                </c:pt>
                <c:pt idx="45955">
                  <c:v>0.81960049937577995</c:v>
                </c:pt>
                <c:pt idx="45956">
                  <c:v>0.81961833422507502</c:v>
                </c:pt>
                <c:pt idx="45957">
                  <c:v>0.81963616907437098</c:v>
                </c:pt>
                <c:pt idx="45958">
                  <c:v>0.81965400392366605</c:v>
                </c:pt>
                <c:pt idx="45959">
                  <c:v>0.81967183877296201</c:v>
                </c:pt>
                <c:pt idx="45960">
                  <c:v>0.81968967362225698</c:v>
                </c:pt>
                <c:pt idx="45961">
                  <c:v>0.81970750847155305</c:v>
                </c:pt>
                <c:pt idx="45962">
                  <c:v>0.81972534332084801</c:v>
                </c:pt>
                <c:pt idx="45963">
                  <c:v>0.81974317817014397</c:v>
                </c:pt>
                <c:pt idx="45964">
                  <c:v>0.81976101301943904</c:v>
                </c:pt>
                <c:pt idx="45965">
                  <c:v>0.81977884786873501</c:v>
                </c:pt>
                <c:pt idx="45966">
                  <c:v>0.81979668271803097</c:v>
                </c:pt>
                <c:pt idx="45967">
                  <c:v>0.81981451756732604</c:v>
                </c:pt>
                <c:pt idx="45968">
                  <c:v>0.819832352416622</c:v>
                </c:pt>
                <c:pt idx="45969">
                  <c:v>0.81985018726591696</c:v>
                </c:pt>
                <c:pt idx="45970">
                  <c:v>0.81986802211521304</c:v>
                </c:pt>
                <c:pt idx="45971">
                  <c:v>0.819885856964508</c:v>
                </c:pt>
                <c:pt idx="45972">
                  <c:v>0.81990369181380396</c:v>
                </c:pt>
                <c:pt idx="45973">
                  <c:v>0.81992152666309903</c:v>
                </c:pt>
                <c:pt idx="45974">
                  <c:v>0.81993936151239499</c:v>
                </c:pt>
                <c:pt idx="45975">
                  <c:v>0.81995719636168996</c:v>
                </c:pt>
                <c:pt idx="45976">
                  <c:v>0.81997503121098603</c:v>
                </c:pt>
                <c:pt idx="45977">
                  <c:v>0.81999286606028099</c:v>
                </c:pt>
                <c:pt idx="45978">
                  <c:v>0.82001070090957695</c:v>
                </c:pt>
                <c:pt idx="45979">
                  <c:v>0.82002853575887202</c:v>
                </c:pt>
                <c:pt idx="45980">
                  <c:v>0.82004637060816798</c:v>
                </c:pt>
                <c:pt idx="45981">
                  <c:v>0.82006420545746295</c:v>
                </c:pt>
                <c:pt idx="45982">
                  <c:v>0.82008204030675902</c:v>
                </c:pt>
                <c:pt idx="45983">
                  <c:v>0.82009987515605498</c:v>
                </c:pt>
                <c:pt idx="45984">
                  <c:v>0.82011771000535005</c:v>
                </c:pt>
                <c:pt idx="45985">
                  <c:v>0.82013554485464601</c:v>
                </c:pt>
                <c:pt idx="45986">
                  <c:v>0.82015337970394098</c:v>
                </c:pt>
                <c:pt idx="45987">
                  <c:v>0.82017121455323705</c:v>
                </c:pt>
                <c:pt idx="45988">
                  <c:v>0.82018904940253201</c:v>
                </c:pt>
                <c:pt idx="45989">
                  <c:v>0.82020688425182797</c:v>
                </c:pt>
                <c:pt idx="45990">
                  <c:v>0.82022471910112305</c:v>
                </c:pt>
                <c:pt idx="45991">
                  <c:v>0.82024255395041901</c:v>
                </c:pt>
                <c:pt idx="45992">
                  <c:v>0.82026038879971397</c:v>
                </c:pt>
                <c:pt idx="45993">
                  <c:v>0.82027822364901004</c:v>
                </c:pt>
                <c:pt idx="45994">
                  <c:v>0.820296058498305</c:v>
                </c:pt>
                <c:pt idx="45995">
                  <c:v>0.82031389334760096</c:v>
                </c:pt>
                <c:pt idx="45996">
                  <c:v>0.82033172819689604</c:v>
                </c:pt>
                <c:pt idx="45997">
                  <c:v>0.820349563046192</c:v>
                </c:pt>
                <c:pt idx="45998">
                  <c:v>0.82036739789548696</c:v>
                </c:pt>
                <c:pt idx="45999">
                  <c:v>0.82038523274478303</c:v>
                </c:pt>
                <c:pt idx="46000">
                  <c:v>0.82040306759407799</c:v>
                </c:pt>
                <c:pt idx="46001">
                  <c:v>0.82042090244337396</c:v>
                </c:pt>
                <c:pt idx="46002">
                  <c:v>0.82043873729266903</c:v>
                </c:pt>
                <c:pt idx="46003">
                  <c:v>0.82045657214196499</c:v>
                </c:pt>
                <c:pt idx="46004">
                  <c:v>0.82047440699126095</c:v>
                </c:pt>
                <c:pt idx="46005">
                  <c:v>0.82049224184055602</c:v>
                </c:pt>
                <c:pt idx="46006">
                  <c:v>0.82051007668985199</c:v>
                </c:pt>
                <c:pt idx="46007">
                  <c:v>0.82052791153914695</c:v>
                </c:pt>
                <c:pt idx="46008">
                  <c:v>0.82054574638844302</c:v>
                </c:pt>
                <c:pt idx="46009">
                  <c:v>0.82056358123773798</c:v>
                </c:pt>
                <c:pt idx="46010">
                  <c:v>0.82058141608703405</c:v>
                </c:pt>
                <c:pt idx="46011">
                  <c:v>0.82059925093632902</c:v>
                </c:pt>
                <c:pt idx="46012">
                  <c:v>0.82061708578562498</c:v>
                </c:pt>
                <c:pt idx="46013">
                  <c:v>0.82063492063492005</c:v>
                </c:pt>
                <c:pt idx="46014">
                  <c:v>0.82065275548421601</c:v>
                </c:pt>
                <c:pt idx="46015">
                  <c:v>0.82067059033351097</c:v>
                </c:pt>
                <c:pt idx="46016">
                  <c:v>0.82068842518280705</c:v>
                </c:pt>
                <c:pt idx="46017">
                  <c:v>0.82070626003210201</c:v>
                </c:pt>
                <c:pt idx="46018">
                  <c:v>0.82072409488139797</c:v>
                </c:pt>
                <c:pt idx="46019">
                  <c:v>0.82074192973069304</c:v>
                </c:pt>
                <c:pt idx="46020">
                  <c:v>0.820759764579989</c:v>
                </c:pt>
                <c:pt idx="46021">
                  <c:v>0.82077759942928397</c:v>
                </c:pt>
                <c:pt idx="46022">
                  <c:v>0.82079543427858004</c:v>
                </c:pt>
                <c:pt idx="46023">
                  <c:v>0.820813269127875</c:v>
                </c:pt>
                <c:pt idx="46024">
                  <c:v>0.82083110397717096</c:v>
                </c:pt>
                <c:pt idx="46025">
                  <c:v>0.82084893882646603</c:v>
                </c:pt>
                <c:pt idx="46026">
                  <c:v>0.820866773675762</c:v>
                </c:pt>
                <c:pt idx="46027">
                  <c:v>0.82088460852505796</c:v>
                </c:pt>
                <c:pt idx="46028">
                  <c:v>0.82090244337435303</c:v>
                </c:pt>
                <c:pt idx="46029">
                  <c:v>0.82092027822364899</c:v>
                </c:pt>
                <c:pt idx="46030">
                  <c:v>0.82093811307294395</c:v>
                </c:pt>
                <c:pt idx="46031">
                  <c:v>0.82095594792224003</c:v>
                </c:pt>
                <c:pt idx="46032">
                  <c:v>0.82097378277153499</c:v>
                </c:pt>
                <c:pt idx="46033">
                  <c:v>0.82099161762083095</c:v>
                </c:pt>
                <c:pt idx="46034">
                  <c:v>0.82100945247012602</c:v>
                </c:pt>
                <c:pt idx="46035">
                  <c:v>0.82102728731942198</c:v>
                </c:pt>
                <c:pt idx="46036">
                  <c:v>0.82104512216871695</c:v>
                </c:pt>
                <c:pt idx="46037">
                  <c:v>0.82106295701801302</c:v>
                </c:pt>
                <c:pt idx="46038">
                  <c:v>0.82108079186730798</c:v>
                </c:pt>
                <c:pt idx="46039">
                  <c:v>0.82109862671660405</c:v>
                </c:pt>
                <c:pt idx="46040">
                  <c:v>0.82111646156589901</c:v>
                </c:pt>
                <c:pt idx="46041">
                  <c:v>0.82113429641519498</c:v>
                </c:pt>
                <c:pt idx="46042">
                  <c:v>0.82115213126449005</c:v>
                </c:pt>
                <c:pt idx="46043">
                  <c:v>0.82116996611378601</c:v>
                </c:pt>
                <c:pt idx="46044">
                  <c:v>0.82118780096308097</c:v>
                </c:pt>
                <c:pt idx="46045">
                  <c:v>0.82120563581237704</c:v>
                </c:pt>
                <c:pt idx="46046">
                  <c:v>0.82122347066167201</c:v>
                </c:pt>
                <c:pt idx="46047">
                  <c:v>0.82124130551096797</c:v>
                </c:pt>
                <c:pt idx="46048">
                  <c:v>0.82125914036026304</c:v>
                </c:pt>
                <c:pt idx="46049">
                  <c:v>0.821276975209559</c:v>
                </c:pt>
                <c:pt idx="46050">
                  <c:v>0.82129481005885496</c:v>
                </c:pt>
                <c:pt idx="46051">
                  <c:v>0.82131264490815004</c:v>
                </c:pt>
                <c:pt idx="46052">
                  <c:v>0.821330479757446</c:v>
                </c:pt>
                <c:pt idx="46053">
                  <c:v>0.82134831460674096</c:v>
                </c:pt>
                <c:pt idx="46054">
                  <c:v>0.82136614945603703</c:v>
                </c:pt>
                <c:pt idx="46055">
                  <c:v>0.82138398430533199</c:v>
                </c:pt>
                <c:pt idx="46056">
                  <c:v>0.82140181915462795</c:v>
                </c:pt>
                <c:pt idx="46057">
                  <c:v>0.82141965400392303</c:v>
                </c:pt>
                <c:pt idx="46058">
                  <c:v>0.82143748885321899</c:v>
                </c:pt>
                <c:pt idx="46059">
                  <c:v>0.82145532370251395</c:v>
                </c:pt>
                <c:pt idx="46060">
                  <c:v>0.82147315855181002</c:v>
                </c:pt>
                <c:pt idx="46061">
                  <c:v>0.82149099340110499</c:v>
                </c:pt>
                <c:pt idx="46062">
                  <c:v>0.82150882825040095</c:v>
                </c:pt>
                <c:pt idx="46063">
                  <c:v>0.82152666309969602</c:v>
                </c:pt>
                <c:pt idx="46064">
                  <c:v>0.82154449794899198</c:v>
                </c:pt>
                <c:pt idx="46065">
                  <c:v>0.82156233279828705</c:v>
                </c:pt>
                <c:pt idx="46066">
                  <c:v>0.82158016764758302</c:v>
                </c:pt>
                <c:pt idx="46067">
                  <c:v>0.82159800249687798</c:v>
                </c:pt>
                <c:pt idx="46068">
                  <c:v>0.82161583734617405</c:v>
                </c:pt>
                <c:pt idx="46069">
                  <c:v>0.82163367219546901</c:v>
                </c:pt>
                <c:pt idx="46070">
                  <c:v>0.82165150704476497</c:v>
                </c:pt>
                <c:pt idx="46071">
                  <c:v>0.82166934189406104</c:v>
                </c:pt>
                <c:pt idx="46072">
                  <c:v>0.82168717674335601</c:v>
                </c:pt>
                <c:pt idx="46073">
                  <c:v>0.82170501159265197</c:v>
                </c:pt>
                <c:pt idx="46074">
                  <c:v>0.82172284644194704</c:v>
                </c:pt>
                <c:pt idx="46075">
                  <c:v>0.821740681291243</c:v>
                </c:pt>
                <c:pt idx="46076">
                  <c:v>0.82175851614053796</c:v>
                </c:pt>
                <c:pt idx="46077">
                  <c:v>0.82177635098983404</c:v>
                </c:pt>
                <c:pt idx="46078">
                  <c:v>0.821794185839129</c:v>
                </c:pt>
                <c:pt idx="46079">
                  <c:v>0.82181202068842496</c:v>
                </c:pt>
                <c:pt idx="46080">
                  <c:v>0.82182985553772003</c:v>
                </c:pt>
                <c:pt idx="46081">
                  <c:v>0.82184769038701599</c:v>
                </c:pt>
                <c:pt idx="46082">
                  <c:v>0.82186552523631096</c:v>
                </c:pt>
                <c:pt idx="46083">
                  <c:v>0.82188336008560703</c:v>
                </c:pt>
                <c:pt idx="46084">
                  <c:v>0.82190119493490199</c:v>
                </c:pt>
                <c:pt idx="46085">
                  <c:v>0.82191902978419795</c:v>
                </c:pt>
                <c:pt idx="46086">
                  <c:v>0.82193686463349303</c:v>
                </c:pt>
                <c:pt idx="46087">
                  <c:v>0.82195469948278899</c:v>
                </c:pt>
                <c:pt idx="46088">
                  <c:v>0.82197253433208495</c:v>
                </c:pt>
                <c:pt idx="46089">
                  <c:v>0.82199036918138002</c:v>
                </c:pt>
                <c:pt idx="46090">
                  <c:v>0.82200820403067598</c:v>
                </c:pt>
                <c:pt idx="46091">
                  <c:v>0.82202603887997105</c:v>
                </c:pt>
                <c:pt idx="46092">
                  <c:v>0.82204387372926702</c:v>
                </c:pt>
                <c:pt idx="46093">
                  <c:v>0.82206170857856198</c:v>
                </c:pt>
                <c:pt idx="46094">
                  <c:v>0.82207954342785805</c:v>
                </c:pt>
                <c:pt idx="46095">
                  <c:v>0.82209737827715301</c:v>
                </c:pt>
                <c:pt idx="46096">
                  <c:v>0.82211521312644897</c:v>
                </c:pt>
                <c:pt idx="46097">
                  <c:v>0.82213304797574405</c:v>
                </c:pt>
                <c:pt idx="46098">
                  <c:v>0.82215088282504001</c:v>
                </c:pt>
                <c:pt idx="46099">
                  <c:v>0.82216871767433497</c:v>
                </c:pt>
                <c:pt idx="46100">
                  <c:v>0.82218655252363104</c:v>
                </c:pt>
                <c:pt idx="46101">
                  <c:v>0.822204387372926</c:v>
                </c:pt>
                <c:pt idx="46102">
                  <c:v>0.82222222222222197</c:v>
                </c:pt>
                <c:pt idx="46103">
                  <c:v>0.82224005707151704</c:v>
                </c:pt>
                <c:pt idx="46104">
                  <c:v>0.822257891920813</c:v>
                </c:pt>
                <c:pt idx="46105">
                  <c:v>0.82227572677010796</c:v>
                </c:pt>
                <c:pt idx="46106">
                  <c:v>0.82229356161940403</c:v>
                </c:pt>
                <c:pt idx="46107">
                  <c:v>0.822311396468699</c:v>
                </c:pt>
                <c:pt idx="46108">
                  <c:v>0.82232923131799496</c:v>
                </c:pt>
                <c:pt idx="46109">
                  <c:v>0.82234706616729003</c:v>
                </c:pt>
                <c:pt idx="46110">
                  <c:v>0.82236490101658599</c:v>
                </c:pt>
                <c:pt idx="46111">
                  <c:v>0.82238273586588195</c:v>
                </c:pt>
                <c:pt idx="46112">
                  <c:v>0.82240057071517703</c:v>
                </c:pt>
                <c:pt idx="46113">
                  <c:v>0.82241840556447299</c:v>
                </c:pt>
                <c:pt idx="46114">
                  <c:v>0.82243624041376795</c:v>
                </c:pt>
                <c:pt idx="46115">
                  <c:v>0.82245407526306402</c:v>
                </c:pt>
                <c:pt idx="46116">
                  <c:v>0.82247191011235898</c:v>
                </c:pt>
                <c:pt idx="46117">
                  <c:v>0.82248974496165494</c:v>
                </c:pt>
                <c:pt idx="46118">
                  <c:v>0.82250757981095002</c:v>
                </c:pt>
                <c:pt idx="46119">
                  <c:v>0.82252541466024598</c:v>
                </c:pt>
                <c:pt idx="46120">
                  <c:v>0.82254324950954105</c:v>
                </c:pt>
                <c:pt idx="46121">
                  <c:v>0.82256108435883701</c:v>
                </c:pt>
                <c:pt idx="46122">
                  <c:v>0.82257891920813198</c:v>
                </c:pt>
                <c:pt idx="46123">
                  <c:v>0.82259675405742805</c:v>
                </c:pt>
                <c:pt idx="46124">
                  <c:v>0.82261458890672301</c:v>
                </c:pt>
                <c:pt idx="46125">
                  <c:v>0.82263242375601897</c:v>
                </c:pt>
                <c:pt idx="46126">
                  <c:v>0.82265025860531404</c:v>
                </c:pt>
                <c:pt idx="46127">
                  <c:v>0.82266809345461001</c:v>
                </c:pt>
                <c:pt idx="46128">
                  <c:v>0.82268592830390497</c:v>
                </c:pt>
                <c:pt idx="46129">
                  <c:v>0.82270376315320104</c:v>
                </c:pt>
                <c:pt idx="46130">
                  <c:v>0.822721598002496</c:v>
                </c:pt>
                <c:pt idx="46131">
                  <c:v>0.82273943285179196</c:v>
                </c:pt>
                <c:pt idx="46132">
                  <c:v>0.82275726770108704</c:v>
                </c:pt>
                <c:pt idx="46133">
                  <c:v>0.822775102550383</c:v>
                </c:pt>
                <c:pt idx="46134">
                  <c:v>0.82279293739967896</c:v>
                </c:pt>
                <c:pt idx="46135">
                  <c:v>0.82281077224897403</c:v>
                </c:pt>
                <c:pt idx="46136">
                  <c:v>0.82282860709826999</c:v>
                </c:pt>
                <c:pt idx="46137">
                  <c:v>0.82284644194756495</c:v>
                </c:pt>
                <c:pt idx="46138">
                  <c:v>0.82286427679686103</c:v>
                </c:pt>
                <c:pt idx="46139">
                  <c:v>0.82288211164615599</c:v>
                </c:pt>
                <c:pt idx="46140">
                  <c:v>0.82289994649545195</c:v>
                </c:pt>
                <c:pt idx="46141">
                  <c:v>0.82291778134474702</c:v>
                </c:pt>
                <c:pt idx="46142">
                  <c:v>0.82293561619404298</c:v>
                </c:pt>
                <c:pt idx="46143">
                  <c:v>0.82295345104333795</c:v>
                </c:pt>
                <c:pt idx="46144">
                  <c:v>0.82297128589263402</c:v>
                </c:pt>
                <c:pt idx="46145">
                  <c:v>0.82298912074192898</c:v>
                </c:pt>
                <c:pt idx="46146">
                  <c:v>0.82300695559122505</c:v>
                </c:pt>
                <c:pt idx="46147">
                  <c:v>0.82302479044052002</c:v>
                </c:pt>
                <c:pt idx="46148">
                  <c:v>0.82304262528981598</c:v>
                </c:pt>
                <c:pt idx="46149">
                  <c:v>0.82306046013911105</c:v>
                </c:pt>
                <c:pt idx="46150">
                  <c:v>0.82307829498840701</c:v>
                </c:pt>
                <c:pt idx="46151">
                  <c:v>0.82309612983770197</c:v>
                </c:pt>
                <c:pt idx="46152">
                  <c:v>0.82311396468699805</c:v>
                </c:pt>
                <c:pt idx="46153">
                  <c:v>0.82313179953629301</c:v>
                </c:pt>
                <c:pt idx="46154">
                  <c:v>0.82314963438558897</c:v>
                </c:pt>
                <c:pt idx="46155">
                  <c:v>0.82316746923488404</c:v>
                </c:pt>
                <c:pt idx="46156">
                  <c:v>0.82318530408418</c:v>
                </c:pt>
                <c:pt idx="46157">
                  <c:v>0.82320313893347596</c:v>
                </c:pt>
                <c:pt idx="46158">
                  <c:v>0.82322097378277104</c:v>
                </c:pt>
                <c:pt idx="46159">
                  <c:v>0.823238808632067</c:v>
                </c:pt>
                <c:pt idx="46160">
                  <c:v>0.82325664348136196</c:v>
                </c:pt>
                <c:pt idx="46161">
                  <c:v>0.82327447833065803</c:v>
                </c:pt>
                <c:pt idx="46162">
                  <c:v>0.82329231317995299</c:v>
                </c:pt>
                <c:pt idx="46163">
                  <c:v>0.82331014802924896</c:v>
                </c:pt>
                <c:pt idx="46164">
                  <c:v>0.82332798287854403</c:v>
                </c:pt>
                <c:pt idx="46165">
                  <c:v>0.82334581772783999</c:v>
                </c:pt>
                <c:pt idx="46166">
                  <c:v>0.82336365257713495</c:v>
                </c:pt>
                <c:pt idx="46167">
                  <c:v>0.82338148742643102</c:v>
                </c:pt>
                <c:pt idx="46168">
                  <c:v>0.82339932227572599</c:v>
                </c:pt>
                <c:pt idx="46169">
                  <c:v>0.82341715712502195</c:v>
                </c:pt>
                <c:pt idx="46170">
                  <c:v>0.82343499197431702</c:v>
                </c:pt>
                <c:pt idx="46171">
                  <c:v>0.82345282682361298</c:v>
                </c:pt>
                <c:pt idx="46172">
                  <c:v>0.82347066167290806</c:v>
                </c:pt>
                <c:pt idx="46173">
                  <c:v>0.82348849652220402</c:v>
                </c:pt>
                <c:pt idx="46174">
                  <c:v>0.82350633137149898</c:v>
                </c:pt>
                <c:pt idx="46175">
                  <c:v>0.82352416622079505</c:v>
                </c:pt>
                <c:pt idx="46176">
                  <c:v>0.82354200107009101</c:v>
                </c:pt>
                <c:pt idx="46177">
                  <c:v>0.82355983591938597</c:v>
                </c:pt>
                <c:pt idx="46178">
                  <c:v>0.82357767076868205</c:v>
                </c:pt>
                <c:pt idx="46179">
                  <c:v>0.82359550561797701</c:v>
                </c:pt>
                <c:pt idx="46180">
                  <c:v>0.82361334046727297</c:v>
                </c:pt>
                <c:pt idx="46181">
                  <c:v>0.82363117531656804</c:v>
                </c:pt>
                <c:pt idx="46182">
                  <c:v>0.823649010165864</c:v>
                </c:pt>
                <c:pt idx="46183">
                  <c:v>0.82366684501515897</c:v>
                </c:pt>
                <c:pt idx="46184">
                  <c:v>0.82368467986445504</c:v>
                </c:pt>
                <c:pt idx="46185">
                  <c:v>0.82370251471375</c:v>
                </c:pt>
                <c:pt idx="46186">
                  <c:v>0.82372034956304596</c:v>
                </c:pt>
                <c:pt idx="46187">
                  <c:v>0.82373818441234103</c:v>
                </c:pt>
                <c:pt idx="46188">
                  <c:v>0.823756019261637</c:v>
                </c:pt>
                <c:pt idx="46189">
                  <c:v>0.82377385411093196</c:v>
                </c:pt>
                <c:pt idx="46190">
                  <c:v>0.82379168896022803</c:v>
                </c:pt>
                <c:pt idx="46191">
                  <c:v>0.82380952380952299</c:v>
                </c:pt>
                <c:pt idx="46192">
                  <c:v>0.82382735865881895</c:v>
                </c:pt>
                <c:pt idx="46193">
                  <c:v>0.82384519350811403</c:v>
                </c:pt>
                <c:pt idx="46194">
                  <c:v>0.82386302835740999</c:v>
                </c:pt>
                <c:pt idx="46195">
                  <c:v>0.82388086320670595</c:v>
                </c:pt>
                <c:pt idx="46196">
                  <c:v>0.82389869805600102</c:v>
                </c:pt>
                <c:pt idx="46197">
                  <c:v>0.82391653290529698</c:v>
                </c:pt>
                <c:pt idx="46198">
                  <c:v>0.82393436775459195</c:v>
                </c:pt>
                <c:pt idx="46199">
                  <c:v>0.82395220260388802</c:v>
                </c:pt>
                <c:pt idx="46200">
                  <c:v>0.82397003745318298</c:v>
                </c:pt>
                <c:pt idx="46201">
                  <c:v>0.82398787230247905</c:v>
                </c:pt>
                <c:pt idx="46202">
                  <c:v>0.82400570715177401</c:v>
                </c:pt>
                <c:pt idx="46203">
                  <c:v>0.82402354200106998</c:v>
                </c:pt>
                <c:pt idx="46204">
                  <c:v>0.82404137685036505</c:v>
                </c:pt>
                <c:pt idx="46205">
                  <c:v>0.82405921169966101</c:v>
                </c:pt>
                <c:pt idx="46206">
                  <c:v>0.82407704654895597</c:v>
                </c:pt>
                <c:pt idx="46207">
                  <c:v>0.82409488139825204</c:v>
                </c:pt>
                <c:pt idx="46208">
                  <c:v>0.82411271624754701</c:v>
                </c:pt>
                <c:pt idx="46209">
                  <c:v>0.82413055109684297</c:v>
                </c:pt>
                <c:pt idx="46210">
                  <c:v>0.82414838594613804</c:v>
                </c:pt>
                <c:pt idx="46211">
                  <c:v>0.824166220795434</c:v>
                </c:pt>
                <c:pt idx="46212">
                  <c:v>0.82418405564472896</c:v>
                </c:pt>
                <c:pt idx="46213">
                  <c:v>0.82420189049402504</c:v>
                </c:pt>
                <c:pt idx="46214">
                  <c:v>0.82421972534332</c:v>
                </c:pt>
                <c:pt idx="46215">
                  <c:v>0.82423756019261596</c:v>
                </c:pt>
                <c:pt idx="46216">
                  <c:v>0.82425539504191103</c:v>
                </c:pt>
                <c:pt idx="46217">
                  <c:v>0.82427322989120699</c:v>
                </c:pt>
                <c:pt idx="46218">
                  <c:v>0.82429106474050295</c:v>
                </c:pt>
                <c:pt idx="46219">
                  <c:v>0.82430889958979803</c:v>
                </c:pt>
                <c:pt idx="46220">
                  <c:v>0.82432673443909399</c:v>
                </c:pt>
                <c:pt idx="46221">
                  <c:v>0.82434456928838895</c:v>
                </c:pt>
                <c:pt idx="46222">
                  <c:v>0.82436240413768502</c:v>
                </c:pt>
                <c:pt idx="46223">
                  <c:v>0.82438023898697999</c:v>
                </c:pt>
                <c:pt idx="46224">
                  <c:v>0.82439807383627595</c:v>
                </c:pt>
                <c:pt idx="46225">
                  <c:v>0.82441590868557102</c:v>
                </c:pt>
                <c:pt idx="46226">
                  <c:v>0.82443374353486698</c:v>
                </c:pt>
                <c:pt idx="46227">
                  <c:v>0.82445157838416205</c:v>
                </c:pt>
                <c:pt idx="46228">
                  <c:v>0.82446941323345802</c:v>
                </c:pt>
                <c:pt idx="46229">
                  <c:v>0.82448724808275298</c:v>
                </c:pt>
                <c:pt idx="46230">
                  <c:v>0.82450508293204905</c:v>
                </c:pt>
                <c:pt idx="46231">
                  <c:v>0.82452291778134401</c:v>
                </c:pt>
                <c:pt idx="46232">
                  <c:v>0.82454075263063997</c:v>
                </c:pt>
                <c:pt idx="46233">
                  <c:v>0.82455858747993505</c:v>
                </c:pt>
                <c:pt idx="46234">
                  <c:v>0.82457642232923101</c:v>
                </c:pt>
                <c:pt idx="46235">
                  <c:v>0.82459425717852597</c:v>
                </c:pt>
                <c:pt idx="46236">
                  <c:v>0.82461209202782204</c:v>
                </c:pt>
                <c:pt idx="46237">
                  <c:v>0.824629926877117</c:v>
                </c:pt>
                <c:pt idx="46238">
                  <c:v>0.82464776172641296</c:v>
                </c:pt>
                <c:pt idx="46239">
                  <c:v>0.82466559657570804</c:v>
                </c:pt>
                <c:pt idx="46240">
                  <c:v>0.824683431425004</c:v>
                </c:pt>
                <c:pt idx="46241">
                  <c:v>0.82470126627429996</c:v>
                </c:pt>
                <c:pt idx="46242">
                  <c:v>0.82471910112359503</c:v>
                </c:pt>
                <c:pt idx="46243">
                  <c:v>0.82473693597289099</c:v>
                </c:pt>
                <c:pt idx="46244">
                  <c:v>0.82475477082218596</c:v>
                </c:pt>
                <c:pt idx="46245">
                  <c:v>0.82477260567148203</c:v>
                </c:pt>
                <c:pt idx="46246">
                  <c:v>0.82479044052077699</c:v>
                </c:pt>
                <c:pt idx="46247">
                  <c:v>0.82480827537007295</c:v>
                </c:pt>
                <c:pt idx="46248">
                  <c:v>0.82482611021936802</c:v>
                </c:pt>
                <c:pt idx="46249">
                  <c:v>0.82484394506866399</c:v>
                </c:pt>
                <c:pt idx="46250">
                  <c:v>0.82486177991795895</c:v>
                </c:pt>
                <c:pt idx="46251">
                  <c:v>0.82487961476725502</c:v>
                </c:pt>
                <c:pt idx="46252">
                  <c:v>0.82489744961654998</c:v>
                </c:pt>
                <c:pt idx="46253">
                  <c:v>0.82491528446584605</c:v>
                </c:pt>
                <c:pt idx="46254">
                  <c:v>0.82493311931514102</c:v>
                </c:pt>
                <c:pt idx="46255">
                  <c:v>0.82495095416443698</c:v>
                </c:pt>
                <c:pt idx="46256">
                  <c:v>0.82496878901373205</c:v>
                </c:pt>
                <c:pt idx="46257">
                  <c:v>0.82498662386302801</c:v>
                </c:pt>
                <c:pt idx="46258">
                  <c:v>0.82500445871232297</c:v>
                </c:pt>
                <c:pt idx="46259">
                  <c:v>0.82502229356161905</c:v>
                </c:pt>
                <c:pt idx="46260">
                  <c:v>0.82504012841091401</c:v>
                </c:pt>
                <c:pt idx="46261">
                  <c:v>0.82505796326020997</c:v>
                </c:pt>
                <c:pt idx="46262">
                  <c:v>0.82507579810950504</c:v>
                </c:pt>
                <c:pt idx="46263">
                  <c:v>0.825093632958801</c:v>
                </c:pt>
                <c:pt idx="46264">
                  <c:v>0.82511146780809697</c:v>
                </c:pt>
                <c:pt idx="46265">
                  <c:v>0.82512930265739204</c:v>
                </c:pt>
                <c:pt idx="46266">
                  <c:v>0.825147137506688</c:v>
                </c:pt>
                <c:pt idx="46267">
                  <c:v>0.82516497235598296</c:v>
                </c:pt>
                <c:pt idx="46268">
                  <c:v>0.82518280720527903</c:v>
                </c:pt>
                <c:pt idx="46269">
                  <c:v>0.825200642054574</c:v>
                </c:pt>
                <c:pt idx="46270">
                  <c:v>0.82521847690386996</c:v>
                </c:pt>
                <c:pt idx="46271">
                  <c:v>0.82523631175316503</c:v>
                </c:pt>
                <c:pt idx="46272">
                  <c:v>0.82525414660246099</c:v>
                </c:pt>
                <c:pt idx="46273">
                  <c:v>0.82527198145175595</c:v>
                </c:pt>
                <c:pt idx="46274">
                  <c:v>0.82528981630105203</c:v>
                </c:pt>
                <c:pt idx="46275">
                  <c:v>0.82530765115034699</c:v>
                </c:pt>
                <c:pt idx="46276">
                  <c:v>0.82532548599964295</c:v>
                </c:pt>
                <c:pt idx="46277">
                  <c:v>0.82534332084893802</c:v>
                </c:pt>
                <c:pt idx="46278">
                  <c:v>0.82536115569823398</c:v>
                </c:pt>
                <c:pt idx="46279">
                  <c:v>0.82537899054752895</c:v>
                </c:pt>
                <c:pt idx="46280">
                  <c:v>0.82539682539682502</c:v>
                </c:pt>
                <c:pt idx="46281">
                  <c:v>0.82541466024611998</c:v>
                </c:pt>
                <c:pt idx="46282">
                  <c:v>0.82543249509541605</c:v>
                </c:pt>
                <c:pt idx="46283">
                  <c:v>0.82545032994471201</c:v>
                </c:pt>
                <c:pt idx="46284">
                  <c:v>0.82546816479400698</c:v>
                </c:pt>
                <c:pt idx="46285">
                  <c:v>0.82548599964330305</c:v>
                </c:pt>
                <c:pt idx="46286">
                  <c:v>0.82550383449259801</c:v>
                </c:pt>
                <c:pt idx="46287">
                  <c:v>0.82552166934189397</c:v>
                </c:pt>
                <c:pt idx="46288">
                  <c:v>0.82553950419118904</c:v>
                </c:pt>
                <c:pt idx="46289">
                  <c:v>0.82555733904048501</c:v>
                </c:pt>
                <c:pt idx="46290">
                  <c:v>0.82557517388977997</c:v>
                </c:pt>
                <c:pt idx="46291">
                  <c:v>0.82559300873907604</c:v>
                </c:pt>
                <c:pt idx="46292">
                  <c:v>0.825610843588371</c:v>
                </c:pt>
                <c:pt idx="46293">
                  <c:v>0.82562867843766696</c:v>
                </c:pt>
                <c:pt idx="46294">
                  <c:v>0.82564651328696204</c:v>
                </c:pt>
                <c:pt idx="46295">
                  <c:v>0.825664348136258</c:v>
                </c:pt>
                <c:pt idx="46296">
                  <c:v>0.82568218298555296</c:v>
                </c:pt>
                <c:pt idx="46297">
                  <c:v>0.82570001783484903</c:v>
                </c:pt>
                <c:pt idx="46298">
                  <c:v>0.82571785268414399</c:v>
                </c:pt>
                <c:pt idx="46299">
                  <c:v>0.82573568753343995</c:v>
                </c:pt>
                <c:pt idx="46300">
                  <c:v>0.82575352238273503</c:v>
                </c:pt>
                <c:pt idx="46301">
                  <c:v>0.82577135723203099</c:v>
                </c:pt>
                <c:pt idx="46302">
                  <c:v>0.82578919208132695</c:v>
                </c:pt>
                <c:pt idx="46303">
                  <c:v>0.82580702693062202</c:v>
                </c:pt>
                <c:pt idx="46304">
                  <c:v>0.82582486177991798</c:v>
                </c:pt>
                <c:pt idx="46305">
                  <c:v>0.82584269662921295</c:v>
                </c:pt>
                <c:pt idx="46306">
                  <c:v>0.82586053147850902</c:v>
                </c:pt>
                <c:pt idx="46307">
                  <c:v>0.82587836632780398</c:v>
                </c:pt>
                <c:pt idx="46308">
                  <c:v>0.82589620117710005</c:v>
                </c:pt>
                <c:pt idx="46309">
                  <c:v>0.82591403602639502</c:v>
                </c:pt>
                <c:pt idx="46310">
                  <c:v>0.82593187087569098</c:v>
                </c:pt>
                <c:pt idx="46311">
                  <c:v>0.82594970572498605</c:v>
                </c:pt>
                <c:pt idx="46312">
                  <c:v>0.82596754057428201</c:v>
                </c:pt>
                <c:pt idx="46313">
                  <c:v>0.82598537542357697</c:v>
                </c:pt>
                <c:pt idx="46314">
                  <c:v>0.82600321027287305</c:v>
                </c:pt>
                <c:pt idx="46315">
                  <c:v>0.82602104512216801</c:v>
                </c:pt>
                <c:pt idx="46316">
                  <c:v>0.82603887997146397</c:v>
                </c:pt>
                <c:pt idx="46317">
                  <c:v>0.82605671482075904</c:v>
                </c:pt>
                <c:pt idx="46318">
                  <c:v>0.826074549670055</c:v>
                </c:pt>
                <c:pt idx="46319">
                  <c:v>0.82609238451934996</c:v>
                </c:pt>
                <c:pt idx="46320">
                  <c:v>0.82611021936864604</c:v>
                </c:pt>
                <c:pt idx="46321">
                  <c:v>0.826128054217941</c:v>
                </c:pt>
                <c:pt idx="46322">
                  <c:v>0.82614588906723696</c:v>
                </c:pt>
                <c:pt idx="46323">
                  <c:v>0.82616372391653203</c:v>
                </c:pt>
                <c:pt idx="46324">
                  <c:v>0.82618155876582799</c:v>
                </c:pt>
                <c:pt idx="46325">
                  <c:v>0.82619939361512396</c:v>
                </c:pt>
                <c:pt idx="46326">
                  <c:v>0.82621722846441903</c:v>
                </c:pt>
                <c:pt idx="46327">
                  <c:v>0.82623506331371499</c:v>
                </c:pt>
                <c:pt idx="46328">
                  <c:v>0.82625289816300995</c:v>
                </c:pt>
                <c:pt idx="46329">
                  <c:v>0.82627073301230602</c:v>
                </c:pt>
                <c:pt idx="46330">
                  <c:v>0.82628856786160099</c:v>
                </c:pt>
                <c:pt idx="46331">
                  <c:v>0.82630640271089695</c:v>
                </c:pt>
                <c:pt idx="46332">
                  <c:v>0.82632423756019202</c:v>
                </c:pt>
                <c:pt idx="46333">
                  <c:v>0.82634207240948798</c:v>
                </c:pt>
                <c:pt idx="46334">
                  <c:v>0.82635990725878306</c:v>
                </c:pt>
                <c:pt idx="46335">
                  <c:v>0.82637774210807902</c:v>
                </c:pt>
                <c:pt idx="46336">
                  <c:v>0.82639557695737398</c:v>
                </c:pt>
                <c:pt idx="46337">
                  <c:v>0.82641341180667005</c:v>
                </c:pt>
                <c:pt idx="46338">
                  <c:v>0.82643124665596501</c:v>
                </c:pt>
                <c:pt idx="46339">
                  <c:v>0.82644908150526097</c:v>
                </c:pt>
                <c:pt idx="46340">
                  <c:v>0.82646691635455605</c:v>
                </c:pt>
                <c:pt idx="46341">
                  <c:v>0.82648475120385201</c:v>
                </c:pt>
                <c:pt idx="46342">
                  <c:v>0.82650258605314697</c:v>
                </c:pt>
                <c:pt idx="46343">
                  <c:v>0.82652042090244304</c:v>
                </c:pt>
                <c:pt idx="46344">
                  <c:v>0.826538255751738</c:v>
                </c:pt>
                <c:pt idx="46345">
                  <c:v>0.82655609060103397</c:v>
                </c:pt>
                <c:pt idx="46346">
                  <c:v>0.82657392545032904</c:v>
                </c:pt>
                <c:pt idx="46347">
                  <c:v>0.826591760299625</c:v>
                </c:pt>
                <c:pt idx="46348">
                  <c:v>0.82660959514892096</c:v>
                </c:pt>
                <c:pt idx="46349">
                  <c:v>0.82662742999821603</c:v>
                </c:pt>
                <c:pt idx="46350">
                  <c:v>0.826645264847512</c:v>
                </c:pt>
                <c:pt idx="46351">
                  <c:v>0.82666309969680696</c:v>
                </c:pt>
                <c:pt idx="46352">
                  <c:v>0.82668093454610303</c:v>
                </c:pt>
                <c:pt idx="46353">
                  <c:v>0.82669876939539799</c:v>
                </c:pt>
                <c:pt idx="46354">
                  <c:v>0.82671660424469395</c:v>
                </c:pt>
                <c:pt idx="46355">
                  <c:v>0.82673443909398903</c:v>
                </c:pt>
                <c:pt idx="46356">
                  <c:v>0.82675227394328499</c:v>
                </c:pt>
                <c:pt idx="46357">
                  <c:v>0.82677010879257995</c:v>
                </c:pt>
                <c:pt idx="46358">
                  <c:v>0.82678794364187602</c:v>
                </c:pt>
                <c:pt idx="46359">
                  <c:v>0.82680577849117098</c:v>
                </c:pt>
                <c:pt idx="46360">
                  <c:v>0.82682361334046695</c:v>
                </c:pt>
                <c:pt idx="46361">
                  <c:v>0.82684144818976202</c:v>
                </c:pt>
                <c:pt idx="46362">
                  <c:v>0.82685928303905798</c:v>
                </c:pt>
                <c:pt idx="46363">
                  <c:v>0.82687711788835305</c:v>
                </c:pt>
                <c:pt idx="46364">
                  <c:v>0.82689495273764901</c:v>
                </c:pt>
                <c:pt idx="46365">
                  <c:v>0.82691278758694398</c:v>
                </c:pt>
                <c:pt idx="46366">
                  <c:v>0.82693062243624005</c:v>
                </c:pt>
                <c:pt idx="46367">
                  <c:v>0.82694845728553501</c:v>
                </c:pt>
                <c:pt idx="46368">
                  <c:v>0.82696629213483097</c:v>
                </c:pt>
                <c:pt idx="46369">
                  <c:v>0.82698412698412604</c:v>
                </c:pt>
                <c:pt idx="46370">
                  <c:v>0.82700196183342201</c:v>
                </c:pt>
                <c:pt idx="46371">
                  <c:v>0.82701979668271797</c:v>
                </c:pt>
                <c:pt idx="46372">
                  <c:v>0.82703763153201304</c:v>
                </c:pt>
                <c:pt idx="46373">
                  <c:v>0.827055466381309</c:v>
                </c:pt>
                <c:pt idx="46374">
                  <c:v>0.82707330123060396</c:v>
                </c:pt>
                <c:pt idx="46375">
                  <c:v>0.82709113607990004</c:v>
                </c:pt>
                <c:pt idx="46376">
                  <c:v>0.827108970929195</c:v>
                </c:pt>
                <c:pt idx="46377">
                  <c:v>0.82712680577849096</c:v>
                </c:pt>
                <c:pt idx="46378">
                  <c:v>0.82714464062778603</c:v>
                </c:pt>
                <c:pt idx="46379">
                  <c:v>0.82716247547708199</c:v>
                </c:pt>
                <c:pt idx="46380">
                  <c:v>0.82718031032637696</c:v>
                </c:pt>
                <c:pt idx="46381">
                  <c:v>0.82719814517567303</c:v>
                </c:pt>
                <c:pt idx="46382">
                  <c:v>0.82721598002496799</c:v>
                </c:pt>
                <c:pt idx="46383">
                  <c:v>0.82723381487426395</c:v>
                </c:pt>
                <c:pt idx="46384">
                  <c:v>0.82725164972355902</c:v>
                </c:pt>
                <c:pt idx="46385">
                  <c:v>0.82726948457285499</c:v>
                </c:pt>
                <c:pt idx="46386">
                  <c:v>0.82728731942214995</c:v>
                </c:pt>
                <c:pt idx="46387">
                  <c:v>0.82730515427144602</c:v>
                </c:pt>
                <c:pt idx="46388">
                  <c:v>0.82732298912074198</c:v>
                </c:pt>
                <c:pt idx="46389">
                  <c:v>0.82734082397003705</c:v>
                </c:pt>
                <c:pt idx="46390">
                  <c:v>0.82735865881933301</c:v>
                </c:pt>
                <c:pt idx="46391">
                  <c:v>0.82737649366862798</c:v>
                </c:pt>
                <c:pt idx="46392">
                  <c:v>0.82739432851792405</c:v>
                </c:pt>
                <c:pt idx="46393">
                  <c:v>0.82741216336721901</c:v>
                </c:pt>
                <c:pt idx="46394">
                  <c:v>0.82742999821651497</c:v>
                </c:pt>
                <c:pt idx="46395">
                  <c:v>0.82744783306581005</c:v>
                </c:pt>
                <c:pt idx="46396">
                  <c:v>0.82746566791510601</c:v>
                </c:pt>
                <c:pt idx="46397">
                  <c:v>0.82748350276440097</c:v>
                </c:pt>
                <c:pt idx="46398">
                  <c:v>0.82750133761369704</c:v>
                </c:pt>
                <c:pt idx="46399">
                  <c:v>0.827519172462992</c:v>
                </c:pt>
                <c:pt idx="46400">
                  <c:v>0.82753700731228796</c:v>
                </c:pt>
                <c:pt idx="46401">
                  <c:v>0.82755484216158304</c:v>
                </c:pt>
                <c:pt idx="46402">
                  <c:v>0.827572677010879</c:v>
                </c:pt>
                <c:pt idx="46403">
                  <c:v>0.82759051186017396</c:v>
                </c:pt>
                <c:pt idx="46404">
                  <c:v>0.82760834670947003</c:v>
                </c:pt>
                <c:pt idx="46405">
                  <c:v>0.827626181558765</c:v>
                </c:pt>
                <c:pt idx="46406">
                  <c:v>0.82764401640806096</c:v>
                </c:pt>
                <c:pt idx="46407">
                  <c:v>0.82766185125735603</c:v>
                </c:pt>
                <c:pt idx="46408">
                  <c:v>0.82767968610665199</c:v>
                </c:pt>
                <c:pt idx="46409">
                  <c:v>0.82769752095594795</c:v>
                </c:pt>
                <c:pt idx="46410">
                  <c:v>0.82771535580524302</c:v>
                </c:pt>
                <c:pt idx="46411">
                  <c:v>0.82773319065453899</c:v>
                </c:pt>
                <c:pt idx="46412">
                  <c:v>0.82775102550383395</c:v>
                </c:pt>
                <c:pt idx="46413">
                  <c:v>0.82776886035313002</c:v>
                </c:pt>
                <c:pt idx="46414">
                  <c:v>0.82778669520242498</c:v>
                </c:pt>
                <c:pt idx="46415">
                  <c:v>0.82780453005172105</c:v>
                </c:pt>
                <c:pt idx="46416">
                  <c:v>0.82782236490101602</c:v>
                </c:pt>
                <c:pt idx="46417">
                  <c:v>0.82784019975031198</c:v>
                </c:pt>
                <c:pt idx="46418">
                  <c:v>0.82785803459960705</c:v>
                </c:pt>
                <c:pt idx="46419">
                  <c:v>0.82787586944890301</c:v>
                </c:pt>
                <c:pt idx="46420">
                  <c:v>0.82789370429819797</c:v>
                </c:pt>
                <c:pt idx="46421">
                  <c:v>0.82791153914749405</c:v>
                </c:pt>
                <c:pt idx="46422">
                  <c:v>0.82792937399678901</c:v>
                </c:pt>
                <c:pt idx="46423">
                  <c:v>0.82794720884608497</c:v>
                </c:pt>
                <c:pt idx="46424">
                  <c:v>0.82796504369538004</c:v>
                </c:pt>
                <c:pt idx="46425">
                  <c:v>0.827982878544676</c:v>
                </c:pt>
                <c:pt idx="46426">
                  <c:v>0.82800071339397097</c:v>
                </c:pt>
                <c:pt idx="46427">
                  <c:v>0.82801854824326704</c:v>
                </c:pt>
                <c:pt idx="46428">
                  <c:v>0.828036383092562</c:v>
                </c:pt>
                <c:pt idx="46429">
                  <c:v>0.82805421794185796</c:v>
                </c:pt>
                <c:pt idx="46430">
                  <c:v>0.82807205279115303</c:v>
                </c:pt>
                <c:pt idx="46431">
                  <c:v>0.828089887640449</c:v>
                </c:pt>
                <c:pt idx="46432">
                  <c:v>0.82810772248974496</c:v>
                </c:pt>
                <c:pt idx="46433">
                  <c:v>0.82812555733904003</c:v>
                </c:pt>
                <c:pt idx="46434">
                  <c:v>0.82814339218833599</c:v>
                </c:pt>
                <c:pt idx="46435">
                  <c:v>0.82816122703763095</c:v>
                </c:pt>
                <c:pt idx="46436">
                  <c:v>0.82817906188692703</c:v>
                </c:pt>
                <c:pt idx="46437">
                  <c:v>0.82819689673622199</c:v>
                </c:pt>
                <c:pt idx="46438">
                  <c:v>0.82821473158551795</c:v>
                </c:pt>
                <c:pt idx="46439">
                  <c:v>0.82823256643481302</c:v>
                </c:pt>
                <c:pt idx="46440">
                  <c:v>0.82825040128410898</c:v>
                </c:pt>
                <c:pt idx="46441">
                  <c:v>0.82826823613340395</c:v>
                </c:pt>
                <c:pt idx="46442">
                  <c:v>0.82828607098270002</c:v>
                </c:pt>
                <c:pt idx="46443">
                  <c:v>0.82830390583199498</c:v>
                </c:pt>
                <c:pt idx="46444">
                  <c:v>0.82832174068129105</c:v>
                </c:pt>
                <c:pt idx="46445">
                  <c:v>0.82833957553058601</c:v>
                </c:pt>
                <c:pt idx="46446">
                  <c:v>0.82835741037988198</c:v>
                </c:pt>
                <c:pt idx="46447">
                  <c:v>0.82837524522917705</c:v>
                </c:pt>
                <c:pt idx="46448">
                  <c:v>0.82839308007847301</c:v>
                </c:pt>
                <c:pt idx="46449">
                  <c:v>0.82841091492776797</c:v>
                </c:pt>
                <c:pt idx="46450">
                  <c:v>0.82842874977706404</c:v>
                </c:pt>
                <c:pt idx="46451">
                  <c:v>0.82844658462635901</c:v>
                </c:pt>
                <c:pt idx="46452">
                  <c:v>0.82846441947565497</c:v>
                </c:pt>
                <c:pt idx="46453">
                  <c:v>0.82848225432495004</c:v>
                </c:pt>
                <c:pt idx="46454">
                  <c:v>0.828500089174246</c:v>
                </c:pt>
                <c:pt idx="46455">
                  <c:v>0.82851792402354196</c:v>
                </c:pt>
                <c:pt idx="46456">
                  <c:v>0.82853575887283704</c:v>
                </c:pt>
                <c:pt idx="46457">
                  <c:v>0.828553593722133</c:v>
                </c:pt>
                <c:pt idx="46458">
                  <c:v>0.82857142857142796</c:v>
                </c:pt>
                <c:pt idx="46459">
                  <c:v>0.82858926342072403</c:v>
                </c:pt>
                <c:pt idx="46460">
                  <c:v>0.82860709827001899</c:v>
                </c:pt>
                <c:pt idx="46461">
                  <c:v>0.82862493311931495</c:v>
                </c:pt>
                <c:pt idx="46462">
                  <c:v>0.82864276796861003</c:v>
                </c:pt>
                <c:pt idx="46463">
                  <c:v>0.82866060281790599</c:v>
                </c:pt>
                <c:pt idx="46464">
                  <c:v>0.82867843766720095</c:v>
                </c:pt>
                <c:pt idx="46465">
                  <c:v>0.82869627251649702</c:v>
                </c:pt>
                <c:pt idx="46466">
                  <c:v>0.82871410736579199</c:v>
                </c:pt>
                <c:pt idx="46467">
                  <c:v>0.82873194221508795</c:v>
                </c:pt>
                <c:pt idx="46468">
                  <c:v>0.82874977706438302</c:v>
                </c:pt>
                <c:pt idx="46469">
                  <c:v>0.82876761191367898</c:v>
                </c:pt>
                <c:pt idx="46470">
                  <c:v>0.82878544676297405</c:v>
                </c:pt>
                <c:pt idx="46471">
                  <c:v>0.82880328161227002</c:v>
                </c:pt>
                <c:pt idx="46472">
                  <c:v>0.82882111646156498</c:v>
                </c:pt>
                <c:pt idx="46473">
                  <c:v>0.82883895131086105</c:v>
                </c:pt>
                <c:pt idx="46474">
                  <c:v>0.82885678616015601</c:v>
                </c:pt>
                <c:pt idx="46475">
                  <c:v>0.82887462100945197</c:v>
                </c:pt>
                <c:pt idx="46476">
                  <c:v>0.82889245585874805</c:v>
                </c:pt>
                <c:pt idx="46477">
                  <c:v>0.82891029070804301</c:v>
                </c:pt>
                <c:pt idx="46478">
                  <c:v>0.82892812555733897</c:v>
                </c:pt>
                <c:pt idx="46479">
                  <c:v>0.82894596040663404</c:v>
                </c:pt>
                <c:pt idx="46480">
                  <c:v>0.82896379525593</c:v>
                </c:pt>
                <c:pt idx="46481">
                  <c:v>0.82898163010522496</c:v>
                </c:pt>
                <c:pt idx="46482">
                  <c:v>0.82899946495452104</c:v>
                </c:pt>
                <c:pt idx="46483">
                  <c:v>0.829017299803816</c:v>
                </c:pt>
                <c:pt idx="46484">
                  <c:v>0.82903513465311196</c:v>
                </c:pt>
                <c:pt idx="46485">
                  <c:v>0.82905296950240703</c:v>
                </c:pt>
                <c:pt idx="46486">
                  <c:v>0.82907080435170299</c:v>
                </c:pt>
                <c:pt idx="46487">
                  <c:v>0.82908863920099796</c:v>
                </c:pt>
                <c:pt idx="46488">
                  <c:v>0.82910647405029403</c:v>
                </c:pt>
                <c:pt idx="46489">
                  <c:v>0.82912430889958899</c:v>
                </c:pt>
                <c:pt idx="46490">
                  <c:v>0.82914214374888495</c:v>
                </c:pt>
                <c:pt idx="46491">
                  <c:v>0.82915997859818003</c:v>
                </c:pt>
                <c:pt idx="46492">
                  <c:v>0.82917781344747599</c:v>
                </c:pt>
                <c:pt idx="46493">
                  <c:v>0.82919564829677195</c:v>
                </c:pt>
                <c:pt idx="46494">
                  <c:v>0.82921348314606702</c:v>
                </c:pt>
                <c:pt idx="46495">
                  <c:v>0.82923131799536298</c:v>
                </c:pt>
                <c:pt idx="46496">
                  <c:v>0.82924915284465806</c:v>
                </c:pt>
                <c:pt idx="46497">
                  <c:v>0.82926698769395402</c:v>
                </c:pt>
                <c:pt idx="46498">
                  <c:v>0.82928482254324898</c:v>
                </c:pt>
                <c:pt idx="46499">
                  <c:v>0.82930265739254505</c:v>
                </c:pt>
                <c:pt idx="46500">
                  <c:v>0.82932049224184001</c:v>
                </c:pt>
                <c:pt idx="46501">
                  <c:v>0.82933832709113597</c:v>
                </c:pt>
                <c:pt idx="46502">
                  <c:v>0.82935616194043105</c:v>
                </c:pt>
                <c:pt idx="46503">
                  <c:v>0.82937399678972701</c:v>
                </c:pt>
                <c:pt idx="46504">
                  <c:v>0.82939183163902197</c:v>
                </c:pt>
                <c:pt idx="46505">
                  <c:v>0.82940966648831804</c:v>
                </c:pt>
                <c:pt idx="46506">
                  <c:v>0.829427501337613</c:v>
                </c:pt>
                <c:pt idx="46507">
                  <c:v>0.82944533618690897</c:v>
                </c:pt>
                <c:pt idx="46508">
                  <c:v>0.82946317103620404</c:v>
                </c:pt>
                <c:pt idx="46509">
                  <c:v>0.8294810058855</c:v>
                </c:pt>
                <c:pt idx="46510">
                  <c:v>0.82949884073479496</c:v>
                </c:pt>
                <c:pt idx="46511">
                  <c:v>0.82951667558409103</c:v>
                </c:pt>
                <c:pt idx="46512">
                  <c:v>0.829534510433386</c:v>
                </c:pt>
                <c:pt idx="46513">
                  <c:v>0.82955234528268196</c:v>
                </c:pt>
                <c:pt idx="46514">
                  <c:v>0.82957018013197703</c:v>
                </c:pt>
                <c:pt idx="46515">
                  <c:v>0.82958801498127299</c:v>
                </c:pt>
                <c:pt idx="46516">
                  <c:v>0.82960584983056895</c:v>
                </c:pt>
                <c:pt idx="46517">
                  <c:v>0.82962368467986403</c:v>
                </c:pt>
                <c:pt idx="46518">
                  <c:v>0.82964151952915999</c:v>
                </c:pt>
                <c:pt idx="46519">
                  <c:v>0.82965935437845495</c:v>
                </c:pt>
                <c:pt idx="46520">
                  <c:v>0.82967718922775102</c:v>
                </c:pt>
                <c:pt idx="46521">
                  <c:v>0.82969502407704598</c:v>
                </c:pt>
                <c:pt idx="46522">
                  <c:v>0.82971285892634195</c:v>
                </c:pt>
                <c:pt idx="46523">
                  <c:v>0.82973069377563702</c:v>
                </c:pt>
                <c:pt idx="46524">
                  <c:v>0.82974852862493298</c:v>
                </c:pt>
                <c:pt idx="46525">
                  <c:v>0.82976636347422805</c:v>
                </c:pt>
                <c:pt idx="46526">
                  <c:v>0.82978419832352401</c:v>
                </c:pt>
                <c:pt idx="46527">
                  <c:v>0.82980203317281898</c:v>
                </c:pt>
                <c:pt idx="46528">
                  <c:v>0.82981986802211505</c:v>
                </c:pt>
                <c:pt idx="46529">
                  <c:v>0.82983770287141001</c:v>
                </c:pt>
                <c:pt idx="46530">
                  <c:v>0.82985553772070597</c:v>
                </c:pt>
                <c:pt idx="46531">
                  <c:v>0.82987337257000104</c:v>
                </c:pt>
                <c:pt idx="46532">
                  <c:v>0.82989120741929701</c:v>
                </c:pt>
                <c:pt idx="46533">
                  <c:v>0.82990904226859197</c:v>
                </c:pt>
                <c:pt idx="46534">
                  <c:v>0.82992687711788804</c:v>
                </c:pt>
                <c:pt idx="46535">
                  <c:v>0.829944711967183</c:v>
                </c:pt>
                <c:pt idx="46536">
                  <c:v>0.82996254681647896</c:v>
                </c:pt>
                <c:pt idx="46537">
                  <c:v>0.82998038166577404</c:v>
                </c:pt>
                <c:pt idx="46538">
                  <c:v>0.82999821651507</c:v>
                </c:pt>
                <c:pt idx="46539">
                  <c:v>0.83001605136436596</c:v>
                </c:pt>
                <c:pt idx="46540">
                  <c:v>0.83003388621366103</c:v>
                </c:pt>
                <c:pt idx="46541">
                  <c:v>0.83005172106295699</c:v>
                </c:pt>
                <c:pt idx="46542">
                  <c:v>0.83006955591225196</c:v>
                </c:pt>
                <c:pt idx="46543">
                  <c:v>0.83008739076154803</c:v>
                </c:pt>
                <c:pt idx="46544">
                  <c:v>0.83010522561084299</c:v>
                </c:pt>
                <c:pt idx="46545">
                  <c:v>0.83012306046013895</c:v>
                </c:pt>
                <c:pt idx="46546">
                  <c:v>0.83014089530943402</c:v>
                </c:pt>
                <c:pt idx="46547">
                  <c:v>0.83015873015872998</c:v>
                </c:pt>
                <c:pt idx="46548">
                  <c:v>0.83017656500802495</c:v>
                </c:pt>
                <c:pt idx="46549">
                  <c:v>0.83019439985732102</c:v>
                </c:pt>
                <c:pt idx="46550">
                  <c:v>0.83021223470661598</c:v>
                </c:pt>
                <c:pt idx="46551">
                  <c:v>0.83023006955591205</c:v>
                </c:pt>
                <c:pt idx="46552">
                  <c:v>0.83024790440520702</c:v>
                </c:pt>
                <c:pt idx="46553">
                  <c:v>0.83026573925450298</c:v>
                </c:pt>
                <c:pt idx="46554">
                  <c:v>0.83028357410379805</c:v>
                </c:pt>
                <c:pt idx="46555">
                  <c:v>0.83030140895309401</c:v>
                </c:pt>
                <c:pt idx="46556">
                  <c:v>0.83031924380238897</c:v>
                </c:pt>
                <c:pt idx="46557">
                  <c:v>0.83033707865168505</c:v>
                </c:pt>
                <c:pt idx="46558">
                  <c:v>0.83035491350098001</c:v>
                </c:pt>
                <c:pt idx="46559">
                  <c:v>0.83037274835027597</c:v>
                </c:pt>
                <c:pt idx="46560">
                  <c:v>0.83039058319957104</c:v>
                </c:pt>
                <c:pt idx="46561">
                  <c:v>0.830408418048867</c:v>
                </c:pt>
                <c:pt idx="46562">
                  <c:v>0.83042625289816296</c:v>
                </c:pt>
                <c:pt idx="46563">
                  <c:v>0.83044408774745804</c:v>
                </c:pt>
                <c:pt idx="46564">
                  <c:v>0.830461922596754</c:v>
                </c:pt>
                <c:pt idx="46565">
                  <c:v>0.83047975744604896</c:v>
                </c:pt>
                <c:pt idx="46566">
                  <c:v>0.83049759229534503</c:v>
                </c:pt>
                <c:pt idx="46567">
                  <c:v>0.83051542714463999</c:v>
                </c:pt>
                <c:pt idx="46568">
                  <c:v>0.83053326199393596</c:v>
                </c:pt>
                <c:pt idx="46569">
                  <c:v>0.83055109684323103</c:v>
                </c:pt>
                <c:pt idx="46570">
                  <c:v>0.83056893169252699</c:v>
                </c:pt>
                <c:pt idx="46571">
                  <c:v>0.83058676654182195</c:v>
                </c:pt>
                <c:pt idx="46572">
                  <c:v>0.83060460139111802</c:v>
                </c:pt>
                <c:pt idx="46573">
                  <c:v>0.83062243624041299</c:v>
                </c:pt>
                <c:pt idx="46574">
                  <c:v>0.83064027108970895</c:v>
                </c:pt>
                <c:pt idx="46575">
                  <c:v>0.83065810593900402</c:v>
                </c:pt>
                <c:pt idx="46576">
                  <c:v>0.83067594078829998</c:v>
                </c:pt>
                <c:pt idx="46577">
                  <c:v>0.83069377563759506</c:v>
                </c:pt>
                <c:pt idx="46578">
                  <c:v>0.83071161048689102</c:v>
                </c:pt>
                <c:pt idx="46579">
                  <c:v>0.83072944533618598</c:v>
                </c:pt>
                <c:pt idx="46580">
                  <c:v>0.83074728018548205</c:v>
                </c:pt>
                <c:pt idx="46581">
                  <c:v>0.83076511503477701</c:v>
                </c:pt>
                <c:pt idx="46582">
                  <c:v>0.83078294988407297</c:v>
                </c:pt>
                <c:pt idx="46583">
                  <c:v>0.83080078473336905</c:v>
                </c:pt>
                <c:pt idx="46584">
                  <c:v>0.83081861958266401</c:v>
                </c:pt>
                <c:pt idx="46585">
                  <c:v>0.83083645443195997</c:v>
                </c:pt>
                <c:pt idx="46586">
                  <c:v>0.83085428928125504</c:v>
                </c:pt>
                <c:pt idx="46587">
                  <c:v>0.830872124130551</c:v>
                </c:pt>
                <c:pt idx="46588">
                  <c:v>0.83088995897984597</c:v>
                </c:pt>
                <c:pt idx="46589">
                  <c:v>0.83090779382914204</c:v>
                </c:pt>
                <c:pt idx="46590">
                  <c:v>0.830925628678437</c:v>
                </c:pt>
                <c:pt idx="46591">
                  <c:v>0.83094346352773296</c:v>
                </c:pt>
                <c:pt idx="46592">
                  <c:v>0.83096129837702803</c:v>
                </c:pt>
                <c:pt idx="46593">
                  <c:v>0.830979133226324</c:v>
                </c:pt>
                <c:pt idx="46594">
                  <c:v>0.83099696807561896</c:v>
                </c:pt>
                <c:pt idx="46595">
                  <c:v>0.83101480292491503</c:v>
                </c:pt>
                <c:pt idx="46596">
                  <c:v>0.83103263777420999</c:v>
                </c:pt>
                <c:pt idx="46597">
                  <c:v>0.83105047262350595</c:v>
                </c:pt>
                <c:pt idx="46598">
                  <c:v>0.83106830747280103</c:v>
                </c:pt>
                <c:pt idx="46599">
                  <c:v>0.83108614232209699</c:v>
                </c:pt>
                <c:pt idx="46600">
                  <c:v>0.83110397717139295</c:v>
                </c:pt>
                <c:pt idx="46601">
                  <c:v>0.83112181202068802</c:v>
                </c:pt>
                <c:pt idx="46602">
                  <c:v>0.83113964686998398</c:v>
                </c:pt>
                <c:pt idx="46603">
                  <c:v>0.83115748171927895</c:v>
                </c:pt>
                <c:pt idx="46604">
                  <c:v>0.83117531656857502</c:v>
                </c:pt>
                <c:pt idx="46605">
                  <c:v>0.83119315141786998</c:v>
                </c:pt>
                <c:pt idx="46606">
                  <c:v>0.83121098626716605</c:v>
                </c:pt>
                <c:pt idx="46607">
                  <c:v>0.83122882111646101</c:v>
                </c:pt>
                <c:pt idx="46608">
                  <c:v>0.83124665596575698</c:v>
                </c:pt>
                <c:pt idx="46609">
                  <c:v>0.83126449081505205</c:v>
                </c:pt>
                <c:pt idx="46610">
                  <c:v>0.83128232566434801</c:v>
                </c:pt>
                <c:pt idx="46611">
                  <c:v>0.83130016051364297</c:v>
                </c:pt>
                <c:pt idx="46612">
                  <c:v>0.83131799536293904</c:v>
                </c:pt>
                <c:pt idx="46613">
                  <c:v>0.83133583021223401</c:v>
                </c:pt>
                <c:pt idx="46614">
                  <c:v>0.83135366506152997</c:v>
                </c:pt>
                <c:pt idx="46615">
                  <c:v>0.83137149991082504</c:v>
                </c:pt>
                <c:pt idx="46616">
                  <c:v>0.831389334760121</c:v>
                </c:pt>
                <c:pt idx="46617">
                  <c:v>0.83140716960941596</c:v>
                </c:pt>
                <c:pt idx="46618">
                  <c:v>0.83142500445871204</c:v>
                </c:pt>
                <c:pt idx="46619">
                  <c:v>0.831442839308007</c:v>
                </c:pt>
                <c:pt idx="46620">
                  <c:v>0.83146067415730296</c:v>
                </c:pt>
                <c:pt idx="46621">
                  <c:v>0.83147850900659803</c:v>
                </c:pt>
                <c:pt idx="46622">
                  <c:v>0.83149634385589399</c:v>
                </c:pt>
                <c:pt idx="46623">
                  <c:v>0.83151417870518995</c:v>
                </c:pt>
                <c:pt idx="46624">
                  <c:v>0.83153201355448503</c:v>
                </c:pt>
                <c:pt idx="46625">
                  <c:v>0.83154984840378099</c:v>
                </c:pt>
                <c:pt idx="46626">
                  <c:v>0.83156768325307595</c:v>
                </c:pt>
                <c:pt idx="46627">
                  <c:v>0.83158551810237202</c:v>
                </c:pt>
                <c:pt idx="46628">
                  <c:v>0.83160335295166699</c:v>
                </c:pt>
                <c:pt idx="46629">
                  <c:v>0.83162118780096295</c:v>
                </c:pt>
                <c:pt idx="46630">
                  <c:v>0.83163902265025802</c:v>
                </c:pt>
                <c:pt idx="46631">
                  <c:v>0.83165685749955398</c:v>
                </c:pt>
                <c:pt idx="46632">
                  <c:v>0.83167469234884905</c:v>
                </c:pt>
                <c:pt idx="46633">
                  <c:v>0.83169252719814502</c:v>
                </c:pt>
                <c:pt idx="46634">
                  <c:v>0.83171036204743998</c:v>
                </c:pt>
                <c:pt idx="46635">
                  <c:v>0.83172819689673605</c:v>
                </c:pt>
                <c:pt idx="46636">
                  <c:v>0.83174603174603101</c:v>
                </c:pt>
                <c:pt idx="46637">
                  <c:v>0.83176386659532697</c:v>
                </c:pt>
                <c:pt idx="46638">
                  <c:v>0.83178170144462205</c:v>
                </c:pt>
                <c:pt idx="46639">
                  <c:v>0.83179953629391801</c:v>
                </c:pt>
                <c:pt idx="46640">
                  <c:v>0.83181737114321297</c:v>
                </c:pt>
                <c:pt idx="46641">
                  <c:v>0.83183520599250904</c:v>
                </c:pt>
                <c:pt idx="46642">
                  <c:v>0.831853040841804</c:v>
                </c:pt>
                <c:pt idx="46643">
                  <c:v>0.83187087569109996</c:v>
                </c:pt>
                <c:pt idx="46644">
                  <c:v>0.83188871054039504</c:v>
                </c:pt>
                <c:pt idx="46645">
                  <c:v>0.831906545389691</c:v>
                </c:pt>
                <c:pt idx="46646">
                  <c:v>0.83192438023898696</c:v>
                </c:pt>
                <c:pt idx="46647">
                  <c:v>0.83194221508828203</c:v>
                </c:pt>
                <c:pt idx="46648">
                  <c:v>0.83196004993757799</c:v>
                </c:pt>
                <c:pt idx="46649">
                  <c:v>0.83197788478687296</c:v>
                </c:pt>
                <c:pt idx="46650">
                  <c:v>0.83199571963616903</c:v>
                </c:pt>
                <c:pt idx="46651">
                  <c:v>0.83201355448546399</c:v>
                </c:pt>
                <c:pt idx="46652">
                  <c:v>0.83203138933475995</c:v>
                </c:pt>
                <c:pt idx="46653">
                  <c:v>0.83204922418405503</c:v>
                </c:pt>
                <c:pt idx="46654">
                  <c:v>0.83206705903335099</c:v>
                </c:pt>
                <c:pt idx="46655">
                  <c:v>0.83208489388264595</c:v>
                </c:pt>
                <c:pt idx="46656">
                  <c:v>0.83210272873194202</c:v>
                </c:pt>
                <c:pt idx="46657">
                  <c:v>0.83212056358123698</c:v>
                </c:pt>
                <c:pt idx="46658">
                  <c:v>0.83213839843053306</c:v>
                </c:pt>
                <c:pt idx="46659">
                  <c:v>0.83215623327982802</c:v>
                </c:pt>
                <c:pt idx="46660">
                  <c:v>0.83217406812912398</c:v>
                </c:pt>
                <c:pt idx="46661">
                  <c:v>0.83219190297841905</c:v>
                </c:pt>
                <c:pt idx="46662">
                  <c:v>0.83220973782771501</c:v>
                </c:pt>
                <c:pt idx="46663">
                  <c:v>0.83222757267700997</c:v>
                </c:pt>
                <c:pt idx="46664">
                  <c:v>0.83224540752630605</c:v>
                </c:pt>
                <c:pt idx="46665">
                  <c:v>0.83226324237560101</c:v>
                </c:pt>
                <c:pt idx="46666">
                  <c:v>0.83228107722489697</c:v>
                </c:pt>
                <c:pt idx="46667">
                  <c:v>0.83229891207419204</c:v>
                </c:pt>
                <c:pt idx="46668">
                  <c:v>0.832316746923488</c:v>
                </c:pt>
                <c:pt idx="46669">
                  <c:v>0.83233458177278397</c:v>
                </c:pt>
                <c:pt idx="46670">
                  <c:v>0.83235241662207904</c:v>
                </c:pt>
                <c:pt idx="46671">
                  <c:v>0.832370251471375</c:v>
                </c:pt>
                <c:pt idx="46672">
                  <c:v>0.83238808632066996</c:v>
                </c:pt>
                <c:pt idx="46673">
                  <c:v>0.83240592116996603</c:v>
                </c:pt>
                <c:pt idx="46674">
                  <c:v>0.832423756019261</c:v>
                </c:pt>
                <c:pt idx="46675">
                  <c:v>0.83244159086855696</c:v>
                </c:pt>
                <c:pt idx="46676">
                  <c:v>0.83245942571785203</c:v>
                </c:pt>
                <c:pt idx="46677">
                  <c:v>0.83247726056714799</c:v>
                </c:pt>
                <c:pt idx="46678">
                  <c:v>0.83249509541644295</c:v>
                </c:pt>
                <c:pt idx="46679">
                  <c:v>0.83251293026573903</c:v>
                </c:pt>
                <c:pt idx="46680">
                  <c:v>0.83253076511503399</c:v>
                </c:pt>
                <c:pt idx="46681">
                  <c:v>0.83254859996432995</c:v>
                </c:pt>
                <c:pt idx="46682">
                  <c:v>0.83256643481362502</c:v>
                </c:pt>
                <c:pt idx="46683">
                  <c:v>0.83258426966292098</c:v>
                </c:pt>
                <c:pt idx="46684">
                  <c:v>0.83260210451221595</c:v>
                </c:pt>
                <c:pt idx="46685">
                  <c:v>0.83261993936151202</c:v>
                </c:pt>
                <c:pt idx="46686">
                  <c:v>0.83263777421080698</c:v>
                </c:pt>
                <c:pt idx="46687">
                  <c:v>0.83265560906010305</c:v>
                </c:pt>
                <c:pt idx="46688">
                  <c:v>0.83267344390939901</c:v>
                </c:pt>
                <c:pt idx="46689">
                  <c:v>0.83269127875869398</c:v>
                </c:pt>
                <c:pt idx="46690">
                  <c:v>0.83270911360799005</c:v>
                </c:pt>
                <c:pt idx="46691">
                  <c:v>0.83272694845728501</c:v>
                </c:pt>
                <c:pt idx="46692">
                  <c:v>0.83274478330658097</c:v>
                </c:pt>
                <c:pt idx="46693">
                  <c:v>0.83276261815587604</c:v>
                </c:pt>
                <c:pt idx="46694">
                  <c:v>0.83278045300517201</c:v>
                </c:pt>
                <c:pt idx="46695">
                  <c:v>0.83279828785446697</c:v>
                </c:pt>
                <c:pt idx="46696">
                  <c:v>0.83281612270376304</c:v>
                </c:pt>
                <c:pt idx="46697">
                  <c:v>0.832833957553058</c:v>
                </c:pt>
                <c:pt idx="46698">
                  <c:v>0.83285179240235396</c:v>
                </c:pt>
                <c:pt idx="46699">
                  <c:v>0.83286962725164904</c:v>
                </c:pt>
                <c:pt idx="46700">
                  <c:v>0.832887462100945</c:v>
                </c:pt>
                <c:pt idx="46701">
                  <c:v>0.83290529695023996</c:v>
                </c:pt>
                <c:pt idx="46702">
                  <c:v>0.83292313179953603</c:v>
                </c:pt>
                <c:pt idx="46703">
                  <c:v>0.83294096664883099</c:v>
                </c:pt>
                <c:pt idx="46704">
                  <c:v>0.83295880149812696</c:v>
                </c:pt>
                <c:pt idx="46705">
                  <c:v>0.83297663634742203</c:v>
                </c:pt>
                <c:pt idx="46706">
                  <c:v>0.83299447119671799</c:v>
                </c:pt>
                <c:pt idx="46707">
                  <c:v>0.83301230604601395</c:v>
                </c:pt>
                <c:pt idx="46708">
                  <c:v>0.83303014089530902</c:v>
                </c:pt>
                <c:pt idx="46709">
                  <c:v>0.83304797574460498</c:v>
                </c:pt>
                <c:pt idx="46710">
                  <c:v>0.83306581059389995</c:v>
                </c:pt>
                <c:pt idx="46711">
                  <c:v>0.83308364544319602</c:v>
                </c:pt>
                <c:pt idx="46712">
                  <c:v>0.83310148029249098</c:v>
                </c:pt>
                <c:pt idx="46713">
                  <c:v>0.83311931514178705</c:v>
                </c:pt>
                <c:pt idx="46714">
                  <c:v>0.83313714999108202</c:v>
                </c:pt>
                <c:pt idx="46715">
                  <c:v>0.83315498484037798</c:v>
                </c:pt>
                <c:pt idx="46716">
                  <c:v>0.83317281968967305</c:v>
                </c:pt>
                <c:pt idx="46717">
                  <c:v>0.83319065453896901</c:v>
                </c:pt>
                <c:pt idx="46718">
                  <c:v>0.83320848938826397</c:v>
                </c:pt>
                <c:pt idx="46719">
                  <c:v>0.83322632423756005</c:v>
                </c:pt>
                <c:pt idx="46720">
                  <c:v>0.83324415908685501</c:v>
                </c:pt>
                <c:pt idx="46721">
                  <c:v>0.83326199393615097</c:v>
                </c:pt>
                <c:pt idx="46722">
                  <c:v>0.83327982878544604</c:v>
                </c:pt>
                <c:pt idx="46723">
                  <c:v>0.833297663634742</c:v>
                </c:pt>
                <c:pt idx="46724">
                  <c:v>0.83331549848403697</c:v>
                </c:pt>
                <c:pt idx="46725">
                  <c:v>0.83333333333333304</c:v>
                </c:pt>
                <c:pt idx="46726">
                  <c:v>0.833351168182628</c:v>
                </c:pt>
                <c:pt idx="46727">
                  <c:v>0.83336900303192396</c:v>
                </c:pt>
                <c:pt idx="46728">
                  <c:v>0.83338683788121903</c:v>
                </c:pt>
                <c:pt idx="46729">
                  <c:v>0.83340467273051499</c:v>
                </c:pt>
                <c:pt idx="46730">
                  <c:v>0.83342250757981096</c:v>
                </c:pt>
                <c:pt idx="46731">
                  <c:v>0.83344034242910603</c:v>
                </c:pt>
                <c:pt idx="46732">
                  <c:v>0.83345817727840199</c:v>
                </c:pt>
                <c:pt idx="46733">
                  <c:v>0.83347601212769695</c:v>
                </c:pt>
                <c:pt idx="46734">
                  <c:v>0.83349384697699302</c:v>
                </c:pt>
                <c:pt idx="46735">
                  <c:v>0.83351168182628799</c:v>
                </c:pt>
                <c:pt idx="46736">
                  <c:v>0.83352951667558395</c:v>
                </c:pt>
                <c:pt idx="46737">
                  <c:v>0.83354735152487902</c:v>
                </c:pt>
                <c:pt idx="46738">
                  <c:v>0.83356518637417498</c:v>
                </c:pt>
                <c:pt idx="46739">
                  <c:v>0.83358302122347006</c:v>
                </c:pt>
                <c:pt idx="46740">
                  <c:v>0.83360085607276602</c:v>
                </c:pt>
                <c:pt idx="46741">
                  <c:v>0.83361869092206098</c:v>
                </c:pt>
                <c:pt idx="46742">
                  <c:v>0.83363652577135705</c:v>
                </c:pt>
                <c:pt idx="46743">
                  <c:v>0.83365436062065201</c:v>
                </c:pt>
                <c:pt idx="46744">
                  <c:v>0.83367219546994797</c:v>
                </c:pt>
                <c:pt idx="46745">
                  <c:v>0.83369003031924305</c:v>
                </c:pt>
                <c:pt idx="46746">
                  <c:v>0.83370786516853901</c:v>
                </c:pt>
                <c:pt idx="46747">
                  <c:v>0.83372570001783397</c:v>
                </c:pt>
                <c:pt idx="46748">
                  <c:v>0.83374353486713004</c:v>
                </c:pt>
                <c:pt idx="46749">
                  <c:v>0.833761369716425</c:v>
                </c:pt>
                <c:pt idx="46750">
                  <c:v>0.83377920456572097</c:v>
                </c:pt>
                <c:pt idx="46751">
                  <c:v>0.83379703941501604</c:v>
                </c:pt>
                <c:pt idx="46752">
                  <c:v>0.833814874264312</c:v>
                </c:pt>
                <c:pt idx="46753">
                  <c:v>0.83383270911360796</c:v>
                </c:pt>
                <c:pt idx="46754">
                  <c:v>0.83385054396290303</c:v>
                </c:pt>
                <c:pt idx="46755">
                  <c:v>0.833868378812199</c:v>
                </c:pt>
                <c:pt idx="46756">
                  <c:v>0.83388621366149396</c:v>
                </c:pt>
                <c:pt idx="46757">
                  <c:v>0.83390404851079003</c:v>
                </c:pt>
                <c:pt idx="46758">
                  <c:v>0.83392188336008499</c:v>
                </c:pt>
                <c:pt idx="46759">
                  <c:v>0.83393971820938095</c:v>
                </c:pt>
                <c:pt idx="46760">
                  <c:v>0.83395755305867603</c:v>
                </c:pt>
                <c:pt idx="46761">
                  <c:v>0.83397538790797199</c:v>
                </c:pt>
                <c:pt idx="46762">
                  <c:v>0.83399322275726695</c:v>
                </c:pt>
                <c:pt idx="46763">
                  <c:v>0.83401105760656302</c:v>
                </c:pt>
                <c:pt idx="46764">
                  <c:v>0.83402889245585798</c:v>
                </c:pt>
                <c:pt idx="46765">
                  <c:v>0.83404672730515395</c:v>
                </c:pt>
                <c:pt idx="46766">
                  <c:v>0.83406456215444902</c:v>
                </c:pt>
                <c:pt idx="46767">
                  <c:v>0.83408239700374498</c:v>
                </c:pt>
                <c:pt idx="46768">
                  <c:v>0.83410023185304005</c:v>
                </c:pt>
                <c:pt idx="46769">
                  <c:v>0.83411806670233601</c:v>
                </c:pt>
                <c:pt idx="46770">
                  <c:v>0.83413590155163098</c:v>
                </c:pt>
                <c:pt idx="46771">
                  <c:v>0.83415373640092705</c:v>
                </c:pt>
                <c:pt idx="46772">
                  <c:v>0.83417157125022201</c:v>
                </c:pt>
                <c:pt idx="46773">
                  <c:v>0.83418940609951797</c:v>
                </c:pt>
                <c:pt idx="46774">
                  <c:v>0.83420724094881304</c:v>
                </c:pt>
                <c:pt idx="46775">
                  <c:v>0.83422507579810901</c:v>
                </c:pt>
                <c:pt idx="46776">
                  <c:v>0.83424291064740497</c:v>
                </c:pt>
                <c:pt idx="46777">
                  <c:v>0.83426074549670004</c:v>
                </c:pt>
                <c:pt idx="46778">
                  <c:v>0.834278580345996</c:v>
                </c:pt>
                <c:pt idx="46779">
                  <c:v>0.83429641519529096</c:v>
                </c:pt>
                <c:pt idx="46780">
                  <c:v>0.83431425004458704</c:v>
                </c:pt>
                <c:pt idx="46781">
                  <c:v>0.834332084893882</c:v>
                </c:pt>
                <c:pt idx="46782">
                  <c:v>0.83434991974317796</c:v>
                </c:pt>
                <c:pt idx="46783">
                  <c:v>0.83436775459247303</c:v>
                </c:pt>
                <c:pt idx="46784">
                  <c:v>0.83438558944176899</c:v>
                </c:pt>
                <c:pt idx="46785">
                  <c:v>0.83440342429106396</c:v>
                </c:pt>
                <c:pt idx="46786">
                  <c:v>0.83442125914036003</c:v>
                </c:pt>
                <c:pt idx="46787">
                  <c:v>0.83443909398965499</c:v>
                </c:pt>
                <c:pt idx="46788">
                  <c:v>0.83445692883895095</c:v>
                </c:pt>
                <c:pt idx="46789">
                  <c:v>0.83447476368824602</c:v>
                </c:pt>
                <c:pt idx="46790">
                  <c:v>0.83449259853754199</c:v>
                </c:pt>
                <c:pt idx="46791">
                  <c:v>0.83451043338683695</c:v>
                </c:pt>
                <c:pt idx="46792">
                  <c:v>0.83452826823613302</c:v>
                </c:pt>
                <c:pt idx="46793">
                  <c:v>0.83454610308542898</c:v>
                </c:pt>
                <c:pt idx="46794">
                  <c:v>0.83456393793472405</c:v>
                </c:pt>
                <c:pt idx="46795">
                  <c:v>0.83458177278402002</c:v>
                </c:pt>
                <c:pt idx="46796">
                  <c:v>0.83459960763331498</c:v>
                </c:pt>
                <c:pt idx="46797">
                  <c:v>0.83461744248261105</c:v>
                </c:pt>
                <c:pt idx="46798">
                  <c:v>0.83463527733190601</c:v>
                </c:pt>
                <c:pt idx="46799">
                  <c:v>0.83465311218120197</c:v>
                </c:pt>
                <c:pt idx="46800">
                  <c:v>0.83467094703049705</c:v>
                </c:pt>
                <c:pt idx="46801">
                  <c:v>0.83468878187979301</c:v>
                </c:pt>
                <c:pt idx="46802">
                  <c:v>0.83470661672908797</c:v>
                </c:pt>
                <c:pt idx="46803">
                  <c:v>0.83472445157838404</c:v>
                </c:pt>
                <c:pt idx="46804">
                  <c:v>0.834742286427679</c:v>
                </c:pt>
                <c:pt idx="46805">
                  <c:v>0.83476012127697496</c:v>
                </c:pt>
                <c:pt idx="46806">
                  <c:v>0.83477795612627004</c:v>
                </c:pt>
                <c:pt idx="46807">
                  <c:v>0.834795790975566</c:v>
                </c:pt>
                <c:pt idx="46808">
                  <c:v>0.83481362582486096</c:v>
                </c:pt>
                <c:pt idx="46809">
                  <c:v>0.83483146067415703</c:v>
                </c:pt>
                <c:pt idx="46810">
                  <c:v>0.834849295523452</c:v>
                </c:pt>
                <c:pt idx="46811">
                  <c:v>0.83486713037274796</c:v>
                </c:pt>
                <c:pt idx="46812">
                  <c:v>0.83488496522204303</c:v>
                </c:pt>
                <c:pt idx="46813">
                  <c:v>0.83490280007133899</c:v>
                </c:pt>
                <c:pt idx="46814">
                  <c:v>0.83492063492063495</c:v>
                </c:pt>
                <c:pt idx="46815">
                  <c:v>0.83493846976993003</c:v>
                </c:pt>
                <c:pt idx="46816">
                  <c:v>0.83495630461922599</c:v>
                </c:pt>
                <c:pt idx="46817">
                  <c:v>0.83497413946852095</c:v>
                </c:pt>
                <c:pt idx="46818">
                  <c:v>0.83499197431781702</c:v>
                </c:pt>
                <c:pt idx="46819">
                  <c:v>0.83500980916711198</c:v>
                </c:pt>
                <c:pt idx="46820">
                  <c:v>0.83502764401640805</c:v>
                </c:pt>
                <c:pt idx="46821">
                  <c:v>0.83504547886570302</c:v>
                </c:pt>
                <c:pt idx="46822">
                  <c:v>0.83506331371499898</c:v>
                </c:pt>
                <c:pt idx="46823">
                  <c:v>0.83508114856429405</c:v>
                </c:pt>
                <c:pt idx="46824">
                  <c:v>0.83509898341359001</c:v>
                </c:pt>
                <c:pt idx="46825">
                  <c:v>0.83511681826288497</c:v>
                </c:pt>
                <c:pt idx="46826">
                  <c:v>0.83513465311218105</c:v>
                </c:pt>
                <c:pt idx="46827">
                  <c:v>0.83515248796147601</c:v>
                </c:pt>
                <c:pt idx="46828">
                  <c:v>0.83517032281077197</c:v>
                </c:pt>
                <c:pt idx="46829">
                  <c:v>0.83518815766006704</c:v>
                </c:pt>
                <c:pt idx="46830">
                  <c:v>0.835205992509363</c:v>
                </c:pt>
                <c:pt idx="46831">
                  <c:v>0.83522382735865797</c:v>
                </c:pt>
                <c:pt idx="46832">
                  <c:v>0.83524166220795404</c:v>
                </c:pt>
                <c:pt idx="46833">
                  <c:v>0.835259497057249</c:v>
                </c:pt>
                <c:pt idx="46834">
                  <c:v>0.83527733190654496</c:v>
                </c:pt>
                <c:pt idx="46835">
                  <c:v>0.83529516675584004</c:v>
                </c:pt>
                <c:pt idx="46836">
                  <c:v>0.835313001605136</c:v>
                </c:pt>
                <c:pt idx="46837">
                  <c:v>0.83533083645443196</c:v>
                </c:pt>
                <c:pt idx="46838">
                  <c:v>0.83534867130372703</c:v>
                </c:pt>
                <c:pt idx="46839">
                  <c:v>0.83536650615302299</c:v>
                </c:pt>
                <c:pt idx="46840">
                  <c:v>0.83538434100231795</c:v>
                </c:pt>
                <c:pt idx="46841">
                  <c:v>0.83540217585161403</c:v>
                </c:pt>
                <c:pt idx="46842">
                  <c:v>0.83542001070090899</c:v>
                </c:pt>
                <c:pt idx="46843">
                  <c:v>0.83543784555020495</c:v>
                </c:pt>
                <c:pt idx="46844">
                  <c:v>0.83545568039950002</c:v>
                </c:pt>
                <c:pt idx="46845">
                  <c:v>0.83547351524879598</c:v>
                </c:pt>
                <c:pt idx="46846">
                  <c:v>0.83549135009809095</c:v>
                </c:pt>
                <c:pt idx="46847">
                  <c:v>0.83550918494738702</c:v>
                </c:pt>
                <c:pt idx="46848">
                  <c:v>0.83552701979668198</c:v>
                </c:pt>
                <c:pt idx="46849">
                  <c:v>0.83554485464597805</c:v>
                </c:pt>
                <c:pt idx="46850">
                  <c:v>0.83556268949527301</c:v>
                </c:pt>
                <c:pt idx="46851">
                  <c:v>0.83558052434456898</c:v>
                </c:pt>
                <c:pt idx="46852">
                  <c:v>0.83559835919386405</c:v>
                </c:pt>
                <c:pt idx="46853">
                  <c:v>0.83561619404316001</c:v>
                </c:pt>
                <c:pt idx="46854">
                  <c:v>0.83563402889245497</c:v>
                </c:pt>
                <c:pt idx="46855">
                  <c:v>0.83565186374175104</c:v>
                </c:pt>
                <c:pt idx="46856">
                  <c:v>0.83566969859104601</c:v>
                </c:pt>
                <c:pt idx="46857">
                  <c:v>0.83568753344034197</c:v>
                </c:pt>
                <c:pt idx="46858">
                  <c:v>0.83570536828963704</c:v>
                </c:pt>
                <c:pt idx="46859">
                  <c:v>0.835723203138933</c:v>
                </c:pt>
                <c:pt idx="46860">
                  <c:v>0.83574103798822896</c:v>
                </c:pt>
                <c:pt idx="46861">
                  <c:v>0.83575887283752404</c:v>
                </c:pt>
                <c:pt idx="46862">
                  <c:v>0.83577670768682</c:v>
                </c:pt>
                <c:pt idx="46863">
                  <c:v>0.83579454253611496</c:v>
                </c:pt>
                <c:pt idx="46864">
                  <c:v>0.83581237738541103</c:v>
                </c:pt>
                <c:pt idx="46865">
                  <c:v>0.83583021223470599</c:v>
                </c:pt>
                <c:pt idx="46866">
                  <c:v>0.83584804708400195</c:v>
                </c:pt>
                <c:pt idx="46867">
                  <c:v>0.83586588193329703</c:v>
                </c:pt>
                <c:pt idx="46868">
                  <c:v>0.83588371678259299</c:v>
                </c:pt>
                <c:pt idx="46869">
                  <c:v>0.83590155163188795</c:v>
                </c:pt>
                <c:pt idx="46870">
                  <c:v>0.83591938648118402</c:v>
                </c:pt>
                <c:pt idx="46871">
                  <c:v>0.83593722133047899</c:v>
                </c:pt>
                <c:pt idx="46872">
                  <c:v>0.83595505617977495</c:v>
                </c:pt>
                <c:pt idx="46873">
                  <c:v>0.83597289102907002</c:v>
                </c:pt>
                <c:pt idx="46874">
                  <c:v>0.83599072587836598</c:v>
                </c:pt>
                <c:pt idx="46875">
                  <c:v>0.83600856072766105</c:v>
                </c:pt>
                <c:pt idx="46876">
                  <c:v>0.83602639557695702</c:v>
                </c:pt>
                <c:pt idx="46877">
                  <c:v>0.83604423042625198</c:v>
                </c:pt>
                <c:pt idx="46878">
                  <c:v>0.83606206527554805</c:v>
                </c:pt>
                <c:pt idx="46879">
                  <c:v>0.83607990012484301</c:v>
                </c:pt>
                <c:pt idx="46880">
                  <c:v>0.83609773497413897</c:v>
                </c:pt>
                <c:pt idx="46881">
                  <c:v>0.83611556982343505</c:v>
                </c:pt>
                <c:pt idx="46882">
                  <c:v>0.83613340467273001</c:v>
                </c:pt>
                <c:pt idx="46883">
                  <c:v>0.83615123952202597</c:v>
                </c:pt>
                <c:pt idx="46884">
                  <c:v>0.83616907437132104</c:v>
                </c:pt>
                <c:pt idx="46885">
                  <c:v>0.836186909220617</c:v>
                </c:pt>
                <c:pt idx="46886">
                  <c:v>0.83620474406991196</c:v>
                </c:pt>
                <c:pt idx="46887">
                  <c:v>0.83622257891920804</c:v>
                </c:pt>
                <c:pt idx="46888">
                  <c:v>0.836240413768503</c:v>
                </c:pt>
                <c:pt idx="46889">
                  <c:v>0.83625824861779896</c:v>
                </c:pt>
                <c:pt idx="46890">
                  <c:v>0.83627608346709403</c:v>
                </c:pt>
                <c:pt idx="46891">
                  <c:v>0.83629391831638999</c:v>
                </c:pt>
                <c:pt idx="46892">
                  <c:v>0.83631175316568496</c:v>
                </c:pt>
                <c:pt idx="46893">
                  <c:v>0.83632958801498103</c:v>
                </c:pt>
                <c:pt idx="46894">
                  <c:v>0.83634742286427599</c:v>
                </c:pt>
                <c:pt idx="46895">
                  <c:v>0.83636525771357195</c:v>
                </c:pt>
                <c:pt idx="46896">
                  <c:v>0.83638309256286703</c:v>
                </c:pt>
                <c:pt idx="46897">
                  <c:v>0.83640092741216299</c:v>
                </c:pt>
                <c:pt idx="46898">
                  <c:v>0.83641876226145795</c:v>
                </c:pt>
                <c:pt idx="46899">
                  <c:v>0.83643659711075402</c:v>
                </c:pt>
                <c:pt idx="46900">
                  <c:v>0.83645443196004998</c:v>
                </c:pt>
                <c:pt idx="46901">
                  <c:v>0.83647226680934506</c:v>
                </c:pt>
                <c:pt idx="46902">
                  <c:v>0.83649010165864102</c:v>
                </c:pt>
                <c:pt idx="46903">
                  <c:v>0.83650793650793598</c:v>
                </c:pt>
                <c:pt idx="46904">
                  <c:v>0.83652577135723205</c:v>
                </c:pt>
                <c:pt idx="46905">
                  <c:v>0.83654360620652701</c:v>
                </c:pt>
                <c:pt idx="46906">
                  <c:v>0.83656144105582297</c:v>
                </c:pt>
                <c:pt idx="46907">
                  <c:v>0.83657927590511805</c:v>
                </c:pt>
                <c:pt idx="46908">
                  <c:v>0.83659711075441401</c:v>
                </c:pt>
                <c:pt idx="46909">
                  <c:v>0.83661494560370897</c:v>
                </c:pt>
                <c:pt idx="46910">
                  <c:v>0.83663278045300504</c:v>
                </c:pt>
                <c:pt idx="46911">
                  <c:v>0.8366506153023</c:v>
                </c:pt>
                <c:pt idx="46912">
                  <c:v>0.83666845015159597</c:v>
                </c:pt>
                <c:pt idx="46913">
                  <c:v>0.83668628500089104</c:v>
                </c:pt>
                <c:pt idx="46914">
                  <c:v>0.836704119850187</c:v>
                </c:pt>
                <c:pt idx="46915">
                  <c:v>0.83672195469948196</c:v>
                </c:pt>
                <c:pt idx="46916">
                  <c:v>0.83673978954877803</c:v>
                </c:pt>
                <c:pt idx="46917">
                  <c:v>0.836757624398073</c:v>
                </c:pt>
                <c:pt idx="46918">
                  <c:v>0.83677545924736896</c:v>
                </c:pt>
                <c:pt idx="46919">
                  <c:v>0.83679329409666403</c:v>
                </c:pt>
                <c:pt idx="46920">
                  <c:v>0.83681112894595999</c:v>
                </c:pt>
                <c:pt idx="46921">
                  <c:v>0.83682896379525595</c:v>
                </c:pt>
                <c:pt idx="46922">
                  <c:v>0.83684679864455103</c:v>
                </c:pt>
                <c:pt idx="46923">
                  <c:v>0.83686463349384699</c:v>
                </c:pt>
                <c:pt idx="46924">
                  <c:v>0.83688246834314195</c:v>
                </c:pt>
                <c:pt idx="46925">
                  <c:v>0.83690030319243802</c:v>
                </c:pt>
                <c:pt idx="46926">
                  <c:v>0.83691813804173298</c:v>
                </c:pt>
                <c:pt idx="46927">
                  <c:v>0.83693597289102895</c:v>
                </c:pt>
                <c:pt idx="46928">
                  <c:v>0.83695380774032402</c:v>
                </c:pt>
                <c:pt idx="46929">
                  <c:v>0.83697164258961998</c:v>
                </c:pt>
                <c:pt idx="46930">
                  <c:v>0.83698947743891505</c:v>
                </c:pt>
                <c:pt idx="46931">
                  <c:v>0.83700731228821101</c:v>
                </c:pt>
                <c:pt idx="46932">
                  <c:v>0.83702514713750598</c:v>
                </c:pt>
                <c:pt idx="46933">
                  <c:v>0.83704298198680205</c:v>
                </c:pt>
                <c:pt idx="46934">
                  <c:v>0.83706081683609701</c:v>
                </c:pt>
                <c:pt idx="46935">
                  <c:v>0.83707865168539297</c:v>
                </c:pt>
                <c:pt idx="46936">
                  <c:v>0.83709648653468804</c:v>
                </c:pt>
                <c:pt idx="46937">
                  <c:v>0.83711432138398401</c:v>
                </c:pt>
                <c:pt idx="46938">
                  <c:v>0.83713215623327897</c:v>
                </c:pt>
                <c:pt idx="46939">
                  <c:v>0.83714999108257504</c:v>
                </c:pt>
                <c:pt idx="46940">
                  <c:v>0.83716782593187</c:v>
                </c:pt>
                <c:pt idx="46941">
                  <c:v>0.83718566078116596</c:v>
                </c:pt>
                <c:pt idx="46942">
                  <c:v>0.83720349563046104</c:v>
                </c:pt>
                <c:pt idx="46943">
                  <c:v>0.837221330479757</c:v>
                </c:pt>
                <c:pt idx="46944">
                  <c:v>0.83723916532905296</c:v>
                </c:pt>
                <c:pt idx="46945">
                  <c:v>0.83725700017834803</c:v>
                </c:pt>
                <c:pt idx="46946">
                  <c:v>0.83727483502764399</c:v>
                </c:pt>
                <c:pt idx="46947">
                  <c:v>0.83729266987693896</c:v>
                </c:pt>
                <c:pt idx="46948">
                  <c:v>0.83731050472623503</c:v>
                </c:pt>
                <c:pt idx="46949">
                  <c:v>0.83732833957552999</c:v>
                </c:pt>
                <c:pt idx="46950">
                  <c:v>0.83734617442482595</c:v>
                </c:pt>
                <c:pt idx="46951">
                  <c:v>0.83736400927412102</c:v>
                </c:pt>
                <c:pt idx="46952">
                  <c:v>0.83738184412341699</c:v>
                </c:pt>
                <c:pt idx="46953">
                  <c:v>0.83739967897271195</c:v>
                </c:pt>
                <c:pt idx="46954">
                  <c:v>0.83741751382200802</c:v>
                </c:pt>
                <c:pt idx="46955">
                  <c:v>0.83743534867130298</c:v>
                </c:pt>
                <c:pt idx="46956">
                  <c:v>0.83745318352059905</c:v>
                </c:pt>
                <c:pt idx="46957">
                  <c:v>0.83747101836989402</c:v>
                </c:pt>
                <c:pt idx="46958">
                  <c:v>0.83748885321918998</c:v>
                </c:pt>
                <c:pt idx="46959">
                  <c:v>0.83750668806848505</c:v>
                </c:pt>
                <c:pt idx="46960">
                  <c:v>0.83752452291778101</c:v>
                </c:pt>
                <c:pt idx="46961">
                  <c:v>0.83754235776707597</c:v>
                </c:pt>
                <c:pt idx="46962">
                  <c:v>0.83756019261637205</c:v>
                </c:pt>
                <c:pt idx="46963">
                  <c:v>0.83757802746566701</c:v>
                </c:pt>
                <c:pt idx="46964">
                  <c:v>0.83759586231496297</c:v>
                </c:pt>
                <c:pt idx="46965">
                  <c:v>0.83761369716425804</c:v>
                </c:pt>
                <c:pt idx="46966">
                  <c:v>0.837631532013554</c:v>
                </c:pt>
                <c:pt idx="46967">
                  <c:v>0.83764936686284996</c:v>
                </c:pt>
                <c:pt idx="46968">
                  <c:v>0.83766720171214504</c:v>
                </c:pt>
                <c:pt idx="46969">
                  <c:v>0.837685036561441</c:v>
                </c:pt>
                <c:pt idx="46970">
                  <c:v>0.83770287141073596</c:v>
                </c:pt>
                <c:pt idx="46971">
                  <c:v>0.83772070626003203</c:v>
                </c:pt>
                <c:pt idx="46972">
                  <c:v>0.837738541109327</c:v>
                </c:pt>
                <c:pt idx="46973">
                  <c:v>0.83775637595862296</c:v>
                </c:pt>
                <c:pt idx="46974">
                  <c:v>0.83777421080791803</c:v>
                </c:pt>
                <c:pt idx="46975">
                  <c:v>0.83779204565721399</c:v>
                </c:pt>
                <c:pt idx="46976">
                  <c:v>0.83780988050650895</c:v>
                </c:pt>
                <c:pt idx="46977">
                  <c:v>0.83782771535580502</c:v>
                </c:pt>
                <c:pt idx="46978">
                  <c:v>0.83784555020509999</c:v>
                </c:pt>
                <c:pt idx="46979">
                  <c:v>0.83786338505439595</c:v>
                </c:pt>
                <c:pt idx="46980">
                  <c:v>0.83788121990369102</c:v>
                </c:pt>
                <c:pt idx="46981">
                  <c:v>0.83789905475298698</c:v>
                </c:pt>
                <c:pt idx="46982">
                  <c:v>0.83791688960228194</c:v>
                </c:pt>
                <c:pt idx="46983">
                  <c:v>0.83793472445157802</c:v>
                </c:pt>
                <c:pt idx="46984">
                  <c:v>0.83795255930087298</c:v>
                </c:pt>
                <c:pt idx="46985">
                  <c:v>0.83797039415016905</c:v>
                </c:pt>
                <c:pt idx="46986">
                  <c:v>0.83798822899946401</c:v>
                </c:pt>
                <c:pt idx="46987">
                  <c:v>0.83800606384875997</c:v>
                </c:pt>
                <c:pt idx="46988">
                  <c:v>0.83802389869805605</c:v>
                </c:pt>
                <c:pt idx="46989">
                  <c:v>0.83804173354735101</c:v>
                </c:pt>
                <c:pt idx="46990">
                  <c:v>0.83805956839664697</c:v>
                </c:pt>
                <c:pt idx="46991">
                  <c:v>0.83807740324594204</c:v>
                </c:pt>
                <c:pt idx="46992">
                  <c:v>0.838095238095238</c:v>
                </c:pt>
                <c:pt idx="46993">
                  <c:v>0.83811307294453297</c:v>
                </c:pt>
                <c:pt idx="46994">
                  <c:v>0.83813090779382904</c:v>
                </c:pt>
                <c:pt idx="46995">
                  <c:v>0.838148742643124</c:v>
                </c:pt>
                <c:pt idx="46996">
                  <c:v>0.83816657749241996</c:v>
                </c:pt>
                <c:pt idx="46997">
                  <c:v>0.83818441234171503</c:v>
                </c:pt>
                <c:pt idx="46998">
                  <c:v>0.838202247191011</c:v>
                </c:pt>
                <c:pt idx="46999">
                  <c:v>0.83822008204030596</c:v>
                </c:pt>
                <c:pt idx="47000">
                  <c:v>0.83823791688960203</c:v>
                </c:pt>
                <c:pt idx="47001">
                  <c:v>0.83825575173889699</c:v>
                </c:pt>
                <c:pt idx="47002">
                  <c:v>0.83827358658819295</c:v>
                </c:pt>
                <c:pt idx="47003">
                  <c:v>0.83829142143748803</c:v>
                </c:pt>
                <c:pt idx="47004">
                  <c:v>0.83830925628678399</c:v>
                </c:pt>
                <c:pt idx="47005">
                  <c:v>0.83832709113607995</c:v>
                </c:pt>
                <c:pt idx="47006">
                  <c:v>0.83834492598537502</c:v>
                </c:pt>
                <c:pt idx="47007">
                  <c:v>0.83836276083467098</c:v>
                </c:pt>
                <c:pt idx="47008">
                  <c:v>0.83838059568396595</c:v>
                </c:pt>
                <c:pt idx="47009">
                  <c:v>0.83839843053326202</c:v>
                </c:pt>
                <c:pt idx="47010">
                  <c:v>0.83841626538255698</c:v>
                </c:pt>
                <c:pt idx="47011">
                  <c:v>0.83843410023185305</c:v>
                </c:pt>
                <c:pt idx="47012">
                  <c:v>0.83845193508114801</c:v>
                </c:pt>
                <c:pt idx="47013">
                  <c:v>0.83846976993044398</c:v>
                </c:pt>
                <c:pt idx="47014">
                  <c:v>0.83848760477973905</c:v>
                </c:pt>
                <c:pt idx="47015">
                  <c:v>0.83850543962903501</c:v>
                </c:pt>
                <c:pt idx="47016">
                  <c:v>0.83852327447832997</c:v>
                </c:pt>
                <c:pt idx="47017">
                  <c:v>0.83854110932762604</c:v>
                </c:pt>
                <c:pt idx="47018">
                  <c:v>0.83855894417692101</c:v>
                </c:pt>
                <c:pt idx="47019">
                  <c:v>0.83857677902621697</c:v>
                </c:pt>
                <c:pt idx="47020">
                  <c:v>0.83859461387551204</c:v>
                </c:pt>
                <c:pt idx="47021">
                  <c:v>0.838612448724808</c:v>
                </c:pt>
                <c:pt idx="47022">
                  <c:v>0.83863028357410296</c:v>
                </c:pt>
                <c:pt idx="47023">
                  <c:v>0.83864811842339904</c:v>
                </c:pt>
                <c:pt idx="47024">
                  <c:v>0.838665953272694</c:v>
                </c:pt>
                <c:pt idx="47025">
                  <c:v>0.83868378812198996</c:v>
                </c:pt>
                <c:pt idx="47026">
                  <c:v>0.83870162297128503</c:v>
                </c:pt>
                <c:pt idx="47027">
                  <c:v>0.83871945782058099</c:v>
                </c:pt>
                <c:pt idx="47028">
                  <c:v>0.83873729266987695</c:v>
                </c:pt>
                <c:pt idx="47029">
                  <c:v>0.83875512751917203</c:v>
                </c:pt>
                <c:pt idx="47030">
                  <c:v>0.83877296236846799</c:v>
                </c:pt>
                <c:pt idx="47031">
                  <c:v>0.83879079721776295</c:v>
                </c:pt>
                <c:pt idx="47032">
                  <c:v>0.83880863206705902</c:v>
                </c:pt>
                <c:pt idx="47033">
                  <c:v>0.83882646691635399</c:v>
                </c:pt>
                <c:pt idx="47034">
                  <c:v>0.83884430176564995</c:v>
                </c:pt>
                <c:pt idx="47035">
                  <c:v>0.83886213661494502</c:v>
                </c:pt>
                <c:pt idx="47036">
                  <c:v>0.83887997146424098</c:v>
                </c:pt>
                <c:pt idx="47037">
                  <c:v>0.83889780631353605</c:v>
                </c:pt>
                <c:pt idx="47038">
                  <c:v>0.83891564116283202</c:v>
                </c:pt>
                <c:pt idx="47039">
                  <c:v>0.83893347601212698</c:v>
                </c:pt>
                <c:pt idx="47040">
                  <c:v>0.83895131086142305</c:v>
                </c:pt>
                <c:pt idx="47041">
                  <c:v>0.83896914571071801</c:v>
                </c:pt>
                <c:pt idx="47042">
                  <c:v>0.83898698056001397</c:v>
                </c:pt>
                <c:pt idx="47043">
                  <c:v>0.83900481540930905</c:v>
                </c:pt>
                <c:pt idx="47044">
                  <c:v>0.83902265025860501</c:v>
                </c:pt>
                <c:pt idx="47045">
                  <c:v>0.83904048510789997</c:v>
                </c:pt>
                <c:pt idx="47046">
                  <c:v>0.83905831995719604</c:v>
                </c:pt>
                <c:pt idx="47047">
                  <c:v>0.839076154806491</c:v>
                </c:pt>
                <c:pt idx="47048">
                  <c:v>0.83909398965578696</c:v>
                </c:pt>
                <c:pt idx="47049">
                  <c:v>0.83911182450508204</c:v>
                </c:pt>
                <c:pt idx="47050">
                  <c:v>0.839129659354378</c:v>
                </c:pt>
                <c:pt idx="47051">
                  <c:v>0.83914749420367396</c:v>
                </c:pt>
                <c:pt idx="47052">
                  <c:v>0.83916532905296903</c:v>
                </c:pt>
                <c:pt idx="47053">
                  <c:v>0.83918316390226499</c:v>
                </c:pt>
                <c:pt idx="47054">
                  <c:v>0.83920099875155996</c:v>
                </c:pt>
                <c:pt idx="47055">
                  <c:v>0.83921883360085603</c:v>
                </c:pt>
                <c:pt idx="47056">
                  <c:v>0.83923666845015099</c:v>
                </c:pt>
                <c:pt idx="47057">
                  <c:v>0.83925450329944695</c:v>
                </c:pt>
                <c:pt idx="47058">
                  <c:v>0.83927233814874203</c:v>
                </c:pt>
                <c:pt idx="47059">
                  <c:v>0.83929017299803799</c:v>
                </c:pt>
                <c:pt idx="47060">
                  <c:v>0.83930800784733295</c:v>
                </c:pt>
                <c:pt idx="47061">
                  <c:v>0.83932584269662902</c:v>
                </c:pt>
                <c:pt idx="47062">
                  <c:v>0.83934367754592398</c:v>
                </c:pt>
                <c:pt idx="47063">
                  <c:v>0.83936151239522006</c:v>
                </c:pt>
                <c:pt idx="47064">
                  <c:v>0.83937934724451502</c:v>
                </c:pt>
                <c:pt idx="47065">
                  <c:v>0.83939718209381098</c:v>
                </c:pt>
                <c:pt idx="47066">
                  <c:v>0.83941501694310605</c:v>
                </c:pt>
                <c:pt idx="47067">
                  <c:v>0.83943285179240201</c:v>
                </c:pt>
                <c:pt idx="47068">
                  <c:v>0.83945068664169697</c:v>
                </c:pt>
                <c:pt idx="47069">
                  <c:v>0.83946852149099305</c:v>
                </c:pt>
                <c:pt idx="47070">
                  <c:v>0.83948635634028801</c:v>
                </c:pt>
                <c:pt idx="47071">
                  <c:v>0.83950419118958397</c:v>
                </c:pt>
                <c:pt idx="47072">
                  <c:v>0.83952202603887904</c:v>
                </c:pt>
                <c:pt idx="47073">
                  <c:v>0.839539860888175</c:v>
                </c:pt>
                <c:pt idx="47074">
                  <c:v>0.83955769573747097</c:v>
                </c:pt>
                <c:pt idx="47075">
                  <c:v>0.83957553058676604</c:v>
                </c:pt>
                <c:pt idx="47076">
                  <c:v>0.839593365436062</c:v>
                </c:pt>
                <c:pt idx="47077">
                  <c:v>0.83961120028535696</c:v>
                </c:pt>
                <c:pt idx="47078">
                  <c:v>0.83962903513465303</c:v>
                </c:pt>
                <c:pt idx="47079">
                  <c:v>0.839646869983948</c:v>
                </c:pt>
                <c:pt idx="47080">
                  <c:v>0.83966470483324396</c:v>
                </c:pt>
                <c:pt idx="47081">
                  <c:v>0.83968253968253903</c:v>
                </c:pt>
                <c:pt idx="47082">
                  <c:v>0.83970037453183499</c:v>
                </c:pt>
                <c:pt idx="47083">
                  <c:v>0.83971820938112995</c:v>
                </c:pt>
                <c:pt idx="47084">
                  <c:v>0.83973604423042603</c:v>
                </c:pt>
                <c:pt idx="47085">
                  <c:v>0.83975387907972099</c:v>
                </c:pt>
                <c:pt idx="47086">
                  <c:v>0.83977171392901695</c:v>
                </c:pt>
                <c:pt idx="47087">
                  <c:v>0.83978954877831202</c:v>
                </c:pt>
                <c:pt idx="47088">
                  <c:v>0.83980738362760798</c:v>
                </c:pt>
                <c:pt idx="47089">
                  <c:v>0.83982521847690295</c:v>
                </c:pt>
                <c:pt idx="47090">
                  <c:v>0.83984305332619902</c:v>
                </c:pt>
                <c:pt idx="47091">
                  <c:v>0.83986088817549398</c:v>
                </c:pt>
                <c:pt idx="47092">
                  <c:v>0.83987872302479005</c:v>
                </c:pt>
                <c:pt idx="47093">
                  <c:v>0.83989655787408601</c:v>
                </c:pt>
                <c:pt idx="47094">
                  <c:v>0.83991439272338098</c:v>
                </c:pt>
                <c:pt idx="47095">
                  <c:v>0.83993222757267705</c:v>
                </c:pt>
                <c:pt idx="47096">
                  <c:v>0.83995006242197201</c:v>
                </c:pt>
                <c:pt idx="47097">
                  <c:v>0.83996789727126797</c:v>
                </c:pt>
                <c:pt idx="47098">
                  <c:v>0.83998573212056304</c:v>
                </c:pt>
                <c:pt idx="47099">
                  <c:v>0.84000356696985901</c:v>
                </c:pt>
                <c:pt idx="47100">
                  <c:v>0.84002140181915397</c:v>
                </c:pt>
                <c:pt idx="47101">
                  <c:v>0.84003923666845004</c:v>
                </c:pt>
                <c:pt idx="47102">
                  <c:v>0.840057071517745</c:v>
                </c:pt>
                <c:pt idx="47103">
                  <c:v>0.84007490636704096</c:v>
                </c:pt>
                <c:pt idx="47104">
                  <c:v>0.84009274121633604</c:v>
                </c:pt>
                <c:pt idx="47105">
                  <c:v>0.840110576065632</c:v>
                </c:pt>
                <c:pt idx="47106">
                  <c:v>0.84012841091492696</c:v>
                </c:pt>
                <c:pt idx="47107">
                  <c:v>0.84014624576422303</c:v>
                </c:pt>
                <c:pt idx="47108">
                  <c:v>0.84016408061351799</c:v>
                </c:pt>
                <c:pt idx="47109">
                  <c:v>0.84018191546281396</c:v>
                </c:pt>
                <c:pt idx="47110">
                  <c:v>0.84019975031210903</c:v>
                </c:pt>
                <c:pt idx="47111">
                  <c:v>0.84021758516140499</c:v>
                </c:pt>
                <c:pt idx="47112">
                  <c:v>0.84023542001070095</c:v>
                </c:pt>
                <c:pt idx="47113">
                  <c:v>0.84025325485999602</c:v>
                </c:pt>
                <c:pt idx="47114">
                  <c:v>0.84027108970929199</c:v>
                </c:pt>
                <c:pt idx="47115">
                  <c:v>0.84028892455858695</c:v>
                </c:pt>
                <c:pt idx="47116">
                  <c:v>0.84030675940788302</c:v>
                </c:pt>
                <c:pt idx="47117">
                  <c:v>0.84032459425717798</c:v>
                </c:pt>
                <c:pt idx="47118">
                  <c:v>0.84034242910647405</c:v>
                </c:pt>
                <c:pt idx="47119">
                  <c:v>0.84036026395576902</c:v>
                </c:pt>
                <c:pt idx="47120">
                  <c:v>0.84037809880506498</c:v>
                </c:pt>
                <c:pt idx="47121">
                  <c:v>0.84039593365436005</c:v>
                </c:pt>
                <c:pt idx="47122">
                  <c:v>0.84041376850365601</c:v>
                </c:pt>
                <c:pt idx="47123">
                  <c:v>0.84043160335295097</c:v>
                </c:pt>
                <c:pt idx="47124">
                  <c:v>0.84044943820224705</c:v>
                </c:pt>
                <c:pt idx="47125">
                  <c:v>0.84046727305154201</c:v>
                </c:pt>
                <c:pt idx="47126">
                  <c:v>0.84048510790083797</c:v>
                </c:pt>
                <c:pt idx="47127">
                  <c:v>0.84050294275013304</c:v>
                </c:pt>
                <c:pt idx="47128">
                  <c:v>0.840520777599429</c:v>
                </c:pt>
                <c:pt idx="47129">
                  <c:v>0.84053861244872397</c:v>
                </c:pt>
                <c:pt idx="47130">
                  <c:v>0.84055644729802004</c:v>
                </c:pt>
                <c:pt idx="47131">
                  <c:v>0.840574282147315</c:v>
                </c:pt>
                <c:pt idx="47132">
                  <c:v>0.84059211699661096</c:v>
                </c:pt>
                <c:pt idx="47133">
                  <c:v>0.84060995184590603</c:v>
                </c:pt>
                <c:pt idx="47134">
                  <c:v>0.840627786695202</c:v>
                </c:pt>
                <c:pt idx="47135">
                  <c:v>0.84064562154449796</c:v>
                </c:pt>
                <c:pt idx="47136">
                  <c:v>0.84066345639379303</c:v>
                </c:pt>
                <c:pt idx="47137">
                  <c:v>0.84068129124308899</c:v>
                </c:pt>
                <c:pt idx="47138">
                  <c:v>0.84069912609238395</c:v>
                </c:pt>
                <c:pt idx="47139">
                  <c:v>0.84071696094168002</c:v>
                </c:pt>
                <c:pt idx="47140">
                  <c:v>0.84073479579097499</c:v>
                </c:pt>
                <c:pt idx="47141">
                  <c:v>0.84075263064027095</c:v>
                </c:pt>
                <c:pt idx="47142">
                  <c:v>0.84077046548956602</c:v>
                </c:pt>
                <c:pt idx="47143">
                  <c:v>0.84078830033886198</c:v>
                </c:pt>
                <c:pt idx="47144">
                  <c:v>0.84080613518815694</c:v>
                </c:pt>
                <c:pt idx="47145">
                  <c:v>0.84082397003745302</c:v>
                </c:pt>
                <c:pt idx="47146">
                  <c:v>0.84084180488674798</c:v>
                </c:pt>
                <c:pt idx="47147">
                  <c:v>0.84085963973604405</c:v>
                </c:pt>
                <c:pt idx="47148">
                  <c:v>0.84087747458533901</c:v>
                </c:pt>
                <c:pt idx="47149">
                  <c:v>0.84089530943463497</c:v>
                </c:pt>
                <c:pt idx="47150">
                  <c:v>0.84091314428393005</c:v>
                </c:pt>
                <c:pt idx="47151">
                  <c:v>0.84093097913322601</c:v>
                </c:pt>
                <c:pt idx="47152">
                  <c:v>0.84094881398252097</c:v>
                </c:pt>
                <c:pt idx="47153">
                  <c:v>0.84096664883181704</c:v>
                </c:pt>
                <c:pt idx="47154">
                  <c:v>0.84098448368111201</c:v>
                </c:pt>
                <c:pt idx="47155">
                  <c:v>0.84100231853040797</c:v>
                </c:pt>
                <c:pt idx="47156">
                  <c:v>0.84102015337970304</c:v>
                </c:pt>
                <c:pt idx="47157">
                  <c:v>0.841037988228999</c:v>
                </c:pt>
                <c:pt idx="47158">
                  <c:v>0.84105582307829496</c:v>
                </c:pt>
                <c:pt idx="47159">
                  <c:v>0.84107365792759003</c:v>
                </c:pt>
                <c:pt idx="47160">
                  <c:v>0.841091492776886</c:v>
                </c:pt>
                <c:pt idx="47161">
                  <c:v>0.84110932762618096</c:v>
                </c:pt>
                <c:pt idx="47162">
                  <c:v>0.84112716247547703</c:v>
                </c:pt>
                <c:pt idx="47163">
                  <c:v>0.84114499732477199</c:v>
                </c:pt>
                <c:pt idx="47164">
                  <c:v>0.84116283217406795</c:v>
                </c:pt>
                <c:pt idx="47165">
                  <c:v>0.84118066702336303</c:v>
                </c:pt>
                <c:pt idx="47166">
                  <c:v>0.84119850187265899</c:v>
                </c:pt>
                <c:pt idx="47167">
                  <c:v>0.84121633672195395</c:v>
                </c:pt>
                <c:pt idx="47168">
                  <c:v>0.84123417157125002</c:v>
                </c:pt>
                <c:pt idx="47169">
                  <c:v>0.84125200642054498</c:v>
                </c:pt>
                <c:pt idx="47170">
                  <c:v>0.84126984126984095</c:v>
                </c:pt>
                <c:pt idx="47171">
                  <c:v>0.84128767611913602</c:v>
                </c:pt>
                <c:pt idx="47172">
                  <c:v>0.84130551096843198</c:v>
                </c:pt>
                <c:pt idx="47173">
                  <c:v>0.84132334581772705</c:v>
                </c:pt>
                <c:pt idx="47174">
                  <c:v>0.84134118066702301</c:v>
                </c:pt>
                <c:pt idx="47175">
                  <c:v>0.84135901551631798</c:v>
                </c:pt>
                <c:pt idx="47176">
                  <c:v>0.84137685036561405</c:v>
                </c:pt>
                <c:pt idx="47177">
                  <c:v>0.84139468521490901</c:v>
                </c:pt>
                <c:pt idx="47178">
                  <c:v>0.84141252006420497</c:v>
                </c:pt>
                <c:pt idx="47179">
                  <c:v>0.84143035491350004</c:v>
                </c:pt>
                <c:pt idx="47180">
                  <c:v>0.84144818976279601</c:v>
                </c:pt>
                <c:pt idx="47181">
                  <c:v>0.84146602461209197</c:v>
                </c:pt>
                <c:pt idx="47182">
                  <c:v>0.84148385946138704</c:v>
                </c:pt>
                <c:pt idx="47183">
                  <c:v>0.841501694310683</c:v>
                </c:pt>
                <c:pt idx="47184">
                  <c:v>0.84151952915997796</c:v>
                </c:pt>
                <c:pt idx="47185">
                  <c:v>0.84153736400927404</c:v>
                </c:pt>
                <c:pt idx="47186">
                  <c:v>0.841555198858569</c:v>
                </c:pt>
                <c:pt idx="47187">
                  <c:v>0.84157303370786496</c:v>
                </c:pt>
                <c:pt idx="47188">
                  <c:v>0.84159086855716003</c:v>
                </c:pt>
                <c:pt idx="47189">
                  <c:v>0.84160870340645599</c:v>
                </c:pt>
                <c:pt idx="47190">
                  <c:v>0.84162653825575096</c:v>
                </c:pt>
                <c:pt idx="47191">
                  <c:v>0.84164437310504703</c:v>
                </c:pt>
                <c:pt idx="47192">
                  <c:v>0.84166220795434199</c:v>
                </c:pt>
                <c:pt idx="47193">
                  <c:v>0.84168004280363795</c:v>
                </c:pt>
                <c:pt idx="47194">
                  <c:v>0.84169787765293302</c:v>
                </c:pt>
                <c:pt idx="47195">
                  <c:v>0.84171571250222899</c:v>
                </c:pt>
                <c:pt idx="47196">
                  <c:v>0.84173354735152395</c:v>
                </c:pt>
                <c:pt idx="47197">
                  <c:v>0.84175138220082002</c:v>
                </c:pt>
                <c:pt idx="47198">
                  <c:v>0.84176921705011598</c:v>
                </c:pt>
                <c:pt idx="47199">
                  <c:v>0.84178705189941105</c:v>
                </c:pt>
                <c:pt idx="47200">
                  <c:v>0.84180488674870702</c:v>
                </c:pt>
                <c:pt idx="47201">
                  <c:v>0.84182272159800198</c:v>
                </c:pt>
                <c:pt idx="47202">
                  <c:v>0.84184055644729805</c:v>
                </c:pt>
                <c:pt idx="47203">
                  <c:v>0.84185839129659301</c:v>
                </c:pt>
                <c:pt idx="47204">
                  <c:v>0.84187622614588897</c:v>
                </c:pt>
                <c:pt idx="47205">
                  <c:v>0.84189406099518405</c:v>
                </c:pt>
                <c:pt idx="47206">
                  <c:v>0.84191189584448001</c:v>
                </c:pt>
                <c:pt idx="47207">
                  <c:v>0.84192973069377497</c:v>
                </c:pt>
                <c:pt idx="47208">
                  <c:v>0.84194756554307104</c:v>
                </c:pt>
                <c:pt idx="47209">
                  <c:v>0.841965400392366</c:v>
                </c:pt>
                <c:pt idx="47210">
                  <c:v>0.84198323524166196</c:v>
                </c:pt>
                <c:pt idx="47211">
                  <c:v>0.84200107009095704</c:v>
                </c:pt>
                <c:pt idx="47212">
                  <c:v>0.842018904940253</c:v>
                </c:pt>
                <c:pt idx="47213">
                  <c:v>0.84203673978954796</c:v>
                </c:pt>
                <c:pt idx="47214">
                  <c:v>0.84205457463884403</c:v>
                </c:pt>
                <c:pt idx="47215">
                  <c:v>0.842072409488139</c:v>
                </c:pt>
                <c:pt idx="47216">
                  <c:v>0.84209024433743496</c:v>
                </c:pt>
                <c:pt idx="47217">
                  <c:v>0.84210807918673003</c:v>
                </c:pt>
                <c:pt idx="47218">
                  <c:v>0.84212591403602599</c:v>
                </c:pt>
                <c:pt idx="47219">
                  <c:v>0.84214374888532195</c:v>
                </c:pt>
                <c:pt idx="47220">
                  <c:v>0.84216158373461703</c:v>
                </c:pt>
                <c:pt idx="47221">
                  <c:v>0.84217941858391299</c:v>
                </c:pt>
                <c:pt idx="47222">
                  <c:v>0.84219725343320795</c:v>
                </c:pt>
                <c:pt idx="47223">
                  <c:v>0.84221508828250402</c:v>
                </c:pt>
                <c:pt idx="47224">
                  <c:v>0.84223292313179898</c:v>
                </c:pt>
                <c:pt idx="47225">
                  <c:v>0.84225075798109506</c:v>
                </c:pt>
                <c:pt idx="47226">
                  <c:v>0.84226859283039002</c:v>
                </c:pt>
                <c:pt idx="47227">
                  <c:v>0.84228642767968598</c:v>
                </c:pt>
                <c:pt idx="47228">
                  <c:v>0.84230426252898105</c:v>
                </c:pt>
                <c:pt idx="47229">
                  <c:v>0.84232209737827701</c:v>
                </c:pt>
                <c:pt idx="47230">
                  <c:v>0.84233993222757197</c:v>
                </c:pt>
                <c:pt idx="47231">
                  <c:v>0.84235776707686805</c:v>
                </c:pt>
                <c:pt idx="47232">
                  <c:v>0.84237560192616301</c:v>
                </c:pt>
                <c:pt idx="47233">
                  <c:v>0.84239343677545897</c:v>
                </c:pt>
                <c:pt idx="47234">
                  <c:v>0.84241127162475404</c:v>
                </c:pt>
                <c:pt idx="47235">
                  <c:v>0.84242910647405</c:v>
                </c:pt>
                <c:pt idx="47236">
                  <c:v>0.84244694132334497</c:v>
                </c:pt>
                <c:pt idx="47237">
                  <c:v>0.84246477617264104</c:v>
                </c:pt>
                <c:pt idx="47238">
                  <c:v>0.842482611021936</c:v>
                </c:pt>
                <c:pt idx="47239">
                  <c:v>0.84250044587123196</c:v>
                </c:pt>
                <c:pt idx="47240">
                  <c:v>0.84251828072052704</c:v>
                </c:pt>
                <c:pt idx="47241">
                  <c:v>0.842536115569823</c:v>
                </c:pt>
                <c:pt idx="47242">
                  <c:v>0.84255395041911896</c:v>
                </c:pt>
                <c:pt idx="47243">
                  <c:v>0.84257178526841403</c:v>
                </c:pt>
                <c:pt idx="47244">
                  <c:v>0.84258962011770999</c:v>
                </c:pt>
                <c:pt idx="47245">
                  <c:v>0.84260745496700495</c:v>
                </c:pt>
                <c:pt idx="47246">
                  <c:v>0.84262528981630103</c:v>
                </c:pt>
                <c:pt idx="47247">
                  <c:v>0.84264312466559599</c:v>
                </c:pt>
                <c:pt idx="47248">
                  <c:v>0.84266095951489195</c:v>
                </c:pt>
                <c:pt idx="47249">
                  <c:v>0.84267879436418702</c:v>
                </c:pt>
                <c:pt idx="47250">
                  <c:v>0.84269662921348298</c:v>
                </c:pt>
                <c:pt idx="47251">
                  <c:v>0.84271446406277795</c:v>
                </c:pt>
                <c:pt idx="47252">
                  <c:v>0.84273229891207402</c:v>
                </c:pt>
                <c:pt idx="47253">
                  <c:v>0.84275013376136898</c:v>
                </c:pt>
                <c:pt idx="47254">
                  <c:v>0.84276796861066505</c:v>
                </c:pt>
                <c:pt idx="47255">
                  <c:v>0.84278580345996001</c:v>
                </c:pt>
                <c:pt idx="47256">
                  <c:v>0.84280363830925598</c:v>
                </c:pt>
                <c:pt idx="47257">
                  <c:v>0.84282147315855105</c:v>
                </c:pt>
                <c:pt idx="47258">
                  <c:v>0.84283930800784701</c:v>
                </c:pt>
                <c:pt idx="47259">
                  <c:v>0.84285714285714197</c:v>
                </c:pt>
                <c:pt idx="47260">
                  <c:v>0.84287497770643804</c:v>
                </c:pt>
                <c:pt idx="47261">
                  <c:v>0.84289281255573301</c:v>
                </c:pt>
                <c:pt idx="47262">
                  <c:v>0.84291064740502897</c:v>
                </c:pt>
                <c:pt idx="47263">
                  <c:v>0.84292848225432404</c:v>
                </c:pt>
                <c:pt idx="47264">
                  <c:v>0.84294631710362</c:v>
                </c:pt>
                <c:pt idx="47265">
                  <c:v>0.84296415195291596</c:v>
                </c:pt>
                <c:pt idx="47266">
                  <c:v>0.84298198680221104</c:v>
                </c:pt>
                <c:pt idx="47267">
                  <c:v>0.842999821651507</c:v>
                </c:pt>
                <c:pt idx="47268">
                  <c:v>0.84301765650080196</c:v>
                </c:pt>
                <c:pt idx="47269">
                  <c:v>0.84303549135009803</c:v>
                </c:pt>
                <c:pt idx="47270">
                  <c:v>0.84305332619939299</c:v>
                </c:pt>
                <c:pt idx="47271">
                  <c:v>0.84307116104868896</c:v>
                </c:pt>
                <c:pt idx="47272">
                  <c:v>0.84308899589798403</c:v>
                </c:pt>
                <c:pt idx="47273">
                  <c:v>0.84310683074727999</c:v>
                </c:pt>
                <c:pt idx="47274">
                  <c:v>0.84312466559657495</c:v>
                </c:pt>
                <c:pt idx="47275">
                  <c:v>0.84314250044587102</c:v>
                </c:pt>
                <c:pt idx="47276">
                  <c:v>0.84316033529516599</c:v>
                </c:pt>
                <c:pt idx="47277">
                  <c:v>0.84317817014446195</c:v>
                </c:pt>
                <c:pt idx="47278">
                  <c:v>0.84319600499375702</c:v>
                </c:pt>
                <c:pt idx="47279">
                  <c:v>0.84321383984305298</c:v>
                </c:pt>
                <c:pt idx="47280">
                  <c:v>0.84323167469234805</c:v>
                </c:pt>
                <c:pt idx="47281">
                  <c:v>0.84324950954164402</c:v>
                </c:pt>
                <c:pt idx="47282">
                  <c:v>0.84326734439093898</c:v>
                </c:pt>
                <c:pt idx="47283">
                  <c:v>0.84328517924023505</c:v>
                </c:pt>
                <c:pt idx="47284">
                  <c:v>0.84330301408953001</c:v>
                </c:pt>
                <c:pt idx="47285">
                  <c:v>0.84332084893882597</c:v>
                </c:pt>
                <c:pt idx="47286">
                  <c:v>0.84333868378812205</c:v>
                </c:pt>
                <c:pt idx="47287">
                  <c:v>0.84335651863741701</c:v>
                </c:pt>
                <c:pt idx="47288">
                  <c:v>0.84337435348671297</c:v>
                </c:pt>
                <c:pt idx="47289">
                  <c:v>0.84339218833600804</c:v>
                </c:pt>
                <c:pt idx="47290">
                  <c:v>0.843410023185304</c:v>
                </c:pt>
                <c:pt idx="47291">
                  <c:v>0.84342785803459897</c:v>
                </c:pt>
                <c:pt idx="47292">
                  <c:v>0.84344569288389504</c:v>
                </c:pt>
                <c:pt idx="47293">
                  <c:v>0.84346352773319</c:v>
                </c:pt>
                <c:pt idx="47294">
                  <c:v>0.84348136258248596</c:v>
                </c:pt>
                <c:pt idx="47295">
                  <c:v>0.84349919743178103</c:v>
                </c:pt>
                <c:pt idx="47296">
                  <c:v>0.84351703228107699</c:v>
                </c:pt>
                <c:pt idx="47297">
                  <c:v>0.84353486713037196</c:v>
                </c:pt>
                <c:pt idx="47298">
                  <c:v>0.84355270197966803</c:v>
                </c:pt>
                <c:pt idx="47299">
                  <c:v>0.84357053682896299</c:v>
                </c:pt>
                <c:pt idx="47300">
                  <c:v>0.84358837167825895</c:v>
                </c:pt>
                <c:pt idx="47301">
                  <c:v>0.84360620652755403</c:v>
                </c:pt>
                <c:pt idx="47302">
                  <c:v>0.84362404137684999</c:v>
                </c:pt>
                <c:pt idx="47303">
                  <c:v>0.84364187622614495</c:v>
                </c:pt>
                <c:pt idx="47304">
                  <c:v>0.84365971107544102</c:v>
                </c:pt>
                <c:pt idx="47305">
                  <c:v>0.84367754592473698</c:v>
                </c:pt>
                <c:pt idx="47306">
                  <c:v>0.84369538077403206</c:v>
                </c:pt>
                <c:pt idx="47307">
                  <c:v>0.84371321562332802</c:v>
                </c:pt>
                <c:pt idx="47308">
                  <c:v>0.84373105047262298</c:v>
                </c:pt>
                <c:pt idx="47309">
                  <c:v>0.84374888532191905</c:v>
                </c:pt>
                <c:pt idx="47310">
                  <c:v>0.84376672017121401</c:v>
                </c:pt>
                <c:pt idx="47311">
                  <c:v>0.84378455502050997</c:v>
                </c:pt>
                <c:pt idx="47312">
                  <c:v>0.84380238986980505</c:v>
                </c:pt>
                <c:pt idx="47313">
                  <c:v>0.84382022471910101</c:v>
                </c:pt>
                <c:pt idx="47314">
                  <c:v>0.84383805956839597</c:v>
                </c:pt>
                <c:pt idx="47315">
                  <c:v>0.84385589441769204</c:v>
                </c:pt>
                <c:pt idx="47316">
                  <c:v>0.843873729266987</c:v>
                </c:pt>
                <c:pt idx="47317">
                  <c:v>0.84389156411628297</c:v>
                </c:pt>
                <c:pt idx="47318">
                  <c:v>0.84390939896557804</c:v>
                </c:pt>
                <c:pt idx="47319">
                  <c:v>0.843927233814874</c:v>
                </c:pt>
                <c:pt idx="47320">
                  <c:v>0.84394506866416896</c:v>
                </c:pt>
                <c:pt idx="47321">
                  <c:v>0.84396290351346503</c:v>
                </c:pt>
                <c:pt idx="47322">
                  <c:v>0.84398073836276</c:v>
                </c:pt>
                <c:pt idx="47323">
                  <c:v>0.84399857321205596</c:v>
                </c:pt>
                <c:pt idx="47324">
                  <c:v>0.84401640806135103</c:v>
                </c:pt>
                <c:pt idx="47325">
                  <c:v>0.84403424291064699</c:v>
                </c:pt>
                <c:pt idx="47326">
                  <c:v>0.84405207775994295</c:v>
                </c:pt>
                <c:pt idx="47327">
                  <c:v>0.84406991260923803</c:v>
                </c:pt>
                <c:pt idx="47328">
                  <c:v>0.84408774745853399</c:v>
                </c:pt>
                <c:pt idx="47329">
                  <c:v>0.84410558230782895</c:v>
                </c:pt>
                <c:pt idx="47330">
                  <c:v>0.84412341715712502</c:v>
                </c:pt>
                <c:pt idx="47331">
                  <c:v>0.84414125200641998</c:v>
                </c:pt>
                <c:pt idx="47332">
                  <c:v>0.84415908685571595</c:v>
                </c:pt>
                <c:pt idx="47333">
                  <c:v>0.84417692170501102</c:v>
                </c:pt>
                <c:pt idx="47334">
                  <c:v>0.84419475655430698</c:v>
                </c:pt>
                <c:pt idx="47335">
                  <c:v>0.84421259140360205</c:v>
                </c:pt>
                <c:pt idx="47336">
                  <c:v>0.84423042625289801</c:v>
                </c:pt>
                <c:pt idx="47337">
                  <c:v>0.84424826110219298</c:v>
                </c:pt>
                <c:pt idx="47338">
                  <c:v>0.84426609595148905</c:v>
                </c:pt>
                <c:pt idx="47339">
                  <c:v>0.84428393080078401</c:v>
                </c:pt>
                <c:pt idx="47340">
                  <c:v>0.84430176565007997</c:v>
                </c:pt>
                <c:pt idx="47341">
                  <c:v>0.84431960049937504</c:v>
                </c:pt>
                <c:pt idx="47342">
                  <c:v>0.84433743534867101</c:v>
                </c:pt>
                <c:pt idx="47343">
                  <c:v>0.84435527019796597</c:v>
                </c:pt>
                <c:pt idx="47344">
                  <c:v>0.84437310504726204</c:v>
                </c:pt>
                <c:pt idx="47345">
                  <c:v>0.844390939896557</c:v>
                </c:pt>
                <c:pt idx="47346">
                  <c:v>0.84440877474585296</c:v>
                </c:pt>
                <c:pt idx="47347">
                  <c:v>0.84442660959514804</c:v>
                </c:pt>
                <c:pt idx="47348">
                  <c:v>0.844444444444444</c:v>
                </c:pt>
                <c:pt idx="47349">
                  <c:v>0.84446227929373996</c:v>
                </c:pt>
                <c:pt idx="47350">
                  <c:v>0.84448011414303503</c:v>
                </c:pt>
                <c:pt idx="47351">
                  <c:v>0.84449794899233099</c:v>
                </c:pt>
                <c:pt idx="47352">
                  <c:v>0.84451578384162596</c:v>
                </c:pt>
                <c:pt idx="47353">
                  <c:v>0.84453361869092203</c:v>
                </c:pt>
                <c:pt idx="47354">
                  <c:v>0.84455145354021699</c:v>
                </c:pt>
                <c:pt idx="47355">
                  <c:v>0.84456928838951295</c:v>
                </c:pt>
                <c:pt idx="47356">
                  <c:v>0.84458712323880802</c:v>
                </c:pt>
                <c:pt idx="47357">
                  <c:v>0.84460495808810399</c:v>
                </c:pt>
                <c:pt idx="47358">
                  <c:v>0.84462279293739895</c:v>
                </c:pt>
                <c:pt idx="47359">
                  <c:v>0.84464062778669502</c:v>
                </c:pt>
                <c:pt idx="47360">
                  <c:v>0.84465846263598998</c:v>
                </c:pt>
                <c:pt idx="47361">
                  <c:v>0.84467629748528605</c:v>
                </c:pt>
                <c:pt idx="47362">
                  <c:v>0.84469413233458102</c:v>
                </c:pt>
                <c:pt idx="47363">
                  <c:v>0.84471196718387698</c:v>
                </c:pt>
                <c:pt idx="47364">
                  <c:v>0.84472980203317205</c:v>
                </c:pt>
                <c:pt idx="47365">
                  <c:v>0.84474763688246801</c:v>
                </c:pt>
                <c:pt idx="47366">
                  <c:v>0.84476547173176297</c:v>
                </c:pt>
                <c:pt idx="47367">
                  <c:v>0.84478330658105905</c:v>
                </c:pt>
                <c:pt idx="47368">
                  <c:v>0.84480114143035401</c:v>
                </c:pt>
                <c:pt idx="47369">
                  <c:v>0.84481897627964997</c:v>
                </c:pt>
                <c:pt idx="47370">
                  <c:v>0.84483681112894504</c:v>
                </c:pt>
                <c:pt idx="47371">
                  <c:v>0.844854645978241</c:v>
                </c:pt>
                <c:pt idx="47372">
                  <c:v>0.84487248082753696</c:v>
                </c:pt>
                <c:pt idx="47373">
                  <c:v>0.84489031567683204</c:v>
                </c:pt>
                <c:pt idx="47374">
                  <c:v>0.844908150526128</c:v>
                </c:pt>
                <c:pt idx="47375">
                  <c:v>0.84492598537542296</c:v>
                </c:pt>
                <c:pt idx="47376">
                  <c:v>0.84494382022471903</c:v>
                </c:pt>
                <c:pt idx="47377">
                  <c:v>0.844961655074014</c:v>
                </c:pt>
                <c:pt idx="47378">
                  <c:v>0.84497948992330996</c:v>
                </c:pt>
                <c:pt idx="47379">
                  <c:v>0.84499732477260503</c:v>
                </c:pt>
                <c:pt idx="47380">
                  <c:v>0.84501515962190099</c:v>
                </c:pt>
                <c:pt idx="47381">
                  <c:v>0.84503299447119595</c:v>
                </c:pt>
                <c:pt idx="47382">
                  <c:v>0.84505082932049203</c:v>
                </c:pt>
                <c:pt idx="47383">
                  <c:v>0.84506866416978699</c:v>
                </c:pt>
                <c:pt idx="47384">
                  <c:v>0.84508649901908295</c:v>
                </c:pt>
                <c:pt idx="47385">
                  <c:v>0.84510433386837802</c:v>
                </c:pt>
                <c:pt idx="47386">
                  <c:v>0.84512216871767398</c:v>
                </c:pt>
                <c:pt idx="47387">
                  <c:v>0.84514000356696894</c:v>
                </c:pt>
                <c:pt idx="47388">
                  <c:v>0.84515783841626502</c:v>
                </c:pt>
                <c:pt idx="47389">
                  <c:v>0.84517567326555998</c:v>
                </c:pt>
                <c:pt idx="47390">
                  <c:v>0.84519350811485605</c:v>
                </c:pt>
                <c:pt idx="47391">
                  <c:v>0.84521134296415101</c:v>
                </c:pt>
                <c:pt idx="47392">
                  <c:v>0.84522917781344697</c:v>
                </c:pt>
                <c:pt idx="47393">
                  <c:v>0.84524701266274305</c:v>
                </c:pt>
                <c:pt idx="47394">
                  <c:v>0.84526484751203801</c:v>
                </c:pt>
                <c:pt idx="47395">
                  <c:v>0.84528268236133397</c:v>
                </c:pt>
                <c:pt idx="47396">
                  <c:v>0.84530051721062904</c:v>
                </c:pt>
                <c:pt idx="47397">
                  <c:v>0.845318352059925</c:v>
                </c:pt>
                <c:pt idx="47398">
                  <c:v>0.84533618690921997</c:v>
                </c:pt>
                <c:pt idx="47399">
                  <c:v>0.84535402175851604</c:v>
                </c:pt>
                <c:pt idx="47400">
                  <c:v>0.845371856607811</c:v>
                </c:pt>
                <c:pt idx="47401">
                  <c:v>0.84538969145710696</c:v>
                </c:pt>
                <c:pt idx="47402">
                  <c:v>0.84540752630640204</c:v>
                </c:pt>
                <c:pt idx="47403">
                  <c:v>0.845425361155698</c:v>
                </c:pt>
                <c:pt idx="47404">
                  <c:v>0.84544319600499296</c:v>
                </c:pt>
                <c:pt idx="47405">
                  <c:v>0.84546103085428903</c:v>
                </c:pt>
                <c:pt idx="47406">
                  <c:v>0.84547886570358399</c:v>
                </c:pt>
                <c:pt idx="47407">
                  <c:v>0.84549670055287995</c:v>
                </c:pt>
                <c:pt idx="47408">
                  <c:v>0.84551453540217503</c:v>
                </c:pt>
                <c:pt idx="47409">
                  <c:v>0.84553237025147099</c:v>
                </c:pt>
                <c:pt idx="47410">
                  <c:v>0.84555020510076695</c:v>
                </c:pt>
                <c:pt idx="47411">
                  <c:v>0.84556803995006202</c:v>
                </c:pt>
                <c:pt idx="47412">
                  <c:v>0.84558587479935798</c:v>
                </c:pt>
                <c:pt idx="47413">
                  <c:v>0.84560370964865295</c:v>
                </c:pt>
                <c:pt idx="47414">
                  <c:v>0.84562154449794902</c:v>
                </c:pt>
                <c:pt idx="47415">
                  <c:v>0.84563937934724398</c:v>
                </c:pt>
                <c:pt idx="47416">
                  <c:v>0.84565721419654005</c:v>
                </c:pt>
                <c:pt idx="47417">
                  <c:v>0.84567504904583501</c:v>
                </c:pt>
                <c:pt idx="47418">
                  <c:v>0.84569288389513098</c:v>
                </c:pt>
                <c:pt idx="47419">
                  <c:v>0.84571071874442605</c:v>
                </c:pt>
                <c:pt idx="47420">
                  <c:v>0.84572855359372201</c:v>
                </c:pt>
                <c:pt idx="47421">
                  <c:v>0.84574638844301697</c:v>
                </c:pt>
                <c:pt idx="47422">
                  <c:v>0.84576422329231304</c:v>
                </c:pt>
                <c:pt idx="47423">
                  <c:v>0.84578205814160801</c:v>
                </c:pt>
                <c:pt idx="47424">
                  <c:v>0.84579989299090397</c:v>
                </c:pt>
                <c:pt idx="47425">
                  <c:v>0.84581772784019904</c:v>
                </c:pt>
                <c:pt idx="47426">
                  <c:v>0.845835562689495</c:v>
                </c:pt>
                <c:pt idx="47427">
                  <c:v>0.84585339753878996</c:v>
                </c:pt>
                <c:pt idx="47428">
                  <c:v>0.84587123238808604</c:v>
                </c:pt>
                <c:pt idx="47429">
                  <c:v>0.845889067237381</c:v>
                </c:pt>
                <c:pt idx="47430">
                  <c:v>0.84590690208667696</c:v>
                </c:pt>
                <c:pt idx="47431">
                  <c:v>0.84592473693597203</c:v>
                </c:pt>
                <c:pt idx="47432">
                  <c:v>0.84594257178526799</c:v>
                </c:pt>
                <c:pt idx="47433">
                  <c:v>0.84596040663456396</c:v>
                </c:pt>
                <c:pt idx="47434">
                  <c:v>0.84597824148385903</c:v>
                </c:pt>
                <c:pt idx="47435">
                  <c:v>0.84599607633315499</c:v>
                </c:pt>
                <c:pt idx="47436">
                  <c:v>0.84601391118244995</c:v>
                </c:pt>
                <c:pt idx="47437">
                  <c:v>0.84603174603174602</c:v>
                </c:pt>
                <c:pt idx="47438">
                  <c:v>0.84604958088104099</c:v>
                </c:pt>
                <c:pt idx="47439">
                  <c:v>0.84606741573033695</c:v>
                </c:pt>
                <c:pt idx="47440">
                  <c:v>0.84608525057963202</c:v>
                </c:pt>
                <c:pt idx="47441">
                  <c:v>0.84610308542892798</c:v>
                </c:pt>
                <c:pt idx="47442">
                  <c:v>0.84612092027822305</c:v>
                </c:pt>
                <c:pt idx="47443">
                  <c:v>0.84613875512751902</c:v>
                </c:pt>
                <c:pt idx="47444">
                  <c:v>0.84615658997681398</c:v>
                </c:pt>
                <c:pt idx="47445">
                  <c:v>0.84617442482611005</c:v>
                </c:pt>
                <c:pt idx="47446">
                  <c:v>0.84619225967540501</c:v>
                </c:pt>
                <c:pt idx="47447">
                  <c:v>0.84621009452470097</c:v>
                </c:pt>
                <c:pt idx="47448">
                  <c:v>0.84622792937399605</c:v>
                </c:pt>
                <c:pt idx="47449">
                  <c:v>0.84624576422329201</c:v>
                </c:pt>
                <c:pt idx="47450">
                  <c:v>0.84626359907258697</c:v>
                </c:pt>
                <c:pt idx="47451">
                  <c:v>0.84628143392188304</c:v>
                </c:pt>
                <c:pt idx="47452">
                  <c:v>0.846299268771178</c:v>
                </c:pt>
                <c:pt idx="47453">
                  <c:v>0.84631710362047397</c:v>
                </c:pt>
                <c:pt idx="47454">
                  <c:v>0.84633493846976904</c:v>
                </c:pt>
                <c:pt idx="47455">
                  <c:v>0.846352773319065</c:v>
                </c:pt>
                <c:pt idx="47456">
                  <c:v>0.84637060816836096</c:v>
                </c:pt>
                <c:pt idx="47457">
                  <c:v>0.84638844301765603</c:v>
                </c:pt>
                <c:pt idx="47458">
                  <c:v>0.84640627786695199</c:v>
                </c:pt>
                <c:pt idx="47459">
                  <c:v>0.84642411271624696</c:v>
                </c:pt>
                <c:pt idx="47460">
                  <c:v>0.84644194756554303</c:v>
                </c:pt>
                <c:pt idx="47461">
                  <c:v>0.84645978241483799</c:v>
                </c:pt>
                <c:pt idx="47462">
                  <c:v>0.84647761726413395</c:v>
                </c:pt>
                <c:pt idx="47463">
                  <c:v>0.84649545211342903</c:v>
                </c:pt>
                <c:pt idx="47464">
                  <c:v>0.84651328696272499</c:v>
                </c:pt>
                <c:pt idx="47465">
                  <c:v>0.84653112181201995</c:v>
                </c:pt>
                <c:pt idx="47466">
                  <c:v>0.84654895666131602</c:v>
                </c:pt>
                <c:pt idx="47467">
                  <c:v>0.84656679151061098</c:v>
                </c:pt>
                <c:pt idx="47468">
                  <c:v>0.84658462635990706</c:v>
                </c:pt>
                <c:pt idx="47469">
                  <c:v>0.84660246120920202</c:v>
                </c:pt>
                <c:pt idx="47470">
                  <c:v>0.84662029605849798</c:v>
                </c:pt>
                <c:pt idx="47471">
                  <c:v>0.84663813090779305</c:v>
                </c:pt>
                <c:pt idx="47472">
                  <c:v>0.84665596575708901</c:v>
                </c:pt>
                <c:pt idx="47473">
                  <c:v>0.84667380060638397</c:v>
                </c:pt>
                <c:pt idx="47474">
                  <c:v>0.84669163545568005</c:v>
                </c:pt>
                <c:pt idx="47475">
                  <c:v>0.84670947030497501</c:v>
                </c:pt>
                <c:pt idx="47476">
                  <c:v>0.84672730515427097</c:v>
                </c:pt>
                <c:pt idx="47477">
                  <c:v>0.84674514000356604</c:v>
                </c:pt>
                <c:pt idx="47478">
                  <c:v>0.846762974852862</c:v>
                </c:pt>
                <c:pt idx="47479">
                  <c:v>0.84678080970215797</c:v>
                </c:pt>
                <c:pt idx="47480">
                  <c:v>0.84679864455145304</c:v>
                </c:pt>
                <c:pt idx="47481">
                  <c:v>0.846816479400749</c:v>
                </c:pt>
                <c:pt idx="47482">
                  <c:v>0.84683431425004396</c:v>
                </c:pt>
                <c:pt idx="47483">
                  <c:v>0.84685214909934003</c:v>
                </c:pt>
                <c:pt idx="47484">
                  <c:v>0.846869983948635</c:v>
                </c:pt>
                <c:pt idx="47485">
                  <c:v>0.84688781879793096</c:v>
                </c:pt>
                <c:pt idx="47486">
                  <c:v>0.84690565364722603</c:v>
                </c:pt>
                <c:pt idx="47487">
                  <c:v>0.84692348849652199</c:v>
                </c:pt>
                <c:pt idx="47488">
                  <c:v>0.84694132334581695</c:v>
                </c:pt>
                <c:pt idx="47489">
                  <c:v>0.84695915819511303</c:v>
                </c:pt>
                <c:pt idx="47490">
                  <c:v>0.84697699304440799</c:v>
                </c:pt>
                <c:pt idx="47491">
                  <c:v>0.84699482789370395</c:v>
                </c:pt>
                <c:pt idx="47492">
                  <c:v>0.84701266274299902</c:v>
                </c:pt>
                <c:pt idx="47493">
                  <c:v>0.84703049759229498</c:v>
                </c:pt>
                <c:pt idx="47494">
                  <c:v>0.84704833244158995</c:v>
                </c:pt>
                <c:pt idx="47495">
                  <c:v>0.84706616729088602</c:v>
                </c:pt>
                <c:pt idx="47496">
                  <c:v>0.84708400214018098</c:v>
                </c:pt>
                <c:pt idx="47497">
                  <c:v>0.84710183698947705</c:v>
                </c:pt>
                <c:pt idx="47498">
                  <c:v>0.84711967183877301</c:v>
                </c:pt>
                <c:pt idx="47499">
                  <c:v>0.84713750668806798</c:v>
                </c:pt>
                <c:pt idx="47500">
                  <c:v>0.84715534153736405</c:v>
                </c:pt>
                <c:pt idx="47501">
                  <c:v>0.84717317638665901</c:v>
                </c:pt>
                <c:pt idx="47502">
                  <c:v>0.84719101123595497</c:v>
                </c:pt>
                <c:pt idx="47503">
                  <c:v>0.84720884608525004</c:v>
                </c:pt>
                <c:pt idx="47504">
                  <c:v>0.84722668093454601</c:v>
                </c:pt>
                <c:pt idx="47505">
                  <c:v>0.84724451578384097</c:v>
                </c:pt>
                <c:pt idx="47506">
                  <c:v>0.84726235063313704</c:v>
                </c:pt>
                <c:pt idx="47507">
                  <c:v>0.847280185482432</c:v>
                </c:pt>
                <c:pt idx="47508">
                  <c:v>0.84729802033172796</c:v>
                </c:pt>
                <c:pt idx="47509">
                  <c:v>0.84731585518102304</c:v>
                </c:pt>
                <c:pt idx="47510">
                  <c:v>0.847333690030319</c:v>
                </c:pt>
                <c:pt idx="47511">
                  <c:v>0.84735152487961396</c:v>
                </c:pt>
                <c:pt idx="47512">
                  <c:v>0.84736935972891003</c:v>
                </c:pt>
                <c:pt idx="47513">
                  <c:v>0.84738719457820499</c:v>
                </c:pt>
                <c:pt idx="47514">
                  <c:v>0.84740502942750096</c:v>
                </c:pt>
                <c:pt idx="47515">
                  <c:v>0.84742286427679603</c:v>
                </c:pt>
                <c:pt idx="47516">
                  <c:v>0.84744069912609199</c:v>
                </c:pt>
                <c:pt idx="47517">
                  <c:v>0.84745853397538795</c:v>
                </c:pt>
                <c:pt idx="47518">
                  <c:v>0.84747636882468302</c:v>
                </c:pt>
                <c:pt idx="47519">
                  <c:v>0.84749420367397899</c:v>
                </c:pt>
                <c:pt idx="47520">
                  <c:v>0.84751203852327395</c:v>
                </c:pt>
                <c:pt idx="47521">
                  <c:v>0.84752987337257002</c:v>
                </c:pt>
                <c:pt idx="47522">
                  <c:v>0.84754770822186498</c:v>
                </c:pt>
                <c:pt idx="47523">
                  <c:v>0.84756554307116105</c:v>
                </c:pt>
                <c:pt idx="47524">
                  <c:v>0.84758337792045602</c:v>
                </c:pt>
                <c:pt idx="47525">
                  <c:v>0.84760121276975198</c:v>
                </c:pt>
                <c:pt idx="47526">
                  <c:v>0.84761904761904705</c:v>
                </c:pt>
                <c:pt idx="47527">
                  <c:v>0.84763688246834301</c:v>
                </c:pt>
                <c:pt idx="47528">
                  <c:v>0.84765471731763797</c:v>
                </c:pt>
                <c:pt idx="47529">
                  <c:v>0.84767255216693405</c:v>
                </c:pt>
                <c:pt idx="47530">
                  <c:v>0.84769038701622901</c:v>
                </c:pt>
                <c:pt idx="47531">
                  <c:v>0.84770822186552497</c:v>
                </c:pt>
                <c:pt idx="47532">
                  <c:v>0.84772605671482004</c:v>
                </c:pt>
                <c:pt idx="47533">
                  <c:v>0.847743891564116</c:v>
                </c:pt>
                <c:pt idx="47534">
                  <c:v>0.84776172641341097</c:v>
                </c:pt>
                <c:pt idx="47535">
                  <c:v>0.84777956126270704</c:v>
                </c:pt>
                <c:pt idx="47536">
                  <c:v>0.847797396112002</c:v>
                </c:pt>
                <c:pt idx="47537">
                  <c:v>0.84781523096129796</c:v>
                </c:pt>
                <c:pt idx="47538">
                  <c:v>0.84783306581059303</c:v>
                </c:pt>
                <c:pt idx="47539">
                  <c:v>0.847850900659889</c:v>
                </c:pt>
                <c:pt idx="47540">
                  <c:v>0.84786873550918496</c:v>
                </c:pt>
                <c:pt idx="47541">
                  <c:v>0.84788657035848003</c:v>
                </c:pt>
                <c:pt idx="47542">
                  <c:v>0.84790440520777599</c:v>
                </c:pt>
                <c:pt idx="47543">
                  <c:v>0.84792224005707095</c:v>
                </c:pt>
                <c:pt idx="47544">
                  <c:v>0.84794007490636703</c:v>
                </c:pt>
                <c:pt idx="47545">
                  <c:v>0.84795790975566199</c:v>
                </c:pt>
                <c:pt idx="47546">
                  <c:v>0.84797574460495795</c:v>
                </c:pt>
                <c:pt idx="47547">
                  <c:v>0.84799357945425302</c:v>
                </c:pt>
                <c:pt idx="47548">
                  <c:v>0.84801141430354898</c:v>
                </c:pt>
                <c:pt idx="47549">
                  <c:v>0.84802924915284394</c:v>
                </c:pt>
                <c:pt idx="47550">
                  <c:v>0.84804708400214002</c:v>
                </c:pt>
                <c:pt idx="47551">
                  <c:v>0.84806491885143498</c:v>
                </c:pt>
                <c:pt idx="47552">
                  <c:v>0.84808275370073105</c:v>
                </c:pt>
                <c:pt idx="47553">
                  <c:v>0.84810058855002601</c:v>
                </c:pt>
                <c:pt idx="47554">
                  <c:v>0.84811842339932197</c:v>
                </c:pt>
                <c:pt idx="47555">
                  <c:v>0.84813625824861705</c:v>
                </c:pt>
                <c:pt idx="47556">
                  <c:v>0.84815409309791301</c:v>
                </c:pt>
                <c:pt idx="47557">
                  <c:v>0.84817192794720797</c:v>
                </c:pt>
                <c:pt idx="47558">
                  <c:v>0.84818976279650404</c:v>
                </c:pt>
                <c:pt idx="47559">
                  <c:v>0.84820759764579901</c:v>
                </c:pt>
                <c:pt idx="47560">
                  <c:v>0.84822543249509497</c:v>
                </c:pt>
                <c:pt idx="47561">
                  <c:v>0.84824326734439004</c:v>
                </c:pt>
                <c:pt idx="47562">
                  <c:v>0.848261102193686</c:v>
                </c:pt>
                <c:pt idx="47563">
                  <c:v>0.84827893704298196</c:v>
                </c:pt>
                <c:pt idx="47564">
                  <c:v>0.84829677189227704</c:v>
                </c:pt>
                <c:pt idx="47565">
                  <c:v>0.848314606741573</c:v>
                </c:pt>
                <c:pt idx="47566">
                  <c:v>0.84833244159086796</c:v>
                </c:pt>
                <c:pt idx="47567">
                  <c:v>0.84835027644016403</c:v>
                </c:pt>
                <c:pt idx="47568">
                  <c:v>0.84836811128945899</c:v>
                </c:pt>
                <c:pt idx="47569">
                  <c:v>0.84838594613875495</c:v>
                </c:pt>
                <c:pt idx="47570">
                  <c:v>0.84840378098805003</c:v>
                </c:pt>
                <c:pt idx="47571">
                  <c:v>0.84842161583734599</c:v>
                </c:pt>
                <c:pt idx="47572">
                  <c:v>0.84843945068664095</c:v>
                </c:pt>
                <c:pt idx="47573">
                  <c:v>0.84845728553593702</c:v>
                </c:pt>
                <c:pt idx="47574">
                  <c:v>0.84847512038523198</c:v>
                </c:pt>
                <c:pt idx="47575">
                  <c:v>0.84849295523452795</c:v>
                </c:pt>
                <c:pt idx="47576">
                  <c:v>0.84851079008382302</c:v>
                </c:pt>
                <c:pt idx="47577">
                  <c:v>0.84852862493311898</c:v>
                </c:pt>
                <c:pt idx="47578">
                  <c:v>0.84854645978241405</c:v>
                </c:pt>
                <c:pt idx="47579">
                  <c:v>0.84856429463171001</c:v>
                </c:pt>
                <c:pt idx="47580">
                  <c:v>0.84858212948100498</c:v>
                </c:pt>
                <c:pt idx="47581">
                  <c:v>0.84859996433030105</c:v>
                </c:pt>
                <c:pt idx="47582">
                  <c:v>0.84861779917959601</c:v>
                </c:pt>
                <c:pt idx="47583">
                  <c:v>0.84863563402889197</c:v>
                </c:pt>
                <c:pt idx="47584">
                  <c:v>0.84865346887818705</c:v>
                </c:pt>
                <c:pt idx="47585">
                  <c:v>0.84867130372748301</c:v>
                </c:pt>
                <c:pt idx="47586">
                  <c:v>0.84868913857677897</c:v>
                </c:pt>
                <c:pt idx="47587">
                  <c:v>0.84870697342607404</c:v>
                </c:pt>
                <c:pt idx="47588">
                  <c:v>0.84872480827537</c:v>
                </c:pt>
                <c:pt idx="47589">
                  <c:v>0.84874264312466496</c:v>
                </c:pt>
                <c:pt idx="47590">
                  <c:v>0.84876047797396104</c:v>
                </c:pt>
                <c:pt idx="47591">
                  <c:v>0.848778312823256</c:v>
                </c:pt>
                <c:pt idx="47592">
                  <c:v>0.84879614767255196</c:v>
                </c:pt>
                <c:pt idx="47593">
                  <c:v>0.84881398252184703</c:v>
                </c:pt>
                <c:pt idx="47594">
                  <c:v>0.84883181737114299</c:v>
                </c:pt>
                <c:pt idx="47595">
                  <c:v>0.84884965222043796</c:v>
                </c:pt>
                <c:pt idx="47596">
                  <c:v>0.84886748706973403</c:v>
                </c:pt>
                <c:pt idx="47597">
                  <c:v>0.84888532191902899</c:v>
                </c:pt>
                <c:pt idx="47598">
                  <c:v>0.84890315676832495</c:v>
                </c:pt>
                <c:pt idx="47599">
                  <c:v>0.84892099161762002</c:v>
                </c:pt>
                <c:pt idx="47600">
                  <c:v>0.84893882646691599</c:v>
                </c:pt>
                <c:pt idx="47601">
                  <c:v>0.84895666131621095</c:v>
                </c:pt>
                <c:pt idx="47602">
                  <c:v>0.84897449616550702</c:v>
                </c:pt>
                <c:pt idx="47603">
                  <c:v>0.84899233101480198</c:v>
                </c:pt>
                <c:pt idx="47604">
                  <c:v>0.84901016586409805</c:v>
                </c:pt>
                <c:pt idx="47605">
                  <c:v>0.84902800071339402</c:v>
                </c:pt>
                <c:pt idx="47606">
                  <c:v>0.84904583556268898</c:v>
                </c:pt>
                <c:pt idx="47607">
                  <c:v>0.84906367041198505</c:v>
                </c:pt>
                <c:pt idx="47608">
                  <c:v>0.84908150526128001</c:v>
                </c:pt>
                <c:pt idx="47609">
                  <c:v>0.84909934011057597</c:v>
                </c:pt>
                <c:pt idx="47610">
                  <c:v>0.84911717495987105</c:v>
                </c:pt>
                <c:pt idx="47611">
                  <c:v>0.84913500980916701</c:v>
                </c:pt>
                <c:pt idx="47612">
                  <c:v>0.84915284465846197</c:v>
                </c:pt>
                <c:pt idx="47613">
                  <c:v>0.84917067950775804</c:v>
                </c:pt>
                <c:pt idx="47614">
                  <c:v>0.849188514357053</c:v>
                </c:pt>
                <c:pt idx="47615">
                  <c:v>0.84920634920634896</c:v>
                </c:pt>
                <c:pt idx="47616">
                  <c:v>0.84922418405564404</c:v>
                </c:pt>
                <c:pt idx="47617">
                  <c:v>0.84924201890494</c:v>
                </c:pt>
                <c:pt idx="47618">
                  <c:v>0.84925985375423496</c:v>
                </c:pt>
                <c:pt idx="47619">
                  <c:v>0.84927768860353103</c:v>
                </c:pt>
                <c:pt idx="47620">
                  <c:v>0.849295523452826</c:v>
                </c:pt>
                <c:pt idx="47621">
                  <c:v>0.84931335830212196</c:v>
                </c:pt>
                <c:pt idx="47622">
                  <c:v>0.84933119315141703</c:v>
                </c:pt>
                <c:pt idx="47623">
                  <c:v>0.84934902800071299</c:v>
                </c:pt>
                <c:pt idx="47624">
                  <c:v>0.84936686285000895</c:v>
                </c:pt>
                <c:pt idx="47625">
                  <c:v>0.84938469769930403</c:v>
                </c:pt>
                <c:pt idx="47626">
                  <c:v>0.84940253254859999</c:v>
                </c:pt>
                <c:pt idx="47627">
                  <c:v>0.84942036739789495</c:v>
                </c:pt>
                <c:pt idx="47628">
                  <c:v>0.84943820224719102</c:v>
                </c:pt>
                <c:pt idx="47629">
                  <c:v>0.84945603709648598</c:v>
                </c:pt>
                <c:pt idx="47630">
                  <c:v>0.84947387194578206</c:v>
                </c:pt>
                <c:pt idx="47631">
                  <c:v>0.84949170679507702</c:v>
                </c:pt>
                <c:pt idx="47632">
                  <c:v>0.84950954164437298</c:v>
                </c:pt>
                <c:pt idx="47633">
                  <c:v>0.84952737649366805</c:v>
                </c:pt>
                <c:pt idx="47634">
                  <c:v>0.84954521134296401</c:v>
                </c:pt>
                <c:pt idx="47635">
                  <c:v>0.84956304619225897</c:v>
                </c:pt>
                <c:pt idx="47636">
                  <c:v>0.84958088104155505</c:v>
                </c:pt>
                <c:pt idx="47637">
                  <c:v>0.84959871589085001</c:v>
                </c:pt>
                <c:pt idx="47638">
                  <c:v>0.84961655074014597</c:v>
                </c:pt>
                <c:pt idx="47639">
                  <c:v>0.84963438558944104</c:v>
                </c:pt>
                <c:pt idx="47640">
                  <c:v>0.849652220438737</c:v>
                </c:pt>
                <c:pt idx="47641">
                  <c:v>0.84967005528803197</c:v>
                </c:pt>
                <c:pt idx="47642">
                  <c:v>0.84968789013732804</c:v>
                </c:pt>
                <c:pt idx="47643">
                  <c:v>0.849705724986623</c:v>
                </c:pt>
                <c:pt idx="47644">
                  <c:v>0.84972355983591896</c:v>
                </c:pt>
                <c:pt idx="47645">
                  <c:v>0.84974139468521404</c:v>
                </c:pt>
                <c:pt idx="47646">
                  <c:v>0.84975922953451</c:v>
                </c:pt>
                <c:pt idx="47647">
                  <c:v>0.84977706438380596</c:v>
                </c:pt>
                <c:pt idx="47648">
                  <c:v>0.84979489923310103</c:v>
                </c:pt>
                <c:pt idx="47649">
                  <c:v>0.84981273408239699</c:v>
                </c:pt>
                <c:pt idx="47650">
                  <c:v>0.84983056893169195</c:v>
                </c:pt>
                <c:pt idx="47651">
                  <c:v>0.84984840378098803</c:v>
                </c:pt>
                <c:pt idx="47652">
                  <c:v>0.84986623863028299</c:v>
                </c:pt>
                <c:pt idx="47653">
                  <c:v>0.84988407347957895</c:v>
                </c:pt>
                <c:pt idx="47654">
                  <c:v>0.84990190832887402</c:v>
                </c:pt>
                <c:pt idx="47655">
                  <c:v>0.84991974317816998</c:v>
                </c:pt>
                <c:pt idx="47656">
                  <c:v>0.84993757802746495</c:v>
                </c:pt>
                <c:pt idx="47657">
                  <c:v>0.84995541287676102</c:v>
                </c:pt>
                <c:pt idx="47658">
                  <c:v>0.84997324772605598</c:v>
                </c:pt>
                <c:pt idx="47659">
                  <c:v>0.84999108257535205</c:v>
                </c:pt>
                <c:pt idx="47660">
                  <c:v>0.85000891742464701</c:v>
                </c:pt>
                <c:pt idx="47661">
                  <c:v>0.85002675227394298</c:v>
                </c:pt>
                <c:pt idx="47662">
                  <c:v>0.85004458712323805</c:v>
                </c:pt>
                <c:pt idx="47663">
                  <c:v>0.85006242197253401</c:v>
                </c:pt>
                <c:pt idx="47664">
                  <c:v>0.85008025682182897</c:v>
                </c:pt>
                <c:pt idx="47665">
                  <c:v>0.85009809167112504</c:v>
                </c:pt>
                <c:pt idx="47666">
                  <c:v>0.85011592652042001</c:v>
                </c:pt>
                <c:pt idx="47667">
                  <c:v>0.85013376136971597</c:v>
                </c:pt>
                <c:pt idx="47668">
                  <c:v>0.85015159621901104</c:v>
                </c:pt>
                <c:pt idx="47669">
                  <c:v>0.850169431068307</c:v>
                </c:pt>
                <c:pt idx="47670">
                  <c:v>0.85018726591760296</c:v>
                </c:pt>
                <c:pt idx="47671">
                  <c:v>0.85020510076689804</c:v>
                </c:pt>
                <c:pt idx="47672">
                  <c:v>0.850222935616194</c:v>
                </c:pt>
                <c:pt idx="47673">
                  <c:v>0.85024077046548896</c:v>
                </c:pt>
                <c:pt idx="47674">
                  <c:v>0.85025860531478503</c:v>
                </c:pt>
                <c:pt idx="47675">
                  <c:v>0.85027644016407999</c:v>
                </c:pt>
                <c:pt idx="47676">
                  <c:v>0.85029427501337596</c:v>
                </c:pt>
                <c:pt idx="47677">
                  <c:v>0.85031210986267103</c:v>
                </c:pt>
                <c:pt idx="47678">
                  <c:v>0.85032994471196699</c:v>
                </c:pt>
                <c:pt idx="47679">
                  <c:v>0.85034777956126195</c:v>
                </c:pt>
                <c:pt idx="47680">
                  <c:v>0.85036561441055802</c:v>
                </c:pt>
                <c:pt idx="47681">
                  <c:v>0.85038344925985299</c:v>
                </c:pt>
                <c:pt idx="47682">
                  <c:v>0.85040128410914895</c:v>
                </c:pt>
                <c:pt idx="47683">
                  <c:v>0.85041911895844402</c:v>
                </c:pt>
                <c:pt idx="47684">
                  <c:v>0.85043695380773998</c:v>
                </c:pt>
                <c:pt idx="47685">
                  <c:v>0.85045478865703505</c:v>
                </c:pt>
                <c:pt idx="47686">
                  <c:v>0.85047262350633102</c:v>
                </c:pt>
                <c:pt idx="47687">
                  <c:v>0.85049045835562598</c:v>
                </c:pt>
                <c:pt idx="47688">
                  <c:v>0.85050829320492205</c:v>
                </c:pt>
                <c:pt idx="47689">
                  <c:v>0.85052612805421701</c:v>
                </c:pt>
                <c:pt idx="47690">
                  <c:v>0.85054396290351297</c:v>
                </c:pt>
                <c:pt idx="47691">
                  <c:v>0.85056179775280805</c:v>
                </c:pt>
                <c:pt idx="47692">
                  <c:v>0.85057963260210401</c:v>
                </c:pt>
                <c:pt idx="47693">
                  <c:v>0.85059746745139997</c:v>
                </c:pt>
                <c:pt idx="47694">
                  <c:v>0.85061530230069504</c:v>
                </c:pt>
                <c:pt idx="47695">
                  <c:v>0.850633137149991</c:v>
                </c:pt>
                <c:pt idx="47696">
                  <c:v>0.85065097199928597</c:v>
                </c:pt>
                <c:pt idx="47697">
                  <c:v>0.85066880684858204</c:v>
                </c:pt>
                <c:pt idx="47698">
                  <c:v>0.850686641697877</c:v>
                </c:pt>
                <c:pt idx="47699">
                  <c:v>0.85070447654717296</c:v>
                </c:pt>
                <c:pt idx="47700">
                  <c:v>0.85072231139646803</c:v>
                </c:pt>
                <c:pt idx="47701">
                  <c:v>0.850740146245764</c:v>
                </c:pt>
                <c:pt idx="47702">
                  <c:v>0.85075798109505896</c:v>
                </c:pt>
                <c:pt idx="47703">
                  <c:v>0.85077581594435503</c:v>
                </c:pt>
                <c:pt idx="47704">
                  <c:v>0.85079365079364999</c:v>
                </c:pt>
                <c:pt idx="47705">
                  <c:v>0.85081148564294595</c:v>
                </c:pt>
                <c:pt idx="47706">
                  <c:v>0.85082932049224103</c:v>
                </c:pt>
                <c:pt idx="47707">
                  <c:v>0.85084715534153699</c:v>
                </c:pt>
                <c:pt idx="47708">
                  <c:v>0.85086499019083195</c:v>
                </c:pt>
                <c:pt idx="47709">
                  <c:v>0.85088282504012802</c:v>
                </c:pt>
                <c:pt idx="47710">
                  <c:v>0.85090065988942398</c:v>
                </c:pt>
                <c:pt idx="47711">
                  <c:v>0.85091849473871894</c:v>
                </c:pt>
                <c:pt idx="47712">
                  <c:v>0.85093632958801502</c:v>
                </c:pt>
                <c:pt idx="47713">
                  <c:v>0.85095416443730998</c:v>
                </c:pt>
                <c:pt idx="47714">
                  <c:v>0.85097199928660605</c:v>
                </c:pt>
                <c:pt idx="47715">
                  <c:v>0.85098983413590101</c:v>
                </c:pt>
                <c:pt idx="47716">
                  <c:v>0.85100766898519697</c:v>
                </c:pt>
                <c:pt idx="47717">
                  <c:v>0.85102550383449205</c:v>
                </c:pt>
                <c:pt idx="47718">
                  <c:v>0.85104333868378801</c:v>
                </c:pt>
                <c:pt idx="47719">
                  <c:v>0.85106117353308297</c:v>
                </c:pt>
                <c:pt idx="47720">
                  <c:v>0.85107900838237904</c:v>
                </c:pt>
                <c:pt idx="47721">
                  <c:v>0.85109684323167401</c:v>
                </c:pt>
                <c:pt idx="47722">
                  <c:v>0.85111467808096997</c:v>
                </c:pt>
                <c:pt idx="47723">
                  <c:v>0.85113251293026504</c:v>
                </c:pt>
                <c:pt idx="47724">
                  <c:v>0.851150347779561</c:v>
                </c:pt>
                <c:pt idx="47725">
                  <c:v>0.85116818262885596</c:v>
                </c:pt>
                <c:pt idx="47726">
                  <c:v>0.85118601747815203</c:v>
                </c:pt>
                <c:pt idx="47727">
                  <c:v>0.851203852327447</c:v>
                </c:pt>
                <c:pt idx="47728">
                  <c:v>0.85122168717674296</c:v>
                </c:pt>
                <c:pt idx="47729">
                  <c:v>0.85123952202603803</c:v>
                </c:pt>
                <c:pt idx="47730">
                  <c:v>0.85125735687533399</c:v>
                </c:pt>
                <c:pt idx="47731">
                  <c:v>0.85127519172462995</c:v>
                </c:pt>
                <c:pt idx="47732">
                  <c:v>0.85129302657392503</c:v>
                </c:pt>
                <c:pt idx="47733">
                  <c:v>0.85131086142322099</c:v>
                </c:pt>
                <c:pt idx="47734">
                  <c:v>0.85132869627251595</c:v>
                </c:pt>
                <c:pt idx="47735">
                  <c:v>0.85134653112181202</c:v>
                </c:pt>
                <c:pt idx="47736">
                  <c:v>0.85136436597110698</c:v>
                </c:pt>
                <c:pt idx="47737">
                  <c:v>0.85138220082040295</c:v>
                </c:pt>
                <c:pt idx="47738">
                  <c:v>0.85140003566969802</c:v>
                </c:pt>
                <c:pt idx="47739">
                  <c:v>0.85141787051899398</c:v>
                </c:pt>
                <c:pt idx="47740">
                  <c:v>0.85143570536828905</c:v>
                </c:pt>
                <c:pt idx="47741">
                  <c:v>0.85145354021758501</c:v>
                </c:pt>
                <c:pt idx="47742">
                  <c:v>0.85147137506687998</c:v>
                </c:pt>
                <c:pt idx="47743">
                  <c:v>0.85148920991617605</c:v>
                </c:pt>
                <c:pt idx="47744">
                  <c:v>0.85150704476547101</c:v>
                </c:pt>
                <c:pt idx="47745">
                  <c:v>0.85152487961476697</c:v>
                </c:pt>
                <c:pt idx="47746">
                  <c:v>0.85154271446406204</c:v>
                </c:pt>
                <c:pt idx="47747">
                  <c:v>0.85156054931335801</c:v>
                </c:pt>
                <c:pt idx="47748">
                  <c:v>0.85157838416265297</c:v>
                </c:pt>
                <c:pt idx="47749">
                  <c:v>0.85159621901194904</c:v>
                </c:pt>
                <c:pt idx="47750">
                  <c:v>0.851614053861244</c:v>
                </c:pt>
                <c:pt idx="47751">
                  <c:v>0.85163188871053996</c:v>
                </c:pt>
                <c:pt idx="47752">
                  <c:v>0.85164972355983504</c:v>
                </c:pt>
                <c:pt idx="47753">
                  <c:v>0.851667558409131</c:v>
                </c:pt>
                <c:pt idx="47754">
                  <c:v>0.85168539325842696</c:v>
                </c:pt>
                <c:pt idx="47755">
                  <c:v>0.85170322810772203</c:v>
                </c:pt>
                <c:pt idx="47756">
                  <c:v>0.85172106295701799</c:v>
                </c:pt>
                <c:pt idx="47757">
                  <c:v>0.85173889780631296</c:v>
                </c:pt>
                <c:pt idx="47758">
                  <c:v>0.85175673265560903</c:v>
                </c:pt>
                <c:pt idx="47759">
                  <c:v>0.85177456750490399</c:v>
                </c:pt>
                <c:pt idx="47760">
                  <c:v>0.85179240235419995</c:v>
                </c:pt>
                <c:pt idx="47761">
                  <c:v>0.85181023720349502</c:v>
                </c:pt>
                <c:pt idx="47762">
                  <c:v>0.85182807205279099</c:v>
                </c:pt>
                <c:pt idx="47763">
                  <c:v>0.85184590690208595</c:v>
                </c:pt>
                <c:pt idx="47764">
                  <c:v>0.85186374175138202</c:v>
                </c:pt>
                <c:pt idx="47765">
                  <c:v>0.85188157660067698</c:v>
                </c:pt>
                <c:pt idx="47766">
                  <c:v>0.85189941144997305</c:v>
                </c:pt>
                <c:pt idx="47767">
                  <c:v>0.85191724629926802</c:v>
                </c:pt>
                <c:pt idx="47768">
                  <c:v>0.85193508114856398</c:v>
                </c:pt>
                <c:pt idx="47769">
                  <c:v>0.85195291599785905</c:v>
                </c:pt>
                <c:pt idx="47770">
                  <c:v>0.85197075084715501</c:v>
                </c:pt>
                <c:pt idx="47771">
                  <c:v>0.85198858569644997</c:v>
                </c:pt>
                <c:pt idx="47772">
                  <c:v>0.85200642054574605</c:v>
                </c:pt>
                <c:pt idx="47773">
                  <c:v>0.85202425539504101</c:v>
                </c:pt>
                <c:pt idx="47774">
                  <c:v>0.85204209024433697</c:v>
                </c:pt>
                <c:pt idx="47775">
                  <c:v>0.85205992509363204</c:v>
                </c:pt>
                <c:pt idx="47776">
                  <c:v>0.852077759942928</c:v>
                </c:pt>
                <c:pt idx="47777">
                  <c:v>0.85209559479222396</c:v>
                </c:pt>
                <c:pt idx="47778">
                  <c:v>0.85211342964151904</c:v>
                </c:pt>
                <c:pt idx="47779">
                  <c:v>0.852131264490815</c:v>
                </c:pt>
                <c:pt idx="47780">
                  <c:v>0.85214909934010996</c:v>
                </c:pt>
                <c:pt idx="47781">
                  <c:v>0.85216693418940603</c:v>
                </c:pt>
                <c:pt idx="47782">
                  <c:v>0.852184769038701</c:v>
                </c:pt>
                <c:pt idx="47783">
                  <c:v>0.85220260388799696</c:v>
                </c:pt>
                <c:pt idx="47784">
                  <c:v>0.85222043873729203</c:v>
                </c:pt>
                <c:pt idx="47785">
                  <c:v>0.85223827358658799</c:v>
                </c:pt>
                <c:pt idx="47786">
                  <c:v>0.85225610843588295</c:v>
                </c:pt>
                <c:pt idx="47787">
                  <c:v>0.85227394328517903</c:v>
                </c:pt>
                <c:pt idx="47788">
                  <c:v>0.85229177813447399</c:v>
                </c:pt>
                <c:pt idx="47789">
                  <c:v>0.85230961298376995</c:v>
                </c:pt>
                <c:pt idx="47790">
                  <c:v>0.85232744783306502</c:v>
                </c:pt>
                <c:pt idx="47791">
                  <c:v>0.85234528268236098</c:v>
                </c:pt>
                <c:pt idx="47792">
                  <c:v>0.85236311753165594</c:v>
                </c:pt>
                <c:pt idx="47793">
                  <c:v>0.85238095238095202</c:v>
                </c:pt>
                <c:pt idx="47794">
                  <c:v>0.85239878723024698</c:v>
                </c:pt>
                <c:pt idx="47795">
                  <c:v>0.85241662207954305</c:v>
                </c:pt>
                <c:pt idx="47796">
                  <c:v>0.85243445692883801</c:v>
                </c:pt>
                <c:pt idx="47797">
                  <c:v>0.85245229177813397</c:v>
                </c:pt>
                <c:pt idx="47798">
                  <c:v>0.85247012662743005</c:v>
                </c:pt>
                <c:pt idx="47799">
                  <c:v>0.85248796147672501</c:v>
                </c:pt>
                <c:pt idx="47800">
                  <c:v>0.85250579632602097</c:v>
                </c:pt>
                <c:pt idx="47801">
                  <c:v>0.85252363117531604</c:v>
                </c:pt>
                <c:pt idx="47802">
                  <c:v>0.852541466024612</c:v>
                </c:pt>
                <c:pt idx="47803">
                  <c:v>0.85255930087390697</c:v>
                </c:pt>
                <c:pt idx="47804">
                  <c:v>0.85257713572320304</c:v>
                </c:pt>
                <c:pt idx="47805">
                  <c:v>0.852594970572498</c:v>
                </c:pt>
                <c:pt idx="47806">
                  <c:v>0.85261280542179396</c:v>
                </c:pt>
                <c:pt idx="47807">
                  <c:v>0.85263064027108904</c:v>
                </c:pt>
                <c:pt idx="47808">
                  <c:v>0.852648475120385</c:v>
                </c:pt>
                <c:pt idx="47809">
                  <c:v>0.85266630996967996</c:v>
                </c:pt>
                <c:pt idx="47810">
                  <c:v>0.85268414481897603</c:v>
                </c:pt>
                <c:pt idx="47811">
                  <c:v>0.85270197966827099</c:v>
                </c:pt>
                <c:pt idx="47812">
                  <c:v>0.85271981451756695</c:v>
                </c:pt>
                <c:pt idx="47813">
                  <c:v>0.85273764936686203</c:v>
                </c:pt>
                <c:pt idx="47814">
                  <c:v>0.85275548421615799</c:v>
                </c:pt>
                <c:pt idx="47815">
                  <c:v>0.85277331906545395</c:v>
                </c:pt>
                <c:pt idx="47816">
                  <c:v>0.85279115391474902</c:v>
                </c:pt>
                <c:pt idx="47817">
                  <c:v>0.85280898876404498</c:v>
                </c:pt>
                <c:pt idx="47818">
                  <c:v>0.85282682361333995</c:v>
                </c:pt>
                <c:pt idx="47819">
                  <c:v>0.85284465846263602</c:v>
                </c:pt>
                <c:pt idx="47820">
                  <c:v>0.85286249331193098</c:v>
                </c:pt>
                <c:pt idx="47821">
                  <c:v>0.85288032816122705</c:v>
                </c:pt>
                <c:pt idx="47822">
                  <c:v>0.85289816301052201</c:v>
                </c:pt>
                <c:pt idx="47823">
                  <c:v>0.85291599785981798</c:v>
                </c:pt>
                <c:pt idx="47824">
                  <c:v>0.85293383270911305</c:v>
                </c:pt>
                <c:pt idx="47825">
                  <c:v>0.85295166755840901</c:v>
                </c:pt>
                <c:pt idx="47826">
                  <c:v>0.85296950240770397</c:v>
                </c:pt>
                <c:pt idx="47827">
                  <c:v>0.85298733725700004</c:v>
                </c:pt>
                <c:pt idx="47828">
                  <c:v>0.85300517210629501</c:v>
                </c:pt>
                <c:pt idx="47829">
                  <c:v>0.85302300695559097</c:v>
                </c:pt>
                <c:pt idx="47830">
                  <c:v>0.85304084180488604</c:v>
                </c:pt>
                <c:pt idx="47831">
                  <c:v>0.853058676654182</c:v>
                </c:pt>
                <c:pt idx="47832">
                  <c:v>0.85307651150347696</c:v>
                </c:pt>
                <c:pt idx="47833">
                  <c:v>0.85309434635277304</c:v>
                </c:pt>
                <c:pt idx="47834">
                  <c:v>0.853112181202068</c:v>
                </c:pt>
                <c:pt idx="47835">
                  <c:v>0.85313001605136396</c:v>
                </c:pt>
                <c:pt idx="47836">
                  <c:v>0.85314785090065903</c:v>
                </c:pt>
                <c:pt idx="47837">
                  <c:v>0.85316568574995499</c:v>
                </c:pt>
                <c:pt idx="47838">
                  <c:v>0.85318352059925096</c:v>
                </c:pt>
                <c:pt idx="47839">
                  <c:v>0.85320135544854603</c:v>
                </c:pt>
                <c:pt idx="47840">
                  <c:v>0.85321919029784199</c:v>
                </c:pt>
                <c:pt idx="47841">
                  <c:v>0.85323702514713695</c:v>
                </c:pt>
                <c:pt idx="47842">
                  <c:v>0.85325485999643302</c:v>
                </c:pt>
                <c:pt idx="47843">
                  <c:v>0.85327269484572799</c:v>
                </c:pt>
                <c:pt idx="47844">
                  <c:v>0.85329052969502395</c:v>
                </c:pt>
                <c:pt idx="47845">
                  <c:v>0.85330836454431902</c:v>
                </c:pt>
                <c:pt idx="47846">
                  <c:v>0.85332619939361498</c:v>
                </c:pt>
                <c:pt idx="47847">
                  <c:v>0.85334403424291005</c:v>
                </c:pt>
                <c:pt idx="47848">
                  <c:v>0.85336186909220602</c:v>
                </c:pt>
                <c:pt idx="47849">
                  <c:v>0.85337970394150098</c:v>
                </c:pt>
                <c:pt idx="47850">
                  <c:v>0.85339753879079705</c:v>
                </c:pt>
                <c:pt idx="47851">
                  <c:v>0.85341537364009201</c:v>
                </c:pt>
                <c:pt idx="47852">
                  <c:v>0.85343320848938797</c:v>
                </c:pt>
                <c:pt idx="47853">
                  <c:v>0.85345104333868305</c:v>
                </c:pt>
                <c:pt idx="47854">
                  <c:v>0.85346887818797901</c:v>
                </c:pt>
                <c:pt idx="47855">
                  <c:v>0.85348671303727397</c:v>
                </c:pt>
                <c:pt idx="47856">
                  <c:v>0.85350454788657004</c:v>
                </c:pt>
                <c:pt idx="47857">
                  <c:v>0.853522382735865</c:v>
                </c:pt>
                <c:pt idx="47858">
                  <c:v>0.85354021758516097</c:v>
                </c:pt>
                <c:pt idx="47859">
                  <c:v>0.85355805243445604</c:v>
                </c:pt>
                <c:pt idx="47860">
                  <c:v>0.853575887283752</c:v>
                </c:pt>
                <c:pt idx="47861">
                  <c:v>0.85359372213304796</c:v>
                </c:pt>
                <c:pt idx="47862">
                  <c:v>0.85361155698234303</c:v>
                </c:pt>
                <c:pt idx="47863">
                  <c:v>0.853629391831639</c:v>
                </c:pt>
                <c:pt idx="47864">
                  <c:v>0.85364722668093396</c:v>
                </c:pt>
                <c:pt idx="47865">
                  <c:v>0.85366506153023003</c:v>
                </c:pt>
                <c:pt idx="47866">
                  <c:v>0.85368289637952499</c:v>
                </c:pt>
                <c:pt idx="47867">
                  <c:v>0.85370073122882095</c:v>
                </c:pt>
                <c:pt idx="47868">
                  <c:v>0.85371856607811603</c:v>
                </c:pt>
                <c:pt idx="47869">
                  <c:v>0.85373640092741199</c:v>
                </c:pt>
                <c:pt idx="47870">
                  <c:v>0.85375423577670695</c:v>
                </c:pt>
                <c:pt idx="47871">
                  <c:v>0.85377207062600302</c:v>
                </c:pt>
                <c:pt idx="47872">
                  <c:v>0.85378990547529798</c:v>
                </c:pt>
                <c:pt idx="47873">
                  <c:v>0.85380774032459394</c:v>
                </c:pt>
                <c:pt idx="47874">
                  <c:v>0.85382557517388902</c:v>
                </c:pt>
                <c:pt idx="47875">
                  <c:v>0.85384341002318498</c:v>
                </c:pt>
                <c:pt idx="47876">
                  <c:v>0.85386124487248005</c:v>
                </c:pt>
                <c:pt idx="47877">
                  <c:v>0.85387907972177601</c:v>
                </c:pt>
                <c:pt idx="47878">
                  <c:v>0.85389691457107098</c:v>
                </c:pt>
                <c:pt idx="47879">
                  <c:v>0.85391474942036705</c:v>
                </c:pt>
                <c:pt idx="47880">
                  <c:v>0.85393258426966201</c:v>
                </c:pt>
                <c:pt idx="47881">
                  <c:v>0.85395041911895797</c:v>
                </c:pt>
                <c:pt idx="47882">
                  <c:v>0.85396825396825304</c:v>
                </c:pt>
                <c:pt idx="47883">
                  <c:v>0.85398608881754901</c:v>
                </c:pt>
                <c:pt idx="47884">
                  <c:v>0.85400392366684497</c:v>
                </c:pt>
                <c:pt idx="47885">
                  <c:v>0.85402175851614004</c:v>
                </c:pt>
                <c:pt idx="47886">
                  <c:v>0.854039593365436</c:v>
                </c:pt>
                <c:pt idx="47887">
                  <c:v>0.85405742821473096</c:v>
                </c:pt>
                <c:pt idx="47888">
                  <c:v>0.85407526306402703</c:v>
                </c:pt>
                <c:pt idx="47889">
                  <c:v>0.854093097913322</c:v>
                </c:pt>
                <c:pt idx="47890">
                  <c:v>0.85411093276261796</c:v>
                </c:pt>
                <c:pt idx="47891">
                  <c:v>0.85412876761191303</c:v>
                </c:pt>
                <c:pt idx="47892">
                  <c:v>0.85414660246120899</c:v>
                </c:pt>
                <c:pt idx="47893">
                  <c:v>0.85416443731050395</c:v>
                </c:pt>
                <c:pt idx="47894">
                  <c:v>0.85418227215980003</c:v>
                </c:pt>
                <c:pt idx="47895">
                  <c:v>0.85420010700909499</c:v>
                </c:pt>
                <c:pt idx="47896">
                  <c:v>0.85421794185839095</c:v>
                </c:pt>
                <c:pt idx="47897">
                  <c:v>0.85423577670768602</c:v>
                </c:pt>
                <c:pt idx="47898">
                  <c:v>0.85425361155698198</c:v>
                </c:pt>
                <c:pt idx="47899">
                  <c:v>0.85427144640627695</c:v>
                </c:pt>
                <c:pt idx="47900">
                  <c:v>0.85428928125557302</c:v>
                </c:pt>
                <c:pt idx="47901">
                  <c:v>0.85430711610486798</c:v>
                </c:pt>
                <c:pt idx="47902">
                  <c:v>0.85432495095416405</c:v>
                </c:pt>
                <c:pt idx="47903">
                  <c:v>0.85434278580346001</c:v>
                </c:pt>
                <c:pt idx="47904">
                  <c:v>0.85436062065275498</c:v>
                </c:pt>
                <c:pt idx="47905">
                  <c:v>0.85437845550205105</c:v>
                </c:pt>
                <c:pt idx="47906">
                  <c:v>0.85439629035134601</c:v>
                </c:pt>
                <c:pt idx="47907">
                  <c:v>0.85441412520064197</c:v>
                </c:pt>
                <c:pt idx="47908">
                  <c:v>0.85443196004993704</c:v>
                </c:pt>
                <c:pt idx="47909">
                  <c:v>0.85444979489923301</c:v>
                </c:pt>
                <c:pt idx="47910">
                  <c:v>0.85446762974852797</c:v>
                </c:pt>
                <c:pt idx="47911">
                  <c:v>0.85448546459782404</c:v>
                </c:pt>
                <c:pt idx="47912">
                  <c:v>0.854503299447119</c:v>
                </c:pt>
                <c:pt idx="47913">
                  <c:v>0.85452113429641496</c:v>
                </c:pt>
                <c:pt idx="47914">
                  <c:v>0.85453896914571004</c:v>
                </c:pt>
                <c:pt idx="47915">
                  <c:v>0.854556803995006</c:v>
                </c:pt>
                <c:pt idx="47916">
                  <c:v>0.85457463884430096</c:v>
                </c:pt>
                <c:pt idx="47917">
                  <c:v>0.85459247369359703</c:v>
                </c:pt>
                <c:pt idx="47918">
                  <c:v>0.85461030854289199</c:v>
                </c:pt>
                <c:pt idx="47919">
                  <c:v>0.85462814339218796</c:v>
                </c:pt>
                <c:pt idx="47920">
                  <c:v>0.85464597824148303</c:v>
                </c:pt>
                <c:pt idx="47921">
                  <c:v>0.85466381309077899</c:v>
                </c:pt>
                <c:pt idx="47922">
                  <c:v>0.85468164794007495</c:v>
                </c:pt>
                <c:pt idx="47923">
                  <c:v>0.85469948278937002</c:v>
                </c:pt>
                <c:pt idx="47924">
                  <c:v>0.85471731763866599</c:v>
                </c:pt>
                <c:pt idx="47925">
                  <c:v>0.85473515248796095</c:v>
                </c:pt>
                <c:pt idx="47926">
                  <c:v>0.85475298733725702</c:v>
                </c:pt>
                <c:pt idx="47927">
                  <c:v>0.85477082218655198</c:v>
                </c:pt>
                <c:pt idx="47928">
                  <c:v>0.85478865703584805</c:v>
                </c:pt>
                <c:pt idx="47929">
                  <c:v>0.85480649188514302</c:v>
                </c:pt>
                <c:pt idx="47930">
                  <c:v>0.85482432673443898</c:v>
                </c:pt>
                <c:pt idx="47931">
                  <c:v>0.85484216158373405</c:v>
                </c:pt>
                <c:pt idx="47932">
                  <c:v>0.85485999643303001</c:v>
                </c:pt>
                <c:pt idx="47933">
                  <c:v>0.85487783128232497</c:v>
                </c:pt>
                <c:pt idx="47934">
                  <c:v>0.85489566613162105</c:v>
                </c:pt>
                <c:pt idx="47935">
                  <c:v>0.85491350098091601</c:v>
                </c:pt>
                <c:pt idx="47936">
                  <c:v>0.85493133583021197</c:v>
                </c:pt>
                <c:pt idx="47937">
                  <c:v>0.85494917067950704</c:v>
                </c:pt>
                <c:pt idx="47938">
                  <c:v>0.854967005528803</c:v>
                </c:pt>
                <c:pt idx="47939">
                  <c:v>0.85498484037809797</c:v>
                </c:pt>
                <c:pt idx="47940">
                  <c:v>0.85500267522739404</c:v>
                </c:pt>
                <c:pt idx="47941">
                  <c:v>0.855020510076689</c:v>
                </c:pt>
                <c:pt idx="47942">
                  <c:v>0.85503834492598496</c:v>
                </c:pt>
                <c:pt idx="47943">
                  <c:v>0.85505617977528003</c:v>
                </c:pt>
                <c:pt idx="47944">
                  <c:v>0.855074014624576</c:v>
                </c:pt>
                <c:pt idx="47945">
                  <c:v>0.85509184947387196</c:v>
                </c:pt>
                <c:pt idx="47946">
                  <c:v>0.85510968432316703</c:v>
                </c:pt>
                <c:pt idx="47947">
                  <c:v>0.85512751917246299</c:v>
                </c:pt>
                <c:pt idx="47948">
                  <c:v>0.85514535402175795</c:v>
                </c:pt>
                <c:pt idx="47949">
                  <c:v>0.85516318887105403</c:v>
                </c:pt>
                <c:pt idx="47950">
                  <c:v>0.85518102372034899</c:v>
                </c:pt>
                <c:pt idx="47951">
                  <c:v>0.85519885856964495</c:v>
                </c:pt>
                <c:pt idx="47952">
                  <c:v>0.85521669341894002</c:v>
                </c:pt>
                <c:pt idx="47953">
                  <c:v>0.85523452826823598</c:v>
                </c:pt>
                <c:pt idx="47954">
                  <c:v>0.85525236311753094</c:v>
                </c:pt>
                <c:pt idx="47955">
                  <c:v>0.85527019796682702</c:v>
                </c:pt>
                <c:pt idx="47956">
                  <c:v>0.85528803281612198</c:v>
                </c:pt>
                <c:pt idx="47957">
                  <c:v>0.85530586766541805</c:v>
                </c:pt>
                <c:pt idx="47958">
                  <c:v>0.85532370251471301</c:v>
                </c:pt>
                <c:pt idx="47959">
                  <c:v>0.85534153736400897</c:v>
                </c:pt>
                <c:pt idx="47960">
                  <c:v>0.85535937221330405</c:v>
                </c:pt>
                <c:pt idx="47961">
                  <c:v>0.85537720706260001</c:v>
                </c:pt>
                <c:pt idx="47962">
                  <c:v>0.85539504191189497</c:v>
                </c:pt>
                <c:pt idx="47963">
                  <c:v>0.85541287676119104</c:v>
                </c:pt>
                <c:pt idx="47964">
                  <c:v>0.85543071161048601</c:v>
                </c:pt>
                <c:pt idx="47965">
                  <c:v>0.85544854645978197</c:v>
                </c:pt>
                <c:pt idx="47966">
                  <c:v>0.85546638130907704</c:v>
                </c:pt>
                <c:pt idx="47967">
                  <c:v>0.855484216158373</c:v>
                </c:pt>
                <c:pt idx="47968">
                  <c:v>0.85550205100766896</c:v>
                </c:pt>
                <c:pt idx="47969">
                  <c:v>0.85551988585696404</c:v>
                </c:pt>
                <c:pt idx="47970">
                  <c:v>0.85553772070626</c:v>
                </c:pt>
                <c:pt idx="47971">
                  <c:v>0.85555555555555496</c:v>
                </c:pt>
                <c:pt idx="47972">
                  <c:v>0.85557339040485103</c:v>
                </c:pt>
                <c:pt idx="47973">
                  <c:v>0.85559122525414599</c:v>
                </c:pt>
                <c:pt idx="47974">
                  <c:v>0.85560906010344195</c:v>
                </c:pt>
                <c:pt idx="47975">
                  <c:v>0.85562689495273703</c:v>
                </c:pt>
                <c:pt idx="47976">
                  <c:v>0.85564472980203299</c:v>
                </c:pt>
                <c:pt idx="47977">
                  <c:v>0.85566256465132795</c:v>
                </c:pt>
                <c:pt idx="47978">
                  <c:v>0.85568039950062402</c:v>
                </c:pt>
                <c:pt idx="47979">
                  <c:v>0.85569823434991898</c:v>
                </c:pt>
                <c:pt idx="47980">
                  <c:v>0.85571606919921495</c:v>
                </c:pt>
                <c:pt idx="47981">
                  <c:v>0.85573390404851002</c:v>
                </c:pt>
                <c:pt idx="47982">
                  <c:v>0.85575173889780598</c:v>
                </c:pt>
                <c:pt idx="47983">
                  <c:v>0.85576957374710105</c:v>
                </c:pt>
                <c:pt idx="47984">
                  <c:v>0.85578740859639701</c:v>
                </c:pt>
                <c:pt idx="47985">
                  <c:v>0.85580524344569198</c:v>
                </c:pt>
                <c:pt idx="47986">
                  <c:v>0.85582307829498805</c:v>
                </c:pt>
                <c:pt idx="47987">
                  <c:v>0.85584091314428301</c:v>
                </c:pt>
                <c:pt idx="47988">
                  <c:v>0.85585874799357897</c:v>
                </c:pt>
                <c:pt idx="47989">
                  <c:v>0.85587658284287405</c:v>
                </c:pt>
                <c:pt idx="47990">
                  <c:v>0.85589441769217001</c:v>
                </c:pt>
                <c:pt idx="47991">
                  <c:v>0.85591225254146597</c:v>
                </c:pt>
                <c:pt idx="47992">
                  <c:v>0.85593008739076104</c:v>
                </c:pt>
                <c:pt idx="47993">
                  <c:v>0.855947922240057</c:v>
                </c:pt>
                <c:pt idx="47994">
                  <c:v>0.85596575708935196</c:v>
                </c:pt>
                <c:pt idx="47995">
                  <c:v>0.85598359193864804</c:v>
                </c:pt>
                <c:pt idx="47996">
                  <c:v>0.856001426787943</c:v>
                </c:pt>
                <c:pt idx="47997">
                  <c:v>0.85601926163723896</c:v>
                </c:pt>
                <c:pt idx="47998">
                  <c:v>0.85603709648653403</c:v>
                </c:pt>
                <c:pt idx="47999">
                  <c:v>0.85605493133582999</c:v>
                </c:pt>
                <c:pt idx="48000">
                  <c:v>0.85607276618512496</c:v>
                </c:pt>
                <c:pt idx="48001">
                  <c:v>0.85609060103442103</c:v>
                </c:pt>
                <c:pt idx="48002">
                  <c:v>0.85610843588371599</c:v>
                </c:pt>
                <c:pt idx="48003">
                  <c:v>0.85612627073301195</c:v>
                </c:pt>
                <c:pt idx="48004">
                  <c:v>0.85614410558230702</c:v>
                </c:pt>
                <c:pt idx="48005">
                  <c:v>0.85616194043160299</c:v>
                </c:pt>
                <c:pt idx="48006">
                  <c:v>0.85617977528089795</c:v>
                </c:pt>
                <c:pt idx="48007">
                  <c:v>0.85619761013019402</c:v>
                </c:pt>
                <c:pt idx="48008">
                  <c:v>0.85621544497948898</c:v>
                </c:pt>
                <c:pt idx="48009">
                  <c:v>0.85623327982878505</c:v>
                </c:pt>
                <c:pt idx="48010">
                  <c:v>0.85625111467808102</c:v>
                </c:pt>
                <c:pt idx="48011">
                  <c:v>0.85626894952737598</c:v>
                </c:pt>
                <c:pt idx="48012">
                  <c:v>0.85628678437667205</c:v>
                </c:pt>
                <c:pt idx="48013">
                  <c:v>0.85630461922596701</c:v>
                </c:pt>
                <c:pt idx="48014">
                  <c:v>0.85632245407526297</c:v>
                </c:pt>
                <c:pt idx="48015">
                  <c:v>0.85634028892455805</c:v>
                </c:pt>
                <c:pt idx="48016">
                  <c:v>0.85635812377385401</c:v>
                </c:pt>
                <c:pt idx="48017">
                  <c:v>0.85637595862314897</c:v>
                </c:pt>
                <c:pt idx="48018">
                  <c:v>0.85639379347244504</c:v>
                </c:pt>
                <c:pt idx="48019">
                  <c:v>0.85641162832174</c:v>
                </c:pt>
                <c:pt idx="48020">
                  <c:v>0.85642946317103597</c:v>
                </c:pt>
                <c:pt idx="48021">
                  <c:v>0.85644729802033104</c:v>
                </c:pt>
                <c:pt idx="48022">
                  <c:v>0.856465132869627</c:v>
                </c:pt>
                <c:pt idx="48023">
                  <c:v>0.85648296771892196</c:v>
                </c:pt>
                <c:pt idx="48024">
                  <c:v>0.85650080256821803</c:v>
                </c:pt>
                <c:pt idx="48025">
                  <c:v>0.856518637417513</c:v>
                </c:pt>
                <c:pt idx="48026">
                  <c:v>0.85653647226680896</c:v>
                </c:pt>
                <c:pt idx="48027">
                  <c:v>0.85655430711610403</c:v>
                </c:pt>
                <c:pt idx="48028">
                  <c:v>0.85657214196539999</c:v>
                </c:pt>
                <c:pt idx="48029">
                  <c:v>0.85658997681469595</c:v>
                </c:pt>
                <c:pt idx="48030">
                  <c:v>0.85660781166399103</c:v>
                </c:pt>
                <c:pt idx="48031">
                  <c:v>0.85662564651328699</c:v>
                </c:pt>
                <c:pt idx="48032">
                  <c:v>0.85664348136258195</c:v>
                </c:pt>
                <c:pt idx="48033">
                  <c:v>0.85666131621187802</c:v>
                </c:pt>
                <c:pt idx="48034">
                  <c:v>0.85667915106117298</c:v>
                </c:pt>
                <c:pt idx="48035">
                  <c:v>0.85669698591046906</c:v>
                </c:pt>
                <c:pt idx="48036">
                  <c:v>0.85671482075976402</c:v>
                </c:pt>
                <c:pt idx="48037">
                  <c:v>0.85673265560905998</c:v>
                </c:pt>
                <c:pt idx="48038">
                  <c:v>0.85675049045835505</c:v>
                </c:pt>
                <c:pt idx="48039">
                  <c:v>0.85676832530765101</c:v>
                </c:pt>
                <c:pt idx="48040">
                  <c:v>0.85678616015694598</c:v>
                </c:pt>
                <c:pt idx="48041">
                  <c:v>0.85680399500624205</c:v>
                </c:pt>
                <c:pt idx="48042">
                  <c:v>0.85682182985553701</c:v>
                </c:pt>
                <c:pt idx="48043">
                  <c:v>0.85683966470483297</c:v>
                </c:pt>
                <c:pt idx="48044">
                  <c:v>0.85685749955412804</c:v>
                </c:pt>
                <c:pt idx="48045">
                  <c:v>0.856875334403424</c:v>
                </c:pt>
                <c:pt idx="48046">
                  <c:v>0.85689316925271897</c:v>
                </c:pt>
                <c:pt idx="48047">
                  <c:v>0.85691100410201504</c:v>
                </c:pt>
                <c:pt idx="48048">
                  <c:v>0.85692883895131</c:v>
                </c:pt>
                <c:pt idx="48049">
                  <c:v>0.85694667380060596</c:v>
                </c:pt>
                <c:pt idx="48050">
                  <c:v>0.85696450864990104</c:v>
                </c:pt>
                <c:pt idx="48051">
                  <c:v>0.856982343499197</c:v>
                </c:pt>
                <c:pt idx="48052">
                  <c:v>0.85700017834849296</c:v>
                </c:pt>
                <c:pt idx="48053">
                  <c:v>0.85701801319778803</c:v>
                </c:pt>
                <c:pt idx="48054">
                  <c:v>0.85703584804708399</c:v>
                </c:pt>
                <c:pt idx="48055">
                  <c:v>0.85705368289637895</c:v>
                </c:pt>
                <c:pt idx="48056">
                  <c:v>0.85707151774567503</c:v>
                </c:pt>
                <c:pt idx="48057">
                  <c:v>0.85708935259496999</c:v>
                </c:pt>
                <c:pt idx="48058">
                  <c:v>0.85710718744426595</c:v>
                </c:pt>
                <c:pt idx="48059">
                  <c:v>0.85712502229356102</c:v>
                </c:pt>
                <c:pt idx="48060">
                  <c:v>0.85714285714285698</c:v>
                </c:pt>
                <c:pt idx="48061">
                  <c:v>0.85716069199215195</c:v>
                </c:pt>
                <c:pt idx="48062">
                  <c:v>0.85717852684144802</c:v>
                </c:pt>
                <c:pt idx="48063">
                  <c:v>0.85719636169074298</c:v>
                </c:pt>
                <c:pt idx="48064">
                  <c:v>0.85721419654003905</c:v>
                </c:pt>
                <c:pt idx="48065">
                  <c:v>0.85723203138933401</c:v>
                </c:pt>
                <c:pt idx="48066">
                  <c:v>0.85724986623862998</c:v>
                </c:pt>
                <c:pt idx="48067">
                  <c:v>0.85726770108792505</c:v>
                </c:pt>
                <c:pt idx="48068">
                  <c:v>0.85728553593722101</c:v>
                </c:pt>
                <c:pt idx="48069">
                  <c:v>0.85730337078651597</c:v>
                </c:pt>
                <c:pt idx="48070">
                  <c:v>0.85732120563581204</c:v>
                </c:pt>
                <c:pt idx="48071">
                  <c:v>0.85733904048510701</c:v>
                </c:pt>
                <c:pt idx="48072">
                  <c:v>0.85735687533440297</c:v>
                </c:pt>
                <c:pt idx="48073">
                  <c:v>0.85737471018369804</c:v>
                </c:pt>
                <c:pt idx="48074">
                  <c:v>0.857392545032994</c:v>
                </c:pt>
                <c:pt idx="48075">
                  <c:v>0.85741037988228996</c:v>
                </c:pt>
                <c:pt idx="48076">
                  <c:v>0.85742821473158504</c:v>
                </c:pt>
                <c:pt idx="48077">
                  <c:v>0.857446049580881</c:v>
                </c:pt>
                <c:pt idx="48078">
                  <c:v>0.85746388443017596</c:v>
                </c:pt>
                <c:pt idx="48079">
                  <c:v>0.85748171927947203</c:v>
                </c:pt>
                <c:pt idx="48080">
                  <c:v>0.85749955412876699</c:v>
                </c:pt>
                <c:pt idx="48081">
                  <c:v>0.85751738897806296</c:v>
                </c:pt>
                <c:pt idx="48082">
                  <c:v>0.85753522382735803</c:v>
                </c:pt>
                <c:pt idx="48083">
                  <c:v>0.85755305867665399</c:v>
                </c:pt>
                <c:pt idx="48084">
                  <c:v>0.85757089352594895</c:v>
                </c:pt>
                <c:pt idx="48085">
                  <c:v>0.85758872837524502</c:v>
                </c:pt>
                <c:pt idx="48086">
                  <c:v>0.85760656322453999</c:v>
                </c:pt>
                <c:pt idx="48087">
                  <c:v>0.85762439807383595</c:v>
                </c:pt>
                <c:pt idx="48088">
                  <c:v>0.85764223292313102</c:v>
                </c:pt>
                <c:pt idx="48089">
                  <c:v>0.85766006777242698</c:v>
                </c:pt>
                <c:pt idx="48090">
                  <c:v>0.85767790262172205</c:v>
                </c:pt>
                <c:pt idx="48091">
                  <c:v>0.85769573747101802</c:v>
                </c:pt>
                <c:pt idx="48092">
                  <c:v>0.85771357232031298</c:v>
                </c:pt>
                <c:pt idx="48093">
                  <c:v>0.85773140716960905</c:v>
                </c:pt>
                <c:pt idx="48094">
                  <c:v>0.85774924201890401</c:v>
                </c:pt>
                <c:pt idx="48095">
                  <c:v>0.85776707686819997</c:v>
                </c:pt>
                <c:pt idx="48096">
                  <c:v>0.85778491171749505</c:v>
                </c:pt>
                <c:pt idx="48097">
                  <c:v>0.85780274656679101</c:v>
                </c:pt>
                <c:pt idx="48098">
                  <c:v>0.85782058141608697</c:v>
                </c:pt>
                <c:pt idx="48099">
                  <c:v>0.85783841626538204</c:v>
                </c:pt>
                <c:pt idx="48100">
                  <c:v>0.857856251114678</c:v>
                </c:pt>
                <c:pt idx="48101">
                  <c:v>0.85787408596397297</c:v>
                </c:pt>
                <c:pt idx="48102">
                  <c:v>0.85789192081326904</c:v>
                </c:pt>
                <c:pt idx="48103">
                  <c:v>0.857909755662564</c:v>
                </c:pt>
                <c:pt idx="48104">
                  <c:v>0.85792759051185996</c:v>
                </c:pt>
                <c:pt idx="48105">
                  <c:v>0.85794542536115503</c:v>
                </c:pt>
                <c:pt idx="48106">
                  <c:v>0.857963260210451</c:v>
                </c:pt>
                <c:pt idx="48107">
                  <c:v>0.85798109505974596</c:v>
                </c:pt>
                <c:pt idx="48108">
                  <c:v>0.85799892990904203</c:v>
                </c:pt>
                <c:pt idx="48109">
                  <c:v>0.85801676475833699</c:v>
                </c:pt>
                <c:pt idx="48110">
                  <c:v>0.85803459960763295</c:v>
                </c:pt>
                <c:pt idx="48111">
                  <c:v>0.85805243445692803</c:v>
                </c:pt>
                <c:pt idx="48112">
                  <c:v>0.85807026930622399</c:v>
                </c:pt>
                <c:pt idx="48113">
                  <c:v>0.85808810415551895</c:v>
                </c:pt>
                <c:pt idx="48114">
                  <c:v>0.85810593900481502</c:v>
                </c:pt>
                <c:pt idx="48115">
                  <c:v>0.85812377385411098</c:v>
                </c:pt>
                <c:pt idx="48116">
                  <c:v>0.85814160870340594</c:v>
                </c:pt>
                <c:pt idx="48117">
                  <c:v>0.85815944355270202</c:v>
                </c:pt>
                <c:pt idx="48118">
                  <c:v>0.85817727840199698</c:v>
                </c:pt>
                <c:pt idx="48119">
                  <c:v>0.85819511325129305</c:v>
                </c:pt>
                <c:pt idx="48120">
                  <c:v>0.85821294810058801</c:v>
                </c:pt>
                <c:pt idx="48121">
                  <c:v>0.85823078294988397</c:v>
                </c:pt>
                <c:pt idx="48122">
                  <c:v>0.85824861779917905</c:v>
                </c:pt>
                <c:pt idx="48123">
                  <c:v>0.85826645264847501</c:v>
                </c:pt>
                <c:pt idx="48124">
                  <c:v>0.85828428749776997</c:v>
                </c:pt>
                <c:pt idx="48125">
                  <c:v>0.85830212234706604</c:v>
                </c:pt>
                <c:pt idx="48126">
                  <c:v>0.85831995719636101</c:v>
                </c:pt>
                <c:pt idx="48127">
                  <c:v>0.85833779204565697</c:v>
                </c:pt>
                <c:pt idx="48128">
                  <c:v>0.85835562689495204</c:v>
                </c:pt>
                <c:pt idx="48129">
                  <c:v>0.858373461744248</c:v>
                </c:pt>
                <c:pt idx="48130">
                  <c:v>0.85839129659354296</c:v>
                </c:pt>
                <c:pt idx="48131">
                  <c:v>0.85840913144283904</c:v>
                </c:pt>
                <c:pt idx="48132">
                  <c:v>0.858426966292134</c:v>
                </c:pt>
                <c:pt idx="48133">
                  <c:v>0.85844480114142996</c:v>
                </c:pt>
                <c:pt idx="48134">
                  <c:v>0.85846263599072503</c:v>
                </c:pt>
                <c:pt idx="48135">
                  <c:v>0.85848047084002099</c:v>
                </c:pt>
                <c:pt idx="48136">
                  <c:v>0.85849830568931695</c:v>
                </c:pt>
                <c:pt idx="48137">
                  <c:v>0.85851614053861203</c:v>
                </c:pt>
                <c:pt idx="48138">
                  <c:v>0.85853397538790799</c:v>
                </c:pt>
                <c:pt idx="48139">
                  <c:v>0.85855181023720295</c:v>
                </c:pt>
                <c:pt idx="48140">
                  <c:v>0.85856964508649902</c:v>
                </c:pt>
                <c:pt idx="48141">
                  <c:v>0.85858747993579398</c:v>
                </c:pt>
                <c:pt idx="48142">
                  <c:v>0.85860531478508995</c:v>
                </c:pt>
                <c:pt idx="48143">
                  <c:v>0.85862314963438502</c:v>
                </c:pt>
                <c:pt idx="48144">
                  <c:v>0.85864098448368098</c:v>
                </c:pt>
                <c:pt idx="48145">
                  <c:v>0.85865881933297605</c:v>
                </c:pt>
                <c:pt idx="48146">
                  <c:v>0.85867665418227201</c:v>
                </c:pt>
                <c:pt idx="48147">
                  <c:v>0.85869448903156698</c:v>
                </c:pt>
                <c:pt idx="48148">
                  <c:v>0.85871232388086305</c:v>
                </c:pt>
                <c:pt idx="48149">
                  <c:v>0.85873015873015801</c:v>
                </c:pt>
                <c:pt idx="48150">
                  <c:v>0.85874799357945397</c:v>
                </c:pt>
                <c:pt idx="48151">
                  <c:v>0.85876582842874905</c:v>
                </c:pt>
                <c:pt idx="48152">
                  <c:v>0.85878366327804501</c:v>
                </c:pt>
                <c:pt idx="48153">
                  <c:v>0.85880149812733997</c:v>
                </c:pt>
                <c:pt idx="48154">
                  <c:v>0.85881933297663604</c:v>
                </c:pt>
                <c:pt idx="48155">
                  <c:v>0.858837167825931</c:v>
                </c:pt>
                <c:pt idx="48156">
                  <c:v>0.85885500267522696</c:v>
                </c:pt>
                <c:pt idx="48157">
                  <c:v>0.85887283752452204</c:v>
                </c:pt>
                <c:pt idx="48158">
                  <c:v>0.858890672373818</c:v>
                </c:pt>
                <c:pt idx="48159">
                  <c:v>0.85890850722311396</c:v>
                </c:pt>
                <c:pt idx="48160">
                  <c:v>0.85892634207240903</c:v>
                </c:pt>
                <c:pt idx="48161">
                  <c:v>0.85894417692170499</c:v>
                </c:pt>
                <c:pt idx="48162">
                  <c:v>0.85896201177099996</c:v>
                </c:pt>
                <c:pt idx="48163">
                  <c:v>0.85897984662029603</c:v>
                </c:pt>
                <c:pt idx="48164">
                  <c:v>0.85899768146959099</c:v>
                </c:pt>
                <c:pt idx="48165">
                  <c:v>0.85901551631888695</c:v>
                </c:pt>
                <c:pt idx="48166">
                  <c:v>0.85903335116818202</c:v>
                </c:pt>
                <c:pt idx="48167">
                  <c:v>0.85905118601747799</c:v>
                </c:pt>
                <c:pt idx="48168">
                  <c:v>0.85906902086677295</c:v>
                </c:pt>
                <c:pt idx="48169">
                  <c:v>0.85908685571606902</c:v>
                </c:pt>
                <c:pt idx="48170">
                  <c:v>0.85910469056536398</c:v>
                </c:pt>
                <c:pt idx="48171">
                  <c:v>0.85912252541466005</c:v>
                </c:pt>
                <c:pt idx="48172">
                  <c:v>0.85914036026395502</c:v>
                </c:pt>
                <c:pt idx="48173">
                  <c:v>0.85915819511325098</c:v>
                </c:pt>
                <c:pt idx="48174">
                  <c:v>0.85917602996254605</c:v>
                </c:pt>
                <c:pt idx="48175">
                  <c:v>0.85919386481184201</c:v>
                </c:pt>
                <c:pt idx="48176">
                  <c:v>0.85921169966113697</c:v>
                </c:pt>
                <c:pt idx="48177">
                  <c:v>0.85922953451043305</c:v>
                </c:pt>
                <c:pt idx="48178">
                  <c:v>0.85924736935972801</c:v>
                </c:pt>
                <c:pt idx="48179">
                  <c:v>0.85926520420902397</c:v>
                </c:pt>
                <c:pt idx="48180">
                  <c:v>0.85928303905831904</c:v>
                </c:pt>
                <c:pt idx="48181">
                  <c:v>0.859300873907615</c:v>
                </c:pt>
                <c:pt idx="48182">
                  <c:v>0.85931870875691097</c:v>
                </c:pt>
                <c:pt idx="48183">
                  <c:v>0.85933654360620604</c:v>
                </c:pt>
                <c:pt idx="48184">
                  <c:v>0.859354378455502</c:v>
                </c:pt>
                <c:pt idx="48185">
                  <c:v>0.85937221330479696</c:v>
                </c:pt>
                <c:pt idx="48186">
                  <c:v>0.85939004815409303</c:v>
                </c:pt>
                <c:pt idx="48187">
                  <c:v>0.859407883003388</c:v>
                </c:pt>
                <c:pt idx="48188">
                  <c:v>0.85942571785268396</c:v>
                </c:pt>
                <c:pt idx="48189">
                  <c:v>0.85944355270197903</c:v>
                </c:pt>
                <c:pt idx="48190">
                  <c:v>0.85946138755127499</c:v>
                </c:pt>
                <c:pt idx="48191">
                  <c:v>0.85947922240056995</c:v>
                </c:pt>
                <c:pt idx="48192">
                  <c:v>0.85949705724986603</c:v>
                </c:pt>
                <c:pt idx="48193">
                  <c:v>0.85951489209916099</c:v>
                </c:pt>
                <c:pt idx="48194">
                  <c:v>0.85953272694845695</c:v>
                </c:pt>
                <c:pt idx="48195">
                  <c:v>0.85955056179775202</c:v>
                </c:pt>
                <c:pt idx="48196">
                  <c:v>0.85956839664704798</c:v>
                </c:pt>
                <c:pt idx="48197">
                  <c:v>0.85958623149634295</c:v>
                </c:pt>
                <c:pt idx="48198">
                  <c:v>0.85960406634563902</c:v>
                </c:pt>
                <c:pt idx="48199">
                  <c:v>0.85962190119493398</c:v>
                </c:pt>
                <c:pt idx="48200">
                  <c:v>0.85963973604423005</c:v>
                </c:pt>
                <c:pt idx="48201">
                  <c:v>0.85965757089352501</c:v>
                </c:pt>
                <c:pt idx="48202">
                  <c:v>0.85967540574282097</c:v>
                </c:pt>
                <c:pt idx="48203">
                  <c:v>0.85969324059211705</c:v>
                </c:pt>
                <c:pt idx="48204">
                  <c:v>0.85971107544141201</c:v>
                </c:pt>
                <c:pt idx="48205">
                  <c:v>0.85972891029070797</c:v>
                </c:pt>
                <c:pt idx="48206">
                  <c:v>0.85974674514000304</c:v>
                </c:pt>
                <c:pt idx="48207">
                  <c:v>0.859764579989299</c:v>
                </c:pt>
                <c:pt idx="48208">
                  <c:v>0.85978241483859397</c:v>
                </c:pt>
                <c:pt idx="48209">
                  <c:v>0.85980024968789004</c:v>
                </c:pt>
                <c:pt idx="48210">
                  <c:v>0.859818084537185</c:v>
                </c:pt>
                <c:pt idx="48211">
                  <c:v>0.85983591938648096</c:v>
                </c:pt>
                <c:pt idx="48212">
                  <c:v>0.85985375423577604</c:v>
                </c:pt>
                <c:pt idx="48213">
                  <c:v>0.859871589085072</c:v>
                </c:pt>
                <c:pt idx="48214">
                  <c:v>0.85988942393436696</c:v>
                </c:pt>
                <c:pt idx="48215">
                  <c:v>0.85990725878366303</c:v>
                </c:pt>
                <c:pt idx="48216">
                  <c:v>0.85992509363295799</c:v>
                </c:pt>
                <c:pt idx="48217">
                  <c:v>0.85994292848225395</c:v>
                </c:pt>
                <c:pt idx="48218">
                  <c:v>0.85996076333154903</c:v>
                </c:pt>
                <c:pt idx="48219">
                  <c:v>0.85997859818084499</c:v>
                </c:pt>
                <c:pt idx="48220">
                  <c:v>0.85999643303014095</c:v>
                </c:pt>
                <c:pt idx="48221">
                  <c:v>0.86001426787943602</c:v>
                </c:pt>
                <c:pt idx="48222">
                  <c:v>0.86003210272873198</c:v>
                </c:pt>
                <c:pt idx="48223">
                  <c:v>0.86004993757802695</c:v>
                </c:pt>
                <c:pt idx="48224">
                  <c:v>0.86006777242732302</c:v>
                </c:pt>
                <c:pt idx="48225">
                  <c:v>0.86008560727661798</c:v>
                </c:pt>
                <c:pt idx="48226">
                  <c:v>0.86010344212591405</c:v>
                </c:pt>
                <c:pt idx="48227">
                  <c:v>0.86012127697520901</c:v>
                </c:pt>
                <c:pt idx="48228">
                  <c:v>0.86013911182450498</c:v>
                </c:pt>
                <c:pt idx="48229">
                  <c:v>0.86015694667380005</c:v>
                </c:pt>
                <c:pt idx="48230">
                  <c:v>0.86017478152309601</c:v>
                </c:pt>
                <c:pt idx="48231">
                  <c:v>0.86019261637239097</c:v>
                </c:pt>
                <c:pt idx="48232">
                  <c:v>0.86021045122168704</c:v>
                </c:pt>
                <c:pt idx="48233">
                  <c:v>0.86022828607098201</c:v>
                </c:pt>
                <c:pt idx="48234">
                  <c:v>0.86024612092027797</c:v>
                </c:pt>
                <c:pt idx="48235">
                  <c:v>0.86026395576957304</c:v>
                </c:pt>
                <c:pt idx="48236">
                  <c:v>0.860281790618869</c:v>
                </c:pt>
                <c:pt idx="48237">
                  <c:v>0.86029962546816396</c:v>
                </c:pt>
                <c:pt idx="48238">
                  <c:v>0.86031746031746004</c:v>
                </c:pt>
                <c:pt idx="48239">
                  <c:v>0.860335295166755</c:v>
                </c:pt>
                <c:pt idx="48240">
                  <c:v>0.86035313001605096</c:v>
                </c:pt>
                <c:pt idx="48241">
                  <c:v>0.86037096486534603</c:v>
                </c:pt>
                <c:pt idx="48242">
                  <c:v>0.86038879971464199</c:v>
                </c:pt>
                <c:pt idx="48243">
                  <c:v>0.86040663456393796</c:v>
                </c:pt>
                <c:pt idx="48244">
                  <c:v>0.86042446941323303</c:v>
                </c:pt>
                <c:pt idx="48245">
                  <c:v>0.86044230426252899</c:v>
                </c:pt>
                <c:pt idx="48246">
                  <c:v>0.86046013911182395</c:v>
                </c:pt>
                <c:pt idx="48247">
                  <c:v>0.86047797396112002</c:v>
                </c:pt>
                <c:pt idx="48248">
                  <c:v>0.86049580881041499</c:v>
                </c:pt>
                <c:pt idx="48249">
                  <c:v>0.86051364365971095</c:v>
                </c:pt>
                <c:pt idx="48250">
                  <c:v>0.86053147850900602</c:v>
                </c:pt>
                <c:pt idx="48251">
                  <c:v>0.86054931335830198</c:v>
                </c:pt>
                <c:pt idx="48252">
                  <c:v>0.86056714820759705</c:v>
                </c:pt>
                <c:pt idx="48253">
                  <c:v>0.86058498305689302</c:v>
                </c:pt>
                <c:pt idx="48254">
                  <c:v>0.86060281790618798</c:v>
                </c:pt>
                <c:pt idx="48255">
                  <c:v>0.86062065275548405</c:v>
                </c:pt>
                <c:pt idx="48256">
                  <c:v>0.86063848760477901</c:v>
                </c:pt>
                <c:pt idx="48257">
                  <c:v>0.86065632245407497</c:v>
                </c:pt>
                <c:pt idx="48258">
                  <c:v>0.86067415730337005</c:v>
                </c:pt>
                <c:pt idx="48259">
                  <c:v>0.86069199215266601</c:v>
                </c:pt>
                <c:pt idx="48260">
                  <c:v>0.86070982700196097</c:v>
                </c:pt>
                <c:pt idx="48261">
                  <c:v>0.86072766185125704</c:v>
                </c:pt>
                <c:pt idx="48262">
                  <c:v>0.860745496700552</c:v>
                </c:pt>
                <c:pt idx="48263">
                  <c:v>0.86076333154984797</c:v>
                </c:pt>
                <c:pt idx="48264">
                  <c:v>0.86078116639914304</c:v>
                </c:pt>
                <c:pt idx="48265">
                  <c:v>0.860799001248439</c:v>
                </c:pt>
                <c:pt idx="48266">
                  <c:v>0.86081683609773496</c:v>
                </c:pt>
                <c:pt idx="48267">
                  <c:v>0.86083467094703003</c:v>
                </c:pt>
                <c:pt idx="48268">
                  <c:v>0.860852505796326</c:v>
                </c:pt>
                <c:pt idx="48269">
                  <c:v>0.86087034064562096</c:v>
                </c:pt>
                <c:pt idx="48270">
                  <c:v>0.86088817549491703</c:v>
                </c:pt>
                <c:pt idx="48271">
                  <c:v>0.86090601034421199</c:v>
                </c:pt>
                <c:pt idx="48272">
                  <c:v>0.86092384519350795</c:v>
                </c:pt>
                <c:pt idx="48273">
                  <c:v>0.86094168004280303</c:v>
                </c:pt>
                <c:pt idx="48274">
                  <c:v>0.86095951489209899</c:v>
                </c:pt>
                <c:pt idx="48275">
                  <c:v>0.86097734974139395</c:v>
                </c:pt>
                <c:pt idx="48276">
                  <c:v>0.86099518459069002</c:v>
                </c:pt>
                <c:pt idx="48277">
                  <c:v>0.86101301943998498</c:v>
                </c:pt>
                <c:pt idx="48278">
                  <c:v>0.86103085428928094</c:v>
                </c:pt>
                <c:pt idx="48279">
                  <c:v>0.86104868913857602</c:v>
                </c:pt>
                <c:pt idx="48280">
                  <c:v>0.86106652398787198</c:v>
                </c:pt>
                <c:pt idx="48281">
                  <c:v>0.86108435883716705</c:v>
                </c:pt>
                <c:pt idx="48282">
                  <c:v>0.86110219368646301</c:v>
                </c:pt>
                <c:pt idx="48283">
                  <c:v>0.86112002853575798</c:v>
                </c:pt>
                <c:pt idx="48284">
                  <c:v>0.86113786338505405</c:v>
                </c:pt>
                <c:pt idx="48285">
                  <c:v>0.86115569823434901</c:v>
                </c:pt>
                <c:pt idx="48286">
                  <c:v>0.86117353308364497</c:v>
                </c:pt>
                <c:pt idx="48287">
                  <c:v>0.86119136793294004</c:v>
                </c:pt>
                <c:pt idx="48288">
                  <c:v>0.86120920278223601</c:v>
                </c:pt>
                <c:pt idx="48289">
                  <c:v>0.86122703763153197</c:v>
                </c:pt>
                <c:pt idx="48290">
                  <c:v>0.86124487248082704</c:v>
                </c:pt>
                <c:pt idx="48291">
                  <c:v>0.861262707330123</c:v>
                </c:pt>
                <c:pt idx="48292">
                  <c:v>0.86128054217941796</c:v>
                </c:pt>
                <c:pt idx="48293">
                  <c:v>0.86129837702871404</c:v>
                </c:pt>
                <c:pt idx="48294">
                  <c:v>0.861316211878009</c:v>
                </c:pt>
                <c:pt idx="48295">
                  <c:v>0.86133404672730496</c:v>
                </c:pt>
                <c:pt idx="48296">
                  <c:v>0.86135188157660003</c:v>
                </c:pt>
                <c:pt idx="48297">
                  <c:v>0.86136971642589599</c:v>
                </c:pt>
                <c:pt idx="48298">
                  <c:v>0.86138755127519095</c:v>
                </c:pt>
                <c:pt idx="48299">
                  <c:v>0.86140538612448703</c:v>
                </c:pt>
                <c:pt idx="48300">
                  <c:v>0.86142322097378199</c:v>
                </c:pt>
                <c:pt idx="48301">
                  <c:v>0.86144105582307795</c:v>
                </c:pt>
                <c:pt idx="48302">
                  <c:v>0.86145889067237302</c:v>
                </c:pt>
                <c:pt idx="48303">
                  <c:v>0.86147672552166898</c:v>
                </c:pt>
                <c:pt idx="48304">
                  <c:v>0.86149456037096395</c:v>
                </c:pt>
                <c:pt idx="48305">
                  <c:v>0.86151239522026002</c:v>
                </c:pt>
                <c:pt idx="48306">
                  <c:v>0.86153023006955498</c:v>
                </c:pt>
                <c:pt idx="48307">
                  <c:v>0.86154806491885105</c:v>
                </c:pt>
                <c:pt idx="48308">
                  <c:v>0.86156589976814701</c:v>
                </c:pt>
                <c:pt idx="48309">
                  <c:v>0.86158373461744198</c:v>
                </c:pt>
                <c:pt idx="48310">
                  <c:v>0.86160156946673805</c:v>
                </c:pt>
                <c:pt idx="48311">
                  <c:v>0.86161940431603301</c:v>
                </c:pt>
                <c:pt idx="48312">
                  <c:v>0.86163723916532897</c:v>
                </c:pt>
                <c:pt idx="48313">
                  <c:v>0.86165507401462405</c:v>
                </c:pt>
                <c:pt idx="48314">
                  <c:v>0.86167290886392001</c:v>
                </c:pt>
                <c:pt idx="48315">
                  <c:v>0.86169074371321497</c:v>
                </c:pt>
                <c:pt idx="48316">
                  <c:v>0.86170857856251104</c:v>
                </c:pt>
                <c:pt idx="48317">
                  <c:v>0.861726413411806</c:v>
                </c:pt>
                <c:pt idx="48318">
                  <c:v>0.86174424826110196</c:v>
                </c:pt>
                <c:pt idx="48319">
                  <c:v>0.86176208311039704</c:v>
                </c:pt>
                <c:pt idx="48320">
                  <c:v>0.861779917959693</c:v>
                </c:pt>
                <c:pt idx="48321">
                  <c:v>0.86179775280898796</c:v>
                </c:pt>
                <c:pt idx="48322">
                  <c:v>0.86181558765828403</c:v>
                </c:pt>
                <c:pt idx="48323">
                  <c:v>0.86183342250757899</c:v>
                </c:pt>
                <c:pt idx="48324">
                  <c:v>0.86185125735687496</c:v>
                </c:pt>
                <c:pt idx="48325">
                  <c:v>0.86186909220617003</c:v>
                </c:pt>
                <c:pt idx="48326">
                  <c:v>0.86188692705546599</c:v>
                </c:pt>
                <c:pt idx="48327">
                  <c:v>0.86190476190476195</c:v>
                </c:pt>
                <c:pt idx="48328">
                  <c:v>0.86192259675405702</c:v>
                </c:pt>
                <c:pt idx="48329">
                  <c:v>0.86194043160335299</c:v>
                </c:pt>
                <c:pt idx="48330">
                  <c:v>0.86195826645264795</c:v>
                </c:pt>
                <c:pt idx="48331">
                  <c:v>0.86197610130194402</c:v>
                </c:pt>
                <c:pt idx="48332">
                  <c:v>0.86199393615123898</c:v>
                </c:pt>
                <c:pt idx="48333">
                  <c:v>0.86201177100053505</c:v>
                </c:pt>
                <c:pt idx="48334">
                  <c:v>0.86202960584983002</c:v>
                </c:pt>
                <c:pt idx="48335">
                  <c:v>0.86204744069912598</c:v>
                </c:pt>
                <c:pt idx="48336">
                  <c:v>0.86206527554842105</c:v>
                </c:pt>
                <c:pt idx="48337">
                  <c:v>0.86208311039771701</c:v>
                </c:pt>
                <c:pt idx="48338">
                  <c:v>0.86210094524701197</c:v>
                </c:pt>
                <c:pt idx="48339">
                  <c:v>0.86211878009630805</c:v>
                </c:pt>
                <c:pt idx="48340">
                  <c:v>0.86213661494560301</c:v>
                </c:pt>
                <c:pt idx="48341">
                  <c:v>0.86215444979489897</c:v>
                </c:pt>
                <c:pt idx="48342">
                  <c:v>0.86217228464419404</c:v>
                </c:pt>
                <c:pt idx="48343">
                  <c:v>0.86219011949349</c:v>
                </c:pt>
                <c:pt idx="48344">
                  <c:v>0.86220795434278497</c:v>
                </c:pt>
                <c:pt idx="48345">
                  <c:v>0.86222578919208104</c:v>
                </c:pt>
                <c:pt idx="48346">
                  <c:v>0.862243624041376</c:v>
                </c:pt>
                <c:pt idx="48347">
                  <c:v>0.86226145889067196</c:v>
                </c:pt>
                <c:pt idx="48348">
                  <c:v>0.86227929373996703</c:v>
                </c:pt>
                <c:pt idx="48349">
                  <c:v>0.862297128589263</c:v>
                </c:pt>
                <c:pt idx="48350">
                  <c:v>0.86231496343855896</c:v>
                </c:pt>
                <c:pt idx="48351">
                  <c:v>0.86233279828785403</c:v>
                </c:pt>
                <c:pt idx="48352">
                  <c:v>0.86235063313714999</c:v>
                </c:pt>
                <c:pt idx="48353">
                  <c:v>0.86236846798644495</c:v>
                </c:pt>
                <c:pt idx="48354">
                  <c:v>0.86238630283574103</c:v>
                </c:pt>
                <c:pt idx="48355">
                  <c:v>0.86240413768503599</c:v>
                </c:pt>
                <c:pt idx="48356">
                  <c:v>0.86242197253433195</c:v>
                </c:pt>
                <c:pt idx="48357">
                  <c:v>0.86243980738362702</c:v>
                </c:pt>
                <c:pt idx="48358">
                  <c:v>0.86245764223292298</c:v>
                </c:pt>
                <c:pt idx="48359">
                  <c:v>0.86247547708221795</c:v>
                </c:pt>
                <c:pt idx="48360">
                  <c:v>0.86249331193151402</c:v>
                </c:pt>
                <c:pt idx="48361">
                  <c:v>0.86251114678080898</c:v>
                </c:pt>
                <c:pt idx="48362">
                  <c:v>0.86252898163010505</c:v>
                </c:pt>
                <c:pt idx="48363">
                  <c:v>0.86254681647940001</c:v>
                </c:pt>
                <c:pt idx="48364">
                  <c:v>0.86256465132869597</c:v>
                </c:pt>
                <c:pt idx="48365">
                  <c:v>0.86258248617799105</c:v>
                </c:pt>
                <c:pt idx="48366">
                  <c:v>0.86260032102728701</c:v>
                </c:pt>
                <c:pt idx="48367">
                  <c:v>0.86261815587658197</c:v>
                </c:pt>
                <c:pt idx="48368">
                  <c:v>0.86263599072587804</c:v>
                </c:pt>
                <c:pt idx="48369">
                  <c:v>0.86265382557517301</c:v>
                </c:pt>
                <c:pt idx="48370">
                  <c:v>0.86267166042446897</c:v>
                </c:pt>
                <c:pt idx="48371">
                  <c:v>0.86268949527376404</c:v>
                </c:pt>
                <c:pt idx="48372">
                  <c:v>0.86270733012306</c:v>
                </c:pt>
                <c:pt idx="48373">
                  <c:v>0.86272516497235596</c:v>
                </c:pt>
                <c:pt idx="48374">
                  <c:v>0.86274299982165104</c:v>
                </c:pt>
                <c:pt idx="48375">
                  <c:v>0.862760834670947</c:v>
                </c:pt>
                <c:pt idx="48376">
                  <c:v>0.86277866952024196</c:v>
                </c:pt>
                <c:pt idx="48377">
                  <c:v>0.86279650436953803</c:v>
                </c:pt>
                <c:pt idx="48378">
                  <c:v>0.86281433921883299</c:v>
                </c:pt>
                <c:pt idx="48379">
                  <c:v>0.86283217406812895</c:v>
                </c:pt>
                <c:pt idx="48380">
                  <c:v>0.86285000891742403</c:v>
                </c:pt>
                <c:pt idx="48381">
                  <c:v>0.86286784376671999</c:v>
                </c:pt>
                <c:pt idx="48382">
                  <c:v>0.86288567861601495</c:v>
                </c:pt>
                <c:pt idx="48383">
                  <c:v>0.86290351346531102</c:v>
                </c:pt>
                <c:pt idx="48384">
                  <c:v>0.86292134831460598</c:v>
                </c:pt>
                <c:pt idx="48385">
                  <c:v>0.86293918316390195</c:v>
                </c:pt>
                <c:pt idx="48386">
                  <c:v>0.86295701801319702</c:v>
                </c:pt>
                <c:pt idx="48387">
                  <c:v>0.86297485286249298</c:v>
                </c:pt>
                <c:pt idx="48388">
                  <c:v>0.86299268771178805</c:v>
                </c:pt>
                <c:pt idx="48389">
                  <c:v>0.86301052256108401</c:v>
                </c:pt>
                <c:pt idx="48390">
                  <c:v>0.86302835741037898</c:v>
                </c:pt>
                <c:pt idx="48391">
                  <c:v>0.86304619225967505</c:v>
                </c:pt>
                <c:pt idx="48392">
                  <c:v>0.86306402710897001</c:v>
                </c:pt>
                <c:pt idx="48393">
                  <c:v>0.86308186195826597</c:v>
                </c:pt>
                <c:pt idx="48394">
                  <c:v>0.86309969680756105</c:v>
                </c:pt>
                <c:pt idx="48395">
                  <c:v>0.86311753165685701</c:v>
                </c:pt>
                <c:pt idx="48396">
                  <c:v>0.86313536650615297</c:v>
                </c:pt>
                <c:pt idx="48397">
                  <c:v>0.86315320135544804</c:v>
                </c:pt>
                <c:pt idx="48398">
                  <c:v>0.863171036204744</c:v>
                </c:pt>
                <c:pt idx="48399">
                  <c:v>0.86318887105403896</c:v>
                </c:pt>
                <c:pt idx="48400">
                  <c:v>0.86320670590333504</c:v>
                </c:pt>
                <c:pt idx="48401">
                  <c:v>0.86322454075263</c:v>
                </c:pt>
                <c:pt idx="48402">
                  <c:v>0.86324237560192596</c:v>
                </c:pt>
                <c:pt idx="48403">
                  <c:v>0.86326021045122103</c:v>
                </c:pt>
                <c:pt idx="48404">
                  <c:v>0.86327804530051699</c:v>
                </c:pt>
                <c:pt idx="48405">
                  <c:v>0.86329588014981196</c:v>
                </c:pt>
                <c:pt idx="48406">
                  <c:v>0.86331371499910803</c:v>
                </c:pt>
                <c:pt idx="48407">
                  <c:v>0.86333154984840299</c:v>
                </c:pt>
                <c:pt idx="48408">
                  <c:v>0.86334938469769895</c:v>
                </c:pt>
                <c:pt idx="48409">
                  <c:v>0.86336721954699402</c:v>
                </c:pt>
                <c:pt idx="48410">
                  <c:v>0.86338505439628999</c:v>
                </c:pt>
                <c:pt idx="48411">
                  <c:v>0.86340288924558495</c:v>
                </c:pt>
                <c:pt idx="48412">
                  <c:v>0.86342072409488102</c:v>
                </c:pt>
                <c:pt idx="48413">
                  <c:v>0.86343855894417598</c:v>
                </c:pt>
                <c:pt idx="48414">
                  <c:v>0.86345639379347205</c:v>
                </c:pt>
                <c:pt idx="48415">
                  <c:v>0.86347422864276802</c:v>
                </c:pt>
                <c:pt idx="48416">
                  <c:v>0.86349206349206298</c:v>
                </c:pt>
                <c:pt idx="48417">
                  <c:v>0.86350989834135905</c:v>
                </c:pt>
                <c:pt idx="48418">
                  <c:v>0.86352773319065401</c:v>
                </c:pt>
                <c:pt idx="48419">
                  <c:v>0.86354556803994997</c:v>
                </c:pt>
                <c:pt idx="48420">
                  <c:v>0.86356340288924505</c:v>
                </c:pt>
                <c:pt idx="48421">
                  <c:v>0.86358123773854101</c:v>
                </c:pt>
                <c:pt idx="48422">
                  <c:v>0.86359907258783597</c:v>
                </c:pt>
                <c:pt idx="48423">
                  <c:v>0.86361690743713204</c:v>
                </c:pt>
                <c:pt idx="48424">
                  <c:v>0.863634742286427</c:v>
                </c:pt>
                <c:pt idx="48425">
                  <c:v>0.86365257713572297</c:v>
                </c:pt>
                <c:pt idx="48426">
                  <c:v>0.86367041198501804</c:v>
                </c:pt>
                <c:pt idx="48427">
                  <c:v>0.863688246834314</c:v>
                </c:pt>
                <c:pt idx="48428">
                  <c:v>0.86370608168360896</c:v>
                </c:pt>
                <c:pt idx="48429">
                  <c:v>0.86372391653290503</c:v>
                </c:pt>
                <c:pt idx="48430">
                  <c:v>0.8637417513822</c:v>
                </c:pt>
                <c:pt idx="48431">
                  <c:v>0.86375958623149596</c:v>
                </c:pt>
                <c:pt idx="48432">
                  <c:v>0.86377742108079103</c:v>
                </c:pt>
                <c:pt idx="48433">
                  <c:v>0.86379525593008699</c:v>
                </c:pt>
                <c:pt idx="48434">
                  <c:v>0.86381309077938295</c:v>
                </c:pt>
                <c:pt idx="48435">
                  <c:v>0.86383092562867803</c:v>
                </c:pt>
                <c:pt idx="48436">
                  <c:v>0.86384876047797399</c:v>
                </c:pt>
                <c:pt idx="48437">
                  <c:v>0.86386659532726895</c:v>
                </c:pt>
                <c:pt idx="48438">
                  <c:v>0.86388443017656502</c:v>
                </c:pt>
                <c:pt idx="48439">
                  <c:v>0.86390226502585998</c:v>
                </c:pt>
                <c:pt idx="48440">
                  <c:v>0.86392009987515594</c:v>
                </c:pt>
                <c:pt idx="48441">
                  <c:v>0.86393793472445102</c:v>
                </c:pt>
                <c:pt idx="48442">
                  <c:v>0.86395576957374698</c:v>
                </c:pt>
                <c:pt idx="48443">
                  <c:v>0.86397360442304205</c:v>
                </c:pt>
                <c:pt idx="48444">
                  <c:v>0.86399143927233801</c:v>
                </c:pt>
                <c:pt idx="48445">
                  <c:v>0.86400927412163298</c:v>
                </c:pt>
                <c:pt idx="48446">
                  <c:v>0.86402710897092905</c:v>
                </c:pt>
                <c:pt idx="48447">
                  <c:v>0.86404494382022401</c:v>
                </c:pt>
                <c:pt idx="48448">
                  <c:v>0.86406277866951997</c:v>
                </c:pt>
                <c:pt idx="48449">
                  <c:v>0.86408061351881504</c:v>
                </c:pt>
                <c:pt idx="48450">
                  <c:v>0.86409844836811101</c:v>
                </c:pt>
                <c:pt idx="48451">
                  <c:v>0.86411628321740597</c:v>
                </c:pt>
                <c:pt idx="48452">
                  <c:v>0.86413411806670204</c:v>
                </c:pt>
                <c:pt idx="48453">
                  <c:v>0.864151952915997</c:v>
                </c:pt>
                <c:pt idx="48454">
                  <c:v>0.86416978776529296</c:v>
                </c:pt>
                <c:pt idx="48455">
                  <c:v>0.86418762261458804</c:v>
                </c:pt>
                <c:pt idx="48456">
                  <c:v>0.864205457463884</c:v>
                </c:pt>
                <c:pt idx="48457">
                  <c:v>0.86422329231317996</c:v>
                </c:pt>
                <c:pt idx="48458">
                  <c:v>0.86424112716247503</c:v>
                </c:pt>
                <c:pt idx="48459">
                  <c:v>0.86425896201177099</c:v>
                </c:pt>
                <c:pt idx="48460">
                  <c:v>0.86427679686106595</c:v>
                </c:pt>
                <c:pt idx="48461">
                  <c:v>0.86429463171036203</c:v>
                </c:pt>
                <c:pt idx="48462">
                  <c:v>0.86431246655965699</c:v>
                </c:pt>
                <c:pt idx="48463">
                  <c:v>0.86433030140895295</c:v>
                </c:pt>
                <c:pt idx="48464">
                  <c:v>0.86434813625824802</c:v>
                </c:pt>
                <c:pt idx="48465">
                  <c:v>0.86436597110754398</c:v>
                </c:pt>
                <c:pt idx="48466">
                  <c:v>0.86438380595683895</c:v>
                </c:pt>
                <c:pt idx="48467">
                  <c:v>0.86440164080613502</c:v>
                </c:pt>
                <c:pt idx="48468">
                  <c:v>0.86441947565542998</c:v>
                </c:pt>
                <c:pt idx="48469">
                  <c:v>0.86443731050472605</c:v>
                </c:pt>
                <c:pt idx="48470">
                  <c:v>0.86445514535402102</c:v>
                </c:pt>
                <c:pt idx="48471">
                  <c:v>0.86447298020331698</c:v>
                </c:pt>
                <c:pt idx="48472">
                  <c:v>0.86449081505261205</c:v>
                </c:pt>
                <c:pt idx="48473">
                  <c:v>0.86450864990190801</c:v>
                </c:pt>
                <c:pt idx="48474">
                  <c:v>0.86452648475120297</c:v>
                </c:pt>
                <c:pt idx="48475">
                  <c:v>0.86454431960049904</c:v>
                </c:pt>
                <c:pt idx="48476">
                  <c:v>0.86456215444979401</c:v>
                </c:pt>
                <c:pt idx="48477">
                  <c:v>0.86457998929908997</c:v>
                </c:pt>
                <c:pt idx="48478">
                  <c:v>0.86459782414838504</c:v>
                </c:pt>
                <c:pt idx="48479">
                  <c:v>0.864615658997681</c:v>
                </c:pt>
                <c:pt idx="48480">
                  <c:v>0.86463349384697696</c:v>
                </c:pt>
                <c:pt idx="48481">
                  <c:v>0.86465132869627204</c:v>
                </c:pt>
                <c:pt idx="48482">
                  <c:v>0.864669163545568</c:v>
                </c:pt>
                <c:pt idx="48483">
                  <c:v>0.86468699839486296</c:v>
                </c:pt>
                <c:pt idx="48484">
                  <c:v>0.86470483324415903</c:v>
                </c:pt>
                <c:pt idx="48485">
                  <c:v>0.86472266809345399</c:v>
                </c:pt>
                <c:pt idx="48486">
                  <c:v>0.86474050294274996</c:v>
                </c:pt>
                <c:pt idx="48487">
                  <c:v>0.86475833779204503</c:v>
                </c:pt>
                <c:pt idx="48488">
                  <c:v>0.86477617264134099</c:v>
                </c:pt>
                <c:pt idx="48489">
                  <c:v>0.86479400749063595</c:v>
                </c:pt>
                <c:pt idx="48490">
                  <c:v>0.86481184233993202</c:v>
                </c:pt>
                <c:pt idx="48491">
                  <c:v>0.86482967718922699</c:v>
                </c:pt>
                <c:pt idx="48492">
                  <c:v>0.86484751203852295</c:v>
                </c:pt>
                <c:pt idx="48493">
                  <c:v>0.86486534688781802</c:v>
                </c:pt>
                <c:pt idx="48494">
                  <c:v>0.86488318173711398</c:v>
                </c:pt>
                <c:pt idx="48495">
                  <c:v>0.86490101658640905</c:v>
                </c:pt>
                <c:pt idx="48496">
                  <c:v>0.86491885143570502</c:v>
                </c:pt>
                <c:pt idx="48497">
                  <c:v>0.86493668628499998</c:v>
                </c:pt>
                <c:pt idx="48498">
                  <c:v>0.86495452113429605</c:v>
                </c:pt>
                <c:pt idx="48499">
                  <c:v>0.86497235598359101</c:v>
                </c:pt>
                <c:pt idx="48500">
                  <c:v>0.86499019083288697</c:v>
                </c:pt>
                <c:pt idx="48501">
                  <c:v>0.86500802568218205</c:v>
                </c:pt>
                <c:pt idx="48502">
                  <c:v>0.86502586053147801</c:v>
                </c:pt>
                <c:pt idx="48503">
                  <c:v>0.86504369538077397</c:v>
                </c:pt>
                <c:pt idx="48504">
                  <c:v>0.86506153023006904</c:v>
                </c:pt>
                <c:pt idx="48505">
                  <c:v>0.865079365079365</c:v>
                </c:pt>
                <c:pt idx="48506">
                  <c:v>0.86509719992865997</c:v>
                </c:pt>
                <c:pt idx="48507">
                  <c:v>0.86511503477795604</c:v>
                </c:pt>
                <c:pt idx="48508">
                  <c:v>0.865132869627251</c:v>
                </c:pt>
                <c:pt idx="48509">
                  <c:v>0.86515070447654696</c:v>
                </c:pt>
                <c:pt idx="48510">
                  <c:v>0.86516853932584203</c:v>
                </c:pt>
                <c:pt idx="48511">
                  <c:v>0.865186374175138</c:v>
                </c:pt>
                <c:pt idx="48512">
                  <c:v>0.86520420902443296</c:v>
                </c:pt>
                <c:pt idx="48513">
                  <c:v>0.86522204387372903</c:v>
                </c:pt>
                <c:pt idx="48514">
                  <c:v>0.86523987872302399</c:v>
                </c:pt>
                <c:pt idx="48515">
                  <c:v>0.86525771357231995</c:v>
                </c:pt>
                <c:pt idx="48516">
                  <c:v>0.86527554842161503</c:v>
                </c:pt>
                <c:pt idx="48517">
                  <c:v>0.86529338327091099</c:v>
                </c:pt>
                <c:pt idx="48518">
                  <c:v>0.86531121812020595</c:v>
                </c:pt>
                <c:pt idx="48519">
                  <c:v>0.86532905296950202</c:v>
                </c:pt>
                <c:pt idx="48520">
                  <c:v>0.86534688781879798</c:v>
                </c:pt>
                <c:pt idx="48521">
                  <c:v>0.86536472266809294</c:v>
                </c:pt>
                <c:pt idx="48522">
                  <c:v>0.86538255751738902</c:v>
                </c:pt>
                <c:pt idx="48523">
                  <c:v>0.86540039236668398</c:v>
                </c:pt>
                <c:pt idx="48524">
                  <c:v>0.86541822721598005</c:v>
                </c:pt>
                <c:pt idx="48525">
                  <c:v>0.86543606206527501</c:v>
                </c:pt>
                <c:pt idx="48526">
                  <c:v>0.86545389691457097</c:v>
                </c:pt>
                <c:pt idx="48527">
                  <c:v>0.86547173176386605</c:v>
                </c:pt>
                <c:pt idx="48528">
                  <c:v>0.86548956661316201</c:v>
                </c:pt>
                <c:pt idx="48529">
                  <c:v>0.86550740146245697</c:v>
                </c:pt>
                <c:pt idx="48530">
                  <c:v>0.86552523631175304</c:v>
                </c:pt>
                <c:pt idx="48531">
                  <c:v>0.86554307116104801</c:v>
                </c:pt>
                <c:pt idx="48532">
                  <c:v>0.86556090601034397</c:v>
                </c:pt>
                <c:pt idx="48533">
                  <c:v>0.86557874085963904</c:v>
                </c:pt>
                <c:pt idx="48534">
                  <c:v>0.865596575708935</c:v>
                </c:pt>
                <c:pt idx="48535">
                  <c:v>0.86561441055822996</c:v>
                </c:pt>
                <c:pt idx="48536">
                  <c:v>0.86563224540752604</c:v>
                </c:pt>
                <c:pt idx="48537">
                  <c:v>0.865650080256821</c:v>
                </c:pt>
                <c:pt idx="48538">
                  <c:v>0.86566791510611696</c:v>
                </c:pt>
                <c:pt idx="48539">
                  <c:v>0.86568574995541203</c:v>
                </c:pt>
                <c:pt idx="48540">
                  <c:v>0.86570358480470799</c:v>
                </c:pt>
                <c:pt idx="48541">
                  <c:v>0.86572141965400395</c:v>
                </c:pt>
                <c:pt idx="48542">
                  <c:v>0.86573925450329903</c:v>
                </c:pt>
                <c:pt idx="48543">
                  <c:v>0.86575708935259499</c:v>
                </c:pt>
                <c:pt idx="48544">
                  <c:v>0.86577492420188995</c:v>
                </c:pt>
                <c:pt idx="48545">
                  <c:v>0.86579275905118602</c:v>
                </c:pt>
                <c:pt idx="48546">
                  <c:v>0.86581059390048098</c:v>
                </c:pt>
                <c:pt idx="48547">
                  <c:v>0.86582842874977695</c:v>
                </c:pt>
                <c:pt idx="48548">
                  <c:v>0.86584626359907202</c:v>
                </c:pt>
                <c:pt idx="48549">
                  <c:v>0.86586409844836798</c:v>
                </c:pt>
                <c:pt idx="48550">
                  <c:v>0.86588193329766305</c:v>
                </c:pt>
                <c:pt idx="48551">
                  <c:v>0.86589976814695901</c:v>
                </c:pt>
                <c:pt idx="48552">
                  <c:v>0.86591760299625398</c:v>
                </c:pt>
                <c:pt idx="48553">
                  <c:v>0.86593543784555005</c:v>
                </c:pt>
                <c:pt idx="48554">
                  <c:v>0.86595327269484501</c:v>
                </c:pt>
                <c:pt idx="48555">
                  <c:v>0.86597110754414097</c:v>
                </c:pt>
                <c:pt idx="48556">
                  <c:v>0.86598894239343605</c:v>
                </c:pt>
                <c:pt idx="48557">
                  <c:v>0.86600677724273201</c:v>
                </c:pt>
                <c:pt idx="48558">
                  <c:v>0.86602461209202697</c:v>
                </c:pt>
                <c:pt idx="48559">
                  <c:v>0.86604244694132304</c:v>
                </c:pt>
                <c:pt idx="48560">
                  <c:v>0.866060281790618</c:v>
                </c:pt>
                <c:pt idx="48561">
                  <c:v>0.86607811663991396</c:v>
                </c:pt>
                <c:pt idx="48562">
                  <c:v>0.86609595148920904</c:v>
                </c:pt>
                <c:pt idx="48563">
                  <c:v>0.866113786338505</c:v>
                </c:pt>
                <c:pt idx="48564">
                  <c:v>0.86613162118780096</c:v>
                </c:pt>
                <c:pt idx="48565">
                  <c:v>0.86614945603709603</c:v>
                </c:pt>
                <c:pt idx="48566">
                  <c:v>0.86616729088639199</c:v>
                </c:pt>
                <c:pt idx="48567">
                  <c:v>0.86618512573568696</c:v>
                </c:pt>
                <c:pt idx="48568">
                  <c:v>0.86620296058498303</c:v>
                </c:pt>
                <c:pt idx="48569">
                  <c:v>0.86622079543427799</c:v>
                </c:pt>
                <c:pt idx="48570">
                  <c:v>0.86623863028357395</c:v>
                </c:pt>
                <c:pt idx="48571">
                  <c:v>0.86625646513286902</c:v>
                </c:pt>
                <c:pt idx="48572">
                  <c:v>0.86627429998216499</c:v>
                </c:pt>
                <c:pt idx="48573">
                  <c:v>0.86629213483145995</c:v>
                </c:pt>
                <c:pt idx="48574">
                  <c:v>0.86630996968075602</c:v>
                </c:pt>
                <c:pt idx="48575">
                  <c:v>0.86632780453005098</c:v>
                </c:pt>
                <c:pt idx="48576">
                  <c:v>0.86634563937934705</c:v>
                </c:pt>
                <c:pt idx="48577">
                  <c:v>0.86636347422864202</c:v>
                </c:pt>
                <c:pt idx="48578">
                  <c:v>0.86638130907793798</c:v>
                </c:pt>
                <c:pt idx="48579">
                  <c:v>0.86639914392723305</c:v>
                </c:pt>
                <c:pt idx="48580">
                  <c:v>0.86641697877652901</c:v>
                </c:pt>
                <c:pt idx="48581">
                  <c:v>0.86643481362582397</c:v>
                </c:pt>
                <c:pt idx="48582">
                  <c:v>0.86645264847512005</c:v>
                </c:pt>
                <c:pt idx="48583">
                  <c:v>0.86647048332441501</c:v>
                </c:pt>
                <c:pt idx="48584">
                  <c:v>0.86648831817371097</c:v>
                </c:pt>
                <c:pt idx="48585">
                  <c:v>0.86650615302300604</c:v>
                </c:pt>
                <c:pt idx="48586">
                  <c:v>0.866523987872302</c:v>
                </c:pt>
                <c:pt idx="48587">
                  <c:v>0.86654182272159797</c:v>
                </c:pt>
                <c:pt idx="48588">
                  <c:v>0.86655965757089304</c:v>
                </c:pt>
                <c:pt idx="48589">
                  <c:v>0.866577492420189</c:v>
                </c:pt>
                <c:pt idx="48590">
                  <c:v>0.86659532726948396</c:v>
                </c:pt>
                <c:pt idx="48591">
                  <c:v>0.86661316211878003</c:v>
                </c:pt>
                <c:pt idx="48592">
                  <c:v>0.866630996968075</c:v>
                </c:pt>
                <c:pt idx="48593">
                  <c:v>0.86664883181737096</c:v>
                </c:pt>
                <c:pt idx="48594">
                  <c:v>0.86666666666666603</c:v>
                </c:pt>
                <c:pt idx="48595">
                  <c:v>0.86668450151596199</c:v>
                </c:pt>
                <c:pt idx="48596">
                  <c:v>0.86670233636525695</c:v>
                </c:pt>
                <c:pt idx="48597">
                  <c:v>0.86672017121455303</c:v>
                </c:pt>
                <c:pt idx="48598">
                  <c:v>0.86673800606384799</c:v>
                </c:pt>
                <c:pt idx="48599">
                  <c:v>0.86675584091314395</c:v>
                </c:pt>
                <c:pt idx="48600">
                  <c:v>0.86677367576243902</c:v>
                </c:pt>
                <c:pt idx="48601">
                  <c:v>0.86679151061173498</c:v>
                </c:pt>
                <c:pt idx="48602">
                  <c:v>0.86680934546102995</c:v>
                </c:pt>
                <c:pt idx="48603">
                  <c:v>0.86682718031032602</c:v>
                </c:pt>
                <c:pt idx="48604">
                  <c:v>0.86684501515962098</c:v>
                </c:pt>
                <c:pt idx="48605">
                  <c:v>0.86686285000891705</c:v>
                </c:pt>
                <c:pt idx="48606">
                  <c:v>0.86688068485821201</c:v>
                </c:pt>
                <c:pt idx="48607">
                  <c:v>0.86689851970750798</c:v>
                </c:pt>
                <c:pt idx="48608">
                  <c:v>0.86691635455680405</c:v>
                </c:pt>
                <c:pt idx="48609">
                  <c:v>0.86693418940609901</c:v>
                </c:pt>
                <c:pt idx="48610">
                  <c:v>0.86695202425539497</c:v>
                </c:pt>
                <c:pt idx="48611">
                  <c:v>0.86696985910469004</c:v>
                </c:pt>
                <c:pt idx="48612">
                  <c:v>0.86698769395398601</c:v>
                </c:pt>
                <c:pt idx="48613">
                  <c:v>0.86700552880328097</c:v>
                </c:pt>
                <c:pt idx="48614">
                  <c:v>0.86702336365257704</c:v>
                </c:pt>
                <c:pt idx="48615">
                  <c:v>0.867041198501872</c:v>
                </c:pt>
                <c:pt idx="48616">
                  <c:v>0.86705903335116796</c:v>
                </c:pt>
                <c:pt idx="48617">
                  <c:v>0.86707686820046304</c:v>
                </c:pt>
                <c:pt idx="48618">
                  <c:v>0.867094703049759</c:v>
                </c:pt>
                <c:pt idx="48619">
                  <c:v>0.86711253789905396</c:v>
                </c:pt>
                <c:pt idx="48620">
                  <c:v>0.86713037274835003</c:v>
                </c:pt>
                <c:pt idx="48621">
                  <c:v>0.86714820759764499</c:v>
                </c:pt>
                <c:pt idx="48622">
                  <c:v>0.86716604244694095</c:v>
                </c:pt>
                <c:pt idx="48623">
                  <c:v>0.86718387729623603</c:v>
                </c:pt>
                <c:pt idx="48624">
                  <c:v>0.86720171214553199</c:v>
                </c:pt>
                <c:pt idx="48625">
                  <c:v>0.86721954699482695</c:v>
                </c:pt>
                <c:pt idx="48626">
                  <c:v>0.86723738184412302</c:v>
                </c:pt>
                <c:pt idx="48627">
                  <c:v>0.86725521669341898</c:v>
                </c:pt>
                <c:pt idx="48628">
                  <c:v>0.86727305154271395</c:v>
                </c:pt>
                <c:pt idx="48629">
                  <c:v>0.86729088639201002</c:v>
                </c:pt>
                <c:pt idx="48630">
                  <c:v>0.86730872124130498</c:v>
                </c:pt>
                <c:pt idx="48631">
                  <c:v>0.86732655609060105</c:v>
                </c:pt>
                <c:pt idx="48632">
                  <c:v>0.86734439093989601</c:v>
                </c:pt>
                <c:pt idx="48633">
                  <c:v>0.86736222578919198</c:v>
                </c:pt>
                <c:pt idx="48634">
                  <c:v>0.86738006063848705</c:v>
                </c:pt>
                <c:pt idx="48635">
                  <c:v>0.86739789548778301</c:v>
                </c:pt>
                <c:pt idx="48636">
                  <c:v>0.86741573033707797</c:v>
                </c:pt>
                <c:pt idx="48637">
                  <c:v>0.86743356518637404</c:v>
                </c:pt>
                <c:pt idx="48638">
                  <c:v>0.86745140003566901</c:v>
                </c:pt>
                <c:pt idx="48639">
                  <c:v>0.86746923488496497</c:v>
                </c:pt>
                <c:pt idx="48640">
                  <c:v>0.86748706973426004</c:v>
                </c:pt>
                <c:pt idx="48641">
                  <c:v>0.867504904583556</c:v>
                </c:pt>
                <c:pt idx="48642">
                  <c:v>0.86752273943285096</c:v>
                </c:pt>
                <c:pt idx="48643">
                  <c:v>0.86754057428214704</c:v>
                </c:pt>
                <c:pt idx="48644">
                  <c:v>0.867558409131442</c:v>
                </c:pt>
                <c:pt idx="48645">
                  <c:v>0.86757624398073796</c:v>
                </c:pt>
                <c:pt idx="48646">
                  <c:v>0.86759407883003303</c:v>
                </c:pt>
                <c:pt idx="48647">
                  <c:v>0.86761191367932899</c:v>
                </c:pt>
                <c:pt idx="48648">
                  <c:v>0.86762974852862496</c:v>
                </c:pt>
                <c:pt idx="48649">
                  <c:v>0.86764758337792003</c:v>
                </c:pt>
                <c:pt idx="48650">
                  <c:v>0.86766541822721599</c:v>
                </c:pt>
                <c:pt idx="48651">
                  <c:v>0.86768325307651095</c:v>
                </c:pt>
                <c:pt idx="48652">
                  <c:v>0.86770108792580702</c:v>
                </c:pt>
                <c:pt idx="48653">
                  <c:v>0.86771892277510199</c:v>
                </c:pt>
                <c:pt idx="48654">
                  <c:v>0.86773675762439795</c:v>
                </c:pt>
                <c:pt idx="48655">
                  <c:v>0.86775459247369302</c:v>
                </c:pt>
                <c:pt idx="48656">
                  <c:v>0.86777242732298898</c:v>
                </c:pt>
                <c:pt idx="48657">
                  <c:v>0.86779026217228405</c:v>
                </c:pt>
                <c:pt idx="48658">
                  <c:v>0.86780809702158002</c:v>
                </c:pt>
                <c:pt idx="48659">
                  <c:v>0.86782593187087498</c:v>
                </c:pt>
                <c:pt idx="48660">
                  <c:v>0.86784376672017105</c:v>
                </c:pt>
                <c:pt idx="48661">
                  <c:v>0.86786160156946601</c:v>
                </c:pt>
                <c:pt idx="48662">
                  <c:v>0.86787943641876197</c:v>
                </c:pt>
                <c:pt idx="48663">
                  <c:v>0.86789727126805705</c:v>
                </c:pt>
                <c:pt idx="48664">
                  <c:v>0.86791510611735301</c:v>
                </c:pt>
                <c:pt idx="48665">
                  <c:v>0.86793294096664797</c:v>
                </c:pt>
                <c:pt idx="48666">
                  <c:v>0.86795077581594404</c:v>
                </c:pt>
                <c:pt idx="48667">
                  <c:v>0.867968610665239</c:v>
                </c:pt>
                <c:pt idx="48668">
                  <c:v>0.86798644551453497</c:v>
                </c:pt>
                <c:pt idx="48669">
                  <c:v>0.86800428036383004</c:v>
                </c:pt>
                <c:pt idx="48670">
                  <c:v>0.868022115213126</c:v>
                </c:pt>
                <c:pt idx="48671">
                  <c:v>0.86803995006242196</c:v>
                </c:pt>
                <c:pt idx="48672">
                  <c:v>0.86805778491171703</c:v>
                </c:pt>
                <c:pt idx="48673">
                  <c:v>0.868075619761013</c:v>
                </c:pt>
                <c:pt idx="48674">
                  <c:v>0.86809345461030796</c:v>
                </c:pt>
                <c:pt idx="48675">
                  <c:v>0.86811128945960403</c:v>
                </c:pt>
                <c:pt idx="48676">
                  <c:v>0.86812912430889899</c:v>
                </c:pt>
                <c:pt idx="48677">
                  <c:v>0.86814695915819495</c:v>
                </c:pt>
                <c:pt idx="48678">
                  <c:v>0.86816479400749003</c:v>
                </c:pt>
                <c:pt idx="48679">
                  <c:v>0.86818262885678599</c:v>
                </c:pt>
                <c:pt idx="48680">
                  <c:v>0.86820046370608095</c:v>
                </c:pt>
                <c:pt idx="48681">
                  <c:v>0.86821829855537702</c:v>
                </c:pt>
                <c:pt idx="48682">
                  <c:v>0.86823613340467198</c:v>
                </c:pt>
                <c:pt idx="48683">
                  <c:v>0.86825396825396794</c:v>
                </c:pt>
                <c:pt idx="48684">
                  <c:v>0.86827180310326302</c:v>
                </c:pt>
                <c:pt idx="48685">
                  <c:v>0.86828963795255898</c:v>
                </c:pt>
                <c:pt idx="48686">
                  <c:v>0.86830747280185405</c:v>
                </c:pt>
                <c:pt idx="48687">
                  <c:v>0.86832530765115001</c:v>
                </c:pt>
                <c:pt idx="48688">
                  <c:v>0.86834314250044498</c:v>
                </c:pt>
                <c:pt idx="48689">
                  <c:v>0.86836097734974105</c:v>
                </c:pt>
                <c:pt idx="48690">
                  <c:v>0.86837881219903601</c:v>
                </c:pt>
                <c:pt idx="48691">
                  <c:v>0.86839664704833197</c:v>
                </c:pt>
                <c:pt idx="48692">
                  <c:v>0.86841448189762704</c:v>
                </c:pt>
                <c:pt idx="48693">
                  <c:v>0.86843231674692301</c:v>
                </c:pt>
                <c:pt idx="48694">
                  <c:v>0.86845015159621897</c:v>
                </c:pt>
                <c:pt idx="48695">
                  <c:v>0.86846798644551404</c:v>
                </c:pt>
                <c:pt idx="48696">
                  <c:v>0.86848582129481</c:v>
                </c:pt>
                <c:pt idx="48697">
                  <c:v>0.86850365614410496</c:v>
                </c:pt>
                <c:pt idx="48698">
                  <c:v>0.86852149099340104</c:v>
                </c:pt>
                <c:pt idx="48699">
                  <c:v>0.868539325842696</c:v>
                </c:pt>
                <c:pt idx="48700">
                  <c:v>0.86855716069199196</c:v>
                </c:pt>
                <c:pt idx="48701">
                  <c:v>0.86857499554128703</c:v>
                </c:pt>
                <c:pt idx="48702">
                  <c:v>0.86859283039058299</c:v>
                </c:pt>
                <c:pt idx="48703">
                  <c:v>0.86861066523987795</c:v>
                </c:pt>
                <c:pt idx="48704">
                  <c:v>0.86862850008917403</c:v>
                </c:pt>
                <c:pt idx="48705">
                  <c:v>0.86864633493846899</c:v>
                </c:pt>
                <c:pt idx="48706">
                  <c:v>0.86866416978776495</c:v>
                </c:pt>
                <c:pt idx="48707">
                  <c:v>0.86868200463706002</c:v>
                </c:pt>
                <c:pt idx="48708">
                  <c:v>0.86869983948635598</c:v>
                </c:pt>
                <c:pt idx="48709">
                  <c:v>0.86871767433565095</c:v>
                </c:pt>
                <c:pt idx="48710">
                  <c:v>0.86873550918494702</c:v>
                </c:pt>
                <c:pt idx="48711">
                  <c:v>0.86875334403424198</c:v>
                </c:pt>
                <c:pt idx="48712">
                  <c:v>0.86877117888353805</c:v>
                </c:pt>
                <c:pt idx="48713">
                  <c:v>0.86878901373283302</c:v>
                </c:pt>
                <c:pt idx="48714">
                  <c:v>0.86880684858212898</c:v>
                </c:pt>
                <c:pt idx="48715">
                  <c:v>0.86882468343142505</c:v>
                </c:pt>
                <c:pt idx="48716">
                  <c:v>0.86884251828072001</c:v>
                </c:pt>
                <c:pt idx="48717">
                  <c:v>0.86886035313001597</c:v>
                </c:pt>
                <c:pt idx="48718">
                  <c:v>0.86887818797931105</c:v>
                </c:pt>
                <c:pt idx="48719">
                  <c:v>0.86889602282860701</c:v>
                </c:pt>
                <c:pt idx="48720">
                  <c:v>0.86891385767790197</c:v>
                </c:pt>
                <c:pt idx="48721">
                  <c:v>0.86893169252719804</c:v>
                </c:pt>
                <c:pt idx="48722">
                  <c:v>0.868949527376493</c:v>
                </c:pt>
                <c:pt idx="48723">
                  <c:v>0.86896736222578896</c:v>
                </c:pt>
                <c:pt idx="48724">
                  <c:v>0.86898519707508404</c:v>
                </c:pt>
                <c:pt idx="48725">
                  <c:v>0.86900303192438</c:v>
                </c:pt>
                <c:pt idx="48726">
                  <c:v>0.86902086677367496</c:v>
                </c:pt>
                <c:pt idx="48727">
                  <c:v>0.86903870162297103</c:v>
                </c:pt>
                <c:pt idx="48728">
                  <c:v>0.86905653647226599</c:v>
                </c:pt>
                <c:pt idx="48729">
                  <c:v>0.86907437132156196</c:v>
                </c:pt>
                <c:pt idx="48730">
                  <c:v>0.86909220617085703</c:v>
                </c:pt>
                <c:pt idx="48731">
                  <c:v>0.86911004102015299</c:v>
                </c:pt>
                <c:pt idx="48732">
                  <c:v>0.86912787586944895</c:v>
                </c:pt>
                <c:pt idx="48733">
                  <c:v>0.86914571071874402</c:v>
                </c:pt>
                <c:pt idx="48734">
                  <c:v>0.86916354556803999</c:v>
                </c:pt>
                <c:pt idx="48735">
                  <c:v>0.86918138041733495</c:v>
                </c:pt>
                <c:pt idx="48736">
                  <c:v>0.86919921526663102</c:v>
                </c:pt>
                <c:pt idx="48737">
                  <c:v>0.86921705011592598</c:v>
                </c:pt>
                <c:pt idx="48738">
                  <c:v>0.86923488496522205</c:v>
                </c:pt>
                <c:pt idx="48739">
                  <c:v>0.86925271981451702</c:v>
                </c:pt>
                <c:pt idx="48740">
                  <c:v>0.86927055466381298</c:v>
                </c:pt>
                <c:pt idx="48741">
                  <c:v>0.86928838951310805</c:v>
                </c:pt>
                <c:pt idx="48742">
                  <c:v>0.86930622436240401</c:v>
                </c:pt>
                <c:pt idx="48743">
                  <c:v>0.86932405921169897</c:v>
                </c:pt>
                <c:pt idx="48744">
                  <c:v>0.86934189406099505</c:v>
                </c:pt>
                <c:pt idx="48745">
                  <c:v>0.86935972891029001</c:v>
                </c:pt>
                <c:pt idx="48746">
                  <c:v>0.86937756375958597</c:v>
                </c:pt>
                <c:pt idx="48747">
                  <c:v>0.86939539860888104</c:v>
                </c:pt>
                <c:pt idx="48748">
                  <c:v>0.869413233458177</c:v>
                </c:pt>
                <c:pt idx="48749">
                  <c:v>0.86943106830747197</c:v>
                </c:pt>
                <c:pt idx="48750">
                  <c:v>0.86944890315676804</c:v>
                </c:pt>
                <c:pt idx="48751">
                  <c:v>0.869466738006063</c:v>
                </c:pt>
                <c:pt idx="48752">
                  <c:v>0.86948457285535896</c:v>
                </c:pt>
                <c:pt idx="48753">
                  <c:v>0.86950240770465403</c:v>
                </c:pt>
                <c:pt idx="48754">
                  <c:v>0.86952024255395</c:v>
                </c:pt>
                <c:pt idx="48755">
                  <c:v>0.86953807740324596</c:v>
                </c:pt>
                <c:pt idx="48756">
                  <c:v>0.86955591225254103</c:v>
                </c:pt>
                <c:pt idx="48757">
                  <c:v>0.86957374710183699</c:v>
                </c:pt>
                <c:pt idx="48758">
                  <c:v>0.86959158195113195</c:v>
                </c:pt>
                <c:pt idx="48759">
                  <c:v>0.86960941680042803</c:v>
                </c:pt>
                <c:pt idx="48760">
                  <c:v>0.86962725164972299</c:v>
                </c:pt>
                <c:pt idx="48761">
                  <c:v>0.86964508649901895</c:v>
                </c:pt>
                <c:pt idx="48762">
                  <c:v>0.86966292134831402</c:v>
                </c:pt>
                <c:pt idx="48763">
                  <c:v>0.86968075619760998</c:v>
                </c:pt>
                <c:pt idx="48764">
                  <c:v>0.86969859104690495</c:v>
                </c:pt>
                <c:pt idx="48765">
                  <c:v>0.86971642589620102</c:v>
                </c:pt>
                <c:pt idx="48766">
                  <c:v>0.86973426074549598</c:v>
                </c:pt>
                <c:pt idx="48767">
                  <c:v>0.86975209559479205</c:v>
                </c:pt>
                <c:pt idx="48768">
                  <c:v>0.86976993044408701</c:v>
                </c:pt>
                <c:pt idx="48769">
                  <c:v>0.86978776529338298</c:v>
                </c:pt>
                <c:pt idx="48770">
                  <c:v>0.86980560014267805</c:v>
                </c:pt>
                <c:pt idx="48771">
                  <c:v>0.86982343499197401</c:v>
                </c:pt>
                <c:pt idx="48772">
                  <c:v>0.86984126984126897</c:v>
                </c:pt>
                <c:pt idx="48773">
                  <c:v>0.86985910469056504</c:v>
                </c:pt>
                <c:pt idx="48774">
                  <c:v>0.86987693953986001</c:v>
                </c:pt>
                <c:pt idx="48775">
                  <c:v>0.86989477438915597</c:v>
                </c:pt>
                <c:pt idx="48776">
                  <c:v>0.86991260923845104</c:v>
                </c:pt>
                <c:pt idx="48777">
                  <c:v>0.869930444087747</c:v>
                </c:pt>
                <c:pt idx="48778">
                  <c:v>0.86994827893704296</c:v>
                </c:pt>
                <c:pt idx="48779">
                  <c:v>0.86996611378633804</c:v>
                </c:pt>
                <c:pt idx="48780">
                  <c:v>0.869983948635634</c:v>
                </c:pt>
                <c:pt idx="48781">
                  <c:v>0.87000178348492896</c:v>
                </c:pt>
                <c:pt idx="48782">
                  <c:v>0.87001961833422503</c:v>
                </c:pt>
                <c:pt idx="48783">
                  <c:v>0.87003745318351999</c:v>
                </c:pt>
                <c:pt idx="48784">
                  <c:v>0.87005528803281595</c:v>
                </c:pt>
                <c:pt idx="48785">
                  <c:v>0.87007312288211103</c:v>
                </c:pt>
                <c:pt idx="48786">
                  <c:v>0.87009095773140699</c:v>
                </c:pt>
                <c:pt idx="48787">
                  <c:v>0.87010879258070195</c:v>
                </c:pt>
                <c:pt idx="48788">
                  <c:v>0.87012662742999802</c:v>
                </c:pt>
                <c:pt idx="48789">
                  <c:v>0.87014446227929299</c:v>
                </c:pt>
                <c:pt idx="48790">
                  <c:v>0.87016229712858895</c:v>
                </c:pt>
                <c:pt idx="48791">
                  <c:v>0.87018013197788402</c:v>
                </c:pt>
                <c:pt idx="48792">
                  <c:v>0.87019796682717998</c:v>
                </c:pt>
                <c:pt idx="48793">
                  <c:v>0.87021580167647505</c:v>
                </c:pt>
                <c:pt idx="48794">
                  <c:v>0.87023363652577101</c:v>
                </c:pt>
                <c:pt idx="48795">
                  <c:v>0.87025147137506598</c:v>
                </c:pt>
                <c:pt idx="48796">
                  <c:v>0.87026930622436205</c:v>
                </c:pt>
                <c:pt idx="48797">
                  <c:v>0.87028714107365701</c:v>
                </c:pt>
                <c:pt idx="48798">
                  <c:v>0.87030497592295297</c:v>
                </c:pt>
                <c:pt idx="48799">
                  <c:v>0.87032281077224805</c:v>
                </c:pt>
                <c:pt idx="48800">
                  <c:v>0.87034064562154401</c:v>
                </c:pt>
                <c:pt idx="48801">
                  <c:v>0.87035848047083997</c:v>
                </c:pt>
                <c:pt idx="48802">
                  <c:v>0.87037631532013504</c:v>
                </c:pt>
                <c:pt idx="48803">
                  <c:v>0.870394150169431</c:v>
                </c:pt>
                <c:pt idx="48804">
                  <c:v>0.87041198501872596</c:v>
                </c:pt>
                <c:pt idx="48805">
                  <c:v>0.87042981986802204</c:v>
                </c:pt>
                <c:pt idx="48806">
                  <c:v>0.870447654717317</c:v>
                </c:pt>
                <c:pt idx="48807">
                  <c:v>0.87046548956661296</c:v>
                </c:pt>
                <c:pt idx="48808">
                  <c:v>0.87048332441590803</c:v>
                </c:pt>
                <c:pt idx="48809">
                  <c:v>0.87050115926520399</c:v>
                </c:pt>
                <c:pt idx="48810">
                  <c:v>0.87051899411449896</c:v>
                </c:pt>
                <c:pt idx="48811">
                  <c:v>0.87053682896379503</c:v>
                </c:pt>
                <c:pt idx="48812">
                  <c:v>0.87055466381308999</c:v>
                </c:pt>
                <c:pt idx="48813">
                  <c:v>0.87057249866238595</c:v>
                </c:pt>
                <c:pt idx="48814">
                  <c:v>0.87059033351168102</c:v>
                </c:pt>
                <c:pt idx="48815">
                  <c:v>0.87060816836097699</c:v>
                </c:pt>
                <c:pt idx="48816">
                  <c:v>0.87062600321027195</c:v>
                </c:pt>
                <c:pt idx="48817">
                  <c:v>0.87064383805956802</c:v>
                </c:pt>
                <c:pt idx="48818">
                  <c:v>0.87066167290886298</c:v>
                </c:pt>
                <c:pt idx="48819">
                  <c:v>0.87067950775815905</c:v>
                </c:pt>
                <c:pt idx="48820">
                  <c:v>0.87069734260745502</c:v>
                </c:pt>
                <c:pt idx="48821">
                  <c:v>0.87071517745674998</c:v>
                </c:pt>
                <c:pt idx="48822">
                  <c:v>0.87073301230604605</c:v>
                </c:pt>
                <c:pt idx="48823">
                  <c:v>0.87075084715534101</c:v>
                </c:pt>
                <c:pt idx="48824">
                  <c:v>0.87076868200463697</c:v>
                </c:pt>
                <c:pt idx="48825">
                  <c:v>0.87078651685393205</c:v>
                </c:pt>
                <c:pt idx="48826">
                  <c:v>0.87080435170322801</c:v>
                </c:pt>
                <c:pt idx="48827">
                  <c:v>0.87082218655252297</c:v>
                </c:pt>
                <c:pt idx="48828">
                  <c:v>0.87084002140181904</c:v>
                </c:pt>
                <c:pt idx="48829">
                  <c:v>0.870857856251114</c:v>
                </c:pt>
                <c:pt idx="48830">
                  <c:v>0.87087569110040997</c:v>
                </c:pt>
                <c:pt idx="48831">
                  <c:v>0.87089352594970504</c:v>
                </c:pt>
                <c:pt idx="48832">
                  <c:v>0.870911360799001</c:v>
                </c:pt>
                <c:pt idx="48833">
                  <c:v>0.87092919564829596</c:v>
                </c:pt>
                <c:pt idx="48834">
                  <c:v>0.87094703049759203</c:v>
                </c:pt>
                <c:pt idx="48835">
                  <c:v>0.870964865346887</c:v>
                </c:pt>
                <c:pt idx="48836">
                  <c:v>0.87098270019618296</c:v>
                </c:pt>
                <c:pt idx="48837">
                  <c:v>0.87100053504547803</c:v>
                </c:pt>
                <c:pt idx="48838">
                  <c:v>0.87101836989477399</c:v>
                </c:pt>
                <c:pt idx="48839">
                  <c:v>0.87103620474406995</c:v>
                </c:pt>
                <c:pt idx="48840">
                  <c:v>0.87105403959336503</c:v>
                </c:pt>
                <c:pt idx="48841">
                  <c:v>0.87107187444266099</c:v>
                </c:pt>
                <c:pt idx="48842">
                  <c:v>0.87108970929195595</c:v>
                </c:pt>
                <c:pt idx="48843">
                  <c:v>0.87110754414125202</c:v>
                </c:pt>
                <c:pt idx="48844">
                  <c:v>0.87112537899054698</c:v>
                </c:pt>
                <c:pt idx="48845">
                  <c:v>0.87114321383984294</c:v>
                </c:pt>
                <c:pt idx="48846">
                  <c:v>0.87116104868913802</c:v>
                </c:pt>
                <c:pt idx="48847">
                  <c:v>0.87117888353843398</c:v>
                </c:pt>
                <c:pt idx="48848">
                  <c:v>0.87119671838772905</c:v>
                </c:pt>
                <c:pt idx="48849">
                  <c:v>0.87121455323702501</c:v>
                </c:pt>
                <c:pt idx="48850">
                  <c:v>0.87123238808631998</c:v>
                </c:pt>
                <c:pt idx="48851">
                  <c:v>0.87125022293561605</c:v>
                </c:pt>
                <c:pt idx="48852">
                  <c:v>0.87126805778491101</c:v>
                </c:pt>
                <c:pt idx="48853">
                  <c:v>0.87128589263420697</c:v>
                </c:pt>
                <c:pt idx="48854">
                  <c:v>0.87130372748350204</c:v>
                </c:pt>
                <c:pt idx="48855">
                  <c:v>0.87132156233279801</c:v>
                </c:pt>
                <c:pt idx="48856">
                  <c:v>0.87133939718209297</c:v>
                </c:pt>
                <c:pt idx="48857">
                  <c:v>0.87135723203138904</c:v>
                </c:pt>
                <c:pt idx="48858">
                  <c:v>0.871375066880684</c:v>
                </c:pt>
                <c:pt idx="48859">
                  <c:v>0.87139290172997996</c:v>
                </c:pt>
                <c:pt idx="48860">
                  <c:v>0.87141073657927504</c:v>
                </c:pt>
                <c:pt idx="48861">
                  <c:v>0.871428571428571</c:v>
                </c:pt>
                <c:pt idx="48862">
                  <c:v>0.87144640627786696</c:v>
                </c:pt>
                <c:pt idx="48863">
                  <c:v>0.87146424112716203</c:v>
                </c:pt>
                <c:pt idx="48864">
                  <c:v>0.87148207597645799</c:v>
                </c:pt>
                <c:pt idx="48865">
                  <c:v>0.87149991082575295</c:v>
                </c:pt>
                <c:pt idx="48866">
                  <c:v>0.87151774567504903</c:v>
                </c:pt>
                <c:pt idx="48867">
                  <c:v>0.87153558052434399</c:v>
                </c:pt>
                <c:pt idx="48868">
                  <c:v>0.87155341537363995</c:v>
                </c:pt>
                <c:pt idx="48869">
                  <c:v>0.87157125022293502</c:v>
                </c:pt>
                <c:pt idx="48870">
                  <c:v>0.87158908507223098</c:v>
                </c:pt>
                <c:pt idx="48871">
                  <c:v>0.87160691992152595</c:v>
                </c:pt>
                <c:pt idx="48872">
                  <c:v>0.87162475477082202</c:v>
                </c:pt>
                <c:pt idx="48873">
                  <c:v>0.87164258962011698</c:v>
                </c:pt>
                <c:pt idx="48874">
                  <c:v>0.87166042446941305</c:v>
                </c:pt>
                <c:pt idx="48875">
                  <c:v>0.87167825931870802</c:v>
                </c:pt>
                <c:pt idx="48876">
                  <c:v>0.87169609416800398</c:v>
                </c:pt>
                <c:pt idx="48877">
                  <c:v>0.87171392901729905</c:v>
                </c:pt>
                <c:pt idx="48878">
                  <c:v>0.87173176386659501</c:v>
                </c:pt>
                <c:pt idx="48879">
                  <c:v>0.87174959871588997</c:v>
                </c:pt>
                <c:pt idx="48880">
                  <c:v>0.87176743356518605</c:v>
                </c:pt>
                <c:pt idx="48881">
                  <c:v>0.87178526841448101</c:v>
                </c:pt>
                <c:pt idx="48882">
                  <c:v>0.87180310326377697</c:v>
                </c:pt>
                <c:pt idx="48883">
                  <c:v>0.87182093811307204</c:v>
                </c:pt>
                <c:pt idx="48884">
                  <c:v>0.871838772962368</c:v>
                </c:pt>
                <c:pt idx="48885">
                  <c:v>0.87185660781166396</c:v>
                </c:pt>
                <c:pt idx="48886">
                  <c:v>0.87187444266095904</c:v>
                </c:pt>
                <c:pt idx="48887">
                  <c:v>0.871892277510255</c:v>
                </c:pt>
                <c:pt idx="48888">
                  <c:v>0.87191011235954996</c:v>
                </c:pt>
                <c:pt idx="48889">
                  <c:v>0.87192794720884603</c:v>
                </c:pt>
                <c:pt idx="48890">
                  <c:v>0.87194578205814099</c:v>
                </c:pt>
                <c:pt idx="48891">
                  <c:v>0.87196361690743696</c:v>
                </c:pt>
                <c:pt idx="48892">
                  <c:v>0.87198145175673203</c:v>
                </c:pt>
                <c:pt idx="48893">
                  <c:v>0.87199928660602799</c:v>
                </c:pt>
                <c:pt idx="48894">
                  <c:v>0.87201712145532295</c:v>
                </c:pt>
                <c:pt idx="48895">
                  <c:v>0.87203495630461902</c:v>
                </c:pt>
                <c:pt idx="48896">
                  <c:v>0.87205279115391399</c:v>
                </c:pt>
                <c:pt idx="48897">
                  <c:v>0.87207062600320995</c:v>
                </c:pt>
                <c:pt idx="48898">
                  <c:v>0.87208846085250502</c:v>
                </c:pt>
                <c:pt idx="48899">
                  <c:v>0.87210629570180098</c:v>
                </c:pt>
                <c:pt idx="48900">
                  <c:v>0.87212413055109606</c:v>
                </c:pt>
                <c:pt idx="48901">
                  <c:v>0.87214196540039202</c:v>
                </c:pt>
                <c:pt idx="48902">
                  <c:v>0.87215980024968698</c:v>
                </c:pt>
                <c:pt idx="48903">
                  <c:v>0.87217763509898305</c:v>
                </c:pt>
                <c:pt idx="48904">
                  <c:v>0.87219546994827801</c:v>
                </c:pt>
                <c:pt idx="48905">
                  <c:v>0.87221330479757397</c:v>
                </c:pt>
                <c:pt idx="48906">
                  <c:v>0.87223113964686905</c:v>
                </c:pt>
                <c:pt idx="48907">
                  <c:v>0.87224897449616501</c:v>
                </c:pt>
                <c:pt idx="48908">
                  <c:v>0.87226680934546097</c:v>
                </c:pt>
                <c:pt idx="48909">
                  <c:v>0.87228464419475604</c:v>
                </c:pt>
                <c:pt idx="48910">
                  <c:v>0.872302479044052</c:v>
                </c:pt>
                <c:pt idx="48911">
                  <c:v>0.87232031389334697</c:v>
                </c:pt>
                <c:pt idx="48912">
                  <c:v>0.87233814874264304</c:v>
                </c:pt>
                <c:pt idx="48913">
                  <c:v>0.872355983591938</c:v>
                </c:pt>
                <c:pt idx="48914">
                  <c:v>0.87237381844123396</c:v>
                </c:pt>
                <c:pt idx="48915">
                  <c:v>0.87239165329052903</c:v>
                </c:pt>
                <c:pt idx="48916">
                  <c:v>0.872409488139825</c:v>
                </c:pt>
                <c:pt idx="48917">
                  <c:v>0.87242732298911996</c:v>
                </c:pt>
                <c:pt idx="48918">
                  <c:v>0.87244515783841603</c:v>
                </c:pt>
                <c:pt idx="48919">
                  <c:v>0.87246299268771099</c:v>
                </c:pt>
                <c:pt idx="48920">
                  <c:v>0.87248082753700695</c:v>
                </c:pt>
                <c:pt idx="48921">
                  <c:v>0.87249866238630203</c:v>
                </c:pt>
                <c:pt idx="48922">
                  <c:v>0.87251649723559799</c:v>
                </c:pt>
                <c:pt idx="48923">
                  <c:v>0.87253433208489295</c:v>
                </c:pt>
                <c:pt idx="48924">
                  <c:v>0.87255216693418902</c:v>
                </c:pt>
                <c:pt idx="48925">
                  <c:v>0.87257000178348498</c:v>
                </c:pt>
                <c:pt idx="48926">
                  <c:v>0.87258783663277995</c:v>
                </c:pt>
                <c:pt idx="48927">
                  <c:v>0.87260567148207602</c:v>
                </c:pt>
                <c:pt idx="48928">
                  <c:v>0.87262350633137098</c:v>
                </c:pt>
                <c:pt idx="48929">
                  <c:v>0.87264134118066705</c:v>
                </c:pt>
                <c:pt idx="48930">
                  <c:v>0.87265917602996201</c:v>
                </c:pt>
                <c:pt idx="48931">
                  <c:v>0.87267701087925797</c:v>
                </c:pt>
                <c:pt idx="48932">
                  <c:v>0.87269484572855305</c:v>
                </c:pt>
                <c:pt idx="48933">
                  <c:v>0.87271268057784901</c:v>
                </c:pt>
                <c:pt idx="48934">
                  <c:v>0.87273051542714397</c:v>
                </c:pt>
                <c:pt idx="48935">
                  <c:v>0.87274835027644004</c:v>
                </c:pt>
                <c:pt idx="48936">
                  <c:v>0.87276618512573501</c:v>
                </c:pt>
                <c:pt idx="48937">
                  <c:v>0.87278401997503097</c:v>
                </c:pt>
                <c:pt idx="48938">
                  <c:v>0.87280185482432604</c:v>
                </c:pt>
                <c:pt idx="48939">
                  <c:v>0.872819689673622</c:v>
                </c:pt>
                <c:pt idx="48940">
                  <c:v>0.87283752452291696</c:v>
                </c:pt>
                <c:pt idx="48941">
                  <c:v>0.87285535937221304</c:v>
                </c:pt>
                <c:pt idx="48942">
                  <c:v>0.872873194221508</c:v>
                </c:pt>
                <c:pt idx="48943">
                  <c:v>0.87289102907080396</c:v>
                </c:pt>
                <c:pt idx="48944">
                  <c:v>0.87290886392009903</c:v>
                </c:pt>
                <c:pt idx="48945">
                  <c:v>0.87292669876939499</c:v>
                </c:pt>
                <c:pt idx="48946">
                  <c:v>0.87294453361869095</c:v>
                </c:pt>
                <c:pt idx="48947">
                  <c:v>0.87296236846798603</c:v>
                </c:pt>
                <c:pt idx="48948">
                  <c:v>0.87298020331728199</c:v>
                </c:pt>
                <c:pt idx="48949">
                  <c:v>0.87299803816657695</c:v>
                </c:pt>
                <c:pt idx="48950">
                  <c:v>0.87301587301587302</c:v>
                </c:pt>
                <c:pt idx="48951">
                  <c:v>0.87303370786516798</c:v>
                </c:pt>
                <c:pt idx="48952">
                  <c:v>0.87305154271446395</c:v>
                </c:pt>
                <c:pt idx="48953">
                  <c:v>0.87306937756375902</c:v>
                </c:pt>
                <c:pt idx="48954">
                  <c:v>0.87308721241305498</c:v>
                </c:pt>
                <c:pt idx="48955">
                  <c:v>0.87310504726235005</c:v>
                </c:pt>
                <c:pt idx="48956">
                  <c:v>0.87312288211164601</c:v>
                </c:pt>
                <c:pt idx="48957">
                  <c:v>0.87314071696094098</c:v>
                </c:pt>
                <c:pt idx="48958">
                  <c:v>0.87315855181023705</c:v>
                </c:pt>
                <c:pt idx="48959">
                  <c:v>0.87317638665953201</c:v>
                </c:pt>
                <c:pt idx="48960">
                  <c:v>0.87319422150882797</c:v>
                </c:pt>
                <c:pt idx="48961">
                  <c:v>0.87321205635812305</c:v>
                </c:pt>
                <c:pt idx="48962">
                  <c:v>0.87322989120741901</c:v>
                </c:pt>
                <c:pt idx="48963">
                  <c:v>0.87324772605671397</c:v>
                </c:pt>
                <c:pt idx="48964">
                  <c:v>0.87326556090601004</c:v>
                </c:pt>
                <c:pt idx="48965">
                  <c:v>0.873283395755305</c:v>
                </c:pt>
                <c:pt idx="48966">
                  <c:v>0.87330123060460096</c:v>
                </c:pt>
                <c:pt idx="48967">
                  <c:v>0.87331906545389604</c:v>
                </c:pt>
                <c:pt idx="48968">
                  <c:v>0.873336900303192</c:v>
                </c:pt>
                <c:pt idx="48969">
                  <c:v>0.87335473515248796</c:v>
                </c:pt>
                <c:pt idx="48970">
                  <c:v>0.87337257000178303</c:v>
                </c:pt>
                <c:pt idx="48971">
                  <c:v>0.87339040485107899</c:v>
                </c:pt>
                <c:pt idx="48972">
                  <c:v>0.87340823970037396</c:v>
                </c:pt>
                <c:pt idx="48973">
                  <c:v>0.87342607454967003</c:v>
                </c:pt>
                <c:pt idx="48974">
                  <c:v>0.87344390939896499</c:v>
                </c:pt>
                <c:pt idx="48975">
                  <c:v>0.87346174424826095</c:v>
                </c:pt>
                <c:pt idx="48976">
                  <c:v>0.87347957909755602</c:v>
                </c:pt>
                <c:pt idx="48977">
                  <c:v>0.87349741394685199</c:v>
                </c:pt>
                <c:pt idx="48978">
                  <c:v>0.87351524879614695</c:v>
                </c:pt>
                <c:pt idx="48979">
                  <c:v>0.87353308364544302</c:v>
                </c:pt>
                <c:pt idx="48980">
                  <c:v>0.87355091849473798</c:v>
                </c:pt>
                <c:pt idx="48981">
                  <c:v>0.87356875334403405</c:v>
                </c:pt>
                <c:pt idx="48982">
                  <c:v>0.87358658819332902</c:v>
                </c:pt>
                <c:pt idx="48983">
                  <c:v>0.87360442304262498</c:v>
                </c:pt>
                <c:pt idx="48984">
                  <c:v>0.87362225789192005</c:v>
                </c:pt>
                <c:pt idx="48985">
                  <c:v>0.87364009274121601</c:v>
                </c:pt>
                <c:pt idx="48986">
                  <c:v>0.87365792759051097</c:v>
                </c:pt>
                <c:pt idx="48987">
                  <c:v>0.87367576243980705</c:v>
                </c:pt>
                <c:pt idx="48988">
                  <c:v>0.87369359728910201</c:v>
                </c:pt>
                <c:pt idx="48989">
                  <c:v>0.87371143213839797</c:v>
                </c:pt>
                <c:pt idx="48990">
                  <c:v>0.87372926698769304</c:v>
                </c:pt>
                <c:pt idx="48991">
                  <c:v>0.873747101836989</c:v>
                </c:pt>
                <c:pt idx="48992">
                  <c:v>0.87376493668628497</c:v>
                </c:pt>
                <c:pt idx="48993">
                  <c:v>0.87378277153558004</c:v>
                </c:pt>
                <c:pt idx="48994">
                  <c:v>0.873800606384876</c:v>
                </c:pt>
                <c:pt idx="48995">
                  <c:v>0.87381844123417096</c:v>
                </c:pt>
                <c:pt idx="48996">
                  <c:v>0.87383627608346703</c:v>
                </c:pt>
                <c:pt idx="48997">
                  <c:v>0.873854110932762</c:v>
                </c:pt>
                <c:pt idx="48998">
                  <c:v>0.87387194578205796</c:v>
                </c:pt>
                <c:pt idx="48999">
                  <c:v>0.87388978063135303</c:v>
                </c:pt>
                <c:pt idx="49000">
                  <c:v>0.87390761548064899</c:v>
                </c:pt>
                <c:pt idx="49001">
                  <c:v>0.87392545032994395</c:v>
                </c:pt>
                <c:pt idx="49002">
                  <c:v>0.87394328517924003</c:v>
                </c:pt>
                <c:pt idx="49003">
                  <c:v>0.87396112002853499</c:v>
                </c:pt>
                <c:pt idx="49004">
                  <c:v>0.87397895487783095</c:v>
                </c:pt>
                <c:pt idx="49005">
                  <c:v>0.87399678972712602</c:v>
                </c:pt>
                <c:pt idx="49006">
                  <c:v>0.87401462457642198</c:v>
                </c:pt>
                <c:pt idx="49007">
                  <c:v>0.87403245942571695</c:v>
                </c:pt>
                <c:pt idx="49008">
                  <c:v>0.87405029427501302</c:v>
                </c:pt>
                <c:pt idx="49009">
                  <c:v>0.87406812912430798</c:v>
                </c:pt>
                <c:pt idx="49010">
                  <c:v>0.87408596397360405</c:v>
                </c:pt>
                <c:pt idx="49011">
                  <c:v>0.87410379882289901</c:v>
                </c:pt>
                <c:pt idx="49012">
                  <c:v>0.87412163367219498</c:v>
                </c:pt>
                <c:pt idx="49013">
                  <c:v>0.87413946852149105</c:v>
                </c:pt>
                <c:pt idx="49014">
                  <c:v>0.87415730337078601</c:v>
                </c:pt>
                <c:pt idx="49015">
                  <c:v>0.87417513822008197</c:v>
                </c:pt>
                <c:pt idx="49016">
                  <c:v>0.87419297306937704</c:v>
                </c:pt>
                <c:pt idx="49017">
                  <c:v>0.87421080791867301</c:v>
                </c:pt>
                <c:pt idx="49018">
                  <c:v>0.87422864276796797</c:v>
                </c:pt>
                <c:pt idx="49019">
                  <c:v>0.87424647761726404</c:v>
                </c:pt>
                <c:pt idx="49020">
                  <c:v>0.874264312466559</c:v>
                </c:pt>
                <c:pt idx="49021">
                  <c:v>0.87428214731585496</c:v>
                </c:pt>
                <c:pt idx="49022">
                  <c:v>0.87429998216515004</c:v>
                </c:pt>
                <c:pt idx="49023">
                  <c:v>0.874317817014446</c:v>
                </c:pt>
                <c:pt idx="49024">
                  <c:v>0.87433565186374096</c:v>
                </c:pt>
                <c:pt idx="49025">
                  <c:v>0.87435348671303703</c:v>
                </c:pt>
                <c:pt idx="49026">
                  <c:v>0.87437132156233199</c:v>
                </c:pt>
                <c:pt idx="49027">
                  <c:v>0.87438915641162795</c:v>
                </c:pt>
                <c:pt idx="49028">
                  <c:v>0.87440699126092303</c:v>
                </c:pt>
                <c:pt idx="49029">
                  <c:v>0.87442482611021899</c:v>
                </c:pt>
                <c:pt idx="49030">
                  <c:v>0.87444266095951395</c:v>
                </c:pt>
                <c:pt idx="49031">
                  <c:v>0.87446049580881002</c:v>
                </c:pt>
                <c:pt idx="49032">
                  <c:v>0.87447833065810598</c:v>
                </c:pt>
                <c:pt idx="49033">
                  <c:v>0.87449616550740095</c:v>
                </c:pt>
                <c:pt idx="49034">
                  <c:v>0.87451400035669702</c:v>
                </c:pt>
                <c:pt idx="49035">
                  <c:v>0.87453183520599198</c:v>
                </c:pt>
                <c:pt idx="49036">
                  <c:v>0.87454967005528805</c:v>
                </c:pt>
                <c:pt idx="49037">
                  <c:v>0.87456750490458302</c:v>
                </c:pt>
                <c:pt idx="49038">
                  <c:v>0.87458533975387898</c:v>
                </c:pt>
                <c:pt idx="49039">
                  <c:v>0.87460317460317405</c:v>
                </c:pt>
                <c:pt idx="49040">
                  <c:v>0.87462100945247001</c:v>
                </c:pt>
                <c:pt idx="49041">
                  <c:v>0.87463884430176497</c:v>
                </c:pt>
                <c:pt idx="49042">
                  <c:v>0.87465667915106105</c:v>
                </c:pt>
                <c:pt idx="49043">
                  <c:v>0.87467451400035601</c:v>
                </c:pt>
                <c:pt idx="49044">
                  <c:v>0.87469234884965197</c:v>
                </c:pt>
                <c:pt idx="49045">
                  <c:v>0.87471018369894704</c:v>
                </c:pt>
                <c:pt idx="49046">
                  <c:v>0.874728018548243</c:v>
                </c:pt>
                <c:pt idx="49047">
                  <c:v>0.87474585339753796</c:v>
                </c:pt>
                <c:pt idx="49048">
                  <c:v>0.87476368824683404</c:v>
                </c:pt>
                <c:pt idx="49049">
                  <c:v>0.874781523096129</c:v>
                </c:pt>
                <c:pt idx="49050">
                  <c:v>0.87479935794542496</c:v>
                </c:pt>
                <c:pt idx="49051">
                  <c:v>0.87481719279472003</c:v>
                </c:pt>
                <c:pt idx="49052">
                  <c:v>0.87483502764401599</c:v>
                </c:pt>
                <c:pt idx="49053">
                  <c:v>0.87485286249331196</c:v>
                </c:pt>
                <c:pt idx="49054">
                  <c:v>0.87487069734260703</c:v>
                </c:pt>
                <c:pt idx="49055">
                  <c:v>0.87488853219190299</c:v>
                </c:pt>
                <c:pt idx="49056">
                  <c:v>0.87490636704119795</c:v>
                </c:pt>
                <c:pt idx="49057">
                  <c:v>0.87492420189049402</c:v>
                </c:pt>
                <c:pt idx="49058">
                  <c:v>0.87494203673978899</c:v>
                </c:pt>
                <c:pt idx="49059">
                  <c:v>0.87495987158908495</c:v>
                </c:pt>
                <c:pt idx="49060">
                  <c:v>0.87497770643838002</c:v>
                </c:pt>
                <c:pt idx="49061">
                  <c:v>0.87499554128767598</c:v>
                </c:pt>
                <c:pt idx="49062">
                  <c:v>0.87501337613697105</c:v>
                </c:pt>
                <c:pt idx="49063">
                  <c:v>0.87503121098626702</c:v>
                </c:pt>
                <c:pt idx="49064">
                  <c:v>0.87504904583556198</c:v>
                </c:pt>
                <c:pt idx="49065">
                  <c:v>0.87506688068485805</c:v>
                </c:pt>
                <c:pt idx="49066">
                  <c:v>0.87508471553415301</c:v>
                </c:pt>
                <c:pt idx="49067">
                  <c:v>0.87510255038344897</c:v>
                </c:pt>
                <c:pt idx="49068">
                  <c:v>0.87512038523274405</c:v>
                </c:pt>
                <c:pt idx="49069">
                  <c:v>0.87513822008204001</c:v>
                </c:pt>
                <c:pt idx="49070">
                  <c:v>0.87515605493133497</c:v>
                </c:pt>
                <c:pt idx="49071">
                  <c:v>0.87517388978063104</c:v>
                </c:pt>
                <c:pt idx="49072">
                  <c:v>0.875191724629926</c:v>
                </c:pt>
                <c:pt idx="49073">
                  <c:v>0.87520955947922197</c:v>
                </c:pt>
                <c:pt idx="49074">
                  <c:v>0.87522739432851704</c:v>
                </c:pt>
                <c:pt idx="49075">
                  <c:v>0.875245229177813</c:v>
                </c:pt>
                <c:pt idx="49076">
                  <c:v>0.87526306402710896</c:v>
                </c:pt>
                <c:pt idx="49077">
                  <c:v>0.87528089887640403</c:v>
                </c:pt>
                <c:pt idx="49078">
                  <c:v>0.8752987337257</c:v>
                </c:pt>
                <c:pt idx="49079">
                  <c:v>0.87531656857499496</c:v>
                </c:pt>
                <c:pt idx="49080">
                  <c:v>0.87533440342429103</c:v>
                </c:pt>
                <c:pt idx="49081">
                  <c:v>0.87535223827358599</c:v>
                </c:pt>
                <c:pt idx="49082">
                  <c:v>0.87537007312288195</c:v>
                </c:pt>
                <c:pt idx="49083">
                  <c:v>0.87538790797217703</c:v>
                </c:pt>
                <c:pt idx="49084">
                  <c:v>0.87540574282147299</c:v>
                </c:pt>
                <c:pt idx="49085">
                  <c:v>0.87542357767076795</c:v>
                </c:pt>
                <c:pt idx="49086">
                  <c:v>0.87544141252006402</c:v>
                </c:pt>
                <c:pt idx="49087">
                  <c:v>0.87545924736935898</c:v>
                </c:pt>
                <c:pt idx="49088">
                  <c:v>0.87547708221865495</c:v>
                </c:pt>
                <c:pt idx="49089">
                  <c:v>0.87549491706795002</c:v>
                </c:pt>
                <c:pt idx="49090">
                  <c:v>0.87551275191724598</c:v>
                </c:pt>
                <c:pt idx="49091">
                  <c:v>0.87553058676654105</c:v>
                </c:pt>
                <c:pt idx="49092">
                  <c:v>0.87554842161583701</c:v>
                </c:pt>
                <c:pt idx="49093">
                  <c:v>0.87556625646513198</c:v>
                </c:pt>
                <c:pt idx="49094">
                  <c:v>0.87558409131442805</c:v>
                </c:pt>
                <c:pt idx="49095">
                  <c:v>0.87560192616372301</c:v>
                </c:pt>
                <c:pt idx="49096">
                  <c:v>0.87561976101301897</c:v>
                </c:pt>
                <c:pt idx="49097">
                  <c:v>0.87563759586231404</c:v>
                </c:pt>
                <c:pt idx="49098">
                  <c:v>0.87565543071161001</c:v>
                </c:pt>
                <c:pt idx="49099">
                  <c:v>0.87567326556090597</c:v>
                </c:pt>
                <c:pt idx="49100">
                  <c:v>0.87569110041020104</c:v>
                </c:pt>
                <c:pt idx="49101">
                  <c:v>0.875708935259497</c:v>
                </c:pt>
                <c:pt idx="49102">
                  <c:v>0.87572677010879196</c:v>
                </c:pt>
                <c:pt idx="49103">
                  <c:v>0.87574460495808804</c:v>
                </c:pt>
                <c:pt idx="49104">
                  <c:v>0.875762439807383</c:v>
                </c:pt>
                <c:pt idx="49105">
                  <c:v>0.87578027465667896</c:v>
                </c:pt>
                <c:pt idx="49106">
                  <c:v>0.87579810950597403</c:v>
                </c:pt>
                <c:pt idx="49107">
                  <c:v>0.87581594435526999</c:v>
                </c:pt>
                <c:pt idx="49108">
                  <c:v>0.87583377920456496</c:v>
                </c:pt>
                <c:pt idx="49109">
                  <c:v>0.87585161405386103</c:v>
                </c:pt>
                <c:pt idx="49110">
                  <c:v>0.87586944890315599</c:v>
                </c:pt>
                <c:pt idx="49111">
                  <c:v>0.87588728375245195</c:v>
                </c:pt>
                <c:pt idx="49112">
                  <c:v>0.87590511860174702</c:v>
                </c:pt>
                <c:pt idx="49113">
                  <c:v>0.87592295345104298</c:v>
                </c:pt>
                <c:pt idx="49114">
                  <c:v>0.87594078830033795</c:v>
                </c:pt>
                <c:pt idx="49115">
                  <c:v>0.87595862314963402</c:v>
                </c:pt>
                <c:pt idx="49116">
                  <c:v>0.87597645799892898</c:v>
                </c:pt>
                <c:pt idx="49117">
                  <c:v>0.87599429284822505</c:v>
                </c:pt>
                <c:pt idx="49118">
                  <c:v>0.87601212769752002</c:v>
                </c:pt>
                <c:pt idx="49119">
                  <c:v>0.87602996254681598</c:v>
                </c:pt>
                <c:pt idx="49120">
                  <c:v>0.87604779739611205</c:v>
                </c:pt>
                <c:pt idx="49121">
                  <c:v>0.87606563224540701</c:v>
                </c:pt>
                <c:pt idx="49122">
                  <c:v>0.87608346709470297</c:v>
                </c:pt>
                <c:pt idx="49123">
                  <c:v>0.87610130194399805</c:v>
                </c:pt>
                <c:pt idx="49124">
                  <c:v>0.87611913679329401</c:v>
                </c:pt>
                <c:pt idx="49125">
                  <c:v>0.87613697164258897</c:v>
                </c:pt>
                <c:pt idx="49126">
                  <c:v>0.87615480649188504</c:v>
                </c:pt>
                <c:pt idx="49127">
                  <c:v>0.87617264134118</c:v>
                </c:pt>
                <c:pt idx="49128">
                  <c:v>0.87619047619047596</c:v>
                </c:pt>
                <c:pt idx="49129">
                  <c:v>0.87620831103977104</c:v>
                </c:pt>
                <c:pt idx="49130">
                  <c:v>0.876226145889067</c:v>
                </c:pt>
                <c:pt idx="49131">
                  <c:v>0.87624398073836196</c:v>
                </c:pt>
                <c:pt idx="49132">
                  <c:v>0.87626181558765803</c:v>
                </c:pt>
                <c:pt idx="49133">
                  <c:v>0.87627965043695299</c:v>
                </c:pt>
                <c:pt idx="49134">
                  <c:v>0.87629748528624896</c:v>
                </c:pt>
                <c:pt idx="49135">
                  <c:v>0.87631532013554403</c:v>
                </c:pt>
                <c:pt idx="49136">
                  <c:v>0.87633315498483999</c:v>
                </c:pt>
                <c:pt idx="49137">
                  <c:v>0.87635098983413595</c:v>
                </c:pt>
                <c:pt idx="49138">
                  <c:v>0.87636882468343102</c:v>
                </c:pt>
                <c:pt idx="49139">
                  <c:v>0.87638665953272699</c:v>
                </c:pt>
                <c:pt idx="49140">
                  <c:v>0.87640449438202195</c:v>
                </c:pt>
                <c:pt idx="49141">
                  <c:v>0.87642232923131802</c:v>
                </c:pt>
                <c:pt idx="49142">
                  <c:v>0.87644016408061298</c:v>
                </c:pt>
                <c:pt idx="49143">
                  <c:v>0.87645799892990905</c:v>
                </c:pt>
                <c:pt idx="49144">
                  <c:v>0.87647583377920402</c:v>
                </c:pt>
                <c:pt idx="49145">
                  <c:v>0.87649366862849998</c:v>
                </c:pt>
                <c:pt idx="49146">
                  <c:v>0.87651150347779505</c:v>
                </c:pt>
                <c:pt idx="49147">
                  <c:v>0.87652933832709101</c:v>
                </c:pt>
                <c:pt idx="49148">
                  <c:v>0.87654717317638597</c:v>
                </c:pt>
                <c:pt idx="49149">
                  <c:v>0.87656500802568205</c:v>
                </c:pt>
                <c:pt idx="49150">
                  <c:v>0.87658284287497701</c:v>
                </c:pt>
                <c:pt idx="49151">
                  <c:v>0.87660067772427297</c:v>
                </c:pt>
                <c:pt idx="49152">
                  <c:v>0.87661851257356804</c:v>
                </c:pt>
                <c:pt idx="49153">
                  <c:v>0.876636347422864</c:v>
                </c:pt>
                <c:pt idx="49154">
                  <c:v>0.87665418227215897</c:v>
                </c:pt>
                <c:pt idx="49155">
                  <c:v>0.87667201712145504</c:v>
                </c:pt>
                <c:pt idx="49156">
                  <c:v>0.87668985197075</c:v>
                </c:pt>
                <c:pt idx="49157">
                  <c:v>0.87670768682004596</c:v>
                </c:pt>
                <c:pt idx="49158">
                  <c:v>0.87672552166934103</c:v>
                </c:pt>
                <c:pt idx="49159">
                  <c:v>0.876743356518637</c:v>
                </c:pt>
                <c:pt idx="49160">
                  <c:v>0.87676119136793296</c:v>
                </c:pt>
                <c:pt idx="49161">
                  <c:v>0.87677902621722803</c:v>
                </c:pt>
                <c:pt idx="49162">
                  <c:v>0.87679686106652399</c:v>
                </c:pt>
                <c:pt idx="49163">
                  <c:v>0.87681469591581895</c:v>
                </c:pt>
                <c:pt idx="49164">
                  <c:v>0.87683253076511503</c:v>
                </c:pt>
                <c:pt idx="49165">
                  <c:v>0.87685036561440999</c:v>
                </c:pt>
                <c:pt idx="49166">
                  <c:v>0.87686820046370595</c:v>
                </c:pt>
                <c:pt idx="49167">
                  <c:v>0.87688603531300102</c:v>
                </c:pt>
                <c:pt idx="49168">
                  <c:v>0.87690387016229698</c:v>
                </c:pt>
                <c:pt idx="49169">
                  <c:v>0.87692170501159195</c:v>
                </c:pt>
                <c:pt idx="49170">
                  <c:v>0.87693953986088802</c:v>
                </c:pt>
                <c:pt idx="49171">
                  <c:v>0.87695737471018298</c:v>
                </c:pt>
                <c:pt idx="49172">
                  <c:v>0.87697520955947905</c:v>
                </c:pt>
                <c:pt idx="49173">
                  <c:v>0.87699304440877401</c:v>
                </c:pt>
                <c:pt idx="49174">
                  <c:v>0.87701087925806998</c:v>
                </c:pt>
                <c:pt idx="49175">
                  <c:v>0.87702871410736505</c:v>
                </c:pt>
                <c:pt idx="49176">
                  <c:v>0.87704654895666101</c:v>
                </c:pt>
                <c:pt idx="49177">
                  <c:v>0.87706438380595597</c:v>
                </c:pt>
                <c:pt idx="49178">
                  <c:v>0.87708221865525204</c:v>
                </c:pt>
                <c:pt idx="49179">
                  <c:v>0.87710005350454701</c:v>
                </c:pt>
                <c:pt idx="49180">
                  <c:v>0.87711788835384297</c:v>
                </c:pt>
                <c:pt idx="49181">
                  <c:v>0.87713572320313804</c:v>
                </c:pt>
                <c:pt idx="49182">
                  <c:v>0.877153558052434</c:v>
                </c:pt>
                <c:pt idx="49183">
                  <c:v>0.87717139290172996</c:v>
                </c:pt>
                <c:pt idx="49184">
                  <c:v>0.87718922775102504</c:v>
                </c:pt>
                <c:pt idx="49185">
                  <c:v>0.877207062600321</c:v>
                </c:pt>
                <c:pt idx="49186">
                  <c:v>0.87722489744961596</c:v>
                </c:pt>
                <c:pt idx="49187">
                  <c:v>0.87724273229891203</c:v>
                </c:pt>
                <c:pt idx="49188">
                  <c:v>0.87726056714820699</c:v>
                </c:pt>
                <c:pt idx="49189">
                  <c:v>0.87727840199750295</c:v>
                </c:pt>
                <c:pt idx="49190">
                  <c:v>0.87729623684679803</c:v>
                </c:pt>
                <c:pt idx="49191">
                  <c:v>0.87731407169609399</c:v>
                </c:pt>
                <c:pt idx="49192">
                  <c:v>0.87733190654538895</c:v>
                </c:pt>
                <c:pt idx="49193">
                  <c:v>0.87734974139468502</c:v>
                </c:pt>
                <c:pt idx="49194">
                  <c:v>0.87736757624397999</c:v>
                </c:pt>
                <c:pt idx="49195">
                  <c:v>0.87738541109327595</c:v>
                </c:pt>
                <c:pt idx="49196">
                  <c:v>0.87740324594257102</c:v>
                </c:pt>
                <c:pt idx="49197">
                  <c:v>0.87742108079186698</c:v>
                </c:pt>
                <c:pt idx="49198">
                  <c:v>0.87743891564116205</c:v>
                </c:pt>
                <c:pt idx="49199">
                  <c:v>0.87745675049045802</c:v>
                </c:pt>
                <c:pt idx="49200">
                  <c:v>0.87747458533975298</c:v>
                </c:pt>
                <c:pt idx="49201">
                  <c:v>0.87749242018904905</c:v>
                </c:pt>
                <c:pt idx="49202">
                  <c:v>0.87751025503834401</c:v>
                </c:pt>
                <c:pt idx="49203">
                  <c:v>0.87752808988763997</c:v>
                </c:pt>
                <c:pt idx="49204">
                  <c:v>0.87754592473693505</c:v>
                </c:pt>
                <c:pt idx="49205">
                  <c:v>0.87756375958623101</c:v>
                </c:pt>
                <c:pt idx="49206">
                  <c:v>0.87758159443552697</c:v>
                </c:pt>
                <c:pt idx="49207">
                  <c:v>0.87759942928482204</c:v>
                </c:pt>
                <c:pt idx="49208">
                  <c:v>0.877617264134118</c:v>
                </c:pt>
                <c:pt idx="49209">
                  <c:v>0.87763509898341296</c:v>
                </c:pt>
                <c:pt idx="49210">
                  <c:v>0.87765293383270904</c:v>
                </c:pt>
                <c:pt idx="49211">
                  <c:v>0.877670768682004</c:v>
                </c:pt>
                <c:pt idx="49212">
                  <c:v>0.87768860353129996</c:v>
                </c:pt>
                <c:pt idx="49213">
                  <c:v>0.87770643838059503</c:v>
                </c:pt>
                <c:pt idx="49214">
                  <c:v>0.87772427322989099</c:v>
                </c:pt>
                <c:pt idx="49215">
                  <c:v>0.87774210807918596</c:v>
                </c:pt>
                <c:pt idx="49216">
                  <c:v>0.87775994292848203</c:v>
                </c:pt>
                <c:pt idx="49217">
                  <c:v>0.87777777777777699</c:v>
                </c:pt>
                <c:pt idx="49218">
                  <c:v>0.87779561262707295</c:v>
                </c:pt>
                <c:pt idx="49219">
                  <c:v>0.87781344747636803</c:v>
                </c:pt>
                <c:pt idx="49220">
                  <c:v>0.87783128232566399</c:v>
                </c:pt>
                <c:pt idx="49221">
                  <c:v>0.87784911717495895</c:v>
                </c:pt>
                <c:pt idx="49222">
                  <c:v>0.87786695202425502</c:v>
                </c:pt>
                <c:pt idx="49223">
                  <c:v>0.87788478687354998</c:v>
                </c:pt>
                <c:pt idx="49224">
                  <c:v>0.87790262172284605</c:v>
                </c:pt>
                <c:pt idx="49225">
                  <c:v>0.87792045657214202</c:v>
                </c:pt>
                <c:pt idx="49226">
                  <c:v>0.87793829142143698</c:v>
                </c:pt>
                <c:pt idx="49227">
                  <c:v>0.87795612627073305</c:v>
                </c:pt>
                <c:pt idx="49228">
                  <c:v>0.87797396112002801</c:v>
                </c:pt>
                <c:pt idx="49229">
                  <c:v>0.87799179596932397</c:v>
                </c:pt>
                <c:pt idx="49230">
                  <c:v>0.87800963081861905</c:v>
                </c:pt>
                <c:pt idx="49231">
                  <c:v>0.87802746566791501</c:v>
                </c:pt>
                <c:pt idx="49232">
                  <c:v>0.87804530051720997</c:v>
                </c:pt>
                <c:pt idx="49233">
                  <c:v>0.87806313536650604</c:v>
                </c:pt>
                <c:pt idx="49234">
                  <c:v>0.878080970215801</c:v>
                </c:pt>
                <c:pt idx="49235">
                  <c:v>0.87809880506509697</c:v>
                </c:pt>
                <c:pt idx="49236">
                  <c:v>0.87811663991439204</c:v>
                </c:pt>
                <c:pt idx="49237">
                  <c:v>0.878134474763688</c:v>
                </c:pt>
                <c:pt idx="49238">
                  <c:v>0.87815230961298296</c:v>
                </c:pt>
                <c:pt idx="49239">
                  <c:v>0.87817014446227903</c:v>
                </c:pt>
                <c:pt idx="49240">
                  <c:v>0.878187979311574</c:v>
                </c:pt>
                <c:pt idx="49241">
                  <c:v>0.87820581416086996</c:v>
                </c:pt>
                <c:pt idx="49242">
                  <c:v>0.87822364901016503</c:v>
                </c:pt>
                <c:pt idx="49243">
                  <c:v>0.87824148385946099</c:v>
                </c:pt>
                <c:pt idx="49244">
                  <c:v>0.87825931870875695</c:v>
                </c:pt>
                <c:pt idx="49245">
                  <c:v>0.87827715355805203</c:v>
                </c:pt>
                <c:pt idx="49246">
                  <c:v>0.87829498840734799</c:v>
                </c:pt>
                <c:pt idx="49247">
                  <c:v>0.87831282325664295</c:v>
                </c:pt>
                <c:pt idx="49248">
                  <c:v>0.87833065810593902</c:v>
                </c:pt>
                <c:pt idx="49249">
                  <c:v>0.87834849295523398</c:v>
                </c:pt>
                <c:pt idx="49250">
                  <c:v>0.87836632780452994</c:v>
                </c:pt>
                <c:pt idx="49251">
                  <c:v>0.87838416265382502</c:v>
                </c:pt>
                <c:pt idx="49252">
                  <c:v>0.87840199750312098</c:v>
                </c:pt>
                <c:pt idx="49253">
                  <c:v>0.87841983235241605</c:v>
                </c:pt>
                <c:pt idx="49254">
                  <c:v>0.87843766720171201</c:v>
                </c:pt>
                <c:pt idx="49255">
                  <c:v>0.87845550205100698</c:v>
                </c:pt>
                <c:pt idx="49256">
                  <c:v>0.87847333690030305</c:v>
                </c:pt>
                <c:pt idx="49257">
                  <c:v>0.87849117174959801</c:v>
                </c:pt>
                <c:pt idx="49258">
                  <c:v>0.87850900659889397</c:v>
                </c:pt>
                <c:pt idx="49259">
                  <c:v>0.87852684144818904</c:v>
                </c:pt>
                <c:pt idx="49260">
                  <c:v>0.87854467629748501</c:v>
                </c:pt>
                <c:pt idx="49261">
                  <c:v>0.87856251114677997</c:v>
                </c:pt>
                <c:pt idx="49262">
                  <c:v>0.87858034599607604</c:v>
                </c:pt>
                <c:pt idx="49263">
                  <c:v>0.878598180845371</c:v>
                </c:pt>
                <c:pt idx="49264">
                  <c:v>0.87861601569466696</c:v>
                </c:pt>
                <c:pt idx="49265">
                  <c:v>0.87863385054396204</c:v>
                </c:pt>
                <c:pt idx="49266">
                  <c:v>0.878651685393258</c:v>
                </c:pt>
                <c:pt idx="49267">
                  <c:v>0.87866952024255396</c:v>
                </c:pt>
                <c:pt idx="49268">
                  <c:v>0.87868735509184903</c:v>
                </c:pt>
                <c:pt idx="49269">
                  <c:v>0.87870518994114499</c:v>
                </c:pt>
                <c:pt idx="49270">
                  <c:v>0.87872302479043995</c:v>
                </c:pt>
                <c:pt idx="49271">
                  <c:v>0.87874085963973603</c:v>
                </c:pt>
                <c:pt idx="49272">
                  <c:v>0.87875869448903099</c:v>
                </c:pt>
                <c:pt idx="49273">
                  <c:v>0.87877652933832695</c:v>
                </c:pt>
                <c:pt idx="49274">
                  <c:v>0.87879436418762202</c:v>
                </c:pt>
                <c:pt idx="49275">
                  <c:v>0.87881219903691798</c:v>
                </c:pt>
                <c:pt idx="49276">
                  <c:v>0.87883003388621295</c:v>
                </c:pt>
                <c:pt idx="49277">
                  <c:v>0.87884786873550902</c:v>
                </c:pt>
                <c:pt idx="49278">
                  <c:v>0.87886570358480398</c:v>
                </c:pt>
                <c:pt idx="49279">
                  <c:v>0.87888353843410005</c:v>
                </c:pt>
                <c:pt idx="49280">
                  <c:v>0.87890137328339502</c:v>
                </c:pt>
                <c:pt idx="49281">
                  <c:v>0.87891920813269098</c:v>
                </c:pt>
                <c:pt idx="49282">
                  <c:v>0.87893704298198605</c:v>
                </c:pt>
                <c:pt idx="49283">
                  <c:v>0.87895487783128201</c:v>
                </c:pt>
                <c:pt idx="49284">
                  <c:v>0.87897271268057697</c:v>
                </c:pt>
                <c:pt idx="49285">
                  <c:v>0.87899054752987305</c:v>
                </c:pt>
                <c:pt idx="49286">
                  <c:v>0.87900838237916801</c:v>
                </c:pt>
                <c:pt idx="49287">
                  <c:v>0.87902621722846397</c:v>
                </c:pt>
                <c:pt idx="49288">
                  <c:v>0.87904405207775904</c:v>
                </c:pt>
                <c:pt idx="49289">
                  <c:v>0.879061886927055</c:v>
                </c:pt>
                <c:pt idx="49290">
                  <c:v>0.87907972177635096</c:v>
                </c:pt>
                <c:pt idx="49291">
                  <c:v>0.87909755662564604</c:v>
                </c:pt>
                <c:pt idx="49292">
                  <c:v>0.879115391474942</c:v>
                </c:pt>
                <c:pt idx="49293">
                  <c:v>0.87913322632423696</c:v>
                </c:pt>
                <c:pt idx="49294">
                  <c:v>0.87915106117353303</c:v>
                </c:pt>
                <c:pt idx="49295">
                  <c:v>0.87916889602282799</c:v>
                </c:pt>
                <c:pt idx="49296">
                  <c:v>0.87918673087212396</c:v>
                </c:pt>
                <c:pt idx="49297">
                  <c:v>0.87920456572141903</c:v>
                </c:pt>
                <c:pt idx="49298">
                  <c:v>0.87922240057071499</c:v>
                </c:pt>
                <c:pt idx="49299">
                  <c:v>0.87924023542000995</c:v>
                </c:pt>
                <c:pt idx="49300">
                  <c:v>0.87925807026930602</c:v>
                </c:pt>
                <c:pt idx="49301">
                  <c:v>0.87927590511860099</c:v>
                </c:pt>
                <c:pt idx="49302">
                  <c:v>0.87929373996789695</c:v>
                </c:pt>
                <c:pt idx="49303">
                  <c:v>0.87931157481719202</c:v>
                </c:pt>
                <c:pt idx="49304">
                  <c:v>0.87932940966648798</c:v>
                </c:pt>
                <c:pt idx="49305">
                  <c:v>0.87934724451578306</c:v>
                </c:pt>
                <c:pt idx="49306">
                  <c:v>0.87936507936507902</c:v>
                </c:pt>
                <c:pt idx="49307">
                  <c:v>0.87938291421437398</c:v>
                </c:pt>
                <c:pt idx="49308">
                  <c:v>0.87940074906367005</c:v>
                </c:pt>
                <c:pt idx="49309">
                  <c:v>0.87941858391296501</c:v>
                </c:pt>
                <c:pt idx="49310">
                  <c:v>0.87943641876226097</c:v>
                </c:pt>
                <c:pt idx="49311">
                  <c:v>0.87945425361155605</c:v>
                </c:pt>
                <c:pt idx="49312">
                  <c:v>0.87947208846085201</c:v>
                </c:pt>
                <c:pt idx="49313">
                  <c:v>0.87948992331014797</c:v>
                </c:pt>
                <c:pt idx="49314">
                  <c:v>0.87950775815944304</c:v>
                </c:pt>
                <c:pt idx="49315">
                  <c:v>0.879525593008739</c:v>
                </c:pt>
                <c:pt idx="49316">
                  <c:v>0.87954342785803397</c:v>
                </c:pt>
                <c:pt idx="49317">
                  <c:v>0.87956126270733004</c:v>
                </c:pt>
                <c:pt idx="49318">
                  <c:v>0.879579097556625</c:v>
                </c:pt>
                <c:pt idx="49319">
                  <c:v>0.87959693240592096</c:v>
                </c:pt>
                <c:pt idx="49320">
                  <c:v>0.87961476725521603</c:v>
                </c:pt>
                <c:pt idx="49321">
                  <c:v>0.879632602104512</c:v>
                </c:pt>
                <c:pt idx="49322">
                  <c:v>0.87965043695380696</c:v>
                </c:pt>
                <c:pt idx="49323">
                  <c:v>0.87966827180310303</c:v>
                </c:pt>
                <c:pt idx="49324">
                  <c:v>0.87968610665239799</c:v>
                </c:pt>
                <c:pt idx="49325">
                  <c:v>0.87970394150169395</c:v>
                </c:pt>
                <c:pt idx="49326">
                  <c:v>0.87972177635098903</c:v>
                </c:pt>
                <c:pt idx="49327">
                  <c:v>0.87973961120028499</c:v>
                </c:pt>
                <c:pt idx="49328">
                  <c:v>0.87975744604957995</c:v>
                </c:pt>
                <c:pt idx="49329">
                  <c:v>0.87977528089887602</c:v>
                </c:pt>
                <c:pt idx="49330">
                  <c:v>0.87979311574817198</c:v>
                </c:pt>
                <c:pt idx="49331">
                  <c:v>0.87981095059746695</c:v>
                </c:pt>
                <c:pt idx="49332">
                  <c:v>0.87982878544676302</c:v>
                </c:pt>
                <c:pt idx="49333">
                  <c:v>0.87984662029605798</c:v>
                </c:pt>
                <c:pt idx="49334">
                  <c:v>0.87986445514535405</c:v>
                </c:pt>
                <c:pt idx="49335">
                  <c:v>0.87988228999464901</c:v>
                </c:pt>
                <c:pt idx="49336">
                  <c:v>0.87990012484394498</c:v>
                </c:pt>
                <c:pt idx="49337">
                  <c:v>0.87991795969324005</c:v>
                </c:pt>
                <c:pt idx="49338">
                  <c:v>0.87993579454253601</c:v>
                </c:pt>
                <c:pt idx="49339">
                  <c:v>0.87995362939183097</c:v>
                </c:pt>
                <c:pt idx="49340">
                  <c:v>0.87997146424112704</c:v>
                </c:pt>
                <c:pt idx="49341">
                  <c:v>0.87998929909042201</c:v>
                </c:pt>
                <c:pt idx="49342">
                  <c:v>0.88000713393971797</c:v>
                </c:pt>
                <c:pt idx="49343">
                  <c:v>0.88002496878901304</c:v>
                </c:pt>
                <c:pt idx="49344">
                  <c:v>0.880042803638309</c:v>
                </c:pt>
                <c:pt idx="49345">
                  <c:v>0.88006063848760396</c:v>
                </c:pt>
                <c:pt idx="49346">
                  <c:v>0.88007847333690004</c:v>
                </c:pt>
                <c:pt idx="49347">
                  <c:v>0.880096308186195</c:v>
                </c:pt>
                <c:pt idx="49348">
                  <c:v>0.88011414303549096</c:v>
                </c:pt>
                <c:pt idx="49349">
                  <c:v>0.88013197788478603</c:v>
                </c:pt>
                <c:pt idx="49350">
                  <c:v>0.88014981273408199</c:v>
                </c:pt>
                <c:pt idx="49351">
                  <c:v>0.88016764758337795</c:v>
                </c:pt>
                <c:pt idx="49352">
                  <c:v>0.88018548243267303</c:v>
                </c:pt>
                <c:pt idx="49353">
                  <c:v>0.88020331728196899</c:v>
                </c:pt>
                <c:pt idx="49354">
                  <c:v>0.88022115213126395</c:v>
                </c:pt>
                <c:pt idx="49355">
                  <c:v>0.88023898698056002</c:v>
                </c:pt>
                <c:pt idx="49356">
                  <c:v>0.88025682182985499</c:v>
                </c:pt>
                <c:pt idx="49357">
                  <c:v>0.88027465667915095</c:v>
                </c:pt>
                <c:pt idx="49358">
                  <c:v>0.88029249152844602</c:v>
                </c:pt>
                <c:pt idx="49359">
                  <c:v>0.88031032637774198</c:v>
                </c:pt>
                <c:pt idx="49360">
                  <c:v>0.88032816122703705</c:v>
                </c:pt>
                <c:pt idx="49361">
                  <c:v>0.88034599607633301</c:v>
                </c:pt>
                <c:pt idx="49362">
                  <c:v>0.88036383092562798</c:v>
                </c:pt>
                <c:pt idx="49363">
                  <c:v>0.88038166577492405</c:v>
                </c:pt>
                <c:pt idx="49364">
                  <c:v>0.88039950062421901</c:v>
                </c:pt>
                <c:pt idx="49365">
                  <c:v>0.88041733547351497</c:v>
                </c:pt>
                <c:pt idx="49366">
                  <c:v>0.88043517032281005</c:v>
                </c:pt>
                <c:pt idx="49367">
                  <c:v>0.88045300517210601</c:v>
                </c:pt>
                <c:pt idx="49368">
                  <c:v>0.88047084002140097</c:v>
                </c:pt>
                <c:pt idx="49369">
                  <c:v>0.88048867487069704</c:v>
                </c:pt>
                <c:pt idx="49370">
                  <c:v>0.880506509719992</c:v>
                </c:pt>
                <c:pt idx="49371">
                  <c:v>0.88052434456928796</c:v>
                </c:pt>
                <c:pt idx="49372">
                  <c:v>0.88054217941858304</c:v>
                </c:pt>
                <c:pt idx="49373">
                  <c:v>0.880560014267879</c:v>
                </c:pt>
                <c:pt idx="49374">
                  <c:v>0.88057784911717496</c:v>
                </c:pt>
                <c:pt idx="49375">
                  <c:v>0.88059568396647003</c:v>
                </c:pt>
                <c:pt idx="49376">
                  <c:v>0.88061351881576599</c:v>
                </c:pt>
                <c:pt idx="49377">
                  <c:v>0.88063135366506096</c:v>
                </c:pt>
                <c:pt idx="49378">
                  <c:v>0.88064918851435703</c:v>
                </c:pt>
                <c:pt idx="49379">
                  <c:v>0.88066702336365199</c:v>
                </c:pt>
                <c:pt idx="49380">
                  <c:v>0.88068485821294795</c:v>
                </c:pt>
                <c:pt idx="49381">
                  <c:v>0.88070269306224302</c:v>
                </c:pt>
                <c:pt idx="49382">
                  <c:v>0.88072052791153899</c:v>
                </c:pt>
                <c:pt idx="49383">
                  <c:v>0.88073836276083395</c:v>
                </c:pt>
                <c:pt idx="49384">
                  <c:v>0.88075619761013002</c:v>
                </c:pt>
                <c:pt idx="49385">
                  <c:v>0.88077403245942498</c:v>
                </c:pt>
                <c:pt idx="49386">
                  <c:v>0.88079186730872105</c:v>
                </c:pt>
                <c:pt idx="49387">
                  <c:v>0.88080970215801602</c:v>
                </c:pt>
                <c:pt idx="49388">
                  <c:v>0.88082753700731198</c:v>
                </c:pt>
                <c:pt idx="49389">
                  <c:v>0.88084537185660705</c:v>
                </c:pt>
                <c:pt idx="49390">
                  <c:v>0.88086320670590301</c:v>
                </c:pt>
                <c:pt idx="49391">
                  <c:v>0.88088104155519797</c:v>
                </c:pt>
                <c:pt idx="49392">
                  <c:v>0.88089887640449405</c:v>
                </c:pt>
                <c:pt idx="49393">
                  <c:v>0.88091671125378901</c:v>
                </c:pt>
                <c:pt idx="49394">
                  <c:v>0.88093454610308497</c:v>
                </c:pt>
                <c:pt idx="49395">
                  <c:v>0.88095238095238004</c:v>
                </c:pt>
                <c:pt idx="49396">
                  <c:v>0.880970215801676</c:v>
                </c:pt>
                <c:pt idx="49397">
                  <c:v>0.88098805065097197</c:v>
                </c:pt>
                <c:pt idx="49398">
                  <c:v>0.88100588550026704</c:v>
                </c:pt>
                <c:pt idx="49399">
                  <c:v>0.881023720349563</c:v>
                </c:pt>
                <c:pt idx="49400">
                  <c:v>0.88104155519885796</c:v>
                </c:pt>
                <c:pt idx="49401">
                  <c:v>0.88105939004815403</c:v>
                </c:pt>
                <c:pt idx="49402">
                  <c:v>0.881077224897449</c:v>
                </c:pt>
                <c:pt idx="49403">
                  <c:v>0.88109505974674496</c:v>
                </c:pt>
                <c:pt idx="49404">
                  <c:v>0.88111289459604003</c:v>
                </c:pt>
                <c:pt idx="49405">
                  <c:v>0.88113072944533599</c:v>
                </c:pt>
                <c:pt idx="49406">
                  <c:v>0.88114856429463095</c:v>
                </c:pt>
                <c:pt idx="49407">
                  <c:v>0.88116639914392703</c:v>
                </c:pt>
                <c:pt idx="49408">
                  <c:v>0.88118423399322199</c:v>
                </c:pt>
                <c:pt idx="49409">
                  <c:v>0.88120206884251795</c:v>
                </c:pt>
                <c:pt idx="49410">
                  <c:v>0.88121990369181302</c:v>
                </c:pt>
                <c:pt idx="49411">
                  <c:v>0.88123773854110898</c:v>
                </c:pt>
                <c:pt idx="49412">
                  <c:v>0.88125557339040395</c:v>
                </c:pt>
                <c:pt idx="49413">
                  <c:v>0.88127340823970002</c:v>
                </c:pt>
                <c:pt idx="49414">
                  <c:v>0.88129124308899498</c:v>
                </c:pt>
                <c:pt idx="49415">
                  <c:v>0.88130907793829105</c:v>
                </c:pt>
                <c:pt idx="49416">
                  <c:v>0.88132691278758601</c:v>
                </c:pt>
                <c:pt idx="49417">
                  <c:v>0.88134474763688198</c:v>
                </c:pt>
                <c:pt idx="49418">
                  <c:v>0.88136258248617705</c:v>
                </c:pt>
                <c:pt idx="49419">
                  <c:v>0.88138041733547301</c:v>
                </c:pt>
                <c:pt idx="49420">
                  <c:v>0.88139825218476897</c:v>
                </c:pt>
                <c:pt idx="49421">
                  <c:v>0.88141608703406404</c:v>
                </c:pt>
                <c:pt idx="49422">
                  <c:v>0.88143392188336001</c:v>
                </c:pt>
                <c:pt idx="49423">
                  <c:v>0.88145175673265497</c:v>
                </c:pt>
                <c:pt idx="49424">
                  <c:v>0.88146959158195104</c:v>
                </c:pt>
                <c:pt idx="49425">
                  <c:v>0.881487426431246</c:v>
                </c:pt>
                <c:pt idx="49426">
                  <c:v>0.88150526128054196</c:v>
                </c:pt>
                <c:pt idx="49427">
                  <c:v>0.88152309612983704</c:v>
                </c:pt>
                <c:pt idx="49428">
                  <c:v>0.881540930979133</c:v>
                </c:pt>
                <c:pt idx="49429">
                  <c:v>0.88155876582842796</c:v>
                </c:pt>
                <c:pt idx="49430">
                  <c:v>0.88157660067772403</c:v>
                </c:pt>
                <c:pt idx="49431">
                  <c:v>0.88159443552701899</c:v>
                </c:pt>
                <c:pt idx="49432">
                  <c:v>0.88161227037631495</c:v>
                </c:pt>
                <c:pt idx="49433">
                  <c:v>0.88163010522561003</c:v>
                </c:pt>
                <c:pt idx="49434">
                  <c:v>0.88164794007490599</c:v>
                </c:pt>
                <c:pt idx="49435">
                  <c:v>0.88166577492420095</c:v>
                </c:pt>
                <c:pt idx="49436">
                  <c:v>0.88168360977349702</c:v>
                </c:pt>
                <c:pt idx="49437">
                  <c:v>0.88170144462279298</c:v>
                </c:pt>
                <c:pt idx="49438">
                  <c:v>0.88171927947208795</c:v>
                </c:pt>
                <c:pt idx="49439">
                  <c:v>0.88173711432138402</c:v>
                </c:pt>
                <c:pt idx="49440">
                  <c:v>0.88175494917067898</c:v>
                </c:pt>
                <c:pt idx="49441">
                  <c:v>0.88177278401997505</c:v>
                </c:pt>
                <c:pt idx="49442">
                  <c:v>0.88179061886927002</c:v>
                </c:pt>
                <c:pt idx="49443">
                  <c:v>0.88180845371856598</c:v>
                </c:pt>
                <c:pt idx="49444">
                  <c:v>0.88182628856786105</c:v>
                </c:pt>
                <c:pt idx="49445">
                  <c:v>0.88184412341715701</c:v>
                </c:pt>
                <c:pt idx="49446">
                  <c:v>0.88186195826645197</c:v>
                </c:pt>
                <c:pt idx="49447">
                  <c:v>0.88187979311574805</c:v>
                </c:pt>
                <c:pt idx="49448">
                  <c:v>0.88189762796504301</c:v>
                </c:pt>
                <c:pt idx="49449">
                  <c:v>0.88191546281433897</c:v>
                </c:pt>
                <c:pt idx="49450">
                  <c:v>0.88193329766363404</c:v>
                </c:pt>
                <c:pt idx="49451">
                  <c:v>0.88195113251293</c:v>
                </c:pt>
                <c:pt idx="49452">
                  <c:v>0.88196896736222496</c:v>
                </c:pt>
                <c:pt idx="49453">
                  <c:v>0.88198680221152104</c:v>
                </c:pt>
                <c:pt idx="49454">
                  <c:v>0.882004637060816</c:v>
                </c:pt>
                <c:pt idx="49455">
                  <c:v>0.88202247191011196</c:v>
                </c:pt>
                <c:pt idx="49456">
                  <c:v>0.88204030675940703</c:v>
                </c:pt>
                <c:pt idx="49457">
                  <c:v>0.88205814160870299</c:v>
                </c:pt>
                <c:pt idx="49458">
                  <c:v>0.88207597645799896</c:v>
                </c:pt>
                <c:pt idx="49459">
                  <c:v>0.88209381130729403</c:v>
                </c:pt>
                <c:pt idx="49460">
                  <c:v>0.88211164615658999</c:v>
                </c:pt>
                <c:pt idx="49461">
                  <c:v>0.88212948100588495</c:v>
                </c:pt>
                <c:pt idx="49462">
                  <c:v>0.88214731585518102</c:v>
                </c:pt>
                <c:pt idx="49463">
                  <c:v>0.88216515070447599</c:v>
                </c:pt>
                <c:pt idx="49464">
                  <c:v>0.88218298555377195</c:v>
                </c:pt>
                <c:pt idx="49465">
                  <c:v>0.88220082040306702</c:v>
                </c:pt>
                <c:pt idx="49466">
                  <c:v>0.88221865525236298</c:v>
                </c:pt>
                <c:pt idx="49467">
                  <c:v>0.88223649010165806</c:v>
                </c:pt>
                <c:pt idx="49468">
                  <c:v>0.88225432495095402</c:v>
                </c:pt>
                <c:pt idx="49469">
                  <c:v>0.88227215980024898</c:v>
                </c:pt>
                <c:pt idx="49470">
                  <c:v>0.88228999464954505</c:v>
                </c:pt>
                <c:pt idx="49471">
                  <c:v>0.88230782949884001</c:v>
                </c:pt>
                <c:pt idx="49472">
                  <c:v>0.88232566434813597</c:v>
                </c:pt>
                <c:pt idx="49473">
                  <c:v>0.88234349919743105</c:v>
                </c:pt>
                <c:pt idx="49474">
                  <c:v>0.88236133404672701</c:v>
                </c:pt>
                <c:pt idx="49475">
                  <c:v>0.88237916889602197</c:v>
                </c:pt>
                <c:pt idx="49476">
                  <c:v>0.88239700374531804</c:v>
                </c:pt>
                <c:pt idx="49477">
                  <c:v>0.882414838594613</c:v>
                </c:pt>
                <c:pt idx="49478">
                  <c:v>0.88243267344390897</c:v>
                </c:pt>
                <c:pt idx="49479">
                  <c:v>0.88245050829320404</c:v>
                </c:pt>
                <c:pt idx="49480">
                  <c:v>0.8824683431425</c:v>
                </c:pt>
                <c:pt idx="49481">
                  <c:v>0.88248617799179596</c:v>
                </c:pt>
                <c:pt idx="49482">
                  <c:v>0.88250401284109103</c:v>
                </c:pt>
                <c:pt idx="49483">
                  <c:v>0.882521847690387</c:v>
                </c:pt>
                <c:pt idx="49484">
                  <c:v>0.88253968253968196</c:v>
                </c:pt>
                <c:pt idx="49485">
                  <c:v>0.88255751738897803</c:v>
                </c:pt>
                <c:pt idx="49486">
                  <c:v>0.88257535223827299</c:v>
                </c:pt>
                <c:pt idx="49487">
                  <c:v>0.88259318708756895</c:v>
                </c:pt>
                <c:pt idx="49488">
                  <c:v>0.88261102193686403</c:v>
                </c:pt>
                <c:pt idx="49489">
                  <c:v>0.88262885678615999</c:v>
                </c:pt>
                <c:pt idx="49490">
                  <c:v>0.88264669163545495</c:v>
                </c:pt>
                <c:pt idx="49491">
                  <c:v>0.88266452648475102</c:v>
                </c:pt>
                <c:pt idx="49492">
                  <c:v>0.88268236133404598</c:v>
                </c:pt>
                <c:pt idx="49493">
                  <c:v>0.88270019618334195</c:v>
                </c:pt>
                <c:pt idx="49494">
                  <c:v>0.88271803103263702</c:v>
                </c:pt>
                <c:pt idx="49495">
                  <c:v>0.88273586588193298</c:v>
                </c:pt>
                <c:pt idx="49496">
                  <c:v>0.88275370073122805</c:v>
                </c:pt>
                <c:pt idx="49497">
                  <c:v>0.88277153558052401</c:v>
                </c:pt>
                <c:pt idx="49498">
                  <c:v>0.88278937042981898</c:v>
                </c:pt>
                <c:pt idx="49499">
                  <c:v>0.88280720527911505</c:v>
                </c:pt>
                <c:pt idx="49500">
                  <c:v>0.88282504012841001</c:v>
                </c:pt>
                <c:pt idx="49501">
                  <c:v>0.88284287497770597</c:v>
                </c:pt>
                <c:pt idx="49502">
                  <c:v>0.88286070982700104</c:v>
                </c:pt>
                <c:pt idx="49503">
                  <c:v>0.88287854467629701</c:v>
                </c:pt>
                <c:pt idx="49504">
                  <c:v>0.88289637952559297</c:v>
                </c:pt>
                <c:pt idx="49505">
                  <c:v>0.88291421437488804</c:v>
                </c:pt>
                <c:pt idx="49506">
                  <c:v>0.882932049224184</c:v>
                </c:pt>
                <c:pt idx="49507">
                  <c:v>0.88294988407347896</c:v>
                </c:pt>
                <c:pt idx="49508">
                  <c:v>0.88296771892277504</c:v>
                </c:pt>
                <c:pt idx="49509">
                  <c:v>0.88298555377207</c:v>
                </c:pt>
                <c:pt idx="49510">
                  <c:v>0.88300338862136596</c:v>
                </c:pt>
                <c:pt idx="49511">
                  <c:v>0.88302122347066103</c:v>
                </c:pt>
                <c:pt idx="49512">
                  <c:v>0.88303905831995699</c:v>
                </c:pt>
                <c:pt idx="49513">
                  <c:v>0.88305689316925196</c:v>
                </c:pt>
                <c:pt idx="49514">
                  <c:v>0.88307472801854803</c:v>
                </c:pt>
                <c:pt idx="49515">
                  <c:v>0.88309256286784299</c:v>
                </c:pt>
                <c:pt idx="49516">
                  <c:v>0.88311039771713895</c:v>
                </c:pt>
                <c:pt idx="49517">
                  <c:v>0.88312823256643402</c:v>
                </c:pt>
                <c:pt idx="49518">
                  <c:v>0.88314606741572999</c:v>
                </c:pt>
                <c:pt idx="49519">
                  <c:v>0.88316390226502495</c:v>
                </c:pt>
                <c:pt idx="49520">
                  <c:v>0.88318173711432102</c:v>
                </c:pt>
                <c:pt idx="49521">
                  <c:v>0.88319957196361598</c:v>
                </c:pt>
                <c:pt idx="49522">
                  <c:v>0.88321740681291205</c:v>
                </c:pt>
                <c:pt idx="49523">
                  <c:v>0.88323524166220702</c:v>
                </c:pt>
                <c:pt idx="49524">
                  <c:v>0.88325307651150298</c:v>
                </c:pt>
                <c:pt idx="49525">
                  <c:v>0.88327091136079905</c:v>
                </c:pt>
                <c:pt idx="49526">
                  <c:v>0.88328874621009401</c:v>
                </c:pt>
                <c:pt idx="49527">
                  <c:v>0.88330658105938997</c:v>
                </c:pt>
                <c:pt idx="49528">
                  <c:v>0.88332441590868505</c:v>
                </c:pt>
                <c:pt idx="49529">
                  <c:v>0.88334225075798101</c:v>
                </c:pt>
                <c:pt idx="49530">
                  <c:v>0.88336008560727597</c:v>
                </c:pt>
                <c:pt idx="49531">
                  <c:v>0.88337792045657204</c:v>
                </c:pt>
                <c:pt idx="49532">
                  <c:v>0.883395755305867</c:v>
                </c:pt>
                <c:pt idx="49533">
                  <c:v>0.88341359015516296</c:v>
                </c:pt>
                <c:pt idx="49534">
                  <c:v>0.88343142500445804</c:v>
                </c:pt>
                <c:pt idx="49535">
                  <c:v>0.883449259853754</c:v>
                </c:pt>
                <c:pt idx="49536">
                  <c:v>0.88346709470304896</c:v>
                </c:pt>
                <c:pt idx="49537">
                  <c:v>0.88348492955234503</c:v>
                </c:pt>
                <c:pt idx="49538">
                  <c:v>0.88350276440164</c:v>
                </c:pt>
                <c:pt idx="49539">
                  <c:v>0.88352059925093596</c:v>
                </c:pt>
                <c:pt idx="49540">
                  <c:v>0.88353843410023103</c:v>
                </c:pt>
                <c:pt idx="49541">
                  <c:v>0.88355626894952699</c:v>
                </c:pt>
                <c:pt idx="49542">
                  <c:v>0.88357410379882295</c:v>
                </c:pt>
                <c:pt idx="49543">
                  <c:v>0.88359193864811802</c:v>
                </c:pt>
                <c:pt idx="49544">
                  <c:v>0.88360977349741399</c:v>
                </c:pt>
                <c:pt idx="49545">
                  <c:v>0.88362760834670895</c:v>
                </c:pt>
                <c:pt idx="49546">
                  <c:v>0.88364544319600502</c:v>
                </c:pt>
                <c:pt idx="49547">
                  <c:v>0.88366327804529998</c:v>
                </c:pt>
                <c:pt idx="49548">
                  <c:v>0.88368111289459605</c:v>
                </c:pt>
                <c:pt idx="49549">
                  <c:v>0.88369894774389102</c:v>
                </c:pt>
                <c:pt idx="49550">
                  <c:v>0.88371678259318698</c:v>
                </c:pt>
                <c:pt idx="49551">
                  <c:v>0.88373461744248205</c:v>
                </c:pt>
                <c:pt idx="49552">
                  <c:v>0.88375245229177801</c:v>
                </c:pt>
                <c:pt idx="49553">
                  <c:v>0.88377028714107297</c:v>
                </c:pt>
                <c:pt idx="49554">
                  <c:v>0.88378812199036905</c:v>
                </c:pt>
                <c:pt idx="49555">
                  <c:v>0.88380595683966401</c:v>
                </c:pt>
                <c:pt idx="49556">
                  <c:v>0.88382379168895997</c:v>
                </c:pt>
                <c:pt idx="49557">
                  <c:v>0.88384162653825504</c:v>
                </c:pt>
                <c:pt idx="49558">
                  <c:v>0.883859461387551</c:v>
                </c:pt>
                <c:pt idx="49559">
                  <c:v>0.88387729623684597</c:v>
                </c:pt>
                <c:pt idx="49560">
                  <c:v>0.88389513108614204</c:v>
                </c:pt>
                <c:pt idx="49561">
                  <c:v>0.883912965935437</c:v>
                </c:pt>
                <c:pt idx="49562">
                  <c:v>0.88393080078473296</c:v>
                </c:pt>
                <c:pt idx="49563">
                  <c:v>0.88394863563402803</c:v>
                </c:pt>
                <c:pt idx="49564">
                  <c:v>0.883966470483324</c:v>
                </c:pt>
                <c:pt idx="49565">
                  <c:v>0.88398430533261996</c:v>
                </c:pt>
                <c:pt idx="49566">
                  <c:v>0.88400214018191503</c:v>
                </c:pt>
                <c:pt idx="49567">
                  <c:v>0.88401997503121099</c:v>
                </c:pt>
                <c:pt idx="49568">
                  <c:v>0.88403780988050595</c:v>
                </c:pt>
                <c:pt idx="49569">
                  <c:v>0.88405564472980203</c:v>
                </c:pt>
                <c:pt idx="49570">
                  <c:v>0.88407347957909699</c:v>
                </c:pt>
                <c:pt idx="49571">
                  <c:v>0.88409131442839295</c:v>
                </c:pt>
                <c:pt idx="49572">
                  <c:v>0.88410914927768802</c:v>
                </c:pt>
                <c:pt idx="49573">
                  <c:v>0.88412698412698398</c:v>
                </c:pt>
                <c:pt idx="49574">
                  <c:v>0.88414481897627895</c:v>
                </c:pt>
                <c:pt idx="49575">
                  <c:v>0.88416265382557502</c:v>
                </c:pt>
                <c:pt idx="49576">
                  <c:v>0.88418048867486998</c:v>
                </c:pt>
                <c:pt idx="49577">
                  <c:v>0.88419832352416605</c:v>
                </c:pt>
                <c:pt idx="49578">
                  <c:v>0.88421615837346101</c:v>
                </c:pt>
                <c:pt idx="49579">
                  <c:v>0.88423399322275698</c:v>
                </c:pt>
                <c:pt idx="49580">
                  <c:v>0.88425182807205205</c:v>
                </c:pt>
                <c:pt idx="49581">
                  <c:v>0.88426966292134801</c:v>
                </c:pt>
                <c:pt idx="49582">
                  <c:v>0.88428749777064297</c:v>
                </c:pt>
                <c:pt idx="49583">
                  <c:v>0.88430533261993904</c:v>
                </c:pt>
                <c:pt idx="49584">
                  <c:v>0.88432316746923401</c:v>
                </c:pt>
                <c:pt idx="49585">
                  <c:v>0.88434100231852997</c:v>
                </c:pt>
                <c:pt idx="49586">
                  <c:v>0.88435883716782504</c:v>
                </c:pt>
                <c:pt idx="49587">
                  <c:v>0.884376672017121</c:v>
                </c:pt>
                <c:pt idx="49588">
                  <c:v>0.88439450686641696</c:v>
                </c:pt>
                <c:pt idx="49589">
                  <c:v>0.88441234171571204</c:v>
                </c:pt>
                <c:pt idx="49590">
                  <c:v>0.884430176565008</c:v>
                </c:pt>
                <c:pt idx="49591">
                  <c:v>0.88444801141430296</c:v>
                </c:pt>
                <c:pt idx="49592">
                  <c:v>0.88446584626359903</c:v>
                </c:pt>
                <c:pt idx="49593">
                  <c:v>0.88448368111289399</c:v>
                </c:pt>
                <c:pt idx="49594">
                  <c:v>0.88450151596218995</c:v>
                </c:pt>
                <c:pt idx="49595">
                  <c:v>0.88451935081148503</c:v>
                </c:pt>
                <c:pt idx="49596">
                  <c:v>0.88453718566078099</c:v>
                </c:pt>
                <c:pt idx="49597">
                  <c:v>0.88455502051007595</c:v>
                </c:pt>
                <c:pt idx="49598">
                  <c:v>0.88457285535937202</c:v>
                </c:pt>
                <c:pt idx="49599">
                  <c:v>0.88459069020866699</c:v>
                </c:pt>
                <c:pt idx="49600">
                  <c:v>0.88460852505796295</c:v>
                </c:pt>
                <c:pt idx="49601">
                  <c:v>0.88462635990725802</c:v>
                </c:pt>
                <c:pt idx="49602">
                  <c:v>0.88464419475655398</c:v>
                </c:pt>
                <c:pt idx="49603">
                  <c:v>0.88466202960584905</c:v>
                </c:pt>
                <c:pt idx="49604">
                  <c:v>0.88467986445514502</c:v>
                </c:pt>
                <c:pt idx="49605">
                  <c:v>0.88469769930443998</c:v>
                </c:pt>
                <c:pt idx="49606">
                  <c:v>0.88471553415373605</c:v>
                </c:pt>
                <c:pt idx="49607">
                  <c:v>0.88473336900303101</c:v>
                </c:pt>
                <c:pt idx="49608">
                  <c:v>0.88475120385232697</c:v>
                </c:pt>
                <c:pt idx="49609">
                  <c:v>0.88476903870162205</c:v>
                </c:pt>
                <c:pt idx="49610">
                  <c:v>0.88478687355091801</c:v>
                </c:pt>
                <c:pt idx="49611">
                  <c:v>0.88480470840021397</c:v>
                </c:pt>
                <c:pt idx="49612">
                  <c:v>0.88482254324950904</c:v>
                </c:pt>
                <c:pt idx="49613">
                  <c:v>0.884840378098805</c:v>
                </c:pt>
                <c:pt idx="49614">
                  <c:v>0.88485821294809996</c:v>
                </c:pt>
                <c:pt idx="49615">
                  <c:v>0.88487604779739604</c:v>
                </c:pt>
                <c:pt idx="49616">
                  <c:v>0.884893882646691</c:v>
                </c:pt>
                <c:pt idx="49617">
                  <c:v>0.88491171749598696</c:v>
                </c:pt>
                <c:pt idx="49618">
                  <c:v>0.88492955234528203</c:v>
                </c:pt>
                <c:pt idx="49619">
                  <c:v>0.88494738719457799</c:v>
                </c:pt>
                <c:pt idx="49620">
                  <c:v>0.88496522204387296</c:v>
                </c:pt>
                <c:pt idx="49621">
                  <c:v>0.88498305689316903</c:v>
                </c:pt>
                <c:pt idx="49622">
                  <c:v>0.88500089174246399</c:v>
                </c:pt>
                <c:pt idx="49623">
                  <c:v>0.88501872659175995</c:v>
                </c:pt>
                <c:pt idx="49624">
                  <c:v>0.88503656144105503</c:v>
                </c:pt>
                <c:pt idx="49625">
                  <c:v>0.88505439629035099</c:v>
                </c:pt>
                <c:pt idx="49626">
                  <c:v>0.88507223113964595</c:v>
                </c:pt>
                <c:pt idx="49627">
                  <c:v>0.88509006598894202</c:v>
                </c:pt>
                <c:pt idx="49628">
                  <c:v>0.88510790083823698</c:v>
                </c:pt>
                <c:pt idx="49629">
                  <c:v>0.88512573568753306</c:v>
                </c:pt>
                <c:pt idx="49630">
                  <c:v>0.88514357053682902</c:v>
                </c:pt>
                <c:pt idx="49631">
                  <c:v>0.88516140538612398</c:v>
                </c:pt>
                <c:pt idx="49632">
                  <c:v>0.88517924023542005</c:v>
                </c:pt>
                <c:pt idx="49633">
                  <c:v>0.88519707508471501</c:v>
                </c:pt>
                <c:pt idx="49634">
                  <c:v>0.88521490993401097</c:v>
                </c:pt>
                <c:pt idx="49635">
                  <c:v>0.88523274478330605</c:v>
                </c:pt>
                <c:pt idx="49636">
                  <c:v>0.88525057963260201</c:v>
                </c:pt>
                <c:pt idx="49637">
                  <c:v>0.88526841448189697</c:v>
                </c:pt>
                <c:pt idx="49638">
                  <c:v>0.88528624933119304</c:v>
                </c:pt>
                <c:pt idx="49639">
                  <c:v>0.885304084180488</c:v>
                </c:pt>
                <c:pt idx="49640">
                  <c:v>0.88532191902978397</c:v>
                </c:pt>
                <c:pt idx="49641">
                  <c:v>0.88533975387907904</c:v>
                </c:pt>
                <c:pt idx="49642">
                  <c:v>0.885357588728375</c:v>
                </c:pt>
                <c:pt idx="49643">
                  <c:v>0.88537542357766996</c:v>
                </c:pt>
                <c:pt idx="49644">
                  <c:v>0.88539325842696603</c:v>
                </c:pt>
                <c:pt idx="49645">
                  <c:v>0.885411093276261</c:v>
                </c:pt>
                <c:pt idx="49646">
                  <c:v>0.88542892812555696</c:v>
                </c:pt>
                <c:pt idx="49647">
                  <c:v>0.88544676297485203</c:v>
                </c:pt>
                <c:pt idx="49648">
                  <c:v>0.88546459782414799</c:v>
                </c:pt>
                <c:pt idx="49649">
                  <c:v>0.88548243267344395</c:v>
                </c:pt>
                <c:pt idx="49650">
                  <c:v>0.88550026752273903</c:v>
                </c:pt>
                <c:pt idx="49651">
                  <c:v>0.88551810237203499</c:v>
                </c:pt>
                <c:pt idx="49652">
                  <c:v>0.88553593722132995</c:v>
                </c:pt>
                <c:pt idx="49653">
                  <c:v>0.88555377207062602</c:v>
                </c:pt>
                <c:pt idx="49654">
                  <c:v>0.88557160691992098</c:v>
                </c:pt>
                <c:pt idx="49655">
                  <c:v>0.88558944176921695</c:v>
                </c:pt>
                <c:pt idx="49656">
                  <c:v>0.88560727661851202</c:v>
                </c:pt>
                <c:pt idx="49657">
                  <c:v>0.88562511146780798</c:v>
                </c:pt>
                <c:pt idx="49658">
                  <c:v>0.88564294631710305</c:v>
                </c:pt>
                <c:pt idx="49659">
                  <c:v>0.88566078116639901</c:v>
                </c:pt>
                <c:pt idx="49660">
                  <c:v>0.88567861601569398</c:v>
                </c:pt>
                <c:pt idx="49661">
                  <c:v>0.88569645086499005</c:v>
                </c:pt>
                <c:pt idx="49662">
                  <c:v>0.88571428571428501</c:v>
                </c:pt>
                <c:pt idx="49663">
                  <c:v>0.88573212056358097</c:v>
                </c:pt>
                <c:pt idx="49664">
                  <c:v>0.88574995541287604</c:v>
                </c:pt>
                <c:pt idx="49665">
                  <c:v>0.88576779026217201</c:v>
                </c:pt>
                <c:pt idx="49666">
                  <c:v>0.88578562511146697</c:v>
                </c:pt>
                <c:pt idx="49667">
                  <c:v>0.88580345996076304</c:v>
                </c:pt>
                <c:pt idx="49668">
                  <c:v>0.885821294810058</c:v>
                </c:pt>
                <c:pt idx="49669">
                  <c:v>0.88583912965935396</c:v>
                </c:pt>
                <c:pt idx="49670">
                  <c:v>0.88585696450864904</c:v>
                </c:pt>
                <c:pt idx="49671">
                  <c:v>0.885874799357945</c:v>
                </c:pt>
                <c:pt idx="49672">
                  <c:v>0.88589263420724096</c:v>
                </c:pt>
                <c:pt idx="49673">
                  <c:v>0.88591046905653603</c:v>
                </c:pt>
                <c:pt idx="49674">
                  <c:v>0.88592830390583199</c:v>
                </c:pt>
                <c:pt idx="49675">
                  <c:v>0.88594613875512696</c:v>
                </c:pt>
                <c:pt idx="49676">
                  <c:v>0.88596397360442303</c:v>
                </c:pt>
                <c:pt idx="49677">
                  <c:v>0.88598180845371799</c:v>
                </c:pt>
                <c:pt idx="49678">
                  <c:v>0.88599964330301395</c:v>
                </c:pt>
                <c:pt idx="49679">
                  <c:v>0.88601747815230902</c:v>
                </c:pt>
                <c:pt idx="49680">
                  <c:v>0.88603531300160498</c:v>
                </c:pt>
                <c:pt idx="49681">
                  <c:v>0.88605314785089995</c:v>
                </c:pt>
                <c:pt idx="49682">
                  <c:v>0.88607098270019602</c:v>
                </c:pt>
                <c:pt idx="49683">
                  <c:v>0.88608881754949098</c:v>
                </c:pt>
                <c:pt idx="49684">
                  <c:v>0.88610665239878705</c:v>
                </c:pt>
                <c:pt idx="49685">
                  <c:v>0.88612448724808202</c:v>
                </c:pt>
                <c:pt idx="49686">
                  <c:v>0.88614232209737798</c:v>
                </c:pt>
                <c:pt idx="49687">
                  <c:v>0.88616015694667305</c:v>
                </c:pt>
                <c:pt idx="49688">
                  <c:v>0.88617799179596901</c:v>
                </c:pt>
                <c:pt idx="49689">
                  <c:v>0.88619582664526397</c:v>
                </c:pt>
                <c:pt idx="49690">
                  <c:v>0.88621366149456005</c:v>
                </c:pt>
                <c:pt idx="49691">
                  <c:v>0.88623149634385501</c:v>
                </c:pt>
                <c:pt idx="49692">
                  <c:v>0.88624933119315097</c:v>
                </c:pt>
                <c:pt idx="49693">
                  <c:v>0.88626716604244604</c:v>
                </c:pt>
                <c:pt idx="49694">
                  <c:v>0.886285000891742</c:v>
                </c:pt>
                <c:pt idx="49695">
                  <c:v>0.88630283574103796</c:v>
                </c:pt>
                <c:pt idx="49696">
                  <c:v>0.88632067059033304</c:v>
                </c:pt>
                <c:pt idx="49697">
                  <c:v>0.886338505439629</c:v>
                </c:pt>
                <c:pt idx="49698">
                  <c:v>0.88635634028892396</c:v>
                </c:pt>
                <c:pt idx="49699">
                  <c:v>0.88637417513822003</c:v>
                </c:pt>
                <c:pt idx="49700">
                  <c:v>0.88639200998751499</c:v>
                </c:pt>
                <c:pt idx="49701">
                  <c:v>0.88640984483681096</c:v>
                </c:pt>
                <c:pt idx="49702">
                  <c:v>0.88642767968610603</c:v>
                </c:pt>
                <c:pt idx="49703">
                  <c:v>0.88644551453540199</c:v>
                </c:pt>
                <c:pt idx="49704">
                  <c:v>0.88646334938469695</c:v>
                </c:pt>
                <c:pt idx="49705">
                  <c:v>0.88648118423399302</c:v>
                </c:pt>
                <c:pt idx="49706">
                  <c:v>0.88649901908328799</c:v>
                </c:pt>
                <c:pt idx="49707">
                  <c:v>0.88651685393258395</c:v>
                </c:pt>
                <c:pt idx="49708">
                  <c:v>0.88653468878187902</c:v>
                </c:pt>
                <c:pt idx="49709">
                  <c:v>0.88655252363117498</c:v>
                </c:pt>
                <c:pt idx="49710">
                  <c:v>0.88657035848047006</c:v>
                </c:pt>
                <c:pt idx="49711">
                  <c:v>0.88658819332976602</c:v>
                </c:pt>
                <c:pt idx="49712">
                  <c:v>0.88660602817906098</c:v>
                </c:pt>
                <c:pt idx="49713">
                  <c:v>0.88662386302835705</c:v>
                </c:pt>
                <c:pt idx="49714">
                  <c:v>0.88664169787765201</c:v>
                </c:pt>
                <c:pt idx="49715">
                  <c:v>0.88665953272694797</c:v>
                </c:pt>
                <c:pt idx="49716">
                  <c:v>0.88667736757624305</c:v>
                </c:pt>
                <c:pt idx="49717">
                  <c:v>0.88669520242553901</c:v>
                </c:pt>
                <c:pt idx="49718">
                  <c:v>0.88671303727483497</c:v>
                </c:pt>
                <c:pt idx="49719">
                  <c:v>0.88673087212413004</c:v>
                </c:pt>
                <c:pt idx="49720">
                  <c:v>0.886748706973426</c:v>
                </c:pt>
                <c:pt idx="49721">
                  <c:v>0.88676654182272097</c:v>
                </c:pt>
                <c:pt idx="49722">
                  <c:v>0.88678437667201704</c:v>
                </c:pt>
                <c:pt idx="49723">
                  <c:v>0.886802211521312</c:v>
                </c:pt>
                <c:pt idx="49724">
                  <c:v>0.88682004637060796</c:v>
                </c:pt>
                <c:pt idx="49725">
                  <c:v>0.88683788121990303</c:v>
                </c:pt>
                <c:pt idx="49726">
                  <c:v>0.886855716069199</c:v>
                </c:pt>
                <c:pt idx="49727">
                  <c:v>0.88687355091849396</c:v>
                </c:pt>
                <c:pt idx="49728">
                  <c:v>0.88689138576779003</c:v>
                </c:pt>
                <c:pt idx="49729">
                  <c:v>0.88690922061708499</c:v>
                </c:pt>
                <c:pt idx="49730">
                  <c:v>0.88692705546638095</c:v>
                </c:pt>
                <c:pt idx="49731">
                  <c:v>0.88694489031567603</c:v>
                </c:pt>
                <c:pt idx="49732">
                  <c:v>0.88696272516497199</c:v>
                </c:pt>
                <c:pt idx="49733">
                  <c:v>0.88698056001426695</c:v>
                </c:pt>
                <c:pt idx="49734">
                  <c:v>0.88699839486356302</c:v>
                </c:pt>
                <c:pt idx="49735">
                  <c:v>0.88701622971285798</c:v>
                </c:pt>
                <c:pt idx="49736">
                  <c:v>0.88703406456215395</c:v>
                </c:pt>
                <c:pt idx="49737">
                  <c:v>0.88705189941145002</c:v>
                </c:pt>
                <c:pt idx="49738">
                  <c:v>0.88706973426074498</c:v>
                </c:pt>
                <c:pt idx="49739">
                  <c:v>0.88708756911004105</c:v>
                </c:pt>
                <c:pt idx="49740">
                  <c:v>0.88710540395933601</c:v>
                </c:pt>
                <c:pt idx="49741">
                  <c:v>0.88712323880863198</c:v>
                </c:pt>
                <c:pt idx="49742">
                  <c:v>0.88714107365792705</c:v>
                </c:pt>
                <c:pt idx="49743">
                  <c:v>0.88715890850722301</c:v>
                </c:pt>
                <c:pt idx="49744">
                  <c:v>0.88717674335651797</c:v>
                </c:pt>
                <c:pt idx="49745">
                  <c:v>0.88719457820581404</c:v>
                </c:pt>
                <c:pt idx="49746">
                  <c:v>0.88721241305510901</c:v>
                </c:pt>
                <c:pt idx="49747">
                  <c:v>0.88723024790440497</c:v>
                </c:pt>
                <c:pt idx="49748">
                  <c:v>0.88724808275370004</c:v>
                </c:pt>
                <c:pt idx="49749">
                  <c:v>0.887265917602996</c:v>
                </c:pt>
                <c:pt idx="49750">
                  <c:v>0.88728375245229096</c:v>
                </c:pt>
                <c:pt idx="49751">
                  <c:v>0.88730158730158704</c:v>
                </c:pt>
                <c:pt idx="49752">
                  <c:v>0.887319422150882</c:v>
                </c:pt>
                <c:pt idx="49753">
                  <c:v>0.88733725700017796</c:v>
                </c:pt>
                <c:pt idx="49754">
                  <c:v>0.88735509184947303</c:v>
                </c:pt>
                <c:pt idx="49755">
                  <c:v>0.88737292669876899</c:v>
                </c:pt>
                <c:pt idx="49756">
                  <c:v>0.88739076154806495</c:v>
                </c:pt>
                <c:pt idx="49757">
                  <c:v>0.88740859639736003</c:v>
                </c:pt>
                <c:pt idx="49758">
                  <c:v>0.88742643124665599</c:v>
                </c:pt>
                <c:pt idx="49759">
                  <c:v>0.88744426609595095</c:v>
                </c:pt>
                <c:pt idx="49760">
                  <c:v>0.88746210094524702</c:v>
                </c:pt>
                <c:pt idx="49761">
                  <c:v>0.88747993579454199</c:v>
                </c:pt>
                <c:pt idx="49762">
                  <c:v>0.88749777064383795</c:v>
                </c:pt>
                <c:pt idx="49763">
                  <c:v>0.88751560549313302</c:v>
                </c:pt>
                <c:pt idx="49764">
                  <c:v>0.88753344034242898</c:v>
                </c:pt>
                <c:pt idx="49765">
                  <c:v>0.88755127519172405</c:v>
                </c:pt>
                <c:pt idx="49766">
                  <c:v>0.88756911004102002</c:v>
                </c:pt>
                <c:pt idx="49767">
                  <c:v>0.88758694489031498</c:v>
                </c:pt>
                <c:pt idx="49768">
                  <c:v>0.88760477973961105</c:v>
                </c:pt>
                <c:pt idx="49769">
                  <c:v>0.88762261458890601</c:v>
                </c:pt>
                <c:pt idx="49770">
                  <c:v>0.88764044943820197</c:v>
                </c:pt>
                <c:pt idx="49771">
                  <c:v>0.88765828428749705</c:v>
                </c:pt>
                <c:pt idx="49772">
                  <c:v>0.88767611913679301</c:v>
                </c:pt>
                <c:pt idx="49773">
                  <c:v>0.88769395398608797</c:v>
                </c:pt>
                <c:pt idx="49774">
                  <c:v>0.88771178883538404</c:v>
                </c:pt>
                <c:pt idx="49775">
                  <c:v>0.887729623684679</c:v>
                </c:pt>
                <c:pt idx="49776">
                  <c:v>0.88774745853397496</c:v>
                </c:pt>
                <c:pt idx="49777">
                  <c:v>0.88776529338327004</c:v>
                </c:pt>
                <c:pt idx="49778">
                  <c:v>0.887783128232566</c:v>
                </c:pt>
                <c:pt idx="49779">
                  <c:v>0.88780096308186196</c:v>
                </c:pt>
                <c:pt idx="49780">
                  <c:v>0.88781879793115703</c:v>
                </c:pt>
                <c:pt idx="49781">
                  <c:v>0.88783663278045299</c:v>
                </c:pt>
                <c:pt idx="49782">
                  <c:v>0.88785446762974796</c:v>
                </c:pt>
                <c:pt idx="49783">
                  <c:v>0.88787230247904403</c:v>
                </c:pt>
                <c:pt idx="49784">
                  <c:v>0.88789013732833899</c:v>
                </c:pt>
                <c:pt idx="49785">
                  <c:v>0.88790797217763495</c:v>
                </c:pt>
                <c:pt idx="49786">
                  <c:v>0.88792580702693003</c:v>
                </c:pt>
                <c:pt idx="49787">
                  <c:v>0.88794364187622599</c:v>
                </c:pt>
                <c:pt idx="49788">
                  <c:v>0.88796147672552095</c:v>
                </c:pt>
                <c:pt idx="49789">
                  <c:v>0.88797931157481702</c:v>
                </c:pt>
                <c:pt idx="49790">
                  <c:v>0.88799714642411198</c:v>
                </c:pt>
                <c:pt idx="49791">
                  <c:v>0.88801498127340805</c:v>
                </c:pt>
                <c:pt idx="49792">
                  <c:v>0.88803281612270302</c:v>
                </c:pt>
                <c:pt idx="49793">
                  <c:v>0.88805065097199898</c:v>
                </c:pt>
                <c:pt idx="49794">
                  <c:v>0.88806848582129405</c:v>
                </c:pt>
                <c:pt idx="49795">
                  <c:v>0.88808632067059001</c:v>
                </c:pt>
                <c:pt idx="49796">
                  <c:v>0.88810415551988497</c:v>
                </c:pt>
                <c:pt idx="49797">
                  <c:v>0.88812199036918105</c:v>
                </c:pt>
                <c:pt idx="49798">
                  <c:v>0.88813982521847601</c:v>
                </c:pt>
                <c:pt idx="49799">
                  <c:v>0.88815766006777197</c:v>
                </c:pt>
                <c:pt idx="49800">
                  <c:v>0.88817549491706704</c:v>
                </c:pt>
                <c:pt idx="49801">
                  <c:v>0.888193329766363</c:v>
                </c:pt>
                <c:pt idx="49802">
                  <c:v>0.88821116461565897</c:v>
                </c:pt>
                <c:pt idx="49803">
                  <c:v>0.88822899946495404</c:v>
                </c:pt>
                <c:pt idx="49804">
                  <c:v>0.88824683431425</c:v>
                </c:pt>
                <c:pt idx="49805">
                  <c:v>0.88826466916354496</c:v>
                </c:pt>
                <c:pt idx="49806">
                  <c:v>0.88828250401284103</c:v>
                </c:pt>
                <c:pt idx="49807">
                  <c:v>0.888300338862136</c:v>
                </c:pt>
                <c:pt idx="49808">
                  <c:v>0.88831817371143196</c:v>
                </c:pt>
                <c:pt idx="49809">
                  <c:v>0.88833600856072703</c:v>
                </c:pt>
                <c:pt idx="49810">
                  <c:v>0.88835384341002299</c:v>
                </c:pt>
                <c:pt idx="49811">
                  <c:v>0.88837167825931795</c:v>
                </c:pt>
                <c:pt idx="49812">
                  <c:v>0.88838951310861403</c:v>
                </c:pt>
                <c:pt idx="49813">
                  <c:v>0.88840734795790899</c:v>
                </c:pt>
                <c:pt idx="49814">
                  <c:v>0.88842518280720495</c:v>
                </c:pt>
                <c:pt idx="49815">
                  <c:v>0.88844301765650002</c:v>
                </c:pt>
                <c:pt idx="49816">
                  <c:v>0.88846085250579598</c:v>
                </c:pt>
                <c:pt idx="49817">
                  <c:v>0.88847868735509095</c:v>
                </c:pt>
                <c:pt idx="49818">
                  <c:v>0.88849652220438702</c:v>
                </c:pt>
                <c:pt idx="49819">
                  <c:v>0.88851435705368198</c:v>
                </c:pt>
                <c:pt idx="49820">
                  <c:v>0.88853219190297805</c:v>
                </c:pt>
                <c:pt idx="49821">
                  <c:v>0.88855002675227301</c:v>
                </c:pt>
                <c:pt idx="49822">
                  <c:v>0.88856786160156898</c:v>
                </c:pt>
                <c:pt idx="49823">
                  <c:v>0.88858569645086405</c:v>
                </c:pt>
                <c:pt idx="49824">
                  <c:v>0.88860353130016001</c:v>
                </c:pt>
                <c:pt idx="49825">
                  <c:v>0.88862136614945597</c:v>
                </c:pt>
                <c:pt idx="49826">
                  <c:v>0.88863920099875104</c:v>
                </c:pt>
                <c:pt idx="49827">
                  <c:v>0.88865703584804701</c:v>
                </c:pt>
                <c:pt idx="49828">
                  <c:v>0.88867487069734197</c:v>
                </c:pt>
                <c:pt idx="49829">
                  <c:v>0.88869270554663804</c:v>
                </c:pt>
                <c:pt idx="49830">
                  <c:v>0.888710540395933</c:v>
                </c:pt>
                <c:pt idx="49831">
                  <c:v>0.88872837524522896</c:v>
                </c:pt>
                <c:pt idx="49832">
                  <c:v>0.88874621009452404</c:v>
                </c:pt>
                <c:pt idx="49833">
                  <c:v>0.88876404494382</c:v>
                </c:pt>
                <c:pt idx="49834">
                  <c:v>0.88878187979311496</c:v>
                </c:pt>
                <c:pt idx="49835">
                  <c:v>0.88879971464241103</c:v>
                </c:pt>
                <c:pt idx="49836">
                  <c:v>0.88881754949170599</c:v>
                </c:pt>
                <c:pt idx="49837">
                  <c:v>0.88883538434100196</c:v>
                </c:pt>
                <c:pt idx="49838">
                  <c:v>0.88885321919029703</c:v>
                </c:pt>
                <c:pt idx="49839">
                  <c:v>0.88887105403959299</c:v>
                </c:pt>
                <c:pt idx="49840">
                  <c:v>0.88888888888888795</c:v>
                </c:pt>
                <c:pt idx="49841">
                  <c:v>0.88890672373818402</c:v>
                </c:pt>
                <c:pt idx="49842">
                  <c:v>0.88892455858747998</c:v>
                </c:pt>
                <c:pt idx="49843">
                  <c:v>0.88894239343677495</c:v>
                </c:pt>
                <c:pt idx="49844">
                  <c:v>0.88896022828607102</c:v>
                </c:pt>
                <c:pt idx="49845">
                  <c:v>0.88897806313536598</c:v>
                </c:pt>
                <c:pt idx="49846">
                  <c:v>0.88899589798466205</c:v>
                </c:pt>
                <c:pt idx="49847">
                  <c:v>0.88901373283395702</c:v>
                </c:pt>
                <c:pt idx="49848">
                  <c:v>0.88903156768325298</c:v>
                </c:pt>
                <c:pt idx="49849">
                  <c:v>0.88904940253254805</c:v>
                </c:pt>
                <c:pt idx="49850">
                  <c:v>0.88906723738184401</c:v>
                </c:pt>
                <c:pt idx="49851">
                  <c:v>0.88908507223113897</c:v>
                </c:pt>
                <c:pt idx="49852">
                  <c:v>0.88910290708043505</c:v>
                </c:pt>
                <c:pt idx="49853">
                  <c:v>0.88912074192973001</c:v>
                </c:pt>
                <c:pt idx="49854">
                  <c:v>0.88913857677902597</c:v>
                </c:pt>
                <c:pt idx="49855">
                  <c:v>0.88915641162832104</c:v>
                </c:pt>
                <c:pt idx="49856">
                  <c:v>0.889174246477617</c:v>
                </c:pt>
                <c:pt idx="49857">
                  <c:v>0.88919208132691197</c:v>
                </c:pt>
                <c:pt idx="49858">
                  <c:v>0.88920991617620804</c:v>
                </c:pt>
                <c:pt idx="49859">
                  <c:v>0.889227751025503</c:v>
                </c:pt>
                <c:pt idx="49860">
                  <c:v>0.88924558587479896</c:v>
                </c:pt>
                <c:pt idx="49861">
                  <c:v>0.88926342072409403</c:v>
                </c:pt>
                <c:pt idx="49862">
                  <c:v>0.88928125557338999</c:v>
                </c:pt>
                <c:pt idx="49863">
                  <c:v>0.88929909042268596</c:v>
                </c:pt>
                <c:pt idx="49864">
                  <c:v>0.88931692527198103</c:v>
                </c:pt>
                <c:pt idx="49865">
                  <c:v>0.88933476012127699</c:v>
                </c:pt>
                <c:pt idx="49866">
                  <c:v>0.88935259497057195</c:v>
                </c:pt>
                <c:pt idx="49867">
                  <c:v>0.88937042981986802</c:v>
                </c:pt>
                <c:pt idx="49868">
                  <c:v>0.88938826466916299</c:v>
                </c:pt>
                <c:pt idx="49869">
                  <c:v>0.88940609951845895</c:v>
                </c:pt>
                <c:pt idx="49870">
                  <c:v>0.88942393436775402</c:v>
                </c:pt>
                <c:pt idx="49871">
                  <c:v>0.88944176921704998</c:v>
                </c:pt>
                <c:pt idx="49872">
                  <c:v>0.88945960406634506</c:v>
                </c:pt>
                <c:pt idx="49873">
                  <c:v>0.88947743891564102</c:v>
                </c:pt>
                <c:pt idx="49874">
                  <c:v>0.88949527376493598</c:v>
                </c:pt>
                <c:pt idx="49875">
                  <c:v>0.88951310861423205</c:v>
                </c:pt>
                <c:pt idx="49876">
                  <c:v>0.88953094346352701</c:v>
                </c:pt>
                <c:pt idx="49877">
                  <c:v>0.88954877831282297</c:v>
                </c:pt>
                <c:pt idx="49878">
                  <c:v>0.88956661316211805</c:v>
                </c:pt>
                <c:pt idx="49879">
                  <c:v>0.88958444801141401</c:v>
                </c:pt>
                <c:pt idx="49880">
                  <c:v>0.88960228286070897</c:v>
                </c:pt>
                <c:pt idx="49881">
                  <c:v>0.88962011771000504</c:v>
                </c:pt>
                <c:pt idx="49882">
                  <c:v>0.8896379525593</c:v>
                </c:pt>
                <c:pt idx="49883">
                  <c:v>0.88965578740859597</c:v>
                </c:pt>
                <c:pt idx="49884">
                  <c:v>0.88967362225789104</c:v>
                </c:pt>
                <c:pt idx="49885">
                  <c:v>0.889691457107187</c:v>
                </c:pt>
                <c:pt idx="49886">
                  <c:v>0.88970929195648296</c:v>
                </c:pt>
                <c:pt idx="49887">
                  <c:v>0.88972712680577803</c:v>
                </c:pt>
                <c:pt idx="49888">
                  <c:v>0.889744961655074</c:v>
                </c:pt>
                <c:pt idx="49889">
                  <c:v>0.88976279650436896</c:v>
                </c:pt>
                <c:pt idx="49890">
                  <c:v>0.88978063135366503</c:v>
                </c:pt>
                <c:pt idx="49891">
                  <c:v>0.88979846620295999</c:v>
                </c:pt>
                <c:pt idx="49892">
                  <c:v>0.88981630105225595</c:v>
                </c:pt>
                <c:pt idx="49893">
                  <c:v>0.88983413590155103</c:v>
                </c:pt>
                <c:pt idx="49894">
                  <c:v>0.88985197075084699</c:v>
                </c:pt>
                <c:pt idx="49895">
                  <c:v>0.88986980560014195</c:v>
                </c:pt>
                <c:pt idx="49896">
                  <c:v>0.88988764044943802</c:v>
                </c:pt>
                <c:pt idx="49897">
                  <c:v>0.88990547529873298</c:v>
                </c:pt>
                <c:pt idx="49898">
                  <c:v>0.88992331014802895</c:v>
                </c:pt>
                <c:pt idx="49899">
                  <c:v>0.88994114499732402</c:v>
                </c:pt>
                <c:pt idx="49900">
                  <c:v>0.88995897984661998</c:v>
                </c:pt>
                <c:pt idx="49901">
                  <c:v>0.88997681469591505</c:v>
                </c:pt>
                <c:pt idx="49902">
                  <c:v>0.88999464954521101</c:v>
                </c:pt>
                <c:pt idx="49903">
                  <c:v>0.89001248439450598</c:v>
                </c:pt>
                <c:pt idx="49904">
                  <c:v>0.89003031924380205</c:v>
                </c:pt>
                <c:pt idx="49905">
                  <c:v>0.89004815409309701</c:v>
                </c:pt>
                <c:pt idx="49906">
                  <c:v>0.89006598894239297</c:v>
                </c:pt>
                <c:pt idx="49907">
                  <c:v>0.89008382379168804</c:v>
                </c:pt>
                <c:pt idx="49908">
                  <c:v>0.89010165864098401</c:v>
                </c:pt>
                <c:pt idx="49909">
                  <c:v>0.89011949349027997</c:v>
                </c:pt>
                <c:pt idx="49910">
                  <c:v>0.89013732833957504</c:v>
                </c:pt>
                <c:pt idx="49911">
                  <c:v>0.890155163188871</c:v>
                </c:pt>
                <c:pt idx="49912">
                  <c:v>0.89017299803816596</c:v>
                </c:pt>
                <c:pt idx="49913">
                  <c:v>0.89019083288746204</c:v>
                </c:pt>
                <c:pt idx="49914">
                  <c:v>0.890208667736757</c:v>
                </c:pt>
                <c:pt idx="49915">
                  <c:v>0.89022650258605296</c:v>
                </c:pt>
                <c:pt idx="49916">
                  <c:v>0.89024433743534803</c:v>
                </c:pt>
                <c:pt idx="49917">
                  <c:v>0.89026217228464399</c:v>
                </c:pt>
                <c:pt idx="49918">
                  <c:v>0.89028000713393896</c:v>
                </c:pt>
                <c:pt idx="49919">
                  <c:v>0.89029784198323503</c:v>
                </c:pt>
                <c:pt idx="49920">
                  <c:v>0.89031567683252999</c:v>
                </c:pt>
                <c:pt idx="49921">
                  <c:v>0.89033351168182595</c:v>
                </c:pt>
                <c:pt idx="49922">
                  <c:v>0.89035134653112102</c:v>
                </c:pt>
                <c:pt idx="49923">
                  <c:v>0.89036918138041699</c:v>
                </c:pt>
                <c:pt idx="49924">
                  <c:v>0.89038701622971195</c:v>
                </c:pt>
                <c:pt idx="49925">
                  <c:v>0.89040485107900802</c:v>
                </c:pt>
                <c:pt idx="49926">
                  <c:v>0.89042268592830298</c:v>
                </c:pt>
                <c:pt idx="49927">
                  <c:v>0.89044052077759905</c:v>
                </c:pt>
                <c:pt idx="49928">
                  <c:v>0.89045835562689402</c:v>
                </c:pt>
                <c:pt idx="49929">
                  <c:v>0.89047619047618998</c:v>
                </c:pt>
                <c:pt idx="49930">
                  <c:v>0.89049402532548605</c:v>
                </c:pt>
                <c:pt idx="49931">
                  <c:v>0.89051186017478101</c:v>
                </c:pt>
                <c:pt idx="49932">
                  <c:v>0.89052969502407697</c:v>
                </c:pt>
                <c:pt idx="49933">
                  <c:v>0.89054752987337205</c:v>
                </c:pt>
                <c:pt idx="49934">
                  <c:v>0.89056536472266801</c:v>
                </c:pt>
                <c:pt idx="49935">
                  <c:v>0.89058319957196297</c:v>
                </c:pt>
                <c:pt idx="49936">
                  <c:v>0.89060103442125904</c:v>
                </c:pt>
                <c:pt idx="49937">
                  <c:v>0.890618869270554</c:v>
                </c:pt>
                <c:pt idx="49938">
                  <c:v>0.89063670411984996</c:v>
                </c:pt>
                <c:pt idx="49939">
                  <c:v>0.89065453896914504</c:v>
                </c:pt>
                <c:pt idx="49940">
                  <c:v>0.890672373818441</c:v>
                </c:pt>
                <c:pt idx="49941">
                  <c:v>0.89069020866773596</c:v>
                </c:pt>
                <c:pt idx="49942">
                  <c:v>0.89070804351703203</c:v>
                </c:pt>
                <c:pt idx="49943">
                  <c:v>0.890725878366327</c:v>
                </c:pt>
                <c:pt idx="49944">
                  <c:v>0.89074371321562296</c:v>
                </c:pt>
                <c:pt idx="49945">
                  <c:v>0.89076154806491803</c:v>
                </c:pt>
                <c:pt idx="49946">
                  <c:v>0.89077938291421399</c:v>
                </c:pt>
                <c:pt idx="49947">
                  <c:v>0.89079721776350995</c:v>
                </c:pt>
                <c:pt idx="49948">
                  <c:v>0.89081505261280503</c:v>
                </c:pt>
                <c:pt idx="49949">
                  <c:v>0.89083288746210099</c:v>
                </c:pt>
                <c:pt idx="49950">
                  <c:v>0.89085072231139595</c:v>
                </c:pt>
                <c:pt idx="49951">
                  <c:v>0.89086855716069202</c:v>
                </c:pt>
                <c:pt idx="49952">
                  <c:v>0.89088639200998698</c:v>
                </c:pt>
                <c:pt idx="49953">
                  <c:v>0.89090422685928305</c:v>
                </c:pt>
                <c:pt idx="49954">
                  <c:v>0.89092206170857802</c:v>
                </c:pt>
                <c:pt idx="49955">
                  <c:v>0.89093989655787398</c:v>
                </c:pt>
                <c:pt idx="49956">
                  <c:v>0.89095773140716905</c:v>
                </c:pt>
                <c:pt idx="49957">
                  <c:v>0.89097556625646501</c:v>
                </c:pt>
                <c:pt idx="49958">
                  <c:v>0.89099340110575997</c:v>
                </c:pt>
                <c:pt idx="49959">
                  <c:v>0.89101123595505605</c:v>
                </c:pt>
                <c:pt idx="49960">
                  <c:v>0.89102907080435101</c:v>
                </c:pt>
                <c:pt idx="49961">
                  <c:v>0.89104690565364697</c:v>
                </c:pt>
                <c:pt idx="49962">
                  <c:v>0.89106474050294204</c:v>
                </c:pt>
                <c:pt idx="49963">
                  <c:v>0.891082575352238</c:v>
                </c:pt>
                <c:pt idx="49964">
                  <c:v>0.89110041020153297</c:v>
                </c:pt>
                <c:pt idx="49965">
                  <c:v>0.89111824505082904</c:v>
                </c:pt>
                <c:pt idx="49966">
                  <c:v>0.891136079900124</c:v>
                </c:pt>
                <c:pt idx="49967">
                  <c:v>0.89115391474941996</c:v>
                </c:pt>
                <c:pt idx="49968">
                  <c:v>0.89117174959871504</c:v>
                </c:pt>
                <c:pt idx="49969">
                  <c:v>0.891189584448011</c:v>
                </c:pt>
                <c:pt idx="49970">
                  <c:v>0.89120741929730696</c:v>
                </c:pt>
                <c:pt idx="49971">
                  <c:v>0.89122525414660203</c:v>
                </c:pt>
                <c:pt idx="49972">
                  <c:v>0.89124308899589799</c:v>
                </c:pt>
                <c:pt idx="49973">
                  <c:v>0.89126092384519295</c:v>
                </c:pt>
                <c:pt idx="49974">
                  <c:v>0.89127875869448903</c:v>
                </c:pt>
                <c:pt idx="49975">
                  <c:v>0.89129659354378399</c:v>
                </c:pt>
                <c:pt idx="49976">
                  <c:v>0.89131442839307995</c:v>
                </c:pt>
                <c:pt idx="49977">
                  <c:v>0.89133226324237502</c:v>
                </c:pt>
                <c:pt idx="49978">
                  <c:v>0.89135009809167098</c:v>
                </c:pt>
                <c:pt idx="49979">
                  <c:v>0.89136793294096595</c:v>
                </c:pt>
                <c:pt idx="49980">
                  <c:v>0.89138576779026202</c:v>
                </c:pt>
                <c:pt idx="49981">
                  <c:v>0.89140360263955698</c:v>
                </c:pt>
                <c:pt idx="49982">
                  <c:v>0.89142143748885305</c:v>
                </c:pt>
                <c:pt idx="49983">
                  <c:v>0.89143927233814801</c:v>
                </c:pt>
                <c:pt idx="49984">
                  <c:v>0.89145710718744398</c:v>
                </c:pt>
                <c:pt idx="49985">
                  <c:v>0.89147494203673905</c:v>
                </c:pt>
                <c:pt idx="49986">
                  <c:v>0.89149277688603501</c:v>
                </c:pt>
                <c:pt idx="49987">
                  <c:v>0.89151061173532997</c:v>
                </c:pt>
                <c:pt idx="49988">
                  <c:v>0.89152844658462604</c:v>
                </c:pt>
                <c:pt idx="49989">
                  <c:v>0.89154628143392101</c:v>
                </c:pt>
                <c:pt idx="49990">
                  <c:v>0.89156411628321697</c:v>
                </c:pt>
                <c:pt idx="49991">
                  <c:v>0.89158195113251204</c:v>
                </c:pt>
                <c:pt idx="49992">
                  <c:v>0.891599785981808</c:v>
                </c:pt>
                <c:pt idx="49993">
                  <c:v>0.89161762083110396</c:v>
                </c:pt>
                <c:pt idx="49994">
                  <c:v>0.89163545568039904</c:v>
                </c:pt>
                <c:pt idx="49995">
                  <c:v>0.891653290529695</c:v>
                </c:pt>
                <c:pt idx="49996">
                  <c:v>0.89167112537898996</c:v>
                </c:pt>
                <c:pt idx="49997">
                  <c:v>0.89168896022828603</c:v>
                </c:pt>
                <c:pt idx="49998">
                  <c:v>0.89170679507758099</c:v>
                </c:pt>
                <c:pt idx="49999">
                  <c:v>0.89172462992687695</c:v>
                </c:pt>
                <c:pt idx="50000">
                  <c:v>0.89174246477617203</c:v>
                </c:pt>
                <c:pt idx="50001">
                  <c:v>0.89176029962546799</c:v>
                </c:pt>
                <c:pt idx="50002">
                  <c:v>0.89177813447476295</c:v>
                </c:pt>
                <c:pt idx="50003">
                  <c:v>0.89179596932405902</c:v>
                </c:pt>
                <c:pt idx="50004">
                  <c:v>0.89181380417335399</c:v>
                </c:pt>
                <c:pt idx="50005">
                  <c:v>0.89183163902264995</c:v>
                </c:pt>
                <c:pt idx="50006">
                  <c:v>0.89184947387194502</c:v>
                </c:pt>
                <c:pt idx="50007">
                  <c:v>0.89186730872124098</c:v>
                </c:pt>
                <c:pt idx="50008">
                  <c:v>0.89188514357053605</c:v>
                </c:pt>
                <c:pt idx="50009">
                  <c:v>0.89190297841983202</c:v>
                </c:pt>
                <c:pt idx="50010">
                  <c:v>0.89192081326912698</c:v>
                </c:pt>
                <c:pt idx="50011">
                  <c:v>0.89193864811842305</c:v>
                </c:pt>
                <c:pt idx="50012">
                  <c:v>0.89195648296771801</c:v>
                </c:pt>
                <c:pt idx="50013">
                  <c:v>0.89197431781701397</c:v>
                </c:pt>
                <c:pt idx="50014">
                  <c:v>0.89199215266630905</c:v>
                </c:pt>
                <c:pt idx="50015">
                  <c:v>0.89200998751560501</c:v>
                </c:pt>
                <c:pt idx="50016">
                  <c:v>0.89202782236490097</c:v>
                </c:pt>
                <c:pt idx="50017">
                  <c:v>0.89204565721419604</c:v>
                </c:pt>
                <c:pt idx="50018">
                  <c:v>0.892063492063492</c:v>
                </c:pt>
                <c:pt idx="50019">
                  <c:v>0.89208132691278696</c:v>
                </c:pt>
                <c:pt idx="50020">
                  <c:v>0.89209916176208304</c:v>
                </c:pt>
                <c:pt idx="50021">
                  <c:v>0.892116996611378</c:v>
                </c:pt>
                <c:pt idx="50022">
                  <c:v>0.89213483146067396</c:v>
                </c:pt>
                <c:pt idx="50023">
                  <c:v>0.89215266630996903</c:v>
                </c:pt>
                <c:pt idx="50024">
                  <c:v>0.89217050115926499</c:v>
                </c:pt>
                <c:pt idx="50025">
                  <c:v>0.89218833600855996</c:v>
                </c:pt>
                <c:pt idx="50026">
                  <c:v>0.89220617085785603</c:v>
                </c:pt>
                <c:pt idx="50027">
                  <c:v>0.89222400570715099</c:v>
                </c:pt>
                <c:pt idx="50028">
                  <c:v>0.89224184055644695</c:v>
                </c:pt>
                <c:pt idx="50029">
                  <c:v>0.89225967540574203</c:v>
                </c:pt>
                <c:pt idx="50030">
                  <c:v>0.89227751025503799</c:v>
                </c:pt>
                <c:pt idx="50031">
                  <c:v>0.89229534510433295</c:v>
                </c:pt>
                <c:pt idx="50032">
                  <c:v>0.89231317995362902</c:v>
                </c:pt>
                <c:pt idx="50033">
                  <c:v>0.89233101480292398</c:v>
                </c:pt>
                <c:pt idx="50034">
                  <c:v>0.89234884965222006</c:v>
                </c:pt>
                <c:pt idx="50035">
                  <c:v>0.89236668450151602</c:v>
                </c:pt>
                <c:pt idx="50036">
                  <c:v>0.89238451935081098</c:v>
                </c:pt>
                <c:pt idx="50037">
                  <c:v>0.89240235420010705</c:v>
                </c:pt>
                <c:pt idx="50038">
                  <c:v>0.89242018904940201</c:v>
                </c:pt>
                <c:pt idx="50039">
                  <c:v>0.89243802389869797</c:v>
                </c:pt>
                <c:pt idx="50040">
                  <c:v>0.89245585874799305</c:v>
                </c:pt>
                <c:pt idx="50041">
                  <c:v>0.89247369359728901</c:v>
                </c:pt>
                <c:pt idx="50042">
                  <c:v>0.89249152844658397</c:v>
                </c:pt>
                <c:pt idx="50043">
                  <c:v>0.89250936329588004</c:v>
                </c:pt>
                <c:pt idx="50044">
                  <c:v>0.892527198145175</c:v>
                </c:pt>
                <c:pt idx="50045">
                  <c:v>0.89254503299447097</c:v>
                </c:pt>
                <c:pt idx="50046">
                  <c:v>0.89256286784376604</c:v>
                </c:pt>
                <c:pt idx="50047">
                  <c:v>0.892580702693062</c:v>
                </c:pt>
                <c:pt idx="50048">
                  <c:v>0.89259853754235696</c:v>
                </c:pt>
                <c:pt idx="50049">
                  <c:v>0.89261637239165303</c:v>
                </c:pt>
                <c:pt idx="50050">
                  <c:v>0.892634207240948</c:v>
                </c:pt>
                <c:pt idx="50051">
                  <c:v>0.89265204209024396</c:v>
                </c:pt>
                <c:pt idx="50052">
                  <c:v>0.89266987693953903</c:v>
                </c:pt>
                <c:pt idx="50053">
                  <c:v>0.89268771178883499</c:v>
                </c:pt>
                <c:pt idx="50054">
                  <c:v>0.89270554663813095</c:v>
                </c:pt>
                <c:pt idx="50055">
                  <c:v>0.89272338148742603</c:v>
                </c:pt>
                <c:pt idx="50056">
                  <c:v>0.89274121633672199</c:v>
                </c:pt>
                <c:pt idx="50057">
                  <c:v>0.89275905118601695</c:v>
                </c:pt>
                <c:pt idx="50058">
                  <c:v>0.89277688603531302</c:v>
                </c:pt>
                <c:pt idx="50059">
                  <c:v>0.89279472088460798</c:v>
                </c:pt>
                <c:pt idx="50060">
                  <c:v>0.89281255573390395</c:v>
                </c:pt>
                <c:pt idx="50061">
                  <c:v>0.89283039058319902</c:v>
                </c:pt>
                <c:pt idx="50062">
                  <c:v>0.89284822543249498</c:v>
                </c:pt>
                <c:pt idx="50063">
                  <c:v>0.89286606028179005</c:v>
                </c:pt>
                <c:pt idx="50064">
                  <c:v>0.89288389513108601</c:v>
                </c:pt>
                <c:pt idx="50065">
                  <c:v>0.89290172998038098</c:v>
                </c:pt>
                <c:pt idx="50066">
                  <c:v>0.89291956482967705</c:v>
                </c:pt>
                <c:pt idx="50067">
                  <c:v>0.89293739967897201</c:v>
                </c:pt>
                <c:pt idx="50068">
                  <c:v>0.89295523452826797</c:v>
                </c:pt>
                <c:pt idx="50069">
                  <c:v>0.89297306937756304</c:v>
                </c:pt>
                <c:pt idx="50070">
                  <c:v>0.89299090422685901</c:v>
                </c:pt>
                <c:pt idx="50071">
                  <c:v>0.89300873907615397</c:v>
                </c:pt>
                <c:pt idx="50072">
                  <c:v>0.89302657392545004</c:v>
                </c:pt>
                <c:pt idx="50073">
                  <c:v>0.893044408774745</c:v>
                </c:pt>
                <c:pt idx="50074">
                  <c:v>0.89306224362404096</c:v>
                </c:pt>
                <c:pt idx="50075">
                  <c:v>0.89308007847333604</c:v>
                </c:pt>
                <c:pt idx="50076">
                  <c:v>0.893097913322632</c:v>
                </c:pt>
                <c:pt idx="50077">
                  <c:v>0.89311574817192796</c:v>
                </c:pt>
                <c:pt idx="50078">
                  <c:v>0.89313358302122303</c:v>
                </c:pt>
                <c:pt idx="50079">
                  <c:v>0.89315141787051899</c:v>
                </c:pt>
                <c:pt idx="50080">
                  <c:v>0.89316925271981396</c:v>
                </c:pt>
                <c:pt idx="50081">
                  <c:v>0.89318708756911003</c:v>
                </c:pt>
                <c:pt idx="50082">
                  <c:v>0.89320492241840499</c:v>
                </c:pt>
                <c:pt idx="50083">
                  <c:v>0.89322275726770095</c:v>
                </c:pt>
                <c:pt idx="50084">
                  <c:v>0.89324059211699602</c:v>
                </c:pt>
                <c:pt idx="50085">
                  <c:v>0.89325842696629199</c:v>
                </c:pt>
                <c:pt idx="50086">
                  <c:v>0.89327626181558695</c:v>
                </c:pt>
                <c:pt idx="50087">
                  <c:v>0.89329409666488302</c:v>
                </c:pt>
                <c:pt idx="50088">
                  <c:v>0.89331193151417798</c:v>
                </c:pt>
                <c:pt idx="50089">
                  <c:v>0.89332976636347405</c:v>
                </c:pt>
                <c:pt idx="50090">
                  <c:v>0.89334760121276902</c:v>
                </c:pt>
                <c:pt idx="50091">
                  <c:v>0.89336543606206498</c:v>
                </c:pt>
                <c:pt idx="50092">
                  <c:v>0.89338327091136005</c:v>
                </c:pt>
                <c:pt idx="50093">
                  <c:v>0.89340110576065601</c:v>
                </c:pt>
                <c:pt idx="50094">
                  <c:v>0.89341894060995097</c:v>
                </c:pt>
                <c:pt idx="50095">
                  <c:v>0.89343677545924705</c:v>
                </c:pt>
                <c:pt idx="50096">
                  <c:v>0.89345461030854201</c:v>
                </c:pt>
                <c:pt idx="50097">
                  <c:v>0.89347244515783797</c:v>
                </c:pt>
                <c:pt idx="50098">
                  <c:v>0.89349028000713304</c:v>
                </c:pt>
                <c:pt idx="50099">
                  <c:v>0.893508114856429</c:v>
                </c:pt>
                <c:pt idx="50100">
                  <c:v>0.89352594970572496</c:v>
                </c:pt>
                <c:pt idx="50101">
                  <c:v>0.89354378455502004</c:v>
                </c:pt>
                <c:pt idx="50102">
                  <c:v>0.893561619404316</c:v>
                </c:pt>
                <c:pt idx="50103">
                  <c:v>0.89357945425361096</c:v>
                </c:pt>
                <c:pt idx="50104">
                  <c:v>0.89359728910290703</c:v>
                </c:pt>
                <c:pt idx="50105">
                  <c:v>0.893615123952202</c:v>
                </c:pt>
                <c:pt idx="50106">
                  <c:v>0.89363295880149796</c:v>
                </c:pt>
                <c:pt idx="50107">
                  <c:v>0.89365079365079303</c:v>
                </c:pt>
                <c:pt idx="50108">
                  <c:v>0.89366862850008899</c:v>
                </c:pt>
                <c:pt idx="50109">
                  <c:v>0.89368646334938395</c:v>
                </c:pt>
                <c:pt idx="50110">
                  <c:v>0.89370429819868002</c:v>
                </c:pt>
                <c:pt idx="50111">
                  <c:v>0.89372213304797499</c:v>
                </c:pt>
                <c:pt idx="50112">
                  <c:v>0.89373996789727095</c:v>
                </c:pt>
                <c:pt idx="50113">
                  <c:v>0.89375780274656602</c:v>
                </c:pt>
                <c:pt idx="50114">
                  <c:v>0.89377563759586198</c:v>
                </c:pt>
                <c:pt idx="50115">
                  <c:v>0.89379347244515694</c:v>
                </c:pt>
                <c:pt idx="50116">
                  <c:v>0.89381130729445302</c:v>
                </c:pt>
                <c:pt idx="50117">
                  <c:v>0.89382914214374798</c:v>
                </c:pt>
                <c:pt idx="50118">
                  <c:v>0.89384697699304405</c:v>
                </c:pt>
                <c:pt idx="50119">
                  <c:v>0.89386481184233901</c:v>
                </c:pt>
                <c:pt idx="50120">
                  <c:v>0.89388264669163497</c:v>
                </c:pt>
                <c:pt idx="50121">
                  <c:v>0.89390048154093005</c:v>
                </c:pt>
                <c:pt idx="50122">
                  <c:v>0.89391831639022601</c:v>
                </c:pt>
                <c:pt idx="50123">
                  <c:v>0.89393615123952197</c:v>
                </c:pt>
                <c:pt idx="50124">
                  <c:v>0.89395398608881704</c:v>
                </c:pt>
                <c:pt idx="50125">
                  <c:v>0.893971820938113</c:v>
                </c:pt>
                <c:pt idx="50126">
                  <c:v>0.89398965578740797</c:v>
                </c:pt>
                <c:pt idx="50127">
                  <c:v>0.89400749063670404</c:v>
                </c:pt>
                <c:pt idx="50128">
                  <c:v>0.894025325485999</c:v>
                </c:pt>
                <c:pt idx="50129">
                  <c:v>0.89404316033529496</c:v>
                </c:pt>
                <c:pt idx="50130">
                  <c:v>0.89406099518459003</c:v>
                </c:pt>
                <c:pt idx="50131">
                  <c:v>0.894078830033886</c:v>
                </c:pt>
                <c:pt idx="50132">
                  <c:v>0.89409666488318096</c:v>
                </c:pt>
                <c:pt idx="50133">
                  <c:v>0.89411449973247703</c:v>
                </c:pt>
                <c:pt idx="50134">
                  <c:v>0.89413233458177199</c:v>
                </c:pt>
                <c:pt idx="50135">
                  <c:v>0.89415016943106795</c:v>
                </c:pt>
                <c:pt idx="50136">
                  <c:v>0.89416800428036303</c:v>
                </c:pt>
                <c:pt idx="50137">
                  <c:v>0.89418583912965899</c:v>
                </c:pt>
                <c:pt idx="50138">
                  <c:v>0.89420367397895395</c:v>
                </c:pt>
                <c:pt idx="50139">
                  <c:v>0.89422150882825002</c:v>
                </c:pt>
                <c:pt idx="50140">
                  <c:v>0.89423934367754498</c:v>
                </c:pt>
                <c:pt idx="50141">
                  <c:v>0.89425717852684095</c:v>
                </c:pt>
                <c:pt idx="50142">
                  <c:v>0.89427501337613702</c:v>
                </c:pt>
                <c:pt idx="50143">
                  <c:v>0.89429284822543198</c:v>
                </c:pt>
                <c:pt idx="50144">
                  <c:v>0.89431068307472805</c:v>
                </c:pt>
                <c:pt idx="50145">
                  <c:v>0.89432851792402301</c:v>
                </c:pt>
                <c:pt idx="50146">
                  <c:v>0.89434635277331898</c:v>
                </c:pt>
                <c:pt idx="50147">
                  <c:v>0.89436418762261405</c:v>
                </c:pt>
                <c:pt idx="50148">
                  <c:v>0.89438202247191001</c:v>
                </c:pt>
                <c:pt idx="50149">
                  <c:v>0.89439985732120497</c:v>
                </c:pt>
                <c:pt idx="50150">
                  <c:v>0.89441769217050104</c:v>
                </c:pt>
                <c:pt idx="50151">
                  <c:v>0.89443552701979601</c:v>
                </c:pt>
                <c:pt idx="50152">
                  <c:v>0.89445336186909197</c:v>
                </c:pt>
                <c:pt idx="50153">
                  <c:v>0.89447119671838704</c:v>
                </c:pt>
                <c:pt idx="50154">
                  <c:v>0.894489031567683</c:v>
                </c:pt>
                <c:pt idx="50155">
                  <c:v>0.89450686641697796</c:v>
                </c:pt>
                <c:pt idx="50156">
                  <c:v>0.89452470126627404</c:v>
                </c:pt>
                <c:pt idx="50157">
                  <c:v>0.894542536115569</c:v>
                </c:pt>
                <c:pt idx="50158">
                  <c:v>0.89456037096486496</c:v>
                </c:pt>
                <c:pt idx="50159">
                  <c:v>0.89457820581416003</c:v>
                </c:pt>
                <c:pt idx="50160">
                  <c:v>0.89459604066345599</c:v>
                </c:pt>
                <c:pt idx="50161">
                  <c:v>0.89461387551275195</c:v>
                </c:pt>
                <c:pt idx="50162">
                  <c:v>0.89463171036204703</c:v>
                </c:pt>
                <c:pt idx="50163">
                  <c:v>0.89464954521134299</c:v>
                </c:pt>
                <c:pt idx="50164">
                  <c:v>0.89466738006063795</c:v>
                </c:pt>
                <c:pt idx="50165">
                  <c:v>0.89468521490993402</c:v>
                </c:pt>
                <c:pt idx="50166">
                  <c:v>0.89470304975922899</c:v>
                </c:pt>
                <c:pt idx="50167">
                  <c:v>0.89472088460852495</c:v>
                </c:pt>
                <c:pt idx="50168">
                  <c:v>0.89473871945782002</c:v>
                </c:pt>
                <c:pt idx="50169">
                  <c:v>0.89475655430711598</c:v>
                </c:pt>
                <c:pt idx="50170">
                  <c:v>0.89477438915641105</c:v>
                </c:pt>
                <c:pt idx="50171">
                  <c:v>0.89479222400570702</c:v>
                </c:pt>
                <c:pt idx="50172">
                  <c:v>0.89481005885500198</c:v>
                </c:pt>
                <c:pt idx="50173">
                  <c:v>0.89482789370429805</c:v>
                </c:pt>
                <c:pt idx="50174">
                  <c:v>0.89484572855359301</c:v>
                </c:pt>
                <c:pt idx="50175">
                  <c:v>0.89486356340288897</c:v>
                </c:pt>
                <c:pt idx="50176">
                  <c:v>0.89488139825218405</c:v>
                </c:pt>
                <c:pt idx="50177">
                  <c:v>0.89489923310148001</c:v>
                </c:pt>
                <c:pt idx="50178">
                  <c:v>0.89491706795077497</c:v>
                </c:pt>
                <c:pt idx="50179">
                  <c:v>0.89493490280007104</c:v>
                </c:pt>
                <c:pt idx="50180">
                  <c:v>0.894952737649366</c:v>
                </c:pt>
                <c:pt idx="50181">
                  <c:v>0.89497057249866196</c:v>
                </c:pt>
                <c:pt idx="50182">
                  <c:v>0.89498840734795704</c:v>
                </c:pt>
                <c:pt idx="50183">
                  <c:v>0.895006242197253</c:v>
                </c:pt>
                <c:pt idx="50184">
                  <c:v>0.89502407704654896</c:v>
                </c:pt>
                <c:pt idx="50185">
                  <c:v>0.89504191189584403</c:v>
                </c:pt>
                <c:pt idx="50186">
                  <c:v>0.89505974674513999</c:v>
                </c:pt>
                <c:pt idx="50187">
                  <c:v>0.89507758159443496</c:v>
                </c:pt>
                <c:pt idx="50188">
                  <c:v>0.89509541644373103</c:v>
                </c:pt>
                <c:pt idx="50189">
                  <c:v>0.89511325129302599</c:v>
                </c:pt>
                <c:pt idx="50190">
                  <c:v>0.89513108614232195</c:v>
                </c:pt>
                <c:pt idx="50191">
                  <c:v>0.89514892099161703</c:v>
                </c:pt>
                <c:pt idx="50192">
                  <c:v>0.89516675584091299</c:v>
                </c:pt>
                <c:pt idx="50193">
                  <c:v>0.89518459069020795</c:v>
                </c:pt>
                <c:pt idx="50194">
                  <c:v>0.89520242553950402</c:v>
                </c:pt>
                <c:pt idx="50195">
                  <c:v>0.89522026038879898</c:v>
                </c:pt>
                <c:pt idx="50196">
                  <c:v>0.89523809523809506</c:v>
                </c:pt>
                <c:pt idx="50197">
                  <c:v>0.89525593008739002</c:v>
                </c:pt>
                <c:pt idx="50198">
                  <c:v>0.89527376493668598</c:v>
                </c:pt>
                <c:pt idx="50199">
                  <c:v>0.89529159978598105</c:v>
                </c:pt>
                <c:pt idx="50200">
                  <c:v>0.89530943463527701</c:v>
                </c:pt>
                <c:pt idx="50201">
                  <c:v>0.89532726948457197</c:v>
                </c:pt>
                <c:pt idx="50202">
                  <c:v>0.89534510433386805</c:v>
                </c:pt>
                <c:pt idx="50203">
                  <c:v>0.89536293918316301</c:v>
                </c:pt>
                <c:pt idx="50204">
                  <c:v>0.89538077403245897</c:v>
                </c:pt>
                <c:pt idx="50205">
                  <c:v>0.89539860888175404</c:v>
                </c:pt>
                <c:pt idx="50206">
                  <c:v>0.89541644373105</c:v>
                </c:pt>
                <c:pt idx="50207">
                  <c:v>0.89543427858034597</c:v>
                </c:pt>
                <c:pt idx="50208">
                  <c:v>0.89545211342964104</c:v>
                </c:pt>
                <c:pt idx="50209">
                  <c:v>0.895469948278937</c:v>
                </c:pt>
                <c:pt idx="50210">
                  <c:v>0.89548778312823196</c:v>
                </c:pt>
                <c:pt idx="50211">
                  <c:v>0.89550561797752803</c:v>
                </c:pt>
                <c:pt idx="50212">
                  <c:v>0.895523452826823</c:v>
                </c:pt>
                <c:pt idx="50213">
                  <c:v>0.89554128767611896</c:v>
                </c:pt>
                <c:pt idx="50214">
                  <c:v>0.89555912252541403</c:v>
                </c:pt>
                <c:pt idx="50215">
                  <c:v>0.89557695737470999</c:v>
                </c:pt>
                <c:pt idx="50216">
                  <c:v>0.89559479222400495</c:v>
                </c:pt>
                <c:pt idx="50217">
                  <c:v>0.89561262707330103</c:v>
                </c:pt>
                <c:pt idx="50218">
                  <c:v>0.89563046192259599</c:v>
                </c:pt>
                <c:pt idx="50219">
                  <c:v>0.89564829677189195</c:v>
                </c:pt>
                <c:pt idx="50220">
                  <c:v>0.89566613162118702</c:v>
                </c:pt>
                <c:pt idx="50221">
                  <c:v>0.89568396647048298</c:v>
                </c:pt>
                <c:pt idx="50222">
                  <c:v>0.89570180131977795</c:v>
                </c:pt>
                <c:pt idx="50223">
                  <c:v>0.89571963616907402</c:v>
                </c:pt>
                <c:pt idx="50224">
                  <c:v>0.89573747101836898</c:v>
                </c:pt>
                <c:pt idx="50225">
                  <c:v>0.89575530586766505</c:v>
                </c:pt>
                <c:pt idx="50226">
                  <c:v>0.89577314071696001</c:v>
                </c:pt>
                <c:pt idx="50227">
                  <c:v>0.89579097556625598</c:v>
                </c:pt>
                <c:pt idx="50228">
                  <c:v>0.89580881041555105</c:v>
                </c:pt>
                <c:pt idx="50229">
                  <c:v>0.89582664526484701</c:v>
                </c:pt>
                <c:pt idx="50230">
                  <c:v>0.89584448011414297</c:v>
                </c:pt>
                <c:pt idx="50231">
                  <c:v>0.89586231496343804</c:v>
                </c:pt>
                <c:pt idx="50232">
                  <c:v>0.89588014981273401</c:v>
                </c:pt>
                <c:pt idx="50233">
                  <c:v>0.89589798466202897</c:v>
                </c:pt>
                <c:pt idx="50234">
                  <c:v>0.89591581951132504</c:v>
                </c:pt>
                <c:pt idx="50235">
                  <c:v>0.89593365436062</c:v>
                </c:pt>
                <c:pt idx="50236">
                  <c:v>0.89595148920991596</c:v>
                </c:pt>
                <c:pt idx="50237">
                  <c:v>0.89596932405921104</c:v>
                </c:pt>
                <c:pt idx="50238">
                  <c:v>0.895987158908507</c:v>
                </c:pt>
                <c:pt idx="50239">
                  <c:v>0.89600499375780196</c:v>
                </c:pt>
                <c:pt idx="50240">
                  <c:v>0.89602282860709803</c:v>
                </c:pt>
                <c:pt idx="50241">
                  <c:v>0.89604066345639299</c:v>
                </c:pt>
                <c:pt idx="50242">
                  <c:v>0.89605849830568896</c:v>
                </c:pt>
                <c:pt idx="50243">
                  <c:v>0.89607633315498403</c:v>
                </c:pt>
                <c:pt idx="50244">
                  <c:v>0.89609416800427999</c:v>
                </c:pt>
                <c:pt idx="50245">
                  <c:v>0.89611200285357495</c:v>
                </c:pt>
                <c:pt idx="50246">
                  <c:v>0.89612983770287102</c:v>
                </c:pt>
                <c:pt idx="50247">
                  <c:v>0.89614767255216699</c:v>
                </c:pt>
                <c:pt idx="50248">
                  <c:v>0.89616550740146195</c:v>
                </c:pt>
                <c:pt idx="50249">
                  <c:v>0.89618334225075802</c:v>
                </c:pt>
                <c:pt idx="50250">
                  <c:v>0.89620117710005298</c:v>
                </c:pt>
                <c:pt idx="50251">
                  <c:v>0.89621901194934905</c:v>
                </c:pt>
                <c:pt idx="50252">
                  <c:v>0.89623684679864402</c:v>
                </c:pt>
                <c:pt idx="50253">
                  <c:v>0.89625468164793998</c:v>
                </c:pt>
                <c:pt idx="50254">
                  <c:v>0.89627251649723505</c:v>
                </c:pt>
                <c:pt idx="50255">
                  <c:v>0.89629035134653101</c:v>
                </c:pt>
                <c:pt idx="50256">
                  <c:v>0.89630818619582597</c:v>
                </c:pt>
                <c:pt idx="50257">
                  <c:v>0.89632602104512205</c:v>
                </c:pt>
                <c:pt idx="50258">
                  <c:v>0.89634385589441701</c:v>
                </c:pt>
                <c:pt idx="50259">
                  <c:v>0.89636169074371297</c:v>
                </c:pt>
                <c:pt idx="50260">
                  <c:v>0.89637952559300804</c:v>
                </c:pt>
                <c:pt idx="50261">
                  <c:v>0.896397360442304</c:v>
                </c:pt>
                <c:pt idx="50262">
                  <c:v>0.89641519529159897</c:v>
                </c:pt>
                <c:pt idx="50263">
                  <c:v>0.89643303014089504</c:v>
                </c:pt>
                <c:pt idx="50264">
                  <c:v>0.89645086499019</c:v>
                </c:pt>
                <c:pt idx="50265">
                  <c:v>0.89646869983948596</c:v>
                </c:pt>
                <c:pt idx="50266">
                  <c:v>0.89648653468878103</c:v>
                </c:pt>
                <c:pt idx="50267">
                  <c:v>0.896504369538077</c:v>
                </c:pt>
                <c:pt idx="50268">
                  <c:v>0.89652220438737296</c:v>
                </c:pt>
                <c:pt idx="50269">
                  <c:v>0.89654003923666803</c:v>
                </c:pt>
                <c:pt idx="50270">
                  <c:v>0.89655787408596399</c:v>
                </c:pt>
                <c:pt idx="50271">
                  <c:v>0.89657570893525895</c:v>
                </c:pt>
                <c:pt idx="50272">
                  <c:v>0.89659354378455502</c:v>
                </c:pt>
                <c:pt idx="50273">
                  <c:v>0.89661137863384999</c:v>
                </c:pt>
                <c:pt idx="50274">
                  <c:v>0.89662921348314595</c:v>
                </c:pt>
                <c:pt idx="50275">
                  <c:v>0.89664704833244102</c:v>
                </c:pt>
                <c:pt idx="50276">
                  <c:v>0.89666488318173698</c:v>
                </c:pt>
                <c:pt idx="50277">
                  <c:v>0.89668271803103194</c:v>
                </c:pt>
                <c:pt idx="50278">
                  <c:v>0.89670055288032802</c:v>
                </c:pt>
                <c:pt idx="50279">
                  <c:v>0.89671838772962298</c:v>
                </c:pt>
                <c:pt idx="50280">
                  <c:v>0.89673622257891905</c:v>
                </c:pt>
                <c:pt idx="50281">
                  <c:v>0.89675405742821401</c:v>
                </c:pt>
                <c:pt idx="50282">
                  <c:v>0.89677189227750997</c:v>
                </c:pt>
                <c:pt idx="50283">
                  <c:v>0.89678972712680505</c:v>
                </c:pt>
                <c:pt idx="50284">
                  <c:v>0.89680756197610101</c:v>
                </c:pt>
                <c:pt idx="50285">
                  <c:v>0.89682539682539597</c:v>
                </c:pt>
                <c:pt idx="50286">
                  <c:v>0.89684323167469204</c:v>
                </c:pt>
                <c:pt idx="50287">
                  <c:v>0.89686106652398701</c:v>
                </c:pt>
                <c:pt idx="50288">
                  <c:v>0.89687890137328297</c:v>
                </c:pt>
                <c:pt idx="50289">
                  <c:v>0.89689673622257804</c:v>
                </c:pt>
                <c:pt idx="50290">
                  <c:v>0.896914571071874</c:v>
                </c:pt>
                <c:pt idx="50291">
                  <c:v>0.89693240592116996</c:v>
                </c:pt>
                <c:pt idx="50292">
                  <c:v>0.89695024077046503</c:v>
                </c:pt>
                <c:pt idx="50293">
                  <c:v>0.896968075619761</c:v>
                </c:pt>
                <c:pt idx="50294">
                  <c:v>0.89698591046905596</c:v>
                </c:pt>
                <c:pt idx="50295">
                  <c:v>0.89700374531835203</c:v>
                </c:pt>
                <c:pt idx="50296">
                  <c:v>0.89702158016764699</c:v>
                </c:pt>
                <c:pt idx="50297">
                  <c:v>0.89703941501694295</c:v>
                </c:pt>
                <c:pt idx="50298">
                  <c:v>0.89705724986623803</c:v>
                </c:pt>
                <c:pt idx="50299">
                  <c:v>0.89707508471553399</c:v>
                </c:pt>
                <c:pt idx="50300">
                  <c:v>0.89709291956482895</c:v>
                </c:pt>
                <c:pt idx="50301">
                  <c:v>0.89711075441412502</c:v>
                </c:pt>
                <c:pt idx="50302">
                  <c:v>0.89712858926341998</c:v>
                </c:pt>
                <c:pt idx="50303">
                  <c:v>0.89714642411271595</c:v>
                </c:pt>
                <c:pt idx="50304">
                  <c:v>0.89716425896201102</c:v>
                </c:pt>
                <c:pt idx="50305">
                  <c:v>0.89718209381130698</c:v>
                </c:pt>
                <c:pt idx="50306">
                  <c:v>0.89719992866060205</c:v>
                </c:pt>
                <c:pt idx="50307">
                  <c:v>0.89721776350989801</c:v>
                </c:pt>
                <c:pt idx="50308">
                  <c:v>0.89723559835919298</c:v>
                </c:pt>
                <c:pt idx="50309">
                  <c:v>0.89725343320848905</c:v>
                </c:pt>
                <c:pt idx="50310">
                  <c:v>0.89727126805778401</c:v>
                </c:pt>
                <c:pt idx="50311">
                  <c:v>0.89728910290707997</c:v>
                </c:pt>
                <c:pt idx="50312">
                  <c:v>0.89730693775637504</c:v>
                </c:pt>
                <c:pt idx="50313">
                  <c:v>0.89732477260567101</c:v>
                </c:pt>
                <c:pt idx="50314">
                  <c:v>0.89734260745496697</c:v>
                </c:pt>
                <c:pt idx="50315">
                  <c:v>0.89736044230426204</c:v>
                </c:pt>
                <c:pt idx="50316">
                  <c:v>0.897378277153558</c:v>
                </c:pt>
                <c:pt idx="50317">
                  <c:v>0.89739611200285296</c:v>
                </c:pt>
                <c:pt idx="50318">
                  <c:v>0.89741394685214904</c:v>
                </c:pt>
                <c:pt idx="50319">
                  <c:v>0.897431781701444</c:v>
                </c:pt>
                <c:pt idx="50320">
                  <c:v>0.89744961655073996</c:v>
                </c:pt>
                <c:pt idx="50321">
                  <c:v>0.89746745140003503</c:v>
                </c:pt>
                <c:pt idx="50322">
                  <c:v>0.89748528624933099</c:v>
                </c:pt>
                <c:pt idx="50323">
                  <c:v>0.89750312109862596</c:v>
                </c:pt>
                <c:pt idx="50324">
                  <c:v>0.89752095594792203</c:v>
                </c:pt>
                <c:pt idx="50325">
                  <c:v>0.89753879079721699</c:v>
                </c:pt>
                <c:pt idx="50326">
                  <c:v>0.89755662564651295</c:v>
                </c:pt>
                <c:pt idx="50327">
                  <c:v>0.89757446049580802</c:v>
                </c:pt>
                <c:pt idx="50328">
                  <c:v>0.89759229534510399</c:v>
                </c:pt>
                <c:pt idx="50329">
                  <c:v>0.89761013019439895</c:v>
                </c:pt>
                <c:pt idx="50330">
                  <c:v>0.89762796504369502</c:v>
                </c:pt>
                <c:pt idx="50331">
                  <c:v>0.89764579989298998</c:v>
                </c:pt>
                <c:pt idx="50332">
                  <c:v>0.89766363474228605</c:v>
                </c:pt>
                <c:pt idx="50333">
                  <c:v>0.89768146959158102</c:v>
                </c:pt>
                <c:pt idx="50334">
                  <c:v>0.89769930444087698</c:v>
                </c:pt>
                <c:pt idx="50335">
                  <c:v>0.89771713929017305</c:v>
                </c:pt>
                <c:pt idx="50336">
                  <c:v>0.89773497413946801</c:v>
                </c:pt>
                <c:pt idx="50337">
                  <c:v>0.89775280898876397</c:v>
                </c:pt>
                <c:pt idx="50338">
                  <c:v>0.89777064383805905</c:v>
                </c:pt>
                <c:pt idx="50339">
                  <c:v>0.89778847868735501</c:v>
                </c:pt>
                <c:pt idx="50340">
                  <c:v>0.89780631353664997</c:v>
                </c:pt>
                <c:pt idx="50341">
                  <c:v>0.89782414838594604</c:v>
                </c:pt>
                <c:pt idx="50342">
                  <c:v>0.897841983235241</c:v>
                </c:pt>
                <c:pt idx="50343">
                  <c:v>0.89785981808453696</c:v>
                </c:pt>
                <c:pt idx="50344">
                  <c:v>0.89787765293383204</c:v>
                </c:pt>
                <c:pt idx="50345">
                  <c:v>0.897895487783128</c:v>
                </c:pt>
                <c:pt idx="50346">
                  <c:v>0.89791332263242296</c:v>
                </c:pt>
                <c:pt idx="50347">
                  <c:v>0.89793115748171903</c:v>
                </c:pt>
                <c:pt idx="50348">
                  <c:v>0.897948992331014</c:v>
                </c:pt>
                <c:pt idx="50349">
                  <c:v>0.89796682718030996</c:v>
                </c:pt>
                <c:pt idx="50350">
                  <c:v>0.89798466202960503</c:v>
                </c:pt>
                <c:pt idx="50351">
                  <c:v>0.89800249687890099</c:v>
                </c:pt>
                <c:pt idx="50352">
                  <c:v>0.89802033172819695</c:v>
                </c:pt>
                <c:pt idx="50353">
                  <c:v>0.89803816657749203</c:v>
                </c:pt>
                <c:pt idx="50354">
                  <c:v>0.89805600142678799</c:v>
                </c:pt>
                <c:pt idx="50355">
                  <c:v>0.89807383627608295</c:v>
                </c:pt>
                <c:pt idx="50356">
                  <c:v>0.89809167112537902</c:v>
                </c:pt>
                <c:pt idx="50357">
                  <c:v>0.89810950597467398</c:v>
                </c:pt>
                <c:pt idx="50358">
                  <c:v>0.89812734082397006</c:v>
                </c:pt>
                <c:pt idx="50359">
                  <c:v>0.89814517567326502</c:v>
                </c:pt>
                <c:pt idx="50360">
                  <c:v>0.89816301052256098</c:v>
                </c:pt>
                <c:pt idx="50361">
                  <c:v>0.89818084537185605</c:v>
                </c:pt>
                <c:pt idx="50362">
                  <c:v>0.89819868022115201</c:v>
                </c:pt>
                <c:pt idx="50363">
                  <c:v>0.89821651507044697</c:v>
                </c:pt>
                <c:pt idx="50364">
                  <c:v>0.89823434991974305</c:v>
                </c:pt>
                <c:pt idx="50365">
                  <c:v>0.89825218476903801</c:v>
                </c:pt>
                <c:pt idx="50366">
                  <c:v>0.89827001961833397</c:v>
                </c:pt>
                <c:pt idx="50367">
                  <c:v>0.89828785446762904</c:v>
                </c:pt>
                <c:pt idx="50368">
                  <c:v>0.898305689316925</c:v>
                </c:pt>
                <c:pt idx="50369">
                  <c:v>0.89832352416621997</c:v>
                </c:pt>
                <c:pt idx="50370">
                  <c:v>0.89834135901551604</c:v>
                </c:pt>
                <c:pt idx="50371">
                  <c:v>0.898359193864811</c:v>
                </c:pt>
                <c:pt idx="50372">
                  <c:v>0.89837702871410696</c:v>
                </c:pt>
                <c:pt idx="50373">
                  <c:v>0.89839486356340204</c:v>
                </c:pt>
                <c:pt idx="50374">
                  <c:v>0.898412698412698</c:v>
                </c:pt>
                <c:pt idx="50375">
                  <c:v>0.89843053326199396</c:v>
                </c:pt>
                <c:pt idx="50376">
                  <c:v>0.89844836811128903</c:v>
                </c:pt>
                <c:pt idx="50377">
                  <c:v>0.89846620296058499</c:v>
                </c:pt>
                <c:pt idx="50378">
                  <c:v>0.89848403780987995</c:v>
                </c:pt>
                <c:pt idx="50379">
                  <c:v>0.89850187265917603</c:v>
                </c:pt>
                <c:pt idx="50380">
                  <c:v>0.89851970750847099</c:v>
                </c:pt>
                <c:pt idx="50381">
                  <c:v>0.89853754235776695</c:v>
                </c:pt>
                <c:pt idx="50382">
                  <c:v>0.89855537720706202</c:v>
                </c:pt>
                <c:pt idx="50383">
                  <c:v>0.89857321205635798</c:v>
                </c:pt>
                <c:pt idx="50384">
                  <c:v>0.89859104690565295</c:v>
                </c:pt>
                <c:pt idx="50385">
                  <c:v>0.89860888175494902</c:v>
                </c:pt>
                <c:pt idx="50386">
                  <c:v>0.89862671660424398</c:v>
                </c:pt>
                <c:pt idx="50387">
                  <c:v>0.89864455145354005</c:v>
                </c:pt>
                <c:pt idx="50388">
                  <c:v>0.89866238630283501</c:v>
                </c:pt>
                <c:pt idx="50389">
                  <c:v>0.89868022115213098</c:v>
                </c:pt>
                <c:pt idx="50390">
                  <c:v>0.89869805600142605</c:v>
                </c:pt>
                <c:pt idx="50391">
                  <c:v>0.89871589085072201</c:v>
                </c:pt>
                <c:pt idx="50392">
                  <c:v>0.89873372570001697</c:v>
                </c:pt>
                <c:pt idx="50393">
                  <c:v>0.89875156054931304</c:v>
                </c:pt>
                <c:pt idx="50394">
                  <c:v>0.89876939539860801</c:v>
                </c:pt>
                <c:pt idx="50395">
                  <c:v>0.89878723024790397</c:v>
                </c:pt>
                <c:pt idx="50396">
                  <c:v>0.89880506509719904</c:v>
                </c:pt>
                <c:pt idx="50397">
                  <c:v>0.898822899946495</c:v>
                </c:pt>
                <c:pt idx="50398">
                  <c:v>0.89884073479579096</c:v>
                </c:pt>
                <c:pt idx="50399">
                  <c:v>0.89885856964508604</c:v>
                </c:pt>
                <c:pt idx="50400">
                  <c:v>0.898876404494382</c:v>
                </c:pt>
                <c:pt idx="50401">
                  <c:v>0.89889423934367696</c:v>
                </c:pt>
                <c:pt idx="50402">
                  <c:v>0.89891207419297303</c:v>
                </c:pt>
                <c:pt idx="50403">
                  <c:v>0.89892990904226799</c:v>
                </c:pt>
                <c:pt idx="50404">
                  <c:v>0.89894774389156396</c:v>
                </c:pt>
                <c:pt idx="50405">
                  <c:v>0.89896557874085903</c:v>
                </c:pt>
                <c:pt idx="50406">
                  <c:v>0.89898341359015499</c:v>
                </c:pt>
                <c:pt idx="50407">
                  <c:v>0.89900124843944995</c:v>
                </c:pt>
                <c:pt idx="50408">
                  <c:v>0.89901908328874602</c:v>
                </c:pt>
                <c:pt idx="50409">
                  <c:v>0.89903691813804099</c:v>
                </c:pt>
                <c:pt idx="50410">
                  <c:v>0.89905475298733695</c:v>
                </c:pt>
                <c:pt idx="50411">
                  <c:v>0.89907258783663202</c:v>
                </c:pt>
                <c:pt idx="50412">
                  <c:v>0.89909042268592798</c:v>
                </c:pt>
                <c:pt idx="50413">
                  <c:v>0.89910825753522305</c:v>
                </c:pt>
                <c:pt idx="50414">
                  <c:v>0.89912609238451902</c:v>
                </c:pt>
                <c:pt idx="50415">
                  <c:v>0.89914392723381398</c:v>
                </c:pt>
                <c:pt idx="50416">
                  <c:v>0.89916176208311005</c:v>
                </c:pt>
                <c:pt idx="50417">
                  <c:v>0.89917959693240501</c:v>
                </c:pt>
                <c:pt idx="50418">
                  <c:v>0.89919743178170097</c:v>
                </c:pt>
                <c:pt idx="50419">
                  <c:v>0.89921526663099605</c:v>
                </c:pt>
                <c:pt idx="50420">
                  <c:v>0.89923310148029201</c:v>
                </c:pt>
                <c:pt idx="50421">
                  <c:v>0.89925093632958797</c:v>
                </c:pt>
                <c:pt idx="50422">
                  <c:v>0.89926877117888304</c:v>
                </c:pt>
                <c:pt idx="50423">
                  <c:v>0.899286606028179</c:v>
                </c:pt>
                <c:pt idx="50424">
                  <c:v>0.89930444087747397</c:v>
                </c:pt>
                <c:pt idx="50425">
                  <c:v>0.89932227572677004</c:v>
                </c:pt>
                <c:pt idx="50426">
                  <c:v>0.899340110576065</c:v>
                </c:pt>
                <c:pt idx="50427">
                  <c:v>0.89935794542536096</c:v>
                </c:pt>
                <c:pt idx="50428">
                  <c:v>0.89937578027465603</c:v>
                </c:pt>
                <c:pt idx="50429">
                  <c:v>0.89939361512395199</c:v>
                </c:pt>
                <c:pt idx="50430">
                  <c:v>0.89941144997324696</c:v>
                </c:pt>
                <c:pt idx="50431">
                  <c:v>0.89942928482254303</c:v>
                </c:pt>
                <c:pt idx="50432">
                  <c:v>0.89944711967183799</c:v>
                </c:pt>
                <c:pt idx="50433">
                  <c:v>0.89946495452113395</c:v>
                </c:pt>
                <c:pt idx="50434">
                  <c:v>0.89948278937042903</c:v>
                </c:pt>
                <c:pt idx="50435">
                  <c:v>0.89950062421972499</c:v>
                </c:pt>
                <c:pt idx="50436">
                  <c:v>0.89951845906901995</c:v>
                </c:pt>
                <c:pt idx="50437">
                  <c:v>0.89953629391831602</c:v>
                </c:pt>
                <c:pt idx="50438">
                  <c:v>0.89955412876761098</c:v>
                </c:pt>
                <c:pt idx="50439">
                  <c:v>0.89957196361690706</c:v>
                </c:pt>
                <c:pt idx="50440">
                  <c:v>0.89958979846620202</c:v>
                </c:pt>
                <c:pt idx="50441">
                  <c:v>0.89960763331549798</c:v>
                </c:pt>
                <c:pt idx="50442">
                  <c:v>0.89962546816479405</c:v>
                </c:pt>
                <c:pt idx="50443">
                  <c:v>0.89964330301408901</c:v>
                </c:pt>
                <c:pt idx="50444">
                  <c:v>0.89966113786338497</c:v>
                </c:pt>
                <c:pt idx="50445">
                  <c:v>0.89967897271268005</c:v>
                </c:pt>
                <c:pt idx="50446">
                  <c:v>0.89969680756197601</c:v>
                </c:pt>
                <c:pt idx="50447">
                  <c:v>0.89971464241127097</c:v>
                </c:pt>
                <c:pt idx="50448">
                  <c:v>0.89973247726056704</c:v>
                </c:pt>
                <c:pt idx="50449">
                  <c:v>0.899750312109862</c:v>
                </c:pt>
                <c:pt idx="50450">
                  <c:v>0.89976814695915797</c:v>
                </c:pt>
                <c:pt idx="50451">
                  <c:v>0.89978598180845304</c:v>
                </c:pt>
                <c:pt idx="50452">
                  <c:v>0.899803816657749</c:v>
                </c:pt>
                <c:pt idx="50453">
                  <c:v>0.89982165150704396</c:v>
                </c:pt>
                <c:pt idx="50454">
                  <c:v>0.89983948635634003</c:v>
                </c:pt>
                <c:pt idx="50455">
                  <c:v>0.899857321205635</c:v>
                </c:pt>
                <c:pt idx="50456">
                  <c:v>0.89987515605493096</c:v>
                </c:pt>
                <c:pt idx="50457">
                  <c:v>0.89989299090422603</c:v>
                </c:pt>
                <c:pt idx="50458">
                  <c:v>0.89991082575352199</c:v>
                </c:pt>
                <c:pt idx="50459">
                  <c:v>0.89992866060281795</c:v>
                </c:pt>
                <c:pt idx="50460">
                  <c:v>0.89994649545211303</c:v>
                </c:pt>
                <c:pt idx="50461">
                  <c:v>0.89996433030140899</c:v>
                </c:pt>
                <c:pt idx="50462">
                  <c:v>0.89998216515070395</c:v>
                </c:pt>
                <c:pt idx="50463">
                  <c:v>0.9</c:v>
                </c:pt>
                <c:pt idx="50464">
                  <c:v>0.90001783484929498</c:v>
                </c:pt>
                <c:pt idx="50465">
                  <c:v>0.90003566969859095</c:v>
                </c:pt>
                <c:pt idx="50466">
                  <c:v>0.90005350454788602</c:v>
                </c:pt>
                <c:pt idx="50467">
                  <c:v>0.90007133939718198</c:v>
                </c:pt>
                <c:pt idx="50468">
                  <c:v>0.90008917424647705</c:v>
                </c:pt>
                <c:pt idx="50469">
                  <c:v>0.90010700909577301</c:v>
                </c:pt>
                <c:pt idx="50470">
                  <c:v>0.90012484394506798</c:v>
                </c:pt>
                <c:pt idx="50471">
                  <c:v>0.90014267879436405</c:v>
                </c:pt>
                <c:pt idx="50472">
                  <c:v>0.90016051364365901</c:v>
                </c:pt>
                <c:pt idx="50473">
                  <c:v>0.90017834849295497</c:v>
                </c:pt>
                <c:pt idx="50474">
                  <c:v>0.90019618334225004</c:v>
                </c:pt>
                <c:pt idx="50475">
                  <c:v>0.90021401819154601</c:v>
                </c:pt>
                <c:pt idx="50476">
                  <c:v>0.90023185304084097</c:v>
                </c:pt>
                <c:pt idx="50477">
                  <c:v>0.90024968789013704</c:v>
                </c:pt>
                <c:pt idx="50478">
                  <c:v>0.900267522739432</c:v>
                </c:pt>
                <c:pt idx="50479">
                  <c:v>0.90028535758872796</c:v>
                </c:pt>
                <c:pt idx="50480">
                  <c:v>0.90030319243802304</c:v>
                </c:pt>
                <c:pt idx="50481">
                  <c:v>0.900321027287319</c:v>
                </c:pt>
                <c:pt idx="50482">
                  <c:v>0.90033886213661496</c:v>
                </c:pt>
                <c:pt idx="50483">
                  <c:v>0.90035669698591003</c:v>
                </c:pt>
                <c:pt idx="50484">
                  <c:v>0.90037453183520599</c:v>
                </c:pt>
                <c:pt idx="50485">
                  <c:v>0.90039236668450096</c:v>
                </c:pt>
                <c:pt idx="50486">
                  <c:v>0.90041020153379703</c:v>
                </c:pt>
                <c:pt idx="50487">
                  <c:v>0.90042803638309199</c:v>
                </c:pt>
                <c:pt idx="50488">
                  <c:v>0.90044587123238795</c:v>
                </c:pt>
                <c:pt idx="50489">
                  <c:v>0.90046370608168302</c:v>
                </c:pt>
                <c:pt idx="50490">
                  <c:v>0.90048154093097899</c:v>
                </c:pt>
                <c:pt idx="50491">
                  <c:v>0.90049937578027395</c:v>
                </c:pt>
                <c:pt idx="50492">
                  <c:v>0.90051721062957002</c:v>
                </c:pt>
                <c:pt idx="50493">
                  <c:v>0.90053504547886498</c:v>
                </c:pt>
                <c:pt idx="50494">
                  <c:v>0.90055288032816105</c:v>
                </c:pt>
                <c:pt idx="50495">
                  <c:v>0.90057071517745602</c:v>
                </c:pt>
                <c:pt idx="50496">
                  <c:v>0.90058855002675198</c:v>
                </c:pt>
                <c:pt idx="50497">
                  <c:v>0.90060638487604705</c:v>
                </c:pt>
                <c:pt idx="50498">
                  <c:v>0.90062421972534301</c:v>
                </c:pt>
                <c:pt idx="50499">
                  <c:v>0.90064205457463797</c:v>
                </c:pt>
                <c:pt idx="50500">
                  <c:v>0.90065988942393405</c:v>
                </c:pt>
                <c:pt idx="50501">
                  <c:v>0.90067772427322901</c:v>
                </c:pt>
                <c:pt idx="50502">
                  <c:v>0.90069555912252497</c:v>
                </c:pt>
                <c:pt idx="50503">
                  <c:v>0.90071339397182004</c:v>
                </c:pt>
                <c:pt idx="50504">
                  <c:v>0.900731228821116</c:v>
                </c:pt>
                <c:pt idx="50505">
                  <c:v>0.90074906367041196</c:v>
                </c:pt>
                <c:pt idx="50506">
                  <c:v>0.90076689851970704</c:v>
                </c:pt>
                <c:pt idx="50507">
                  <c:v>0.900784733369003</c:v>
                </c:pt>
                <c:pt idx="50508">
                  <c:v>0.90080256821829796</c:v>
                </c:pt>
                <c:pt idx="50509">
                  <c:v>0.90082040306759403</c:v>
                </c:pt>
                <c:pt idx="50510">
                  <c:v>0.900838237916889</c:v>
                </c:pt>
                <c:pt idx="50511">
                  <c:v>0.90085607276618496</c:v>
                </c:pt>
                <c:pt idx="50512">
                  <c:v>0.90087390761548003</c:v>
                </c:pt>
                <c:pt idx="50513">
                  <c:v>0.90089174246477599</c:v>
                </c:pt>
                <c:pt idx="50514">
                  <c:v>0.90090957731407095</c:v>
                </c:pt>
                <c:pt idx="50515">
                  <c:v>0.90092741216336703</c:v>
                </c:pt>
                <c:pt idx="50516">
                  <c:v>0.90094524701266199</c:v>
                </c:pt>
                <c:pt idx="50517">
                  <c:v>0.90096308186195795</c:v>
                </c:pt>
                <c:pt idx="50518">
                  <c:v>0.90098091671125302</c:v>
                </c:pt>
                <c:pt idx="50519">
                  <c:v>0.90099875156054898</c:v>
                </c:pt>
                <c:pt idx="50520">
                  <c:v>0.90101658640984394</c:v>
                </c:pt>
                <c:pt idx="50521">
                  <c:v>0.90103442125914002</c:v>
                </c:pt>
                <c:pt idx="50522">
                  <c:v>0.90105225610843498</c:v>
                </c:pt>
                <c:pt idx="50523">
                  <c:v>0.90107009095773105</c:v>
                </c:pt>
                <c:pt idx="50524">
                  <c:v>0.90108792580702601</c:v>
                </c:pt>
                <c:pt idx="50525">
                  <c:v>0.90110576065632197</c:v>
                </c:pt>
                <c:pt idx="50526">
                  <c:v>0.90112359550561705</c:v>
                </c:pt>
                <c:pt idx="50527">
                  <c:v>0.90114143035491301</c:v>
                </c:pt>
                <c:pt idx="50528">
                  <c:v>0.90115926520420897</c:v>
                </c:pt>
                <c:pt idx="50529">
                  <c:v>0.90117710005350404</c:v>
                </c:pt>
                <c:pt idx="50530">
                  <c:v>0.9011949349028</c:v>
                </c:pt>
                <c:pt idx="50531">
                  <c:v>0.90121276975209497</c:v>
                </c:pt>
                <c:pt idx="50532">
                  <c:v>0.90123060460139104</c:v>
                </c:pt>
                <c:pt idx="50533">
                  <c:v>0.901248439450686</c:v>
                </c:pt>
                <c:pt idx="50534">
                  <c:v>0.90126627429998196</c:v>
                </c:pt>
                <c:pt idx="50535">
                  <c:v>0.90128410914927704</c:v>
                </c:pt>
                <c:pt idx="50536">
                  <c:v>0.901301943998573</c:v>
                </c:pt>
                <c:pt idx="50537">
                  <c:v>0.90131977884786796</c:v>
                </c:pt>
                <c:pt idx="50538">
                  <c:v>0.90133761369716403</c:v>
                </c:pt>
                <c:pt idx="50539">
                  <c:v>0.90135544854645899</c:v>
                </c:pt>
                <c:pt idx="50540">
                  <c:v>0.90137328339575495</c:v>
                </c:pt>
                <c:pt idx="50541">
                  <c:v>0.90139111824505003</c:v>
                </c:pt>
                <c:pt idx="50542">
                  <c:v>0.90140895309434599</c:v>
                </c:pt>
                <c:pt idx="50543">
                  <c:v>0.90142678794364095</c:v>
                </c:pt>
                <c:pt idx="50544">
                  <c:v>0.90144462279293702</c:v>
                </c:pt>
                <c:pt idx="50545">
                  <c:v>0.90146245764223198</c:v>
                </c:pt>
                <c:pt idx="50546">
                  <c:v>0.90148029249152795</c:v>
                </c:pt>
                <c:pt idx="50547">
                  <c:v>0.90149812734082402</c:v>
                </c:pt>
                <c:pt idx="50548">
                  <c:v>0.90151596219011898</c:v>
                </c:pt>
                <c:pt idx="50549">
                  <c:v>0.90153379703941505</c:v>
                </c:pt>
                <c:pt idx="50550">
                  <c:v>0.90155163188871001</c:v>
                </c:pt>
                <c:pt idx="50551">
                  <c:v>0.90156946673800598</c:v>
                </c:pt>
                <c:pt idx="50552">
                  <c:v>0.90158730158730105</c:v>
                </c:pt>
                <c:pt idx="50553">
                  <c:v>0.90160513643659701</c:v>
                </c:pt>
                <c:pt idx="50554">
                  <c:v>0.90162297128589197</c:v>
                </c:pt>
                <c:pt idx="50555">
                  <c:v>0.90164080613518804</c:v>
                </c:pt>
                <c:pt idx="50556">
                  <c:v>0.90165864098448301</c:v>
                </c:pt>
                <c:pt idx="50557">
                  <c:v>0.90167647583377897</c:v>
                </c:pt>
                <c:pt idx="50558">
                  <c:v>0.90169431068307404</c:v>
                </c:pt>
                <c:pt idx="50559">
                  <c:v>0.90171214553237</c:v>
                </c:pt>
                <c:pt idx="50560">
                  <c:v>0.90172998038166496</c:v>
                </c:pt>
                <c:pt idx="50561">
                  <c:v>0.90174781523096104</c:v>
                </c:pt>
                <c:pt idx="50562">
                  <c:v>0.901765650080256</c:v>
                </c:pt>
                <c:pt idx="50563">
                  <c:v>0.90178348492955196</c:v>
                </c:pt>
                <c:pt idx="50564">
                  <c:v>0.90180131977884703</c:v>
                </c:pt>
                <c:pt idx="50565">
                  <c:v>0.90181915462814299</c:v>
                </c:pt>
                <c:pt idx="50566">
                  <c:v>0.90183698947743896</c:v>
                </c:pt>
                <c:pt idx="50567">
                  <c:v>0.90185482432673403</c:v>
                </c:pt>
                <c:pt idx="50568">
                  <c:v>0.90187265917602999</c:v>
                </c:pt>
                <c:pt idx="50569">
                  <c:v>0.90189049402532495</c:v>
                </c:pt>
                <c:pt idx="50570">
                  <c:v>0.90190832887462102</c:v>
                </c:pt>
                <c:pt idx="50571">
                  <c:v>0.90192616372391599</c:v>
                </c:pt>
                <c:pt idx="50572">
                  <c:v>0.90194399857321195</c:v>
                </c:pt>
                <c:pt idx="50573">
                  <c:v>0.90196183342250702</c:v>
                </c:pt>
                <c:pt idx="50574">
                  <c:v>0.90197966827180298</c:v>
                </c:pt>
                <c:pt idx="50575">
                  <c:v>0.90199750312109805</c:v>
                </c:pt>
                <c:pt idx="50576">
                  <c:v>0.90201533797039402</c:v>
                </c:pt>
                <c:pt idx="50577">
                  <c:v>0.90203317281968898</c:v>
                </c:pt>
                <c:pt idx="50578">
                  <c:v>0.90205100766898505</c:v>
                </c:pt>
                <c:pt idx="50579">
                  <c:v>0.90206884251828001</c:v>
                </c:pt>
                <c:pt idx="50580">
                  <c:v>0.90208667736757597</c:v>
                </c:pt>
                <c:pt idx="50581">
                  <c:v>0.90210451221687105</c:v>
                </c:pt>
                <c:pt idx="50582">
                  <c:v>0.90212234706616701</c:v>
                </c:pt>
                <c:pt idx="50583">
                  <c:v>0.90214018191546197</c:v>
                </c:pt>
                <c:pt idx="50584">
                  <c:v>0.90215801676475804</c:v>
                </c:pt>
                <c:pt idx="50585">
                  <c:v>0.902175851614053</c:v>
                </c:pt>
                <c:pt idx="50586">
                  <c:v>0.90219368646334896</c:v>
                </c:pt>
                <c:pt idx="50587">
                  <c:v>0.90221152131264404</c:v>
                </c:pt>
                <c:pt idx="50588">
                  <c:v>0.90222935616194</c:v>
                </c:pt>
                <c:pt idx="50589">
                  <c:v>0.90224719101123596</c:v>
                </c:pt>
                <c:pt idx="50590">
                  <c:v>0.90226502586053103</c:v>
                </c:pt>
                <c:pt idx="50591">
                  <c:v>0.90228286070982699</c:v>
                </c:pt>
                <c:pt idx="50592">
                  <c:v>0.90230069555912196</c:v>
                </c:pt>
                <c:pt idx="50593">
                  <c:v>0.90231853040841803</c:v>
                </c:pt>
                <c:pt idx="50594">
                  <c:v>0.90233636525771299</c:v>
                </c:pt>
                <c:pt idx="50595">
                  <c:v>0.90235420010700895</c:v>
                </c:pt>
                <c:pt idx="50596">
                  <c:v>0.90237203495630403</c:v>
                </c:pt>
                <c:pt idx="50597">
                  <c:v>0.90238986980559999</c:v>
                </c:pt>
                <c:pt idx="50598">
                  <c:v>0.90240770465489495</c:v>
                </c:pt>
                <c:pt idx="50599">
                  <c:v>0.90242553950419102</c:v>
                </c:pt>
                <c:pt idx="50600">
                  <c:v>0.90244337435348598</c:v>
                </c:pt>
                <c:pt idx="50601">
                  <c:v>0.90246120920278206</c:v>
                </c:pt>
                <c:pt idx="50602">
                  <c:v>0.90247904405207702</c:v>
                </c:pt>
                <c:pt idx="50603">
                  <c:v>0.90249687890137298</c:v>
                </c:pt>
                <c:pt idx="50604">
                  <c:v>0.90251471375066805</c:v>
                </c:pt>
                <c:pt idx="50605">
                  <c:v>0.90253254859996401</c:v>
                </c:pt>
                <c:pt idx="50606">
                  <c:v>0.90255038344925897</c:v>
                </c:pt>
                <c:pt idx="50607">
                  <c:v>0.90256821829855505</c:v>
                </c:pt>
                <c:pt idx="50608">
                  <c:v>0.90258605314785001</c:v>
                </c:pt>
                <c:pt idx="50609">
                  <c:v>0.90260388799714597</c:v>
                </c:pt>
                <c:pt idx="50610">
                  <c:v>0.90262172284644104</c:v>
                </c:pt>
                <c:pt idx="50611">
                  <c:v>0.902639557695737</c:v>
                </c:pt>
                <c:pt idx="50612">
                  <c:v>0.90265739254503297</c:v>
                </c:pt>
                <c:pt idx="50613">
                  <c:v>0.90267522739432804</c:v>
                </c:pt>
                <c:pt idx="50614">
                  <c:v>0.902693062243624</c:v>
                </c:pt>
                <c:pt idx="50615">
                  <c:v>0.90271089709291896</c:v>
                </c:pt>
                <c:pt idx="50616">
                  <c:v>0.90272873194221503</c:v>
                </c:pt>
                <c:pt idx="50617">
                  <c:v>0.90274656679151</c:v>
                </c:pt>
                <c:pt idx="50618">
                  <c:v>0.90276440164080596</c:v>
                </c:pt>
                <c:pt idx="50619">
                  <c:v>0.90278223649010103</c:v>
                </c:pt>
                <c:pt idx="50620">
                  <c:v>0.90280007133939699</c:v>
                </c:pt>
                <c:pt idx="50621">
                  <c:v>0.90281790618869195</c:v>
                </c:pt>
                <c:pt idx="50622">
                  <c:v>0.90283574103798803</c:v>
                </c:pt>
                <c:pt idx="50623">
                  <c:v>0.90285357588728299</c:v>
                </c:pt>
                <c:pt idx="50624">
                  <c:v>0.90287141073657895</c:v>
                </c:pt>
                <c:pt idx="50625">
                  <c:v>0.90288924558587402</c:v>
                </c:pt>
                <c:pt idx="50626">
                  <c:v>0.90290708043516998</c:v>
                </c:pt>
                <c:pt idx="50627">
                  <c:v>0.90292491528446495</c:v>
                </c:pt>
                <c:pt idx="50628">
                  <c:v>0.90294275013376102</c:v>
                </c:pt>
                <c:pt idx="50629">
                  <c:v>0.90296058498305598</c:v>
                </c:pt>
                <c:pt idx="50630">
                  <c:v>0.90297841983235205</c:v>
                </c:pt>
                <c:pt idx="50631">
                  <c:v>0.90299625468164701</c:v>
                </c:pt>
                <c:pt idx="50632">
                  <c:v>0.90301408953094298</c:v>
                </c:pt>
                <c:pt idx="50633">
                  <c:v>0.90303192438023805</c:v>
                </c:pt>
                <c:pt idx="50634">
                  <c:v>0.90304975922953401</c:v>
                </c:pt>
                <c:pt idx="50635">
                  <c:v>0.90306759407882997</c:v>
                </c:pt>
                <c:pt idx="50636">
                  <c:v>0.90308542892812504</c:v>
                </c:pt>
                <c:pt idx="50637">
                  <c:v>0.90310326377742101</c:v>
                </c:pt>
                <c:pt idx="50638">
                  <c:v>0.90312109862671597</c:v>
                </c:pt>
                <c:pt idx="50639">
                  <c:v>0.90313893347601204</c:v>
                </c:pt>
                <c:pt idx="50640">
                  <c:v>0.903156768325307</c:v>
                </c:pt>
                <c:pt idx="50641">
                  <c:v>0.90317460317460296</c:v>
                </c:pt>
                <c:pt idx="50642">
                  <c:v>0.90319243802389804</c:v>
                </c:pt>
                <c:pt idx="50643">
                  <c:v>0.903210272873194</c:v>
                </c:pt>
                <c:pt idx="50644">
                  <c:v>0.90322810772248896</c:v>
                </c:pt>
                <c:pt idx="50645">
                  <c:v>0.90324594257178503</c:v>
                </c:pt>
                <c:pt idx="50646">
                  <c:v>0.90326377742107999</c:v>
                </c:pt>
                <c:pt idx="50647">
                  <c:v>0.90328161227037596</c:v>
                </c:pt>
                <c:pt idx="50648">
                  <c:v>0.90329944711967103</c:v>
                </c:pt>
                <c:pt idx="50649">
                  <c:v>0.90331728196896699</c:v>
                </c:pt>
                <c:pt idx="50650">
                  <c:v>0.90333511681826195</c:v>
                </c:pt>
                <c:pt idx="50651">
                  <c:v>0.90335295166755802</c:v>
                </c:pt>
                <c:pt idx="50652">
                  <c:v>0.90337078651685399</c:v>
                </c:pt>
                <c:pt idx="50653">
                  <c:v>0.90338862136614895</c:v>
                </c:pt>
                <c:pt idx="50654">
                  <c:v>0.90340645621544502</c:v>
                </c:pt>
                <c:pt idx="50655">
                  <c:v>0.90342429106473998</c:v>
                </c:pt>
                <c:pt idx="50656">
                  <c:v>0.90344212591403605</c:v>
                </c:pt>
                <c:pt idx="50657">
                  <c:v>0.90345996076333102</c:v>
                </c:pt>
                <c:pt idx="50658">
                  <c:v>0.90347779561262698</c:v>
                </c:pt>
                <c:pt idx="50659">
                  <c:v>0.90349563046192205</c:v>
                </c:pt>
                <c:pt idx="50660">
                  <c:v>0.90351346531121801</c:v>
                </c:pt>
                <c:pt idx="50661">
                  <c:v>0.90353130016051297</c:v>
                </c:pt>
                <c:pt idx="50662">
                  <c:v>0.90354913500980905</c:v>
                </c:pt>
                <c:pt idx="50663">
                  <c:v>0.90356696985910401</c:v>
                </c:pt>
                <c:pt idx="50664">
                  <c:v>0.90358480470839997</c:v>
                </c:pt>
                <c:pt idx="50665">
                  <c:v>0.90360263955769504</c:v>
                </c:pt>
                <c:pt idx="50666">
                  <c:v>0.903620474406991</c:v>
                </c:pt>
                <c:pt idx="50667">
                  <c:v>0.90363830925628597</c:v>
                </c:pt>
                <c:pt idx="50668">
                  <c:v>0.90365614410558204</c:v>
                </c:pt>
                <c:pt idx="50669">
                  <c:v>0.903673978954877</c:v>
                </c:pt>
                <c:pt idx="50670">
                  <c:v>0.90369181380417296</c:v>
                </c:pt>
                <c:pt idx="50671">
                  <c:v>0.90370964865346803</c:v>
                </c:pt>
                <c:pt idx="50672">
                  <c:v>0.903727483502764</c:v>
                </c:pt>
                <c:pt idx="50673">
                  <c:v>0.90374531835205996</c:v>
                </c:pt>
                <c:pt idx="50674">
                  <c:v>0.90376315320135503</c:v>
                </c:pt>
                <c:pt idx="50675">
                  <c:v>0.90378098805065099</c:v>
                </c:pt>
                <c:pt idx="50676">
                  <c:v>0.90379882289994595</c:v>
                </c:pt>
                <c:pt idx="50677">
                  <c:v>0.90381665774924203</c:v>
                </c:pt>
                <c:pt idx="50678">
                  <c:v>0.90383449259853699</c:v>
                </c:pt>
                <c:pt idx="50679">
                  <c:v>0.90385232744783295</c:v>
                </c:pt>
                <c:pt idx="50680">
                  <c:v>0.90387016229712802</c:v>
                </c:pt>
                <c:pt idx="50681">
                  <c:v>0.90388799714642398</c:v>
                </c:pt>
                <c:pt idx="50682">
                  <c:v>0.90390583199571894</c:v>
                </c:pt>
                <c:pt idx="50683">
                  <c:v>0.90392366684501502</c:v>
                </c:pt>
                <c:pt idx="50684">
                  <c:v>0.90394150169430998</c:v>
                </c:pt>
                <c:pt idx="50685">
                  <c:v>0.90395933654360605</c:v>
                </c:pt>
                <c:pt idx="50686">
                  <c:v>0.90397717139290101</c:v>
                </c:pt>
                <c:pt idx="50687">
                  <c:v>0.90399500624219697</c:v>
                </c:pt>
                <c:pt idx="50688">
                  <c:v>0.90401284109149205</c:v>
                </c:pt>
                <c:pt idx="50689">
                  <c:v>0.90403067594078801</c:v>
                </c:pt>
                <c:pt idx="50690">
                  <c:v>0.90404851079008297</c:v>
                </c:pt>
                <c:pt idx="50691">
                  <c:v>0.90406634563937904</c:v>
                </c:pt>
                <c:pt idx="50692">
                  <c:v>0.90408418048867401</c:v>
                </c:pt>
                <c:pt idx="50693">
                  <c:v>0.90410201533796997</c:v>
                </c:pt>
                <c:pt idx="50694">
                  <c:v>0.90411985018726504</c:v>
                </c:pt>
                <c:pt idx="50695">
                  <c:v>0.904137685036561</c:v>
                </c:pt>
                <c:pt idx="50696">
                  <c:v>0.90415551988585696</c:v>
                </c:pt>
                <c:pt idx="50697">
                  <c:v>0.90417335473515204</c:v>
                </c:pt>
                <c:pt idx="50698">
                  <c:v>0.904191189584448</c:v>
                </c:pt>
                <c:pt idx="50699">
                  <c:v>0.90420902443374296</c:v>
                </c:pt>
                <c:pt idx="50700">
                  <c:v>0.90422685928303903</c:v>
                </c:pt>
                <c:pt idx="50701">
                  <c:v>0.90424469413233399</c:v>
                </c:pt>
                <c:pt idx="50702">
                  <c:v>0.90426252898162995</c:v>
                </c:pt>
                <c:pt idx="50703">
                  <c:v>0.90428036383092503</c:v>
                </c:pt>
                <c:pt idx="50704">
                  <c:v>0.90429819868022099</c:v>
                </c:pt>
                <c:pt idx="50705">
                  <c:v>0.90431603352951595</c:v>
                </c:pt>
                <c:pt idx="50706">
                  <c:v>0.90433386837881202</c:v>
                </c:pt>
                <c:pt idx="50707">
                  <c:v>0.90435170322810698</c:v>
                </c:pt>
                <c:pt idx="50708">
                  <c:v>0.90436953807740295</c:v>
                </c:pt>
                <c:pt idx="50709">
                  <c:v>0.90438737292669802</c:v>
                </c:pt>
                <c:pt idx="50710">
                  <c:v>0.90440520777599398</c:v>
                </c:pt>
                <c:pt idx="50711">
                  <c:v>0.90442304262528905</c:v>
                </c:pt>
                <c:pt idx="50712">
                  <c:v>0.90444087747458501</c:v>
                </c:pt>
                <c:pt idx="50713">
                  <c:v>0.90445871232387998</c:v>
                </c:pt>
                <c:pt idx="50714">
                  <c:v>0.90447654717317605</c:v>
                </c:pt>
                <c:pt idx="50715">
                  <c:v>0.90449438202247101</c:v>
                </c:pt>
                <c:pt idx="50716">
                  <c:v>0.90451221687176697</c:v>
                </c:pt>
                <c:pt idx="50717">
                  <c:v>0.90453005172106205</c:v>
                </c:pt>
                <c:pt idx="50718">
                  <c:v>0.90454788657035801</c:v>
                </c:pt>
                <c:pt idx="50719">
                  <c:v>0.90456572141965397</c:v>
                </c:pt>
                <c:pt idx="50720">
                  <c:v>0.90458355626894904</c:v>
                </c:pt>
                <c:pt idx="50721">
                  <c:v>0.904601391118245</c:v>
                </c:pt>
                <c:pt idx="50722">
                  <c:v>0.90461922596753996</c:v>
                </c:pt>
                <c:pt idx="50723">
                  <c:v>0.90463706081683604</c:v>
                </c:pt>
                <c:pt idx="50724">
                  <c:v>0.904654895666131</c:v>
                </c:pt>
                <c:pt idx="50725">
                  <c:v>0.90467273051542696</c:v>
                </c:pt>
                <c:pt idx="50726">
                  <c:v>0.90469056536472203</c:v>
                </c:pt>
                <c:pt idx="50727">
                  <c:v>0.90470840021401799</c:v>
                </c:pt>
                <c:pt idx="50728">
                  <c:v>0.90472623506331296</c:v>
                </c:pt>
                <c:pt idx="50729">
                  <c:v>0.90474406991260903</c:v>
                </c:pt>
                <c:pt idx="50730">
                  <c:v>0.90476190476190399</c:v>
                </c:pt>
                <c:pt idx="50731">
                  <c:v>0.90477973961119995</c:v>
                </c:pt>
                <c:pt idx="50732">
                  <c:v>0.90479757446049502</c:v>
                </c:pt>
                <c:pt idx="50733">
                  <c:v>0.90481540930979099</c:v>
                </c:pt>
                <c:pt idx="50734">
                  <c:v>0.90483324415908595</c:v>
                </c:pt>
                <c:pt idx="50735">
                  <c:v>0.90485107900838202</c:v>
                </c:pt>
                <c:pt idx="50736">
                  <c:v>0.90486891385767698</c:v>
                </c:pt>
                <c:pt idx="50737">
                  <c:v>0.90488674870697305</c:v>
                </c:pt>
                <c:pt idx="50738">
                  <c:v>0.90490458355626802</c:v>
                </c:pt>
                <c:pt idx="50739">
                  <c:v>0.90492241840556398</c:v>
                </c:pt>
                <c:pt idx="50740">
                  <c:v>0.90494025325486005</c:v>
                </c:pt>
                <c:pt idx="50741">
                  <c:v>0.90495808810415501</c:v>
                </c:pt>
                <c:pt idx="50742">
                  <c:v>0.90497592295345097</c:v>
                </c:pt>
                <c:pt idx="50743">
                  <c:v>0.90499375780274605</c:v>
                </c:pt>
                <c:pt idx="50744">
                  <c:v>0.90501159265204201</c:v>
                </c:pt>
                <c:pt idx="50745">
                  <c:v>0.90502942750133697</c:v>
                </c:pt>
                <c:pt idx="50746">
                  <c:v>0.90504726235063304</c:v>
                </c:pt>
                <c:pt idx="50747">
                  <c:v>0.905065097199928</c:v>
                </c:pt>
                <c:pt idx="50748">
                  <c:v>0.90508293204922396</c:v>
                </c:pt>
                <c:pt idx="50749">
                  <c:v>0.90510076689851904</c:v>
                </c:pt>
                <c:pt idx="50750">
                  <c:v>0.905118601747815</c:v>
                </c:pt>
                <c:pt idx="50751">
                  <c:v>0.90513643659710996</c:v>
                </c:pt>
                <c:pt idx="50752">
                  <c:v>0.90515427144640603</c:v>
                </c:pt>
                <c:pt idx="50753">
                  <c:v>0.905172106295701</c:v>
                </c:pt>
                <c:pt idx="50754">
                  <c:v>0.90518994114499696</c:v>
                </c:pt>
                <c:pt idx="50755">
                  <c:v>0.90520777599429203</c:v>
                </c:pt>
                <c:pt idx="50756">
                  <c:v>0.90522561084358799</c:v>
                </c:pt>
                <c:pt idx="50757">
                  <c:v>0.90524344569288295</c:v>
                </c:pt>
                <c:pt idx="50758">
                  <c:v>0.90526128054217903</c:v>
                </c:pt>
                <c:pt idx="50759">
                  <c:v>0.90527911539147499</c:v>
                </c:pt>
                <c:pt idx="50760">
                  <c:v>0.90529695024076995</c:v>
                </c:pt>
                <c:pt idx="50761">
                  <c:v>0.90531478509006602</c:v>
                </c:pt>
                <c:pt idx="50762">
                  <c:v>0.90533261993936098</c:v>
                </c:pt>
                <c:pt idx="50763">
                  <c:v>0.90535045478865706</c:v>
                </c:pt>
                <c:pt idx="50764">
                  <c:v>0.90536828963795202</c:v>
                </c:pt>
                <c:pt idx="50765">
                  <c:v>0.90538612448724798</c:v>
                </c:pt>
                <c:pt idx="50766">
                  <c:v>0.90540395933654305</c:v>
                </c:pt>
                <c:pt idx="50767">
                  <c:v>0.90542179418583901</c:v>
                </c:pt>
                <c:pt idx="50768">
                  <c:v>0.90543962903513397</c:v>
                </c:pt>
                <c:pt idx="50769">
                  <c:v>0.90545746388443005</c:v>
                </c:pt>
                <c:pt idx="50770">
                  <c:v>0.90547529873372501</c:v>
                </c:pt>
                <c:pt idx="50771">
                  <c:v>0.90549313358302097</c:v>
                </c:pt>
                <c:pt idx="50772">
                  <c:v>0.90551096843231604</c:v>
                </c:pt>
                <c:pt idx="50773">
                  <c:v>0.905528803281612</c:v>
                </c:pt>
                <c:pt idx="50774">
                  <c:v>0.90554663813090697</c:v>
                </c:pt>
                <c:pt idx="50775">
                  <c:v>0.90556447298020304</c:v>
                </c:pt>
                <c:pt idx="50776">
                  <c:v>0.905582307829498</c:v>
                </c:pt>
                <c:pt idx="50777">
                  <c:v>0.90560014267879396</c:v>
                </c:pt>
                <c:pt idx="50778">
                  <c:v>0.90561797752808904</c:v>
                </c:pt>
                <c:pt idx="50779">
                  <c:v>0.905635812377385</c:v>
                </c:pt>
                <c:pt idx="50780">
                  <c:v>0.90565364722668096</c:v>
                </c:pt>
                <c:pt idx="50781">
                  <c:v>0.90567148207597603</c:v>
                </c:pt>
                <c:pt idx="50782">
                  <c:v>0.90568931692527199</c:v>
                </c:pt>
                <c:pt idx="50783">
                  <c:v>0.90570715177456695</c:v>
                </c:pt>
                <c:pt idx="50784">
                  <c:v>0.90572498662386303</c:v>
                </c:pt>
                <c:pt idx="50785">
                  <c:v>0.90574282147315799</c:v>
                </c:pt>
                <c:pt idx="50786">
                  <c:v>0.90576065632245395</c:v>
                </c:pt>
                <c:pt idx="50787">
                  <c:v>0.90577849117174902</c:v>
                </c:pt>
                <c:pt idx="50788">
                  <c:v>0.90579632602104498</c:v>
                </c:pt>
                <c:pt idx="50789">
                  <c:v>0.90581416087033995</c:v>
                </c:pt>
                <c:pt idx="50790">
                  <c:v>0.90583199571963602</c:v>
                </c:pt>
                <c:pt idx="50791">
                  <c:v>0.90584983056893098</c:v>
                </c:pt>
                <c:pt idx="50792">
                  <c:v>0.90586766541822705</c:v>
                </c:pt>
                <c:pt idx="50793">
                  <c:v>0.90588550026752201</c:v>
                </c:pt>
                <c:pt idx="50794">
                  <c:v>0.90590333511681798</c:v>
                </c:pt>
                <c:pt idx="50795">
                  <c:v>0.90592116996611305</c:v>
                </c:pt>
                <c:pt idx="50796">
                  <c:v>0.90593900481540901</c:v>
                </c:pt>
                <c:pt idx="50797">
                  <c:v>0.90595683966470397</c:v>
                </c:pt>
                <c:pt idx="50798">
                  <c:v>0.90597467451400004</c:v>
                </c:pt>
                <c:pt idx="50799">
                  <c:v>0.90599250936329501</c:v>
                </c:pt>
                <c:pt idx="50800">
                  <c:v>0.90601034421259097</c:v>
                </c:pt>
                <c:pt idx="50801">
                  <c:v>0.90602817906188604</c:v>
                </c:pt>
                <c:pt idx="50802">
                  <c:v>0.906046013911182</c:v>
                </c:pt>
                <c:pt idx="50803">
                  <c:v>0.90606384876047796</c:v>
                </c:pt>
                <c:pt idx="50804">
                  <c:v>0.90608168360977304</c:v>
                </c:pt>
                <c:pt idx="50805">
                  <c:v>0.906099518459069</c:v>
                </c:pt>
                <c:pt idx="50806">
                  <c:v>0.90611735330836396</c:v>
                </c:pt>
                <c:pt idx="50807">
                  <c:v>0.90613518815766003</c:v>
                </c:pt>
                <c:pt idx="50808">
                  <c:v>0.90615302300695499</c:v>
                </c:pt>
                <c:pt idx="50809">
                  <c:v>0.90617085785625096</c:v>
                </c:pt>
                <c:pt idx="50810">
                  <c:v>0.90618869270554603</c:v>
                </c:pt>
                <c:pt idx="50811">
                  <c:v>0.90620652755484199</c:v>
                </c:pt>
                <c:pt idx="50812">
                  <c:v>0.90622436240413695</c:v>
                </c:pt>
                <c:pt idx="50813">
                  <c:v>0.90624219725343302</c:v>
                </c:pt>
                <c:pt idx="50814">
                  <c:v>0.90626003210272799</c:v>
                </c:pt>
                <c:pt idx="50815">
                  <c:v>0.90627786695202395</c:v>
                </c:pt>
                <c:pt idx="50816">
                  <c:v>0.90629570180131902</c:v>
                </c:pt>
                <c:pt idx="50817">
                  <c:v>0.90631353665061498</c:v>
                </c:pt>
                <c:pt idx="50818">
                  <c:v>0.90633137149991005</c:v>
                </c:pt>
                <c:pt idx="50819">
                  <c:v>0.90634920634920602</c:v>
                </c:pt>
                <c:pt idx="50820">
                  <c:v>0.90636704119850098</c:v>
                </c:pt>
                <c:pt idx="50821">
                  <c:v>0.90638487604779705</c:v>
                </c:pt>
                <c:pt idx="50822">
                  <c:v>0.90640271089709201</c:v>
                </c:pt>
                <c:pt idx="50823">
                  <c:v>0.90642054574638797</c:v>
                </c:pt>
                <c:pt idx="50824">
                  <c:v>0.90643838059568305</c:v>
                </c:pt>
                <c:pt idx="50825">
                  <c:v>0.90645621544497901</c:v>
                </c:pt>
                <c:pt idx="50826">
                  <c:v>0.90647405029427497</c:v>
                </c:pt>
                <c:pt idx="50827">
                  <c:v>0.90649188514357004</c:v>
                </c:pt>
                <c:pt idx="50828">
                  <c:v>0.906509719992866</c:v>
                </c:pt>
                <c:pt idx="50829">
                  <c:v>0.90652755484216097</c:v>
                </c:pt>
                <c:pt idx="50830">
                  <c:v>0.90654538969145704</c:v>
                </c:pt>
                <c:pt idx="50831">
                  <c:v>0.906563224540752</c:v>
                </c:pt>
                <c:pt idx="50832">
                  <c:v>0.90658105939004796</c:v>
                </c:pt>
                <c:pt idx="50833">
                  <c:v>0.90659889423934303</c:v>
                </c:pt>
                <c:pt idx="50834">
                  <c:v>0.906616729088639</c:v>
                </c:pt>
                <c:pt idx="50835">
                  <c:v>0.90663456393793396</c:v>
                </c:pt>
                <c:pt idx="50836">
                  <c:v>0.90665239878723003</c:v>
                </c:pt>
                <c:pt idx="50837">
                  <c:v>0.90667023363652499</c:v>
                </c:pt>
                <c:pt idx="50838">
                  <c:v>0.90668806848582095</c:v>
                </c:pt>
                <c:pt idx="50839">
                  <c:v>0.90670590333511603</c:v>
                </c:pt>
                <c:pt idx="50840">
                  <c:v>0.90672373818441199</c:v>
                </c:pt>
                <c:pt idx="50841">
                  <c:v>0.90674157303370695</c:v>
                </c:pt>
                <c:pt idx="50842">
                  <c:v>0.90675940788300302</c:v>
                </c:pt>
                <c:pt idx="50843">
                  <c:v>0.90677724273229798</c:v>
                </c:pt>
                <c:pt idx="50844">
                  <c:v>0.90679507758159394</c:v>
                </c:pt>
                <c:pt idx="50845">
                  <c:v>0.90681291243088902</c:v>
                </c:pt>
                <c:pt idx="50846">
                  <c:v>0.90683074728018498</c:v>
                </c:pt>
                <c:pt idx="50847">
                  <c:v>0.90684858212948105</c:v>
                </c:pt>
                <c:pt idx="50848">
                  <c:v>0.90686641697877601</c:v>
                </c:pt>
                <c:pt idx="50849">
                  <c:v>0.90688425182807197</c:v>
                </c:pt>
                <c:pt idx="50850">
                  <c:v>0.90690208667736705</c:v>
                </c:pt>
                <c:pt idx="50851">
                  <c:v>0.90691992152666301</c:v>
                </c:pt>
                <c:pt idx="50852">
                  <c:v>0.90693775637595797</c:v>
                </c:pt>
                <c:pt idx="50853">
                  <c:v>0.90695559122525404</c:v>
                </c:pt>
                <c:pt idx="50854">
                  <c:v>0.90697342607454901</c:v>
                </c:pt>
                <c:pt idx="50855">
                  <c:v>0.90699126092384497</c:v>
                </c:pt>
                <c:pt idx="50856">
                  <c:v>0.90700909577314004</c:v>
                </c:pt>
                <c:pt idx="50857">
                  <c:v>0.907026930622436</c:v>
                </c:pt>
                <c:pt idx="50858">
                  <c:v>0.90704476547173096</c:v>
                </c:pt>
                <c:pt idx="50859">
                  <c:v>0.90706260032102703</c:v>
                </c:pt>
                <c:pt idx="50860">
                  <c:v>0.907080435170322</c:v>
                </c:pt>
                <c:pt idx="50861">
                  <c:v>0.90709827001961796</c:v>
                </c:pt>
                <c:pt idx="50862">
                  <c:v>0.90711610486891303</c:v>
                </c:pt>
                <c:pt idx="50863">
                  <c:v>0.90713393971820899</c:v>
                </c:pt>
                <c:pt idx="50864">
                  <c:v>0.90715177456750495</c:v>
                </c:pt>
                <c:pt idx="50865">
                  <c:v>0.90716960941680003</c:v>
                </c:pt>
                <c:pt idx="50866">
                  <c:v>0.90718744426609599</c:v>
                </c:pt>
                <c:pt idx="50867">
                  <c:v>0.90720527911539095</c:v>
                </c:pt>
                <c:pt idx="50868">
                  <c:v>0.90722311396468702</c:v>
                </c:pt>
                <c:pt idx="50869">
                  <c:v>0.90724094881398198</c:v>
                </c:pt>
                <c:pt idx="50870">
                  <c:v>0.90725878366327795</c:v>
                </c:pt>
                <c:pt idx="50871">
                  <c:v>0.90727661851257302</c:v>
                </c:pt>
                <c:pt idx="50872">
                  <c:v>0.90729445336186898</c:v>
                </c:pt>
                <c:pt idx="50873">
                  <c:v>0.90731228821116405</c:v>
                </c:pt>
                <c:pt idx="50874">
                  <c:v>0.90733012306046001</c:v>
                </c:pt>
                <c:pt idx="50875">
                  <c:v>0.90734795790975498</c:v>
                </c:pt>
                <c:pt idx="50876">
                  <c:v>0.90736579275905105</c:v>
                </c:pt>
                <c:pt idx="50877">
                  <c:v>0.90738362760834601</c:v>
                </c:pt>
                <c:pt idx="50878">
                  <c:v>0.90740146245764197</c:v>
                </c:pt>
                <c:pt idx="50879">
                  <c:v>0.90741929730693704</c:v>
                </c:pt>
                <c:pt idx="50880">
                  <c:v>0.90743713215623301</c:v>
                </c:pt>
                <c:pt idx="50881">
                  <c:v>0.90745496700552797</c:v>
                </c:pt>
                <c:pt idx="50882">
                  <c:v>0.90747280185482404</c:v>
                </c:pt>
                <c:pt idx="50883">
                  <c:v>0.907490636704119</c:v>
                </c:pt>
                <c:pt idx="50884">
                  <c:v>0.90750847155341496</c:v>
                </c:pt>
                <c:pt idx="50885">
                  <c:v>0.90752630640271004</c:v>
                </c:pt>
                <c:pt idx="50886">
                  <c:v>0.907544141252006</c:v>
                </c:pt>
                <c:pt idx="50887">
                  <c:v>0.90756197610130196</c:v>
                </c:pt>
                <c:pt idx="50888">
                  <c:v>0.90757981095059703</c:v>
                </c:pt>
                <c:pt idx="50889">
                  <c:v>0.90759764579989299</c:v>
                </c:pt>
                <c:pt idx="50890">
                  <c:v>0.90761548064918796</c:v>
                </c:pt>
                <c:pt idx="50891">
                  <c:v>0.90763331549848403</c:v>
                </c:pt>
                <c:pt idx="50892">
                  <c:v>0.90765115034777899</c:v>
                </c:pt>
                <c:pt idx="50893">
                  <c:v>0.90766898519707495</c:v>
                </c:pt>
                <c:pt idx="50894">
                  <c:v>0.90768682004637002</c:v>
                </c:pt>
                <c:pt idx="50895">
                  <c:v>0.90770465489566599</c:v>
                </c:pt>
                <c:pt idx="50896">
                  <c:v>0.90772248974496095</c:v>
                </c:pt>
                <c:pt idx="50897">
                  <c:v>0.90774032459425702</c:v>
                </c:pt>
                <c:pt idx="50898">
                  <c:v>0.90775815944355198</c:v>
                </c:pt>
                <c:pt idx="50899">
                  <c:v>0.90777599429284805</c:v>
                </c:pt>
                <c:pt idx="50900">
                  <c:v>0.90779382914214302</c:v>
                </c:pt>
                <c:pt idx="50901">
                  <c:v>0.90781166399143898</c:v>
                </c:pt>
                <c:pt idx="50902">
                  <c:v>0.90782949884073405</c:v>
                </c:pt>
                <c:pt idx="50903">
                  <c:v>0.90784733369003001</c:v>
                </c:pt>
                <c:pt idx="50904">
                  <c:v>0.90786516853932497</c:v>
                </c:pt>
                <c:pt idx="50905">
                  <c:v>0.90788300338862105</c:v>
                </c:pt>
                <c:pt idx="50906">
                  <c:v>0.90790083823791601</c:v>
                </c:pt>
                <c:pt idx="50907">
                  <c:v>0.90791867308721197</c:v>
                </c:pt>
                <c:pt idx="50908">
                  <c:v>0.90793650793650704</c:v>
                </c:pt>
                <c:pt idx="50909">
                  <c:v>0.907954342785803</c:v>
                </c:pt>
                <c:pt idx="50910">
                  <c:v>0.90797217763509896</c:v>
                </c:pt>
                <c:pt idx="50911">
                  <c:v>0.90799001248439404</c:v>
                </c:pt>
                <c:pt idx="50912">
                  <c:v>0.90800784733369</c:v>
                </c:pt>
                <c:pt idx="50913">
                  <c:v>0.90802568218298496</c:v>
                </c:pt>
                <c:pt idx="50914">
                  <c:v>0.90804351703228103</c:v>
                </c:pt>
                <c:pt idx="50915">
                  <c:v>0.908061351881576</c:v>
                </c:pt>
                <c:pt idx="50916">
                  <c:v>0.90807918673087196</c:v>
                </c:pt>
                <c:pt idx="50917">
                  <c:v>0.90809702158016703</c:v>
                </c:pt>
                <c:pt idx="50918">
                  <c:v>0.90811485642946299</c:v>
                </c:pt>
                <c:pt idx="50919">
                  <c:v>0.90813269127875795</c:v>
                </c:pt>
                <c:pt idx="50920">
                  <c:v>0.90815052612805403</c:v>
                </c:pt>
                <c:pt idx="50921">
                  <c:v>0.90816836097734899</c:v>
                </c:pt>
                <c:pt idx="50922">
                  <c:v>0.90818619582664495</c:v>
                </c:pt>
                <c:pt idx="50923">
                  <c:v>0.90820403067594002</c:v>
                </c:pt>
                <c:pt idx="50924">
                  <c:v>0.90822186552523598</c:v>
                </c:pt>
                <c:pt idx="50925">
                  <c:v>0.90823970037453094</c:v>
                </c:pt>
                <c:pt idx="50926">
                  <c:v>0.90825753522382702</c:v>
                </c:pt>
                <c:pt idx="50927">
                  <c:v>0.90827537007312198</c:v>
                </c:pt>
                <c:pt idx="50928">
                  <c:v>0.90829320492241805</c:v>
                </c:pt>
                <c:pt idx="50929">
                  <c:v>0.90831103977171301</c:v>
                </c:pt>
                <c:pt idx="50930">
                  <c:v>0.90832887462100897</c:v>
                </c:pt>
                <c:pt idx="50931">
                  <c:v>0.90834670947030405</c:v>
                </c:pt>
                <c:pt idx="50932">
                  <c:v>0.90836454431960001</c:v>
                </c:pt>
                <c:pt idx="50933">
                  <c:v>0.90838237916889597</c:v>
                </c:pt>
                <c:pt idx="50934">
                  <c:v>0.90840021401819104</c:v>
                </c:pt>
                <c:pt idx="50935">
                  <c:v>0.908418048867487</c:v>
                </c:pt>
                <c:pt idx="50936">
                  <c:v>0.90843588371678197</c:v>
                </c:pt>
                <c:pt idx="50937">
                  <c:v>0.90845371856607804</c:v>
                </c:pt>
                <c:pt idx="50938">
                  <c:v>0.908471553415373</c:v>
                </c:pt>
                <c:pt idx="50939">
                  <c:v>0.90848938826466896</c:v>
                </c:pt>
                <c:pt idx="50940">
                  <c:v>0.90850722311396404</c:v>
                </c:pt>
                <c:pt idx="50941">
                  <c:v>0.90852505796326</c:v>
                </c:pt>
                <c:pt idx="50942">
                  <c:v>0.90854289281255496</c:v>
                </c:pt>
                <c:pt idx="50943">
                  <c:v>0.90856072766185103</c:v>
                </c:pt>
                <c:pt idx="50944">
                  <c:v>0.90857856251114599</c:v>
                </c:pt>
                <c:pt idx="50945">
                  <c:v>0.90859639736044195</c:v>
                </c:pt>
                <c:pt idx="50946">
                  <c:v>0.90861423220973703</c:v>
                </c:pt>
                <c:pt idx="50947">
                  <c:v>0.90863206705903299</c:v>
                </c:pt>
                <c:pt idx="50948">
                  <c:v>0.90864990190832795</c:v>
                </c:pt>
                <c:pt idx="50949">
                  <c:v>0.90866773675762402</c:v>
                </c:pt>
                <c:pt idx="50950">
                  <c:v>0.90868557160691898</c:v>
                </c:pt>
                <c:pt idx="50951">
                  <c:v>0.90870340645621495</c:v>
                </c:pt>
                <c:pt idx="50952">
                  <c:v>0.90872124130551102</c:v>
                </c:pt>
                <c:pt idx="50953">
                  <c:v>0.90873907615480598</c:v>
                </c:pt>
                <c:pt idx="50954">
                  <c:v>0.90875691100410205</c:v>
                </c:pt>
                <c:pt idx="50955">
                  <c:v>0.90877474585339701</c:v>
                </c:pt>
                <c:pt idx="50956">
                  <c:v>0.90879258070269298</c:v>
                </c:pt>
                <c:pt idx="50957">
                  <c:v>0.90881041555198805</c:v>
                </c:pt>
                <c:pt idx="50958">
                  <c:v>0.90882825040128401</c:v>
                </c:pt>
                <c:pt idx="50959">
                  <c:v>0.90884608525057897</c:v>
                </c:pt>
                <c:pt idx="50960">
                  <c:v>0.90886392009987504</c:v>
                </c:pt>
                <c:pt idx="50961">
                  <c:v>0.90888175494917001</c:v>
                </c:pt>
                <c:pt idx="50962">
                  <c:v>0.90889958979846597</c:v>
                </c:pt>
                <c:pt idx="50963">
                  <c:v>0.90891742464776104</c:v>
                </c:pt>
                <c:pt idx="50964">
                  <c:v>0.908935259497057</c:v>
                </c:pt>
                <c:pt idx="50965">
                  <c:v>0.90895309434635196</c:v>
                </c:pt>
                <c:pt idx="50966">
                  <c:v>0.90897092919564804</c:v>
                </c:pt>
                <c:pt idx="50967">
                  <c:v>0.908988764044943</c:v>
                </c:pt>
                <c:pt idx="50968">
                  <c:v>0.90900659889423896</c:v>
                </c:pt>
                <c:pt idx="50969">
                  <c:v>0.90902443374353403</c:v>
                </c:pt>
                <c:pt idx="50970">
                  <c:v>0.90904226859282999</c:v>
                </c:pt>
                <c:pt idx="50971">
                  <c:v>0.90906010344212596</c:v>
                </c:pt>
                <c:pt idx="50972">
                  <c:v>0.90907793829142103</c:v>
                </c:pt>
                <c:pt idx="50973">
                  <c:v>0.90909577314071699</c:v>
                </c:pt>
                <c:pt idx="50974">
                  <c:v>0.90911360799001195</c:v>
                </c:pt>
                <c:pt idx="50975">
                  <c:v>0.90913144283930802</c:v>
                </c:pt>
                <c:pt idx="50976">
                  <c:v>0.90914927768860299</c:v>
                </c:pt>
                <c:pt idx="50977">
                  <c:v>0.90916711253789895</c:v>
                </c:pt>
                <c:pt idx="50978">
                  <c:v>0.90918494738719402</c:v>
                </c:pt>
                <c:pt idx="50979">
                  <c:v>0.90920278223648998</c:v>
                </c:pt>
                <c:pt idx="50980">
                  <c:v>0.90922061708578505</c:v>
                </c:pt>
                <c:pt idx="50981">
                  <c:v>0.90923845193508102</c:v>
                </c:pt>
                <c:pt idx="50982">
                  <c:v>0.90925628678437598</c:v>
                </c:pt>
                <c:pt idx="50983">
                  <c:v>0.90927412163367205</c:v>
                </c:pt>
                <c:pt idx="50984">
                  <c:v>0.90929195648296701</c:v>
                </c:pt>
                <c:pt idx="50985">
                  <c:v>0.90930979133226297</c:v>
                </c:pt>
                <c:pt idx="50986">
                  <c:v>0.90932762618155805</c:v>
                </c:pt>
                <c:pt idx="50987">
                  <c:v>0.90934546103085401</c:v>
                </c:pt>
                <c:pt idx="50988">
                  <c:v>0.90936329588014897</c:v>
                </c:pt>
                <c:pt idx="50989">
                  <c:v>0.90938113072944504</c:v>
                </c:pt>
                <c:pt idx="50990">
                  <c:v>0.90939896557874</c:v>
                </c:pt>
                <c:pt idx="50991">
                  <c:v>0.90941680042803597</c:v>
                </c:pt>
                <c:pt idx="50992">
                  <c:v>0.90943463527733104</c:v>
                </c:pt>
                <c:pt idx="50993">
                  <c:v>0.909452470126627</c:v>
                </c:pt>
                <c:pt idx="50994">
                  <c:v>0.90947030497592296</c:v>
                </c:pt>
                <c:pt idx="50995">
                  <c:v>0.90948813982521803</c:v>
                </c:pt>
                <c:pt idx="50996">
                  <c:v>0.909505974674514</c:v>
                </c:pt>
                <c:pt idx="50997">
                  <c:v>0.90952380952380896</c:v>
                </c:pt>
                <c:pt idx="50998">
                  <c:v>0.90954164437310503</c:v>
                </c:pt>
                <c:pt idx="50999">
                  <c:v>0.90955947922239999</c:v>
                </c:pt>
                <c:pt idx="51000">
                  <c:v>0.90957731407169595</c:v>
                </c:pt>
                <c:pt idx="51001">
                  <c:v>0.90959514892099103</c:v>
                </c:pt>
                <c:pt idx="51002">
                  <c:v>0.90961298377028699</c:v>
                </c:pt>
                <c:pt idx="51003">
                  <c:v>0.90963081861958195</c:v>
                </c:pt>
                <c:pt idx="51004">
                  <c:v>0.90964865346887802</c:v>
                </c:pt>
                <c:pt idx="51005">
                  <c:v>0.90966648831817298</c:v>
                </c:pt>
                <c:pt idx="51006">
                  <c:v>0.90968432316746894</c:v>
                </c:pt>
                <c:pt idx="51007">
                  <c:v>0.90970215801676402</c:v>
                </c:pt>
                <c:pt idx="51008">
                  <c:v>0.90971999286605998</c:v>
                </c:pt>
                <c:pt idx="51009">
                  <c:v>0.90973782771535505</c:v>
                </c:pt>
                <c:pt idx="51010">
                  <c:v>0.90975566256465101</c:v>
                </c:pt>
                <c:pt idx="51011">
                  <c:v>0.90977349741394598</c:v>
                </c:pt>
                <c:pt idx="51012">
                  <c:v>0.90979133226324205</c:v>
                </c:pt>
                <c:pt idx="51013">
                  <c:v>0.90980916711253701</c:v>
                </c:pt>
                <c:pt idx="51014">
                  <c:v>0.90982700196183297</c:v>
                </c:pt>
                <c:pt idx="51015">
                  <c:v>0.90984483681112804</c:v>
                </c:pt>
                <c:pt idx="51016">
                  <c:v>0.90986267166042401</c:v>
                </c:pt>
                <c:pt idx="51017">
                  <c:v>0.90988050650971997</c:v>
                </c:pt>
                <c:pt idx="51018">
                  <c:v>0.90989834135901504</c:v>
                </c:pt>
                <c:pt idx="51019">
                  <c:v>0.909916176208311</c:v>
                </c:pt>
                <c:pt idx="51020">
                  <c:v>0.90993401105760596</c:v>
                </c:pt>
                <c:pt idx="51021">
                  <c:v>0.90995184590690203</c:v>
                </c:pt>
                <c:pt idx="51022">
                  <c:v>0.909969680756197</c:v>
                </c:pt>
                <c:pt idx="51023">
                  <c:v>0.90998751560549296</c:v>
                </c:pt>
                <c:pt idx="51024">
                  <c:v>0.91000535045478803</c:v>
                </c:pt>
                <c:pt idx="51025">
                  <c:v>0.91002318530408399</c:v>
                </c:pt>
                <c:pt idx="51026">
                  <c:v>0.91004102015337895</c:v>
                </c:pt>
                <c:pt idx="51027">
                  <c:v>0.91005885500267503</c:v>
                </c:pt>
                <c:pt idx="51028">
                  <c:v>0.91007668985196999</c:v>
                </c:pt>
                <c:pt idx="51029">
                  <c:v>0.91009452470126595</c:v>
                </c:pt>
                <c:pt idx="51030">
                  <c:v>0.91011235955056102</c:v>
                </c:pt>
                <c:pt idx="51031">
                  <c:v>0.91013019439985698</c:v>
                </c:pt>
                <c:pt idx="51032">
                  <c:v>0.91014802924915195</c:v>
                </c:pt>
                <c:pt idx="51033">
                  <c:v>0.91016586409844802</c:v>
                </c:pt>
                <c:pt idx="51034">
                  <c:v>0.91018369894774298</c:v>
                </c:pt>
                <c:pt idx="51035">
                  <c:v>0.91020153379703905</c:v>
                </c:pt>
                <c:pt idx="51036">
                  <c:v>0.91021936864633401</c:v>
                </c:pt>
                <c:pt idx="51037">
                  <c:v>0.91023720349562998</c:v>
                </c:pt>
                <c:pt idx="51038">
                  <c:v>0.91025503834492505</c:v>
                </c:pt>
                <c:pt idx="51039">
                  <c:v>0.91027287319422101</c:v>
                </c:pt>
                <c:pt idx="51040">
                  <c:v>0.91029070804351697</c:v>
                </c:pt>
                <c:pt idx="51041">
                  <c:v>0.91030854289281204</c:v>
                </c:pt>
                <c:pt idx="51042">
                  <c:v>0.91032637774210801</c:v>
                </c:pt>
                <c:pt idx="51043">
                  <c:v>0.91034421259140297</c:v>
                </c:pt>
                <c:pt idx="51044">
                  <c:v>0.91036204744069904</c:v>
                </c:pt>
                <c:pt idx="51045">
                  <c:v>0.910379882289994</c:v>
                </c:pt>
                <c:pt idx="51046">
                  <c:v>0.91039771713928996</c:v>
                </c:pt>
                <c:pt idx="51047">
                  <c:v>0.91041555198858504</c:v>
                </c:pt>
                <c:pt idx="51048">
                  <c:v>0.910433386837881</c:v>
                </c:pt>
                <c:pt idx="51049">
                  <c:v>0.91045122168717596</c:v>
                </c:pt>
                <c:pt idx="51050">
                  <c:v>0.91046905653647203</c:v>
                </c:pt>
                <c:pt idx="51051">
                  <c:v>0.91048689138576699</c:v>
                </c:pt>
                <c:pt idx="51052">
                  <c:v>0.91050472623506296</c:v>
                </c:pt>
                <c:pt idx="51053">
                  <c:v>0.91052256108435803</c:v>
                </c:pt>
                <c:pt idx="51054">
                  <c:v>0.91054039593365399</c:v>
                </c:pt>
                <c:pt idx="51055">
                  <c:v>0.91055823078294895</c:v>
                </c:pt>
                <c:pt idx="51056">
                  <c:v>0.91057606563224502</c:v>
                </c:pt>
                <c:pt idx="51057">
                  <c:v>0.91059390048154099</c:v>
                </c:pt>
                <c:pt idx="51058">
                  <c:v>0.91061173533083595</c:v>
                </c:pt>
                <c:pt idx="51059">
                  <c:v>0.91062957018013202</c:v>
                </c:pt>
                <c:pt idx="51060">
                  <c:v>0.91064740502942698</c:v>
                </c:pt>
                <c:pt idx="51061">
                  <c:v>0.91066523987872305</c:v>
                </c:pt>
                <c:pt idx="51062">
                  <c:v>0.91068307472801802</c:v>
                </c:pt>
                <c:pt idx="51063">
                  <c:v>0.91070090957731398</c:v>
                </c:pt>
                <c:pt idx="51064">
                  <c:v>0.91071874442660905</c:v>
                </c:pt>
                <c:pt idx="51065">
                  <c:v>0.91073657927590501</c:v>
                </c:pt>
                <c:pt idx="51066">
                  <c:v>0.91075441412519997</c:v>
                </c:pt>
                <c:pt idx="51067">
                  <c:v>0.91077224897449605</c:v>
                </c:pt>
                <c:pt idx="51068">
                  <c:v>0.91079008382379101</c:v>
                </c:pt>
                <c:pt idx="51069">
                  <c:v>0.91080791867308697</c:v>
                </c:pt>
                <c:pt idx="51070">
                  <c:v>0.91082575352238204</c:v>
                </c:pt>
                <c:pt idx="51071">
                  <c:v>0.910843588371678</c:v>
                </c:pt>
                <c:pt idx="51072">
                  <c:v>0.91086142322097297</c:v>
                </c:pt>
                <c:pt idx="51073">
                  <c:v>0.91087925807026904</c:v>
                </c:pt>
                <c:pt idx="51074">
                  <c:v>0.910897092919564</c:v>
                </c:pt>
                <c:pt idx="51075">
                  <c:v>0.91091492776885996</c:v>
                </c:pt>
                <c:pt idx="51076">
                  <c:v>0.91093276261815503</c:v>
                </c:pt>
                <c:pt idx="51077">
                  <c:v>0.910950597467451</c:v>
                </c:pt>
                <c:pt idx="51078">
                  <c:v>0.91096843231674696</c:v>
                </c:pt>
                <c:pt idx="51079">
                  <c:v>0.91098626716604203</c:v>
                </c:pt>
                <c:pt idx="51080">
                  <c:v>0.91100410201533799</c:v>
                </c:pt>
                <c:pt idx="51081">
                  <c:v>0.91102193686463295</c:v>
                </c:pt>
                <c:pt idx="51082">
                  <c:v>0.91103977171392903</c:v>
                </c:pt>
                <c:pt idx="51083">
                  <c:v>0.91105760656322399</c:v>
                </c:pt>
                <c:pt idx="51084">
                  <c:v>0.91107544141251995</c:v>
                </c:pt>
                <c:pt idx="51085">
                  <c:v>0.91109327626181502</c:v>
                </c:pt>
                <c:pt idx="51086">
                  <c:v>0.91111111111111098</c:v>
                </c:pt>
                <c:pt idx="51087">
                  <c:v>0.91112894596040594</c:v>
                </c:pt>
                <c:pt idx="51088">
                  <c:v>0.91114678080970202</c:v>
                </c:pt>
                <c:pt idx="51089">
                  <c:v>0.91116461565899698</c:v>
                </c:pt>
                <c:pt idx="51090">
                  <c:v>0.91118245050829305</c:v>
                </c:pt>
                <c:pt idx="51091">
                  <c:v>0.91120028535758801</c:v>
                </c:pt>
                <c:pt idx="51092">
                  <c:v>0.91121812020688397</c:v>
                </c:pt>
                <c:pt idx="51093">
                  <c:v>0.91123595505617905</c:v>
                </c:pt>
                <c:pt idx="51094">
                  <c:v>0.91125378990547501</c:v>
                </c:pt>
                <c:pt idx="51095">
                  <c:v>0.91127162475476997</c:v>
                </c:pt>
                <c:pt idx="51096">
                  <c:v>0.91128945960406604</c:v>
                </c:pt>
                <c:pt idx="51097">
                  <c:v>0.91130729445336101</c:v>
                </c:pt>
                <c:pt idx="51098">
                  <c:v>0.91132512930265697</c:v>
                </c:pt>
                <c:pt idx="51099">
                  <c:v>0.91134296415195204</c:v>
                </c:pt>
                <c:pt idx="51100">
                  <c:v>0.911360799001248</c:v>
                </c:pt>
                <c:pt idx="51101">
                  <c:v>0.91137863385054396</c:v>
                </c:pt>
                <c:pt idx="51102">
                  <c:v>0.91139646869983904</c:v>
                </c:pt>
                <c:pt idx="51103">
                  <c:v>0.911414303549135</c:v>
                </c:pt>
                <c:pt idx="51104">
                  <c:v>0.91143213839842996</c:v>
                </c:pt>
                <c:pt idx="51105">
                  <c:v>0.91144997324772603</c:v>
                </c:pt>
                <c:pt idx="51106">
                  <c:v>0.91146780809702099</c:v>
                </c:pt>
                <c:pt idx="51107">
                  <c:v>0.91148564294631695</c:v>
                </c:pt>
                <c:pt idx="51108">
                  <c:v>0.91150347779561203</c:v>
                </c:pt>
                <c:pt idx="51109">
                  <c:v>0.91152131264490799</c:v>
                </c:pt>
                <c:pt idx="51110">
                  <c:v>0.91153914749420295</c:v>
                </c:pt>
                <c:pt idx="51111">
                  <c:v>0.91155698234349902</c:v>
                </c:pt>
                <c:pt idx="51112">
                  <c:v>0.91157481719279398</c:v>
                </c:pt>
                <c:pt idx="51113">
                  <c:v>0.91159265204208995</c:v>
                </c:pt>
                <c:pt idx="51114">
                  <c:v>0.91161048689138502</c:v>
                </c:pt>
                <c:pt idx="51115">
                  <c:v>0.91162832174068098</c:v>
                </c:pt>
                <c:pt idx="51116">
                  <c:v>0.91164615658997605</c:v>
                </c:pt>
                <c:pt idx="51117">
                  <c:v>0.91166399143927201</c:v>
                </c:pt>
                <c:pt idx="51118">
                  <c:v>0.91168182628856698</c:v>
                </c:pt>
                <c:pt idx="51119">
                  <c:v>0.91169966113786305</c:v>
                </c:pt>
                <c:pt idx="51120">
                  <c:v>0.91171749598715801</c:v>
                </c:pt>
                <c:pt idx="51121">
                  <c:v>0.91173533083645397</c:v>
                </c:pt>
                <c:pt idx="51122">
                  <c:v>0.91175316568574905</c:v>
                </c:pt>
                <c:pt idx="51123">
                  <c:v>0.91177100053504501</c:v>
                </c:pt>
                <c:pt idx="51124">
                  <c:v>0.91178883538434097</c:v>
                </c:pt>
                <c:pt idx="51125">
                  <c:v>0.91180667023363604</c:v>
                </c:pt>
                <c:pt idx="51126">
                  <c:v>0.911824505082932</c:v>
                </c:pt>
                <c:pt idx="51127">
                  <c:v>0.91184233993222696</c:v>
                </c:pt>
                <c:pt idx="51128">
                  <c:v>0.91186017478152304</c:v>
                </c:pt>
                <c:pt idx="51129">
                  <c:v>0.911878009630818</c:v>
                </c:pt>
                <c:pt idx="51130">
                  <c:v>0.91189584448011396</c:v>
                </c:pt>
                <c:pt idx="51131">
                  <c:v>0.91191367932940903</c:v>
                </c:pt>
                <c:pt idx="51132">
                  <c:v>0.91193151417870499</c:v>
                </c:pt>
                <c:pt idx="51133">
                  <c:v>0.91194934902799996</c:v>
                </c:pt>
                <c:pt idx="51134">
                  <c:v>0.91196718387729603</c:v>
                </c:pt>
                <c:pt idx="51135">
                  <c:v>0.91198501872659099</c:v>
                </c:pt>
                <c:pt idx="51136">
                  <c:v>0.91200285357588695</c:v>
                </c:pt>
                <c:pt idx="51137">
                  <c:v>0.91202068842518202</c:v>
                </c:pt>
                <c:pt idx="51138">
                  <c:v>0.91203852327447799</c:v>
                </c:pt>
                <c:pt idx="51139">
                  <c:v>0.91205635812377295</c:v>
                </c:pt>
                <c:pt idx="51140">
                  <c:v>0.91207419297306902</c:v>
                </c:pt>
                <c:pt idx="51141">
                  <c:v>0.91209202782236398</c:v>
                </c:pt>
                <c:pt idx="51142">
                  <c:v>0.91210986267166005</c:v>
                </c:pt>
                <c:pt idx="51143">
                  <c:v>0.91212769752095502</c:v>
                </c:pt>
                <c:pt idx="51144">
                  <c:v>0.91214553237025098</c:v>
                </c:pt>
                <c:pt idx="51145">
                  <c:v>0.91216336721954705</c:v>
                </c:pt>
                <c:pt idx="51146">
                  <c:v>0.91218120206884201</c:v>
                </c:pt>
                <c:pt idx="51147">
                  <c:v>0.91219903691813797</c:v>
                </c:pt>
                <c:pt idx="51148">
                  <c:v>0.91221687176743305</c:v>
                </c:pt>
                <c:pt idx="51149">
                  <c:v>0.91223470661672901</c:v>
                </c:pt>
                <c:pt idx="51150">
                  <c:v>0.91225254146602397</c:v>
                </c:pt>
                <c:pt idx="51151">
                  <c:v>0.91227037631532004</c:v>
                </c:pt>
                <c:pt idx="51152">
                  <c:v>0.912288211164615</c:v>
                </c:pt>
                <c:pt idx="51153">
                  <c:v>0.91230604601391097</c:v>
                </c:pt>
                <c:pt idx="51154">
                  <c:v>0.91232388086320604</c:v>
                </c:pt>
                <c:pt idx="51155">
                  <c:v>0.912341715712502</c:v>
                </c:pt>
                <c:pt idx="51156">
                  <c:v>0.91235955056179696</c:v>
                </c:pt>
                <c:pt idx="51157">
                  <c:v>0.91237738541109303</c:v>
                </c:pt>
                <c:pt idx="51158">
                  <c:v>0.912395220260388</c:v>
                </c:pt>
                <c:pt idx="51159">
                  <c:v>0.91241305510968396</c:v>
                </c:pt>
                <c:pt idx="51160">
                  <c:v>0.91243088995897903</c:v>
                </c:pt>
                <c:pt idx="51161">
                  <c:v>0.91244872480827499</c:v>
                </c:pt>
                <c:pt idx="51162">
                  <c:v>0.91246655965756995</c:v>
                </c:pt>
                <c:pt idx="51163">
                  <c:v>0.91248439450686603</c:v>
                </c:pt>
                <c:pt idx="51164">
                  <c:v>0.91250222935616199</c:v>
                </c:pt>
                <c:pt idx="51165">
                  <c:v>0.91252006420545695</c:v>
                </c:pt>
                <c:pt idx="51166">
                  <c:v>0.91253789905475302</c:v>
                </c:pt>
                <c:pt idx="51167">
                  <c:v>0.91255573390404798</c:v>
                </c:pt>
                <c:pt idx="51168">
                  <c:v>0.91257356875334406</c:v>
                </c:pt>
                <c:pt idx="51169">
                  <c:v>0.91259140360263902</c:v>
                </c:pt>
                <c:pt idx="51170">
                  <c:v>0.91260923845193498</c:v>
                </c:pt>
                <c:pt idx="51171">
                  <c:v>0.91262707330123005</c:v>
                </c:pt>
                <c:pt idx="51172">
                  <c:v>0.91264490815052601</c:v>
                </c:pt>
                <c:pt idx="51173">
                  <c:v>0.91266274299982098</c:v>
                </c:pt>
                <c:pt idx="51174">
                  <c:v>0.91268057784911705</c:v>
                </c:pt>
                <c:pt idx="51175">
                  <c:v>0.91269841269841201</c:v>
                </c:pt>
                <c:pt idx="51176">
                  <c:v>0.91271624754770797</c:v>
                </c:pt>
                <c:pt idx="51177">
                  <c:v>0.91273408239700304</c:v>
                </c:pt>
                <c:pt idx="51178">
                  <c:v>0.912751917246299</c:v>
                </c:pt>
                <c:pt idx="51179">
                  <c:v>0.91276975209559397</c:v>
                </c:pt>
                <c:pt idx="51180">
                  <c:v>0.91278758694489004</c:v>
                </c:pt>
                <c:pt idx="51181">
                  <c:v>0.912805421794185</c:v>
                </c:pt>
                <c:pt idx="51182">
                  <c:v>0.91282325664348096</c:v>
                </c:pt>
                <c:pt idx="51183">
                  <c:v>0.91284109149277604</c:v>
                </c:pt>
                <c:pt idx="51184">
                  <c:v>0.912858926342072</c:v>
                </c:pt>
                <c:pt idx="51185">
                  <c:v>0.91287676119136796</c:v>
                </c:pt>
                <c:pt idx="51186">
                  <c:v>0.91289459604066303</c:v>
                </c:pt>
                <c:pt idx="51187">
                  <c:v>0.91291243088995899</c:v>
                </c:pt>
                <c:pt idx="51188">
                  <c:v>0.91293026573925395</c:v>
                </c:pt>
                <c:pt idx="51189">
                  <c:v>0.91294810058855003</c:v>
                </c:pt>
                <c:pt idx="51190">
                  <c:v>0.91296593543784499</c:v>
                </c:pt>
                <c:pt idx="51191">
                  <c:v>0.91298377028714095</c:v>
                </c:pt>
                <c:pt idx="51192">
                  <c:v>0.91300160513643602</c:v>
                </c:pt>
                <c:pt idx="51193">
                  <c:v>0.91301943998573198</c:v>
                </c:pt>
                <c:pt idx="51194">
                  <c:v>0.91303727483502695</c:v>
                </c:pt>
                <c:pt idx="51195">
                  <c:v>0.91305510968432302</c:v>
                </c:pt>
                <c:pt idx="51196">
                  <c:v>0.91307294453361798</c:v>
                </c:pt>
                <c:pt idx="51197">
                  <c:v>0.91309077938291405</c:v>
                </c:pt>
                <c:pt idx="51198">
                  <c:v>0.91310861423220901</c:v>
                </c:pt>
                <c:pt idx="51199">
                  <c:v>0.91312644908150498</c:v>
                </c:pt>
                <c:pt idx="51200">
                  <c:v>0.91314428393080005</c:v>
                </c:pt>
                <c:pt idx="51201">
                  <c:v>0.91316211878009601</c:v>
                </c:pt>
                <c:pt idx="51202">
                  <c:v>0.91317995362939097</c:v>
                </c:pt>
                <c:pt idx="51203">
                  <c:v>0.91319778847868704</c:v>
                </c:pt>
                <c:pt idx="51204">
                  <c:v>0.91321562332798201</c:v>
                </c:pt>
                <c:pt idx="51205">
                  <c:v>0.91323345817727797</c:v>
                </c:pt>
                <c:pt idx="51206">
                  <c:v>0.91325129302657304</c:v>
                </c:pt>
                <c:pt idx="51207">
                  <c:v>0.913269127875869</c:v>
                </c:pt>
                <c:pt idx="51208">
                  <c:v>0.91328696272516496</c:v>
                </c:pt>
                <c:pt idx="51209">
                  <c:v>0.91330479757446004</c:v>
                </c:pt>
                <c:pt idx="51210">
                  <c:v>0.913322632423756</c:v>
                </c:pt>
                <c:pt idx="51211">
                  <c:v>0.91334046727305096</c:v>
                </c:pt>
                <c:pt idx="51212">
                  <c:v>0.91335830212234703</c:v>
                </c:pt>
                <c:pt idx="51213">
                  <c:v>0.91337613697164199</c:v>
                </c:pt>
                <c:pt idx="51214">
                  <c:v>0.91339397182093796</c:v>
                </c:pt>
                <c:pt idx="51215">
                  <c:v>0.91341180667023303</c:v>
                </c:pt>
                <c:pt idx="51216">
                  <c:v>0.91342964151952899</c:v>
                </c:pt>
                <c:pt idx="51217">
                  <c:v>0.91344747636882395</c:v>
                </c:pt>
                <c:pt idx="51218">
                  <c:v>0.91346531121812002</c:v>
                </c:pt>
                <c:pt idx="51219">
                  <c:v>0.91348314606741499</c:v>
                </c:pt>
                <c:pt idx="51220">
                  <c:v>0.91350098091671095</c:v>
                </c:pt>
                <c:pt idx="51221">
                  <c:v>0.91351881576600602</c:v>
                </c:pt>
                <c:pt idx="51222">
                  <c:v>0.91353665061530198</c:v>
                </c:pt>
                <c:pt idx="51223">
                  <c:v>0.91355448546459705</c:v>
                </c:pt>
                <c:pt idx="51224">
                  <c:v>0.91357232031389302</c:v>
                </c:pt>
                <c:pt idx="51225">
                  <c:v>0.91359015516318798</c:v>
                </c:pt>
                <c:pt idx="51226">
                  <c:v>0.91360799001248405</c:v>
                </c:pt>
                <c:pt idx="51227">
                  <c:v>0.91362582486177901</c:v>
                </c:pt>
                <c:pt idx="51228">
                  <c:v>0.91364365971107497</c:v>
                </c:pt>
                <c:pt idx="51229">
                  <c:v>0.91366149456037005</c:v>
                </c:pt>
                <c:pt idx="51230">
                  <c:v>0.91367932940966601</c:v>
                </c:pt>
                <c:pt idx="51231">
                  <c:v>0.91369716425896197</c:v>
                </c:pt>
                <c:pt idx="51232">
                  <c:v>0.91371499910825704</c:v>
                </c:pt>
                <c:pt idx="51233">
                  <c:v>0.913732833957553</c:v>
                </c:pt>
                <c:pt idx="51234">
                  <c:v>0.91375066880684797</c:v>
                </c:pt>
                <c:pt idx="51235">
                  <c:v>0.91376850365614404</c:v>
                </c:pt>
                <c:pt idx="51236">
                  <c:v>0.913786338505439</c:v>
                </c:pt>
                <c:pt idx="51237">
                  <c:v>0.91380417335473496</c:v>
                </c:pt>
                <c:pt idx="51238">
                  <c:v>0.91382200820403003</c:v>
                </c:pt>
                <c:pt idx="51239">
                  <c:v>0.913839843053326</c:v>
                </c:pt>
                <c:pt idx="51240">
                  <c:v>0.91385767790262096</c:v>
                </c:pt>
                <c:pt idx="51241">
                  <c:v>0.91387551275191703</c:v>
                </c:pt>
                <c:pt idx="51242">
                  <c:v>0.91389334760121199</c:v>
                </c:pt>
                <c:pt idx="51243">
                  <c:v>0.91391118245050795</c:v>
                </c:pt>
                <c:pt idx="51244">
                  <c:v>0.91392901729980303</c:v>
                </c:pt>
                <c:pt idx="51245">
                  <c:v>0.91394685214909899</c:v>
                </c:pt>
                <c:pt idx="51246">
                  <c:v>0.91396468699839395</c:v>
                </c:pt>
                <c:pt idx="51247">
                  <c:v>0.91398252184769002</c:v>
                </c:pt>
                <c:pt idx="51248">
                  <c:v>0.91400035669698498</c:v>
                </c:pt>
                <c:pt idx="51249">
                  <c:v>0.91401819154628094</c:v>
                </c:pt>
                <c:pt idx="51250">
                  <c:v>0.91403602639557602</c:v>
                </c:pt>
                <c:pt idx="51251">
                  <c:v>0.91405386124487198</c:v>
                </c:pt>
                <c:pt idx="51252">
                  <c:v>0.91407169609416805</c:v>
                </c:pt>
                <c:pt idx="51253">
                  <c:v>0.91408953094346301</c:v>
                </c:pt>
                <c:pt idx="51254">
                  <c:v>0.91410736579275897</c:v>
                </c:pt>
                <c:pt idx="51255">
                  <c:v>0.91412520064205405</c:v>
                </c:pt>
                <c:pt idx="51256">
                  <c:v>0.91414303549135001</c:v>
                </c:pt>
                <c:pt idx="51257">
                  <c:v>0.91416087034064497</c:v>
                </c:pt>
                <c:pt idx="51258">
                  <c:v>0.91417870518994104</c:v>
                </c:pt>
                <c:pt idx="51259">
                  <c:v>0.91419654003923601</c:v>
                </c:pt>
                <c:pt idx="51260">
                  <c:v>0.91421437488853197</c:v>
                </c:pt>
                <c:pt idx="51261">
                  <c:v>0.91423220973782704</c:v>
                </c:pt>
                <c:pt idx="51262">
                  <c:v>0.914250044587123</c:v>
                </c:pt>
                <c:pt idx="51263">
                  <c:v>0.91426787943641796</c:v>
                </c:pt>
                <c:pt idx="51264">
                  <c:v>0.91428571428571404</c:v>
                </c:pt>
                <c:pt idx="51265">
                  <c:v>0.914303549135009</c:v>
                </c:pt>
                <c:pt idx="51266">
                  <c:v>0.91432138398430496</c:v>
                </c:pt>
                <c:pt idx="51267">
                  <c:v>0.91433921883360003</c:v>
                </c:pt>
                <c:pt idx="51268">
                  <c:v>0.91435705368289599</c:v>
                </c:pt>
                <c:pt idx="51269">
                  <c:v>0.91437488853219195</c:v>
                </c:pt>
                <c:pt idx="51270">
                  <c:v>0.91439272338148703</c:v>
                </c:pt>
                <c:pt idx="51271">
                  <c:v>0.91441055823078299</c:v>
                </c:pt>
                <c:pt idx="51272">
                  <c:v>0.91442839308007795</c:v>
                </c:pt>
                <c:pt idx="51273">
                  <c:v>0.91444622792937402</c:v>
                </c:pt>
                <c:pt idx="51274">
                  <c:v>0.91446406277866898</c:v>
                </c:pt>
                <c:pt idx="51275">
                  <c:v>0.91448189762796495</c:v>
                </c:pt>
                <c:pt idx="51276">
                  <c:v>0.91449973247726002</c:v>
                </c:pt>
                <c:pt idx="51277">
                  <c:v>0.91451756732655598</c:v>
                </c:pt>
                <c:pt idx="51278">
                  <c:v>0.91453540217585105</c:v>
                </c:pt>
                <c:pt idx="51279">
                  <c:v>0.91455323702514701</c:v>
                </c:pt>
                <c:pt idx="51280">
                  <c:v>0.91457107187444198</c:v>
                </c:pt>
                <c:pt idx="51281">
                  <c:v>0.91458890672373805</c:v>
                </c:pt>
                <c:pt idx="51282">
                  <c:v>0.91460674157303301</c:v>
                </c:pt>
                <c:pt idx="51283">
                  <c:v>0.91462457642232897</c:v>
                </c:pt>
                <c:pt idx="51284">
                  <c:v>0.91464241127162405</c:v>
                </c:pt>
                <c:pt idx="51285">
                  <c:v>0.91466024612092001</c:v>
                </c:pt>
                <c:pt idx="51286">
                  <c:v>0.91467808097021497</c:v>
                </c:pt>
                <c:pt idx="51287">
                  <c:v>0.91469591581951104</c:v>
                </c:pt>
                <c:pt idx="51288">
                  <c:v>0.914713750668806</c:v>
                </c:pt>
                <c:pt idx="51289">
                  <c:v>0.91473158551810196</c:v>
                </c:pt>
                <c:pt idx="51290">
                  <c:v>0.91474942036739704</c:v>
                </c:pt>
                <c:pt idx="51291">
                  <c:v>0.914767255216693</c:v>
                </c:pt>
                <c:pt idx="51292">
                  <c:v>0.91478509006598896</c:v>
                </c:pt>
                <c:pt idx="51293">
                  <c:v>0.91480292491528403</c:v>
                </c:pt>
                <c:pt idx="51294">
                  <c:v>0.91482075976457999</c:v>
                </c:pt>
                <c:pt idx="51295">
                  <c:v>0.91483859461387496</c:v>
                </c:pt>
                <c:pt idx="51296">
                  <c:v>0.91485642946317103</c:v>
                </c:pt>
                <c:pt idx="51297">
                  <c:v>0.91487426431246599</c:v>
                </c:pt>
                <c:pt idx="51298">
                  <c:v>0.91489209916176195</c:v>
                </c:pt>
                <c:pt idx="51299">
                  <c:v>0.91490993401105702</c:v>
                </c:pt>
                <c:pt idx="51300">
                  <c:v>0.91492776886035299</c:v>
                </c:pt>
                <c:pt idx="51301">
                  <c:v>0.91494560370964795</c:v>
                </c:pt>
                <c:pt idx="51302">
                  <c:v>0.91496343855894402</c:v>
                </c:pt>
                <c:pt idx="51303">
                  <c:v>0.91498127340823898</c:v>
                </c:pt>
                <c:pt idx="51304">
                  <c:v>0.91499910825753505</c:v>
                </c:pt>
                <c:pt idx="51305">
                  <c:v>0.91501694310683002</c:v>
                </c:pt>
                <c:pt idx="51306">
                  <c:v>0.91503477795612598</c:v>
                </c:pt>
                <c:pt idx="51307">
                  <c:v>0.91505261280542105</c:v>
                </c:pt>
                <c:pt idx="51308">
                  <c:v>0.91507044765471701</c:v>
                </c:pt>
                <c:pt idx="51309">
                  <c:v>0.91508828250401197</c:v>
                </c:pt>
                <c:pt idx="51310">
                  <c:v>0.91510611735330805</c:v>
                </c:pt>
                <c:pt idx="51311">
                  <c:v>0.91512395220260301</c:v>
                </c:pt>
                <c:pt idx="51312">
                  <c:v>0.91514178705189897</c:v>
                </c:pt>
                <c:pt idx="51313">
                  <c:v>0.91515962190119404</c:v>
                </c:pt>
                <c:pt idx="51314">
                  <c:v>0.91517745675049</c:v>
                </c:pt>
                <c:pt idx="51315">
                  <c:v>0.91519529159978596</c:v>
                </c:pt>
                <c:pt idx="51316">
                  <c:v>0.91521312644908104</c:v>
                </c:pt>
                <c:pt idx="51317">
                  <c:v>0.915230961298377</c:v>
                </c:pt>
                <c:pt idx="51318">
                  <c:v>0.91524879614767196</c:v>
                </c:pt>
                <c:pt idx="51319">
                  <c:v>0.91526663099696803</c:v>
                </c:pt>
                <c:pt idx="51320">
                  <c:v>0.915284465846263</c:v>
                </c:pt>
                <c:pt idx="51321">
                  <c:v>0.91530230069555896</c:v>
                </c:pt>
                <c:pt idx="51322">
                  <c:v>0.91532013554485403</c:v>
                </c:pt>
                <c:pt idx="51323">
                  <c:v>0.91533797039414999</c:v>
                </c:pt>
                <c:pt idx="51324">
                  <c:v>0.91535580524344495</c:v>
                </c:pt>
                <c:pt idx="51325">
                  <c:v>0.91537364009274103</c:v>
                </c:pt>
                <c:pt idx="51326">
                  <c:v>0.91539147494203599</c:v>
                </c:pt>
                <c:pt idx="51327">
                  <c:v>0.91540930979133195</c:v>
                </c:pt>
                <c:pt idx="51328">
                  <c:v>0.91542714464062702</c:v>
                </c:pt>
                <c:pt idx="51329">
                  <c:v>0.91544497948992298</c:v>
                </c:pt>
                <c:pt idx="51330">
                  <c:v>0.91546281433921795</c:v>
                </c:pt>
                <c:pt idx="51331">
                  <c:v>0.91548064918851402</c:v>
                </c:pt>
                <c:pt idx="51332">
                  <c:v>0.91549848403780898</c:v>
                </c:pt>
                <c:pt idx="51333">
                  <c:v>0.91551631888710505</c:v>
                </c:pt>
                <c:pt idx="51334">
                  <c:v>0.91553415373640001</c:v>
                </c:pt>
                <c:pt idx="51335">
                  <c:v>0.91555198858569597</c:v>
                </c:pt>
                <c:pt idx="51336">
                  <c:v>0.91556982343499105</c:v>
                </c:pt>
                <c:pt idx="51337">
                  <c:v>0.91558765828428701</c:v>
                </c:pt>
                <c:pt idx="51338">
                  <c:v>0.91560549313358297</c:v>
                </c:pt>
                <c:pt idx="51339">
                  <c:v>0.91562332798287804</c:v>
                </c:pt>
                <c:pt idx="51340">
                  <c:v>0.915641162832174</c:v>
                </c:pt>
                <c:pt idx="51341">
                  <c:v>0.91565899768146897</c:v>
                </c:pt>
                <c:pt idx="51342">
                  <c:v>0.91567683253076504</c:v>
                </c:pt>
                <c:pt idx="51343">
                  <c:v>0.91569466738006</c:v>
                </c:pt>
                <c:pt idx="51344">
                  <c:v>0.91571250222935596</c:v>
                </c:pt>
                <c:pt idx="51345">
                  <c:v>0.91573033707865104</c:v>
                </c:pt>
                <c:pt idx="51346">
                  <c:v>0.915748171927947</c:v>
                </c:pt>
                <c:pt idx="51347">
                  <c:v>0.91576600677724196</c:v>
                </c:pt>
                <c:pt idx="51348">
                  <c:v>0.91578384162653803</c:v>
                </c:pt>
                <c:pt idx="51349">
                  <c:v>0.91580167647583299</c:v>
                </c:pt>
                <c:pt idx="51350">
                  <c:v>0.91581951132512895</c:v>
                </c:pt>
                <c:pt idx="51351">
                  <c:v>0.91583734617442403</c:v>
                </c:pt>
                <c:pt idx="51352">
                  <c:v>0.91585518102371999</c:v>
                </c:pt>
                <c:pt idx="51353">
                  <c:v>0.91587301587301495</c:v>
                </c:pt>
                <c:pt idx="51354">
                  <c:v>0.91589085072231102</c:v>
                </c:pt>
                <c:pt idx="51355">
                  <c:v>0.91590868557160598</c:v>
                </c:pt>
                <c:pt idx="51356">
                  <c:v>0.91592652042090195</c:v>
                </c:pt>
                <c:pt idx="51357">
                  <c:v>0.91594435527019802</c:v>
                </c:pt>
                <c:pt idx="51358">
                  <c:v>0.91596219011949298</c:v>
                </c:pt>
                <c:pt idx="51359">
                  <c:v>0.91598002496878905</c:v>
                </c:pt>
                <c:pt idx="51360">
                  <c:v>0.91599785981808401</c:v>
                </c:pt>
                <c:pt idx="51361">
                  <c:v>0.91601569466737998</c:v>
                </c:pt>
                <c:pt idx="51362">
                  <c:v>0.91603352951667505</c:v>
                </c:pt>
                <c:pt idx="51363">
                  <c:v>0.91605136436597101</c:v>
                </c:pt>
                <c:pt idx="51364">
                  <c:v>0.91606919921526597</c:v>
                </c:pt>
                <c:pt idx="51365">
                  <c:v>0.91608703406456204</c:v>
                </c:pt>
                <c:pt idx="51366">
                  <c:v>0.91610486891385701</c:v>
                </c:pt>
                <c:pt idx="51367">
                  <c:v>0.91612270376315297</c:v>
                </c:pt>
                <c:pt idx="51368">
                  <c:v>0.91614053861244804</c:v>
                </c:pt>
                <c:pt idx="51369">
                  <c:v>0.916158373461744</c:v>
                </c:pt>
                <c:pt idx="51370">
                  <c:v>0.91617620831103896</c:v>
                </c:pt>
                <c:pt idx="51371">
                  <c:v>0.91619404316033504</c:v>
                </c:pt>
                <c:pt idx="51372">
                  <c:v>0.91621187800963</c:v>
                </c:pt>
                <c:pt idx="51373">
                  <c:v>0.91622971285892596</c:v>
                </c:pt>
                <c:pt idx="51374">
                  <c:v>0.91624754770822103</c:v>
                </c:pt>
                <c:pt idx="51375">
                  <c:v>0.91626538255751699</c:v>
                </c:pt>
                <c:pt idx="51376">
                  <c:v>0.91628321740681296</c:v>
                </c:pt>
                <c:pt idx="51377">
                  <c:v>0.91630105225610803</c:v>
                </c:pt>
                <c:pt idx="51378">
                  <c:v>0.91631888710540399</c:v>
                </c:pt>
                <c:pt idx="51379">
                  <c:v>0.91633672195469895</c:v>
                </c:pt>
                <c:pt idx="51380">
                  <c:v>0.91635455680399502</c:v>
                </c:pt>
                <c:pt idx="51381">
                  <c:v>0.91637239165328999</c:v>
                </c:pt>
                <c:pt idx="51382">
                  <c:v>0.91639022650258595</c:v>
                </c:pt>
                <c:pt idx="51383">
                  <c:v>0.91640806135188102</c:v>
                </c:pt>
                <c:pt idx="51384">
                  <c:v>0.91642589620117698</c:v>
                </c:pt>
                <c:pt idx="51385">
                  <c:v>0.91644373105047205</c:v>
                </c:pt>
                <c:pt idx="51386">
                  <c:v>0.91646156589976802</c:v>
                </c:pt>
                <c:pt idx="51387">
                  <c:v>0.91647940074906298</c:v>
                </c:pt>
                <c:pt idx="51388">
                  <c:v>0.91649723559835905</c:v>
                </c:pt>
                <c:pt idx="51389">
                  <c:v>0.91651507044765401</c:v>
                </c:pt>
                <c:pt idx="51390">
                  <c:v>0.91653290529694997</c:v>
                </c:pt>
                <c:pt idx="51391">
                  <c:v>0.91655074014624505</c:v>
                </c:pt>
                <c:pt idx="51392">
                  <c:v>0.91656857499554101</c:v>
                </c:pt>
                <c:pt idx="51393">
                  <c:v>0.91658640984483597</c:v>
                </c:pt>
                <c:pt idx="51394">
                  <c:v>0.91660424469413204</c:v>
                </c:pt>
                <c:pt idx="51395">
                  <c:v>0.916622079543427</c:v>
                </c:pt>
                <c:pt idx="51396">
                  <c:v>0.91663991439272297</c:v>
                </c:pt>
                <c:pt idx="51397">
                  <c:v>0.91665774924201804</c:v>
                </c:pt>
                <c:pt idx="51398">
                  <c:v>0.916675584091314</c:v>
                </c:pt>
                <c:pt idx="51399">
                  <c:v>0.91669341894060996</c:v>
                </c:pt>
                <c:pt idx="51400">
                  <c:v>0.91671125378990503</c:v>
                </c:pt>
                <c:pt idx="51401">
                  <c:v>0.916729088639201</c:v>
                </c:pt>
                <c:pt idx="51402">
                  <c:v>0.91674692348849596</c:v>
                </c:pt>
                <c:pt idx="51403">
                  <c:v>0.91676475833779203</c:v>
                </c:pt>
                <c:pt idx="51404">
                  <c:v>0.91678259318708699</c:v>
                </c:pt>
                <c:pt idx="51405">
                  <c:v>0.91680042803638295</c:v>
                </c:pt>
                <c:pt idx="51406">
                  <c:v>0.91681826288567803</c:v>
                </c:pt>
                <c:pt idx="51407">
                  <c:v>0.91683609773497399</c:v>
                </c:pt>
                <c:pt idx="51408">
                  <c:v>0.91685393258426895</c:v>
                </c:pt>
                <c:pt idx="51409">
                  <c:v>0.91687176743356502</c:v>
                </c:pt>
                <c:pt idx="51410">
                  <c:v>0.91688960228285998</c:v>
                </c:pt>
                <c:pt idx="51411">
                  <c:v>0.91690743713215594</c:v>
                </c:pt>
                <c:pt idx="51412">
                  <c:v>0.91692527198145102</c:v>
                </c:pt>
                <c:pt idx="51413">
                  <c:v>0.91694310683074698</c:v>
                </c:pt>
                <c:pt idx="51414">
                  <c:v>0.91696094168004205</c:v>
                </c:pt>
                <c:pt idx="51415">
                  <c:v>0.91697877652933801</c:v>
                </c:pt>
                <c:pt idx="51416">
                  <c:v>0.91699661137863298</c:v>
                </c:pt>
                <c:pt idx="51417">
                  <c:v>0.91701444622792905</c:v>
                </c:pt>
                <c:pt idx="51418">
                  <c:v>0.91703228107722401</c:v>
                </c:pt>
                <c:pt idx="51419">
                  <c:v>0.91705011592651997</c:v>
                </c:pt>
                <c:pt idx="51420">
                  <c:v>0.91706795077581504</c:v>
                </c:pt>
                <c:pt idx="51421">
                  <c:v>0.91708578562511101</c:v>
                </c:pt>
                <c:pt idx="51422">
                  <c:v>0.91710362047440697</c:v>
                </c:pt>
                <c:pt idx="51423">
                  <c:v>0.91712145532370204</c:v>
                </c:pt>
                <c:pt idx="51424">
                  <c:v>0.917139290172998</c:v>
                </c:pt>
                <c:pt idx="51425">
                  <c:v>0.91715712502229296</c:v>
                </c:pt>
                <c:pt idx="51426">
                  <c:v>0.91717495987158904</c:v>
                </c:pt>
                <c:pt idx="51427">
                  <c:v>0.917192794720884</c:v>
                </c:pt>
                <c:pt idx="51428">
                  <c:v>0.91721062957017996</c:v>
                </c:pt>
                <c:pt idx="51429">
                  <c:v>0.91722846441947503</c:v>
                </c:pt>
                <c:pt idx="51430">
                  <c:v>0.91724629926877099</c:v>
                </c:pt>
                <c:pt idx="51431">
                  <c:v>0.91726413411806595</c:v>
                </c:pt>
                <c:pt idx="51432">
                  <c:v>0.91728196896736203</c:v>
                </c:pt>
                <c:pt idx="51433">
                  <c:v>0.91729980381665699</c:v>
                </c:pt>
                <c:pt idx="51434">
                  <c:v>0.91731763866595295</c:v>
                </c:pt>
                <c:pt idx="51435">
                  <c:v>0.91733547351524802</c:v>
                </c:pt>
                <c:pt idx="51436">
                  <c:v>0.91735330836454398</c:v>
                </c:pt>
                <c:pt idx="51437">
                  <c:v>0.91737114321383895</c:v>
                </c:pt>
                <c:pt idx="51438">
                  <c:v>0.91738897806313502</c:v>
                </c:pt>
                <c:pt idx="51439">
                  <c:v>0.91740681291242998</c:v>
                </c:pt>
                <c:pt idx="51440">
                  <c:v>0.91742464776172605</c:v>
                </c:pt>
                <c:pt idx="51441">
                  <c:v>0.91744248261102102</c:v>
                </c:pt>
                <c:pt idx="51442">
                  <c:v>0.91746031746031698</c:v>
                </c:pt>
                <c:pt idx="51443">
                  <c:v>0.91747815230961205</c:v>
                </c:pt>
                <c:pt idx="51444">
                  <c:v>0.91749598715890801</c:v>
                </c:pt>
                <c:pt idx="51445">
                  <c:v>0.91751382200820397</c:v>
                </c:pt>
                <c:pt idx="51446">
                  <c:v>0.91753165685749905</c:v>
                </c:pt>
                <c:pt idx="51447">
                  <c:v>0.91754949170679501</c:v>
                </c:pt>
                <c:pt idx="51448">
                  <c:v>0.91756732655608997</c:v>
                </c:pt>
                <c:pt idx="51449">
                  <c:v>0.91758516140538604</c:v>
                </c:pt>
                <c:pt idx="51450">
                  <c:v>0.917602996254681</c:v>
                </c:pt>
                <c:pt idx="51451">
                  <c:v>0.91762083110397696</c:v>
                </c:pt>
                <c:pt idx="51452">
                  <c:v>0.91763866595327204</c:v>
                </c:pt>
                <c:pt idx="51453">
                  <c:v>0.917656500802568</c:v>
                </c:pt>
                <c:pt idx="51454">
                  <c:v>0.91767433565186296</c:v>
                </c:pt>
                <c:pt idx="51455">
                  <c:v>0.91769217050115903</c:v>
                </c:pt>
                <c:pt idx="51456">
                  <c:v>0.91771000535045399</c:v>
                </c:pt>
                <c:pt idx="51457">
                  <c:v>0.91772784019974996</c:v>
                </c:pt>
                <c:pt idx="51458">
                  <c:v>0.91774567504904503</c:v>
                </c:pt>
                <c:pt idx="51459">
                  <c:v>0.91776350989834099</c:v>
                </c:pt>
                <c:pt idx="51460">
                  <c:v>0.91778134474763595</c:v>
                </c:pt>
                <c:pt idx="51461">
                  <c:v>0.91779917959693202</c:v>
                </c:pt>
                <c:pt idx="51462">
                  <c:v>0.91781701444622699</c:v>
                </c:pt>
                <c:pt idx="51463">
                  <c:v>0.91783484929552295</c:v>
                </c:pt>
                <c:pt idx="51464">
                  <c:v>0.91785268414481902</c:v>
                </c:pt>
                <c:pt idx="51465">
                  <c:v>0.91787051899411398</c:v>
                </c:pt>
                <c:pt idx="51466">
                  <c:v>0.91788835384341005</c:v>
                </c:pt>
                <c:pt idx="51467">
                  <c:v>0.91790618869270502</c:v>
                </c:pt>
                <c:pt idx="51468">
                  <c:v>0.91792402354200098</c:v>
                </c:pt>
                <c:pt idx="51469">
                  <c:v>0.91794185839129605</c:v>
                </c:pt>
                <c:pt idx="51470">
                  <c:v>0.91795969324059201</c:v>
                </c:pt>
                <c:pt idx="51471">
                  <c:v>0.91797752808988697</c:v>
                </c:pt>
                <c:pt idx="51472">
                  <c:v>0.91799536293918305</c:v>
                </c:pt>
                <c:pt idx="51473">
                  <c:v>0.91801319778847801</c:v>
                </c:pt>
                <c:pt idx="51474">
                  <c:v>0.91803103263777397</c:v>
                </c:pt>
                <c:pt idx="51475">
                  <c:v>0.91804886748706904</c:v>
                </c:pt>
                <c:pt idx="51476">
                  <c:v>0.918066702336365</c:v>
                </c:pt>
                <c:pt idx="51477">
                  <c:v>0.91808453718565997</c:v>
                </c:pt>
                <c:pt idx="51478">
                  <c:v>0.91810237203495604</c:v>
                </c:pt>
                <c:pt idx="51479">
                  <c:v>0.918120206884251</c:v>
                </c:pt>
                <c:pt idx="51480">
                  <c:v>0.91813804173354696</c:v>
                </c:pt>
                <c:pt idx="51481">
                  <c:v>0.91815587658284203</c:v>
                </c:pt>
                <c:pt idx="51482">
                  <c:v>0.918173711432138</c:v>
                </c:pt>
                <c:pt idx="51483">
                  <c:v>0.91819154628143396</c:v>
                </c:pt>
                <c:pt idx="51484">
                  <c:v>0.91820938113072903</c:v>
                </c:pt>
                <c:pt idx="51485">
                  <c:v>0.91822721598002499</c:v>
                </c:pt>
                <c:pt idx="51486">
                  <c:v>0.91824505082931995</c:v>
                </c:pt>
                <c:pt idx="51487">
                  <c:v>0.91826288567861603</c:v>
                </c:pt>
                <c:pt idx="51488">
                  <c:v>0.91828072052791099</c:v>
                </c:pt>
                <c:pt idx="51489">
                  <c:v>0.91829855537720695</c:v>
                </c:pt>
                <c:pt idx="51490">
                  <c:v>0.91831639022650202</c:v>
                </c:pt>
                <c:pt idx="51491">
                  <c:v>0.91833422507579798</c:v>
                </c:pt>
                <c:pt idx="51492">
                  <c:v>0.91835205992509295</c:v>
                </c:pt>
                <c:pt idx="51493">
                  <c:v>0.91836989477438902</c:v>
                </c:pt>
                <c:pt idx="51494">
                  <c:v>0.91838772962368398</c:v>
                </c:pt>
                <c:pt idx="51495">
                  <c:v>0.91840556447298005</c:v>
                </c:pt>
                <c:pt idx="51496">
                  <c:v>0.91842339932227501</c:v>
                </c:pt>
                <c:pt idx="51497">
                  <c:v>0.91844123417157097</c:v>
                </c:pt>
                <c:pt idx="51498">
                  <c:v>0.91845906902086605</c:v>
                </c:pt>
                <c:pt idx="51499">
                  <c:v>0.91847690387016201</c:v>
                </c:pt>
                <c:pt idx="51500">
                  <c:v>0.91849473871945697</c:v>
                </c:pt>
                <c:pt idx="51501">
                  <c:v>0.91851257356875304</c:v>
                </c:pt>
                <c:pt idx="51502">
                  <c:v>0.91853040841804801</c:v>
                </c:pt>
                <c:pt idx="51503">
                  <c:v>0.91854824326734397</c:v>
                </c:pt>
                <c:pt idx="51504">
                  <c:v>0.91856607811663904</c:v>
                </c:pt>
                <c:pt idx="51505">
                  <c:v>0.918583912965935</c:v>
                </c:pt>
                <c:pt idx="51506">
                  <c:v>0.91860174781523096</c:v>
                </c:pt>
                <c:pt idx="51507">
                  <c:v>0.91861958266452604</c:v>
                </c:pt>
                <c:pt idx="51508">
                  <c:v>0.918637417513822</c:v>
                </c:pt>
                <c:pt idx="51509">
                  <c:v>0.91865525236311696</c:v>
                </c:pt>
                <c:pt idx="51510">
                  <c:v>0.91867308721241303</c:v>
                </c:pt>
                <c:pt idx="51511">
                  <c:v>0.91869092206170799</c:v>
                </c:pt>
                <c:pt idx="51512">
                  <c:v>0.91870875691100395</c:v>
                </c:pt>
                <c:pt idx="51513">
                  <c:v>0.91872659176029903</c:v>
                </c:pt>
                <c:pt idx="51514">
                  <c:v>0.91874442660959499</c:v>
                </c:pt>
                <c:pt idx="51515">
                  <c:v>0.91876226145888995</c:v>
                </c:pt>
                <c:pt idx="51516">
                  <c:v>0.91878009630818602</c:v>
                </c:pt>
                <c:pt idx="51517">
                  <c:v>0.91879793115748098</c:v>
                </c:pt>
                <c:pt idx="51518">
                  <c:v>0.91881576600677695</c:v>
                </c:pt>
                <c:pt idx="51519">
                  <c:v>0.91883360085607202</c:v>
                </c:pt>
                <c:pt idx="51520">
                  <c:v>0.91885143570536798</c:v>
                </c:pt>
                <c:pt idx="51521">
                  <c:v>0.91886927055466305</c:v>
                </c:pt>
                <c:pt idx="51522">
                  <c:v>0.91888710540395901</c:v>
                </c:pt>
                <c:pt idx="51523">
                  <c:v>0.91890494025325398</c:v>
                </c:pt>
                <c:pt idx="51524">
                  <c:v>0.91892277510255005</c:v>
                </c:pt>
                <c:pt idx="51525">
                  <c:v>0.91894060995184501</c:v>
                </c:pt>
                <c:pt idx="51526">
                  <c:v>0.91895844480114097</c:v>
                </c:pt>
                <c:pt idx="51527">
                  <c:v>0.91897627965043605</c:v>
                </c:pt>
                <c:pt idx="51528">
                  <c:v>0.91899411449973201</c:v>
                </c:pt>
                <c:pt idx="51529">
                  <c:v>0.91901194934902797</c:v>
                </c:pt>
                <c:pt idx="51530">
                  <c:v>0.91902978419832304</c:v>
                </c:pt>
                <c:pt idx="51531">
                  <c:v>0.919047619047619</c:v>
                </c:pt>
                <c:pt idx="51532">
                  <c:v>0.91906545389691396</c:v>
                </c:pt>
                <c:pt idx="51533">
                  <c:v>0.91908328874621004</c:v>
                </c:pt>
                <c:pt idx="51534">
                  <c:v>0.919101123595505</c:v>
                </c:pt>
                <c:pt idx="51535">
                  <c:v>0.91911895844480096</c:v>
                </c:pt>
                <c:pt idx="51536">
                  <c:v>0.91913679329409603</c:v>
                </c:pt>
                <c:pt idx="51537">
                  <c:v>0.91915462814339199</c:v>
                </c:pt>
                <c:pt idx="51538">
                  <c:v>0.91917246299268696</c:v>
                </c:pt>
                <c:pt idx="51539">
                  <c:v>0.91919029784198303</c:v>
                </c:pt>
                <c:pt idx="51540">
                  <c:v>0.91920813269127799</c:v>
                </c:pt>
                <c:pt idx="51541">
                  <c:v>0.91922596754057395</c:v>
                </c:pt>
                <c:pt idx="51542">
                  <c:v>0.91924380238986902</c:v>
                </c:pt>
                <c:pt idx="51543">
                  <c:v>0.91926163723916499</c:v>
                </c:pt>
                <c:pt idx="51544">
                  <c:v>0.91927947208845995</c:v>
                </c:pt>
                <c:pt idx="51545">
                  <c:v>0.91929730693775602</c:v>
                </c:pt>
                <c:pt idx="51546">
                  <c:v>0.91931514178705098</c:v>
                </c:pt>
                <c:pt idx="51547">
                  <c:v>0.91933297663634705</c:v>
                </c:pt>
                <c:pt idx="51548">
                  <c:v>0.91935081148564202</c:v>
                </c:pt>
                <c:pt idx="51549">
                  <c:v>0.91936864633493798</c:v>
                </c:pt>
                <c:pt idx="51550">
                  <c:v>0.91938648118423305</c:v>
                </c:pt>
                <c:pt idx="51551">
                  <c:v>0.91940431603352901</c:v>
                </c:pt>
                <c:pt idx="51552">
                  <c:v>0.91942215088282497</c:v>
                </c:pt>
                <c:pt idx="51553">
                  <c:v>0.91943998573212005</c:v>
                </c:pt>
                <c:pt idx="51554">
                  <c:v>0.91945782058141601</c:v>
                </c:pt>
                <c:pt idx="51555">
                  <c:v>0.91947565543071097</c:v>
                </c:pt>
                <c:pt idx="51556">
                  <c:v>0.91949349028000704</c:v>
                </c:pt>
                <c:pt idx="51557">
                  <c:v>0.919511325129302</c:v>
                </c:pt>
                <c:pt idx="51558">
                  <c:v>0.91952915997859797</c:v>
                </c:pt>
                <c:pt idx="51559">
                  <c:v>0.91954699482789304</c:v>
                </c:pt>
                <c:pt idx="51560">
                  <c:v>0.919564829677189</c:v>
                </c:pt>
                <c:pt idx="51561">
                  <c:v>0.91958266452648396</c:v>
                </c:pt>
                <c:pt idx="51562">
                  <c:v>0.91960049937578003</c:v>
                </c:pt>
                <c:pt idx="51563">
                  <c:v>0.919618334225075</c:v>
                </c:pt>
                <c:pt idx="51564">
                  <c:v>0.91963616907437096</c:v>
                </c:pt>
                <c:pt idx="51565">
                  <c:v>0.91965400392366603</c:v>
                </c:pt>
                <c:pt idx="51566">
                  <c:v>0.91967183877296199</c:v>
                </c:pt>
                <c:pt idx="51567">
                  <c:v>0.91968967362225695</c:v>
                </c:pt>
                <c:pt idx="51568">
                  <c:v>0.91970750847155303</c:v>
                </c:pt>
                <c:pt idx="51569">
                  <c:v>0.91972534332084899</c:v>
                </c:pt>
                <c:pt idx="51570">
                  <c:v>0.91974317817014395</c:v>
                </c:pt>
                <c:pt idx="51571">
                  <c:v>0.91976101301944002</c:v>
                </c:pt>
                <c:pt idx="51572">
                  <c:v>0.91977884786873498</c:v>
                </c:pt>
                <c:pt idx="51573">
                  <c:v>0.91979668271803094</c:v>
                </c:pt>
                <c:pt idx="51574">
                  <c:v>0.91981451756732602</c:v>
                </c:pt>
                <c:pt idx="51575">
                  <c:v>0.91983235241662198</c:v>
                </c:pt>
                <c:pt idx="51576">
                  <c:v>0.91985018726591705</c:v>
                </c:pt>
                <c:pt idx="51577">
                  <c:v>0.91986802211521301</c:v>
                </c:pt>
                <c:pt idx="51578">
                  <c:v>0.91988585696450798</c:v>
                </c:pt>
                <c:pt idx="51579">
                  <c:v>0.91990369181380405</c:v>
                </c:pt>
                <c:pt idx="51580">
                  <c:v>0.91992152666309901</c:v>
                </c:pt>
                <c:pt idx="51581">
                  <c:v>0.91993936151239497</c:v>
                </c:pt>
                <c:pt idx="51582">
                  <c:v>0.91995719636169004</c:v>
                </c:pt>
                <c:pt idx="51583">
                  <c:v>0.91997503121098601</c:v>
                </c:pt>
                <c:pt idx="51584">
                  <c:v>0.91999286606028097</c:v>
                </c:pt>
                <c:pt idx="51585">
                  <c:v>0.92001070090957704</c:v>
                </c:pt>
                <c:pt idx="51586">
                  <c:v>0.920028535758872</c:v>
                </c:pt>
                <c:pt idx="51587">
                  <c:v>0.92004637060816796</c:v>
                </c:pt>
                <c:pt idx="51588">
                  <c:v>0.92006420545746304</c:v>
                </c:pt>
                <c:pt idx="51589">
                  <c:v>0.920082040306759</c:v>
                </c:pt>
                <c:pt idx="51590">
                  <c:v>0.92009987515605496</c:v>
                </c:pt>
                <c:pt idx="51591">
                  <c:v>0.92011771000535003</c:v>
                </c:pt>
                <c:pt idx="51592">
                  <c:v>0.92013554485464599</c:v>
                </c:pt>
                <c:pt idx="51593">
                  <c:v>0.92015337970394095</c:v>
                </c:pt>
                <c:pt idx="51594">
                  <c:v>0.92017121455323703</c:v>
                </c:pt>
                <c:pt idx="51595">
                  <c:v>0.92018904940253199</c:v>
                </c:pt>
                <c:pt idx="51596">
                  <c:v>0.92020688425182795</c:v>
                </c:pt>
                <c:pt idx="51597">
                  <c:v>0.92022471910112302</c:v>
                </c:pt>
                <c:pt idx="51598">
                  <c:v>0.92024255395041898</c:v>
                </c:pt>
                <c:pt idx="51599">
                  <c:v>0.92026038879971395</c:v>
                </c:pt>
                <c:pt idx="51600">
                  <c:v>0.92027822364901002</c:v>
                </c:pt>
                <c:pt idx="51601">
                  <c:v>0.92029605849830498</c:v>
                </c:pt>
                <c:pt idx="51602">
                  <c:v>0.92031389334760105</c:v>
                </c:pt>
                <c:pt idx="51603">
                  <c:v>0.92033172819689602</c:v>
                </c:pt>
                <c:pt idx="51604">
                  <c:v>0.92034956304619198</c:v>
                </c:pt>
                <c:pt idx="51605">
                  <c:v>0.92036739789548705</c:v>
                </c:pt>
                <c:pt idx="51606">
                  <c:v>0.92038523274478301</c:v>
                </c:pt>
                <c:pt idx="51607">
                  <c:v>0.92040306759407797</c:v>
                </c:pt>
                <c:pt idx="51608">
                  <c:v>0.92042090244337404</c:v>
                </c:pt>
                <c:pt idx="51609">
                  <c:v>0.92043873729266901</c:v>
                </c:pt>
                <c:pt idx="51610">
                  <c:v>0.92045657214196497</c:v>
                </c:pt>
                <c:pt idx="51611">
                  <c:v>0.92047440699126004</c:v>
                </c:pt>
                <c:pt idx="51612">
                  <c:v>0.920492241840556</c:v>
                </c:pt>
                <c:pt idx="51613">
                  <c:v>0.92051007668985196</c:v>
                </c:pt>
                <c:pt idx="51614">
                  <c:v>0.92052791153914704</c:v>
                </c:pt>
                <c:pt idx="51615">
                  <c:v>0.920545746388443</c:v>
                </c:pt>
                <c:pt idx="51616">
                  <c:v>0.92056358123773796</c:v>
                </c:pt>
                <c:pt idx="51617">
                  <c:v>0.92058141608703403</c:v>
                </c:pt>
                <c:pt idx="51618">
                  <c:v>0.92059925093632899</c:v>
                </c:pt>
                <c:pt idx="51619">
                  <c:v>0.92061708578562496</c:v>
                </c:pt>
                <c:pt idx="51620">
                  <c:v>0.92063492063492003</c:v>
                </c:pt>
                <c:pt idx="51621">
                  <c:v>0.92065275548421599</c:v>
                </c:pt>
                <c:pt idx="51622">
                  <c:v>0.92067059033351095</c:v>
                </c:pt>
                <c:pt idx="51623">
                  <c:v>0.92068842518280702</c:v>
                </c:pt>
                <c:pt idx="51624">
                  <c:v>0.92070626003210199</c:v>
                </c:pt>
                <c:pt idx="51625">
                  <c:v>0.92072409488139795</c:v>
                </c:pt>
                <c:pt idx="51626">
                  <c:v>0.92074192973069302</c:v>
                </c:pt>
                <c:pt idx="51627">
                  <c:v>0.92075976457998898</c:v>
                </c:pt>
                <c:pt idx="51628">
                  <c:v>0.92077759942928405</c:v>
                </c:pt>
                <c:pt idx="51629">
                  <c:v>0.92079543427858002</c:v>
                </c:pt>
                <c:pt idx="51630">
                  <c:v>0.92081326912787498</c:v>
                </c:pt>
                <c:pt idx="51631">
                  <c:v>0.92083110397717105</c:v>
                </c:pt>
                <c:pt idx="51632">
                  <c:v>0.92084893882646601</c:v>
                </c:pt>
                <c:pt idx="51633">
                  <c:v>0.92086677367576197</c:v>
                </c:pt>
                <c:pt idx="51634">
                  <c:v>0.92088460852505705</c:v>
                </c:pt>
                <c:pt idx="51635">
                  <c:v>0.92090244337435301</c:v>
                </c:pt>
                <c:pt idx="51636">
                  <c:v>0.92092027822364897</c:v>
                </c:pt>
                <c:pt idx="51637">
                  <c:v>0.92093811307294404</c:v>
                </c:pt>
                <c:pt idx="51638">
                  <c:v>0.92095594792224</c:v>
                </c:pt>
                <c:pt idx="51639">
                  <c:v>0.92097378277153497</c:v>
                </c:pt>
                <c:pt idx="51640">
                  <c:v>0.92099161762083104</c:v>
                </c:pt>
                <c:pt idx="51641">
                  <c:v>0.921009452470126</c:v>
                </c:pt>
                <c:pt idx="51642">
                  <c:v>0.92102728731942196</c:v>
                </c:pt>
                <c:pt idx="51643">
                  <c:v>0.92104512216871703</c:v>
                </c:pt>
                <c:pt idx="51644">
                  <c:v>0.921062957018013</c:v>
                </c:pt>
                <c:pt idx="51645">
                  <c:v>0.92108079186730796</c:v>
                </c:pt>
                <c:pt idx="51646">
                  <c:v>0.92109862671660403</c:v>
                </c:pt>
                <c:pt idx="51647">
                  <c:v>0.92111646156589899</c:v>
                </c:pt>
                <c:pt idx="51648">
                  <c:v>0.92113429641519495</c:v>
                </c:pt>
                <c:pt idx="51649">
                  <c:v>0.92115213126449003</c:v>
                </c:pt>
                <c:pt idx="51650">
                  <c:v>0.92116996611378599</c:v>
                </c:pt>
                <c:pt idx="51651">
                  <c:v>0.92118780096308095</c:v>
                </c:pt>
                <c:pt idx="51652">
                  <c:v>0.92120563581237702</c:v>
                </c:pt>
                <c:pt idx="51653">
                  <c:v>0.92122347066167198</c:v>
                </c:pt>
                <c:pt idx="51654">
                  <c:v>0.92124130551096794</c:v>
                </c:pt>
                <c:pt idx="51655">
                  <c:v>0.92125914036026302</c:v>
                </c:pt>
                <c:pt idx="51656">
                  <c:v>0.92127697520955898</c:v>
                </c:pt>
                <c:pt idx="51657">
                  <c:v>0.92129481005885505</c:v>
                </c:pt>
                <c:pt idx="51658">
                  <c:v>0.92131264490815001</c:v>
                </c:pt>
                <c:pt idx="51659">
                  <c:v>0.92133047975744597</c:v>
                </c:pt>
                <c:pt idx="51660">
                  <c:v>0.92134831460674105</c:v>
                </c:pt>
                <c:pt idx="51661">
                  <c:v>0.92136614945603701</c:v>
                </c:pt>
                <c:pt idx="51662">
                  <c:v>0.92138398430533197</c:v>
                </c:pt>
                <c:pt idx="51663">
                  <c:v>0.92140181915462804</c:v>
                </c:pt>
                <c:pt idx="51664">
                  <c:v>0.92141965400392301</c:v>
                </c:pt>
                <c:pt idx="51665">
                  <c:v>0.92143748885321897</c:v>
                </c:pt>
                <c:pt idx="51666">
                  <c:v>0.92145532370251404</c:v>
                </c:pt>
                <c:pt idx="51667">
                  <c:v>0.92147315855181</c:v>
                </c:pt>
                <c:pt idx="51668">
                  <c:v>0.92149099340110496</c:v>
                </c:pt>
                <c:pt idx="51669">
                  <c:v>0.92150882825040104</c:v>
                </c:pt>
                <c:pt idx="51670">
                  <c:v>0.921526663099696</c:v>
                </c:pt>
                <c:pt idx="51671">
                  <c:v>0.92154449794899196</c:v>
                </c:pt>
                <c:pt idx="51672">
                  <c:v>0.92156233279828703</c:v>
                </c:pt>
                <c:pt idx="51673">
                  <c:v>0.92158016764758299</c:v>
                </c:pt>
                <c:pt idx="51674">
                  <c:v>0.92159800249687895</c:v>
                </c:pt>
                <c:pt idx="51675">
                  <c:v>0.92161583734617403</c:v>
                </c:pt>
                <c:pt idx="51676">
                  <c:v>0.92163367219546999</c:v>
                </c:pt>
                <c:pt idx="51677">
                  <c:v>0.92165150704476495</c:v>
                </c:pt>
                <c:pt idx="51678">
                  <c:v>0.92166934189406102</c:v>
                </c:pt>
                <c:pt idx="51679">
                  <c:v>0.92168717674335598</c:v>
                </c:pt>
                <c:pt idx="51680">
                  <c:v>0.92170501159265195</c:v>
                </c:pt>
                <c:pt idx="51681">
                  <c:v>0.92172284644194702</c:v>
                </c:pt>
                <c:pt idx="51682">
                  <c:v>0.92174068129124298</c:v>
                </c:pt>
                <c:pt idx="51683">
                  <c:v>0.92175851614053805</c:v>
                </c:pt>
                <c:pt idx="51684">
                  <c:v>0.92177635098983401</c:v>
                </c:pt>
                <c:pt idx="51685">
                  <c:v>0.92179418583912898</c:v>
                </c:pt>
                <c:pt idx="51686">
                  <c:v>0.92181202068842505</c:v>
                </c:pt>
                <c:pt idx="51687">
                  <c:v>0.92182985553772001</c:v>
                </c:pt>
                <c:pt idx="51688">
                  <c:v>0.92184769038701597</c:v>
                </c:pt>
                <c:pt idx="51689">
                  <c:v>0.92186552523631105</c:v>
                </c:pt>
                <c:pt idx="51690">
                  <c:v>0.92188336008560701</c:v>
                </c:pt>
                <c:pt idx="51691">
                  <c:v>0.92190119493490197</c:v>
                </c:pt>
                <c:pt idx="51692">
                  <c:v>0.92191902978419804</c:v>
                </c:pt>
                <c:pt idx="51693">
                  <c:v>0.921936864633493</c:v>
                </c:pt>
                <c:pt idx="51694">
                  <c:v>0.92195469948278896</c:v>
                </c:pt>
                <c:pt idx="51695">
                  <c:v>0.92197253433208404</c:v>
                </c:pt>
                <c:pt idx="51696">
                  <c:v>0.92199036918138</c:v>
                </c:pt>
                <c:pt idx="51697">
                  <c:v>0.92200820403067596</c:v>
                </c:pt>
                <c:pt idx="51698">
                  <c:v>0.92202603887997103</c:v>
                </c:pt>
                <c:pt idx="51699">
                  <c:v>0.92204387372926699</c:v>
                </c:pt>
                <c:pt idx="51700">
                  <c:v>0.92206170857856196</c:v>
                </c:pt>
                <c:pt idx="51701">
                  <c:v>0.92207954342785803</c:v>
                </c:pt>
                <c:pt idx="51702">
                  <c:v>0.92209737827715299</c:v>
                </c:pt>
                <c:pt idx="51703">
                  <c:v>0.92211521312644895</c:v>
                </c:pt>
                <c:pt idx="51704">
                  <c:v>0.92213304797574402</c:v>
                </c:pt>
                <c:pt idx="51705">
                  <c:v>0.92215088282503999</c:v>
                </c:pt>
                <c:pt idx="51706">
                  <c:v>0.92216871767433495</c:v>
                </c:pt>
                <c:pt idx="51707">
                  <c:v>0.92218655252363102</c:v>
                </c:pt>
                <c:pt idx="51708">
                  <c:v>0.92220438737292598</c:v>
                </c:pt>
                <c:pt idx="51709">
                  <c:v>0.92222222222222205</c:v>
                </c:pt>
                <c:pt idx="51710">
                  <c:v>0.92224005707151702</c:v>
                </c:pt>
                <c:pt idx="51711">
                  <c:v>0.92225789192081298</c:v>
                </c:pt>
                <c:pt idx="51712">
                  <c:v>0.92227572677010805</c:v>
                </c:pt>
                <c:pt idx="51713">
                  <c:v>0.92229356161940401</c:v>
                </c:pt>
                <c:pt idx="51714">
                  <c:v>0.92231139646869897</c:v>
                </c:pt>
                <c:pt idx="51715">
                  <c:v>0.92232923131799505</c:v>
                </c:pt>
                <c:pt idx="51716">
                  <c:v>0.92234706616729001</c:v>
                </c:pt>
                <c:pt idx="51717">
                  <c:v>0.92236490101658597</c:v>
                </c:pt>
                <c:pt idx="51718">
                  <c:v>0.92238273586588104</c:v>
                </c:pt>
                <c:pt idx="51719">
                  <c:v>0.922400570715177</c:v>
                </c:pt>
                <c:pt idx="51720">
                  <c:v>0.92241840556447297</c:v>
                </c:pt>
                <c:pt idx="51721">
                  <c:v>0.92243624041376804</c:v>
                </c:pt>
                <c:pt idx="51722">
                  <c:v>0.922454075263064</c:v>
                </c:pt>
                <c:pt idx="51723">
                  <c:v>0.92247191011235896</c:v>
                </c:pt>
                <c:pt idx="51724">
                  <c:v>0.92248974496165503</c:v>
                </c:pt>
                <c:pt idx="51725">
                  <c:v>0.92250757981095</c:v>
                </c:pt>
                <c:pt idx="51726">
                  <c:v>0.92252541466024596</c:v>
                </c:pt>
                <c:pt idx="51727">
                  <c:v>0.92254324950954103</c:v>
                </c:pt>
                <c:pt idx="51728">
                  <c:v>0.92256108435883699</c:v>
                </c:pt>
                <c:pt idx="51729">
                  <c:v>0.92257891920813195</c:v>
                </c:pt>
                <c:pt idx="51730">
                  <c:v>0.92259675405742803</c:v>
                </c:pt>
                <c:pt idx="51731">
                  <c:v>0.92261458890672299</c:v>
                </c:pt>
                <c:pt idx="51732">
                  <c:v>0.92263242375601895</c:v>
                </c:pt>
                <c:pt idx="51733">
                  <c:v>0.92265025860531402</c:v>
                </c:pt>
                <c:pt idx="51734">
                  <c:v>0.92266809345460998</c:v>
                </c:pt>
                <c:pt idx="51735">
                  <c:v>0.92268592830390495</c:v>
                </c:pt>
                <c:pt idx="51736">
                  <c:v>0.92270376315320102</c:v>
                </c:pt>
                <c:pt idx="51737">
                  <c:v>0.92272159800249598</c:v>
                </c:pt>
                <c:pt idx="51738">
                  <c:v>0.92273943285179205</c:v>
                </c:pt>
                <c:pt idx="51739">
                  <c:v>0.92275726770108701</c:v>
                </c:pt>
                <c:pt idx="51740">
                  <c:v>0.92277510255038298</c:v>
                </c:pt>
                <c:pt idx="51741">
                  <c:v>0.92279293739967805</c:v>
                </c:pt>
                <c:pt idx="51742">
                  <c:v>0.92281077224897401</c:v>
                </c:pt>
                <c:pt idx="51743">
                  <c:v>0.92282860709826997</c:v>
                </c:pt>
                <c:pt idx="51744">
                  <c:v>0.92284644194756504</c:v>
                </c:pt>
                <c:pt idx="51745">
                  <c:v>0.92286427679686101</c:v>
                </c:pt>
                <c:pt idx="51746">
                  <c:v>0.92288211164615597</c:v>
                </c:pt>
                <c:pt idx="51747">
                  <c:v>0.92289994649545204</c:v>
                </c:pt>
                <c:pt idx="51748">
                  <c:v>0.922917781344747</c:v>
                </c:pt>
                <c:pt idx="51749">
                  <c:v>0.92293561619404296</c:v>
                </c:pt>
                <c:pt idx="51750">
                  <c:v>0.92295345104333804</c:v>
                </c:pt>
                <c:pt idx="51751">
                  <c:v>0.922971285892634</c:v>
                </c:pt>
                <c:pt idx="51752">
                  <c:v>0.92298912074192896</c:v>
                </c:pt>
                <c:pt idx="51753">
                  <c:v>0.92300695559122503</c:v>
                </c:pt>
                <c:pt idx="51754">
                  <c:v>0.92302479044051999</c:v>
                </c:pt>
                <c:pt idx="51755">
                  <c:v>0.92304262528981595</c:v>
                </c:pt>
                <c:pt idx="51756">
                  <c:v>0.92306046013911103</c:v>
                </c:pt>
                <c:pt idx="51757">
                  <c:v>0.92307829498840699</c:v>
                </c:pt>
                <c:pt idx="51758">
                  <c:v>0.92309612983770195</c:v>
                </c:pt>
                <c:pt idx="51759">
                  <c:v>0.92311396468699802</c:v>
                </c:pt>
                <c:pt idx="51760">
                  <c:v>0.92313179953629299</c:v>
                </c:pt>
                <c:pt idx="51761">
                  <c:v>0.92314963438558895</c:v>
                </c:pt>
                <c:pt idx="51762">
                  <c:v>0.92316746923488502</c:v>
                </c:pt>
                <c:pt idx="51763">
                  <c:v>0.92318530408417998</c:v>
                </c:pt>
                <c:pt idx="51764">
                  <c:v>0.92320313893347605</c:v>
                </c:pt>
                <c:pt idx="51765">
                  <c:v>0.92322097378277101</c:v>
                </c:pt>
                <c:pt idx="51766">
                  <c:v>0.92323880863206698</c:v>
                </c:pt>
                <c:pt idx="51767">
                  <c:v>0.92325664348136205</c:v>
                </c:pt>
                <c:pt idx="51768">
                  <c:v>0.92327447833065801</c:v>
                </c:pt>
                <c:pt idx="51769">
                  <c:v>0.92329231317995297</c:v>
                </c:pt>
                <c:pt idx="51770">
                  <c:v>0.92331014802924904</c:v>
                </c:pt>
                <c:pt idx="51771">
                  <c:v>0.92332798287854401</c:v>
                </c:pt>
                <c:pt idx="51772">
                  <c:v>0.92334581772783997</c:v>
                </c:pt>
                <c:pt idx="51773">
                  <c:v>0.92336365257713504</c:v>
                </c:pt>
                <c:pt idx="51774">
                  <c:v>0.923381487426431</c:v>
                </c:pt>
                <c:pt idx="51775">
                  <c:v>0.92339932227572596</c:v>
                </c:pt>
                <c:pt idx="51776">
                  <c:v>0.92341715712502204</c:v>
                </c:pt>
                <c:pt idx="51777">
                  <c:v>0.923434991974317</c:v>
                </c:pt>
                <c:pt idx="51778">
                  <c:v>0.92345282682361296</c:v>
                </c:pt>
                <c:pt idx="51779">
                  <c:v>0.92347066167290803</c:v>
                </c:pt>
                <c:pt idx="51780">
                  <c:v>0.92348849652220399</c:v>
                </c:pt>
                <c:pt idx="51781">
                  <c:v>0.92350633137149996</c:v>
                </c:pt>
                <c:pt idx="51782">
                  <c:v>0.92352416622079503</c:v>
                </c:pt>
                <c:pt idx="51783">
                  <c:v>0.92354200107009099</c:v>
                </c:pt>
                <c:pt idx="51784">
                  <c:v>0.92355983591938595</c:v>
                </c:pt>
                <c:pt idx="51785">
                  <c:v>0.92357767076868202</c:v>
                </c:pt>
                <c:pt idx="51786">
                  <c:v>0.92359550561797699</c:v>
                </c:pt>
                <c:pt idx="51787">
                  <c:v>0.92361334046727295</c:v>
                </c:pt>
                <c:pt idx="51788">
                  <c:v>0.92363117531656802</c:v>
                </c:pt>
                <c:pt idx="51789">
                  <c:v>0.92364901016586398</c:v>
                </c:pt>
                <c:pt idx="51790">
                  <c:v>0.92366684501515905</c:v>
                </c:pt>
                <c:pt idx="51791">
                  <c:v>0.92368467986445502</c:v>
                </c:pt>
                <c:pt idx="51792">
                  <c:v>0.92370251471374998</c:v>
                </c:pt>
                <c:pt idx="51793">
                  <c:v>0.92372034956304605</c:v>
                </c:pt>
                <c:pt idx="51794">
                  <c:v>0.92373818441234101</c:v>
                </c:pt>
                <c:pt idx="51795">
                  <c:v>0.92375601926163697</c:v>
                </c:pt>
                <c:pt idx="51796">
                  <c:v>0.92377385411093205</c:v>
                </c:pt>
                <c:pt idx="51797">
                  <c:v>0.92379168896022801</c:v>
                </c:pt>
                <c:pt idx="51798">
                  <c:v>0.92380952380952297</c:v>
                </c:pt>
                <c:pt idx="51799">
                  <c:v>0.92382735865881904</c:v>
                </c:pt>
                <c:pt idx="51800">
                  <c:v>0.923845193508114</c:v>
                </c:pt>
                <c:pt idx="51801">
                  <c:v>0.92386302835740997</c:v>
                </c:pt>
                <c:pt idx="51802">
                  <c:v>0.92388086320670504</c:v>
                </c:pt>
                <c:pt idx="51803">
                  <c:v>0.923898698056001</c:v>
                </c:pt>
                <c:pt idx="51804">
                  <c:v>0.92391653290529696</c:v>
                </c:pt>
                <c:pt idx="51805">
                  <c:v>0.92393436775459203</c:v>
                </c:pt>
                <c:pt idx="51806">
                  <c:v>0.923952202603888</c:v>
                </c:pt>
                <c:pt idx="51807">
                  <c:v>0.92397003745318296</c:v>
                </c:pt>
                <c:pt idx="51808">
                  <c:v>0.92398787230247903</c:v>
                </c:pt>
                <c:pt idx="51809">
                  <c:v>0.92400570715177399</c:v>
                </c:pt>
                <c:pt idx="51810">
                  <c:v>0.92402354200106995</c:v>
                </c:pt>
                <c:pt idx="51811">
                  <c:v>0.92404137685036503</c:v>
                </c:pt>
                <c:pt idx="51812">
                  <c:v>0.92405921169966099</c:v>
                </c:pt>
                <c:pt idx="51813">
                  <c:v>0.92407704654895595</c:v>
                </c:pt>
                <c:pt idx="51814">
                  <c:v>0.92409488139825202</c:v>
                </c:pt>
                <c:pt idx="51815">
                  <c:v>0.92411271624754698</c:v>
                </c:pt>
                <c:pt idx="51816">
                  <c:v>0.92413055109684294</c:v>
                </c:pt>
                <c:pt idx="51817">
                  <c:v>0.92414838594613802</c:v>
                </c:pt>
                <c:pt idx="51818">
                  <c:v>0.92416622079543398</c:v>
                </c:pt>
                <c:pt idx="51819">
                  <c:v>0.92418405564472905</c:v>
                </c:pt>
                <c:pt idx="51820">
                  <c:v>0.92420189049402501</c:v>
                </c:pt>
                <c:pt idx="51821">
                  <c:v>0.92421972534331998</c:v>
                </c:pt>
                <c:pt idx="51822">
                  <c:v>0.92423756019261605</c:v>
                </c:pt>
                <c:pt idx="51823">
                  <c:v>0.92425539504191101</c:v>
                </c:pt>
                <c:pt idx="51824">
                  <c:v>0.92427322989120697</c:v>
                </c:pt>
                <c:pt idx="51825">
                  <c:v>0.92429106474050204</c:v>
                </c:pt>
                <c:pt idx="51826">
                  <c:v>0.92430889958979801</c:v>
                </c:pt>
                <c:pt idx="51827">
                  <c:v>0.92432673443909397</c:v>
                </c:pt>
                <c:pt idx="51828">
                  <c:v>0.92434456928838904</c:v>
                </c:pt>
                <c:pt idx="51829">
                  <c:v>0.924362404137685</c:v>
                </c:pt>
                <c:pt idx="51830">
                  <c:v>0.92438023898697996</c:v>
                </c:pt>
                <c:pt idx="51831">
                  <c:v>0.92439807383627604</c:v>
                </c:pt>
                <c:pt idx="51832">
                  <c:v>0.924415908685571</c:v>
                </c:pt>
                <c:pt idx="51833">
                  <c:v>0.92443374353486696</c:v>
                </c:pt>
                <c:pt idx="51834">
                  <c:v>0.92445157838416203</c:v>
                </c:pt>
                <c:pt idx="51835">
                  <c:v>0.92446941323345799</c:v>
                </c:pt>
                <c:pt idx="51836">
                  <c:v>0.92448724808275295</c:v>
                </c:pt>
                <c:pt idx="51837">
                  <c:v>0.92450508293204903</c:v>
                </c:pt>
                <c:pt idx="51838">
                  <c:v>0.92452291778134399</c:v>
                </c:pt>
                <c:pt idx="51839">
                  <c:v>0.92454075263063995</c:v>
                </c:pt>
                <c:pt idx="51840">
                  <c:v>0.92455858747993502</c:v>
                </c:pt>
                <c:pt idx="51841">
                  <c:v>0.92457642232923098</c:v>
                </c:pt>
                <c:pt idx="51842">
                  <c:v>0.92459425717852595</c:v>
                </c:pt>
                <c:pt idx="51843">
                  <c:v>0.92461209202782202</c:v>
                </c:pt>
                <c:pt idx="51844">
                  <c:v>0.92462992687711698</c:v>
                </c:pt>
                <c:pt idx="51845">
                  <c:v>0.92464776172641305</c:v>
                </c:pt>
                <c:pt idx="51846">
                  <c:v>0.92466559657570802</c:v>
                </c:pt>
                <c:pt idx="51847">
                  <c:v>0.92468343142500398</c:v>
                </c:pt>
                <c:pt idx="51848">
                  <c:v>0.92470126627429905</c:v>
                </c:pt>
                <c:pt idx="51849">
                  <c:v>0.92471910112359501</c:v>
                </c:pt>
                <c:pt idx="51850">
                  <c:v>0.92473693597289097</c:v>
                </c:pt>
                <c:pt idx="51851">
                  <c:v>0.92475477082218605</c:v>
                </c:pt>
                <c:pt idx="51852">
                  <c:v>0.92477260567148201</c:v>
                </c:pt>
                <c:pt idx="51853">
                  <c:v>0.92479044052077697</c:v>
                </c:pt>
                <c:pt idx="51854">
                  <c:v>0.92480827537007304</c:v>
                </c:pt>
                <c:pt idx="51855">
                  <c:v>0.924826110219368</c:v>
                </c:pt>
                <c:pt idx="51856">
                  <c:v>0.92484394506866396</c:v>
                </c:pt>
                <c:pt idx="51857">
                  <c:v>0.92486177991795904</c:v>
                </c:pt>
                <c:pt idx="51858">
                  <c:v>0.924879614767255</c:v>
                </c:pt>
                <c:pt idx="51859">
                  <c:v>0.92489744961654996</c:v>
                </c:pt>
                <c:pt idx="51860">
                  <c:v>0.92491528446584603</c:v>
                </c:pt>
                <c:pt idx="51861">
                  <c:v>0.92493311931514099</c:v>
                </c:pt>
                <c:pt idx="51862">
                  <c:v>0.92495095416443696</c:v>
                </c:pt>
                <c:pt idx="51863">
                  <c:v>0.92496878901373203</c:v>
                </c:pt>
                <c:pt idx="51864">
                  <c:v>0.92498662386302799</c:v>
                </c:pt>
                <c:pt idx="51865">
                  <c:v>0.92500445871232295</c:v>
                </c:pt>
                <c:pt idx="51866">
                  <c:v>0.92502229356161902</c:v>
                </c:pt>
                <c:pt idx="51867">
                  <c:v>0.92504012841091399</c:v>
                </c:pt>
                <c:pt idx="51868">
                  <c:v>0.92505796326020995</c:v>
                </c:pt>
                <c:pt idx="51869">
                  <c:v>0.92507579810950602</c:v>
                </c:pt>
                <c:pt idx="51870">
                  <c:v>0.92509363295880098</c:v>
                </c:pt>
                <c:pt idx="51871">
                  <c:v>0.92511146780809705</c:v>
                </c:pt>
                <c:pt idx="51872">
                  <c:v>0.92512930265739202</c:v>
                </c:pt>
                <c:pt idx="51873">
                  <c:v>0.92514713750668798</c:v>
                </c:pt>
                <c:pt idx="51874">
                  <c:v>0.92516497235598305</c:v>
                </c:pt>
                <c:pt idx="51875">
                  <c:v>0.92518280720527901</c:v>
                </c:pt>
                <c:pt idx="51876">
                  <c:v>0.92520064205457397</c:v>
                </c:pt>
                <c:pt idx="51877">
                  <c:v>0.92521847690387005</c:v>
                </c:pt>
                <c:pt idx="51878">
                  <c:v>0.92523631175316501</c:v>
                </c:pt>
                <c:pt idx="51879">
                  <c:v>0.92525414660246097</c:v>
                </c:pt>
                <c:pt idx="51880">
                  <c:v>0.92527198145175604</c:v>
                </c:pt>
                <c:pt idx="51881">
                  <c:v>0.925289816301052</c:v>
                </c:pt>
                <c:pt idx="51882">
                  <c:v>0.92530765115034697</c:v>
                </c:pt>
                <c:pt idx="51883">
                  <c:v>0.92532548599964304</c:v>
                </c:pt>
                <c:pt idx="51884">
                  <c:v>0.925343320848938</c:v>
                </c:pt>
                <c:pt idx="51885">
                  <c:v>0.92536115569823396</c:v>
                </c:pt>
                <c:pt idx="51886">
                  <c:v>0.92537899054752903</c:v>
                </c:pt>
                <c:pt idx="51887">
                  <c:v>0.925396825396825</c:v>
                </c:pt>
                <c:pt idx="51888">
                  <c:v>0.92541466024612096</c:v>
                </c:pt>
                <c:pt idx="51889">
                  <c:v>0.92543249509541603</c:v>
                </c:pt>
                <c:pt idx="51890">
                  <c:v>0.92545032994471199</c:v>
                </c:pt>
                <c:pt idx="51891">
                  <c:v>0.92546816479400695</c:v>
                </c:pt>
                <c:pt idx="51892">
                  <c:v>0.92548599964330303</c:v>
                </c:pt>
                <c:pt idx="51893">
                  <c:v>0.92550383449259799</c:v>
                </c:pt>
                <c:pt idx="51894">
                  <c:v>0.92552166934189395</c:v>
                </c:pt>
                <c:pt idx="51895">
                  <c:v>0.92553950419118902</c:v>
                </c:pt>
                <c:pt idx="51896">
                  <c:v>0.92555733904048498</c:v>
                </c:pt>
                <c:pt idx="51897">
                  <c:v>0.92557517388977995</c:v>
                </c:pt>
                <c:pt idx="51898">
                  <c:v>0.92559300873907602</c:v>
                </c:pt>
                <c:pt idx="51899">
                  <c:v>0.92561084358837098</c:v>
                </c:pt>
                <c:pt idx="51900">
                  <c:v>0.92562867843766705</c:v>
                </c:pt>
                <c:pt idx="51901">
                  <c:v>0.92564651328696201</c:v>
                </c:pt>
                <c:pt idx="51902">
                  <c:v>0.92566434813625798</c:v>
                </c:pt>
                <c:pt idx="51903">
                  <c:v>0.92568218298555305</c:v>
                </c:pt>
                <c:pt idx="51904">
                  <c:v>0.92570001783484901</c:v>
                </c:pt>
                <c:pt idx="51905">
                  <c:v>0.92571785268414397</c:v>
                </c:pt>
                <c:pt idx="51906">
                  <c:v>0.92573568753344004</c:v>
                </c:pt>
                <c:pt idx="51907">
                  <c:v>0.92575352238273501</c:v>
                </c:pt>
                <c:pt idx="51908">
                  <c:v>0.92577135723203097</c:v>
                </c:pt>
                <c:pt idx="51909">
                  <c:v>0.92578919208132604</c:v>
                </c:pt>
                <c:pt idx="51910">
                  <c:v>0.925807026930622</c:v>
                </c:pt>
                <c:pt idx="51911">
                  <c:v>0.92582486177991796</c:v>
                </c:pt>
                <c:pt idx="51912">
                  <c:v>0.92584269662921304</c:v>
                </c:pt>
                <c:pt idx="51913">
                  <c:v>0.925860531478509</c:v>
                </c:pt>
                <c:pt idx="51914">
                  <c:v>0.92587836632780396</c:v>
                </c:pt>
                <c:pt idx="51915">
                  <c:v>0.92589620117710003</c:v>
                </c:pt>
                <c:pt idx="51916">
                  <c:v>0.92591403602639499</c:v>
                </c:pt>
                <c:pt idx="51917">
                  <c:v>0.92593187087569095</c:v>
                </c:pt>
                <c:pt idx="51918">
                  <c:v>0.92594970572498603</c:v>
                </c:pt>
                <c:pt idx="51919">
                  <c:v>0.92596754057428199</c:v>
                </c:pt>
                <c:pt idx="51920">
                  <c:v>0.92598537542357695</c:v>
                </c:pt>
                <c:pt idx="51921">
                  <c:v>0.92600321027287302</c:v>
                </c:pt>
                <c:pt idx="51922">
                  <c:v>0.92602104512216799</c:v>
                </c:pt>
                <c:pt idx="51923">
                  <c:v>0.92603887997146395</c:v>
                </c:pt>
                <c:pt idx="51924">
                  <c:v>0.92605671482075902</c:v>
                </c:pt>
                <c:pt idx="51925">
                  <c:v>0.92607454967005498</c:v>
                </c:pt>
                <c:pt idx="51926">
                  <c:v>0.92609238451935005</c:v>
                </c:pt>
                <c:pt idx="51927">
                  <c:v>0.92611021936864601</c:v>
                </c:pt>
                <c:pt idx="51928">
                  <c:v>0.92612805421794098</c:v>
                </c:pt>
                <c:pt idx="51929">
                  <c:v>0.92614588906723705</c:v>
                </c:pt>
                <c:pt idx="51930">
                  <c:v>0.92616372391653201</c:v>
                </c:pt>
                <c:pt idx="51931">
                  <c:v>0.92618155876582797</c:v>
                </c:pt>
                <c:pt idx="51932">
                  <c:v>0.92619939361512305</c:v>
                </c:pt>
                <c:pt idx="51933">
                  <c:v>0.92621722846441901</c:v>
                </c:pt>
                <c:pt idx="51934">
                  <c:v>0.92623506331371497</c:v>
                </c:pt>
                <c:pt idx="51935">
                  <c:v>0.92625289816301004</c:v>
                </c:pt>
                <c:pt idx="51936">
                  <c:v>0.926270733012306</c:v>
                </c:pt>
                <c:pt idx="51937">
                  <c:v>0.92628856786160096</c:v>
                </c:pt>
                <c:pt idx="51938">
                  <c:v>0.92630640271089704</c:v>
                </c:pt>
                <c:pt idx="51939">
                  <c:v>0.926324237560192</c:v>
                </c:pt>
                <c:pt idx="51940">
                  <c:v>0.92634207240948796</c:v>
                </c:pt>
                <c:pt idx="51941">
                  <c:v>0.92635990725878303</c:v>
                </c:pt>
                <c:pt idx="51942">
                  <c:v>0.92637774210807899</c:v>
                </c:pt>
                <c:pt idx="51943">
                  <c:v>0.92639557695737396</c:v>
                </c:pt>
                <c:pt idx="51944">
                  <c:v>0.92641341180667003</c:v>
                </c:pt>
                <c:pt idx="51945">
                  <c:v>0.92643124665596499</c:v>
                </c:pt>
                <c:pt idx="51946">
                  <c:v>0.92644908150526095</c:v>
                </c:pt>
                <c:pt idx="51947">
                  <c:v>0.92646691635455602</c:v>
                </c:pt>
                <c:pt idx="51948">
                  <c:v>0.92648475120385199</c:v>
                </c:pt>
                <c:pt idx="51949">
                  <c:v>0.92650258605314695</c:v>
                </c:pt>
                <c:pt idx="51950">
                  <c:v>0.92652042090244302</c:v>
                </c:pt>
                <c:pt idx="51951">
                  <c:v>0.92653825575173798</c:v>
                </c:pt>
                <c:pt idx="51952">
                  <c:v>0.92655609060103405</c:v>
                </c:pt>
                <c:pt idx="51953">
                  <c:v>0.92657392545032902</c:v>
                </c:pt>
                <c:pt idx="51954">
                  <c:v>0.92659176029962498</c:v>
                </c:pt>
                <c:pt idx="51955">
                  <c:v>0.92660959514892005</c:v>
                </c:pt>
                <c:pt idx="51956">
                  <c:v>0.92662742999821601</c:v>
                </c:pt>
                <c:pt idx="51957">
                  <c:v>0.92664526484751197</c:v>
                </c:pt>
                <c:pt idx="51958">
                  <c:v>0.92666309969680705</c:v>
                </c:pt>
                <c:pt idx="51959">
                  <c:v>0.92668093454610301</c:v>
                </c:pt>
                <c:pt idx="51960">
                  <c:v>0.92669876939539797</c:v>
                </c:pt>
                <c:pt idx="51961">
                  <c:v>0.92671660424469404</c:v>
                </c:pt>
                <c:pt idx="51962">
                  <c:v>0.926734439093989</c:v>
                </c:pt>
                <c:pt idx="51963">
                  <c:v>0.92675227394328497</c:v>
                </c:pt>
                <c:pt idx="51964">
                  <c:v>0.92677010879258004</c:v>
                </c:pt>
                <c:pt idx="51965">
                  <c:v>0.926787943641876</c:v>
                </c:pt>
                <c:pt idx="51966">
                  <c:v>0.92680577849117096</c:v>
                </c:pt>
                <c:pt idx="51967">
                  <c:v>0.92682361334046703</c:v>
                </c:pt>
                <c:pt idx="51968">
                  <c:v>0.926841448189762</c:v>
                </c:pt>
                <c:pt idx="51969">
                  <c:v>0.92685928303905796</c:v>
                </c:pt>
                <c:pt idx="51970">
                  <c:v>0.92687711788835303</c:v>
                </c:pt>
                <c:pt idx="51971">
                  <c:v>0.92689495273764899</c:v>
                </c:pt>
                <c:pt idx="51972">
                  <c:v>0.92691278758694395</c:v>
                </c:pt>
                <c:pt idx="51973">
                  <c:v>0.92693062243624003</c:v>
                </c:pt>
                <c:pt idx="51974">
                  <c:v>0.92694845728553599</c:v>
                </c:pt>
                <c:pt idx="51975">
                  <c:v>0.92696629213483095</c:v>
                </c:pt>
                <c:pt idx="51976">
                  <c:v>0.92698412698412702</c:v>
                </c:pt>
                <c:pt idx="51977">
                  <c:v>0.92700196183342198</c:v>
                </c:pt>
                <c:pt idx="51978">
                  <c:v>0.92701979668271794</c:v>
                </c:pt>
                <c:pt idx="51979">
                  <c:v>0.92703763153201302</c:v>
                </c:pt>
                <c:pt idx="51980">
                  <c:v>0.92705546638130898</c:v>
                </c:pt>
                <c:pt idx="51981">
                  <c:v>0.92707330123060405</c:v>
                </c:pt>
                <c:pt idx="51982">
                  <c:v>0.92709113607990001</c:v>
                </c:pt>
                <c:pt idx="51983">
                  <c:v>0.92710897092919498</c:v>
                </c:pt>
                <c:pt idx="51984">
                  <c:v>0.92712680577849105</c:v>
                </c:pt>
                <c:pt idx="51985">
                  <c:v>0.92714464062778601</c:v>
                </c:pt>
                <c:pt idx="51986">
                  <c:v>0.92716247547708197</c:v>
                </c:pt>
                <c:pt idx="51987">
                  <c:v>0.92718031032637704</c:v>
                </c:pt>
                <c:pt idx="51988">
                  <c:v>0.92719814517567301</c:v>
                </c:pt>
                <c:pt idx="51989">
                  <c:v>0.92721598002496797</c:v>
                </c:pt>
                <c:pt idx="51990">
                  <c:v>0.92723381487426404</c:v>
                </c:pt>
                <c:pt idx="51991">
                  <c:v>0.927251649723559</c:v>
                </c:pt>
                <c:pt idx="51992">
                  <c:v>0.92726948457285496</c:v>
                </c:pt>
                <c:pt idx="51993">
                  <c:v>0.92728731942215004</c:v>
                </c:pt>
                <c:pt idx="51994">
                  <c:v>0.927305154271446</c:v>
                </c:pt>
                <c:pt idx="51995">
                  <c:v>0.92732298912074196</c:v>
                </c:pt>
                <c:pt idx="51996">
                  <c:v>0.92734082397003703</c:v>
                </c:pt>
                <c:pt idx="51997">
                  <c:v>0.92735865881933299</c:v>
                </c:pt>
                <c:pt idx="51998">
                  <c:v>0.92737649366862795</c:v>
                </c:pt>
                <c:pt idx="51999">
                  <c:v>0.92739432851792403</c:v>
                </c:pt>
                <c:pt idx="52000">
                  <c:v>0.92741216336721899</c:v>
                </c:pt>
                <c:pt idx="52001">
                  <c:v>0.92742999821651495</c:v>
                </c:pt>
                <c:pt idx="52002">
                  <c:v>0.92744783306581002</c:v>
                </c:pt>
                <c:pt idx="52003">
                  <c:v>0.92746566791510598</c:v>
                </c:pt>
                <c:pt idx="52004">
                  <c:v>0.92748350276440095</c:v>
                </c:pt>
                <c:pt idx="52005">
                  <c:v>0.92750133761369702</c:v>
                </c:pt>
                <c:pt idx="52006">
                  <c:v>0.92751917246299198</c:v>
                </c:pt>
                <c:pt idx="52007">
                  <c:v>0.92753700731228805</c:v>
                </c:pt>
                <c:pt idx="52008">
                  <c:v>0.92755484216158302</c:v>
                </c:pt>
                <c:pt idx="52009">
                  <c:v>0.92757267701087898</c:v>
                </c:pt>
                <c:pt idx="52010">
                  <c:v>0.92759051186017405</c:v>
                </c:pt>
                <c:pt idx="52011">
                  <c:v>0.92760834670947001</c:v>
                </c:pt>
                <c:pt idx="52012">
                  <c:v>0.92762618155876497</c:v>
                </c:pt>
                <c:pt idx="52013">
                  <c:v>0.92764401640806105</c:v>
                </c:pt>
                <c:pt idx="52014">
                  <c:v>0.92766185125735601</c:v>
                </c:pt>
                <c:pt idx="52015">
                  <c:v>0.92767968610665197</c:v>
                </c:pt>
                <c:pt idx="52016">
                  <c:v>0.92769752095594704</c:v>
                </c:pt>
                <c:pt idx="52017">
                  <c:v>0.927715355805243</c:v>
                </c:pt>
                <c:pt idx="52018">
                  <c:v>0.92773319065453896</c:v>
                </c:pt>
                <c:pt idx="52019">
                  <c:v>0.92775102550383404</c:v>
                </c:pt>
                <c:pt idx="52020">
                  <c:v>0.92776886035313</c:v>
                </c:pt>
                <c:pt idx="52021">
                  <c:v>0.92778669520242496</c:v>
                </c:pt>
                <c:pt idx="52022">
                  <c:v>0.92780453005172103</c:v>
                </c:pt>
                <c:pt idx="52023">
                  <c:v>0.92782236490101599</c:v>
                </c:pt>
                <c:pt idx="52024">
                  <c:v>0.92784019975031196</c:v>
                </c:pt>
                <c:pt idx="52025">
                  <c:v>0.92785803459960703</c:v>
                </c:pt>
                <c:pt idx="52026">
                  <c:v>0.92787586944890299</c:v>
                </c:pt>
                <c:pt idx="52027">
                  <c:v>0.92789370429819795</c:v>
                </c:pt>
                <c:pt idx="52028">
                  <c:v>0.92791153914749402</c:v>
                </c:pt>
                <c:pt idx="52029">
                  <c:v>0.92792937399678899</c:v>
                </c:pt>
                <c:pt idx="52030">
                  <c:v>0.92794720884608495</c:v>
                </c:pt>
                <c:pt idx="52031">
                  <c:v>0.92796504369538002</c:v>
                </c:pt>
                <c:pt idx="52032">
                  <c:v>0.92798287854467598</c:v>
                </c:pt>
                <c:pt idx="52033">
                  <c:v>0.92800071339397106</c:v>
                </c:pt>
                <c:pt idx="52034">
                  <c:v>0.92801854824326702</c:v>
                </c:pt>
                <c:pt idx="52035">
                  <c:v>0.92803638309256198</c:v>
                </c:pt>
                <c:pt idx="52036">
                  <c:v>0.92805421794185805</c:v>
                </c:pt>
                <c:pt idx="52037">
                  <c:v>0.92807205279115301</c:v>
                </c:pt>
                <c:pt idx="52038">
                  <c:v>0.92808988764044897</c:v>
                </c:pt>
                <c:pt idx="52039">
                  <c:v>0.92810772248974405</c:v>
                </c:pt>
                <c:pt idx="52040">
                  <c:v>0.92812555733904001</c:v>
                </c:pt>
                <c:pt idx="52041">
                  <c:v>0.92814339218833597</c:v>
                </c:pt>
                <c:pt idx="52042">
                  <c:v>0.92816122703763104</c:v>
                </c:pt>
                <c:pt idx="52043">
                  <c:v>0.928179061886927</c:v>
                </c:pt>
                <c:pt idx="52044">
                  <c:v>0.92819689673622197</c:v>
                </c:pt>
                <c:pt idx="52045">
                  <c:v>0.92821473158551804</c:v>
                </c:pt>
                <c:pt idx="52046">
                  <c:v>0.928232566434813</c:v>
                </c:pt>
                <c:pt idx="52047">
                  <c:v>0.92825040128410896</c:v>
                </c:pt>
                <c:pt idx="52048">
                  <c:v>0.92826823613340403</c:v>
                </c:pt>
                <c:pt idx="52049">
                  <c:v>0.9282860709827</c:v>
                </c:pt>
                <c:pt idx="52050">
                  <c:v>0.92830390583199496</c:v>
                </c:pt>
                <c:pt idx="52051">
                  <c:v>0.92832174068129103</c:v>
                </c:pt>
                <c:pt idx="52052">
                  <c:v>0.92833957553058599</c:v>
                </c:pt>
                <c:pt idx="52053">
                  <c:v>0.92835741037988195</c:v>
                </c:pt>
                <c:pt idx="52054">
                  <c:v>0.92837524522917703</c:v>
                </c:pt>
                <c:pt idx="52055">
                  <c:v>0.92839308007847299</c:v>
                </c:pt>
                <c:pt idx="52056">
                  <c:v>0.92841091492776795</c:v>
                </c:pt>
                <c:pt idx="52057">
                  <c:v>0.92842874977706402</c:v>
                </c:pt>
                <c:pt idx="52058">
                  <c:v>0.92844658462635898</c:v>
                </c:pt>
                <c:pt idx="52059">
                  <c:v>0.92846441947565495</c:v>
                </c:pt>
                <c:pt idx="52060">
                  <c:v>0.92848225432495002</c:v>
                </c:pt>
                <c:pt idx="52061">
                  <c:v>0.92850008917424598</c:v>
                </c:pt>
                <c:pt idx="52062">
                  <c:v>0.92851792402354205</c:v>
                </c:pt>
                <c:pt idx="52063">
                  <c:v>0.92853575887283701</c:v>
                </c:pt>
                <c:pt idx="52064">
                  <c:v>0.92855359372213297</c:v>
                </c:pt>
                <c:pt idx="52065">
                  <c:v>0.92857142857142805</c:v>
                </c:pt>
                <c:pt idx="52066">
                  <c:v>0.92858926342072401</c:v>
                </c:pt>
                <c:pt idx="52067">
                  <c:v>0.92860709827001897</c:v>
                </c:pt>
                <c:pt idx="52068">
                  <c:v>0.92862493311931504</c:v>
                </c:pt>
                <c:pt idx="52069">
                  <c:v>0.92864276796861001</c:v>
                </c:pt>
                <c:pt idx="52070">
                  <c:v>0.92866060281790597</c:v>
                </c:pt>
                <c:pt idx="52071">
                  <c:v>0.92867843766720104</c:v>
                </c:pt>
                <c:pt idx="52072">
                  <c:v>0.928696272516497</c:v>
                </c:pt>
                <c:pt idx="52073">
                  <c:v>0.92871410736579196</c:v>
                </c:pt>
                <c:pt idx="52074">
                  <c:v>0.92873194221508804</c:v>
                </c:pt>
                <c:pt idx="52075">
                  <c:v>0.928749777064383</c:v>
                </c:pt>
                <c:pt idx="52076">
                  <c:v>0.92876761191367896</c:v>
                </c:pt>
                <c:pt idx="52077">
                  <c:v>0.92878544676297403</c:v>
                </c:pt>
                <c:pt idx="52078">
                  <c:v>0.92880328161226999</c:v>
                </c:pt>
                <c:pt idx="52079">
                  <c:v>0.92882111646156595</c:v>
                </c:pt>
                <c:pt idx="52080">
                  <c:v>0.92883895131086103</c:v>
                </c:pt>
                <c:pt idx="52081">
                  <c:v>0.92885678616015699</c:v>
                </c:pt>
                <c:pt idx="52082">
                  <c:v>0.92887462100945195</c:v>
                </c:pt>
                <c:pt idx="52083">
                  <c:v>0.92889245585874802</c:v>
                </c:pt>
                <c:pt idx="52084">
                  <c:v>0.92891029070804298</c:v>
                </c:pt>
                <c:pt idx="52085">
                  <c:v>0.92892812555733895</c:v>
                </c:pt>
                <c:pt idx="52086">
                  <c:v>0.92894596040663402</c:v>
                </c:pt>
                <c:pt idx="52087">
                  <c:v>0.92896379525592998</c:v>
                </c:pt>
                <c:pt idx="52088">
                  <c:v>0.92898163010522505</c:v>
                </c:pt>
                <c:pt idx="52089">
                  <c:v>0.92899946495452101</c:v>
                </c:pt>
                <c:pt idx="52090">
                  <c:v>0.92901729980381598</c:v>
                </c:pt>
                <c:pt idx="52091">
                  <c:v>0.92903513465311205</c:v>
                </c:pt>
                <c:pt idx="52092">
                  <c:v>0.92905296950240701</c:v>
                </c:pt>
                <c:pt idx="52093">
                  <c:v>0.92907080435170297</c:v>
                </c:pt>
                <c:pt idx="52094">
                  <c:v>0.92908863920099805</c:v>
                </c:pt>
                <c:pt idx="52095">
                  <c:v>0.92910647405029401</c:v>
                </c:pt>
                <c:pt idx="52096">
                  <c:v>0.92912430889958897</c:v>
                </c:pt>
                <c:pt idx="52097">
                  <c:v>0.92914214374888504</c:v>
                </c:pt>
                <c:pt idx="52098">
                  <c:v>0.92915997859818</c:v>
                </c:pt>
                <c:pt idx="52099">
                  <c:v>0.92917781344747596</c:v>
                </c:pt>
                <c:pt idx="52100">
                  <c:v>0.92919564829677104</c:v>
                </c:pt>
                <c:pt idx="52101">
                  <c:v>0.929213483146067</c:v>
                </c:pt>
                <c:pt idx="52102">
                  <c:v>0.92923131799536296</c:v>
                </c:pt>
                <c:pt idx="52103">
                  <c:v>0.92924915284465803</c:v>
                </c:pt>
                <c:pt idx="52104">
                  <c:v>0.92926698769395399</c:v>
                </c:pt>
                <c:pt idx="52105">
                  <c:v>0.92928482254324896</c:v>
                </c:pt>
                <c:pt idx="52106">
                  <c:v>0.92930265739254503</c:v>
                </c:pt>
                <c:pt idx="52107">
                  <c:v>0.92932049224183999</c:v>
                </c:pt>
                <c:pt idx="52108">
                  <c:v>0.92933832709113595</c:v>
                </c:pt>
                <c:pt idx="52109">
                  <c:v>0.92935616194043102</c:v>
                </c:pt>
                <c:pt idx="52110">
                  <c:v>0.92937399678972699</c:v>
                </c:pt>
                <c:pt idx="52111">
                  <c:v>0.92939183163902195</c:v>
                </c:pt>
                <c:pt idx="52112">
                  <c:v>0.92940966648831802</c:v>
                </c:pt>
                <c:pt idx="52113">
                  <c:v>0.92942750133761298</c:v>
                </c:pt>
                <c:pt idx="52114">
                  <c:v>0.92944533618690905</c:v>
                </c:pt>
                <c:pt idx="52115">
                  <c:v>0.92946317103620402</c:v>
                </c:pt>
                <c:pt idx="52116">
                  <c:v>0.92948100588549998</c:v>
                </c:pt>
                <c:pt idx="52117">
                  <c:v>0.92949884073479505</c:v>
                </c:pt>
                <c:pt idx="52118">
                  <c:v>0.92951667558409101</c:v>
                </c:pt>
                <c:pt idx="52119">
                  <c:v>0.92953451043338597</c:v>
                </c:pt>
                <c:pt idx="52120">
                  <c:v>0.92955234528268205</c:v>
                </c:pt>
                <c:pt idx="52121">
                  <c:v>0.92957018013197701</c:v>
                </c:pt>
                <c:pt idx="52122">
                  <c:v>0.92958801498127297</c:v>
                </c:pt>
                <c:pt idx="52123">
                  <c:v>0.92960584983056804</c:v>
                </c:pt>
                <c:pt idx="52124">
                  <c:v>0.929623684679864</c:v>
                </c:pt>
                <c:pt idx="52125">
                  <c:v>0.92964151952915997</c:v>
                </c:pt>
                <c:pt idx="52126">
                  <c:v>0.92965935437845504</c:v>
                </c:pt>
                <c:pt idx="52127">
                  <c:v>0.929677189227751</c:v>
                </c:pt>
                <c:pt idx="52128">
                  <c:v>0.92969502407704596</c:v>
                </c:pt>
                <c:pt idx="52129">
                  <c:v>0.92971285892634203</c:v>
                </c:pt>
                <c:pt idx="52130">
                  <c:v>0.929730693775637</c:v>
                </c:pt>
                <c:pt idx="52131">
                  <c:v>0.92974852862493296</c:v>
                </c:pt>
                <c:pt idx="52132">
                  <c:v>0.92976636347422803</c:v>
                </c:pt>
                <c:pt idx="52133">
                  <c:v>0.92978419832352399</c:v>
                </c:pt>
                <c:pt idx="52134">
                  <c:v>0.92980203317281895</c:v>
                </c:pt>
                <c:pt idx="52135">
                  <c:v>0.92981986802211503</c:v>
                </c:pt>
                <c:pt idx="52136">
                  <c:v>0.92983770287140999</c:v>
                </c:pt>
                <c:pt idx="52137">
                  <c:v>0.92985553772070595</c:v>
                </c:pt>
                <c:pt idx="52138">
                  <c:v>0.92987337257000102</c:v>
                </c:pt>
                <c:pt idx="52139">
                  <c:v>0.92989120741929698</c:v>
                </c:pt>
                <c:pt idx="52140">
                  <c:v>0.92990904226859195</c:v>
                </c:pt>
                <c:pt idx="52141">
                  <c:v>0.92992687711788802</c:v>
                </c:pt>
                <c:pt idx="52142">
                  <c:v>0.92994471196718298</c:v>
                </c:pt>
                <c:pt idx="52143">
                  <c:v>0.92996254681647905</c:v>
                </c:pt>
                <c:pt idx="52144">
                  <c:v>0.92998038166577401</c:v>
                </c:pt>
                <c:pt idx="52145">
                  <c:v>0.92999821651506998</c:v>
                </c:pt>
                <c:pt idx="52146">
                  <c:v>0.93001605136436505</c:v>
                </c:pt>
                <c:pt idx="52147">
                  <c:v>0.93003388621366101</c:v>
                </c:pt>
                <c:pt idx="52148">
                  <c:v>0.93005172106295697</c:v>
                </c:pt>
                <c:pt idx="52149">
                  <c:v>0.93006955591225204</c:v>
                </c:pt>
                <c:pt idx="52150">
                  <c:v>0.93008739076154801</c:v>
                </c:pt>
                <c:pt idx="52151">
                  <c:v>0.93010522561084297</c:v>
                </c:pt>
                <c:pt idx="52152">
                  <c:v>0.93012306046013904</c:v>
                </c:pt>
                <c:pt idx="52153">
                  <c:v>0.930140895309434</c:v>
                </c:pt>
                <c:pt idx="52154">
                  <c:v>0.93015873015872996</c:v>
                </c:pt>
                <c:pt idx="52155">
                  <c:v>0.93017656500802504</c:v>
                </c:pt>
                <c:pt idx="52156">
                  <c:v>0.930194399857321</c:v>
                </c:pt>
                <c:pt idx="52157">
                  <c:v>0.93021223470661596</c:v>
                </c:pt>
                <c:pt idx="52158">
                  <c:v>0.93023006955591203</c:v>
                </c:pt>
                <c:pt idx="52159">
                  <c:v>0.93024790440520699</c:v>
                </c:pt>
                <c:pt idx="52160">
                  <c:v>0.93026573925450295</c:v>
                </c:pt>
                <c:pt idx="52161">
                  <c:v>0.93028357410379803</c:v>
                </c:pt>
                <c:pt idx="52162">
                  <c:v>0.93030140895309399</c:v>
                </c:pt>
                <c:pt idx="52163">
                  <c:v>0.93031924380238895</c:v>
                </c:pt>
                <c:pt idx="52164">
                  <c:v>0.93033707865168502</c:v>
                </c:pt>
                <c:pt idx="52165">
                  <c:v>0.93035491350097999</c:v>
                </c:pt>
                <c:pt idx="52166">
                  <c:v>0.93037274835027595</c:v>
                </c:pt>
                <c:pt idx="52167">
                  <c:v>0.93039058319957202</c:v>
                </c:pt>
                <c:pt idx="52168">
                  <c:v>0.93040841804886698</c:v>
                </c:pt>
                <c:pt idx="52169">
                  <c:v>0.93042625289816305</c:v>
                </c:pt>
                <c:pt idx="52170">
                  <c:v>0.93044408774745802</c:v>
                </c:pt>
                <c:pt idx="52171">
                  <c:v>0.93046192259675398</c:v>
                </c:pt>
                <c:pt idx="52172">
                  <c:v>0.93047975744604905</c:v>
                </c:pt>
                <c:pt idx="52173">
                  <c:v>0.93049759229534501</c:v>
                </c:pt>
                <c:pt idx="52174">
                  <c:v>0.93051542714463997</c:v>
                </c:pt>
                <c:pt idx="52175">
                  <c:v>0.93053326199393605</c:v>
                </c:pt>
                <c:pt idx="52176">
                  <c:v>0.93055109684323101</c:v>
                </c:pt>
                <c:pt idx="52177">
                  <c:v>0.93056893169252697</c:v>
                </c:pt>
                <c:pt idx="52178">
                  <c:v>0.93058676654182204</c:v>
                </c:pt>
                <c:pt idx="52179">
                  <c:v>0.930604601391118</c:v>
                </c:pt>
                <c:pt idx="52180">
                  <c:v>0.93062243624041296</c:v>
                </c:pt>
                <c:pt idx="52181">
                  <c:v>0.93064027108970904</c:v>
                </c:pt>
                <c:pt idx="52182">
                  <c:v>0.930658105939004</c:v>
                </c:pt>
                <c:pt idx="52183">
                  <c:v>0.93067594078829996</c:v>
                </c:pt>
                <c:pt idx="52184">
                  <c:v>0.93069377563759503</c:v>
                </c:pt>
                <c:pt idx="52185">
                  <c:v>0.93071161048689099</c:v>
                </c:pt>
                <c:pt idx="52186">
                  <c:v>0.93072944533618696</c:v>
                </c:pt>
                <c:pt idx="52187">
                  <c:v>0.93074728018548203</c:v>
                </c:pt>
                <c:pt idx="52188">
                  <c:v>0.93076511503477799</c:v>
                </c:pt>
                <c:pt idx="52189">
                  <c:v>0.93078294988407295</c:v>
                </c:pt>
                <c:pt idx="52190">
                  <c:v>0.93080078473336902</c:v>
                </c:pt>
                <c:pt idx="52191">
                  <c:v>0.93081861958266399</c:v>
                </c:pt>
                <c:pt idx="52192">
                  <c:v>0.93083645443195995</c:v>
                </c:pt>
                <c:pt idx="52193">
                  <c:v>0.93085428928125502</c:v>
                </c:pt>
                <c:pt idx="52194">
                  <c:v>0.93087212413055098</c:v>
                </c:pt>
                <c:pt idx="52195">
                  <c:v>0.93088995897984605</c:v>
                </c:pt>
                <c:pt idx="52196">
                  <c:v>0.93090779382914202</c:v>
                </c:pt>
                <c:pt idx="52197">
                  <c:v>0.93092562867843698</c:v>
                </c:pt>
                <c:pt idx="52198">
                  <c:v>0.93094346352773305</c:v>
                </c:pt>
                <c:pt idx="52199">
                  <c:v>0.93096129837702801</c:v>
                </c:pt>
                <c:pt idx="52200">
                  <c:v>0.93097913322632397</c:v>
                </c:pt>
                <c:pt idx="52201">
                  <c:v>0.93099696807561905</c:v>
                </c:pt>
                <c:pt idx="52202">
                  <c:v>0.93101480292491501</c:v>
                </c:pt>
                <c:pt idx="52203">
                  <c:v>0.93103263777420997</c:v>
                </c:pt>
                <c:pt idx="52204">
                  <c:v>0.93105047262350604</c:v>
                </c:pt>
                <c:pt idx="52205">
                  <c:v>0.931068307472801</c:v>
                </c:pt>
                <c:pt idx="52206">
                  <c:v>0.93108614232209697</c:v>
                </c:pt>
                <c:pt idx="52207">
                  <c:v>0.93110397717139204</c:v>
                </c:pt>
                <c:pt idx="52208">
                  <c:v>0.931121812020688</c:v>
                </c:pt>
                <c:pt idx="52209">
                  <c:v>0.93113964686998396</c:v>
                </c:pt>
                <c:pt idx="52210">
                  <c:v>0.93115748171927903</c:v>
                </c:pt>
                <c:pt idx="52211">
                  <c:v>0.931175316568575</c:v>
                </c:pt>
                <c:pt idx="52212">
                  <c:v>0.93119315141786996</c:v>
                </c:pt>
                <c:pt idx="52213">
                  <c:v>0.93121098626716603</c:v>
                </c:pt>
                <c:pt idx="52214">
                  <c:v>0.93122882111646099</c:v>
                </c:pt>
                <c:pt idx="52215">
                  <c:v>0.93124665596575695</c:v>
                </c:pt>
                <c:pt idx="52216">
                  <c:v>0.93126449081505203</c:v>
                </c:pt>
                <c:pt idx="52217">
                  <c:v>0.93128232566434799</c:v>
                </c:pt>
                <c:pt idx="52218">
                  <c:v>0.93130016051364295</c:v>
                </c:pt>
                <c:pt idx="52219">
                  <c:v>0.93131799536293902</c:v>
                </c:pt>
                <c:pt idx="52220">
                  <c:v>0.93133583021223398</c:v>
                </c:pt>
                <c:pt idx="52221">
                  <c:v>0.93135366506152995</c:v>
                </c:pt>
                <c:pt idx="52222">
                  <c:v>0.93137149991082502</c:v>
                </c:pt>
                <c:pt idx="52223">
                  <c:v>0.93138933476012098</c:v>
                </c:pt>
                <c:pt idx="52224">
                  <c:v>0.93140716960941605</c:v>
                </c:pt>
                <c:pt idx="52225">
                  <c:v>0.93142500445871201</c:v>
                </c:pt>
                <c:pt idx="52226">
                  <c:v>0.93144283930800698</c:v>
                </c:pt>
                <c:pt idx="52227">
                  <c:v>0.93146067415730305</c:v>
                </c:pt>
                <c:pt idx="52228">
                  <c:v>0.93147850900659801</c:v>
                </c:pt>
                <c:pt idx="52229">
                  <c:v>0.93149634385589397</c:v>
                </c:pt>
                <c:pt idx="52230">
                  <c:v>0.93151417870518904</c:v>
                </c:pt>
                <c:pt idx="52231">
                  <c:v>0.93153201355448501</c:v>
                </c:pt>
                <c:pt idx="52232">
                  <c:v>0.93154984840378097</c:v>
                </c:pt>
                <c:pt idx="52233">
                  <c:v>0.93156768325307604</c:v>
                </c:pt>
                <c:pt idx="52234">
                  <c:v>0.931585518102372</c:v>
                </c:pt>
                <c:pt idx="52235">
                  <c:v>0.93160335295166696</c:v>
                </c:pt>
                <c:pt idx="52236">
                  <c:v>0.93162118780096304</c:v>
                </c:pt>
                <c:pt idx="52237">
                  <c:v>0.931639022650258</c:v>
                </c:pt>
                <c:pt idx="52238">
                  <c:v>0.93165685749955396</c:v>
                </c:pt>
                <c:pt idx="52239">
                  <c:v>0.93167469234884903</c:v>
                </c:pt>
                <c:pt idx="52240">
                  <c:v>0.93169252719814499</c:v>
                </c:pt>
                <c:pt idx="52241">
                  <c:v>0.93171036204743996</c:v>
                </c:pt>
                <c:pt idx="52242">
                  <c:v>0.93172819689673603</c:v>
                </c:pt>
                <c:pt idx="52243">
                  <c:v>0.93174603174603099</c:v>
                </c:pt>
                <c:pt idx="52244">
                  <c:v>0.93176386659532695</c:v>
                </c:pt>
                <c:pt idx="52245">
                  <c:v>0.93178170144462202</c:v>
                </c:pt>
                <c:pt idx="52246">
                  <c:v>0.93179953629391798</c:v>
                </c:pt>
                <c:pt idx="52247">
                  <c:v>0.93181737114321295</c:v>
                </c:pt>
                <c:pt idx="52248">
                  <c:v>0.93183520599250902</c:v>
                </c:pt>
                <c:pt idx="52249">
                  <c:v>0.93185304084180398</c:v>
                </c:pt>
                <c:pt idx="52250">
                  <c:v>0.93187087569110005</c:v>
                </c:pt>
                <c:pt idx="52251">
                  <c:v>0.93188871054039502</c:v>
                </c:pt>
                <c:pt idx="52252">
                  <c:v>0.93190654538969098</c:v>
                </c:pt>
                <c:pt idx="52253">
                  <c:v>0.93192438023898605</c:v>
                </c:pt>
                <c:pt idx="52254">
                  <c:v>0.93194221508828201</c:v>
                </c:pt>
                <c:pt idx="52255">
                  <c:v>0.93196004993757797</c:v>
                </c:pt>
                <c:pt idx="52256">
                  <c:v>0.93197788478687305</c:v>
                </c:pt>
                <c:pt idx="52257">
                  <c:v>0.93199571963616901</c:v>
                </c:pt>
                <c:pt idx="52258">
                  <c:v>0.93201355448546397</c:v>
                </c:pt>
                <c:pt idx="52259">
                  <c:v>0.93203138933476004</c:v>
                </c:pt>
                <c:pt idx="52260">
                  <c:v>0.932049224184055</c:v>
                </c:pt>
                <c:pt idx="52261">
                  <c:v>0.93206705903335096</c:v>
                </c:pt>
                <c:pt idx="52262">
                  <c:v>0.93208489388264604</c:v>
                </c:pt>
                <c:pt idx="52263">
                  <c:v>0.932102728731942</c:v>
                </c:pt>
                <c:pt idx="52264">
                  <c:v>0.93212056358123696</c:v>
                </c:pt>
                <c:pt idx="52265">
                  <c:v>0.93213839843053303</c:v>
                </c:pt>
                <c:pt idx="52266">
                  <c:v>0.93215623327982799</c:v>
                </c:pt>
                <c:pt idx="52267">
                  <c:v>0.93217406812912396</c:v>
                </c:pt>
                <c:pt idx="52268">
                  <c:v>0.93219190297841903</c:v>
                </c:pt>
                <c:pt idx="52269">
                  <c:v>0.93220973782771499</c:v>
                </c:pt>
                <c:pt idx="52270">
                  <c:v>0.93222757267700995</c:v>
                </c:pt>
                <c:pt idx="52271">
                  <c:v>0.93224540752630602</c:v>
                </c:pt>
                <c:pt idx="52272">
                  <c:v>0.93226324237560099</c:v>
                </c:pt>
                <c:pt idx="52273">
                  <c:v>0.93228107722489695</c:v>
                </c:pt>
                <c:pt idx="52274">
                  <c:v>0.93229891207419302</c:v>
                </c:pt>
                <c:pt idx="52275">
                  <c:v>0.93231674692348798</c:v>
                </c:pt>
                <c:pt idx="52276">
                  <c:v>0.93233458177278405</c:v>
                </c:pt>
                <c:pt idx="52277">
                  <c:v>0.93235241662207902</c:v>
                </c:pt>
                <c:pt idx="52278">
                  <c:v>0.93237025147137498</c:v>
                </c:pt>
                <c:pt idx="52279">
                  <c:v>0.93238808632067005</c:v>
                </c:pt>
                <c:pt idx="52280">
                  <c:v>0.93240592116996601</c:v>
                </c:pt>
                <c:pt idx="52281">
                  <c:v>0.93242375601926097</c:v>
                </c:pt>
                <c:pt idx="52282">
                  <c:v>0.93244159086855705</c:v>
                </c:pt>
                <c:pt idx="52283">
                  <c:v>0.93245942571785201</c:v>
                </c:pt>
                <c:pt idx="52284">
                  <c:v>0.93247726056714797</c:v>
                </c:pt>
                <c:pt idx="52285">
                  <c:v>0.93249509541644304</c:v>
                </c:pt>
                <c:pt idx="52286">
                  <c:v>0.932512930265739</c:v>
                </c:pt>
                <c:pt idx="52287">
                  <c:v>0.93253076511503397</c:v>
                </c:pt>
                <c:pt idx="52288">
                  <c:v>0.93254859996433004</c:v>
                </c:pt>
                <c:pt idx="52289">
                  <c:v>0.932566434813625</c:v>
                </c:pt>
                <c:pt idx="52290">
                  <c:v>0.93258426966292096</c:v>
                </c:pt>
                <c:pt idx="52291">
                  <c:v>0.93260210451221603</c:v>
                </c:pt>
                <c:pt idx="52292">
                  <c:v>0.932619939361512</c:v>
                </c:pt>
                <c:pt idx="52293">
                  <c:v>0.93263777421080796</c:v>
                </c:pt>
                <c:pt idx="52294">
                  <c:v>0.93265560906010303</c:v>
                </c:pt>
                <c:pt idx="52295">
                  <c:v>0.93267344390939899</c:v>
                </c:pt>
                <c:pt idx="52296">
                  <c:v>0.93269127875869395</c:v>
                </c:pt>
                <c:pt idx="52297">
                  <c:v>0.93270911360799003</c:v>
                </c:pt>
                <c:pt idx="52298">
                  <c:v>0.93272694845728499</c:v>
                </c:pt>
                <c:pt idx="52299">
                  <c:v>0.93274478330658095</c:v>
                </c:pt>
                <c:pt idx="52300">
                  <c:v>0.93276261815587602</c:v>
                </c:pt>
                <c:pt idx="52301">
                  <c:v>0.93278045300517198</c:v>
                </c:pt>
                <c:pt idx="52302">
                  <c:v>0.93279828785446695</c:v>
                </c:pt>
                <c:pt idx="52303">
                  <c:v>0.93281612270376302</c:v>
                </c:pt>
                <c:pt idx="52304">
                  <c:v>0.93283395755305798</c:v>
                </c:pt>
                <c:pt idx="52305">
                  <c:v>0.93285179240235405</c:v>
                </c:pt>
                <c:pt idx="52306">
                  <c:v>0.93286962725164901</c:v>
                </c:pt>
                <c:pt idx="52307">
                  <c:v>0.93288746210094498</c:v>
                </c:pt>
                <c:pt idx="52308">
                  <c:v>0.93290529695024005</c:v>
                </c:pt>
                <c:pt idx="52309">
                  <c:v>0.93292313179953601</c:v>
                </c:pt>
                <c:pt idx="52310">
                  <c:v>0.93294096664883097</c:v>
                </c:pt>
                <c:pt idx="52311">
                  <c:v>0.93295880149812704</c:v>
                </c:pt>
                <c:pt idx="52312">
                  <c:v>0.93297663634742201</c:v>
                </c:pt>
                <c:pt idx="52313">
                  <c:v>0.93299447119671797</c:v>
                </c:pt>
                <c:pt idx="52314">
                  <c:v>0.93301230604601304</c:v>
                </c:pt>
                <c:pt idx="52315">
                  <c:v>0.933030140895309</c:v>
                </c:pt>
                <c:pt idx="52316">
                  <c:v>0.93304797574460496</c:v>
                </c:pt>
                <c:pt idx="52317">
                  <c:v>0.93306581059390004</c:v>
                </c:pt>
                <c:pt idx="52318">
                  <c:v>0.933083645443196</c:v>
                </c:pt>
                <c:pt idx="52319">
                  <c:v>0.93310148029249096</c:v>
                </c:pt>
                <c:pt idx="52320">
                  <c:v>0.93311931514178703</c:v>
                </c:pt>
                <c:pt idx="52321">
                  <c:v>0.93313714999108199</c:v>
                </c:pt>
                <c:pt idx="52322">
                  <c:v>0.93315498484037795</c:v>
                </c:pt>
                <c:pt idx="52323">
                  <c:v>0.93317281968967303</c:v>
                </c:pt>
                <c:pt idx="52324">
                  <c:v>0.93319065453896899</c:v>
                </c:pt>
                <c:pt idx="52325">
                  <c:v>0.93320848938826395</c:v>
                </c:pt>
                <c:pt idx="52326">
                  <c:v>0.93322632423756002</c:v>
                </c:pt>
                <c:pt idx="52327">
                  <c:v>0.93324415908685499</c:v>
                </c:pt>
                <c:pt idx="52328">
                  <c:v>0.93326199393615095</c:v>
                </c:pt>
                <c:pt idx="52329">
                  <c:v>0.93327982878544602</c:v>
                </c:pt>
                <c:pt idx="52330">
                  <c:v>0.93329766363474198</c:v>
                </c:pt>
                <c:pt idx="52331">
                  <c:v>0.93331549848403705</c:v>
                </c:pt>
                <c:pt idx="52332">
                  <c:v>0.93333333333333302</c:v>
                </c:pt>
                <c:pt idx="52333">
                  <c:v>0.93335116818262798</c:v>
                </c:pt>
                <c:pt idx="52334">
                  <c:v>0.93336900303192405</c:v>
                </c:pt>
                <c:pt idx="52335">
                  <c:v>0.93338683788121901</c:v>
                </c:pt>
                <c:pt idx="52336">
                  <c:v>0.93340467273051497</c:v>
                </c:pt>
                <c:pt idx="52337">
                  <c:v>0.93342250757981005</c:v>
                </c:pt>
                <c:pt idx="52338">
                  <c:v>0.93344034242910601</c:v>
                </c:pt>
                <c:pt idx="52339">
                  <c:v>0.93345817727840197</c:v>
                </c:pt>
                <c:pt idx="52340">
                  <c:v>0.93347601212769704</c:v>
                </c:pt>
                <c:pt idx="52341">
                  <c:v>0.933493846976993</c:v>
                </c:pt>
                <c:pt idx="52342">
                  <c:v>0.93351168182628796</c:v>
                </c:pt>
                <c:pt idx="52343">
                  <c:v>0.93352951667558404</c:v>
                </c:pt>
                <c:pt idx="52344">
                  <c:v>0.933547351524879</c:v>
                </c:pt>
                <c:pt idx="52345">
                  <c:v>0.93356518637417496</c:v>
                </c:pt>
                <c:pt idx="52346">
                  <c:v>0.93358302122347003</c:v>
                </c:pt>
                <c:pt idx="52347">
                  <c:v>0.93360085607276599</c:v>
                </c:pt>
                <c:pt idx="52348">
                  <c:v>0.93361869092206096</c:v>
                </c:pt>
                <c:pt idx="52349">
                  <c:v>0.93363652577135703</c:v>
                </c:pt>
                <c:pt idx="52350">
                  <c:v>0.93365436062065199</c:v>
                </c:pt>
                <c:pt idx="52351">
                  <c:v>0.93367219546994795</c:v>
                </c:pt>
                <c:pt idx="52352">
                  <c:v>0.93369003031924303</c:v>
                </c:pt>
                <c:pt idx="52353">
                  <c:v>0.93370786516853899</c:v>
                </c:pt>
                <c:pt idx="52354">
                  <c:v>0.93372570001783395</c:v>
                </c:pt>
                <c:pt idx="52355">
                  <c:v>0.93374353486713002</c:v>
                </c:pt>
                <c:pt idx="52356">
                  <c:v>0.93376136971642498</c:v>
                </c:pt>
                <c:pt idx="52357">
                  <c:v>0.93377920456572105</c:v>
                </c:pt>
                <c:pt idx="52358">
                  <c:v>0.93379703941501602</c:v>
                </c:pt>
                <c:pt idx="52359">
                  <c:v>0.93381487426431198</c:v>
                </c:pt>
                <c:pt idx="52360">
                  <c:v>0.93383270911360705</c:v>
                </c:pt>
                <c:pt idx="52361">
                  <c:v>0.93385054396290301</c:v>
                </c:pt>
                <c:pt idx="52362">
                  <c:v>0.93386837881219897</c:v>
                </c:pt>
                <c:pt idx="52363">
                  <c:v>0.93388621366149405</c:v>
                </c:pt>
                <c:pt idx="52364">
                  <c:v>0.93390404851079001</c:v>
                </c:pt>
                <c:pt idx="52365">
                  <c:v>0.93392188336008497</c:v>
                </c:pt>
                <c:pt idx="52366">
                  <c:v>0.93393971820938104</c:v>
                </c:pt>
                <c:pt idx="52367">
                  <c:v>0.933957553058676</c:v>
                </c:pt>
                <c:pt idx="52368">
                  <c:v>0.93397538790797197</c:v>
                </c:pt>
                <c:pt idx="52369">
                  <c:v>0.93399322275726704</c:v>
                </c:pt>
                <c:pt idx="52370">
                  <c:v>0.934011057606563</c:v>
                </c:pt>
                <c:pt idx="52371">
                  <c:v>0.93402889245585796</c:v>
                </c:pt>
                <c:pt idx="52372">
                  <c:v>0.93404672730515403</c:v>
                </c:pt>
                <c:pt idx="52373">
                  <c:v>0.934064562154449</c:v>
                </c:pt>
                <c:pt idx="52374">
                  <c:v>0.93408239700374496</c:v>
                </c:pt>
                <c:pt idx="52375">
                  <c:v>0.93410023185304003</c:v>
                </c:pt>
                <c:pt idx="52376">
                  <c:v>0.93411806670233599</c:v>
                </c:pt>
                <c:pt idx="52377">
                  <c:v>0.93413590155163095</c:v>
                </c:pt>
                <c:pt idx="52378">
                  <c:v>0.93415373640092703</c:v>
                </c:pt>
                <c:pt idx="52379">
                  <c:v>0.93417157125022299</c:v>
                </c:pt>
                <c:pt idx="52380">
                  <c:v>0.93418940609951795</c:v>
                </c:pt>
                <c:pt idx="52381">
                  <c:v>0.93420724094881402</c:v>
                </c:pt>
                <c:pt idx="52382">
                  <c:v>0.93422507579810898</c:v>
                </c:pt>
                <c:pt idx="52383">
                  <c:v>0.93424291064740494</c:v>
                </c:pt>
                <c:pt idx="52384">
                  <c:v>0.93426074549670002</c:v>
                </c:pt>
                <c:pt idx="52385">
                  <c:v>0.93427858034599598</c:v>
                </c:pt>
                <c:pt idx="52386">
                  <c:v>0.93429641519529105</c:v>
                </c:pt>
                <c:pt idx="52387">
                  <c:v>0.93431425004458701</c:v>
                </c:pt>
                <c:pt idx="52388">
                  <c:v>0.93433208489388198</c:v>
                </c:pt>
                <c:pt idx="52389">
                  <c:v>0.93434991974317805</c:v>
                </c:pt>
                <c:pt idx="52390">
                  <c:v>0.93436775459247301</c:v>
                </c:pt>
                <c:pt idx="52391">
                  <c:v>0.93438558944176897</c:v>
                </c:pt>
                <c:pt idx="52392">
                  <c:v>0.93440342429106404</c:v>
                </c:pt>
                <c:pt idx="52393">
                  <c:v>0.93442125914036001</c:v>
                </c:pt>
                <c:pt idx="52394">
                  <c:v>0.93443909398965497</c:v>
                </c:pt>
                <c:pt idx="52395">
                  <c:v>0.93445692883895104</c:v>
                </c:pt>
                <c:pt idx="52396">
                  <c:v>0.934474763688246</c:v>
                </c:pt>
                <c:pt idx="52397">
                  <c:v>0.93449259853754196</c:v>
                </c:pt>
                <c:pt idx="52398">
                  <c:v>0.93451043338683704</c:v>
                </c:pt>
                <c:pt idx="52399">
                  <c:v>0.934528268236133</c:v>
                </c:pt>
                <c:pt idx="52400">
                  <c:v>0.93454610308542896</c:v>
                </c:pt>
                <c:pt idx="52401">
                  <c:v>0.93456393793472403</c:v>
                </c:pt>
                <c:pt idx="52402">
                  <c:v>0.93458177278401999</c:v>
                </c:pt>
                <c:pt idx="52403">
                  <c:v>0.93459960763331495</c:v>
                </c:pt>
                <c:pt idx="52404">
                  <c:v>0.93461744248261103</c:v>
                </c:pt>
                <c:pt idx="52405">
                  <c:v>0.93463527733190599</c:v>
                </c:pt>
                <c:pt idx="52406">
                  <c:v>0.93465311218120195</c:v>
                </c:pt>
                <c:pt idx="52407">
                  <c:v>0.93467094703049702</c:v>
                </c:pt>
                <c:pt idx="52408">
                  <c:v>0.93468878187979298</c:v>
                </c:pt>
                <c:pt idx="52409">
                  <c:v>0.93470661672908795</c:v>
                </c:pt>
                <c:pt idx="52410">
                  <c:v>0.93472445157838402</c:v>
                </c:pt>
                <c:pt idx="52411">
                  <c:v>0.93474228642767898</c:v>
                </c:pt>
                <c:pt idx="52412">
                  <c:v>0.93476012127697505</c:v>
                </c:pt>
                <c:pt idx="52413">
                  <c:v>0.93477795612627002</c:v>
                </c:pt>
                <c:pt idx="52414">
                  <c:v>0.93479579097556598</c:v>
                </c:pt>
                <c:pt idx="52415">
                  <c:v>0.93481362582486105</c:v>
                </c:pt>
                <c:pt idx="52416">
                  <c:v>0.93483146067415701</c:v>
                </c:pt>
                <c:pt idx="52417">
                  <c:v>0.93484929552345197</c:v>
                </c:pt>
                <c:pt idx="52418">
                  <c:v>0.93486713037274805</c:v>
                </c:pt>
                <c:pt idx="52419">
                  <c:v>0.93488496522204301</c:v>
                </c:pt>
                <c:pt idx="52420">
                  <c:v>0.93490280007133897</c:v>
                </c:pt>
                <c:pt idx="52421">
                  <c:v>0.93492063492063404</c:v>
                </c:pt>
                <c:pt idx="52422">
                  <c:v>0.93493846976993</c:v>
                </c:pt>
                <c:pt idx="52423">
                  <c:v>0.93495630461922596</c:v>
                </c:pt>
                <c:pt idx="52424">
                  <c:v>0.93497413946852104</c:v>
                </c:pt>
                <c:pt idx="52425">
                  <c:v>0.934991974317817</c:v>
                </c:pt>
                <c:pt idx="52426">
                  <c:v>0.93500980916711196</c:v>
                </c:pt>
                <c:pt idx="52427">
                  <c:v>0.93502764401640803</c:v>
                </c:pt>
                <c:pt idx="52428">
                  <c:v>0.93504547886570299</c:v>
                </c:pt>
                <c:pt idx="52429">
                  <c:v>0.93506331371499896</c:v>
                </c:pt>
                <c:pt idx="52430">
                  <c:v>0.93508114856429403</c:v>
                </c:pt>
                <c:pt idx="52431">
                  <c:v>0.93509898341358999</c:v>
                </c:pt>
                <c:pt idx="52432">
                  <c:v>0.93511681826288495</c:v>
                </c:pt>
                <c:pt idx="52433">
                  <c:v>0.93513465311218102</c:v>
                </c:pt>
                <c:pt idx="52434">
                  <c:v>0.93515248796147599</c:v>
                </c:pt>
                <c:pt idx="52435">
                  <c:v>0.93517032281077195</c:v>
                </c:pt>
                <c:pt idx="52436">
                  <c:v>0.93518815766006702</c:v>
                </c:pt>
                <c:pt idx="52437">
                  <c:v>0.93520599250936298</c:v>
                </c:pt>
                <c:pt idx="52438">
                  <c:v>0.93522382735865806</c:v>
                </c:pt>
                <c:pt idx="52439">
                  <c:v>0.93524166220795402</c:v>
                </c:pt>
                <c:pt idx="52440">
                  <c:v>0.93525949705724898</c:v>
                </c:pt>
                <c:pt idx="52441">
                  <c:v>0.93527733190654505</c:v>
                </c:pt>
                <c:pt idx="52442">
                  <c:v>0.93529516675584001</c:v>
                </c:pt>
                <c:pt idx="52443">
                  <c:v>0.93531300160513597</c:v>
                </c:pt>
                <c:pt idx="52444">
                  <c:v>0.93533083645443105</c:v>
                </c:pt>
                <c:pt idx="52445">
                  <c:v>0.93534867130372701</c:v>
                </c:pt>
                <c:pt idx="52446">
                  <c:v>0.93536650615302297</c:v>
                </c:pt>
                <c:pt idx="52447">
                  <c:v>0.93538434100231804</c:v>
                </c:pt>
                <c:pt idx="52448">
                  <c:v>0.935402175851614</c:v>
                </c:pt>
                <c:pt idx="52449">
                  <c:v>0.93542001070090897</c:v>
                </c:pt>
                <c:pt idx="52450">
                  <c:v>0.93543784555020504</c:v>
                </c:pt>
                <c:pt idx="52451">
                  <c:v>0.9354556803995</c:v>
                </c:pt>
                <c:pt idx="52452">
                  <c:v>0.93547351524879596</c:v>
                </c:pt>
                <c:pt idx="52453">
                  <c:v>0.93549135009809103</c:v>
                </c:pt>
                <c:pt idx="52454">
                  <c:v>0.935509184947387</c:v>
                </c:pt>
                <c:pt idx="52455">
                  <c:v>0.93552701979668196</c:v>
                </c:pt>
                <c:pt idx="52456">
                  <c:v>0.93554485464597803</c:v>
                </c:pt>
                <c:pt idx="52457">
                  <c:v>0.93556268949527299</c:v>
                </c:pt>
                <c:pt idx="52458">
                  <c:v>0.93558052434456895</c:v>
                </c:pt>
                <c:pt idx="52459">
                  <c:v>0.93559835919386403</c:v>
                </c:pt>
                <c:pt idx="52460">
                  <c:v>0.93561619404315999</c:v>
                </c:pt>
                <c:pt idx="52461">
                  <c:v>0.93563402889245495</c:v>
                </c:pt>
                <c:pt idx="52462">
                  <c:v>0.93565186374175102</c:v>
                </c:pt>
                <c:pt idx="52463">
                  <c:v>0.93566969859104598</c:v>
                </c:pt>
                <c:pt idx="52464">
                  <c:v>0.93568753344034195</c:v>
                </c:pt>
                <c:pt idx="52465">
                  <c:v>0.93570536828963702</c:v>
                </c:pt>
                <c:pt idx="52466">
                  <c:v>0.93572320313893298</c:v>
                </c:pt>
                <c:pt idx="52467">
                  <c:v>0.93574103798822905</c:v>
                </c:pt>
                <c:pt idx="52468">
                  <c:v>0.93575887283752401</c:v>
                </c:pt>
                <c:pt idx="52469">
                  <c:v>0.93577670768681998</c:v>
                </c:pt>
                <c:pt idx="52470">
                  <c:v>0.93579454253611505</c:v>
                </c:pt>
                <c:pt idx="52471">
                  <c:v>0.93581237738541101</c:v>
                </c:pt>
                <c:pt idx="52472">
                  <c:v>0.93583021223470597</c:v>
                </c:pt>
                <c:pt idx="52473">
                  <c:v>0.93584804708400204</c:v>
                </c:pt>
                <c:pt idx="52474">
                  <c:v>0.93586588193329701</c:v>
                </c:pt>
                <c:pt idx="52475">
                  <c:v>0.93588371678259297</c:v>
                </c:pt>
                <c:pt idx="52476">
                  <c:v>0.93590155163188804</c:v>
                </c:pt>
                <c:pt idx="52477">
                  <c:v>0.935919386481184</c:v>
                </c:pt>
                <c:pt idx="52478">
                  <c:v>0.93593722133047896</c:v>
                </c:pt>
                <c:pt idx="52479">
                  <c:v>0.93595505617977504</c:v>
                </c:pt>
                <c:pt idx="52480">
                  <c:v>0.93597289102907</c:v>
                </c:pt>
                <c:pt idx="52481">
                  <c:v>0.93599072587836596</c:v>
                </c:pt>
                <c:pt idx="52482">
                  <c:v>0.93600856072766103</c:v>
                </c:pt>
                <c:pt idx="52483">
                  <c:v>0.93602639557695699</c:v>
                </c:pt>
                <c:pt idx="52484">
                  <c:v>0.93604423042625196</c:v>
                </c:pt>
                <c:pt idx="52485">
                  <c:v>0.93606206527554803</c:v>
                </c:pt>
                <c:pt idx="52486">
                  <c:v>0.93607990012484399</c:v>
                </c:pt>
                <c:pt idx="52487">
                  <c:v>0.93609773497413895</c:v>
                </c:pt>
                <c:pt idx="52488">
                  <c:v>0.93611556982343502</c:v>
                </c:pt>
                <c:pt idx="52489">
                  <c:v>0.93613340467272999</c:v>
                </c:pt>
                <c:pt idx="52490">
                  <c:v>0.93615123952202595</c:v>
                </c:pt>
                <c:pt idx="52491">
                  <c:v>0.93616907437132102</c:v>
                </c:pt>
                <c:pt idx="52492">
                  <c:v>0.93618690922061698</c:v>
                </c:pt>
                <c:pt idx="52493">
                  <c:v>0.93620474406991205</c:v>
                </c:pt>
                <c:pt idx="52494">
                  <c:v>0.93622257891920801</c:v>
                </c:pt>
                <c:pt idx="52495">
                  <c:v>0.93624041376850298</c:v>
                </c:pt>
                <c:pt idx="52496">
                  <c:v>0.93625824861779905</c:v>
                </c:pt>
                <c:pt idx="52497">
                  <c:v>0.93627608346709401</c:v>
                </c:pt>
                <c:pt idx="52498">
                  <c:v>0.93629391831638997</c:v>
                </c:pt>
                <c:pt idx="52499">
                  <c:v>0.93631175316568505</c:v>
                </c:pt>
                <c:pt idx="52500">
                  <c:v>0.93632958801498101</c:v>
                </c:pt>
                <c:pt idx="52501">
                  <c:v>0.93634742286427597</c:v>
                </c:pt>
                <c:pt idx="52502">
                  <c:v>0.93636525771357204</c:v>
                </c:pt>
                <c:pt idx="52503">
                  <c:v>0.936383092562867</c:v>
                </c:pt>
                <c:pt idx="52504">
                  <c:v>0.93640092741216296</c:v>
                </c:pt>
                <c:pt idx="52505">
                  <c:v>0.93641876226145804</c:v>
                </c:pt>
                <c:pt idx="52506">
                  <c:v>0.936436597110754</c:v>
                </c:pt>
                <c:pt idx="52507">
                  <c:v>0.93645443196004996</c:v>
                </c:pt>
                <c:pt idx="52508">
                  <c:v>0.93647226680934503</c:v>
                </c:pt>
                <c:pt idx="52509">
                  <c:v>0.93649010165864099</c:v>
                </c:pt>
                <c:pt idx="52510">
                  <c:v>0.93650793650793596</c:v>
                </c:pt>
                <c:pt idx="52511">
                  <c:v>0.93652577135723203</c:v>
                </c:pt>
                <c:pt idx="52512">
                  <c:v>0.93654360620652699</c:v>
                </c:pt>
                <c:pt idx="52513">
                  <c:v>0.93656144105582295</c:v>
                </c:pt>
                <c:pt idx="52514">
                  <c:v>0.93657927590511802</c:v>
                </c:pt>
                <c:pt idx="52515">
                  <c:v>0.93659711075441399</c:v>
                </c:pt>
                <c:pt idx="52516">
                  <c:v>0.93661494560370895</c:v>
                </c:pt>
                <c:pt idx="52517">
                  <c:v>0.93663278045300502</c:v>
                </c:pt>
                <c:pt idx="52518">
                  <c:v>0.93665061530229998</c:v>
                </c:pt>
                <c:pt idx="52519">
                  <c:v>0.93666845015159605</c:v>
                </c:pt>
                <c:pt idx="52520">
                  <c:v>0.93668628500089102</c:v>
                </c:pt>
                <c:pt idx="52521">
                  <c:v>0.93670411985018698</c:v>
                </c:pt>
                <c:pt idx="52522">
                  <c:v>0.93672195469948205</c:v>
                </c:pt>
                <c:pt idx="52523">
                  <c:v>0.93673978954877801</c:v>
                </c:pt>
                <c:pt idx="52524">
                  <c:v>0.93675762439807297</c:v>
                </c:pt>
                <c:pt idx="52525">
                  <c:v>0.93677545924736905</c:v>
                </c:pt>
                <c:pt idx="52526">
                  <c:v>0.93679329409666401</c:v>
                </c:pt>
                <c:pt idx="52527">
                  <c:v>0.93681112894595997</c:v>
                </c:pt>
                <c:pt idx="52528">
                  <c:v>0.93682896379525504</c:v>
                </c:pt>
                <c:pt idx="52529">
                  <c:v>0.936846798644551</c:v>
                </c:pt>
                <c:pt idx="52530">
                  <c:v>0.93686463349384697</c:v>
                </c:pt>
                <c:pt idx="52531">
                  <c:v>0.93688246834314204</c:v>
                </c:pt>
                <c:pt idx="52532">
                  <c:v>0.936900303192438</c:v>
                </c:pt>
                <c:pt idx="52533">
                  <c:v>0.93691813804173296</c:v>
                </c:pt>
                <c:pt idx="52534">
                  <c:v>0.93693597289102903</c:v>
                </c:pt>
                <c:pt idx="52535">
                  <c:v>0.936953807740324</c:v>
                </c:pt>
                <c:pt idx="52536">
                  <c:v>0.93697164258961996</c:v>
                </c:pt>
                <c:pt idx="52537">
                  <c:v>0.93698947743891503</c:v>
                </c:pt>
                <c:pt idx="52538">
                  <c:v>0.93700731228821099</c:v>
                </c:pt>
                <c:pt idx="52539">
                  <c:v>0.93702514713750595</c:v>
                </c:pt>
                <c:pt idx="52540">
                  <c:v>0.93704298198680203</c:v>
                </c:pt>
                <c:pt idx="52541">
                  <c:v>0.93706081683609699</c:v>
                </c:pt>
                <c:pt idx="52542">
                  <c:v>0.93707865168539295</c:v>
                </c:pt>
                <c:pt idx="52543">
                  <c:v>0.93709648653468802</c:v>
                </c:pt>
                <c:pt idx="52544">
                  <c:v>0.93711432138398398</c:v>
                </c:pt>
                <c:pt idx="52545">
                  <c:v>0.93713215623327895</c:v>
                </c:pt>
                <c:pt idx="52546">
                  <c:v>0.93714999108257502</c:v>
                </c:pt>
                <c:pt idx="52547">
                  <c:v>0.93716782593186998</c:v>
                </c:pt>
                <c:pt idx="52548">
                  <c:v>0.93718566078116605</c:v>
                </c:pt>
                <c:pt idx="52549">
                  <c:v>0.93720349563046101</c:v>
                </c:pt>
                <c:pt idx="52550">
                  <c:v>0.93722133047975698</c:v>
                </c:pt>
                <c:pt idx="52551">
                  <c:v>0.93723916532905205</c:v>
                </c:pt>
                <c:pt idx="52552">
                  <c:v>0.93725700017834801</c:v>
                </c:pt>
                <c:pt idx="52553">
                  <c:v>0.93727483502764397</c:v>
                </c:pt>
                <c:pt idx="52554">
                  <c:v>0.93729266987693904</c:v>
                </c:pt>
                <c:pt idx="52555">
                  <c:v>0.93731050472623501</c:v>
                </c:pt>
                <c:pt idx="52556">
                  <c:v>0.93732833957552997</c:v>
                </c:pt>
                <c:pt idx="52557">
                  <c:v>0.93734617442482604</c:v>
                </c:pt>
                <c:pt idx="52558">
                  <c:v>0.937364009274121</c:v>
                </c:pt>
                <c:pt idx="52559">
                  <c:v>0.93738184412341696</c:v>
                </c:pt>
                <c:pt idx="52560">
                  <c:v>0.93739967897271204</c:v>
                </c:pt>
                <c:pt idx="52561">
                  <c:v>0.937417513822008</c:v>
                </c:pt>
                <c:pt idx="52562">
                  <c:v>0.93743534867130296</c:v>
                </c:pt>
                <c:pt idx="52563">
                  <c:v>0.93745318352059903</c:v>
                </c:pt>
                <c:pt idx="52564">
                  <c:v>0.93747101836989399</c:v>
                </c:pt>
                <c:pt idx="52565">
                  <c:v>0.93748885321918995</c:v>
                </c:pt>
                <c:pt idx="52566">
                  <c:v>0.93750668806848503</c:v>
                </c:pt>
                <c:pt idx="52567">
                  <c:v>0.93752452291778099</c:v>
                </c:pt>
                <c:pt idx="52568">
                  <c:v>0.93754235776707595</c:v>
                </c:pt>
                <c:pt idx="52569">
                  <c:v>0.93756019261637202</c:v>
                </c:pt>
                <c:pt idx="52570">
                  <c:v>0.93757802746566699</c:v>
                </c:pt>
                <c:pt idx="52571">
                  <c:v>0.93759586231496295</c:v>
                </c:pt>
                <c:pt idx="52572">
                  <c:v>0.93761369716425802</c:v>
                </c:pt>
                <c:pt idx="52573">
                  <c:v>0.93763153201355398</c:v>
                </c:pt>
                <c:pt idx="52574">
                  <c:v>0.93764936686285005</c:v>
                </c:pt>
                <c:pt idx="52575">
                  <c:v>0.93766720171214502</c:v>
                </c:pt>
                <c:pt idx="52576">
                  <c:v>0.93768503656144098</c:v>
                </c:pt>
                <c:pt idx="52577">
                  <c:v>0.93770287141073605</c:v>
                </c:pt>
                <c:pt idx="52578">
                  <c:v>0.93772070626003201</c:v>
                </c:pt>
                <c:pt idx="52579">
                  <c:v>0.93773854110932697</c:v>
                </c:pt>
                <c:pt idx="52580">
                  <c:v>0.93775637595862305</c:v>
                </c:pt>
                <c:pt idx="52581">
                  <c:v>0.93777421080791801</c:v>
                </c:pt>
                <c:pt idx="52582">
                  <c:v>0.93779204565721397</c:v>
                </c:pt>
                <c:pt idx="52583">
                  <c:v>0.93780988050650904</c:v>
                </c:pt>
                <c:pt idx="52584">
                  <c:v>0.937827715355805</c:v>
                </c:pt>
                <c:pt idx="52585">
                  <c:v>0.93784555020509996</c:v>
                </c:pt>
                <c:pt idx="52586">
                  <c:v>0.93786338505439604</c:v>
                </c:pt>
                <c:pt idx="52587">
                  <c:v>0.937881219903691</c:v>
                </c:pt>
                <c:pt idx="52588">
                  <c:v>0.93789905475298696</c:v>
                </c:pt>
                <c:pt idx="52589">
                  <c:v>0.93791688960228203</c:v>
                </c:pt>
                <c:pt idx="52590">
                  <c:v>0.93793472445157799</c:v>
                </c:pt>
                <c:pt idx="52591">
                  <c:v>0.93795255930087396</c:v>
                </c:pt>
                <c:pt idx="52592">
                  <c:v>0.93797039415016903</c:v>
                </c:pt>
                <c:pt idx="52593">
                  <c:v>0.93798822899946499</c:v>
                </c:pt>
                <c:pt idx="52594">
                  <c:v>0.93800606384875995</c:v>
                </c:pt>
                <c:pt idx="52595">
                  <c:v>0.93802389869805602</c:v>
                </c:pt>
                <c:pt idx="52596">
                  <c:v>0.93804173354735099</c:v>
                </c:pt>
                <c:pt idx="52597">
                  <c:v>0.93805956839664695</c:v>
                </c:pt>
                <c:pt idx="52598">
                  <c:v>0.93807740324594202</c:v>
                </c:pt>
                <c:pt idx="52599">
                  <c:v>0.93809523809523798</c:v>
                </c:pt>
                <c:pt idx="52600">
                  <c:v>0.93811307294453306</c:v>
                </c:pt>
                <c:pt idx="52601">
                  <c:v>0.93813090779382902</c:v>
                </c:pt>
                <c:pt idx="52602">
                  <c:v>0.93814874264312398</c:v>
                </c:pt>
                <c:pt idx="52603">
                  <c:v>0.93816657749242005</c:v>
                </c:pt>
                <c:pt idx="52604">
                  <c:v>0.93818441234171501</c:v>
                </c:pt>
                <c:pt idx="52605">
                  <c:v>0.93820224719101097</c:v>
                </c:pt>
                <c:pt idx="52606">
                  <c:v>0.93822008204030605</c:v>
                </c:pt>
                <c:pt idx="52607">
                  <c:v>0.93823791688960201</c:v>
                </c:pt>
                <c:pt idx="52608">
                  <c:v>0.93825575173889697</c:v>
                </c:pt>
                <c:pt idx="52609">
                  <c:v>0.93827358658819304</c:v>
                </c:pt>
                <c:pt idx="52610">
                  <c:v>0.938291421437488</c:v>
                </c:pt>
                <c:pt idx="52611">
                  <c:v>0.93830925628678397</c:v>
                </c:pt>
                <c:pt idx="52612">
                  <c:v>0.93832709113607904</c:v>
                </c:pt>
                <c:pt idx="52613">
                  <c:v>0.938344925985375</c:v>
                </c:pt>
                <c:pt idx="52614">
                  <c:v>0.93836276083467096</c:v>
                </c:pt>
                <c:pt idx="52615">
                  <c:v>0.93838059568396603</c:v>
                </c:pt>
                <c:pt idx="52616">
                  <c:v>0.938398430533262</c:v>
                </c:pt>
                <c:pt idx="52617">
                  <c:v>0.93841626538255696</c:v>
                </c:pt>
                <c:pt idx="52618">
                  <c:v>0.93843410023185303</c:v>
                </c:pt>
                <c:pt idx="52619">
                  <c:v>0.93845193508114799</c:v>
                </c:pt>
                <c:pt idx="52620">
                  <c:v>0.93846976993044395</c:v>
                </c:pt>
                <c:pt idx="52621">
                  <c:v>0.93848760477973903</c:v>
                </c:pt>
                <c:pt idx="52622">
                  <c:v>0.93850543962903499</c:v>
                </c:pt>
                <c:pt idx="52623">
                  <c:v>0.93852327447832995</c:v>
                </c:pt>
                <c:pt idx="52624">
                  <c:v>0.93854110932762602</c:v>
                </c:pt>
                <c:pt idx="52625">
                  <c:v>0.93855894417692098</c:v>
                </c:pt>
                <c:pt idx="52626">
                  <c:v>0.93857677902621695</c:v>
                </c:pt>
                <c:pt idx="52627">
                  <c:v>0.93859461387551202</c:v>
                </c:pt>
                <c:pt idx="52628">
                  <c:v>0.93861244872480798</c:v>
                </c:pt>
                <c:pt idx="52629">
                  <c:v>0.93863028357410305</c:v>
                </c:pt>
                <c:pt idx="52630">
                  <c:v>0.93864811842339901</c:v>
                </c:pt>
                <c:pt idx="52631">
                  <c:v>0.93866595327269398</c:v>
                </c:pt>
                <c:pt idx="52632">
                  <c:v>0.93868378812199005</c:v>
                </c:pt>
                <c:pt idx="52633">
                  <c:v>0.93870162297128501</c:v>
                </c:pt>
                <c:pt idx="52634">
                  <c:v>0.93871945782058097</c:v>
                </c:pt>
                <c:pt idx="52635">
                  <c:v>0.93873729266987604</c:v>
                </c:pt>
                <c:pt idx="52636">
                  <c:v>0.93875512751917201</c:v>
                </c:pt>
                <c:pt idx="52637">
                  <c:v>0.93877296236846797</c:v>
                </c:pt>
                <c:pt idx="52638">
                  <c:v>0.93879079721776304</c:v>
                </c:pt>
                <c:pt idx="52639">
                  <c:v>0.938808632067059</c:v>
                </c:pt>
                <c:pt idx="52640">
                  <c:v>0.93882646691635396</c:v>
                </c:pt>
                <c:pt idx="52641">
                  <c:v>0.93884430176565004</c:v>
                </c:pt>
                <c:pt idx="52642">
                  <c:v>0.938862136614945</c:v>
                </c:pt>
                <c:pt idx="52643">
                  <c:v>0.93887997146424096</c:v>
                </c:pt>
                <c:pt idx="52644">
                  <c:v>0.93889780631353603</c:v>
                </c:pt>
                <c:pt idx="52645">
                  <c:v>0.93891564116283199</c:v>
                </c:pt>
                <c:pt idx="52646">
                  <c:v>0.93893347601212696</c:v>
                </c:pt>
                <c:pt idx="52647">
                  <c:v>0.93895131086142303</c:v>
                </c:pt>
                <c:pt idx="52648">
                  <c:v>0.93896914571071799</c:v>
                </c:pt>
                <c:pt idx="52649">
                  <c:v>0.93898698056001395</c:v>
                </c:pt>
                <c:pt idx="52650">
                  <c:v>0.93900481540930902</c:v>
                </c:pt>
                <c:pt idx="52651">
                  <c:v>0.93902265025860499</c:v>
                </c:pt>
                <c:pt idx="52652">
                  <c:v>0.93904048510789995</c:v>
                </c:pt>
                <c:pt idx="52653">
                  <c:v>0.93905831995719602</c:v>
                </c:pt>
                <c:pt idx="52654">
                  <c:v>0.93907615480649098</c:v>
                </c:pt>
                <c:pt idx="52655">
                  <c:v>0.93909398965578705</c:v>
                </c:pt>
                <c:pt idx="52656">
                  <c:v>0.93911182450508202</c:v>
                </c:pt>
                <c:pt idx="52657">
                  <c:v>0.93912965935437798</c:v>
                </c:pt>
                <c:pt idx="52658">
                  <c:v>0.93914749420367305</c:v>
                </c:pt>
                <c:pt idx="52659">
                  <c:v>0.93916532905296901</c:v>
                </c:pt>
                <c:pt idx="52660">
                  <c:v>0.93918316390226497</c:v>
                </c:pt>
                <c:pt idx="52661">
                  <c:v>0.93920099875156005</c:v>
                </c:pt>
                <c:pt idx="52662">
                  <c:v>0.93921883360085601</c:v>
                </c:pt>
                <c:pt idx="52663">
                  <c:v>0.93923666845015097</c:v>
                </c:pt>
                <c:pt idx="52664">
                  <c:v>0.93925450329944704</c:v>
                </c:pt>
                <c:pt idx="52665">
                  <c:v>0.939272338148742</c:v>
                </c:pt>
                <c:pt idx="52666">
                  <c:v>0.93929017299803796</c:v>
                </c:pt>
                <c:pt idx="52667">
                  <c:v>0.93930800784733304</c:v>
                </c:pt>
                <c:pt idx="52668">
                  <c:v>0.939325842696629</c:v>
                </c:pt>
                <c:pt idx="52669">
                  <c:v>0.93934367754592396</c:v>
                </c:pt>
                <c:pt idx="52670">
                  <c:v>0.93936151239522003</c:v>
                </c:pt>
                <c:pt idx="52671">
                  <c:v>0.939379347244515</c:v>
                </c:pt>
                <c:pt idx="52672">
                  <c:v>0.93939718209381096</c:v>
                </c:pt>
                <c:pt idx="52673">
                  <c:v>0.93941501694310603</c:v>
                </c:pt>
                <c:pt idx="52674">
                  <c:v>0.93943285179240199</c:v>
                </c:pt>
                <c:pt idx="52675">
                  <c:v>0.93945068664169695</c:v>
                </c:pt>
                <c:pt idx="52676">
                  <c:v>0.93946852149099302</c:v>
                </c:pt>
                <c:pt idx="52677">
                  <c:v>0.93948635634028799</c:v>
                </c:pt>
                <c:pt idx="52678">
                  <c:v>0.93950419118958395</c:v>
                </c:pt>
                <c:pt idx="52679">
                  <c:v>0.93952202603888002</c:v>
                </c:pt>
                <c:pt idx="52680">
                  <c:v>0.93953986088817498</c:v>
                </c:pt>
                <c:pt idx="52681">
                  <c:v>0.93955769573747105</c:v>
                </c:pt>
                <c:pt idx="52682">
                  <c:v>0.93957553058676602</c:v>
                </c:pt>
                <c:pt idx="52683">
                  <c:v>0.93959336543606198</c:v>
                </c:pt>
                <c:pt idx="52684">
                  <c:v>0.93961120028535705</c:v>
                </c:pt>
                <c:pt idx="52685">
                  <c:v>0.93962903513465301</c:v>
                </c:pt>
                <c:pt idx="52686">
                  <c:v>0.93964686998394797</c:v>
                </c:pt>
                <c:pt idx="52687">
                  <c:v>0.93966470483324405</c:v>
                </c:pt>
                <c:pt idx="52688">
                  <c:v>0.93968253968253901</c:v>
                </c:pt>
                <c:pt idx="52689">
                  <c:v>0.93970037453183497</c:v>
                </c:pt>
                <c:pt idx="52690">
                  <c:v>0.93971820938113004</c:v>
                </c:pt>
                <c:pt idx="52691">
                  <c:v>0.939736044230426</c:v>
                </c:pt>
                <c:pt idx="52692">
                  <c:v>0.93975387907972097</c:v>
                </c:pt>
                <c:pt idx="52693">
                  <c:v>0.93977171392901704</c:v>
                </c:pt>
                <c:pt idx="52694">
                  <c:v>0.939789548778312</c:v>
                </c:pt>
                <c:pt idx="52695">
                  <c:v>0.93980738362760796</c:v>
                </c:pt>
                <c:pt idx="52696">
                  <c:v>0.93982521847690303</c:v>
                </c:pt>
                <c:pt idx="52697">
                  <c:v>0.939843053326199</c:v>
                </c:pt>
                <c:pt idx="52698">
                  <c:v>0.93986088817549496</c:v>
                </c:pt>
                <c:pt idx="52699">
                  <c:v>0.93987872302479003</c:v>
                </c:pt>
                <c:pt idx="52700">
                  <c:v>0.93989655787408599</c:v>
                </c:pt>
                <c:pt idx="52701">
                  <c:v>0.93991439272338095</c:v>
                </c:pt>
                <c:pt idx="52702">
                  <c:v>0.93993222757267703</c:v>
                </c:pt>
                <c:pt idx="52703">
                  <c:v>0.93995006242197199</c:v>
                </c:pt>
                <c:pt idx="52704">
                  <c:v>0.93996789727126795</c:v>
                </c:pt>
                <c:pt idx="52705">
                  <c:v>0.93998573212056302</c:v>
                </c:pt>
                <c:pt idx="52706">
                  <c:v>0.94000356696985898</c:v>
                </c:pt>
                <c:pt idx="52707">
                  <c:v>0.94002140181915395</c:v>
                </c:pt>
                <c:pt idx="52708">
                  <c:v>0.94003923666845002</c:v>
                </c:pt>
                <c:pt idx="52709">
                  <c:v>0.94005707151774498</c:v>
                </c:pt>
                <c:pt idx="52710">
                  <c:v>0.94007490636704105</c:v>
                </c:pt>
                <c:pt idx="52711">
                  <c:v>0.94009274121633601</c:v>
                </c:pt>
                <c:pt idx="52712">
                  <c:v>0.94011057606563198</c:v>
                </c:pt>
                <c:pt idx="52713">
                  <c:v>0.94012841091492705</c:v>
                </c:pt>
                <c:pt idx="52714">
                  <c:v>0.94014624576422301</c:v>
                </c:pt>
                <c:pt idx="52715">
                  <c:v>0.94016408061351797</c:v>
                </c:pt>
                <c:pt idx="52716">
                  <c:v>0.94018191546281404</c:v>
                </c:pt>
                <c:pt idx="52717">
                  <c:v>0.94019975031210901</c:v>
                </c:pt>
                <c:pt idx="52718">
                  <c:v>0.94021758516140497</c:v>
                </c:pt>
                <c:pt idx="52719">
                  <c:v>0.94023542001070004</c:v>
                </c:pt>
                <c:pt idx="52720">
                  <c:v>0.940253254859996</c:v>
                </c:pt>
                <c:pt idx="52721">
                  <c:v>0.94027108970929196</c:v>
                </c:pt>
                <c:pt idx="52722">
                  <c:v>0.94028892455858704</c:v>
                </c:pt>
                <c:pt idx="52723">
                  <c:v>0.940306759407883</c:v>
                </c:pt>
                <c:pt idx="52724">
                  <c:v>0.94032459425717796</c:v>
                </c:pt>
                <c:pt idx="52725">
                  <c:v>0.94034242910647403</c:v>
                </c:pt>
                <c:pt idx="52726">
                  <c:v>0.94036026395576899</c:v>
                </c:pt>
                <c:pt idx="52727">
                  <c:v>0.94037809880506495</c:v>
                </c:pt>
                <c:pt idx="52728">
                  <c:v>0.94039593365436003</c:v>
                </c:pt>
                <c:pt idx="52729">
                  <c:v>0.94041376850365599</c:v>
                </c:pt>
                <c:pt idx="52730">
                  <c:v>0.94043160335295095</c:v>
                </c:pt>
                <c:pt idx="52731">
                  <c:v>0.94044943820224702</c:v>
                </c:pt>
                <c:pt idx="52732">
                  <c:v>0.94046727305154199</c:v>
                </c:pt>
                <c:pt idx="52733">
                  <c:v>0.94048510790083795</c:v>
                </c:pt>
                <c:pt idx="52734">
                  <c:v>0.94050294275013302</c:v>
                </c:pt>
                <c:pt idx="52735">
                  <c:v>0.94052077759942898</c:v>
                </c:pt>
                <c:pt idx="52736">
                  <c:v>0.94053861244872405</c:v>
                </c:pt>
                <c:pt idx="52737">
                  <c:v>0.94055644729802002</c:v>
                </c:pt>
                <c:pt idx="52738">
                  <c:v>0.94057428214731498</c:v>
                </c:pt>
                <c:pt idx="52739">
                  <c:v>0.94059211699661105</c:v>
                </c:pt>
                <c:pt idx="52740">
                  <c:v>0.94060995184590601</c:v>
                </c:pt>
                <c:pt idx="52741">
                  <c:v>0.94062778669520197</c:v>
                </c:pt>
                <c:pt idx="52742">
                  <c:v>0.94064562154449705</c:v>
                </c:pt>
                <c:pt idx="52743">
                  <c:v>0.94066345639379301</c:v>
                </c:pt>
                <c:pt idx="52744">
                  <c:v>0.94068129124308897</c:v>
                </c:pt>
                <c:pt idx="52745">
                  <c:v>0.94069912609238404</c:v>
                </c:pt>
                <c:pt idx="52746">
                  <c:v>0.94071696094168</c:v>
                </c:pt>
                <c:pt idx="52747">
                  <c:v>0.94073479579097496</c:v>
                </c:pt>
                <c:pt idx="52748">
                  <c:v>0.94075263064027104</c:v>
                </c:pt>
                <c:pt idx="52749">
                  <c:v>0.940770465489566</c:v>
                </c:pt>
                <c:pt idx="52750">
                  <c:v>0.94078830033886196</c:v>
                </c:pt>
                <c:pt idx="52751">
                  <c:v>0.94080613518815703</c:v>
                </c:pt>
                <c:pt idx="52752">
                  <c:v>0.94082397003745299</c:v>
                </c:pt>
                <c:pt idx="52753">
                  <c:v>0.94084180488674796</c:v>
                </c:pt>
                <c:pt idx="52754">
                  <c:v>0.94085963973604403</c:v>
                </c:pt>
                <c:pt idx="52755">
                  <c:v>0.94087747458533899</c:v>
                </c:pt>
                <c:pt idx="52756">
                  <c:v>0.94089530943463495</c:v>
                </c:pt>
                <c:pt idx="52757">
                  <c:v>0.94091314428393003</c:v>
                </c:pt>
                <c:pt idx="52758">
                  <c:v>0.94093097913322599</c:v>
                </c:pt>
                <c:pt idx="52759">
                  <c:v>0.94094881398252095</c:v>
                </c:pt>
                <c:pt idx="52760">
                  <c:v>0.94096664883181702</c:v>
                </c:pt>
                <c:pt idx="52761">
                  <c:v>0.94098448368111198</c:v>
                </c:pt>
                <c:pt idx="52762">
                  <c:v>0.94100231853040806</c:v>
                </c:pt>
                <c:pt idx="52763">
                  <c:v>0.94102015337970302</c:v>
                </c:pt>
                <c:pt idx="52764">
                  <c:v>0.94103798822899898</c:v>
                </c:pt>
                <c:pt idx="52765">
                  <c:v>0.94105582307829405</c:v>
                </c:pt>
                <c:pt idx="52766">
                  <c:v>0.94107365792759001</c:v>
                </c:pt>
                <c:pt idx="52767">
                  <c:v>0.94109149277688597</c:v>
                </c:pt>
                <c:pt idx="52768">
                  <c:v>0.94110932762618105</c:v>
                </c:pt>
                <c:pt idx="52769">
                  <c:v>0.94112716247547701</c:v>
                </c:pt>
                <c:pt idx="52770">
                  <c:v>0.94114499732477197</c:v>
                </c:pt>
                <c:pt idx="52771">
                  <c:v>0.94116283217406804</c:v>
                </c:pt>
                <c:pt idx="52772">
                  <c:v>0.941180667023363</c:v>
                </c:pt>
                <c:pt idx="52773">
                  <c:v>0.94119850187265897</c:v>
                </c:pt>
                <c:pt idx="52774">
                  <c:v>0.94121633672195404</c:v>
                </c:pt>
                <c:pt idx="52775">
                  <c:v>0.94123417157125</c:v>
                </c:pt>
                <c:pt idx="52776">
                  <c:v>0.94125200642054496</c:v>
                </c:pt>
                <c:pt idx="52777">
                  <c:v>0.94126984126984103</c:v>
                </c:pt>
                <c:pt idx="52778">
                  <c:v>0.941287676119136</c:v>
                </c:pt>
                <c:pt idx="52779">
                  <c:v>0.94130551096843196</c:v>
                </c:pt>
                <c:pt idx="52780">
                  <c:v>0.94132334581772703</c:v>
                </c:pt>
                <c:pt idx="52781">
                  <c:v>0.94134118066702299</c:v>
                </c:pt>
                <c:pt idx="52782">
                  <c:v>0.94135901551631795</c:v>
                </c:pt>
                <c:pt idx="52783">
                  <c:v>0.94137685036561403</c:v>
                </c:pt>
                <c:pt idx="52784">
                  <c:v>0.94139468521490999</c:v>
                </c:pt>
                <c:pt idx="52785">
                  <c:v>0.94141252006420495</c:v>
                </c:pt>
                <c:pt idx="52786">
                  <c:v>0.94143035491350102</c:v>
                </c:pt>
                <c:pt idx="52787">
                  <c:v>0.94144818976279598</c:v>
                </c:pt>
                <c:pt idx="52788">
                  <c:v>0.94146602461209195</c:v>
                </c:pt>
                <c:pt idx="52789">
                  <c:v>0.94148385946138702</c:v>
                </c:pt>
                <c:pt idx="52790">
                  <c:v>0.94150169431068298</c:v>
                </c:pt>
                <c:pt idx="52791">
                  <c:v>0.94151952915997805</c:v>
                </c:pt>
                <c:pt idx="52792">
                  <c:v>0.94153736400927401</c:v>
                </c:pt>
                <c:pt idx="52793">
                  <c:v>0.94155519885856898</c:v>
                </c:pt>
                <c:pt idx="52794">
                  <c:v>0.94157303370786505</c:v>
                </c:pt>
                <c:pt idx="52795">
                  <c:v>0.94159086855716001</c:v>
                </c:pt>
                <c:pt idx="52796">
                  <c:v>0.94160870340645597</c:v>
                </c:pt>
                <c:pt idx="52797">
                  <c:v>0.94162653825575104</c:v>
                </c:pt>
                <c:pt idx="52798">
                  <c:v>0.94164437310504701</c:v>
                </c:pt>
                <c:pt idx="52799">
                  <c:v>0.94166220795434197</c:v>
                </c:pt>
                <c:pt idx="52800">
                  <c:v>0.94168004280363804</c:v>
                </c:pt>
                <c:pt idx="52801">
                  <c:v>0.941697877652933</c:v>
                </c:pt>
                <c:pt idx="52802">
                  <c:v>0.94171571250222896</c:v>
                </c:pt>
                <c:pt idx="52803">
                  <c:v>0.94173354735152404</c:v>
                </c:pt>
                <c:pt idx="52804">
                  <c:v>0.94175138220082</c:v>
                </c:pt>
                <c:pt idx="52805">
                  <c:v>0.94176921705011596</c:v>
                </c:pt>
                <c:pt idx="52806">
                  <c:v>0.94178705189941103</c:v>
                </c:pt>
                <c:pt idx="52807">
                  <c:v>0.94180488674870699</c:v>
                </c:pt>
                <c:pt idx="52808">
                  <c:v>0.94182272159800196</c:v>
                </c:pt>
                <c:pt idx="52809">
                  <c:v>0.94184055644729803</c:v>
                </c:pt>
                <c:pt idx="52810">
                  <c:v>0.94185839129659299</c:v>
                </c:pt>
                <c:pt idx="52811">
                  <c:v>0.94187622614588895</c:v>
                </c:pt>
                <c:pt idx="52812">
                  <c:v>0.94189406099518402</c:v>
                </c:pt>
                <c:pt idx="52813">
                  <c:v>0.94191189584447998</c:v>
                </c:pt>
                <c:pt idx="52814">
                  <c:v>0.94192973069377495</c:v>
                </c:pt>
                <c:pt idx="52815">
                  <c:v>0.94194756554307102</c:v>
                </c:pt>
                <c:pt idx="52816">
                  <c:v>0.94196540039236598</c:v>
                </c:pt>
                <c:pt idx="52817">
                  <c:v>0.94198323524166205</c:v>
                </c:pt>
                <c:pt idx="52818">
                  <c:v>0.94200107009095702</c:v>
                </c:pt>
                <c:pt idx="52819">
                  <c:v>0.94201890494025298</c:v>
                </c:pt>
                <c:pt idx="52820">
                  <c:v>0.94203673978954805</c:v>
                </c:pt>
                <c:pt idx="52821">
                  <c:v>0.94205457463884401</c:v>
                </c:pt>
                <c:pt idx="52822">
                  <c:v>0.94207240948813897</c:v>
                </c:pt>
                <c:pt idx="52823">
                  <c:v>0.94209024433743505</c:v>
                </c:pt>
                <c:pt idx="52824">
                  <c:v>0.94210807918673001</c:v>
                </c:pt>
                <c:pt idx="52825">
                  <c:v>0.94212591403602597</c:v>
                </c:pt>
                <c:pt idx="52826">
                  <c:v>0.94214374888532104</c:v>
                </c:pt>
                <c:pt idx="52827">
                  <c:v>0.942161583734617</c:v>
                </c:pt>
                <c:pt idx="52828">
                  <c:v>0.94217941858391296</c:v>
                </c:pt>
                <c:pt idx="52829">
                  <c:v>0.94219725343320804</c:v>
                </c:pt>
                <c:pt idx="52830">
                  <c:v>0.942215088282504</c:v>
                </c:pt>
                <c:pt idx="52831">
                  <c:v>0.94223292313179896</c:v>
                </c:pt>
                <c:pt idx="52832">
                  <c:v>0.94225075798109503</c:v>
                </c:pt>
                <c:pt idx="52833">
                  <c:v>0.94226859283038999</c:v>
                </c:pt>
                <c:pt idx="52834">
                  <c:v>0.94228642767968596</c:v>
                </c:pt>
                <c:pt idx="52835">
                  <c:v>0.94230426252898103</c:v>
                </c:pt>
                <c:pt idx="52836">
                  <c:v>0.94232209737827699</c:v>
                </c:pt>
                <c:pt idx="52837">
                  <c:v>0.94233993222757195</c:v>
                </c:pt>
                <c:pt idx="52838">
                  <c:v>0.94235776707686802</c:v>
                </c:pt>
                <c:pt idx="52839">
                  <c:v>0.94237560192616299</c:v>
                </c:pt>
                <c:pt idx="52840">
                  <c:v>0.94239343677545895</c:v>
                </c:pt>
                <c:pt idx="52841">
                  <c:v>0.94241127162475402</c:v>
                </c:pt>
                <c:pt idx="52842">
                  <c:v>0.94242910647404998</c:v>
                </c:pt>
                <c:pt idx="52843">
                  <c:v>0.94244694132334506</c:v>
                </c:pt>
                <c:pt idx="52844">
                  <c:v>0.94246477617264102</c:v>
                </c:pt>
                <c:pt idx="52845">
                  <c:v>0.94248261102193598</c:v>
                </c:pt>
                <c:pt idx="52846">
                  <c:v>0.94250044587123205</c:v>
                </c:pt>
                <c:pt idx="52847">
                  <c:v>0.94251828072052701</c:v>
                </c:pt>
                <c:pt idx="52848">
                  <c:v>0.94253611556982297</c:v>
                </c:pt>
                <c:pt idx="52849">
                  <c:v>0.94255395041911805</c:v>
                </c:pt>
                <c:pt idx="52850">
                  <c:v>0.94257178526841401</c:v>
                </c:pt>
                <c:pt idx="52851">
                  <c:v>0.94258962011770997</c:v>
                </c:pt>
                <c:pt idx="52852">
                  <c:v>0.94260745496700504</c:v>
                </c:pt>
                <c:pt idx="52853">
                  <c:v>0.942625289816301</c:v>
                </c:pt>
                <c:pt idx="52854">
                  <c:v>0.94264312466559597</c:v>
                </c:pt>
                <c:pt idx="52855">
                  <c:v>0.94266095951489204</c:v>
                </c:pt>
                <c:pt idx="52856">
                  <c:v>0.942678794364187</c:v>
                </c:pt>
                <c:pt idx="52857">
                  <c:v>0.94269662921348296</c:v>
                </c:pt>
                <c:pt idx="52858">
                  <c:v>0.94271446406277803</c:v>
                </c:pt>
                <c:pt idx="52859">
                  <c:v>0.942732298912074</c:v>
                </c:pt>
                <c:pt idx="52860">
                  <c:v>0.94275013376136896</c:v>
                </c:pt>
                <c:pt idx="52861">
                  <c:v>0.94276796861066503</c:v>
                </c:pt>
                <c:pt idx="52862">
                  <c:v>0.94278580345995999</c:v>
                </c:pt>
                <c:pt idx="52863">
                  <c:v>0.94280363830925595</c:v>
                </c:pt>
                <c:pt idx="52864">
                  <c:v>0.94282147315855103</c:v>
                </c:pt>
                <c:pt idx="52865">
                  <c:v>0.94283930800784699</c:v>
                </c:pt>
                <c:pt idx="52866">
                  <c:v>0.94285714285714195</c:v>
                </c:pt>
                <c:pt idx="52867">
                  <c:v>0.94287497770643802</c:v>
                </c:pt>
                <c:pt idx="52868">
                  <c:v>0.94289281255573298</c:v>
                </c:pt>
                <c:pt idx="52869">
                  <c:v>0.94291064740502895</c:v>
                </c:pt>
                <c:pt idx="52870">
                  <c:v>0.94292848225432402</c:v>
                </c:pt>
                <c:pt idx="52871">
                  <c:v>0.94294631710361998</c:v>
                </c:pt>
                <c:pt idx="52872">
                  <c:v>0.94296415195291605</c:v>
                </c:pt>
                <c:pt idx="52873">
                  <c:v>0.94298198680221101</c:v>
                </c:pt>
                <c:pt idx="52874">
                  <c:v>0.94299982165150698</c:v>
                </c:pt>
                <c:pt idx="52875">
                  <c:v>0.94301765650080205</c:v>
                </c:pt>
                <c:pt idx="52876">
                  <c:v>0.94303549135009801</c:v>
                </c:pt>
                <c:pt idx="52877">
                  <c:v>0.94305332619939297</c:v>
                </c:pt>
                <c:pt idx="52878">
                  <c:v>0.94307116104868904</c:v>
                </c:pt>
                <c:pt idx="52879">
                  <c:v>0.94308899589798401</c:v>
                </c:pt>
                <c:pt idx="52880">
                  <c:v>0.94310683074727997</c:v>
                </c:pt>
                <c:pt idx="52881">
                  <c:v>0.94312466559657504</c:v>
                </c:pt>
                <c:pt idx="52882">
                  <c:v>0.943142500445871</c:v>
                </c:pt>
                <c:pt idx="52883">
                  <c:v>0.94316033529516596</c:v>
                </c:pt>
                <c:pt idx="52884">
                  <c:v>0.94317817014446204</c:v>
                </c:pt>
                <c:pt idx="52885">
                  <c:v>0.943196004993757</c:v>
                </c:pt>
                <c:pt idx="52886">
                  <c:v>0.94321383984305296</c:v>
                </c:pt>
                <c:pt idx="52887">
                  <c:v>0.94323167469234803</c:v>
                </c:pt>
                <c:pt idx="52888">
                  <c:v>0.94324950954164399</c:v>
                </c:pt>
                <c:pt idx="52889">
                  <c:v>0.94326734439093896</c:v>
                </c:pt>
                <c:pt idx="52890">
                  <c:v>0.94328517924023503</c:v>
                </c:pt>
                <c:pt idx="52891">
                  <c:v>0.94330301408953099</c:v>
                </c:pt>
                <c:pt idx="52892">
                  <c:v>0.94332084893882595</c:v>
                </c:pt>
                <c:pt idx="52893">
                  <c:v>0.94333868378812202</c:v>
                </c:pt>
                <c:pt idx="52894">
                  <c:v>0.94335651863741699</c:v>
                </c:pt>
                <c:pt idx="52895">
                  <c:v>0.94337435348671295</c:v>
                </c:pt>
                <c:pt idx="52896">
                  <c:v>0.94339218833600802</c:v>
                </c:pt>
                <c:pt idx="52897">
                  <c:v>0.94341002318530398</c:v>
                </c:pt>
                <c:pt idx="52898">
                  <c:v>0.94342785803459905</c:v>
                </c:pt>
                <c:pt idx="52899">
                  <c:v>0.94344569288389502</c:v>
                </c:pt>
                <c:pt idx="52900">
                  <c:v>0.94346352773318998</c:v>
                </c:pt>
                <c:pt idx="52901">
                  <c:v>0.94348136258248605</c:v>
                </c:pt>
                <c:pt idx="52902">
                  <c:v>0.94349919743178101</c:v>
                </c:pt>
                <c:pt idx="52903">
                  <c:v>0.94351703228107697</c:v>
                </c:pt>
                <c:pt idx="52904">
                  <c:v>0.94353486713037205</c:v>
                </c:pt>
                <c:pt idx="52905">
                  <c:v>0.94355270197966801</c:v>
                </c:pt>
                <c:pt idx="52906">
                  <c:v>0.94357053682896297</c:v>
                </c:pt>
                <c:pt idx="52907">
                  <c:v>0.94358837167825904</c:v>
                </c:pt>
                <c:pt idx="52908">
                  <c:v>0.943606206527554</c:v>
                </c:pt>
                <c:pt idx="52909">
                  <c:v>0.94362404137684996</c:v>
                </c:pt>
                <c:pt idx="52910">
                  <c:v>0.94364187622614504</c:v>
                </c:pt>
                <c:pt idx="52911">
                  <c:v>0.943659711075441</c:v>
                </c:pt>
                <c:pt idx="52912">
                  <c:v>0.94367754592473696</c:v>
                </c:pt>
                <c:pt idx="52913">
                  <c:v>0.94369538077403203</c:v>
                </c:pt>
                <c:pt idx="52914">
                  <c:v>0.94371321562332799</c:v>
                </c:pt>
                <c:pt idx="52915">
                  <c:v>0.94373105047262296</c:v>
                </c:pt>
                <c:pt idx="52916">
                  <c:v>0.94374888532191903</c:v>
                </c:pt>
                <c:pt idx="52917">
                  <c:v>0.94376672017121399</c:v>
                </c:pt>
                <c:pt idx="52918">
                  <c:v>0.94378455502050995</c:v>
                </c:pt>
                <c:pt idx="52919">
                  <c:v>0.94380238986980503</c:v>
                </c:pt>
                <c:pt idx="52920">
                  <c:v>0.94382022471910099</c:v>
                </c:pt>
                <c:pt idx="52921">
                  <c:v>0.94383805956839595</c:v>
                </c:pt>
                <c:pt idx="52922">
                  <c:v>0.94385589441769202</c:v>
                </c:pt>
                <c:pt idx="52923">
                  <c:v>0.94387372926698698</c:v>
                </c:pt>
                <c:pt idx="52924">
                  <c:v>0.94389156411628305</c:v>
                </c:pt>
                <c:pt idx="52925">
                  <c:v>0.94390939896557802</c:v>
                </c:pt>
                <c:pt idx="52926">
                  <c:v>0.94392723381487398</c:v>
                </c:pt>
                <c:pt idx="52927">
                  <c:v>0.94394506866416905</c:v>
                </c:pt>
                <c:pt idx="52928">
                  <c:v>0.94396290351346501</c:v>
                </c:pt>
                <c:pt idx="52929">
                  <c:v>0.94398073836275997</c:v>
                </c:pt>
                <c:pt idx="52930">
                  <c:v>0.94399857321205605</c:v>
                </c:pt>
                <c:pt idx="52931">
                  <c:v>0.94401640806135101</c:v>
                </c:pt>
                <c:pt idx="52932">
                  <c:v>0.94403424291064697</c:v>
                </c:pt>
                <c:pt idx="52933">
                  <c:v>0.94405207775994204</c:v>
                </c:pt>
                <c:pt idx="52934">
                  <c:v>0.944069912609238</c:v>
                </c:pt>
                <c:pt idx="52935">
                  <c:v>0.94408774745853397</c:v>
                </c:pt>
                <c:pt idx="52936">
                  <c:v>0.94410558230782904</c:v>
                </c:pt>
                <c:pt idx="52937">
                  <c:v>0.944123417157125</c:v>
                </c:pt>
                <c:pt idx="52938">
                  <c:v>0.94414125200641996</c:v>
                </c:pt>
                <c:pt idx="52939">
                  <c:v>0.94415908685571603</c:v>
                </c:pt>
                <c:pt idx="52940">
                  <c:v>0.944176921705011</c:v>
                </c:pt>
                <c:pt idx="52941">
                  <c:v>0.94419475655430696</c:v>
                </c:pt>
                <c:pt idx="52942">
                  <c:v>0.94421259140360203</c:v>
                </c:pt>
                <c:pt idx="52943">
                  <c:v>0.94423042625289799</c:v>
                </c:pt>
                <c:pt idx="52944">
                  <c:v>0.94424826110219295</c:v>
                </c:pt>
                <c:pt idx="52945">
                  <c:v>0.94426609595148903</c:v>
                </c:pt>
                <c:pt idx="52946">
                  <c:v>0.94428393080078399</c:v>
                </c:pt>
                <c:pt idx="52947">
                  <c:v>0.94430176565007995</c:v>
                </c:pt>
                <c:pt idx="52948">
                  <c:v>0.94431960049937502</c:v>
                </c:pt>
                <c:pt idx="52949">
                  <c:v>0.94433743534867098</c:v>
                </c:pt>
                <c:pt idx="52950">
                  <c:v>0.94435527019796595</c:v>
                </c:pt>
                <c:pt idx="52951">
                  <c:v>0.94437310504726202</c:v>
                </c:pt>
                <c:pt idx="52952">
                  <c:v>0.94439093989655698</c:v>
                </c:pt>
                <c:pt idx="52953">
                  <c:v>0.94440877474585305</c:v>
                </c:pt>
                <c:pt idx="52954">
                  <c:v>0.94442660959514801</c:v>
                </c:pt>
                <c:pt idx="52955">
                  <c:v>0.94444444444444398</c:v>
                </c:pt>
                <c:pt idx="52956">
                  <c:v>0.94446227929373905</c:v>
                </c:pt>
                <c:pt idx="52957">
                  <c:v>0.94448011414303501</c:v>
                </c:pt>
                <c:pt idx="52958">
                  <c:v>0.94449794899233097</c:v>
                </c:pt>
                <c:pt idx="52959">
                  <c:v>0.94451578384162604</c:v>
                </c:pt>
                <c:pt idx="52960">
                  <c:v>0.94453361869092201</c:v>
                </c:pt>
                <c:pt idx="52961">
                  <c:v>0.94455145354021697</c:v>
                </c:pt>
                <c:pt idx="52962">
                  <c:v>0.94456928838951304</c:v>
                </c:pt>
                <c:pt idx="52963">
                  <c:v>0.944587123238808</c:v>
                </c:pt>
                <c:pt idx="52964">
                  <c:v>0.94460495808810396</c:v>
                </c:pt>
                <c:pt idx="52965">
                  <c:v>0.94462279293739904</c:v>
                </c:pt>
                <c:pt idx="52966">
                  <c:v>0.944640627786695</c:v>
                </c:pt>
                <c:pt idx="52967">
                  <c:v>0.94465846263598996</c:v>
                </c:pt>
                <c:pt idx="52968">
                  <c:v>0.94467629748528603</c:v>
                </c:pt>
                <c:pt idx="52969">
                  <c:v>0.94469413233458099</c:v>
                </c:pt>
                <c:pt idx="52970">
                  <c:v>0.94471196718387696</c:v>
                </c:pt>
                <c:pt idx="52971">
                  <c:v>0.94472980203317203</c:v>
                </c:pt>
                <c:pt idx="52972">
                  <c:v>0.94474763688246799</c:v>
                </c:pt>
                <c:pt idx="52973">
                  <c:v>0.94476547173176295</c:v>
                </c:pt>
                <c:pt idx="52974">
                  <c:v>0.94478330658105902</c:v>
                </c:pt>
                <c:pt idx="52975">
                  <c:v>0.94480114143035399</c:v>
                </c:pt>
                <c:pt idx="52976">
                  <c:v>0.94481897627964995</c:v>
                </c:pt>
                <c:pt idx="52977">
                  <c:v>0.94483681112894502</c:v>
                </c:pt>
                <c:pt idx="52978">
                  <c:v>0.94485464597824098</c:v>
                </c:pt>
                <c:pt idx="52979">
                  <c:v>0.94487248082753705</c:v>
                </c:pt>
                <c:pt idx="52980">
                  <c:v>0.94489031567683202</c:v>
                </c:pt>
                <c:pt idx="52981">
                  <c:v>0.94490815052612798</c:v>
                </c:pt>
                <c:pt idx="52982">
                  <c:v>0.94492598537542305</c:v>
                </c:pt>
                <c:pt idx="52983">
                  <c:v>0.94494382022471901</c:v>
                </c:pt>
                <c:pt idx="52984">
                  <c:v>0.94496165507401397</c:v>
                </c:pt>
                <c:pt idx="52985">
                  <c:v>0.94497948992331005</c:v>
                </c:pt>
                <c:pt idx="52986">
                  <c:v>0.94499732477260501</c:v>
                </c:pt>
                <c:pt idx="52987">
                  <c:v>0.94501515962190097</c:v>
                </c:pt>
                <c:pt idx="52988">
                  <c:v>0.94503299447119604</c:v>
                </c:pt>
                <c:pt idx="52989">
                  <c:v>0.945050829320492</c:v>
                </c:pt>
                <c:pt idx="52990">
                  <c:v>0.94506866416978696</c:v>
                </c:pt>
                <c:pt idx="52991">
                  <c:v>0.94508649901908304</c:v>
                </c:pt>
                <c:pt idx="52992">
                  <c:v>0.945104333868378</c:v>
                </c:pt>
                <c:pt idx="52993">
                  <c:v>0.94512216871767396</c:v>
                </c:pt>
                <c:pt idx="52994">
                  <c:v>0.94514000356696903</c:v>
                </c:pt>
                <c:pt idx="52995">
                  <c:v>0.94515783841626499</c:v>
                </c:pt>
                <c:pt idx="52996">
                  <c:v>0.94517567326556096</c:v>
                </c:pt>
                <c:pt idx="52997">
                  <c:v>0.94519350811485603</c:v>
                </c:pt>
                <c:pt idx="52998">
                  <c:v>0.94521134296415199</c:v>
                </c:pt>
                <c:pt idx="52999">
                  <c:v>0.94522917781344695</c:v>
                </c:pt>
                <c:pt idx="53000">
                  <c:v>0.94524701266274302</c:v>
                </c:pt>
                <c:pt idx="53001">
                  <c:v>0.94526484751203799</c:v>
                </c:pt>
                <c:pt idx="53002">
                  <c:v>0.94528268236133395</c:v>
                </c:pt>
                <c:pt idx="53003">
                  <c:v>0.94530051721062902</c:v>
                </c:pt>
                <c:pt idx="53004">
                  <c:v>0.94531835205992498</c:v>
                </c:pt>
                <c:pt idx="53005">
                  <c:v>0.94533618690922006</c:v>
                </c:pt>
                <c:pt idx="53006">
                  <c:v>0.94535402175851602</c:v>
                </c:pt>
                <c:pt idx="53007">
                  <c:v>0.94537185660781098</c:v>
                </c:pt>
                <c:pt idx="53008">
                  <c:v>0.94538969145710705</c:v>
                </c:pt>
                <c:pt idx="53009">
                  <c:v>0.94540752630640201</c:v>
                </c:pt>
                <c:pt idx="53010">
                  <c:v>0.94542536115569797</c:v>
                </c:pt>
                <c:pt idx="53011">
                  <c:v>0.94544319600499305</c:v>
                </c:pt>
                <c:pt idx="53012">
                  <c:v>0.94546103085428901</c:v>
                </c:pt>
                <c:pt idx="53013">
                  <c:v>0.94547886570358397</c:v>
                </c:pt>
                <c:pt idx="53014">
                  <c:v>0.94549670055288004</c:v>
                </c:pt>
                <c:pt idx="53015">
                  <c:v>0.945514535402175</c:v>
                </c:pt>
                <c:pt idx="53016">
                  <c:v>0.94553237025147097</c:v>
                </c:pt>
                <c:pt idx="53017">
                  <c:v>0.94555020510076604</c:v>
                </c:pt>
                <c:pt idx="53018">
                  <c:v>0.945568039950062</c:v>
                </c:pt>
                <c:pt idx="53019">
                  <c:v>0.94558587479935796</c:v>
                </c:pt>
                <c:pt idx="53020">
                  <c:v>0.94560370964865303</c:v>
                </c:pt>
                <c:pt idx="53021">
                  <c:v>0.945621544497949</c:v>
                </c:pt>
                <c:pt idx="53022">
                  <c:v>0.94563937934724396</c:v>
                </c:pt>
                <c:pt idx="53023">
                  <c:v>0.94565721419654003</c:v>
                </c:pt>
                <c:pt idx="53024">
                  <c:v>0.94567504904583499</c:v>
                </c:pt>
                <c:pt idx="53025">
                  <c:v>0.94569288389513095</c:v>
                </c:pt>
                <c:pt idx="53026">
                  <c:v>0.94571071874442603</c:v>
                </c:pt>
                <c:pt idx="53027">
                  <c:v>0.94572855359372199</c:v>
                </c:pt>
                <c:pt idx="53028">
                  <c:v>0.94574638844301695</c:v>
                </c:pt>
                <c:pt idx="53029">
                  <c:v>0.94576422329231302</c:v>
                </c:pt>
                <c:pt idx="53030">
                  <c:v>0.94578205814160798</c:v>
                </c:pt>
                <c:pt idx="53031">
                  <c:v>0.94579989299090395</c:v>
                </c:pt>
                <c:pt idx="53032">
                  <c:v>0.94581772784019902</c:v>
                </c:pt>
                <c:pt idx="53033">
                  <c:v>0.94583556268949498</c:v>
                </c:pt>
                <c:pt idx="53034">
                  <c:v>0.94585339753879005</c:v>
                </c:pt>
                <c:pt idx="53035">
                  <c:v>0.94587123238808601</c:v>
                </c:pt>
                <c:pt idx="53036">
                  <c:v>0.94588906723738098</c:v>
                </c:pt>
                <c:pt idx="53037">
                  <c:v>0.94590690208667705</c:v>
                </c:pt>
                <c:pt idx="53038">
                  <c:v>0.94592473693597201</c:v>
                </c:pt>
                <c:pt idx="53039">
                  <c:v>0.94594257178526797</c:v>
                </c:pt>
                <c:pt idx="53040">
                  <c:v>0.94596040663456304</c:v>
                </c:pt>
                <c:pt idx="53041">
                  <c:v>0.94597824148385901</c:v>
                </c:pt>
                <c:pt idx="53042">
                  <c:v>0.94599607633315497</c:v>
                </c:pt>
                <c:pt idx="53043">
                  <c:v>0.94601391118245004</c:v>
                </c:pt>
                <c:pt idx="53044">
                  <c:v>0.946031746031746</c:v>
                </c:pt>
                <c:pt idx="53045">
                  <c:v>0.94604958088104096</c:v>
                </c:pt>
                <c:pt idx="53046">
                  <c:v>0.94606741573033704</c:v>
                </c:pt>
                <c:pt idx="53047">
                  <c:v>0.946085250579632</c:v>
                </c:pt>
                <c:pt idx="53048">
                  <c:v>0.94610308542892796</c:v>
                </c:pt>
                <c:pt idx="53049">
                  <c:v>0.94612092027822303</c:v>
                </c:pt>
                <c:pt idx="53050">
                  <c:v>0.94613875512751899</c:v>
                </c:pt>
                <c:pt idx="53051">
                  <c:v>0.94615658997681396</c:v>
                </c:pt>
                <c:pt idx="53052">
                  <c:v>0.94617442482611003</c:v>
                </c:pt>
                <c:pt idx="53053">
                  <c:v>0.94619225967540499</c:v>
                </c:pt>
                <c:pt idx="53054">
                  <c:v>0.94621009452470095</c:v>
                </c:pt>
                <c:pt idx="53055">
                  <c:v>0.94622792937399602</c:v>
                </c:pt>
                <c:pt idx="53056">
                  <c:v>0.94624576422329199</c:v>
                </c:pt>
                <c:pt idx="53057">
                  <c:v>0.94626359907258695</c:v>
                </c:pt>
                <c:pt idx="53058">
                  <c:v>0.94628143392188302</c:v>
                </c:pt>
                <c:pt idx="53059">
                  <c:v>0.94629926877117798</c:v>
                </c:pt>
                <c:pt idx="53060">
                  <c:v>0.94631710362047405</c:v>
                </c:pt>
                <c:pt idx="53061">
                  <c:v>0.94633493846976902</c:v>
                </c:pt>
                <c:pt idx="53062">
                  <c:v>0.94635277331906498</c:v>
                </c:pt>
                <c:pt idx="53063">
                  <c:v>0.94637060816836005</c:v>
                </c:pt>
                <c:pt idx="53064">
                  <c:v>0.94638844301765601</c:v>
                </c:pt>
                <c:pt idx="53065">
                  <c:v>0.94640627786695197</c:v>
                </c:pt>
                <c:pt idx="53066">
                  <c:v>0.94642411271624705</c:v>
                </c:pt>
                <c:pt idx="53067">
                  <c:v>0.94644194756554301</c:v>
                </c:pt>
                <c:pt idx="53068">
                  <c:v>0.94645978241483797</c:v>
                </c:pt>
                <c:pt idx="53069">
                  <c:v>0.94647761726413404</c:v>
                </c:pt>
                <c:pt idx="53070">
                  <c:v>0.946495452113429</c:v>
                </c:pt>
                <c:pt idx="53071">
                  <c:v>0.94651328696272496</c:v>
                </c:pt>
                <c:pt idx="53072">
                  <c:v>0.94653112181202004</c:v>
                </c:pt>
                <c:pt idx="53073">
                  <c:v>0.946548956661316</c:v>
                </c:pt>
                <c:pt idx="53074">
                  <c:v>0.94656679151061096</c:v>
                </c:pt>
                <c:pt idx="53075">
                  <c:v>0.94658462635990703</c:v>
                </c:pt>
                <c:pt idx="53076">
                  <c:v>0.946602461209202</c:v>
                </c:pt>
                <c:pt idx="53077">
                  <c:v>0.94662029605849796</c:v>
                </c:pt>
                <c:pt idx="53078">
                  <c:v>0.94663813090779303</c:v>
                </c:pt>
                <c:pt idx="53079">
                  <c:v>0.94665596575708899</c:v>
                </c:pt>
                <c:pt idx="53080">
                  <c:v>0.94667380060638395</c:v>
                </c:pt>
                <c:pt idx="53081">
                  <c:v>0.94669163545568003</c:v>
                </c:pt>
                <c:pt idx="53082">
                  <c:v>0.94670947030497499</c:v>
                </c:pt>
                <c:pt idx="53083">
                  <c:v>0.94672730515427095</c:v>
                </c:pt>
                <c:pt idx="53084">
                  <c:v>0.94674514000356702</c:v>
                </c:pt>
                <c:pt idx="53085">
                  <c:v>0.94676297485286198</c:v>
                </c:pt>
                <c:pt idx="53086">
                  <c:v>0.94678080970215805</c:v>
                </c:pt>
                <c:pt idx="53087">
                  <c:v>0.94679864455145302</c:v>
                </c:pt>
                <c:pt idx="53088">
                  <c:v>0.94681647940074898</c:v>
                </c:pt>
                <c:pt idx="53089">
                  <c:v>0.94683431425004405</c:v>
                </c:pt>
                <c:pt idx="53090">
                  <c:v>0.94685214909934001</c:v>
                </c:pt>
                <c:pt idx="53091">
                  <c:v>0.94686998394863497</c:v>
                </c:pt>
                <c:pt idx="53092">
                  <c:v>0.94688781879793105</c:v>
                </c:pt>
                <c:pt idx="53093">
                  <c:v>0.94690565364722601</c:v>
                </c:pt>
                <c:pt idx="53094">
                  <c:v>0.94692348849652197</c:v>
                </c:pt>
                <c:pt idx="53095">
                  <c:v>0.94694132334581704</c:v>
                </c:pt>
                <c:pt idx="53096">
                  <c:v>0.946959158195113</c:v>
                </c:pt>
                <c:pt idx="53097">
                  <c:v>0.94697699304440797</c:v>
                </c:pt>
                <c:pt idx="53098">
                  <c:v>0.94699482789370404</c:v>
                </c:pt>
                <c:pt idx="53099">
                  <c:v>0.947012662742999</c:v>
                </c:pt>
                <c:pt idx="53100">
                  <c:v>0.94703049759229496</c:v>
                </c:pt>
                <c:pt idx="53101">
                  <c:v>0.94704833244159004</c:v>
                </c:pt>
                <c:pt idx="53102">
                  <c:v>0.947066167290886</c:v>
                </c:pt>
                <c:pt idx="53103">
                  <c:v>0.94708400214018196</c:v>
                </c:pt>
                <c:pt idx="53104">
                  <c:v>0.94710183698947703</c:v>
                </c:pt>
                <c:pt idx="53105">
                  <c:v>0.94711967183877299</c:v>
                </c:pt>
                <c:pt idx="53106">
                  <c:v>0.94713750668806795</c:v>
                </c:pt>
                <c:pt idx="53107">
                  <c:v>0.94715534153736403</c:v>
                </c:pt>
                <c:pt idx="53108">
                  <c:v>0.94717317638665899</c:v>
                </c:pt>
                <c:pt idx="53109">
                  <c:v>0.94719101123595495</c:v>
                </c:pt>
                <c:pt idx="53110">
                  <c:v>0.94720884608525002</c:v>
                </c:pt>
                <c:pt idx="53111">
                  <c:v>0.94722668093454598</c:v>
                </c:pt>
                <c:pt idx="53112">
                  <c:v>0.94724451578384095</c:v>
                </c:pt>
                <c:pt idx="53113">
                  <c:v>0.94726235063313702</c:v>
                </c:pt>
                <c:pt idx="53114">
                  <c:v>0.94728018548243198</c:v>
                </c:pt>
                <c:pt idx="53115">
                  <c:v>0.94729802033172805</c:v>
                </c:pt>
                <c:pt idx="53116">
                  <c:v>0.94731585518102301</c:v>
                </c:pt>
                <c:pt idx="53117">
                  <c:v>0.94733369003031898</c:v>
                </c:pt>
                <c:pt idx="53118">
                  <c:v>0.94735152487961405</c:v>
                </c:pt>
                <c:pt idx="53119">
                  <c:v>0.94736935972891001</c:v>
                </c:pt>
                <c:pt idx="53120">
                  <c:v>0.94738719457820497</c:v>
                </c:pt>
                <c:pt idx="53121">
                  <c:v>0.94740502942750104</c:v>
                </c:pt>
                <c:pt idx="53122">
                  <c:v>0.94742286427679601</c:v>
                </c:pt>
                <c:pt idx="53123">
                  <c:v>0.94744069912609197</c:v>
                </c:pt>
                <c:pt idx="53124">
                  <c:v>0.94745853397538704</c:v>
                </c:pt>
                <c:pt idx="53125">
                  <c:v>0.947476368824683</c:v>
                </c:pt>
                <c:pt idx="53126">
                  <c:v>0.94749420367397896</c:v>
                </c:pt>
                <c:pt idx="53127">
                  <c:v>0.94751203852327404</c:v>
                </c:pt>
                <c:pt idx="53128">
                  <c:v>0.94752987337257</c:v>
                </c:pt>
                <c:pt idx="53129">
                  <c:v>0.94754770822186496</c:v>
                </c:pt>
                <c:pt idx="53130">
                  <c:v>0.94756554307116103</c:v>
                </c:pt>
                <c:pt idx="53131">
                  <c:v>0.94758337792045599</c:v>
                </c:pt>
                <c:pt idx="53132">
                  <c:v>0.94760121276975195</c:v>
                </c:pt>
                <c:pt idx="53133">
                  <c:v>0.94761904761904703</c:v>
                </c:pt>
                <c:pt idx="53134">
                  <c:v>0.94763688246834299</c:v>
                </c:pt>
                <c:pt idx="53135">
                  <c:v>0.94765471731763795</c:v>
                </c:pt>
                <c:pt idx="53136">
                  <c:v>0.94767255216693402</c:v>
                </c:pt>
                <c:pt idx="53137">
                  <c:v>0.94769038701622899</c:v>
                </c:pt>
                <c:pt idx="53138">
                  <c:v>0.94770822186552495</c:v>
                </c:pt>
                <c:pt idx="53139">
                  <c:v>0.94772605671482002</c:v>
                </c:pt>
                <c:pt idx="53140">
                  <c:v>0.94774389156411598</c:v>
                </c:pt>
                <c:pt idx="53141">
                  <c:v>0.94776172641341105</c:v>
                </c:pt>
                <c:pt idx="53142">
                  <c:v>0.94777956126270702</c:v>
                </c:pt>
                <c:pt idx="53143">
                  <c:v>0.94779739611200198</c:v>
                </c:pt>
                <c:pt idx="53144">
                  <c:v>0.94781523096129805</c:v>
                </c:pt>
                <c:pt idx="53145">
                  <c:v>0.94783306581059301</c:v>
                </c:pt>
                <c:pt idx="53146">
                  <c:v>0.94785090065988897</c:v>
                </c:pt>
                <c:pt idx="53147">
                  <c:v>0.94786873550918405</c:v>
                </c:pt>
                <c:pt idx="53148">
                  <c:v>0.94788657035848001</c:v>
                </c:pt>
                <c:pt idx="53149">
                  <c:v>0.94790440520777597</c:v>
                </c:pt>
                <c:pt idx="53150">
                  <c:v>0.94792224005707104</c:v>
                </c:pt>
                <c:pt idx="53151">
                  <c:v>0.947940074906367</c:v>
                </c:pt>
                <c:pt idx="53152">
                  <c:v>0.94795790975566196</c:v>
                </c:pt>
                <c:pt idx="53153">
                  <c:v>0.94797574460495804</c:v>
                </c:pt>
                <c:pt idx="53154">
                  <c:v>0.947993579454253</c:v>
                </c:pt>
                <c:pt idx="53155">
                  <c:v>0.94801141430354896</c:v>
                </c:pt>
                <c:pt idx="53156">
                  <c:v>0.94802924915284403</c:v>
                </c:pt>
                <c:pt idx="53157">
                  <c:v>0.94804708400213999</c:v>
                </c:pt>
                <c:pt idx="53158">
                  <c:v>0.94806491885143496</c:v>
                </c:pt>
                <c:pt idx="53159">
                  <c:v>0.94808275370073103</c:v>
                </c:pt>
                <c:pt idx="53160">
                  <c:v>0.94810058855002599</c:v>
                </c:pt>
                <c:pt idx="53161">
                  <c:v>0.94811842339932195</c:v>
                </c:pt>
                <c:pt idx="53162">
                  <c:v>0.94813625824861703</c:v>
                </c:pt>
                <c:pt idx="53163">
                  <c:v>0.94815409309791299</c:v>
                </c:pt>
                <c:pt idx="53164">
                  <c:v>0.94817192794720795</c:v>
                </c:pt>
                <c:pt idx="53165">
                  <c:v>0.94818976279650402</c:v>
                </c:pt>
                <c:pt idx="53166">
                  <c:v>0.94820759764579898</c:v>
                </c:pt>
                <c:pt idx="53167">
                  <c:v>0.94822543249509506</c:v>
                </c:pt>
                <c:pt idx="53168">
                  <c:v>0.94824326734439002</c:v>
                </c:pt>
                <c:pt idx="53169">
                  <c:v>0.94826110219368598</c:v>
                </c:pt>
                <c:pt idx="53170">
                  <c:v>0.94827893704298105</c:v>
                </c:pt>
                <c:pt idx="53171">
                  <c:v>0.94829677189227701</c:v>
                </c:pt>
                <c:pt idx="53172">
                  <c:v>0.94831460674157297</c:v>
                </c:pt>
                <c:pt idx="53173">
                  <c:v>0.94833244159086805</c:v>
                </c:pt>
                <c:pt idx="53174">
                  <c:v>0.94835027644016401</c:v>
                </c:pt>
                <c:pt idx="53175">
                  <c:v>0.94836811128945897</c:v>
                </c:pt>
                <c:pt idx="53176">
                  <c:v>0.94838594613875504</c:v>
                </c:pt>
                <c:pt idx="53177">
                  <c:v>0.94840378098805</c:v>
                </c:pt>
                <c:pt idx="53178">
                  <c:v>0.94842161583734597</c:v>
                </c:pt>
                <c:pt idx="53179">
                  <c:v>0.94843945068664104</c:v>
                </c:pt>
                <c:pt idx="53180">
                  <c:v>0.948457285535937</c:v>
                </c:pt>
                <c:pt idx="53181">
                  <c:v>0.94847512038523196</c:v>
                </c:pt>
                <c:pt idx="53182">
                  <c:v>0.94849295523452803</c:v>
                </c:pt>
                <c:pt idx="53183">
                  <c:v>0.948510790083823</c:v>
                </c:pt>
                <c:pt idx="53184">
                  <c:v>0.94852862493311896</c:v>
                </c:pt>
                <c:pt idx="53185">
                  <c:v>0.94854645978241403</c:v>
                </c:pt>
                <c:pt idx="53186">
                  <c:v>0.94856429463170999</c:v>
                </c:pt>
                <c:pt idx="53187">
                  <c:v>0.94858212948100495</c:v>
                </c:pt>
                <c:pt idx="53188">
                  <c:v>0.94859996433030103</c:v>
                </c:pt>
                <c:pt idx="53189">
                  <c:v>0.94861779917959699</c:v>
                </c:pt>
                <c:pt idx="53190">
                  <c:v>0.94863563402889195</c:v>
                </c:pt>
                <c:pt idx="53191">
                  <c:v>0.94865346887818802</c:v>
                </c:pt>
                <c:pt idx="53192">
                  <c:v>0.94867130372748298</c:v>
                </c:pt>
                <c:pt idx="53193">
                  <c:v>0.94868913857677895</c:v>
                </c:pt>
                <c:pt idx="53194">
                  <c:v>0.94870697342607402</c:v>
                </c:pt>
                <c:pt idx="53195">
                  <c:v>0.94872480827536998</c:v>
                </c:pt>
                <c:pt idx="53196">
                  <c:v>0.94874264312466505</c:v>
                </c:pt>
                <c:pt idx="53197">
                  <c:v>0.94876047797396101</c:v>
                </c:pt>
                <c:pt idx="53198">
                  <c:v>0.94877831282325598</c:v>
                </c:pt>
                <c:pt idx="53199">
                  <c:v>0.94879614767255205</c:v>
                </c:pt>
                <c:pt idx="53200">
                  <c:v>0.94881398252184701</c:v>
                </c:pt>
                <c:pt idx="53201">
                  <c:v>0.94883181737114297</c:v>
                </c:pt>
                <c:pt idx="53202">
                  <c:v>0.94884965222043804</c:v>
                </c:pt>
                <c:pt idx="53203">
                  <c:v>0.94886748706973401</c:v>
                </c:pt>
                <c:pt idx="53204">
                  <c:v>0.94888532191902897</c:v>
                </c:pt>
                <c:pt idx="53205">
                  <c:v>0.94890315676832504</c:v>
                </c:pt>
                <c:pt idx="53206">
                  <c:v>0.94892099161762</c:v>
                </c:pt>
                <c:pt idx="53207">
                  <c:v>0.94893882646691596</c:v>
                </c:pt>
                <c:pt idx="53208">
                  <c:v>0.94895666131621104</c:v>
                </c:pt>
                <c:pt idx="53209">
                  <c:v>0.948974496165507</c:v>
                </c:pt>
                <c:pt idx="53210">
                  <c:v>0.94899233101480296</c:v>
                </c:pt>
                <c:pt idx="53211">
                  <c:v>0.94901016586409803</c:v>
                </c:pt>
                <c:pt idx="53212">
                  <c:v>0.94902800071339399</c:v>
                </c:pt>
                <c:pt idx="53213">
                  <c:v>0.94904583556268896</c:v>
                </c:pt>
                <c:pt idx="53214">
                  <c:v>0.94906367041198503</c:v>
                </c:pt>
                <c:pt idx="53215">
                  <c:v>0.94908150526127999</c:v>
                </c:pt>
                <c:pt idx="53216">
                  <c:v>0.94909934011057595</c:v>
                </c:pt>
                <c:pt idx="53217">
                  <c:v>0.94911717495987102</c:v>
                </c:pt>
                <c:pt idx="53218">
                  <c:v>0.94913500980916699</c:v>
                </c:pt>
                <c:pt idx="53219">
                  <c:v>0.94915284465846195</c:v>
                </c:pt>
                <c:pt idx="53220">
                  <c:v>0.94917067950775802</c:v>
                </c:pt>
                <c:pt idx="53221">
                  <c:v>0.94918851435705298</c:v>
                </c:pt>
                <c:pt idx="53222">
                  <c:v>0.94920634920634905</c:v>
                </c:pt>
                <c:pt idx="53223">
                  <c:v>0.94922418405564402</c:v>
                </c:pt>
                <c:pt idx="53224">
                  <c:v>0.94924201890493998</c:v>
                </c:pt>
                <c:pt idx="53225">
                  <c:v>0.94925985375423505</c:v>
                </c:pt>
                <c:pt idx="53226">
                  <c:v>0.94927768860353101</c:v>
                </c:pt>
                <c:pt idx="53227">
                  <c:v>0.94929552345282597</c:v>
                </c:pt>
                <c:pt idx="53228">
                  <c:v>0.94931335830212205</c:v>
                </c:pt>
                <c:pt idx="53229">
                  <c:v>0.94933119315141701</c:v>
                </c:pt>
                <c:pt idx="53230">
                  <c:v>0.94934902800071297</c:v>
                </c:pt>
                <c:pt idx="53231">
                  <c:v>0.94936686285000804</c:v>
                </c:pt>
                <c:pt idx="53232">
                  <c:v>0.949384697699304</c:v>
                </c:pt>
                <c:pt idx="53233">
                  <c:v>0.94940253254859996</c:v>
                </c:pt>
                <c:pt idx="53234">
                  <c:v>0.94942036739789504</c:v>
                </c:pt>
                <c:pt idx="53235">
                  <c:v>0.949438202247191</c:v>
                </c:pt>
                <c:pt idx="53236">
                  <c:v>0.94945603709648596</c:v>
                </c:pt>
                <c:pt idx="53237">
                  <c:v>0.94947387194578203</c:v>
                </c:pt>
                <c:pt idx="53238">
                  <c:v>0.949491706795077</c:v>
                </c:pt>
                <c:pt idx="53239">
                  <c:v>0.94950954164437296</c:v>
                </c:pt>
                <c:pt idx="53240">
                  <c:v>0.94952737649366803</c:v>
                </c:pt>
                <c:pt idx="53241">
                  <c:v>0.94954521134296399</c:v>
                </c:pt>
                <c:pt idx="53242">
                  <c:v>0.94956304619225895</c:v>
                </c:pt>
                <c:pt idx="53243">
                  <c:v>0.94958088104155502</c:v>
                </c:pt>
                <c:pt idx="53244">
                  <c:v>0.94959871589084999</c:v>
                </c:pt>
                <c:pt idx="53245">
                  <c:v>0.94961655074014595</c:v>
                </c:pt>
                <c:pt idx="53246">
                  <c:v>0.94963438558944102</c:v>
                </c:pt>
                <c:pt idx="53247">
                  <c:v>0.94965222043873698</c:v>
                </c:pt>
                <c:pt idx="53248">
                  <c:v>0.94967005528803194</c:v>
                </c:pt>
                <c:pt idx="53249">
                  <c:v>0.94968789013732802</c:v>
                </c:pt>
                <c:pt idx="53250">
                  <c:v>0.94970572498662298</c:v>
                </c:pt>
                <c:pt idx="53251">
                  <c:v>0.94972355983591905</c:v>
                </c:pt>
                <c:pt idx="53252">
                  <c:v>0.94974139468521401</c:v>
                </c:pt>
                <c:pt idx="53253">
                  <c:v>0.94975922953450997</c:v>
                </c:pt>
                <c:pt idx="53254">
                  <c:v>0.94977706438380505</c:v>
                </c:pt>
                <c:pt idx="53255">
                  <c:v>0.94979489923310101</c:v>
                </c:pt>
                <c:pt idx="53256">
                  <c:v>0.94981273408239697</c:v>
                </c:pt>
                <c:pt idx="53257">
                  <c:v>0.94983056893169204</c:v>
                </c:pt>
                <c:pt idx="53258">
                  <c:v>0.949848403780988</c:v>
                </c:pt>
                <c:pt idx="53259">
                  <c:v>0.94986623863028297</c:v>
                </c:pt>
                <c:pt idx="53260">
                  <c:v>0.94988407347957904</c:v>
                </c:pt>
                <c:pt idx="53261">
                  <c:v>0.949901908328874</c:v>
                </c:pt>
                <c:pt idx="53262">
                  <c:v>0.94991974317816996</c:v>
                </c:pt>
                <c:pt idx="53263">
                  <c:v>0.94993757802746503</c:v>
                </c:pt>
                <c:pt idx="53264">
                  <c:v>0.949955412876761</c:v>
                </c:pt>
                <c:pt idx="53265">
                  <c:v>0.94997324772605596</c:v>
                </c:pt>
                <c:pt idx="53266">
                  <c:v>0.94999108257535203</c:v>
                </c:pt>
                <c:pt idx="53267">
                  <c:v>0.95000891742464699</c:v>
                </c:pt>
                <c:pt idx="53268">
                  <c:v>0.95002675227394295</c:v>
                </c:pt>
                <c:pt idx="53269">
                  <c:v>0.95004458712323803</c:v>
                </c:pt>
                <c:pt idx="53270">
                  <c:v>0.95006242197253399</c:v>
                </c:pt>
                <c:pt idx="53271">
                  <c:v>0.95008025682182895</c:v>
                </c:pt>
                <c:pt idx="53272">
                  <c:v>0.95009809167112502</c:v>
                </c:pt>
                <c:pt idx="53273">
                  <c:v>0.95011592652041998</c:v>
                </c:pt>
                <c:pt idx="53274">
                  <c:v>0.95013376136971595</c:v>
                </c:pt>
                <c:pt idx="53275">
                  <c:v>0.95015159621901102</c:v>
                </c:pt>
                <c:pt idx="53276">
                  <c:v>0.95016943106830698</c:v>
                </c:pt>
                <c:pt idx="53277">
                  <c:v>0.95018726591760205</c:v>
                </c:pt>
                <c:pt idx="53278">
                  <c:v>0.95020510076689801</c:v>
                </c:pt>
                <c:pt idx="53279">
                  <c:v>0.95022293561619398</c:v>
                </c:pt>
                <c:pt idx="53280">
                  <c:v>0.95024077046548905</c:v>
                </c:pt>
                <c:pt idx="53281">
                  <c:v>0.95025860531478501</c:v>
                </c:pt>
                <c:pt idx="53282">
                  <c:v>0.95027644016407997</c:v>
                </c:pt>
                <c:pt idx="53283">
                  <c:v>0.95029427501337604</c:v>
                </c:pt>
                <c:pt idx="53284">
                  <c:v>0.95031210986267101</c:v>
                </c:pt>
                <c:pt idx="53285">
                  <c:v>0.95032994471196697</c:v>
                </c:pt>
                <c:pt idx="53286">
                  <c:v>0.95034777956126204</c:v>
                </c:pt>
                <c:pt idx="53287">
                  <c:v>0.950365614410558</c:v>
                </c:pt>
                <c:pt idx="53288">
                  <c:v>0.95038344925985296</c:v>
                </c:pt>
                <c:pt idx="53289">
                  <c:v>0.95040128410914904</c:v>
                </c:pt>
                <c:pt idx="53290">
                  <c:v>0.950419118958444</c:v>
                </c:pt>
                <c:pt idx="53291">
                  <c:v>0.95043695380773996</c:v>
                </c:pt>
                <c:pt idx="53292">
                  <c:v>0.95045478865703503</c:v>
                </c:pt>
                <c:pt idx="53293">
                  <c:v>0.95047262350633099</c:v>
                </c:pt>
                <c:pt idx="53294">
                  <c:v>0.95049045835562596</c:v>
                </c:pt>
                <c:pt idx="53295">
                  <c:v>0.95050829320492203</c:v>
                </c:pt>
                <c:pt idx="53296">
                  <c:v>0.95052612805421799</c:v>
                </c:pt>
                <c:pt idx="53297">
                  <c:v>0.95054396290351295</c:v>
                </c:pt>
                <c:pt idx="53298">
                  <c:v>0.95056179775280902</c:v>
                </c:pt>
                <c:pt idx="53299">
                  <c:v>0.95057963260210399</c:v>
                </c:pt>
                <c:pt idx="53300">
                  <c:v>0.95059746745139995</c:v>
                </c:pt>
                <c:pt idx="53301">
                  <c:v>0.95061530230069502</c:v>
                </c:pt>
                <c:pt idx="53302">
                  <c:v>0.95063313714999098</c:v>
                </c:pt>
                <c:pt idx="53303">
                  <c:v>0.95065097199928605</c:v>
                </c:pt>
                <c:pt idx="53304">
                  <c:v>0.95066880684858202</c:v>
                </c:pt>
                <c:pt idx="53305">
                  <c:v>0.95068664169787698</c:v>
                </c:pt>
                <c:pt idx="53306">
                  <c:v>0.95070447654717305</c:v>
                </c:pt>
                <c:pt idx="53307">
                  <c:v>0.95072231139646801</c:v>
                </c:pt>
                <c:pt idx="53308">
                  <c:v>0.95074014624576397</c:v>
                </c:pt>
                <c:pt idx="53309">
                  <c:v>0.95075798109505905</c:v>
                </c:pt>
                <c:pt idx="53310">
                  <c:v>0.95077581594435501</c:v>
                </c:pt>
                <c:pt idx="53311">
                  <c:v>0.95079365079364997</c:v>
                </c:pt>
                <c:pt idx="53312">
                  <c:v>0.95081148564294604</c:v>
                </c:pt>
                <c:pt idx="53313">
                  <c:v>0.950829320492241</c:v>
                </c:pt>
                <c:pt idx="53314">
                  <c:v>0.95084715534153696</c:v>
                </c:pt>
                <c:pt idx="53315">
                  <c:v>0.95086499019083204</c:v>
                </c:pt>
                <c:pt idx="53316">
                  <c:v>0.950882825040128</c:v>
                </c:pt>
                <c:pt idx="53317">
                  <c:v>0.95090065988942396</c:v>
                </c:pt>
                <c:pt idx="53318">
                  <c:v>0.95091849473871903</c:v>
                </c:pt>
                <c:pt idx="53319">
                  <c:v>0.95093632958801499</c:v>
                </c:pt>
                <c:pt idx="53320">
                  <c:v>0.95095416443730996</c:v>
                </c:pt>
                <c:pt idx="53321">
                  <c:v>0.95097199928660603</c:v>
                </c:pt>
                <c:pt idx="53322">
                  <c:v>0.95098983413590099</c:v>
                </c:pt>
                <c:pt idx="53323">
                  <c:v>0.95100766898519695</c:v>
                </c:pt>
                <c:pt idx="53324">
                  <c:v>0.95102550383449203</c:v>
                </c:pt>
                <c:pt idx="53325">
                  <c:v>0.95104333868378799</c:v>
                </c:pt>
                <c:pt idx="53326">
                  <c:v>0.95106117353308295</c:v>
                </c:pt>
                <c:pt idx="53327">
                  <c:v>0.95107900838237902</c:v>
                </c:pt>
                <c:pt idx="53328">
                  <c:v>0.95109684323167398</c:v>
                </c:pt>
                <c:pt idx="53329">
                  <c:v>0.95111467808097006</c:v>
                </c:pt>
                <c:pt idx="53330">
                  <c:v>0.95113251293026502</c:v>
                </c:pt>
                <c:pt idx="53331">
                  <c:v>0.95115034777956098</c:v>
                </c:pt>
                <c:pt idx="53332">
                  <c:v>0.95116818262885605</c:v>
                </c:pt>
                <c:pt idx="53333">
                  <c:v>0.95118601747815201</c:v>
                </c:pt>
                <c:pt idx="53334">
                  <c:v>0.95120385232744697</c:v>
                </c:pt>
                <c:pt idx="53335">
                  <c:v>0.95122168717674305</c:v>
                </c:pt>
                <c:pt idx="53336">
                  <c:v>0.95123952202603801</c:v>
                </c:pt>
                <c:pt idx="53337">
                  <c:v>0.95125735687533397</c:v>
                </c:pt>
                <c:pt idx="53338">
                  <c:v>0.95127519172462904</c:v>
                </c:pt>
                <c:pt idx="53339">
                  <c:v>0.951293026573925</c:v>
                </c:pt>
                <c:pt idx="53340">
                  <c:v>0.95131086142322097</c:v>
                </c:pt>
                <c:pt idx="53341">
                  <c:v>0.95132869627251604</c:v>
                </c:pt>
                <c:pt idx="53342">
                  <c:v>0.951346531121812</c:v>
                </c:pt>
                <c:pt idx="53343">
                  <c:v>0.95136436597110696</c:v>
                </c:pt>
                <c:pt idx="53344">
                  <c:v>0.95138220082040303</c:v>
                </c:pt>
                <c:pt idx="53345">
                  <c:v>0.951400035669698</c:v>
                </c:pt>
                <c:pt idx="53346">
                  <c:v>0.95141787051899396</c:v>
                </c:pt>
                <c:pt idx="53347">
                  <c:v>0.95143570536828903</c:v>
                </c:pt>
                <c:pt idx="53348">
                  <c:v>0.95145354021758499</c:v>
                </c:pt>
                <c:pt idx="53349">
                  <c:v>0.95147137506687995</c:v>
                </c:pt>
                <c:pt idx="53350">
                  <c:v>0.95148920991617603</c:v>
                </c:pt>
                <c:pt idx="53351">
                  <c:v>0.95150704476547099</c:v>
                </c:pt>
                <c:pt idx="53352">
                  <c:v>0.95152487961476695</c:v>
                </c:pt>
                <c:pt idx="53353">
                  <c:v>0.95154271446406202</c:v>
                </c:pt>
                <c:pt idx="53354">
                  <c:v>0.95156054931335798</c:v>
                </c:pt>
                <c:pt idx="53355">
                  <c:v>0.95157838416265295</c:v>
                </c:pt>
                <c:pt idx="53356">
                  <c:v>0.95159621901194902</c:v>
                </c:pt>
                <c:pt idx="53357">
                  <c:v>0.95161405386124398</c:v>
                </c:pt>
                <c:pt idx="53358">
                  <c:v>0.95163188871054005</c:v>
                </c:pt>
                <c:pt idx="53359">
                  <c:v>0.95164972355983501</c:v>
                </c:pt>
                <c:pt idx="53360">
                  <c:v>0.95166755840913098</c:v>
                </c:pt>
                <c:pt idx="53361">
                  <c:v>0.95168539325842605</c:v>
                </c:pt>
                <c:pt idx="53362">
                  <c:v>0.95170322810772201</c:v>
                </c:pt>
                <c:pt idx="53363">
                  <c:v>0.95172106295701797</c:v>
                </c:pt>
                <c:pt idx="53364">
                  <c:v>0.95173889780631304</c:v>
                </c:pt>
                <c:pt idx="53365">
                  <c:v>0.95175673265560901</c:v>
                </c:pt>
                <c:pt idx="53366">
                  <c:v>0.95177456750490397</c:v>
                </c:pt>
                <c:pt idx="53367">
                  <c:v>0.95179240235420004</c:v>
                </c:pt>
                <c:pt idx="53368">
                  <c:v>0.951810237203495</c:v>
                </c:pt>
                <c:pt idx="53369">
                  <c:v>0.95182807205279096</c:v>
                </c:pt>
                <c:pt idx="53370">
                  <c:v>0.95184590690208604</c:v>
                </c:pt>
                <c:pt idx="53371">
                  <c:v>0.951863741751382</c:v>
                </c:pt>
                <c:pt idx="53372">
                  <c:v>0.95188157660067696</c:v>
                </c:pt>
                <c:pt idx="53373">
                  <c:v>0.95189941144997303</c:v>
                </c:pt>
                <c:pt idx="53374">
                  <c:v>0.95191724629926799</c:v>
                </c:pt>
                <c:pt idx="53375">
                  <c:v>0.95193508114856396</c:v>
                </c:pt>
                <c:pt idx="53376">
                  <c:v>0.95195291599785903</c:v>
                </c:pt>
                <c:pt idx="53377">
                  <c:v>0.95197075084715499</c:v>
                </c:pt>
                <c:pt idx="53378">
                  <c:v>0.95198858569644995</c:v>
                </c:pt>
                <c:pt idx="53379">
                  <c:v>0.95200642054574602</c:v>
                </c:pt>
                <c:pt idx="53380">
                  <c:v>0.95202425539504099</c:v>
                </c:pt>
                <c:pt idx="53381">
                  <c:v>0.95204209024433695</c:v>
                </c:pt>
                <c:pt idx="53382">
                  <c:v>0.95205992509363202</c:v>
                </c:pt>
                <c:pt idx="53383">
                  <c:v>0.95207775994292798</c:v>
                </c:pt>
                <c:pt idx="53384">
                  <c:v>0.95209559479222405</c:v>
                </c:pt>
                <c:pt idx="53385">
                  <c:v>0.95211342964151902</c:v>
                </c:pt>
                <c:pt idx="53386">
                  <c:v>0.95213126449081498</c:v>
                </c:pt>
                <c:pt idx="53387">
                  <c:v>0.95214909934011005</c:v>
                </c:pt>
                <c:pt idx="53388">
                  <c:v>0.95216693418940601</c:v>
                </c:pt>
                <c:pt idx="53389">
                  <c:v>0.95218476903870097</c:v>
                </c:pt>
                <c:pt idx="53390">
                  <c:v>0.95220260388799705</c:v>
                </c:pt>
                <c:pt idx="53391">
                  <c:v>0.95222043873729201</c:v>
                </c:pt>
                <c:pt idx="53392">
                  <c:v>0.95223827358658797</c:v>
                </c:pt>
                <c:pt idx="53393">
                  <c:v>0.95225610843588304</c:v>
                </c:pt>
                <c:pt idx="53394">
                  <c:v>0.952273943285179</c:v>
                </c:pt>
                <c:pt idx="53395">
                  <c:v>0.95229177813447397</c:v>
                </c:pt>
                <c:pt idx="53396">
                  <c:v>0.95230961298377004</c:v>
                </c:pt>
                <c:pt idx="53397">
                  <c:v>0.952327447833065</c:v>
                </c:pt>
                <c:pt idx="53398">
                  <c:v>0.95234528268236096</c:v>
                </c:pt>
                <c:pt idx="53399">
                  <c:v>0.95236311753165603</c:v>
                </c:pt>
                <c:pt idx="53400">
                  <c:v>0.952380952380952</c:v>
                </c:pt>
                <c:pt idx="53401">
                  <c:v>0.95239878723024796</c:v>
                </c:pt>
                <c:pt idx="53402">
                  <c:v>0.95241662207954303</c:v>
                </c:pt>
                <c:pt idx="53403">
                  <c:v>0.95243445692883899</c:v>
                </c:pt>
                <c:pt idx="53404">
                  <c:v>0.95245229177813395</c:v>
                </c:pt>
                <c:pt idx="53405">
                  <c:v>0.95247012662743002</c:v>
                </c:pt>
                <c:pt idx="53406">
                  <c:v>0.95248796147672499</c:v>
                </c:pt>
                <c:pt idx="53407">
                  <c:v>0.95250579632602095</c:v>
                </c:pt>
                <c:pt idx="53408">
                  <c:v>0.95252363117531602</c:v>
                </c:pt>
                <c:pt idx="53409">
                  <c:v>0.95254146602461198</c:v>
                </c:pt>
                <c:pt idx="53410">
                  <c:v>0.95255930087390706</c:v>
                </c:pt>
                <c:pt idx="53411">
                  <c:v>0.95257713572320302</c:v>
                </c:pt>
                <c:pt idx="53412">
                  <c:v>0.95259497057249798</c:v>
                </c:pt>
                <c:pt idx="53413">
                  <c:v>0.95261280542179405</c:v>
                </c:pt>
                <c:pt idx="53414">
                  <c:v>0.95263064027108901</c:v>
                </c:pt>
                <c:pt idx="53415">
                  <c:v>0.95264847512038497</c:v>
                </c:pt>
                <c:pt idx="53416">
                  <c:v>0.95266630996968005</c:v>
                </c:pt>
                <c:pt idx="53417">
                  <c:v>0.95268414481897601</c:v>
                </c:pt>
                <c:pt idx="53418">
                  <c:v>0.95270197966827097</c:v>
                </c:pt>
                <c:pt idx="53419">
                  <c:v>0.95271981451756704</c:v>
                </c:pt>
                <c:pt idx="53420">
                  <c:v>0.952737649366862</c:v>
                </c:pt>
                <c:pt idx="53421">
                  <c:v>0.95275548421615797</c:v>
                </c:pt>
                <c:pt idx="53422">
                  <c:v>0.95277331906545304</c:v>
                </c:pt>
                <c:pt idx="53423">
                  <c:v>0.952791153914749</c:v>
                </c:pt>
                <c:pt idx="53424">
                  <c:v>0.95280898876404496</c:v>
                </c:pt>
                <c:pt idx="53425">
                  <c:v>0.95282682361334003</c:v>
                </c:pt>
                <c:pt idx="53426">
                  <c:v>0.952844658462636</c:v>
                </c:pt>
                <c:pt idx="53427">
                  <c:v>0.95286249331193096</c:v>
                </c:pt>
                <c:pt idx="53428">
                  <c:v>0.95288032816122703</c:v>
                </c:pt>
                <c:pt idx="53429">
                  <c:v>0.95289816301052199</c:v>
                </c:pt>
                <c:pt idx="53430">
                  <c:v>0.95291599785981795</c:v>
                </c:pt>
                <c:pt idx="53431">
                  <c:v>0.95293383270911303</c:v>
                </c:pt>
                <c:pt idx="53432">
                  <c:v>0.95295166755840899</c:v>
                </c:pt>
                <c:pt idx="53433">
                  <c:v>0.95296950240770395</c:v>
                </c:pt>
                <c:pt idx="53434">
                  <c:v>0.95298733725700002</c:v>
                </c:pt>
                <c:pt idx="53435">
                  <c:v>0.95300517210629498</c:v>
                </c:pt>
                <c:pt idx="53436">
                  <c:v>0.95302300695559095</c:v>
                </c:pt>
                <c:pt idx="53437">
                  <c:v>0.95304084180488602</c:v>
                </c:pt>
                <c:pt idx="53438">
                  <c:v>0.95305867665418198</c:v>
                </c:pt>
                <c:pt idx="53439">
                  <c:v>0.95307651150347705</c:v>
                </c:pt>
                <c:pt idx="53440">
                  <c:v>0.95309434635277301</c:v>
                </c:pt>
                <c:pt idx="53441">
                  <c:v>0.95311218120206798</c:v>
                </c:pt>
                <c:pt idx="53442">
                  <c:v>0.95313001605136405</c:v>
                </c:pt>
                <c:pt idx="53443">
                  <c:v>0.95314785090065901</c:v>
                </c:pt>
                <c:pt idx="53444">
                  <c:v>0.95316568574995497</c:v>
                </c:pt>
                <c:pt idx="53445">
                  <c:v>0.95318352059925004</c:v>
                </c:pt>
                <c:pt idx="53446">
                  <c:v>0.95320135544854601</c:v>
                </c:pt>
                <c:pt idx="53447">
                  <c:v>0.95321919029784197</c:v>
                </c:pt>
                <c:pt idx="53448">
                  <c:v>0.95323702514713704</c:v>
                </c:pt>
                <c:pt idx="53449">
                  <c:v>0.953254859996433</c:v>
                </c:pt>
                <c:pt idx="53450">
                  <c:v>0.95327269484572796</c:v>
                </c:pt>
                <c:pt idx="53451">
                  <c:v>0.95329052969502404</c:v>
                </c:pt>
                <c:pt idx="53452">
                  <c:v>0.953308364544319</c:v>
                </c:pt>
                <c:pt idx="53453">
                  <c:v>0.95332619939361496</c:v>
                </c:pt>
                <c:pt idx="53454">
                  <c:v>0.95334403424291003</c:v>
                </c:pt>
                <c:pt idx="53455">
                  <c:v>0.95336186909220599</c:v>
                </c:pt>
                <c:pt idx="53456">
                  <c:v>0.95337970394150096</c:v>
                </c:pt>
                <c:pt idx="53457">
                  <c:v>0.95339753879079703</c:v>
                </c:pt>
                <c:pt idx="53458">
                  <c:v>0.95341537364009199</c:v>
                </c:pt>
                <c:pt idx="53459">
                  <c:v>0.95343320848938795</c:v>
                </c:pt>
                <c:pt idx="53460">
                  <c:v>0.95345104333868302</c:v>
                </c:pt>
                <c:pt idx="53461">
                  <c:v>0.95346887818797899</c:v>
                </c:pt>
                <c:pt idx="53462">
                  <c:v>0.95348671303727395</c:v>
                </c:pt>
                <c:pt idx="53463">
                  <c:v>0.95350454788657002</c:v>
                </c:pt>
                <c:pt idx="53464">
                  <c:v>0.95352238273586498</c:v>
                </c:pt>
                <c:pt idx="53465">
                  <c:v>0.95354021758516105</c:v>
                </c:pt>
                <c:pt idx="53466">
                  <c:v>0.95355805243445602</c:v>
                </c:pt>
                <c:pt idx="53467">
                  <c:v>0.95357588728375198</c:v>
                </c:pt>
                <c:pt idx="53468">
                  <c:v>0.95359372213304705</c:v>
                </c:pt>
                <c:pt idx="53469">
                  <c:v>0.95361155698234301</c:v>
                </c:pt>
                <c:pt idx="53470">
                  <c:v>0.95362939183163897</c:v>
                </c:pt>
                <c:pt idx="53471">
                  <c:v>0.95364722668093405</c:v>
                </c:pt>
                <c:pt idx="53472">
                  <c:v>0.95366506153023001</c:v>
                </c:pt>
                <c:pt idx="53473">
                  <c:v>0.95368289637952497</c:v>
                </c:pt>
                <c:pt idx="53474">
                  <c:v>0.95370073122882104</c:v>
                </c:pt>
                <c:pt idx="53475">
                  <c:v>0.953718566078116</c:v>
                </c:pt>
                <c:pt idx="53476">
                  <c:v>0.95373640092741196</c:v>
                </c:pt>
                <c:pt idx="53477">
                  <c:v>0.95375423577670704</c:v>
                </c:pt>
                <c:pt idx="53478">
                  <c:v>0.953772070626003</c:v>
                </c:pt>
                <c:pt idx="53479">
                  <c:v>0.95378990547529796</c:v>
                </c:pt>
                <c:pt idx="53480">
                  <c:v>0.95380774032459403</c:v>
                </c:pt>
                <c:pt idx="53481">
                  <c:v>0.953825575173889</c:v>
                </c:pt>
                <c:pt idx="53482">
                  <c:v>0.95384341002318496</c:v>
                </c:pt>
                <c:pt idx="53483">
                  <c:v>0.95386124487248003</c:v>
                </c:pt>
                <c:pt idx="53484">
                  <c:v>0.95387907972177599</c:v>
                </c:pt>
                <c:pt idx="53485">
                  <c:v>0.95389691457107095</c:v>
                </c:pt>
                <c:pt idx="53486">
                  <c:v>0.95391474942036703</c:v>
                </c:pt>
                <c:pt idx="53487">
                  <c:v>0.95393258426966199</c:v>
                </c:pt>
                <c:pt idx="53488">
                  <c:v>0.95395041911895795</c:v>
                </c:pt>
                <c:pt idx="53489">
                  <c:v>0.95396825396825402</c:v>
                </c:pt>
                <c:pt idx="53490">
                  <c:v>0.95398608881754898</c:v>
                </c:pt>
                <c:pt idx="53491">
                  <c:v>0.95400392366684506</c:v>
                </c:pt>
                <c:pt idx="53492">
                  <c:v>0.95402175851614002</c:v>
                </c:pt>
                <c:pt idx="53493">
                  <c:v>0.95403959336543598</c:v>
                </c:pt>
                <c:pt idx="53494">
                  <c:v>0.95405742821473105</c:v>
                </c:pt>
                <c:pt idx="53495">
                  <c:v>0.95407526306402701</c:v>
                </c:pt>
                <c:pt idx="53496">
                  <c:v>0.95409309791332197</c:v>
                </c:pt>
                <c:pt idx="53497">
                  <c:v>0.95411093276261805</c:v>
                </c:pt>
                <c:pt idx="53498">
                  <c:v>0.95412876761191301</c:v>
                </c:pt>
                <c:pt idx="53499">
                  <c:v>0.95414660246120897</c:v>
                </c:pt>
                <c:pt idx="53500">
                  <c:v>0.95416443731050404</c:v>
                </c:pt>
                <c:pt idx="53501">
                  <c:v>0.9541822721598</c:v>
                </c:pt>
                <c:pt idx="53502">
                  <c:v>0.95420010700909497</c:v>
                </c:pt>
                <c:pt idx="53503">
                  <c:v>0.95421794185839104</c:v>
                </c:pt>
                <c:pt idx="53504">
                  <c:v>0.954235776707686</c:v>
                </c:pt>
                <c:pt idx="53505">
                  <c:v>0.95425361155698196</c:v>
                </c:pt>
                <c:pt idx="53506">
                  <c:v>0.95427144640627704</c:v>
                </c:pt>
                <c:pt idx="53507">
                  <c:v>0.954289281255573</c:v>
                </c:pt>
                <c:pt idx="53508">
                  <c:v>0.95430711610486896</c:v>
                </c:pt>
                <c:pt idx="53509">
                  <c:v>0.95432495095416403</c:v>
                </c:pt>
                <c:pt idx="53510">
                  <c:v>0.95434278580345999</c:v>
                </c:pt>
                <c:pt idx="53511">
                  <c:v>0.95436062065275495</c:v>
                </c:pt>
                <c:pt idx="53512">
                  <c:v>0.95437845550205103</c:v>
                </c:pt>
                <c:pt idx="53513">
                  <c:v>0.95439629035134599</c:v>
                </c:pt>
                <c:pt idx="53514">
                  <c:v>0.95441412520064195</c:v>
                </c:pt>
                <c:pt idx="53515">
                  <c:v>0.95443196004993702</c:v>
                </c:pt>
                <c:pt idx="53516">
                  <c:v>0.95444979489923298</c:v>
                </c:pt>
                <c:pt idx="53517">
                  <c:v>0.95446762974852795</c:v>
                </c:pt>
                <c:pt idx="53518">
                  <c:v>0.95448546459782402</c:v>
                </c:pt>
                <c:pt idx="53519">
                  <c:v>0.95450329944711898</c:v>
                </c:pt>
                <c:pt idx="53520">
                  <c:v>0.95452113429641505</c:v>
                </c:pt>
                <c:pt idx="53521">
                  <c:v>0.95453896914571001</c:v>
                </c:pt>
                <c:pt idx="53522">
                  <c:v>0.95455680399500598</c:v>
                </c:pt>
                <c:pt idx="53523">
                  <c:v>0.95457463884430105</c:v>
                </c:pt>
                <c:pt idx="53524">
                  <c:v>0.95459247369359701</c:v>
                </c:pt>
                <c:pt idx="53525">
                  <c:v>0.95461030854289197</c:v>
                </c:pt>
                <c:pt idx="53526">
                  <c:v>0.95462814339218804</c:v>
                </c:pt>
                <c:pt idx="53527">
                  <c:v>0.95464597824148301</c:v>
                </c:pt>
                <c:pt idx="53528">
                  <c:v>0.95466381309077897</c:v>
                </c:pt>
                <c:pt idx="53529">
                  <c:v>0.95468164794007404</c:v>
                </c:pt>
                <c:pt idx="53530">
                  <c:v>0.95469948278937</c:v>
                </c:pt>
                <c:pt idx="53531">
                  <c:v>0.95471731763866596</c:v>
                </c:pt>
                <c:pt idx="53532">
                  <c:v>0.95473515248796104</c:v>
                </c:pt>
                <c:pt idx="53533">
                  <c:v>0.954752987337257</c:v>
                </c:pt>
                <c:pt idx="53534">
                  <c:v>0.95477082218655196</c:v>
                </c:pt>
                <c:pt idx="53535">
                  <c:v>0.95478865703584803</c:v>
                </c:pt>
                <c:pt idx="53536">
                  <c:v>0.95480649188514299</c:v>
                </c:pt>
                <c:pt idx="53537">
                  <c:v>0.95482432673443896</c:v>
                </c:pt>
                <c:pt idx="53538">
                  <c:v>0.95484216158373403</c:v>
                </c:pt>
                <c:pt idx="53539">
                  <c:v>0.95485999643302999</c:v>
                </c:pt>
                <c:pt idx="53540">
                  <c:v>0.95487783128232495</c:v>
                </c:pt>
                <c:pt idx="53541">
                  <c:v>0.95489566613162102</c:v>
                </c:pt>
                <c:pt idx="53542">
                  <c:v>0.95491350098091599</c:v>
                </c:pt>
                <c:pt idx="53543">
                  <c:v>0.95493133583021195</c:v>
                </c:pt>
                <c:pt idx="53544">
                  <c:v>0.95494917067950702</c:v>
                </c:pt>
                <c:pt idx="53545">
                  <c:v>0.95496700552880298</c:v>
                </c:pt>
                <c:pt idx="53546">
                  <c:v>0.95498484037809805</c:v>
                </c:pt>
                <c:pt idx="53547">
                  <c:v>0.95500267522739402</c:v>
                </c:pt>
                <c:pt idx="53548">
                  <c:v>0.95502051007668898</c:v>
                </c:pt>
                <c:pt idx="53549">
                  <c:v>0.95503834492598505</c:v>
                </c:pt>
                <c:pt idx="53550">
                  <c:v>0.95505617977528001</c:v>
                </c:pt>
                <c:pt idx="53551">
                  <c:v>0.95507401462457597</c:v>
                </c:pt>
                <c:pt idx="53552">
                  <c:v>0.95509184947387105</c:v>
                </c:pt>
                <c:pt idx="53553">
                  <c:v>0.95510968432316701</c:v>
                </c:pt>
                <c:pt idx="53554">
                  <c:v>0.95512751917246297</c:v>
                </c:pt>
                <c:pt idx="53555">
                  <c:v>0.95514535402175804</c:v>
                </c:pt>
                <c:pt idx="53556">
                  <c:v>0.955163188871054</c:v>
                </c:pt>
                <c:pt idx="53557">
                  <c:v>0.95518102372034897</c:v>
                </c:pt>
                <c:pt idx="53558">
                  <c:v>0.95519885856964504</c:v>
                </c:pt>
                <c:pt idx="53559">
                  <c:v>0.95521669341894</c:v>
                </c:pt>
                <c:pt idx="53560">
                  <c:v>0.95523452826823596</c:v>
                </c:pt>
                <c:pt idx="53561">
                  <c:v>0.95525236311753103</c:v>
                </c:pt>
                <c:pt idx="53562">
                  <c:v>0.95527019796682699</c:v>
                </c:pt>
                <c:pt idx="53563">
                  <c:v>0.95528803281612196</c:v>
                </c:pt>
                <c:pt idx="53564">
                  <c:v>0.95530586766541803</c:v>
                </c:pt>
                <c:pt idx="53565">
                  <c:v>0.95532370251471299</c:v>
                </c:pt>
                <c:pt idx="53566">
                  <c:v>0.95534153736400895</c:v>
                </c:pt>
                <c:pt idx="53567">
                  <c:v>0.95535937221330403</c:v>
                </c:pt>
                <c:pt idx="53568">
                  <c:v>0.95537720706259999</c:v>
                </c:pt>
                <c:pt idx="53569">
                  <c:v>0.95539504191189495</c:v>
                </c:pt>
                <c:pt idx="53570">
                  <c:v>0.95541287676119102</c:v>
                </c:pt>
                <c:pt idx="53571">
                  <c:v>0.95543071161048598</c:v>
                </c:pt>
                <c:pt idx="53572">
                  <c:v>0.95544854645978206</c:v>
                </c:pt>
                <c:pt idx="53573">
                  <c:v>0.95546638130907702</c:v>
                </c:pt>
                <c:pt idx="53574">
                  <c:v>0.95548421615837298</c:v>
                </c:pt>
                <c:pt idx="53575">
                  <c:v>0.95550205100766805</c:v>
                </c:pt>
                <c:pt idx="53576">
                  <c:v>0.95551988585696401</c:v>
                </c:pt>
                <c:pt idx="53577">
                  <c:v>0.95553772070625997</c:v>
                </c:pt>
                <c:pt idx="53578">
                  <c:v>0.95555555555555505</c:v>
                </c:pt>
                <c:pt idx="53579">
                  <c:v>0.95557339040485101</c:v>
                </c:pt>
                <c:pt idx="53580">
                  <c:v>0.95559122525414597</c:v>
                </c:pt>
                <c:pt idx="53581">
                  <c:v>0.95560906010344204</c:v>
                </c:pt>
                <c:pt idx="53582">
                  <c:v>0.955626894952737</c:v>
                </c:pt>
                <c:pt idx="53583">
                  <c:v>0.95564472980203297</c:v>
                </c:pt>
                <c:pt idx="53584">
                  <c:v>0.95566256465132804</c:v>
                </c:pt>
                <c:pt idx="53585">
                  <c:v>0.955680399500624</c:v>
                </c:pt>
                <c:pt idx="53586">
                  <c:v>0.95569823434991896</c:v>
                </c:pt>
                <c:pt idx="53587">
                  <c:v>0.95571606919921503</c:v>
                </c:pt>
                <c:pt idx="53588">
                  <c:v>0.95573390404851</c:v>
                </c:pt>
                <c:pt idx="53589">
                  <c:v>0.95575173889780596</c:v>
                </c:pt>
                <c:pt idx="53590">
                  <c:v>0.95576957374710103</c:v>
                </c:pt>
                <c:pt idx="53591">
                  <c:v>0.95578740859639699</c:v>
                </c:pt>
                <c:pt idx="53592">
                  <c:v>0.95580524344569195</c:v>
                </c:pt>
                <c:pt idx="53593">
                  <c:v>0.95582307829498803</c:v>
                </c:pt>
                <c:pt idx="53594">
                  <c:v>0.95584091314428299</c:v>
                </c:pt>
                <c:pt idx="53595">
                  <c:v>0.95585874799357895</c:v>
                </c:pt>
                <c:pt idx="53596">
                  <c:v>0.95587658284287502</c:v>
                </c:pt>
                <c:pt idx="53597">
                  <c:v>0.95589441769216998</c:v>
                </c:pt>
                <c:pt idx="53598">
                  <c:v>0.95591225254146595</c:v>
                </c:pt>
                <c:pt idx="53599">
                  <c:v>0.95593008739076102</c:v>
                </c:pt>
                <c:pt idx="53600">
                  <c:v>0.95594792224005698</c:v>
                </c:pt>
                <c:pt idx="53601">
                  <c:v>0.95596575708935205</c:v>
                </c:pt>
                <c:pt idx="53602">
                  <c:v>0.95598359193864801</c:v>
                </c:pt>
                <c:pt idx="53603">
                  <c:v>0.95600142678794298</c:v>
                </c:pt>
                <c:pt idx="53604">
                  <c:v>0.95601926163723905</c:v>
                </c:pt>
                <c:pt idx="53605">
                  <c:v>0.95603709648653401</c:v>
                </c:pt>
                <c:pt idx="53606">
                  <c:v>0.95605493133582997</c:v>
                </c:pt>
                <c:pt idx="53607">
                  <c:v>0.95607276618512504</c:v>
                </c:pt>
                <c:pt idx="53608">
                  <c:v>0.95609060103442101</c:v>
                </c:pt>
                <c:pt idx="53609">
                  <c:v>0.95610843588371597</c:v>
                </c:pt>
                <c:pt idx="53610">
                  <c:v>0.95612627073301204</c:v>
                </c:pt>
                <c:pt idx="53611">
                  <c:v>0.956144105582307</c:v>
                </c:pt>
                <c:pt idx="53612">
                  <c:v>0.95616194043160296</c:v>
                </c:pt>
                <c:pt idx="53613">
                  <c:v>0.95617977528089804</c:v>
                </c:pt>
                <c:pt idx="53614">
                  <c:v>0.956197610130194</c:v>
                </c:pt>
                <c:pt idx="53615">
                  <c:v>0.95621544497948996</c:v>
                </c:pt>
                <c:pt idx="53616">
                  <c:v>0.95623327982878503</c:v>
                </c:pt>
                <c:pt idx="53617">
                  <c:v>0.95625111467808099</c:v>
                </c:pt>
                <c:pt idx="53618">
                  <c:v>0.95626894952737596</c:v>
                </c:pt>
                <c:pt idx="53619">
                  <c:v>0.95628678437667203</c:v>
                </c:pt>
                <c:pt idx="53620">
                  <c:v>0.95630461922596699</c:v>
                </c:pt>
                <c:pt idx="53621">
                  <c:v>0.95632245407526295</c:v>
                </c:pt>
                <c:pt idx="53622">
                  <c:v>0.95634028892455802</c:v>
                </c:pt>
                <c:pt idx="53623">
                  <c:v>0.95635812377385399</c:v>
                </c:pt>
                <c:pt idx="53624">
                  <c:v>0.95637595862314895</c:v>
                </c:pt>
                <c:pt idx="53625">
                  <c:v>0.95639379347244502</c:v>
                </c:pt>
                <c:pt idx="53626">
                  <c:v>0.95641162832173998</c:v>
                </c:pt>
                <c:pt idx="53627">
                  <c:v>0.95642946317103605</c:v>
                </c:pt>
                <c:pt idx="53628">
                  <c:v>0.95644729802033102</c:v>
                </c:pt>
                <c:pt idx="53629">
                  <c:v>0.95646513286962698</c:v>
                </c:pt>
                <c:pt idx="53630">
                  <c:v>0.95648296771892205</c:v>
                </c:pt>
                <c:pt idx="53631">
                  <c:v>0.95650080256821801</c:v>
                </c:pt>
                <c:pt idx="53632">
                  <c:v>0.95651863741751297</c:v>
                </c:pt>
                <c:pt idx="53633">
                  <c:v>0.95653647226680905</c:v>
                </c:pt>
                <c:pt idx="53634">
                  <c:v>0.95655430711610401</c:v>
                </c:pt>
                <c:pt idx="53635">
                  <c:v>0.95657214196539997</c:v>
                </c:pt>
                <c:pt idx="53636">
                  <c:v>0.95658997681469504</c:v>
                </c:pt>
                <c:pt idx="53637">
                  <c:v>0.956607811663991</c:v>
                </c:pt>
                <c:pt idx="53638">
                  <c:v>0.95662564651328696</c:v>
                </c:pt>
                <c:pt idx="53639">
                  <c:v>0.95664348136258204</c:v>
                </c:pt>
                <c:pt idx="53640">
                  <c:v>0.956661316211878</c:v>
                </c:pt>
                <c:pt idx="53641">
                  <c:v>0.95667915106117296</c:v>
                </c:pt>
                <c:pt idx="53642">
                  <c:v>0.95669698591046903</c:v>
                </c:pt>
                <c:pt idx="53643">
                  <c:v>0.956714820759764</c:v>
                </c:pt>
                <c:pt idx="53644">
                  <c:v>0.95673265560905996</c:v>
                </c:pt>
                <c:pt idx="53645">
                  <c:v>0.95675049045835503</c:v>
                </c:pt>
                <c:pt idx="53646">
                  <c:v>0.95676832530765099</c:v>
                </c:pt>
                <c:pt idx="53647">
                  <c:v>0.95678616015694595</c:v>
                </c:pt>
                <c:pt idx="53648">
                  <c:v>0.95680399500624203</c:v>
                </c:pt>
                <c:pt idx="53649">
                  <c:v>0.95682182985553699</c:v>
                </c:pt>
                <c:pt idx="53650">
                  <c:v>0.95683966470483295</c:v>
                </c:pt>
                <c:pt idx="53651">
                  <c:v>0.95685749955412802</c:v>
                </c:pt>
                <c:pt idx="53652">
                  <c:v>0.95687533440342398</c:v>
                </c:pt>
                <c:pt idx="53653">
                  <c:v>0.95689316925271894</c:v>
                </c:pt>
                <c:pt idx="53654">
                  <c:v>0.95691100410201502</c:v>
                </c:pt>
                <c:pt idx="53655">
                  <c:v>0.95692883895130998</c:v>
                </c:pt>
                <c:pt idx="53656">
                  <c:v>0.95694667380060605</c:v>
                </c:pt>
                <c:pt idx="53657">
                  <c:v>0.95696450864990101</c:v>
                </c:pt>
                <c:pt idx="53658">
                  <c:v>0.95698234349919697</c:v>
                </c:pt>
                <c:pt idx="53659">
                  <c:v>0.95700017834849205</c:v>
                </c:pt>
                <c:pt idx="53660">
                  <c:v>0.95701801319778801</c:v>
                </c:pt>
                <c:pt idx="53661">
                  <c:v>0.95703584804708397</c:v>
                </c:pt>
                <c:pt idx="53662">
                  <c:v>0.95705368289637904</c:v>
                </c:pt>
                <c:pt idx="53663">
                  <c:v>0.957071517745675</c:v>
                </c:pt>
                <c:pt idx="53664">
                  <c:v>0.95708935259496997</c:v>
                </c:pt>
                <c:pt idx="53665">
                  <c:v>0.95710718744426604</c:v>
                </c:pt>
                <c:pt idx="53666">
                  <c:v>0.957125022293561</c:v>
                </c:pt>
                <c:pt idx="53667">
                  <c:v>0.95714285714285696</c:v>
                </c:pt>
                <c:pt idx="53668">
                  <c:v>0.95716069199215204</c:v>
                </c:pt>
                <c:pt idx="53669">
                  <c:v>0.957178526841448</c:v>
                </c:pt>
                <c:pt idx="53670">
                  <c:v>0.95719636169074296</c:v>
                </c:pt>
                <c:pt idx="53671">
                  <c:v>0.95721419654003903</c:v>
                </c:pt>
                <c:pt idx="53672">
                  <c:v>0.95723203138933399</c:v>
                </c:pt>
                <c:pt idx="53673">
                  <c:v>0.95724986623862995</c:v>
                </c:pt>
                <c:pt idx="53674">
                  <c:v>0.95726770108792503</c:v>
                </c:pt>
                <c:pt idx="53675">
                  <c:v>0.95728553593722099</c:v>
                </c:pt>
                <c:pt idx="53676">
                  <c:v>0.95730337078651595</c:v>
                </c:pt>
                <c:pt idx="53677">
                  <c:v>0.95732120563581202</c:v>
                </c:pt>
                <c:pt idx="53678">
                  <c:v>0.95733904048510698</c:v>
                </c:pt>
                <c:pt idx="53679">
                  <c:v>0.95735687533440295</c:v>
                </c:pt>
                <c:pt idx="53680">
                  <c:v>0.95737471018369802</c:v>
                </c:pt>
                <c:pt idx="53681">
                  <c:v>0.95739254503299398</c:v>
                </c:pt>
                <c:pt idx="53682">
                  <c:v>0.95741037988228905</c:v>
                </c:pt>
                <c:pt idx="53683">
                  <c:v>0.95742821473158501</c:v>
                </c:pt>
                <c:pt idx="53684">
                  <c:v>0.95744604958088098</c:v>
                </c:pt>
                <c:pt idx="53685">
                  <c:v>0.95746388443017605</c:v>
                </c:pt>
                <c:pt idx="53686">
                  <c:v>0.95748171927947201</c:v>
                </c:pt>
                <c:pt idx="53687">
                  <c:v>0.95749955412876697</c:v>
                </c:pt>
                <c:pt idx="53688">
                  <c:v>0.95751738897806304</c:v>
                </c:pt>
                <c:pt idx="53689">
                  <c:v>0.95753522382735801</c:v>
                </c:pt>
                <c:pt idx="53690">
                  <c:v>0.95755305867665397</c:v>
                </c:pt>
                <c:pt idx="53691">
                  <c:v>0.95757089352594904</c:v>
                </c:pt>
                <c:pt idx="53692">
                  <c:v>0.957588728375245</c:v>
                </c:pt>
                <c:pt idx="53693">
                  <c:v>0.95760656322453996</c:v>
                </c:pt>
                <c:pt idx="53694">
                  <c:v>0.95762439807383604</c:v>
                </c:pt>
                <c:pt idx="53695">
                  <c:v>0.957642232923131</c:v>
                </c:pt>
                <c:pt idx="53696">
                  <c:v>0.95766006777242696</c:v>
                </c:pt>
                <c:pt idx="53697">
                  <c:v>0.95767790262172203</c:v>
                </c:pt>
                <c:pt idx="53698">
                  <c:v>0.95769573747101799</c:v>
                </c:pt>
                <c:pt idx="53699">
                  <c:v>0.95771357232031296</c:v>
                </c:pt>
                <c:pt idx="53700">
                  <c:v>0.95773140716960903</c:v>
                </c:pt>
                <c:pt idx="53701">
                  <c:v>0.95774924201890499</c:v>
                </c:pt>
                <c:pt idx="53702">
                  <c:v>0.95776707686819995</c:v>
                </c:pt>
                <c:pt idx="53703">
                  <c:v>0.95778491171749602</c:v>
                </c:pt>
                <c:pt idx="53704">
                  <c:v>0.95780274656679099</c:v>
                </c:pt>
                <c:pt idx="53705">
                  <c:v>0.95782058141608695</c:v>
                </c:pt>
                <c:pt idx="53706">
                  <c:v>0.95783841626538202</c:v>
                </c:pt>
                <c:pt idx="53707">
                  <c:v>0.95785625111467798</c:v>
                </c:pt>
                <c:pt idx="53708">
                  <c:v>0.95787408596397305</c:v>
                </c:pt>
                <c:pt idx="53709">
                  <c:v>0.95789192081326902</c:v>
                </c:pt>
                <c:pt idx="53710">
                  <c:v>0.95790975566256398</c:v>
                </c:pt>
                <c:pt idx="53711">
                  <c:v>0.95792759051186005</c:v>
                </c:pt>
                <c:pt idx="53712">
                  <c:v>0.95794542536115501</c:v>
                </c:pt>
                <c:pt idx="53713">
                  <c:v>0.95796326021045097</c:v>
                </c:pt>
                <c:pt idx="53714">
                  <c:v>0.95798109505974605</c:v>
                </c:pt>
                <c:pt idx="53715">
                  <c:v>0.95799892990904201</c:v>
                </c:pt>
                <c:pt idx="53716">
                  <c:v>0.95801676475833697</c:v>
                </c:pt>
                <c:pt idx="53717">
                  <c:v>0.95803459960763304</c:v>
                </c:pt>
                <c:pt idx="53718">
                  <c:v>0.958052434456928</c:v>
                </c:pt>
                <c:pt idx="53719">
                  <c:v>0.95807026930622396</c:v>
                </c:pt>
                <c:pt idx="53720">
                  <c:v>0.95808810415551904</c:v>
                </c:pt>
                <c:pt idx="53721">
                  <c:v>0.958105939004815</c:v>
                </c:pt>
                <c:pt idx="53722">
                  <c:v>0.95812377385411096</c:v>
                </c:pt>
                <c:pt idx="53723">
                  <c:v>0.95814160870340603</c:v>
                </c:pt>
                <c:pt idx="53724">
                  <c:v>0.95815944355270199</c:v>
                </c:pt>
                <c:pt idx="53725">
                  <c:v>0.95817727840199696</c:v>
                </c:pt>
                <c:pt idx="53726">
                  <c:v>0.95819511325129303</c:v>
                </c:pt>
                <c:pt idx="53727">
                  <c:v>0.95821294810058799</c:v>
                </c:pt>
                <c:pt idx="53728">
                  <c:v>0.95823078294988395</c:v>
                </c:pt>
                <c:pt idx="53729">
                  <c:v>0.95824861779917903</c:v>
                </c:pt>
                <c:pt idx="53730">
                  <c:v>0.95826645264847499</c:v>
                </c:pt>
                <c:pt idx="53731">
                  <c:v>0.95828428749776995</c:v>
                </c:pt>
                <c:pt idx="53732">
                  <c:v>0.95830212234706602</c:v>
                </c:pt>
                <c:pt idx="53733">
                  <c:v>0.95831995719636098</c:v>
                </c:pt>
                <c:pt idx="53734">
                  <c:v>0.95833779204565706</c:v>
                </c:pt>
                <c:pt idx="53735">
                  <c:v>0.95835562689495202</c:v>
                </c:pt>
                <c:pt idx="53736">
                  <c:v>0.95837346174424798</c:v>
                </c:pt>
                <c:pt idx="53737">
                  <c:v>0.95839129659354305</c:v>
                </c:pt>
                <c:pt idx="53738">
                  <c:v>0.95840913144283901</c:v>
                </c:pt>
                <c:pt idx="53739">
                  <c:v>0.95842696629213397</c:v>
                </c:pt>
                <c:pt idx="53740">
                  <c:v>0.95844480114143005</c:v>
                </c:pt>
                <c:pt idx="53741">
                  <c:v>0.95846263599072501</c:v>
                </c:pt>
                <c:pt idx="53742">
                  <c:v>0.95848047084002097</c:v>
                </c:pt>
                <c:pt idx="53743">
                  <c:v>0.95849830568931604</c:v>
                </c:pt>
                <c:pt idx="53744">
                  <c:v>0.958516140538612</c:v>
                </c:pt>
                <c:pt idx="53745">
                  <c:v>0.95853397538790797</c:v>
                </c:pt>
                <c:pt idx="53746">
                  <c:v>0.95855181023720304</c:v>
                </c:pt>
                <c:pt idx="53747">
                  <c:v>0.958569645086499</c:v>
                </c:pt>
                <c:pt idx="53748">
                  <c:v>0.95858747993579396</c:v>
                </c:pt>
                <c:pt idx="53749">
                  <c:v>0.95860531478509003</c:v>
                </c:pt>
                <c:pt idx="53750">
                  <c:v>0.958623149634385</c:v>
                </c:pt>
                <c:pt idx="53751">
                  <c:v>0.95864098448368096</c:v>
                </c:pt>
                <c:pt idx="53752">
                  <c:v>0.95865881933297603</c:v>
                </c:pt>
                <c:pt idx="53753">
                  <c:v>0.95867665418227199</c:v>
                </c:pt>
                <c:pt idx="53754">
                  <c:v>0.95869448903156695</c:v>
                </c:pt>
                <c:pt idx="53755">
                  <c:v>0.95871232388086303</c:v>
                </c:pt>
                <c:pt idx="53756">
                  <c:v>0.95873015873015799</c:v>
                </c:pt>
                <c:pt idx="53757">
                  <c:v>0.95874799357945395</c:v>
                </c:pt>
                <c:pt idx="53758">
                  <c:v>0.95876582842874902</c:v>
                </c:pt>
                <c:pt idx="53759">
                  <c:v>0.95878366327804498</c:v>
                </c:pt>
                <c:pt idx="53760">
                  <c:v>0.95880149812733995</c:v>
                </c:pt>
                <c:pt idx="53761">
                  <c:v>0.95881933297663602</c:v>
                </c:pt>
                <c:pt idx="53762">
                  <c:v>0.95883716782593098</c:v>
                </c:pt>
                <c:pt idx="53763">
                  <c:v>0.95885500267522705</c:v>
                </c:pt>
                <c:pt idx="53764">
                  <c:v>0.95887283752452201</c:v>
                </c:pt>
                <c:pt idx="53765">
                  <c:v>0.95889067237381798</c:v>
                </c:pt>
                <c:pt idx="53766">
                  <c:v>0.95890850722311305</c:v>
                </c:pt>
                <c:pt idx="53767">
                  <c:v>0.95892634207240901</c:v>
                </c:pt>
                <c:pt idx="53768">
                  <c:v>0.95894417692170497</c:v>
                </c:pt>
                <c:pt idx="53769">
                  <c:v>0.95896201177100004</c:v>
                </c:pt>
                <c:pt idx="53770">
                  <c:v>0.95897984662029601</c:v>
                </c:pt>
                <c:pt idx="53771">
                  <c:v>0.95899768146959097</c:v>
                </c:pt>
                <c:pt idx="53772">
                  <c:v>0.95901551631888704</c:v>
                </c:pt>
                <c:pt idx="53773">
                  <c:v>0.959033351168182</c:v>
                </c:pt>
                <c:pt idx="53774">
                  <c:v>0.95905118601747796</c:v>
                </c:pt>
                <c:pt idx="53775">
                  <c:v>0.95906902086677304</c:v>
                </c:pt>
                <c:pt idx="53776">
                  <c:v>0.959086855716069</c:v>
                </c:pt>
                <c:pt idx="53777">
                  <c:v>0.95910469056536396</c:v>
                </c:pt>
                <c:pt idx="53778">
                  <c:v>0.95912252541466003</c:v>
                </c:pt>
                <c:pt idx="53779">
                  <c:v>0.95914036026395499</c:v>
                </c:pt>
                <c:pt idx="53780">
                  <c:v>0.95915819511325096</c:v>
                </c:pt>
                <c:pt idx="53781">
                  <c:v>0.95917602996254603</c:v>
                </c:pt>
                <c:pt idx="53782">
                  <c:v>0.95919386481184199</c:v>
                </c:pt>
                <c:pt idx="53783">
                  <c:v>0.95921169966113695</c:v>
                </c:pt>
                <c:pt idx="53784">
                  <c:v>0.95922953451043302</c:v>
                </c:pt>
                <c:pt idx="53785">
                  <c:v>0.95924736935972799</c:v>
                </c:pt>
                <c:pt idx="53786">
                  <c:v>0.95926520420902395</c:v>
                </c:pt>
                <c:pt idx="53787">
                  <c:v>0.95928303905831902</c:v>
                </c:pt>
                <c:pt idx="53788">
                  <c:v>0.95930087390761498</c:v>
                </c:pt>
                <c:pt idx="53789">
                  <c:v>0.95931870875691105</c:v>
                </c:pt>
                <c:pt idx="53790">
                  <c:v>0.95933654360620602</c:v>
                </c:pt>
                <c:pt idx="53791">
                  <c:v>0.95935437845550198</c:v>
                </c:pt>
                <c:pt idx="53792">
                  <c:v>0.95937221330479705</c:v>
                </c:pt>
                <c:pt idx="53793">
                  <c:v>0.95939004815409301</c:v>
                </c:pt>
                <c:pt idx="53794">
                  <c:v>0.95940788300338797</c:v>
                </c:pt>
                <c:pt idx="53795">
                  <c:v>0.95942571785268405</c:v>
                </c:pt>
                <c:pt idx="53796">
                  <c:v>0.95944355270197901</c:v>
                </c:pt>
                <c:pt idx="53797">
                  <c:v>0.95946138755127497</c:v>
                </c:pt>
                <c:pt idx="53798">
                  <c:v>0.95947922240057004</c:v>
                </c:pt>
                <c:pt idx="53799">
                  <c:v>0.959497057249866</c:v>
                </c:pt>
                <c:pt idx="53800">
                  <c:v>0.95951489209916097</c:v>
                </c:pt>
                <c:pt idx="53801">
                  <c:v>0.95953272694845704</c:v>
                </c:pt>
                <c:pt idx="53802">
                  <c:v>0.959550561797752</c:v>
                </c:pt>
                <c:pt idx="53803">
                  <c:v>0.95956839664704796</c:v>
                </c:pt>
                <c:pt idx="53804">
                  <c:v>0.95958623149634303</c:v>
                </c:pt>
                <c:pt idx="53805">
                  <c:v>0.959604066345639</c:v>
                </c:pt>
                <c:pt idx="53806">
                  <c:v>0.95962190119493496</c:v>
                </c:pt>
                <c:pt idx="53807">
                  <c:v>0.95963973604423003</c:v>
                </c:pt>
                <c:pt idx="53808">
                  <c:v>0.95965757089352599</c:v>
                </c:pt>
                <c:pt idx="53809">
                  <c:v>0.95967540574282095</c:v>
                </c:pt>
                <c:pt idx="53810">
                  <c:v>0.95969324059211703</c:v>
                </c:pt>
                <c:pt idx="53811">
                  <c:v>0.95971107544141199</c:v>
                </c:pt>
                <c:pt idx="53812">
                  <c:v>0.95972891029070795</c:v>
                </c:pt>
                <c:pt idx="53813">
                  <c:v>0.95974674514000302</c:v>
                </c:pt>
                <c:pt idx="53814">
                  <c:v>0.95976457998929898</c:v>
                </c:pt>
                <c:pt idx="53815">
                  <c:v>0.95978241483859394</c:v>
                </c:pt>
                <c:pt idx="53816">
                  <c:v>0.95980024968789002</c:v>
                </c:pt>
                <c:pt idx="53817">
                  <c:v>0.95981808453718498</c:v>
                </c:pt>
                <c:pt idx="53818">
                  <c:v>0.95983591938648105</c:v>
                </c:pt>
                <c:pt idx="53819">
                  <c:v>0.95985375423577601</c:v>
                </c:pt>
                <c:pt idx="53820">
                  <c:v>0.95987158908507197</c:v>
                </c:pt>
                <c:pt idx="53821">
                  <c:v>0.95988942393436705</c:v>
                </c:pt>
                <c:pt idx="53822">
                  <c:v>0.95990725878366301</c:v>
                </c:pt>
                <c:pt idx="53823">
                  <c:v>0.95992509363295797</c:v>
                </c:pt>
                <c:pt idx="53824">
                  <c:v>0.95994292848225404</c:v>
                </c:pt>
                <c:pt idx="53825">
                  <c:v>0.95996076333154901</c:v>
                </c:pt>
                <c:pt idx="53826">
                  <c:v>0.95997859818084497</c:v>
                </c:pt>
                <c:pt idx="53827">
                  <c:v>0.95999643303014004</c:v>
                </c:pt>
                <c:pt idx="53828">
                  <c:v>0.960014267879436</c:v>
                </c:pt>
                <c:pt idx="53829">
                  <c:v>0.96003210272873196</c:v>
                </c:pt>
                <c:pt idx="53830">
                  <c:v>0.96004993757802704</c:v>
                </c:pt>
                <c:pt idx="53831">
                  <c:v>0.960067772427323</c:v>
                </c:pt>
                <c:pt idx="53832">
                  <c:v>0.96008560727661796</c:v>
                </c:pt>
                <c:pt idx="53833">
                  <c:v>0.96010344212591403</c:v>
                </c:pt>
                <c:pt idx="53834">
                  <c:v>0.96012127697520899</c:v>
                </c:pt>
                <c:pt idx="53835">
                  <c:v>0.96013911182450495</c:v>
                </c:pt>
                <c:pt idx="53836">
                  <c:v>0.96015694667380003</c:v>
                </c:pt>
                <c:pt idx="53837">
                  <c:v>0.96017478152309599</c:v>
                </c:pt>
                <c:pt idx="53838">
                  <c:v>0.96019261637239095</c:v>
                </c:pt>
                <c:pt idx="53839">
                  <c:v>0.96021045122168702</c:v>
                </c:pt>
                <c:pt idx="53840">
                  <c:v>0.96022828607098198</c:v>
                </c:pt>
                <c:pt idx="53841">
                  <c:v>0.96024612092027795</c:v>
                </c:pt>
                <c:pt idx="53842">
                  <c:v>0.96026395576957302</c:v>
                </c:pt>
                <c:pt idx="53843">
                  <c:v>0.96028179061886898</c:v>
                </c:pt>
                <c:pt idx="53844">
                  <c:v>0.96029962546816405</c:v>
                </c:pt>
                <c:pt idx="53845">
                  <c:v>0.96031746031746001</c:v>
                </c:pt>
                <c:pt idx="53846">
                  <c:v>0.96033529516675498</c:v>
                </c:pt>
                <c:pt idx="53847">
                  <c:v>0.96035313001605105</c:v>
                </c:pt>
                <c:pt idx="53848">
                  <c:v>0.96037096486534601</c:v>
                </c:pt>
                <c:pt idx="53849">
                  <c:v>0.96038879971464197</c:v>
                </c:pt>
                <c:pt idx="53850">
                  <c:v>0.96040663456393705</c:v>
                </c:pt>
                <c:pt idx="53851">
                  <c:v>0.96042446941323301</c:v>
                </c:pt>
                <c:pt idx="53852">
                  <c:v>0.96044230426252897</c:v>
                </c:pt>
                <c:pt idx="53853">
                  <c:v>0.96046013911182404</c:v>
                </c:pt>
                <c:pt idx="53854">
                  <c:v>0.96047797396112</c:v>
                </c:pt>
                <c:pt idx="53855">
                  <c:v>0.96049580881041496</c:v>
                </c:pt>
                <c:pt idx="53856">
                  <c:v>0.96051364365971104</c:v>
                </c:pt>
                <c:pt idx="53857">
                  <c:v>0.960531478509006</c:v>
                </c:pt>
                <c:pt idx="53858">
                  <c:v>0.96054931335830196</c:v>
                </c:pt>
                <c:pt idx="53859">
                  <c:v>0.96056714820759703</c:v>
                </c:pt>
                <c:pt idx="53860">
                  <c:v>0.96058498305689299</c:v>
                </c:pt>
                <c:pt idx="53861">
                  <c:v>0.96060281790618796</c:v>
                </c:pt>
                <c:pt idx="53862">
                  <c:v>0.96062065275548403</c:v>
                </c:pt>
                <c:pt idx="53863">
                  <c:v>0.96063848760477899</c:v>
                </c:pt>
                <c:pt idx="53864">
                  <c:v>0.96065632245407495</c:v>
                </c:pt>
                <c:pt idx="53865">
                  <c:v>0.96067415730337002</c:v>
                </c:pt>
                <c:pt idx="53866">
                  <c:v>0.96069199215266599</c:v>
                </c:pt>
                <c:pt idx="53867">
                  <c:v>0.96070982700196095</c:v>
                </c:pt>
                <c:pt idx="53868">
                  <c:v>0.96072766185125702</c:v>
                </c:pt>
                <c:pt idx="53869">
                  <c:v>0.96074549670055198</c:v>
                </c:pt>
                <c:pt idx="53870">
                  <c:v>0.96076333154984805</c:v>
                </c:pt>
                <c:pt idx="53871">
                  <c:v>0.96078116639914302</c:v>
                </c:pt>
                <c:pt idx="53872">
                  <c:v>0.96079900124843898</c:v>
                </c:pt>
                <c:pt idx="53873">
                  <c:v>0.96081683609773405</c:v>
                </c:pt>
                <c:pt idx="53874">
                  <c:v>0.96083467094703001</c:v>
                </c:pt>
                <c:pt idx="53875">
                  <c:v>0.96085250579632597</c:v>
                </c:pt>
                <c:pt idx="53876">
                  <c:v>0.96087034064562105</c:v>
                </c:pt>
                <c:pt idx="53877">
                  <c:v>0.96088817549491701</c:v>
                </c:pt>
                <c:pt idx="53878">
                  <c:v>0.96090601034421197</c:v>
                </c:pt>
                <c:pt idx="53879">
                  <c:v>0.96092384519350804</c:v>
                </c:pt>
                <c:pt idx="53880">
                  <c:v>0.960941680042803</c:v>
                </c:pt>
                <c:pt idx="53881">
                  <c:v>0.96095951489209896</c:v>
                </c:pt>
                <c:pt idx="53882">
                  <c:v>0.96097734974139404</c:v>
                </c:pt>
                <c:pt idx="53883">
                  <c:v>0.96099518459069</c:v>
                </c:pt>
                <c:pt idx="53884">
                  <c:v>0.96101301943998496</c:v>
                </c:pt>
                <c:pt idx="53885">
                  <c:v>0.96103085428928103</c:v>
                </c:pt>
                <c:pt idx="53886">
                  <c:v>0.961048689138576</c:v>
                </c:pt>
                <c:pt idx="53887">
                  <c:v>0.96106652398787196</c:v>
                </c:pt>
                <c:pt idx="53888">
                  <c:v>0.96108435883716703</c:v>
                </c:pt>
                <c:pt idx="53889">
                  <c:v>0.96110219368646299</c:v>
                </c:pt>
                <c:pt idx="53890">
                  <c:v>0.96112002853575795</c:v>
                </c:pt>
                <c:pt idx="53891">
                  <c:v>0.96113786338505403</c:v>
                </c:pt>
                <c:pt idx="53892">
                  <c:v>0.96115569823434899</c:v>
                </c:pt>
                <c:pt idx="53893">
                  <c:v>0.96117353308364495</c:v>
                </c:pt>
                <c:pt idx="53894">
                  <c:v>0.96119136793294102</c:v>
                </c:pt>
                <c:pt idx="53895">
                  <c:v>0.96120920278223598</c:v>
                </c:pt>
                <c:pt idx="53896">
                  <c:v>0.96122703763153206</c:v>
                </c:pt>
                <c:pt idx="53897">
                  <c:v>0.96124487248082702</c:v>
                </c:pt>
                <c:pt idx="53898">
                  <c:v>0.96126270733012298</c:v>
                </c:pt>
                <c:pt idx="53899">
                  <c:v>0.96128054217941805</c:v>
                </c:pt>
                <c:pt idx="53900">
                  <c:v>0.96129837702871401</c:v>
                </c:pt>
                <c:pt idx="53901">
                  <c:v>0.96131621187800897</c:v>
                </c:pt>
                <c:pt idx="53902">
                  <c:v>0.96133404672730505</c:v>
                </c:pt>
                <c:pt idx="53903">
                  <c:v>0.96135188157660001</c:v>
                </c:pt>
                <c:pt idx="53904">
                  <c:v>0.96136971642589597</c:v>
                </c:pt>
                <c:pt idx="53905">
                  <c:v>0.96138755127519104</c:v>
                </c:pt>
                <c:pt idx="53906">
                  <c:v>0.961405386124487</c:v>
                </c:pt>
                <c:pt idx="53907">
                  <c:v>0.96142322097378197</c:v>
                </c:pt>
                <c:pt idx="53908">
                  <c:v>0.96144105582307804</c:v>
                </c:pt>
                <c:pt idx="53909">
                  <c:v>0.961458890672373</c:v>
                </c:pt>
                <c:pt idx="53910">
                  <c:v>0.96147672552166896</c:v>
                </c:pt>
                <c:pt idx="53911">
                  <c:v>0.96149456037096404</c:v>
                </c:pt>
                <c:pt idx="53912">
                  <c:v>0.96151239522026</c:v>
                </c:pt>
                <c:pt idx="53913">
                  <c:v>0.96153023006955596</c:v>
                </c:pt>
                <c:pt idx="53914">
                  <c:v>0.96154806491885103</c:v>
                </c:pt>
                <c:pt idx="53915">
                  <c:v>0.96156589976814699</c:v>
                </c:pt>
                <c:pt idx="53916">
                  <c:v>0.96158373461744195</c:v>
                </c:pt>
                <c:pt idx="53917">
                  <c:v>0.96160156946673803</c:v>
                </c:pt>
                <c:pt idx="53918">
                  <c:v>0.96161940431603299</c:v>
                </c:pt>
                <c:pt idx="53919">
                  <c:v>0.96163723916532895</c:v>
                </c:pt>
                <c:pt idx="53920">
                  <c:v>0.96165507401462402</c:v>
                </c:pt>
                <c:pt idx="53921">
                  <c:v>0.96167290886391998</c:v>
                </c:pt>
                <c:pt idx="53922">
                  <c:v>0.96169074371321495</c:v>
                </c:pt>
                <c:pt idx="53923">
                  <c:v>0.96170857856251102</c:v>
                </c:pt>
                <c:pt idx="53924">
                  <c:v>0.96172641341180598</c:v>
                </c:pt>
                <c:pt idx="53925">
                  <c:v>0.96174424826110205</c:v>
                </c:pt>
                <c:pt idx="53926">
                  <c:v>0.96176208311039701</c:v>
                </c:pt>
                <c:pt idx="53927">
                  <c:v>0.96177991795969298</c:v>
                </c:pt>
                <c:pt idx="53928">
                  <c:v>0.96179775280898805</c:v>
                </c:pt>
                <c:pt idx="53929">
                  <c:v>0.96181558765828401</c:v>
                </c:pt>
                <c:pt idx="53930">
                  <c:v>0.96183342250757897</c:v>
                </c:pt>
                <c:pt idx="53931">
                  <c:v>0.96185125735687504</c:v>
                </c:pt>
                <c:pt idx="53932">
                  <c:v>0.96186909220617001</c:v>
                </c:pt>
                <c:pt idx="53933">
                  <c:v>0.96188692705546597</c:v>
                </c:pt>
                <c:pt idx="53934">
                  <c:v>0.96190476190476104</c:v>
                </c:pt>
                <c:pt idx="53935">
                  <c:v>0.961922596754057</c:v>
                </c:pt>
                <c:pt idx="53936">
                  <c:v>0.96194043160335296</c:v>
                </c:pt>
                <c:pt idx="53937">
                  <c:v>0.96195826645264804</c:v>
                </c:pt>
                <c:pt idx="53938">
                  <c:v>0.961976101301944</c:v>
                </c:pt>
                <c:pt idx="53939">
                  <c:v>0.96199393615123896</c:v>
                </c:pt>
                <c:pt idx="53940">
                  <c:v>0.96201177100053503</c:v>
                </c:pt>
                <c:pt idx="53941">
                  <c:v>0.96202960584982999</c:v>
                </c:pt>
                <c:pt idx="53942">
                  <c:v>0.96204744069912596</c:v>
                </c:pt>
                <c:pt idx="53943">
                  <c:v>0.96206527554842103</c:v>
                </c:pt>
                <c:pt idx="53944">
                  <c:v>0.96208311039771699</c:v>
                </c:pt>
                <c:pt idx="53945">
                  <c:v>0.96210094524701195</c:v>
                </c:pt>
                <c:pt idx="53946">
                  <c:v>0.96211878009630802</c:v>
                </c:pt>
                <c:pt idx="53947">
                  <c:v>0.96213661494560299</c:v>
                </c:pt>
                <c:pt idx="53948">
                  <c:v>0.96215444979489895</c:v>
                </c:pt>
                <c:pt idx="53949">
                  <c:v>0.96217228464419402</c:v>
                </c:pt>
                <c:pt idx="53950">
                  <c:v>0.96219011949348998</c:v>
                </c:pt>
                <c:pt idx="53951">
                  <c:v>0.96220795434278505</c:v>
                </c:pt>
                <c:pt idx="53952">
                  <c:v>0.96222578919208102</c:v>
                </c:pt>
                <c:pt idx="53953">
                  <c:v>0.96224362404137598</c:v>
                </c:pt>
                <c:pt idx="53954">
                  <c:v>0.96226145889067205</c:v>
                </c:pt>
                <c:pt idx="53955">
                  <c:v>0.96227929373996701</c:v>
                </c:pt>
                <c:pt idx="53956">
                  <c:v>0.96229712858926297</c:v>
                </c:pt>
                <c:pt idx="53957">
                  <c:v>0.96231496343855805</c:v>
                </c:pt>
                <c:pt idx="53958">
                  <c:v>0.96233279828785401</c:v>
                </c:pt>
                <c:pt idx="53959">
                  <c:v>0.96235063313714997</c:v>
                </c:pt>
                <c:pt idx="53960">
                  <c:v>0.96236846798644504</c:v>
                </c:pt>
                <c:pt idx="53961">
                  <c:v>0.962386302835741</c:v>
                </c:pt>
                <c:pt idx="53962">
                  <c:v>0.96240413768503597</c:v>
                </c:pt>
                <c:pt idx="53963">
                  <c:v>0.96242197253433204</c:v>
                </c:pt>
                <c:pt idx="53964">
                  <c:v>0.962439807383627</c:v>
                </c:pt>
                <c:pt idx="53965">
                  <c:v>0.96245764223292296</c:v>
                </c:pt>
                <c:pt idx="53966">
                  <c:v>0.96247547708221803</c:v>
                </c:pt>
                <c:pt idx="53967">
                  <c:v>0.962493311931514</c:v>
                </c:pt>
                <c:pt idx="53968">
                  <c:v>0.96251114678080896</c:v>
                </c:pt>
                <c:pt idx="53969">
                  <c:v>0.96252898163010503</c:v>
                </c:pt>
                <c:pt idx="53970">
                  <c:v>0.96254681647939999</c:v>
                </c:pt>
                <c:pt idx="53971">
                  <c:v>0.96256465132869595</c:v>
                </c:pt>
                <c:pt idx="53972">
                  <c:v>0.96258248617799103</c:v>
                </c:pt>
                <c:pt idx="53973">
                  <c:v>0.96260032102728699</c:v>
                </c:pt>
                <c:pt idx="53974">
                  <c:v>0.96261815587658195</c:v>
                </c:pt>
                <c:pt idx="53975">
                  <c:v>0.96263599072587802</c:v>
                </c:pt>
                <c:pt idx="53976">
                  <c:v>0.96265382557517298</c:v>
                </c:pt>
                <c:pt idx="53977">
                  <c:v>0.96267166042446894</c:v>
                </c:pt>
                <c:pt idx="53978">
                  <c:v>0.96268949527376402</c:v>
                </c:pt>
                <c:pt idx="53979">
                  <c:v>0.96270733012305998</c:v>
                </c:pt>
                <c:pt idx="53980">
                  <c:v>0.96272516497235505</c:v>
                </c:pt>
                <c:pt idx="53981">
                  <c:v>0.96274299982165101</c:v>
                </c:pt>
                <c:pt idx="53982">
                  <c:v>0.96276083467094697</c:v>
                </c:pt>
                <c:pt idx="53983">
                  <c:v>0.96277866952024205</c:v>
                </c:pt>
                <c:pt idx="53984">
                  <c:v>0.96279650436953801</c:v>
                </c:pt>
                <c:pt idx="53985">
                  <c:v>0.96281433921883297</c:v>
                </c:pt>
                <c:pt idx="53986">
                  <c:v>0.96283217406812904</c:v>
                </c:pt>
                <c:pt idx="53987">
                  <c:v>0.96285000891742401</c:v>
                </c:pt>
                <c:pt idx="53988">
                  <c:v>0.96286784376671997</c:v>
                </c:pt>
                <c:pt idx="53989">
                  <c:v>0.96288567861601504</c:v>
                </c:pt>
                <c:pt idx="53990">
                  <c:v>0.962903513465311</c:v>
                </c:pt>
                <c:pt idx="53991">
                  <c:v>0.96292134831460596</c:v>
                </c:pt>
                <c:pt idx="53992">
                  <c:v>0.96293918316390203</c:v>
                </c:pt>
                <c:pt idx="53993">
                  <c:v>0.962957018013197</c:v>
                </c:pt>
                <c:pt idx="53994">
                  <c:v>0.96297485286249296</c:v>
                </c:pt>
                <c:pt idx="53995">
                  <c:v>0.96299268771178803</c:v>
                </c:pt>
                <c:pt idx="53996">
                  <c:v>0.96301052256108399</c:v>
                </c:pt>
                <c:pt idx="53997">
                  <c:v>0.96302835741037895</c:v>
                </c:pt>
                <c:pt idx="53998">
                  <c:v>0.96304619225967503</c:v>
                </c:pt>
                <c:pt idx="53999">
                  <c:v>0.96306402710896999</c:v>
                </c:pt>
                <c:pt idx="54000">
                  <c:v>0.96308186195826595</c:v>
                </c:pt>
                <c:pt idx="54001">
                  <c:v>0.96309969680756202</c:v>
                </c:pt>
                <c:pt idx="54002">
                  <c:v>0.96311753165685698</c:v>
                </c:pt>
                <c:pt idx="54003">
                  <c:v>0.96313536650615295</c:v>
                </c:pt>
                <c:pt idx="54004">
                  <c:v>0.96315320135544802</c:v>
                </c:pt>
                <c:pt idx="54005">
                  <c:v>0.96317103620474398</c:v>
                </c:pt>
                <c:pt idx="54006">
                  <c:v>0.96318887105403905</c:v>
                </c:pt>
                <c:pt idx="54007">
                  <c:v>0.96320670590333501</c:v>
                </c:pt>
                <c:pt idx="54008">
                  <c:v>0.96322454075262998</c:v>
                </c:pt>
                <c:pt idx="54009">
                  <c:v>0.96324237560192605</c:v>
                </c:pt>
                <c:pt idx="54010">
                  <c:v>0.96326021045122101</c:v>
                </c:pt>
                <c:pt idx="54011">
                  <c:v>0.96327804530051697</c:v>
                </c:pt>
                <c:pt idx="54012">
                  <c:v>0.96329588014981204</c:v>
                </c:pt>
                <c:pt idx="54013">
                  <c:v>0.96331371499910801</c:v>
                </c:pt>
                <c:pt idx="54014">
                  <c:v>0.96333154984840297</c:v>
                </c:pt>
                <c:pt idx="54015">
                  <c:v>0.96334938469769904</c:v>
                </c:pt>
                <c:pt idx="54016">
                  <c:v>0.963367219546994</c:v>
                </c:pt>
                <c:pt idx="54017">
                  <c:v>0.96338505439628996</c:v>
                </c:pt>
                <c:pt idx="54018">
                  <c:v>0.96340288924558504</c:v>
                </c:pt>
                <c:pt idx="54019">
                  <c:v>0.963420724094881</c:v>
                </c:pt>
                <c:pt idx="54020">
                  <c:v>0.96343855894417696</c:v>
                </c:pt>
                <c:pt idx="54021">
                  <c:v>0.96345639379347203</c:v>
                </c:pt>
                <c:pt idx="54022">
                  <c:v>0.96347422864276799</c:v>
                </c:pt>
                <c:pt idx="54023">
                  <c:v>0.96349206349206296</c:v>
                </c:pt>
                <c:pt idx="54024">
                  <c:v>0.96350989834135903</c:v>
                </c:pt>
                <c:pt idx="54025">
                  <c:v>0.96352773319065399</c:v>
                </c:pt>
                <c:pt idx="54026">
                  <c:v>0.96354556803994995</c:v>
                </c:pt>
                <c:pt idx="54027">
                  <c:v>0.96356340288924502</c:v>
                </c:pt>
                <c:pt idx="54028">
                  <c:v>0.96358123773854099</c:v>
                </c:pt>
                <c:pt idx="54029">
                  <c:v>0.96359907258783595</c:v>
                </c:pt>
                <c:pt idx="54030">
                  <c:v>0.96361690743713202</c:v>
                </c:pt>
                <c:pt idx="54031">
                  <c:v>0.96363474228642698</c:v>
                </c:pt>
                <c:pt idx="54032">
                  <c:v>0.96365257713572305</c:v>
                </c:pt>
                <c:pt idx="54033">
                  <c:v>0.96367041198501802</c:v>
                </c:pt>
                <c:pt idx="54034">
                  <c:v>0.96368824683431398</c:v>
                </c:pt>
                <c:pt idx="54035">
                  <c:v>0.96370608168360905</c:v>
                </c:pt>
                <c:pt idx="54036">
                  <c:v>0.96372391653290501</c:v>
                </c:pt>
                <c:pt idx="54037">
                  <c:v>0.96374175138219997</c:v>
                </c:pt>
                <c:pt idx="54038">
                  <c:v>0.96375958623149605</c:v>
                </c:pt>
                <c:pt idx="54039">
                  <c:v>0.96377742108079101</c:v>
                </c:pt>
                <c:pt idx="54040">
                  <c:v>0.96379525593008697</c:v>
                </c:pt>
                <c:pt idx="54041">
                  <c:v>0.96381309077938204</c:v>
                </c:pt>
                <c:pt idx="54042">
                  <c:v>0.963830925628678</c:v>
                </c:pt>
                <c:pt idx="54043">
                  <c:v>0.96384876047797396</c:v>
                </c:pt>
                <c:pt idx="54044">
                  <c:v>0.96386659532726904</c:v>
                </c:pt>
                <c:pt idx="54045">
                  <c:v>0.963884430176565</c:v>
                </c:pt>
                <c:pt idx="54046">
                  <c:v>0.96390226502585996</c:v>
                </c:pt>
                <c:pt idx="54047">
                  <c:v>0.96392009987515603</c:v>
                </c:pt>
                <c:pt idx="54048">
                  <c:v>0.963937934724451</c:v>
                </c:pt>
                <c:pt idx="54049">
                  <c:v>0.96395576957374696</c:v>
                </c:pt>
                <c:pt idx="54050">
                  <c:v>0.96397360442304203</c:v>
                </c:pt>
                <c:pt idx="54051">
                  <c:v>0.96399143927233799</c:v>
                </c:pt>
                <c:pt idx="54052">
                  <c:v>0.96400927412163295</c:v>
                </c:pt>
                <c:pt idx="54053">
                  <c:v>0.96402710897092903</c:v>
                </c:pt>
                <c:pt idx="54054">
                  <c:v>0.96404494382022399</c:v>
                </c:pt>
                <c:pt idx="54055">
                  <c:v>0.96406277866951995</c:v>
                </c:pt>
                <c:pt idx="54056">
                  <c:v>0.96408061351881502</c:v>
                </c:pt>
                <c:pt idx="54057">
                  <c:v>0.96409844836811098</c:v>
                </c:pt>
                <c:pt idx="54058">
                  <c:v>0.96411628321740594</c:v>
                </c:pt>
                <c:pt idx="54059">
                  <c:v>0.96413411806670202</c:v>
                </c:pt>
                <c:pt idx="54060">
                  <c:v>0.96415195291599698</c:v>
                </c:pt>
                <c:pt idx="54061">
                  <c:v>0.96416978776529305</c:v>
                </c:pt>
                <c:pt idx="54062">
                  <c:v>0.96418762261458801</c:v>
                </c:pt>
                <c:pt idx="54063">
                  <c:v>0.96420545746388397</c:v>
                </c:pt>
                <c:pt idx="54064">
                  <c:v>0.96422329231317905</c:v>
                </c:pt>
                <c:pt idx="54065">
                  <c:v>0.96424112716247501</c:v>
                </c:pt>
                <c:pt idx="54066">
                  <c:v>0.96425896201177097</c:v>
                </c:pt>
                <c:pt idx="54067">
                  <c:v>0.96427679686106604</c:v>
                </c:pt>
                <c:pt idx="54068">
                  <c:v>0.964294631710362</c:v>
                </c:pt>
                <c:pt idx="54069">
                  <c:v>0.96431246655965697</c:v>
                </c:pt>
                <c:pt idx="54070">
                  <c:v>0.96433030140895304</c:v>
                </c:pt>
                <c:pt idx="54071">
                  <c:v>0.964348136258248</c:v>
                </c:pt>
                <c:pt idx="54072">
                  <c:v>0.96436597110754396</c:v>
                </c:pt>
                <c:pt idx="54073">
                  <c:v>0.96438380595683904</c:v>
                </c:pt>
                <c:pt idx="54074">
                  <c:v>0.964401640806135</c:v>
                </c:pt>
                <c:pt idx="54075">
                  <c:v>0.96441947565542996</c:v>
                </c:pt>
                <c:pt idx="54076">
                  <c:v>0.96443731050472603</c:v>
                </c:pt>
                <c:pt idx="54077">
                  <c:v>0.96445514535402099</c:v>
                </c:pt>
                <c:pt idx="54078">
                  <c:v>0.96447298020331695</c:v>
                </c:pt>
                <c:pt idx="54079">
                  <c:v>0.96449081505261203</c:v>
                </c:pt>
                <c:pt idx="54080">
                  <c:v>0.96450864990190799</c:v>
                </c:pt>
                <c:pt idx="54081">
                  <c:v>0.96452648475120295</c:v>
                </c:pt>
                <c:pt idx="54082">
                  <c:v>0.96454431960049902</c:v>
                </c:pt>
                <c:pt idx="54083">
                  <c:v>0.96456215444979398</c:v>
                </c:pt>
                <c:pt idx="54084">
                  <c:v>0.96457998929908995</c:v>
                </c:pt>
                <c:pt idx="54085">
                  <c:v>0.96459782414838502</c:v>
                </c:pt>
                <c:pt idx="54086">
                  <c:v>0.96461565899768098</c:v>
                </c:pt>
                <c:pt idx="54087">
                  <c:v>0.96463349384697605</c:v>
                </c:pt>
                <c:pt idx="54088">
                  <c:v>0.96465132869627201</c:v>
                </c:pt>
                <c:pt idx="54089">
                  <c:v>0.96466916354556798</c:v>
                </c:pt>
                <c:pt idx="54090">
                  <c:v>0.96468699839486305</c:v>
                </c:pt>
                <c:pt idx="54091">
                  <c:v>0.96470483324415901</c:v>
                </c:pt>
                <c:pt idx="54092">
                  <c:v>0.96472266809345397</c:v>
                </c:pt>
                <c:pt idx="54093">
                  <c:v>0.96474050294275004</c:v>
                </c:pt>
                <c:pt idx="54094">
                  <c:v>0.96475833779204501</c:v>
                </c:pt>
                <c:pt idx="54095">
                  <c:v>0.96477617264134097</c:v>
                </c:pt>
                <c:pt idx="54096">
                  <c:v>0.96479400749063604</c:v>
                </c:pt>
                <c:pt idx="54097">
                  <c:v>0.964811842339932</c:v>
                </c:pt>
                <c:pt idx="54098">
                  <c:v>0.96482967718922696</c:v>
                </c:pt>
                <c:pt idx="54099">
                  <c:v>0.96484751203852304</c:v>
                </c:pt>
                <c:pt idx="54100">
                  <c:v>0.964865346887818</c:v>
                </c:pt>
                <c:pt idx="54101">
                  <c:v>0.96488318173711396</c:v>
                </c:pt>
                <c:pt idx="54102">
                  <c:v>0.96490101658640903</c:v>
                </c:pt>
                <c:pt idx="54103">
                  <c:v>0.96491885143570499</c:v>
                </c:pt>
                <c:pt idx="54104">
                  <c:v>0.96493668628499996</c:v>
                </c:pt>
                <c:pt idx="54105">
                  <c:v>0.96495452113429603</c:v>
                </c:pt>
                <c:pt idx="54106">
                  <c:v>0.96497235598359199</c:v>
                </c:pt>
                <c:pt idx="54107">
                  <c:v>0.96499019083288695</c:v>
                </c:pt>
                <c:pt idx="54108">
                  <c:v>0.96500802568218302</c:v>
                </c:pt>
                <c:pt idx="54109">
                  <c:v>0.96502586053147799</c:v>
                </c:pt>
                <c:pt idx="54110">
                  <c:v>0.96504369538077395</c:v>
                </c:pt>
                <c:pt idx="54111">
                  <c:v>0.96506153023006902</c:v>
                </c:pt>
                <c:pt idx="54112">
                  <c:v>0.96507936507936498</c:v>
                </c:pt>
                <c:pt idx="54113">
                  <c:v>0.96509719992866005</c:v>
                </c:pt>
                <c:pt idx="54114">
                  <c:v>0.96511503477795602</c:v>
                </c:pt>
                <c:pt idx="54115">
                  <c:v>0.96513286962725098</c:v>
                </c:pt>
                <c:pt idx="54116">
                  <c:v>0.96515070447654705</c:v>
                </c:pt>
                <c:pt idx="54117">
                  <c:v>0.96516853932584201</c:v>
                </c:pt>
                <c:pt idx="54118">
                  <c:v>0.96518637417513797</c:v>
                </c:pt>
                <c:pt idx="54119">
                  <c:v>0.96520420902443305</c:v>
                </c:pt>
                <c:pt idx="54120">
                  <c:v>0.96522204387372901</c:v>
                </c:pt>
                <c:pt idx="54121">
                  <c:v>0.96523987872302397</c:v>
                </c:pt>
                <c:pt idx="54122">
                  <c:v>0.96525771357232004</c:v>
                </c:pt>
                <c:pt idx="54123">
                  <c:v>0.965275548421615</c:v>
                </c:pt>
                <c:pt idx="54124">
                  <c:v>0.96529338327091097</c:v>
                </c:pt>
                <c:pt idx="54125">
                  <c:v>0.96531121812020604</c:v>
                </c:pt>
                <c:pt idx="54126">
                  <c:v>0.965329052969502</c:v>
                </c:pt>
                <c:pt idx="54127">
                  <c:v>0.96534688781879796</c:v>
                </c:pt>
                <c:pt idx="54128">
                  <c:v>0.96536472266809303</c:v>
                </c:pt>
                <c:pt idx="54129">
                  <c:v>0.965382557517389</c:v>
                </c:pt>
                <c:pt idx="54130">
                  <c:v>0.96540039236668396</c:v>
                </c:pt>
                <c:pt idx="54131">
                  <c:v>0.96541822721598003</c:v>
                </c:pt>
                <c:pt idx="54132">
                  <c:v>0.96543606206527499</c:v>
                </c:pt>
                <c:pt idx="54133">
                  <c:v>0.96545389691457095</c:v>
                </c:pt>
                <c:pt idx="54134">
                  <c:v>0.96547173176386603</c:v>
                </c:pt>
                <c:pt idx="54135">
                  <c:v>0.96548956661316199</c:v>
                </c:pt>
                <c:pt idx="54136">
                  <c:v>0.96550740146245695</c:v>
                </c:pt>
                <c:pt idx="54137">
                  <c:v>0.96552523631175302</c:v>
                </c:pt>
                <c:pt idx="54138">
                  <c:v>0.96554307116104798</c:v>
                </c:pt>
                <c:pt idx="54139">
                  <c:v>0.96556090601034406</c:v>
                </c:pt>
                <c:pt idx="54140">
                  <c:v>0.96557874085963902</c:v>
                </c:pt>
                <c:pt idx="54141">
                  <c:v>0.96559657570893498</c:v>
                </c:pt>
                <c:pt idx="54142">
                  <c:v>0.96561441055823005</c:v>
                </c:pt>
                <c:pt idx="54143">
                  <c:v>0.96563224540752601</c:v>
                </c:pt>
                <c:pt idx="54144">
                  <c:v>0.96565008025682098</c:v>
                </c:pt>
                <c:pt idx="54145">
                  <c:v>0.96566791510611705</c:v>
                </c:pt>
                <c:pt idx="54146">
                  <c:v>0.96568574995541201</c:v>
                </c:pt>
                <c:pt idx="54147">
                  <c:v>0.96570358480470797</c:v>
                </c:pt>
                <c:pt idx="54148">
                  <c:v>0.96572141965400304</c:v>
                </c:pt>
                <c:pt idx="54149">
                  <c:v>0.965739254503299</c:v>
                </c:pt>
                <c:pt idx="54150">
                  <c:v>0.96575708935259497</c:v>
                </c:pt>
                <c:pt idx="54151">
                  <c:v>0.96577492420189004</c:v>
                </c:pt>
                <c:pt idx="54152">
                  <c:v>0.965792759051186</c:v>
                </c:pt>
                <c:pt idx="54153">
                  <c:v>0.96581059390048096</c:v>
                </c:pt>
                <c:pt idx="54154">
                  <c:v>0.96582842874977703</c:v>
                </c:pt>
                <c:pt idx="54155">
                  <c:v>0.965846263599072</c:v>
                </c:pt>
                <c:pt idx="54156">
                  <c:v>0.96586409844836796</c:v>
                </c:pt>
                <c:pt idx="54157">
                  <c:v>0.96588193329766303</c:v>
                </c:pt>
                <c:pt idx="54158">
                  <c:v>0.96589976814695899</c:v>
                </c:pt>
                <c:pt idx="54159">
                  <c:v>0.96591760299625395</c:v>
                </c:pt>
                <c:pt idx="54160">
                  <c:v>0.96593543784555003</c:v>
                </c:pt>
                <c:pt idx="54161">
                  <c:v>0.96595327269484499</c:v>
                </c:pt>
                <c:pt idx="54162">
                  <c:v>0.96597110754414095</c:v>
                </c:pt>
                <c:pt idx="54163">
                  <c:v>0.96598894239343602</c:v>
                </c:pt>
                <c:pt idx="54164">
                  <c:v>0.96600677724273198</c:v>
                </c:pt>
                <c:pt idx="54165">
                  <c:v>0.96602461209202695</c:v>
                </c:pt>
                <c:pt idx="54166">
                  <c:v>0.96604244694132302</c:v>
                </c:pt>
                <c:pt idx="54167">
                  <c:v>0.96606028179061798</c:v>
                </c:pt>
                <c:pt idx="54168">
                  <c:v>0.96607811663991405</c:v>
                </c:pt>
                <c:pt idx="54169">
                  <c:v>0.96609595148920901</c:v>
                </c:pt>
                <c:pt idx="54170">
                  <c:v>0.96611378633850498</c:v>
                </c:pt>
                <c:pt idx="54171">
                  <c:v>0.96613162118780005</c:v>
                </c:pt>
                <c:pt idx="54172">
                  <c:v>0.96614945603709601</c:v>
                </c:pt>
                <c:pt idx="54173">
                  <c:v>0.96616729088639197</c:v>
                </c:pt>
                <c:pt idx="54174">
                  <c:v>0.96618512573568704</c:v>
                </c:pt>
                <c:pt idx="54175">
                  <c:v>0.96620296058498301</c:v>
                </c:pt>
                <c:pt idx="54176">
                  <c:v>0.96622079543427797</c:v>
                </c:pt>
                <c:pt idx="54177">
                  <c:v>0.96623863028357404</c:v>
                </c:pt>
                <c:pt idx="54178">
                  <c:v>0.966256465132869</c:v>
                </c:pt>
                <c:pt idx="54179">
                  <c:v>0.96627429998216496</c:v>
                </c:pt>
                <c:pt idx="54180">
                  <c:v>0.96629213483146004</c:v>
                </c:pt>
                <c:pt idx="54181">
                  <c:v>0.966309969680756</c:v>
                </c:pt>
                <c:pt idx="54182">
                  <c:v>0.96632780453005096</c:v>
                </c:pt>
                <c:pt idx="54183">
                  <c:v>0.96634563937934703</c:v>
                </c:pt>
                <c:pt idx="54184">
                  <c:v>0.96636347422864199</c:v>
                </c:pt>
                <c:pt idx="54185">
                  <c:v>0.96638130907793796</c:v>
                </c:pt>
                <c:pt idx="54186">
                  <c:v>0.96639914392723303</c:v>
                </c:pt>
                <c:pt idx="54187">
                  <c:v>0.96641697877652899</c:v>
                </c:pt>
                <c:pt idx="54188">
                  <c:v>0.96643481362582395</c:v>
                </c:pt>
                <c:pt idx="54189">
                  <c:v>0.96645264847512002</c:v>
                </c:pt>
                <c:pt idx="54190">
                  <c:v>0.96647048332441499</c:v>
                </c:pt>
                <c:pt idx="54191">
                  <c:v>0.96648831817371095</c:v>
                </c:pt>
                <c:pt idx="54192">
                  <c:v>0.96650615302300602</c:v>
                </c:pt>
                <c:pt idx="54193">
                  <c:v>0.96652398787230198</c:v>
                </c:pt>
                <c:pt idx="54194">
                  <c:v>0.96654182272159805</c:v>
                </c:pt>
                <c:pt idx="54195">
                  <c:v>0.96655965757089302</c:v>
                </c:pt>
                <c:pt idx="54196">
                  <c:v>0.96657749242018898</c:v>
                </c:pt>
                <c:pt idx="54197">
                  <c:v>0.96659532726948405</c:v>
                </c:pt>
                <c:pt idx="54198">
                  <c:v>0.96661316211878001</c:v>
                </c:pt>
                <c:pt idx="54199">
                  <c:v>0.96663099696807497</c:v>
                </c:pt>
                <c:pt idx="54200">
                  <c:v>0.96664883181737105</c:v>
                </c:pt>
                <c:pt idx="54201">
                  <c:v>0.96666666666666601</c:v>
                </c:pt>
                <c:pt idx="54202">
                  <c:v>0.96668450151596197</c:v>
                </c:pt>
                <c:pt idx="54203">
                  <c:v>0.96670233636525704</c:v>
                </c:pt>
                <c:pt idx="54204">
                  <c:v>0.966720171214553</c:v>
                </c:pt>
                <c:pt idx="54205">
                  <c:v>0.96673800606384797</c:v>
                </c:pt>
                <c:pt idx="54206">
                  <c:v>0.96675584091314404</c:v>
                </c:pt>
                <c:pt idx="54207">
                  <c:v>0.966773675762439</c:v>
                </c:pt>
                <c:pt idx="54208">
                  <c:v>0.96679151061173496</c:v>
                </c:pt>
                <c:pt idx="54209">
                  <c:v>0.96680934546103003</c:v>
                </c:pt>
                <c:pt idx="54210">
                  <c:v>0.966827180310326</c:v>
                </c:pt>
                <c:pt idx="54211">
                  <c:v>0.96684501515962196</c:v>
                </c:pt>
                <c:pt idx="54212">
                  <c:v>0.96686285000891703</c:v>
                </c:pt>
                <c:pt idx="54213">
                  <c:v>0.96688068485821299</c:v>
                </c:pt>
                <c:pt idx="54214">
                  <c:v>0.96689851970750795</c:v>
                </c:pt>
                <c:pt idx="54215">
                  <c:v>0.96691635455680403</c:v>
                </c:pt>
                <c:pt idx="54216">
                  <c:v>0.96693418940609899</c:v>
                </c:pt>
                <c:pt idx="54217">
                  <c:v>0.96695202425539495</c:v>
                </c:pt>
                <c:pt idx="54218">
                  <c:v>0.96696985910469002</c:v>
                </c:pt>
                <c:pt idx="54219">
                  <c:v>0.96698769395398598</c:v>
                </c:pt>
                <c:pt idx="54220">
                  <c:v>0.96700552880328094</c:v>
                </c:pt>
                <c:pt idx="54221">
                  <c:v>0.96702336365257702</c:v>
                </c:pt>
                <c:pt idx="54222">
                  <c:v>0.96704119850187198</c:v>
                </c:pt>
                <c:pt idx="54223">
                  <c:v>0.96705903335116805</c:v>
                </c:pt>
                <c:pt idx="54224">
                  <c:v>0.96707686820046301</c:v>
                </c:pt>
                <c:pt idx="54225">
                  <c:v>0.96709470304975897</c:v>
                </c:pt>
                <c:pt idx="54226">
                  <c:v>0.96711253789905405</c:v>
                </c:pt>
                <c:pt idx="54227">
                  <c:v>0.96713037274835001</c:v>
                </c:pt>
                <c:pt idx="54228">
                  <c:v>0.96714820759764497</c:v>
                </c:pt>
                <c:pt idx="54229">
                  <c:v>0.96716604244694104</c:v>
                </c:pt>
                <c:pt idx="54230">
                  <c:v>0.96718387729623601</c:v>
                </c:pt>
                <c:pt idx="54231">
                  <c:v>0.96720171214553197</c:v>
                </c:pt>
                <c:pt idx="54232">
                  <c:v>0.96721954699482704</c:v>
                </c:pt>
                <c:pt idx="54233">
                  <c:v>0.967237381844123</c:v>
                </c:pt>
                <c:pt idx="54234">
                  <c:v>0.96725521669341896</c:v>
                </c:pt>
                <c:pt idx="54235">
                  <c:v>0.96727305154271404</c:v>
                </c:pt>
                <c:pt idx="54236">
                  <c:v>0.96729088639201</c:v>
                </c:pt>
                <c:pt idx="54237">
                  <c:v>0.96730872124130496</c:v>
                </c:pt>
                <c:pt idx="54238">
                  <c:v>0.96732655609060103</c:v>
                </c:pt>
                <c:pt idx="54239">
                  <c:v>0.96734439093989599</c:v>
                </c:pt>
                <c:pt idx="54240">
                  <c:v>0.96736222578919195</c:v>
                </c:pt>
                <c:pt idx="54241">
                  <c:v>0.96738006063848703</c:v>
                </c:pt>
                <c:pt idx="54242">
                  <c:v>0.96739789548778299</c:v>
                </c:pt>
                <c:pt idx="54243">
                  <c:v>0.96741573033707795</c:v>
                </c:pt>
                <c:pt idx="54244">
                  <c:v>0.96743356518637402</c:v>
                </c:pt>
                <c:pt idx="54245">
                  <c:v>0.96745140003566898</c:v>
                </c:pt>
                <c:pt idx="54246">
                  <c:v>0.96746923488496495</c:v>
                </c:pt>
                <c:pt idx="54247">
                  <c:v>0.96748706973426002</c:v>
                </c:pt>
                <c:pt idx="54248">
                  <c:v>0.96750490458355598</c:v>
                </c:pt>
                <c:pt idx="54249">
                  <c:v>0.96752273943285105</c:v>
                </c:pt>
                <c:pt idx="54250">
                  <c:v>0.96754057428214701</c:v>
                </c:pt>
                <c:pt idx="54251">
                  <c:v>0.96755840913144198</c:v>
                </c:pt>
                <c:pt idx="54252">
                  <c:v>0.96757624398073805</c:v>
                </c:pt>
                <c:pt idx="54253">
                  <c:v>0.96759407883003301</c:v>
                </c:pt>
                <c:pt idx="54254">
                  <c:v>0.96761191367932897</c:v>
                </c:pt>
                <c:pt idx="54255">
                  <c:v>0.96762974852862405</c:v>
                </c:pt>
                <c:pt idx="54256">
                  <c:v>0.96764758337792001</c:v>
                </c:pt>
                <c:pt idx="54257">
                  <c:v>0.96766541822721597</c:v>
                </c:pt>
                <c:pt idx="54258">
                  <c:v>0.96768325307651104</c:v>
                </c:pt>
                <c:pt idx="54259">
                  <c:v>0.967701087925807</c:v>
                </c:pt>
                <c:pt idx="54260">
                  <c:v>0.96771892277510196</c:v>
                </c:pt>
                <c:pt idx="54261">
                  <c:v>0.96773675762439804</c:v>
                </c:pt>
                <c:pt idx="54262">
                  <c:v>0.967754592473693</c:v>
                </c:pt>
                <c:pt idx="54263">
                  <c:v>0.96777242732298896</c:v>
                </c:pt>
                <c:pt idx="54264">
                  <c:v>0.96779026217228403</c:v>
                </c:pt>
                <c:pt idx="54265">
                  <c:v>0.96780809702157999</c:v>
                </c:pt>
                <c:pt idx="54266">
                  <c:v>0.96782593187087496</c:v>
                </c:pt>
                <c:pt idx="54267">
                  <c:v>0.96784376672017103</c:v>
                </c:pt>
                <c:pt idx="54268">
                  <c:v>0.96786160156946599</c:v>
                </c:pt>
                <c:pt idx="54269">
                  <c:v>0.96787943641876195</c:v>
                </c:pt>
                <c:pt idx="54270">
                  <c:v>0.96789727126805702</c:v>
                </c:pt>
                <c:pt idx="54271">
                  <c:v>0.96791510611735299</c:v>
                </c:pt>
                <c:pt idx="54272">
                  <c:v>0.96793294096664795</c:v>
                </c:pt>
                <c:pt idx="54273">
                  <c:v>0.96795077581594402</c:v>
                </c:pt>
                <c:pt idx="54274">
                  <c:v>0.96796861066523898</c:v>
                </c:pt>
                <c:pt idx="54275">
                  <c:v>0.96798644551453505</c:v>
                </c:pt>
                <c:pt idx="54276">
                  <c:v>0.96800428036383002</c:v>
                </c:pt>
                <c:pt idx="54277">
                  <c:v>0.96802211521312598</c:v>
                </c:pt>
                <c:pt idx="54278">
                  <c:v>0.96803995006242105</c:v>
                </c:pt>
                <c:pt idx="54279">
                  <c:v>0.96805778491171701</c:v>
                </c:pt>
                <c:pt idx="54280">
                  <c:v>0.96807561976101297</c:v>
                </c:pt>
                <c:pt idx="54281">
                  <c:v>0.96809345461030805</c:v>
                </c:pt>
                <c:pt idx="54282">
                  <c:v>0.96811128945960401</c:v>
                </c:pt>
                <c:pt idx="54283">
                  <c:v>0.96812912430889897</c:v>
                </c:pt>
                <c:pt idx="54284">
                  <c:v>0.96814695915819504</c:v>
                </c:pt>
                <c:pt idx="54285">
                  <c:v>0.96816479400749</c:v>
                </c:pt>
                <c:pt idx="54286">
                  <c:v>0.96818262885678597</c:v>
                </c:pt>
                <c:pt idx="54287">
                  <c:v>0.96820046370608104</c:v>
                </c:pt>
                <c:pt idx="54288">
                  <c:v>0.968218298555377</c:v>
                </c:pt>
                <c:pt idx="54289">
                  <c:v>0.96823613340467196</c:v>
                </c:pt>
                <c:pt idx="54290">
                  <c:v>0.96825396825396803</c:v>
                </c:pt>
                <c:pt idx="54291">
                  <c:v>0.968271803103263</c:v>
                </c:pt>
                <c:pt idx="54292">
                  <c:v>0.96828963795255896</c:v>
                </c:pt>
                <c:pt idx="54293">
                  <c:v>0.96830747280185403</c:v>
                </c:pt>
                <c:pt idx="54294">
                  <c:v>0.96832530765114999</c:v>
                </c:pt>
                <c:pt idx="54295">
                  <c:v>0.96834314250044495</c:v>
                </c:pt>
                <c:pt idx="54296">
                  <c:v>0.96836097734974103</c:v>
                </c:pt>
                <c:pt idx="54297">
                  <c:v>0.96837881219903599</c:v>
                </c:pt>
                <c:pt idx="54298">
                  <c:v>0.96839664704833195</c:v>
                </c:pt>
                <c:pt idx="54299">
                  <c:v>0.96841448189762702</c:v>
                </c:pt>
                <c:pt idx="54300">
                  <c:v>0.96843231674692298</c:v>
                </c:pt>
                <c:pt idx="54301">
                  <c:v>0.96845015159621906</c:v>
                </c:pt>
                <c:pt idx="54302">
                  <c:v>0.96846798644551402</c:v>
                </c:pt>
                <c:pt idx="54303">
                  <c:v>0.96848582129480998</c:v>
                </c:pt>
                <c:pt idx="54304">
                  <c:v>0.96850365614410505</c:v>
                </c:pt>
                <c:pt idx="54305">
                  <c:v>0.96852149099340101</c:v>
                </c:pt>
                <c:pt idx="54306">
                  <c:v>0.96853932584269598</c:v>
                </c:pt>
                <c:pt idx="54307">
                  <c:v>0.96855716069199205</c:v>
                </c:pt>
                <c:pt idx="54308">
                  <c:v>0.96857499554128701</c:v>
                </c:pt>
                <c:pt idx="54309">
                  <c:v>0.96859283039058297</c:v>
                </c:pt>
                <c:pt idx="54310">
                  <c:v>0.96861066523987804</c:v>
                </c:pt>
                <c:pt idx="54311">
                  <c:v>0.968628500089174</c:v>
                </c:pt>
                <c:pt idx="54312">
                  <c:v>0.96864633493846897</c:v>
                </c:pt>
                <c:pt idx="54313">
                  <c:v>0.96866416978776504</c:v>
                </c:pt>
                <c:pt idx="54314">
                  <c:v>0.96868200463706</c:v>
                </c:pt>
                <c:pt idx="54315">
                  <c:v>0.96869983948635596</c:v>
                </c:pt>
                <c:pt idx="54316">
                  <c:v>0.96871767433565104</c:v>
                </c:pt>
                <c:pt idx="54317">
                  <c:v>0.968735509184947</c:v>
                </c:pt>
                <c:pt idx="54318">
                  <c:v>0.96875334403424296</c:v>
                </c:pt>
                <c:pt idx="54319">
                  <c:v>0.96877117888353803</c:v>
                </c:pt>
                <c:pt idx="54320">
                  <c:v>0.96878901373283399</c:v>
                </c:pt>
                <c:pt idx="54321">
                  <c:v>0.96880684858212895</c:v>
                </c:pt>
                <c:pt idx="54322">
                  <c:v>0.96882468343142503</c:v>
                </c:pt>
                <c:pt idx="54323">
                  <c:v>0.96884251828071999</c:v>
                </c:pt>
                <c:pt idx="54324">
                  <c:v>0.96886035313001595</c:v>
                </c:pt>
                <c:pt idx="54325">
                  <c:v>0.96887818797931102</c:v>
                </c:pt>
                <c:pt idx="54326">
                  <c:v>0.96889602282860698</c:v>
                </c:pt>
                <c:pt idx="54327">
                  <c:v>0.96891385767790195</c:v>
                </c:pt>
                <c:pt idx="54328">
                  <c:v>0.96893169252719802</c:v>
                </c:pt>
                <c:pt idx="54329">
                  <c:v>0.96894952737649298</c:v>
                </c:pt>
                <c:pt idx="54330">
                  <c:v>0.96896736222578905</c:v>
                </c:pt>
                <c:pt idx="54331">
                  <c:v>0.96898519707508401</c:v>
                </c:pt>
                <c:pt idx="54332">
                  <c:v>0.96900303192437998</c:v>
                </c:pt>
                <c:pt idx="54333">
                  <c:v>0.96902086677367505</c:v>
                </c:pt>
                <c:pt idx="54334">
                  <c:v>0.96903870162297101</c:v>
                </c:pt>
                <c:pt idx="54335">
                  <c:v>0.96905653647226597</c:v>
                </c:pt>
                <c:pt idx="54336">
                  <c:v>0.96907437132156204</c:v>
                </c:pt>
                <c:pt idx="54337">
                  <c:v>0.96909220617085701</c:v>
                </c:pt>
                <c:pt idx="54338">
                  <c:v>0.96911004102015297</c:v>
                </c:pt>
                <c:pt idx="54339">
                  <c:v>0.96912787586944804</c:v>
                </c:pt>
                <c:pt idx="54340">
                  <c:v>0.969145710718744</c:v>
                </c:pt>
                <c:pt idx="54341">
                  <c:v>0.96916354556803996</c:v>
                </c:pt>
                <c:pt idx="54342">
                  <c:v>0.96918138041733504</c:v>
                </c:pt>
                <c:pt idx="54343">
                  <c:v>0.969199215266631</c:v>
                </c:pt>
                <c:pt idx="54344">
                  <c:v>0.96921705011592596</c:v>
                </c:pt>
                <c:pt idx="54345">
                  <c:v>0.96923488496522203</c:v>
                </c:pt>
                <c:pt idx="54346">
                  <c:v>0.96925271981451699</c:v>
                </c:pt>
                <c:pt idx="54347">
                  <c:v>0.96927055466381296</c:v>
                </c:pt>
                <c:pt idx="54348">
                  <c:v>0.96928838951310803</c:v>
                </c:pt>
                <c:pt idx="54349">
                  <c:v>0.96930622436240399</c:v>
                </c:pt>
                <c:pt idx="54350">
                  <c:v>0.96932405921169895</c:v>
                </c:pt>
                <c:pt idx="54351">
                  <c:v>0.96934189406099502</c:v>
                </c:pt>
                <c:pt idx="54352">
                  <c:v>0.96935972891028999</c:v>
                </c:pt>
                <c:pt idx="54353">
                  <c:v>0.96937756375958595</c:v>
                </c:pt>
                <c:pt idx="54354">
                  <c:v>0.96939539860888102</c:v>
                </c:pt>
                <c:pt idx="54355">
                  <c:v>0.96941323345817698</c:v>
                </c:pt>
                <c:pt idx="54356">
                  <c:v>0.96943106830747205</c:v>
                </c:pt>
                <c:pt idx="54357">
                  <c:v>0.96944890315676802</c:v>
                </c:pt>
                <c:pt idx="54358">
                  <c:v>0.96946673800606298</c:v>
                </c:pt>
                <c:pt idx="54359">
                  <c:v>0.96948457285535905</c:v>
                </c:pt>
                <c:pt idx="54360">
                  <c:v>0.96950240770465401</c:v>
                </c:pt>
                <c:pt idx="54361">
                  <c:v>0.96952024255394997</c:v>
                </c:pt>
                <c:pt idx="54362">
                  <c:v>0.96953807740324505</c:v>
                </c:pt>
                <c:pt idx="54363">
                  <c:v>0.96955591225254101</c:v>
                </c:pt>
                <c:pt idx="54364">
                  <c:v>0.96957374710183697</c:v>
                </c:pt>
                <c:pt idx="54365">
                  <c:v>0.96959158195113204</c:v>
                </c:pt>
                <c:pt idx="54366">
                  <c:v>0.969609416800428</c:v>
                </c:pt>
                <c:pt idx="54367">
                  <c:v>0.96962725164972297</c:v>
                </c:pt>
                <c:pt idx="54368">
                  <c:v>0.96964508649901904</c:v>
                </c:pt>
                <c:pt idx="54369">
                  <c:v>0.969662921348314</c:v>
                </c:pt>
                <c:pt idx="54370">
                  <c:v>0.96968075619760996</c:v>
                </c:pt>
                <c:pt idx="54371">
                  <c:v>0.96969859104690503</c:v>
                </c:pt>
                <c:pt idx="54372">
                  <c:v>0.969716425896201</c:v>
                </c:pt>
                <c:pt idx="54373">
                  <c:v>0.96973426074549596</c:v>
                </c:pt>
                <c:pt idx="54374">
                  <c:v>0.96975209559479203</c:v>
                </c:pt>
                <c:pt idx="54375">
                  <c:v>0.96976993044408699</c:v>
                </c:pt>
                <c:pt idx="54376">
                  <c:v>0.96978776529338295</c:v>
                </c:pt>
                <c:pt idx="54377">
                  <c:v>0.96980560014267803</c:v>
                </c:pt>
                <c:pt idx="54378">
                  <c:v>0.96982343499197399</c:v>
                </c:pt>
                <c:pt idx="54379">
                  <c:v>0.96984126984126895</c:v>
                </c:pt>
                <c:pt idx="54380">
                  <c:v>0.96985910469056502</c:v>
                </c:pt>
                <c:pt idx="54381">
                  <c:v>0.96987693953985998</c:v>
                </c:pt>
                <c:pt idx="54382">
                  <c:v>0.96989477438915594</c:v>
                </c:pt>
                <c:pt idx="54383">
                  <c:v>0.96991260923845102</c:v>
                </c:pt>
                <c:pt idx="54384">
                  <c:v>0.96993044408774698</c:v>
                </c:pt>
                <c:pt idx="54385">
                  <c:v>0.96994827893704205</c:v>
                </c:pt>
                <c:pt idx="54386">
                  <c:v>0.96996611378633801</c:v>
                </c:pt>
                <c:pt idx="54387">
                  <c:v>0.96998394863563397</c:v>
                </c:pt>
                <c:pt idx="54388">
                  <c:v>0.97000178348492905</c:v>
                </c:pt>
                <c:pt idx="54389">
                  <c:v>0.97001961833422501</c:v>
                </c:pt>
                <c:pt idx="54390">
                  <c:v>0.97003745318351997</c:v>
                </c:pt>
                <c:pt idx="54391">
                  <c:v>0.97005528803281604</c:v>
                </c:pt>
                <c:pt idx="54392">
                  <c:v>0.97007312288211101</c:v>
                </c:pt>
                <c:pt idx="54393">
                  <c:v>0.97009095773140697</c:v>
                </c:pt>
                <c:pt idx="54394">
                  <c:v>0.97010879258070204</c:v>
                </c:pt>
                <c:pt idx="54395">
                  <c:v>0.970126627429998</c:v>
                </c:pt>
                <c:pt idx="54396">
                  <c:v>0.97014446227929296</c:v>
                </c:pt>
                <c:pt idx="54397">
                  <c:v>0.97016229712858904</c:v>
                </c:pt>
                <c:pt idx="54398">
                  <c:v>0.970180131977884</c:v>
                </c:pt>
                <c:pt idx="54399">
                  <c:v>0.97019796682717996</c:v>
                </c:pt>
                <c:pt idx="54400">
                  <c:v>0.97021580167647503</c:v>
                </c:pt>
                <c:pt idx="54401">
                  <c:v>0.97023363652577099</c:v>
                </c:pt>
                <c:pt idx="54402">
                  <c:v>0.97025147137506595</c:v>
                </c:pt>
                <c:pt idx="54403">
                  <c:v>0.97026930622436203</c:v>
                </c:pt>
                <c:pt idx="54404">
                  <c:v>0.97028714107365699</c:v>
                </c:pt>
                <c:pt idx="54405">
                  <c:v>0.97030497592295295</c:v>
                </c:pt>
                <c:pt idx="54406">
                  <c:v>0.97032281077224902</c:v>
                </c:pt>
                <c:pt idx="54407">
                  <c:v>0.97034064562154398</c:v>
                </c:pt>
                <c:pt idx="54408">
                  <c:v>0.97035848047083995</c:v>
                </c:pt>
                <c:pt idx="54409">
                  <c:v>0.97037631532013502</c:v>
                </c:pt>
                <c:pt idx="54410">
                  <c:v>0.97039415016943098</c:v>
                </c:pt>
                <c:pt idx="54411">
                  <c:v>0.97041198501872605</c:v>
                </c:pt>
                <c:pt idx="54412">
                  <c:v>0.97042981986802201</c:v>
                </c:pt>
                <c:pt idx="54413">
                  <c:v>0.97044765471731698</c:v>
                </c:pt>
                <c:pt idx="54414">
                  <c:v>0.97046548956661305</c:v>
                </c:pt>
                <c:pt idx="54415">
                  <c:v>0.97048332441590801</c:v>
                </c:pt>
                <c:pt idx="54416">
                  <c:v>0.97050115926520397</c:v>
                </c:pt>
                <c:pt idx="54417">
                  <c:v>0.97051899411449905</c:v>
                </c:pt>
                <c:pt idx="54418">
                  <c:v>0.97053682896379501</c:v>
                </c:pt>
                <c:pt idx="54419">
                  <c:v>0.97055466381308997</c:v>
                </c:pt>
                <c:pt idx="54420">
                  <c:v>0.97057249866238604</c:v>
                </c:pt>
                <c:pt idx="54421">
                  <c:v>0.970590333511681</c:v>
                </c:pt>
                <c:pt idx="54422">
                  <c:v>0.97060816836097696</c:v>
                </c:pt>
                <c:pt idx="54423">
                  <c:v>0.97062600321027204</c:v>
                </c:pt>
                <c:pt idx="54424">
                  <c:v>0.970643838059568</c:v>
                </c:pt>
                <c:pt idx="54425">
                  <c:v>0.97066167290886396</c:v>
                </c:pt>
                <c:pt idx="54426">
                  <c:v>0.97067950775815903</c:v>
                </c:pt>
                <c:pt idx="54427">
                  <c:v>0.97069734260745499</c:v>
                </c:pt>
                <c:pt idx="54428">
                  <c:v>0.97071517745674996</c:v>
                </c:pt>
                <c:pt idx="54429">
                  <c:v>0.97073301230604603</c:v>
                </c:pt>
                <c:pt idx="54430">
                  <c:v>0.97075084715534099</c:v>
                </c:pt>
                <c:pt idx="54431">
                  <c:v>0.97076868200463695</c:v>
                </c:pt>
                <c:pt idx="54432">
                  <c:v>0.97078651685393202</c:v>
                </c:pt>
                <c:pt idx="54433">
                  <c:v>0.97080435170322799</c:v>
                </c:pt>
                <c:pt idx="54434">
                  <c:v>0.97082218655252295</c:v>
                </c:pt>
                <c:pt idx="54435">
                  <c:v>0.97084002140181902</c:v>
                </c:pt>
                <c:pt idx="54436">
                  <c:v>0.97085785625111398</c:v>
                </c:pt>
                <c:pt idx="54437">
                  <c:v>0.97087569110041005</c:v>
                </c:pt>
                <c:pt idx="54438">
                  <c:v>0.97089352594970502</c:v>
                </c:pt>
                <c:pt idx="54439">
                  <c:v>0.97091136079900098</c:v>
                </c:pt>
                <c:pt idx="54440">
                  <c:v>0.97092919564829605</c:v>
                </c:pt>
                <c:pt idx="54441">
                  <c:v>0.97094703049759201</c:v>
                </c:pt>
                <c:pt idx="54442">
                  <c:v>0.97096486534688697</c:v>
                </c:pt>
                <c:pt idx="54443">
                  <c:v>0.97098270019618305</c:v>
                </c:pt>
                <c:pt idx="54444">
                  <c:v>0.97100053504547801</c:v>
                </c:pt>
                <c:pt idx="54445">
                  <c:v>0.97101836989477397</c:v>
                </c:pt>
                <c:pt idx="54446">
                  <c:v>0.97103620474406904</c:v>
                </c:pt>
                <c:pt idx="54447">
                  <c:v>0.971054039593365</c:v>
                </c:pt>
                <c:pt idx="54448">
                  <c:v>0.97107187444266096</c:v>
                </c:pt>
                <c:pt idx="54449">
                  <c:v>0.97108970929195604</c:v>
                </c:pt>
                <c:pt idx="54450">
                  <c:v>0.971107544141252</c:v>
                </c:pt>
                <c:pt idx="54451">
                  <c:v>0.97112537899054696</c:v>
                </c:pt>
                <c:pt idx="54452">
                  <c:v>0.97114321383984303</c:v>
                </c:pt>
                <c:pt idx="54453">
                  <c:v>0.971161048689138</c:v>
                </c:pt>
                <c:pt idx="54454">
                  <c:v>0.97117888353843396</c:v>
                </c:pt>
                <c:pt idx="54455">
                  <c:v>0.97119671838772903</c:v>
                </c:pt>
                <c:pt idx="54456">
                  <c:v>0.97121455323702499</c:v>
                </c:pt>
                <c:pt idx="54457">
                  <c:v>0.97123238808631995</c:v>
                </c:pt>
                <c:pt idx="54458">
                  <c:v>0.97125022293561603</c:v>
                </c:pt>
                <c:pt idx="54459">
                  <c:v>0.97126805778491099</c:v>
                </c:pt>
                <c:pt idx="54460">
                  <c:v>0.97128589263420695</c:v>
                </c:pt>
                <c:pt idx="54461">
                  <c:v>0.97130372748350202</c:v>
                </c:pt>
                <c:pt idx="54462">
                  <c:v>0.97132156233279798</c:v>
                </c:pt>
                <c:pt idx="54463">
                  <c:v>0.97133939718209295</c:v>
                </c:pt>
                <c:pt idx="54464">
                  <c:v>0.97135723203138902</c:v>
                </c:pt>
                <c:pt idx="54465">
                  <c:v>0.97137506688068398</c:v>
                </c:pt>
                <c:pt idx="54466">
                  <c:v>0.97139290172998005</c:v>
                </c:pt>
                <c:pt idx="54467">
                  <c:v>0.97141073657927501</c:v>
                </c:pt>
                <c:pt idx="54468">
                  <c:v>0.97142857142857097</c:v>
                </c:pt>
                <c:pt idx="54469">
                  <c:v>0.97144640627786605</c:v>
                </c:pt>
                <c:pt idx="54470">
                  <c:v>0.97146424112716201</c:v>
                </c:pt>
                <c:pt idx="54471">
                  <c:v>0.97148207597645797</c:v>
                </c:pt>
                <c:pt idx="54472">
                  <c:v>0.97149991082575304</c:v>
                </c:pt>
                <c:pt idx="54473">
                  <c:v>0.971517745675049</c:v>
                </c:pt>
                <c:pt idx="54474">
                  <c:v>0.97153558052434397</c:v>
                </c:pt>
                <c:pt idx="54475">
                  <c:v>0.97155341537364004</c:v>
                </c:pt>
                <c:pt idx="54476">
                  <c:v>0.971571250222935</c:v>
                </c:pt>
                <c:pt idx="54477">
                  <c:v>0.97158908507223096</c:v>
                </c:pt>
                <c:pt idx="54478">
                  <c:v>0.97160691992152604</c:v>
                </c:pt>
                <c:pt idx="54479">
                  <c:v>0.971624754770822</c:v>
                </c:pt>
                <c:pt idx="54480">
                  <c:v>0.97164258962011696</c:v>
                </c:pt>
                <c:pt idx="54481">
                  <c:v>0.97166042446941303</c:v>
                </c:pt>
                <c:pt idx="54482">
                  <c:v>0.97167825931870799</c:v>
                </c:pt>
                <c:pt idx="54483">
                  <c:v>0.97169609416800395</c:v>
                </c:pt>
                <c:pt idx="54484">
                  <c:v>0.97171392901729903</c:v>
                </c:pt>
                <c:pt idx="54485">
                  <c:v>0.97173176386659499</c:v>
                </c:pt>
                <c:pt idx="54486">
                  <c:v>0.97174959871588995</c:v>
                </c:pt>
                <c:pt idx="54487">
                  <c:v>0.97176743356518602</c:v>
                </c:pt>
                <c:pt idx="54488">
                  <c:v>0.97178526841448098</c:v>
                </c:pt>
                <c:pt idx="54489">
                  <c:v>0.97180310326377695</c:v>
                </c:pt>
                <c:pt idx="54490">
                  <c:v>0.97182093811307202</c:v>
                </c:pt>
                <c:pt idx="54491">
                  <c:v>0.97183877296236798</c:v>
                </c:pt>
                <c:pt idx="54492">
                  <c:v>0.97185660781166305</c:v>
                </c:pt>
                <c:pt idx="54493">
                  <c:v>0.97187444266095901</c:v>
                </c:pt>
                <c:pt idx="54494">
                  <c:v>0.97189227751025498</c:v>
                </c:pt>
                <c:pt idx="54495">
                  <c:v>0.97191011235955005</c:v>
                </c:pt>
                <c:pt idx="54496">
                  <c:v>0.97192794720884601</c:v>
                </c:pt>
                <c:pt idx="54497">
                  <c:v>0.97194578205814097</c:v>
                </c:pt>
                <c:pt idx="54498">
                  <c:v>0.97196361690743704</c:v>
                </c:pt>
                <c:pt idx="54499">
                  <c:v>0.97198145175673201</c:v>
                </c:pt>
                <c:pt idx="54500">
                  <c:v>0.97199928660602797</c:v>
                </c:pt>
                <c:pt idx="54501">
                  <c:v>0.97201712145532304</c:v>
                </c:pt>
                <c:pt idx="54502">
                  <c:v>0.972034956304619</c:v>
                </c:pt>
                <c:pt idx="54503">
                  <c:v>0.97205279115391396</c:v>
                </c:pt>
                <c:pt idx="54504">
                  <c:v>0.97207062600321004</c:v>
                </c:pt>
                <c:pt idx="54505">
                  <c:v>0.972088460852505</c:v>
                </c:pt>
                <c:pt idx="54506">
                  <c:v>0.97210629570180096</c:v>
                </c:pt>
                <c:pt idx="54507">
                  <c:v>0.97212413055109603</c:v>
                </c:pt>
                <c:pt idx="54508">
                  <c:v>0.97214196540039199</c:v>
                </c:pt>
                <c:pt idx="54509">
                  <c:v>0.97215980024968696</c:v>
                </c:pt>
                <c:pt idx="54510">
                  <c:v>0.97217763509898303</c:v>
                </c:pt>
                <c:pt idx="54511">
                  <c:v>0.97219546994827899</c:v>
                </c:pt>
                <c:pt idx="54512">
                  <c:v>0.97221330479757395</c:v>
                </c:pt>
                <c:pt idx="54513">
                  <c:v>0.97223113964687002</c:v>
                </c:pt>
                <c:pt idx="54514">
                  <c:v>0.97224897449616499</c:v>
                </c:pt>
                <c:pt idx="54515">
                  <c:v>0.97226680934546095</c:v>
                </c:pt>
                <c:pt idx="54516">
                  <c:v>0.97228464419475602</c:v>
                </c:pt>
                <c:pt idx="54517">
                  <c:v>0.97230247904405198</c:v>
                </c:pt>
                <c:pt idx="54518">
                  <c:v>0.97232031389334705</c:v>
                </c:pt>
                <c:pt idx="54519">
                  <c:v>0.97233814874264302</c:v>
                </c:pt>
                <c:pt idx="54520">
                  <c:v>0.97235598359193798</c:v>
                </c:pt>
                <c:pt idx="54521">
                  <c:v>0.97237381844123405</c:v>
                </c:pt>
                <c:pt idx="54522">
                  <c:v>0.97239165329052901</c:v>
                </c:pt>
                <c:pt idx="54523">
                  <c:v>0.97240948813982497</c:v>
                </c:pt>
                <c:pt idx="54524">
                  <c:v>0.97242732298912005</c:v>
                </c:pt>
                <c:pt idx="54525">
                  <c:v>0.97244515783841601</c:v>
                </c:pt>
                <c:pt idx="54526">
                  <c:v>0.97246299268771097</c:v>
                </c:pt>
                <c:pt idx="54527">
                  <c:v>0.97248082753700704</c:v>
                </c:pt>
                <c:pt idx="54528">
                  <c:v>0.972498662386302</c:v>
                </c:pt>
                <c:pt idx="54529">
                  <c:v>0.97251649723559797</c:v>
                </c:pt>
                <c:pt idx="54530">
                  <c:v>0.97253433208489304</c:v>
                </c:pt>
                <c:pt idx="54531">
                  <c:v>0.972552166934189</c:v>
                </c:pt>
                <c:pt idx="54532">
                  <c:v>0.97257000178348496</c:v>
                </c:pt>
                <c:pt idx="54533">
                  <c:v>0.97258783663278003</c:v>
                </c:pt>
                <c:pt idx="54534">
                  <c:v>0.972605671482076</c:v>
                </c:pt>
                <c:pt idx="54535">
                  <c:v>0.97262350633137096</c:v>
                </c:pt>
                <c:pt idx="54536">
                  <c:v>0.97264134118066703</c:v>
                </c:pt>
                <c:pt idx="54537">
                  <c:v>0.97265917602996199</c:v>
                </c:pt>
                <c:pt idx="54538">
                  <c:v>0.97267701087925795</c:v>
                </c:pt>
                <c:pt idx="54539">
                  <c:v>0.97269484572855303</c:v>
                </c:pt>
                <c:pt idx="54540">
                  <c:v>0.97271268057784899</c:v>
                </c:pt>
                <c:pt idx="54541">
                  <c:v>0.97273051542714395</c:v>
                </c:pt>
                <c:pt idx="54542">
                  <c:v>0.97274835027644002</c:v>
                </c:pt>
                <c:pt idx="54543">
                  <c:v>0.97276618512573498</c:v>
                </c:pt>
                <c:pt idx="54544">
                  <c:v>0.97278401997503094</c:v>
                </c:pt>
                <c:pt idx="54545">
                  <c:v>0.97280185482432602</c:v>
                </c:pt>
                <c:pt idx="54546">
                  <c:v>0.97281968967362198</c:v>
                </c:pt>
                <c:pt idx="54547">
                  <c:v>0.97283752452291705</c:v>
                </c:pt>
                <c:pt idx="54548">
                  <c:v>0.97285535937221301</c:v>
                </c:pt>
                <c:pt idx="54549">
                  <c:v>0.97287319422150798</c:v>
                </c:pt>
                <c:pt idx="54550">
                  <c:v>0.97289102907080405</c:v>
                </c:pt>
                <c:pt idx="54551">
                  <c:v>0.97290886392009901</c:v>
                </c:pt>
                <c:pt idx="54552">
                  <c:v>0.97292669876939497</c:v>
                </c:pt>
                <c:pt idx="54553">
                  <c:v>0.97294453361869004</c:v>
                </c:pt>
                <c:pt idx="54554">
                  <c:v>0.97296236846798601</c:v>
                </c:pt>
                <c:pt idx="54555">
                  <c:v>0.97298020331728197</c:v>
                </c:pt>
                <c:pt idx="54556">
                  <c:v>0.97299803816657704</c:v>
                </c:pt>
                <c:pt idx="54557">
                  <c:v>0.973015873015873</c:v>
                </c:pt>
                <c:pt idx="54558">
                  <c:v>0.97303370786516796</c:v>
                </c:pt>
                <c:pt idx="54559">
                  <c:v>0.97305154271446404</c:v>
                </c:pt>
                <c:pt idx="54560">
                  <c:v>0.973069377563759</c:v>
                </c:pt>
                <c:pt idx="54561">
                  <c:v>0.97308721241305496</c:v>
                </c:pt>
                <c:pt idx="54562">
                  <c:v>0.97310504726235003</c:v>
                </c:pt>
                <c:pt idx="54563">
                  <c:v>0.97312288211164599</c:v>
                </c:pt>
                <c:pt idx="54564">
                  <c:v>0.97314071696094095</c:v>
                </c:pt>
                <c:pt idx="54565">
                  <c:v>0.97315855181023703</c:v>
                </c:pt>
                <c:pt idx="54566">
                  <c:v>0.97317638665953199</c:v>
                </c:pt>
                <c:pt idx="54567">
                  <c:v>0.97319422150882795</c:v>
                </c:pt>
                <c:pt idx="54568">
                  <c:v>0.97321205635812302</c:v>
                </c:pt>
                <c:pt idx="54569">
                  <c:v>0.97322989120741898</c:v>
                </c:pt>
                <c:pt idx="54570">
                  <c:v>0.97324772605671395</c:v>
                </c:pt>
                <c:pt idx="54571">
                  <c:v>0.97326556090601002</c:v>
                </c:pt>
                <c:pt idx="54572">
                  <c:v>0.97328339575530498</c:v>
                </c:pt>
                <c:pt idx="54573">
                  <c:v>0.97330123060460105</c:v>
                </c:pt>
                <c:pt idx="54574">
                  <c:v>0.97331906545389602</c:v>
                </c:pt>
                <c:pt idx="54575">
                  <c:v>0.97333690030319198</c:v>
                </c:pt>
                <c:pt idx="54576">
                  <c:v>0.97335473515248705</c:v>
                </c:pt>
                <c:pt idx="54577">
                  <c:v>0.97337257000178301</c:v>
                </c:pt>
                <c:pt idx="54578">
                  <c:v>0.97339040485107897</c:v>
                </c:pt>
                <c:pt idx="54579">
                  <c:v>0.97340823970037405</c:v>
                </c:pt>
                <c:pt idx="54580">
                  <c:v>0.97342607454967001</c:v>
                </c:pt>
                <c:pt idx="54581">
                  <c:v>0.97344390939896497</c:v>
                </c:pt>
                <c:pt idx="54582">
                  <c:v>0.97346174424826104</c:v>
                </c:pt>
                <c:pt idx="54583">
                  <c:v>0.973479579097556</c:v>
                </c:pt>
                <c:pt idx="54584">
                  <c:v>0.97349741394685196</c:v>
                </c:pt>
                <c:pt idx="54585">
                  <c:v>0.97351524879614704</c:v>
                </c:pt>
                <c:pt idx="54586">
                  <c:v>0.973533083645443</c:v>
                </c:pt>
                <c:pt idx="54587">
                  <c:v>0.97355091849473796</c:v>
                </c:pt>
                <c:pt idx="54588">
                  <c:v>0.97356875334403403</c:v>
                </c:pt>
                <c:pt idx="54589">
                  <c:v>0.97358658819332899</c:v>
                </c:pt>
                <c:pt idx="54590">
                  <c:v>0.97360442304262496</c:v>
                </c:pt>
                <c:pt idx="54591">
                  <c:v>0.97362225789192003</c:v>
                </c:pt>
                <c:pt idx="54592">
                  <c:v>0.97364009274121599</c:v>
                </c:pt>
                <c:pt idx="54593">
                  <c:v>0.97365792759051095</c:v>
                </c:pt>
                <c:pt idx="54594">
                  <c:v>0.97367576243980702</c:v>
                </c:pt>
                <c:pt idx="54595">
                  <c:v>0.97369359728910199</c:v>
                </c:pt>
                <c:pt idx="54596">
                  <c:v>0.97371143213839795</c:v>
                </c:pt>
                <c:pt idx="54597">
                  <c:v>0.97372926698769302</c:v>
                </c:pt>
                <c:pt idx="54598">
                  <c:v>0.97374710183698898</c:v>
                </c:pt>
                <c:pt idx="54599">
                  <c:v>0.97376493668628505</c:v>
                </c:pt>
                <c:pt idx="54600">
                  <c:v>0.97378277153558002</c:v>
                </c:pt>
                <c:pt idx="54601">
                  <c:v>0.97380060638487598</c:v>
                </c:pt>
                <c:pt idx="54602">
                  <c:v>0.97381844123417105</c:v>
                </c:pt>
                <c:pt idx="54603">
                  <c:v>0.97383627608346701</c:v>
                </c:pt>
                <c:pt idx="54604">
                  <c:v>0.97385411093276197</c:v>
                </c:pt>
                <c:pt idx="54605">
                  <c:v>0.97387194578205805</c:v>
                </c:pt>
                <c:pt idx="54606">
                  <c:v>0.97388978063135301</c:v>
                </c:pt>
                <c:pt idx="54607">
                  <c:v>0.97390761548064897</c:v>
                </c:pt>
                <c:pt idx="54608">
                  <c:v>0.97392545032994404</c:v>
                </c:pt>
                <c:pt idx="54609">
                  <c:v>0.97394328517924</c:v>
                </c:pt>
                <c:pt idx="54610">
                  <c:v>0.97396112002853497</c:v>
                </c:pt>
                <c:pt idx="54611">
                  <c:v>0.97397895487783104</c:v>
                </c:pt>
                <c:pt idx="54612">
                  <c:v>0.973996789727126</c:v>
                </c:pt>
                <c:pt idx="54613">
                  <c:v>0.97401462457642196</c:v>
                </c:pt>
                <c:pt idx="54614">
                  <c:v>0.97403245942571703</c:v>
                </c:pt>
                <c:pt idx="54615">
                  <c:v>0.974050294275013</c:v>
                </c:pt>
                <c:pt idx="54616">
                  <c:v>0.97406812912430796</c:v>
                </c:pt>
                <c:pt idx="54617">
                  <c:v>0.97408596397360403</c:v>
                </c:pt>
                <c:pt idx="54618">
                  <c:v>0.97410379882289999</c:v>
                </c:pt>
                <c:pt idx="54619">
                  <c:v>0.97412163367219495</c:v>
                </c:pt>
                <c:pt idx="54620">
                  <c:v>0.97413946852149103</c:v>
                </c:pt>
                <c:pt idx="54621">
                  <c:v>0.97415730337078599</c:v>
                </c:pt>
                <c:pt idx="54622">
                  <c:v>0.97417513822008195</c:v>
                </c:pt>
                <c:pt idx="54623">
                  <c:v>0.97419297306937702</c:v>
                </c:pt>
                <c:pt idx="54624">
                  <c:v>0.97421080791867298</c:v>
                </c:pt>
                <c:pt idx="54625">
                  <c:v>0.97422864276796795</c:v>
                </c:pt>
                <c:pt idx="54626">
                  <c:v>0.97424647761726402</c:v>
                </c:pt>
                <c:pt idx="54627">
                  <c:v>0.97426431246655898</c:v>
                </c:pt>
                <c:pt idx="54628">
                  <c:v>0.97428214731585505</c:v>
                </c:pt>
                <c:pt idx="54629">
                  <c:v>0.97429998216515001</c:v>
                </c:pt>
                <c:pt idx="54630">
                  <c:v>0.97431781701444597</c:v>
                </c:pt>
                <c:pt idx="54631">
                  <c:v>0.97433565186374105</c:v>
                </c:pt>
                <c:pt idx="54632">
                  <c:v>0.97435348671303701</c:v>
                </c:pt>
                <c:pt idx="54633">
                  <c:v>0.97437132156233197</c:v>
                </c:pt>
                <c:pt idx="54634">
                  <c:v>0.97438915641162804</c:v>
                </c:pt>
                <c:pt idx="54635">
                  <c:v>0.97440699126092301</c:v>
                </c:pt>
                <c:pt idx="54636">
                  <c:v>0.97442482611021897</c:v>
                </c:pt>
                <c:pt idx="54637">
                  <c:v>0.97444266095951404</c:v>
                </c:pt>
                <c:pt idx="54638">
                  <c:v>0.97446049580881</c:v>
                </c:pt>
                <c:pt idx="54639">
                  <c:v>0.97447833065810596</c:v>
                </c:pt>
                <c:pt idx="54640">
                  <c:v>0.97449616550740104</c:v>
                </c:pt>
                <c:pt idx="54641">
                  <c:v>0.974514000356697</c:v>
                </c:pt>
                <c:pt idx="54642">
                  <c:v>0.97453183520599196</c:v>
                </c:pt>
                <c:pt idx="54643">
                  <c:v>0.97454967005528803</c:v>
                </c:pt>
                <c:pt idx="54644">
                  <c:v>0.97456750490458299</c:v>
                </c:pt>
                <c:pt idx="54645">
                  <c:v>0.97458533975387895</c:v>
                </c:pt>
                <c:pt idx="54646">
                  <c:v>0.97460317460317403</c:v>
                </c:pt>
                <c:pt idx="54647">
                  <c:v>0.97462100945246999</c:v>
                </c:pt>
                <c:pt idx="54648">
                  <c:v>0.97463884430176495</c:v>
                </c:pt>
                <c:pt idx="54649">
                  <c:v>0.97465667915106102</c:v>
                </c:pt>
                <c:pt idx="54650">
                  <c:v>0.97467451400035598</c:v>
                </c:pt>
                <c:pt idx="54651">
                  <c:v>0.97469234884965195</c:v>
                </c:pt>
                <c:pt idx="54652">
                  <c:v>0.97471018369894702</c:v>
                </c:pt>
                <c:pt idx="54653">
                  <c:v>0.97472801854824298</c:v>
                </c:pt>
                <c:pt idx="54654">
                  <c:v>0.97474585339753805</c:v>
                </c:pt>
                <c:pt idx="54655">
                  <c:v>0.97476368824683401</c:v>
                </c:pt>
                <c:pt idx="54656">
                  <c:v>0.97478152309612898</c:v>
                </c:pt>
                <c:pt idx="54657">
                  <c:v>0.97479935794542505</c:v>
                </c:pt>
                <c:pt idx="54658">
                  <c:v>0.97481719279472001</c:v>
                </c:pt>
                <c:pt idx="54659">
                  <c:v>0.97483502764401597</c:v>
                </c:pt>
                <c:pt idx="54660">
                  <c:v>0.97485286249331105</c:v>
                </c:pt>
                <c:pt idx="54661">
                  <c:v>0.97487069734260701</c:v>
                </c:pt>
                <c:pt idx="54662">
                  <c:v>0.97488853219190297</c:v>
                </c:pt>
                <c:pt idx="54663">
                  <c:v>0.97490636704119804</c:v>
                </c:pt>
                <c:pt idx="54664">
                  <c:v>0.974924201890494</c:v>
                </c:pt>
                <c:pt idx="54665">
                  <c:v>0.97494203673978896</c:v>
                </c:pt>
                <c:pt idx="54666">
                  <c:v>0.97495987158908504</c:v>
                </c:pt>
                <c:pt idx="54667">
                  <c:v>0.97497770643838</c:v>
                </c:pt>
                <c:pt idx="54668">
                  <c:v>0.97499554128767596</c:v>
                </c:pt>
                <c:pt idx="54669">
                  <c:v>0.97501337613697103</c:v>
                </c:pt>
                <c:pt idx="54670">
                  <c:v>0.97503121098626699</c:v>
                </c:pt>
                <c:pt idx="54671">
                  <c:v>0.97504904583556196</c:v>
                </c:pt>
                <c:pt idx="54672">
                  <c:v>0.97506688068485803</c:v>
                </c:pt>
                <c:pt idx="54673">
                  <c:v>0.97508471553415299</c:v>
                </c:pt>
                <c:pt idx="54674">
                  <c:v>0.97510255038344895</c:v>
                </c:pt>
                <c:pt idx="54675">
                  <c:v>0.97512038523274402</c:v>
                </c:pt>
                <c:pt idx="54676">
                  <c:v>0.97513822008203999</c:v>
                </c:pt>
                <c:pt idx="54677">
                  <c:v>0.97515605493133495</c:v>
                </c:pt>
                <c:pt idx="54678">
                  <c:v>0.97517388978063102</c:v>
                </c:pt>
                <c:pt idx="54679">
                  <c:v>0.97519172462992598</c:v>
                </c:pt>
                <c:pt idx="54680">
                  <c:v>0.97520955947922205</c:v>
                </c:pt>
                <c:pt idx="54681">
                  <c:v>0.97522739432851702</c:v>
                </c:pt>
                <c:pt idx="54682">
                  <c:v>0.97524522917781298</c:v>
                </c:pt>
                <c:pt idx="54683">
                  <c:v>0.97526306402710805</c:v>
                </c:pt>
                <c:pt idx="54684">
                  <c:v>0.97528089887640401</c:v>
                </c:pt>
                <c:pt idx="54685">
                  <c:v>0.97529873372569997</c:v>
                </c:pt>
                <c:pt idx="54686">
                  <c:v>0.97531656857499505</c:v>
                </c:pt>
                <c:pt idx="54687">
                  <c:v>0.97533440342429101</c:v>
                </c:pt>
                <c:pt idx="54688">
                  <c:v>0.97535223827358597</c:v>
                </c:pt>
                <c:pt idx="54689">
                  <c:v>0.97537007312288204</c:v>
                </c:pt>
                <c:pt idx="54690">
                  <c:v>0.975387907972177</c:v>
                </c:pt>
                <c:pt idx="54691">
                  <c:v>0.97540574282147297</c:v>
                </c:pt>
                <c:pt idx="54692">
                  <c:v>0.97542357767076804</c:v>
                </c:pt>
                <c:pt idx="54693">
                  <c:v>0.975441412520064</c:v>
                </c:pt>
                <c:pt idx="54694">
                  <c:v>0.97545924736935896</c:v>
                </c:pt>
                <c:pt idx="54695">
                  <c:v>0.97547708221865503</c:v>
                </c:pt>
                <c:pt idx="54696">
                  <c:v>0.97549491706795</c:v>
                </c:pt>
                <c:pt idx="54697">
                  <c:v>0.97551275191724596</c:v>
                </c:pt>
                <c:pt idx="54698">
                  <c:v>0.97553058676654103</c:v>
                </c:pt>
                <c:pt idx="54699">
                  <c:v>0.97554842161583699</c:v>
                </c:pt>
                <c:pt idx="54700">
                  <c:v>0.97556625646513195</c:v>
                </c:pt>
                <c:pt idx="54701">
                  <c:v>0.97558409131442803</c:v>
                </c:pt>
                <c:pt idx="54702">
                  <c:v>0.97560192616372299</c:v>
                </c:pt>
                <c:pt idx="54703">
                  <c:v>0.97561976101301895</c:v>
                </c:pt>
                <c:pt idx="54704">
                  <c:v>0.97563759586231402</c:v>
                </c:pt>
                <c:pt idx="54705">
                  <c:v>0.97565543071160998</c:v>
                </c:pt>
                <c:pt idx="54706">
                  <c:v>0.97567326556090594</c:v>
                </c:pt>
                <c:pt idx="54707">
                  <c:v>0.97569110041020102</c:v>
                </c:pt>
                <c:pt idx="54708">
                  <c:v>0.97570893525949698</c:v>
                </c:pt>
                <c:pt idx="54709">
                  <c:v>0.97572677010879205</c:v>
                </c:pt>
                <c:pt idx="54710">
                  <c:v>0.97574460495808801</c:v>
                </c:pt>
                <c:pt idx="54711">
                  <c:v>0.97576243980738298</c:v>
                </c:pt>
                <c:pt idx="54712">
                  <c:v>0.97578027465667905</c:v>
                </c:pt>
                <c:pt idx="54713">
                  <c:v>0.97579810950597401</c:v>
                </c:pt>
                <c:pt idx="54714">
                  <c:v>0.97581594435526997</c:v>
                </c:pt>
                <c:pt idx="54715">
                  <c:v>0.97583377920456504</c:v>
                </c:pt>
                <c:pt idx="54716">
                  <c:v>0.97585161405386101</c:v>
                </c:pt>
                <c:pt idx="54717">
                  <c:v>0.97586944890315597</c:v>
                </c:pt>
                <c:pt idx="54718">
                  <c:v>0.97588728375245204</c:v>
                </c:pt>
                <c:pt idx="54719">
                  <c:v>0.975905118601747</c:v>
                </c:pt>
                <c:pt idx="54720">
                  <c:v>0.97592295345104296</c:v>
                </c:pt>
                <c:pt idx="54721">
                  <c:v>0.97594078830033804</c:v>
                </c:pt>
                <c:pt idx="54722">
                  <c:v>0.975958623149634</c:v>
                </c:pt>
                <c:pt idx="54723">
                  <c:v>0.97597645799892996</c:v>
                </c:pt>
                <c:pt idx="54724">
                  <c:v>0.97599429284822503</c:v>
                </c:pt>
                <c:pt idx="54725">
                  <c:v>0.97601212769752099</c:v>
                </c:pt>
                <c:pt idx="54726">
                  <c:v>0.97602996254681595</c:v>
                </c:pt>
                <c:pt idx="54727">
                  <c:v>0.97604779739611203</c:v>
                </c:pt>
                <c:pt idx="54728">
                  <c:v>0.97606563224540699</c:v>
                </c:pt>
                <c:pt idx="54729">
                  <c:v>0.97608346709470295</c:v>
                </c:pt>
                <c:pt idx="54730">
                  <c:v>0.97610130194399802</c:v>
                </c:pt>
                <c:pt idx="54731">
                  <c:v>0.97611913679329398</c:v>
                </c:pt>
                <c:pt idx="54732">
                  <c:v>0.97613697164258895</c:v>
                </c:pt>
                <c:pt idx="54733">
                  <c:v>0.97615480649188502</c:v>
                </c:pt>
                <c:pt idx="54734">
                  <c:v>0.97617264134117998</c:v>
                </c:pt>
                <c:pt idx="54735">
                  <c:v>0.97619047619047605</c:v>
                </c:pt>
                <c:pt idx="54736">
                  <c:v>0.97620831103977102</c:v>
                </c:pt>
                <c:pt idx="54737">
                  <c:v>0.97622614588906698</c:v>
                </c:pt>
                <c:pt idx="54738">
                  <c:v>0.97624398073836205</c:v>
                </c:pt>
                <c:pt idx="54739">
                  <c:v>0.97626181558765801</c:v>
                </c:pt>
                <c:pt idx="54740">
                  <c:v>0.97627965043695297</c:v>
                </c:pt>
                <c:pt idx="54741">
                  <c:v>0.97629748528624904</c:v>
                </c:pt>
                <c:pt idx="54742">
                  <c:v>0.97631532013554401</c:v>
                </c:pt>
                <c:pt idx="54743">
                  <c:v>0.97633315498483997</c:v>
                </c:pt>
                <c:pt idx="54744">
                  <c:v>0.97635098983413504</c:v>
                </c:pt>
                <c:pt idx="54745">
                  <c:v>0.976368824683431</c:v>
                </c:pt>
                <c:pt idx="54746">
                  <c:v>0.97638665953272696</c:v>
                </c:pt>
                <c:pt idx="54747">
                  <c:v>0.97640449438202204</c:v>
                </c:pt>
                <c:pt idx="54748">
                  <c:v>0.976422329231318</c:v>
                </c:pt>
                <c:pt idx="54749">
                  <c:v>0.97644016408061296</c:v>
                </c:pt>
                <c:pt idx="54750">
                  <c:v>0.97645799892990903</c:v>
                </c:pt>
                <c:pt idx="54751">
                  <c:v>0.97647583377920399</c:v>
                </c:pt>
                <c:pt idx="54752">
                  <c:v>0.97649366862849996</c:v>
                </c:pt>
                <c:pt idx="54753">
                  <c:v>0.97651150347779503</c:v>
                </c:pt>
                <c:pt idx="54754">
                  <c:v>0.97652933832709099</c:v>
                </c:pt>
                <c:pt idx="54755">
                  <c:v>0.97654717317638595</c:v>
                </c:pt>
                <c:pt idx="54756">
                  <c:v>0.97656500802568202</c:v>
                </c:pt>
                <c:pt idx="54757">
                  <c:v>0.97658284287497699</c:v>
                </c:pt>
                <c:pt idx="54758">
                  <c:v>0.97660067772427295</c:v>
                </c:pt>
                <c:pt idx="54759">
                  <c:v>0.97661851257356802</c:v>
                </c:pt>
                <c:pt idx="54760">
                  <c:v>0.97663634742286398</c:v>
                </c:pt>
                <c:pt idx="54761">
                  <c:v>0.97665418227215905</c:v>
                </c:pt>
                <c:pt idx="54762">
                  <c:v>0.97667201712145502</c:v>
                </c:pt>
                <c:pt idx="54763">
                  <c:v>0.97668985197074998</c:v>
                </c:pt>
                <c:pt idx="54764">
                  <c:v>0.97670768682004605</c:v>
                </c:pt>
                <c:pt idx="54765">
                  <c:v>0.97672552166934101</c:v>
                </c:pt>
                <c:pt idx="54766">
                  <c:v>0.97674335651863697</c:v>
                </c:pt>
                <c:pt idx="54767">
                  <c:v>0.97676119136793205</c:v>
                </c:pt>
                <c:pt idx="54768">
                  <c:v>0.97677902621722801</c:v>
                </c:pt>
                <c:pt idx="54769">
                  <c:v>0.97679686106652397</c:v>
                </c:pt>
                <c:pt idx="54770">
                  <c:v>0.97681469591581904</c:v>
                </c:pt>
                <c:pt idx="54771">
                  <c:v>0.976832530765115</c:v>
                </c:pt>
                <c:pt idx="54772">
                  <c:v>0.97685036561440997</c:v>
                </c:pt>
                <c:pt idx="54773">
                  <c:v>0.97686820046370604</c:v>
                </c:pt>
                <c:pt idx="54774">
                  <c:v>0.976886035313001</c:v>
                </c:pt>
                <c:pt idx="54775">
                  <c:v>0.97690387016229696</c:v>
                </c:pt>
                <c:pt idx="54776">
                  <c:v>0.97692170501159203</c:v>
                </c:pt>
                <c:pt idx="54777">
                  <c:v>0.976939539860888</c:v>
                </c:pt>
                <c:pt idx="54778">
                  <c:v>0.97695737471018296</c:v>
                </c:pt>
                <c:pt idx="54779">
                  <c:v>0.97697520955947903</c:v>
                </c:pt>
                <c:pt idx="54780">
                  <c:v>0.97699304440877399</c:v>
                </c:pt>
                <c:pt idx="54781">
                  <c:v>0.97701087925806995</c:v>
                </c:pt>
                <c:pt idx="54782">
                  <c:v>0.97702871410736503</c:v>
                </c:pt>
                <c:pt idx="54783">
                  <c:v>0.97704654895666099</c:v>
                </c:pt>
                <c:pt idx="54784">
                  <c:v>0.97706438380595595</c:v>
                </c:pt>
                <c:pt idx="54785">
                  <c:v>0.97708221865525202</c:v>
                </c:pt>
                <c:pt idx="54786">
                  <c:v>0.97710005350454698</c:v>
                </c:pt>
                <c:pt idx="54787">
                  <c:v>0.97711788835384294</c:v>
                </c:pt>
                <c:pt idx="54788">
                  <c:v>0.97713572320313802</c:v>
                </c:pt>
                <c:pt idx="54789">
                  <c:v>0.97715355805243398</c:v>
                </c:pt>
                <c:pt idx="54790">
                  <c:v>0.97717139290172905</c:v>
                </c:pt>
                <c:pt idx="54791">
                  <c:v>0.97718922775102501</c:v>
                </c:pt>
                <c:pt idx="54792">
                  <c:v>0.97720706260032097</c:v>
                </c:pt>
                <c:pt idx="54793">
                  <c:v>0.97722489744961605</c:v>
                </c:pt>
                <c:pt idx="54794">
                  <c:v>0.97724273229891201</c:v>
                </c:pt>
                <c:pt idx="54795">
                  <c:v>0.97726056714820697</c:v>
                </c:pt>
                <c:pt idx="54796">
                  <c:v>0.97727840199750304</c:v>
                </c:pt>
                <c:pt idx="54797">
                  <c:v>0.97729623684679801</c:v>
                </c:pt>
                <c:pt idx="54798">
                  <c:v>0.97731407169609397</c:v>
                </c:pt>
                <c:pt idx="54799">
                  <c:v>0.97733190654538904</c:v>
                </c:pt>
                <c:pt idx="54800">
                  <c:v>0.977349741394685</c:v>
                </c:pt>
                <c:pt idx="54801">
                  <c:v>0.97736757624397996</c:v>
                </c:pt>
                <c:pt idx="54802">
                  <c:v>0.97738541109327604</c:v>
                </c:pt>
                <c:pt idx="54803">
                  <c:v>0.977403245942571</c:v>
                </c:pt>
                <c:pt idx="54804">
                  <c:v>0.97742108079186696</c:v>
                </c:pt>
                <c:pt idx="54805">
                  <c:v>0.97743891564116203</c:v>
                </c:pt>
                <c:pt idx="54806">
                  <c:v>0.97745675049045799</c:v>
                </c:pt>
                <c:pt idx="54807">
                  <c:v>0.97747458533975295</c:v>
                </c:pt>
                <c:pt idx="54808">
                  <c:v>0.97749242018904903</c:v>
                </c:pt>
                <c:pt idx="54809">
                  <c:v>0.97751025503834399</c:v>
                </c:pt>
                <c:pt idx="54810">
                  <c:v>0.97752808988763995</c:v>
                </c:pt>
                <c:pt idx="54811">
                  <c:v>0.97754592473693602</c:v>
                </c:pt>
                <c:pt idx="54812">
                  <c:v>0.97756375958623098</c:v>
                </c:pt>
                <c:pt idx="54813">
                  <c:v>0.97758159443552695</c:v>
                </c:pt>
                <c:pt idx="54814">
                  <c:v>0.97759942928482202</c:v>
                </c:pt>
                <c:pt idx="54815">
                  <c:v>0.97761726413411798</c:v>
                </c:pt>
                <c:pt idx="54816">
                  <c:v>0.97763509898341305</c:v>
                </c:pt>
                <c:pt idx="54817">
                  <c:v>0.97765293383270901</c:v>
                </c:pt>
                <c:pt idx="54818">
                  <c:v>0.97767076868200398</c:v>
                </c:pt>
                <c:pt idx="54819">
                  <c:v>0.97768860353130005</c:v>
                </c:pt>
                <c:pt idx="54820">
                  <c:v>0.97770643838059501</c:v>
                </c:pt>
                <c:pt idx="54821">
                  <c:v>0.97772427322989097</c:v>
                </c:pt>
                <c:pt idx="54822">
                  <c:v>0.97774210807918605</c:v>
                </c:pt>
                <c:pt idx="54823">
                  <c:v>0.97775994292848201</c:v>
                </c:pt>
                <c:pt idx="54824">
                  <c:v>0.97777777777777697</c:v>
                </c:pt>
                <c:pt idx="54825">
                  <c:v>0.97779561262707304</c:v>
                </c:pt>
                <c:pt idx="54826">
                  <c:v>0.977813447476368</c:v>
                </c:pt>
                <c:pt idx="54827">
                  <c:v>0.97783128232566396</c:v>
                </c:pt>
                <c:pt idx="54828">
                  <c:v>0.97784911717495904</c:v>
                </c:pt>
                <c:pt idx="54829">
                  <c:v>0.977866952024255</c:v>
                </c:pt>
                <c:pt idx="54830">
                  <c:v>0.97788478687355096</c:v>
                </c:pt>
                <c:pt idx="54831">
                  <c:v>0.97790262172284603</c:v>
                </c:pt>
                <c:pt idx="54832">
                  <c:v>0.97792045657214199</c:v>
                </c:pt>
                <c:pt idx="54833">
                  <c:v>0.97793829142143696</c:v>
                </c:pt>
                <c:pt idx="54834">
                  <c:v>0.97795612627073303</c:v>
                </c:pt>
                <c:pt idx="54835">
                  <c:v>0.97797396112002799</c:v>
                </c:pt>
                <c:pt idx="54836">
                  <c:v>0.97799179596932395</c:v>
                </c:pt>
                <c:pt idx="54837">
                  <c:v>0.97800963081861902</c:v>
                </c:pt>
                <c:pt idx="54838">
                  <c:v>0.97802746566791499</c:v>
                </c:pt>
                <c:pt idx="54839">
                  <c:v>0.97804530051720995</c:v>
                </c:pt>
                <c:pt idx="54840">
                  <c:v>0.97806313536650602</c:v>
                </c:pt>
                <c:pt idx="54841">
                  <c:v>0.97808097021580098</c:v>
                </c:pt>
                <c:pt idx="54842">
                  <c:v>0.97809880506509705</c:v>
                </c:pt>
                <c:pt idx="54843">
                  <c:v>0.97811663991439202</c:v>
                </c:pt>
                <c:pt idx="54844">
                  <c:v>0.97813447476368798</c:v>
                </c:pt>
                <c:pt idx="54845">
                  <c:v>0.97815230961298305</c:v>
                </c:pt>
                <c:pt idx="54846">
                  <c:v>0.97817014446227901</c:v>
                </c:pt>
                <c:pt idx="54847">
                  <c:v>0.97818797931157397</c:v>
                </c:pt>
                <c:pt idx="54848">
                  <c:v>0.97820581416087005</c:v>
                </c:pt>
                <c:pt idx="54849">
                  <c:v>0.97822364901016501</c:v>
                </c:pt>
                <c:pt idx="54850">
                  <c:v>0.97824148385946097</c:v>
                </c:pt>
                <c:pt idx="54851">
                  <c:v>0.97825931870875604</c:v>
                </c:pt>
                <c:pt idx="54852">
                  <c:v>0.978277153558052</c:v>
                </c:pt>
                <c:pt idx="54853">
                  <c:v>0.97829498840734797</c:v>
                </c:pt>
                <c:pt idx="54854">
                  <c:v>0.97831282325664304</c:v>
                </c:pt>
                <c:pt idx="54855">
                  <c:v>0.978330658105939</c:v>
                </c:pt>
                <c:pt idx="54856">
                  <c:v>0.97834849295523396</c:v>
                </c:pt>
                <c:pt idx="54857">
                  <c:v>0.97836632780453003</c:v>
                </c:pt>
                <c:pt idx="54858">
                  <c:v>0.978384162653825</c:v>
                </c:pt>
                <c:pt idx="54859">
                  <c:v>0.97840199750312096</c:v>
                </c:pt>
                <c:pt idx="54860">
                  <c:v>0.97841983235241603</c:v>
                </c:pt>
                <c:pt idx="54861">
                  <c:v>0.97843766720171199</c:v>
                </c:pt>
                <c:pt idx="54862">
                  <c:v>0.97845550205100695</c:v>
                </c:pt>
                <c:pt idx="54863">
                  <c:v>0.97847333690030303</c:v>
                </c:pt>
                <c:pt idx="54864">
                  <c:v>0.97849117174959799</c:v>
                </c:pt>
                <c:pt idx="54865">
                  <c:v>0.97850900659889395</c:v>
                </c:pt>
                <c:pt idx="54866">
                  <c:v>0.97852684144818902</c:v>
                </c:pt>
                <c:pt idx="54867">
                  <c:v>0.97854467629748498</c:v>
                </c:pt>
                <c:pt idx="54868">
                  <c:v>0.97856251114677995</c:v>
                </c:pt>
                <c:pt idx="54869">
                  <c:v>0.97858034599607602</c:v>
                </c:pt>
                <c:pt idx="54870">
                  <c:v>0.97859818084537098</c:v>
                </c:pt>
                <c:pt idx="54871">
                  <c:v>0.97861601569466705</c:v>
                </c:pt>
                <c:pt idx="54872">
                  <c:v>0.97863385054396201</c:v>
                </c:pt>
                <c:pt idx="54873">
                  <c:v>0.97865168539325798</c:v>
                </c:pt>
                <c:pt idx="54874">
                  <c:v>0.97866952024255305</c:v>
                </c:pt>
                <c:pt idx="54875">
                  <c:v>0.97868735509184901</c:v>
                </c:pt>
                <c:pt idx="54876">
                  <c:v>0.97870518994114497</c:v>
                </c:pt>
                <c:pt idx="54877">
                  <c:v>0.97872302479044004</c:v>
                </c:pt>
                <c:pt idx="54878">
                  <c:v>0.978740859639736</c:v>
                </c:pt>
                <c:pt idx="54879">
                  <c:v>0.97875869448903097</c:v>
                </c:pt>
                <c:pt idx="54880">
                  <c:v>0.97877652933832704</c:v>
                </c:pt>
                <c:pt idx="54881">
                  <c:v>0.978794364187622</c:v>
                </c:pt>
                <c:pt idx="54882">
                  <c:v>0.97881219903691796</c:v>
                </c:pt>
                <c:pt idx="54883">
                  <c:v>0.97883003388621304</c:v>
                </c:pt>
                <c:pt idx="54884">
                  <c:v>0.978847868735509</c:v>
                </c:pt>
                <c:pt idx="54885">
                  <c:v>0.97886570358480396</c:v>
                </c:pt>
                <c:pt idx="54886">
                  <c:v>0.97888353843410003</c:v>
                </c:pt>
                <c:pt idx="54887">
                  <c:v>0.97890137328339499</c:v>
                </c:pt>
                <c:pt idx="54888">
                  <c:v>0.97891920813269095</c:v>
                </c:pt>
                <c:pt idx="54889">
                  <c:v>0.97893704298198603</c:v>
                </c:pt>
                <c:pt idx="54890">
                  <c:v>0.97895487783128199</c:v>
                </c:pt>
                <c:pt idx="54891">
                  <c:v>0.97897271268057695</c:v>
                </c:pt>
                <c:pt idx="54892">
                  <c:v>0.97899054752987302</c:v>
                </c:pt>
                <c:pt idx="54893">
                  <c:v>0.97900838237916799</c:v>
                </c:pt>
                <c:pt idx="54894">
                  <c:v>0.97902621722846395</c:v>
                </c:pt>
                <c:pt idx="54895">
                  <c:v>0.97904405207775902</c:v>
                </c:pt>
                <c:pt idx="54896">
                  <c:v>0.97906188692705498</c:v>
                </c:pt>
                <c:pt idx="54897">
                  <c:v>0.97907972177635005</c:v>
                </c:pt>
                <c:pt idx="54898">
                  <c:v>0.97909755662564601</c:v>
                </c:pt>
                <c:pt idx="54899">
                  <c:v>0.97911539147494198</c:v>
                </c:pt>
                <c:pt idx="54900">
                  <c:v>0.97913322632423705</c:v>
                </c:pt>
                <c:pt idx="54901">
                  <c:v>0.97915106117353301</c:v>
                </c:pt>
                <c:pt idx="54902">
                  <c:v>0.97916889602282797</c:v>
                </c:pt>
                <c:pt idx="54903">
                  <c:v>0.97918673087212404</c:v>
                </c:pt>
                <c:pt idx="54904">
                  <c:v>0.97920456572141901</c:v>
                </c:pt>
                <c:pt idx="54905">
                  <c:v>0.97922240057071497</c:v>
                </c:pt>
                <c:pt idx="54906">
                  <c:v>0.97924023542001004</c:v>
                </c:pt>
                <c:pt idx="54907">
                  <c:v>0.979258070269306</c:v>
                </c:pt>
                <c:pt idx="54908">
                  <c:v>0.97927590511860096</c:v>
                </c:pt>
                <c:pt idx="54909">
                  <c:v>0.97929373996789704</c:v>
                </c:pt>
                <c:pt idx="54910">
                  <c:v>0.979311574817192</c:v>
                </c:pt>
                <c:pt idx="54911">
                  <c:v>0.97932940966648796</c:v>
                </c:pt>
                <c:pt idx="54912">
                  <c:v>0.97934724451578303</c:v>
                </c:pt>
                <c:pt idx="54913">
                  <c:v>0.97936507936507899</c:v>
                </c:pt>
                <c:pt idx="54914">
                  <c:v>0.97938291421437396</c:v>
                </c:pt>
                <c:pt idx="54915">
                  <c:v>0.97940074906367003</c:v>
                </c:pt>
                <c:pt idx="54916">
                  <c:v>0.97941858391296599</c:v>
                </c:pt>
                <c:pt idx="54917">
                  <c:v>0.97943641876226095</c:v>
                </c:pt>
                <c:pt idx="54918">
                  <c:v>0.97945425361155702</c:v>
                </c:pt>
                <c:pt idx="54919">
                  <c:v>0.97947208846085199</c:v>
                </c:pt>
                <c:pt idx="54920">
                  <c:v>0.97948992331014795</c:v>
                </c:pt>
                <c:pt idx="54921">
                  <c:v>0.97950775815944302</c:v>
                </c:pt>
                <c:pt idx="54922">
                  <c:v>0.97952559300873898</c:v>
                </c:pt>
                <c:pt idx="54923">
                  <c:v>0.97954342785803405</c:v>
                </c:pt>
                <c:pt idx="54924">
                  <c:v>0.97956126270733002</c:v>
                </c:pt>
                <c:pt idx="54925">
                  <c:v>0.97957909755662498</c:v>
                </c:pt>
                <c:pt idx="54926">
                  <c:v>0.97959693240592105</c:v>
                </c:pt>
                <c:pt idx="54927">
                  <c:v>0.97961476725521601</c:v>
                </c:pt>
                <c:pt idx="54928">
                  <c:v>0.97963260210451197</c:v>
                </c:pt>
                <c:pt idx="54929">
                  <c:v>0.97965043695380705</c:v>
                </c:pt>
                <c:pt idx="54930">
                  <c:v>0.97966827180310301</c:v>
                </c:pt>
                <c:pt idx="54931">
                  <c:v>0.97968610665239797</c:v>
                </c:pt>
                <c:pt idx="54932">
                  <c:v>0.97970394150169404</c:v>
                </c:pt>
                <c:pt idx="54933">
                  <c:v>0.979721776350989</c:v>
                </c:pt>
                <c:pt idx="54934">
                  <c:v>0.97973961120028497</c:v>
                </c:pt>
                <c:pt idx="54935">
                  <c:v>0.97975744604958004</c:v>
                </c:pt>
                <c:pt idx="54936">
                  <c:v>0.979775280898876</c:v>
                </c:pt>
                <c:pt idx="54937">
                  <c:v>0.97979311574817196</c:v>
                </c:pt>
                <c:pt idx="54938">
                  <c:v>0.97981095059746703</c:v>
                </c:pt>
                <c:pt idx="54939">
                  <c:v>0.979828785446763</c:v>
                </c:pt>
                <c:pt idx="54940">
                  <c:v>0.97984662029605796</c:v>
                </c:pt>
                <c:pt idx="54941">
                  <c:v>0.97986445514535403</c:v>
                </c:pt>
                <c:pt idx="54942">
                  <c:v>0.97988228999464899</c:v>
                </c:pt>
                <c:pt idx="54943">
                  <c:v>0.97990012484394495</c:v>
                </c:pt>
                <c:pt idx="54944">
                  <c:v>0.97991795969324003</c:v>
                </c:pt>
                <c:pt idx="54945">
                  <c:v>0.97993579454253599</c:v>
                </c:pt>
                <c:pt idx="54946">
                  <c:v>0.97995362939183095</c:v>
                </c:pt>
                <c:pt idx="54947">
                  <c:v>0.97997146424112702</c:v>
                </c:pt>
                <c:pt idx="54948">
                  <c:v>0.97998929909042198</c:v>
                </c:pt>
                <c:pt idx="54949">
                  <c:v>0.98000713393971794</c:v>
                </c:pt>
                <c:pt idx="54950">
                  <c:v>0.98002496878901302</c:v>
                </c:pt>
                <c:pt idx="54951">
                  <c:v>0.98004280363830898</c:v>
                </c:pt>
                <c:pt idx="54952">
                  <c:v>0.98006063848760405</c:v>
                </c:pt>
                <c:pt idx="54953">
                  <c:v>0.98007847333690001</c:v>
                </c:pt>
                <c:pt idx="54954">
                  <c:v>0.98009630818619498</c:v>
                </c:pt>
                <c:pt idx="54955">
                  <c:v>0.98011414303549105</c:v>
                </c:pt>
                <c:pt idx="54956">
                  <c:v>0.98013197788478601</c:v>
                </c:pt>
                <c:pt idx="54957">
                  <c:v>0.98014981273408197</c:v>
                </c:pt>
                <c:pt idx="54958">
                  <c:v>0.98016764758337704</c:v>
                </c:pt>
                <c:pt idx="54959">
                  <c:v>0.98018548243267301</c:v>
                </c:pt>
                <c:pt idx="54960">
                  <c:v>0.98020331728196897</c:v>
                </c:pt>
                <c:pt idx="54961">
                  <c:v>0.98022115213126404</c:v>
                </c:pt>
                <c:pt idx="54962">
                  <c:v>0.98023898698056</c:v>
                </c:pt>
                <c:pt idx="54963">
                  <c:v>0.98025682182985496</c:v>
                </c:pt>
                <c:pt idx="54964">
                  <c:v>0.98027465667915104</c:v>
                </c:pt>
                <c:pt idx="54965">
                  <c:v>0.980292491528446</c:v>
                </c:pt>
                <c:pt idx="54966">
                  <c:v>0.98031032637774196</c:v>
                </c:pt>
                <c:pt idx="54967">
                  <c:v>0.98032816122703703</c:v>
                </c:pt>
                <c:pt idx="54968">
                  <c:v>0.98034599607633299</c:v>
                </c:pt>
                <c:pt idx="54969">
                  <c:v>0.98036383092562795</c:v>
                </c:pt>
                <c:pt idx="54970">
                  <c:v>0.98038166577492403</c:v>
                </c:pt>
                <c:pt idx="54971">
                  <c:v>0.98039950062421899</c:v>
                </c:pt>
                <c:pt idx="54972">
                  <c:v>0.98041733547351495</c:v>
                </c:pt>
                <c:pt idx="54973">
                  <c:v>0.98043517032281002</c:v>
                </c:pt>
                <c:pt idx="54974">
                  <c:v>0.98045300517210598</c:v>
                </c:pt>
                <c:pt idx="54975">
                  <c:v>0.98047084002140095</c:v>
                </c:pt>
                <c:pt idx="54976">
                  <c:v>0.98048867487069702</c:v>
                </c:pt>
                <c:pt idx="54977">
                  <c:v>0.98050650971999198</c:v>
                </c:pt>
                <c:pt idx="54978">
                  <c:v>0.98052434456928805</c:v>
                </c:pt>
                <c:pt idx="54979">
                  <c:v>0.98054217941858302</c:v>
                </c:pt>
                <c:pt idx="54980">
                  <c:v>0.98056001426787898</c:v>
                </c:pt>
                <c:pt idx="54981">
                  <c:v>0.98057784911717405</c:v>
                </c:pt>
                <c:pt idx="54982">
                  <c:v>0.98059568396647001</c:v>
                </c:pt>
                <c:pt idx="54983">
                  <c:v>0.98061351881576597</c:v>
                </c:pt>
                <c:pt idx="54984">
                  <c:v>0.98063135366506105</c:v>
                </c:pt>
                <c:pt idx="54985">
                  <c:v>0.98064918851435701</c:v>
                </c:pt>
                <c:pt idx="54986">
                  <c:v>0.98066702336365197</c:v>
                </c:pt>
                <c:pt idx="54987">
                  <c:v>0.98068485821294804</c:v>
                </c:pt>
                <c:pt idx="54988">
                  <c:v>0.980702693062243</c:v>
                </c:pt>
                <c:pt idx="54989">
                  <c:v>0.98072052791153896</c:v>
                </c:pt>
                <c:pt idx="54990">
                  <c:v>0.98073836276083404</c:v>
                </c:pt>
                <c:pt idx="54991">
                  <c:v>0.98075619761013</c:v>
                </c:pt>
                <c:pt idx="54992">
                  <c:v>0.98077403245942496</c:v>
                </c:pt>
                <c:pt idx="54993">
                  <c:v>0.98079186730872103</c:v>
                </c:pt>
                <c:pt idx="54994">
                  <c:v>0.98080970215801599</c:v>
                </c:pt>
                <c:pt idx="54995">
                  <c:v>0.98082753700731196</c:v>
                </c:pt>
                <c:pt idx="54996">
                  <c:v>0.98084537185660703</c:v>
                </c:pt>
                <c:pt idx="54997">
                  <c:v>0.98086320670590299</c:v>
                </c:pt>
                <c:pt idx="54998">
                  <c:v>0.98088104155519795</c:v>
                </c:pt>
                <c:pt idx="54999">
                  <c:v>0.98089887640449402</c:v>
                </c:pt>
                <c:pt idx="55000">
                  <c:v>0.98091671125378899</c:v>
                </c:pt>
                <c:pt idx="55001">
                  <c:v>0.98093454610308495</c:v>
                </c:pt>
                <c:pt idx="55002">
                  <c:v>0.98095238095238002</c:v>
                </c:pt>
                <c:pt idx="55003">
                  <c:v>0.98097021580167598</c:v>
                </c:pt>
                <c:pt idx="55004">
                  <c:v>0.98098805065097205</c:v>
                </c:pt>
                <c:pt idx="55005">
                  <c:v>0.98100588550026702</c:v>
                </c:pt>
                <c:pt idx="55006">
                  <c:v>0.98102372034956298</c:v>
                </c:pt>
                <c:pt idx="55007">
                  <c:v>0.98104155519885805</c:v>
                </c:pt>
                <c:pt idx="55008">
                  <c:v>0.98105939004815401</c:v>
                </c:pt>
                <c:pt idx="55009">
                  <c:v>0.98107722489744897</c:v>
                </c:pt>
                <c:pt idx="55010">
                  <c:v>0.98109505974674505</c:v>
                </c:pt>
                <c:pt idx="55011">
                  <c:v>0.98111289459604001</c:v>
                </c:pt>
                <c:pt idx="55012">
                  <c:v>0.98113072944533597</c:v>
                </c:pt>
                <c:pt idx="55013">
                  <c:v>0.98114856429463104</c:v>
                </c:pt>
                <c:pt idx="55014">
                  <c:v>0.981166399143927</c:v>
                </c:pt>
                <c:pt idx="55015">
                  <c:v>0.98118423399322197</c:v>
                </c:pt>
                <c:pt idx="55016">
                  <c:v>0.98120206884251804</c:v>
                </c:pt>
                <c:pt idx="55017">
                  <c:v>0.981219903691813</c:v>
                </c:pt>
                <c:pt idx="55018">
                  <c:v>0.98123773854110896</c:v>
                </c:pt>
                <c:pt idx="55019">
                  <c:v>0.98125557339040403</c:v>
                </c:pt>
                <c:pt idx="55020">
                  <c:v>0.9812734082397</c:v>
                </c:pt>
                <c:pt idx="55021">
                  <c:v>0.98129124308899496</c:v>
                </c:pt>
                <c:pt idx="55022">
                  <c:v>0.98130907793829103</c:v>
                </c:pt>
                <c:pt idx="55023">
                  <c:v>0.98132691278758699</c:v>
                </c:pt>
                <c:pt idx="55024">
                  <c:v>0.98134474763688195</c:v>
                </c:pt>
                <c:pt idx="55025">
                  <c:v>0.98136258248617803</c:v>
                </c:pt>
                <c:pt idx="55026">
                  <c:v>0.98138041733547299</c:v>
                </c:pt>
                <c:pt idx="55027">
                  <c:v>0.98139825218476895</c:v>
                </c:pt>
                <c:pt idx="55028">
                  <c:v>0.98141608703406402</c:v>
                </c:pt>
                <c:pt idx="55029">
                  <c:v>0.98143392188335998</c:v>
                </c:pt>
                <c:pt idx="55030">
                  <c:v>0.98145175673265495</c:v>
                </c:pt>
                <c:pt idx="55031">
                  <c:v>0.98146959158195102</c:v>
                </c:pt>
                <c:pt idx="55032">
                  <c:v>0.98148742643124598</c:v>
                </c:pt>
                <c:pt idx="55033">
                  <c:v>0.98150526128054205</c:v>
                </c:pt>
                <c:pt idx="55034">
                  <c:v>0.98152309612983701</c:v>
                </c:pt>
                <c:pt idx="55035">
                  <c:v>0.98154093097913298</c:v>
                </c:pt>
                <c:pt idx="55036">
                  <c:v>0.98155876582842805</c:v>
                </c:pt>
                <c:pt idx="55037">
                  <c:v>0.98157660067772401</c:v>
                </c:pt>
                <c:pt idx="55038">
                  <c:v>0.98159443552701897</c:v>
                </c:pt>
                <c:pt idx="55039">
                  <c:v>0.98161227037631504</c:v>
                </c:pt>
                <c:pt idx="55040">
                  <c:v>0.98163010522561001</c:v>
                </c:pt>
                <c:pt idx="55041">
                  <c:v>0.98164794007490597</c:v>
                </c:pt>
                <c:pt idx="55042">
                  <c:v>0.98166577492420104</c:v>
                </c:pt>
                <c:pt idx="55043">
                  <c:v>0.981683609773497</c:v>
                </c:pt>
                <c:pt idx="55044">
                  <c:v>0.98170144462279296</c:v>
                </c:pt>
                <c:pt idx="55045">
                  <c:v>0.98171927947208804</c:v>
                </c:pt>
                <c:pt idx="55046">
                  <c:v>0.981737114321384</c:v>
                </c:pt>
                <c:pt idx="55047">
                  <c:v>0.98175494917067896</c:v>
                </c:pt>
                <c:pt idx="55048">
                  <c:v>0.98177278401997503</c:v>
                </c:pt>
                <c:pt idx="55049">
                  <c:v>0.98179061886926999</c:v>
                </c:pt>
                <c:pt idx="55050">
                  <c:v>0.98180845371856595</c:v>
                </c:pt>
                <c:pt idx="55051">
                  <c:v>0.98182628856786103</c:v>
                </c:pt>
                <c:pt idx="55052">
                  <c:v>0.98184412341715699</c:v>
                </c:pt>
                <c:pt idx="55053">
                  <c:v>0.98186195826645195</c:v>
                </c:pt>
                <c:pt idx="55054">
                  <c:v>0.98187979311574802</c:v>
                </c:pt>
                <c:pt idx="55055">
                  <c:v>0.98189762796504299</c:v>
                </c:pt>
                <c:pt idx="55056">
                  <c:v>0.98191546281433895</c:v>
                </c:pt>
                <c:pt idx="55057">
                  <c:v>0.98193329766363402</c:v>
                </c:pt>
                <c:pt idx="55058">
                  <c:v>0.98195113251292998</c:v>
                </c:pt>
                <c:pt idx="55059">
                  <c:v>0.98196896736222505</c:v>
                </c:pt>
                <c:pt idx="55060">
                  <c:v>0.98198680221152101</c:v>
                </c:pt>
                <c:pt idx="55061">
                  <c:v>0.98200463706081598</c:v>
                </c:pt>
                <c:pt idx="55062">
                  <c:v>0.98202247191011205</c:v>
                </c:pt>
                <c:pt idx="55063">
                  <c:v>0.98204030675940701</c:v>
                </c:pt>
                <c:pt idx="55064">
                  <c:v>0.98205814160870297</c:v>
                </c:pt>
                <c:pt idx="55065">
                  <c:v>0.98207597645799805</c:v>
                </c:pt>
                <c:pt idx="55066">
                  <c:v>0.98209381130729401</c:v>
                </c:pt>
                <c:pt idx="55067">
                  <c:v>0.98211164615658997</c:v>
                </c:pt>
                <c:pt idx="55068">
                  <c:v>0.98212948100588504</c:v>
                </c:pt>
                <c:pt idx="55069">
                  <c:v>0.982147315855181</c:v>
                </c:pt>
                <c:pt idx="55070">
                  <c:v>0.98216515070447596</c:v>
                </c:pt>
                <c:pt idx="55071">
                  <c:v>0.98218298555377204</c:v>
                </c:pt>
                <c:pt idx="55072">
                  <c:v>0.982200820403067</c:v>
                </c:pt>
                <c:pt idx="55073">
                  <c:v>0.98221865525236296</c:v>
                </c:pt>
                <c:pt idx="55074">
                  <c:v>0.98223649010165803</c:v>
                </c:pt>
                <c:pt idx="55075">
                  <c:v>0.98225432495095399</c:v>
                </c:pt>
                <c:pt idx="55076">
                  <c:v>0.98227215980024896</c:v>
                </c:pt>
                <c:pt idx="55077">
                  <c:v>0.98228999464954503</c:v>
                </c:pt>
                <c:pt idx="55078">
                  <c:v>0.98230782949883999</c:v>
                </c:pt>
                <c:pt idx="55079">
                  <c:v>0.98232566434813595</c:v>
                </c:pt>
                <c:pt idx="55080">
                  <c:v>0.98234349919743102</c:v>
                </c:pt>
                <c:pt idx="55081">
                  <c:v>0.98236133404672699</c:v>
                </c:pt>
                <c:pt idx="55082">
                  <c:v>0.98237916889602195</c:v>
                </c:pt>
                <c:pt idx="55083">
                  <c:v>0.98239700374531802</c:v>
                </c:pt>
                <c:pt idx="55084">
                  <c:v>0.98241483859461298</c:v>
                </c:pt>
                <c:pt idx="55085">
                  <c:v>0.98243267344390905</c:v>
                </c:pt>
                <c:pt idx="55086">
                  <c:v>0.98245050829320402</c:v>
                </c:pt>
                <c:pt idx="55087">
                  <c:v>0.98246834314249998</c:v>
                </c:pt>
                <c:pt idx="55088">
                  <c:v>0.98248617799179505</c:v>
                </c:pt>
                <c:pt idx="55089">
                  <c:v>0.98250401284109101</c:v>
                </c:pt>
                <c:pt idx="55090">
                  <c:v>0.98252184769038697</c:v>
                </c:pt>
                <c:pt idx="55091">
                  <c:v>0.98253968253968205</c:v>
                </c:pt>
                <c:pt idx="55092">
                  <c:v>0.98255751738897801</c:v>
                </c:pt>
                <c:pt idx="55093">
                  <c:v>0.98257535223827297</c:v>
                </c:pt>
                <c:pt idx="55094">
                  <c:v>0.98259318708756904</c:v>
                </c:pt>
                <c:pt idx="55095">
                  <c:v>0.982611021936864</c:v>
                </c:pt>
                <c:pt idx="55096">
                  <c:v>0.98262885678615997</c:v>
                </c:pt>
                <c:pt idx="55097">
                  <c:v>0.98264669163545504</c:v>
                </c:pt>
                <c:pt idx="55098">
                  <c:v>0.982664526484751</c:v>
                </c:pt>
                <c:pt idx="55099">
                  <c:v>0.98268236133404596</c:v>
                </c:pt>
                <c:pt idx="55100">
                  <c:v>0.98270019618334203</c:v>
                </c:pt>
                <c:pt idx="55101">
                  <c:v>0.982718031032637</c:v>
                </c:pt>
                <c:pt idx="55102">
                  <c:v>0.98273586588193296</c:v>
                </c:pt>
                <c:pt idx="55103">
                  <c:v>0.98275370073122803</c:v>
                </c:pt>
                <c:pt idx="55104">
                  <c:v>0.98277153558052399</c:v>
                </c:pt>
                <c:pt idx="55105">
                  <c:v>0.98278937042981895</c:v>
                </c:pt>
                <c:pt idx="55106">
                  <c:v>0.98280720527911503</c:v>
                </c:pt>
                <c:pt idx="55107">
                  <c:v>0.98282504012840999</c:v>
                </c:pt>
                <c:pt idx="55108">
                  <c:v>0.98284287497770595</c:v>
                </c:pt>
                <c:pt idx="55109">
                  <c:v>0.98286070982700102</c:v>
                </c:pt>
                <c:pt idx="55110">
                  <c:v>0.98287854467629698</c:v>
                </c:pt>
                <c:pt idx="55111">
                  <c:v>0.98289637952559294</c:v>
                </c:pt>
                <c:pt idx="55112">
                  <c:v>0.98291421437488802</c:v>
                </c:pt>
                <c:pt idx="55113">
                  <c:v>0.98293204922418398</c:v>
                </c:pt>
                <c:pt idx="55114">
                  <c:v>0.98294988407347905</c:v>
                </c:pt>
                <c:pt idx="55115">
                  <c:v>0.98296771892277501</c:v>
                </c:pt>
                <c:pt idx="55116">
                  <c:v>0.98298555377206998</c:v>
                </c:pt>
                <c:pt idx="55117">
                  <c:v>0.98300338862136605</c:v>
                </c:pt>
                <c:pt idx="55118">
                  <c:v>0.98302122347066101</c:v>
                </c:pt>
                <c:pt idx="55119">
                  <c:v>0.98303905831995697</c:v>
                </c:pt>
                <c:pt idx="55120">
                  <c:v>0.98305689316925204</c:v>
                </c:pt>
                <c:pt idx="55121">
                  <c:v>0.98307472801854801</c:v>
                </c:pt>
                <c:pt idx="55122">
                  <c:v>0.98309256286784297</c:v>
                </c:pt>
                <c:pt idx="55123">
                  <c:v>0.98311039771713904</c:v>
                </c:pt>
                <c:pt idx="55124">
                  <c:v>0.983128232566434</c:v>
                </c:pt>
                <c:pt idx="55125">
                  <c:v>0.98314606741572996</c:v>
                </c:pt>
                <c:pt idx="55126">
                  <c:v>0.98316390226502504</c:v>
                </c:pt>
                <c:pt idx="55127">
                  <c:v>0.983181737114321</c:v>
                </c:pt>
                <c:pt idx="55128">
                  <c:v>0.98319957196361696</c:v>
                </c:pt>
                <c:pt idx="55129">
                  <c:v>0.98321740681291203</c:v>
                </c:pt>
                <c:pt idx="55130">
                  <c:v>0.98323524166220799</c:v>
                </c:pt>
                <c:pt idx="55131">
                  <c:v>0.98325307651150295</c:v>
                </c:pt>
                <c:pt idx="55132">
                  <c:v>0.98327091136079903</c:v>
                </c:pt>
                <c:pt idx="55133">
                  <c:v>0.98328874621009399</c:v>
                </c:pt>
                <c:pt idx="55134">
                  <c:v>0.98330658105938995</c:v>
                </c:pt>
                <c:pt idx="55135">
                  <c:v>0.98332441590868502</c:v>
                </c:pt>
                <c:pt idx="55136">
                  <c:v>0.98334225075798098</c:v>
                </c:pt>
                <c:pt idx="55137">
                  <c:v>0.98336008560727595</c:v>
                </c:pt>
                <c:pt idx="55138">
                  <c:v>0.98337792045657202</c:v>
                </c:pt>
                <c:pt idx="55139">
                  <c:v>0.98339575530586698</c:v>
                </c:pt>
                <c:pt idx="55140">
                  <c:v>0.98341359015516305</c:v>
                </c:pt>
                <c:pt idx="55141">
                  <c:v>0.98343142500445802</c:v>
                </c:pt>
                <c:pt idx="55142">
                  <c:v>0.98344925985375398</c:v>
                </c:pt>
                <c:pt idx="55143">
                  <c:v>0.98346709470304905</c:v>
                </c:pt>
                <c:pt idx="55144">
                  <c:v>0.98348492955234501</c:v>
                </c:pt>
                <c:pt idx="55145">
                  <c:v>0.98350276440163997</c:v>
                </c:pt>
                <c:pt idx="55146">
                  <c:v>0.98352059925093605</c:v>
                </c:pt>
                <c:pt idx="55147">
                  <c:v>0.98353843410023101</c:v>
                </c:pt>
                <c:pt idx="55148">
                  <c:v>0.98355626894952697</c:v>
                </c:pt>
                <c:pt idx="55149">
                  <c:v>0.98357410379882204</c:v>
                </c:pt>
                <c:pt idx="55150">
                  <c:v>0.983591938648118</c:v>
                </c:pt>
                <c:pt idx="55151">
                  <c:v>0.98360977349741396</c:v>
                </c:pt>
                <c:pt idx="55152">
                  <c:v>0.98362760834670904</c:v>
                </c:pt>
                <c:pt idx="55153">
                  <c:v>0.983645443196005</c:v>
                </c:pt>
                <c:pt idx="55154">
                  <c:v>0.98366327804529996</c:v>
                </c:pt>
                <c:pt idx="55155">
                  <c:v>0.98368111289459603</c:v>
                </c:pt>
                <c:pt idx="55156">
                  <c:v>0.98369894774389099</c:v>
                </c:pt>
                <c:pt idx="55157">
                  <c:v>0.98371678259318696</c:v>
                </c:pt>
                <c:pt idx="55158">
                  <c:v>0.98373461744248203</c:v>
                </c:pt>
                <c:pt idx="55159">
                  <c:v>0.98375245229177799</c:v>
                </c:pt>
                <c:pt idx="55160">
                  <c:v>0.98377028714107295</c:v>
                </c:pt>
                <c:pt idx="55161">
                  <c:v>0.98378812199036902</c:v>
                </c:pt>
                <c:pt idx="55162">
                  <c:v>0.98380595683966399</c:v>
                </c:pt>
                <c:pt idx="55163">
                  <c:v>0.98382379168895995</c:v>
                </c:pt>
                <c:pt idx="55164">
                  <c:v>0.98384162653825502</c:v>
                </c:pt>
                <c:pt idx="55165">
                  <c:v>0.98385946138755098</c:v>
                </c:pt>
                <c:pt idx="55166">
                  <c:v>0.98387729623684606</c:v>
                </c:pt>
                <c:pt idx="55167">
                  <c:v>0.98389513108614202</c:v>
                </c:pt>
                <c:pt idx="55168">
                  <c:v>0.98391296593543698</c:v>
                </c:pt>
                <c:pt idx="55169">
                  <c:v>0.98393080078473305</c:v>
                </c:pt>
                <c:pt idx="55170">
                  <c:v>0.98394863563402801</c:v>
                </c:pt>
                <c:pt idx="55171">
                  <c:v>0.98396647048332397</c:v>
                </c:pt>
                <c:pt idx="55172">
                  <c:v>0.98398430533261905</c:v>
                </c:pt>
                <c:pt idx="55173">
                  <c:v>0.98400214018191501</c:v>
                </c:pt>
                <c:pt idx="55174">
                  <c:v>0.98401997503121097</c:v>
                </c:pt>
                <c:pt idx="55175">
                  <c:v>0.98403780988050604</c:v>
                </c:pt>
                <c:pt idx="55176">
                  <c:v>0.984055644729802</c:v>
                </c:pt>
                <c:pt idx="55177">
                  <c:v>0.98407347957909697</c:v>
                </c:pt>
                <c:pt idx="55178">
                  <c:v>0.98409131442839304</c:v>
                </c:pt>
                <c:pt idx="55179">
                  <c:v>0.984109149277688</c:v>
                </c:pt>
                <c:pt idx="55180">
                  <c:v>0.98412698412698396</c:v>
                </c:pt>
                <c:pt idx="55181">
                  <c:v>0.98414481897627903</c:v>
                </c:pt>
                <c:pt idx="55182">
                  <c:v>0.984162653825575</c:v>
                </c:pt>
                <c:pt idx="55183">
                  <c:v>0.98418048867486996</c:v>
                </c:pt>
                <c:pt idx="55184">
                  <c:v>0.98419832352416603</c:v>
                </c:pt>
                <c:pt idx="55185">
                  <c:v>0.98421615837346099</c:v>
                </c:pt>
                <c:pt idx="55186">
                  <c:v>0.98423399322275695</c:v>
                </c:pt>
                <c:pt idx="55187">
                  <c:v>0.98425182807205203</c:v>
                </c:pt>
                <c:pt idx="55188">
                  <c:v>0.98426966292134799</c:v>
                </c:pt>
                <c:pt idx="55189">
                  <c:v>0.98428749777064295</c:v>
                </c:pt>
                <c:pt idx="55190">
                  <c:v>0.98430533261993902</c:v>
                </c:pt>
                <c:pt idx="55191">
                  <c:v>0.98432316746923398</c:v>
                </c:pt>
                <c:pt idx="55192">
                  <c:v>0.98434100231852995</c:v>
                </c:pt>
                <c:pt idx="55193">
                  <c:v>0.98435883716782502</c:v>
                </c:pt>
                <c:pt idx="55194">
                  <c:v>0.98437667201712098</c:v>
                </c:pt>
                <c:pt idx="55195">
                  <c:v>0.98439450686641605</c:v>
                </c:pt>
                <c:pt idx="55196">
                  <c:v>0.98441234171571201</c:v>
                </c:pt>
                <c:pt idx="55197">
                  <c:v>0.98443017656500797</c:v>
                </c:pt>
                <c:pt idx="55198">
                  <c:v>0.98444801141430305</c:v>
                </c:pt>
                <c:pt idx="55199">
                  <c:v>0.98446584626359901</c:v>
                </c:pt>
                <c:pt idx="55200">
                  <c:v>0.98448368111289397</c:v>
                </c:pt>
                <c:pt idx="55201">
                  <c:v>0.98450151596219004</c:v>
                </c:pt>
                <c:pt idx="55202">
                  <c:v>0.98451935081148501</c:v>
                </c:pt>
                <c:pt idx="55203">
                  <c:v>0.98453718566078097</c:v>
                </c:pt>
                <c:pt idx="55204">
                  <c:v>0.98455502051007604</c:v>
                </c:pt>
                <c:pt idx="55205">
                  <c:v>0.984572855359372</c:v>
                </c:pt>
                <c:pt idx="55206">
                  <c:v>0.98459069020866696</c:v>
                </c:pt>
                <c:pt idx="55207">
                  <c:v>0.98460852505796304</c:v>
                </c:pt>
                <c:pt idx="55208">
                  <c:v>0.984626359907258</c:v>
                </c:pt>
                <c:pt idx="55209">
                  <c:v>0.98464419475655396</c:v>
                </c:pt>
                <c:pt idx="55210">
                  <c:v>0.98466202960584903</c:v>
                </c:pt>
                <c:pt idx="55211">
                  <c:v>0.98467986445514499</c:v>
                </c:pt>
                <c:pt idx="55212">
                  <c:v>0.98469769930443996</c:v>
                </c:pt>
                <c:pt idx="55213">
                  <c:v>0.98471553415373603</c:v>
                </c:pt>
                <c:pt idx="55214">
                  <c:v>0.98473336900303099</c:v>
                </c:pt>
                <c:pt idx="55215">
                  <c:v>0.98475120385232695</c:v>
                </c:pt>
                <c:pt idx="55216">
                  <c:v>0.98476903870162302</c:v>
                </c:pt>
                <c:pt idx="55217">
                  <c:v>0.98478687355091798</c:v>
                </c:pt>
                <c:pt idx="55218">
                  <c:v>0.98480470840021395</c:v>
                </c:pt>
                <c:pt idx="55219">
                  <c:v>0.98482254324950902</c:v>
                </c:pt>
                <c:pt idx="55220">
                  <c:v>0.98484037809880498</c:v>
                </c:pt>
                <c:pt idx="55221">
                  <c:v>0.98485821294810005</c:v>
                </c:pt>
                <c:pt idx="55222">
                  <c:v>0.98487604779739601</c:v>
                </c:pt>
                <c:pt idx="55223">
                  <c:v>0.98489388264669098</c:v>
                </c:pt>
                <c:pt idx="55224">
                  <c:v>0.98491171749598705</c:v>
                </c:pt>
                <c:pt idx="55225">
                  <c:v>0.98492955234528201</c:v>
                </c:pt>
                <c:pt idx="55226">
                  <c:v>0.98494738719457797</c:v>
                </c:pt>
                <c:pt idx="55227">
                  <c:v>0.98496522204387305</c:v>
                </c:pt>
                <c:pt idx="55228">
                  <c:v>0.98498305689316901</c:v>
                </c:pt>
                <c:pt idx="55229">
                  <c:v>0.98500089174246397</c:v>
                </c:pt>
                <c:pt idx="55230">
                  <c:v>0.98501872659176004</c:v>
                </c:pt>
                <c:pt idx="55231">
                  <c:v>0.985036561441055</c:v>
                </c:pt>
                <c:pt idx="55232">
                  <c:v>0.98505439629035096</c:v>
                </c:pt>
                <c:pt idx="55233">
                  <c:v>0.98507223113964604</c:v>
                </c:pt>
                <c:pt idx="55234">
                  <c:v>0.985090065988942</c:v>
                </c:pt>
                <c:pt idx="55235">
                  <c:v>0.98510790083823796</c:v>
                </c:pt>
                <c:pt idx="55236">
                  <c:v>0.98512573568753303</c:v>
                </c:pt>
                <c:pt idx="55237">
                  <c:v>0.98514357053682899</c:v>
                </c:pt>
                <c:pt idx="55238">
                  <c:v>0.98516140538612396</c:v>
                </c:pt>
                <c:pt idx="55239">
                  <c:v>0.98517924023542003</c:v>
                </c:pt>
                <c:pt idx="55240">
                  <c:v>0.98519707508471499</c:v>
                </c:pt>
                <c:pt idx="55241">
                  <c:v>0.98521490993401095</c:v>
                </c:pt>
                <c:pt idx="55242">
                  <c:v>0.98523274478330602</c:v>
                </c:pt>
                <c:pt idx="55243">
                  <c:v>0.98525057963260199</c:v>
                </c:pt>
                <c:pt idx="55244">
                  <c:v>0.98526841448189695</c:v>
                </c:pt>
                <c:pt idx="55245">
                  <c:v>0.98528624933119302</c:v>
                </c:pt>
                <c:pt idx="55246">
                  <c:v>0.98530408418048798</c:v>
                </c:pt>
                <c:pt idx="55247">
                  <c:v>0.98532191902978405</c:v>
                </c:pt>
                <c:pt idx="55248">
                  <c:v>0.98533975387907902</c:v>
                </c:pt>
                <c:pt idx="55249">
                  <c:v>0.98535758872837498</c:v>
                </c:pt>
                <c:pt idx="55250">
                  <c:v>0.98537542357767005</c:v>
                </c:pt>
                <c:pt idx="55251">
                  <c:v>0.98539325842696601</c:v>
                </c:pt>
                <c:pt idx="55252">
                  <c:v>0.98541109327626097</c:v>
                </c:pt>
                <c:pt idx="55253">
                  <c:v>0.98542892812555705</c:v>
                </c:pt>
                <c:pt idx="55254">
                  <c:v>0.98544676297485201</c:v>
                </c:pt>
                <c:pt idx="55255">
                  <c:v>0.98546459782414797</c:v>
                </c:pt>
                <c:pt idx="55256">
                  <c:v>0.98548243267344304</c:v>
                </c:pt>
                <c:pt idx="55257">
                  <c:v>0.985500267522739</c:v>
                </c:pt>
                <c:pt idx="55258">
                  <c:v>0.98551810237203497</c:v>
                </c:pt>
                <c:pt idx="55259">
                  <c:v>0.98553593722133004</c:v>
                </c:pt>
                <c:pt idx="55260">
                  <c:v>0.985553772070626</c:v>
                </c:pt>
                <c:pt idx="55261">
                  <c:v>0.98557160691992096</c:v>
                </c:pt>
                <c:pt idx="55262">
                  <c:v>0.98558944176921703</c:v>
                </c:pt>
                <c:pt idx="55263">
                  <c:v>0.985607276618512</c:v>
                </c:pt>
                <c:pt idx="55264">
                  <c:v>0.98562511146780796</c:v>
                </c:pt>
                <c:pt idx="55265">
                  <c:v>0.98564294631710303</c:v>
                </c:pt>
                <c:pt idx="55266">
                  <c:v>0.98566078116639899</c:v>
                </c:pt>
                <c:pt idx="55267">
                  <c:v>0.98567861601569395</c:v>
                </c:pt>
                <c:pt idx="55268">
                  <c:v>0.98569645086499003</c:v>
                </c:pt>
                <c:pt idx="55269">
                  <c:v>0.98571428571428499</c:v>
                </c:pt>
                <c:pt idx="55270">
                  <c:v>0.98573212056358095</c:v>
                </c:pt>
                <c:pt idx="55271">
                  <c:v>0.98574995541287602</c:v>
                </c:pt>
                <c:pt idx="55272">
                  <c:v>0.98576779026217198</c:v>
                </c:pt>
                <c:pt idx="55273">
                  <c:v>0.98578562511146695</c:v>
                </c:pt>
                <c:pt idx="55274">
                  <c:v>0.98580345996076302</c:v>
                </c:pt>
                <c:pt idx="55275">
                  <c:v>0.98582129481005798</c:v>
                </c:pt>
                <c:pt idx="55276">
                  <c:v>0.98583912965935405</c:v>
                </c:pt>
                <c:pt idx="55277">
                  <c:v>0.98585696450864901</c:v>
                </c:pt>
                <c:pt idx="55278">
                  <c:v>0.98587479935794498</c:v>
                </c:pt>
                <c:pt idx="55279">
                  <c:v>0.98589263420724005</c:v>
                </c:pt>
                <c:pt idx="55280">
                  <c:v>0.98591046905653601</c:v>
                </c:pt>
                <c:pt idx="55281">
                  <c:v>0.98592830390583197</c:v>
                </c:pt>
                <c:pt idx="55282">
                  <c:v>0.98594613875512704</c:v>
                </c:pt>
                <c:pt idx="55283">
                  <c:v>0.98596397360442301</c:v>
                </c:pt>
                <c:pt idx="55284">
                  <c:v>0.98598180845371797</c:v>
                </c:pt>
                <c:pt idx="55285">
                  <c:v>0.98599964330301404</c:v>
                </c:pt>
                <c:pt idx="55286">
                  <c:v>0.986017478152309</c:v>
                </c:pt>
                <c:pt idx="55287">
                  <c:v>0.98603531300160496</c:v>
                </c:pt>
                <c:pt idx="55288">
                  <c:v>0.98605314785090004</c:v>
                </c:pt>
                <c:pt idx="55289">
                  <c:v>0.986070982700196</c:v>
                </c:pt>
                <c:pt idx="55290">
                  <c:v>0.98608881754949096</c:v>
                </c:pt>
                <c:pt idx="55291">
                  <c:v>0.98610665239878703</c:v>
                </c:pt>
                <c:pt idx="55292">
                  <c:v>0.98612448724808199</c:v>
                </c:pt>
                <c:pt idx="55293">
                  <c:v>0.98614232209737795</c:v>
                </c:pt>
                <c:pt idx="55294">
                  <c:v>0.98616015694667303</c:v>
                </c:pt>
                <c:pt idx="55295">
                  <c:v>0.98617799179596899</c:v>
                </c:pt>
                <c:pt idx="55296">
                  <c:v>0.98619582664526395</c:v>
                </c:pt>
                <c:pt idx="55297">
                  <c:v>0.98621366149456002</c:v>
                </c:pt>
                <c:pt idx="55298">
                  <c:v>0.98623149634385499</c:v>
                </c:pt>
                <c:pt idx="55299">
                  <c:v>0.98624933119315095</c:v>
                </c:pt>
                <c:pt idx="55300">
                  <c:v>0.98626716604244602</c:v>
                </c:pt>
                <c:pt idx="55301">
                  <c:v>0.98628500089174198</c:v>
                </c:pt>
                <c:pt idx="55302">
                  <c:v>0.98630283574103705</c:v>
                </c:pt>
                <c:pt idx="55303">
                  <c:v>0.98632067059033302</c:v>
                </c:pt>
                <c:pt idx="55304">
                  <c:v>0.98633850543962898</c:v>
                </c:pt>
                <c:pt idx="55305">
                  <c:v>0.98635634028892405</c:v>
                </c:pt>
                <c:pt idx="55306">
                  <c:v>0.98637417513822001</c:v>
                </c:pt>
                <c:pt idx="55307">
                  <c:v>0.98639200998751497</c:v>
                </c:pt>
                <c:pt idx="55308">
                  <c:v>0.98640984483681104</c:v>
                </c:pt>
                <c:pt idx="55309">
                  <c:v>0.98642767968610601</c:v>
                </c:pt>
                <c:pt idx="55310">
                  <c:v>0.98644551453540197</c:v>
                </c:pt>
                <c:pt idx="55311">
                  <c:v>0.98646334938469704</c:v>
                </c:pt>
                <c:pt idx="55312">
                  <c:v>0.986481184233993</c:v>
                </c:pt>
                <c:pt idx="55313">
                  <c:v>0.98649901908328796</c:v>
                </c:pt>
                <c:pt idx="55314">
                  <c:v>0.98651685393258404</c:v>
                </c:pt>
                <c:pt idx="55315">
                  <c:v>0.986534688781879</c:v>
                </c:pt>
                <c:pt idx="55316">
                  <c:v>0.98655252363117496</c:v>
                </c:pt>
                <c:pt idx="55317">
                  <c:v>0.98657035848047003</c:v>
                </c:pt>
                <c:pt idx="55318">
                  <c:v>0.98658819332976599</c:v>
                </c:pt>
                <c:pt idx="55319">
                  <c:v>0.98660602817906096</c:v>
                </c:pt>
                <c:pt idx="55320">
                  <c:v>0.98662386302835703</c:v>
                </c:pt>
                <c:pt idx="55321">
                  <c:v>0.98664169787765199</c:v>
                </c:pt>
                <c:pt idx="55322">
                  <c:v>0.98665953272694795</c:v>
                </c:pt>
                <c:pt idx="55323">
                  <c:v>0.98667736757624402</c:v>
                </c:pt>
                <c:pt idx="55324">
                  <c:v>0.98669520242553899</c:v>
                </c:pt>
                <c:pt idx="55325">
                  <c:v>0.98671303727483495</c:v>
                </c:pt>
                <c:pt idx="55326">
                  <c:v>0.98673087212413002</c:v>
                </c:pt>
                <c:pt idx="55327">
                  <c:v>0.98674870697342598</c:v>
                </c:pt>
                <c:pt idx="55328">
                  <c:v>0.98676654182272105</c:v>
                </c:pt>
                <c:pt idx="55329">
                  <c:v>0.98678437667201702</c:v>
                </c:pt>
                <c:pt idx="55330">
                  <c:v>0.98680221152131198</c:v>
                </c:pt>
                <c:pt idx="55331">
                  <c:v>0.98682004637060805</c:v>
                </c:pt>
                <c:pt idx="55332">
                  <c:v>0.98683788121990301</c:v>
                </c:pt>
                <c:pt idx="55333">
                  <c:v>0.98685571606919897</c:v>
                </c:pt>
                <c:pt idx="55334">
                  <c:v>0.98687355091849405</c:v>
                </c:pt>
                <c:pt idx="55335">
                  <c:v>0.98689138576779001</c:v>
                </c:pt>
                <c:pt idx="55336">
                  <c:v>0.98690922061708497</c:v>
                </c:pt>
                <c:pt idx="55337">
                  <c:v>0.98692705546638104</c:v>
                </c:pt>
                <c:pt idx="55338">
                  <c:v>0.986944890315676</c:v>
                </c:pt>
                <c:pt idx="55339">
                  <c:v>0.98696272516497197</c:v>
                </c:pt>
                <c:pt idx="55340">
                  <c:v>0.98698056001426704</c:v>
                </c:pt>
                <c:pt idx="55341">
                  <c:v>0.986998394863563</c:v>
                </c:pt>
                <c:pt idx="55342">
                  <c:v>0.98701622971285896</c:v>
                </c:pt>
                <c:pt idx="55343">
                  <c:v>0.98703406456215403</c:v>
                </c:pt>
                <c:pt idx="55344">
                  <c:v>0.98705189941145</c:v>
                </c:pt>
                <c:pt idx="55345">
                  <c:v>0.98706973426074496</c:v>
                </c:pt>
                <c:pt idx="55346">
                  <c:v>0.98708756911004103</c:v>
                </c:pt>
                <c:pt idx="55347">
                  <c:v>0.98710540395933599</c:v>
                </c:pt>
                <c:pt idx="55348">
                  <c:v>0.98712323880863195</c:v>
                </c:pt>
                <c:pt idx="55349">
                  <c:v>0.98714107365792703</c:v>
                </c:pt>
                <c:pt idx="55350">
                  <c:v>0.98715890850722299</c:v>
                </c:pt>
                <c:pt idx="55351">
                  <c:v>0.98717674335651795</c:v>
                </c:pt>
                <c:pt idx="55352">
                  <c:v>0.98719457820581402</c:v>
                </c:pt>
                <c:pt idx="55353">
                  <c:v>0.98721241305510898</c:v>
                </c:pt>
                <c:pt idx="55354">
                  <c:v>0.98723024790440495</c:v>
                </c:pt>
                <c:pt idx="55355">
                  <c:v>0.98724808275370002</c:v>
                </c:pt>
                <c:pt idx="55356">
                  <c:v>0.98726591760299598</c:v>
                </c:pt>
                <c:pt idx="55357">
                  <c:v>0.98728375245229105</c:v>
                </c:pt>
                <c:pt idx="55358">
                  <c:v>0.98730158730158701</c:v>
                </c:pt>
                <c:pt idx="55359">
                  <c:v>0.98731942215088198</c:v>
                </c:pt>
                <c:pt idx="55360">
                  <c:v>0.98733725700017805</c:v>
                </c:pt>
                <c:pt idx="55361">
                  <c:v>0.98735509184947301</c:v>
                </c:pt>
                <c:pt idx="55362">
                  <c:v>0.98737292669876897</c:v>
                </c:pt>
                <c:pt idx="55363">
                  <c:v>0.98739076154806404</c:v>
                </c:pt>
                <c:pt idx="55364">
                  <c:v>0.98740859639736001</c:v>
                </c:pt>
                <c:pt idx="55365">
                  <c:v>0.98742643124665597</c:v>
                </c:pt>
                <c:pt idx="55366">
                  <c:v>0.98744426609595104</c:v>
                </c:pt>
                <c:pt idx="55367">
                  <c:v>0.987462100945247</c:v>
                </c:pt>
                <c:pt idx="55368">
                  <c:v>0.98747993579454196</c:v>
                </c:pt>
                <c:pt idx="55369">
                  <c:v>0.98749777064383804</c:v>
                </c:pt>
                <c:pt idx="55370">
                  <c:v>0.987515605493133</c:v>
                </c:pt>
                <c:pt idx="55371">
                  <c:v>0.98753344034242896</c:v>
                </c:pt>
                <c:pt idx="55372">
                  <c:v>0.98755127519172403</c:v>
                </c:pt>
                <c:pt idx="55373">
                  <c:v>0.98756911004101999</c:v>
                </c:pt>
                <c:pt idx="55374">
                  <c:v>0.98758694489031496</c:v>
                </c:pt>
                <c:pt idx="55375">
                  <c:v>0.98760477973961103</c:v>
                </c:pt>
                <c:pt idx="55376">
                  <c:v>0.98762261458890599</c:v>
                </c:pt>
                <c:pt idx="55377">
                  <c:v>0.98764044943820195</c:v>
                </c:pt>
                <c:pt idx="55378">
                  <c:v>0.98765828428749702</c:v>
                </c:pt>
                <c:pt idx="55379">
                  <c:v>0.98767611913679298</c:v>
                </c:pt>
                <c:pt idx="55380">
                  <c:v>0.98769395398608795</c:v>
                </c:pt>
                <c:pt idx="55381">
                  <c:v>0.98771178883538402</c:v>
                </c:pt>
                <c:pt idx="55382">
                  <c:v>0.98772962368467898</c:v>
                </c:pt>
                <c:pt idx="55383">
                  <c:v>0.98774745853397505</c:v>
                </c:pt>
                <c:pt idx="55384">
                  <c:v>0.98776529338327002</c:v>
                </c:pt>
                <c:pt idx="55385">
                  <c:v>0.98778312823256598</c:v>
                </c:pt>
                <c:pt idx="55386">
                  <c:v>0.98780096308186105</c:v>
                </c:pt>
                <c:pt idx="55387">
                  <c:v>0.98781879793115701</c:v>
                </c:pt>
                <c:pt idx="55388">
                  <c:v>0.98783663278045297</c:v>
                </c:pt>
                <c:pt idx="55389">
                  <c:v>0.98785446762974805</c:v>
                </c:pt>
                <c:pt idx="55390">
                  <c:v>0.98787230247904401</c:v>
                </c:pt>
                <c:pt idx="55391">
                  <c:v>0.98789013732833897</c:v>
                </c:pt>
                <c:pt idx="55392">
                  <c:v>0.98790797217763504</c:v>
                </c:pt>
                <c:pt idx="55393">
                  <c:v>0.98792580702693</c:v>
                </c:pt>
                <c:pt idx="55394">
                  <c:v>0.98794364187622596</c:v>
                </c:pt>
                <c:pt idx="55395">
                  <c:v>0.98796147672552104</c:v>
                </c:pt>
                <c:pt idx="55396">
                  <c:v>0.987979311574817</c:v>
                </c:pt>
                <c:pt idx="55397">
                  <c:v>0.98799714642411196</c:v>
                </c:pt>
                <c:pt idx="55398">
                  <c:v>0.98801498127340803</c:v>
                </c:pt>
                <c:pt idx="55399">
                  <c:v>0.98803281612270299</c:v>
                </c:pt>
                <c:pt idx="55400">
                  <c:v>0.98805065097199896</c:v>
                </c:pt>
                <c:pt idx="55401">
                  <c:v>0.98806848582129403</c:v>
                </c:pt>
                <c:pt idx="55402">
                  <c:v>0.98808632067058999</c:v>
                </c:pt>
                <c:pt idx="55403">
                  <c:v>0.98810415551988495</c:v>
                </c:pt>
                <c:pt idx="55404">
                  <c:v>0.98812199036918102</c:v>
                </c:pt>
                <c:pt idx="55405">
                  <c:v>0.98813982521847599</c:v>
                </c:pt>
                <c:pt idx="55406">
                  <c:v>0.98815766006777195</c:v>
                </c:pt>
                <c:pt idx="55407">
                  <c:v>0.98817549491706702</c:v>
                </c:pt>
                <c:pt idx="55408">
                  <c:v>0.98819332976636298</c:v>
                </c:pt>
                <c:pt idx="55409">
                  <c:v>0.98821116461565806</c:v>
                </c:pt>
                <c:pt idx="55410">
                  <c:v>0.98822899946495402</c:v>
                </c:pt>
                <c:pt idx="55411">
                  <c:v>0.98824683431424998</c:v>
                </c:pt>
                <c:pt idx="55412">
                  <c:v>0.98826466916354505</c:v>
                </c:pt>
                <c:pt idx="55413">
                  <c:v>0.98828250401284101</c:v>
                </c:pt>
                <c:pt idx="55414">
                  <c:v>0.98830033886213597</c:v>
                </c:pt>
                <c:pt idx="55415">
                  <c:v>0.98831817371143205</c:v>
                </c:pt>
                <c:pt idx="55416">
                  <c:v>0.98833600856072701</c:v>
                </c:pt>
                <c:pt idx="55417">
                  <c:v>0.98835384341002297</c:v>
                </c:pt>
                <c:pt idx="55418">
                  <c:v>0.98837167825931804</c:v>
                </c:pt>
                <c:pt idx="55419">
                  <c:v>0.988389513108614</c:v>
                </c:pt>
                <c:pt idx="55420">
                  <c:v>0.98840734795790897</c:v>
                </c:pt>
                <c:pt idx="55421">
                  <c:v>0.98842518280720504</c:v>
                </c:pt>
                <c:pt idx="55422">
                  <c:v>0.9884430176565</c:v>
                </c:pt>
                <c:pt idx="55423">
                  <c:v>0.98846085250579596</c:v>
                </c:pt>
                <c:pt idx="55424">
                  <c:v>0.98847868735509103</c:v>
                </c:pt>
                <c:pt idx="55425">
                  <c:v>0.988496522204387</c:v>
                </c:pt>
                <c:pt idx="55426">
                  <c:v>0.98851435705368196</c:v>
                </c:pt>
                <c:pt idx="55427">
                  <c:v>0.98853219190297803</c:v>
                </c:pt>
                <c:pt idx="55428">
                  <c:v>0.98855002675227399</c:v>
                </c:pt>
                <c:pt idx="55429">
                  <c:v>0.98856786160156895</c:v>
                </c:pt>
                <c:pt idx="55430">
                  <c:v>0.98858569645086503</c:v>
                </c:pt>
                <c:pt idx="55431">
                  <c:v>0.98860353130015999</c:v>
                </c:pt>
                <c:pt idx="55432">
                  <c:v>0.98862136614945595</c:v>
                </c:pt>
                <c:pt idx="55433">
                  <c:v>0.98863920099875102</c:v>
                </c:pt>
                <c:pt idx="55434">
                  <c:v>0.98865703584804698</c:v>
                </c:pt>
                <c:pt idx="55435">
                  <c:v>0.98867487069734195</c:v>
                </c:pt>
                <c:pt idx="55436">
                  <c:v>0.98869270554663802</c:v>
                </c:pt>
                <c:pt idx="55437">
                  <c:v>0.98871054039593298</c:v>
                </c:pt>
                <c:pt idx="55438">
                  <c:v>0.98872837524522905</c:v>
                </c:pt>
                <c:pt idx="55439">
                  <c:v>0.98874621009452401</c:v>
                </c:pt>
                <c:pt idx="55440">
                  <c:v>0.98876404494381998</c:v>
                </c:pt>
                <c:pt idx="55441">
                  <c:v>0.98878187979311505</c:v>
                </c:pt>
                <c:pt idx="55442">
                  <c:v>0.98879971464241101</c:v>
                </c:pt>
                <c:pt idx="55443">
                  <c:v>0.98881754949170597</c:v>
                </c:pt>
                <c:pt idx="55444">
                  <c:v>0.98883538434100204</c:v>
                </c:pt>
                <c:pt idx="55445">
                  <c:v>0.98885321919029701</c:v>
                </c:pt>
                <c:pt idx="55446">
                  <c:v>0.98887105403959297</c:v>
                </c:pt>
                <c:pt idx="55447">
                  <c:v>0.98888888888888804</c:v>
                </c:pt>
                <c:pt idx="55448">
                  <c:v>0.988906723738184</c:v>
                </c:pt>
                <c:pt idx="55449">
                  <c:v>0.98892455858747996</c:v>
                </c:pt>
                <c:pt idx="55450">
                  <c:v>0.98894239343677504</c:v>
                </c:pt>
                <c:pt idx="55451">
                  <c:v>0.988960228286071</c:v>
                </c:pt>
                <c:pt idx="55452">
                  <c:v>0.98897806313536596</c:v>
                </c:pt>
                <c:pt idx="55453">
                  <c:v>0.98899589798466203</c:v>
                </c:pt>
                <c:pt idx="55454">
                  <c:v>0.98901373283395699</c:v>
                </c:pt>
                <c:pt idx="55455">
                  <c:v>0.98903156768325295</c:v>
                </c:pt>
                <c:pt idx="55456">
                  <c:v>0.98904940253254803</c:v>
                </c:pt>
                <c:pt idx="55457">
                  <c:v>0.98906723738184399</c:v>
                </c:pt>
                <c:pt idx="55458">
                  <c:v>0.98908507223113895</c:v>
                </c:pt>
                <c:pt idx="55459">
                  <c:v>0.98910290708043502</c:v>
                </c:pt>
                <c:pt idx="55460">
                  <c:v>0.98912074192972999</c:v>
                </c:pt>
                <c:pt idx="55461">
                  <c:v>0.98913857677902595</c:v>
                </c:pt>
                <c:pt idx="55462">
                  <c:v>0.98915641162832102</c:v>
                </c:pt>
                <c:pt idx="55463">
                  <c:v>0.98917424647761698</c:v>
                </c:pt>
                <c:pt idx="55464">
                  <c:v>0.98919208132691205</c:v>
                </c:pt>
                <c:pt idx="55465">
                  <c:v>0.98920991617620802</c:v>
                </c:pt>
                <c:pt idx="55466">
                  <c:v>0.98922775102550298</c:v>
                </c:pt>
                <c:pt idx="55467">
                  <c:v>0.98924558587479905</c:v>
                </c:pt>
                <c:pt idx="55468">
                  <c:v>0.98926342072409401</c:v>
                </c:pt>
                <c:pt idx="55469">
                  <c:v>0.98928125557338997</c:v>
                </c:pt>
                <c:pt idx="55470">
                  <c:v>0.98929909042268505</c:v>
                </c:pt>
                <c:pt idx="55471">
                  <c:v>0.98931692527198101</c:v>
                </c:pt>
                <c:pt idx="55472">
                  <c:v>0.98933476012127697</c:v>
                </c:pt>
                <c:pt idx="55473">
                  <c:v>0.98935259497057204</c:v>
                </c:pt>
                <c:pt idx="55474">
                  <c:v>0.989370429819868</c:v>
                </c:pt>
                <c:pt idx="55475">
                  <c:v>0.98938826466916296</c:v>
                </c:pt>
                <c:pt idx="55476">
                  <c:v>0.98940609951845904</c:v>
                </c:pt>
                <c:pt idx="55477">
                  <c:v>0.989423934367754</c:v>
                </c:pt>
                <c:pt idx="55478">
                  <c:v>0.98944176921704996</c:v>
                </c:pt>
                <c:pt idx="55479">
                  <c:v>0.98945960406634503</c:v>
                </c:pt>
                <c:pt idx="55480">
                  <c:v>0.98947743891564099</c:v>
                </c:pt>
                <c:pt idx="55481">
                  <c:v>0.98949527376493596</c:v>
                </c:pt>
                <c:pt idx="55482">
                  <c:v>0.98951310861423203</c:v>
                </c:pt>
                <c:pt idx="55483">
                  <c:v>0.98953094346352699</c:v>
                </c:pt>
                <c:pt idx="55484">
                  <c:v>0.98954877831282295</c:v>
                </c:pt>
                <c:pt idx="55485">
                  <c:v>0.98956661316211803</c:v>
                </c:pt>
                <c:pt idx="55486">
                  <c:v>0.98958444801141399</c:v>
                </c:pt>
                <c:pt idx="55487">
                  <c:v>0.98960228286070895</c:v>
                </c:pt>
                <c:pt idx="55488">
                  <c:v>0.98962011771000502</c:v>
                </c:pt>
                <c:pt idx="55489">
                  <c:v>0.98963795255929998</c:v>
                </c:pt>
                <c:pt idx="55490">
                  <c:v>0.98965578740859605</c:v>
                </c:pt>
                <c:pt idx="55491">
                  <c:v>0.98967362225789102</c:v>
                </c:pt>
                <c:pt idx="55492">
                  <c:v>0.98969145710718698</c:v>
                </c:pt>
                <c:pt idx="55493">
                  <c:v>0.98970929195648205</c:v>
                </c:pt>
                <c:pt idx="55494">
                  <c:v>0.98972712680577801</c:v>
                </c:pt>
                <c:pt idx="55495">
                  <c:v>0.98974496165507397</c:v>
                </c:pt>
                <c:pt idx="55496">
                  <c:v>0.98976279650436905</c:v>
                </c:pt>
                <c:pt idx="55497">
                  <c:v>0.98978063135366501</c:v>
                </c:pt>
                <c:pt idx="55498">
                  <c:v>0.98979846620295997</c:v>
                </c:pt>
                <c:pt idx="55499">
                  <c:v>0.98981630105225604</c:v>
                </c:pt>
                <c:pt idx="55500">
                  <c:v>0.989834135901551</c:v>
                </c:pt>
                <c:pt idx="55501">
                  <c:v>0.98985197075084697</c:v>
                </c:pt>
                <c:pt idx="55502">
                  <c:v>0.98986980560014204</c:v>
                </c:pt>
                <c:pt idx="55503">
                  <c:v>0.989887640449438</c:v>
                </c:pt>
                <c:pt idx="55504">
                  <c:v>0.98990547529873296</c:v>
                </c:pt>
                <c:pt idx="55505">
                  <c:v>0.98992331014802903</c:v>
                </c:pt>
                <c:pt idx="55506">
                  <c:v>0.989941144997324</c:v>
                </c:pt>
                <c:pt idx="55507">
                  <c:v>0.98995897984661996</c:v>
                </c:pt>
                <c:pt idx="55508">
                  <c:v>0.98997681469591503</c:v>
                </c:pt>
                <c:pt idx="55509">
                  <c:v>0.98999464954521099</c:v>
                </c:pt>
                <c:pt idx="55510">
                  <c:v>0.99001248439450595</c:v>
                </c:pt>
                <c:pt idx="55511">
                  <c:v>0.99003031924380203</c:v>
                </c:pt>
                <c:pt idx="55512">
                  <c:v>0.99004815409309699</c:v>
                </c:pt>
                <c:pt idx="55513">
                  <c:v>0.99006598894239295</c:v>
                </c:pt>
                <c:pt idx="55514">
                  <c:v>0.99008382379168802</c:v>
                </c:pt>
                <c:pt idx="55515">
                  <c:v>0.99010165864098398</c:v>
                </c:pt>
                <c:pt idx="55516">
                  <c:v>0.99011949349027994</c:v>
                </c:pt>
                <c:pt idx="55517">
                  <c:v>0.99013732833957502</c:v>
                </c:pt>
                <c:pt idx="55518">
                  <c:v>0.99015516318887098</c:v>
                </c:pt>
                <c:pt idx="55519">
                  <c:v>0.99017299803816605</c:v>
                </c:pt>
                <c:pt idx="55520">
                  <c:v>0.99019083288746201</c:v>
                </c:pt>
                <c:pt idx="55521">
                  <c:v>0.99020866773675698</c:v>
                </c:pt>
                <c:pt idx="55522">
                  <c:v>0.99022650258605305</c:v>
                </c:pt>
                <c:pt idx="55523">
                  <c:v>0.99024433743534801</c:v>
                </c:pt>
                <c:pt idx="55524">
                  <c:v>0.99026217228464397</c:v>
                </c:pt>
                <c:pt idx="55525">
                  <c:v>0.99028000713393904</c:v>
                </c:pt>
                <c:pt idx="55526">
                  <c:v>0.99029784198323501</c:v>
                </c:pt>
                <c:pt idx="55527">
                  <c:v>0.99031567683252997</c:v>
                </c:pt>
                <c:pt idx="55528">
                  <c:v>0.99033351168182604</c:v>
                </c:pt>
                <c:pt idx="55529">
                  <c:v>0.990351346531121</c:v>
                </c:pt>
                <c:pt idx="55530">
                  <c:v>0.99036918138041696</c:v>
                </c:pt>
                <c:pt idx="55531">
                  <c:v>0.99038701622971204</c:v>
                </c:pt>
                <c:pt idx="55532">
                  <c:v>0.990404851079008</c:v>
                </c:pt>
                <c:pt idx="55533">
                  <c:v>0.99042268592830396</c:v>
                </c:pt>
                <c:pt idx="55534">
                  <c:v>0.99044052077759903</c:v>
                </c:pt>
                <c:pt idx="55535">
                  <c:v>0.99045835562689499</c:v>
                </c:pt>
                <c:pt idx="55536">
                  <c:v>0.99047619047618995</c:v>
                </c:pt>
                <c:pt idx="55537">
                  <c:v>0.99049402532548603</c:v>
                </c:pt>
                <c:pt idx="55538">
                  <c:v>0.99051186017478099</c:v>
                </c:pt>
                <c:pt idx="55539">
                  <c:v>0.99052969502407695</c:v>
                </c:pt>
                <c:pt idx="55540">
                  <c:v>0.99054752987337202</c:v>
                </c:pt>
                <c:pt idx="55541">
                  <c:v>0.99056536472266798</c:v>
                </c:pt>
                <c:pt idx="55542">
                  <c:v>0.99058319957196295</c:v>
                </c:pt>
                <c:pt idx="55543">
                  <c:v>0.99060103442125902</c:v>
                </c:pt>
                <c:pt idx="55544">
                  <c:v>0.99061886927055398</c:v>
                </c:pt>
                <c:pt idx="55545">
                  <c:v>0.99063670411985005</c:v>
                </c:pt>
                <c:pt idx="55546">
                  <c:v>0.99065453896914502</c:v>
                </c:pt>
                <c:pt idx="55547">
                  <c:v>0.99067237381844098</c:v>
                </c:pt>
                <c:pt idx="55548">
                  <c:v>0.99069020866773605</c:v>
                </c:pt>
                <c:pt idx="55549">
                  <c:v>0.99070804351703201</c:v>
                </c:pt>
                <c:pt idx="55550">
                  <c:v>0.99072587836632697</c:v>
                </c:pt>
                <c:pt idx="55551">
                  <c:v>0.99074371321562305</c:v>
                </c:pt>
                <c:pt idx="55552">
                  <c:v>0.99076154806491801</c:v>
                </c:pt>
                <c:pt idx="55553">
                  <c:v>0.99077938291421397</c:v>
                </c:pt>
                <c:pt idx="55554">
                  <c:v>0.99079721776350904</c:v>
                </c:pt>
                <c:pt idx="55555">
                  <c:v>0.990815052612805</c:v>
                </c:pt>
                <c:pt idx="55556">
                  <c:v>0.99083288746210096</c:v>
                </c:pt>
                <c:pt idx="55557">
                  <c:v>0.99085072231139604</c:v>
                </c:pt>
                <c:pt idx="55558">
                  <c:v>0.990868557160692</c:v>
                </c:pt>
                <c:pt idx="55559">
                  <c:v>0.99088639200998696</c:v>
                </c:pt>
                <c:pt idx="55560">
                  <c:v>0.99090422685928303</c:v>
                </c:pt>
                <c:pt idx="55561">
                  <c:v>0.99092206170857799</c:v>
                </c:pt>
                <c:pt idx="55562">
                  <c:v>0.99093989655787396</c:v>
                </c:pt>
                <c:pt idx="55563">
                  <c:v>0.99095773140716903</c:v>
                </c:pt>
                <c:pt idx="55564">
                  <c:v>0.99097556625646499</c:v>
                </c:pt>
                <c:pt idx="55565">
                  <c:v>0.99099340110575995</c:v>
                </c:pt>
                <c:pt idx="55566">
                  <c:v>0.99101123595505602</c:v>
                </c:pt>
                <c:pt idx="55567">
                  <c:v>0.99102907080435099</c:v>
                </c:pt>
                <c:pt idx="55568">
                  <c:v>0.99104690565364695</c:v>
                </c:pt>
                <c:pt idx="55569">
                  <c:v>0.99106474050294202</c:v>
                </c:pt>
                <c:pt idx="55570">
                  <c:v>0.99108257535223798</c:v>
                </c:pt>
                <c:pt idx="55571">
                  <c:v>0.99110041020153306</c:v>
                </c:pt>
                <c:pt idx="55572">
                  <c:v>0.99111824505082902</c:v>
                </c:pt>
                <c:pt idx="55573">
                  <c:v>0.99113607990012398</c:v>
                </c:pt>
                <c:pt idx="55574">
                  <c:v>0.99115391474942005</c:v>
                </c:pt>
                <c:pt idx="55575">
                  <c:v>0.99117174959871501</c:v>
                </c:pt>
                <c:pt idx="55576">
                  <c:v>0.99118958444801097</c:v>
                </c:pt>
                <c:pt idx="55577">
                  <c:v>0.99120741929730605</c:v>
                </c:pt>
                <c:pt idx="55578">
                  <c:v>0.99122525414660201</c:v>
                </c:pt>
                <c:pt idx="55579">
                  <c:v>0.99124308899589797</c:v>
                </c:pt>
                <c:pt idx="55580">
                  <c:v>0.99126092384519304</c:v>
                </c:pt>
                <c:pt idx="55581">
                  <c:v>0.991278758694489</c:v>
                </c:pt>
                <c:pt idx="55582">
                  <c:v>0.99129659354378397</c:v>
                </c:pt>
                <c:pt idx="55583">
                  <c:v>0.99131442839308004</c:v>
                </c:pt>
                <c:pt idx="55584">
                  <c:v>0.991332263242375</c:v>
                </c:pt>
                <c:pt idx="55585">
                  <c:v>0.99135009809167096</c:v>
                </c:pt>
                <c:pt idx="55586">
                  <c:v>0.99136793294096603</c:v>
                </c:pt>
                <c:pt idx="55587">
                  <c:v>0.991385767790262</c:v>
                </c:pt>
                <c:pt idx="55588">
                  <c:v>0.99140360263955696</c:v>
                </c:pt>
                <c:pt idx="55589">
                  <c:v>0.99142143748885303</c:v>
                </c:pt>
                <c:pt idx="55590">
                  <c:v>0.99143927233814799</c:v>
                </c:pt>
                <c:pt idx="55591">
                  <c:v>0.99145710718744395</c:v>
                </c:pt>
                <c:pt idx="55592">
                  <c:v>0.99147494203673903</c:v>
                </c:pt>
                <c:pt idx="55593">
                  <c:v>0.99149277688603499</c:v>
                </c:pt>
                <c:pt idx="55594">
                  <c:v>0.99151061173532995</c:v>
                </c:pt>
                <c:pt idx="55595">
                  <c:v>0.99152844658462602</c:v>
                </c:pt>
                <c:pt idx="55596">
                  <c:v>0.99154628143392098</c:v>
                </c:pt>
                <c:pt idx="55597">
                  <c:v>0.99156411628321695</c:v>
                </c:pt>
                <c:pt idx="55598">
                  <c:v>0.99158195113251202</c:v>
                </c:pt>
                <c:pt idx="55599">
                  <c:v>0.99159978598180798</c:v>
                </c:pt>
                <c:pt idx="55600">
                  <c:v>0.99161762083110305</c:v>
                </c:pt>
                <c:pt idx="55601">
                  <c:v>0.99163545568039901</c:v>
                </c:pt>
                <c:pt idx="55602">
                  <c:v>0.99165329052969498</c:v>
                </c:pt>
                <c:pt idx="55603">
                  <c:v>0.99167112537899005</c:v>
                </c:pt>
                <c:pt idx="55604">
                  <c:v>0.99168896022828601</c:v>
                </c:pt>
                <c:pt idx="55605">
                  <c:v>0.99170679507758097</c:v>
                </c:pt>
                <c:pt idx="55606">
                  <c:v>0.99172462992687704</c:v>
                </c:pt>
                <c:pt idx="55607">
                  <c:v>0.99174246477617201</c:v>
                </c:pt>
                <c:pt idx="55608">
                  <c:v>0.99176029962546797</c:v>
                </c:pt>
                <c:pt idx="55609">
                  <c:v>0.99177813447476304</c:v>
                </c:pt>
                <c:pt idx="55610">
                  <c:v>0.991795969324059</c:v>
                </c:pt>
                <c:pt idx="55611">
                  <c:v>0.99181380417335396</c:v>
                </c:pt>
                <c:pt idx="55612">
                  <c:v>0.99183163902265004</c:v>
                </c:pt>
                <c:pt idx="55613">
                  <c:v>0.991849473871945</c:v>
                </c:pt>
                <c:pt idx="55614">
                  <c:v>0.99186730872124096</c:v>
                </c:pt>
                <c:pt idx="55615">
                  <c:v>0.99188514357053603</c:v>
                </c:pt>
                <c:pt idx="55616">
                  <c:v>0.99190297841983199</c:v>
                </c:pt>
                <c:pt idx="55617">
                  <c:v>0.99192081326912696</c:v>
                </c:pt>
                <c:pt idx="55618">
                  <c:v>0.99193864811842303</c:v>
                </c:pt>
                <c:pt idx="55619">
                  <c:v>0.99195648296771799</c:v>
                </c:pt>
                <c:pt idx="55620">
                  <c:v>0.99197431781701395</c:v>
                </c:pt>
                <c:pt idx="55621">
                  <c:v>0.99199215266631002</c:v>
                </c:pt>
                <c:pt idx="55622">
                  <c:v>0.99200998751560499</c:v>
                </c:pt>
                <c:pt idx="55623">
                  <c:v>0.99202782236490095</c:v>
                </c:pt>
                <c:pt idx="55624">
                  <c:v>0.99204565721419602</c:v>
                </c:pt>
                <c:pt idx="55625">
                  <c:v>0.99206349206349198</c:v>
                </c:pt>
                <c:pt idx="55626">
                  <c:v>0.99208132691278705</c:v>
                </c:pt>
                <c:pt idx="55627">
                  <c:v>0.99209916176208301</c:v>
                </c:pt>
                <c:pt idx="55628">
                  <c:v>0.99211699661137798</c:v>
                </c:pt>
                <c:pt idx="55629">
                  <c:v>0.99213483146067405</c:v>
                </c:pt>
                <c:pt idx="55630">
                  <c:v>0.99215266630996901</c:v>
                </c:pt>
                <c:pt idx="55631">
                  <c:v>0.99217050115926497</c:v>
                </c:pt>
                <c:pt idx="55632">
                  <c:v>0.99218833600856005</c:v>
                </c:pt>
                <c:pt idx="55633">
                  <c:v>0.99220617085785601</c:v>
                </c:pt>
                <c:pt idx="55634">
                  <c:v>0.99222400570715097</c:v>
                </c:pt>
                <c:pt idx="55635">
                  <c:v>0.99224184055644704</c:v>
                </c:pt>
                <c:pt idx="55636">
                  <c:v>0.992259675405742</c:v>
                </c:pt>
                <c:pt idx="55637">
                  <c:v>0.99227751025503796</c:v>
                </c:pt>
                <c:pt idx="55638">
                  <c:v>0.99229534510433304</c:v>
                </c:pt>
                <c:pt idx="55639">
                  <c:v>0.992313179953629</c:v>
                </c:pt>
                <c:pt idx="55640">
                  <c:v>0.99233101480292496</c:v>
                </c:pt>
                <c:pt idx="55641">
                  <c:v>0.99234884965222003</c:v>
                </c:pt>
                <c:pt idx="55642">
                  <c:v>0.99236668450151599</c:v>
                </c:pt>
                <c:pt idx="55643">
                  <c:v>0.99238451935081096</c:v>
                </c:pt>
                <c:pt idx="55644">
                  <c:v>0.99240235420010703</c:v>
                </c:pt>
                <c:pt idx="55645">
                  <c:v>0.99242018904940199</c:v>
                </c:pt>
                <c:pt idx="55646">
                  <c:v>0.99243802389869795</c:v>
                </c:pt>
                <c:pt idx="55647">
                  <c:v>0.99245585874799302</c:v>
                </c:pt>
                <c:pt idx="55648">
                  <c:v>0.99247369359728899</c:v>
                </c:pt>
                <c:pt idx="55649">
                  <c:v>0.99249152844658395</c:v>
                </c:pt>
                <c:pt idx="55650">
                  <c:v>0.99250936329588002</c:v>
                </c:pt>
                <c:pt idx="55651">
                  <c:v>0.99252719814517498</c:v>
                </c:pt>
                <c:pt idx="55652">
                  <c:v>0.99254503299447105</c:v>
                </c:pt>
                <c:pt idx="55653">
                  <c:v>0.99256286784376602</c:v>
                </c:pt>
                <c:pt idx="55654">
                  <c:v>0.99258070269306198</c:v>
                </c:pt>
                <c:pt idx="55655">
                  <c:v>0.99259853754235705</c:v>
                </c:pt>
                <c:pt idx="55656">
                  <c:v>0.99261637239165301</c:v>
                </c:pt>
                <c:pt idx="55657">
                  <c:v>0.99263420724094797</c:v>
                </c:pt>
                <c:pt idx="55658">
                  <c:v>0.99265204209024405</c:v>
                </c:pt>
                <c:pt idx="55659">
                  <c:v>0.99266987693953901</c:v>
                </c:pt>
                <c:pt idx="55660">
                  <c:v>0.99268771178883497</c:v>
                </c:pt>
                <c:pt idx="55661">
                  <c:v>0.99270554663813004</c:v>
                </c:pt>
                <c:pt idx="55662">
                  <c:v>0.992723381487426</c:v>
                </c:pt>
                <c:pt idx="55663">
                  <c:v>0.99274121633672197</c:v>
                </c:pt>
                <c:pt idx="55664">
                  <c:v>0.99275905118601704</c:v>
                </c:pt>
                <c:pt idx="55665">
                  <c:v>0.992776886035313</c:v>
                </c:pt>
                <c:pt idx="55666">
                  <c:v>0.99279472088460796</c:v>
                </c:pt>
                <c:pt idx="55667">
                  <c:v>0.99281255573390403</c:v>
                </c:pt>
                <c:pt idx="55668">
                  <c:v>0.992830390583199</c:v>
                </c:pt>
                <c:pt idx="55669">
                  <c:v>0.99284822543249496</c:v>
                </c:pt>
                <c:pt idx="55670">
                  <c:v>0.99286606028179003</c:v>
                </c:pt>
                <c:pt idx="55671">
                  <c:v>0.99288389513108599</c:v>
                </c:pt>
                <c:pt idx="55672">
                  <c:v>0.99290172998038095</c:v>
                </c:pt>
                <c:pt idx="55673">
                  <c:v>0.99291956482967703</c:v>
                </c:pt>
                <c:pt idx="55674">
                  <c:v>0.99293739967897199</c:v>
                </c:pt>
                <c:pt idx="55675">
                  <c:v>0.99295523452826795</c:v>
                </c:pt>
                <c:pt idx="55676">
                  <c:v>0.99297306937756302</c:v>
                </c:pt>
                <c:pt idx="55677">
                  <c:v>0.99299090422685898</c:v>
                </c:pt>
                <c:pt idx="55678">
                  <c:v>0.99300873907615395</c:v>
                </c:pt>
                <c:pt idx="55679">
                  <c:v>0.99302657392545002</c:v>
                </c:pt>
                <c:pt idx="55680">
                  <c:v>0.99304440877474498</c:v>
                </c:pt>
                <c:pt idx="55681">
                  <c:v>0.99306224362404105</c:v>
                </c:pt>
                <c:pt idx="55682">
                  <c:v>0.99308007847333601</c:v>
                </c:pt>
                <c:pt idx="55683">
                  <c:v>0.99309791332263198</c:v>
                </c:pt>
                <c:pt idx="55684">
                  <c:v>0.99311574817192705</c:v>
                </c:pt>
                <c:pt idx="55685">
                  <c:v>0.99313358302122301</c:v>
                </c:pt>
                <c:pt idx="55686">
                  <c:v>0.99315141787051897</c:v>
                </c:pt>
                <c:pt idx="55687">
                  <c:v>0.99316925271981404</c:v>
                </c:pt>
                <c:pt idx="55688">
                  <c:v>0.99318708756911001</c:v>
                </c:pt>
                <c:pt idx="55689">
                  <c:v>0.99320492241840497</c:v>
                </c:pt>
                <c:pt idx="55690">
                  <c:v>0.99322275726770104</c:v>
                </c:pt>
                <c:pt idx="55691">
                  <c:v>0.993240592116996</c:v>
                </c:pt>
                <c:pt idx="55692">
                  <c:v>0.99325842696629196</c:v>
                </c:pt>
                <c:pt idx="55693">
                  <c:v>0.99327626181558704</c:v>
                </c:pt>
                <c:pt idx="55694">
                  <c:v>0.993294096664883</c:v>
                </c:pt>
                <c:pt idx="55695">
                  <c:v>0.99331193151417796</c:v>
                </c:pt>
                <c:pt idx="55696">
                  <c:v>0.99332976636347403</c:v>
                </c:pt>
                <c:pt idx="55697">
                  <c:v>0.99334760121276899</c:v>
                </c:pt>
                <c:pt idx="55698">
                  <c:v>0.99336543606206495</c:v>
                </c:pt>
                <c:pt idx="55699">
                  <c:v>0.99338327091136003</c:v>
                </c:pt>
                <c:pt idx="55700">
                  <c:v>0.99340110576065599</c:v>
                </c:pt>
                <c:pt idx="55701">
                  <c:v>0.99341894060995095</c:v>
                </c:pt>
                <c:pt idx="55702">
                  <c:v>0.99343677545924702</c:v>
                </c:pt>
                <c:pt idx="55703">
                  <c:v>0.99345461030854199</c:v>
                </c:pt>
                <c:pt idx="55704">
                  <c:v>0.99347244515783795</c:v>
                </c:pt>
                <c:pt idx="55705">
                  <c:v>0.99349028000713302</c:v>
                </c:pt>
                <c:pt idx="55706">
                  <c:v>0.99350811485642898</c:v>
                </c:pt>
                <c:pt idx="55707">
                  <c:v>0.99352594970572405</c:v>
                </c:pt>
                <c:pt idx="55708">
                  <c:v>0.99354378455502002</c:v>
                </c:pt>
                <c:pt idx="55709">
                  <c:v>0.99356161940431598</c:v>
                </c:pt>
                <c:pt idx="55710">
                  <c:v>0.99357945425361105</c:v>
                </c:pt>
                <c:pt idx="55711">
                  <c:v>0.99359728910290701</c:v>
                </c:pt>
                <c:pt idx="55712">
                  <c:v>0.99361512395220197</c:v>
                </c:pt>
                <c:pt idx="55713">
                  <c:v>0.99363295880149805</c:v>
                </c:pt>
                <c:pt idx="55714">
                  <c:v>0.99365079365079301</c:v>
                </c:pt>
                <c:pt idx="55715">
                  <c:v>0.99366862850008897</c:v>
                </c:pt>
                <c:pt idx="55716">
                  <c:v>0.99368646334938404</c:v>
                </c:pt>
                <c:pt idx="55717">
                  <c:v>0.99370429819868</c:v>
                </c:pt>
                <c:pt idx="55718">
                  <c:v>0.99372213304797496</c:v>
                </c:pt>
                <c:pt idx="55719">
                  <c:v>0.99373996789727104</c:v>
                </c:pt>
                <c:pt idx="55720">
                  <c:v>0.993757802746566</c:v>
                </c:pt>
                <c:pt idx="55721">
                  <c:v>0.99377563759586196</c:v>
                </c:pt>
                <c:pt idx="55722">
                  <c:v>0.99379347244515703</c:v>
                </c:pt>
                <c:pt idx="55723">
                  <c:v>0.99381130729445299</c:v>
                </c:pt>
                <c:pt idx="55724">
                  <c:v>0.99382914214374796</c:v>
                </c:pt>
                <c:pt idx="55725">
                  <c:v>0.99384697699304403</c:v>
                </c:pt>
                <c:pt idx="55726">
                  <c:v>0.99386481184233899</c:v>
                </c:pt>
                <c:pt idx="55727">
                  <c:v>0.99388264669163495</c:v>
                </c:pt>
                <c:pt idx="55728">
                  <c:v>0.99390048154093102</c:v>
                </c:pt>
                <c:pt idx="55729">
                  <c:v>0.99391831639022599</c:v>
                </c:pt>
                <c:pt idx="55730">
                  <c:v>0.99393615123952195</c:v>
                </c:pt>
                <c:pt idx="55731">
                  <c:v>0.99395398608881702</c:v>
                </c:pt>
                <c:pt idx="55732">
                  <c:v>0.99397182093811298</c:v>
                </c:pt>
                <c:pt idx="55733">
                  <c:v>0.99398965578740806</c:v>
                </c:pt>
                <c:pt idx="55734">
                  <c:v>0.99400749063670402</c:v>
                </c:pt>
                <c:pt idx="55735">
                  <c:v>0.99402532548599898</c:v>
                </c:pt>
                <c:pt idx="55736">
                  <c:v>0.99404316033529505</c:v>
                </c:pt>
                <c:pt idx="55737">
                  <c:v>0.99406099518459001</c:v>
                </c:pt>
                <c:pt idx="55738">
                  <c:v>0.99407883003388597</c:v>
                </c:pt>
                <c:pt idx="55739">
                  <c:v>0.99409666488318105</c:v>
                </c:pt>
                <c:pt idx="55740">
                  <c:v>0.99411449973247701</c:v>
                </c:pt>
                <c:pt idx="55741">
                  <c:v>0.99413233458177197</c:v>
                </c:pt>
                <c:pt idx="55742">
                  <c:v>0.99415016943106804</c:v>
                </c:pt>
                <c:pt idx="55743">
                  <c:v>0.994168004280363</c:v>
                </c:pt>
                <c:pt idx="55744">
                  <c:v>0.99418583912965897</c:v>
                </c:pt>
                <c:pt idx="55745">
                  <c:v>0.99420367397895404</c:v>
                </c:pt>
                <c:pt idx="55746">
                  <c:v>0.99422150882825</c:v>
                </c:pt>
                <c:pt idx="55747">
                  <c:v>0.99423934367754596</c:v>
                </c:pt>
                <c:pt idx="55748">
                  <c:v>0.99425717852684103</c:v>
                </c:pt>
                <c:pt idx="55749">
                  <c:v>0.994275013376137</c:v>
                </c:pt>
                <c:pt idx="55750">
                  <c:v>0.99429284822543196</c:v>
                </c:pt>
                <c:pt idx="55751">
                  <c:v>0.99431068307472803</c:v>
                </c:pt>
                <c:pt idx="55752">
                  <c:v>0.99432851792402299</c:v>
                </c:pt>
                <c:pt idx="55753">
                  <c:v>0.99434635277331895</c:v>
                </c:pt>
                <c:pt idx="55754">
                  <c:v>0.99436418762261403</c:v>
                </c:pt>
                <c:pt idx="55755">
                  <c:v>0.99438202247190999</c:v>
                </c:pt>
                <c:pt idx="55756">
                  <c:v>0.99439985732120495</c:v>
                </c:pt>
                <c:pt idx="55757">
                  <c:v>0.99441769217050102</c:v>
                </c:pt>
                <c:pt idx="55758">
                  <c:v>0.99443552701979598</c:v>
                </c:pt>
                <c:pt idx="55759">
                  <c:v>0.99445336186909195</c:v>
                </c:pt>
                <c:pt idx="55760">
                  <c:v>0.99447119671838702</c:v>
                </c:pt>
                <c:pt idx="55761">
                  <c:v>0.99448903156768298</c:v>
                </c:pt>
                <c:pt idx="55762">
                  <c:v>0.99450686641697805</c:v>
                </c:pt>
                <c:pt idx="55763">
                  <c:v>0.99452470126627401</c:v>
                </c:pt>
                <c:pt idx="55764">
                  <c:v>0.99454253611556898</c:v>
                </c:pt>
                <c:pt idx="55765">
                  <c:v>0.99456037096486505</c:v>
                </c:pt>
                <c:pt idx="55766">
                  <c:v>0.99457820581416001</c:v>
                </c:pt>
                <c:pt idx="55767">
                  <c:v>0.99459604066345597</c:v>
                </c:pt>
                <c:pt idx="55768">
                  <c:v>0.99461387551275104</c:v>
                </c:pt>
                <c:pt idx="55769">
                  <c:v>0.99463171036204701</c:v>
                </c:pt>
                <c:pt idx="55770">
                  <c:v>0.99464954521134297</c:v>
                </c:pt>
                <c:pt idx="55771">
                  <c:v>0.99466738006063804</c:v>
                </c:pt>
                <c:pt idx="55772">
                  <c:v>0.994685214909934</c:v>
                </c:pt>
                <c:pt idx="55773">
                  <c:v>0.99470304975922896</c:v>
                </c:pt>
                <c:pt idx="55774">
                  <c:v>0.99472088460852504</c:v>
                </c:pt>
                <c:pt idx="55775">
                  <c:v>0.99473871945782</c:v>
                </c:pt>
                <c:pt idx="55776">
                  <c:v>0.99475655430711596</c:v>
                </c:pt>
                <c:pt idx="55777">
                  <c:v>0.99477438915641103</c:v>
                </c:pt>
                <c:pt idx="55778">
                  <c:v>0.99479222400570699</c:v>
                </c:pt>
                <c:pt idx="55779">
                  <c:v>0.99481005885500196</c:v>
                </c:pt>
                <c:pt idx="55780">
                  <c:v>0.99482789370429803</c:v>
                </c:pt>
                <c:pt idx="55781">
                  <c:v>0.99484572855359299</c:v>
                </c:pt>
                <c:pt idx="55782">
                  <c:v>0.99486356340288895</c:v>
                </c:pt>
                <c:pt idx="55783">
                  <c:v>0.99488139825218402</c:v>
                </c:pt>
                <c:pt idx="55784">
                  <c:v>0.99489923310147999</c:v>
                </c:pt>
                <c:pt idx="55785">
                  <c:v>0.99491706795077495</c:v>
                </c:pt>
                <c:pt idx="55786">
                  <c:v>0.99493490280007102</c:v>
                </c:pt>
                <c:pt idx="55787">
                  <c:v>0.99495273764936598</c:v>
                </c:pt>
                <c:pt idx="55788">
                  <c:v>0.99497057249866205</c:v>
                </c:pt>
                <c:pt idx="55789">
                  <c:v>0.99498840734795702</c:v>
                </c:pt>
                <c:pt idx="55790">
                  <c:v>0.99500624219725298</c:v>
                </c:pt>
                <c:pt idx="55791">
                  <c:v>0.99502407704654805</c:v>
                </c:pt>
                <c:pt idx="55792">
                  <c:v>0.99504191189584401</c:v>
                </c:pt>
                <c:pt idx="55793">
                  <c:v>0.99505974674513997</c:v>
                </c:pt>
                <c:pt idx="55794">
                  <c:v>0.99507758159443505</c:v>
                </c:pt>
                <c:pt idx="55795">
                  <c:v>0.99509541644373101</c:v>
                </c:pt>
                <c:pt idx="55796">
                  <c:v>0.99511325129302597</c:v>
                </c:pt>
                <c:pt idx="55797">
                  <c:v>0.99513108614232204</c:v>
                </c:pt>
                <c:pt idx="55798">
                  <c:v>0.995148920991617</c:v>
                </c:pt>
                <c:pt idx="55799">
                  <c:v>0.99516675584091296</c:v>
                </c:pt>
                <c:pt idx="55800">
                  <c:v>0.99518459069020804</c:v>
                </c:pt>
                <c:pt idx="55801">
                  <c:v>0.995202425539504</c:v>
                </c:pt>
                <c:pt idx="55802">
                  <c:v>0.99522026038879896</c:v>
                </c:pt>
                <c:pt idx="55803">
                  <c:v>0.99523809523809503</c:v>
                </c:pt>
                <c:pt idx="55804">
                  <c:v>0.99525593008739</c:v>
                </c:pt>
                <c:pt idx="55805">
                  <c:v>0.99527376493668596</c:v>
                </c:pt>
                <c:pt idx="55806">
                  <c:v>0.99529159978598103</c:v>
                </c:pt>
                <c:pt idx="55807">
                  <c:v>0.99530943463527699</c:v>
                </c:pt>
                <c:pt idx="55808">
                  <c:v>0.99532726948457195</c:v>
                </c:pt>
                <c:pt idx="55809">
                  <c:v>0.99534510433386802</c:v>
                </c:pt>
                <c:pt idx="55810">
                  <c:v>0.99536293918316299</c:v>
                </c:pt>
                <c:pt idx="55811">
                  <c:v>0.99538077403245895</c:v>
                </c:pt>
                <c:pt idx="55812">
                  <c:v>0.99539860888175402</c:v>
                </c:pt>
                <c:pt idx="55813">
                  <c:v>0.99541644373104998</c:v>
                </c:pt>
                <c:pt idx="55814">
                  <c:v>0.99543427858034494</c:v>
                </c:pt>
                <c:pt idx="55815">
                  <c:v>0.99545211342964102</c:v>
                </c:pt>
                <c:pt idx="55816">
                  <c:v>0.99546994827893698</c:v>
                </c:pt>
                <c:pt idx="55817">
                  <c:v>0.99548778312823205</c:v>
                </c:pt>
                <c:pt idx="55818">
                  <c:v>0.99550561797752801</c:v>
                </c:pt>
                <c:pt idx="55819">
                  <c:v>0.99552345282682297</c:v>
                </c:pt>
                <c:pt idx="55820">
                  <c:v>0.99554128767611905</c:v>
                </c:pt>
                <c:pt idx="55821">
                  <c:v>0.99555912252541401</c:v>
                </c:pt>
                <c:pt idx="55822">
                  <c:v>0.99557695737470997</c:v>
                </c:pt>
                <c:pt idx="55823">
                  <c:v>0.99559479222400504</c:v>
                </c:pt>
                <c:pt idx="55824">
                  <c:v>0.995612627073301</c:v>
                </c:pt>
                <c:pt idx="55825">
                  <c:v>0.99563046192259597</c:v>
                </c:pt>
                <c:pt idx="55826">
                  <c:v>0.99564829677189204</c:v>
                </c:pt>
                <c:pt idx="55827">
                  <c:v>0.995666131621187</c:v>
                </c:pt>
                <c:pt idx="55828">
                  <c:v>0.99568396647048296</c:v>
                </c:pt>
                <c:pt idx="55829">
                  <c:v>0.99570180131977803</c:v>
                </c:pt>
                <c:pt idx="55830">
                  <c:v>0.995719636169074</c:v>
                </c:pt>
                <c:pt idx="55831">
                  <c:v>0.99573747101836896</c:v>
                </c:pt>
                <c:pt idx="55832">
                  <c:v>0.99575530586766503</c:v>
                </c:pt>
                <c:pt idx="55833">
                  <c:v>0.99577314071696099</c:v>
                </c:pt>
                <c:pt idx="55834">
                  <c:v>0.99579097556625595</c:v>
                </c:pt>
                <c:pt idx="55835">
                  <c:v>0.99580881041555203</c:v>
                </c:pt>
                <c:pt idx="55836">
                  <c:v>0.99582664526484699</c:v>
                </c:pt>
                <c:pt idx="55837">
                  <c:v>0.99584448011414295</c:v>
                </c:pt>
                <c:pt idx="55838">
                  <c:v>0.99586231496343802</c:v>
                </c:pt>
                <c:pt idx="55839">
                  <c:v>0.99588014981273398</c:v>
                </c:pt>
                <c:pt idx="55840">
                  <c:v>0.99589798466202895</c:v>
                </c:pt>
                <c:pt idx="55841">
                  <c:v>0.99591581951132502</c:v>
                </c:pt>
                <c:pt idx="55842">
                  <c:v>0.99593365436061998</c:v>
                </c:pt>
                <c:pt idx="55843">
                  <c:v>0.99595148920991605</c:v>
                </c:pt>
                <c:pt idx="55844">
                  <c:v>0.99596932405921101</c:v>
                </c:pt>
                <c:pt idx="55845">
                  <c:v>0.99598715890850698</c:v>
                </c:pt>
                <c:pt idx="55846">
                  <c:v>0.99600499375780205</c:v>
                </c:pt>
                <c:pt idx="55847">
                  <c:v>0.99602282860709801</c:v>
                </c:pt>
                <c:pt idx="55848">
                  <c:v>0.99604066345639297</c:v>
                </c:pt>
                <c:pt idx="55849">
                  <c:v>0.99605849830568904</c:v>
                </c:pt>
                <c:pt idx="55850">
                  <c:v>0.99607633315498401</c:v>
                </c:pt>
                <c:pt idx="55851">
                  <c:v>0.99609416800427997</c:v>
                </c:pt>
                <c:pt idx="55852">
                  <c:v>0.99611200285357504</c:v>
                </c:pt>
                <c:pt idx="55853">
                  <c:v>0.996129837702871</c:v>
                </c:pt>
                <c:pt idx="55854">
                  <c:v>0.99614767255216696</c:v>
                </c:pt>
                <c:pt idx="55855">
                  <c:v>0.99616550740146204</c:v>
                </c:pt>
                <c:pt idx="55856">
                  <c:v>0.996183342250758</c:v>
                </c:pt>
                <c:pt idx="55857">
                  <c:v>0.99620117710005296</c:v>
                </c:pt>
                <c:pt idx="55858">
                  <c:v>0.99621901194934903</c:v>
                </c:pt>
                <c:pt idx="55859">
                  <c:v>0.99623684679864399</c:v>
                </c:pt>
                <c:pt idx="55860">
                  <c:v>0.99625468164793995</c:v>
                </c:pt>
                <c:pt idx="55861">
                  <c:v>0.99627251649723503</c:v>
                </c:pt>
                <c:pt idx="55862">
                  <c:v>0.99629035134653099</c:v>
                </c:pt>
                <c:pt idx="55863">
                  <c:v>0.99630818619582595</c:v>
                </c:pt>
                <c:pt idx="55864">
                  <c:v>0.99632602104512202</c:v>
                </c:pt>
                <c:pt idx="55865">
                  <c:v>0.99634385589441699</c:v>
                </c:pt>
                <c:pt idx="55866">
                  <c:v>0.99636169074371295</c:v>
                </c:pt>
                <c:pt idx="55867">
                  <c:v>0.99637952559300802</c:v>
                </c:pt>
                <c:pt idx="55868">
                  <c:v>0.99639736044230398</c:v>
                </c:pt>
                <c:pt idx="55869">
                  <c:v>0.99641519529159905</c:v>
                </c:pt>
                <c:pt idx="55870">
                  <c:v>0.99643303014089502</c:v>
                </c:pt>
                <c:pt idx="55871">
                  <c:v>0.99645086499018998</c:v>
                </c:pt>
                <c:pt idx="55872">
                  <c:v>0.99646869983948605</c:v>
                </c:pt>
                <c:pt idx="55873">
                  <c:v>0.99648653468878101</c:v>
                </c:pt>
                <c:pt idx="55874">
                  <c:v>0.99650436953807697</c:v>
                </c:pt>
                <c:pt idx="55875">
                  <c:v>0.99652220438737205</c:v>
                </c:pt>
                <c:pt idx="55876">
                  <c:v>0.99654003923666801</c:v>
                </c:pt>
                <c:pt idx="55877">
                  <c:v>0.99655787408596397</c:v>
                </c:pt>
                <c:pt idx="55878">
                  <c:v>0.99657570893525904</c:v>
                </c:pt>
                <c:pt idx="55879">
                  <c:v>0.996593543784555</c:v>
                </c:pt>
                <c:pt idx="55880">
                  <c:v>0.99661137863384996</c:v>
                </c:pt>
                <c:pt idx="55881">
                  <c:v>0.99662921348314604</c:v>
                </c:pt>
                <c:pt idx="55882">
                  <c:v>0.996647048332441</c:v>
                </c:pt>
                <c:pt idx="55883">
                  <c:v>0.99666488318173696</c:v>
                </c:pt>
                <c:pt idx="55884">
                  <c:v>0.99668271803103203</c:v>
                </c:pt>
                <c:pt idx="55885">
                  <c:v>0.99670055288032799</c:v>
                </c:pt>
                <c:pt idx="55886">
                  <c:v>0.99671838772962296</c:v>
                </c:pt>
                <c:pt idx="55887">
                  <c:v>0.99673622257891903</c:v>
                </c:pt>
                <c:pt idx="55888">
                  <c:v>0.99675405742821399</c:v>
                </c:pt>
                <c:pt idx="55889">
                  <c:v>0.99677189227750995</c:v>
                </c:pt>
                <c:pt idx="55890">
                  <c:v>0.99678972712680503</c:v>
                </c:pt>
                <c:pt idx="55891">
                  <c:v>0.99680756197610099</c:v>
                </c:pt>
                <c:pt idx="55892">
                  <c:v>0.99682539682539595</c:v>
                </c:pt>
                <c:pt idx="55893">
                  <c:v>0.99684323167469202</c:v>
                </c:pt>
                <c:pt idx="55894">
                  <c:v>0.99686106652398698</c:v>
                </c:pt>
                <c:pt idx="55895">
                  <c:v>0.99687890137328306</c:v>
                </c:pt>
                <c:pt idx="55896">
                  <c:v>0.99689673622257802</c:v>
                </c:pt>
                <c:pt idx="55897">
                  <c:v>0.99691457107187398</c:v>
                </c:pt>
                <c:pt idx="55898">
                  <c:v>0.99693240592116905</c:v>
                </c:pt>
                <c:pt idx="55899">
                  <c:v>0.99695024077046501</c:v>
                </c:pt>
                <c:pt idx="55900">
                  <c:v>0.99696807561976097</c:v>
                </c:pt>
                <c:pt idx="55901">
                  <c:v>0.99698591046905605</c:v>
                </c:pt>
                <c:pt idx="55902">
                  <c:v>0.99700374531835201</c:v>
                </c:pt>
                <c:pt idx="55903">
                  <c:v>0.99702158016764697</c:v>
                </c:pt>
                <c:pt idx="55904">
                  <c:v>0.99703941501694304</c:v>
                </c:pt>
                <c:pt idx="55905">
                  <c:v>0.997057249866238</c:v>
                </c:pt>
                <c:pt idx="55906">
                  <c:v>0.99707508471553397</c:v>
                </c:pt>
                <c:pt idx="55907">
                  <c:v>0.99709291956482904</c:v>
                </c:pt>
                <c:pt idx="55908">
                  <c:v>0.997110754414125</c:v>
                </c:pt>
                <c:pt idx="55909">
                  <c:v>0.99712858926341996</c:v>
                </c:pt>
                <c:pt idx="55910">
                  <c:v>0.99714642411271603</c:v>
                </c:pt>
                <c:pt idx="55911">
                  <c:v>0.997164258962011</c:v>
                </c:pt>
                <c:pt idx="55912">
                  <c:v>0.99718209381130696</c:v>
                </c:pt>
                <c:pt idx="55913">
                  <c:v>0.99719992866060203</c:v>
                </c:pt>
                <c:pt idx="55914">
                  <c:v>0.99721776350989799</c:v>
                </c:pt>
                <c:pt idx="55915">
                  <c:v>0.99723559835919295</c:v>
                </c:pt>
                <c:pt idx="55916">
                  <c:v>0.99725343320848903</c:v>
                </c:pt>
                <c:pt idx="55917">
                  <c:v>0.99727126805778399</c:v>
                </c:pt>
                <c:pt idx="55918">
                  <c:v>0.99728910290707995</c:v>
                </c:pt>
                <c:pt idx="55919">
                  <c:v>0.99730693775637502</c:v>
                </c:pt>
                <c:pt idx="55920">
                  <c:v>0.99732477260567098</c:v>
                </c:pt>
                <c:pt idx="55921">
                  <c:v>0.99734260745496695</c:v>
                </c:pt>
                <c:pt idx="55922">
                  <c:v>0.99736044230426202</c:v>
                </c:pt>
                <c:pt idx="55923">
                  <c:v>0.99737827715355798</c:v>
                </c:pt>
                <c:pt idx="55924">
                  <c:v>0.99739611200285305</c:v>
                </c:pt>
                <c:pt idx="55925">
                  <c:v>0.99741394685214901</c:v>
                </c:pt>
                <c:pt idx="55926">
                  <c:v>0.99743178170144398</c:v>
                </c:pt>
                <c:pt idx="55927">
                  <c:v>0.99744961655074005</c:v>
                </c:pt>
                <c:pt idx="55928">
                  <c:v>0.99746745140003501</c:v>
                </c:pt>
                <c:pt idx="55929">
                  <c:v>0.99748528624933097</c:v>
                </c:pt>
                <c:pt idx="55930">
                  <c:v>0.99750312109862604</c:v>
                </c:pt>
                <c:pt idx="55931">
                  <c:v>0.99752095594792201</c:v>
                </c:pt>
                <c:pt idx="55932">
                  <c:v>0.99753879079721697</c:v>
                </c:pt>
                <c:pt idx="55933">
                  <c:v>0.99755662564651304</c:v>
                </c:pt>
                <c:pt idx="55934">
                  <c:v>0.997574460495808</c:v>
                </c:pt>
                <c:pt idx="55935">
                  <c:v>0.99759229534510396</c:v>
                </c:pt>
                <c:pt idx="55936">
                  <c:v>0.99761013019439904</c:v>
                </c:pt>
                <c:pt idx="55937">
                  <c:v>0.997627965043695</c:v>
                </c:pt>
                <c:pt idx="55938">
                  <c:v>0.99764579989299096</c:v>
                </c:pt>
                <c:pt idx="55939">
                  <c:v>0.99766363474228603</c:v>
                </c:pt>
                <c:pt idx="55940">
                  <c:v>0.99768146959158199</c:v>
                </c:pt>
                <c:pt idx="55941">
                  <c:v>0.99769930444087696</c:v>
                </c:pt>
                <c:pt idx="55942">
                  <c:v>0.99771713929017303</c:v>
                </c:pt>
                <c:pt idx="55943">
                  <c:v>0.99773497413946799</c:v>
                </c:pt>
                <c:pt idx="55944">
                  <c:v>0.99775280898876395</c:v>
                </c:pt>
                <c:pt idx="55945">
                  <c:v>0.99777064383805902</c:v>
                </c:pt>
                <c:pt idx="55946">
                  <c:v>0.99778847868735498</c:v>
                </c:pt>
                <c:pt idx="55947">
                  <c:v>0.99780631353664995</c:v>
                </c:pt>
                <c:pt idx="55948">
                  <c:v>0.99782414838594602</c:v>
                </c:pt>
                <c:pt idx="55949">
                  <c:v>0.99784198323524098</c:v>
                </c:pt>
                <c:pt idx="55950">
                  <c:v>0.99785981808453705</c:v>
                </c:pt>
                <c:pt idx="55951">
                  <c:v>0.99787765293383202</c:v>
                </c:pt>
                <c:pt idx="55952">
                  <c:v>0.99789548778312798</c:v>
                </c:pt>
                <c:pt idx="55953">
                  <c:v>0.99791332263242305</c:v>
                </c:pt>
                <c:pt idx="55954">
                  <c:v>0.99793115748171901</c:v>
                </c:pt>
                <c:pt idx="55955">
                  <c:v>0.99794899233101397</c:v>
                </c:pt>
                <c:pt idx="55956">
                  <c:v>0.99796682718031005</c:v>
                </c:pt>
                <c:pt idx="55957">
                  <c:v>0.99798466202960501</c:v>
                </c:pt>
                <c:pt idx="55958">
                  <c:v>0.99800249687890097</c:v>
                </c:pt>
                <c:pt idx="55959">
                  <c:v>0.99802033172819604</c:v>
                </c:pt>
                <c:pt idx="55960">
                  <c:v>0.998038166577492</c:v>
                </c:pt>
                <c:pt idx="55961">
                  <c:v>0.99805600142678796</c:v>
                </c:pt>
                <c:pt idx="55962">
                  <c:v>0.99807383627608304</c:v>
                </c:pt>
                <c:pt idx="55963">
                  <c:v>0.998091671125379</c:v>
                </c:pt>
                <c:pt idx="55964">
                  <c:v>0.99810950597467396</c:v>
                </c:pt>
                <c:pt idx="55965">
                  <c:v>0.99812734082397003</c:v>
                </c:pt>
                <c:pt idx="55966">
                  <c:v>0.99814517567326499</c:v>
                </c:pt>
                <c:pt idx="55967">
                  <c:v>0.99816301052256096</c:v>
                </c:pt>
                <c:pt idx="55968">
                  <c:v>0.99818084537185603</c:v>
                </c:pt>
                <c:pt idx="55969">
                  <c:v>0.99819868022115199</c:v>
                </c:pt>
                <c:pt idx="55970">
                  <c:v>0.99821651507044695</c:v>
                </c:pt>
                <c:pt idx="55971">
                  <c:v>0.99823434991974302</c:v>
                </c:pt>
                <c:pt idx="55972">
                  <c:v>0.99825218476903799</c:v>
                </c:pt>
                <c:pt idx="55973">
                  <c:v>0.99827001961833395</c:v>
                </c:pt>
                <c:pt idx="55974">
                  <c:v>0.99828785446762902</c:v>
                </c:pt>
                <c:pt idx="55975">
                  <c:v>0.99830568931692498</c:v>
                </c:pt>
                <c:pt idx="55976">
                  <c:v>0.99832352416622006</c:v>
                </c:pt>
                <c:pt idx="55977">
                  <c:v>0.99834135901551602</c:v>
                </c:pt>
                <c:pt idx="55978">
                  <c:v>0.99835919386481098</c:v>
                </c:pt>
                <c:pt idx="55979">
                  <c:v>0.99837702871410705</c:v>
                </c:pt>
                <c:pt idx="55980">
                  <c:v>0.99839486356340201</c:v>
                </c:pt>
                <c:pt idx="55981">
                  <c:v>0.99841269841269797</c:v>
                </c:pt>
                <c:pt idx="55982">
                  <c:v>0.99843053326199305</c:v>
                </c:pt>
                <c:pt idx="55983">
                  <c:v>0.99844836811128901</c:v>
                </c:pt>
                <c:pt idx="55984">
                  <c:v>0.99846620296058497</c:v>
                </c:pt>
                <c:pt idx="55985">
                  <c:v>0.99848403780988004</c:v>
                </c:pt>
                <c:pt idx="55986">
                  <c:v>0.998501872659176</c:v>
                </c:pt>
                <c:pt idx="55987">
                  <c:v>0.99851970750847097</c:v>
                </c:pt>
                <c:pt idx="55988">
                  <c:v>0.99853754235776704</c:v>
                </c:pt>
                <c:pt idx="55989">
                  <c:v>0.998555377207062</c:v>
                </c:pt>
                <c:pt idx="55990">
                  <c:v>0.99857321205635796</c:v>
                </c:pt>
                <c:pt idx="55991">
                  <c:v>0.99859104690565303</c:v>
                </c:pt>
                <c:pt idx="55992">
                  <c:v>0.998608881754949</c:v>
                </c:pt>
                <c:pt idx="55993">
                  <c:v>0.99862671660424396</c:v>
                </c:pt>
                <c:pt idx="55994">
                  <c:v>0.99864455145354003</c:v>
                </c:pt>
                <c:pt idx="55995">
                  <c:v>0.99866238630283499</c:v>
                </c:pt>
                <c:pt idx="55996">
                  <c:v>0.99868022115213095</c:v>
                </c:pt>
                <c:pt idx="55997">
                  <c:v>0.99869805600142603</c:v>
                </c:pt>
                <c:pt idx="55998">
                  <c:v>0.99871589085072199</c:v>
                </c:pt>
                <c:pt idx="55999">
                  <c:v>0.99873372570001695</c:v>
                </c:pt>
                <c:pt idx="56000">
                  <c:v>0.99875156054931302</c:v>
                </c:pt>
                <c:pt idx="56001">
                  <c:v>0.99876939539860798</c:v>
                </c:pt>
                <c:pt idx="56002">
                  <c:v>0.99878723024790395</c:v>
                </c:pt>
                <c:pt idx="56003">
                  <c:v>0.99880506509719902</c:v>
                </c:pt>
                <c:pt idx="56004">
                  <c:v>0.99882289994649498</c:v>
                </c:pt>
                <c:pt idx="56005">
                  <c:v>0.99884073479579005</c:v>
                </c:pt>
                <c:pt idx="56006">
                  <c:v>0.99885856964508601</c:v>
                </c:pt>
                <c:pt idx="56007">
                  <c:v>0.99887640449438198</c:v>
                </c:pt>
                <c:pt idx="56008">
                  <c:v>0.99889423934367705</c:v>
                </c:pt>
                <c:pt idx="56009">
                  <c:v>0.99891207419297301</c:v>
                </c:pt>
                <c:pt idx="56010">
                  <c:v>0.99892990904226797</c:v>
                </c:pt>
                <c:pt idx="56011">
                  <c:v>0.99894774389156404</c:v>
                </c:pt>
                <c:pt idx="56012">
                  <c:v>0.99896557874085901</c:v>
                </c:pt>
                <c:pt idx="56013">
                  <c:v>0.99898341359015497</c:v>
                </c:pt>
                <c:pt idx="56014">
                  <c:v>0.99900124843945004</c:v>
                </c:pt>
                <c:pt idx="56015">
                  <c:v>0.999019083288746</c:v>
                </c:pt>
                <c:pt idx="56016">
                  <c:v>0.99903691813804096</c:v>
                </c:pt>
                <c:pt idx="56017">
                  <c:v>0.99905475298733704</c:v>
                </c:pt>
                <c:pt idx="56018">
                  <c:v>0.999072587836632</c:v>
                </c:pt>
                <c:pt idx="56019">
                  <c:v>0.99909042268592796</c:v>
                </c:pt>
                <c:pt idx="56020">
                  <c:v>0.99910825753522303</c:v>
                </c:pt>
                <c:pt idx="56021">
                  <c:v>0.99912609238451899</c:v>
                </c:pt>
                <c:pt idx="56022">
                  <c:v>0.99914392723381396</c:v>
                </c:pt>
                <c:pt idx="56023">
                  <c:v>0.99916176208311003</c:v>
                </c:pt>
                <c:pt idx="56024">
                  <c:v>0.99917959693240499</c:v>
                </c:pt>
                <c:pt idx="56025">
                  <c:v>0.99919743178170095</c:v>
                </c:pt>
                <c:pt idx="56026">
                  <c:v>0.99921526663099702</c:v>
                </c:pt>
                <c:pt idx="56027">
                  <c:v>0.99923310148029199</c:v>
                </c:pt>
                <c:pt idx="56028">
                  <c:v>0.99925093632958795</c:v>
                </c:pt>
                <c:pt idx="56029">
                  <c:v>0.99926877117888302</c:v>
                </c:pt>
                <c:pt idx="56030">
                  <c:v>0.99928660602817898</c:v>
                </c:pt>
                <c:pt idx="56031">
                  <c:v>0.99930444087747405</c:v>
                </c:pt>
                <c:pt idx="56032">
                  <c:v>0.99932227572677002</c:v>
                </c:pt>
                <c:pt idx="56033">
                  <c:v>0.99934011057606498</c:v>
                </c:pt>
                <c:pt idx="56034">
                  <c:v>0.99935794542536105</c:v>
                </c:pt>
                <c:pt idx="56035">
                  <c:v>0.99937578027465601</c:v>
                </c:pt>
                <c:pt idx="56036">
                  <c:v>0.99939361512395197</c:v>
                </c:pt>
                <c:pt idx="56037">
                  <c:v>0.99941144997324705</c:v>
                </c:pt>
                <c:pt idx="56038">
                  <c:v>0.99942928482254301</c:v>
                </c:pt>
                <c:pt idx="56039">
                  <c:v>0.99944711967183797</c:v>
                </c:pt>
                <c:pt idx="56040">
                  <c:v>0.99946495452113404</c:v>
                </c:pt>
                <c:pt idx="56041">
                  <c:v>0.999482789370429</c:v>
                </c:pt>
                <c:pt idx="56042">
                  <c:v>0.99950062421972496</c:v>
                </c:pt>
                <c:pt idx="56043">
                  <c:v>0.99951845906902004</c:v>
                </c:pt>
                <c:pt idx="56044">
                  <c:v>0.999536293918316</c:v>
                </c:pt>
                <c:pt idx="56045">
                  <c:v>0.99955412876761196</c:v>
                </c:pt>
                <c:pt idx="56046">
                  <c:v>0.99957196361690703</c:v>
                </c:pt>
                <c:pt idx="56047">
                  <c:v>0.99958979846620299</c:v>
                </c:pt>
                <c:pt idx="56048">
                  <c:v>0.99960763331549796</c:v>
                </c:pt>
                <c:pt idx="56049">
                  <c:v>0.99962546816479403</c:v>
                </c:pt>
                <c:pt idx="56050">
                  <c:v>0.99964330301408899</c:v>
                </c:pt>
                <c:pt idx="56051">
                  <c:v>0.99966113786338495</c:v>
                </c:pt>
                <c:pt idx="56052">
                  <c:v>0.99967897271268003</c:v>
                </c:pt>
                <c:pt idx="56053">
                  <c:v>0.99969680756197599</c:v>
                </c:pt>
                <c:pt idx="56054">
                  <c:v>0.99971464241127095</c:v>
                </c:pt>
                <c:pt idx="56055">
                  <c:v>0.99973247726056702</c:v>
                </c:pt>
                <c:pt idx="56056">
                  <c:v>0.99975031210986198</c:v>
                </c:pt>
                <c:pt idx="56057">
                  <c:v>0.99976814695915805</c:v>
                </c:pt>
                <c:pt idx="56058">
                  <c:v>0.99978598180845302</c:v>
                </c:pt>
                <c:pt idx="56059">
                  <c:v>0.99980381665774898</c:v>
                </c:pt>
                <c:pt idx="56060">
                  <c:v>0.99982165150704405</c:v>
                </c:pt>
                <c:pt idx="56061">
                  <c:v>0.99983948635634001</c:v>
                </c:pt>
                <c:pt idx="56062">
                  <c:v>0.99985732120563497</c:v>
                </c:pt>
                <c:pt idx="56063">
                  <c:v>0.99987515605493105</c:v>
                </c:pt>
                <c:pt idx="56064">
                  <c:v>0.99989299090422601</c:v>
                </c:pt>
                <c:pt idx="56065">
                  <c:v>0.99991082575352197</c:v>
                </c:pt>
                <c:pt idx="56066">
                  <c:v>0.99992866060281704</c:v>
                </c:pt>
                <c:pt idx="56067">
                  <c:v>0.999946495452113</c:v>
                </c:pt>
                <c:pt idx="56068">
                  <c:v>0.99996433030140897</c:v>
                </c:pt>
                <c:pt idx="56069">
                  <c:v>0.99998216515070404</c:v>
                </c:pt>
              </c:numCache>
            </c:numRef>
          </c:cat>
          <c:val>
            <c:numRef>
              <c:f>Sheet1!$B$2:$B$56071</c:f>
              <c:numCache>
                <c:formatCode>0%</c:formatCode>
                <c:ptCount val="56070"/>
                <c:pt idx="0">
                  <c:v>0</c:v>
                </c:pt>
                <c:pt idx="1">
                  <c:v>-8.4033613445378102E-4</c:v>
                </c:pt>
                <c:pt idx="2">
                  <c:v>-8.4033613445378102E-4</c:v>
                </c:pt>
                <c:pt idx="3">
                  <c:v>-1.6806722689075601E-3</c:v>
                </c:pt>
                <c:pt idx="4">
                  <c:v>-1.6806722689075601E-3</c:v>
                </c:pt>
                <c:pt idx="5">
                  <c:v>-1.6806722689075601E-3</c:v>
                </c:pt>
                <c:pt idx="6">
                  <c:v>-1.6806722689075601E-3</c:v>
                </c:pt>
                <c:pt idx="7">
                  <c:v>-8.4033613445378102E-4</c:v>
                </c:pt>
                <c:pt idx="8">
                  <c:v>-8.4033613445378102E-4</c:v>
                </c:pt>
                <c:pt idx="9">
                  <c:v>-1.6806722689075601E-3</c:v>
                </c:pt>
                <c:pt idx="10">
                  <c:v>-1.6806722689075601E-3</c:v>
                </c:pt>
                <c:pt idx="11">
                  <c:v>-8.4033613445378102E-4</c:v>
                </c:pt>
                <c:pt idx="12">
                  <c:v>-8.40336134453782E-4</c:v>
                </c:pt>
                <c:pt idx="13">
                  <c:v>0</c:v>
                </c:pt>
                <c:pt idx="14">
                  <c:v>8.4033613445378102E-4</c:v>
                </c:pt>
                <c:pt idx="15">
                  <c:v>8.40336134453782E-4</c:v>
                </c:pt>
                <c:pt idx="16">
                  <c:v>8.40336134453782E-4</c:v>
                </c:pt>
                <c:pt idx="17">
                  <c:v>8.40336134453782E-4</c:v>
                </c:pt>
                <c:pt idx="18">
                  <c:v>8.40336134453782E-4</c:v>
                </c:pt>
                <c:pt idx="19">
                  <c:v>1.6806722689075601E-3</c:v>
                </c:pt>
                <c:pt idx="20">
                  <c:v>1.6806722689075601E-3</c:v>
                </c:pt>
                <c:pt idx="21">
                  <c:v>8.4033613445378102E-4</c:v>
                </c:pt>
                <c:pt idx="22">
                  <c:v>8.4033613445378102E-4</c:v>
                </c:pt>
                <c:pt idx="23">
                  <c:v>8.4033613445378102E-4</c:v>
                </c:pt>
                <c:pt idx="24">
                  <c:v>8.4033613445378102E-4</c:v>
                </c:pt>
                <c:pt idx="25">
                  <c:v>8.4033613445378102E-4</c:v>
                </c:pt>
                <c:pt idx="26">
                  <c:v>8.4033613445378102E-4</c:v>
                </c:pt>
                <c:pt idx="27">
                  <c:v>0</c:v>
                </c:pt>
                <c:pt idx="28">
                  <c:v>-8.40336134453782E-4</c:v>
                </c:pt>
                <c:pt idx="29">
                  <c:v>-8.40336134453782E-4</c:v>
                </c:pt>
                <c:pt idx="30">
                  <c:v>-8.40336134453782E-4</c:v>
                </c:pt>
                <c:pt idx="31">
                  <c:v>-1.6806722689075601E-3</c:v>
                </c:pt>
                <c:pt idx="32">
                  <c:v>-8.4033613445378005E-4</c:v>
                </c:pt>
                <c:pt idx="33">
                  <c:v>-8.4033613445378005E-4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-8.40336134453782E-4</c:v>
                </c:pt>
                <c:pt idx="39">
                  <c:v>0</c:v>
                </c:pt>
                <c:pt idx="40">
                  <c:v>-8.40336134453782E-4</c:v>
                </c:pt>
                <c:pt idx="41">
                  <c:v>-8.40336134453782E-4</c:v>
                </c:pt>
                <c:pt idx="42">
                  <c:v>-8.40336134453782E-4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-8.4033613445378005E-4</c:v>
                </c:pt>
                <c:pt idx="49">
                  <c:v>-8.4033613445378005E-4</c:v>
                </c:pt>
                <c:pt idx="50">
                  <c:v>-8.4033613445378005E-4</c:v>
                </c:pt>
                <c:pt idx="51">
                  <c:v>0</c:v>
                </c:pt>
                <c:pt idx="52">
                  <c:v>-8.40336134453782E-4</c:v>
                </c:pt>
                <c:pt idx="53">
                  <c:v>-8.40336134453782E-4</c:v>
                </c:pt>
                <c:pt idx="54">
                  <c:v>-8.4033613445378005E-4</c:v>
                </c:pt>
                <c:pt idx="55">
                  <c:v>-8.4033613445378005E-4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8.40336134453782E-4</c:v>
                </c:pt>
                <c:pt idx="60">
                  <c:v>0</c:v>
                </c:pt>
                <c:pt idx="61">
                  <c:v>0</c:v>
                </c:pt>
                <c:pt idx="62">
                  <c:v>8.40336134453782E-4</c:v>
                </c:pt>
                <c:pt idx="63">
                  <c:v>8.40336134453782E-4</c:v>
                </c:pt>
                <c:pt idx="64">
                  <c:v>8.40336134453782E-4</c:v>
                </c:pt>
                <c:pt idx="65">
                  <c:v>1.6806722689075601E-3</c:v>
                </c:pt>
                <c:pt idx="66">
                  <c:v>1.6806722689075601E-3</c:v>
                </c:pt>
                <c:pt idx="67">
                  <c:v>1.6806722689075601E-3</c:v>
                </c:pt>
                <c:pt idx="68">
                  <c:v>1.6806722689075601E-3</c:v>
                </c:pt>
                <c:pt idx="69">
                  <c:v>2.5210084033613399E-3</c:v>
                </c:pt>
                <c:pt idx="70">
                  <c:v>1.6806722689075601E-3</c:v>
                </c:pt>
                <c:pt idx="71">
                  <c:v>1.6806722689075601E-3</c:v>
                </c:pt>
                <c:pt idx="72">
                  <c:v>8.40336134453782E-4</c:v>
                </c:pt>
                <c:pt idx="73">
                  <c:v>8.40336134453782E-4</c:v>
                </c:pt>
                <c:pt idx="74">
                  <c:v>8.40336134453782E-4</c:v>
                </c:pt>
                <c:pt idx="75">
                  <c:v>1.6806722689075601E-3</c:v>
                </c:pt>
                <c:pt idx="76">
                  <c:v>1.6806722689075601E-3</c:v>
                </c:pt>
                <c:pt idx="77">
                  <c:v>1.6806722689075601E-3</c:v>
                </c:pt>
                <c:pt idx="78">
                  <c:v>1.6806722689075601E-3</c:v>
                </c:pt>
                <c:pt idx="79">
                  <c:v>1.6806722689075601E-3</c:v>
                </c:pt>
                <c:pt idx="80">
                  <c:v>2.5210084033613399E-3</c:v>
                </c:pt>
                <c:pt idx="81">
                  <c:v>1.6806722689075601E-3</c:v>
                </c:pt>
                <c:pt idx="82">
                  <c:v>2.5210084033613399E-3</c:v>
                </c:pt>
                <c:pt idx="83">
                  <c:v>3.3613445378151202E-3</c:v>
                </c:pt>
                <c:pt idx="84">
                  <c:v>3.3613445378151202E-3</c:v>
                </c:pt>
                <c:pt idx="85">
                  <c:v>3.3613445378151202E-3</c:v>
                </c:pt>
                <c:pt idx="86">
                  <c:v>3.3613445378151202E-3</c:v>
                </c:pt>
                <c:pt idx="87">
                  <c:v>3.3613445378151202E-3</c:v>
                </c:pt>
                <c:pt idx="88">
                  <c:v>4.20168067226891E-3</c:v>
                </c:pt>
                <c:pt idx="89">
                  <c:v>4.20168067226891E-3</c:v>
                </c:pt>
                <c:pt idx="90">
                  <c:v>4.20168067226891E-3</c:v>
                </c:pt>
                <c:pt idx="91">
                  <c:v>3.3613445378151202E-3</c:v>
                </c:pt>
                <c:pt idx="92">
                  <c:v>4.2016806722688996E-3</c:v>
                </c:pt>
                <c:pt idx="93">
                  <c:v>4.2016806722688996E-3</c:v>
                </c:pt>
                <c:pt idx="94">
                  <c:v>4.2016806722688996E-3</c:v>
                </c:pt>
                <c:pt idx="95">
                  <c:v>4.2016806722688996E-3</c:v>
                </c:pt>
                <c:pt idx="96">
                  <c:v>4.2016806722688996E-3</c:v>
                </c:pt>
                <c:pt idx="97">
                  <c:v>4.2016806722688996E-3</c:v>
                </c:pt>
                <c:pt idx="98">
                  <c:v>4.2016806722688996E-3</c:v>
                </c:pt>
                <c:pt idx="99">
                  <c:v>3.3613445378151202E-3</c:v>
                </c:pt>
                <c:pt idx="100">
                  <c:v>3.3613445378151202E-3</c:v>
                </c:pt>
                <c:pt idx="101">
                  <c:v>4.2016806722688996E-3</c:v>
                </c:pt>
                <c:pt idx="102">
                  <c:v>5.0420168067226798E-3</c:v>
                </c:pt>
                <c:pt idx="103">
                  <c:v>5.0420168067226798E-3</c:v>
                </c:pt>
                <c:pt idx="104">
                  <c:v>5.8823529411764696E-3</c:v>
                </c:pt>
                <c:pt idx="105">
                  <c:v>6.7226890756302404E-3</c:v>
                </c:pt>
                <c:pt idx="106">
                  <c:v>6.7226890756302404E-3</c:v>
                </c:pt>
                <c:pt idx="107">
                  <c:v>7.5630252100840302E-3</c:v>
                </c:pt>
                <c:pt idx="108">
                  <c:v>7.5630252100840302E-3</c:v>
                </c:pt>
                <c:pt idx="109">
                  <c:v>7.5630252100840302E-3</c:v>
                </c:pt>
                <c:pt idx="110">
                  <c:v>8.4033613445378096E-3</c:v>
                </c:pt>
                <c:pt idx="111">
                  <c:v>9.2436974789915898E-3</c:v>
                </c:pt>
                <c:pt idx="112">
                  <c:v>8.4033613445378096E-3</c:v>
                </c:pt>
                <c:pt idx="113">
                  <c:v>8.4033613445378096E-3</c:v>
                </c:pt>
                <c:pt idx="114">
                  <c:v>8.4033613445378096E-3</c:v>
                </c:pt>
                <c:pt idx="115">
                  <c:v>8.4033613445378096E-3</c:v>
                </c:pt>
                <c:pt idx="116">
                  <c:v>9.2436974789915898E-3</c:v>
                </c:pt>
                <c:pt idx="117">
                  <c:v>9.2436974789915898E-3</c:v>
                </c:pt>
                <c:pt idx="118">
                  <c:v>9.2436974789915898E-3</c:v>
                </c:pt>
                <c:pt idx="119">
                  <c:v>9.2436974789915898E-3</c:v>
                </c:pt>
                <c:pt idx="120">
                  <c:v>9.2436974789915898E-3</c:v>
                </c:pt>
                <c:pt idx="121">
                  <c:v>8.40336134453782E-3</c:v>
                </c:pt>
                <c:pt idx="122">
                  <c:v>8.40336134453782E-3</c:v>
                </c:pt>
                <c:pt idx="123">
                  <c:v>8.40336134453782E-3</c:v>
                </c:pt>
                <c:pt idx="124">
                  <c:v>8.4033613445378096E-3</c:v>
                </c:pt>
                <c:pt idx="125">
                  <c:v>7.5630252100840302E-3</c:v>
                </c:pt>
                <c:pt idx="126">
                  <c:v>6.7226890756302499E-3</c:v>
                </c:pt>
                <c:pt idx="127">
                  <c:v>6.7226890756302499E-3</c:v>
                </c:pt>
                <c:pt idx="128">
                  <c:v>5.8823529411764696E-3</c:v>
                </c:pt>
                <c:pt idx="129">
                  <c:v>5.8823529411764696E-3</c:v>
                </c:pt>
                <c:pt idx="130">
                  <c:v>5.0420168067226902E-3</c:v>
                </c:pt>
                <c:pt idx="131">
                  <c:v>4.2016806722688996E-3</c:v>
                </c:pt>
                <c:pt idx="132">
                  <c:v>4.2016806722688996E-3</c:v>
                </c:pt>
                <c:pt idx="133">
                  <c:v>4.2016806722688996E-3</c:v>
                </c:pt>
                <c:pt idx="134">
                  <c:v>4.2016806722688996E-3</c:v>
                </c:pt>
                <c:pt idx="135">
                  <c:v>5.0420168067226798E-3</c:v>
                </c:pt>
                <c:pt idx="136">
                  <c:v>5.0420168067226798E-3</c:v>
                </c:pt>
                <c:pt idx="137">
                  <c:v>5.0420168067226798E-3</c:v>
                </c:pt>
                <c:pt idx="138">
                  <c:v>5.0420168067226798E-3</c:v>
                </c:pt>
                <c:pt idx="139">
                  <c:v>5.0420168067226798E-3</c:v>
                </c:pt>
                <c:pt idx="140">
                  <c:v>5.0420168067226798E-3</c:v>
                </c:pt>
                <c:pt idx="141">
                  <c:v>5.0420168067226798E-3</c:v>
                </c:pt>
                <c:pt idx="142">
                  <c:v>5.0420168067226798E-3</c:v>
                </c:pt>
                <c:pt idx="143">
                  <c:v>4.2016806722688996E-3</c:v>
                </c:pt>
                <c:pt idx="144">
                  <c:v>4.2016806722688996E-3</c:v>
                </c:pt>
                <c:pt idx="145">
                  <c:v>4.2016806722688996E-3</c:v>
                </c:pt>
                <c:pt idx="146">
                  <c:v>4.2016806722688996E-3</c:v>
                </c:pt>
                <c:pt idx="147">
                  <c:v>5.0420168067226902E-3</c:v>
                </c:pt>
                <c:pt idx="148">
                  <c:v>5.0420168067226902E-3</c:v>
                </c:pt>
                <c:pt idx="149">
                  <c:v>5.0420168067226902E-3</c:v>
                </c:pt>
                <c:pt idx="150">
                  <c:v>4.2016806722688996E-3</c:v>
                </c:pt>
                <c:pt idx="151">
                  <c:v>4.2016806722688996E-3</c:v>
                </c:pt>
                <c:pt idx="152">
                  <c:v>3.3613445378151202E-3</c:v>
                </c:pt>
                <c:pt idx="153">
                  <c:v>3.3613445378151202E-3</c:v>
                </c:pt>
                <c:pt idx="154">
                  <c:v>2.5210084033613399E-3</c:v>
                </c:pt>
                <c:pt idx="155">
                  <c:v>1.6806722689075601E-3</c:v>
                </c:pt>
                <c:pt idx="156">
                  <c:v>1.6806722689075601E-3</c:v>
                </c:pt>
                <c:pt idx="157">
                  <c:v>1.6806722689075601E-3</c:v>
                </c:pt>
                <c:pt idx="158">
                  <c:v>8.4033613445377799E-4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-8.4033613445378503E-4</c:v>
                </c:pt>
                <c:pt idx="166">
                  <c:v>-1.6806722689075601E-3</c:v>
                </c:pt>
                <c:pt idx="167">
                  <c:v>-2.5210084033613399E-3</c:v>
                </c:pt>
                <c:pt idx="168">
                  <c:v>-2.5210084033613399E-3</c:v>
                </c:pt>
                <c:pt idx="169">
                  <c:v>-3.3613445378151202E-3</c:v>
                </c:pt>
                <c:pt idx="170">
                  <c:v>-2.5210084033613399E-3</c:v>
                </c:pt>
                <c:pt idx="171">
                  <c:v>-2.5210084033613399E-3</c:v>
                </c:pt>
                <c:pt idx="172">
                  <c:v>-2.5210084033613399E-3</c:v>
                </c:pt>
                <c:pt idx="173">
                  <c:v>-2.5210084033613399E-3</c:v>
                </c:pt>
                <c:pt idx="174">
                  <c:v>-2.5210084033613399E-3</c:v>
                </c:pt>
                <c:pt idx="175">
                  <c:v>-2.5210084033613399E-3</c:v>
                </c:pt>
                <c:pt idx="176">
                  <c:v>-2.5210084033613399E-3</c:v>
                </c:pt>
                <c:pt idx="177">
                  <c:v>-1.6806722689075601E-3</c:v>
                </c:pt>
                <c:pt idx="178">
                  <c:v>-1.6806722689075601E-3</c:v>
                </c:pt>
                <c:pt idx="179">
                  <c:v>-8.4033613445377799E-4</c:v>
                </c:pt>
                <c:pt idx="180">
                  <c:v>-8.4033613445377799E-4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-8.4033613445377799E-4</c:v>
                </c:pt>
                <c:pt idx="186">
                  <c:v>-1.6806722689075601E-3</c:v>
                </c:pt>
                <c:pt idx="187">
                  <c:v>-2.5210084033613399E-3</c:v>
                </c:pt>
                <c:pt idx="188">
                  <c:v>-2.5210084033613399E-3</c:v>
                </c:pt>
                <c:pt idx="189">
                  <c:v>-2.5210084033613399E-3</c:v>
                </c:pt>
                <c:pt idx="190">
                  <c:v>-3.3613445378151202E-3</c:v>
                </c:pt>
                <c:pt idx="191">
                  <c:v>-3.3613445378151202E-3</c:v>
                </c:pt>
                <c:pt idx="192">
                  <c:v>-3.3613445378151202E-3</c:v>
                </c:pt>
                <c:pt idx="193">
                  <c:v>-3.3613445378151202E-3</c:v>
                </c:pt>
                <c:pt idx="194">
                  <c:v>-3.3613445378151202E-3</c:v>
                </c:pt>
                <c:pt idx="195">
                  <c:v>-3.3613445378151202E-3</c:v>
                </c:pt>
                <c:pt idx="196">
                  <c:v>-3.3613445378151202E-3</c:v>
                </c:pt>
                <c:pt idx="197">
                  <c:v>-3.3613445378151202E-3</c:v>
                </c:pt>
                <c:pt idx="198">
                  <c:v>-3.3613445378151202E-3</c:v>
                </c:pt>
                <c:pt idx="199">
                  <c:v>-3.3613445378151202E-3</c:v>
                </c:pt>
                <c:pt idx="200">
                  <c:v>-3.3613445378151202E-3</c:v>
                </c:pt>
                <c:pt idx="201">
                  <c:v>-2.5210084033613399E-3</c:v>
                </c:pt>
                <c:pt idx="202">
                  <c:v>-2.5210084033613399E-3</c:v>
                </c:pt>
                <c:pt idx="203">
                  <c:v>-2.5210084033613399E-3</c:v>
                </c:pt>
                <c:pt idx="204">
                  <c:v>-2.5210084033613399E-3</c:v>
                </c:pt>
                <c:pt idx="205">
                  <c:v>-2.5210084033613399E-3</c:v>
                </c:pt>
                <c:pt idx="206">
                  <c:v>-2.5210084033613399E-3</c:v>
                </c:pt>
                <c:pt idx="207">
                  <c:v>-3.3613445378151202E-3</c:v>
                </c:pt>
                <c:pt idx="208">
                  <c:v>-3.3613445378151202E-3</c:v>
                </c:pt>
                <c:pt idx="209">
                  <c:v>-3.3613445378151202E-3</c:v>
                </c:pt>
                <c:pt idx="210">
                  <c:v>-2.5210084033613399E-3</c:v>
                </c:pt>
                <c:pt idx="211">
                  <c:v>-2.5210084033613399E-3</c:v>
                </c:pt>
                <c:pt idx="212">
                  <c:v>-1.6806722689075499E-3</c:v>
                </c:pt>
                <c:pt idx="213">
                  <c:v>-1.6806722689075499E-3</c:v>
                </c:pt>
                <c:pt idx="214">
                  <c:v>-1.6806722689075499E-3</c:v>
                </c:pt>
                <c:pt idx="215">
                  <c:v>-1.6806722689075499E-3</c:v>
                </c:pt>
                <c:pt idx="216">
                  <c:v>-8.4033613445377799E-4</c:v>
                </c:pt>
                <c:pt idx="217">
                  <c:v>-1.6806722689075601E-3</c:v>
                </c:pt>
                <c:pt idx="218">
                  <c:v>-8.4033613445378503E-4</c:v>
                </c:pt>
                <c:pt idx="219">
                  <c:v>-8.4033613445378503E-4</c:v>
                </c:pt>
                <c:pt idx="220">
                  <c:v>-8.4033613445378503E-4</c:v>
                </c:pt>
                <c:pt idx="221">
                  <c:v>-8.4033613445378503E-4</c:v>
                </c:pt>
                <c:pt idx="222">
                  <c:v>-8.4033613445378503E-4</c:v>
                </c:pt>
                <c:pt idx="223">
                  <c:v>-8.4033613445378503E-4</c:v>
                </c:pt>
                <c:pt idx="224">
                  <c:v>-8.4033613445378503E-4</c:v>
                </c:pt>
                <c:pt idx="225">
                  <c:v>-8.4033613445378503E-4</c:v>
                </c:pt>
                <c:pt idx="226">
                  <c:v>-1.6806722689075601E-3</c:v>
                </c:pt>
                <c:pt idx="227">
                  <c:v>-8.4033613445377799E-4</c:v>
                </c:pt>
                <c:pt idx="228">
                  <c:v>0</c:v>
                </c:pt>
                <c:pt idx="229">
                  <c:v>8.4033613445378503E-4</c:v>
                </c:pt>
                <c:pt idx="230">
                  <c:v>8.4033613445378503E-4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-8.4033613445377799E-4</c:v>
                </c:pt>
                <c:pt idx="239">
                  <c:v>-8.4033613445377799E-4</c:v>
                </c:pt>
                <c:pt idx="240">
                  <c:v>0</c:v>
                </c:pt>
                <c:pt idx="241">
                  <c:v>-8.4033613445378503E-4</c:v>
                </c:pt>
                <c:pt idx="242">
                  <c:v>-1.6806722689075601E-3</c:v>
                </c:pt>
                <c:pt idx="243">
                  <c:v>-1.6806722689075601E-3</c:v>
                </c:pt>
                <c:pt idx="244">
                  <c:v>-1.6806722689075601E-3</c:v>
                </c:pt>
                <c:pt idx="245">
                  <c:v>-2.5210084033613399E-3</c:v>
                </c:pt>
                <c:pt idx="246">
                  <c:v>-2.5210084033613399E-3</c:v>
                </c:pt>
                <c:pt idx="247">
                  <c:v>-2.5210084033613399E-3</c:v>
                </c:pt>
                <c:pt idx="248">
                  <c:v>-2.5210084033613399E-3</c:v>
                </c:pt>
                <c:pt idx="249">
                  <c:v>-1.6806722689075499E-3</c:v>
                </c:pt>
                <c:pt idx="250">
                  <c:v>-1.6806722689075601E-3</c:v>
                </c:pt>
                <c:pt idx="251">
                  <c:v>-2.5210084033613399E-3</c:v>
                </c:pt>
                <c:pt idx="252">
                  <c:v>-2.5210084033613399E-3</c:v>
                </c:pt>
                <c:pt idx="253">
                  <c:v>-2.5210084033613399E-3</c:v>
                </c:pt>
                <c:pt idx="254">
                  <c:v>-2.5210084033613399E-3</c:v>
                </c:pt>
                <c:pt idx="255">
                  <c:v>-2.5210084033613399E-3</c:v>
                </c:pt>
                <c:pt idx="256">
                  <c:v>-1.6806722689075601E-3</c:v>
                </c:pt>
                <c:pt idx="257">
                  <c:v>-2.5210084033613399E-3</c:v>
                </c:pt>
                <c:pt idx="258">
                  <c:v>-3.3613445378151202E-3</c:v>
                </c:pt>
                <c:pt idx="259">
                  <c:v>-3.3613445378151202E-3</c:v>
                </c:pt>
                <c:pt idx="260">
                  <c:v>-2.5210084033613399E-3</c:v>
                </c:pt>
                <c:pt idx="261">
                  <c:v>-2.5210084033613399E-3</c:v>
                </c:pt>
                <c:pt idx="262">
                  <c:v>-2.5210084033613399E-3</c:v>
                </c:pt>
                <c:pt idx="263">
                  <c:v>-1.6806722689075601E-3</c:v>
                </c:pt>
                <c:pt idx="264">
                  <c:v>-8.4033613445377799E-4</c:v>
                </c:pt>
                <c:pt idx="265">
                  <c:v>-1.6806722689075601E-3</c:v>
                </c:pt>
                <c:pt idx="266">
                  <c:v>-1.6806722689075601E-3</c:v>
                </c:pt>
                <c:pt idx="267">
                  <c:v>-2.5210084033613399E-3</c:v>
                </c:pt>
                <c:pt idx="268">
                  <c:v>-1.6806722689075601E-3</c:v>
                </c:pt>
                <c:pt idx="269">
                  <c:v>-2.5210084033613399E-3</c:v>
                </c:pt>
                <c:pt idx="270">
                  <c:v>-1.6806722689075499E-3</c:v>
                </c:pt>
                <c:pt idx="271">
                  <c:v>-8.4033613445377799E-4</c:v>
                </c:pt>
                <c:pt idx="272">
                  <c:v>0</c:v>
                </c:pt>
                <c:pt idx="273">
                  <c:v>0</c:v>
                </c:pt>
                <c:pt idx="274">
                  <c:v>8.4033613445378503E-4</c:v>
                </c:pt>
                <c:pt idx="275">
                  <c:v>0</c:v>
                </c:pt>
                <c:pt idx="276">
                  <c:v>0</c:v>
                </c:pt>
                <c:pt idx="277">
                  <c:v>-8.4033613445377799E-4</c:v>
                </c:pt>
                <c:pt idx="278">
                  <c:v>-8.4033613445377799E-4</c:v>
                </c:pt>
                <c:pt idx="279">
                  <c:v>0</c:v>
                </c:pt>
                <c:pt idx="280">
                  <c:v>0</c:v>
                </c:pt>
                <c:pt idx="281">
                  <c:v>-8.4033613445377799E-4</c:v>
                </c:pt>
                <c:pt idx="282">
                  <c:v>0</c:v>
                </c:pt>
                <c:pt idx="283">
                  <c:v>-8.4033613445379197E-4</c:v>
                </c:pt>
                <c:pt idx="284">
                  <c:v>-8.4033613445379197E-4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-8.4033613445377799E-4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8.4033613445377799E-4</c:v>
                </c:pt>
                <c:pt idx="293">
                  <c:v>8.4033613445377799E-4</c:v>
                </c:pt>
                <c:pt idx="294">
                  <c:v>8.4033613445377799E-4</c:v>
                </c:pt>
                <c:pt idx="295">
                  <c:v>1.6806722689075499E-3</c:v>
                </c:pt>
                <c:pt idx="296">
                  <c:v>8.4033613445377799E-4</c:v>
                </c:pt>
                <c:pt idx="297">
                  <c:v>8.4033613445377799E-4</c:v>
                </c:pt>
                <c:pt idx="298">
                  <c:v>8.4033613445377799E-4</c:v>
                </c:pt>
                <c:pt idx="299">
                  <c:v>8.4033613445377799E-4</c:v>
                </c:pt>
                <c:pt idx="300">
                  <c:v>8.4033613445377799E-4</c:v>
                </c:pt>
                <c:pt idx="301">
                  <c:v>8.4033613445377799E-4</c:v>
                </c:pt>
                <c:pt idx="302">
                  <c:v>8.4033613445377799E-4</c:v>
                </c:pt>
                <c:pt idx="303">
                  <c:v>1.6806722689075499E-3</c:v>
                </c:pt>
                <c:pt idx="304">
                  <c:v>1.6806722689075499E-3</c:v>
                </c:pt>
                <c:pt idx="305">
                  <c:v>1.6806722689075499E-3</c:v>
                </c:pt>
                <c:pt idx="306">
                  <c:v>1.6806722689075499E-3</c:v>
                </c:pt>
                <c:pt idx="307">
                  <c:v>8.4033613445377799E-4</c:v>
                </c:pt>
                <c:pt idx="308">
                  <c:v>8.4033613445377799E-4</c:v>
                </c:pt>
                <c:pt idx="309">
                  <c:v>1.6806722689075701E-3</c:v>
                </c:pt>
                <c:pt idx="310">
                  <c:v>1.6806722689075701E-3</c:v>
                </c:pt>
                <c:pt idx="311">
                  <c:v>1.6806722689075701E-3</c:v>
                </c:pt>
                <c:pt idx="312">
                  <c:v>1.6806722689075701E-3</c:v>
                </c:pt>
                <c:pt idx="313">
                  <c:v>1.6806722689075701E-3</c:v>
                </c:pt>
                <c:pt idx="314">
                  <c:v>1.6806722689075499E-3</c:v>
                </c:pt>
                <c:pt idx="315">
                  <c:v>2.5210084033613299E-3</c:v>
                </c:pt>
                <c:pt idx="316">
                  <c:v>1.6806722689075499E-3</c:v>
                </c:pt>
                <c:pt idx="317">
                  <c:v>1.6806722689075499E-3</c:v>
                </c:pt>
                <c:pt idx="318">
                  <c:v>1.6806722689075499E-3</c:v>
                </c:pt>
                <c:pt idx="319">
                  <c:v>1.6806722689075499E-3</c:v>
                </c:pt>
                <c:pt idx="320">
                  <c:v>1.6806722689075499E-3</c:v>
                </c:pt>
                <c:pt idx="321">
                  <c:v>8.4033613445377799E-4</c:v>
                </c:pt>
                <c:pt idx="322">
                  <c:v>8.4033613445379197E-4</c:v>
                </c:pt>
                <c:pt idx="323">
                  <c:v>8.4033613445379197E-4</c:v>
                </c:pt>
                <c:pt idx="324">
                  <c:v>8.4033613445379197E-4</c:v>
                </c:pt>
                <c:pt idx="325">
                  <c:v>1.6806722689075701E-3</c:v>
                </c:pt>
                <c:pt idx="326">
                  <c:v>1.6806722689075701E-3</c:v>
                </c:pt>
                <c:pt idx="327">
                  <c:v>1.6806722689075701E-3</c:v>
                </c:pt>
                <c:pt idx="328">
                  <c:v>2.5210084033613399E-3</c:v>
                </c:pt>
                <c:pt idx="329">
                  <c:v>3.3613445378151202E-3</c:v>
                </c:pt>
                <c:pt idx="330">
                  <c:v>2.5210084033613299E-3</c:v>
                </c:pt>
                <c:pt idx="331">
                  <c:v>2.5210084033613299E-3</c:v>
                </c:pt>
                <c:pt idx="332">
                  <c:v>2.5210084033613299E-3</c:v>
                </c:pt>
                <c:pt idx="333">
                  <c:v>2.5210084033613299E-3</c:v>
                </c:pt>
                <c:pt idx="334">
                  <c:v>2.5210084033613299E-3</c:v>
                </c:pt>
                <c:pt idx="335">
                  <c:v>2.5210084033613299E-3</c:v>
                </c:pt>
                <c:pt idx="336">
                  <c:v>2.5210084033613299E-3</c:v>
                </c:pt>
                <c:pt idx="337">
                  <c:v>2.5210084033613299E-3</c:v>
                </c:pt>
                <c:pt idx="338">
                  <c:v>2.5210084033613299E-3</c:v>
                </c:pt>
                <c:pt idx="339">
                  <c:v>2.5210084033613299E-3</c:v>
                </c:pt>
                <c:pt idx="340">
                  <c:v>3.3613445378151202E-3</c:v>
                </c:pt>
                <c:pt idx="341">
                  <c:v>3.3613445378151202E-3</c:v>
                </c:pt>
                <c:pt idx="342">
                  <c:v>3.3613445378151202E-3</c:v>
                </c:pt>
                <c:pt idx="343">
                  <c:v>4.2016806722688996E-3</c:v>
                </c:pt>
                <c:pt idx="344">
                  <c:v>5.0420168067226798E-3</c:v>
                </c:pt>
                <c:pt idx="345">
                  <c:v>5.8823529411764601E-3</c:v>
                </c:pt>
                <c:pt idx="346">
                  <c:v>5.8823529411764601E-3</c:v>
                </c:pt>
                <c:pt idx="347">
                  <c:v>5.0420168067226798E-3</c:v>
                </c:pt>
                <c:pt idx="348">
                  <c:v>4.2016806722688996E-3</c:v>
                </c:pt>
                <c:pt idx="349">
                  <c:v>4.2016806722688996E-3</c:v>
                </c:pt>
                <c:pt idx="350">
                  <c:v>4.2016806722688996E-3</c:v>
                </c:pt>
                <c:pt idx="351">
                  <c:v>4.2016806722688996E-3</c:v>
                </c:pt>
                <c:pt idx="352">
                  <c:v>4.2016806722688996E-3</c:v>
                </c:pt>
                <c:pt idx="353">
                  <c:v>4.2016806722688996E-3</c:v>
                </c:pt>
                <c:pt idx="354">
                  <c:v>3.3613445378151102E-3</c:v>
                </c:pt>
                <c:pt idx="355">
                  <c:v>3.3613445378151102E-3</c:v>
                </c:pt>
                <c:pt idx="356">
                  <c:v>3.3613445378151102E-3</c:v>
                </c:pt>
                <c:pt idx="357">
                  <c:v>3.3613445378151102E-3</c:v>
                </c:pt>
                <c:pt idx="358">
                  <c:v>3.3613445378151102E-3</c:v>
                </c:pt>
                <c:pt idx="359">
                  <c:v>3.3613445378151102E-3</c:v>
                </c:pt>
                <c:pt idx="360">
                  <c:v>4.2016806722688996E-3</c:v>
                </c:pt>
                <c:pt idx="361">
                  <c:v>3.3613445378151202E-3</c:v>
                </c:pt>
                <c:pt idx="362">
                  <c:v>4.2016806722688996E-3</c:v>
                </c:pt>
                <c:pt idx="363">
                  <c:v>4.2016806722688996E-3</c:v>
                </c:pt>
                <c:pt idx="364">
                  <c:v>5.0420168067226798E-3</c:v>
                </c:pt>
                <c:pt idx="365">
                  <c:v>4.2016806722688996E-3</c:v>
                </c:pt>
                <c:pt idx="366">
                  <c:v>4.2016806722688996E-3</c:v>
                </c:pt>
                <c:pt idx="367">
                  <c:v>4.2016806722688996E-3</c:v>
                </c:pt>
                <c:pt idx="368">
                  <c:v>3.3613445378151202E-3</c:v>
                </c:pt>
                <c:pt idx="369">
                  <c:v>3.3613445378151202E-3</c:v>
                </c:pt>
                <c:pt idx="370">
                  <c:v>3.3613445378151202E-3</c:v>
                </c:pt>
                <c:pt idx="371">
                  <c:v>3.3613445378151202E-3</c:v>
                </c:pt>
                <c:pt idx="372">
                  <c:v>2.5210084033613399E-3</c:v>
                </c:pt>
                <c:pt idx="373">
                  <c:v>2.5210084033613399E-3</c:v>
                </c:pt>
                <c:pt idx="374">
                  <c:v>2.5210084033613399E-3</c:v>
                </c:pt>
                <c:pt idx="375">
                  <c:v>2.5210084033613399E-3</c:v>
                </c:pt>
                <c:pt idx="376">
                  <c:v>2.5210084033613399E-3</c:v>
                </c:pt>
                <c:pt idx="377">
                  <c:v>1.6806722689075499E-3</c:v>
                </c:pt>
                <c:pt idx="378">
                  <c:v>1.6806722689075499E-3</c:v>
                </c:pt>
                <c:pt idx="379">
                  <c:v>1.6806722689075499E-3</c:v>
                </c:pt>
                <c:pt idx="380">
                  <c:v>1.6806722689075499E-3</c:v>
                </c:pt>
                <c:pt idx="381">
                  <c:v>1.6806722689075499E-3</c:v>
                </c:pt>
                <c:pt idx="382">
                  <c:v>1.6806722689075499E-3</c:v>
                </c:pt>
                <c:pt idx="383">
                  <c:v>1.6806722689075499E-3</c:v>
                </c:pt>
                <c:pt idx="384">
                  <c:v>1.6806722689075499E-3</c:v>
                </c:pt>
                <c:pt idx="385">
                  <c:v>1.6806722689075499E-3</c:v>
                </c:pt>
                <c:pt idx="386">
                  <c:v>2.5210084033613399E-3</c:v>
                </c:pt>
                <c:pt idx="387">
                  <c:v>1.6806722689075701E-3</c:v>
                </c:pt>
                <c:pt idx="388">
                  <c:v>1.6806722689075701E-3</c:v>
                </c:pt>
                <c:pt idx="389">
                  <c:v>1.6806722689075701E-3</c:v>
                </c:pt>
                <c:pt idx="390">
                  <c:v>1.6806722689075701E-3</c:v>
                </c:pt>
                <c:pt idx="391">
                  <c:v>1.6806722689075701E-3</c:v>
                </c:pt>
                <c:pt idx="392">
                  <c:v>1.6806722689075701E-3</c:v>
                </c:pt>
                <c:pt idx="393">
                  <c:v>1.6806722689075701E-3</c:v>
                </c:pt>
                <c:pt idx="394">
                  <c:v>1.6806722689075701E-3</c:v>
                </c:pt>
                <c:pt idx="395">
                  <c:v>1.6806722689075701E-3</c:v>
                </c:pt>
                <c:pt idx="396">
                  <c:v>1.6806722689075701E-3</c:v>
                </c:pt>
                <c:pt idx="397">
                  <c:v>1.6806722689075701E-3</c:v>
                </c:pt>
                <c:pt idx="398">
                  <c:v>1.6806722689075701E-3</c:v>
                </c:pt>
                <c:pt idx="399">
                  <c:v>1.6806722689075701E-3</c:v>
                </c:pt>
                <c:pt idx="400">
                  <c:v>1.6806722689075701E-3</c:v>
                </c:pt>
                <c:pt idx="401">
                  <c:v>8.4033613445379197E-4</c:v>
                </c:pt>
                <c:pt idx="402">
                  <c:v>8.4033613445379197E-4</c:v>
                </c:pt>
                <c:pt idx="403">
                  <c:v>8.4033613445379197E-4</c:v>
                </c:pt>
                <c:pt idx="404">
                  <c:v>8.4033613445379197E-4</c:v>
                </c:pt>
                <c:pt idx="405">
                  <c:v>8.4033613445379197E-4</c:v>
                </c:pt>
                <c:pt idx="406">
                  <c:v>8.4033613445379197E-4</c:v>
                </c:pt>
                <c:pt idx="407">
                  <c:v>1.6806722689075701E-3</c:v>
                </c:pt>
                <c:pt idx="408">
                  <c:v>1.6806722689075701E-3</c:v>
                </c:pt>
                <c:pt idx="409">
                  <c:v>1.6806722689075701E-3</c:v>
                </c:pt>
                <c:pt idx="410">
                  <c:v>1.6806722689075701E-3</c:v>
                </c:pt>
                <c:pt idx="411">
                  <c:v>1.6806722689075701E-3</c:v>
                </c:pt>
                <c:pt idx="412">
                  <c:v>8.4033613445377799E-4</c:v>
                </c:pt>
                <c:pt idx="413">
                  <c:v>1.6806722689075499E-3</c:v>
                </c:pt>
                <c:pt idx="414">
                  <c:v>1.6806722689075499E-3</c:v>
                </c:pt>
                <c:pt idx="415">
                  <c:v>1.6806722689075499E-3</c:v>
                </c:pt>
                <c:pt idx="416">
                  <c:v>1.6806722689075499E-3</c:v>
                </c:pt>
                <c:pt idx="417">
                  <c:v>1.6806722689075499E-3</c:v>
                </c:pt>
                <c:pt idx="418">
                  <c:v>1.6806722689075499E-3</c:v>
                </c:pt>
                <c:pt idx="419">
                  <c:v>1.6806722689075499E-3</c:v>
                </c:pt>
                <c:pt idx="420">
                  <c:v>1.6806722689075499E-3</c:v>
                </c:pt>
                <c:pt idx="421">
                  <c:v>1.6806722689075499E-3</c:v>
                </c:pt>
                <c:pt idx="422">
                  <c:v>8.4033613445377799E-4</c:v>
                </c:pt>
                <c:pt idx="423">
                  <c:v>8.4033613445377799E-4</c:v>
                </c:pt>
                <c:pt idx="424">
                  <c:v>8.4033613445377799E-4</c:v>
                </c:pt>
                <c:pt idx="425">
                  <c:v>8.4033613445377799E-4</c:v>
                </c:pt>
                <c:pt idx="426">
                  <c:v>8.4033613445377799E-4</c:v>
                </c:pt>
                <c:pt idx="427">
                  <c:v>0</c:v>
                </c:pt>
                <c:pt idx="428">
                  <c:v>8.4033613445377799E-4</c:v>
                </c:pt>
                <c:pt idx="429">
                  <c:v>8.4033613445377799E-4</c:v>
                </c:pt>
                <c:pt idx="430">
                  <c:v>8.4033613445377799E-4</c:v>
                </c:pt>
                <c:pt idx="431">
                  <c:v>8.4033613445377799E-4</c:v>
                </c:pt>
                <c:pt idx="432">
                  <c:v>0</c:v>
                </c:pt>
                <c:pt idx="433">
                  <c:v>-8.4033613445379197E-4</c:v>
                </c:pt>
                <c:pt idx="434">
                  <c:v>-8.4033613445379197E-4</c:v>
                </c:pt>
                <c:pt idx="435">
                  <c:v>-8.4033613445379197E-4</c:v>
                </c:pt>
                <c:pt idx="436">
                  <c:v>-8.4033613445379197E-4</c:v>
                </c:pt>
                <c:pt idx="437">
                  <c:v>-8.4033613445379197E-4</c:v>
                </c:pt>
                <c:pt idx="438">
                  <c:v>-8.4033613445379197E-4</c:v>
                </c:pt>
                <c:pt idx="439">
                  <c:v>-8.4033613445379197E-4</c:v>
                </c:pt>
                <c:pt idx="440">
                  <c:v>-8.4033613445379197E-4</c:v>
                </c:pt>
                <c:pt idx="441">
                  <c:v>-8.4033613445379197E-4</c:v>
                </c:pt>
                <c:pt idx="442">
                  <c:v>-8.4033613445379197E-4</c:v>
                </c:pt>
                <c:pt idx="443">
                  <c:v>-8.4033613445379197E-4</c:v>
                </c:pt>
                <c:pt idx="444">
                  <c:v>-8.4033613445379197E-4</c:v>
                </c:pt>
                <c:pt idx="445">
                  <c:v>-1.6806722689075701E-3</c:v>
                </c:pt>
                <c:pt idx="446">
                  <c:v>-1.6806722689075701E-3</c:v>
                </c:pt>
                <c:pt idx="447">
                  <c:v>-8.4033613445377799E-4</c:v>
                </c:pt>
                <c:pt idx="448">
                  <c:v>-8.4033613445377799E-4</c:v>
                </c:pt>
                <c:pt idx="449">
                  <c:v>-8.4033613445377799E-4</c:v>
                </c:pt>
                <c:pt idx="450">
                  <c:v>-8.4033613445377799E-4</c:v>
                </c:pt>
                <c:pt idx="451">
                  <c:v>0</c:v>
                </c:pt>
                <c:pt idx="452">
                  <c:v>0</c:v>
                </c:pt>
                <c:pt idx="453">
                  <c:v>0</c:v>
                </c:pt>
                <c:pt idx="454">
                  <c:v>0</c:v>
                </c:pt>
                <c:pt idx="455">
                  <c:v>8.4033613445377799E-4</c:v>
                </c:pt>
                <c:pt idx="456">
                  <c:v>8.4033613445377799E-4</c:v>
                </c:pt>
                <c:pt idx="457">
                  <c:v>8.4033613445377799E-4</c:v>
                </c:pt>
                <c:pt idx="458">
                  <c:v>0</c:v>
                </c:pt>
                <c:pt idx="459">
                  <c:v>0</c:v>
                </c:pt>
                <c:pt idx="460">
                  <c:v>-8.4033613445377799E-4</c:v>
                </c:pt>
                <c:pt idx="461">
                  <c:v>-8.4033613445377799E-4</c:v>
                </c:pt>
                <c:pt idx="462">
                  <c:v>-8.4033613445377799E-4</c:v>
                </c:pt>
                <c:pt idx="463">
                  <c:v>-8.4033613445377799E-4</c:v>
                </c:pt>
                <c:pt idx="464">
                  <c:v>-8.4033613445377799E-4</c:v>
                </c:pt>
                <c:pt idx="465">
                  <c:v>0</c:v>
                </c:pt>
                <c:pt idx="466">
                  <c:v>0</c:v>
                </c:pt>
                <c:pt idx="467">
                  <c:v>-8.4033613445377799E-4</c:v>
                </c:pt>
                <c:pt idx="468">
                  <c:v>0</c:v>
                </c:pt>
                <c:pt idx="469">
                  <c:v>8.4033613445379197E-4</c:v>
                </c:pt>
                <c:pt idx="470">
                  <c:v>8.4033613445379197E-4</c:v>
                </c:pt>
                <c:pt idx="471">
                  <c:v>8.4033613445379197E-4</c:v>
                </c:pt>
                <c:pt idx="472">
                  <c:v>8.4033613445379197E-4</c:v>
                </c:pt>
                <c:pt idx="473">
                  <c:v>8.4033613445379197E-4</c:v>
                </c:pt>
                <c:pt idx="474">
                  <c:v>8.4033613445379197E-4</c:v>
                </c:pt>
                <c:pt idx="475">
                  <c:v>8.4033613445379197E-4</c:v>
                </c:pt>
                <c:pt idx="476">
                  <c:v>0</c:v>
                </c:pt>
                <c:pt idx="477">
                  <c:v>0</c:v>
                </c:pt>
                <c:pt idx="478">
                  <c:v>0</c:v>
                </c:pt>
                <c:pt idx="479">
                  <c:v>0</c:v>
                </c:pt>
                <c:pt idx="480">
                  <c:v>0</c:v>
                </c:pt>
                <c:pt idx="481">
                  <c:v>-8.4033613445377799E-4</c:v>
                </c:pt>
                <c:pt idx="482">
                  <c:v>-8.4033613445377799E-4</c:v>
                </c:pt>
                <c:pt idx="483">
                  <c:v>-8.4033613445377799E-4</c:v>
                </c:pt>
                <c:pt idx="484">
                  <c:v>-8.4033613445377799E-4</c:v>
                </c:pt>
                <c:pt idx="485">
                  <c:v>-8.4033613445377799E-4</c:v>
                </c:pt>
                <c:pt idx="486">
                  <c:v>-8.4033613445377799E-4</c:v>
                </c:pt>
                <c:pt idx="487">
                  <c:v>-8.4033613445377799E-4</c:v>
                </c:pt>
                <c:pt idx="488">
                  <c:v>-1.6806722689075499E-3</c:v>
                </c:pt>
                <c:pt idx="489">
                  <c:v>-1.6806722689075499E-3</c:v>
                </c:pt>
                <c:pt idx="490">
                  <c:v>-1.6806722689075499E-3</c:v>
                </c:pt>
                <c:pt idx="491">
                  <c:v>-1.6806722689075499E-3</c:v>
                </c:pt>
                <c:pt idx="492">
                  <c:v>-1.6806722689075499E-3</c:v>
                </c:pt>
                <c:pt idx="493">
                  <c:v>-1.6806722689075499E-3</c:v>
                </c:pt>
                <c:pt idx="494">
                  <c:v>-1.6806722689075499E-3</c:v>
                </c:pt>
                <c:pt idx="495">
                  <c:v>-8.4033613445377799E-4</c:v>
                </c:pt>
                <c:pt idx="496">
                  <c:v>-8.4033613445377799E-4</c:v>
                </c:pt>
                <c:pt idx="497">
                  <c:v>-1.6806722689075499E-3</c:v>
                </c:pt>
                <c:pt idx="498">
                  <c:v>-1.6806722689075499E-3</c:v>
                </c:pt>
                <c:pt idx="499">
                  <c:v>-1.6806722689075499E-3</c:v>
                </c:pt>
                <c:pt idx="500">
                  <c:v>-1.6806722689075499E-3</c:v>
                </c:pt>
                <c:pt idx="501">
                  <c:v>-2.5210084033613399E-3</c:v>
                </c:pt>
                <c:pt idx="502">
                  <c:v>-2.5210084033613399E-3</c:v>
                </c:pt>
                <c:pt idx="503">
                  <c:v>-2.5210084033613399E-3</c:v>
                </c:pt>
                <c:pt idx="504">
                  <c:v>-2.5210084033613399E-3</c:v>
                </c:pt>
                <c:pt idx="505">
                  <c:v>-2.5210084033613399E-3</c:v>
                </c:pt>
                <c:pt idx="506">
                  <c:v>-2.5210084033613399E-3</c:v>
                </c:pt>
                <c:pt idx="507">
                  <c:v>-2.5210084033613399E-3</c:v>
                </c:pt>
                <c:pt idx="508">
                  <c:v>-2.5210084033613399E-3</c:v>
                </c:pt>
                <c:pt idx="509">
                  <c:v>-2.5210084033613399E-3</c:v>
                </c:pt>
                <c:pt idx="510">
                  <c:v>-2.5210084033613399E-3</c:v>
                </c:pt>
                <c:pt idx="511">
                  <c:v>-2.5210084033613399E-3</c:v>
                </c:pt>
                <c:pt idx="512">
                  <c:v>-2.5210084033613399E-3</c:v>
                </c:pt>
                <c:pt idx="513">
                  <c:v>-1.6806722689075701E-3</c:v>
                </c:pt>
                <c:pt idx="514">
                  <c:v>-8.4033613445379197E-4</c:v>
                </c:pt>
                <c:pt idx="515">
                  <c:v>-8.4033613445379197E-4</c:v>
                </c:pt>
                <c:pt idx="516">
                  <c:v>-8.4033613445379197E-4</c:v>
                </c:pt>
                <c:pt idx="517">
                  <c:v>-8.4033613445379197E-4</c:v>
                </c:pt>
                <c:pt idx="518">
                  <c:v>-8.4033613445379197E-4</c:v>
                </c:pt>
                <c:pt idx="519">
                  <c:v>-8.4033613445379197E-4</c:v>
                </c:pt>
                <c:pt idx="520">
                  <c:v>-8.4033613445379197E-4</c:v>
                </c:pt>
                <c:pt idx="521">
                  <c:v>-8.4033613445379197E-4</c:v>
                </c:pt>
                <c:pt idx="522">
                  <c:v>-8.4033613445379197E-4</c:v>
                </c:pt>
                <c:pt idx="523">
                  <c:v>-8.4033613445379197E-4</c:v>
                </c:pt>
                <c:pt idx="524">
                  <c:v>-8.4033613445379197E-4</c:v>
                </c:pt>
                <c:pt idx="525">
                  <c:v>-8.4033613445379197E-4</c:v>
                </c:pt>
                <c:pt idx="526">
                  <c:v>-8.4033613445379197E-4</c:v>
                </c:pt>
                <c:pt idx="527">
                  <c:v>-8.4033613445379197E-4</c:v>
                </c:pt>
                <c:pt idx="528">
                  <c:v>-8.4033613445379197E-4</c:v>
                </c:pt>
                <c:pt idx="529">
                  <c:v>-8.4033613445379197E-4</c:v>
                </c:pt>
                <c:pt idx="530">
                  <c:v>-8.4033613445379197E-4</c:v>
                </c:pt>
                <c:pt idx="531">
                  <c:v>0</c:v>
                </c:pt>
                <c:pt idx="532">
                  <c:v>0</c:v>
                </c:pt>
                <c:pt idx="533">
                  <c:v>0</c:v>
                </c:pt>
                <c:pt idx="534">
                  <c:v>0</c:v>
                </c:pt>
                <c:pt idx="535">
                  <c:v>0</c:v>
                </c:pt>
                <c:pt idx="536">
                  <c:v>0</c:v>
                </c:pt>
                <c:pt idx="537">
                  <c:v>0</c:v>
                </c:pt>
                <c:pt idx="538">
                  <c:v>0</c:v>
                </c:pt>
                <c:pt idx="539">
                  <c:v>8.4033613445377799E-4</c:v>
                </c:pt>
                <c:pt idx="540">
                  <c:v>8.4033613445377799E-4</c:v>
                </c:pt>
                <c:pt idx="541">
                  <c:v>8.4033613445377799E-4</c:v>
                </c:pt>
                <c:pt idx="542">
                  <c:v>8.4033613445377799E-4</c:v>
                </c:pt>
                <c:pt idx="543">
                  <c:v>8.4033613445377799E-4</c:v>
                </c:pt>
                <c:pt idx="544">
                  <c:v>8.4033613445377799E-4</c:v>
                </c:pt>
                <c:pt idx="545">
                  <c:v>1.6806722689075499E-3</c:v>
                </c:pt>
                <c:pt idx="546">
                  <c:v>1.6806722689075499E-3</c:v>
                </c:pt>
                <c:pt idx="547">
                  <c:v>1.6806722689075499E-3</c:v>
                </c:pt>
                <c:pt idx="548">
                  <c:v>1.6806722689075499E-3</c:v>
                </c:pt>
                <c:pt idx="549">
                  <c:v>1.6806722689075499E-3</c:v>
                </c:pt>
                <c:pt idx="550">
                  <c:v>2.5210084033613299E-3</c:v>
                </c:pt>
                <c:pt idx="551">
                  <c:v>2.5210084033613299E-3</c:v>
                </c:pt>
                <c:pt idx="552">
                  <c:v>2.5210084033613299E-3</c:v>
                </c:pt>
                <c:pt idx="553">
                  <c:v>2.5210084033613299E-3</c:v>
                </c:pt>
                <c:pt idx="554">
                  <c:v>2.5210084033613299E-3</c:v>
                </c:pt>
                <c:pt idx="555">
                  <c:v>2.5210084033613299E-3</c:v>
                </c:pt>
                <c:pt idx="556">
                  <c:v>1.6806722689075499E-3</c:v>
                </c:pt>
                <c:pt idx="557">
                  <c:v>1.6806722689075499E-3</c:v>
                </c:pt>
                <c:pt idx="558">
                  <c:v>1.6806722689075499E-3</c:v>
                </c:pt>
                <c:pt idx="559">
                  <c:v>1.6806722689075499E-3</c:v>
                </c:pt>
                <c:pt idx="560">
                  <c:v>1.6806722689075499E-3</c:v>
                </c:pt>
                <c:pt idx="561">
                  <c:v>1.6806722689075499E-3</c:v>
                </c:pt>
                <c:pt idx="562">
                  <c:v>1.6806722689075499E-3</c:v>
                </c:pt>
                <c:pt idx="563">
                  <c:v>2.5210084033613299E-3</c:v>
                </c:pt>
                <c:pt idx="564">
                  <c:v>2.5210084033613299E-3</c:v>
                </c:pt>
                <c:pt idx="565">
                  <c:v>2.5210084033613299E-3</c:v>
                </c:pt>
                <c:pt idx="566">
                  <c:v>2.5210084033613299E-3</c:v>
                </c:pt>
                <c:pt idx="567">
                  <c:v>2.5210084033613299E-3</c:v>
                </c:pt>
                <c:pt idx="568">
                  <c:v>2.5210084033613299E-3</c:v>
                </c:pt>
                <c:pt idx="569">
                  <c:v>2.5210084033613299E-3</c:v>
                </c:pt>
                <c:pt idx="570">
                  <c:v>2.5210084033613299E-3</c:v>
                </c:pt>
                <c:pt idx="571">
                  <c:v>2.5210084033613299E-3</c:v>
                </c:pt>
                <c:pt idx="572">
                  <c:v>1.6806722689075499E-3</c:v>
                </c:pt>
                <c:pt idx="573">
                  <c:v>8.4033613445377799E-4</c:v>
                </c:pt>
                <c:pt idx="574">
                  <c:v>8.4033613445377799E-4</c:v>
                </c:pt>
                <c:pt idx="575">
                  <c:v>8.4033613445377799E-4</c:v>
                </c:pt>
                <c:pt idx="576">
                  <c:v>8.4033613445377799E-4</c:v>
                </c:pt>
                <c:pt idx="577">
                  <c:v>8.4033613445377799E-4</c:v>
                </c:pt>
                <c:pt idx="578">
                  <c:v>8.4033613445377799E-4</c:v>
                </c:pt>
                <c:pt idx="579">
                  <c:v>8.4033613445377799E-4</c:v>
                </c:pt>
                <c:pt idx="580">
                  <c:v>8.4033613445377799E-4</c:v>
                </c:pt>
                <c:pt idx="581">
                  <c:v>8.4033613445377799E-4</c:v>
                </c:pt>
                <c:pt idx="582">
                  <c:v>8.4033613445377799E-4</c:v>
                </c:pt>
                <c:pt idx="583">
                  <c:v>8.4033613445377799E-4</c:v>
                </c:pt>
                <c:pt idx="584">
                  <c:v>8.4033613445377799E-4</c:v>
                </c:pt>
                <c:pt idx="585">
                  <c:v>8.4033613445377799E-4</c:v>
                </c:pt>
                <c:pt idx="586">
                  <c:v>8.4033613445377799E-4</c:v>
                </c:pt>
                <c:pt idx="587">
                  <c:v>8.4033613445377799E-4</c:v>
                </c:pt>
                <c:pt idx="588">
                  <c:v>8.4033613445377799E-4</c:v>
                </c:pt>
                <c:pt idx="589">
                  <c:v>8.4033613445377799E-4</c:v>
                </c:pt>
                <c:pt idx="590">
                  <c:v>8.4033613445377799E-4</c:v>
                </c:pt>
                <c:pt idx="591">
                  <c:v>8.4033613445377799E-4</c:v>
                </c:pt>
                <c:pt idx="592">
                  <c:v>8.4033613445377799E-4</c:v>
                </c:pt>
                <c:pt idx="593">
                  <c:v>8.4033613445377799E-4</c:v>
                </c:pt>
                <c:pt idx="594">
                  <c:v>8.4033613445377799E-4</c:v>
                </c:pt>
                <c:pt idx="595">
                  <c:v>8.4033613445377799E-4</c:v>
                </c:pt>
                <c:pt idx="596">
                  <c:v>8.4033613445377799E-4</c:v>
                </c:pt>
                <c:pt idx="597">
                  <c:v>8.4033613445377799E-4</c:v>
                </c:pt>
                <c:pt idx="598">
                  <c:v>8.4033613445377799E-4</c:v>
                </c:pt>
                <c:pt idx="599">
                  <c:v>1.6806722689075701E-3</c:v>
                </c:pt>
                <c:pt idx="600">
                  <c:v>1.6806722689075701E-3</c:v>
                </c:pt>
                <c:pt idx="601">
                  <c:v>1.6806722689075701E-3</c:v>
                </c:pt>
                <c:pt idx="602">
                  <c:v>1.6806722689075701E-3</c:v>
                </c:pt>
                <c:pt idx="603">
                  <c:v>1.6806722689075701E-3</c:v>
                </c:pt>
                <c:pt idx="604">
                  <c:v>1.6806722689075701E-3</c:v>
                </c:pt>
                <c:pt idx="605">
                  <c:v>1.6806722689075701E-3</c:v>
                </c:pt>
                <c:pt idx="606">
                  <c:v>1.6806722689075701E-3</c:v>
                </c:pt>
                <c:pt idx="607">
                  <c:v>1.6806722689075701E-3</c:v>
                </c:pt>
                <c:pt idx="608">
                  <c:v>1.6806722689075701E-3</c:v>
                </c:pt>
                <c:pt idx="609">
                  <c:v>1.6806722689075701E-3</c:v>
                </c:pt>
                <c:pt idx="610">
                  <c:v>1.6806722689075701E-3</c:v>
                </c:pt>
                <c:pt idx="611">
                  <c:v>1.6806722689075701E-3</c:v>
                </c:pt>
                <c:pt idx="612">
                  <c:v>1.6806722689075701E-3</c:v>
                </c:pt>
                <c:pt idx="613">
                  <c:v>1.6806722689075701E-3</c:v>
                </c:pt>
                <c:pt idx="614">
                  <c:v>2.5210084033613399E-3</c:v>
                </c:pt>
                <c:pt idx="615">
                  <c:v>2.5210084033613399E-3</c:v>
                </c:pt>
                <c:pt idx="616">
                  <c:v>2.5210084033613399E-3</c:v>
                </c:pt>
                <c:pt idx="617">
                  <c:v>2.5210084033613399E-3</c:v>
                </c:pt>
                <c:pt idx="618">
                  <c:v>2.5210084033613399E-3</c:v>
                </c:pt>
                <c:pt idx="619">
                  <c:v>2.5210084033613399E-3</c:v>
                </c:pt>
                <c:pt idx="620">
                  <c:v>2.5210084033613399E-3</c:v>
                </c:pt>
                <c:pt idx="621">
                  <c:v>2.5210084033613399E-3</c:v>
                </c:pt>
                <c:pt idx="622">
                  <c:v>2.5210084033613399E-3</c:v>
                </c:pt>
                <c:pt idx="623">
                  <c:v>2.5210084033613399E-3</c:v>
                </c:pt>
                <c:pt idx="624">
                  <c:v>2.5210084033613399E-3</c:v>
                </c:pt>
                <c:pt idx="625">
                  <c:v>2.5210084033613399E-3</c:v>
                </c:pt>
                <c:pt idx="626">
                  <c:v>1.6806722689075701E-3</c:v>
                </c:pt>
                <c:pt idx="627">
                  <c:v>1.6806722689075701E-3</c:v>
                </c:pt>
                <c:pt idx="628">
                  <c:v>1.6806722689075701E-3</c:v>
                </c:pt>
                <c:pt idx="629">
                  <c:v>1.6806722689075701E-3</c:v>
                </c:pt>
                <c:pt idx="630">
                  <c:v>1.6806722689075701E-3</c:v>
                </c:pt>
                <c:pt idx="631">
                  <c:v>1.6806722689075701E-3</c:v>
                </c:pt>
                <c:pt idx="632">
                  <c:v>8.4033613445377799E-4</c:v>
                </c:pt>
                <c:pt idx="633">
                  <c:v>8.4033613445377799E-4</c:v>
                </c:pt>
                <c:pt idx="634">
                  <c:v>0</c:v>
                </c:pt>
                <c:pt idx="635">
                  <c:v>0</c:v>
                </c:pt>
                <c:pt idx="636">
                  <c:v>0</c:v>
                </c:pt>
                <c:pt idx="637">
                  <c:v>0</c:v>
                </c:pt>
                <c:pt idx="638">
                  <c:v>0</c:v>
                </c:pt>
                <c:pt idx="639">
                  <c:v>0</c:v>
                </c:pt>
                <c:pt idx="640">
                  <c:v>0</c:v>
                </c:pt>
                <c:pt idx="641">
                  <c:v>0</c:v>
                </c:pt>
                <c:pt idx="642">
                  <c:v>0</c:v>
                </c:pt>
                <c:pt idx="643">
                  <c:v>0</c:v>
                </c:pt>
                <c:pt idx="644">
                  <c:v>0</c:v>
                </c:pt>
                <c:pt idx="645">
                  <c:v>0</c:v>
                </c:pt>
                <c:pt idx="646">
                  <c:v>0</c:v>
                </c:pt>
                <c:pt idx="647">
                  <c:v>0</c:v>
                </c:pt>
                <c:pt idx="648">
                  <c:v>0</c:v>
                </c:pt>
                <c:pt idx="649">
                  <c:v>0</c:v>
                </c:pt>
                <c:pt idx="650">
                  <c:v>0</c:v>
                </c:pt>
                <c:pt idx="651">
                  <c:v>8.4033613445377799E-4</c:v>
                </c:pt>
                <c:pt idx="652">
                  <c:v>8.4033613445377799E-4</c:v>
                </c:pt>
                <c:pt idx="653">
                  <c:v>8.4033613445377799E-4</c:v>
                </c:pt>
                <c:pt idx="654">
                  <c:v>1.6806722689075499E-3</c:v>
                </c:pt>
                <c:pt idx="655">
                  <c:v>1.6806722689075499E-3</c:v>
                </c:pt>
                <c:pt idx="656">
                  <c:v>1.6806722689075499E-3</c:v>
                </c:pt>
                <c:pt idx="657">
                  <c:v>1.6806722689075499E-3</c:v>
                </c:pt>
                <c:pt idx="658">
                  <c:v>1.6806722689075499E-3</c:v>
                </c:pt>
                <c:pt idx="659">
                  <c:v>1.6806722689075499E-3</c:v>
                </c:pt>
                <c:pt idx="660">
                  <c:v>1.6806722689075499E-3</c:v>
                </c:pt>
                <c:pt idx="661">
                  <c:v>1.6806722689075499E-3</c:v>
                </c:pt>
                <c:pt idx="662">
                  <c:v>1.6806722689075499E-3</c:v>
                </c:pt>
                <c:pt idx="663">
                  <c:v>1.6806722689075499E-3</c:v>
                </c:pt>
                <c:pt idx="664">
                  <c:v>1.6806722689075499E-3</c:v>
                </c:pt>
                <c:pt idx="665">
                  <c:v>1.6806722689075499E-3</c:v>
                </c:pt>
                <c:pt idx="666">
                  <c:v>1.6806722689075499E-3</c:v>
                </c:pt>
                <c:pt idx="667">
                  <c:v>1.6806722689075499E-3</c:v>
                </c:pt>
                <c:pt idx="668">
                  <c:v>1.6806722689075499E-3</c:v>
                </c:pt>
                <c:pt idx="669">
                  <c:v>1.6806722689075499E-3</c:v>
                </c:pt>
                <c:pt idx="670">
                  <c:v>2.5210084033613399E-3</c:v>
                </c:pt>
                <c:pt idx="671">
                  <c:v>2.5210084033613399E-3</c:v>
                </c:pt>
                <c:pt idx="672">
                  <c:v>2.5210084033613399E-3</c:v>
                </c:pt>
                <c:pt idx="673">
                  <c:v>2.5210084033613399E-3</c:v>
                </c:pt>
                <c:pt idx="674">
                  <c:v>2.5210084033613399E-3</c:v>
                </c:pt>
                <c:pt idx="675">
                  <c:v>2.5210084033613399E-3</c:v>
                </c:pt>
                <c:pt idx="676">
                  <c:v>2.5210084033613399E-3</c:v>
                </c:pt>
                <c:pt idx="677">
                  <c:v>2.5210084033613399E-3</c:v>
                </c:pt>
                <c:pt idx="678">
                  <c:v>2.5210084033613399E-3</c:v>
                </c:pt>
                <c:pt idx="679">
                  <c:v>2.5210084033613399E-3</c:v>
                </c:pt>
                <c:pt idx="680">
                  <c:v>2.5210084033613399E-3</c:v>
                </c:pt>
                <c:pt idx="681">
                  <c:v>3.3613445378151202E-3</c:v>
                </c:pt>
                <c:pt idx="682">
                  <c:v>4.2016806722688996E-3</c:v>
                </c:pt>
                <c:pt idx="683">
                  <c:v>4.2016806722688996E-3</c:v>
                </c:pt>
                <c:pt idx="684">
                  <c:v>3.3613445378151202E-3</c:v>
                </c:pt>
                <c:pt idx="685">
                  <c:v>3.3613445378151202E-3</c:v>
                </c:pt>
                <c:pt idx="686">
                  <c:v>3.3613445378151202E-3</c:v>
                </c:pt>
                <c:pt idx="687">
                  <c:v>3.3613445378151202E-3</c:v>
                </c:pt>
                <c:pt idx="688">
                  <c:v>3.3613445378151202E-3</c:v>
                </c:pt>
                <c:pt idx="689">
                  <c:v>3.3613445378151202E-3</c:v>
                </c:pt>
                <c:pt idx="690">
                  <c:v>3.3613445378151202E-3</c:v>
                </c:pt>
                <c:pt idx="691">
                  <c:v>3.3613445378151202E-3</c:v>
                </c:pt>
                <c:pt idx="692">
                  <c:v>3.3613445378151202E-3</c:v>
                </c:pt>
                <c:pt idx="693">
                  <c:v>3.3613445378151202E-3</c:v>
                </c:pt>
                <c:pt idx="694">
                  <c:v>3.3613445378151202E-3</c:v>
                </c:pt>
                <c:pt idx="695">
                  <c:v>3.3613445378151202E-3</c:v>
                </c:pt>
                <c:pt idx="696">
                  <c:v>3.3613445378151202E-3</c:v>
                </c:pt>
                <c:pt idx="697">
                  <c:v>3.3613445378151202E-3</c:v>
                </c:pt>
                <c:pt idx="698">
                  <c:v>3.3613445378151202E-3</c:v>
                </c:pt>
                <c:pt idx="699">
                  <c:v>3.3613445378151202E-3</c:v>
                </c:pt>
                <c:pt idx="700">
                  <c:v>3.3613445378151202E-3</c:v>
                </c:pt>
                <c:pt idx="701">
                  <c:v>3.3613445378151202E-3</c:v>
                </c:pt>
                <c:pt idx="702">
                  <c:v>3.3613445378151202E-3</c:v>
                </c:pt>
                <c:pt idx="703">
                  <c:v>3.3613445378151202E-3</c:v>
                </c:pt>
                <c:pt idx="704">
                  <c:v>3.3613445378151202E-3</c:v>
                </c:pt>
                <c:pt idx="705">
                  <c:v>3.3613445378151202E-3</c:v>
                </c:pt>
                <c:pt idx="706">
                  <c:v>3.3613445378151202E-3</c:v>
                </c:pt>
                <c:pt idx="707">
                  <c:v>3.3613445378151202E-3</c:v>
                </c:pt>
                <c:pt idx="708">
                  <c:v>3.3613445378151202E-3</c:v>
                </c:pt>
                <c:pt idx="709">
                  <c:v>3.3613445378151202E-3</c:v>
                </c:pt>
                <c:pt idx="710">
                  <c:v>3.3613445378151202E-3</c:v>
                </c:pt>
                <c:pt idx="711">
                  <c:v>3.3613445378151202E-3</c:v>
                </c:pt>
                <c:pt idx="712">
                  <c:v>3.3613445378151202E-3</c:v>
                </c:pt>
                <c:pt idx="713">
                  <c:v>3.3613445378151202E-3</c:v>
                </c:pt>
                <c:pt idx="714">
                  <c:v>3.3613445378151202E-3</c:v>
                </c:pt>
                <c:pt idx="715">
                  <c:v>3.3613445378151202E-3</c:v>
                </c:pt>
                <c:pt idx="716">
                  <c:v>3.3613445378151202E-3</c:v>
                </c:pt>
                <c:pt idx="717">
                  <c:v>3.3613445378151202E-3</c:v>
                </c:pt>
                <c:pt idx="718">
                  <c:v>3.3613445378151202E-3</c:v>
                </c:pt>
                <c:pt idx="719">
                  <c:v>3.3613445378151202E-3</c:v>
                </c:pt>
                <c:pt idx="720">
                  <c:v>4.2016806722688996E-3</c:v>
                </c:pt>
                <c:pt idx="721">
                  <c:v>4.2016806722688996E-3</c:v>
                </c:pt>
                <c:pt idx="722">
                  <c:v>3.3613445378151202E-3</c:v>
                </c:pt>
                <c:pt idx="723">
                  <c:v>3.3613445378151202E-3</c:v>
                </c:pt>
                <c:pt idx="724">
                  <c:v>3.3613445378151202E-3</c:v>
                </c:pt>
                <c:pt idx="725">
                  <c:v>3.3613445378151202E-3</c:v>
                </c:pt>
                <c:pt idx="726">
                  <c:v>3.3613445378151202E-3</c:v>
                </c:pt>
                <c:pt idx="727">
                  <c:v>3.3613445378151202E-3</c:v>
                </c:pt>
                <c:pt idx="728">
                  <c:v>3.3613445378151202E-3</c:v>
                </c:pt>
                <c:pt idx="729">
                  <c:v>3.3613445378151202E-3</c:v>
                </c:pt>
                <c:pt idx="730">
                  <c:v>3.3613445378151202E-3</c:v>
                </c:pt>
                <c:pt idx="731">
                  <c:v>3.3613445378151202E-3</c:v>
                </c:pt>
                <c:pt idx="732">
                  <c:v>3.3613445378151202E-3</c:v>
                </c:pt>
                <c:pt idx="733">
                  <c:v>3.3613445378151202E-3</c:v>
                </c:pt>
                <c:pt idx="734">
                  <c:v>3.3613445378151202E-3</c:v>
                </c:pt>
                <c:pt idx="735">
                  <c:v>3.3613445378151202E-3</c:v>
                </c:pt>
                <c:pt idx="736">
                  <c:v>3.3613445378151202E-3</c:v>
                </c:pt>
                <c:pt idx="737">
                  <c:v>3.3613445378151202E-3</c:v>
                </c:pt>
                <c:pt idx="738">
                  <c:v>3.3613445378151202E-3</c:v>
                </c:pt>
                <c:pt idx="739">
                  <c:v>3.3613445378151202E-3</c:v>
                </c:pt>
                <c:pt idx="740">
                  <c:v>2.5210084033613299E-3</c:v>
                </c:pt>
                <c:pt idx="741">
                  <c:v>2.5210084033613299E-3</c:v>
                </c:pt>
                <c:pt idx="742">
                  <c:v>2.5210084033613299E-3</c:v>
                </c:pt>
                <c:pt idx="743">
                  <c:v>2.5210084033613299E-3</c:v>
                </c:pt>
                <c:pt idx="744">
                  <c:v>2.5210084033613299E-3</c:v>
                </c:pt>
                <c:pt idx="745">
                  <c:v>3.3613445378151202E-3</c:v>
                </c:pt>
                <c:pt idx="746">
                  <c:v>4.2016806722688996E-3</c:v>
                </c:pt>
                <c:pt idx="747">
                  <c:v>4.2016806722688996E-3</c:v>
                </c:pt>
                <c:pt idx="748">
                  <c:v>4.2016806722688996E-3</c:v>
                </c:pt>
                <c:pt idx="749">
                  <c:v>3.3613445378151202E-3</c:v>
                </c:pt>
                <c:pt idx="750">
                  <c:v>3.3613445378151202E-3</c:v>
                </c:pt>
                <c:pt idx="751">
                  <c:v>3.3613445378151202E-3</c:v>
                </c:pt>
                <c:pt idx="752">
                  <c:v>3.3613445378151202E-3</c:v>
                </c:pt>
                <c:pt idx="753">
                  <c:v>3.3613445378151202E-3</c:v>
                </c:pt>
                <c:pt idx="754">
                  <c:v>3.3613445378151202E-3</c:v>
                </c:pt>
                <c:pt idx="755">
                  <c:v>3.3613445378151202E-3</c:v>
                </c:pt>
                <c:pt idx="756">
                  <c:v>3.3613445378151202E-3</c:v>
                </c:pt>
                <c:pt idx="757">
                  <c:v>3.3613445378151202E-3</c:v>
                </c:pt>
                <c:pt idx="758">
                  <c:v>2.5210084033613399E-3</c:v>
                </c:pt>
                <c:pt idx="759">
                  <c:v>2.5210084033613399E-3</c:v>
                </c:pt>
                <c:pt idx="760">
                  <c:v>2.5210084033613399E-3</c:v>
                </c:pt>
                <c:pt idx="761">
                  <c:v>2.5210084033613399E-3</c:v>
                </c:pt>
                <c:pt idx="762">
                  <c:v>2.5210084033613399E-3</c:v>
                </c:pt>
                <c:pt idx="763">
                  <c:v>2.5210084033613399E-3</c:v>
                </c:pt>
                <c:pt idx="764">
                  <c:v>2.5210084033613399E-3</c:v>
                </c:pt>
                <c:pt idx="765">
                  <c:v>2.5210084033613399E-3</c:v>
                </c:pt>
                <c:pt idx="766">
                  <c:v>2.5210084033613399E-3</c:v>
                </c:pt>
                <c:pt idx="767">
                  <c:v>2.5210084033613399E-3</c:v>
                </c:pt>
                <c:pt idx="768">
                  <c:v>2.5210084033613399E-3</c:v>
                </c:pt>
                <c:pt idx="769">
                  <c:v>2.5210084033613399E-3</c:v>
                </c:pt>
                <c:pt idx="770">
                  <c:v>2.5210084033613399E-3</c:v>
                </c:pt>
                <c:pt idx="771">
                  <c:v>2.5210084033613399E-3</c:v>
                </c:pt>
                <c:pt idx="772">
                  <c:v>2.5210084033613399E-3</c:v>
                </c:pt>
                <c:pt idx="773">
                  <c:v>2.5210084033613399E-3</c:v>
                </c:pt>
                <c:pt idx="774">
                  <c:v>1.6806722689075701E-3</c:v>
                </c:pt>
                <c:pt idx="775">
                  <c:v>1.6806722689075701E-3</c:v>
                </c:pt>
                <c:pt idx="776">
                  <c:v>1.6806722689075701E-3</c:v>
                </c:pt>
                <c:pt idx="777">
                  <c:v>1.6806722689075701E-3</c:v>
                </c:pt>
                <c:pt idx="778">
                  <c:v>1.6806722689075701E-3</c:v>
                </c:pt>
                <c:pt idx="779">
                  <c:v>1.6806722689075701E-3</c:v>
                </c:pt>
                <c:pt idx="780">
                  <c:v>1.6806722689075701E-3</c:v>
                </c:pt>
                <c:pt idx="781">
                  <c:v>1.6806722689075701E-3</c:v>
                </c:pt>
                <c:pt idx="782">
                  <c:v>1.6806722689075701E-3</c:v>
                </c:pt>
                <c:pt idx="783">
                  <c:v>1.6806722689075701E-3</c:v>
                </c:pt>
                <c:pt idx="784">
                  <c:v>1.6806722689075701E-3</c:v>
                </c:pt>
                <c:pt idx="785">
                  <c:v>1.6806722689075701E-3</c:v>
                </c:pt>
                <c:pt idx="786">
                  <c:v>1.6806722689075701E-3</c:v>
                </c:pt>
                <c:pt idx="787">
                  <c:v>1.6806722689075701E-3</c:v>
                </c:pt>
                <c:pt idx="788">
                  <c:v>1.6806722689075701E-3</c:v>
                </c:pt>
                <c:pt idx="789">
                  <c:v>1.6806722689075701E-3</c:v>
                </c:pt>
                <c:pt idx="790">
                  <c:v>1.6806722689075701E-3</c:v>
                </c:pt>
                <c:pt idx="791">
                  <c:v>1.6806722689075701E-3</c:v>
                </c:pt>
                <c:pt idx="792">
                  <c:v>1.6806722689075701E-3</c:v>
                </c:pt>
                <c:pt idx="793">
                  <c:v>1.6806722689075701E-3</c:v>
                </c:pt>
                <c:pt idx="794">
                  <c:v>1.6806722689075701E-3</c:v>
                </c:pt>
                <c:pt idx="795">
                  <c:v>1.6806722689075701E-3</c:v>
                </c:pt>
                <c:pt idx="796">
                  <c:v>1.6806722689075701E-3</c:v>
                </c:pt>
                <c:pt idx="797">
                  <c:v>1.6806722689075701E-3</c:v>
                </c:pt>
                <c:pt idx="798">
                  <c:v>1.6806722689075701E-3</c:v>
                </c:pt>
                <c:pt idx="799">
                  <c:v>2.5210084033613399E-3</c:v>
                </c:pt>
                <c:pt idx="800">
                  <c:v>2.5210084033613399E-3</c:v>
                </c:pt>
                <c:pt idx="801">
                  <c:v>3.3613445378151202E-3</c:v>
                </c:pt>
                <c:pt idx="802">
                  <c:v>3.3613445378151202E-3</c:v>
                </c:pt>
                <c:pt idx="803">
                  <c:v>3.3613445378151202E-3</c:v>
                </c:pt>
                <c:pt idx="804">
                  <c:v>3.3613445378151202E-3</c:v>
                </c:pt>
                <c:pt idx="805">
                  <c:v>3.3613445378151202E-3</c:v>
                </c:pt>
                <c:pt idx="806">
                  <c:v>3.3613445378151202E-3</c:v>
                </c:pt>
                <c:pt idx="807">
                  <c:v>3.3613445378151202E-3</c:v>
                </c:pt>
                <c:pt idx="808">
                  <c:v>3.3613445378151202E-3</c:v>
                </c:pt>
                <c:pt idx="809">
                  <c:v>3.3613445378151202E-3</c:v>
                </c:pt>
                <c:pt idx="810">
                  <c:v>3.3613445378151202E-3</c:v>
                </c:pt>
                <c:pt idx="811">
                  <c:v>3.3613445378151202E-3</c:v>
                </c:pt>
                <c:pt idx="812">
                  <c:v>3.3613445378151202E-3</c:v>
                </c:pt>
                <c:pt idx="813">
                  <c:v>3.3613445378151202E-3</c:v>
                </c:pt>
                <c:pt idx="814">
                  <c:v>4.2016806722688996E-3</c:v>
                </c:pt>
                <c:pt idx="815">
                  <c:v>5.0420168067226902E-3</c:v>
                </c:pt>
                <c:pt idx="816">
                  <c:v>5.0420168067226902E-3</c:v>
                </c:pt>
                <c:pt idx="817">
                  <c:v>5.0420168067226902E-3</c:v>
                </c:pt>
                <c:pt idx="818">
                  <c:v>5.0420168067226902E-3</c:v>
                </c:pt>
                <c:pt idx="819">
                  <c:v>5.0420168067226902E-3</c:v>
                </c:pt>
                <c:pt idx="820">
                  <c:v>5.0420168067226902E-3</c:v>
                </c:pt>
                <c:pt idx="821">
                  <c:v>5.0420168067226902E-3</c:v>
                </c:pt>
                <c:pt idx="822">
                  <c:v>5.0420168067226902E-3</c:v>
                </c:pt>
                <c:pt idx="823">
                  <c:v>5.0420168067226902E-3</c:v>
                </c:pt>
                <c:pt idx="824">
                  <c:v>5.0420168067226902E-3</c:v>
                </c:pt>
                <c:pt idx="825">
                  <c:v>5.0420168067226902E-3</c:v>
                </c:pt>
                <c:pt idx="826">
                  <c:v>5.0420168067226902E-3</c:v>
                </c:pt>
                <c:pt idx="827">
                  <c:v>5.0420168067226902E-3</c:v>
                </c:pt>
                <c:pt idx="828">
                  <c:v>5.8823529411764696E-3</c:v>
                </c:pt>
                <c:pt idx="829">
                  <c:v>5.8823529411764696E-3</c:v>
                </c:pt>
                <c:pt idx="830">
                  <c:v>5.8823529411764696E-3</c:v>
                </c:pt>
                <c:pt idx="831">
                  <c:v>5.8823529411764696E-3</c:v>
                </c:pt>
                <c:pt idx="832">
                  <c:v>5.8823529411764696E-3</c:v>
                </c:pt>
                <c:pt idx="833">
                  <c:v>5.8823529411764696E-3</c:v>
                </c:pt>
                <c:pt idx="834">
                  <c:v>5.8823529411764696E-3</c:v>
                </c:pt>
                <c:pt idx="835">
                  <c:v>5.8823529411764696E-3</c:v>
                </c:pt>
                <c:pt idx="836">
                  <c:v>5.8823529411764696E-3</c:v>
                </c:pt>
                <c:pt idx="837">
                  <c:v>5.8823529411764696E-3</c:v>
                </c:pt>
                <c:pt idx="838">
                  <c:v>5.8823529411764696E-3</c:v>
                </c:pt>
                <c:pt idx="839">
                  <c:v>5.8823529411764696E-3</c:v>
                </c:pt>
                <c:pt idx="840">
                  <c:v>5.8823529411764696E-3</c:v>
                </c:pt>
                <c:pt idx="841">
                  <c:v>5.8823529411764696E-3</c:v>
                </c:pt>
                <c:pt idx="842">
                  <c:v>5.8823529411764696E-3</c:v>
                </c:pt>
                <c:pt idx="843">
                  <c:v>5.8823529411764696E-3</c:v>
                </c:pt>
                <c:pt idx="844">
                  <c:v>5.8823529411764696E-3</c:v>
                </c:pt>
                <c:pt idx="845">
                  <c:v>5.8823529411764696E-3</c:v>
                </c:pt>
                <c:pt idx="846">
                  <c:v>5.8823529411764696E-3</c:v>
                </c:pt>
                <c:pt idx="847">
                  <c:v>5.8823529411764696E-3</c:v>
                </c:pt>
                <c:pt idx="848">
                  <c:v>5.8823529411764696E-3</c:v>
                </c:pt>
                <c:pt idx="849">
                  <c:v>5.8823529411764696E-3</c:v>
                </c:pt>
                <c:pt idx="850">
                  <c:v>5.8823529411764696E-3</c:v>
                </c:pt>
                <c:pt idx="851">
                  <c:v>5.8823529411764696E-3</c:v>
                </c:pt>
                <c:pt idx="852">
                  <c:v>5.8823529411764696E-3</c:v>
                </c:pt>
                <c:pt idx="853">
                  <c:v>5.8823529411764696E-3</c:v>
                </c:pt>
                <c:pt idx="854">
                  <c:v>5.8823529411764696E-3</c:v>
                </c:pt>
                <c:pt idx="855">
                  <c:v>5.0420168067226798E-3</c:v>
                </c:pt>
                <c:pt idx="856">
                  <c:v>5.0420168067226798E-3</c:v>
                </c:pt>
                <c:pt idx="857">
                  <c:v>5.0420168067226798E-3</c:v>
                </c:pt>
                <c:pt idx="858">
                  <c:v>5.0420168067226798E-3</c:v>
                </c:pt>
                <c:pt idx="859">
                  <c:v>5.0420168067226798E-3</c:v>
                </c:pt>
                <c:pt idx="860">
                  <c:v>5.0420168067226798E-3</c:v>
                </c:pt>
                <c:pt idx="861">
                  <c:v>5.0420168067226798E-3</c:v>
                </c:pt>
                <c:pt idx="862">
                  <c:v>5.0420168067226798E-3</c:v>
                </c:pt>
                <c:pt idx="863">
                  <c:v>5.0420168067226798E-3</c:v>
                </c:pt>
                <c:pt idx="864">
                  <c:v>5.0420168067226798E-3</c:v>
                </c:pt>
                <c:pt idx="865">
                  <c:v>5.0420168067226798E-3</c:v>
                </c:pt>
                <c:pt idx="866">
                  <c:v>5.0420168067226798E-3</c:v>
                </c:pt>
                <c:pt idx="867">
                  <c:v>5.0420168067226798E-3</c:v>
                </c:pt>
                <c:pt idx="868">
                  <c:v>5.0420168067226798E-3</c:v>
                </c:pt>
                <c:pt idx="869">
                  <c:v>5.0420168067226798E-3</c:v>
                </c:pt>
                <c:pt idx="870">
                  <c:v>5.0420168067226798E-3</c:v>
                </c:pt>
                <c:pt idx="871">
                  <c:v>5.0420168067226798E-3</c:v>
                </c:pt>
                <c:pt idx="872">
                  <c:v>5.0420168067226798E-3</c:v>
                </c:pt>
                <c:pt idx="873">
                  <c:v>5.8823529411764601E-3</c:v>
                </c:pt>
                <c:pt idx="874">
                  <c:v>5.8823529411764601E-3</c:v>
                </c:pt>
                <c:pt idx="875">
                  <c:v>5.8823529411764601E-3</c:v>
                </c:pt>
                <c:pt idx="876">
                  <c:v>5.8823529411764601E-3</c:v>
                </c:pt>
                <c:pt idx="877">
                  <c:v>5.8823529411764601E-3</c:v>
                </c:pt>
                <c:pt idx="878">
                  <c:v>5.8823529411764601E-3</c:v>
                </c:pt>
                <c:pt idx="879">
                  <c:v>5.8823529411764601E-3</c:v>
                </c:pt>
                <c:pt idx="880">
                  <c:v>5.8823529411764601E-3</c:v>
                </c:pt>
                <c:pt idx="881">
                  <c:v>5.8823529411764601E-3</c:v>
                </c:pt>
                <c:pt idx="882">
                  <c:v>5.8823529411764601E-3</c:v>
                </c:pt>
                <c:pt idx="883">
                  <c:v>5.8823529411764601E-3</c:v>
                </c:pt>
                <c:pt idx="884">
                  <c:v>5.8823529411764601E-3</c:v>
                </c:pt>
                <c:pt idx="885">
                  <c:v>6.7226890756302404E-3</c:v>
                </c:pt>
                <c:pt idx="886">
                  <c:v>6.7226890756302404E-3</c:v>
                </c:pt>
                <c:pt idx="887">
                  <c:v>5.8823529411764601E-3</c:v>
                </c:pt>
                <c:pt idx="888">
                  <c:v>5.8823529411764601E-3</c:v>
                </c:pt>
                <c:pt idx="889">
                  <c:v>5.8823529411764601E-3</c:v>
                </c:pt>
                <c:pt idx="890">
                  <c:v>5.8823529411764601E-3</c:v>
                </c:pt>
                <c:pt idx="891">
                  <c:v>5.8823529411764601E-3</c:v>
                </c:pt>
                <c:pt idx="892">
                  <c:v>5.0420168067226798E-3</c:v>
                </c:pt>
                <c:pt idx="893">
                  <c:v>5.0420168067226798E-3</c:v>
                </c:pt>
                <c:pt idx="894">
                  <c:v>5.0420168067226798E-3</c:v>
                </c:pt>
                <c:pt idx="895">
                  <c:v>5.0420168067226798E-3</c:v>
                </c:pt>
                <c:pt idx="896">
                  <c:v>5.0420168067226798E-3</c:v>
                </c:pt>
                <c:pt idx="897">
                  <c:v>5.0420168067226798E-3</c:v>
                </c:pt>
                <c:pt idx="898">
                  <c:v>5.0420168067226798E-3</c:v>
                </c:pt>
                <c:pt idx="899">
                  <c:v>5.0420168067226798E-3</c:v>
                </c:pt>
                <c:pt idx="900">
                  <c:v>5.0420168067226798E-3</c:v>
                </c:pt>
                <c:pt idx="901">
                  <c:v>4.2016806722688996E-3</c:v>
                </c:pt>
                <c:pt idx="902">
                  <c:v>4.2016806722688996E-3</c:v>
                </c:pt>
                <c:pt idx="903">
                  <c:v>4.2016806722688996E-3</c:v>
                </c:pt>
                <c:pt idx="904">
                  <c:v>4.2016806722688996E-3</c:v>
                </c:pt>
                <c:pt idx="905">
                  <c:v>4.2016806722688996E-3</c:v>
                </c:pt>
                <c:pt idx="906">
                  <c:v>5.0420168067226798E-3</c:v>
                </c:pt>
                <c:pt idx="907">
                  <c:v>4.2016806722688996E-3</c:v>
                </c:pt>
                <c:pt idx="908">
                  <c:v>4.2016806722688996E-3</c:v>
                </c:pt>
                <c:pt idx="909">
                  <c:v>4.2016806722688996E-3</c:v>
                </c:pt>
                <c:pt idx="910">
                  <c:v>4.2016806722688996E-3</c:v>
                </c:pt>
                <c:pt idx="911">
                  <c:v>4.2016806722688996E-3</c:v>
                </c:pt>
                <c:pt idx="912">
                  <c:v>4.2016806722688996E-3</c:v>
                </c:pt>
                <c:pt idx="913">
                  <c:v>4.2016806722688996E-3</c:v>
                </c:pt>
                <c:pt idx="914">
                  <c:v>4.2016806722688996E-3</c:v>
                </c:pt>
                <c:pt idx="915">
                  <c:v>4.2016806722688996E-3</c:v>
                </c:pt>
                <c:pt idx="916">
                  <c:v>4.2016806722688996E-3</c:v>
                </c:pt>
                <c:pt idx="917">
                  <c:v>4.2016806722688996E-3</c:v>
                </c:pt>
                <c:pt idx="918">
                  <c:v>4.2016806722688996E-3</c:v>
                </c:pt>
                <c:pt idx="919">
                  <c:v>4.2016806722688996E-3</c:v>
                </c:pt>
                <c:pt idx="920">
                  <c:v>4.2016806722688996E-3</c:v>
                </c:pt>
                <c:pt idx="921">
                  <c:v>4.2016806722688996E-3</c:v>
                </c:pt>
                <c:pt idx="922">
                  <c:v>4.2016806722688996E-3</c:v>
                </c:pt>
                <c:pt idx="923">
                  <c:v>4.2016806722688996E-3</c:v>
                </c:pt>
                <c:pt idx="924">
                  <c:v>4.2016806722688996E-3</c:v>
                </c:pt>
                <c:pt idx="925">
                  <c:v>4.2016806722688996E-3</c:v>
                </c:pt>
                <c:pt idx="926">
                  <c:v>3.3613445378151102E-3</c:v>
                </c:pt>
                <c:pt idx="927">
                  <c:v>3.3613445378151102E-3</c:v>
                </c:pt>
                <c:pt idx="928">
                  <c:v>3.3613445378151102E-3</c:v>
                </c:pt>
                <c:pt idx="929">
                  <c:v>3.3613445378151102E-3</c:v>
                </c:pt>
                <c:pt idx="930">
                  <c:v>3.3613445378151102E-3</c:v>
                </c:pt>
                <c:pt idx="931">
                  <c:v>3.3613445378151102E-3</c:v>
                </c:pt>
                <c:pt idx="932">
                  <c:v>2.5210084033613299E-3</c:v>
                </c:pt>
                <c:pt idx="933">
                  <c:v>2.5210084033613299E-3</c:v>
                </c:pt>
                <c:pt idx="934">
                  <c:v>2.5210084033613299E-3</c:v>
                </c:pt>
                <c:pt idx="935">
                  <c:v>2.5210084033613299E-3</c:v>
                </c:pt>
                <c:pt idx="936">
                  <c:v>2.5210084033613299E-3</c:v>
                </c:pt>
                <c:pt idx="937">
                  <c:v>2.5210084033613299E-3</c:v>
                </c:pt>
                <c:pt idx="938">
                  <c:v>2.5210084033613299E-3</c:v>
                </c:pt>
                <c:pt idx="939">
                  <c:v>2.5210084033613299E-3</c:v>
                </c:pt>
                <c:pt idx="940">
                  <c:v>2.5210084033613299E-3</c:v>
                </c:pt>
                <c:pt idx="941">
                  <c:v>2.5210084033613299E-3</c:v>
                </c:pt>
                <c:pt idx="942">
                  <c:v>2.5210084033613299E-3</c:v>
                </c:pt>
                <c:pt idx="943">
                  <c:v>2.5210084033613299E-3</c:v>
                </c:pt>
                <c:pt idx="944">
                  <c:v>2.5210084033613299E-3</c:v>
                </c:pt>
                <c:pt idx="945">
                  <c:v>2.5210084033613299E-3</c:v>
                </c:pt>
                <c:pt idx="946">
                  <c:v>2.5210084033613299E-3</c:v>
                </c:pt>
                <c:pt idx="947">
                  <c:v>2.5210084033613299E-3</c:v>
                </c:pt>
                <c:pt idx="948">
                  <c:v>2.5210084033613299E-3</c:v>
                </c:pt>
                <c:pt idx="949">
                  <c:v>2.5210084033613299E-3</c:v>
                </c:pt>
                <c:pt idx="950">
                  <c:v>2.5210084033613299E-3</c:v>
                </c:pt>
                <c:pt idx="951">
                  <c:v>1.6806722689075499E-3</c:v>
                </c:pt>
                <c:pt idx="952">
                  <c:v>8.4033613445377799E-4</c:v>
                </c:pt>
                <c:pt idx="953">
                  <c:v>8.4033613445377799E-4</c:v>
                </c:pt>
                <c:pt idx="954">
                  <c:v>8.4033613445377799E-4</c:v>
                </c:pt>
                <c:pt idx="955">
                  <c:v>8.4033613445377799E-4</c:v>
                </c:pt>
                <c:pt idx="956">
                  <c:v>8.4033613445377799E-4</c:v>
                </c:pt>
                <c:pt idx="957">
                  <c:v>8.4033613445377799E-4</c:v>
                </c:pt>
                <c:pt idx="958">
                  <c:v>8.4033613445377799E-4</c:v>
                </c:pt>
                <c:pt idx="959">
                  <c:v>8.4033613445377799E-4</c:v>
                </c:pt>
                <c:pt idx="960">
                  <c:v>8.4033613445377799E-4</c:v>
                </c:pt>
                <c:pt idx="961">
                  <c:v>8.4033613445377799E-4</c:v>
                </c:pt>
                <c:pt idx="962">
                  <c:v>8.4033613445377799E-4</c:v>
                </c:pt>
                <c:pt idx="963">
                  <c:v>8.4033613445377799E-4</c:v>
                </c:pt>
                <c:pt idx="964">
                  <c:v>8.4033613445377799E-4</c:v>
                </c:pt>
                <c:pt idx="965">
                  <c:v>8.4033613445377799E-4</c:v>
                </c:pt>
                <c:pt idx="966">
                  <c:v>8.4033613445377799E-4</c:v>
                </c:pt>
                <c:pt idx="967">
                  <c:v>8.4033613445377799E-4</c:v>
                </c:pt>
                <c:pt idx="968">
                  <c:v>8.4033613445377799E-4</c:v>
                </c:pt>
                <c:pt idx="969">
                  <c:v>8.4033613445377799E-4</c:v>
                </c:pt>
                <c:pt idx="970">
                  <c:v>1.6806722689075701E-3</c:v>
                </c:pt>
                <c:pt idx="971">
                  <c:v>1.6806722689075701E-3</c:v>
                </c:pt>
                <c:pt idx="972">
                  <c:v>1.6806722689075701E-3</c:v>
                </c:pt>
                <c:pt idx="973">
                  <c:v>1.6806722689075701E-3</c:v>
                </c:pt>
                <c:pt idx="974">
                  <c:v>1.6806722689075701E-3</c:v>
                </c:pt>
                <c:pt idx="975">
                  <c:v>1.6806722689075701E-3</c:v>
                </c:pt>
                <c:pt idx="976">
                  <c:v>1.6806722689075701E-3</c:v>
                </c:pt>
                <c:pt idx="977">
                  <c:v>1.6806722689075701E-3</c:v>
                </c:pt>
                <c:pt idx="978">
                  <c:v>1.6806722689075701E-3</c:v>
                </c:pt>
                <c:pt idx="979">
                  <c:v>1.6806722689075701E-3</c:v>
                </c:pt>
                <c:pt idx="980">
                  <c:v>1.6806722689075701E-3</c:v>
                </c:pt>
                <c:pt idx="981">
                  <c:v>1.6806722689075701E-3</c:v>
                </c:pt>
                <c:pt idx="982">
                  <c:v>1.6806722689075701E-3</c:v>
                </c:pt>
                <c:pt idx="983">
                  <c:v>1.6806722689075701E-3</c:v>
                </c:pt>
                <c:pt idx="984">
                  <c:v>1.6806722689075701E-3</c:v>
                </c:pt>
                <c:pt idx="985">
                  <c:v>1.6806722689075701E-3</c:v>
                </c:pt>
                <c:pt idx="986">
                  <c:v>1.6806722689075701E-3</c:v>
                </c:pt>
                <c:pt idx="987">
                  <c:v>1.6806722689075701E-3</c:v>
                </c:pt>
                <c:pt idx="988">
                  <c:v>1.6806722689075701E-3</c:v>
                </c:pt>
                <c:pt idx="989">
                  <c:v>1.6806722689075701E-3</c:v>
                </c:pt>
                <c:pt idx="990">
                  <c:v>1.6806722689075701E-3</c:v>
                </c:pt>
                <c:pt idx="991">
                  <c:v>1.6806722689075701E-3</c:v>
                </c:pt>
                <c:pt idx="992">
                  <c:v>1.6806722689075701E-3</c:v>
                </c:pt>
                <c:pt idx="993">
                  <c:v>1.6806722689075701E-3</c:v>
                </c:pt>
                <c:pt idx="994">
                  <c:v>1.6806722689075701E-3</c:v>
                </c:pt>
                <c:pt idx="995">
                  <c:v>1.6806722689075701E-3</c:v>
                </c:pt>
                <c:pt idx="996">
                  <c:v>1.6806722689075701E-3</c:v>
                </c:pt>
                <c:pt idx="997">
                  <c:v>1.6806722689075701E-3</c:v>
                </c:pt>
                <c:pt idx="998">
                  <c:v>1.6806722689075701E-3</c:v>
                </c:pt>
                <c:pt idx="999">
                  <c:v>1.6806722689075701E-3</c:v>
                </c:pt>
                <c:pt idx="1000">
                  <c:v>1.6806722689075701E-3</c:v>
                </c:pt>
                <c:pt idx="1001">
                  <c:v>8.4033613445379197E-4</c:v>
                </c:pt>
                <c:pt idx="1002">
                  <c:v>8.4033613445379197E-4</c:v>
                </c:pt>
                <c:pt idx="1003">
                  <c:v>0</c:v>
                </c:pt>
                <c:pt idx="1004">
                  <c:v>0</c:v>
                </c:pt>
                <c:pt idx="1005">
                  <c:v>0</c:v>
                </c:pt>
                <c:pt idx="1006">
                  <c:v>0</c:v>
                </c:pt>
                <c:pt idx="1007">
                  <c:v>0</c:v>
                </c:pt>
                <c:pt idx="1008">
                  <c:v>8.4033613445377799E-4</c:v>
                </c:pt>
                <c:pt idx="1009">
                  <c:v>8.4033613445377799E-4</c:v>
                </c:pt>
                <c:pt idx="1010">
                  <c:v>8.4033613445377799E-4</c:v>
                </c:pt>
                <c:pt idx="1011">
                  <c:v>8.4033613445377799E-4</c:v>
                </c:pt>
                <c:pt idx="1012">
                  <c:v>8.4033613445377799E-4</c:v>
                </c:pt>
                <c:pt idx="1013">
                  <c:v>8.4033613445377799E-4</c:v>
                </c:pt>
                <c:pt idx="1014">
                  <c:v>8.4033613445377799E-4</c:v>
                </c:pt>
                <c:pt idx="1015">
                  <c:v>8.4033613445377799E-4</c:v>
                </c:pt>
                <c:pt idx="1016">
                  <c:v>8.4033613445377799E-4</c:v>
                </c:pt>
                <c:pt idx="1017">
                  <c:v>8.4033613445377799E-4</c:v>
                </c:pt>
                <c:pt idx="1018">
                  <c:v>8.4033613445377799E-4</c:v>
                </c:pt>
                <c:pt idx="1019">
                  <c:v>8.4033613445377799E-4</c:v>
                </c:pt>
                <c:pt idx="1020">
                  <c:v>8.4033613445377799E-4</c:v>
                </c:pt>
                <c:pt idx="1021">
                  <c:v>8.4033613445377799E-4</c:v>
                </c:pt>
                <c:pt idx="1022">
                  <c:v>8.4033613445377799E-4</c:v>
                </c:pt>
                <c:pt idx="1023">
                  <c:v>8.4033613445377799E-4</c:v>
                </c:pt>
                <c:pt idx="1024">
                  <c:v>8.4033613445377799E-4</c:v>
                </c:pt>
                <c:pt idx="1025">
                  <c:v>0</c:v>
                </c:pt>
                <c:pt idx="1026">
                  <c:v>0</c:v>
                </c:pt>
                <c:pt idx="1027">
                  <c:v>0</c:v>
                </c:pt>
                <c:pt idx="1028">
                  <c:v>0</c:v>
                </c:pt>
                <c:pt idx="1029">
                  <c:v>0</c:v>
                </c:pt>
                <c:pt idx="1030">
                  <c:v>0</c:v>
                </c:pt>
                <c:pt idx="1031">
                  <c:v>0</c:v>
                </c:pt>
                <c:pt idx="1032">
                  <c:v>0</c:v>
                </c:pt>
                <c:pt idx="1033">
                  <c:v>0</c:v>
                </c:pt>
                <c:pt idx="1034">
                  <c:v>0</c:v>
                </c:pt>
                <c:pt idx="1035">
                  <c:v>8.4033613445377799E-4</c:v>
                </c:pt>
                <c:pt idx="1036">
                  <c:v>8.4033613445377799E-4</c:v>
                </c:pt>
                <c:pt idx="1037">
                  <c:v>8.4033613445377799E-4</c:v>
                </c:pt>
                <c:pt idx="1038">
                  <c:v>8.4033613445377799E-4</c:v>
                </c:pt>
                <c:pt idx="1039">
                  <c:v>8.4033613445377799E-4</c:v>
                </c:pt>
                <c:pt idx="1040">
                  <c:v>8.4033613445377799E-4</c:v>
                </c:pt>
                <c:pt idx="1041">
                  <c:v>0</c:v>
                </c:pt>
                <c:pt idx="1042">
                  <c:v>0</c:v>
                </c:pt>
                <c:pt idx="1043">
                  <c:v>0</c:v>
                </c:pt>
                <c:pt idx="1044">
                  <c:v>0</c:v>
                </c:pt>
                <c:pt idx="1045">
                  <c:v>0</c:v>
                </c:pt>
                <c:pt idx="1046">
                  <c:v>0</c:v>
                </c:pt>
                <c:pt idx="1047">
                  <c:v>0</c:v>
                </c:pt>
                <c:pt idx="1048">
                  <c:v>0</c:v>
                </c:pt>
                <c:pt idx="1049">
                  <c:v>0</c:v>
                </c:pt>
                <c:pt idx="1050">
                  <c:v>0</c:v>
                </c:pt>
                <c:pt idx="1051">
                  <c:v>0</c:v>
                </c:pt>
                <c:pt idx="1052">
                  <c:v>0</c:v>
                </c:pt>
                <c:pt idx="1053">
                  <c:v>-8.4033613445377799E-4</c:v>
                </c:pt>
                <c:pt idx="1054">
                  <c:v>0</c:v>
                </c:pt>
                <c:pt idx="1055">
                  <c:v>0</c:v>
                </c:pt>
                <c:pt idx="1056">
                  <c:v>0</c:v>
                </c:pt>
                <c:pt idx="1057">
                  <c:v>0</c:v>
                </c:pt>
                <c:pt idx="1058">
                  <c:v>-8.4033613445379197E-4</c:v>
                </c:pt>
                <c:pt idx="1059">
                  <c:v>-8.4033613445379197E-4</c:v>
                </c:pt>
                <c:pt idx="1060">
                  <c:v>-8.4033613445379197E-4</c:v>
                </c:pt>
                <c:pt idx="1061">
                  <c:v>-8.4033613445379197E-4</c:v>
                </c:pt>
                <c:pt idx="1062">
                  <c:v>-8.4033613445379197E-4</c:v>
                </c:pt>
                <c:pt idx="1063">
                  <c:v>-1.6806722689075701E-3</c:v>
                </c:pt>
                <c:pt idx="1064">
                  <c:v>-1.6806722689075499E-3</c:v>
                </c:pt>
                <c:pt idx="1065">
                  <c:v>-1.6806722689075499E-3</c:v>
                </c:pt>
                <c:pt idx="1066">
                  <c:v>-1.6806722689075499E-3</c:v>
                </c:pt>
                <c:pt idx="1067">
                  <c:v>-1.6806722689075499E-3</c:v>
                </c:pt>
                <c:pt idx="1068">
                  <c:v>-1.6806722689075499E-3</c:v>
                </c:pt>
                <c:pt idx="1069">
                  <c:v>-1.6806722689075499E-3</c:v>
                </c:pt>
                <c:pt idx="1070">
                  <c:v>-1.6806722689075499E-3</c:v>
                </c:pt>
                <c:pt idx="1071">
                  <c:v>-8.4033613445377799E-4</c:v>
                </c:pt>
                <c:pt idx="1072">
                  <c:v>-8.4033613445377799E-4</c:v>
                </c:pt>
                <c:pt idx="1073">
                  <c:v>-8.4033613445377799E-4</c:v>
                </c:pt>
                <c:pt idx="1074">
                  <c:v>-8.4033613445377799E-4</c:v>
                </c:pt>
                <c:pt idx="1075">
                  <c:v>-1.6806722689075499E-3</c:v>
                </c:pt>
                <c:pt idx="1076">
                  <c:v>-1.6806722689075499E-3</c:v>
                </c:pt>
                <c:pt idx="1077">
                  <c:v>-1.6806722689075499E-3</c:v>
                </c:pt>
                <c:pt idx="1078">
                  <c:v>-2.5210084033613299E-3</c:v>
                </c:pt>
                <c:pt idx="1079">
                  <c:v>-2.5210084033613299E-3</c:v>
                </c:pt>
                <c:pt idx="1080">
                  <c:v>-2.5210084033613299E-3</c:v>
                </c:pt>
                <c:pt idx="1081">
                  <c:v>-2.5210084033613299E-3</c:v>
                </c:pt>
                <c:pt idx="1082">
                  <c:v>-2.5210084033613299E-3</c:v>
                </c:pt>
                <c:pt idx="1083">
                  <c:v>-2.5210084033613299E-3</c:v>
                </c:pt>
                <c:pt idx="1084">
                  <c:v>-2.5210084033613299E-3</c:v>
                </c:pt>
                <c:pt idx="1085">
                  <c:v>-2.5210084033613299E-3</c:v>
                </c:pt>
                <c:pt idx="1086">
                  <c:v>-2.5210084033613299E-3</c:v>
                </c:pt>
                <c:pt idx="1087">
                  <c:v>-2.5210084033613299E-3</c:v>
                </c:pt>
                <c:pt idx="1088">
                  <c:v>-2.5210084033613299E-3</c:v>
                </c:pt>
                <c:pt idx="1089">
                  <c:v>-2.5210084033613299E-3</c:v>
                </c:pt>
                <c:pt idx="1090">
                  <c:v>-2.5210084033613299E-3</c:v>
                </c:pt>
                <c:pt idx="1091">
                  <c:v>-1.6806722689075499E-3</c:v>
                </c:pt>
                <c:pt idx="1092">
                  <c:v>-2.5210084033613399E-3</c:v>
                </c:pt>
                <c:pt idx="1093">
                  <c:v>-1.6806722689075701E-3</c:v>
                </c:pt>
                <c:pt idx="1094">
                  <c:v>-1.6806722689075701E-3</c:v>
                </c:pt>
                <c:pt idx="1095">
                  <c:v>-8.4033613445379197E-4</c:v>
                </c:pt>
                <c:pt idx="1096">
                  <c:v>-8.4033613445379197E-4</c:v>
                </c:pt>
                <c:pt idx="1097">
                  <c:v>-8.4033613445379197E-4</c:v>
                </c:pt>
                <c:pt idx="1098">
                  <c:v>-8.4033613445379197E-4</c:v>
                </c:pt>
                <c:pt idx="1099">
                  <c:v>-8.4033613445379197E-4</c:v>
                </c:pt>
                <c:pt idx="1100">
                  <c:v>0</c:v>
                </c:pt>
                <c:pt idx="1101">
                  <c:v>0</c:v>
                </c:pt>
                <c:pt idx="1102">
                  <c:v>0</c:v>
                </c:pt>
                <c:pt idx="1103">
                  <c:v>0</c:v>
                </c:pt>
                <c:pt idx="1104">
                  <c:v>0</c:v>
                </c:pt>
                <c:pt idx="1105">
                  <c:v>0</c:v>
                </c:pt>
                <c:pt idx="1106">
                  <c:v>0</c:v>
                </c:pt>
                <c:pt idx="1107">
                  <c:v>0</c:v>
                </c:pt>
                <c:pt idx="1108">
                  <c:v>0</c:v>
                </c:pt>
                <c:pt idx="1109">
                  <c:v>0</c:v>
                </c:pt>
                <c:pt idx="1110">
                  <c:v>0</c:v>
                </c:pt>
                <c:pt idx="1111">
                  <c:v>0</c:v>
                </c:pt>
                <c:pt idx="1112">
                  <c:v>0</c:v>
                </c:pt>
                <c:pt idx="1113">
                  <c:v>0</c:v>
                </c:pt>
                <c:pt idx="1114">
                  <c:v>0</c:v>
                </c:pt>
                <c:pt idx="1115">
                  <c:v>-8.4033613445377799E-4</c:v>
                </c:pt>
                <c:pt idx="1116">
                  <c:v>-1.6806722689075499E-3</c:v>
                </c:pt>
                <c:pt idx="1117">
                  <c:v>-8.4033613445377799E-4</c:v>
                </c:pt>
                <c:pt idx="1118">
                  <c:v>-8.4033613445377799E-4</c:v>
                </c:pt>
                <c:pt idx="1119">
                  <c:v>-8.4033613445377799E-4</c:v>
                </c:pt>
                <c:pt idx="1120">
                  <c:v>-8.4033613445377799E-4</c:v>
                </c:pt>
                <c:pt idx="1121">
                  <c:v>-8.4033613445377799E-4</c:v>
                </c:pt>
                <c:pt idx="1122">
                  <c:v>0</c:v>
                </c:pt>
                <c:pt idx="1123">
                  <c:v>0</c:v>
                </c:pt>
                <c:pt idx="1124">
                  <c:v>0</c:v>
                </c:pt>
                <c:pt idx="1125">
                  <c:v>0</c:v>
                </c:pt>
                <c:pt idx="1126">
                  <c:v>0</c:v>
                </c:pt>
                <c:pt idx="1127">
                  <c:v>0</c:v>
                </c:pt>
                <c:pt idx="1128">
                  <c:v>0</c:v>
                </c:pt>
                <c:pt idx="1129">
                  <c:v>0</c:v>
                </c:pt>
                <c:pt idx="1130">
                  <c:v>0</c:v>
                </c:pt>
                <c:pt idx="1131">
                  <c:v>0</c:v>
                </c:pt>
                <c:pt idx="1132">
                  <c:v>0</c:v>
                </c:pt>
                <c:pt idx="1133">
                  <c:v>-8.4033613445377799E-4</c:v>
                </c:pt>
                <c:pt idx="1134">
                  <c:v>-8.4033613445377799E-4</c:v>
                </c:pt>
                <c:pt idx="1135">
                  <c:v>-8.4033613445377799E-4</c:v>
                </c:pt>
                <c:pt idx="1136">
                  <c:v>-8.4033613445377799E-4</c:v>
                </c:pt>
                <c:pt idx="1137">
                  <c:v>-8.4033613445377799E-4</c:v>
                </c:pt>
                <c:pt idx="1138">
                  <c:v>-8.4033613445377799E-4</c:v>
                </c:pt>
                <c:pt idx="1139">
                  <c:v>-8.4033613445377799E-4</c:v>
                </c:pt>
                <c:pt idx="1140">
                  <c:v>-8.4033613445377799E-4</c:v>
                </c:pt>
                <c:pt idx="1141">
                  <c:v>-8.4033613445377799E-4</c:v>
                </c:pt>
                <c:pt idx="1142">
                  <c:v>-8.4033613445377799E-4</c:v>
                </c:pt>
                <c:pt idx="1143">
                  <c:v>-8.4033613445377799E-4</c:v>
                </c:pt>
                <c:pt idx="1144">
                  <c:v>-8.4033613445377799E-4</c:v>
                </c:pt>
                <c:pt idx="1145">
                  <c:v>-8.4033613445377799E-4</c:v>
                </c:pt>
                <c:pt idx="1146">
                  <c:v>-8.4033613445377799E-4</c:v>
                </c:pt>
                <c:pt idx="1147">
                  <c:v>-8.4033613445377799E-4</c:v>
                </c:pt>
                <c:pt idx="1148">
                  <c:v>0</c:v>
                </c:pt>
                <c:pt idx="1149">
                  <c:v>0</c:v>
                </c:pt>
                <c:pt idx="1150">
                  <c:v>0</c:v>
                </c:pt>
                <c:pt idx="1151">
                  <c:v>0</c:v>
                </c:pt>
                <c:pt idx="1152">
                  <c:v>0</c:v>
                </c:pt>
                <c:pt idx="1153">
                  <c:v>0</c:v>
                </c:pt>
                <c:pt idx="1154">
                  <c:v>0</c:v>
                </c:pt>
                <c:pt idx="1155">
                  <c:v>0</c:v>
                </c:pt>
                <c:pt idx="1156">
                  <c:v>0</c:v>
                </c:pt>
                <c:pt idx="1157">
                  <c:v>0</c:v>
                </c:pt>
                <c:pt idx="1158">
                  <c:v>0</c:v>
                </c:pt>
                <c:pt idx="1159">
                  <c:v>0</c:v>
                </c:pt>
                <c:pt idx="1160">
                  <c:v>0</c:v>
                </c:pt>
                <c:pt idx="1161">
                  <c:v>0</c:v>
                </c:pt>
                <c:pt idx="1162">
                  <c:v>0</c:v>
                </c:pt>
                <c:pt idx="1163">
                  <c:v>0</c:v>
                </c:pt>
                <c:pt idx="1164">
                  <c:v>8.4033613445377799E-4</c:v>
                </c:pt>
                <c:pt idx="1165">
                  <c:v>8.4033613445377799E-4</c:v>
                </c:pt>
                <c:pt idx="1166">
                  <c:v>8.4033613445377799E-4</c:v>
                </c:pt>
                <c:pt idx="1167">
                  <c:v>8.4033613445377799E-4</c:v>
                </c:pt>
                <c:pt idx="1168">
                  <c:v>8.4033613445377799E-4</c:v>
                </c:pt>
                <c:pt idx="1169">
                  <c:v>8.4033613445377799E-4</c:v>
                </c:pt>
                <c:pt idx="1170">
                  <c:v>8.4033613445377799E-4</c:v>
                </c:pt>
                <c:pt idx="1171">
                  <c:v>8.4033613445377799E-4</c:v>
                </c:pt>
                <c:pt idx="1172">
                  <c:v>8.4033613445377799E-4</c:v>
                </c:pt>
                <c:pt idx="1173">
                  <c:v>8.4033613445377799E-4</c:v>
                </c:pt>
                <c:pt idx="1174">
                  <c:v>8.4033613445377799E-4</c:v>
                </c:pt>
                <c:pt idx="1175">
                  <c:v>8.4033613445377799E-4</c:v>
                </c:pt>
                <c:pt idx="1176">
                  <c:v>8.4033613445377799E-4</c:v>
                </c:pt>
                <c:pt idx="1177">
                  <c:v>8.4033613445377799E-4</c:v>
                </c:pt>
                <c:pt idx="1178">
                  <c:v>8.4033613445377799E-4</c:v>
                </c:pt>
                <c:pt idx="1179">
                  <c:v>8.4033613445377799E-4</c:v>
                </c:pt>
                <c:pt idx="1180">
                  <c:v>8.4033613445377799E-4</c:v>
                </c:pt>
                <c:pt idx="1181">
                  <c:v>8.4033613445377799E-4</c:v>
                </c:pt>
                <c:pt idx="1182">
                  <c:v>8.4033613445377799E-4</c:v>
                </c:pt>
                <c:pt idx="1183">
                  <c:v>8.4033613445377799E-4</c:v>
                </c:pt>
                <c:pt idx="1184">
                  <c:v>0</c:v>
                </c:pt>
                <c:pt idx="1185">
                  <c:v>0</c:v>
                </c:pt>
                <c:pt idx="1186">
                  <c:v>0</c:v>
                </c:pt>
                <c:pt idx="1187">
                  <c:v>0</c:v>
                </c:pt>
                <c:pt idx="1188">
                  <c:v>-8.4033613445377799E-4</c:v>
                </c:pt>
                <c:pt idx="1189">
                  <c:v>-8.4033613445377799E-4</c:v>
                </c:pt>
                <c:pt idx="1190">
                  <c:v>-8.4033613445377799E-4</c:v>
                </c:pt>
                <c:pt idx="1191">
                  <c:v>-8.4033613445377799E-4</c:v>
                </c:pt>
                <c:pt idx="1192">
                  <c:v>-8.4033613445377799E-4</c:v>
                </c:pt>
                <c:pt idx="1193">
                  <c:v>-8.4033613445377799E-4</c:v>
                </c:pt>
                <c:pt idx="1194">
                  <c:v>-8.4033613445377799E-4</c:v>
                </c:pt>
                <c:pt idx="1195">
                  <c:v>-8.4033613445377799E-4</c:v>
                </c:pt>
                <c:pt idx="1196">
                  <c:v>-8.4033613445377799E-4</c:v>
                </c:pt>
                <c:pt idx="1197">
                  <c:v>-8.4033613445377799E-4</c:v>
                </c:pt>
                <c:pt idx="1198">
                  <c:v>-8.4033613445377799E-4</c:v>
                </c:pt>
                <c:pt idx="1199">
                  <c:v>-8.4033613445377799E-4</c:v>
                </c:pt>
                <c:pt idx="1200">
                  <c:v>-8.4033613445377799E-4</c:v>
                </c:pt>
                <c:pt idx="1201">
                  <c:v>-8.4033613445377799E-4</c:v>
                </c:pt>
                <c:pt idx="1202">
                  <c:v>-8.4033613445377799E-4</c:v>
                </c:pt>
                <c:pt idx="1203">
                  <c:v>-8.4033613445377799E-4</c:v>
                </c:pt>
                <c:pt idx="1204">
                  <c:v>-8.4033613445377799E-4</c:v>
                </c:pt>
                <c:pt idx="1205">
                  <c:v>-8.4033613445377799E-4</c:v>
                </c:pt>
                <c:pt idx="1206">
                  <c:v>-8.4033613445377799E-4</c:v>
                </c:pt>
                <c:pt idx="1207">
                  <c:v>0</c:v>
                </c:pt>
                <c:pt idx="1208">
                  <c:v>0</c:v>
                </c:pt>
                <c:pt idx="1209">
                  <c:v>0</c:v>
                </c:pt>
                <c:pt idx="1210">
                  <c:v>0</c:v>
                </c:pt>
                <c:pt idx="1211">
                  <c:v>0</c:v>
                </c:pt>
                <c:pt idx="1212">
                  <c:v>0</c:v>
                </c:pt>
                <c:pt idx="1213">
                  <c:v>0</c:v>
                </c:pt>
                <c:pt idx="1214">
                  <c:v>0</c:v>
                </c:pt>
                <c:pt idx="1215">
                  <c:v>0</c:v>
                </c:pt>
                <c:pt idx="1216">
                  <c:v>0</c:v>
                </c:pt>
                <c:pt idx="1217">
                  <c:v>0</c:v>
                </c:pt>
                <c:pt idx="1218">
                  <c:v>0</c:v>
                </c:pt>
                <c:pt idx="1219">
                  <c:v>0</c:v>
                </c:pt>
                <c:pt idx="1220">
                  <c:v>0</c:v>
                </c:pt>
                <c:pt idx="1221">
                  <c:v>0</c:v>
                </c:pt>
                <c:pt idx="1222">
                  <c:v>0</c:v>
                </c:pt>
                <c:pt idx="1223">
                  <c:v>0</c:v>
                </c:pt>
                <c:pt idx="1224">
                  <c:v>0</c:v>
                </c:pt>
                <c:pt idx="1225">
                  <c:v>0</c:v>
                </c:pt>
                <c:pt idx="1226">
                  <c:v>0</c:v>
                </c:pt>
                <c:pt idx="1227">
                  <c:v>8.4033613445377799E-4</c:v>
                </c:pt>
                <c:pt idx="1228">
                  <c:v>8.4033613445377799E-4</c:v>
                </c:pt>
                <c:pt idx="1229">
                  <c:v>8.4033613445377799E-4</c:v>
                </c:pt>
                <c:pt idx="1230">
                  <c:v>1.68067226890758E-3</c:v>
                </c:pt>
                <c:pt idx="1231">
                  <c:v>1.68067226890758E-3</c:v>
                </c:pt>
                <c:pt idx="1232">
                  <c:v>1.68067226890758E-3</c:v>
                </c:pt>
                <c:pt idx="1233">
                  <c:v>2.5210084033613599E-3</c:v>
                </c:pt>
                <c:pt idx="1234">
                  <c:v>2.5210084033613599E-3</c:v>
                </c:pt>
                <c:pt idx="1235">
                  <c:v>2.5210084033613599E-3</c:v>
                </c:pt>
                <c:pt idx="1236">
                  <c:v>2.5210084033613599E-3</c:v>
                </c:pt>
                <c:pt idx="1237">
                  <c:v>2.5210084033613599E-3</c:v>
                </c:pt>
                <c:pt idx="1238">
                  <c:v>3.3613445378151401E-3</c:v>
                </c:pt>
                <c:pt idx="1239">
                  <c:v>3.3613445378151401E-3</c:v>
                </c:pt>
                <c:pt idx="1240">
                  <c:v>3.3613445378151401E-3</c:v>
                </c:pt>
                <c:pt idx="1241">
                  <c:v>3.3613445378151401E-3</c:v>
                </c:pt>
                <c:pt idx="1242">
                  <c:v>3.3613445378151401E-3</c:v>
                </c:pt>
                <c:pt idx="1243">
                  <c:v>3.3613445378151401E-3</c:v>
                </c:pt>
                <c:pt idx="1244">
                  <c:v>3.3613445378151401E-3</c:v>
                </c:pt>
                <c:pt idx="1245">
                  <c:v>3.3613445378151401E-3</c:v>
                </c:pt>
                <c:pt idx="1246">
                  <c:v>3.3613445378151401E-3</c:v>
                </c:pt>
                <c:pt idx="1247">
                  <c:v>3.3613445378151401E-3</c:v>
                </c:pt>
                <c:pt idx="1248">
                  <c:v>3.3613445378151401E-3</c:v>
                </c:pt>
                <c:pt idx="1249">
                  <c:v>3.3613445378151401E-3</c:v>
                </c:pt>
                <c:pt idx="1250">
                  <c:v>3.3613445378151401E-3</c:v>
                </c:pt>
                <c:pt idx="1251">
                  <c:v>3.3613445378151401E-3</c:v>
                </c:pt>
                <c:pt idx="1252">
                  <c:v>3.3613445378151401E-3</c:v>
                </c:pt>
                <c:pt idx="1253">
                  <c:v>3.3613445378151401E-3</c:v>
                </c:pt>
                <c:pt idx="1254">
                  <c:v>3.3613445378151401E-3</c:v>
                </c:pt>
                <c:pt idx="1255">
                  <c:v>3.3613445378151401E-3</c:v>
                </c:pt>
                <c:pt idx="1256">
                  <c:v>3.3613445378151401E-3</c:v>
                </c:pt>
                <c:pt idx="1257">
                  <c:v>3.3613445378151401E-3</c:v>
                </c:pt>
                <c:pt idx="1258">
                  <c:v>3.3613445378151401E-3</c:v>
                </c:pt>
                <c:pt idx="1259">
                  <c:v>3.3613445378151401E-3</c:v>
                </c:pt>
                <c:pt idx="1260">
                  <c:v>3.3613445378151401E-3</c:v>
                </c:pt>
                <c:pt idx="1261">
                  <c:v>3.3613445378151401E-3</c:v>
                </c:pt>
                <c:pt idx="1262">
                  <c:v>3.3613445378151401E-3</c:v>
                </c:pt>
                <c:pt idx="1263">
                  <c:v>3.3613445378151401E-3</c:v>
                </c:pt>
                <c:pt idx="1264">
                  <c:v>3.3613445378151401E-3</c:v>
                </c:pt>
                <c:pt idx="1265">
                  <c:v>3.3613445378151401E-3</c:v>
                </c:pt>
                <c:pt idx="1266">
                  <c:v>3.3613445378151401E-3</c:v>
                </c:pt>
                <c:pt idx="1267">
                  <c:v>3.3613445378151401E-3</c:v>
                </c:pt>
                <c:pt idx="1268">
                  <c:v>3.3613445378151401E-3</c:v>
                </c:pt>
                <c:pt idx="1269">
                  <c:v>2.5210084033613599E-3</c:v>
                </c:pt>
                <c:pt idx="1270">
                  <c:v>2.5210084033613599E-3</c:v>
                </c:pt>
                <c:pt idx="1271">
                  <c:v>2.5210084033613599E-3</c:v>
                </c:pt>
                <c:pt idx="1272">
                  <c:v>2.5210084033613599E-3</c:v>
                </c:pt>
                <c:pt idx="1273">
                  <c:v>2.5210084033613599E-3</c:v>
                </c:pt>
                <c:pt idx="1274">
                  <c:v>2.5210084033613599E-3</c:v>
                </c:pt>
                <c:pt idx="1275">
                  <c:v>2.5210084033613599E-3</c:v>
                </c:pt>
                <c:pt idx="1276">
                  <c:v>2.5210084033613599E-3</c:v>
                </c:pt>
                <c:pt idx="1277">
                  <c:v>2.5210084033613599E-3</c:v>
                </c:pt>
                <c:pt idx="1278">
                  <c:v>2.5210084033613599E-3</c:v>
                </c:pt>
                <c:pt idx="1279">
                  <c:v>2.5210084033613599E-3</c:v>
                </c:pt>
                <c:pt idx="1280">
                  <c:v>2.5210084033613599E-3</c:v>
                </c:pt>
                <c:pt idx="1281">
                  <c:v>2.5210084033613599E-3</c:v>
                </c:pt>
                <c:pt idx="1282">
                  <c:v>2.5210084033613599E-3</c:v>
                </c:pt>
                <c:pt idx="1283">
                  <c:v>3.3613445378151401E-3</c:v>
                </c:pt>
                <c:pt idx="1284">
                  <c:v>3.3613445378151401E-3</c:v>
                </c:pt>
                <c:pt idx="1285">
                  <c:v>3.3613445378151401E-3</c:v>
                </c:pt>
                <c:pt idx="1286">
                  <c:v>3.3613445378151401E-3</c:v>
                </c:pt>
                <c:pt idx="1287">
                  <c:v>3.3613445378151401E-3</c:v>
                </c:pt>
                <c:pt idx="1288">
                  <c:v>3.3613445378151401E-3</c:v>
                </c:pt>
                <c:pt idx="1289">
                  <c:v>3.3613445378151401E-3</c:v>
                </c:pt>
                <c:pt idx="1290">
                  <c:v>3.3613445378151401E-3</c:v>
                </c:pt>
                <c:pt idx="1291">
                  <c:v>4.2016806722689204E-3</c:v>
                </c:pt>
                <c:pt idx="1292">
                  <c:v>4.2016806722689204E-3</c:v>
                </c:pt>
                <c:pt idx="1293">
                  <c:v>4.2016806722689204E-3</c:v>
                </c:pt>
                <c:pt idx="1294">
                  <c:v>4.2016806722689204E-3</c:v>
                </c:pt>
                <c:pt idx="1295">
                  <c:v>4.2016806722689204E-3</c:v>
                </c:pt>
                <c:pt idx="1296">
                  <c:v>4.2016806722689204E-3</c:v>
                </c:pt>
                <c:pt idx="1297">
                  <c:v>4.2016806722689204E-3</c:v>
                </c:pt>
                <c:pt idx="1298">
                  <c:v>4.2016806722689204E-3</c:v>
                </c:pt>
                <c:pt idx="1299">
                  <c:v>4.2016806722689204E-3</c:v>
                </c:pt>
                <c:pt idx="1300">
                  <c:v>4.2016806722689204E-3</c:v>
                </c:pt>
                <c:pt idx="1301">
                  <c:v>4.2016806722689204E-3</c:v>
                </c:pt>
                <c:pt idx="1302">
                  <c:v>4.2016806722689204E-3</c:v>
                </c:pt>
                <c:pt idx="1303">
                  <c:v>4.2016806722689204E-3</c:v>
                </c:pt>
                <c:pt idx="1304">
                  <c:v>4.2016806722689204E-3</c:v>
                </c:pt>
                <c:pt idx="1305">
                  <c:v>4.2016806722689204E-3</c:v>
                </c:pt>
                <c:pt idx="1306">
                  <c:v>4.2016806722689204E-3</c:v>
                </c:pt>
                <c:pt idx="1307">
                  <c:v>4.2016806722689204E-3</c:v>
                </c:pt>
                <c:pt idx="1308">
                  <c:v>3.3613445378151102E-3</c:v>
                </c:pt>
                <c:pt idx="1309">
                  <c:v>3.3613445378151102E-3</c:v>
                </c:pt>
                <c:pt idx="1310">
                  <c:v>3.3613445378151102E-3</c:v>
                </c:pt>
                <c:pt idx="1311">
                  <c:v>3.3613445378151102E-3</c:v>
                </c:pt>
                <c:pt idx="1312">
                  <c:v>3.3613445378151102E-3</c:v>
                </c:pt>
                <c:pt idx="1313">
                  <c:v>3.3613445378151102E-3</c:v>
                </c:pt>
                <c:pt idx="1314">
                  <c:v>3.3613445378151102E-3</c:v>
                </c:pt>
                <c:pt idx="1315">
                  <c:v>3.3613445378151102E-3</c:v>
                </c:pt>
                <c:pt idx="1316">
                  <c:v>3.3613445378151102E-3</c:v>
                </c:pt>
                <c:pt idx="1317">
                  <c:v>3.3613445378151102E-3</c:v>
                </c:pt>
                <c:pt idx="1318">
                  <c:v>3.3613445378151102E-3</c:v>
                </c:pt>
                <c:pt idx="1319">
                  <c:v>3.3613445378151102E-3</c:v>
                </c:pt>
                <c:pt idx="1320">
                  <c:v>3.3613445378151102E-3</c:v>
                </c:pt>
                <c:pt idx="1321">
                  <c:v>3.3613445378151102E-3</c:v>
                </c:pt>
                <c:pt idx="1322">
                  <c:v>3.3613445378151102E-3</c:v>
                </c:pt>
                <c:pt idx="1323">
                  <c:v>3.3613445378151102E-3</c:v>
                </c:pt>
                <c:pt idx="1324">
                  <c:v>3.3613445378151102E-3</c:v>
                </c:pt>
                <c:pt idx="1325">
                  <c:v>2.5210084033613299E-3</c:v>
                </c:pt>
                <c:pt idx="1326">
                  <c:v>2.5210084033613299E-3</c:v>
                </c:pt>
                <c:pt idx="1327">
                  <c:v>2.5210084033613299E-3</c:v>
                </c:pt>
                <c:pt idx="1328">
                  <c:v>2.5210084033613299E-3</c:v>
                </c:pt>
                <c:pt idx="1329">
                  <c:v>1.6806722689075499E-3</c:v>
                </c:pt>
                <c:pt idx="1330">
                  <c:v>1.6806722689075499E-3</c:v>
                </c:pt>
                <c:pt idx="1331">
                  <c:v>1.6806722689075499E-3</c:v>
                </c:pt>
                <c:pt idx="1332">
                  <c:v>1.6806722689075499E-3</c:v>
                </c:pt>
                <c:pt idx="1333">
                  <c:v>1.6806722689075499E-3</c:v>
                </c:pt>
                <c:pt idx="1334">
                  <c:v>1.6806722689075499E-3</c:v>
                </c:pt>
                <c:pt idx="1335">
                  <c:v>1.6806722689075499E-3</c:v>
                </c:pt>
                <c:pt idx="1336">
                  <c:v>1.6806722689075499E-3</c:v>
                </c:pt>
                <c:pt idx="1337">
                  <c:v>1.6806722689075499E-3</c:v>
                </c:pt>
                <c:pt idx="1338">
                  <c:v>1.6806722689075499E-3</c:v>
                </c:pt>
                <c:pt idx="1339">
                  <c:v>1.6806722689075499E-3</c:v>
                </c:pt>
                <c:pt idx="1340">
                  <c:v>8.4033613445377799E-4</c:v>
                </c:pt>
                <c:pt idx="1341">
                  <c:v>8.4033613445377799E-4</c:v>
                </c:pt>
                <c:pt idx="1342">
                  <c:v>8.4033613445377799E-4</c:v>
                </c:pt>
                <c:pt idx="1343">
                  <c:v>8.4033613445377799E-4</c:v>
                </c:pt>
                <c:pt idx="1344">
                  <c:v>8.4033613445377799E-4</c:v>
                </c:pt>
                <c:pt idx="1345">
                  <c:v>8.4033613445377799E-4</c:v>
                </c:pt>
                <c:pt idx="1346">
                  <c:v>0</c:v>
                </c:pt>
                <c:pt idx="1347">
                  <c:v>0</c:v>
                </c:pt>
                <c:pt idx="1348">
                  <c:v>0</c:v>
                </c:pt>
                <c:pt idx="1349">
                  <c:v>0</c:v>
                </c:pt>
                <c:pt idx="1350">
                  <c:v>0</c:v>
                </c:pt>
                <c:pt idx="1351">
                  <c:v>0</c:v>
                </c:pt>
                <c:pt idx="1352">
                  <c:v>0</c:v>
                </c:pt>
                <c:pt idx="1353">
                  <c:v>-8.4033613445377799E-4</c:v>
                </c:pt>
                <c:pt idx="1354">
                  <c:v>-8.4033613445377799E-4</c:v>
                </c:pt>
                <c:pt idx="1355">
                  <c:v>-8.4033613445377799E-4</c:v>
                </c:pt>
                <c:pt idx="1356">
                  <c:v>-8.4033613445377799E-4</c:v>
                </c:pt>
                <c:pt idx="1357">
                  <c:v>-8.4033613445377799E-4</c:v>
                </c:pt>
                <c:pt idx="1358">
                  <c:v>-8.4033613445377799E-4</c:v>
                </c:pt>
                <c:pt idx="1359">
                  <c:v>-8.4033613445377799E-4</c:v>
                </c:pt>
                <c:pt idx="1360">
                  <c:v>-8.4033613445377799E-4</c:v>
                </c:pt>
                <c:pt idx="1361">
                  <c:v>-8.4033613445377799E-4</c:v>
                </c:pt>
                <c:pt idx="1362">
                  <c:v>-8.4033613445377799E-4</c:v>
                </c:pt>
                <c:pt idx="1363">
                  <c:v>-8.4033613445377799E-4</c:v>
                </c:pt>
                <c:pt idx="1364">
                  <c:v>-8.4033613445377799E-4</c:v>
                </c:pt>
                <c:pt idx="1365">
                  <c:v>-8.4033613445377799E-4</c:v>
                </c:pt>
                <c:pt idx="1366">
                  <c:v>-8.4033613445377799E-4</c:v>
                </c:pt>
                <c:pt idx="1367">
                  <c:v>0</c:v>
                </c:pt>
                <c:pt idx="1368">
                  <c:v>0</c:v>
                </c:pt>
                <c:pt idx="1369">
                  <c:v>0</c:v>
                </c:pt>
                <c:pt idx="1370">
                  <c:v>0</c:v>
                </c:pt>
                <c:pt idx="1371">
                  <c:v>0</c:v>
                </c:pt>
                <c:pt idx="1372">
                  <c:v>0</c:v>
                </c:pt>
                <c:pt idx="1373">
                  <c:v>0</c:v>
                </c:pt>
                <c:pt idx="1374">
                  <c:v>0</c:v>
                </c:pt>
                <c:pt idx="1375">
                  <c:v>0</c:v>
                </c:pt>
                <c:pt idx="1376">
                  <c:v>0</c:v>
                </c:pt>
                <c:pt idx="1377">
                  <c:v>8.4033613445377799E-4</c:v>
                </c:pt>
                <c:pt idx="1378">
                  <c:v>8.4033613445377799E-4</c:v>
                </c:pt>
                <c:pt idx="1379">
                  <c:v>8.4033613445377799E-4</c:v>
                </c:pt>
                <c:pt idx="1380">
                  <c:v>8.4033613445377799E-4</c:v>
                </c:pt>
                <c:pt idx="1381">
                  <c:v>8.4033613445377799E-4</c:v>
                </c:pt>
                <c:pt idx="1382">
                  <c:v>8.4033613445377799E-4</c:v>
                </c:pt>
                <c:pt idx="1383">
                  <c:v>8.4033613445377799E-4</c:v>
                </c:pt>
                <c:pt idx="1384">
                  <c:v>8.4033613445377799E-4</c:v>
                </c:pt>
                <c:pt idx="1385">
                  <c:v>8.4033613445377799E-4</c:v>
                </c:pt>
                <c:pt idx="1386">
                  <c:v>8.4033613445377799E-4</c:v>
                </c:pt>
                <c:pt idx="1387">
                  <c:v>1.6806722689075499E-3</c:v>
                </c:pt>
                <c:pt idx="1388">
                  <c:v>1.6806722689075499E-3</c:v>
                </c:pt>
                <c:pt idx="1389">
                  <c:v>1.6806722689075499E-3</c:v>
                </c:pt>
                <c:pt idx="1390">
                  <c:v>1.6806722689075499E-3</c:v>
                </c:pt>
                <c:pt idx="1391">
                  <c:v>1.6806722689075499E-3</c:v>
                </c:pt>
                <c:pt idx="1392">
                  <c:v>1.6806722689075499E-3</c:v>
                </c:pt>
                <c:pt idx="1393">
                  <c:v>1.6806722689075499E-3</c:v>
                </c:pt>
                <c:pt idx="1394">
                  <c:v>1.6806722689075499E-3</c:v>
                </c:pt>
                <c:pt idx="1395">
                  <c:v>1.6806722689075499E-3</c:v>
                </c:pt>
                <c:pt idx="1396">
                  <c:v>1.6806722689075499E-3</c:v>
                </c:pt>
                <c:pt idx="1397">
                  <c:v>1.6806722689075499E-3</c:v>
                </c:pt>
                <c:pt idx="1398">
                  <c:v>1.6806722689075499E-3</c:v>
                </c:pt>
                <c:pt idx="1399">
                  <c:v>2.5210084033613299E-3</c:v>
                </c:pt>
                <c:pt idx="1400">
                  <c:v>2.5210084033613299E-3</c:v>
                </c:pt>
                <c:pt idx="1401">
                  <c:v>2.5210084033613299E-3</c:v>
                </c:pt>
                <c:pt idx="1402">
                  <c:v>1.6806722689075499E-3</c:v>
                </c:pt>
                <c:pt idx="1403">
                  <c:v>1.6806722689075499E-3</c:v>
                </c:pt>
                <c:pt idx="1404">
                  <c:v>1.6806722689075499E-3</c:v>
                </c:pt>
                <c:pt idx="1405">
                  <c:v>2.5210084033613599E-3</c:v>
                </c:pt>
                <c:pt idx="1406">
                  <c:v>3.3613445378151401E-3</c:v>
                </c:pt>
                <c:pt idx="1407">
                  <c:v>3.3613445378151401E-3</c:v>
                </c:pt>
                <c:pt idx="1408">
                  <c:v>3.3613445378151401E-3</c:v>
                </c:pt>
                <c:pt idx="1409">
                  <c:v>3.3613445378151401E-3</c:v>
                </c:pt>
                <c:pt idx="1410">
                  <c:v>3.3613445378151401E-3</c:v>
                </c:pt>
                <c:pt idx="1411">
                  <c:v>3.3613445378151401E-3</c:v>
                </c:pt>
                <c:pt idx="1412">
                  <c:v>3.3613445378151401E-3</c:v>
                </c:pt>
                <c:pt idx="1413">
                  <c:v>3.3613445378151401E-3</c:v>
                </c:pt>
                <c:pt idx="1414">
                  <c:v>3.3613445378151401E-3</c:v>
                </c:pt>
                <c:pt idx="1415">
                  <c:v>3.3613445378151401E-3</c:v>
                </c:pt>
                <c:pt idx="1416">
                  <c:v>3.3613445378151401E-3</c:v>
                </c:pt>
                <c:pt idx="1417">
                  <c:v>3.3613445378151401E-3</c:v>
                </c:pt>
                <c:pt idx="1418">
                  <c:v>3.3613445378151401E-3</c:v>
                </c:pt>
                <c:pt idx="1419">
                  <c:v>3.3613445378151401E-3</c:v>
                </c:pt>
                <c:pt idx="1420">
                  <c:v>3.3613445378151401E-3</c:v>
                </c:pt>
                <c:pt idx="1421">
                  <c:v>3.3613445378151401E-3</c:v>
                </c:pt>
                <c:pt idx="1422">
                  <c:v>3.3613445378151401E-3</c:v>
                </c:pt>
                <c:pt idx="1423">
                  <c:v>3.3613445378151401E-3</c:v>
                </c:pt>
                <c:pt idx="1424">
                  <c:v>3.3613445378151401E-3</c:v>
                </c:pt>
                <c:pt idx="1425">
                  <c:v>3.3613445378151401E-3</c:v>
                </c:pt>
                <c:pt idx="1426">
                  <c:v>3.3613445378151401E-3</c:v>
                </c:pt>
                <c:pt idx="1427">
                  <c:v>3.3613445378151401E-3</c:v>
                </c:pt>
                <c:pt idx="1428">
                  <c:v>3.3613445378151401E-3</c:v>
                </c:pt>
                <c:pt idx="1429">
                  <c:v>3.3613445378151401E-3</c:v>
                </c:pt>
                <c:pt idx="1430">
                  <c:v>3.3613445378151401E-3</c:v>
                </c:pt>
                <c:pt idx="1431">
                  <c:v>3.3613445378151401E-3</c:v>
                </c:pt>
                <c:pt idx="1432">
                  <c:v>3.3613445378151401E-3</c:v>
                </c:pt>
                <c:pt idx="1433">
                  <c:v>3.3613445378151401E-3</c:v>
                </c:pt>
                <c:pt idx="1434">
                  <c:v>3.3613445378151401E-3</c:v>
                </c:pt>
                <c:pt idx="1435">
                  <c:v>3.3613445378151401E-3</c:v>
                </c:pt>
                <c:pt idx="1436">
                  <c:v>3.3613445378151401E-3</c:v>
                </c:pt>
                <c:pt idx="1437">
                  <c:v>3.3613445378151401E-3</c:v>
                </c:pt>
                <c:pt idx="1438">
                  <c:v>3.3613445378151401E-3</c:v>
                </c:pt>
                <c:pt idx="1439">
                  <c:v>3.3613445378151401E-3</c:v>
                </c:pt>
                <c:pt idx="1440">
                  <c:v>3.3613445378151401E-3</c:v>
                </c:pt>
                <c:pt idx="1441">
                  <c:v>3.3613445378151401E-3</c:v>
                </c:pt>
                <c:pt idx="1442">
                  <c:v>3.3613445378151401E-3</c:v>
                </c:pt>
                <c:pt idx="1443">
                  <c:v>3.3613445378151401E-3</c:v>
                </c:pt>
                <c:pt idx="1444">
                  <c:v>3.3613445378151401E-3</c:v>
                </c:pt>
                <c:pt idx="1445">
                  <c:v>3.3613445378151401E-3</c:v>
                </c:pt>
                <c:pt idx="1446">
                  <c:v>3.3613445378151401E-3</c:v>
                </c:pt>
                <c:pt idx="1447">
                  <c:v>3.3613445378151401E-3</c:v>
                </c:pt>
                <c:pt idx="1448">
                  <c:v>3.3613445378151401E-3</c:v>
                </c:pt>
                <c:pt idx="1449">
                  <c:v>3.3613445378151401E-3</c:v>
                </c:pt>
                <c:pt idx="1450">
                  <c:v>3.3613445378151401E-3</c:v>
                </c:pt>
                <c:pt idx="1451">
                  <c:v>3.3613445378151401E-3</c:v>
                </c:pt>
                <c:pt idx="1452">
                  <c:v>3.3613445378151401E-3</c:v>
                </c:pt>
                <c:pt idx="1453">
                  <c:v>3.3613445378151401E-3</c:v>
                </c:pt>
                <c:pt idx="1454">
                  <c:v>3.3613445378151401E-3</c:v>
                </c:pt>
                <c:pt idx="1455">
                  <c:v>4.2016806722689204E-3</c:v>
                </c:pt>
                <c:pt idx="1456">
                  <c:v>4.2016806722689204E-3</c:v>
                </c:pt>
                <c:pt idx="1457">
                  <c:v>4.2016806722689204E-3</c:v>
                </c:pt>
                <c:pt idx="1458">
                  <c:v>4.2016806722689204E-3</c:v>
                </c:pt>
                <c:pt idx="1459">
                  <c:v>4.2016806722689204E-3</c:v>
                </c:pt>
                <c:pt idx="1460">
                  <c:v>4.2016806722689204E-3</c:v>
                </c:pt>
                <c:pt idx="1461">
                  <c:v>5.0420168067226902E-3</c:v>
                </c:pt>
                <c:pt idx="1462">
                  <c:v>4.2016806722689204E-3</c:v>
                </c:pt>
                <c:pt idx="1463">
                  <c:v>4.2016806722689204E-3</c:v>
                </c:pt>
                <c:pt idx="1464">
                  <c:v>4.2016806722689204E-3</c:v>
                </c:pt>
                <c:pt idx="1465">
                  <c:v>5.0420168067226902E-3</c:v>
                </c:pt>
                <c:pt idx="1466">
                  <c:v>5.0420168067226902E-3</c:v>
                </c:pt>
                <c:pt idx="1467">
                  <c:v>5.0420168067226902E-3</c:v>
                </c:pt>
                <c:pt idx="1468">
                  <c:v>5.0420168067226902E-3</c:v>
                </c:pt>
                <c:pt idx="1469">
                  <c:v>5.0420168067226902E-3</c:v>
                </c:pt>
                <c:pt idx="1470">
                  <c:v>5.0420168067226902E-3</c:v>
                </c:pt>
                <c:pt idx="1471">
                  <c:v>5.0420168067226902E-3</c:v>
                </c:pt>
                <c:pt idx="1472">
                  <c:v>5.0420168067226902E-3</c:v>
                </c:pt>
                <c:pt idx="1473">
                  <c:v>5.0420168067226902E-3</c:v>
                </c:pt>
                <c:pt idx="1474">
                  <c:v>5.0420168067226902E-3</c:v>
                </c:pt>
                <c:pt idx="1475">
                  <c:v>5.0420168067226902E-3</c:v>
                </c:pt>
                <c:pt idx="1476">
                  <c:v>5.0420168067226902E-3</c:v>
                </c:pt>
                <c:pt idx="1477">
                  <c:v>4.2016806722689204E-3</c:v>
                </c:pt>
                <c:pt idx="1478">
                  <c:v>5.0420168067226902E-3</c:v>
                </c:pt>
                <c:pt idx="1479">
                  <c:v>5.0420168067226902E-3</c:v>
                </c:pt>
                <c:pt idx="1480">
                  <c:v>5.0420168067226902E-3</c:v>
                </c:pt>
                <c:pt idx="1481">
                  <c:v>5.0420168067226902E-3</c:v>
                </c:pt>
                <c:pt idx="1482">
                  <c:v>5.0420168067226902E-3</c:v>
                </c:pt>
                <c:pt idx="1483">
                  <c:v>5.0420168067226902E-3</c:v>
                </c:pt>
                <c:pt idx="1484">
                  <c:v>5.0420168067226902E-3</c:v>
                </c:pt>
                <c:pt idx="1485">
                  <c:v>4.20168067226889E-3</c:v>
                </c:pt>
                <c:pt idx="1486">
                  <c:v>4.20168067226889E-3</c:v>
                </c:pt>
                <c:pt idx="1487">
                  <c:v>4.20168067226889E-3</c:v>
                </c:pt>
                <c:pt idx="1488">
                  <c:v>3.3613445378151102E-3</c:v>
                </c:pt>
                <c:pt idx="1489">
                  <c:v>3.3613445378151102E-3</c:v>
                </c:pt>
                <c:pt idx="1490">
                  <c:v>4.20168067226889E-3</c:v>
                </c:pt>
                <c:pt idx="1491">
                  <c:v>4.20168067226889E-3</c:v>
                </c:pt>
                <c:pt idx="1492">
                  <c:v>4.20168067226889E-3</c:v>
                </c:pt>
                <c:pt idx="1493">
                  <c:v>4.20168067226889E-3</c:v>
                </c:pt>
                <c:pt idx="1494">
                  <c:v>4.20168067226889E-3</c:v>
                </c:pt>
                <c:pt idx="1495">
                  <c:v>4.20168067226889E-3</c:v>
                </c:pt>
                <c:pt idx="1496">
                  <c:v>4.20168067226889E-3</c:v>
                </c:pt>
                <c:pt idx="1497">
                  <c:v>4.20168067226889E-3</c:v>
                </c:pt>
                <c:pt idx="1498">
                  <c:v>4.20168067226889E-3</c:v>
                </c:pt>
                <c:pt idx="1499">
                  <c:v>4.20168067226889E-3</c:v>
                </c:pt>
                <c:pt idx="1500">
                  <c:v>4.20168067226889E-3</c:v>
                </c:pt>
                <c:pt idx="1501">
                  <c:v>4.20168067226889E-3</c:v>
                </c:pt>
                <c:pt idx="1502">
                  <c:v>4.20168067226889E-3</c:v>
                </c:pt>
                <c:pt idx="1503">
                  <c:v>4.20168067226889E-3</c:v>
                </c:pt>
                <c:pt idx="1504">
                  <c:v>4.20168067226889E-3</c:v>
                </c:pt>
                <c:pt idx="1505">
                  <c:v>4.20168067226889E-3</c:v>
                </c:pt>
                <c:pt idx="1506">
                  <c:v>4.20168067226889E-3</c:v>
                </c:pt>
                <c:pt idx="1507">
                  <c:v>4.20168067226889E-3</c:v>
                </c:pt>
                <c:pt idx="1508">
                  <c:v>4.20168067226889E-3</c:v>
                </c:pt>
                <c:pt idx="1509">
                  <c:v>4.20168067226889E-3</c:v>
                </c:pt>
                <c:pt idx="1510">
                  <c:v>4.20168067226889E-3</c:v>
                </c:pt>
                <c:pt idx="1511">
                  <c:v>5.0420168067226703E-3</c:v>
                </c:pt>
                <c:pt idx="1512">
                  <c:v>5.0420168067226703E-3</c:v>
                </c:pt>
                <c:pt idx="1513">
                  <c:v>5.0420168067226703E-3</c:v>
                </c:pt>
                <c:pt idx="1514">
                  <c:v>5.0420168067226703E-3</c:v>
                </c:pt>
                <c:pt idx="1515">
                  <c:v>5.0420168067226703E-3</c:v>
                </c:pt>
                <c:pt idx="1516">
                  <c:v>5.0420168067226703E-3</c:v>
                </c:pt>
                <c:pt idx="1517">
                  <c:v>5.0420168067226703E-3</c:v>
                </c:pt>
                <c:pt idx="1518">
                  <c:v>5.0420168067226703E-3</c:v>
                </c:pt>
                <c:pt idx="1519">
                  <c:v>5.0420168067226703E-3</c:v>
                </c:pt>
                <c:pt idx="1520">
                  <c:v>5.0420168067226703E-3</c:v>
                </c:pt>
                <c:pt idx="1521">
                  <c:v>5.0420168067226703E-3</c:v>
                </c:pt>
                <c:pt idx="1522">
                  <c:v>5.0420168067226703E-3</c:v>
                </c:pt>
                <c:pt idx="1523">
                  <c:v>5.0420168067226703E-3</c:v>
                </c:pt>
                <c:pt idx="1524">
                  <c:v>5.0420168067226703E-3</c:v>
                </c:pt>
                <c:pt idx="1525">
                  <c:v>5.0420168067226703E-3</c:v>
                </c:pt>
                <c:pt idx="1526">
                  <c:v>5.0420168067226703E-3</c:v>
                </c:pt>
                <c:pt idx="1527">
                  <c:v>5.0420168067226703E-3</c:v>
                </c:pt>
                <c:pt idx="1528">
                  <c:v>5.0420168067226703E-3</c:v>
                </c:pt>
                <c:pt idx="1529">
                  <c:v>5.0420168067226703E-3</c:v>
                </c:pt>
                <c:pt idx="1530">
                  <c:v>5.0420168067226703E-3</c:v>
                </c:pt>
                <c:pt idx="1531">
                  <c:v>5.0420168067226703E-3</c:v>
                </c:pt>
                <c:pt idx="1532">
                  <c:v>5.0420168067226703E-3</c:v>
                </c:pt>
                <c:pt idx="1533">
                  <c:v>5.0420168067226703E-3</c:v>
                </c:pt>
                <c:pt idx="1534">
                  <c:v>5.0420168067226703E-3</c:v>
                </c:pt>
                <c:pt idx="1535">
                  <c:v>5.0420168067226703E-3</c:v>
                </c:pt>
                <c:pt idx="1536">
                  <c:v>5.0420168067226703E-3</c:v>
                </c:pt>
                <c:pt idx="1537">
                  <c:v>5.0420168067226703E-3</c:v>
                </c:pt>
                <c:pt idx="1538">
                  <c:v>5.0420168067226703E-3</c:v>
                </c:pt>
                <c:pt idx="1539">
                  <c:v>5.0420168067226703E-3</c:v>
                </c:pt>
                <c:pt idx="1540">
                  <c:v>5.0420168067226703E-3</c:v>
                </c:pt>
                <c:pt idx="1541">
                  <c:v>5.0420168067226703E-3</c:v>
                </c:pt>
                <c:pt idx="1542">
                  <c:v>5.0420168067226703E-3</c:v>
                </c:pt>
                <c:pt idx="1543">
                  <c:v>5.0420168067226703E-3</c:v>
                </c:pt>
                <c:pt idx="1544">
                  <c:v>5.0420168067226703E-3</c:v>
                </c:pt>
                <c:pt idx="1545">
                  <c:v>5.0420168067226703E-3</c:v>
                </c:pt>
                <c:pt idx="1546">
                  <c:v>5.0420168067226703E-3</c:v>
                </c:pt>
                <c:pt idx="1547">
                  <c:v>5.0420168067226703E-3</c:v>
                </c:pt>
                <c:pt idx="1548">
                  <c:v>5.0420168067226703E-3</c:v>
                </c:pt>
                <c:pt idx="1549">
                  <c:v>5.0420168067226703E-3</c:v>
                </c:pt>
                <c:pt idx="1550">
                  <c:v>5.0420168067226703E-3</c:v>
                </c:pt>
                <c:pt idx="1551">
                  <c:v>5.0420168067226703E-3</c:v>
                </c:pt>
                <c:pt idx="1552">
                  <c:v>5.0420168067226703E-3</c:v>
                </c:pt>
                <c:pt idx="1553">
                  <c:v>5.0420168067226703E-3</c:v>
                </c:pt>
                <c:pt idx="1554">
                  <c:v>5.0420168067226703E-3</c:v>
                </c:pt>
                <c:pt idx="1555">
                  <c:v>5.0420168067226703E-3</c:v>
                </c:pt>
                <c:pt idx="1556">
                  <c:v>5.8823529411764497E-3</c:v>
                </c:pt>
                <c:pt idx="1557">
                  <c:v>5.8823529411764497E-3</c:v>
                </c:pt>
                <c:pt idx="1558">
                  <c:v>5.8823529411764497E-3</c:v>
                </c:pt>
                <c:pt idx="1559">
                  <c:v>5.8823529411764497E-3</c:v>
                </c:pt>
                <c:pt idx="1560">
                  <c:v>5.8823529411764497E-3</c:v>
                </c:pt>
                <c:pt idx="1561">
                  <c:v>5.8823529411764497E-3</c:v>
                </c:pt>
                <c:pt idx="1562">
                  <c:v>5.8823529411764497E-3</c:v>
                </c:pt>
                <c:pt idx="1563">
                  <c:v>5.8823529411764497E-3</c:v>
                </c:pt>
                <c:pt idx="1564">
                  <c:v>5.8823529411764497E-3</c:v>
                </c:pt>
                <c:pt idx="1565">
                  <c:v>5.8823529411764497E-3</c:v>
                </c:pt>
                <c:pt idx="1566">
                  <c:v>5.8823529411764497E-3</c:v>
                </c:pt>
                <c:pt idx="1567">
                  <c:v>5.8823529411764497E-3</c:v>
                </c:pt>
                <c:pt idx="1568">
                  <c:v>5.8823529411764497E-3</c:v>
                </c:pt>
                <c:pt idx="1569">
                  <c:v>5.8823529411764497E-3</c:v>
                </c:pt>
                <c:pt idx="1570">
                  <c:v>5.8823529411764497E-3</c:v>
                </c:pt>
                <c:pt idx="1571">
                  <c:v>5.8823529411764497E-3</c:v>
                </c:pt>
                <c:pt idx="1572">
                  <c:v>5.8823529411764497E-3</c:v>
                </c:pt>
                <c:pt idx="1573">
                  <c:v>5.8823529411764497E-3</c:v>
                </c:pt>
                <c:pt idx="1574">
                  <c:v>5.8823529411764497E-3</c:v>
                </c:pt>
                <c:pt idx="1575">
                  <c:v>5.8823529411764497E-3</c:v>
                </c:pt>
                <c:pt idx="1576">
                  <c:v>5.8823529411764497E-3</c:v>
                </c:pt>
                <c:pt idx="1577">
                  <c:v>5.8823529411764497E-3</c:v>
                </c:pt>
                <c:pt idx="1578">
                  <c:v>5.8823529411764497E-3</c:v>
                </c:pt>
                <c:pt idx="1579">
                  <c:v>5.0420168067226703E-3</c:v>
                </c:pt>
                <c:pt idx="1580">
                  <c:v>5.0420168067226703E-3</c:v>
                </c:pt>
                <c:pt idx="1581">
                  <c:v>5.0420168067226902E-3</c:v>
                </c:pt>
                <c:pt idx="1582">
                  <c:v>5.0420168067226902E-3</c:v>
                </c:pt>
                <c:pt idx="1583">
                  <c:v>5.0420168067226902E-3</c:v>
                </c:pt>
                <c:pt idx="1584">
                  <c:v>5.0420168067226902E-3</c:v>
                </c:pt>
                <c:pt idx="1585">
                  <c:v>5.0420168067226902E-3</c:v>
                </c:pt>
                <c:pt idx="1586">
                  <c:v>4.2016806722689204E-3</c:v>
                </c:pt>
                <c:pt idx="1587">
                  <c:v>4.2016806722689204E-3</c:v>
                </c:pt>
                <c:pt idx="1588">
                  <c:v>4.2016806722689204E-3</c:v>
                </c:pt>
                <c:pt idx="1589">
                  <c:v>4.2016806722689204E-3</c:v>
                </c:pt>
                <c:pt idx="1590">
                  <c:v>4.2016806722689204E-3</c:v>
                </c:pt>
                <c:pt idx="1591">
                  <c:v>4.2016806722689204E-3</c:v>
                </c:pt>
                <c:pt idx="1592">
                  <c:v>4.2016806722689204E-3</c:v>
                </c:pt>
                <c:pt idx="1593">
                  <c:v>4.2016806722689204E-3</c:v>
                </c:pt>
                <c:pt idx="1594">
                  <c:v>4.2016806722689204E-3</c:v>
                </c:pt>
                <c:pt idx="1595">
                  <c:v>4.2016806722689204E-3</c:v>
                </c:pt>
                <c:pt idx="1596">
                  <c:v>4.2016806722689204E-3</c:v>
                </c:pt>
                <c:pt idx="1597">
                  <c:v>4.2016806722689204E-3</c:v>
                </c:pt>
                <c:pt idx="1598">
                  <c:v>4.2016806722689204E-3</c:v>
                </c:pt>
                <c:pt idx="1599">
                  <c:v>4.2016806722689204E-3</c:v>
                </c:pt>
                <c:pt idx="1600">
                  <c:v>4.2016806722689204E-3</c:v>
                </c:pt>
                <c:pt idx="1601">
                  <c:v>4.2016806722689204E-3</c:v>
                </c:pt>
                <c:pt idx="1602">
                  <c:v>3.3613445378151401E-3</c:v>
                </c:pt>
                <c:pt idx="1603">
                  <c:v>3.3613445378151401E-3</c:v>
                </c:pt>
                <c:pt idx="1604">
                  <c:v>3.3613445378151401E-3</c:v>
                </c:pt>
                <c:pt idx="1605">
                  <c:v>3.3613445378151401E-3</c:v>
                </c:pt>
                <c:pt idx="1606">
                  <c:v>3.3613445378151401E-3</c:v>
                </c:pt>
                <c:pt idx="1607">
                  <c:v>3.3613445378151401E-3</c:v>
                </c:pt>
                <c:pt idx="1608">
                  <c:v>3.3613445378151401E-3</c:v>
                </c:pt>
                <c:pt idx="1609">
                  <c:v>3.3613445378151401E-3</c:v>
                </c:pt>
                <c:pt idx="1610">
                  <c:v>3.3613445378151401E-3</c:v>
                </c:pt>
                <c:pt idx="1611">
                  <c:v>3.3613445378151401E-3</c:v>
                </c:pt>
                <c:pt idx="1612">
                  <c:v>3.3613445378151401E-3</c:v>
                </c:pt>
                <c:pt idx="1613">
                  <c:v>3.3613445378151401E-3</c:v>
                </c:pt>
                <c:pt idx="1614">
                  <c:v>3.3613445378151401E-3</c:v>
                </c:pt>
                <c:pt idx="1615">
                  <c:v>3.3613445378151401E-3</c:v>
                </c:pt>
                <c:pt idx="1616">
                  <c:v>4.2016806722689204E-3</c:v>
                </c:pt>
                <c:pt idx="1617">
                  <c:v>3.3613445378151401E-3</c:v>
                </c:pt>
                <c:pt idx="1618">
                  <c:v>3.3613445378151401E-3</c:v>
                </c:pt>
                <c:pt idx="1619">
                  <c:v>3.3613445378151401E-3</c:v>
                </c:pt>
                <c:pt idx="1620">
                  <c:v>3.3613445378151401E-3</c:v>
                </c:pt>
                <c:pt idx="1621">
                  <c:v>3.3613445378151401E-3</c:v>
                </c:pt>
                <c:pt idx="1622">
                  <c:v>3.3613445378151401E-3</c:v>
                </c:pt>
                <c:pt idx="1623">
                  <c:v>3.3613445378151401E-3</c:v>
                </c:pt>
                <c:pt idx="1624">
                  <c:v>3.3613445378151401E-3</c:v>
                </c:pt>
                <c:pt idx="1625">
                  <c:v>3.3613445378151401E-3</c:v>
                </c:pt>
                <c:pt idx="1626">
                  <c:v>4.2016806722689204E-3</c:v>
                </c:pt>
                <c:pt idx="1627">
                  <c:v>4.2016806722689204E-3</c:v>
                </c:pt>
                <c:pt idx="1628">
                  <c:v>3.3613445378151401E-3</c:v>
                </c:pt>
                <c:pt idx="1629">
                  <c:v>3.3613445378151401E-3</c:v>
                </c:pt>
                <c:pt idx="1630">
                  <c:v>2.5210084033613599E-3</c:v>
                </c:pt>
                <c:pt idx="1631">
                  <c:v>2.5210084033613599E-3</c:v>
                </c:pt>
                <c:pt idx="1632">
                  <c:v>3.3613445378151401E-3</c:v>
                </c:pt>
                <c:pt idx="1633">
                  <c:v>3.3613445378151401E-3</c:v>
                </c:pt>
                <c:pt idx="1634">
                  <c:v>3.3613445378151401E-3</c:v>
                </c:pt>
                <c:pt idx="1635">
                  <c:v>3.3613445378151401E-3</c:v>
                </c:pt>
                <c:pt idx="1636">
                  <c:v>3.3613445378151401E-3</c:v>
                </c:pt>
                <c:pt idx="1637">
                  <c:v>3.3613445378151401E-3</c:v>
                </c:pt>
                <c:pt idx="1638">
                  <c:v>3.3613445378151401E-3</c:v>
                </c:pt>
                <c:pt idx="1639">
                  <c:v>3.3613445378151401E-3</c:v>
                </c:pt>
                <c:pt idx="1640">
                  <c:v>3.3613445378151401E-3</c:v>
                </c:pt>
                <c:pt idx="1641">
                  <c:v>3.3613445378151401E-3</c:v>
                </c:pt>
                <c:pt idx="1642">
                  <c:v>4.2016806722689204E-3</c:v>
                </c:pt>
                <c:pt idx="1643">
                  <c:v>4.2016806722689204E-3</c:v>
                </c:pt>
                <c:pt idx="1644">
                  <c:v>4.2016806722689204E-3</c:v>
                </c:pt>
                <c:pt idx="1645">
                  <c:v>4.2016806722689204E-3</c:v>
                </c:pt>
                <c:pt idx="1646">
                  <c:v>4.2016806722689204E-3</c:v>
                </c:pt>
                <c:pt idx="1647">
                  <c:v>4.2016806722689204E-3</c:v>
                </c:pt>
                <c:pt idx="1648">
                  <c:v>4.2016806722689204E-3</c:v>
                </c:pt>
                <c:pt idx="1649">
                  <c:v>4.2016806722689204E-3</c:v>
                </c:pt>
                <c:pt idx="1650">
                  <c:v>4.2016806722689204E-3</c:v>
                </c:pt>
                <c:pt idx="1651">
                  <c:v>4.2016806722689204E-3</c:v>
                </c:pt>
                <c:pt idx="1652">
                  <c:v>4.2016806722689204E-3</c:v>
                </c:pt>
                <c:pt idx="1653">
                  <c:v>5.0420168067226902E-3</c:v>
                </c:pt>
                <c:pt idx="1654">
                  <c:v>5.0420168067226902E-3</c:v>
                </c:pt>
                <c:pt idx="1655">
                  <c:v>5.0420168067226902E-3</c:v>
                </c:pt>
                <c:pt idx="1656">
                  <c:v>5.0420168067226902E-3</c:v>
                </c:pt>
                <c:pt idx="1657">
                  <c:v>5.0420168067226902E-3</c:v>
                </c:pt>
                <c:pt idx="1658">
                  <c:v>5.0420168067226902E-3</c:v>
                </c:pt>
                <c:pt idx="1659">
                  <c:v>5.0420168067226902E-3</c:v>
                </c:pt>
                <c:pt idx="1660">
                  <c:v>5.0420168067226902E-3</c:v>
                </c:pt>
                <c:pt idx="1661">
                  <c:v>5.0420168067226902E-3</c:v>
                </c:pt>
                <c:pt idx="1662">
                  <c:v>5.0420168067226902E-3</c:v>
                </c:pt>
                <c:pt idx="1663">
                  <c:v>5.0420168067226902E-3</c:v>
                </c:pt>
                <c:pt idx="1664">
                  <c:v>5.0420168067226902E-3</c:v>
                </c:pt>
                <c:pt idx="1665">
                  <c:v>5.0420168067226902E-3</c:v>
                </c:pt>
                <c:pt idx="1666">
                  <c:v>4.20168067226889E-3</c:v>
                </c:pt>
                <c:pt idx="1667">
                  <c:v>4.20168067226889E-3</c:v>
                </c:pt>
                <c:pt idx="1668">
                  <c:v>4.20168067226889E-3</c:v>
                </c:pt>
                <c:pt idx="1669">
                  <c:v>4.20168067226889E-3</c:v>
                </c:pt>
                <c:pt idx="1670">
                  <c:v>4.20168067226889E-3</c:v>
                </c:pt>
                <c:pt idx="1671">
                  <c:v>4.20168067226889E-3</c:v>
                </c:pt>
                <c:pt idx="1672">
                  <c:v>4.20168067226889E-3</c:v>
                </c:pt>
                <c:pt idx="1673">
                  <c:v>4.20168067226889E-3</c:v>
                </c:pt>
                <c:pt idx="1674">
                  <c:v>4.20168067226889E-3</c:v>
                </c:pt>
                <c:pt idx="1675">
                  <c:v>4.20168067226889E-3</c:v>
                </c:pt>
                <c:pt idx="1676">
                  <c:v>4.20168067226889E-3</c:v>
                </c:pt>
                <c:pt idx="1677">
                  <c:v>4.20168067226889E-3</c:v>
                </c:pt>
                <c:pt idx="1678">
                  <c:v>4.20168067226889E-3</c:v>
                </c:pt>
                <c:pt idx="1679">
                  <c:v>4.20168067226889E-3</c:v>
                </c:pt>
                <c:pt idx="1680">
                  <c:v>4.20168067226889E-3</c:v>
                </c:pt>
                <c:pt idx="1681">
                  <c:v>4.20168067226889E-3</c:v>
                </c:pt>
                <c:pt idx="1682">
                  <c:v>3.3613445378151102E-3</c:v>
                </c:pt>
                <c:pt idx="1683">
                  <c:v>3.3613445378151102E-3</c:v>
                </c:pt>
                <c:pt idx="1684">
                  <c:v>2.5210084033613299E-3</c:v>
                </c:pt>
                <c:pt idx="1685">
                  <c:v>2.5210084033613299E-3</c:v>
                </c:pt>
                <c:pt idx="1686">
                  <c:v>2.5210084033613299E-3</c:v>
                </c:pt>
                <c:pt idx="1687">
                  <c:v>2.5210084033613299E-3</c:v>
                </c:pt>
                <c:pt idx="1688">
                  <c:v>2.5210084033613299E-3</c:v>
                </c:pt>
                <c:pt idx="1689">
                  <c:v>2.5210084033613299E-3</c:v>
                </c:pt>
                <c:pt idx="1690">
                  <c:v>2.5210084033613299E-3</c:v>
                </c:pt>
                <c:pt idx="1691">
                  <c:v>2.5210084033613299E-3</c:v>
                </c:pt>
                <c:pt idx="1692">
                  <c:v>2.5210084033613299E-3</c:v>
                </c:pt>
                <c:pt idx="1693">
                  <c:v>3.3613445378151102E-3</c:v>
                </c:pt>
                <c:pt idx="1694">
                  <c:v>3.3613445378151102E-3</c:v>
                </c:pt>
                <c:pt idx="1695">
                  <c:v>3.3613445378151102E-3</c:v>
                </c:pt>
                <c:pt idx="1696">
                  <c:v>3.3613445378151102E-3</c:v>
                </c:pt>
                <c:pt idx="1697">
                  <c:v>3.3613445378151102E-3</c:v>
                </c:pt>
                <c:pt idx="1698">
                  <c:v>3.3613445378151102E-3</c:v>
                </c:pt>
                <c:pt idx="1699">
                  <c:v>3.3613445378151102E-3</c:v>
                </c:pt>
                <c:pt idx="1700">
                  <c:v>3.3613445378151102E-3</c:v>
                </c:pt>
                <c:pt idx="1701">
                  <c:v>3.3613445378151102E-3</c:v>
                </c:pt>
                <c:pt idx="1702">
                  <c:v>3.3613445378151102E-3</c:v>
                </c:pt>
                <c:pt idx="1703">
                  <c:v>3.3613445378151102E-3</c:v>
                </c:pt>
                <c:pt idx="1704">
                  <c:v>4.20168067226889E-3</c:v>
                </c:pt>
                <c:pt idx="1705">
                  <c:v>4.20168067226889E-3</c:v>
                </c:pt>
                <c:pt idx="1706">
                  <c:v>4.20168067226889E-3</c:v>
                </c:pt>
                <c:pt idx="1707">
                  <c:v>4.20168067226889E-3</c:v>
                </c:pt>
                <c:pt idx="1708">
                  <c:v>4.20168067226889E-3</c:v>
                </c:pt>
                <c:pt idx="1709">
                  <c:v>4.20168067226889E-3</c:v>
                </c:pt>
                <c:pt idx="1710">
                  <c:v>4.20168067226889E-3</c:v>
                </c:pt>
                <c:pt idx="1711">
                  <c:v>4.20168067226889E-3</c:v>
                </c:pt>
                <c:pt idx="1712">
                  <c:v>4.20168067226889E-3</c:v>
                </c:pt>
                <c:pt idx="1713">
                  <c:v>4.20168067226889E-3</c:v>
                </c:pt>
                <c:pt idx="1714">
                  <c:v>4.20168067226889E-3</c:v>
                </c:pt>
                <c:pt idx="1715">
                  <c:v>4.20168067226889E-3</c:v>
                </c:pt>
                <c:pt idx="1716">
                  <c:v>4.20168067226889E-3</c:v>
                </c:pt>
                <c:pt idx="1717">
                  <c:v>4.20168067226889E-3</c:v>
                </c:pt>
                <c:pt idx="1718">
                  <c:v>4.20168067226889E-3</c:v>
                </c:pt>
                <c:pt idx="1719">
                  <c:v>4.20168067226889E-3</c:v>
                </c:pt>
                <c:pt idx="1720">
                  <c:v>4.20168067226889E-3</c:v>
                </c:pt>
                <c:pt idx="1721">
                  <c:v>4.20168067226889E-3</c:v>
                </c:pt>
                <c:pt idx="1722">
                  <c:v>4.20168067226889E-3</c:v>
                </c:pt>
                <c:pt idx="1723">
                  <c:v>4.20168067226889E-3</c:v>
                </c:pt>
                <c:pt idx="1724">
                  <c:v>4.20168067226889E-3</c:v>
                </c:pt>
                <c:pt idx="1725">
                  <c:v>3.3613445378151102E-3</c:v>
                </c:pt>
                <c:pt idx="1726">
                  <c:v>4.20168067226889E-3</c:v>
                </c:pt>
                <c:pt idx="1727">
                  <c:v>4.20168067226889E-3</c:v>
                </c:pt>
                <c:pt idx="1728">
                  <c:v>4.20168067226889E-3</c:v>
                </c:pt>
                <c:pt idx="1729">
                  <c:v>4.20168067226889E-3</c:v>
                </c:pt>
                <c:pt idx="1730">
                  <c:v>4.20168067226889E-3</c:v>
                </c:pt>
                <c:pt idx="1731">
                  <c:v>5.0420168067226703E-3</c:v>
                </c:pt>
                <c:pt idx="1732">
                  <c:v>5.0420168067226703E-3</c:v>
                </c:pt>
                <c:pt idx="1733">
                  <c:v>5.0420168067226703E-3</c:v>
                </c:pt>
                <c:pt idx="1734">
                  <c:v>5.0420168067226703E-3</c:v>
                </c:pt>
                <c:pt idx="1735">
                  <c:v>5.0420168067226703E-3</c:v>
                </c:pt>
                <c:pt idx="1736">
                  <c:v>5.0420168067226703E-3</c:v>
                </c:pt>
                <c:pt idx="1737">
                  <c:v>5.0420168067226703E-3</c:v>
                </c:pt>
                <c:pt idx="1738">
                  <c:v>5.0420168067226703E-3</c:v>
                </c:pt>
                <c:pt idx="1739">
                  <c:v>5.0420168067226703E-3</c:v>
                </c:pt>
                <c:pt idx="1740">
                  <c:v>5.0420168067226703E-3</c:v>
                </c:pt>
                <c:pt idx="1741">
                  <c:v>5.0420168067226703E-3</c:v>
                </c:pt>
                <c:pt idx="1742">
                  <c:v>5.0420168067226703E-3</c:v>
                </c:pt>
                <c:pt idx="1743">
                  <c:v>5.0420168067226703E-3</c:v>
                </c:pt>
                <c:pt idx="1744">
                  <c:v>5.0420168067226703E-3</c:v>
                </c:pt>
                <c:pt idx="1745">
                  <c:v>5.0420168067226703E-3</c:v>
                </c:pt>
                <c:pt idx="1746">
                  <c:v>5.0420168067226703E-3</c:v>
                </c:pt>
                <c:pt idx="1747">
                  <c:v>5.0420168067226703E-3</c:v>
                </c:pt>
                <c:pt idx="1748">
                  <c:v>5.0420168067226703E-3</c:v>
                </c:pt>
                <c:pt idx="1749">
                  <c:v>5.0420168067226703E-3</c:v>
                </c:pt>
                <c:pt idx="1750">
                  <c:v>5.8823529411764696E-3</c:v>
                </c:pt>
                <c:pt idx="1751">
                  <c:v>5.8823529411764696E-3</c:v>
                </c:pt>
                <c:pt idx="1752">
                  <c:v>5.8823529411764696E-3</c:v>
                </c:pt>
                <c:pt idx="1753">
                  <c:v>5.8823529411764696E-3</c:v>
                </c:pt>
                <c:pt idx="1754">
                  <c:v>5.8823529411764696E-3</c:v>
                </c:pt>
                <c:pt idx="1755">
                  <c:v>5.8823529411764696E-3</c:v>
                </c:pt>
                <c:pt idx="1756">
                  <c:v>5.0420168067226902E-3</c:v>
                </c:pt>
                <c:pt idx="1757">
                  <c:v>4.2016806722689204E-3</c:v>
                </c:pt>
                <c:pt idx="1758">
                  <c:v>4.2016806722689204E-3</c:v>
                </c:pt>
                <c:pt idx="1759">
                  <c:v>4.2016806722689204E-3</c:v>
                </c:pt>
                <c:pt idx="1760">
                  <c:v>4.2016806722689204E-3</c:v>
                </c:pt>
                <c:pt idx="1761">
                  <c:v>4.2016806722689204E-3</c:v>
                </c:pt>
                <c:pt idx="1762">
                  <c:v>3.3613445378151401E-3</c:v>
                </c:pt>
                <c:pt idx="1763">
                  <c:v>4.2016806722689204E-3</c:v>
                </c:pt>
                <c:pt idx="1764">
                  <c:v>4.2016806722689204E-3</c:v>
                </c:pt>
                <c:pt idx="1765">
                  <c:v>4.2016806722689204E-3</c:v>
                </c:pt>
                <c:pt idx="1766">
                  <c:v>4.2016806722689204E-3</c:v>
                </c:pt>
                <c:pt idx="1767">
                  <c:v>4.2016806722689204E-3</c:v>
                </c:pt>
                <c:pt idx="1768">
                  <c:v>4.2016806722689204E-3</c:v>
                </c:pt>
                <c:pt idx="1769">
                  <c:v>4.2016806722689204E-3</c:v>
                </c:pt>
                <c:pt idx="1770">
                  <c:v>4.2016806722689204E-3</c:v>
                </c:pt>
                <c:pt idx="1771">
                  <c:v>3.3613445378151401E-3</c:v>
                </c:pt>
                <c:pt idx="1772">
                  <c:v>3.3613445378151401E-3</c:v>
                </c:pt>
                <c:pt idx="1773">
                  <c:v>3.3613445378151401E-3</c:v>
                </c:pt>
                <c:pt idx="1774">
                  <c:v>2.5210084033613599E-3</c:v>
                </c:pt>
                <c:pt idx="1775">
                  <c:v>2.5210084033613599E-3</c:v>
                </c:pt>
                <c:pt idx="1776">
                  <c:v>2.5210084033613599E-3</c:v>
                </c:pt>
                <c:pt idx="1777">
                  <c:v>2.5210084033613599E-3</c:v>
                </c:pt>
                <c:pt idx="1778">
                  <c:v>2.5210084033613599E-3</c:v>
                </c:pt>
                <c:pt idx="1779">
                  <c:v>2.5210084033613599E-3</c:v>
                </c:pt>
                <c:pt idx="1780">
                  <c:v>2.5210084033613599E-3</c:v>
                </c:pt>
                <c:pt idx="1781">
                  <c:v>2.5210084033613599E-3</c:v>
                </c:pt>
                <c:pt idx="1782">
                  <c:v>2.5210084033613599E-3</c:v>
                </c:pt>
                <c:pt idx="1783">
                  <c:v>2.5210084033613599E-3</c:v>
                </c:pt>
                <c:pt idx="1784">
                  <c:v>2.5210084033613599E-3</c:v>
                </c:pt>
                <c:pt idx="1785">
                  <c:v>2.5210084033613599E-3</c:v>
                </c:pt>
                <c:pt idx="1786">
                  <c:v>1.68067226890758E-3</c:v>
                </c:pt>
                <c:pt idx="1787">
                  <c:v>1.68067226890758E-3</c:v>
                </c:pt>
                <c:pt idx="1788">
                  <c:v>1.68067226890758E-3</c:v>
                </c:pt>
                <c:pt idx="1789">
                  <c:v>1.68067226890758E-3</c:v>
                </c:pt>
                <c:pt idx="1790">
                  <c:v>1.68067226890758E-3</c:v>
                </c:pt>
                <c:pt idx="1791">
                  <c:v>1.68067226890758E-3</c:v>
                </c:pt>
                <c:pt idx="1792">
                  <c:v>1.68067226890758E-3</c:v>
                </c:pt>
                <c:pt idx="1793">
                  <c:v>1.68067226890758E-3</c:v>
                </c:pt>
                <c:pt idx="1794">
                  <c:v>1.68067226890758E-3</c:v>
                </c:pt>
                <c:pt idx="1795">
                  <c:v>1.68067226890758E-3</c:v>
                </c:pt>
                <c:pt idx="1796">
                  <c:v>1.68067226890758E-3</c:v>
                </c:pt>
                <c:pt idx="1797">
                  <c:v>1.68067226890758E-3</c:v>
                </c:pt>
                <c:pt idx="1798">
                  <c:v>1.68067226890758E-3</c:v>
                </c:pt>
                <c:pt idx="1799">
                  <c:v>1.68067226890758E-3</c:v>
                </c:pt>
                <c:pt idx="1800">
                  <c:v>1.68067226890758E-3</c:v>
                </c:pt>
                <c:pt idx="1801">
                  <c:v>8.4033613445377799E-4</c:v>
                </c:pt>
                <c:pt idx="1802">
                  <c:v>8.4033613445377799E-4</c:v>
                </c:pt>
                <c:pt idx="1803">
                  <c:v>8.4033613445377799E-4</c:v>
                </c:pt>
                <c:pt idx="1804">
                  <c:v>8.4033613445377799E-4</c:v>
                </c:pt>
                <c:pt idx="1805">
                  <c:v>8.4033613445377799E-4</c:v>
                </c:pt>
                <c:pt idx="1806">
                  <c:v>0</c:v>
                </c:pt>
                <c:pt idx="1807">
                  <c:v>0</c:v>
                </c:pt>
                <c:pt idx="1808">
                  <c:v>0</c:v>
                </c:pt>
                <c:pt idx="1809">
                  <c:v>-8.4033613445377799E-4</c:v>
                </c:pt>
                <c:pt idx="1810">
                  <c:v>-8.4033613445377799E-4</c:v>
                </c:pt>
                <c:pt idx="1811">
                  <c:v>-8.4033613445377799E-4</c:v>
                </c:pt>
                <c:pt idx="1812">
                  <c:v>-8.4033613445377799E-4</c:v>
                </c:pt>
                <c:pt idx="1813">
                  <c:v>-8.4033613445377799E-4</c:v>
                </c:pt>
                <c:pt idx="1814">
                  <c:v>-8.4033613445377799E-4</c:v>
                </c:pt>
                <c:pt idx="1815">
                  <c:v>-8.4033613445377799E-4</c:v>
                </c:pt>
                <c:pt idx="1816">
                  <c:v>-8.4033613445377799E-4</c:v>
                </c:pt>
                <c:pt idx="1817">
                  <c:v>-8.4033613445377799E-4</c:v>
                </c:pt>
                <c:pt idx="1818">
                  <c:v>-8.4033613445377799E-4</c:v>
                </c:pt>
                <c:pt idx="1819">
                  <c:v>-8.4033613445377799E-4</c:v>
                </c:pt>
                <c:pt idx="1820">
                  <c:v>-1.6806722689075499E-3</c:v>
                </c:pt>
                <c:pt idx="1821">
                  <c:v>-1.6806722689075499E-3</c:v>
                </c:pt>
                <c:pt idx="1822">
                  <c:v>-1.6806722689075499E-3</c:v>
                </c:pt>
                <c:pt idx="1823">
                  <c:v>-2.5210084033613299E-3</c:v>
                </c:pt>
                <c:pt idx="1824">
                  <c:v>-2.5210084033613299E-3</c:v>
                </c:pt>
                <c:pt idx="1825">
                  <c:v>-3.3613445378151102E-3</c:v>
                </c:pt>
                <c:pt idx="1826">
                  <c:v>-3.3613445378151102E-3</c:v>
                </c:pt>
                <c:pt idx="1827">
                  <c:v>-3.3613445378151102E-3</c:v>
                </c:pt>
                <c:pt idx="1828">
                  <c:v>-3.3613445378151102E-3</c:v>
                </c:pt>
                <c:pt idx="1829">
                  <c:v>-3.3613445378151102E-3</c:v>
                </c:pt>
                <c:pt idx="1830">
                  <c:v>-2.5210084033613299E-3</c:v>
                </c:pt>
                <c:pt idx="1831">
                  <c:v>-2.5210084033613299E-3</c:v>
                </c:pt>
                <c:pt idx="1832">
                  <c:v>-1.6806722689075499E-3</c:v>
                </c:pt>
                <c:pt idx="1833">
                  <c:v>-1.6806722689075499E-3</c:v>
                </c:pt>
                <c:pt idx="1834">
                  <c:v>-1.6806722689075499E-3</c:v>
                </c:pt>
                <c:pt idx="1835">
                  <c:v>-1.6806722689075499E-3</c:v>
                </c:pt>
                <c:pt idx="1836">
                  <c:v>-1.6806722689075499E-3</c:v>
                </c:pt>
                <c:pt idx="1837">
                  <c:v>-1.6806722689075499E-3</c:v>
                </c:pt>
                <c:pt idx="1838">
                  <c:v>-1.6806722689075499E-3</c:v>
                </c:pt>
                <c:pt idx="1839">
                  <c:v>-1.6806722689075499E-3</c:v>
                </c:pt>
                <c:pt idx="1840">
                  <c:v>-8.4033613445377799E-4</c:v>
                </c:pt>
                <c:pt idx="1841">
                  <c:v>-8.4033613445377799E-4</c:v>
                </c:pt>
                <c:pt idx="1842">
                  <c:v>-8.4033613445377799E-4</c:v>
                </c:pt>
                <c:pt idx="1843">
                  <c:v>-1.6806722689075499E-3</c:v>
                </c:pt>
                <c:pt idx="1844">
                  <c:v>-2.5210084033613299E-3</c:v>
                </c:pt>
                <c:pt idx="1845">
                  <c:v>-2.5210084033613299E-3</c:v>
                </c:pt>
                <c:pt idx="1846">
                  <c:v>-3.3613445378151102E-3</c:v>
                </c:pt>
                <c:pt idx="1847">
                  <c:v>-3.3613445378151102E-3</c:v>
                </c:pt>
                <c:pt idx="1848">
                  <c:v>-3.3613445378151102E-3</c:v>
                </c:pt>
                <c:pt idx="1849">
                  <c:v>-3.3613445378151102E-3</c:v>
                </c:pt>
                <c:pt idx="1850">
                  <c:v>-3.3613445378151102E-3</c:v>
                </c:pt>
                <c:pt idx="1851">
                  <c:v>-3.3613445378151102E-3</c:v>
                </c:pt>
                <c:pt idx="1852">
                  <c:v>-3.3613445378151102E-3</c:v>
                </c:pt>
                <c:pt idx="1853">
                  <c:v>-3.3613445378151102E-3</c:v>
                </c:pt>
                <c:pt idx="1854">
                  <c:v>-3.3613445378151102E-3</c:v>
                </c:pt>
                <c:pt idx="1855">
                  <c:v>-3.3613445378151102E-3</c:v>
                </c:pt>
                <c:pt idx="1856">
                  <c:v>-3.3613445378151102E-3</c:v>
                </c:pt>
                <c:pt idx="1857">
                  <c:v>-2.5210084033613299E-3</c:v>
                </c:pt>
                <c:pt idx="1858">
                  <c:v>-2.5210084033613299E-3</c:v>
                </c:pt>
                <c:pt idx="1859">
                  <c:v>-3.3613445378151401E-3</c:v>
                </c:pt>
                <c:pt idx="1860">
                  <c:v>-3.3613445378151401E-3</c:v>
                </c:pt>
                <c:pt idx="1861">
                  <c:v>-3.3613445378151401E-3</c:v>
                </c:pt>
                <c:pt idx="1862">
                  <c:v>-3.3613445378151401E-3</c:v>
                </c:pt>
                <c:pt idx="1863">
                  <c:v>-3.3613445378151401E-3</c:v>
                </c:pt>
                <c:pt idx="1864">
                  <c:v>-3.3613445378151401E-3</c:v>
                </c:pt>
                <c:pt idx="1865">
                  <c:v>-3.3613445378151401E-3</c:v>
                </c:pt>
                <c:pt idx="1866">
                  <c:v>-3.3613445378151401E-3</c:v>
                </c:pt>
                <c:pt idx="1867">
                  <c:v>-3.3613445378151401E-3</c:v>
                </c:pt>
                <c:pt idx="1868">
                  <c:v>-3.3613445378151401E-3</c:v>
                </c:pt>
                <c:pt idx="1869">
                  <c:v>-3.3613445378151401E-3</c:v>
                </c:pt>
                <c:pt idx="1870">
                  <c:v>-3.3613445378151401E-3</c:v>
                </c:pt>
                <c:pt idx="1871">
                  <c:v>-3.3613445378151401E-3</c:v>
                </c:pt>
                <c:pt idx="1872">
                  <c:v>-3.3613445378151401E-3</c:v>
                </c:pt>
                <c:pt idx="1873">
                  <c:v>-3.3613445378151401E-3</c:v>
                </c:pt>
                <c:pt idx="1874">
                  <c:v>-3.3613445378151401E-3</c:v>
                </c:pt>
                <c:pt idx="1875">
                  <c:v>-3.3613445378151401E-3</c:v>
                </c:pt>
                <c:pt idx="1876">
                  <c:v>-3.3613445378151401E-3</c:v>
                </c:pt>
                <c:pt idx="1877">
                  <c:v>-3.3613445378151401E-3</c:v>
                </c:pt>
                <c:pt idx="1878">
                  <c:v>-3.3613445378151401E-3</c:v>
                </c:pt>
                <c:pt idx="1879">
                  <c:v>-3.3613445378151401E-3</c:v>
                </c:pt>
                <c:pt idx="1880">
                  <c:v>-3.3613445378151401E-3</c:v>
                </c:pt>
                <c:pt idx="1881">
                  <c:v>-2.5210084033613599E-3</c:v>
                </c:pt>
                <c:pt idx="1882">
                  <c:v>-3.3613445378151401E-3</c:v>
                </c:pt>
                <c:pt idx="1883">
                  <c:v>-3.3613445378151401E-3</c:v>
                </c:pt>
                <c:pt idx="1884">
                  <c:v>-3.3613445378151401E-3</c:v>
                </c:pt>
                <c:pt idx="1885">
                  <c:v>-3.3613445378151401E-3</c:v>
                </c:pt>
                <c:pt idx="1886">
                  <c:v>-3.3613445378151401E-3</c:v>
                </c:pt>
                <c:pt idx="1887">
                  <c:v>-3.3613445378151401E-3</c:v>
                </c:pt>
                <c:pt idx="1888">
                  <c:v>-3.3613445378151401E-3</c:v>
                </c:pt>
                <c:pt idx="1889">
                  <c:v>-3.3613445378151401E-3</c:v>
                </c:pt>
                <c:pt idx="1890">
                  <c:v>-4.2016806722689204E-3</c:v>
                </c:pt>
                <c:pt idx="1891">
                  <c:v>-5.0420168067226902E-3</c:v>
                </c:pt>
                <c:pt idx="1892">
                  <c:v>-5.8823529411764696E-3</c:v>
                </c:pt>
                <c:pt idx="1893">
                  <c:v>-5.8823529411764696E-3</c:v>
                </c:pt>
                <c:pt idx="1894">
                  <c:v>-5.8823529411764696E-3</c:v>
                </c:pt>
                <c:pt idx="1895">
                  <c:v>-5.8823529411764696E-3</c:v>
                </c:pt>
                <c:pt idx="1896">
                  <c:v>-5.8823529411764696E-3</c:v>
                </c:pt>
                <c:pt idx="1897">
                  <c:v>-5.8823529411764696E-3</c:v>
                </c:pt>
                <c:pt idx="1898">
                  <c:v>-5.8823529411764696E-3</c:v>
                </c:pt>
                <c:pt idx="1899">
                  <c:v>-5.8823529411764696E-3</c:v>
                </c:pt>
                <c:pt idx="1900">
                  <c:v>-5.8823529411764696E-3</c:v>
                </c:pt>
                <c:pt idx="1901">
                  <c:v>-5.8823529411764696E-3</c:v>
                </c:pt>
                <c:pt idx="1902">
                  <c:v>-5.8823529411764696E-3</c:v>
                </c:pt>
                <c:pt idx="1903">
                  <c:v>-5.8823529411764696E-3</c:v>
                </c:pt>
                <c:pt idx="1904">
                  <c:v>-5.8823529411764696E-3</c:v>
                </c:pt>
                <c:pt idx="1905">
                  <c:v>-5.8823529411764696E-3</c:v>
                </c:pt>
                <c:pt idx="1906">
                  <c:v>-5.8823529411764696E-3</c:v>
                </c:pt>
                <c:pt idx="1907">
                  <c:v>-5.0420168067226902E-3</c:v>
                </c:pt>
                <c:pt idx="1908">
                  <c:v>-5.0420168067226902E-3</c:v>
                </c:pt>
                <c:pt idx="1909">
                  <c:v>-5.0420168067226902E-3</c:v>
                </c:pt>
                <c:pt idx="1910">
                  <c:v>-5.0420168067226902E-3</c:v>
                </c:pt>
                <c:pt idx="1911">
                  <c:v>-5.0420168067226902E-3</c:v>
                </c:pt>
                <c:pt idx="1912">
                  <c:v>-5.0420168067226902E-3</c:v>
                </c:pt>
                <c:pt idx="1913">
                  <c:v>-5.0420168067226902E-3</c:v>
                </c:pt>
                <c:pt idx="1914">
                  <c:v>-5.0420168067226902E-3</c:v>
                </c:pt>
                <c:pt idx="1915">
                  <c:v>-5.0420168067226902E-3</c:v>
                </c:pt>
                <c:pt idx="1916">
                  <c:v>-4.2016806722689204E-3</c:v>
                </c:pt>
                <c:pt idx="1917">
                  <c:v>-4.2016806722689204E-3</c:v>
                </c:pt>
                <c:pt idx="1918">
                  <c:v>-4.2016806722689204E-3</c:v>
                </c:pt>
                <c:pt idx="1919">
                  <c:v>-4.2016806722689204E-3</c:v>
                </c:pt>
                <c:pt idx="1920">
                  <c:v>-4.2016806722689204E-3</c:v>
                </c:pt>
                <c:pt idx="1921">
                  <c:v>-4.2016806722689204E-3</c:v>
                </c:pt>
                <c:pt idx="1922">
                  <c:v>-5.0420168067226902E-3</c:v>
                </c:pt>
                <c:pt idx="1923">
                  <c:v>-5.0420168067226902E-3</c:v>
                </c:pt>
                <c:pt idx="1924">
                  <c:v>-5.0420168067226902E-3</c:v>
                </c:pt>
                <c:pt idx="1925">
                  <c:v>-5.0420168067226902E-3</c:v>
                </c:pt>
                <c:pt idx="1926">
                  <c:v>-5.0420168067226902E-3</c:v>
                </c:pt>
                <c:pt idx="1927">
                  <c:v>-5.8823529411764696E-3</c:v>
                </c:pt>
                <c:pt idx="1928">
                  <c:v>-5.8823529411764696E-3</c:v>
                </c:pt>
                <c:pt idx="1929">
                  <c:v>-5.8823529411764696E-3</c:v>
                </c:pt>
                <c:pt idx="1930">
                  <c:v>-5.8823529411764696E-3</c:v>
                </c:pt>
                <c:pt idx="1931">
                  <c:v>-5.8823529411764696E-3</c:v>
                </c:pt>
                <c:pt idx="1932">
                  <c:v>-5.8823529411764696E-3</c:v>
                </c:pt>
                <c:pt idx="1933">
                  <c:v>-5.8823529411764696E-3</c:v>
                </c:pt>
                <c:pt idx="1934">
                  <c:v>-5.8823529411764696E-3</c:v>
                </c:pt>
                <c:pt idx="1935">
                  <c:v>-5.8823529411764696E-3</c:v>
                </c:pt>
                <c:pt idx="1936">
                  <c:v>-5.8823529411764696E-3</c:v>
                </c:pt>
                <c:pt idx="1937">
                  <c:v>-5.8823529411764696E-3</c:v>
                </c:pt>
                <c:pt idx="1938">
                  <c:v>-5.0420168067226703E-3</c:v>
                </c:pt>
                <c:pt idx="1939">
                  <c:v>-5.0420168067226703E-3</c:v>
                </c:pt>
                <c:pt idx="1940">
                  <c:v>-5.0420168067226703E-3</c:v>
                </c:pt>
                <c:pt idx="1941">
                  <c:v>-5.0420168067226703E-3</c:v>
                </c:pt>
                <c:pt idx="1942">
                  <c:v>-5.0420168067226703E-3</c:v>
                </c:pt>
                <c:pt idx="1943">
                  <c:v>-5.0420168067226703E-3</c:v>
                </c:pt>
                <c:pt idx="1944">
                  <c:v>-5.0420168067226703E-3</c:v>
                </c:pt>
                <c:pt idx="1945">
                  <c:v>-5.0420168067226703E-3</c:v>
                </c:pt>
                <c:pt idx="1946">
                  <c:v>-5.0420168067226703E-3</c:v>
                </c:pt>
                <c:pt idx="1947">
                  <c:v>-5.0420168067226703E-3</c:v>
                </c:pt>
                <c:pt idx="1948">
                  <c:v>-5.0420168067226703E-3</c:v>
                </c:pt>
                <c:pt idx="1949">
                  <c:v>-5.0420168067226703E-3</c:v>
                </c:pt>
                <c:pt idx="1950">
                  <c:v>-5.0420168067226703E-3</c:v>
                </c:pt>
                <c:pt idx="1951">
                  <c:v>-5.0420168067226703E-3</c:v>
                </c:pt>
                <c:pt idx="1952">
                  <c:v>-5.0420168067226703E-3</c:v>
                </c:pt>
                <c:pt idx="1953">
                  <c:v>-5.0420168067226703E-3</c:v>
                </c:pt>
                <c:pt idx="1954">
                  <c:v>-4.20168067226889E-3</c:v>
                </c:pt>
                <c:pt idx="1955">
                  <c:v>-4.20168067226889E-3</c:v>
                </c:pt>
                <c:pt idx="1956">
                  <c:v>-5.0420168067226703E-3</c:v>
                </c:pt>
                <c:pt idx="1957">
                  <c:v>-5.0420168067226703E-3</c:v>
                </c:pt>
                <c:pt idx="1958">
                  <c:v>-5.0420168067226703E-3</c:v>
                </c:pt>
                <c:pt idx="1959">
                  <c:v>-5.0420168067226703E-3</c:v>
                </c:pt>
                <c:pt idx="1960">
                  <c:v>-5.0420168067226703E-3</c:v>
                </c:pt>
                <c:pt idx="1961">
                  <c:v>-5.0420168067226703E-3</c:v>
                </c:pt>
                <c:pt idx="1962">
                  <c:v>-5.0420168067226703E-3</c:v>
                </c:pt>
                <c:pt idx="1963">
                  <c:v>-5.0420168067226703E-3</c:v>
                </c:pt>
                <c:pt idx="1964">
                  <c:v>-5.0420168067226703E-3</c:v>
                </c:pt>
                <c:pt idx="1965">
                  <c:v>-5.0420168067226703E-3</c:v>
                </c:pt>
                <c:pt idx="1966">
                  <c:v>-5.0420168067226703E-3</c:v>
                </c:pt>
                <c:pt idx="1967">
                  <c:v>-5.0420168067226703E-3</c:v>
                </c:pt>
                <c:pt idx="1968">
                  <c:v>-5.0420168067226703E-3</c:v>
                </c:pt>
                <c:pt idx="1969">
                  <c:v>-5.0420168067226703E-3</c:v>
                </c:pt>
                <c:pt idx="1970">
                  <c:v>-5.8823529411764497E-3</c:v>
                </c:pt>
                <c:pt idx="1971">
                  <c:v>-5.8823529411764497E-3</c:v>
                </c:pt>
                <c:pt idx="1972">
                  <c:v>-5.0420168067226703E-3</c:v>
                </c:pt>
                <c:pt idx="1973">
                  <c:v>-5.0420168067226703E-3</c:v>
                </c:pt>
                <c:pt idx="1974">
                  <c:v>-5.0420168067226703E-3</c:v>
                </c:pt>
                <c:pt idx="1975">
                  <c:v>-5.0420168067226703E-3</c:v>
                </c:pt>
                <c:pt idx="1976">
                  <c:v>-5.0420168067226703E-3</c:v>
                </c:pt>
                <c:pt idx="1977">
                  <c:v>-5.0420168067226703E-3</c:v>
                </c:pt>
                <c:pt idx="1978">
                  <c:v>-5.0420168067226703E-3</c:v>
                </c:pt>
                <c:pt idx="1979">
                  <c:v>-5.0420168067226703E-3</c:v>
                </c:pt>
                <c:pt idx="1980">
                  <c:v>-5.8823529411764696E-3</c:v>
                </c:pt>
                <c:pt idx="1981">
                  <c:v>-5.8823529411764696E-3</c:v>
                </c:pt>
                <c:pt idx="1982">
                  <c:v>-5.8823529411764696E-3</c:v>
                </c:pt>
                <c:pt idx="1983">
                  <c:v>-5.8823529411764696E-3</c:v>
                </c:pt>
                <c:pt idx="1984">
                  <c:v>-5.8823529411764696E-3</c:v>
                </c:pt>
                <c:pt idx="1985">
                  <c:v>-5.8823529411764696E-3</c:v>
                </c:pt>
                <c:pt idx="1986">
                  <c:v>-5.8823529411764696E-3</c:v>
                </c:pt>
                <c:pt idx="1987">
                  <c:v>-5.8823529411764696E-3</c:v>
                </c:pt>
                <c:pt idx="1988">
                  <c:v>-5.8823529411764696E-3</c:v>
                </c:pt>
                <c:pt idx="1989">
                  <c:v>-5.8823529411764696E-3</c:v>
                </c:pt>
                <c:pt idx="1990">
                  <c:v>-5.8823529411764696E-3</c:v>
                </c:pt>
                <c:pt idx="1991">
                  <c:v>-5.8823529411764696E-3</c:v>
                </c:pt>
                <c:pt idx="1992">
                  <c:v>-5.8823529411764696E-3</c:v>
                </c:pt>
                <c:pt idx="1993">
                  <c:v>-5.8823529411764696E-3</c:v>
                </c:pt>
                <c:pt idx="1994">
                  <c:v>-5.8823529411764696E-3</c:v>
                </c:pt>
                <c:pt idx="1995">
                  <c:v>-5.8823529411764696E-3</c:v>
                </c:pt>
                <c:pt idx="1996">
                  <c:v>-5.0420168067226902E-3</c:v>
                </c:pt>
                <c:pt idx="1997">
                  <c:v>-5.0420168067226902E-3</c:v>
                </c:pt>
                <c:pt idx="1998">
                  <c:v>-5.0420168067226902E-3</c:v>
                </c:pt>
                <c:pt idx="1999">
                  <c:v>-5.0420168067226902E-3</c:v>
                </c:pt>
                <c:pt idx="2000">
                  <c:v>-5.0420168067226902E-3</c:v>
                </c:pt>
                <c:pt idx="2001">
                  <c:v>-5.0420168067226902E-3</c:v>
                </c:pt>
                <c:pt idx="2002">
                  <c:v>-5.0420168067226902E-3</c:v>
                </c:pt>
                <c:pt idx="2003">
                  <c:v>-5.0420168067226902E-3</c:v>
                </c:pt>
                <c:pt idx="2004">
                  <c:v>-5.0420168067226902E-3</c:v>
                </c:pt>
                <c:pt idx="2005">
                  <c:v>-5.0420168067226902E-3</c:v>
                </c:pt>
                <c:pt idx="2006">
                  <c:v>-5.8823529411764696E-3</c:v>
                </c:pt>
                <c:pt idx="2007">
                  <c:v>-5.8823529411764696E-3</c:v>
                </c:pt>
                <c:pt idx="2008">
                  <c:v>-5.8823529411764696E-3</c:v>
                </c:pt>
                <c:pt idx="2009">
                  <c:v>-5.8823529411764696E-3</c:v>
                </c:pt>
                <c:pt idx="2010">
                  <c:v>-5.8823529411764696E-3</c:v>
                </c:pt>
                <c:pt idx="2011">
                  <c:v>-6.7226890756302499E-3</c:v>
                </c:pt>
                <c:pt idx="2012">
                  <c:v>-6.7226890756302499E-3</c:v>
                </c:pt>
                <c:pt idx="2013">
                  <c:v>-6.7226890756302499E-3</c:v>
                </c:pt>
                <c:pt idx="2014">
                  <c:v>-6.7226890756302499E-3</c:v>
                </c:pt>
                <c:pt idx="2015">
                  <c:v>-6.7226890756302499E-3</c:v>
                </c:pt>
                <c:pt idx="2016">
                  <c:v>-6.7226890756302499E-3</c:v>
                </c:pt>
                <c:pt idx="2017">
                  <c:v>-6.7226890756302499E-3</c:v>
                </c:pt>
                <c:pt idx="2018">
                  <c:v>-6.7226890756302499E-3</c:v>
                </c:pt>
                <c:pt idx="2019">
                  <c:v>-6.7226890756302499E-3</c:v>
                </c:pt>
                <c:pt idx="2020">
                  <c:v>-6.7226890756302499E-3</c:v>
                </c:pt>
                <c:pt idx="2021">
                  <c:v>-6.7226890756302499E-3</c:v>
                </c:pt>
                <c:pt idx="2022">
                  <c:v>-6.7226890756302499E-3</c:v>
                </c:pt>
                <c:pt idx="2023">
                  <c:v>-6.7226890756302499E-3</c:v>
                </c:pt>
                <c:pt idx="2024">
                  <c:v>-6.7226890756302499E-3</c:v>
                </c:pt>
                <c:pt idx="2025">
                  <c:v>-5.8823529411764696E-3</c:v>
                </c:pt>
                <c:pt idx="2026">
                  <c:v>-5.0420168067226902E-3</c:v>
                </c:pt>
                <c:pt idx="2027">
                  <c:v>-5.0420168067226902E-3</c:v>
                </c:pt>
                <c:pt idx="2028">
                  <c:v>-5.8823529411764696E-3</c:v>
                </c:pt>
                <c:pt idx="2029">
                  <c:v>-5.8823529411764696E-3</c:v>
                </c:pt>
                <c:pt idx="2030">
                  <c:v>-5.8823529411764696E-3</c:v>
                </c:pt>
                <c:pt idx="2031">
                  <c:v>-5.8823529411764696E-3</c:v>
                </c:pt>
                <c:pt idx="2032">
                  <c:v>-5.8823529411764696E-3</c:v>
                </c:pt>
                <c:pt idx="2033">
                  <c:v>-5.8823529411764696E-3</c:v>
                </c:pt>
                <c:pt idx="2034">
                  <c:v>-5.8823529411764696E-3</c:v>
                </c:pt>
                <c:pt idx="2035">
                  <c:v>-5.8823529411764696E-3</c:v>
                </c:pt>
                <c:pt idx="2036">
                  <c:v>-5.8823529411764696E-3</c:v>
                </c:pt>
                <c:pt idx="2037">
                  <c:v>-5.8823529411764696E-3</c:v>
                </c:pt>
                <c:pt idx="2038">
                  <c:v>-5.8823529411764696E-3</c:v>
                </c:pt>
                <c:pt idx="2039">
                  <c:v>-5.8823529411764696E-3</c:v>
                </c:pt>
                <c:pt idx="2040">
                  <c:v>-5.8823529411764696E-3</c:v>
                </c:pt>
                <c:pt idx="2041">
                  <c:v>-5.0420168067226902E-3</c:v>
                </c:pt>
                <c:pt idx="2042">
                  <c:v>-5.0420168067226902E-3</c:v>
                </c:pt>
                <c:pt idx="2043">
                  <c:v>-5.0420168067226902E-3</c:v>
                </c:pt>
                <c:pt idx="2044">
                  <c:v>-4.2016806722689204E-3</c:v>
                </c:pt>
                <c:pt idx="2045">
                  <c:v>-4.2016806722689204E-3</c:v>
                </c:pt>
                <c:pt idx="2046">
                  <c:v>-4.2016806722689204E-3</c:v>
                </c:pt>
                <c:pt idx="2047">
                  <c:v>-4.2016806722689204E-3</c:v>
                </c:pt>
                <c:pt idx="2048">
                  <c:v>-4.2016806722689204E-3</c:v>
                </c:pt>
                <c:pt idx="2049">
                  <c:v>-4.2016806722689204E-3</c:v>
                </c:pt>
                <c:pt idx="2050">
                  <c:v>-4.2016806722689204E-3</c:v>
                </c:pt>
                <c:pt idx="2051">
                  <c:v>-4.2016806722689204E-3</c:v>
                </c:pt>
                <c:pt idx="2052">
                  <c:v>-4.2016806722689204E-3</c:v>
                </c:pt>
                <c:pt idx="2053">
                  <c:v>-4.2016806722689204E-3</c:v>
                </c:pt>
                <c:pt idx="2054">
                  <c:v>-4.2016806722689204E-3</c:v>
                </c:pt>
                <c:pt idx="2055">
                  <c:v>-5.0420168067226902E-3</c:v>
                </c:pt>
                <c:pt idx="2056">
                  <c:v>-5.0420168067226902E-3</c:v>
                </c:pt>
                <c:pt idx="2057">
                  <c:v>-5.0420168067226902E-3</c:v>
                </c:pt>
                <c:pt idx="2058">
                  <c:v>-5.0420168067226902E-3</c:v>
                </c:pt>
                <c:pt idx="2059">
                  <c:v>-5.0420168067226902E-3</c:v>
                </c:pt>
                <c:pt idx="2060">
                  <c:v>-5.0420168067226902E-3</c:v>
                </c:pt>
                <c:pt idx="2061">
                  <c:v>-5.0420168067226902E-3</c:v>
                </c:pt>
                <c:pt idx="2062">
                  <c:v>-5.0420168067226902E-3</c:v>
                </c:pt>
                <c:pt idx="2063">
                  <c:v>-5.0420168067226902E-3</c:v>
                </c:pt>
                <c:pt idx="2064">
                  <c:v>-5.8823529411764696E-3</c:v>
                </c:pt>
                <c:pt idx="2065">
                  <c:v>-5.8823529411764696E-3</c:v>
                </c:pt>
                <c:pt idx="2066">
                  <c:v>-5.8823529411764696E-3</c:v>
                </c:pt>
                <c:pt idx="2067">
                  <c:v>-6.7226890756302499E-3</c:v>
                </c:pt>
                <c:pt idx="2068">
                  <c:v>-5.8823529411764696E-3</c:v>
                </c:pt>
                <c:pt idx="2069">
                  <c:v>-5.8823529411764696E-3</c:v>
                </c:pt>
                <c:pt idx="2070">
                  <c:v>-5.8823529411764696E-3</c:v>
                </c:pt>
                <c:pt idx="2071">
                  <c:v>-5.8823529411764696E-3</c:v>
                </c:pt>
                <c:pt idx="2072">
                  <c:v>-5.8823529411764696E-3</c:v>
                </c:pt>
                <c:pt idx="2073">
                  <c:v>-5.0420168067226703E-3</c:v>
                </c:pt>
                <c:pt idx="2074">
                  <c:v>-5.0420168067226703E-3</c:v>
                </c:pt>
                <c:pt idx="2075">
                  <c:v>-5.0420168067226703E-3</c:v>
                </c:pt>
                <c:pt idx="2076">
                  <c:v>-5.0420168067226703E-3</c:v>
                </c:pt>
                <c:pt idx="2077">
                  <c:v>-5.0420168067226703E-3</c:v>
                </c:pt>
                <c:pt idx="2078">
                  <c:v>-5.0420168067226703E-3</c:v>
                </c:pt>
                <c:pt idx="2079">
                  <c:v>-5.0420168067226703E-3</c:v>
                </c:pt>
                <c:pt idx="2080">
                  <c:v>-5.0420168067226703E-3</c:v>
                </c:pt>
                <c:pt idx="2081">
                  <c:v>-5.0420168067226703E-3</c:v>
                </c:pt>
                <c:pt idx="2082">
                  <c:v>-5.0420168067226703E-3</c:v>
                </c:pt>
                <c:pt idx="2083">
                  <c:v>-4.20168067226889E-3</c:v>
                </c:pt>
                <c:pt idx="2084">
                  <c:v>-4.20168067226889E-3</c:v>
                </c:pt>
                <c:pt idx="2085">
                  <c:v>-4.20168067226889E-3</c:v>
                </c:pt>
                <c:pt idx="2086">
                  <c:v>-4.20168067226889E-3</c:v>
                </c:pt>
                <c:pt idx="2087">
                  <c:v>-4.20168067226889E-3</c:v>
                </c:pt>
                <c:pt idx="2088">
                  <c:v>-4.20168067226889E-3</c:v>
                </c:pt>
                <c:pt idx="2089">
                  <c:v>-4.20168067226889E-3</c:v>
                </c:pt>
                <c:pt idx="2090">
                  <c:v>-5.0420168067226703E-3</c:v>
                </c:pt>
                <c:pt idx="2091">
                  <c:v>-5.0420168067226703E-3</c:v>
                </c:pt>
                <c:pt idx="2092">
                  <c:v>-5.0420168067226703E-3</c:v>
                </c:pt>
                <c:pt idx="2093">
                  <c:v>-5.0420168067226703E-3</c:v>
                </c:pt>
                <c:pt idx="2094">
                  <c:v>-4.20168067226889E-3</c:v>
                </c:pt>
                <c:pt idx="2095">
                  <c:v>-4.20168067226889E-3</c:v>
                </c:pt>
                <c:pt idx="2096">
                  <c:v>-4.20168067226889E-3</c:v>
                </c:pt>
                <c:pt idx="2097">
                  <c:v>-4.20168067226889E-3</c:v>
                </c:pt>
                <c:pt idx="2098">
                  <c:v>-4.20168067226889E-3</c:v>
                </c:pt>
                <c:pt idx="2099">
                  <c:v>-4.20168067226889E-3</c:v>
                </c:pt>
                <c:pt idx="2100">
                  <c:v>-4.20168067226889E-3</c:v>
                </c:pt>
                <c:pt idx="2101">
                  <c:v>-4.20168067226889E-3</c:v>
                </c:pt>
                <c:pt idx="2102">
                  <c:v>-4.20168067226889E-3</c:v>
                </c:pt>
                <c:pt idx="2103">
                  <c:v>-4.20168067226889E-3</c:v>
                </c:pt>
                <c:pt idx="2104">
                  <c:v>-4.20168067226889E-3</c:v>
                </c:pt>
                <c:pt idx="2105">
                  <c:v>-4.20168067226889E-3</c:v>
                </c:pt>
                <c:pt idx="2106">
                  <c:v>-4.20168067226889E-3</c:v>
                </c:pt>
                <c:pt idx="2107">
                  <c:v>-4.20168067226889E-3</c:v>
                </c:pt>
                <c:pt idx="2108">
                  <c:v>-4.20168067226889E-3</c:v>
                </c:pt>
                <c:pt idx="2109">
                  <c:v>-4.20168067226889E-3</c:v>
                </c:pt>
                <c:pt idx="2110">
                  <c:v>-4.20168067226889E-3</c:v>
                </c:pt>
                <c:pt idx="2111">
                  <c:v>-4.20168067226889E-3</c:v>
                </c:pt>
                <c:pt idx="2112">
                  <c:v>-4.20168067226889E-3</c:v>
                </c:pt>
                <c:pt idx="2113">
                  <c:v>-4.20168067226889E-3</c:v>
                </c:pt>
                <c:pt idx="2114">
                  <c:v>-4.20168067226889E-3</c:v>
                </c:pt>
                <c:pt idx="2115">
                  <c:v>-4.20168067226889E-3</c:v>
                </c:pt>
                <c:pt idx="2116">
                  <c:v>-4.20168067226889E-3</c:v>
                </c:pt>
                <c:pt idx="2117">
                  <c:v>-3.3613445378151102E-3</c:v>
                </c:pt>
                <c:pt idx="2118">
                  <c:v>-3.3613445378151102E-3</c:v>
                </c:pt>
                <c:pt idx="2119">
                  <c:v>-4.20168067226889E-3</c:v>
                </c:pt>
                <c:pt idx="2120">
                  <c:v>-4.20168067226889E-3</c:v>
                </c:pt>
                <c:pt idx="2121">
                  <c:v>-4.20168067226889E-3</c:v>
                </c:pt>
                <c:pt idx="2122">
                  <c:v>-4.20168067226889E-3</c:v>
                </c:pt>
                <c:pt idx="2123">
                  <c:v>-4.20168067226889E-3</c:v>
                </c:pt>
                <c:pt idx="2124">
                  <c:v>-4.20168067226889E-3</c:v>
                </c:pt>
                <c:pt idx="2125">
                  <c:v>-4.20168067226889E-3</c:v>
                </c:pt>
                <c:pt idx="2126">
                  <c:v>-4.20168067226889E-3</c:v>
                </c:pt>
                <c:pt idx="2127">
                  <c:v>-4.20168067226889E-3</c:v>
                </c:pt>
                <c:pt idx="2128">
                  <c:v>-4.20168067226889E-3</c:v>
                </c:pt>
                <c:pt idx="2129">
                  <c:v>-4.20168067226889E-3</c:v>
                </c:pt>
                <c:pt idx="2130">
                  <c:v>-4.20168067226889E-3</c:v>
                </c:pt>
                <c:pt idx="2131">
                  <c:v>-4.20168067226889E-3</c:v>
                </c:pt>
                <c:pt idx="2132">
                  <c:v>-4.20168067226889E-3</c:v>
                </c:pt>
                <c:pt idx="2133">
                  <c:v>-4.20168067226889E-3</c:v>
                </c:pt>
                <c:pt idx="2134">
                  <c:v>-4.20168067226889E-3</c:v>
                </c:pt>
                <c:pt idx="2135">
                  <c:v>-4.20168067226889E-3</c:v>
                </c:pt>
                <c:pt idx="2136">
                  <c:v>-4.20168067226889E-3</c:v>
                </c:pt>
                <c:pt idx="2137">
                  <c:v>-4.20168067226889E-3</c:v>
                </c:pt>
                <c:pt idx="2138">
                  <c:v>-4.20168067226889E-3</c:v>
                </c:pt>
                <c:pt idx="2139">
                  <c:v>-4.20168067226889E-3</c:v>
                </c:pt>
                <c:pt idx="2140">
                  <c:v>-3.3613445378151102E-3</c:v>
                </c:pt>
                <c:pt idx="2141">
                  <c:v>-3.3613445378151102E-3</c:v>
                </c:pt>
                <c:pt idx="2142">
                  <c:v>-3.3613445378151102E-3</c:v>
                </c:pt>
                <c:pt idx="2143">
                  <c:v>-3.3613445378151102E-3</c:v>
                </c:pt>
                <c:pt idx="2144">
                  <c:v>-2.5210084033613299E-3</c:v>
                </c:pt>
                <c:pt idx="2145">
                  <c:v>-2.5210084033613299E-3</c:v>
                </c:pt>
                <c:pt idx="2146">
                  <c:v>-2.5210084033613299E-3</c:v>
                </c:pt>
                <c:pt idx="2147">
                  <c:v>-2.5210084033613299E-3</c:v>
                </c:pt>
                <c:pt idx="2148">
                  <c:v>-3.3613445378151102E-3</c:v>
                </c:pt>
                <c:pt idx="2149">
                  <c:v>-3.3613445378151102E-3</c:v>
                </c:pt>
                <c:pt idx="2150">
                  <c:v>-3.3613445378151102E-3</c:v>
                </c:pt>
                <c:pt idx="2151">
                  <c:v>-3.3613445378151102E-3</c:v>
                </c:pt>
                <c:pt idx="2152">
                  <c:v>-3.3613445378151102E-3</c:v>
                </c:pt>
                <c:pt idx="2153">
                  <c:v>-3.3613445378151102E-3</c:v>
                </c:pt>
                <c:pt idx="2154">
                  <c:v>-3.3613445378151102E-3</c:v>
                </c:pt>
                <c:pt idx="2155">
                  <c:v>-3.3613445378151102E-3</c:v>
                </c:pt>
                <c:pt idx="2156">
                  <c:v>-3.3613445378151102E-3</c:v>
                </c:pt>
                <c:pt idx="2157">
                  <c:v>-3.3613445378151102E-3</c:v>
                </c:pt>
                <c:pt idx="2158">
                  <c:v>-3.3613445378151102E-3</c:v>
                </c:pt>
                <c:pt idx="2159">
                  <c:v>-3.3613445378151102E-3</c:v>
                </c:pt>
                <c:pt idx="2160">
                  <c:v>-3.3613445378151102E-3</c:v>
                </c:pt>
                <c:pt idx="2161">
                  <c:v>-3.3613445378151102E-3</c:v>
                </c:pt>
                <c:pt idx="2162">
                  <c:v>-3.3613445378151102E-3</c:v>
                </c:pt>
                <c:pt idx="2163">
                  <c:v>-3.3613445378151102E-3</c:v>
                </c:pt>
                <c:pt idx="2164">
                  <c:v>-3.3613445378151102E-3</c:v>
                </c:pt>
                <c:pt idx="2165">
                  <c:v>-3.3613445378151102E-3</c:v>
                </c:pt>
                <c:pt idx="2166">
                  <c:v>-3.3613445378151102E-3</c:v>
                </c:pt>
                <c:pt idx="2167">
                  <c:v>-3.3613445378151102E-3</c:v>
                </c:pt>
                <c:pt idx="2168">
                  <c:v>-3.3613445378151102E-3</c:v>
                </c:pt>
                <c:pt idx="2169">
                  <c:v>-3.3613445378151102E-3</c:v>
                </c:pt>
                <c:pt idx="2170">
                  <c:v>-3.3613445378151102E-3</c:v>
                </c:pt>
                <c:pt idx="2171">
                  <c:v>-3.3613445378151102E-3</c:v>
                </c:pt>
                <c:pt idx="2172">
                  <c:v>-3.3613445378151102E-3</c:v>
                </c:pt>
                <c:pt idx="2173">
                  <c:v>-3.3613445378151102E-3</c:v>
                </c:pt>
                <c:pt idx="2174">
                  <c:v>-4.2016806722689204E-3</c:v>
                </c:pt>
                <c:pt idx="2175">
                  <c:v>-4.2016806722689204E-3</c:v>
                </c:pt>
                <c:pt idx="2176">
                  <c:v>-5.0420168067226902E-3</c:v>
                </c:pt>
                <c:pt idx="2177">
                  <c:v>-5.0420168067226902E-3</c:v>
                </c:pt>
                <c:pt idx="2178">
                  <c:v>-5.0420168067226902E-3</c:v>
                </c:pt>
                <c:pt idx="2179">
                  <c:v>-5.0420168067226902E-3</c:v>
                </c:pt>
                <c:pt idx="2180">
                  <c:v>-5.0420168067226902E-3</c:v>
                </c:pt>
                <c:pt idx="2181">
                  <c:v>-5.0420168067226902E-3</c:v>
                </c:pt>
                <c:pt idx="2182">
                  <c:v>-4.2016806722689204E-3</c:v>
                </c:pt>
                <c:pt idx="2183">
                  <c:v>-4.2016806722689204E-3</c:v>
                </c:pt>
                <c:pt idx="2184">
                  <c:v>-4.2016806722689204E-3</c:v>
                </c:pt>
                <c:pt idx="2185">
                  <c:v>-4.2016806722689204E-3</c:v>
                </c:pt>
                <c:pt idx="2186">
                  <c:v>-4.2016806722689204E-3</c:v>
                </c:pt>
                <c:pt idx="2187">
                  <c:v>-4.2016806722689204E-3</c:v>
                </c:pt>
                <c:pt idx="2188">
                  <c:v>-4.2016806722689204E-3</c:v>
                </c:pt>
                <c:pt idx="2189">
                  <c:v>-4.2016806722689204E-3</c:v>
                </c:pt>
                <c:pt idx="2190">
                  <c:v>-4.2016806722689204E-3</c:v>
                </c:pt>
                <c:pt idx="2191">
                  <c:v>-4.2016806722689204E-3</c:v>
                </c:pt>
                <c:pt idx="2192">
                  <c:v>-4.2016806722689204E-3</c:v>
                </c:pt>
                <c:pt idx="2193">
                  <c:v>-4.2016806722689204E-3</c:v>
                </c:pt>
                <c:pt idx="2194">
                  <c:v>-4.2016806722689204E-3</c:v>
                </c:pt>
                <c:pt idx="2195">
                  <c:v>-4.2016806722689204E-3</c:v>
                </c:pt>
                <c:pt idx="2196">
                  <c:v>-4.2016806722689204E-3</c:v>
                </c:pt>
                <c:pt idx="2197">
                  <c:v>-4.2016806722689204E-3</c:v>
                </c:pt>
                <c:pt idx="2198">
                  <c:v>-4.2016806722689204E-3</c:v>
                </c:pt>
                <c:pt idx="2199">
                  <c:v>-4.2016806722689204E-3</c:v>
                </c:pt>
                <c:pt idx="2200">
                  <c:v>-4.2016806722689204E-3</c:v>
                </c:pt>
                <c:pt idx="2201">
                  <c:v>-4.2016806722689204E-3</c:v>
                </c:pt>
                <c:pt idx="2202">
                  <c:v>-4.2016806722689204E-3</c:v>
                </c:pt>
                <c:pt idx="2203">
                  <c:v>-4.2016806722689204E-3</c:v>
                </c:pt>
                <c:pt idx="2204">
                  <c:v>-4.2016806722689204E-3</c:v>
                </c:pt>
                <c:pt idx="2205">
                  <c:v>-4.2016806722689204E-3</c:v>
                </c:pt>
                <c:pt idx="2206">
                  <c:v>-4.2016806722689204E-3</c:v>
                </c:pt>
                <c:pt idx="2207">
                  <c:v>-4.2016806722689204E-3</c:v>
                </c:pt>
                <c:pt idx="2208">
                  <c:v>-4.2016806722689204E-3</c:v>
                </c:pt>
                <c:pt idx="2209">
                  <c:v>-4.2016806722689204E-3</c:v>
                </c:pt>
                <c:pt idx="2210">
                  <c:v>-4.2016806722689204E-3</c:v>
                </c:pt>
                <c:pt idx="2211">
                  <c:v>-4.2016806722689204E-3</c:v>
                </c:pt>
                <c:pt idx="2212">
                  <c:v>-4.2016806722689204E-3</c:v>
                </c:pt>
                <c:pt idx="2213">
                  <c:v>-4.2016806722689204E-3</c:v>
                </c:pt>
                <c:pt idx="2214">
                  <c:v>-4.2016806722689204E-3</c:v>
                </c:pt>
                <c:pt idx="2215">
                  <c:v>-4.2016806722689204E-3</c:v>
                </c:pt>
                <c:pt idx="2216">
                  <c:v>-4.2016806722689204E-3</c:v>
                </c:pt>
                <c:pt idx="2217">
                  <c:v>-4.2016806722689204E-3</c:v>
                </c:pt>
                <c:pt idx="2218">
                  <c:v>-3.3613445378151401E-3</c:v>
                </c:pt>
                <c:pt idx="2219">
                  <c:v>-3.3613445378151401E-3</c:v>
                </c:pt>
                <c:pt idx="2220">
                  <c:v>-3.3613445378151401E-3</c:v>
                </c:pt>
                <c:pt idx="2221">
                  <c:v>-3.3613445378151401E-3</c:v>
                </c:pt>
                <c:pt idx="2222">
                  <c:v>-3.3613445378151401E-3</c:v>
                </c:pt>
                <c:pt idx="2223">
                  <c:v>-3.3613445378151401E-3</c:v>
                </c:pt>
                <c:pt idx="2224">
                  <c:v>-3.3613445378151401E-3</c:v>
                </c:pt>
                <c:pt idx="2225">
                  <c:v>-3.3613445378151401E-3</c:v>
                </c:pt>
                <c:pt idx="2226">
                  <c:v>-3.3613445378151401E-3</c:v>
                </c:pt>
                <c:pt idx="2227">
                  <c:v>-3.3613445378151401E-3</c:v>
                </c:pt>
                <c:pt idx="2228">
                  <c:v>-3.3613445378151401E-3</c:v>
                </c:pt>
                <c:pt idx="2229">
                  <c:v>-3.3613445378151401E-3</c:v>
                </c:pt>
                <c:pt idx="2230">
                  <c:v>-3.3613445378151401E-3</c:v>
                </c:pt>
                <c:pt idx="2231">
                  <c:v>-3.3613445378151401E-3</c:v>
                </c:pt>
                <c:pt idx="2232">
                  <c:v>-3.3613445378151401E-3</c:v>
                </c:pt>
                <c:pt idx="2233">
                  <c:v>-3.3613445378151401E-3</c:v>
                </c:pt>
                <c:pt idx="2234">
                  <c:v>-3.3613445378151401E-3</c:v>
                </c:pt>
                <c:pt idx="2235">
                  <c:v>-3.3613445378151401E-3</c:v>
                </c:pt>
                <c:pt idx="2236">
                  <c:v>-3.3613445378151401E-3</c:v>
                </c:pt>
                <c:pt idx="2237">
                  <c:v>-3.3613445378151401E-3</c:v>
                </c:pt>
                <c:pt idx="2238">
                  <c:v>-3.3613445378151401E-3</c:v>
                </c:pt>
                <c:pt idx="2239">
                  <c:v>-3.3613445378151401E-3</c:v>
                </c:pt>
                <c:pt idx="2240">
                  <c:v>-3.3613445378151401E-3</c:v>
                </c:pt>
                <c:pt idx="2241">
                  <c:v>-3.3613445378151401E-3</c:v>
                </c:pt>
                <c:pt idx="2242">
                  <c:v>-3.3613445378151401E-3</c:v>
                </c:pt>
                <c:pt idx="2243">
                  <c:v>-2.5210084033613599E-3</c:v>
                </c:pt>
                <c:pt idx="2244">
                  <c:v>-2.5210084033613599E-3</c:v>
                </c:pt>
                <c:pt idx="2245">
                  <c:v>-2.5210084033613599E-3</c:v>
                </c:pt>
                <c:pt idx="2246">
                  <c:v>-3.3613445378151401E-3</c:v>
                </c:pt>
                <c:pt idx="2247">
                  <c:v>-3.3613445378151401E-3</c:v>
                </c:pt>
                <c:pt idx="2248">
                  <c:v>-3.3613445378151401E-3</c:v>
                </c:pt>
                <c:pt idx="2249">
                  <c:v>-3.3613445378151401E-3</c:v>
                </c:pt>
                <c:pt idx="2250">
                  <c:v>-3.3613445378151401E-3</c:v>
                </c:pt>
                <c:pt idx="2251">
                  <c:v>-3.3613445378151401E-3</c:v>
                </c:pt>
                <c:pt idx="2252">
                  <c:v>-3.3613445378151401E-3</c:v>
                </c:pt>
                <c:pt idx="2253">
                  <c:v>-3.3613445378151401E-3</c:v>
                </c:pt>
                <c:pt idx="2254">
                  <c:v>-3.3613445378151401E-3</c:v>
                </c:pt>
                <c:pt idx="2255">
                  <c:v>-3.3613445378151401E-3</c:v>
                </c:pt>
                <c:pt idx="2256">
                  <c:v>-3.3613445378151401E-3</c:v>
                </c:pt>
                <c:pt idx="2257">
                  <c:v>-3.3613445378151401E-3</c:v>
                </c:pt>
                <c:pt idx="2258">
                  <c:v>-3.3613445378151401E-3</c:v>
                </c:pt>
                <c:pt idx="2259">
                  <c:v>-3.3613445378151401E-3</c:v>
                </c:pt>
                <c:pt idx="2260">
                  <c:v>-4.2016806722689204E-3</c:v>
                </c:pt>
                <c:pt idx="2261">
                  <c:v>-4.2016806722689204E-3</c:v>
                </c:pt>
                <c:pt idx="2262">
                  <c:v>-4.2016806722689204E-3</c:v>
                </c:pt>
                <c:pt idx="2263">
                  <c:v>-4.2016806722689204E-3</c:v>
                </c:pt>
                <c:pt idx="2264">
                  <c:v>-4.2016806722689204E-3</c:v>
                </c:pt>
                <c:pt idx="2265">
                  <c:v>-4.2016806722689204E-3</c:v>
                </c:pt>
                <c:pt idx="2266">
                  <c:v>-4.2016806722689204E-3</c:v>
                </c:pt>
                <c:pt idx="2267">
                  <c:v>-4.2016806722689204E-3</c:v>
                </c:pt>
                <c:pt idx="2268">
                  <c:v>-4.2016806722689204E-3</c:v>
                </c:pt>
                <c:pt idx="2269">
                  <c:v>-4.2016806722689204E-3</c:v>
                </c:pt>
                <c:pt idx="2270">
                  <c:v>-4.2016806722689204E-3</c:v>
                </c:pt>
                <c:pt idx="2271">
                  <c:v>-4.2016806722689204E-3</c:v>
                </c:pt>
                <c:pt idx="2272">
                  <c:v>-4.2016806722689204E-3</c:v>
                </c:pt>
                <c:pt idx="2273">
                  <c:v>-4.2016806722689204E-3</c:v>
                </c:pt>
                <c:pt idx="2274">
                  <c:v>-4.2016806722689204E-3</c:v>
                </c:pt>
                <c:pt idx="2275">
                  <c:v>-4.2016806722689204E-3</c:v>
                </c:pt>
                <c:pt idx="2276">
                  <c:v>-4.2016806722689204E-3</c:v>
                </c:pt>
                <c:pt idx="2277">
                  <c:v>-4.2016806722689204E-3</c:v>
                </c:pt>
                <c:pt idx="2278">
                  <c:v>-4.2016806722689204E-3</c:v>
                </c:pt>
                <c:pt idx="2279">
                  <c:v>-4.2016806722689204E-3</c:v>
                </c:pt>
                <c:pt idx="2280">
                  <c:v>-4.2016806722689204E-3</c:v>
                </c:pt>
                <c:pt idx="2281">
                  <c:v>-4.2016806722689204E-3</c:v>
                </c:pt>
                <c:pt idx="2282">
                  <c:v>-3.3613445378151102E-3</c:v>
                </c:pt>
                <c:pt idx="2283">
                  <c:v>-3.3613445378151102E-3</c:v>
                </c:pt>
                <c:pt idx="2284">
                  <c:v>-3.3613445378151102E-3</c:v>
                </c:pt>
                <c:pt idx="2285">
                  <c:v>-3.3613445378151102E-3</c:v>
                </c:pt>
                <c:pt idx="2286">
                  <c:v>-4.20168067226889E-3</c:v>
                </c:pt>
                <c:pt idx="2287">
                  <c:v>-4.20168067226889E-3</c:v>
                </c:pt>
                <c:pt idx="2288">
                  <c:v>-4.20168067226889E-3</c:v>
                </c:pt>
                <c:pt idx="2289">
                  <c:v>-4.20168067226889E-3</c:v>
                </c:pt>
                <c:pt idx="2290">
                  <c:v>-4.20168067226889E-3</c:v>
                </c:pt>
                <c:pt idx="2291">
                  <c:v>-4.20168067226889E-3</c:v>
                </c:pt>
                <c:pt idx="2292">
                  <c:v>-4.20168067226889E-3</c:v>
                </c:pt>
                <c:pt idx="2293">
                  <c:v>-4.20168067226889E-3</c:v>
                </c:pt>
                <c:pt idx="2294">
                  <c:v>-4.20168067226889E-3</c:v>
                </c:pt>
                <c:pt idx="2295">
                  <c:v>-4.20168067226889E-3</c:v>
                </c:pt>
                <c:pt idx="2296">
                  <c:v>-4.20168067226889E-3</c:v>
                </c:pt>
                <c:pt idx="2297">
                  <c:v>-4.20168067226889E-3</c:v>
                </c:pt>
                <c:pt idx="2298">
                  <c:v>-4.20168067226889E-3</c:v>
                </c:pt>
                <c:pt idx="2299">
                  <c:v>-4.20168067226889E-3</c:v>
                </c:pt>
                <c:pt idx="2300">
                  <c:v>-4.20168067226889E-3</c:v>
                </c:pt>
                <c:pt idx="2301">
                  <c:v>-4.20168067226889E-3</c:v>
                </c:pt>
                <c:pt idx="2302">
                  <c:v>-4.20168067226889E-3</c:v>
                </c:pt>
                <c:pt idx="2303">
                  <c:v>-4.20168067226889E-3</c:v>
                </c:pt>
                <c:pt idx="2304">
                  <c:v>-4.20168067226889E-3</c:v>
                </c:pt>
                <c:pt idx="2305">
                  <c:v>-4.20168067226889E-3</c:v>
                </c:pt>
                <c:pt idx="2306">
                  <c:v>-4.20168067226889E-3</c:v>
                </c:pt>
                <c:pt idx="2307">
                  <c:v>-4.20168067226889E-3</c:v>
                </c:pt>
                <c:pt idx="2308">
                  <c:v>-4.20168067226889E-3</c:v>
                </c:pt>
                <c:pt idx="2309">
                  <c:v>-4.20168067226889E-3</c:v>
                </c:pt>
                <c:pt idx="2310">
                  <c:v>-4.20168067226889E-3</c:v>
                </c:pt>
                <c:pt idx="2311">
                  <c:v>-4.20168067226889E-3</c:v>
                </c:pt>
                <c:pt idx="2312">
                  <c:v>-4.20168067226889E-3</c:v>
                </c:pt>
                <c:pt idx="2313">
                  <c:v>-4.20168067226889E-3</c:v>
                </c:pt>
                <c:pt idx="2314">
                  <c:v>-4.20168067226889E-3</c:v>
                </c:pt>
                <c:pt idx="2315">
                  <c:v>-4.20168067226889E-3</c:v>
                </c:pt>
                <c:pt idx="2316">
                  <c:v>-4.20168067226889E-3</c:v>
                </c:pt>
                <c:pt idx="2317">
                  <c:v>-4.20168067226889E-3</c:v>
                </c:pt>
                <c:pt idx="2318">
                  <c:v>-3.3613445378151102E-3</c:v>
                </c:pt>
                <c:pt idx="2319">
                  <c:v>-3.3613445378151102E-3</c:v>
                </c:pt>
                <c:pt idx="2320">
                  <c:v>-3.3613445378151102E-3</c:v>
                </c:pt>
                <c:pt idx="2321">
                  <c:v>-3.3613445378151102E-3</c:v>
                </c:pt>
                <c:pt idx="2322">
                  <c:v>-3.3613445378151102E-3</c:v>
                </c:pt>
                <c:pt idx="2323">
                  <c:v>-2.5210084033613299E-3</c:v>
                </c:pt>
                <c:pt idx="2324">
                  <c:v>-2.5210084033613299E-3</c:v>
                </c:pt>
                <c:pt idx="2325">
                  <c:v>-2.5210084033613299E-3</c:v>
                </c:pt>
                <c:pt idx="2326">
                  <c:v>-2.5210084033613299E-3</c:v>
                </c:pt>
                <c:pt idx="2327">
                  <c:v>-2.5210084033613299E-3</c:v>
                </c:pt>
                <c:pt idx="2328">
                  <c:v>-2.5210084033613299E-3</c:v>
                </c:pt>
                <c:pt idx="2329">
                  <c:v>-2.5210084033613299E-3</c:v>
                </c:pt>
                <c:pt idx="2330">
                  <c:v>-2.5210084033613299E-3</c:v>
                </c:pt>
                <c:pt idx="2331">
                  <c:v>-2.5210084033613299E-3</c:v>
                </c:pt>
                <c:pt idx="2332">
                  <c:v>-2.5210084033613299E-3</c:v>
                </c:pt>
                <c:pt idx="2333">
                  <c:v>-2.5210084033613299E-3</c:v>
                </c:pt>
                <c:pt idx="2334">
                  <c:v>-2.5210084033613299E-3</c:v>
                </c:pt>
                <c:pt idx="2335">
                  <c:v>-2.5210084033613299E-3</c:v>
                </c:pt>
                <c:pt idx="2336">
                  <c:v>-2.5210084033613299E-3</c:v>
                </c:pt>
                <c:pt idx="2337">
                  <c:v>-2.5210084033613299E-3</c:v>
                </c:pt>
                <c:pt idx="2338">
                  <c:v>-2.5210084033613299E-3</c:v>
                </c:pt>
                <c:pt idx="2339">
                  <c:v>-2.5210084033613299E-3</c:v>
                </c:pt>
                <c:pt idx="2340">
                  <c:v>-2.5210084033613299E-3</c:v>
                </c:pt>
                <c:pt idx="2341">
                  <c:v>-2.5210084033613299E-3</c:v>
                </c:pt>
                <c:pt idx="2342">
                  <c:v>-2.5210084033613299E-3</c:v>
                </c:pt>
                <c:pt idx="2343">
                  <c:v>-2.5210084033613299E-3</c:v>
                </c:pt>
                <c:pt idx="2344">
                  <c:v>-2.5210084033613299E-3</c:v>
                </c:pt>
                <c:pt idx="2345">
                  <c:v>-2.5210084033613299E-3</c:v>
                </c:pt>
                <c:pt idx="2346">
                  <c:v>-2.5210084033613299E-3</c:v>
                </c:pt>
                <c:pt idx="2347">
                  <c:v>-2.5210084033613299E-3</c:v>
                </c:pt>
                <c:pt idx="2348">
                  <c:v>-2.5210084033613299E-3</c:v>
                </c:pt>
                <c:pt idx="2349">
                  <c:v>-2.5210084033613299E-3</c:v>
                </c:pt>
                <c:pt idx="2350">
                  <c:v>-1.6806722689075499E-3</c:v>
                </c:pt>
                <c:pt idx="2351">
                  <c:v>-1.6806722689075499E-3</c:v>
                </c:pt>
                <c:pt idx="2352">
                  <c:v>-1.6806722689075499E-3</c:v>
                </c:pt>
                <c:pt idx="2353">
                  <c:v>-1.6806722689075499E-3</c:v>
                </c:pt>
                <c:pt idx="2354">
                  <c:v>-1.6806722689075499E-3</c:v>
                </c:pt>
                <c:pt idx="2355">
                  <c:v>-1.6806722689075499E-3</c:v>
                </c:pt>
                <c:pt idx="2356">
                  <c:v>-1.6806722689075499E-3</c:v>
                </c:pt>
                <c:pt idx="2357">
                  <c:v>-1.6806722689075499E-3</c:v>
                </c:pt>
                <c:pt idx="2358">
                  <c:v>-1.6806722689075499E-3</c:v>
                </c:pt>
                <c:pt idx="2359">
                  <c:v>-1.6806722689075499E-3</c:v>
                </c:pt>
                <c:pt idx="2360">
                  <c:v>-1.6806722689075499E-3</c:v>
                </c:pt>
                <c:pt idx="2361">
                  <c:v>-8.4033613445377799E-4</c:v>
                </c:pt>
                <c:pt idx="2362">
                  <c:v>-8.4033613445377799E-4</c:v>
                </c:pt>
                <c:pt idx="2363">
                  <c:v>-8.4033613445377799E-4</c:v>
                </c:pt>
                <c:pt idx="2364">
                  <c:v>-8.4033613445377799E-4</c:v>
                </c:pt>
                <c:pt idx="2365">
                  <c:v>-8.4033613445377799E-4</c:v>
                </c:pt>
                <c:pt idx="2366">
                  <c:v>-8.4033613445377799E-4</c:v>
                </c:pt>
                <c:pt idx="2367">
                  <c:v>0</c:v>
                </c:pt>
                <c:pt idx="2368">
                  <c:v>0</c:v>
                </c:pt>
                <c:pt idx="2369">
                  <c:v>0</c:v>
                </c:pt>
                <c:pt idx="2370">
                  <c:v>0</c:v>
                </c:pt>
                <c:pt idx="2371">
                  <c:v>0</c:v>
                </c:pt>
                <c:pt idx="2372">
                  <c:v>0</c:v>
                </c:pt>
                <c:pt idx="2373">
                  <c:v>0</c:v>
                </c:pt>
                <c:pt idx="2374">
                  <c:v>0</c:v>
                </c:pt>
                <c:pt idx="2375">
                  <c:v>0</c:v>
                </c:pt>
                <c:pt idx="2376">
                  <c:v>0</c:v>
                </c:pt>
                <c:pt idx="2377">
                  <c:v>0</c:v>
                </c:pt>
                <c:pt idx="2378">
                  <c:v>0</c:v>
                </c:pt>
                <c:pt idx="2379">
                  <c:v>-8.4033613445377799E-4</c:v>
                </c:pt>
                <c:pt idx="2380">
                  <c:v>-8.4033613445377799E-4</c:v>
                </c:pt>
                <c:pt idx="2381">
                  <c:v>-8.4033613445377799E-4</c:v>
                </c:pt>
                <c:pt idx="2382">
                  <c:v>-8.4033613445377799E-4</c:v>
                </c:pt>
                <c:pt idx="2383">
                  <c:v>-8.4033613445377799E-4</c:v>
                </c:pt>
                <c:pt idx="2384">
                  <c:v>-8.4033613445377799E-4</c:v>
                </c:pt>
                <c:pt idx="2385">
                  <c:v>-8.4033613445377799E-4</c:v>
                </c:pt>
                <c:pt idx="2386">
                  <c:v>-8.4033613445377799E-4</c:v>
                </c:pt>
                <c:pt idx="2387">
                  <c:v>-8.4033613445377799E-4</c:v>
                </c:pt>
                <c:pt idx="2388">
                  <c:v>-8.4033613445377799E-4</c:v>
                </c:pt>
                <c:pt idx="2389">
                  <c:v>-8.4033613445377799E-4</c:v>
                </c:pt>
                <c:pt idx="2390">
                  <c:v>-8.4033613445377799E-4</c:v>
                </c:pt>
                <c:pt idx="2391">
                  <c:v>-8.4033613445377799E-4</c:v>
                </c:pt>
                <c:pt idx="2392">
                  <c:v>-8.4033613445377799E-4</c:v>
                </c:pt>
                <c:pt idx="2393">
                  <c:v>-8.4033613445377799E-4</c:v>
                </c:pt>
                <c:pt idx="2394">
                  <c:v>-8.4033613445377799E-4</c:v>
                </c:pt>
                <c:pt idx="2395">
                  <c:v>-8.4033613445377799E-4</c:v>
                </c:pt>
                <c:pt idx="2396">
                  <c:v>-8.4033613445377799E-4</c:v>
                </c:pt>
                <c:pt idx="2397">
                  <c:v>-8.4033613445377799E-4</c:v>
                </c:pt>
                <c:pt idx="2398">
                  <c:v>-8.4033613445377799E-4</c:v>
                </c:pt>
                <c:pt idx="2399">
                  <c:v>-8.4033613445377799E-4</c:v>
                </c:pt>
                <c:pt idx="2400">
                  <c:v>-8.4033613445377799E-4</c:v>
                </c:pt>
                <c:pt idx="2401">
                  <c:v>-8.4033613445377799E-4</c:v>
                </c:pt>
                <c:pt idx="2402">
                  <c:v>-8.4033613445377799E-4</c:v>
                </c:pt>
                <c:pt idx="2403">
                  <c:v>-8.4033613445377799E-4</c:v>
                </c:pt>
                <c:pt idx="2404">
                  <c:v>-8.4033613445377799E-4</c:v>
                </c:pt>
                <c:pt idx="2405">
                  <c:v>-8.4033613445377799E-4</c:v>
                </c:pt>
                <c:pt idx="2406">
                  <c:v>-8.4033613445377799E-4</c:v>
                </c:pt>
                <c:pt idx="2407">
                  <c:v>0</c:v>
                </c:pt>
                <c:pt idx="2408">
                  <c:v>0</c:v>
                </c:pt>
                <c:pt idx="2409">
                  <c:v>0</c:v>
                </c:pt>
                <c:pt idx="2410">
                  <c:v>0</c:v>
                </c:pt>
                <c:pt idx="2411">
                  <c:v>-8.4033613445377799E-4</c:v>
                </c:pt>
                <c:pt idx="2412">
                  <c:v>-8.4033613445377799E-4</c:v>
                </c:pt>
                <c:pt idx="2413">
                  <c:v>-8.4033613445377799E-4</c:v>
                </c:pt>
                <c:pt idx="2414">
                  <c:v>-8.4033613445377799E-4</c:v>
                </c:pt>
                <c:pt idx="2415">
                  <c:v>-8.4033613445377799E-4</c:v>
                </c:pt>
                <c:pt idx="2416">
                  <c:v>-8.4033613445377799E-4</c:v>
                </c:pt>
                <c:pt idx="2417">
                  <c:v>0</c:v>
                </c:pt>
                <c:pt idx="2418">
                  <c:v>0</c:v>
                </c:pt>
                <c:pt idx="2419">
                  <c:v>0</c:v>
                </c:pt>
                <c:pt idx="2420">
                  <c:v>0</c:v>
                </c:pt>
                <c:pt idx="2421">
                  <c:v>0</c:v>
                </c:pt>
                <c:pt idx="2422">
                  <c:v>-8.4033613445380596E-4</c:v>
                </c:pt>
                <c:pt idx="2423">
                  <c:v>-8.4033613445380596E-4</c:v>
                </c:pt>
                <c:pt idx="2424">
                  <c:v>-8.4033613445380596E-4</c:v>
                </c:pt>
                <c:pt idx="2425">
                  <c:v>-8.4033613445380596E-4</c:v>
                </c:pt>
                <c:pt idx="2426">
                  <c:v>0</c:v>
                </c:pt>
                <c:pt idx="2427">
                  <c:v>0</c:v>
                </c:pt>
                <c:pt idx="2428">
                  <c:v>0</c:v>
                </c:pt>
                <c:pt idx="2429">
                  <c:v>0</c:v>
                </c:pt>
                <c:pt idx="2430">
                  <c:v>0</c:v>
                </c:pt>
                <c:pt idx="2431">
                  <c:v>0</c:v>
                </c:pt>
                <c:pt idx="2432">
                  <c:v>0</c:v>
                </c:pt>
                <c:pt idx="2433">
                  <c:v>0</c:v>
                </c:pt>
                <c:pt idx="2434">
                  <c:v>0</c:v>
                </c:pt>
                <c:pt idx="2435">
                  <c:v>0</c:v>
                </c:pt>
                <c:pt idx="2436">
                  <c:v>-8.4033613445377799E-4</c:v>
                </c:pt>
                <c:pt idx="2437">
                  <c:v>-8.4033613445377799E-4</c:v>
                </c:pt>
                <c:pt idx="2438">
                  <c:v>-8.4033613445377799E-4</c:v>
                </c:pt>
                <c:pt idx="2439">
                  <c:v>-8.4033613445377799E-4</c:v>
                </c:pt>
                <c:pt idx="2440">
                  <c:v>-8.4033613445377799E-4</c:v>
                </c:pt>
                <c:pt idx="2441">
                  <c:v>-8.4033613445377799E-4</c:v>
                </c:pt>
                <c:pt idx="2442">
                  <c:v>-8.4033613445377799E-4</c:v>
                </c:pt>
                <c:pt idx="2443">
                  <c:v>-8.4033613445377799E-4</c:v>
                </c:pt>
                <c:pt idx="2444">
                  <c:v>-8.4033613445377799E-4</c:v>
                </c:pt>
                <c:pt idx="2445">
                  <c:v>-8.4033613445377799E-4</c:v>
                </c:pt>
                <c:pt idx="2446">
                  <c:v>-8.4033613445377799E-4</c:v>
                </c:pt>
                <c:pt idx="2447">
                  <c:v>-8.4033613445377799E-4</c:v>
                </c:pt>
                <c:pt idx="2448">
                  <c:v>-8.4033613445377799E-4</c:v>
                </c:pt>
                <c:pt idx="2449">
                  <c:v>-8.4033613445377799E-4</c:v>
                </c:pt>
                <c:pt idx="2450">
                  <c:v>-8.4033613445377799E-4</c:v>
                </c:pt>
                <c:pt idx="2451">
                  <c:v>-1.6806722689075499E-3</c:v>
                </c:pt>
                <c:pt idx="2452">
                  <c:v>-1.6806722689075499E-3</c:v>
                </c:pt>
                <c:pt idx="2453">
                  <c:v>-2.5210084033613299E-3</c:v>
                </c:pt>
                <c:pt idx="2454">
                  <c:v>-2.5210084033613299E-3</c:v>
                </c:pt>
                <c:pt idx="2455">
                  <c:v>-2.5210084033613299E-3</c:v>
                </c:pt>
                <c:pt idx="2456">
                  <c:v>-2.5210084033613299E-3</c:v>
                </c:pt>
                <c:pt idx="2457">
                  <c:v>-2.5210084033613299E-3</c:v>
                </c:pt>
                <c:pt idx="2458">
                  <c:v>-2.5210084033613299E-3</c:v>
                </c:pt>
                <c:pt idx="2459">
                  <c:v>-2.5210084033613299E-3</c:v>
                </c:pt>
                <c:pt idx="2460">
                  <c:v>-2.5210084033613299E-3</c:v>
                </c:pt>
                <c:pt idx="2461">
                  <c:v>-2.5210084033613299E-3</c:v>
                </c:pt>
                <c:pt idx="2462">
                  <c:v>-2.5210084033613299E-3</c:v>
                </c:pt>
                <c:pt idx="2463">
                  <c:v>-2.5210084033613299E-3</c:v>
                </c:pt>
                <c:pt idx="2464">
                  <c:v>-3.3613445378151102E-3</c:v>
                </c:pt>
                <c:pt idx="2465">
                  <c:v>-4.20168067226889E-3</c:v>
                </c:pt>
                <c:pt idx="2466">
                  <c:v>-4.20168067226889E-3</c:v>
                </c:pt>
                <c:pt idx="2467">
                  <c:v>-4.20168067226889E-3</c:v>
                </c:pt>
                <c:pt idx="2468">
                  <c:v>-4.20168067226889E-3</c:v>
                </c:pt>
                <c:pt idx="2469">
                  <c:v>-4.20168067226889E-3</c:v>
                </c:pt>
                <c:pt idx="2470">
                  <c:v>-4.20168067226889E-3</c:v>
                </c:pt>
                <c:pt idx="2471">
                  <c:v>-4.20168067226889E-3</c:v>
                </c:pt>
                <c:pt idx="2472">
                  <c:v>-4.20168067226889E-3</c:v>
                </c:pt>
                <c:pt idx="2473">
                  <c:v>-4.20168067226889E-3</c:v>
                </c:pt>
                <c:pt idx="2474">
                  <c:v>-4.20168067226889E-3</c:v>
                </c:pt>
                <c:pt idx="2475">
                  <c:v>-5.0420168067226703E-3</c:v>
                </c:pt>
                <c:pt idx="2476">
                  <c:v>-5.0420168067226703E-3</c:v>
                </c:pt>
                <c:pt idx="2477">
                  <c:v>-5.0420168067226703E-3</c:v>
                </c:pt>
                <c:pt idx="2478">
                  <c:v>-5.0420168067226703E-3</c:v>
                </c:pt>
                <c:pt idx="2479">
                  <c:v>-5.0420168067226703E-3</c:v>
                </c:pt>
                <c:pt idx="2480">
                  <c:v>-5.0420168067226703E-3</c:v>
                </c:pt>
                <c:pt idx="2481">
                  <c:v>-5.0420168067226703E-3</c:v>
                </c:pt>
                <c:pt idx="2482">
                  <c:v>-5.0420168067226703E-3</c:v>
                </c:pt>
                <c:pt idx="2483">
                  <c:v>-5.0420168067226703E-3</c:v>
                </c:pt>
                <c:pt idx="2484">
                  <c:v>-5.0420168067226703E-3</c:v>
                </c:pt>
                <c:pt idx="2485">
                  <c:v>-5.8823529411764497E-3</c:v>
                </c:pt>
                <c:pt idx="2486">
                  <c:v>-5.8823529411764497E-3</c:v>
                </c:pt>
                <c:pt idx="2487">
                  <c:v>-5.8823529411764497E-3</c:v>
                </c:pt>
                <c:pt idx="2488">
                  <c:v>-5.8823529411764497E-3</c:v>
                </c:pt>
                <c:pt idx="2489">
                  <c:v>-5.8823529411764497E-3</c:v>
                </c:pt>
                <c:pt idx="2490">
                  <c:v>-5.8823529411764497E-3</c:v>
                </c:pt>
                <c:pt idx="2491">
                  <c:v>-5.8823529411764497E-3</c:v>
                </c:pt>
                <c:pt idx="2492">
                  <c:v>-5.8823529411764497E-3</c:v>
                </c:pt>
                <c:pt idx="2493">
                  <c:v>-5.8823529411764497E-3</c:v>
                </c:pt>
                <c:pt idx="2494">
                  <c:v>-6.7226890756302204E-3</c:v>
                </c:pt>
                <c:pt idx="2495">
                  <c:v>-6.7226890756302204E-3</c:v>
                </c:pt>
                <c:pt idx="2496">
                  <c:v>-6.7226890756302204E-3</c:v>
                </c:pt>
                <c:pt idx="2497">
                  <c:v>-6.7226890756302204E-3</c:v>
                </c:pt>
                <c:pt idx="2498">
                  <c:v>-6.7226890756302204E-3</c:v>
                </c:pt>
                <c:pt idx="2499">
                  <c:v>-6.7226890756302204E-3</c:v>
                </c:pt>
                <c:pt idx="2500">
                  <c:v>-6.7226890756302204E-3</c:v>
                </c:pt>
                <c:pt idx="2501">
                  <c:v>-6.7226890756302204E-3</c:v>
                </c:pt>
                <c:pt idx="2502">
                  <c:v>-5.8823529411764497E-3</c:v>
                </c:pt>
                <c:pt idx="2503">
                  <c:v>-5.8823529411764497E-3</c:v>
                </c:pt>
                <c:pt idx="2504">
                  <c:v>-5.8823529411764497E-3</c:v>
                </c:pt>
                <c:pt idx="2505">
                  <c:v>-5.8823529411764497E-3</c:v>
                </c:pt>
                <c:pt idx="2506">
                  <c:v>-5.8823529411764497E-3</c:v>
                </c:pt>
                <c:pt idx="2507">
                  <c:v>-5.8823529411764497E-3</c:v>
                </c:pt>
                <c:pt idx="2508">
                  <c:v>-5.8823529411764497E-3</c:v>
                </c:pt>
                <c:pt idx="2509">
                  <c:v>-5.8823529411764497E-3</c:v>
                </c:pt>
                <c:pt idx="2510">
                  <c:v>-5.8823529411764497E-3</c:v>
                </c:pt>
                <c:pt idx="2511">
                  <c:v>-6.7226890756302499E-3</c:v>
                </c:pt>
                <c:pt idx="2512">
                  <c:v>-6.7226890756302499E-3</c:v>
                </c:pt>
                <c:pt idx="2513">
                  <c:v>-6.7226890756302499E-3</c:v>
                </c:pt>
                <c:pt idx="2514">
                  <c:v>-6.7226890756302499E-3</c:v>
                </c:pt>
                <c:pt idx="2515">
                  <c:v>-6.7226890756302499E-3</c:v>
                </c:pt>
                <c:pt idx="2516">
                  <c:v>-6.7226890756302499E-3</c:v>
                </c:pt>
                <c:pt idx="2517">
                  <c:v>-6.7226890756302499E-3</c:v>
                </c:pt>
                <c:pt idx="2518">
                  <c:v>-6.7226890756302499E-3</c:v>
                </c:pt>
                <c:pt idx="2519">
                  <c:v>-5.8823529411764696E-3</c:v>
                </c:pt>
                <c:pt idx="2520">
                  <c:v>-5.8823529411764696E-3</c:v>
                </c:pt>
                <c:pt idx="2521">
                  <c:v>-5.8823529411764696E-3</c:v>
                </c:pt>
                <c:pt idx="2522">
                  <c:v>-5.8823529411764696E-3</c:v>
                </c:pt>
                <c:pt idx="2523">
                  <c:v>-5.8823529411764696E-3</c:v>
                </c:pt>
                <c:pt idx="2524">
                  <c:v>-5.8823529411764696E-3</c:v>
                </c:pt>
                <c:pt idx="2525">
                  <c:v>-5.8823529411764696E-3</c:v>
                </c:pt>
                <c:pt idx="2526">
                  <c:v>-5.8823529411764696E-3</c:v>
                </c:pt>
                <c:pt idx="2527">
                  <c:v>-5.8823529411764696E-3</c:v>
                </c:pt>
                <c:pt idx="2528">
                  <c:v>-5.8823529411764696E-3</c:v>
                </c:pt>
                <c:pt idx="2529">
                  <c:v>-5.8823529411764696E-3</c:v>
                </c:pt>
                <c:pt idx="2530">
                  <c:v>-5.8823529411764696E-3</c:v>
                </c:pt>
                <c:pt idx="2531">
                  <c:v>-5.8823529411764696E-3</c:v>
                </c:pt>
                <c:pt idx="2532">
                  <c:v>-5.8823529411764696E-3</c:v>
                </c:pt>
                <c:pt idx="2533">
                  <c:v>-5.8823529411764696E-3</c:v>
                </c:pt>
                <c:pt idx="2534">
                  <c:v>-5.8823529411764696E-3</c:v>
                </c:pt>
                <c:pt idx="2535">
                  <c:v>-5.8823529411764696E-3</c:v>
                </c:pt>
                <c:pt idx="2536">
                  <c:v>-5.8823529411764696E-3</c:v>
                </c:pt>
                <c:pt idx="2537">
                  <c:v>-5.8823529411764696E-3</c:v>
                </c:pt>
                <c:pt idx="2538">
                  <c:v>-5.8823529411764696E-3</c:v>
                </c:pt>
                <c:pt idx="2539">
                  <c:v>-6.7226890756302499E-3</c:v>
                </c:pt>
                <c:pt idx="2540">
                  <c:v>-6.7226890756302499E-3</c:v>
                </c:pt>
                <c:pt idx="2541">
                  <c:v>-6.7226890756302499E-3</c:v>
                </c:pt>
                <c:pt idx="2542">
                  <c:v>-6.7226890756302499E-3</c:v>
                </c:pt>
                <c:pt idx="2543">
                  <c:v>-6.7226890756302499E-3</c:v>
                </c:pt>
                <c:pt idx="2544">
                  <c:v>-6.7226890756302499E-3</c:v>
                </c:pt>
                <c:pt idx="2545">
                  <c:v>-6.7226890756302499E-3</c:v>
                </c:pt>
                <c:pt idx="2546">
                  <c:v>-6.7226890756302499E-3</c:v>
                </c:pt>
                <c:pt idx="2547">
                  <c:v>-5.8823529411764696E-3</c:v>
                </c:pt>
                <c:pt idx="2548">
                  <c:v>-5.8823529411764696E-3</c:v>
                </c:pt>
                <c:pt idx="2549">
                  <c:v>-5.8823529411764696E-3</c:v>
                </c:pt>
                <c:pt idx="2550">
                  <c:v>-5.8823529411764696E-3</c:v>
                </c:pt>
                <c:pt idx="2551">
                  <c:v>-5.8823529411764696E-3</c:v>
                </c:pt>
                <c:pt idx="2552">
                  <c:v>-5.8823529411764696E-3</c:v>
                </c:pt>
                <c:pt idx="2553">
                  <c:v>-5.8823529411764696E-3</c:v>
                </c:pt>
                <c:pt idx="2554">
                  <c:v>-5.8823529411764696E-3</c:v>
                </c:pt>
                <c:pt idx="2555">
                  <c:v>-5.8823529411764696E-3</c:v>
                </c:pt>
                <c:pt idx="2556">
                  <c:v>-5.8823529411764696E-3</c:v>
                </c:pt>
                <c:pt idx="2557">
                  <c:v>-5.0420168067226902E-3</c:v>
                </c:pt>
                <c:pt idx="2558">
                  <c:v>-5.0420168067226902E-3</c:v>
                </c:pt>
                <c:pt idx="2559">
                  <c:v>-5.0420168067226902E-3</c:v>
                </c:pt>
                <c:pt idx="2560">
                  <c:v>-5.0420168067226902E-3</c:v>
                </c:pt>
                <c:pt idx="2561">
                  <c:v>-5.0420168067226902E-3</c:v>
                </c:pt>
                <c:pt idx="2562">
                  <c:v>-5.0420168067226902E-3</c:v>
                </c:pt>
                <c:pt idx="2563">
                  <c:v>-5.0420168067226902E-3</c:v>
                </c:pt>
                <c:pt idx="2564">
                  <c:v>-5.0420168067226902E-3</c:v>
                </c:pt>
                <c:pt idx="2565">
                  <c:v>-5.0420168067226902E-3</c:v>
                </c:pt>
                <c:pt idx="2566">
                  <c:v>-5.0420168067226902E-3</c:v>
                </c:pt>
                <c:pt idx="2567">
                  <c:v>-5.0420168067226902E-3</c:v>
                </c:pt>
                <c:pt idx="2568">
                  <c:v>-5.0420168067226902E-3</c:v>
                </c:pt>
                <c:pt idx="2569">
                  <c:v>-5.0420168067226902E-3</c:v>
                </c:pt>
                <c:pt idx="2570">
                  <c:v>-5.0420168067226902E-3</c:v>
                </c:pt>
                <c:pt idx="2571">
                  <c:v>-5.0420168067226902E-3</c:v>
                </c:pt>
                <c:pt idx="2572">
                  <c:v>-5.0420168067226902E-3</c:v>
                </c:pt>
                <c:pt idx="2573">
                  <c:v>-5.0420168067226902E-3</c:v>
                </c:pt>
                <c:pt idx="2574">
                  <c:v>-5.0420168067226902E-3</c:v>
                </c:pt>
                <c:pt idx="2575">
                  <c:v>-5.0420168067226902E-3</c:v>
                </c:pt>
                <c:pt idx="2576">
                  <c:v>-5.0420168067226902E-3</c:v>
                </c:pt>
                <c:pt idx="2577">
                  <c:v>-5.0420168067226902E-3</c:v>
                </c:pt>
                <c:pt idx="2578">
                  <c:v>-5.0420168067226902E-3</c:v>
                </c:pt>
                <c:pt idx="2579">
                  <c:v>-5.0420168067226902E-3</c:v>
                </c:pt>
                <c:pt idx="2580">
                  <c:v>-5.0420168067226902E-3</c:v>
                </c:pt>
                <c:pt idx="2581">
                  <c:v>-5.0420168067226902E-3</c:v>
                </c:pt>
                <c:pt idx="2582">
                  <c:v>-5.0420168067226902E-3</c:v>
                </c:pt>
                <c:pt idx="2583">
                  <c:v>-5.0420168067226902E-3</c:v>
                </c:pt>
                <c:pt idx="2584">
                  <c:v>-5.0420168067226902E-3</c:v>
                </c:pt>
                <c:pt idx="2585">
                  <c:v>-5.0420168067226902E-3</c:v>
                </c:pt>
                <c:pt idx="2586">
                  <c:v>-5.0420168067226902E-3</c:v>
                </c:pt>
                <c:pt idx="2587">
                  <c:v>-5.0420168067226902E-3</c:v>
                </c:pt>
                <c:pt idx="2588">
                  <c:v>-5.0420168067226902E-3</c:v>
                </c:pt>
                <c:pt idx="2589">
                  <c:v>-5.0420168067226902E-3</c:v>
                </c:pt>
                <c:pt idx="2590">
                  <c:v>-4.2016806722689204E-3</c:v>
                </c:pt>
                <c:pt idx="2591">
                  <c:v>-3.3613445378151401E-3</c:v>
                </c:pt>
                <c:pt idx="2592">
                  <c:v>-3.3613445378151401E-3</c:v>
                </c:pt>
                <c:pt idx="2593">
                  <c:v>-3.3613445378151401E-3</c:v>
                </c:pt>
                <c:pt idx="2594">
                  <c:v>-3.3613445378151401E-3</c:v>
                </c:pt>
                <c:pt idx="2595">
                  <c:v>-4.2016806722689204E-3</c:v>
                </c:pt>
                <c:pt idx="2596">
                  <c:v>-4.2016806722689204E-3</c:v>
                </c:pt>
                <c:pt idx="2597">
                  <c:v>-4.2016806722689204E-3</c:v>
                </c:pt>
                <c:pt idx="2598">
                  <c:v>-4.2016806722689204E-3</c:v>
                </c:pt>
                <c:pt idx="2599">
                  <c:v>-4.2016806722689204E-3</c:v>
                </c:pt>
                <c:pt idx="2600">
                  <c:v>-4.2016806722689204E-3</c:v>
                </c:pt>
                <c:pt idx="2601">
                  <c:v>-4.2016806722689204E-3</c:v>
                </c:pt>
                <c:pt idx="2602">
                  <c:v>-4.2016806722689204E-3</c:v>
                </c:pt>
                <c:pt idx="2603">
                  <c:v>-4.2016806722689204E-3</c:v>
                </c:pt>
                <c:pt idx="2604">
                  <c:v>-4.2016806722689204E-3</c:v>
                </c:pt>
                <c:pt idx="2605">
                  <c:v>-4.2016806722689204E-3</c:v>
                </c:pt>
                <c:pt idx="2606">
                  <c:v>-4.2016806722689204E-3</c:v>
                </c:pt>
                <c:pt idx="2607">
                  <c:v>-4.2016806722689204E-3</c:v>
                </c:pt>
                <c:pt idx="2608">
                  <c:v>-4.2016806722689204E-3</c:v>
                </c:pt>
                <c:pt idx="2609">
                  <c:v>-4.2016806722689204E-3</c:v>
                </c:pt>
                <c:pt idx="2610">
                  <c:v>-4.2016806722689204E-3</c:v>
                </c:pt>
                <c:pt idx="2611">
                  <c:v>-4.2016806722689204E-3</c:v>
                </c:pt>
                <c:pt idx="2612">
                  <c:v>-3.3613445378151401E-3</c:v>
                </c:pt>
                <c:pt idx="2613">
                  <c:v>-2.5210084033613599E-3</c:v>
                </c:pt>
                <c:pt idx="2614">
                  <c:v>-2.5210084033613599E-3</c:v>
                </c:pt>
                <c:pt idx="2615">
                  <c:v>-2.5210084033613599E-3</c:v>
                </c:pt>
                <c:pt idx="2616">
                  <c:v>-2.5210084033613599E-3</c:v>
                </c:pt>
                <c:pt idx="2617">
                  <c:v>-2.5210084033613599E-3</c:v>
                </c:pt>
                <c:pt idx="2618">
                  <c:v>-3.3613445378151401E-3</c:v>
                </c:pt>
                <c:pt idx="2619">
                  <c:v>-3.3613445378151401E-3</c:v>
                </c:pt>
                <c:pt idx="2620">
                  <c:v>-2.5210084033613299E-3</c:v>
                </c:pt>
                <c:pt idx="2621">
                  <c:v>-2.5210084033613299E-3</c:v>
                </c:pt>
                <c:pt idx="2622">
                  <c:v>-2.5210084033613299E-3</c:v>
                </c:pt>
                <c:pt idx="2623">
                  <c:v>-2.5210084033613299E-3</c:v>
                </c:pt>
                <c:pt idx="2624">
                  <c:v>-2.5210084033613299E-3</c:v>
                </c:pt>
                <c:pt idx="2625">
                  <c:v>-2.5210084033613299E-3</c:v>
                </c:pt>
                <c:pt idx="2626">
                  <c:v>-2.5210084033613299E-3</c:v>
                </c:pt>
                <c:pt idx="2627">
                  <c:v>-2.5210084033613299E-3</c:v>
                </c:pt>
                <c:pt idx="2628">
                  <c:v>-2.5210084033613299E-3</c:v>
                </c:pt>
                <c:pt idx="2629">
                  <c:v>-2.5210084033613299E-3</c:v>
                </c:pt>
                <c:pt idx="2630">
                  <c:v>-2.5210084033613299E-3</c:v>
                </c:pt>
                <c:pt idx="2631">
                  <c:v>-2.5210084033613299E-3</c:v>
                </c:pt>
                <c:pt idx="2632">
                  <c:v>-2.5210084033613299E-3</c:v>
                </c:pt>
                <c:pt idx="2633">
                  <c:v>-2.5210084033613299E-3</c:v>
                </c:pt>
                <c:pt idx="2634">
                  <c:v>-2.5210084033613299E-3</c:v>
                </c:pt>
                <c:pt idx="2635">
                  <c:v>-2.5210084033613299E-3</c:v>
                </c:pt>
                <c:pt idx="2636">
                  <c:v>-2.5210084033613299E-3</c:v>
                </c:pt>
                <c:pt idx="2637">
                  <c:v>-1.6806722689075499E-3</c:v>
                </c:pt>
                <c:pt idx="2638">
                  <c:v>-1.6806722689075499E-3</c:v>
                </c:pt>
                <c:pt idx="2639">
                  <c:v>-1.6806722689075499E-3</c:v>
                </c:pt>
                <c:pt idx="2640">
                  <c:v>-1.6806722689075499E-3</c:v>
                </c:pt>
                <c:pt idx="2641">
                  <c:v>-1.6806722689075499E-3</c:v>
                </c:pt>
                <c:pt idx="2642">
                  <c:v>-1.6806722689075499E-3</c:v>
                </c:pt>
                <c:pt idx="2643">
                  <c:v>-1.6806722689075499E-3</c:v>
                </c:pt>
                <c:pt idx="2644">
                  <c:v>-8.4033613445377799E-4</c:v>
                </c:pt>
                <c:pt idx="2645">
                  <c:v>-8.4033613445377799E-4</c:v>
                </c:pt>
                <c:pt idx="2646">
                  <c:v>-8.4033613445377799E-4</c:v>
                </c:pt>
                <c:pt idx="2647">
                  <c:v>-8.4033613445377799E-4</c:v>
                </c:pt>
                <c:pt idx="2648">
                  <c:v>-8.4033613445377799E-4</c:v>
                </c:pt>
                <c:pt idx="2649">
                  <c:v>-8.4033613445377799E-4</c:v>
                </c:pt>
                <c:pt idx="2650">
                  <c:v>-8.4033613445377799E-4</c:v>
                </c:pt>
                <c:pt idx="2651">
                  <c:v>-8.4033613445377799E-4</c:v>
                </c:pt>
                <c:pt idx="2652">
                  <c:v>-8.4033613445377799E-4</c:v>
                </c:pt>
                <c:pt idx="2653">
                  <c:v>-8.4033613445377799E-4</c:v>
                </c:pt>
                <c:pt idx="2654">
                  <c:v>-8.4033613445377799E-4</c:v>
                </c:pt>
                <c:pt idx="2655">
                  <c:v>-8.4033613445377799E-4</c:v>
                </c:pt>
                <c:pt idx="2656">
                  <c:v>-8.4033613445377799E-4</c:v>
                </c:pt>
                <c:pt idx="2657">
                  <c:v>-8.4033613445377799E-4</c:v>
                </c:pt>
                <c:pt idx="2658">
                  <c:v>-8.4033613445377799E-4</c:v>
                </c:pt>
                <c:pt idx="2659">
                  <c:v>-8.4033613445377799E-4</c:v>
                </c:pt>
                <c:pt idx="2660">
                  <c:v>-8.4033613445377799E-4</c:v>
                </c:pt>
                <c:pt idx="2661">
                  <c:v>-8.4033613445377799E-4</c:v>
                </c:pt>
                <c:pt idx="2662">
                  <c:v>-8.4033613445377799E-4</c:v>
                </c:pt>
                <c:pt idx="2663">
                  <c:v>-8.4033613445377799E-4</c:v>
                </c:pt>
                <c:pt idx="2664">
                  <c:v>-8.4033613445377799E-4</c:v>
                </c:pt>
                <c:pt idx="2665">
                  <c:v>-8.4033613445377799E-4</c:v>
                </c:pt>
                <c:pt idx="2666">
                  <c:v>-8.4033613445377799E-4</c:v>
                </c:pt>
                <c:pt idx="2667">
                  <c:v>-8.4033613445377799E-4</c:v>
                </c:pt>
                <c:pt idx="2668">
                  <c:v>-8.4033613445377799E-4</c:v>
                </c:pt>
                <c:pt idx="2669">
                  <c:v>-8.4033613445377799E-4</c:v>
                </c:pt>
                <c:pt idx="2670">
                  <c:v>-8.4033613445377799E-4</c:v>
                </c:pt>
                <c:pt idx="2671">
                  <c:v>-8.4033613445377799E-4</c:v>
                </c:pt>
                <c:pt idx="2672">
                  <c:v>-8.4033613445377799E-4</c:v>
                </c:pt>
                <c:pt idx="2673">
                  <c:v>-8.4033613445377799E-4</c:v>
                </c:pt>
                <c:pt idx="2674">
                  <c:v>-8.4033613445377799E-4</c:v>
                </c:pt>
                <c:pt idx="2675">
                  <c:v>-1.6806722689075499E-3</c:v>
                </c:pt>
                <c:pt idx="2676">
                  <c:v>-1.6806722689075499E-3</c:v>
                </c:pt>
                <c:pt idx="2677">
                  <c:v>-1.6806722689075499E-3</c:v>
                </c:pt>
                <c:pt idx="2678">
                  <c:v>-2.5210084033613299E-3</c:v>
                </c:pt>
                <c:pt idx="2679">
                  <c:v>-1.6806722689075499E-3</c:v>
                </c:pt>
                <c:pt idx="2680">
                  <c:v>-1.6806722689075499E-3</c:v>
                </c:pt>
                <c:pt idx="2681">
                  <c:v>-1.6806722689075499E-3</c:v>
                </c:pt>
                <c:pt idx="2682">
                  <c:v>-1.6806722689075499E-3</c:v>
                </c:pt>
                <c:pt idx="2683">
                  <c:v>-8.4033613445377799E-4</c:v>
                </c:pt>
                <c:pt idx="2684">
                  <c:v>-8.4033613445377799E-4</c:v>
                </c:pt>
                <c:pt idx="2685">
                  <c:v>-8.4033613445377799E-4</c:v>
                </c:pt>
                <c:pt idx="2686">
                  <c:v>-8.4033613445377799E-4</c:v>
                </c:pt>
                <c:pt idx="2687">
                  <c:v>-8.4033613445377799E-4</c:v>
                </c:pt>
                <c:pt idx="2688">
                  <c:v>-8.4033613445377799E-4</c:v>
                </c:pt>
                <c:pt idx="2689">
                  <c:v>-8.4033613445377799E-4</c:v>
                </c:pt>
                <c:pt idx="2690">
                  <c:v>-8.4033613445377799E-4</c:v>
                </c:pt>
                <c:pt idx="2691">
                  <c:v>-8.4033613445377799E-4</c:v>
                </c:pt>
                <c:pt idx="2692">
                  <c:v>-8.4033613445377799E-4</c:v>
                </c:pt>
                <c:pt idx="2693">
                  <c:v>-8.4033613445377799E-4</c:v>
                </c:pt>
                <c:pt idx="2694">
                  <c:v>-1.6806722689075499E-3</c:v>
                </c:pt>
                <c:pt idx="2695">
                  <c:v>-1.6806722689075499E-3</c:v>
                </c:pt>
                <c:pt idx="2696">
                  <c:v>-1.6806722689075499E-3</c:v>
                </c:pt>
                <c:pt idx="2697">
                  <c:v>-1.6806722689075499E-3</c:v>
                </c:pt>
                <c:pt idx="2698">
                  <c:v>-1.6806722689075499E-3</c:v>
                </c:pt>
                <c:pt idx="2699">
                  <c:v>-1.6806722689075499E-3</c:v>
                </c:pt>
                <c:pt idx="2700">
                  <c:v>-1.6806722689075499E-3</c:v>
                </c:pt>
                <c:pt idx="2701">
                  <c:v>-1.6806722689075499E-3</c:v>
                </c:pt>
                <c:pt idx="2702">
                  <c:v>-1.6806722689075499E-3</c:v>
                </c:pt>
                <c:pt idx="2703">
                  <c:v>-1.6806722689075499E-3</c:v>
                </c:pt>
                <c:pt idx="2704">
                  <c:v>-1.6806722689075499E-3</c:v>
                </c:pt>
                <c:pt idx="2705">
                  <c:v>-1.6806722689075499E-3</c:v>
                </c:pt>
                <c:pt idx="2706">
                  <c:v>-1.6806722689075499E-3</c:v>
                </c:pt>
                <c:pt idx="2707">
                  <c:v>-1.6806722689075499E-3</c:v>
                </c:pt>
                <c:pt idx="2708">
                  <c:v>-1.6806722689075499E-3</c:v>
                </c:pt>
                <c:pt idx="2709">
                  <c:v>-1.6806722689075499E-3</c:v>
                </c:pt>
                <c:pt idx="2710">
                  <c:v>-1.6806722689075499E-3</c:v>
                </c:pt>
                <c:pt idx="2711">
                  <c:v>-1.6806722689075499E-3</c:v>
                </c:pt>
                <c:pt idx="2712">
                  <c:v>-1.6806722689075499E-3</c:v>
                </c:pt>
                <c:pt idx="2713">
                  <c:v>-1.6806722689075499E-3</c:v>
                </c:pt>
                <c:pt idx="2714">
                  <c:v>-1.6806722689075499E-3</c:v>
                </c:pt>
                <c:pt idx="2715">
                  <c:v>-1.6806722689075499E-3</c:v>
                </c:pt>
                <c:pt idx="2716">
                  <c:v>-1.6806722689075499E-3</c:v>
                </c:pt>
                <c:pt idx="2717">
                  <c:v>-1.6806722689075499E-3</c:v>
                </c:pt>
                <c:pt idx="2718">
                  <c:v>-1.6806722689075499E-3</c:v>
                </c:pt>
                <c:pt idx="2719">
                  <c:v>-1.6806722689075499E-3</c:v>
                </c:pt>
                <c:pt idx="2720">
                  <c:v>-8.4033613445377799E-4</c:v>
                </c:pt>
                <c:pt idx="2721">
                  <c:v>-8.4033613445377799E-4</c:v>
                </c:pt>
                <c:pt idx="2722">
                  <c:v>-8.4033613445377799E-4</c:v>
                </c:pt>
                <c:pt idx="2723">
                  <c:v>-8.4033613445377799E-4</c:v>
                </c:pt>
                <c:pt idx="2724">
                  <c:v>-8.4033613445377799E-4</c:v>
                </c:pt>
                <c:pt idx="2725">
                  <c:v>-8.4033613445377799E-4</c:v>
                </c:pt>
                <c:pt idx="2726">
                  <c:v>-8.4033613445377799E-4</c:v>
                </c:pt>
                <c:pt idx="2727">
                  <c:v>-8.4033613445377799E-4</c:v>
                </c:pt>
                <c:pt idx="2728">
                  <c:v>0</c:v>
                </c:pt>
                <c:pt idx="2729">
                  <c:v>0</c:v>
                </c:pt>
                <c:pt idx="2730">
                  <c:v>0</c:v>
                </c:pt>
                <c:pt idx="2731">
                  <c:v>0</c:v>
                </c:pt>
                <c:pt idx="2732">
                  <c:v>0</c:v>
                </c:pt>
                <c:pt idx="2733">
                  <c:v>0</c:v>
                </c:pt>
                <c:pt idx="2734">
                  <c:v>0</c:v>
                </c:pt>
                <c:pt idx="2735">
                  <c:v>-8.4033613445377799E-4</c:v>
                </c:pt>
                <c:pt idx="2736">
                  <c:v>-8.4033613445377799E-4</c:v>
                </c:pt>
                <c:pt idx="2737">
                  <c:v>-8.4033613445377799E-4</c:v>
                </c:pt>
                <c:pt idx="2738">
                  <c:v>0</c:v>
                </c:pt>
                <c:pt idx="2739">
                  <c:v>0</c:v>
                </c:pt>
                <c:pt idx="2740">
                  <c:v>0</c:v>
                </c:pt>
                <c:pt idx="2741">
                  <c:v>0</c:v>
                </c:pt>
                <c:pt idx="2742">
                  <c:v>0</c:v>
                </c:pt>
                <c:pt idx="2743">
                  <c:v>0</c:v>
                </c:pt>
                <c:pt idx="2744">
                  <c:v>-8.4033613445380596E-4</c:v>
                </c:pt>
                <c:pt idx="2745">
                  <c:v>-8.4033613445380596E-4</c:v>
                </c:pt>
                <c:pt idx="2746">
                  <c:v>-8.4033613445380596E-4</c:v>
                </c:pt>
                <c:pt idx="2747">
                  <c:v>-8.4033613445380596E-4</c:v>
                </c:pt>
                <c:pt idx="2748">
                  <c:v>-8.4033613445380596E-4</c:v>
                </c:pt>
                <c:pt idx="2749">
                  <c:v>-8.4033613445380596E-4</c:v>
                </c:pt>
                <c:pt idx="2750">
                  <c:v>-8.4033613445380596E-4</c:v>
                </c:pt>
                <c:pt idx="2751">
                  <c:v>0</c:v>
                </c:pt>
                <c:pt idx="2752">
                  <c:v>0</c:v>
                </c:pt>
                <c:pt idx="2753">
                  <c:v>0</c:v>
                </c:pt>
                <c:pt idx="2754">
                  <c:v>0</c:v>
                </c:pt>
                <c:pt idx="2755">
                  <c:v>8.4033613445377799E-4</c:v>
                </c:pt>
                <c:pt idx="2756">
                  <c:v>8.4033613445377799E-4</c:v>
                </c:pt>
                <c:pt idx="2757">
                  <c:v>8.4033613445377799E-4</c:v>
                </c:pt>
                <c:pt idx="2758">
                  <c:v>8.4033613445377799E-4</c:v>
                </c:pt>
                <c:pt idx="2759">
                  <c:v>8.4033613445377799E-4</c:v>
                </c:pt>
                <c:pt idx="2760">
                  <c:v>8.4033613445377799E-4</c:v>
                </c:pt>
                <c:pt idx="2761">
                  <c:v>8.4033613445377799E-4</c:v>
                </c:pt>
                <c:pt idx="2762">
                  <c:v>8.4033613445377799E-4</c:v>
                </c:pt>
                <c:pt idx="2763">
                  <c:v>8.4033613445377799E-4</c:v>
                </c:pt>
                <c:pt idx="2764">
                  <c:v>8.4033613445377799E-4</c:v>
                </c:pt>
                <c:pt idx="2765">
                  <c:v>8.4033613445377799E-4</c:v>
                </c:pt>
                <c:pt idx="2766">
                  <c:v>8.4033613445377799E-4</c:v>
                </c:pt>
                <c:pt idx="2767">
                  <c:v>8.4033613445377799E-4</c:v>
                </c:pt>
                <c:pt idx="2768">
                  <c:v>8.4033613445377799E-4</c:v>
                </c:pt>
                <c:pt idx="2769">
                  <c:v>8.4033613445377799E-4</c:v>
                </c:pt>
                <c:pt idx="2770">
                  <c:v>8.4033613445377799E-4</c:v>
                </c:pt>
                <c:pt idx="2771">
                  <c:v>8.4033613445377799E-4</c:v>
                </c:pt>
                <c:pt idx="2772">
                  <c:v>0</c:v>
                </c:pt>
                <c:pt idx="2773">
                  <c:v>0</c:v>
                </c:pt>
                <c:pt idx="2774">
                  <c:v>-8.4033613445377799E-4</c:v>
                </c:pt>
                <c:pt idx="2775">
                  <c:v>-8.4033613445377799E-4</c:v>
                </c:pt>
                <c:pt idx="2776">
                  <c:v>-8.4033613445377799E-4</c:v>
                </c:pt>
                <c:pt idx="2777">
                  <c:v>-8.4033613445377799E-4</c:v>
                </c:pt>
                <c:pt idx="2778">
                  <c:v>-8.4033613445377799E-4</c:v>
                </c:pt>
                <c:pt idx="2779">
                  <c:v>-8.4033613445377799E-4</c:v>
                </c:pt>
                <c:pt idx="2780">
                  <c:v>-8.4033613445377799E-4</c:v>
                </c:pt>
                <c:pt idx="2781">
                  <c:v>-8.4033613445377799E-4</c:v>
                </c:pt>
                <c:pt idx="2782">
                  <c:v>-1.6806722689075499E-3</c:v>
                </c:pt>
                <c:pt idx="2783">
                  <c:v>-1.6806722689075499E-3</c:v>
                </c:pt>
                <c:pt idx="2784">
                  <c:v>-2.5210084033613299E-3</c:v>
                </c:pt>
                <c:pt idx="2785">
                  <c:v>-2.5210084033613299E-3</c:v>
                </c:pt>
                <c:pt idx="2786">
                  <c:v>-2.5210084033613299E-3</c:v>
                </c:pt>
                <c:pt idx="2787">
                  <c:v>-2.5210084033613299E-3</c:v>
                </c:pt>
                <c:pt idx="2788">
                  <c:v>-1.6806722689075499E-3</c:v>
                </c:pt>
                <c:pt idx="2789">
                  <c:v>-1.6806722689075499E-3</c:v>
                </c:pt>
                <c:pt idx="2790">
                  <c:v>-8.4033613445377799E-4</c:v>
                </c:pt>
                <c:pt idx="2791">
                  <c:v>-8.4033613445377799E-4</c:v>
                </c:pt>
                <c:pt idx="2792">
                  <c:v>-8.4033613445377799E-4</c:v>
                </c:pt>
                <c:pt idx="2793">
                  <c:v>0</c:v>
                </c:pt>
                <c:pt idx="2794">
                  <c:v>0</c:v>
                </c:pt>
                <c:pt idx="2795">
                  <c:v>0</c:v>
                </c:pt>
                <c:pt idx="2796">
                  <c:v>8.4033613445377799E-4</c:v>
                </c:pt>
                <c:pt idx="2797">
                  <c:v>8.4033613445377799E-4</c:v>
                </c:pt>
                <c:pt idx="2798">
                  <c:v>8.4033613445377799E-4</c:v>
                </c:pt>
                <c:pt idx="2799">
                  <c:v>8.4033613445377799E-4</c:v>
                </c:pt>
                <c:pt idx="2800">
                  <c:v>8.4033613445377799E-4</c:v>
                </c:pt>
                <c:pt idx="2801">
                  <c:v>8.4033613445377799E-4</c:v>
                </c:pt>
                <c:pt idx="2802">
                  <c:v>8.4033613445377799E-4</c:v>
                </c:pt>
                <c:pt idx="2803">
                  <c:v>8.4033613445377799E-4</c:v>
                </c:pt>
                <c:pt idx="2804">
                  <c:v>8.4033613445377799E-4</c:v>
                </c:pt>
                <c:pt idx="2805">
                  <c:v>8.4033613445377799E-4</c:v>
                </c:pt>
                <c:pt idx="2806">
                  <c:v>0</c:v>
                </c:pt>
                <c:pt idx="2807">
                  <c:v>0</c:v>
                </c:pt>
                <c:pt idx="2808">
                  <c:v>0</c:v>
                </c:pt>
                <c:pt idx="2809">
                  <c:v>0</c:v>
                </c:pt>
                <c:pt idx="2810">
                  <c:v>0</c:v>
                </c:pt>
                <c:pt idx="2811">
                  <c:v>0</c:v>
                </c:pt>
                <c:pt idx="2812">
                  <c:v>0</c:v>
                </c:pt>
                <c:pt idx="2813">
                  <c:v>0</c:v>
                </c:pt>
                <c:pt idx="2814">
                  <c:v>0</c:v>
                </c:pt>
                <c:pt idx="2815">
                  <c:v>0</c:v>
                </c:pt>
                <c:pt idx="2816">
                  <c:v>0</c:v>
                </c:pt>
                <c:pt idx="2817">
                  <c:v>0</c:v>
                </c:pt>
                <c:pt idx="2818">
                  <c:v>0</c:v>
                </c:pt>
                <c:pt idx="2819">
                  <c:v>0</c:v>
                </c:pt>
                <c:pt idx="2820">
                  <c:v>0</c:v>
                </c:pt>
                <c:pt idx="2821">
                  <c:v>0</c:v>
                </c:pt>
                <c:pt idx="2822">
                  <c:v>0</c:v>
                </c:pt>
                <c:pt idx="2823">
                  <c:v>0</c:v>
                </c:pt>
                <c:pt idx="2824">
                  <c:v>0</c:v>
                </c:pt>
                <c:pt idx="2825">
                  <c:v>0</c:v>
                </c:pt>
                <c:pt idx="2826">
                  <c:v>-8.4033613445377799E-4</c:v>
                </c:pt>
                <c:pt idx="2827">
                  <c:v>-8.4033613445377799E-4</c:v>
                </c:pt>
                <c:pt idx="2828">
                  <c:v>-8.4033613445377799E-4</c:v>
                </c:pt>
                <c:pt idx="2829">
                  <c:v>-8.4033613445377799E-4</c:v>
                </c:pt>
                <c:pt idx="2830">
                  <c:v>-8.4033613445377799E-4</c:v>
                </c:pt>
                <c:pt idx="2831">
                  <c:v>-8.4033613445377799E-4</c:v>
                </c:pt>
                <c:pt idx="2832">
                  <c:v>-1.6806722689075499E-3</c:v>
                </c:pt>
                <c:pt idx="2833">
                  <c:v>-1.6806722689075499E-3</c:v>
                </c:pt>
                <c:pt idx="2834">
                  <c:v>-1.6806722689075499E-3</c:v>
                </c:pt>
                <c:pt idx="2835">
                  <c:v>-1.6806722689075499E-3</c:v>
                </c:pt>
                <c:pt idx="2836">
                  <c:v>-1.6806722689075499E-3</c:v>
                </c:pt>
                <c:pt idx="2837">
                  <c:v>-1.6806722689075499E-3</c:v>
                </c:pt>
                <c:pt idx="2838">
                  <c:v>-1.6806722689075499E-3</c:v>
                </c:pt>
                <c:pt idx="2839">
                  <c:v>-1.6806722689075499E-3</c:v>
                </c:pt>
                <c:pt idx="2840">
                  <c:v>-1.6806722689075499E-3</c:v>
                </c:pt>
                <c:pt idx="2841">
                  <c:v>-1.6806722689075499E-3</c:v>
                </c:pt>
                <c:pt idx="2842">
                  <c:v>-1.6806722689075499E-3</c:v>
                </c:pt>
                <c:pt idx="2843">
                  <c:v>-8.4033613445377799E-4</c:v>
                </c:pt>
                <c:pt idx="2844">
                  <c:v>-8.4033613445377799E-4</c:v>
                </c:pt>
                <c:pt idx="2845">
                  <c:v>-8.4033613445377799E-4</c:v>
                </c:pt>
                <c:pt idx="2846">
                  <c:v>-8.4033613445377799E-4</c:v>
                </c:pt>
                <c:pt idx="2847">
                  <c:v>-8.4033613445377799E-4</c:v>
                </c:pt>
                <c:pt idx="2848">
                  <c:v>-8.4033613445377799E-4</c:v>
                </c:pt>
                <c:pt idx="2849">
                  <c:v>-8.4033613445377799E-4</c:v>
                </c:pt>
                <c:pt idx="2850">
                  <c:v>-8.4033613445377799E-4</c:v>
                </c:pt>
                <c:pt idx="2851">
                  <c:v>-8.4033613445377799E-4</c:v>
                </c:pt>
                <c:pt idx="2852">
                  <c:v>-8.4033613445377799E-4</c:v>
                </c:pt>
                <c:pt idx="2853">
                  <c:v>-8.4033613445377799E-4</c:v>
                </c:pt>
                <c:pt idx="2854">
                  <c:v>-8.4033613445377799E-4</c:v>
                </c:pt>
                <c:pt idx="2855">
                  <c:v>-8.4033613445377799E-4</c:v>
                </c:pt>
                <c:pt idx="2856">
                  <c:v>-1.6806722689075499E-3</c:v>
                </c:pt>
                <c:pt idx="2857">
                  <c:v>-1.6806722689075499E-3</c:v>
                </c:pt>
                <c:pt idx="2858">
                  <c:v>-1.6806722689075499E-3</c:v>
                </c:pt>
                <c:pt idx="2859">
                  <c:v>-1.6806722689075499E-3</c:v>
                </c:pt>
                <c:pt idx="2860">
                  <c:v>-2.5210084033613599E-3</c:v>
                </c:pt>
                <c:pt idx="2861">
                  <c:v>-2.5210084033613599E-3</c:v>
                </c:pt>
                <c:pt idx="2862">
                  <c:v>-2.5210084033613599E-3</c:v>
                </c:pt>
                <c:pt idx="2863">
                  <c:v>-2.5210084033613599E-3</c:v>
                </c:pt>
                <c:pt idx="2864">
                  <c:v>-2.5210084033613599E-3</c:v>
                </c:pt>
                <c:pt idx="2865">
                  <c:v>-2.5210084033613599E-3</c:v>
                </c:pt>
                <c:pt idx="2866">
                  <c:v>-2.5210084033613599E-3</c:v>
                </c:pt>
                <c:pt idx="2867">
                  <c:v>-2.5210084033613599E-3</c:v>
                </c:pt>
                <c:pt idx="2868">
                  <c:v>-2.5210084033613599E-3</c:v>
                </c:pt>
                <c:pt idx="2869">
                  <c:v>-3.3613445378151401E-3</c:v>
                </c:pt>
                <c:pt idx="2870">
                  <c:v>-3.3613445378151401E-3</c:v>
                </c:pt>
                <c:pt idx="2871">
                  <c:v>-3.3613445378151401E-3</c:v>
                </c:pt>
                <c:pt idx="2872">
                  <c:v>-3.3613445378151401E-3</c:v>
                </c:pt>
                <c:pt idx="2873">
                  <c:v>-3.3613445378151401E-3</c:v>
                </c:pt>
                <c:pt idx="2874">
                  <c:v>-4.2016806722689204E-3</c:v>
                </c:pt>
                <c:pt idx="2875">
                  <c:v>-4.2016806722689204E-3</c:v>
                </c:pt>
                <c:pt idx="2876">
                  <c:v>-4.2016806722689204E-3</c:v>
                </c:pt>
                <c:pt idx="2877">
                  <c:v>-4.2016806722689204E-3</c:v>
                </c:pt>
                <c:pt idx="2878">
                  <c:v>-4.2016806722689204E-3</c:v>
                </c:pt>
                <c:pt idx="2879">
                  <c:v>-4.2016806722689204E-3</c:v>
                </c:pt>
                <c:pt idx="2880">
                  <c:v>-4.2016806722689204E-3</c:v>
                </c:pt>
                <c:pt idx="2881">
                  <c:v>-4.2016806722689204E-3</c:v>
                </c:pt>
                <c:pt idx="2882">
                  <c:v>-4.2016806722689204E-3</c:v>
                </c:pt>
                <c:pt idx="2883">
                  <c:v>-4.2016806722689204E-3</c:v>
                </c:pt>
                <c:pt idx="2884">
                  <c:v>-4.2016806722689204E-3</c:v>
                </c:pt>
                <c:pt idx="2885">
                  <c:v>-4.2016806722689204E-3</c:v>
                </c:pt>
                <c:pt idx="2886">
                  <c:v>-3.3613445378151401E-3</c:v>
                </c:pt>
                <c:pt idx="2887">
                  <c:v>-3.3613445378151401E-3</c:v>
                </c:pt>
                <c:pt idx="2888">
                  <c:v>-3.3613445378151401E-3</c:v>
                </c:pt>
                <c:pt idx="2889">
                  <c:v>-2.5210084033613599E-3</c:v>
                </c:pt>
                <c:pt idx="2890">
                  <c:v>-3.3613445378151401E-3</c:v>
                </c:pt>
                <c:pt idx="2891">
                  <c:v>-3.3613445378151401E-3</c:v>
                </c:pt>
                <c:pt idx="2892">
                  <c:v>-3.3613445378151401E-3</c:v>
                </c:pt>
                <c:pt idx="2893">
                  <c:v>-2.5210084033613299E-3</c:v>
                </c:pt>
                <c:pt idx="2894">
                  <c:v>-2.5210084033613299E-3</c:v>
                </c:pt>
                <c:pt idx="2895">
                  <c:v>-2.5210084033613299E-3</c:v>
                </c:pt>
                <c:pt idx="2896">
                  <c:v>-2.5210084033613299E-3</c:v>
                </c:pt>
                <c:pt idx="2897">
                  <c:v>-2.5210084033613299E-3</c:v>
                </c:pt>
                <c:pt idx="2898">
                  <c:v>-2.5210084033613299E-3</c:v>
                </c:pt>
                <c:pt idx="2899">
                  <c:v>-2.5210084033613299E-3</c:v>
                </c:pt>
                <c:pt idx="2900">
                  <c:v>-2.5210084033613299E-3</c:v>
                </c:pt>
                <c:pt idx="2901">
                  <c:v>-2.5210084033613299E-3</c:v>
                </c:pt>
                <c:pt idx="2902">
                  <c:v>-2.5210084033613299E-3</c:v>
                </c:pt>
                <c:pt idx="2903">
                  <c:v>-2.5210084033613299E-3</c:v>
                </c:pt>
                <c:pt idx="2904">
                  <c:v>-2.5210084033613299E-3</c:v>
                </c:pt>
                <c:pt idx="2905">
                  <c:v>-2.5210084033613299E-3</c:v>
                </c:pt>
                <c:pt idx="2906">
                  <c:v>-2.5210084033613299E-3</c:v>
                </c:pt>
                <c:pt idx="2907">
                  <c:v>-2.5210084033613299E-3</c:v>
                </c:pt>
                <c:pt idx="2908">
                  <c:v>-2.5210084033613299E-3</c:v>
                </c:pt>
                <c:pt idx="2909">
                  <c:v>-2.5210084033613299E-3</c:v>
                </c:pt>
                <c:pt idx="2910">
                  <c:v>-2.5210084033613299E-3</c:v>
                </c:pt>
                <c:pt idx="2911">
                  <c:v>-2.5210084033613299E-3</c:v>
                </c:pt>
                <c:pt idx="2912">
                  <c:v>-2.5210084033613299E-3</c:v>
                </c:pt>
                <c:pt idx="2913">
                  <c:v>-2.5210084033613299E-3</c:v>
                </c:pt>
                <c:pt idx="2914">
                  <c:v>-2.5210084033613299E-3</c:v>
                </c:pt>
                <c:pt idx="2915">
                  <c:v>-2.5210084033613299E-3</c:v>
                </c:pt>
                <c:pt idx="2916">
                  <c:v>-2.5210084033613299E-3</c:v>
                </c:pt>
                <c:pt idx="2917">
                  <c:v>-2.5210084033613299E-3</c:v>
                </c:pt>
                <c:pt idx="2918">
                  <c:v>-1.6806722689075499E-3</c:v>
                </c:pt>
                <c:pt idx="2919">
                  <c:v>-1.6806722689075499E-3</c:v>
                </c:pt>
                <c:pt idx="2920">
                  <c:v>-1.6806722689075499E-3</c:v>
                </c:pt>
                <c:pt idx="2921">
                  <c:v>-1.6806722689075499E-3</c:v>
                </c:pt>
                <c:pt idx="2922">
                  <c:v>-1.6806722689075499E-3</c:v>
                </c:pt>
                <c:pt idx="2923">
                  <c:v>-1.6806722689075499E-3</c:v>
                </c:pt>
                <c:pt idx="2924">
                  <c:v>-1.6806722689075499E-3</c:v>
                </c:pt>
                <c:pt idx="2925">
                  <c:v>-1.6806722689075499E-3</c:v>
                </c:pt>
                <c:pt idx="2926">
                  <c:v>-1.6806722689075499E-3</c:v>
                </c:pt>
                <c:pt idx="2927">
                  <c:v>-1.6806722689075499E-3</c:v>
                </c:pt>
                <c:pt idx="2928">
                  <c:v>-1.6806722689075499E-3</c:v>
                </c:pt>
                <c:pt idx="2929">
                  <c:v>-1.6806722689075499E-3</c:v>
                </c:pt>
                <c:pt idx="2930">
                  <c:v>-1.6806722689075499E-3</c:v>
                </c:pt>
                <c:pt idx="2931">
                  <c:v>-1.6806722689075499E-3</c:v>
                </c:pt>
                <c:pt idx="2932">
                  <c:v>-1.6806722689075499E-3</c:v>
                </c:pt>
                <c:pt idx="2933">
                  <c:v>-2.5210084033613299E-3</c:v>
                </c:pt>
                <c:pt idx="2934">
                  <c:v>-2.5210084033613299E-3</c:v>
                </c:pt>
                <c:pt idx="2935">
                  <c:v>-2.5210084033613299E-3</c:v>
                </c:pt>
                <c:pt idx="2936">
                  <c:v>-2.5210084033613299E-3</c:v>
                </c:pt>
                <c:pt idx="2937">
                  <c:v>-2.5210084033613299E-3</c:v>
                </c:pt>
                <c:pt idx="2938">
                  <c:v>-2.5210084033613299E-3</c:v>
                </c:pt>
                <c:pt idx="2939">
                  <c:v>-2.5210084033613299E-3</c:v>
                </c:pt>
                <c:pt idx="2940">
                  <c:v>-2.5210084033613299E-3</c:v>
                </c:pt>
                <c:pt idx="2941">
                  <c:v>-2.5210084033613299E-3</c:v>
                </c:pt>
                <c:pt idx="2942">
                  <c:v>-2.5210084033613299E-3</c:v>
                </c:pt>
                <c:pt idx="2943">
                  <c:v>-2.5210084033613299E-3</c:v>
                </c:pt>
                <c:pt idx="2944">
                  <c:v>-2.5210084033613299E-3</c:v>
                </c:pt>
                <c:pt idx="2945">
                  <c:v>-2.5210084033613299E-3</c:v>
                </c:pt>
                <c:pt idx="2946">
                  <c:v>-2.5210084033613299E-3</c:v>
                </c:pt>
                <c:pt idx="2947">
                  <c:v>-2.5210084033613299E-3</c:v>
                </c:pt>
                <c:pt idx="2948">
                  <c:v>-2.5210084033613299E-3</c:v>
                </c:pt>
                <c:pt idx="2949">
                  <c:v>-2.5210084033613299E-3</c:v>
                </c:pt>
                <c:pt idx="2950">
                  <c:v>-2.5210084033613299E-3</c:v>
                </c:pt>
                <c:pt idx="2951">
                  <c:v>-2.5210084033613299E-3</c:v>
                </c:pt>
                <c:pt idx="2952">
                  <c:v>-2.5210084033613299E-3</c:v>
                </c:pt>
                <c:pt idx="2953">
                  <c:v>-2.5210084033613299E-3</c:v>
                </c:pt>
                <c:pt idx="2954">
                  <c:v>-2.5210084033613299E-3</c:v>
                </c:pt>
                <c:pt idx="2955">
                  <c:v>-2.5210084033613299E-3</c:v>
                </c:pt>
                <c:pt idx="2956">
                  <c:v>-2.5210084033613299E-3</c:v>
                </c:pt>
                <c:pt idx="2957">
                  <c:v>-2.5210084033613299E-3</c:v>
                </c:pt>
                <c:pt idx="2958">
                  <c:v>-2.5210084033613299E-3</c:v>
                </c:pt>
                <c:pt idx="2959">
                  <c:v>-2.5210084033613299E-3</c:v>
                </c:pt>
                <c:pt idx="2960">
                  <c:v>-2.5210084033613299E-3</c:v>
                </c:pt>
                <c:pt idx="2961">
                  <c:v>-2.5210084033613299E-3</c:v>
                </c:pt>
                <c:pt idx="2962">
                  <c:v>-2.5210084033613299E-3</c:v>
                </c:pt>
                <c:pt idx="2963">
                  <c:v>-2.5210084033613299E-3</c:v>
                </c:pt>
                <c:pt idx="2964">
                  <c:v>-2.5210084033613299E-3</c:v>
                </c:pt>
                <c:pt idx="2965">
                  <c:v>-2.5210084033613299E-3</c:v>
                </c:pt>
                <c:pt idx="2966">
                  <c:v>-2.5210084033613299E-3</c:v>
                </c:pt>
                <c:pt idx="2967">
                  <c:v>-2.5210084033613299E-3</c:v>
                </c:pt>
                <c:pt idx="2968">
                  <c:v>-2.5210084033613299E-3</c:v>
                </c:pt>
                <c:pt idx="2969">
                  <c:v>-2.5210084033613299E-3</c:v>
                </c:pt>
                <c:pt idx="2970">
                  <c:v>-3.3613445378151102E-3</c:v>
                </c:pt>
                <c:pt idx="2971">
                  <c:v>-3.3613445378151102E-3</c:v>
                </c:pt>
                <c:pt idx="2972">
                  <c:v>-3.3613445378151102E-3</c:v>
                </c:pt>
                <c:pt idx="2973">
                  <c:v>-4.20168067226889E-3</c:v>
                </c:pt>
                <c:pt idx="2974">
                  <c:v>-4.20168067226889E-3</c:v>
                </c:pt>
                <c:pt idx="2975">
                  <c:v>-4.20168067226889E-3</c:v>
                </c:pt>
                <c:pt idx="2976">
                  <c:v>-4.20168067226889E-3</c:v>
                </c:pt>
                <c:pt idx="2977">
                  <c:v>-4.20168067226889E-3</c:v>
                </c:pt>
                <c:pt idx="2978">
                  <c:v>-4.20168067226889E-3</c:v>
                </c:pt>
                <c:pt idx="2979">
                  <c:v>-4.20168067226889E-3</c:v>
                </c:pt>
                <c:pt idx="2980">
                  <c:v>-4.20168067226889E-3</c:v>
                </c:pt>
                <c:pt idx="2981">
                  <c:v>-4.20168067226889E-3</c:v>
                </c:pt>
                <c:pt idx="2982">
                  <c:v>-4.20168067226889E-3</c:v>
                </c:pt>
                <c:pt idx="2983">
                  <c:v>-4.20168067226889E-3</c:v>
                </c:pt>
                <c:pt idx="2984">
                  <c:v>-4.20168067226889E-3</c:v>
                </c:pt>
                <c:pt idx="2985">
                  <c:v>-4.20168067226889E-3</c:v>
                </c:pt>
                <c:pt idx="2986">
                  <c:v>-4.20168067226889E-3</c:v>
                </c:pt>
                <c:pt idx="2987">
                  <c:v>-4.20168067226889E-3</c:v>
                </c:pt>
                <c:pt idx="2988">
                  <c:v>-5.0420168067226703E-3</c:v>
                </c:pt>
                <c:pt idx="2989">
                  <c:v>-5.0420168067226703E-3</c:v>
                </c:pt>
                <c:pt idx="2990">
                  <c:v>-5.0420168067226703E-3</c:v>
                </c:pt>
                <c:pt idx="2991">
                  <c:v>-4.20168067226889E-3</c:v>
                </c:pt>
                <c:pt idx="2992">
                  <c:v>-4.20168067226889E-3</c:v>
                </c:pt>
                <c:pt idx="2993">
                  <c:v>-4.20168067226889E-3</c:v>
                </c:pt>
                <c:pt idx="2994">
                  <c:v>-4.20168067226889E-3</c:v>
                </c:pt>
                <c:pt idx="2995">
                  <c:v>-3.3613445378151102E-3</c:v>
                </c:pt>
                <c:pt idx="2996">
                  <c:v>-2.5210084033613299E-3</c:v>
                </c:pt>
                <c:pt idx="2997">
                  <c:v>-2.5210084033613299E-3</c:v>
                </c:pt>
                <c:pt idx="2998">
                  <c:v>-2.5210084033613299E-3</c:v>
                </c:pt>
                <c:pt idx="2999">
                  <c:v>-2.5210084033613299E-3</c:v>
                </c:pt>
                <c:pt idx="3000">
                  <c:v>-2.5210084033613299E-3</c:v>
                </c:pt>
                <c:pt idx="3001">
                  <c:v>-1.6806722689075499E-3</c:v>
                </c:pt>
                <c:pt idx="3002">
                  <c:v>-1.6806722689075499E-3</c:v>
                </c:pt>
                <c:pt idx="3003">
                  <c:v>-1.6806722689075499E-3</c:v>
                </c:pt>
                <c:pt idx="3004">
                  <c:v>-1.6806722689075499E-3</c:v>
                </c:pt>
                <c:pt idx="3005">
                  <c:v>-1.6806722689075499E-3</c:v>
                </c:pt>
                <c:pt idx="3006">
                  <c:v>-1.6806722689075499E-3</c:v>
                </c:pt>
                <c:pt idx="3007">
                  <c:v>-8.4033613445377799E-4</c:v>
                </c:pt>
                <c:pt idx="3008">
                  <c:v>-8.4033613445377799E-4</c:v>
                </c:pt>
                <c:pt idx="3009">
                  <c:v>-8.4033613445377799E-4</c:v>
                </c:pt>
                <c:pt idx="3010">
                  <c:v>-1.6806722689075499E-3</c:v>
                </c:pt>
                <c:pt idx="3011">
                  <c:v>-1.6806722689075499E-3</c:v>
                </c:pt>
                <c:pt idx="3012">
                  <c:v>-1.6806722689075499E-3</c:v>
                </c:pt>
                <c:pt idx="3013">
                  <c:v>-1.6806722689075499E-3</c:v>
                </c:pt>
                <c:pt idx="3014">
                  <c:v>-1.6806722689075499E-3</c:v>
                </c:pt>
                <c:pt idx="3015">
                  <c:v>-1.6806722689075499E-3</c:v>
                </c:pt>
                <c:pt idx="3016">
                  <c:v>-1.6806722689075499E-3</c:v>
                </c:pt>
                <c:pt idx="3017">
                  <c:v>-1.6806722689075499E-3</c:v>
                </c:pt>
                <c:pt idx="3018">
                  <c:v>-1.6806722689075499E-3</c:v>
                </c:pt>
                <c:pt idx="3019">
                  <c:v>-1.6806722689075499E-3</c:v>
                </c:pt>
                <c:pt idx="3020">
                  <c:v>-1.6806722689075499E-3</c:v>
                </c:pt>
                <c:pt idx="3021">
                  <c:v>-1.6806722689075499E-3</c:v>
                </c:pt>
                <c:pt idx="3022">
                  <c:v>-1.6806722689075499E-3</c:v>
                </c:pt>
                <c:pt idx="3023">
                  <c:v>-1.6806722689075499E-3</c:v>
                </c:pt>
                <c:pt idx="3024">
                  <c:v>-1.6806722689075499E-3</c:v>
                </c:pt>
                <c:pt idx="3025">
                  <c:v>-1.6806722689075499E-3</c:v>
                </c:pt>
                <c:pt idx="3026">
                  <c:v>-8.4033613445377799E-4</c:v>
                </c:pt>
                <c:pt idx="3027">
                  <c:v>0</c:v>
                </c:pt>
                <c:pt idx="3028">
                  <c:v>0</c:v>
                </c:pt>
                <c:pt idx="3029">
                  <c:v>0</c:v>
                </c:pt>
                <c:pt idx="3030">
                  <c:v>0</c:v>
                </c:pt>
                <c:pt idx="3031">
                  <c:v>0</c:v>
                </c:pt>
                <c:pt idx="3032">
                  <c:v>0</c:v>
                </c:pt>
                <c:pt idx="3033">
                  <c:v>0</c:v>
                </c:pt>
                <c:pt idx="3034">
                  <c:v>0</c:v>
                </c:pt>
                <c:pt idx="3035">
                  <c:v>0</c:v>
                </c:pt>
                <c:pt idx="3036">
                  <c:v>0</c:v>
                </c:pt>
                <c:pt idx="3037">
                  <c:v>0</c:v>
                </c:pt>
                <c:pt idx="3038">
                  <c:v>0</c:v>
                </c:pt>
                <c:pt idx="3039">
                  <c:v>0</c:v>
                </c:pt>
                <c:pt idx="3040">
                  <c:v>0</c:v>
                </c:pt>
                <c:pt idx="3041">
                  <c:v>0</c:v>
                </c:pt>
                <c:pt idx="3042">
                  <c:v>0</c:v>
                </c:pt>
                <c:pt idx="3043">
                  <c:v>0</c:v>
                </c:pt>
                <c:pt idx="3044">
                  <c:v>0</c:v>
                </c:pt>
                <c:pt idx="3045">
                  <c:v>0</c:v>
                </c:pt>
                <c:pt idx="3046">
                  <c:v>0</c:v>
                </c:pt>
                <c:pt idx="3047">
                  <c:v>0</c:v>
                </c:pt>
                <c:pt idx="3048">
                  <c:v>-8.4033613445380596E-4</c:v>
                </c:pt>
                <c:pt idx="3049">
                  <c:v>-8.4033613445380596E-4</c:v>
                </c:pt>
                <c:pt idx="3050">
                  <c:v>-8.4033613445380596E-4</c:v>
                </c:pt>
                <c:pt idx="3051">
                  <c:v>-8.4033613445380596E-4</c:v>
                </c:pt>
                <c:pt idx="3052">
                  <c:v>-8.4033613445380596E-4</c:v>
                </c:pt>
                <c:pt idx="3053">
                  <c:v>-8.4033613445380596E-4</c:v>
                </c:pt>
                <c:pt idx="3054">
                  <c:v>-8.4033613445380596E-4</c:v>
                </c:pt>
                <c:pt idx="3055">
                  <c:v>-8.4033613445380596E-4</c:v>
                </c:pt>
                <c:pt idx="3056">
                  <c:v>-8.4033613445380596E-4</c:v>
                </c:pt>
                <c:pt idx="3057">
                  <c:v>-8.4033613445380596E-4</c:v>
                </c:pt>
                <c:pt idx="3058">
                  <c:v>-8.4033613445377799E-4</c:v>
                </c:pt>
                <c:pt idx="3059">
                  <c:v>-8.4033613445377799E-4</c:v>
                </c:pt>
                <c:pt idx="3060">
                  <c:v>-8.4033613445377799E-4</c:v>
                </c:pt>
                <c:pt idx="3061">
                  <c:v>-1.6806722689075499E-3</c:v>
                </c:pt>
                <c:pt idx="3062">
                  <c:v>-1.6806722689075499E-3</c:v>
                </c:pt>
                <c:pt idx="3063">
                  <c:v>-1.6806722689075499E-3</c:v>
                </c:pt>
                <c:pt idx="3064">
                  <c:v>-1.6806722689075499E-3</c:v>
                </c:pt>
                <c:pt idx="3065">
                  <c:v>-1.6806722689075499E-3</c:v>
                </c:pt>
                <c:pt idx="3066">
                  <c:v>-1.6806722689075499E-3</c:v>
                </c:pt>
                <c:pt idx="3067">
                  <c:v>-1.6806722689075499E-3</c:v>
                </c:pt>
                <c:pt idx="3068">
                  <c:v>-1.6806722689075499E-3</c:v>
                </c:pt>
                <c:pt idx="3069">
                  <c:v>-1.6806722689075499E-3</c:v>
                </c:pt>
                <c:pt idx="3070">
                  <c:v>-1.6806722689075499E-3</c:v>
                </c:pt>
                <c:pt idx="3071">
                  <c:v>-1.6806722689075499E-3</c:v>
                </c:pt>
                <c:pt idx="3072">
                  <c:v>-1.6806722689075499E-3</c:v>
                </c:pt>
                <c:pt idx="3073">
                  <c:v>-1.6806722689075499E-3</c:v>
                </c:pt>
                <c:pt idx="3074">
                  <c:v>-1.6806722689075499E-3</c:v>
                </c:pt>
                <c:pt idx="3075">
                  <c:v>-1.6806722689075499E-3</c:v>
                </c:pt>
                <c:pt idx="3076">
                  <c:v>-1.6806722689075499E-3</c:v>
                </c:pt>
                <c:pt idx="3077">
                  <c:v>-1.6806722689075499E-3</c:v>
                </c:pt>
                <c:pt idx="3078">
                  <c:v>-1.6806722689075499E-3</c:v>
                </c:pt>
                <c:pt idx="3079">
                  <c:v>-1.6806722689075499E-3</c:v>
                </c:pt>
                <c:pt idx="3080">
                  <c:v>-1.6806722689075499E-3</c:v>
                </c:pt>
                <c:pt idx="3081">
                  <c:v>-1.6806722689075499E-3</c:v>
                </c:pt>
                <c:pt idx="3082">
                  <c:v>-1.6806722689075499E-3</c:v>
                </c:pt>
                <c:pt idx="3083">
                  <c:v>-1.6806722689075499E-3</c:v>
                </c:pt>
                <c:pt idx="3084">
                  <c:v>-1.6806722689075499E-3</c:v>
                </c:pt>
                <c:pt idx="3085">
                  <c:v>-1.6806722689075499E-3</c:v>
                </c:pt>
                <c:pt idx="3086">
                  <c:v>-1.6806722689075499E-3</c:v>
                </c:pt>
                <c:pt idx="3087">
                  <c:v>-1.6806722689075499E-3</c:v>
                </c:pt>
                <c:pt idx="3088">
                  <c:v>-1.6806722689075499E-3</c:v>
                </c:pt>
                <c:pt idx="3089">
                  <c:v>-1.6806722689075499E-3</c:v>
                </c:pt>
                <c:pt idx="3090">
                  <c:v>-1.6806722689075499E-3</c:v>
                </c:pt>
                <c:pt idx="3091">
                  <c:v>-1.6806722689075499E-3</c:v>
                </c:pt>
                <c:pt idx="3092">
                  <c:v>-1.6806722689075499E-3</c:v>
                </c:pt>
                <c:pt idx="3093">
                  <c:v>-1.6806722689075499E-3</c:v>
                </c:pt>
                <c:pt idx="3094">
                  <c:v>-1.6806722689075499E-3</c:v>
                </c:pt>
                <c:pt idx="3095">
                  <c:v>-1.6806722689075499E-3</c:v>
                </c:pt>
                <c:pt idx="3096">
                  <c:v>-1.6806722689075499E-3</c:v>
                </c:pt>
                <c:pt idx="3097">
                  <c:v>-1.6806722689075499E-3</c:v>
                </c:pt>
                <c:pt idx="3098">
                  <c:v>-1.6806722689075499E-3</c:v>
                </c:pt>
                <c:pt idx="3099">
                  <c:v>-1.6806722689075499E-3</c:v>
                </c:pt>
                <c:pt idx="3100">
                  <c:v>-1.6806722689075499E-3</c:v>
                </c:pt>
                <c:pt idx="3101">
                  <c:v>-1.6806722689075499E-3</c:v>
                </c:pt>
                <c:pt idx="3102">
                  <c:v>-1.6806722689075499E-3</c:v>
                </c:pt>
                <c:pt idx="3103">
                  <c:v>-2.5210084033613299E-3</c:v>
                </c:pt>
                <c:pt idx="3104">
                  <c:v>-2.5210084033613299E-3</c:v>
                </c:pt>
                <c:pt idx="3105">
                  <c:v>-3.3613445378151102E-3</c:v>
                </c:pt>
                <c:pt idx="3106">
                  <c:v>-3.3613445378151102E-3</c:v>
                </c:pt>
                <c:pt idx="3107">
                  <c:v>-3.3613445378151102E-3</c:v>
                </c:pt>
                <c:pt idx="3108">
                  <c:v>-3.3613445378151102E-3</c:v>
                </c:pt>
                <c:pt idx="3109">
                  <c:v>-3.3613445378151102E-3</c:v>
                </c:pt>
                <c:pt idx="3110">
                  <c:v>-3.3613445378151102E-3</c:v>
                </c:pt>
                <c:pt idx="3111">
                  <c:v>-3.3613445378151102E-3</c:v>
                </c:pt>
                <c:pt idx="3112">
                  <c:v>-3.3613445378151102E-3</c:v>
                </c:pt>
                <c:pt idx="3113">
                  <c:v>-3.3613445378151102E-3</c:v>
                </c:pt>
                <c:pt idx="3114">
                  <c:v>-4.20168067226889E-3</c:v>
                </c:pt>
                <c:pt idx="3115">
                  <c:v>-4.20168067226889E-3</c:v>
                </c:pt>
                <c:pt idx="3116">
                  <c:v>-4.20168067226889E-3</c:v>
                </c:pt>
                <c:pt idx="3117">
                  <c:v>-4.20168067226889E-3</c:v>
                </c:pt>
                <c:pt idx="3118">
                  <c:v>-4.20168067226889E-3</c:v>
                </c:pt>
                <c:pt idx="3119">
                  <c:v>-4.20168067226889E-3</c:v>
                </c:pt>
                <c:pt idx="3120">
                  <c:v>-4.20168067226889E-3</c:v>
                </c:pt>
                <c:pt idx="3121">
                  <c:v>-4.20168067226889E-3</c:v>
                </c:pt>
                <c:pt idx="3122">
                  <c:v>-4.20168067226889E-3</c:v>
                </c:pt>
                <c:pt idx="3123">
                  <c:v>-5.0420168067226703E-3</c:v>
                </c:pt>
                <c:pt idx="3124">
                  <c:v>-5.0420168067226703E-3</c:v>
                </c:pt>
                <c:pt idx="3125">
                  <c:v>-5.0420168067226703E-3</c:v>
                </c:pt>
                <c:pt idx="3126">
                  <c:v>-5.0420168067226703E-3</c:v>
                </c:pt>
                <c:pt idx="3127">
                  <c:v>-5.0420168067226703E-3</c:v>
                </c:pt>
                <c:pt idx="3128">
                  <c:v>-5.0420168067226703E-3</c:v>
                </c:pt>
                <c:pt idx="3129">
                  <c:v>-5.0420168067226703E-3</c:v>
                </c:pt>
                <c:pt idx="3130">
                  <c:v>-5.0420168067226703E-3</c:v>
                </c:pt>
                <c:pt idx="3131">
                  <c:v>-5.0420168067226703E-3</c:v>
                </c:pt>
                <c:pt idx="3132">
                  <c:v>-5.0420168067226703E-3</c:v>
                </c:pt>
                <c:pt idx="3133">
                  <c:v>-5.0420168067226703E-3</c:v>
                </c:pt>
                <c:pt idx="3134">
                  <c:v>-5.0420168067226703E-3</c:v>
                </c:pt>
                <c:pt idx="3135">
                  <c:v>-5.0420168067226703E-3</c:v>
                </c:pt>
                <c:pt idx="3136">
                  <c:v>-5.0420168067226703E-3</c:v>
                </c:pt>
                <c:pt idx="3137">
                  <c:v>-5.0420168067226703E-3</c:v>
                </c:pt>
                <c:pt idx="3138">
                  <c:v>-5.0420168067226703E-3</c:v>
                </c:pt>
                <c:pt idx="3139">
                  <c:v>-5.0420168067226703E-3</c:v>
                </c:pt>
                <c:pt idx="3140">
                  <c:v>-5.0420168067226703E-3</c:v>
                </c:pt>
                <c:pt idx="3141">
                  <c:v>-5.0420168067226703E-3</c:v>
                </c:pt>
                <c:pt idx="3142">
                  <c:v>-5.0420168067226703E-3</c:v>
                </c:pt>
                <c:pt idx="3143">
                  <c:v>-5.0420168067226703E-3</c:v>
                </c:pt>
                <c:pt idx="3144">
                  <c:v>-5.0420168067226703E-3</c:v>
                </c:pt>
                <c:pt idx="3145">
                  <c:v>-5.0420168067226703E-3</c:v>
                </c:pt>
                <c:pt idx="3146">
                  <c:v>-5.0420168067226703E-3</c:v>
                </c:pt>
                <c:pt idx="3147">
                  <c:v>-5.0420168067226703E-3</c:v>
                </c:pt>
                <c:pt idx="3148">
                  <c:v>-5.0420168067226703E-3</c:v>
                </c:pt>
                <c:pt idx="3149">
                  <c:v>-5.0420168067226703E-3</c:v>
                </c:pt>
                <c:pt idx="3150">
                  <c:v>-5.0420168067226703E-3</c:v>
                </c:pt>
                <c:pt idx="3151">
                  <c:v>-5.0420168067226703E-3</c:v>
                </c:pt>
                <c:pt idx="3152">
                  <c:v>-5.8823529411764497E-3</c:v>
                </c:pt>
                <c:pt idx="3153">
                  <c:v>-5.8823529411764497E-3</c:v>
                </c:pt>
                <c:pt idx="3154">
                  <c:v>-5.8823529411764497E-3</c:v>
                </c:pt>
                <c:pt idx="3155">
                  <c:v>-5.8823529411764497E-3</c:v>
                </c:pt>
                <c:pt idx="3156">
                  <c:v>-5.8823529411764497E-3</c:v>
                </c:pt>
                <c:pt idx="3157">
                  <c:v>-5.8823529411764497E-3</c:v>
                </c:pt>
                <c:pt idx="3158">
                  <c:v>-5.8823529411764497E-3</c:v>
                </c:pt>
                <c:pt idx="3159">
                  <c:v>-5.8823529411764497E-3</c:v>
                </c:pt>
                <c:pt idx="3160">
                  <c:v>-5.8823529411764497E-3</c:v>
                </c:pt>
                <c:pt idx="3161">
                  <c:v>-5.8823529411764497E-3</c:v>
                </c:pt>
                <c:pt idx="3162">
                  <c:v>-5.8823529411764497E-3</c:v>
                </c:pt>
                <c:pt idx="3163">
                  <c:v>-5.8823529411764497E-3</c:v>
                </c:pt>
                <c:pt idx="3164">
                  <c:v>-5.8823529411764497E-3</c:v>
                </c:pt>
                <c:pt idx="3165">
                  <c:v>-5.8823529411764497E-3</c:v>
                </c:pt>
                <c:pt idx="3166">
                  <c:v>-5.8823529411764497E-3</c:v>
                </c:pt>
                <c:pt idx="3167">
                  <c:v>-5.8823529411764497E-3</c:v>
                </c:pt>
                <c:pt idx="3168">
                  <c:v>-5.8823529411764497E-3</c:v>
                </c:pt>
                <c:pt idx="3169">
                  <c:v>-5.8823529411764497E-3</c:v>
                </c:pt>
                <c:pt idx="3170">
                  <c:v>-5.8823529411764497E-3</c:v>
                </c:pt>
                <c:pt idx="3171">
                  <c:v>-5.8823529411764497E-3</c:v>
                </c:pt>
                <c:pt idx="3172">
                  <c:v>-5.8823529411764497E-3</c:v>
                </c:pt>
                <c:pt idx="3173">
                  <c:v>-6.7226890756302204E-3</c:v>
                </c:pt>
                <c:pt idx="3174">
                  <c:v>-6.7226890756302204E-3</c:v>
                </c:pt>
                <c:pt idx="3175">
                  <c:v>-6.7226890756302204E-3</c:v>
                </c:pt>
                <c:pt idx="3176">
                  <c:v>-6.7226890756302204E-3</c:v>
                </c:pt>
                <c:pt idx="3177">
                  <c:v>-6.7226890756302204E-3</c:v>
                </c:pt>
                <c:pt idx="3178">
                  <c:v>-6.7226890756302204E-3</c:v>
                </c:pt>
                <c:pt idx="3179">
                  <c:v>-6.7226890756302204E-3</c:v>
                </c:pt>
                <c:pt idx="3180">
                  <c:v>-7.5630252100840302E-3</c:v>
                </c:pt>
                <c:pt idx="3181">
                  <c:v>-7.5630252100840302E-3</c:v>
                </c:pt>
                <c:pt idx="3182">
                  <c:v>-7.5630252100840302E-3</c:v>
                </c:pt>
                <c:pt idx="3183">
                  <c:v>-7.5630252100840302E-3</c:v>
                </c:pt>
                <c:pt idx="3184">
                  <c:v>-7.5630252100840302E-3</c:v>
                </c:pt>
                <c:pt idx="3185">
                  <c:v>-7.5630252100840302E-3</c:v>
                </c:pt>
                <c:pt idx="3186">
                  <c:v>-7.5630252100840302E-3</c:v>
                </c:pt>
                <c:pt idx="3187">
                  <c:v>-7.5630252100840302E-3</c:v>
                </c:pt>
                <c:pt idx="3188">
                  <c:v>-7.5630252100840302E-3</c:v>
                </c:pt>
                <c:pt idx="3189">
                  <c:v>-7.5630252100840302E-3</c:v>
                </c:pt>
                <c:pt idx="3190">
                  <c:v>-7.5630252100840302E-3</c:v>
                </c:pt>
                <c:pt idx="3191">
                  <c:v>-7.5630252100840302E-3</c:v>
                </c:pt>
                <c:pt idx="3192">
                  <c:v>-7.5630252100840302E-3</c:v>
                </c:pt>
                <c:pt idx="3193">
                  <c:v>-7.5630252100840302E-3</c:v>
                </c:pt>
                <c:pt idx="3194">
                  <c:v>-7.5630252100840302E-3</c:v>
                </c:pt>
                <c:pt idx="3195">
                  <c:v>-7.5630252100840302E-3</c:v>
                </c:pt>
                <c:pt idx="3196">
                  <c:v>-7.5630252100840302E-3</c:v>
                </c:pt>
                <c:pt idx="3197">
                  <c:v>-7.5630252100840302E-3</c:v>
                </c:pt>
                <c:pt idx="3198">
                  <c:v>-7.5630252100840302E-3</c:v>
                </c:pt>
                <c:pt idx="3199">
                  <c:v>-8.4033613445378096E-3</c:v>
                </c:pt>
                <c:pt idx="3200">
                  <c:v>-8.4033613445378096E-3</c:v>
                </c:pt>
                <c:pt idx="3201">
                  <c:v>-8.4033613445378096E-3</c:v>
                </c:pt>
                <c:pt idx="3202">
                  <c:v>-8.4033613445378096E-3</c:v>
                </c:pt>
                <c:pt idx="3203">
                  <c:v>-7.5630252100840302E-3</c:v>
                </c:pt>
                <c:pt idx="3204">
                  <c:v>-7.5630252100840302E-3</c:v>
                </c:pt>
                <c:pt idx="3205">
                  <c:v>-7.5630252100840302E-3</c:v>
                </c:pt>
                <c:pt idx="3206">
                  <c:v>-7.5630252100840302E-3</c:v>
                </c:pt>
                <c:pt idx="3207">
                  <c:v>-7.5630252100840302E-3</c:v>
                </c:pt>
                <c:pt idx="3208">
                  <c:v>-7.5630252100840302E-3</c:v>
                </c:pt>
                <c:pt idx="3209">
                  <c:v>-7.5630252100840302E-3</c:v>
                </c:pt>
                <c:pt idx="3210">
                  <c:v>-7.5630252100840302E-3</c:v>
                </c:pt>
                <c:pt idx="3211">
                  <c:v>-7.5630252100840302E-3</c:v>
                </c:pt>
                <c:pt idx="3212">
                  <c:v>-7.5630252100840302E-3</c:v>
                </c:pt>
                <c:pt idx="3213">
                  <c:v>-7.5630252100840302E-3</c:v>
                </c:pt>
                <c:pt idx="3214">
                  <c:v>-7.5630252100840302E-3</c:v>
                </c:pt>
                <c:pt idx="3215">
                  <c:v>-7.5630252100840302E-3</c:v>
                </c:pt>
                <c:pt idx="3216">
                  <c:v>-7.5630252100840302E-3</c:v>
                </c:pt>
                <c:pt idx="3217">
                  <c:v>-7.5630252100840302E-3</c:v>
                </c:pt>
                <c:pt idx="3218">
                  <c:v>-8.4033613445378096E-3</c:v>
                </c:pt>
                <c:pt idx="3219">
                  <c:v>-8.4033613445378096E-3</c:v>
                </c:pt>
                <c:pt idx="3220">
                  <c:v>-8.4033613445378096E-3</c:v>
                </c:pt>
                <c:pt idx="3221">
                  <c:v>-8.4033613445378096E-3</c:v>
                </c:pt>
                <c:pt idx="3222">
                  <c:v>-8.4033613445378096E-3</c:v>
                </c:pt>
                <c:pt idx="3223">
                  <c:v>-8.4033613445378096E-3</c:v>
                </c:pt>
                <c:pt idx="3224">
                  <c:v>-8.4033613445378096E-3</c:v>
                </c:pt>
                <c:pt idx="3225">
                  <c:v>-8.4033613445378096E-3</c:v>
                </c:pt>
                <c:pt idx="3226">
                  <c:v>-8.4033613445378096E-3</c:v>
                </c:pt>
                <c:pt idx="3227">
                  <c:v>-8.4033613445378096E-3</c:v>
                </c:pt>
                <c:pt idx="3228">
                  <c:v>-8.4033613445378096E-3</c:v>
                </c:pt>
                <c:pt idx="3229">
                  <c:v>-8.4033613445378096E-3</c:v>
                </c:pt>
                <c:pt idx="3230">
                  <c:v>-8.4033613445378096E-3</c:v>
                </c:pt>
                <c:pt idx="3231">
                  <c:v>-8.4033613445378096E-3</c:v>
                </c:pt>
                <c:pt idx="3232">
                  <c:v>-8.4033613445378096E-3</c:v>
                </c:pt>
                <c:pt idx="3233">
                  <c:v>-8.4033613445378096E-3</c:v>
                </c:pt>
                <c:pt idx="3234">
                  <c:v>-8.4033613445378096E-3</c:v>
                </c:pt>
                <c:pt idx="3235">
                  <c:v>-8.4033613445378096E-3</c:v>
                </c:pt>
                <c:pt idx="3236">
                  <c:v>-8.4033613445378096E-3</c:v>
                </c:pt>
                <c:pt idx="3237">
                  <c:v>-8.4033613445378096E-3</c:v>
                </c:pt>
                <c:pt idx="3238">
                  <c:v>-8.4033613445378096E-3</c:v>
                </c:pt>
                <c:pt idx="3239">
                  <c:v>-8.4033613445378096E-3</c:v>
                </c:pt>
                <c:pt idx="3240">
                  <c:v>-8.4033613445378096E-3</c:v>
                </c:pt>
                <c:pt idx="3241">
                  <c:v>-8.4033613445378096E-3</c:v>
                </c:pt>
                <c:pt idx="3242">
                  <c:v>-8.4033613445378096E-3</c:v>
                </c:pt>
                <c:pt idx="3243">
                  <c:v>-8.4033613445378096E-3</c:v>
                </c:pt>
                <c:pt idx="3244">
                  <c:v>-8.4033613445378096E-3</c:v>
                </c:pt>
                <c:pt idx="3245">
                  <c:v>-8.4033613445378096E-3</c:v>
                </c:pt>
                <c:pt idx="3246">
                  <c:v>-8.4033613445378096E-3</c:v>
                </c:pt>
                <c:pt idx="3247">
                  <c:v>-8.4033613445378096E-3</c:v>
                </c:pt>
                <c:pt idx="3248">
                  <c:v>-8.4033613445378096E-3</c:v>
                </c:pt>
                <c:pt idx="3249">
                  <c:v>-8.4033613445378096E-3</c:v>
                </c:pt>
                <c:pt idx="3250">
                  <c:v>-8.4033613445378096E-3</c:v>
                </c:pt>
                <c:pt idx="3251">
                  <c:v>-8.4033613445378096E-3</c:v>
                </c:pt>
                <c:pt idx="3252">
                  <c:v>-8.4033613445378096E-3</c:v>
                </c:pt>
                <c:pt idx="3253">
                  <c:v>-8.4033613445378096E-3</c:v>
                </c:pt>
                <c:pt idx="3254">
                  <c:v>-8.4033613445378096E-3</c:v>
                </c:pt>
                <c:pt idx="3255">
                  <c:v>-8.4033613445378096E-3</c:v>
                </c:pt>
                <c:pt idx="3256">
                  <c:v>-8.4033613445378096E-3</c:v>
                </c:pt>
                <c:pt idx="3257">
                  <c:v>-8.4033613445378096E-3</c:v>
                </c:pt>
                <c:pt idx="3258">
                  <c:v>-8.4033613445378096E-3</c:v>
                </c:pt>
                <c:pt idx="3259">
                  <c:v>-7.5630252100840302E-3</c:v>
                </c:pt>
                <c:pt idx="3260">
                  <c:v>-7.5630252100840302E-3</c:v>
                </c:pt>
                <c:pt idx="3261">
                  <c:v>-7.5630252100840302E-3</c:v>
                </c:pt>
                <c:pt idx="3262">
                  <c:v>-7.5630252100840302E-3</c:v>
                </c:pt>
                <c:pt idx="3263">
                  <c:v>-7.5630252100840302E-3</c:v>
                </c:pt>
                <c:pt idx="3264">
                  <c:v>-7.5630252100840302E-3</c:v>
                </c:pt>
                <c:pt idx="3265">
                  <c:v>-7.5630252100840302E-3</c:v>
                </c:pt>
                <c:pt idx="3266">
                  <c:v>-8.4033613445378096E-3</c:v>
                </c:pt>
                <c:pt idx="3267">
                  <c:v>-8.4033613445378096E-3</c:v>
                </c:pt>
                <c:pt idx="3268">
                  <c:v>-8.4033613445378096E-3</c:v>
                </c:pt>
                <c:pt idx="3269">
                  <c:v>-8.4033613445378096E-3</c:v>
                </c:pt>
                <c:pt idx="3270">
                  <c:v>-7.5630252100840302E-3</c:v>
                </c:pt>
                <c:pt idx="3271">
                  <c:v>-7.5630252100840302E-3</c:v>
                </c:pt>
                <c:pt idx="3272">
                  <c:v>-7.5630252100840302E-3</c:v>
                </c:pt>
                <c:pt idx="3273">
                  <c:v>-7.5630252100840302E-3</c:v>
                </c:pt>
                <c:pt idx="3274">
                  <c:v>-7.5630252100840302E-3</c:v>
                </c:pt>
                <c:pt idx="3275">
                  <c:v>-7.5630252100840302E-3</c:v>
                </c:pt>
                <c:pt idx="3276">
                  <c:v>-7.5630252100840302E-3</c:v>
                </c:pt>
                <c:pt idx="3277">
                  <c:v>-7.5630252100840302E-3</c:v>
                </c:pt>
                <c:pt idx="3278">
                  <c:v>-7.5630252100840302E-3</c:v>
                </c:pt>
                <c:pt idx="3279">
                  <c:v>-7.5630252100840302E-3</c:v>
                </c:pt>
                <c:pt idx="3280">
                  <c:v>-7.5630252100840302E-3</c:v>
                </c:pt>
                <c:pt idx="3281">
                  <c:v>-7.5630252100840302E-3</c:v>
                </c:pt>
                <c:pt idx="3282">
                  <c:v>-7.5630252100840302E-3</c:v>
                </c:pt>
                <c:pt idx="3283">
                  <c:v>-7.5630252100840302E-3</c:v>
                </c:pt>
                <c:pt idx="3284">
                  <c:v>-7.5630252100840302E-3</c:v>
                </c:pt>
                <c:pt idx="3285">
                  <c:v>-7.5630252100840302E-3</c:v>
                </c:pt>
                <c:pt idx="3286">
                  <c:v>-7.5630252100840302E-3</c:v>
                </c:pt>
                <c:pt idx="3287">
                  <c:v>-7.5630252100840302E-3</c:v>
                </c:pt>
                <c:pt idx="3288">
                  <c:v>-7.5630252100840302E-3</c:v>
                </c:pt>
                <c:pt idx="3289">
                  <c:v>-7.5630252100840302E-3</c:v>
                </c:pt>
                <c:pt idx="3290">
                  <c:v>-7.5630252100840302E-3</c:v>
                </c:pt>
                <c:pt idx="3291">
                  <c:v>-7.5630252100840302E-3</c:v>
                </c:pt>
                <c:pt idx="3292">
                  <c:v>-7.5630252100840302E-3</c:v>
                </c:pt>
                <c:pt idx="3293">
                  <c:v>-7.5630252100840302E-3</c:v>
                </c:pt>
                <c:pt idx="3294">
                  <c:v>-7.5630252100840302E-3</c:v>
                </c:pt>
                <c:pt idx="3295">
                  <c:v>-7.5630252100840302E-3</c:v>
                </c:pt>
                <c:pt idx="3296">
                  <c:v>-7.5630252100840302E-3</c:v>
                </c:pt>
                <c:pt idx="3297">
                  <c:v>-7.5630252100840302E-3</c:v>
                </c:pt>
                <c:pt idx="3298">
                  <c:v>-7.5630252100840302E-3</c:v>
                </c:pt>
                <c:pt idx="3299">
                  <c:v>-7.5630252100840302E-3</c:v>
                </c:pt>
                <c:pt idx="3300">
                  <c:v>-7.5630252100840302E-3</c:v>
                </c:pt>
                <c:pt idx="3301">
                  <c:v>-7.5630252100840302E-3</c:v>
                </c:pt>
                <c:pt idx="3302">
                  <c:v>-7.5630252100840302E-3</c:v>
                </c:pt>
                <c:pt idx="3303">
                  <c:v>-7.5630252100840302E-3</c:v>
                </c:pt>
                <c:pt idx="3304">
                  <c:v>-7.5630252100840302E-3</c:v>
                </c:pt>
                <c:pt idx="3305">
                  <c:v>-7.5630252100840302E-3</c:v>
                </c:pt>
                <c:pt idx="3306">
                  <c:v>-7.5630252100840302E-3</c:v>
                </c:pt>
                <c:pt idx="3307">
                  <c:v>-7.5630252100840302E-3</c:v>
                </c:pt>
                <c:pt idx="3308">
                  <c:v>-7.5630252100840302E-3</c:v>
                </c:pt>
                <c:pt idx="3309">
                  <c:v>-6.7226890756302499E-3</c:v>
                </c:pt>
                <c:pt idx="3310">
                  <c:v>-6.7226890756302499E-3</c:v>
                </c:pt>
                <c:pt idx="3311">
                  <c:v>-6.7226890756302499E-3</c:v>
                </c:pt>
                <c:pt idx="3312">
                  <c:v>-6.7226890756302499E-3</c:v>
                </c:pt>
                <c:pt idx="3313">
                  <c:v>-6.7226890756302499E-3</c:v>
                </c:pt>
                <c:pt idx="3314">
                  <c:v>-6.7226890756302499E-3</c:v>
                </c:pt>
                <c:pt idx="3315">
                  <c:v>-6.7226890756302499E-3</c:v>
                </c:pt>
                <c:pt idx="3316">
                  <c:v>-6.7226890756302499E-3</c:v>
                </c:pt>
                <c:pt idx="3317">
                  <c:v>-6.7226890756302499E-3</c:v>
                </c:pt>
                <c:pt idx="3318">
                  <c:v>-6.7226890756302499E-3</c:v>
                </c:pt>
                <c:pt idx="3319">
                  <c:v>-6.7226890756302499E-3</c:v>
                </c:pt>
                <c:pt idx="3320">
                  <c:v>-6.7226890756302499E-3</c:v>
                </c:pt>
                <c:pt idx="3321">
                  <c:v>-6.7226890756302499E-3</c:v>
                </c:pt>
                <c:pt idx="3322">
                  <c:v>-6.7226890756302499E-3</c:v>
                </c:pt>
                <c:pt idx="3323">
                  <c:v>-6.7226890756302499E-3</c:v>
                </c:pt>
                <c:pt idx="3324">
                  <c:v>-6.7226890756302499E-3</c:v>
                </c:pt>
                <c:pt idx="3325">
                  <c:v>-6.7226890756302499E-3</c:v>
                </c:pt>
                <c:pt idx="3326">
                  <c:v>-6.7226890756302499E-3</c:v>
                </c:pt>
                <c:pt idx="3327">
                  <c:v>-6.7226890756302499E-3</c:v>
                </c:pt>
                <c:pt idx="3328">
                  <c:v>-6.7226890756302499E-3</c:v>
                </c:pt>
                <c:pt idx="3329">
                  <c:v>-6.7226890756302499E-3</c:v>
                </c:pt>
                <c:pt idx="3330">
                  <c:v>-6.7226890756302499E-3</c:v>
                </c:pt>
                <c:pt idx="3331">
                  <c:v>-6.7226890756302499E-3</c:v>
                </c:pt>
                <c:pt idx="3332">
                  <c:v>-6.7226890756302499E-3</c:v>
                </c:pt>
                <c:pt idx="3333">
                  <c:v>-6.7226890756302499E-3</c:v>
                </c:pt>
                <c:pt idx="3334">
                  <c:v>-6.7226890756302499E-3</c:v>
                </c:pt>
                <c:pt idx="3335">
                  <c:v>-6.7226890756302499E-3</c:v>
                </c:pt>
                <c:pt idx="3336">
                  <c:v>-6.7226890756302499E-3</c:v>
                </c:pt>
                <c:pt idx="3337">
                  <c:v>-6.7226890756302499E-3</c:v>
                </c:pt>
                <c:pt idx="3338">
                  <c:v>-6.7226890756302499E-3</c:v>
                </c:pt>
                <c:pt idx="3339">
                  <c:v>-6.7226890756302499E-3</c:v>
                </c:pt>
                <c:pt idx="3340">
                  <c:v>-6.7226890756302499E-3</c:v>
                </c:pt>
                <c:pt idx="3341">
                  <c:v>-6.7226890756302499E-3</c:v>
                </c:pt>
                <c:pt idx="3342">
                  <c:v>-6.7226890756302499E-3</c:v>
                </c:pt>
                <c:pt idx="3343">
                  <c:v>-6.7226890756302499E-3</c:v>
                </c:pt>
                <c:pt idx="3344">
                  <c:v>-6.7226890756302499E-3</c:v>
                </c:pt>
                <c:pt idx="3345">
                  <c:v>-6.7226890756302499E-3</c:v>
                </c:pt>
                <c:pt idx="3346">
                  <c:v>-6.7226890756302499E-3</c:v>
                </c:pt>
                <c:pt idx="3347">
                  <c:v>-6.7226890756302499E-3</c:v>
                </c:pt>
                <c:pt idx="3348">
                  <c:v>-6.7226890756302499E-3</c:v>
                </c:pt>
                <c:pt idx="3349">
                  <c:v>-6.7226890756302499E-3</c:v>
                </c:pt>
                <c:pt idx="3350">
                  <c:v>-6.7226890756302499E-3</c:v>
                </c:pt>
                <c:pt idx="3351">
                  <c:v>-6.7226890756302499E-3</c:v>
                </c:pt>
                <c:pt idx="3352">
                  <c:v>-6.7226890756302499E-3</c:v>
                </c:pt>
                <c:pt idx="3353">
                  <c:v>-6.7226890756302499E-3</c:v>
                </c:pt>
                <c:pt idx="3354">
                  <c:v>-6.7226890756302499E-3</c:v>
                </c:pt>
                <c:pt idx="3355">
                  <c:v>-6.7226890756302499E-3</c:v>
                </c:pt>
                <c:pt idx="3356">
                  <c:v>-6.7226890756302499E-3</c:v>
                </c:pt>
                <c:pt idx="3357">
                  <c:v>-6.7226890756302499E-3</c:v>
                </c:pt>
                <c:pt idx="3358">
                  <c:v>-6.7226890756302499E-3</c:v>
                </c:pt>
                <c:pt idx="3359">
                  <c:v>-6.7226890756302499E-3</c:v>
                </c:pt>
                <c:pt idx="3360">
                  <c:v>-5.8823529411764696E-3</c:v>
                </c:pt>
                <c:pt idx="3361">
                  <c:v>-5.8823529411764696E-3</c:v>
                </c:pt>
                <c:pt idx="3362">
                  <c:v>-6.7226890756302499E-3</c:v>
                </c:pt>
                <c:pt idx="3363">
                  <c:v>-6.7226890756302499E-3</c:v>
                </c:pt>
                <c:pt idx="3364">
                  <c:v>-6.7226890756302499E-3</c:v>
                </c:pt>
                <c:pt idx="3365">
                  <c:v>-6.7226890756302499E-3</c:v>
                </c:pt>
                <c:pt idx="3366">
                  <c:v>-7.5630252100840302E-3</c:v>
                </c:pt>
                <c:pt idx="3367">
                  <c:v>-7.5630252100840302E-3</c:v>
                </c:pt>
                <c:pt idx="3368">
                  <c:v>-8.4033613445378096E-3</c:v>
                </c:pt>
                <c:pt idx="3369">
                  <c:v>-8.4033613445378096E-3</c:v>
                </c:pt>
                <c:pt idx="3370">
                  <c:v>-8.4033613445378096E-3</c:v>
                </c:pt>
                <c:pt idx="3371">
                  <c:v>-8.4033613445378096E-3</c:v>
                </c:pt>
                <c:pt idx="3372">
                  <c:v>-8.4033613445378096E-3</c:v>
                </c:pt>
                <c:pt idx="3373">
                  <c:v>-8.4033613445378096E-3</c:v>
                </c:pt>
                <c:pt idx="3374">
                  <c:v>-8.4033613445378096E-3</c:v>
                </c:pt>
                <c:pt idx="3375">
                  <c:v>-8.4033613445378096E-3</c:v>
                </c:pt>
                <c:pt idx="3376">
                  <c:v>-8.4033613445378096E-3</c:v>
                </c:pt>
                <c:pt idx="3377">
                  <c:v>-8.4033613445378096E-3</c:v>
                </c:pt>
                <c:pt idx="3378">
                  <c:v>-8.4033613445378096E-3</c:v>
                </c:pt>
                <c:pt idx="3379">
                  <c:v>-8.4033613445378096E-3</c:v>
                </c:pt>
                <c:pt idx="3380">
                  <c:v>-8.4033613445378096E-3</c:v>
                </c:pt>
                <c:pt idx="3381">
                  <c:v>-8.4033613445378096E-3</c:v>
                </c:pt>
                <c:pt idx="3382">
                  <c:v>-8.4033613445378096E-3</c:v>
                </c:pt>
                <c:pt idx="3383">
                  <c:v>-7.5630252100840302E-3</c:v>
                </c:pt>
                <c:pt idx="3384">
                  <c:v>-7.5630252100840302E-3</c:v>
                </c:pt>
                <c:pt idx="3385">
                  <c:v>-7.5630252100840302E-3</c:v>
                </c:pt>
                <c:pt idx="3386">
                  <c:v>-7.5630252100840302E-3</c:v>
                </c:pt>
                <c:pt idx="3387">
                  <c:v>-7.5630252100840302E-3</c:v>
                </c:pt>
                <c:pt idx="3388">
                  <c:v>-7.5630252100840302E-3</c:v>
                </c:pt>
                <c:pt idx="3389">
                  <c:v>-7.5630252100840302E-3</c:v>
                </c:pt>
                <c:pt idx="3390">
                  <c:v>-7.5630252100840302E-3</c:v>
                </c:pt>
                <c:pt idx="3391">
                  <c:v>-8.4033613445378096E-3</c:v>
                </c:pt>
                <c:pt idx="3392">
                  <c:v>-7.5630252100840302E-3</c:v>
                </c:pt>
                <c:pt idx="3393">
                  <c:v>-7.5630252100840302E-3</c:v>
                </c:pt>
                <c:pt idx="3394">
                  <c:v>-7.5630252100840302E-3</c:v>
                </c:pt>
                <c:pt idx="3395">
                  <c:v>-7.5630252100840302E-3</c:v>
                </c:pt>
                <c:pt idx="3396">
                  <c:v>-8.4033613445378096E-3</c:v>
                </c:pt>
                <c:pt idx="3397">
                  <c:v>-8.4033613445378096E-3</c:v>
                </c:pt>
                <c:pt idx="3398">
                  <c:v>-8.4033613445378096E-3</c:v>
                </c:pt>
                <c:pt idx="3399">
                  <c:v>-8.4033613445378096E-3</c:v>
                </c:pt>
                <c:pt idx="3400">
                  <c:v>-8.4033613445378096E-3</c:v>
                </c:pt>
                <c:pt idx="3401">
                  <c:v>-8.4033613445378096E-3</c:v>
                </c:pt>
                <c:pt idx="3402">
                  <c:v>-7.5630252100840302E-3</c:v>
                </c:pt>
                <c:pt idx="3403">
                  <c:v>-6.7226890756302204E-3</c:v>
                </c:pt>
                <c:pt idx="3404">
                  <c:v>-6.7226890756302204E-3</c:v>
                </c:pt>
                <c:pt idx="3405">
                  <c:v>-6.7226890756302204E-3</c:v>
                </c:pt>
                <c:pt idx="3406">
                  <c:v>-6.7226890756302204E-3</c:v>
                </c:pt>
                <c:pt idx="3407">
                  <c:v>-6.7226890756302204E-3</c:v>
                </c:pt>
                <c:pt idx="3408">
                  <c:v>-6.7226890756302204E-3</c:v>
                </c:pt>
                <c:pt idx="3409">
                  <c:v>-6.7226890756302204E-3</c:v>
                </c:pt>
                <c:pt idx="3410">
                  <c:v>-6.7226890756302204E-3</c:v>
                </c:pt>
                <c:pt idx="3411">
                  <c:v>-5.8823529411764497E-3</c:v>
                </c:pt>
                <c:pt idx="3412">
                  <c:v>-5.8823529411764497E-3</c:v>
                </c:pt>
                <c:pt idx="3413">
                  <c:v>-5.8823529411764497E-3</c:v>
                </c:pt>
                <c:pt idx="3414">
                  <c:v>-5.8823529411764497E-3</c:v>
                </c:pt>
                <c:pt idx="3415">
                  <c:v>-5.8823529411764497E-3</c:v>
                </c:pt>
                <c:pt idx="3416">
                  <c:v>-5.8823529411764497E-3</c:v>
                </c:pt>
                <c:pt idx="3417">
                  <c:v>-5.8823529411764497E-3</c:v>
                </c:pt>
                <c:pt idx="3418">
                  <c:v>-5.8823529411764497E-3</c:v>
                </c:pt>
                <c:pt idx="3419">
                  <c:v>-5.8823529411764497E-3</c:v>
                </c:pt>
                <c:pt idx="3420">
                  <c:v>-5.8823529411764497E-3</c:v>
                </c:pt>
                <c:pt idx="3421">
                  <c:v>-5.8823529411764497E-3</c:v>
                </c:pt>
                <c:pt idx="3422">
                  <c:v>-5.8823529411764497E-3</c:v>
                </c:pt>
                <c:pt idx="3423">
                  <c:v>-5.8823529411764497E-3</c:v>
                </c:pt>
                <c:pt idx="3424">
                  <c:v>-5.8823529411764497E-3</c:v>
                </c:pt>
                <c:pt idx="3425">
                  <c:v>-5.8823529411764497E-3</c:v>
                </c:pt>
                <c:pt idx="3426">
                  <c:v>-5.8823529411764497E-3</c:v>
                </c:pt>
                <c:pt idx="3427">
                  <c:v>-5.8823529411764497E-3</c:v>
                </c:pt>
                <c:pt idx="3428">
                  <c:v>-5.8823529411764497E-3</c:v>
                </c:pt>
                <c:pt idx="3429">
                  <c:v>-5.8823529411764497E-3</c:v>
                </c:pt>
                <c:pt idx="3430">
                  <c:v>-6.7226890756302204E-3</c:v>
                </c:pt>
                <c:pt idx="3431">
                  <c:v>-6.7226890756302204E-3</c:v>
                </c:pt>
                <c:pt idx="3432">
                  <c:v>-6.7226890756302204E-3</c:v>
                </c:pt>
                <c:pt idx="3433">
                  <c:v>-6.7226890756302204E-3</c:v>
                </c:pt>
                <c:pt idx="3434">
                  <c:v>-6.7226890756302204E-3</c:v>
                </c:pt>
                <c:pt idx="3435">
                  <c:v>-7.5630252100840302E-3</c:v>
                </c:pt>
                <c:pt idx="3436">
                  <c:v>-7.5630252100840302E-3</c:v>
                </c:pt>
                <c:pt idx="3437">
                  <c:v>-6.7226890756302499E-3</c:v>
                </c:pt>
                <c:pt idx="3438">
                  <c:v>-6.7226890756302499E-3</c:v>
                </c:pt>
                <c:pt idx="3439">
                  <c:v>-6.7226890756302499E-3</c:v>
                </c:pt>
                <c:pt idx="3440">
                  <c:v>-6.7226890756302499E-3</c:v>
                </c:pt>
                <c:pt idx="3441">
                  <c:v>-6.7226890756302499E-3</c:v>
                </c:pt>
                <c:pt idx="3442">
                  <c:v>-6.7226890756302499E-3</c:v>
                </c:pt>
                <c:pt idx="3443">
                  <c:v>-6.7226890756302499E-3</c:v>
                </c:pt>
                <c:pt idx="3444">
                  <c:v>-6.7226890756302499E-3</c:v>
                </c:pt>
                <c:pt idx="3445">
                  <c:v>-6.7226890756302499E-3</c:v>
                </c:pt>
                <c:pt idx="3446">
                  <c:v>-6.7226890756302499E-3</c:v>
                </c:pt>
                <c:pt idx="3447">
                  <c:v>-6.7226890756302499E-3</c:v>
                </c:pt>
                <c:pt idx="3448">
                  <c:v>-6.7226890756302499E-3</c:v>
                </c:pt>
                <c:pt idx="3449">
                  <c:v>-6.7226890756302499E-3</c:v>
                </c:pt>
                <c:pt idx="3450">
                  <c:v>-6.7226890756302499E-3</c:v>
                </c:pt>
                <c:pt idx="3451">
                  <c:v>-6.7226890756302499E-3</c:v>
                </c:pt>
                <c:pt idx="3452">
                  <c:v>-6.7226890756302499E-3</c:v>
                </c:pt>
                <c:pt idx="3453">
                  <c:v>-6.7226890756302499E-3</c:v>
                </c:pt>
                <c:pt idx="3454">
                  <c:v>-6.7226890756302499E-3</c:v>
                </c:pt>
                <c:pt idx="3455">
                  <c:v>-6.7226890756302499E-3</c:v>
                </c:pt>
                <c:pt idx="3456">
                  <c:v>-6.7226890756302499E-3</c:v>
                </c:pt>
                <c:pt idx="3457">
                  <c:v>-6.7226890756302499E-3</c:v>
                </c:pt>
                <c:pt idx="3458">
                  <c:v>-6.7226890756302499E-3</c:v>
                </c:pt>
                <c:pt idx="3459">
                  <c:v>-6.7226890756302499E-3</c:v>
                </c:pt>
                <c:pt idx="3460">
                  <c:v>-6.7226890756302499E-3</c:v>
                </c:pt>
                <c:pt idx="3461">
                  <c:v>-6.7226890756302499E-3</c:v>
                </c:pt>
                <c:pt idx="3462">
                  <c:v>-5.8823529411764696E-3</c:v>
                </c:pt>
                <c:pt idx="3463">
                  <c:v>-5.0420168067226902E-3</c:v>
                </c:pt>
                <c:pt idx="3464">
                  <c:v>-5.0420168067226902E-3</c:v>
                </c:pt>
                <c:pt idx="3465">
                  <c:v>-5.0420168067226902E-3</c:v>
                </c:pt>
                <c:pt idx="3466">
                  <c:v>-5.0420168067226902E-3</c:v>
                </c:pt>
                <c:pt idx="3467">
                  <c:v>-5.0420168067226902E-3</c:v>
                </c:pt>
                <c:pt idx="3468">
                  <c:v>-5.0420168067226902E-3</c:v>
                </c:pt>
                <c:pt idx="3469">
                  <c:v>-5.0420168067226902E-3</c:v>
                </c:pt>
                <c:pt idx="3470">
                  <c:v>-4.2016806722689204E-3</c:v>
                </c:pt>
                <c:pt idx="3471">
                  <c:v>-4.2016806722689204E-3</c:v>
                </c:pt>
                <c:pt idx="3472">
                  <c:v>-4.2016806722689204E-3</c:v>
                </c:pt>
                <c:pt idx="3473">
                  <c:v>-5.0420168067226902E-3</c:v>
                </c:pt>
                <c:pt idx="3474">
                  <c:v>-4.2016806722689204E-3</c:v>
                </c:pt>
                <c:pt idx="3475">
                  <c:v>-4.2016806722689204E-3</c:v>
                </c:pt>
                <c:pt idx="3476">
                  <c:v>-4.2016806722689204E-3</c:v>
                </c:pt>
                <c:pt idx="3477">
                  <c:v>-4.2016806722689204E-3</c:v>
                </c:pt>
                <c:pt idx="3478">
                  <c:v>-4.2016806722689204E-3</c:v>
                </c:pt>
                <c:pt idx="3479">
                  <c:v>-4.2016806722689204E-3</c:v>
                </c:pt>
                <c:pt idx="3480">
                  <c:v>-4.2016806722689204E-3</c:v>
                </c:pt>
                <c:pt idx="3481">
                  <c:v>-4.2016806722689204E-3</c:v>
                </c:pt>
                <c:pt idx="3482">
                  <c:v>-4.2016806722689204E-3</c:v>
                </c:pt>
                <c:pt idx="3483">
                  <c:v>-4.2016806722689204E-3</c:v>
                </c:pt>
                <c:pt idx="3484">
                  <c:v>-4.2016806722689204E-3</c:v>
                </c:pt>
                <c:pt idx="3485">
                  <c:v>-4.2016806722689204E-3</c:v>
                </c:pt>
                <c:pt idx="3486">
                  <c:v>-4.2016806722689204E-3</c:v>
                </c:pt>
                <c:pt idx="3487">
                  <c:v>-4.2016806722689204E-3</c:v>
                </c:pt>
                <c:pt idx="3488">
                  <c:v>-4.2016806722689204E-3</c:v>
                </c:pt>
                <c:pt idx="3489">
                  <c:v>-4.2016806722689204E-3</c:v>
                </c:pt>
                <c:pt idx="3490">
                  <c:v>-5.0420168067226902E-3</c:v>
                </c:pt>
                <c:pt idx="3491">
                  <c:v>-5.0420168067226902E-3</c:v>
                </c:pt>
                <c:pt idx="3492">
                  <c:v>-5.0420168067226902E-3</c:v>
                </c:pt>
                <c:pt idx="3493">
                  <c:v>-5.0420168067226902E-3</c:v>
                </c:pt>
                <c:pt idx="3494">
                  <c:v>-5.0420168067226902E-3</c:v>
                </c:pt>
                <c:pt idx="3495">
                  <c:v>-5.0420168067226902E-3</c:v>
                </c:pt>
                <c:pt idx="3496">
                  <c:v>-5.0420168067226902E-3</c:v>
                </c:pt>
                <c:pt idx="3497">
                  <c:v>-5.0420168067226902E-3</c:v>
                </c:pt>
                <c:pt idx="3498">
                  <c:v>-4.2016806722689204E-3</c:v>
                </c:pt>
                <c:pt idx="3499">
                  <c:v>-4.2016806722689204E-3</c:v>
                </c:pt>
                <c:pt idx="3500">
                  <c:v>-4.2016806722689204E-3</c:v>
                </c:pt>
                <c:pt idx="3501">
                  <c:v>-4.2016806722689204E-3</c:v>
                </c:pt>
                <c:pt idx="3502">
                  <c:v>-4.2016806722689204E-3</c:v>
                </c:pt>
                <c:pt idx="3503">
                  <c:v>-4.2016806722689204E-3</c:v>
                </c:pt>
                <c:pt idx="3504">
                  <c:v>-4.2016806722689204E-3</c:v>
                </c:pt>
                <c:pt idx="3505">
                  <c:v>-5.0420168067226902E-3</c:v>
                </c:pt>
                <c:pt idx="3506">
                  <c:v>-5.0420168067226902E-3</c:v>
                </c:pt>
                <c:pt idx="3507">
                  <c:v>-5.0420168067226902E-3</c:v>
                </c:pt>
                <c:pt idx="3508">
                  <c:v>-5.0420168067226902E-3</c:v>
                </c:pt>
                <c:pt idx="3509">
                  <c:v>-5.0420168067226902E-3</c:v>
                </c:pt>
                <c:pt idx="3510">
                  <c:v>-5.0420168067226902E-3</c:v>
                </c:pt>
                <c:pt idx="3511">
                  <c:v>-5.0420168067226902E-3</c:v>
                </c:pt>
                <c:pt idx="3512">
                  <c:v>-5.0420168067226902E-3</c:v>
                </c:pt>
                <c:pt idx="3513">
                  <c:v>-5.0420168067226902E-3</c:v>
                </c:pt>
                <c:pt idx="3514">
                  <c:v>-5.0420168067226902E-3</c:v>
                </c:pt>
                <c:pt idx="3515">
                  <c:v>-5.0420168067226902E-3</c:v>
                </c:pt>
                <c:pt idx="3516">
                  <c:v>-5.0420168067226902E-3</c:v>
                </c:pt>
                <c:pt idx="3517">
                  <c:v>-5.0420168067226902E-3</c:v>
                </c:pt>
                <c:pt idx="3518">
                  <c:v>-5.0420168067226902E-3</c:v>
                </c:pt>
                <c:pt idx="3519">
                  <c:v>-5.0420168067226902E-3</c:v>
                </c:pt>
                <c:pt idx="3520">
                  <c:v>-5.0420168067226902E-3</c:v>
                </c:pt>
                <c:pt idx="3521">
                  <c:v>-5.0420168067226902E-3</c:v>
                </c:pt>
                <c:pt idx="3522">
                  <c:v>-5.0420168067226902E-3</c:v>
                </c:pt>
                <c:pt idx="3523">
                  <c:v>-5.0420168067226902E-3</c:v>
                </c:pt>
                <c:pt idx="3524">
                  <c:v>-5.0420168067226902E-3</c:v>
                </c:pt>
                <c:pt idx="3525">
                  <c:v>-5.0420168067226902E-3</c:v>
                </c:pt>
                <c:pt idx="3526">
                  <c:v>-5.0420168067226902E-3</c:v>
                </c:pt>
                <c:pt idx="3527">
                  <c:v>-5.0420168067226902E-3</c:v>
                </c:pt>
                <c:pt idx="3528">
                  <c:v>-5.0420168067226902E-3</c:v>
                </c:pt>
                <c:pt idx="3529">
                  <c:v>-5.0420168067226902E-3</c:v>
                </c:pt>
                <c:pt idx="3530">
                  <c:v>-5.0420168067226902E-3</c:v>
                </c:pt>
                <c:pt idx="3531">
                  <c:v>-5.0420168067226902E-3</c:v>
                </c:pt>
                <c:pt idx="3532">
                  <c:v>-5.0420168067226902E-3</c:v>
                </c:pt>
                <c:pt idx="3533">
                  <c:v>-5.0420168067226902E-3</c:v>
                </c:pt>
                <c:pt idx="3534">
                  <c:v>-5.0420168067226902E-3</c:v>
                </c:pt>
                <c:pt idx="3535">
                  <c:v>-5.0420168067226902E-3</c:v>
                </c:pt>
                <c:pt idx="3536">
                  <c:v>-5.0420168067226902E-3</c:v>
                </c:pt>
                <c:pt idx="3537">
                  <c:v>-5.8823529411764696E-3</c:v>
                </c:pt>
                <c:pt idx="3538">
                  <c:v>-5.8823529411764696E-3</c:v>
                </c:pt>
                <c:pt idx="3539">
                  <c:v>-5.0420168067226902E-3</c:v>
                </c:pt>
                <c:pt idx="3540">
                  <c:v>-5.0420168067226902E-3</c:v>
                </c:pt>
                <c:pt idx="3541">
                  <c:v>-5.0420168067226902E-3</c:v>
                </c:pt>
                <c:pt idx="3542">
                  <c:v>-5.0420168067226902E-3</c:v>
                </c:pt>
                <c:pt idx="3543">
                  <c:v>-5.0420168067226902E-3</c:v>
                </c:pt>
                <c:pt idx="3544">
                  <c:v>-5.0420168067226902E-3</c:v>
                </c:pt>
                <c:pt idx="3545">
                  <c:v>-5.0420168067226902E-3</c:v>
                </c:pt>
                <c:pt idx="3546">
                  <c:v>-5.0420168067226902E-3</c:v>
                </c:pt>
                <c:pt idx="3547">
                  <c:v>-5.0420168067226902E-3</c:v>
                </c:pt>
                <c:pt idx="3548">
                  <c:v>-5.0420168067226902E-3</c:v>
                </c:pt>
                <c:pt idx="3549">
                  <c:v>-5.0420168067226902E-3</c:v>
                </c:pt>
                <c:pt idx="3550">
                  <c:v>-5.0420168067226902E-3</c:v>
                </c:pt>
                <c:pt idx="3551">
                  <c:v>-5.0420168067226902E-3</c:v>
                </c:pt>
                <c:pt idx="3552">
                  <c:v>-5.0420168067226902E-3</c:v>
                </c:pt>
                <c:pt idx="3553">
                  <c:v>-5.0420168067226902E-3</c:v>
                </c:pt>
                <c:pt idx="3554">
                  <c:v>-4.2016806722689204E-3</c:v>
                </c:pt>
                <c:pt idx="3555">
                  <c:v>-4.2016806722689204E-3</c:v>
                </c:pt>
                <c:pt idx="3556">
                  <c:v>-4.2016806722689204E-3</c:v>
                </c:pt>
                <c:pt idx="3557">
                  <c:v>-4.2016806722689204E-3</c:v>
                </c:pt>
                <c:pt idx="3558">
                  <c:v>-4.2016806722689204E-3</c:v>
                </c:pt>
                <c:pt idx="3559">
                  <c:v>-4.2016806722689204E-3</c:v>
                </c:pt>
                <c:pt idx="3560">
                  <c:v>-4.2016806722689204E-3</c:v>
                </c:pt>
                <c:pt idx="3561">
                  <c:v>-4.2016806722689204E-3</c:v>
                </c:pt>
                <c:pt idx="3562">
                  <c:v>-5.0420168067226902E-3</c:v>
                </c:pt>
                <c:pt idx="3563">
                  <c:v>-5.0420168067226902E-3</c:v>
                </c:pt>
                <c:pt idx="3564">
                  <c:v>-5.0420168067226902E-3</c:v>
                </c:pt>
                <c:pt idx="3565">
                  <c:v>-5.0420168067226902E-3</c:v>
                </c:pt>
                <c:pt idx="3566">
                  <c:v>-5.0420168067226902E-3</c:v>
                </c:pt>
                <c:pt idx="3567">
                  <c:v>-5.0420168067226902E-3</c:v>
                </c:pt>
                <c:pt idx="3568">
                  <c:v>-5.0420168067226902E-3</c:v>
                </c:pt>
                <c:pt idx="3569">
                  <c:v>-5.0420168067226902E-3</c:v>
                </c:pt>
                <c:pt idx="3570">
                  <c:v>-5.0420168067226902E-3</c:v>
                </c:pt>
                <c:pt idx="3571">
                  <c:v>-5.0420168067226902E-3</c:v>
                </c:pt>
                <c:pt idx="3572">
                  <c:v>-5.0420168067226902E-3</c:v>
                </c:pt>
                <c:pt idx="3573">
                  <c:v>-5.0420168067226902E-3</c:v>
                </c:pt>
                <c:pt idx="3574">
                  <c:v>-5.0420168067226902E-3</c:v>
                </c:pt>
                <c:pt idx="3575">
                  <c:v>-5.0420168067226902E-3</c:v>
                </c:pt>
                <c:pt idx="3576">
                  <c:v>-5.0420168067226902E-3</c:v>
                </c:pt>
                <c:pt idx="3577">
                  <c:v>-5.0420168067226902E-3</c:v>
                </c:pt>
                <c:pt idx="3578">
                  <c:v>-5.0420168067226902E-3</c:v>
                </c:pt>
                <c:pt idx="3579">
                  <c:v>-4.20168067226889E-3</c:v>
                </c:pt>
                <c:pt idx="3580">
                  <c:v>-4.20168067226889E-3</c:v>
                </c:pt>
                <c:pt idx="3581">
                  <c:v>-4.20168067226889E-3</c:v>
                </c:pt>
                <c:pt idx="3582">
                  <c:v>-4.20168067226889E-3</c:v>
                </c:pt>
                <c:pt idx="3583">
                  <c:v>-4.20168067226889E-3</c:v>
                </c:pt>
                <c:pt idx="3584">
                  <c:v>-3.3613445378151102E-3</c:v>
                </c:pt>
                <c:pt idx="3585">
                  <c:v>-3.3613445378151102E-3</c:v>
                </c:pt>
                <c:pt idx="3586">
                  <c:v>-3.3613445378151102E-3</c:v>
                </c:pt>
                <c:pt idx="3587">
                  <c:v>-3.3613445378151102E-3</c:v>
                </c:pt>
                <c:pt idx="3588">
                  <c:v>-3.3613445378151102E-3</c:v>
                </c:pt>
                <c:pt idx="3589">
                  <c:v>-3.3613445378151102E-3</c:v>
                </c:pt>
                <c:pt idx="3590">
                  <c:v>-3.3613445378151102E-3</c:v>
                </c:pt>
                <c:pt idx="3591">
                  <c:v>-3.3613445378151102E-3</c:v>
                </c:pt>
                <c:pt idx="3592">
                  <c:v>-3.3613445378151102E-3</c:v>
                </c:pt>
                <c:pt idx="3593">
                  <c:v>-3.3613445378151102E-3</c:v>
                </c:pt>
                <c:pt idx="3594">
                  <c:v>-3.3613445378151102E-3</c:v>
                </c:pt>
                <c:pt idx="3595">
                  <c:v>-3.3613445378151102E-3</c:v>
                </c:pt>
                <c:pt idx="3596">
                  <c:v>-3.3613445378151102E-3</c:v>
                </c:pt>
                <c:pt idx="3597">
                  <c:v>-3.3613445378151102E-3</c:v>
                </c:pt>
                <c:pt idx="3598">
                  <c:v>-3.3613445378151102E-3</c:v>
                </c:pt>
                <c:pt idx="3599">
                  <c:v>-3.3613445378151102E-3</c:v>
                </c:pt>
                <c:pt idx="3600">
                  <c:v>-3.3613445378151102E-3</c:v>
                </c:pt>
                <c:pt idx="3601">
                  <c:v>-3.3613445378151102E-3</c:v>
                </c:pt>
                <c:pt idx="3602">
                  <c:v>-3.3613445378151102E-3</c:v>
                </c:pt>
                <c:pt idx="3603">
                  <c:v>-3.3613445378151102E-3</c:v>
                </c:pt>
                <c:pt idx="3604">
                  <c:v>-2.5210084033613299E-3</c:v>
                </c:pt>
                <c:pt idx="3605">
                  <c:v>-2.5210084033613299E-3</c:v>
                </c:pt>
                <c:pt idx="3606">
                  <c:v>-2.5210084033613299E-3</c:v>
                </c:pt>
                <c:pt idx="3607">
                  <c:v>-2.5210084033613299E-3</c:v>
                </c:pt>
                <c:pt idx="3608">
                  <c:v>-2.5210084033613299E-3</c:v>
                </c:pt>
                <c:pt idx="3609">
                  <c:v>-2.5210084033613299E-3</c:v>
                </c:pt>
                <c:pt idx="3610">
                  <c:v>-2.5210084033613299E-3</c:v>
                </c:pt>
                <c:pt idx="3611">
                  <c:v>-2.5210084033613299E-3</c:v>
                </c:pt>
                <c:pt idx="3612">
                  <c:v>-2.5210084033613299E-3</c:v>
                </c:pt>
                <c:pt idx="3613">
                  <c:v>-2.5210084033613299E-3</c:v>
                </c:pt>
                <c:pt idx="3614">
                  <c:v>-2.5210084033613299E-3</c:v>
                </c:pt>
                <c:pt idx="3615">
                  <c:v>-2.5210084033613299E-3</c:v>
                </c:pt>
                <c:pt idx="3616">
                  <c:v>-2.5210084033613299E-3</c:v>
                </c:pt>
                <c:pt idx="3617">
                  <c:v>-1.6806722689075499E-3</c:v>
                </c:pt>
                <c:pt idx="3618">
                  <c:v>-1.6806722689075499E-3</c:v>
                </c:pt>
                <c:pt idx="3619">
                  <c:v>-1.6806722689075499E-3</c:v>
                </c:pt>
                <c:pt idx="3620">
                  <c:v>-1.6806722689075499E-3</c:v>
                </c:pt>
                <c:pt idx="3621">
                  <c:v>-1.6806722689075499E-3</c:v>
                </c:pt>
                <c:pt idx="3622">
                  <c:v>-1.6806722689075499E-3</c:v>
                </c:pt>
                <c:pt idx="3623">
                  <c:v>-1.6806722689075499E-3</c:v>
                </c:pt>
                <c:pt idx="3624">
                  <c:v>-1.6806722689075499E-3</c:v>
                </c:pt>
                <c:pt idx="3625">
                  <c:v>-8.4033613445377799E-4</c:v>
                </c:pt>
                <c:pt idx="3626">
                  <c:v>-8.4033613445377799E-4</c:v>
                </c:pt>
                <c:pt idx="3627">
                  <c:v>-8.4033613445377799E-4</c:v>
                </c:pt>
                <c:pt idx="3628">
                  <c:v>-8.4033613445377799E-4</c:v>
                </c:pt>
                <c:pt idx="3629">
                  <c:v>-8.4033613445377799E-4</c:v>
                </c:pt>
                <c:pt idx="3630">
                  <c:v>-8.4033613445377799E-4</c:v>
                </c:pt>
                <c:pt idx="3631">
                  <c:v>-8.4033613445377799E-4</c:v>
                </c:pt>
                <c:pt idx="3632">
                  <c:v>-8.4033613445377799E-4</c:v>
                </c:pt>
                <c:pt idx="3633">
                  <c:v>-8.4033613445377799E-4</c:v>
                </c:pt>
                <c:pt idx="3634">
                  <c:v>-8.4033613445377799E-4</c:v>
                </c:pt>
                <c:pt idx="3635">
                  <c:v>-8.4033613445377799E-4</c:v>
                </c:pt>
                <c:pt idx="3636">
                  <c:v>-8.4033613445377799E-4</c:v>
                </c:pt>
                <c:pt idx="3637">
                  <c:v>-8.4033613445377799E-4</c:v>
                </c:pt>
                <c:pt idx="3638">
                  <c:v>-8.4033613445377799E-4</c:v>
                </c:pt>
                <c:pt idx="3639">
                  <c:v>-8.4033613445377799E-4</c:v>
                </c:pt>
                <c:pt idx="3640">
                  <c:v>-8.4033613445377799E-4</c:v>
                </c:pt>
                <c:pt idx="3641">
                  <c:v>-8.4033613445377799E-4</c:v>
                </c:pt>
                <c:pt idx="3642">
                  <c:v>-8.4033613445377799E-4</c:v>
                </c:pt>
                <c:pt idx="3643">
                  <c:v>-8.4033613445377799E-4</c:v>
                </c:pt>
                <c:pt idx="3644">
                  <c:v>0</c:v>
                </c:pt>
                <c:pt idx="3645">
                  <c:v>0</c:v>
                </c:pt>
                <c:pt idx="3646">
                  <c:v>0</c:v>
                </c:pt>
                <c:pt idx="3647">
                  <c:v>0</c:v>
                </c:pt>
                <c:pt idx="3648">
                  <c:v>0</c:v>
                </c:pt>
                <c:pt idx="3649">
                  <c:v>0</c:v>
                </c:pt>
                <c:pt idx="3650">
                  <c:v>0</c:v>
                </c:pt>
                <c:pt idx="3651">
                  <c:v>0</c:v>
                </c:pt>
                <c:pt idx="3652">
                  <c:v>0</c:v>
                </c:pt>
                <c:pt idx="3653">
                  <c:v>0</c:v>
                </c:pt>
                <c:pt idx="3654">
                  <c:v>0</c:v>
                </c:pt>
                <c:pt idx="3655">
                  <c:v>0</c:v>
                </c:pt>
                <c:pt idx="3656">
                  <c:v>0</c:v>
                </c:pt>
                <c:pt idx="3657">
                  <c:v>0</c:v>
                </c:pt>
                <c:pt idx="3658">
                  <c:v>0</c:v>
                </c:pt>
                <c:pt idx="3659">
                  <c:v>0</c:v>
                </c:pt>
                <c:pt idx="3660">
                  <c:v>0</c:v>
                </c:pt>
                <c:pt idx="3661">
                  <c:v>0</c:v>
                </c:pt>
                <c:pt idx="3662">
                  <c:v>0</c:v>
                </c:pt>
                <c:pt idx="3663">
                  <c:v>0</c:v>
                </c:pt>
                <c:pt idx="3664">
                  <c:v>0</c:v>
                </c:pt>
                <c:pt idx="3665">
                  <c:v>0</c:v>
                </c:pt>
                <c:pt idx="3666">
                  <c:v>0</c:v>
                </c:pt>
                <c:pt idx="3667">
                  <c:v>0</c:v>
                </c:pt>
                <c:pt idx="3668">
                  <c:v>0</c:v>
                </c:pt>
                <c:pt idx="3669">
                  <c:v>0</c:v>
                </c:pt>
                <c:pt idx="3670">
                  <c:v>0</c:v>
                </c:pt>
                <c:pt idx="3671">
                  <c:v>0</c:v>
                </c:pt>
                <c:pt idx="3672">
                  <c:v>0</c:v>
                </c:pt>
                <c:pt idx="3673">
                  <c:v>0</c:v>
                </c:pt>
                <c:pt idx="3674">
                  <c:v>0</c:v>
                </c:pt>
                <c:pt idx="3675">
                  <c:v>0</c:v>
                </c:pt>
                <c:pt idx="3676">
                  <c:v>0</c:v>
                </c:pt>
                <c:pt idx="3677">
                  <c:v>0</c:v>
                </c:pt>
                <c:pt idx="3678">
                  <c:v>0</c:v>
                </c:pt>
                <c:pt idx="3679">
                  <c:v>0</c:v>
                </c:pt>
                <c:pt idx="3680">
                  <c:v>0</c:v>
                </c:pt>
                <c:pt idx="3681">
                  <c:v>0</c:v>
                </c:pt>
                <c:pt idx="3682">
                  <c:v>-8.4033613445377799E-4</c:v>
                </c:pt>
                <c:pt idx="3683">
                  <c:v>-8.4033613445377799E-4</c:v>
                </c:pt>
                <c:pt idx="3684">
                  <c:v>-8.4033613445377799E-4</c:v>
                </c:pt>
                <c:pt idx="3685">
                  <c:v>-8.4033613445377799E-4</c:v>
                </c:pt>
                <c:pt idx="3686">
                  <c:v>-8.4033613445377799E-4</c:v>
                </c:pt>
                <c:pt idx="3687">
                  <c:v>-8.4033613445377799E-4</c:v>
                </c:pt>
                <c:pt idx="3688">
                  <c:v>-8.4033613445377799E-4</c:v>
                </c:pt>
                <c:pt idx="3689">
                  <c:v>-8.4033613445377799E-4</c:v>
                </c:pt>
                <c:pt idx="3690">
                  <c:v>-8.4033613445377799E-4</c:v>
                </c:pt>
                <c:pt idx="3691">
                  <c:v>-8.4033613445377799E-4</c:v>
                </c:pt>
                <c:pt idx="3692">
                  <c:v>-8.4033613445377799E-4</c:v>
                </c:pt>
                <c:pt idx="3693">
                  <c:v>-8.4033613445377799E-4</c:v>
                </c:pt>
                <c:pt idx="3694">
                  <c:v>-8.4033613445377799E-4</c:v>
                </c:pt>
                <c:pt idx="3695">
                  <c:v>-8.4033613445377799E-4</c:v>
                </c:pt>
                <c:pt idx="3696">
                  <c:v>-8.4033613445377799E-4</c:v>
                </c:pt>
                <c:pt idx="3697">
                  <c:v>-8.4033613445377799E-4</c:v>
                </c:pt>
                <c:pt idx="3698">
                  <c:v>-8.4033613445377799E-4</c:v>
                </c:pt>
                <c:pt idx="3699">
                  <c:v>-8.4033613445377799E-4</c:v>
                </c:pt>
                <c:pt idx="3700">
                  <c:v>0</c:v>
                </c:pt>
                <c:pt idx="3701">
                  <c:v>8.4033613445377799E-4</c:v>
                </c:pt>
                <c:pt idx="3702">
                  <c:v>0</c:v>
                </c:pt>
                <c:pt idx="3703">
                  <c:v>0</c:v>
                </c:pt>
                <c:pt idx="3704">
                  <c:v>0</c:v>
                </c:pt>
                <c:pt idx="3705">
                  <c:v>-8.4033613445377799E-4</c:v>
                </c:pt>
                <c:pt idx="3706">
                  <c:v>-8.4033613445377799E-4</c:v>
                </c:pt>
                <c:pt idx="3707">
                  <c:v>-8.4033613445377799E-4</c:v>
                </c:pt>
                <c:pt idx="3708">
                  <c:v>-8.4033613445377799E-4</c:v>
                </c:pt>
                <c:pt idx="3709">
                  <c:v>-8.4033613445377799E-4</c:v>
                </c:pt>
                <c:pt idx="3710">
                  <c:v>0</c:v>
                </c:pt>
                <c:pt idx="3711">
                  <c:v>0</c:v>
                </c:pt>
                <c:pt idx="3712">
                  <c:v>0</c:v>
                </c:pt>
                <c:pt idx="3713">
                  <c:v>-8.4033613445380596E-4</c:v>
                </c:pt>
                <c:pt idx="3714">
                  <c:v>-8.4033613445380596E-4</c:v>
                </c:pt>
                <c:pt idx="3715">
                  <c:v>0</c:v>
                </c:pt>
                <c:pt idx="3716">
                  <c:v>0</c:v>
                </c:pt>
                <c:pt idx="3717">
                  <c:v>8.4033613445377799E-4</c:v>
                </c:pt>
                <c:pt idx="3718">
                  <c:v>8.4033613445377799E-4</c:v>
                </c:pt>
                <c:pt idx="3719">
                  <c:v>8.4033613445377799E-4</c:v>
                </c:pt>
                <c:pt idx="3720">
                  <c:v>8.4033613445377799E-4</c:v>
                </c:pt>
                <c:pt idx="3721">
                  <c:v>8.4033613445377799E-4</c:v>
                </c:pt>
                <c:pt idx="3722">
                  <c:v>8.4033613445377799E-4</c:v>
                </c:pt>
                <c:pt idx="3723">
                  <c:v>8.4033613445377799E-4</c:v>
                </c:pt>
                <c:pt idx="3724">
                  <c:v>8.4033613445377799E-4</c:v>
                </c:pt>
                <c:pt idx="3725">
                  <c:v>8.4033613445377799E-4</c:v>
                </c:pt>
                <c:pt idx="3726">
                  <c:v>8.4033613445377799E-4</c:v>
                </c:pt>
                <c:pt idx="3727">
                  <c:v>1.6806722689075499E-3</c:v>
                </c:pt>
                <c:pt idx="3728">
                  <c:v>1.6806722689075499E-3</c:v>
                </c:pt>
                <c:pt idx="3729">
                  <c:v>1.6806722689075499E-3</c:v>
                </c:pt>
                <c:pt idx="3730">
                  <c:v>1.6806722689075499E-3</c:v>
                </c:pt>
                <c:pt idx="3731">
                  <c:v>1.6806722689075499E-3</c:v>
                </c:pt>
                <c:pt idx="3732">
                  <c:v>1.6806722689075499E-3</c:v>
                </c:pt>
                <c:pt idx="3733">
                  <c:v>1.6806722689075499E-3</c:v>
                </c:pt>
                <c:pt idx="3734">
                  <c:v>1.6806722689075499E-3</c:v>
                </c:pt>
                <c:pt idx="3735">
                  <c:v>8.4033613445377799E-4</c:v>
                </c:pt>
                <c:pt idx="3736">
                  <c:v>8.4033613445377799E-4</c:v>
                </c:pt>
                <c:pt idx="3737">
                  <c:v>8.4033613445377799E-4</c:v>
                </c:pt>
                <c:pt idx="3738">
                  <c:v>8.4033613445377799E-4</c:v>
                </c:pt>
                <c:pt idx="3739">
                  <c:v>8.4033613445377799E-4</c:v>
                </c:pt>
                <c:pt idx="3740">
                  <c:v>8.4033613445377799E-4</c:v>
                </c:pt>
                <c:pt idx="3741">
                  <c:v>8.4033613445377799E-4</c:v>
                </c:pt>
                <c:pt idx="3742">
                  <c:v>8.4033613445377799E-4</c:v>
                </c:pt>
                <c:pt idx="3743">
                  <c:v>8.4033613445377799E-4</c:v>
                </c:pt>
                <c:pt idx="3744">
                  <c:v>8.4033613445377799E-4</c:v>
                </c:pt>
                <c:pt idx="3745">
                  <c:v>8.4033613445377799E-4</c:v>
                </c:pt>
                <c:pt idx="3746">
                  <c:v>8.4033613445377799E-4</c:v>
                </c:pt>
                <c:pt idx="3747">
                  <c:v>8.4033613445377799E-4</c:v>
                </c:pt>
                <c:pt idx="3748">
                  <c:v>8.4033613445377799E-4</c:v>
                </c:pt>
                <c:pt idx="3749">
                  <c:v>8.4033613445377799E-4</c:v>
                </c:pt>
                <c:pt idx="3750">
                  <c:v>8.4033613445377799E-4</c:v>
                </c:pt>
                <c:pt idx="3751">
                  <c:v>8.4033613445377799E-4</c:v>
                </c:pt>
                <c:pt idx="3752">
                  <c:v>8.4033613445377799E-4</c:v>
                </c:pt>
                <c:pt idx="3753">
                  <c:v>1.6806722689075499E-3</c:v>
                </c:pt>
                <c:pt idx="3754">
                  <c:v>1.6806722689075499E-3</c:v>
                </c:pt>
                <c:pt idx="3755">
                  <c:v>1.6806722689075499E-3</c:v>
                </c:pt>
                <c:pt idx="3756">
                  <c:v>1.6806722689075499E-3</c:v>
                </c:pt>
                <c:pt idx="3757">
                  <c:v>1.6806722689075499E-3</c:v>
                </c:pt>
                <c:pt idx="3758">
                  <c:v>1.6806722689075499E-3</c:v>
                </c:pt>
                <c:pt idx="3759">
                  <c:v>8.4033613445377799E-4</c:v>
                </c:pt>
                <c:pt idx="3760">
                  <c:v>0</c:v>
                </c:pt>
                <c:pt idx="3761">
                  <c:v>0</c:v>
                </c:pt>
                <c:pt idx="3762">
                  <c:v>0</c:v>
                </c:pt>
                <c:pt idx="3763">
                  <c:v>0</c:v>
                </c:pt>
                <c:pt idx="3764">
                  <c:v>0</c:v>
                </c:pt>
                <c:pt idx="3765">
                  <c:v>0</c:v>
                </c:pt>
                <c:pt idx="3766">
                  <c:v>0</c:v>
                </c:pt>
                <c:pt idx="3767">
                  <c:v>0</c:v>
                </c:pt>
                <c:pt idx="3768">
                  <c:v>0</c:v>
                </c:pt>
                <c:pt idx="3769">
                  <c:v>0</c:v>
                </c:pt>
                <c:pt idx="3770">
                  <c:v>0</c:v>
                </c:pt>
                <c:pt idx="3771">
                  <c:v>0</c:v>
                </c:pt>
                <c:pt idx="3772">
                  <c:v>0</c:v>
                </c:pt>
                <c:pt idx="3773">
                  <c:v>0</c:v>
                </c:pt>
                <c:pt idx="3774">
                  <c:v>0</c:v>
                </c:pt>
                <c:pt idx="3775">
                  <c:v>0</c:v>
                </c:pt>
                <c:pt idx="3776">
                  <c:v>0</c:v>
                </c:pt>
                <c:pt idx="3777">
                  <c:v>0</c:v>
                </c:pt>
                <c:pt idx="3778">
                  <c:v>0</c:v>
                </c:pt>
                <c:pt idx="3779">
                  <c:v>0</c:v>
                </c:pt>
                <c:pt idx="3780">
                  <c:v>8.4033613445377799E-4</c:v>
                </c:pt>
                <c:pt idx="3781">
                  <c:v>8.4033613445377799E-4</c:v>
                </c:pt>
                <c:pt idx="3782">
                  <c:v>8.4033613445377799E-4</c:v>
                </c:pt>
                <c:pt idx="3783">
                  <c:v>8.4033613445377799E-4</c:v>
                </c:pt>
                <c:pt idx="3784">
                  <c:v>8.4033613445377799E-4</c:v>
                </c:pt>
                <c:pt idx="3785">
                  <c:v>8.4033613445377799E-4</c:v>
                </c:pt>
                <c:pt idx="3786">
                  <c:v>8.4033613445377799E-4</c:v>
                </c:pt>
                <c:pt idx="3787">
                  <c:v>8.4033613445377799E-4</c:v>
                </c:pt>
                <c:pt idx="3788">
                  <c:v>8.4033613445377799E-4</c:v>
                </c:pt>
                <c:pt idx="3789">
                  <c:v>8.4033613445377799E-4</c:v>
                </c:pt>
                <c:pt idx="3790">
                  <c:v>8.4033613445377799E-4</c:v>
                </c:pt>
                <c:pt idx="3791">
                  <c:v>8.4033613445377799E-4</c:v>
                </c:pt>
                <c:pt idx="3792">
                  <c:v>8.4033613445377799E-4</c:v>
                </c:pt>
                <c:pt idx="3793">
                  <c:v>8.4033613445377799E-4</c:v>
                </c:pt>
                <c:pt idx="3794">
                  <c:v>8.4033613445377799E-4</c:v>
                </c:pt>
                <c:pt idx="3795">
                  <c:v>8.4033613445377799E-4</c:v>
                </c:pt>
                <c:pt idx="3796">
                  <c:v>8.4033613445377799E-4</c:v>
                </c:pt>
                <c:pt idx="3797">
                  <c:v>8.4033613445377799E-4</c:v>
                </c:pt>
                <c:pt idx="3798">
                  <c:v>8.4033613445377799E-4</c:v>
                </c:pt>
                <c:pt idx="3799">
                  <c:v>8.4033613445377799E-4</c:v>
                </c:pt>
                <c:pt idx="3800">
                  <c:v>8.4033613445377799E-4</c:v>
                </c:pt>
                <c:pt idx="3801">
                  <c:v>8.4033613445377799E-4</c:v>
                </c:pt>
                <c:pt idx="3802">
                  <c:v>1.6806722689075499E-3</c:v>
                </c:pt>
                <c:pt idx="3803">
                  <c:v>1.6806722689075499E-3</c:v>
                </c:pt>
                <c:pt idx="3804">
                  <c:v>1.6806722689075499E-3</c:v>
                </c:pt>
                <c:pt idx="3805">
                  <c:v>1.6806722689075499E-3</c:v>
                </c:pt>
                <c:pt idx="3806">
                  <c:v>1.6806722689075499E-3</c:v>
                </c:pt>
                <c:pt idx="3807">
                  <c:v>1.6806722689075499E-3</c:v>
                </c:pt>
                <c:pt idx="3808">
                  <c:v>1.6806722689075499E-3</c:v>
                </c:pt>
                <c:pt idx="3809">
                  <c:v>1.6806722689075499E-3</c:v>
                </c:pt>
                <c:pt idx="3810">
                  <c:v>1.6806722689075499E-3</c:v>
                </c:pt>
                <c:pt idx="3811">
                  <c:v>1.6806722689075499E-3</c:v>
                </c:pt>
                <c:pt idx="3812">
                  <c:v>1.6806722689075499E-3</c:v>
                </c:pt>
                <c:pt idx="3813">
                  <c:v>1.6806722689075499E-3</c:v>
                </c:pt>
                <c:pt idx="3814">
                  <c:v>1.6806722689075499E-3</c:v>
                </c:pt>
                <c:pt idx="3815">
                  <c:v>8.4033613445377799E-4</c:v>
                </c:pt>
                <c:pt idx="3816">
                  <c:v>8.4033613445377799E-4</c:v>
                </c:pt>
                <c:pt idx="3817">
                  <c:v>1.6806722689075499E-3</c:v>
                </c:pt>
                <c:pt idx="3818">
                  <c:v>1.6806722689075499E-3</c:v>
                </c:pt>
                <c:pt idx="3819">
                  <c:v>1.6806722689075499E-3</c:v>
                </c:pt>
                <c:pt idx="3820">
                  <c:v>1.6806722689075499E-3</c:v>
                </c:pt>
                <c:pt idx="3821">
                  <c:v>1.6806722689075499E-3</c:v>
                </c:pt>
                <c:pt idx="3822">
                  <c:v>1.6806722689075499E-3</c:v>
                </c:pt>
                <c:pt idx="3823">
                  <c:v>1.6806722689075499E-3</c:v>
                </c:pt>
                <c:pt idx="3824">
                  <c:v>1.6806722689075499E-3</c:v>
                </c:pt>
                <c:pt idx="3825">
                  <c:v>1.6806722689075499E-3</c:v>
                </c:pt>
                <c:pt idx="3826">
                  <c:v>1.6806722689075499E-3</c:v>
                </c:pt>
                <c:pt idx="3827">
                  <c:v>1.6806722689075499E-3</c:v>
                </c:pt>
                <c:pt idx="3828">
                  <c:v>1.6806722689075499E-3</c:v>
                </c:pt>
                <c:pt idx="3829">
                  <c:v>1.6806722689075499E-3</c:v>
                </c:pt>
                <c:pt idx="3830">
                  <c:v>1.6806722689075499E-3</c:v>
                </c:pt>
                <c:pt idx="3831">
                  <c:v>1.6806722689075499E-3</c:v>
                </c:pt>
                <c:pt idx="3832">
                  <c:v>1.6806722689075499E-3</c:v>
                </c:pt>
                <c:pt idx="3833">
                  <c:v>1.6806722689075499E-3</c:v>
                </c:pt>
                <c:pt idx="3834">
                  <c:v>1.6806722689075499E-3</c:v>
                </c:pt>
                <c:pt idx="3835">
                  <c:v>2.5210084033613299E-3</c:v>
                </c:pt>
                <c:pt idx="3836">
                  <c:v>2.5210084033613299E-3</c:v>
                </c:pt>
                <c:pt idx="3837">
                  <c:v>2.5210084033613299E-3</c:v>
                </c:pt>
                <c:pt idx="3838">
                  <c:v>2.5210084033613299E-3</c:v>
                </c:pt>
                <c:pt idx="3839">
                  <c:v>2.5210084033613299E-3</c:v>
                </c:pt>
                <c:pt idx="3840">
                  <c:v>2.5210084033613299E-3</c:v>
                </c:pt>
                <c:pt idx="3841">
                  <c:v>2.5210084033613299E-3</c:v>
                </c:pt>
                <c:pt idx="3842">
                  <c:v>2.5210084033613299E-3</c:v>
                </c:pt>
                <c:pt idx="3843">
                  <c:v>2.5210084033613299E-3</c:v>
                </c:pt>
                <c:pt idx="3844">
                  <c:v>3.3613445378151102E-3</c:v>
                </c:pt>
                <c:pt idx="3845">
                  <c:v>3.3613445378151102E-3</c:v>
                </c:pt>
                <c:pt idx="3846">
                  <c:v>3.3613445378151102E-3</c:v>
                </c:pt>
                <c:pt idx="3847">
                  <c:v>3.3613445378151102E-3</c:v>
                </c:pt>
                <c:pt idx="3848">
                  <c:v>3.3613445378151102E-3</c:v>
                </c:pt>
                <c:pt idx="3849">
                  <c:v>2.5210084033613299E-3</c:v>
                </c:pt>
                <c:pt idx="3850">
                  <c:v>2.5210084033613299E-3</c:v>
                </c:pt>
                <c:pt idx="3851">
                  <c:v>2.5210084033613299E-3</c:v>
                </c:pt>
                <c:pt idx="3852">
                  <c:v>1.6806722689075499E-3</c:v>
                </c:pt>
                <c:pt idx="3853">
                  <c:v>1.6806722689075499E-3</c:v>
                </c:pt>
                <c:pt idx="3854">
                  <c:v>1.6806722689075499E-3</c:v>
                </c:pt>
                <c:pt idx="3855">
                  <c:v>1.6806722689075499E-3</c:v>
                </c:pt>
                <c:pt idx="3856">
                  <c:v>1.6806722689075499E-3</c:v>
                </c:pt>
                <c:pt idx="3857">
                  <c:v>1.6806722689075499E-3</c:v>
                </c:pt>
                <c:pt idx="3858">
                  <c:v>1.6806722689075499E-3</c:v>
                </c:pt>
                <c:pt idx="3859">
                  <c:v>8.4033613445377799E-4</c:v>
                </c:pt>
                <c:pt idx="3860">
                  <c:v>8.4033613445377799E-4</c:v>
                </c:pt>
                <c:pt idx="3861">
                  <c:v>8.4033613445377799E-4</c:v>
                </c:pt>
                <c:pt idx="3862">
                  <c:v>8.4033613445377799E-4</c:v>
                </c:pt>
                <c:pt idx="3863">
                  <c:v>8.4033613445377799E-4</c:v>
                </c:pt>
                <c:pt idx="3864">
                  <c:v>8.4033613445377799E-4</c:v>
                </c:pt>
                <c:pt idx="3865">
                  <c:v>8.4033613445377799E-4</c:v>
                </c:pt>
                <c:pt idx="3866">
                  <c:v>8.4033613445377799E-4</c:v>
                </c:pt>
                <c:pt idx="3867">
                  <c:v>8.4033613445377799E-4</c:v>
                </c:pt>
                <c:pt idx="3868">
                  <c:v>8.4033613445377799E-4</c:v>
                </c:pt>
                <c:pt idx="3869">
                  <c:v>8.4033613445377799E-4</c:v>
                </c:pt>
                <c:pt idx="3870">
                  <c:v>8.4033613445377799E-4</c:v>
                </c:pt>
                <c:pt idx="3871">
                  <c:v>8.4033613445377799E-4</c:v>
                </c:pt>
                <c:pt idx="3872">
                  <c:v>8.4033613445377799E-4</c:v>
                </c:pt>
                <c:pt idx="3873">
                  <c:v>1.68067226890758E-3</c:v>
                </c:pt>
                <c:pt idx="3874">
                  <c:v>1.68067226890758E-3</c:v>
                </c:pt>
                <c:pt idx="3875">
                  <c:v>1.68067226890758E-3</c:v>
                </c:pt>
                <c:pt idx="3876">
                  <c:v>1.68067226890758E-3</c:v>
                </c:pt>
                <c:pt idx="3877">
                  <c:v>1.68067226890758E-3</c:v>
                </c:pt>
                <c:pt idx="3878">
                  <c:v>1.68067226890758E-3</c:v>
                </c:pt>
                <c:pt idx="3879">
                  <c:v>1.68067226890758E-3</c:v>
                </c:pt>
                <c:pt idx="3880">
                  <c:v>8.4033613445380596E-4</c:v>
                </c:pt>
                <c:pt idx="3881">
                  <c:v>8.4033613445380596E-4</c:v>
                </c:pt>
                <c:pt idx="3882">
                  <c:v>8.4033613445380596E-4</c:v>
                </c:pt>
                <c:pt idx="3883">
                  <c:v>8.4033613445380596E-4</c:v>
                </c:pt>
                <c:pt idx="3884">
                  <c:v>8.4033613445380596E-4</c:v>
                </c:pt>
                <c:pt idx="3885">
                  <c:v>8.4033613445380596E-4</c:v>
                </c:pt>
                <c:pt idx="3886">
                  <c:v>8.4033613445380596E-4</c:v>
                </c:pt>
                <c:pt idx="3887">
                  <c:v>8.4033613445380596E-4</c:v>
                </c:pt>
                <c:pt idx="3888">
                  <c:v>8.4033613445380596E-4</c:v>
                </c:pt>
                <c:pt idx="3889">
                  <c:v>8.4033613445380596E-4</c:v>
                </c:pt>
                <c:pt idx="3890">
                  <c:v>8.4033613445380596E-4</c:v>
                </c:pt>
                <c:pt idx="3891">
                  <c:v>8.4033613445380596E-4</c:v>
                </c:pt>
                <c:pt idx="3892">
                  <c:v>8.4033613445380596E-4</c:v>
                </c:pt>
                <c:pt idx="3893">
                  <c:v>0</c:v>
                </c:pt>
                <c:pt idx="3894">
                  <c:v>0</c:v>
                </c:pt>
                <c:pt idx="3895">
                  <c:v>0</c:v>
                </c:pt>
                <c:pt idx="3896">
                  <c:v>0</c:v>
                </c:pt>
                <c:pt idx="3897">
                  <c:v>0</c:v>
                </c:pt>
                <c:pt idx="3898">
                  <c:v>0</c:v>
                </c:pt>
                <c:pt idx="3899">
                  <c:v>0</c:v>
                </c:pt>
                <c:pt idx="3900">
                  <c:v>0</c:v>
                </c:pt>
                <c:pt idx="3901">
                  <c:v>0</c:v>
                </c:pt>
                <c:pt idx="3902">
                  <c:v>8.4033613445377799E-4</c:v>
                </c:pt>
                <c:pt idx="3903">
                  <c:v>8.4033613445377799E-4</c:v>
                </c:pt>
                <c:pt idx="3904">
                  <c:v>8.4033613445377799E-4</c:v>
                </c:pt>
                <c:pt idx="3905">
                  <c:v>8.4033613445377799E-4</c:v>
                </c:pt>
                <c:pt idx="3906">
                  <c:v>8.4033613445377799E-4</c:v>
                </c:pt>
                <c:pt idx="3907">
                  <c:v>8.4033613445377799E-4</c:v>
                </c:pt>
                <c:pt idx="3908">
                  <c:v>8.4033613445377799E-4</c:v>
                </c:pt>
                <c:pt idx="3909">
                  <c:v>1.6806722689075499E-3</c:v>
                </c:pt>
                <c:pt idx="3910">
                  <c:v>1.6806722689075499E-3</c:v>
                </c:pt>
                <c:pt idx="3911">
                  <c:v>1.6806722689075499E-3</c:v>
                </c:pt>
                <c:pt idx="3912">
                  <c:v>1.6806722689075499E-3</c:v>
                </c:pt>
                <c:pt idx="3913">
                  <c:v>1.6806722689075499E-3</c:v>
                </c:pt>
                <c:pt idx="3914">
                  <c:v>1.6806722689075499E-3</c:v>
                </c:pt>
                <c:pt idx="3915">
                  <c:v>1.6806722689075499E-3</c:v>
                </c:pt>
                <c:pt idx="3916">
                  <c:v>1.6806722689075499E-3</c:v>
                </c:pt>
                <c:pt idx="3917">
                  <c:v>1.6806722689075499E-3</c:v>
                </c:pt>
                <c:pt idx="3918">
                  <c:v>1.6806722689075499E-3</c:v>
                </c:pt>
                <c:pt idx="3919">
                  <c:v>1.6806722689075499E-3</c:v>
                </c:pt>
                <c:pt idx="3920">
                  <c:v>1.6806722689075499E-3</c:v>
                </c:pt>
                <c:pt idx="3921">
                  <c:v>1.6806722689075499E-3</c:v>
                </c:pt>
                <c:pt idx="3922">
                  <c:v>8.4033613445377799E-4</c:v>
                </c:pt>
                <c:pt idx="3923">
                  <c:v>8.4033613445377799E-4</c:v>
                </c:pt>
                <c:pt idx="3924">
                  <c:v>8.4033613445377799E-4</c:v>
                </c:pt>
                <c:pt idx="3925">
                  <c:v>8.4033613445377799E-4</c:v>
                </c:pt>
                <c:pt idx="3926">
                  <c:v>8.4033613445377799E-4</c:v>
                </c:pt>
                <c:pt idx="3927">
                  <c:v>8.4033613445377799E-4</c:v>
                </c:pt>
                <c:pt idx="3928">
                  <c:v>8.4033613445377799E-4</c:v>
                </c:pt>
                <c:pt idx="3929">
                  <c:v>0</c:v>
                </c:pt>
                <c:pt idx="3930">
                  <c:v>0</c:v>
                </c:pt>
                <c:pt idx="3931">
                  <c:v>0</c:v>
                </c:pt>
                <c:pt idx="3932">
                  <c:v>0</c:v>
                </c:pt>
                <c:pt idx="3933">
                  <c:v>0</c:v>
                </c:pt>
                <c:pt idx="3934">
                  <c:v>0</c:v>
                </c:pt>
                <c:pt idx="3935">
                  <c:v>0</c:v>
                </c:pt>
                <c:pt idx="3936">
                  <c:v>0</c:v>
                </c:pt>
                <c:pt idx="3937">
                  <c:v>0</c:v>
                </c:pt>
                <c:pt idx="3938">
                  <c:v>0</c:v>
                </c:pt>
                <c:pt idx="3939">
                  <c:v>0</c:v>
                </c:pt>
                <c:pt idx="3940">
                  <c:v>0</c:v>
                </c:pt>
                <c:pt idx="3941">
                  <c:v>0</c:v>
                </c:pt>
                <c:pt idx="3942">
                  <c:v>0</c:v>
                </c:pt>
                <c:pt idx="3943">
                  <c:v>0</c:v>
                </c:pt>
                <c:pt idx="3944">
                  <c:v>0</c:v>
                </c:pt>
                <c:pt idx="3945">
                  <c:v>0</c:v>
                </c:pt>
                <c:pt idx="3946">
                  <c:v>0</c:v>
                </c:pt>
                <c:pt idx="3947">
                  <c:v>-8.4033613445377799E-4</c:v>
                </c:pt>
                <c:pt idx="3948">
                  <c:v>-8.4033613445377799E-4</c:v>
                </c:pt>
                <c:pt idx="3949">
                  <c:v>-8.4033613445377799E-4</c:v>
                </c:pt>
                <c:pt idx="3950">
                  <c:v>-8.4033613445377799E-4</c:v>
                </c:pt>
                <c:pt idx="3951">
                  <c:v>-8.4033613445377799E-4</c:v>
                </c:pt>
                <c:pt idx="3952">
                  <c:v>-8.4033613445377799E-4</c:v>
                </c:pt>
                <c:pt idx="3953">
                  <c:v>-8.4033613445377799E-4</c:v>
                </c:pt>
                <c:pt idx="3954">
                  <c:v>-8.4033613445377799E-4</c:v>
                </c:pt>
                <c:pt idx="3955">
                  <c:v>-8.4033613445377799E-4</c:v>
                </c:pt>
                <c:pt idx="3956">
                  <c:v>-8.4033613445377799E-4</c:v>
                </c:pt>
                <c:pt idx="3957">
                  <c:v>-8.4033613445377799E-4</c:v>
                </c:pt>
                <c:pt idx="3958">
                  <c:v>-8.4033613445377799E-4</c:v>
                </c:pt>
                <c:pt idx="3959">
                  <c:v>-8.4033613445377799E-4</c:v>
                </c:pt>
                <c:pt idx="3960">
                  <c:v>0</c:v>
                </c:pt>
                <c:pt idx="3961">
                  <c:v>0</c:v>
                </c:pt>
                <c:pt idx="3962">
                  <c:v>0</c:v>
                </c:pt>
                <c:pt idx="3963">
                  <c:v>0</c:v>
                </c:pt>
                <c:pt idx="3964">
                  <c:v>0</c:v>
                </c:pt>
                <c:pt idx="3965">
                  <c:v>0</c:v>
                </c:pt>
                <c:pt idx="3966">
                  <c:v>0</c:v>
                </c:pt>
                <c:pt idx="3967">
                  <c:v>0</c:v>
                </c:pt>
                <c:pt idx="3968">
                  <c:v>0</c:v>
                </c:pt>
                <c:pt idx="3969">
                  <c:v>0</c:v>
                </c:pt>
                <c:pt idx="3970">
                  <c:v>0</c:v>
                </c:pt>
                <c:pt idx="3971">
                  <c:v>0</c:v>
                </c:pt>
                <c:pt idx="3972">
                  <c:v>0</c:v>
                </c:pt>
                <c:pt idx="3973">
                  <c:v>0</c:v>
                </c:pt>
                <c:pt idx="3974">
                  <c:v>0</c:v>
                </c:pt>
                <c:pt idx="3975">
                  <c:v>0</c:v>
                </c:pt>
                <c:pt idx="3976">
                  <c:v>0</c:v>
                </c:pt>
                <c:pt idx="3977">
                  <c:v>0</c:v>
                </c:pt>
                <c:pt idx="3978">
                  <c:v>0</c:v>
                </c:pt>
                <c:pt idx="3979">
                  <c:v>0</c:v>
                </c:pt>
                <c:pt idx="3980">
                  <c:v>0</c:v>
                </c:pt>
                <c:pt idx="3981">
                  <c:v>0</c:v>
                </c:pt>
                <c:pt idx="3982">
                  <c:v>0</c:v>
                </c:pt>
                <c:pt idx="3983">
                  <c:v>0</c:v>
                </c:pt>
                <c:pt idx="3984">
                  <c:v>8.4033613445377799E-4</c:v>
                </c:pt>
                <c:pt idx="3985">
                  <c:v>0</c:v>
                </c:pt>
                <c:pt idx="3986">
                  <c:v>0</c:v>
                </c:pt>
                <c:pt idx="3987">
                  <c:v>0</c:v>
                </c:pt>
                <c:pt idx="3988">
                  <c:v>0</c:v>
                </c:pt>
                <c:pt idx="3989">
                  <c:v>0</c:v>
                </c:pt>
                <c:pt idx="3990">
                  <c:v>0</c:v>
                </c:pt>
                <c:pt idx="3991">
                  <c:v>0</c:v>
                </c:pt>
                <c:pt idx="3992">
                  <c:v>0</c:v>
                </c:pt>
                <c:pt idx="3993">
                  <c:v>0</c:v>
                </c:pt>
                <c:pt idx="3994">
                  <c:v>0</c:v>
                </c:pt>
                <c:pt idx="3995">
                  <c:v>0</c:v>
                </c:pt>
                <c:pt idx="3996">
                  <c:v>0</c:v>
                </c:pt>
                <c:pt idx="3997">
                  <c:v>0</c:v>
                </c:pt>
                <c:pt idx="3998">
                  <c:v>0</c:v>
                </c:pt>
                <c:pt idx="3999">
                  <c:v>0</c:v>
                </c:pt>
                <c:pt idx="4000">
                  <c:v>0</c:v>
                </c:pt>
                <c:pt idx="4001">
                  <c:v>8.4033613445377799E-4</c:v>
                </c:pt>
                <c:pt idx="4002">
                  <c:v>8.4033613445377799E-4</c:v>
                </c:pt>
                <c:pt idx="4003">
                  <c:v>8.4033613445377799E-4</c:v>
                </c:pt>
                <c:pt idx="4004">
                  <c:v>8.4033613445377799E-4</c:v>
                </c:pt>
                <c:pt idx="4005">
                  <c:v>8.4033613445377799E-4</c:v>
                </c:pt>
                <c:pt idx="4006">
                  <c:v>8.4033613445377799E-4</c:v>
                </c:pt>
                <c:pt idx="4007">
                  <c:v>8.4033613445377799E-4</c:v>
                </c:pt>
                <c:pt idx="4008">
                  <c:v>8.4033613445377799E-4</c:v>
                </c:pt>
                <c:pt idx="4009">
                  <c:v>8.4033613445377799E-4</c:v>
                </c:pt>
                <c:pt idx="4010">
                  <c:v>8.4033613445377799E-4</c:v>
                </c:pt>
                <c:pt idx="4011">
                  <c:v>8.4033613445377799E-4</c:v>
                </c:pt>
                <c:pt idx="4012">
                  <c:v>8.4033613445377799E-4</c:v>
                </c:pt>
                <c:pt idx="4013">
                  <c:v>8.4033613445377799E-4</c:v>
                </c:pt>
                <c:pt idx="4014">
                  <c:v>8.4033613445377799E-4</c:v>
                </c:pt>
                <c:pt idx="4015">
                  <c:v>8.4033613445377799E-4</c:v>
                </c:pt>
                <c:pt idx="4016">
                  <c:v>8.4033613445377799E-4</c:v>
                </c:pt>
                <c:pt idx="4017">
                  <c:v>8.4033613445377799E-4</c:v>
                </c:pt>
                <c:pt idx="4018">
                  <c:v>8.4033613445377799E-4</c:v>
                </c:pt>
                <c:pt idx="4019">
                  <c:v>8.4033613445377799E-4</c:v>
                </c:pt>
                <c:pt idx="4020">
                  <c:v>1.6806722689075499E-3</c:v>
                </c:pt>
                <c:pt idx="4021">
                  <c:v>8.4033613445377799E-4</c:v>
                </c:pt>
                <c:pt idx="4022">
                  <c:v>8.4033613445377799E-4</c:v>
                </c:pt>
                <c:pt idx="4023">
                  <c:v>8.4033613445377799E-4</c:v>
                </c:pt>
                <c:pt idx="4024">
                  <c:v>8.4033613445377799E-4</c:v>
                </c:pt>
                <c:pt idx="4025">
                  <c:v>0</c:v>
                </c:pt>
                <c:pt idx="4026">
                  <c:v>8.4033613445377799E-4</c:v>
                </c:pt>
                <c:pt idx="4027">
                  <c:v>8.4033613445377799E-4</c:v>
                </c:pt>
                <c:pt idx="4028">
                  <c:v>8.4033613445377799E-4</c:v>
                </c:pt>
                <c:pt idx="4029">
                  <c:v>8.4033613445377799E-4</c:v>
                </c:pt>
                <c:pt idx="4030">
                  <c:v>8.4033613445377799E-4</c:v>
                </c:pt>
                <c:pt idx="4031">
                  <c:v>8.4033613445377799E-4</c:v>
                </c:pt>
                <c:pt idx="4032">
                  <c:v>8.4033613445377799E-4</c:v>
                </c:pt>
                <c:pt idx="4033">
                  <c:v>8.4033613445377799E-4</c:v>
                </c:pt>
                <c:pt idx="4034">
                  <c:v>8.4033613445377799E-4</c:v>
                </c:pt>
                <c:pt idx="4035">
                  <c:v>8.4033613445377799E-4</c:v>
                </c:pt>
                <c:pt idx="4036">
                  <c:v>8.4033613445377799E-4</c:v>
                </c:pt>
                <c:pt idx="4037">
                  <c:v>8.4033613445377799E-4</c:v>
                </c:pt>
                <c:pt idx="4038">
                  <c:v>8.4033613445377799E-4</c:v>
                </c:pt>
                <c:pt idx="4039">
                  <c:v>8.4033613445377799E-4</c:v>
                </c:pt>
                <c:pt idx="4040">
                  <c:v>8.4033613445377799E-4</c:v>
                </c:pt>
                <c:pt idx="4041">
                  <c:v>8.4033613445377799E-4</c:v>
                </c:pt>
                <c:pt idx="4042">
                  <c:v>8.4033613445377799E-4</c:v>
                </c:pt>
                <c:pt idx="4043">
                  <c:v>8.4033613445377799E-4</c:v>
                </c:pt>
                <c:pt idx="4044">
                  <c:v>8.4033613445377799E-4</c:v>
                </c:pt>
                <c:pt idx="4045">
                  <c:v>8.4033613445377799E-4</c:v>
                </c:pt>
                <c:pt idx="4046">
                  <c:v>8.4033613445377799E-4</c:v>
                </c:pt>
                <c:pt idx="4047">
                  <c:v>8.4033613445377799E-4</c:v>
                </c:pt>
                <c:pt idx="4048">
                  <c:v>8.4033613445377799E-4</c:v>
                </c:pt>
                <c:pt idx="4049">
                  <c:v>8.4033613445377799E-4</c:v>
                </c:pt>
                <c:pt idx="4050">
                  <c:v>8.4033613445377799E-4</c:v>
                </c:pt>
                <c:pt idx="4051">
                  <c:v>8.4033613445377799E-4</c:v>
                </c:pt>
                <c:pt idx="4052">
                  <c:v>8.4033613445377799E-4</c:v>
                </c:pt>
                <c:pt idx="4053">
                  <c:v>8.4033613445377799E-4</c:v>
                </c:pt>
                <c:pt idx="4054">
                  <c:v>8.4033613445377799E-4</c:v>
                </c:pt>
                <c:pt idx="4055">
                  <c:v>8.4033613445377799E-4</c:v>
                </c:pt>
                <c:pt idx="4056">
                  <c:v>8.4033613445377799E-4</c:v>
                </c:pt>
                <c:pt idx="4057">
                  <c:v>8.4033613445377799E-4</c:v>
                </c:pt>
                <c:pt idx="4058">
                  <c:v>8.4033613445377799E-4</c:v>
                </c:pt>
                <c:pt idx="4059">
                  <c:v>8.4033613445377799E-4</c:v>
                </c:pt>
                <c:pt idx="4060">
                  <c:v>8.4033613445377799E-4</c:v>
                </c:pt>
                <c:pt idx="4061">
                  <c:v>8.4033613445377799E-4</c:v>
                </c:pt>
                <c:pt idx="4062">
                  <c:v>8.4033613445377799E-4</c:v>
                </c:pt>
                <c:pt idx="4063">
                  <c:v>8.4033613445377799E-4</c:v>
                </c:pt>
                <c:pt idx="4064">
                  <c:v>8.4033613445377799E-4</c:v>
                </c:pt>
                <c:pt idx="4065">
                  <c:v>8.4033613445377799E-4</c:v>
                </c:pt>
                <c:pt idx="4066">
                  <c:v>0</c:v>
                </c:pt>
                <c:pt idx="4067">
                  <c:v>0</c:v>
                </c:pt>
                <c:pt idx="4068">
                  <c:v>0</c:v>
                </c:pt>
                <c:pt idx="4069">
                  <c:v>0</c:v>
                </c:pt>
                <c:pt idx="4070">
                  <c:v>0</c:v>
                </c:pt>
                <c:pt idx="4071">
                  <c:v>0</c:v>
                </c:pt>
                <c:pt idx="4072">
                  <c:v>0</c:v>
                </c:pt>
                <c:pt idx="4073">
                  <c:v>0</c:v>
                </c:pt>
                <c:pt idx="4074">
                  <c:v>8.4033613445377799E-4</c:v>
                </c:pt>
                <c:pt idx="4075">
                  <c:v>8.4033613445377799E-4</c:v>
                </c:pt>
                <c:pt idx="4076">
                  <c:v>8.4033613445377799E-4</c:v>
                </c:pt>
                <c:pt idx="4077">
                  <c:v>8.4033613445377799E-4</c:v>
                </c:pt>
                <c:pt idx="4078">
                  <c:v>8.4033613445377799E-4</c:v>
                </c:pt>
                <c:pt idx="4079">
                  <c:v>8.4033613445377799E-4</c:v>
                </c:pt>
                <c:pt idx="4080">
                  <c:v>8.4033613445377799E-4</c:v>
                </c:pt>
                <c:pt idx="4081">
                  <c:v>8.4033613445377799E-4</c:v>
                </c:pt>
                <c:pt idx="4082">
                  <c:v>8.4033613445377799E-4</c:v>
                </c:pt>
                <c:pt idx="4083">
                  <c:v>8.4033613445377799E-4</c:v>
                </c:pt>
                <c:pt idx="4084">
                  <c:v>8.4033613445377799E-4</c:v>
                </c:pt>
                <c:pt idx="4085">
                  <c:v>8.4033613445377799E-4</c:v>
                </c:pt>
                <c:pt idx="4086">
                  <c:v>8.4033613445377799E-4</c:v>
                </c:pt>
                <c:pt idx="4087">
                  <c:v>8.4033613445377799E-4</c:v>
                </c:pt>
                <c:pt idx="4088">
                  <c:v>8.4033613445377799E-4</c:v>
                </c:pt>
                <c:pt idx="4089">
                  <c:v>8.4033613445377799E-4</c:v>
                </c:pt>
                <c:pt idx="4090">
                  <c:v>8.4033613445377799E-4</c:v>
                </c:pt>
                <c:pt idx="4091">
                  <c:v>8.4033613445377799E-4</c:v>
                </c:pt>
                <c:pt idx="4092">
                  <c:v>0</c:v>
                </c:pt>
                <c:pt idx="4093">
                  <c:v>0</c:v>
                </c:pt>
                <c:pt idx="4094">
                  <c:v>0</c:v>
                </c:pt>
                <c:pt idx="4095">
                  <c:v>0</c:v>
                </c:pt>
                <c:pt idx="4096">
                  <c:v>0</c:v>
                </c:pt>
                <c:pt idx="4097">
                  <c:v>0</c:v>
                </c:pt>
                <c:pt idx="4098">
                  <c:v>0</c:v>
                </c:pt>
                <c:pt idx="4099">
                  <c:v>0</c:v>
                </c:pt>
                <c:pt idx="4100">
                  <c:v>0</c:v>
                </c:pt>
                <c:pt idx="4101">
                  <c:v>0</c:v>
                </c:pt>
                <c:pt idx="4102">
                  <c:v>0</c:v>
                </c:pt>
                <c:pt idx="4103">
                  <c:v>-8.4033613445377799E-4</c:v>
                </c:pt>
                <c:pt idx="4104">
                  <c:v>-8.4033613445377799E-4</c:v>
                </c:pt>
                <c:pt idx="4105">
                  <c:v>-8.4033613445377799E-4</c:v>
                </c:pt>
                <c:pt idx="4106">
                  <c:v>-8.4033613445377799E-4</c:v>
                </c:pt>
                <c:pt idx="4107">
                  <c:v>-8.4033613445377799E-4</c:v>
                </c:pt>
                <c:pt idx="4108">
                  <c:v>-8.4033613445377799E-4</c:v>
                </c:pt>
                <c:pt idx="4109">
                  <c:v>-8.4033613445377799E-4</c:v>
                </c:pt>
                <c:pt idx="4110">
                  <c:v>-8.4033613445377799E-4</c:v>
                </c:pt>
                <c:pt idx="4111">
                  <c:v>-8.4033613445377799E-4</c:v>
                </c:pt>
                <c:pt idx="4112">
                  <c:v>-8.4033613445377799E-4</c:v>
                </c:pt>
                <c:pt idx="4113">
                  <c:v>-8.4033613445377799E-4</c:v>
                </c:pt>
                <c:pt idx="4114">
                  <c:v>-8.4033613445377799E-4</c:v>
                </c:pt>
                <c:pt idx="4115">
                  <c:v>-8.4033613445377799E-4</c:v>
                </c:pt>
                <c:pt idx="4116">
                  <c:v>-8.4033613445377799E-4</c:v>
                </c:pt>
                <c:pt idx="4117">
                  <c:v>-1.6806722689075499E-3</c:v>
                </c:pt>
                <c:pt idx="4118">
                  <c:v>-1.6806722689075499E-3</c:v>
                </c:pt>
                <c:pt idx="4119">
                  <c:v>-1.6806722689075499E-3</c:v>
                </c:pt>
                <c:pt idx="4120">
                  <c:v>-1.6806722689075499E-3</c:v>
                </c:pt>
                <c:pt idx="4121">
                  <c:v>-1.6806722689075499E-3</c:v>
                </c:pt>
                <c:pt idx="4122">
                  <c:v>-1.6806722689075499E-3</c:v>
                </c:pt>
                <c:pt idx="4123">
                  <c:v>-1.6806722689075499E-3</c:v>
                </c:pt>
                <c:pt idx="4124">
                  <c:v>-1.6806722689075499E-3</c:v>
                </c:pt>
                <c:pt idx="4125">
                  <c:v>-1.6806722689075499E-3</c:v>
                </c:pt>
                <c:pt idx="4126">
                  <c:v>-1.6806722689075499E-3</c:v>
                </c:pt>
                <c:pt idx="4127">
                  <c:v>-2.5210084033613299E-3</c:v>
                </c:pt>
                <c:pt idx="4128">
                  <c:v>-2.5210084033613299E-3</c:v>
                </c:pt>
                <c:pt idx="4129">
                  <c:v>-2.5210084033613299E-3</c:v>
                </c:pt>
                <c:pt idx="4130">
                  <c:v>-2.5210084033613299E-3</c:v>
                </c:pt>
                <c:pt idx="4131">
                  <c:v>-2.5210084033613299E-3</c:v>
                </c:pt>
                <c:pt idx="4132">
                  <c:v>-2.5210084033613299E-3</c:v>
                </c:pt>
                <c:pt idx="4133">
                  <c:v>-2.5210084033613299E-3</c:v>
                </c:pt>
                <c:pt idx="4134">
                  <c:v>-2.5210084033613299E-3</c:v>
                </c:pt>
                <c:pt idx="4135">
                  <c:v>-2.5210084033613299E-3</c:v>
                </c:pt>
                <c:pt idx="4136">
                  <c:v>-2.5210084033613299E-3</c:v>
                </c:pt>
                <c:pt idx="4137">
                  <c:v>-2.5210084033613299E-3</c:v>
                </c:pt>
                <c:pt idx="4138">
                  <c:v>-2.5210084033613299E-3</c:v>
                </c:pt>
                <c:pt idx="4139">
                  <c:v>-2.5210084033613299E-3</c:v>
                </c:pt>
                <c:pt idx="4140">
                  <c:v>-2.5210084033613299E-3</c:v>
                </c:pt>
                <c:pt idx="4141">
                  <c:v>-2.5210084033613299E-3</c:v>
                </c:pt>
                <c:pt idx="4142">
                  <c:v>-2.5210084033613299E-3</c:v>
                </c:pt>
                <c:pt idx="4143">
                  <c:v>-2.5210084033613299E-3</c:v>
                </c:pt>
                <c:pt idx="4144">
                  <c:v>-2.5210084033613299E-3</c:v>
                </c:pt>
                <c:pt idx="4145">
                  <c:v>-2.5210084033613299E-3</c:v>
                </c:pt>
                <c:pt idx="4146">
                  <c:v>-2.5210084033613299E-3</c:v>
                </c:pt>
                <c:pt idx="4147">
                  <c:v>-2.5210084033613299E-3</c:v>
                </c:pt>
                <c:pt idx="4148">
                  <c:v>-2.5210084033613299E-3</c:v>
                </c:pt>
                <c:pt idx="4149">
                  <c:v>-2.5210084033613299E-3</c:v>
                </c:pt>
                <c:pt idx="4150">
                  <c:v>-2.5210084033613299E-3</c:v>
                </c:pt>
                <c:pt idx="4151">
                  <c:v>-2.5210084033613299E-3</c:v>
                </c:pt>
                <c:pt idx="4152">
                  <c:v>-2.5210084033613299E-3</c:v>
                </c:pt>
                <c:pt idx="4153">
                  <c:v>-2.5210084033613299E-3</c:v>
                </c:pt>
                <c:pt idx="4154">
                  <c:v>-2.5210084033613299E-3</c:v>
                </c:pt>
                <c:pt idx="4155">
                  <c:v>-2.5210084033613299E-3</c:v>
                </c:pt>
                <c:pt idx="4156">
                  <c:v>-2.5210084033613299E-3</c:v>
                </c:pt>
                <c:pt idx="4157">
                  <c:v>-2.5210084033613299E-3</c:v>
                </c:pt>
                <c:pt idx="4158">
                  <c:v>-2.5210084033613299E-3</c:v>
                </c:pt>
                <c:pt idx="4159">
                  <c:v>-2.5210084033613299E-3</c:v>
                </c:pt>
                <c:pt idx="4160">
                  <c:v>-2.5210084033613299E-3</c:v>
                </c:pt>
                <c:pt idx="4161">
                  <c:v>-2.5210084033613299E-3</c:v>
                </c:pt>
                <c:pt idx="4162">
                  <c:v>-2.5210084033613299E-3</c:v>
                </c:pt>
                <c:pt idx="4163">
                  <c:v>-2.5210084033613299E-3</c:v>
                </c:pt>
                <c:pt idx="4164">
                  <c:v>-2.5210084033613299E-3</c:v>
                </c:pt>
                <c:pt idx="4165">
                  <c:v>-2.5210084033613299E-3</c:v>
                </c:pt>
                <c:pt idx="4166">
                  <c:v>-2.5210084033613299E-3</c:v>
                </c:pt>
                <c:pt idx="4167">
                  <c:v>-1.6806722689075499E-3</c:v>
                </c:pt>
                <c:pt idx="4168">
                  <c:v>-1.6806722689075499E-3</c:v>
                </c:pt>
                <c:pt idx="4169">
                  <c:v>-1.6806722689075499E-3</c:v>
                </c:pt>
                <c:pt idx="4170">
                  <c:v>-1.6806722689075499E-3</c:v>
                </c:pt>
                <c:pt idx="4171">
                  <c:v>-1.6806722689075499E-3</c:v>
                </c:pt>
                <c:pt idx="4172">
                  <c:v>-1.6806722689075499E-3</c:v>
                </c:pt>
                <c:pt idx="4173">
                  <c:v>-1.6806722689075499E-3</c:v>
                </c:pt>
                <c:pt idx="4174">
                  <c:v>-1.6806722689075499E-3</c:v>
                </c:pt>
                <c:pt idx="4175">
                  <c:v>-1.6806722689075499E-3</c:v>
                </c:pt>
                <c:pt idx="4176">
                  <c:v>-1.6806722689075499E-3</c:v>
                </c:pt>
                <c:pt idx="4177">
                  <c:v>-1.6806722689075499E-3</c:v>
                </c:pt>
                <c:pt idx="4178">
                  <c:v>-8.4033613445377799E-4</c:v>
                </c:pt>
                <c:pt idx="4179">
                  <c:v>-8.4033613445377799E-4</c:v>
                </c:pt>
                <c:pt idx="4180">
                  <c:v>-8.4033613445377799E-4</c:v>
                </c:pt>
                <c:pt idx="4181">
                  <c:v>-8.4033613445377799E-4</c:v>
                </c:pt>
                <c:pt idx="4182">
                  <c:v>-8.4033613445377799E-4</c:v>
                </c:pt>
                <c:pt idx="4183">
                  <c:v>-8.4033613445377799E-4</c:v>
                </c:pt>
                <c:pt idx="4184">
                  <c:v>-8.4033613445377799E-4</c:v>
                </c:pt>
                <c:pt idx="4185">
                  <c:v>0</c:v>
                </c:pt>
                <c:pt idx="4186">
                  <c:v>0</c:v>
                </c:pt>
                <c:pt idx="4187">
                  <c:v>8.4033613445383404E-4</c:v>
                </c:pt>
                <c:pt idx="4188">
                  <c:v>8.4033613445383404E-4</c:v>
                </c:pt>
                <c:pt idx="4189">
                  <c:v>8.4033613445383404E-4</c:v>
                </c:pt>
                <c:pt idx="4190">
                  <c:v>8.4033613445383404E-4</c:v>
                </c:pt>
                <c:pt idx="4191">
                  <c:v>8.4033613445383404E-4</c:v>
                </c:pt>
                <c:pt idx="4192">
                  <c:v>8.4033613445383404E-4</c:v>
                </c:pt>
                <c:pt idx="4193">
                  <c:v>0</c:v>
                </c:pt>
                <c:pt idx="4194">
                  <c:v>0</c:v>
                </c:pt>
                <c:pt idx="4195">
                  <c:v>0</c:v>
                </c:pt>
                <c:pt idx="4196">
                  <c:v>0</c:v>
                </c:pt>
                <c:pt idx="4197">
                  <c:v>0</c:v>
                </c:pt>
                <c:pt idx="4198">
                  <c:v>0</c:v>
                </c:pt>
                <c:pt idx="4199">
                  <c:v>0</c:v>
                </c:pt>
                <c:pt idx="4200">
                  <c:v>0</c:v>
                </c:pt>
                <c:pt idx="4201">
                  <c:v>0</c:v>
                </c:pt>
                <c:pt idx="4202">
                  <c:v>0</c:v>
                </c:pt>
                <c:pt idx="4203">
                  <c:v>-8.4033613445377799E-4</c:v>
                </c:pt>
                <c:pt idx="4204">
                  <c:v>-8.4033613445377799E-4</c:v>
                </c:pt>
                <c:pt idx="4205">
                  <c:v>-8.4033613445377799E-4</c:v>
                </c:pt>
                <c:pt idx="4206">
                  <c:v>0</c:v>
                </c:pt>
                <c:pt idx="4207">
                  <c:v>0</c:v>
                </c:pt>
                <c:pt idx="4208">
                  <c:v>0</c:v>
                </c:pt>
                <c:pt idx="4209">
                  <c:v>0</c:v>
                </c:pt>
                <c:pt idx="4210">
                  <c:v>0</c:v>
                </c:pt>
                <c:pt idx="4211">
                  <c:v>0</c:v>
                </c:pt>
                <c:pt idx="4212">
                  <c:v>0</c:v>
                </c:pt>
                <c:pt idx="4213">
                  <c:v>0</c:v>
                </c:pt>
                <c:pt idx="4214">
                  <c:v>0</c:v>
                </c:pt>
                <c:pt idx="4215">
                  <c:v>0</c:v>
                </c:pt>
                <c:pt idx="4216">
                  <c:v>0</c:v>
                </c:pt>
                <c:pt idx="4217">
                  <c:v>0</c:v>
                </c:pt>
                <c:pt idx="4218">
                  <c:v>0</c:v>
                </c:pt>
                <c:pt idx="4219">
                  <c:v>8.4033613445377799E-4</c:v>
                </c:pt>
                <c:pt idx="4220">
                  <c:v>8.4033613445377799E-4</c:v>
                </c:pt>
                <c:pt idx="4221">
                  <c:v>8.4033613445377799E-4</c:v>
                </c:pt>
                <c:pt idx="4222">
                  <c:v>8.4033613445377799E-4</c:v>
                </c:pt>
                <c:pt idx="4223">
                  <c:v>8.4033613445377799E-4</c:v>
                </c:pt>
                <c:pt idx="4224">
                  <c:v>8.4033613445377799E-4</c:v>
                </c:pt>
                <c:pt idx="4225">
                  <c:v>8.4033613445377799E-4</c:v>
                </c:pt>
                <c:pt idx="4226">
                  <c:v>8.4033613445377799E-4</c:v>
                </c:pt>
                <c:pt idx="4227">
                  <c:v>8.4033613445377799E-4</c:v>
                </c:pt>
                <c:pt idx="4228">
                  <c:v>8.4033613445377799E-4</c:v>
                </c:pt>
                <c:pt idx="4229">
                  <c:v>0</c:v>
                </c:pt>
                <c:pt idx="4230">
                  <c:v>0</c:v>
                </c:pt>
                <c:pt idx="4231">
                  <c:v>0</c:v>
                </c:pt>
                <c:pt idx="4232">
                  <c:v>0</c:v>
                </c:pt>
                <c:pt idx="4233">
                  <c:v>0</c:v>
                </c:pt>
                <c:pt idx="4234">
                  <c:v>0</c:v>
                </c:pt>
                <c:pt idx="4235">
                  <c:v>0</c:v>
                </c:pt>
                <c:pt idx="4236">
                  <c:v>0</c:v>
                </c:pt>
                <c:pt idx="4237">
                  <c:v>0</c:v>
                </c:pt>
                <c:pt idx="4238">
                  <c:v>8.4033613445377799E-4</c:v>
                </c:pt>
                <c:pt idx="4239">
                  <c:v>8.4033613445377799E-4</c:v>
                </c:pt>
                <c:pt idx="4240">
                  <c:v>8.4033613445377799E-4</c:v>
                </c:pt>
                <c:pt idx="4241">
                  <c:v>8.4033613445377799E-4</c:v>
                </c:pt>
                <c:pt idx="4242">
                  <c:v>8.4033613445377799E-4</c:v>
                </c:pt>
                <c:pt idx="4243">
                  <c:v>8.4033613445377799E-4</c:v>
                </c:pt>
                <c:pt idx="4244">
                  <c:v>8.4033613445377799E-4</c:v>
                </c:pt>
                <c:pt idx="4245">
                  <c:v>8.4033613445377799E-4</c:v>
                </c:pt>
                <c:pt idx="4246">
                  <c:v>8.4033613445377799E-4</c:v>
                </c:pt>
                <c:pt idx="4247">
                  <c:v>8.4033613445377799E-4</c:v>
                </c:pt>
                <c:pt idx="4248">
                  <c:v>8.4033613445377799E-4</c:v>
                </c:pt>
                <c:pt idx="4249">
                  <c:v>8.4033613445377799E-4</c:v>
                </c:pt>
                <c:pt idx="4250">
                  <c:v>8.4033613445377799E-4</c:v>
                </c:pt>
                <c:pt idx="4251">
                  <c:v>8.4033613445377799E-4</c:v>
                </c:pt>
                <c:pt idx="4252">
                  <c:v>8.4033613445377799E-4</c:v>
                </c:pt>
                <c:pt idx="4253">
                  <c:v>8.4033613445377799E-4</c:v>
                </c:pt>
                <c:pt idx="4254">
                  <c:v>8.4033613445377799E-4</c:v>
                </c:pt>
                <c:pt idx="4255">
                  <c:v>8.4033613445377799E-4</c:v>
                </c:pt>
                <c:pt idx="4256">
                  <c:v>8.4033613445377799E-4</c:v>
                </c:pt>
                <c:pt idx="4257">
                  <c:v>8.4033613445377799E-4</c:v>
                </c:pt>
                <c:pt idx="4258">
                  <c:v>8.4033613445377799E-4</c:v>
                </c:pt>
                <c:pt idx="4259">
                  <c:v>8.4033613445377799E-4</c:v>
                </c:pt>
                <c:pt idx="4260">
                  <c:v>8.4033613445377799E-4</c:v>
                </c:pt>
                <c:pt idx="4261">
                  <c:v>8.4033613445377799E-4</c:v>
                </c:pt>
                <c:pt idx="4262">
                  <c:v>8.4033613445377799E-4</c:v>
                </c:pt>
                <c:pt idx="4263">
                  <c:v>8.4033613445377799E-4</c:v>
                </c:pt>
                <c:pt idx="4264">
                  <c:v>8.4033613445377799E-4</c:v>
                </c:pt>
                <c:pt idx="4265">
                  <c:v>8.4033613445377799E-4</c:v>
                </c:pt>
                <c:pt idx="4266">
                  <c:v>8.4033613445377799E-4</c:v>
                </c:pt>
                <c:pt idx="4267">
                  <c:v>8.4033613445377799E-4</c:v>
                </c:pt>
                <c:pt idx="4268">
                  <c:v>8.4033613445377799E-4</c:v>
                </c:pt>
                <c:pt idx="4269">
                  <c:v>8.4033613445377799E-4</c:v>
                </c:pt>
                <c:pt idx="4270">
                  <c:v>8.4033613445377799E-4</c:v>
                </c:pt>
                <c:pt idx="4271">
                  <c:v>8.4033613445377799E-4</c:v>
                </c:pt>
                <c:pt idx="4272">
                  <c:v>8.4033613445377799E-4</c:v>
                </c:pt>
                <c:pt idx="4273">
                  <c:v>8.4033613445377799E-4</c:v>
                </c:pt>
                <c:pt idx="4274">
                  <c:v>1.6806722689075499E-3</c:v>
                </c:pt>
                <c:pt idx="4275">
                  <c:v>1.6806722689075499E-3</c:v>
                </c:pt>
                <c:pt idx="4276">
                  <c:v>1.6806722689075499E-3</c:v>
                </c:pt>
                <c:pt idx="4277">
                  <c:v>1.6806722689075499E-3</c:v>
                </c:pt>
                <c:pt idx="4278">
                  <c:v>1.6806722689075499E-3</c:v>
                </c:pt>
                <c:pt idx="4279">
                  <c:v>1.6806722689075499E-3</c:v>
                </c:pt>
                <c:pt idx="4280">
                  <c:v>1.6806722689075499E-3</c:v>
                </c:pt>
                <c:pt idx="4281">
                  <c:v>1.6806722689075499E-3</c:v>
                </c:pt>
                <c:pt idx="4282">
                  <c:v>1.6806722689075499E-3</c:v>
                </c:pt>
                <c:pt idx="4283">
                  <c:v>1.6806722689075499E-3</c:v>
                </c:pt>
                <c:pt idx="4284">
                  <c:v>1.6806722689075499E-3</c:v>
                </c:pt>
                <c:pt idx="4285">
                  <c:v>1.6806722689075499E-3</c:v>
                </c:pt>
                <c:pt idx="4286">
                  <c:v>1.6806722689075499E-3</c:v>
                </c:pt>
                <c:pt idx="4287">
                  <c:v>1.6806722689075499E-3</c:v>
                </c:pt>
                <c:pt idx="4288">
                  <c:v>1.6806722689075499E-3</c:v>
                </c:pt>
                <c:pt idx="4289">
                  <c:v>8.4033613445377799E-4</c:v>
                </c:pt>
                <c:pt idx="4290">
                  <c:v>8.4033613445377799E-4</c:v>
                </c:pt>
                <c:pt idx="4291">
                  <c:v>8.4033613445377799E-4</c:v>
                </c:pt>
                <c:pt idx="4292">
                  <c:v>8.4033613445377799E-4</c:v>
                </c:pt>
                <c:pt idx="4293">
                  <c:v>8.4033613445377799E-4</c:v>
                </c:pt>
                <c:pt idx="4294">
                  <c:v>8.4033613445377799E-4</c:v>
                </c:pt>
                <c:pt idx="4295">
                  <c:v>8.4033613445377799E-4</c:v>
                </c:pt>
                <c:pt idx="4296">
                  <c:v>8.4033613445377799E-4</c:v>
                </c:pt>
                <c:pt idx="4297">
                  <c:v>8.4033613445377799E-4</c:v>
                </c:pt>
                <c:pt idx="4298">
                  <c:v>8.4033613445377799E-4</c:v>
                </c:pt>
                <c:pt idx="4299">
                  <c:v>8.4033613445377799E-4</c:v>
                </c:pt>
                <c:pt idx="4300">
                  <c:v>0</c:v>
                </c:pt>
                <c:pt idx="4301">
                  <c:v>0</c:v>
                </c:pt>
                <c:pt idx="4302">
                  <c:v>0</c:v>
                </c:pt>
                <c:pt idx="4303">
                  <c:v>-8.4033613445377799E-4</c:v>
                </c:pt>
                <c:pt idx="4304">
                  <c:v>-8.4033613445377799E-4</c:v>
                </c:pt>
                <c:pt idx="4305">
                  <c:v>-8.4033613445377799E-4</c:v>
                </c:pt>
                <c:pt idx="4306">
                  <c:v>-8.4033613445377799E-4</c:v>
                </c:pt>
                <c:pt idx="4307">
                  <c:v>-8.4033613445377799E-4</c:v>
                </c:pt>
                <c:pt idx="4308">
                  <c:v>-8.4033613445377799E-4</c:v>
                </c:pt>
                <c:pt idx="4309">
                  <c:v>-8.4033613445377799E-4</c:v>
                </c:pt>
                <c:pt idx="4310">
                  <c:v>-8.4033613445377799E-4</c:v>
                </c:pt>
                <c:pt idx="4311">
                  <c:v>-8.4033613445377799E-4</c:v>
                </c:pt>
                <c:pt idx="4312">
                  <c:v>-8.4033613445377799E-4</c:v>
                </c:pt>
                <c:pt idx="4313">
                  <c:v>-8.4033613445377799E-4</c:v>
                </c:pt>
                <c:pt idx="4314">
                  <c:v>-8.4033613445377799E-4</c:v>
                </c:pt>
                <c:pt idx="4315">
                  <c:v>-8.4033613445377799E-4</c:v>
                </c:pt>
                <c:pt idx="4316">
                  <c:v>-8.4033613445377799E-4</c:v>
                </c:pt>
                <c:pt idx="4317">
                  <c:v>-1.6806722689075499E-3</c:v>
                </c:pt>
                <c:pt idx="4318">
                  <c:v>-1.6806722689075499E-3</c:v>
                </c:pt>
                <c:pt idx="4319">
                  <c:v>-1.6806722689075499E-3</c:v>
                </c:pt>
                <c:pt idx="4320">
                  <c:v>-1.6806722689075499E-3</c:v>
                </c:pt>
                <c:pt idx="4321">
                  <c:v>-1.6806722689075499E-3</c:v>
                </c:pt>
                <c:pt idx="4322">
                  <c:v>-1.6806722689075499E-3</c:v>
                </c:pt>
                <c:pt idx="4323">
                  <c:v>-1.6806722689075499E-3</c:v>
                </c:pt>
                <c:pt idx="4324">
                  <c:v>-1.6806722689075499E-3</c:v>
                </c:pt>
                <c:pt idx="4325">
                  <c:v>-1.6806722689075499E-3</c:v>
                </c:pt>
                <c:pt idx="4326">
                  <c:v>-1.6806722689075499E-3</c:v>
                </c:pt>
                <c:pt idx="4327">
                  <c:v>-1.6806722689075499E-3</c:v>
                </c:pt>
                <c:pt idx="4328">
                  <c:v>-1.6806722689075499E-3</c:v>
                </c:pt>
                <c:pt idx="4329">
                  <c:v>-1.6806722689075499E-3</c:v>
                </c:pt>
                <c:pt idx="4330">
                  <c:v>-1.6806722689075499E-3</c:v>
                </c:pt>
                <c:pt idx="4331">
                  <c:v>-2.5210084033613299E-3</c:v>
                </c:pt>
                <c:pt idx="4332">
                  <c:v>-2.5210084033613299E-3</c:v>
                </c:pt>
                <c:pt idx="4333">
                  <c:v>-2.5210084033613299E-3</c:v>
                </c:pt>
                <c:pt idx="4334">
                  <c:v>-2.5210084033613299E-3</c:v>
                </c:pt>
                <c:pt idx="4335">
                  <c:v>-2.5210084033613299E-3</c:v>
                </c:pt>
                <c:pt idx="4336">
                  <c:v>-2.5210084033613299E-3</c:v>
                </c:pt>
                <c:pt idx="4337">
                  <c:v>-2.5210084033613299E-3</c:v>
                </c:pt>
                <c:pt idx="4338">
                  <c:v>-2.5210084033613299E-3</c:v>
                </c:pt>
                <c:pt idx="4339">
                  <c:v>-2.5210084033613299E-3</c:v>
                </c:pt>
                <c:pt idx="4340">
                  <c:v>-2.5210084033613299E-3</c:v>
                </c:pt>
                <c:pt idx="4341">
                  <c:v>-2.5210084033613299E-3</c:v>
                </c:pt>
                <c:pt idx="4342">
                  <c:v>-2.5210084033613299E-3</c:v>
                </c:pt>
                <c:pt idx="4343">
                  <c:v>-1.6806722689075499E-3</c:v>
                </c:pt>
                <c:pt idx="4344">
                  <c:v>-1.6806722689075499E-3</c:v>
                </c:pt>
                <c:pt idx="4345">
                  <c:v>-1.6806722689075499E-3</c:v>
                </c:pt>
                <c:pt idx="4346">
                  <c:v>-1.6806722689075499E-3</c:v>
                </c:pt>
                <c:pt idx="4347">
                  <c:v>-1.6806722689075499E-3</c:v>
                </c:pt>
                <c:pt idx="4348">
                  <c:v>-1.6806722689075499E-3</c:v>
                </c:pt>
                <c:pt idx="4349">
                  <c:v>-2.5210084033613299E-3</c:v>
                </c:pt>
                <c:pt idx="4350">
                  <c:v>-2.5210084033613299E-3</c:v>
                </c:pt>
                <c:pt idx="4351">
                  <c:v>-3.3613445378151102E-3</c:v>
                </c:pt>
                <c:pt idx="4352">
                  <c:v>-3.3613445378151102E-3</c:v>
                </c:pt>
                <c:pt idx="4353">
                  <c:v>-3.3613445378151102E-3</c:v>
                </c:pt>
                <c:pt idx="4354">
                  <c:v>-3.3613445378151102E-3</c:v>
                </c:pt>
                <c:pt idx="4355">
                  <c:v>-3.3613445378151102E-3</c:v>
                </c:pt>
                <c:pt idx="4356">
                  <c:v>-3.3613445378151102E-3</c:v>
                </c:pt>
                <c:pt idx="4357">
                  <c:v>-3.3613445378151102E-3</c:v>
                </c:pt>
                <c:pt idx="4358">
                  <c:v>-3.3613445378151102E-3</c:v>
                </c:pt>
                <c:pt idx="4359">
                  <c:v>-3.3613445378151102E-3</c:v>
                </c:pt>
                <c:pt idx="4360">
                  <c:v>-3.3613445378151102E-3</c:v>
                </c:pt>
                <c:pt idx="4361">
                  <c:v>-3.3613445378151102E-3</c:v>
                </c:pt>
                <c:pt idx="4362">
                  <c:v>-3.3613445378151102E-3</c:v>
                </c:pt>
                <c:pt idx="4363">
                  <c:v>-3.3613445378151102E-3</c:v>
                </c:pt>
                <c:pt idx="4364">
                  <c:v>-3.3613445378151102E-3</c:v>
                </c:pt>
                <c:pt idx="4365">
                  <c:v>-3.3613445378151102E-3</c:v>
                </c:pt>
                <c:pt idx="4366">
                  <c:v>-3.3613445378151102E-3</c:v>
                </c:pt>
                <c:pt idx="4367">
                  <c:v>-3.3613445378151102E-3</c:v>
                </c:pt>
                <c:pt idx="4368">
                  <c:v>-3.3613445378151102E-3</c:v>
                </c:pt>
                <c:pt idx="4369">
                  <c:v>-3.3613445378151102E-3</c:v>
                </c:pt>
                <c:pt idx="4370">
                  <c:v>-3.3613445378151102E-3</c:v>
                </c:pt>
                <c:pt idx="4371">
                  <c:v>-3.3613445378151102E-3</c:v>
                </c:pt>
                <c:pt idx="4372">
                  <c:v>-3.3613445378151102E-3</c:v>
                </c:pt>
                <c:pt idx="4373">
                  <c:v>-3.3613445378151102E-3</c:v>
                </c:pt>
                <c:pt idx="4374">
                  <c:v>-3.3613445378151102E-3</c:v>
                </c:pt>
                <c:pt idx="4375">
                  <c:v>-3.3613445378151102E-3</c:v>
                </c:pt>
                <c:pt idx="4376">
                  <c:v>-3.3613445378151102E-3</c:v>
                </c:pt>
                <c:pt idx="4377">
                  <c:v>-3.3613445378151102E-3</c:v>
                </c:pt>
                <c:pt idx="4378">
                  <c:v>-3.3613445378151102E-3</c:v>
                </c:pt>
                <c:pt idx="4379">
                  <c:v>-3.3613445378151102E-3</c:v>
                </c:pt>
                <c:pt idx="4380">
                  <c:v>-3.3613445378151102E-3</c:v>
                </c:pt>
                <c:pt idx="4381">
                  <c:v>-3.3613445378151102E-3</c:v>
                </c:pt>
                <c:pt idx="4382">
                  <c:v>-3.3613445378151102E-3</c:v>
                </c:pt>
                <c:pt idx="4383">
                  <c:v>-3.3613445378151102E-3</c:v>
                </c:pt>
                <c:pt idx="4384">
                  <c:v>-4.20168067226889E-3</c:v>
                </c:pt>
                <c:pt idx="4385">
                  <c:v>-4.20168067226889E-3</c:v>
                </c:pt>
                <c:pt idx="4386">
                  <c:v>-4.20168067226889E-3</c:v>
                </c:pt>
                <c:pt idx="4387">
                  <c:v>-4.20168067226889E-3</c:v>
                </c:pt>
                <c:pt idx="4388">
                  <c:v>-4.20168067226889E-3</c:v>
                </c:pt>
                <c:pt idx="4389">
                  <c:v>-4.20168067226889E-3</c:v>
                </c:pt>
                <c:pt idx="4390">
                  <c:v>-4.20168067226889E-3</c:v>
                </c:pt>
                <c:pt idx="4391">
                  <c:v>-4.20168067226889E-3</c:v>
                </c:pt>
                <c:pt idx="4392">
                  <c:v>-4.20168067226889E-3</c:v>
                </c:pt>
                <c:pt idx="4393">
                  <c:v>-4.20168067226889E-3</c:v>
                </c:pt>
                <c:pt idx="4394">
                  <c:v>-4.20168067226889E-3</c:v>
                </c:pt>
                <c:pt idx="4395">
                  <c:v>-4.20168067226889E-3</c:v>
                </c:pt>
                <c:pt idx="4396">
                  <c:v>-4.20168067226889E-3</c:v>
                </c:pt>
                <c:pt idx="4397">
                  <c:v>-4.20168067226889E-3</c:v>
                </c:pt>
                <c:pt idx="4398">
                  <c:v>-4.20168067226889E-3</c:v>
                </c:pt>
                <c:pt idx="4399">
                  <c:v>-4.20168067226889E-3</c:v>
                </c:pt>
                <c:pt idx="4400">
                  <c:v>-4.20168067226889E-3</c:v>
                </c:pt>
                <c:pt idx="4401">
                  <c:v>-4.20168067226889E-3</c:v>
                </c:pt>
                <c:pt idx="4402">
                  <c:v>-4.20168067226889E-3</c:v>
                </c:pt>
                <c:pt idx="4403">
                  <c:v>-4.20168067226889E-3</c:v>
                </c:pt>
                <c:pt idx="4404">
                  <c:v>-4.20168067226889E-3</c:v>
                </c:pt>
                <c:pt idx="4405">
                  <c:v>-4.20168067226889E-3</c:v>
                </c:pt>
                <c:pt idx="4406">
                  <c:v>-4.20168067226889E-3</c:v>
                </c:pt>
                <c:pt idx="4407">
                  <c:v>-4.20168067226889E-3</c:v>
                </c:pt>
                <c:pt idx="4408">
                  <c:v>-4.20168067226889E-3</c:v>
                </c:pt>
                <c:pt idx="4409">
                  <c:v>-4.20168067226889E-3</c:v>
                </c:pt>
                <c:pt idx="4410">
                  <c:v>-4.20168067226889E-3</c:v>
                </c:pt>
                <c:pt idx="4411">
                  <c:v>-4.20168067226889E-3</c:v>
                </c:pt>
                <c:pt idx="4412">
                  <c:v>-4.20168067226889E-3</c:v>
                </c:pt>
                <c:pt idx="4413">
                  <c:v>-4.20168067226889E-3</c:v>
                </c:pt>
                <c:pt idx="4414">
                  <c:v>-4.20168067226889E-3</c:v>
                </c:pt>
                <c:pt idx="4415">
                  <c:v>-4.20168067226889E-3</c:v>
                </c:pt>
                <c:pt idx="4416">
                  <c:v>-4.20168067226889E-3</c:v>
                </c:pt>
                <c:pt idx="4417">
                  <c:v>-4.20168067226889E-3</c:v>
                </c:pt>
                <c:pt idx="4418">
                  <c:v>-4.20168067226889E-3</c:v>
                </c:pt>
                <c:pt idx="4419">
                  <c:v>-4.20168067226889E-3</c:v>
                </c:pt>
                <c:pt idx="4420">
                  <c:v>-3.3613445378151102E-3</c:v>
                </c:pt>
                <c:pt idx="4421">
                  <c:v>-3.3613445378151102E-3</c:v>
                </c:pt>
                <c:pt idx="4422">
                  <c:v>-3.3613445378151102E-3</c:v>
                </c:pt>
                <c:pt idx="4423">
                  <c:v>-3.3613445378151102E-3</c:v>
                </c:pt>
                <c:pt idx="4424">
                  <c:v>-3.3613445378151102E-3</c:v>
                </c:pt>
                <c:pt idx="4425">
                  <c:v>-4.20168067226889E-3</c:v>
                </c:pt>
                <c:pt idx="4426">
                  <c:v>-4.20168067226889E-3</c:v>
                </c:pt>
                <c:pt idx="4427">
                  <c:v>-3.3613445378151102E-3</c:v>
                </c:pt>
                <c:pt idx="4428">
                  <c:v>-3.3613445378151102E-3</c:v>
                </c:pt>
                <c:pt idx="4429">
                  <c:v>-3.3613445378151102E-3</c:v>
                </c:pt>
                <c:pt idx="4430">
                  <c:v>-3.3613445378151102E-3</c:v>
                </c:pt>
                <c:pt idx="4431">
                  <c:v>-3.3613445378151102E-3</c:v>
                </c:pt>
                <c:pt idx="4432">
                  <c:v>-3.3613445378151102E-3</c:v>
                </c:pt>
                <c:pt idx="4433">
                  <c:v>-3.3613445378151102E-3</c:v>
                </c:pt>
                <c:pt idx="4434">
                  <c:v>-3.3613445378151102E-3</c:v>
                </c:pt>
                <c:pt idx="4435">
                  <c:v>-3.3613445378151102E-3</c:v>
                </c:pt>
                <c:pt idx="4436">
                  <c:v>-3.3613445378151102E-3</c:v>
                </c:pt>
                <c:pt idx="4437">
                  <c:v>-3.3613445378151102E-3</c:v>
                </c:pt>
                <c:pt idx="4438">
                  <c:v>-3.3613445378151102E-3</c:v>
                </c:pt>
                <c:pt idx="4439">
                  <c:v>-3.3613445378151102E-3</c:v>
                </c:pt>
                <c:pt idx="4440">
                  <c:v>-3.3613445378151102E-3</c:v>
                </c:pt>
                <c:pt idx="4441">
                  <c:v>-3.3613445378151102E-3</c:v>
                </c:pt>
                <c:pt idx="4442">
                  <c:v>-3.3613445378151102E-3</c:v>
                </c:pt>
                <c:pt idx="4443">
                  <c:v>-3.3613445378151102E-3</c:v>
                </c:pt>
                <c:pt idx="4444">
                  <c:v>-3.3613445378151102E-3</c:v>
                </c:pt>
                <c:pt idx="4445">
                  <c:v>-3.3613445378151102E-3</c:v>
                </c:pt>
                <c:pt idx="4446">
                  <c:v>-3.3613445378151102E-3</c:v>
                </c:pt>
                <c:pt idx="4447">
                  <c:v>-3.3613445378151102E-3</c:v>
                </c:pt>
                <c:pt idx="4448">
                  <c:v>-3.3613445378151102E-3</c:v>
                </c:pt>
                <c:pt idx="4449">
                  <c:v>-3.3613445378151102E-3</c:v>
                </c:pt>
                <c:pt idx="4450">
                  <c:v>-3.3613445378151102E-3</c:v>
                </c:pt>
                <c:pt idx="4451">
                  <c:v>-3.3613445378151102E-3</c:v>
                </c:pt>
                <c:pt idx="4452">
                  <c:v>-3.3613445378151102E-3</c:v>
                </c:pt>
                <c:pt idx="4453">
                  <c:v>-3.3613445378151102E-3</c:v>
                </c:pt>
                <c:pt idx="4454">
                  <c:v>-3.3613445378151102E-3</c:v>
                </c:pt>
                <c:pt idx="4455">
                  <c:v>-3.3613445378151102E-3</c:v>
                </c:pt>
                <c:pt idx="4456">
                  <c:v>-3.3613445378151102E-3</c:v>
                </c:pt>
                <c:pt idx="4457">
                  <c:v>-3.3613445378151102E-3</c:v>
                </c:pt>
                <c:pt idx="4458">
                  <c:v>-3.3613445378151102E-3</c:v>
                </c:pt>
                <c:pt idx="4459">
                  <c:v>-3.3613445378151102E-3</c:v>
                </c:pt>
                <c:pt idx="4460">
                  <c:v>-3.3613445378151102E-3</c:v>
                </c:pt>
                <c:pt idx="4461">
                  <c:v>-3.3613445378151102E-3</c:v>
                </c:pt>
                <c:pt idx="4462">
                  <c:v>-3.3613445378151102E-3</c:v>
                </c:pt>
                <c:pt idx="4463">
                  <c:v>-3.3613445378151102E-3</c:v>
                </c:pt>
                <c:pt idx="4464">
                  <c:v>-3.3613445378151102E-3</c:v>
                </c:pt>
                <c:pt idx="4465">
                  <c:v>-3.3613445378151102E-3</c:v>
                </c:pt>
                <c:pt idx="4466">
                  <c:v>-3.3613445378151102E-3</c:v>
                </c:pt>
                <c:pt idx="4467">
                  <c:v>-3.3613445378151102E-3</c:v>
                </c:pt>
                <c:pt idx="4468">
                  <c:v>-3.3613445378151102E-3</c:v>
                </c:pt>
                <c:pt idx="4469">
                  <c:v>-3.3613445378151102E-3</c:v>
                </c:pt>
                <c:pt idx="4470">
                  <c:v>-3.3613445378151102E-3</c:v>
                </c:pt>
                <c:pt idx="4471">
                  <c:v>-3.3613445378151102E-3</c:v>
                </c:pt>
                <c:pt idx="4472">
                  <c:v>-3.3613445378151102E-3</c:v>
                </c:pt>
                <c:pt idx="4473">
                  <c:v>-3.3613445378151102E-3</c:v>
                </c:pt>
                <c:pt idx="4474">
                  <c:v>-3.3613445378151102E-3</c:v>
                </c:pt>
                <c:pt idx="4475">
                  <c:v>-3.3613445378151102E-3</c:v>
                </c:pt>
                <c:pt idx="4476">
                  <c:v>-3.3613445378151102E-3</c:v>
                </c:pt>
                <c:pt idx="4477">
                  <c:v>-3.3613445378151102E-3</c:v>
                </c:pt>
                <c:pt idx="4478">
                  <c:v>-3.3613445378151102E-3</c:v>
                </c:pt>
                <c:pt idx="4479">
                  <c:v>-3.3613445378151102E-3</c:v>
                </c:pt>
                <c:pt idx="4480">
                  <c:v>-3.3613445378151102E-3</c:v>
                </c:pt>
                <c:pt idx="4481">
                  <c:v>-3.3613445378151102E-3</c:v>
                </c:pt>
                <c:pt idx="4482">
                  <c:v>-4.20168067226889E-3</c:v>
                </c:pt>
                <c:pt idx="4483">
                  <c:v>-4.20168067226889E-3</c:v>
                </c:pt>
                <c:pt idx="4484">
                  <c:v>-4.20168067226889E-3</c:v>
                </c:pt>
                <c:pt idx="4485">
                  <c:v>-4.20168067226889E-3</c:v>
                </c:pt>
                <c:pt idx="4486">
                  <c:v>-4.20168067226889E-3</c:v>
                </c:pt>
                <c:pt idx="4487">
                  <c:v>-4.20168067226889E-3</c:v>
                </c:pt>
                <c:pt idx="4488">
                  <c:v>-4.20168067226889E-3</c:v>
                </c:pt>
                <c:pt idx="4489">
                  <c:v>-4.20168067226889E-3</c:v>
                </c:pt>
                <c:pt idx="4490">
                  <c:v>-4.20168067226889E-3</c:v>
                </c:pt>
                <c:pt idx="4491">
                  <c:v>-4.20168067226889E-3</c:v>
                </c:pt>
                <c:pt idx="4492">
                  <c:v>-4.20168067226889E-3</c:v>
                </c:pt>
                <c:pt idx="4493">
                  <c:v>-4.20168067226889E-3</c:v>
                </c:pt>
                <c:pt idx="4494">
                  <c:v>-4.20168067226889E-3</c:v>
                </c:pt>
                <c:pt idx="4495">
                  <c:v>-4.20168067226889E-3</c:v>
                </c:pt>
                <c:pt idx="4496">
                  <c:v>-4.20168067226889E-3</c:v>
                </c:pt>
                <c:pt idx="4497">
                  <c:v>-4.20168067226889E-3</c:v>
                </c:pt>
                <c:pt idx="4498">
                  <c:v>-4.20168067226889E-3</c:v>
                </c:pt>
                <c:pt idx="4499">
                  <c:v>-4.20168067226889E-3</c:v>
                </c:pt>
                <c:pt idx="4500">
                  <c:v>-5.0420168067226703E-3</c:v>
                </c:pt>
                <c:pt idx="4501">
                  <c:v>-5.0420168067226703E-3</c:v>
                </c:pt>
                <c:pt idx="4502">
                  <c:v>-5.0420168067226703E-3</c:v>
                </c:pt>
                <c:pt idx="4503">
                  <c:v>-5.0420168067226703E-3</c:v>
                </c:pt>
                <c:pt idx="4504">
                  <c:v>-5.0420168067226703E-3</c:v>
                </c:pt>
                <c:pt idx="4505">
                  <c:v>-5.0420168067226703E-3</c:v>
                </c:pt>
                <c:pt idx="4506">
                  <c:v>-5.0420168067226703E-3</c:v>
                </c:pt>
                <c:pt idx="4507">
                  <c:v>-5.0420168067226703E-3</c:v>
                </c:pt>
                <c:pt idx="4508">
                  <c:v>-5.0420168067226703E-3</c:v>
                </c:pt>
                <c:pt idx="4509">
                  <c:v>-5.0420168067226703E-3</c:v>
                </c:pt>
                <c:pt idx="4510">
                  <c:v>-5.0420168067226703E-3</c:v>
                </c:pt>
                <c:pt idx="4511">
                  <c:v>-5.0420168067226703E-3</c:v>
                </c:pt>
                <c:pt idx="4512">
                  <c:v>-5.0420168067226703E-3</c:v>
                </c:pt>
                <c:pt idx="4513">
                  <c:v>-5.0420168067226703E-3</c:v>
                </c:pt>
                <c:pt idx="4514">
                  <c:v>-5.0420168067226703E-3</c:v>
                </c:pt>
                <c:pt idx="4515">
                  <c:v>-5.0420168067226703E-3</c:v>
                </c:pt>
                <c:pt idx="4516">
                  <c:v>-5.0420168067226703E-3</c:v>
                </c:pt>
                <c:pt idx="4517">
                  <c:v>-5.0420168067226703E-3</c:v>
                </c:pt>
                <c:pt idx="4518">
                  <c:v>-5.0420168067226703E-3</c:v>
                </c:pt>
                <c:pt idx="4519">
                  <c:v>-5.0420168067226703E-3</c:v>
                </c:pt>
                <c:pt idx="4520">
                  <c:v>-5.0420168067226703E-3</c:v>
                </c:pt>
                <c:pt idx="4521">
                  <c:v>-5.0420168067226703E-3</c:v>
                </c:pt>
                <c:pt idx="4522">
                  <c:v>-4.20168067226889E-3</c:v>
                </c:pt>
                <c:pt idx="4523">
                  <c:v>-4.20168067226889E-3</c:v>
                </c:pt>
                <c:pt idx="4524">
                  <c:v>-4.20168067226889E-3</c:v>
                </c:pt>
                <c:pt idx="4525">
                  <c:v>-4.20168067226889E-3</c:v>
                </c:pt>
                <c:pt idx="4526">
                  <c:v>-4.20168067226889E-3</c:v>
                </c:pt>
                <c:pt idx="4527">
                  <c:v>-4.20168067226889E-3</c:v>
                </c:pt>
                <c:pt idx="4528">
                  <c:v>-4.20168067226889E-3</c:v>
                </c:pt>
                <c:pt idx="4529">
                  <c:v>-4.20168067226889E-3</c:v>
                </c:pt>
                <c:pt idx="4530">
                  <c:v>-4.20168067226889E-3</c:v>
                </c:pt>
                <c:pt idx="4531">
                  <c:v>-4.20168067226889E-3</c:v>
                </c:pt>
                <c:pt idx="4532">
                  <c:v>-4.20168067226889E-3</c:v>
                </c:pt>
                <c:pt idx="4533">
                  <c:v>-4.20168067226889E-3</c:v>
                </c:pt>
                <c:pt idx="4534">
                  <c:v>-4.20168067226889E-3</c:v>
                </c:pt>
                <c:pt idx="4535">
                  <c:v>-4.20168067226889E-3</c:v>
                </c:pt>
                <c:pt idx="4536">
                  <c:v>-4.20168067226889E-3</c:v>
                </c:pt>
                <c:pt idx="4537">
                  <c:v>-4.20168067226889E-3</c:v>
                </c:pt>
                <c:pt idx="4538">
                  <c:v>-4.20168067226889E-3</c:v>
                </c:pt>
                <c:pt idx="4539">
                  <c:v>-3.3613445378151102E-3</c:v>
                </c:pt>
                <c:pt idx="4540">
                  <c:v>-3.3613445378151102E-3</c:v>
                </c:pt>
                <c:pt idx="4541">
                  <c:v>-3.3613445378151102E-3</c:v>
                </c:pt>
                <c:pt idx="4542">
                  <c:v>-3.3613445378151102E-3</c:v>
                </c:pt>
                <c:pt idx="4543">
                  <c:v>-3.3613445378151102E-3</c:v>
                </c:pt>
                <c:pt idx="4544">
                  <c:v>-3.3613445378151102E-3</c:v>
                </c:pt>
                <c:pt idx="4545">
                  <c:v>-3.3613445378151102E-3</c:v>
                </c:pt>
                <c:pt idx="4546">
                  <c:v>-4.20168067226889E-3</c:v>
                </c:pt>
                <c:pt idx="4547">
                  <c:v>-4.20168067226889E-3</c:v>
                </c:pt>
                <c:pt idx="4548">
                  <c:v>-4.20168067226889E-3</c:v>
                </c:pt>
                <c:pt idx="4549">
                  <c:v>-4.20168067226889E-3</c:v>
                </c:pt>
                <c:pt idx="4550">
                  <c:v>-4.20168067226889E-3</c:v>
                </c:pt>
                <c:pt idx="4551">
                  <c:v>-4.20168067226889E-3</c:v>
                </c:pt>
                <c:pt idx="4552">
                  <c:v>-4.20168067226889E-3</c:v>
                </c:pt>
                <c:pt idx="4553">
                  <c:v>-4.20168067226889E-3</c:v>
                </c:pt>
                <c:pt idx="4554">
                  <c:v>-4.20168067226889E-3</c:v>
                </c:pt>
                <c:pt idx="4555">
                  <c:v>-4.20168067226889E-3</c:v>
                </c:pt>
                <c:pt idx="4556">
                  <c:v>-4.20168067226889E-3</c:v>
                </c:pt>
                <c:pt idx="4557">
                  <c:v>-4.20168067226889E-3</c:v>
                </c:pt>
                <c:pt idx="4558">
                  <c:v>-4.20168067226889E-3</c:v>
                </c:pt>
                <c:pt idx="4559">
                  <c:v>-4.20168067226889E-3</c:v>
                </c:pt>
                <c:pt idx="4560">
                  <c:v>-4.20168067226889E-3</c:v>
                </c:pt>
                <c:pt idx="4561">
                  <c:v>-4.20168067226889E-3</c:v>
                </c:pt>
                <c:pt idx="4562">
                  <c:v>-4.20168067226889E-3</c:v>
                </c:pt>
                <c:pt idx="4563">
                  <c:v>-4.20168067226889E-3</c:v>
                </c:pt>
                <c:pt idx="4564">
                  <c:v>-4.20168067226889E-3</c:v>
                </c:pt>
                <c:pt idx="4565">
                  <c:v>-4.20168067226889E-3</c:v>
                </c:pt>
                <c:pt idx="4566">
                  <c:v>-4.20168067226889E-3</c:v>
                </c:pt>
                <c:pt idx="4567">
                  <c:v>-4.20168067226889E-3</c:v>
                </c:pt>
                <c:pt idx="4568">
                  <c:v>-4.20168067226889E-3</c:v>
                </c:pt>
                <c:pt idx="4569">
                  <c:v>-4.20168067226889E-3</c:v>
                </c:pt>
                <c:pt idx="4570">
                  <c:v>-4.20168067226889E-3</c:v>
                </c:pt>
                <c:pt idx="4571">
                  <c:v>-4.20168067226889E-3</c:v>
                </c:pt>
                <c:pt idx="4572">
                  <c:v>-3.3613445378151102E-3</c:v>
                </c:pt>
                <c:pt idx="4573">
                  <c:v>-3.3613445378151102E-3</c:v>
                </c:pt>
                <c:pt idx="4574">
                  <c:v>-3.3613445378151102E-3</c:v>
                </c:pt>
                <c:pt idx="4575">
                  <c:v>-3.3613445378151102E-3</c:v>
                </c:pt>
                <c:pt idx="4576">
                  <c:v>-3.3613445378151102E-3</c:v>
                </c:pt>
                <c:pt idx="4577">
                  <c:v>-3.3613445378151102E-3</c:v>
                </c:pt>
                <c:pt idx="4578">
                  <c:v>-3.3613445378151102E-3</c:v>
                </c:pt>
                <c:pt idx="4579">
                  <c:v>-3.3613445378151102E-3</c:v>
                </c:pt>
                <c:pt idx="4580">
                  <c:v>-3.3613445378151102E-3</c:v>
                </c:pt>
                <c:pt idx="4581">
                  <c:v>-3.3613445378151102E-3</c:v>
                </c:pt>
                <c:pt idx="4582">
                  <c:v>-3.3613445378151102E-3</c:v>
                </c:pt>
                <c:pt idx="4583">
                  <c:v>-3.3613445378151102E-3</c:v>
                </c:pt>
                <c:pt idx="4584">
                  <c:v>-3.3613445378151102E-3</c:v>
                </c:pt>
                <c:pt idx="4585">
                  <c:v>-3.3613445378151102E-3</c:v>
                </c:pt>
                <c:pt idx="4586">
                  <c:v>-3.3613445378151102E-3</c:v>
                </c:pt>
                <c:pt idx="4587">
                  <c:v>-3.3613445378151102E-3</c:v>
                </c:pt>
                <c:pt idx="4588">
                  <c:v>-3.3613445378151102E-3</c:v>
                </c:pt>
                <c:pt idx="4589">
                  <c:v>-3.3613445378151102E-3</c:v>
                </c:pt>
                <c:pt idx="4590">
                  <c:v>-3.3613445378151102E-3</c:v>
                </c:pt>
                <c:pt idx="4591">
                  <c:v>-3.3613445378151102E-3</c:v>
                </c:pt>
                <c:pt idx="4592">
                  <c:v>-3.3613445378151102E-3</c:v>
                </c:pt>
                <c:pt idx="4593">
                  <c:v>-3.3613445378151102E-3</c:v>
                </c:pt>
                <c:pt idx="4594">
                  <c:v>-4.20168067226889E-3</c:v>
                </c:pt>
                <c:pt idx="4595">
                  <c:v>-4.20168067226889E-3</c:v>
                </c:pt>
                <c:pt idx="4596">
                  <c:v>-4.20168067226889E-3</c:v>
                </c:pt>
                <c:pt idx="4597">
                  <c:v>-4.20168067226889E-3</c:v>
                </c:pt>
                <c:pt idx="4598">
                  <c:v>-4.20168067226889E-3</c:v>
                </c:pt>
                <c:pt idx="4599">
                  <c:v>-4.20168067226889E-3</c:v>
                </c:pt>
                <c:pt idx="4600">
                  <c:v>-4.20168067226889E-3</c:v>
                </c:pt>
                <c:pt idx="4601">
                  <c:v>-4.20168067226889E-3</c:v>
                </c:pt>
                <c:pt idx="4602">
                  <c:v>-4.20168067226889E-3</c:v>
                </c:pt>
                <c:pt idx="4603">
                  <c:v>-4.20168067226889E-3</c:v>
                </c:pt>
                <c:pt idx="4604">
                  <c:v>-4.20168067226889E-3</c:v>
                </c:pt>
                <c:pt idx="4605">
                  <c:v>-4.20168067226889E-3</c:v>
                </c:pt>
                <c:pt idx="4606">
                  <c:v>-4.20168067226889E-3</c:v>
                </c:pt>
                <c:pt idx="4607">
                  <c:v>-4.20168067226889E-3</c:v>
                </c:pt>
                <c:pt idx="4608">
                  <c:v>-4.20168067226889E-3</c:v>
                </c:pt>
                <c:pt idx="4609">
                  <c:v>-4.20168067226889E-3</c:v>
                </c:pt>
                <c:pt idx="4610">
                  <c:v>-4.20168067226889E-3</c:v>
                </c:pt>
                <c:pt idx="4611">
                  <c:v>-4.20168067226889E-3</c:v>
                </c:pt>
                <c:pt idx="4612">
                  <c:v>-4.20168067226889E-3</c:v>
                </c:pt>
                <c:pt idx="4613">
                  <c:v>-4.20168067226889E-3</c:v>
                </c:pt>
                <c:pt idx="4614">
                  <c:v>-4.20168067226889E-3</c:v>
                </c:pt>
                <c:pt idx="4615">
                  <c:v>-4.20168067226889E-3</c:v>
                </c:pt>
                <c:pt idx="4616">
                  <c:v>-4.20168067226889E-3</c:v>
                </c:pt>
                <c:pt idx="4617">
                  <c:v>-4.20168067226889E-3</c:v>
                </c:pt>
                <c:pt idx="4618">
                  <c:v>-4.20168067226889E-3</c:v>
                </c:pt>
                <c:pt idx="4619">
                  <c:v>-4.20168067226889E-3</c:v>
                </c:pt>
                <c:pt idx="4620">
                  <c:v>-4.20168067226889E-3</c:v>
                </c:pt>
                <c:pt idx="4621">
                  <c:v>-4.20168067226889E-3</c:v>
                </c:pt>
                <c:pt idx="4622">
                  <c:v>-4.20168067226889E-3</c:v>
                </c:pt>
                <c:pt idx="4623">
                  <c:v>-4.20168067226889E-3</c:v>
                </c:pt>
                <c:pt idx="4624">
                  <c:v>-4.20168067226889E-3</c:v>
                </c:pt>
                <c:pt idx="4625">
                  <c:v>-4.20168067226889E-3</c:v>
                </c:pt>
                <c:pt idx="4626">
                  <c:v>-4.20168067226889E-3</c:v>
                </c:pt>
                <c:pt idx="4627">
                  <c:v>-4.20168067226889E-3</c:v>
                </c:pt>
                <c:pt idx="4628">
                  <c:v>-4.20168067226889E-3</c:v>
                </c:pt>
                <c:pt idx="4629">
                  <c:v>-4.20168067226889E-3</c:v>
                </c:pt>
                <c:pt idx="4630">
                  <c:v>-4.20168067226889E-3</c:v>
                </c:pt>
                <c:pt idx="4631">
                  <c:v>-4.20168067226889E-3</c:v>
                </c:pt>
                <c:pt idx="4632">
                  <c:v>-4.20168067226889E-3</c:v>
                </c:pt>
                <c:pt idx="4633">
                  <c:v>-4.20168067226889E-3</c:v>
                </c:pt>
                <c:pt idx="4634">
                  <c:v>-3.3613445378151102E-3</c:v>
                </c:pt>
                <c:pt idx="4635">
                  <c:v>-3.3613445378151102E-3</c:v>
                </c:pt>
                <c:pt idx="4636">
                  <c:v>-3.3613445378151102E-3</c:v>
                </c:pt>
                <c:pt idx="4637">
                  <c:v>-3.3613445378151102E-3</c:v>
                </c:pt>
                <c:pt idx="4638">
                  <c:v>-3.3613445378151102E-3</c:v>
                </c:pt>
                <c:pt idx="4639">
                  <c:v>-3.3613445378151102E-3</c:v>
                </c:pt>
                <c:pt idx="4640">
                  <c:v>-4.20168067226889E-3</c:v>
                </c:pt>
                <c:pt idx="4641">
                  <c:v>-4.20168067226889E-3</c:v>
                </c:pt>
                <c:pt idx="4642">
                  <c:v>-4.20168067226889E-3</c:v>
                </c:pt>
                <c:pt idx="4643">
                  <c:v>-4.20168067226889E-3</c:v>
                </c:pt>
                <c:pt idx="4644">
                  <c:v>-4.20168067226889E-3</c:v>
                </c:pt>
                <c:pt idx="4645">
                  <c:v>-4.20168067226889E-3</c:v>
                </c:pt>
                <c:pt idx="4646">
                  <c:v>-4.20168067226889E-3</c:v>
                </c:pt>
                <c:pt idx="4647">
                  <c:v>-4.20168067226889E-3</c:v>
                </c:pt>
                <c:pt idx="4648">
                  <c:v>-4.20168067226889E-3</c:v>
                </c:pt>
                <c:pt idx="4649">
                  <c:v>-4.20168067226889E-3</c:v>
                </c:pt>
                <c:pt idx="4650">
                  <c:v>-4.20168067226889E-3</c:v>
                </c:pt>
                <c:pt idx="4651">
                  <c:v>-4.20168067226889E-3</c:v>
                </c:pt>
                <c:pt idx="4652">
                  <c:v>-4.20168067226889E-3</c:v>
                </c:pt>
                <c:pt idx="4653">
                  <c:v>-4.20168067226889E-3</c:v>
                </c:pt>
                <c:pt idx="4654">
                  <c:v>-4.20168067226889E-3</c:v>
                </c:pt>
                <c:pt idx="4655">
                  <c:v>-4.20168067226889E-3</c:v>
                </c:pt>
                <c:pt idx="4656">
                  <c:v>-4.20168067226889E-3</c:v>
                </c:pt>
                <c:pt idx="4657">
                  <c:v>-5.0420168067226703E-3</c:v>
                </c:pt>
                <c:pt idx="4658">
                  <c:v>-5.0420168067226703E-3</c:v>
                </c:pt>
                <c:pt idx="4659">
                  <c:v>-5.0420168067226703E-3</c:v>
                </c:pt>
                <c:pt idx="4660">
                  <c:v>-5.0420168067226703E-3</c:v>
                </c:pt>
                <c:pt idx="4661">
                  <c:v>-5.0420168067226703E-3</c:v>
                </c:pt>
                <c:pt idx="4662">
                  <c:v>-5.0420168067226703E-3</c:v>
                </c:pt>
                <c:pt idx="4663">
                  <c:v>-5.0420168067226703E-3</c:v>
                </c:pt>
                <c:pt idx="4664">
                  <c:v>-5.0420168067226703E-3</c:v>
                </c:pt>
                <c:pt idx="4665">
                  <c:v>-5.0420168067226703E-3</c:v>
                </c:pt>
                <c:pt idx="4666">
                  <c:v>-5.0420168067226703E-3</c:v>
                </c:pt>
                <c:pt idx="4667">
                  <c:v>-5.0420168067226703E-3</c:v>
                </c:pt>
                <c:pt idx="4668">
                  <c:v>-5.0420168067226703E-3</c:v>
                </c:pt>
                <c:pt idx="4669">
                  <c:v>-5.0420168067226703E-3</c:v>
                </c:pt>
                <c:pt idx="4670">
                  <c:v>-5.0420168067226703E-3</c:v>
                </c:pt>
                <c:pt idx="4671">
                  <c:v>-5.0420168067226703E-3</c:v>
                </c:pt>
                <c:pt idx="4672">
                  <c:v>-5.0420168067226703E-3</c:v>
                </c:pt>
                <c:pt idx="4673">
                  <c:v>-5.0420168067226703E-3</c:v>
                </c:pt>
                <c:pt idx="4674">
                  <c:v>-5.0420168067226703E-3</c:v>
                </c:pt>
                <c:pt idx="4675">
                  <c:v>-5.0420168067226703E-3</c:v>
                </c:pt>
                <c:pt idx="4676">
                  <c:v>-5.0420168067226703E-3</c:v>
                </c:pt>
                <c:pt idx="4677">
                  <c:v>-5.8823529411764497E-3</c:v>
                </c:pt>
                <c:pt idx="4678">
                  <c:v>-5.8823529411764497E-3</c:v>
                </c:pt>
                <c:pt idx="4679">
                  <c:v>-5.8823529411764497E-3</c:v>
                </c:pt>
                <c:pt idx="4680">
                  <c:v>-5.8823529411764497E-3</c:v>
                </c:pt>
                <c:pt idx="4681">
                  <c:v>-5.8823529411764497E-3</c:v>
                </c:pt>
                <c:pt idx="4682">
                  <c:v>-5.8823529411764497E-3</c:v>
                </c:pt>
                <c:pt idx="4683">
                  <c:v>-5.8823529411764497E-3</c:v>
                </c:pt>
                <c:pt idx="4684">
                  <c:v>-5.8823529411764497E-3</c:v>
                </c:pt>
                <c:pt idx="4685">
                  <c:v>-5.8823529411764497E-3</c:v>
                </c:pt>
                <c:pt idx="4686">
                  <c:v>-5.8823529411764497E-3</c:v>
                </c:pt>
                <c:pt idx="4687">
                  <c:v>-5.8823529411764497E-3</c:v>
                </c:pt>
                <c:pt idx="4688">
                  <c:v>-5.8823529411764497E-3</c:v>
                </c:pt>
                <c:pt idx="4689">
                  <c:v>-5.8823529411764497E-3</c:v>
                </c:pt>
                <c:pt idx="4690">
                  <c:v>-5.8823529411764497E-3</c:v>
                </c:pt>
                <c:pt idx="4691">
                  <c:v>-5.8823529411764497E-3</c:v>
                </c:pt>
                <c:pt idx="4692">
                  <c:v>-5.8823529411764497E-3</c:v>
                </c:pt>
                <c:pt idx="4693">
                  <c:v>-5.8823529411764497E-3</c:v>
                </c:pt>
                <c:pt idx="4694">
                  <c:v>-5.8823529411764497E-3</c:v>
                </c:pt>
                <c:pt idx="4695">
                  <c:v>-5.8823529411764497E-3</c:v>
                </c:pt>
                <c:pt idx="4696">
                  <c:v>-5.8823529411764497E-3</c:v>
                </c:pt>
                <c:pt idx="4697">
                  <c:v>-5.8823529411764497E-3</c:v>
                </c:pt>
                <c:pt idx="4698">
                  <c:v>-5.8823529411764497E-3</c:v>
                </c:pt>
                <c:pt idx="4699">
                  <c:v>-5.8823529411764497E-3</c:v>
                </c:pt>
                <c:pt idx="4700">
                  <c:v>-5.8823529411764497E-3</c:v>
                </c:pt>
                <c:pt idx="4701">
                  <c:v>-5.8823529411764497E-3</c:v>
                </c:pt>
                <c:pt idx="4702">
                  <c:v>-5.8823529411764497E-3</c:v>
                </c:pt>
                <c:pt idx="4703">
                  <c:v>-5.8823529411765E-3</c:v>
                </c:pt>
                <c:pt idx="4704">
                  <c:v>-5.8823529411765E-3</c:v>
                </c:pt>
                <c:pt idx="4705">
                  <c:v>-5.8823529411765E-3</c:v>
                </c:pt>
                <c:pt idx="4706">
                  <c:v>-5.8823529411765E-3</c:v>
                </c:pt>
                <c:pt idx="4707">
                  <c:v>-5.8823529411765E-3</c:v>
                </c:pt>
                <c:pt idx="4708">
                  <c:v>-5.8823529411765E-3</c:v>
                </c:pt>
                <c:pt idx="4709">
                  <c:v>-5.8823529411765E-3</c:v>
                </c:pt>
                <c:pt idx="4710">
                  <c:v>-5.8823529411765E-3</c:v>
                </c:pt>
                <c:pt idx="4711">
                  <c:v>-5.8823529411765E-3</c:v>
                </c:pt>
                <c:pt idx="4712">
                  <c:v>-5.8823529411765E-3</c:v>
                </c:pt>
                <c:pt idx="4713">
                  <c:v>-5.8823529411765E-3</c:v>
                </c:pt>
                <c:pt idx="4714">
                  <c:v>-5.8823529411765E-3</c:v>
                </c:pt>
                <c:pt idx="4715">
                  <c:v>-5.8823529411765E-3</c:v>
                </c:pt>
                <c:pt idx="4716">
                  <c:v>-5.8823529411765E-3</c:v>
                </c:pt>
                <c:pt idx="4717">
                  <c:v>-5.8823529411765E-3</c:v>
                </c:pt>
                <c:pt idx="4718">
                  <c:v>-5.8823529411765E-3</c:v>
                </c:pt>
                <c:pt idx="4719">
                  <c:v>-6.7226890756302803E-3</c:v>
                </c:pt>
                <c:pt idx="4720">
                  <c:v>-6.7226890756302803E-3</c:v>
                </c:pt>
                <c:pt idx="4721">
                  <c:v>-6.7226890756302803E-3</c:v>
                </c:pt>
                <c:pt idx="4722">
                  <c:v>-6.7226890756302803E-3</c:v>
                </c:pt>
                <c:pt idx="4723">
                  <c:v>-6.7226890756302803E-3</c:v>
                </c:pt>
                <c:pt idx="4724">
                  <c:v>-7.5630252100840597E-3</c:v>
                </c:pt>
                <c:pt idx="4725">
                  <c:v>-7.5630252100840597E-3</c:v>
                </c:pt>
                <c:pt idx="4726">
                  <c:v>-7.5630252100840597E-3</c:v>
                </c:pt>
                <c:pt idx="4727">
                  <c:v>-7.5630252100840597E-3</c:v>
                </c:pt>
                <c:pt idx="4728">
                  <c:v>-8.4033613445378408E-3</c:v>
                </c:pt>
                <c:pt idx="4729">
                  <c:v>-8.4033613445378408E-3</c:v>
                </c:pt>
                <c:pt idx="4730">
                  <c:v>-8.4033613445378408E-3</c:v>
                </c:pt>
                <c:pt idx="4731">
                  <c:v>-8.4033613445378408E-3</c:v>
                </c:pt>
                <c:pt idx="4732">
                  <c:v>-7.5630252100840597E-3</c:v>
                </c:pt>
                <c:pt idx="4733">
                  <c:v>-7.5630252100840597E-3</c:v>
                </c:pt>
                <c:pt idx="4734">
                  <c:v>-7.5630252100840597E-3</c:v>
                </c:pt>
                <c:pt idx="4735">
                  <c:v>-8.4033613445378408E-3</c:v>
                </c:pt>
                <c:pt idx="4736">
                  <c:v>-7.5630252100840597E-3</c:v>
                </c:pt>
                <c:pt idx="4737">
                  <c:v>-7.5630252100840597E-3</c:v>
                </c:pt>
                <c:pt idx="4738">
                  <c:v>-7.5630252100840597E-3</c:v>
                </c:pt>
                <c:pt idx="4739">
                  <c:v>-7.5630252100840597E-3</c:v>
                </c:pt>
                <c:pt idx="4740">
                  <c:v>-7.5630252100840597E-3</c:v>
                </c:pt>
                <c:pt idx="4741">
                  <c:v>-6.7226890756302803E-3</c:v>
                </c:pt>
                <c:pt idx="4742">
                  <c:v>-6.7226890756302803E-3</c:v>
                </c:pt>
                <c:pt idx="4743">
                  <c:v>-6.7226890756302803E-3</c:v>
                </c:pt>
                <c:pt idx="4744">
                  <c:v>-6.7226890756302803E-3</c:v>
                </c:pt>
                <c:pt idx="4745">
                  <c:v>-7.5630252100840597E-3</c:v>
                </c:pt>
                <c:pt idx="4746">
                  <c:v>-7.5630252100840597E-3</c:v>
                </c:pt>
                <c:pt idx="4747">
                  <c:v>-7.5630252100840597E-3</c:v>
                </c:pt>
                <c:pt idx="4748">
                  <c:v>-7.5630252100840597E-3</c:v>
                </c:pt>
                <c:pt idx="4749">
                  <c:v>-7.5630252100840597E-3</c:v>
                </c:pt>
                <c:pt idx="4750">
                  <c:v>-7.5630252100840597E-3</c:v>
                </c:pt>
                <c:pt idx="4751">
                  <c:v>-7.5630252100840597E-3</c:v>
                </c:pt>
                <c:pt idx="4752">
                  <c:v>-7.5630252100840597E-3</c:v>
                </c:pt>
                <c:pt idx="4753">
                  <c:v>-7.5630252100840597E-3</c:v>
                </c:pt>
                <c:pt idx="4754">
                  <c:v>-7.5630252100840597E-3</c:v>
                </c:pt>
                <c:pt idx="4755">
                  <c:v>-8.4033613445378408E-3</c:v>
                </c:pt>
                <c:pt idx="4756">
                  <c:v>-8.4033613445378408E-3</c:v>
                </c:pt>
                <c:pt idx="4757">
                  <c:v>-8.4033613445378408E-3</c:v>
                </c:pt>
                <c:pt idx="4758">
                  <c:v>-8.4033613445378408E-3</c:v>
                </c:pt>
                <c:pt idx="4759">
                  <c:v>-9.2436974789916193E-3</c:v>
                </c:pt>
                <c:pt idx="4760">
                  <c:v>-9.2436974789916193E-3</c:v>
                </c:pt>
                <c:pt idx="4761">
                  <c:v>-9.2436974789916193E-3</c:v>
                </c:pt>
                <c:pt idx="4762">
                  <c:v>-9.2436974789916193E-3</c:v>
                </c:pt>
                <c:pt idx="4763">
                  <c:v>-9.2436974789916193E-3</c:v>
                </c:pt>
                <c:pt idx="4764">
                  <c:v>-9.2436974789916193E-3</c:v>
                </c:pt>
                <c:pt idx="4765">
                  <c:v>-9.2436974789916193E-3</c:v>
                </c:pt>
                <c:pt idx="4766">
                  <c:v>-9.2436974789916193E-3</c:v>
                </c:pt>
                <c:pt idx="4767">
                  <c:v>-9.2436974789916193E-3</c:v>
                </c:pt>
                <c:pt idx="4768">
                  <c:v>-9.2436974789916193E-3</c:v>
                </c:pt>
                <c:pt idx="4769">
                  <c:v>-9.2436974789916193E-3</c:v>
                </c:pt>
                <c:pt idx="4770">
                  <c:v>-9.2436974789916193E-3</c:v>
                </c:pt>
                <c:pt idx="4771">
                  <c:v>-9.2436974789916193E-3</c:v>
                </c:pt>
                <c:pt idx="4772">
                  <c:v>-9.2436974789916193E-3</c:v>
                </c:pt>
                <c:pt idx="4773">
                  <c:v>-9.2436974789916193E-3</c:v>
                </c:pt>
                <c:pt idx="4774">
                  <c:v>-9.2436974789916193E-3</c:v>
                </c:pt>
                <c:pt idx="4775">
                  <c:v>-9.2436974789916193E-3</c:v>
                </c:pt>
                <c:pt idx="4776">
                  <c:v>-9.2436974789916193E-3</c:v>
                </c:pt>
                <c:pt idx="4777">
                  <c:v>-9.2436974789916193E-3</c:v>
                </c:pt>
                <c:pt idx="4778">
                  <c:v>-9.2436974789916193E-3</c:v>
                </c:pt>
                <c:pt idx="4779">
                  <c:v>-9.2436974789916193E-3</c:v>
                </c:pt>
                <c:pt idx="4780">
                  <c:v>-9.2436974789916193E-3</c:v>
                </c:pt>
                <c:pt idx="4781">
                  <c:v>-9.2436974789916193E-3</c:v>
                </c:pt>
                <c:pt idx="4782">
                  <c:v>-9.2436974789916193E-3</c:v>
                </c:pt>
                <c:pt idx="4783">
                  <c:v>-9.2436974789916193E-3</c:v>
                </c:pt>
                <c:pt idx="4784">
                  <c:v>-9.2436974789916193E-3</c:v>
                </c:pt>
                <c:pt idx="4785">
                  <c:v>-9.2436974789916193E-3</c:v>
                </c:pt>
                <c:pt idx="4786">
                  <c:v>-9.2436974789916193E-3</c:v>
                </c:pt>
                <c:pt idx="4787">
                  <c:v>-9.2436974789916193E-3</c:v>
                </c:pt>
                <c:pt idx="4788">
                  <c:v>-9.2436974789916193E-3</c:v>
                </c:pt>
                <c:pt idx="4789">
                  <c:v>-9.2436974789916193E-3</c:v>
                </c:pt>
                <c:pt idx="4790">
                  <c:v>-9.2436974789916193E-3</c:v>
                </c:pt>
                <c:pt idx="4791">
                  <c:v>-9.2436974789916193E-3</c:v>
                </c:pt>
                <c:pt idx="4792">
                  <c:v>-9.2436974789916193E-3</c:v>
                </c:pt>
                <c:pt idx="4793">
                  <c:v>-9.2436974789916193E-3</c:v>
                </c:pt>
                <c:pt idx="4794">
                  <c:v>-9.2436974789916193E-3</c:v>
                </c:pt>
                <c:pt idx="4795">
                  <c:v>-9.2436974789916193E-3</c:v>
                </c:pt>
                <c:pt idx="4796">
                  <c:v>-9.2436974789916193E-3</c:v>
                </c:pt>
                <c:pt idx="4797">
                  <c:v>-9.2436974789916193E-3</c:v>
                </c:pt>
                <c:pt idx="4798">
                  <c:v>-9.2436974789916193E-3</c:v>
                </c:pt>
                <c:pt idx="4799">
                  <c:v>-9.2436974789916193E-3</c:v>
                </c:pt>
                <c:pt idx="4800">
                  <c:v>-9.2436974789916193E-3</c:v>
                </c:pt>
                <c:pt idx="4801">
                  <c:v>-9.2436974789916193E-3</c:v>
                </c:pt>
                <c:pt idx="4802">
                  <c:v>-9.2436974789916193E-3</c:v>
                </c:pt>
                <c:pt idx="4803">
                  <c:v>-9.2436974789916193E-3</c:v>
                </c:pt>
                <c:pt idx="4804">
                  <c:v>-9.2436974789916193E-3</c:v>
                </c:pt>
                <c:pt idx="4805">
                  <c:v>-9.2436974789916193E-3</c:v>
                </c:pt>
                <c:pt idx="4806">
                  <c:v>-9.2436974789916193E-3</c:v>
                </c:pt>
                <c:pt idx="4807">
                  <c:v>-9.2436974789916193E-3</c:v>
                </c:pt>
                <c:pt idx="4808">
                  <c:v>-9.2436974789916193E-3</c:v>
                </c:pt>
                <c:pt idx="4809">
                  <c:v>-9.2436974789916193E-3</c:v>
                </c:pt>
                <c:pt idx="4810">
                  <c:v>-9.2436974789916193E-3</c:v>
                </c:pt>
                <c:pt idx="4811">
                  <c:v>-9.2436974789916193E-3</c:v>
                </c:pt>
                <c:pt idx="4812">
                  <c:v>-9.2436974789916193E-3</c:v>
                </c:pt>
                <c:pt idx="4813">
                  <c:v>-9.2436974789916193E-3</c:v>
                </c:pt>
                <c:pt idx="4814">
                  <c:v>-9.2436974789916193E-3</c:v>
                </c:pt>
                <c:pt idx="4815">
                  <c:v>-9.2436974789916193E-3</c:v>
                </c:pt>
                <c:pt idx="4816">
                  <c:v>-9.2436974789916193E-3</c:v>
                </c:pt>
                <c:pt idx="4817">
                  <c:v>-9.2436974789916193E-3</c:v>
                </c:pt>
                <c:pt idx="4818">
                  <c:v>-9.2436974789916193E-3</c:v>
                </c:pt>
                <c:pt idx="4819">
                  <c:v>-9.2436974789916193E-3</c:v>
                </c:pt>
                <c:pt idx="4820">
                  <c:v>-9.2436974789916193E-3</c:v>
                </c:pt>
                <c:pt idx="4821">
                  <c:v>-9.2436974789916193E-3</c:v>
                </c:pt>
                <c:pt idx="4822">
                  <c:v>-9.2436974789916193E-3</c:v>
                </c:pt>
                <c:pt idx="4823">
                  <c:v>-9.2436974789916193E-3</c:v>
                </c:pt>
                <c:pt idx="4824">
                  <c:v>-9.2436974789916193E-3</c:v>
                </c:pt>
                <c:pt idx="4825">
                  <c:v>-9.2436974789916193E-3</c:v>
                </c:pt>
                <c:pt idx="4826">
                  <c:v>-9.2436974789916193E-3</c:v>
                </c:pt>
                <c:pt idx="4827">
                  <c:v>-9.2436974789916193E-3</c:v>
                </c:pt>
                <c:pt idx="4828">
                  <c:v>-9.2436974789916193E-3</c:v>
                </c:pt>
                <c:pt idx="4829">
                  <c:v>-9.2436974789916193E-3</c:v>
                </c:pt>
                <c:pt idx="4830">
                  <c:v>-9.2436974789916193E-3</c:v>
                </c:pt>
                <c:pt idx="4831">
                  <c:v>-9.2436974789916193E-3</c:v>
                </c:pt>
                <c:pt idx="4832">
                  <c:v>-9.2436974789916193E-3</c:v>
                </c:pt>
                <c:pt idx="4833">
                  <c:v>-9.2436974789916193E-3</c:v>
                </c:pt>
                <c:pt idx="4834">
                  <c:v>-8.4033613445378408E-3</c:v>
                </c:pt>
                <c:pt idx="4835">
                  <c:v>-8.4033613445378408E-3</c:v>
                </c:pt>
                <c:pt idx="4836">
                  <c:v>-8.4033613445378408E-3</c:v>
                </c:pt>
                <c:pt idx="4837">
                  <c:v>-8.4033613445378408E-3</c:v>
                </c:pt>
                <c:pt idx="4838">
                  <c:v>-8.4033613445378408E-3</c:v>
                </c:pt>
                <c:pt idx="4839">
                  <c:v>-8.4033613445378408E-3</c:v>
                </c:pt>
                <c:pt idx="4840">
                  <c:v>-8.4033613445378408E-3</c:v>
                </c:pt>
                <c:pt idx="4841">
                  <c:v>-8.4033613445378408E-3</c:v>
                </c:pt>
                <c:pt idx="4842">
                  <c:v>-8.4033613445378408E-3</c:v>
                </c:pt>
                <c:pt idx="4843">
                  <c:v>-8.4033613445378408E-3</c:v>
                </c:pt>
                <c:pt idx="4844">
                  <c:v>-8.4033613445378408E-3</c:v>
                </c:pt>
                <c:pt idx="4845">
                  <c:v>-8.4033613445378408E-3</c:v>
                </c:pt>
                <c:pt idx="4846">
                  <c:v>-8.4033613445378408E-3</c:v>
                </c:pt>
                <c:pt idx="4847">
                  <c:v>-8.4033613445378408E-3</c:v>
                </c:pt>
                <c:pt idx="4848">
                  <c:v>-8.4033613445378408E-3</c:v>
                </c:pt>
                <c:pt idx="4849">
                  <c:v>-8.4033613445378408E-3</c:v>
                </c:pt>
                <c:pt idx="4850">
                  <c:v>-8.4033613445378408E-3</c:v>
                </c:pt>
                <c:pt idx="4851">
                  <c:v>-8.4033613445378408E-3</c:v>
                </c:pt>
                <c:pt idx="4852">
                  <c:v>-7.5630252100840597E-3</c:v>
                </c:pt>
                <c:pt idx="4853">
                  <c:v>-7.5630252100840597E-3</c:v>
                </c:pt>
                <c:pt idx="4854">
                  <c:v>-7.5630252100840597E-3</c:v>
                </c:pt>
                <c:pt idx="4855">
                  <c:v>-7.5630252100840597E-3</c:v>
                </c:pt>
                <c:pt idx="4856">
                  <c:v>-7.5630252100840597E-3</c:v>
                </c:pt>
                <c:pt idx="4857">
                  <c:v>-7.5630252100840597E-3</c:v>
                </c:pt>
                <c:pt idx="4858">
                  <c:v>-7.5630252100840597E-3</c:v>
                </c:pt>
                <c:pt idx="4859">
                  <c:v>-7.5630252100840597E-3</c:v>
                </c:pt>
                <c:pt idx="4860">
                  <c:v>-7.5630252100840597E-3</c:v>
                </c:pt>
                <c:pt idx="4861">
                  <c:v>-7.5630252100840597E-3</c:v>
                </c:pt>
                <c:pt idx="4862">
                  <c:v>-7.5630252100840597E-3</c:v>
                </c:pt>
                <c:pt idx="4863">
                  <c:v>-7.5630252100840597E-3</c:v>
                </c:pt>
                <c:pt idx="4864">
                  <c:v>-7.5630252100840597E-3</c:v>
                </c:pt>
                <c:pt idx="4865">
                  <c:v>-7.5630252100840597E-3</c:v>
                </c:pt>
                <c:pt idx="4866">
                  <c:v>-7.5630252100840597E-3</c:v>
                </c:pt>
                <c:pt idx="4867">
                  <c:v>-7.5630252100840597E-3</c:v>
                </c:pt>
                <c:pt idx="4868">
                  <c:v>-8.4033613445378408E-3</c:v>
                </c:pt>
                <c:pt idx="4869">
                  <c:v>-8.4033613445378408E-3</c:v>
                </c:pt>
                <c:pt idx="4870">
                  <c:v>-8.4033613445378408E-3</c:v>
                </c:pt>
                <c:pt idx="4871">
                  <c:v>-8.4033613445378408E-3</c:v>
                </c:pt>
                <c:pt idx="4872">
                  <c:v>-8.4033613445378408E-3</c:v>
                </c:pt>
                <c:pt idx="4873">
                  <c:v>-8.4033613445378408E-3</c:v>
                </c:pt>
                <c:pt idx="4874">
                  <c:v>-8.4033613445378408E-3</c:v>
                </c:pt>
                <c:pt idx="4875">
                  <c:v>-8.4033613445378408E-3</c:v>
                </c:pt>
                <c:pt idx="4876">
                  <c:v>-8.4033613445378408E-3</c:v>
                </c:pt>
                <c:pt idx="4877">
                  <c:v>-8.4033613445378408E-3</c:v>
                </c:pt>
                <c:pt idx="4878">
                  <c:v>-9.2436974789916193E-3</c:v>
                </c:pt>
                <c:pt idx="4879">
                  <c:v>-9.2436974789916193E-3</c:v>
                </c:pt>
                <c:pt idx="4880">
                  <c:v>-9.2436974789916193E-3</c:v>
                </c:pt>
                <c:pt idx="4881">
                  <c:v>-9.2436974789916193E-3</c:v>
                </c:pt>
                <c:pt idx="4882">
                  <c:v>-9.2436974789916193E-3</c:v>
                </c:pt>
                <c:pt idx="4883">
                  <c:v>-9.2436974789916193E-3</c:v>
                </c:pt>
                <c:pt idx="4884">
                  <c:v>-9.2436974789916193E-3</c:v>
                </c:pt>
                <c:pt idx="4885">
                  <c:v>-9.2436974789916193E-3</c:v>
                </c:pt>
                <c:pt idx="4886">
                  <c:v>-9.2436974789916193E-3</c:v>
                </c:pt>
                <c:pt idx="4887">
                  <c:v>-9.2436974789916193E-3</c:v>
                </c:pt>
                <c:pt idx="4888">
                  <c:v>-9.2436974789916193E-3</c:v>
                </c:pt>
                <c:pt idx="4889">
                  <c:v>-9.2436974789916193E-3</c:v>
                </c:pt>
                <c:pt idx="4890">
                  <c:v>-9.2436974789916193E-3</c:v>
                </c:pt>
                <c:pt idx="4891">
                  <c:v>-9.2436974789916193E-3</c:v>
                </c:pt>
                <c:pt idx="4892">
                  <c:v>-9.2436974789916193E-3</c:v>
                </c:pt>
                <c:pt idx="4893">
                  <c:v>-9.2436974789916193E-3</c:v>
                </c:pt>
                <c:pt idx="4894">
                  <c:v>-9.2436974789916193E-3</c:v>
                </c:pt>
                <c:pt idx="4895">
                  <c:v>-9.2436974789916193E-3</c:v>
                </c:pt>
                <c:pt idx="4896">
                  <c:v>-9.2436974789916193E-3</c:v>
                </c:pt>
                <c:pt idx="4897">
                  <c:v>-9.2436974789916193E-3</c:v>
                </c:pt>
                <c:pt idx="4898">
                  <c:v>-8.4033613445378408E-3</c:v>
                </c:pt>
                <c:pt idx="4899">
                  <c:v>-8.4033613445378408E-3</c:v>
                </c:pt>
                <c:pt idx="4900">
                  <c:v>-8.4033613445378408E-3</c:v>
                </c:pt>
                <c:pt idx="4901">
                  <c:v>-8.4033613445378408E-3</c:v>
                </c:pt>
                <c:pt idx="4902">
                  <c:v>-9.2436974789916193E-3</c:v>
                </c:pt>
                <c:pt idx="4903">
                  <c:v>-9.2436974789916193E-3</c:v>
                </c:pt>
                <c:pt idx="4904">
                  <c:v>-9.2436974789916193E-3</c:v>
                </c:pt>
                <c:pt idx="4905">
                  <c:v>-9.2436974789916193E-3</c:v>
                </c:pt>
                <c:pt idx="4906">
                  <c:v>-9.2436974789916193E-3</c:v>
                </c:pt>
                <c:pt idx="4907">
                  <c:v>-9.2436974789916193E-3</c:v>
                </c:pt>
                <c:pt idx="4908">
                  <c:v>-8.4033613445377801E-3</c:v>
                </c:pt>
                <c:pt idx="4909">
                  <c:v>-8.4033613445377801E-3</c:v>
                </c:pt>
                <c:pt idx="4910">
                  <c:v>-8.4033613445377801E-3</c:v>
                </c:pt>
                <c:pt idx="4911">
                  <c:v>-9.2436974789915603E-3</c:v>
                </c:pt>
                <c:pt idx="4912">
                  <c:v>-9.2436974789915603E-3</c:v>
                </c:pt>
                <c:pt idx="4913">
                  <c:v>-9.2436974789915603E-3</c:v>
                </c:pt>
                <c:pt idx="4914">
                  <c:v>-9.2436974789915603E-3</c:v>
                </c:pt>
                <c:pt idx="4915">
                  <c:v>-9.2436974789915603E-3</c:v>
                </c:pt>
                <c:pt idx="4916">
                  <c:v>-9.2436974789915603E-3</c:v>
                </c:pt>
                <c:pt idx="4917">
                  <c:v>-9.2436974789915603E-3</c:v>
                </c:pt>
                <c:pt idx="4918">
                  <c:v>-9.2436974789915603E-3</c:v>
                </c:pt>
                <c:pt idx="4919">
                  <c:v>-9.2436974789915603E-3</c:v>
                </c:pt>
                <c:pt idx="4920">
                  <c:v>-9.2436974789915603E-3</c:v>
                </c:pt>
                <c:pt idx="4921">
                  <c:v>-9.2436974789915603E-3</c:v>
                </c:pt>
                <c:pt idx="4922">
                  <c:v>-9.2436974789915603E-3</c:v>
                </c:pt>
                <c:pt idx="4923">
                  <c:v>-9.2436974789915603E-3</c:v>
                </c:pt>
                <c:pt idx="4924">
                  <c:v>-9.2436974789915603E-3</c:v>
                </c:pt>
                <c:pt idx="4925">
                  <c:v>-9.2436974789915603E-3</c:v>
                </c:pt>
                <c:pt idx="4926">
                  <c:v>-9.2436974789915603E-3</c:v>
                </c:pt>
                <c:pt idx="4927">
                  <c:v>-9.2436974789915603E-3</c:v>
                </c:pt>
                <c:pt idx="4928">
                  <c:v>-9.2436974789915603E-3</c:v>
                </c:pt>
                <c:pt idx="4929">
                  <c:v>-9.2436974789915603E-3</c:v>
                </c:pt>
                <c:pt idx="4930">
                  <c:v>-9.2436974789915603E-3</c:v>
                </c:pt>
                <c:pt idx="4931">
                  <c:v>-9.2436974789915603E-3</c:v>
                </c:pt>
                <c:pt idx="4932">
                  <c:v>-9.2436974789915603E-3</c:v>
                </c:pt>
                <c:pt idx="4933">
                  <c:v>-9.2436974789915603E-3</c:v>
                </c:pt>
                <c:pt idx="4934">
                  <c:v>-9.2436974789915603E-3</c:v>
                </c:pt>
                <c:pt idx="4935">
                  <c:v>-9.2436974789915603E-3</c:v>
                </c:pt>
                <c:pt idx="4936">
                  <c:v>-9.2436974789915603E-3</c:v>
                </c:pt>
                <c:pt idx="4937">
                  <c:v>-8.4033613445377801E-3</c:v>
                </c:pt>
                <c:pt idx="4938">
                  <c:v>-8.4033613445377801E-3</c:v>
                </c:pt>
                <c:pt idx="4939">
                  <c:v>-8.4033613445377801E-3</c:v>
                </c:pt>
                <c:pt idx="4940">
                  <c:v>-9.2436974789915603E-3</c:v>
                </c:pt>
                <c:pt idx="4941">
                  <c:v>-9.2436974789915603E-3</c:v>
                </c:pt>
                <c:pt idx="4942">
                  <c:v>-9.2436974789915603E-3</c:v>
                </c:pt>
                <c:pt idx="4943">
                  <c:v>-9.2436974789915603E-3</c:v>
                </c:pt>
                <c:pt idx="4944">
                  <c:v>-9.2436974789915603E-3</c:v>
                </c:pt>
                <c:pt idx="4945">
                  <c:v>-9.2436974789915603E-3</c:v>
                </c:pt>
                <c:pt idx="4946">
                  <c:v>-9.2436974789915603E-3</c:v>
                </c:pt>
                <c:pt idx="4947">
                  <c:v>-9.2436974789915603E-3</c:v>
                </c:pt>
                <c:pt idx="4948">
                  <c:v>-9.2436974789915603E-3</c:v>
                </c:pt>
                <c:pt idx="4949">
                  <c:v>-9.2436974789915603E-3</c:v>
                </c:pt>
                <c:pt idx="4950">
                  <c:v>-9.2436974789915603E-3</c:v>
                </c:pt>
                <c:pt idx="4951">
                  <c:v>-9.2436974789915603E-3</c:v>
                </c:pt>
                <c:pt idx="4952">
                  <c:v>-9.2436974789915603E-3</c:v>
                </c:pt>
                <c:pt idx="4953">
                  <c:v>-9.2436974789915603E-3</c:v>
                </c:pt>
                <c:pt idx="4954">
                  <c:v>-9.2436974789915603E-3</c:v>
                </c:pt>
                <c:pt idx="4955">
                  <c:v>-9.2436974789915603E-3</c:v>
                </c:pt>
                <c:pt idx="4956">
                  <c:v>-9.2436974789915603E-3</c:v>
                </c:pt>
                <c:pt idx="4957">
                  <c:v>-9.2436974789915603E-3</c:v>
                </c:pt>
                <c:pt idx="4958">
                  <c:v>-9.2436974789915603E-3</c:v>
                </c:pt>
                <c:pt idx="4959">
                  <c:v>-9.2436974789915603E-3</c:v>
                </c:pt>
                <c:pt idx="4960">
                  <c:v>-9.2436974789915603E-3</c:v>
                </c:pt>
                <c:pt idx="4961">
                  <c:v>-9.2436974789915603E-3</c:v>
                </c:pt>
                <c:pt idx="4962">
                  <c:v>-9.2436974789915603E-3</c:v>
                </c:pt>
                <c:pt idx="4963">
                  <c:v>-9.2436974789915603E-3</c:v>
                </c:pt>
                <c:pt idx="4964">
                  <c:v>-9.2436974789915603E-3</c:v>
                </c:pt>
                <c:pt idx="4965">
                  <c:v>-9.2436974789915603E-3</c:v>
                </c:pt>
                <c:pt idx="4966">
                  <c:v>-9.2436974789915603E-3</c:v>
                </c:pt>
                <c:pt idx="4967">
                  <c:v>-9.2436974789915603E-3</c:v>
                </c:pt>
                <c:pt idx="4968">
                  <c:v>-9.2436974789915603E-3</c:v>
                </c:pt>
                <c:pt idx="4969">
                  <c:v>-9.2436974789915603E-3</c:v>
                </c:pt>
                <c:pt idx="4970">
                  <c:v>-8.4033613445377801E-3</c:v>
                </c:pt>
                <c:pt idx="4971">
                  <c:v>-8.4033613445377801E-3</c:v>
                </c:pt>
                <c:pt idx="4972">
                  <c:v>-8.4033613445377801E-3</c:v>
                </c:pt>
                <c:pt idx="4973">
                  <c:v>-8.4033613445377801E-3</c:v>
                </c:pt>
                <c:pt idx="4974">
                  <c:v>-8.4033613445377801E-3</c:v>
                </c:pt>
                <c:pt idx="4975">
                  <c:v>-8.4033613445377801E-3</c:v>
                </c:pt>
                <c:pt idx="4976">
                  <c:v>-8.4033613445377801E-3</c:v>
                </c:pt>
                <c:pt idx="4977">
                  <c:v>-8.4033613445377801E-3</c:v>
                </c:pt>
                <c:pt idx="4978">
                  <c:v>-8.4033613445377801E-3</c:v>
                </c:pt>
                <c:pt idx="4979">
                  <c:v>-8.4033613445377801E-3</c:v>
                </c:pt>
                <c:pt idx="4980">
                  <c:v>-8.4033613445377801E-3</c:v>
                </c:pt>
                <c:pt idx="4981">
                  <c:v>-8.4033613445377801E-3</c:v>
                </c:pt>
                <c:pt idx="4982">
                  <c:v>-8.4033613445377801E-3</c:v>
                </c:pt>
                <c:pt idx="4983">
                  <c:v>-9.2436974789915603E-3</c:v>
                </c:pt>
                <c:pt idx="4984">
                  <c:v>-9.2436974789915603E-3</c:v>
                </c:pt>
                <c:pt idx="4985">
                  <c:v>-9.2436974789915603E-3</c:v>
                </c:pt>
                <c:pt idx="4986">
                  <c:v>-9.2436974789915603E-3</c:v>
                </c:pt>
                <c:pt idx="4987">
                  <c:v>-9.2436974789915603E-3</c:v>
                </c:pt>
                <c:pt idx="4988">
                  <c:v>-9.2436974789915603E-3</c:v>
                </c:pt>
                <c:pt idx="4989">
                  <c:v>-9.2436974789915603E-3</c:v>
                </c:pt>
                <c:pt idx="4990">
                  <c:v>-9.2436974789915603E-3</c:v>
                </c:pt>
                <c:pt idx="4991">
                  <c:v>-9.2436974789915603E-3</c:v>
                </c:pt>
                <c:pt idx="4992">
                  <c:v>-9.2436974789915603E-3</c:v>
                </c:pt>
                <c:pt idx="4993">
                  <c:v>-9.2436974789915603E-3</c:v>
                </c:pt>
                <c:pt idx="4994">
                  <c:v>-9.2436974789915603E-3</c:v>
                </c:pt>
                <c:pt idx="4995">
                  <c:v>-9.2436974789915603E-3</c:v>
                </c:pt>
                <c:pt idx="4996">
                  <c:v>-9.2436974789915603E-3</c:v>
                </c:pt>
                <c:pt idx="4997">
                  <c:v>-9.2436974789915603E-3</c:v>
                </c:pt>
                <c:pt idx="4998">
                  <c:v>-9.2436974789915603E-3</c:v>
                </c:pt>
                <c:pt idx="4999">
                  <c:v>-9.2436974789915603E-3</c:v>
                </c:pt>
                <c:pt idx="5000">
                  <c:v>-9.2436974789915603E-3</c:v>
                </c:pt>
                <c:pt idx="5001">
                  <c:v>-9.2436974789915603E-3</c:v>
                </c:pt>
                <c:pt idx="5002">
                  <c:v>-9.2436974789915603E-3</c:v>
                </c:pt>
                <c:pt idx="5003">
                  <c:v>-9.2436974789915603E-3</c:v>
                </c:pt>
                <c:pt idx="5004">
                  <c:v>-9.2436974789915603E-3</c:v>
                </c:pt>
                <c:pt idx="5005">
                  <c:v>-8.4033613445377801E-3</c:v>
                </c:pt>
                <c:pt idx="5006">
                  <c:v>-8.4033613445377801E-3</c:v>
                </c:pt>
                <c:pt idx="5007">
                  <c:v>-8.4033613445377801E-3</c:v>
                </c:pt>
                <c:pt idx="5008">
                  <c:v>-8.4033613445377801E-3</c:v>
                </c:pt>
                <c:pt idx="5009">
                  <c:v>-8.4033613445377801E-3</c:v>
                </c:pt>
                <c:pt idx="5010">
                  <c:v>-8.4033613445377801E-3</c:v>
                </c:pt>
                <c:pt idx="5011">
                  <c:v>-8.4033613445377801E-3</c:v>
                </c:pt>
                <c:pt idx="5012">
                  <c:v>-8.4033613445377801E-3</c:v>
                </c:pt>
                <c:pt idx="5013">
                  <c:v>-9.2436974789915603E-3</c:v>
                </c:pt>
                <c:pt idx="5014">
                  <c:v>-9.2436974789915603E-3</c:v>
                </c:pt>
                <c:pt idx="5015">
                  <c:v>-9.2436974789915603E-3</c:v>
                </c:pt>
                <c:pt idx="5016">
                  <c:v>-9.2436974789915603E-3</c:v>
                </c:pt>
                <c:pt idx="5017">
                  <c:v>-9.2436974789915603E-3</c:v>
                </c:pt>
                <c:pt idx="5018">
                  <c:v>-9.2436974789915603E-3</c:v>
                </c:pt>
                <c:pt idx="5019">
                  <c:v>-9.2436974789915603E-3</c:v>
                </c:pt>
                <c:pt idx="5020">
                  <c:v>-9.2436974789915603E-3</c:v>
                </c:pt>
                <c:pt idx="5021">
                  <c:v>-9.2436974789915603E-3</c:v>
                </c:pt>
                <c:pt idx="5022">
                  <c:v>-9.2436974789915603E-3</c:v>
                </c:pt>
                <c:pt idx="5023">
                  <c:v>-9.2436974789915603E-3</c:v>
                </c:pt>
                <c:pt idx="5024">
                  <c:v>-9.2436974789915603E-3</c:v>
                </c:pt>
                <c:pt idx="5025">
                  <c:v>-9.2436974789915603E-3</c:v>
                </c:pt>
                <c:pt idx="5026">
                  <c:v>-9.2436974789915603E-3</c:v>
                </c:pt>
                <c:pt idx="5027">
                  <c:v>-9.2436974789915603E-3</c:v>
                </c:pt>
                <c:pt idx="5028">
                  <c:v>-9.2436974789915603E-3</c:v>
                </c:pt>
                <c:pt idx="5029">
                  <c:v>-9.2436974789915603E-3</c:v>
                </c:pt>
                <c:pt idx="5030">
                  <c:v>-9.2436974789915603E-3</c:v>
                </c:pt>
                <c:pt idx="5031">
                  <c:v>-1.0084033613445301E-2</c:v>
                </c:pt>
                <c:pt idx="5032">
                  <c:v>-9.2436974789915603E-3</c:v>
                </c:pt>
                <c:pt idx="5033">
                  <c:v>-9.2436974789915603E-3</c:v>
                </c:pt>
                <c:pt idx="5034">
                  <c:v>-9.2436974789915603E-3</c:v>
                </c:pt>
                <c:pt idx="5035">
                  <c:v>-9.2436974789915603E-3</c:v>
                </c:pt>
                <c:pt idx="5036">
                  <c:v>-9.2436974789915603E-3</c:v>
                </c:pt>
                <c:pt idx="5037">
                  <c:v>-9.2436974789915603E-3</c:v>
                </c:pt>
                <c:pt idx="5038">
                  <c:v>-9.2436974789915603E-3</c:v>
                </c:pt>
                <c:pt idx="5039">
                  <c:v>-9.2436974789915603E-3</c:v>
                </c:pt>
                <c:pt idx="5040">
                  <c:v>-9.2436974789915603E-3</c:v>
                </c:pt>
                <c:pt idx="5041">
                  <c:v>-9.2436974789915603E-3</c:v>
                </c:pt>
                <c:pt idx="5042">
                  <c:v>-9.2436974789915603E-3</c:v>
                </c:pt>
                <c:pt idx="5043">
                  <c:v>-9.2436974789915603E-3</c:v>
                </c:pt>
                <c:pt idx="5044">
                  <c:v>-9.2436974789915603E-3</c:v>
                </c:pt>
                <c:pt idx="5045">
                  <c:v>-9.2436974789915603E-3</c:v>
                </c:pt>
                <c:pt idx="5046">
                  <c:v>-9.2436974789915603E-3</c:v>
                </c:pt>
                <c:pt idx="5047">
                  <c:v>-9.2436974789915603E-3</c:v>
                </c:pt>
                <c:pt idx="5048">
                  <c:v>-9.2436974789915603E-3</c:v>
                </c:pt>
                <c:pt idx="5049">
                  <c:v>-9.2436974789915603E-3</c:v>
                </c:pt>
                <c:pt idx="5050">
                  <c:v>-9.2436974789915603E-3</c:v>
                </c:pt>
                <c:pt idx="5051">
                  <c:v>-8.4033613445377801E-3</c:v>
                </c:pt>
                <c:pt idx="5052">
                  <c:v>-8.4033613445377801E-3</c:v>
                </c:pt>
                <c:pt idx="5053">
                  <c:v>-8.4033613445377801E-3</c:v>
                </c:pt>
                <c:pt idx="5054">
                  <c:v>-8.4033613445377801E-3</c:v>
                </c:pt>
                <c:pt idx="5055">
                  <c:v>-8.4033613445377801E-3</c:v>
                </c:pt>
                <c:pt idx="5056">
                  <c:v>-8.4033613445377801E-3</c:v>
                </c:pt>
                <c:pt idx="5057">
                  <c:v>-8.4033613445377801E-3</c:v>
                </c:pt>
                <c:pt idx="5058">
                  <c:v>-8.4033613445377801E-3</c:v>
                </c:pt>
                <c:pt idx="5059">
                  <c:v>-8.4033613445377801E-3</c:v>
                </c:pt>
                <c:pt idx="5060">
                  <c:v>-8.4033613445377801E-3</c:v>
                </c:pt>
                <c:pt idx="5061">
                  <c:v>-8.4033613445377801E-3</c:v>
                </c:pt>
                <c:pt idx="5062">
                  <c:v>-8.4033613445377801E-3</c:v>
                </c:pt>
                <c:pt idx="5063">
                  <c:v>-8.4033613445377801E-3</c:v>
                </c:pt>
                <c:pt idx="5064">
                  <c:v>-8.4033613445377801E-3</c:v>
                </c:pt>
                <c:pt idx="5065">
                  <c:v>-8.4033613445377801E-3</c:v>
                </c:pt>
                <c:pt idx="5066">
                  <c:v>-8.4033613445377801E-3</c:v>
                </c:pt>
                <c:pt idx="5067">
                  <c:v>-8.4033613445377801E-3</c:v>
                </c:pt>
                <c:pt idx="5068">
                  <c:v>-8.4033613445377801E-3</c:v>
                </c:pt>
                <c:pt idx="5069">
                  <c:v>-8.4033613445377801E-3</c:v>
                </c:pt>
                <c:pt idx="5070">
                  <c:v>-8.4033613445377801E-3</c:v>
                </c:pt>
                <c:pt idx="5071">
                  <c:v>-8.4033613445377801E-3</c:v>
                </c:pt>
                <c:pt idx="5072">
                  <c:v>-9.2436974789915603E-3</c:v>
                </c:pt>
                <c:pt idx="5073">
                  <c:v>-9.2436974789915603E-3</c:v>
                </c:pt>
                <c:pt idx="5074">
                  <c:v>-9.2436974789915603E-3</c:v>
                </c:pt>
                <c:pt idx="5075">
                  <c:v>-9.2436974789915603E-3</c:v>
                </c:pt>
                <c:pt idx="5076">
                  <c:v>-9.2436974789915603E-3</c:v>
                </c:pt>
                <c:pt idx="5077">
                  <c:v>-9.2436974789915603E-3</c:v>
                </c:pt>
                <c:pt idx="5078">
                  <c:v>-9.2436974789915603E-3</c:v>
                </c:pt>
                <c:pt idx="5079">
                  <c:v>-9.2436974789915603E-3</c:v>
                </c:pt>
                <c:pt idx="5080">
                  <c:v>-9.2436974789915603E-3</c:v>
                </c:pt>
                <c:pt idx="5081">
                  <c:v>-9.2436974789915603E-3</c:v>
                </c:pt>
                <c:pt idx="5082">
                  <c:v>-1.0084033613445301E-2</c:v>
                </c:pt>
                <c:pt idx="5083">
                  <c:v>-1.0084033613445301E-2</c:v>
                </c:pt>
                <c:pt idx="5084">
                  <c:v>-1.0084033613445301E-2</c:v>
                </c:pt>
                <c:pt idx="5085">
                  <c:v>-1.0084033613445301E-2</c:v>
                </c:pt>
                <c:pt idx="5086">
                  <c:v>-1.09243697478991E-2</c:v>
                </c:pt>
                <c:pt idx="5087">
                  <c:v>-1.09243697478991E-2</c:v>
                </c:pt>
                <c:pt idx="5088">
                  <c:v>-1.0084033613445301E-2</c:v>
                </c:pt>
                <c:pt idx="5089">
                  <c:v>-1.0084033613445301E-2</c:v>
                </c:pt>
                <c:pt idx="5090">
                  <c:v>-1.0084033613445301E-2</c:v>
                </c:pt>
                <c:pt idx="5091">
                  <c:v>-1.0084033613445301E-2</c:v>
                </c:pt>
                <c:pt idx="5092">
                  <c:v>-1.0084033613445301E-2</c:v>
                </c:pt>
                <c:pt idx="5093">
                  <c:v>-1.0084033613445301E-2</c:v>
                </c:pt>
                <c:pt idx="5094">
                  <c:v>-1.0084033613445301E-2</c:v>
                </c:pt>
                <c:pt idx="5095">
                  <c:v>-1.0084033613445301E-2</c:v>
                </c:pt>
                <c:pt idx="5096">
                  <c:v>-1.0084033613445301E-2</c:v>
                </c:pt>
                <c:pt idx="5097">
                  <c:v>-1.0084033613445301E-2</c:v>
                </c:pt>
                <c:pt idx="5098">
                  <c:v>-1.09243697478991E-2</c:v>
                </c:pt>
                <c:pt idx="5099">
                  <c:v>-1.09243697478991E-2</c:v>
                </c:pt>
                <c:pt idx="5100">
                  <c:v>-1.09243697478991E-2</c:v>
                </c:pt>
                <c:pt idx="5101">
                  <c:v>-1.09243697478991E-2</c:v>
                </c:pt>
                <c:pt idx="5102">
                  <c:v>-1.09243697478991E-2</c:v>
                </c:pt>
                <c:pt idx="5103">
                  <c:v>-1.09243697478991E-2</c:v>
                </c:pt>
                <c:pt idx="5104">
                  <c:v>-1.09243697478991E-2</c:v>
                </c:pt>
                <c:pt idx="5105">
                  <c:v>-1.09243697478991E-2</c:v>
                </c:pt>
                <c:pt idx="5106">
                  <c:v>-1.09243697478991E-2</c:v>
                </c:pt>
                <c:pt idx="5107">
                  <c:v>-1.09243697478991E-2</c:v>
                </c:pt>
                <c:pt idx="5108">
                  <c:v>-1.09243697478991E-2</c:v>
                </c:pt>
                <c:pt idx="5109">
                  <c:v>-1.09243697478991E-2</c:v>
                </c:pt>
                <c:pt idx="5110">
                  <c:v>-1.09243697478991E-2</c:v>
                </c:pt>
                <c:pt idx="5111">
                  <c:v>-1.09243697478991E-2</c:v>
                </c:pt>
                <c:pt idx="5112">
                  <c:v>-1.09243697478991E-2</c:v>
                </c:pt>
                <c:pt idx="5113">
                  <c:v>-1.09243697478991E-2</c:v>
                </c:pt>
                <c:pt idx="5114">
                  <c:v>-1.09243697478991E-2</c:v>
                </c:pt>
                <c:pt idx="5115">
                  <c:v>-1.09243697478991E-2</c:v>
                </c:pt>
                <c:pt idx="5116">
                  <c:v>-1.09243697478991E-2</c:v>
                </c:pt>
                <c:pt idx="5117">
                  <c:v>-1.09243697478991E-2</c:v>
                </c:pt>
                <c:pt idx="5118">
                  <c:v>-1.09243697478991E-2</c:v>
                </c:pt>
                <c:pt idx="5119">
                  <c:v>-1.09243697478991E-2</c:v>
                </c:pt>
                <c:pt idx="5120">
                  <c:v>-1.0084033613445301E-2</c:v>
                </c:pt>
                <c:pt idx="5121">
                  <c:v>-1.0084033613445301E-2</c:v>
                </c:pt>
                <c:pt idx="5122">
                  <c:v>-1.0084033613445301E-2</c:v>
                </c:pt>
                <c:pt idx="5123">
                  <c:v>-1.0084033613445301E-2</c:v>
                </c:pt>
                <c:pt idx="5124">
                  <c:v>-1.0084033613445301E-2</c:v>
                </c:pt>
                <c:pt idx="5125">
                  <c:v>-9.2436974789916193E-3</c:v>
                </c:pt>
                <c:pt idx="5126">
                  <c:v>-9.2436974789916193E-3</c:v>
                </c:pt>
                <c:pt idx="5127">
                  <c:v>-9.2436974789916193E-3</c:v>
                </c:pt>
                <c:pt idx="5128">
                  <c:v>-9.2436974789916193E-3</c:v>
                </c:pt>
                <c:pt idx="5129">
                  <c:v>-9.2436974789916193E-3</c:v>
                </c:pt>
                <c:pt idx="5130">
                  <c:v>-9.2436974789916193E-3</c:v>
                </c:pt>
                <c:pt idx="5131">
                  <c:v>-9.2436974789916193E-3</c:v>
                </c:pt>
                <c:pt idx="5132">
                  <c:v>-9.2436974789916193E-3</c:v>
                </c:pt>
                <c:pt idx="5133">
                  <c:v>-9.2436974789916193E-3</c:v>
                </c:pt>
                <c:pt idx="5134">
                  <c:v>-9.2436974789916193E-3</c:v>
                </c:pt>
                <c:pt idx="5135">
                  <c:v>-9.2436974789916193E-3</c:v>
                </c:pt>
                <c:pt idx="5136">
                  <c:v>-9.2436974789916193E-3</c:v>
                </c:pt>
                <c:pt idx="5137">
                  <c:v>-1.0084033613445301E-2</c:v>
                </c:pt>
                <c:pt idx="5138">
                  <c:v>-1.0084033613445301E-2</c:v>
                </c:pt>
                <c:pt idx="5139">
                  <c:v>-1.0084033613445301E-2</c:v>
                </c:pt>
                <c:pt idx="5140">
                  <c:v>-1.0084033613445301E-2</c:v>
                </c:pt>
                <c:pt idx="5141">
                  <c:v>-1.0084033613445301E-2</c:v>
                </c:pt>
                <c:pt idx="5142">
                  <c:v>-1.0084033613445301E-2</c:v>
                </c:pt>
                <c:pt idx="5143">
                  <c:v>-1.0084033613445301E-2</c:v>
                </c:pt>
                <c:pt idx="5144">
                  <c:v>-1.0084033613445301E-2</c:v>
                </c:pt>
                <c:pt idx="5145">
                  <c:v>-1.0084033613445301E-2</c:v>
                </c:pt>
                <c:pt idx="5146">
                  <c:v>-1.0084033613445301E-2</c:v>
                </c:pt>
                <c:pt idx="5147">
                  <c:v>-1.0084033613445301E-2</c:v>
                </c:pt>
                <c:pt idx="5148">
                  <c:v>-1.0084033613445301E-2</c:v>
                </c:pt>
                <c:pt idx="5149">
                  <c:v>-1.0084033613445301E-2</c:v>
                </c:pt>
                <c:pt idx="5150">
                  <c:v>-1.0084033613445301E-2</c:v>
                </c:pt>
                <c:pt idx="5151">
                  <c:v>-1.0084033613445301E-2</c:v>
                </c:pt>
                <c:pt idx="5152">
                  <c:v>-1.0084033613445301E-2</c:v>
                </c:pt>
                <c:pt idx="5153">
                  <c:v>-1.0084033613445301E-2</c:v>
                </c:pt>
                <c:pt idx="5154">
                  <c:v>-1.0084033613445301E-2</c:v>
                </c:pt>
                <c:pt idx="5155">
                  <c:v>-1.0084033613445301E-2</c:v>
                </c:pt>
                <c:pt idx="5156">
                  <c:v>-1.0084033613445301E-2</c:v>
                </c:pt>
                <c:pt idx="5157">
                  <c:v>-1.0084033613445301E-2</c:v>
                </c:pt>
                <c:pt idx="5158">
                  <c:v>-1.0084033613445301E-2</c:v>
                </c:pt>
                <c:pt idx="5159">
                  <c:v>-1.0084033613445301E-2</c:v>
                </c:pt>
                <c:pt idx="5160">
                  <c:v>-1.0084033613445301E-2</c:v>
                </c:pt>
                <c:pt idx="5161">
                  <c:v>-9.2436974789916193E-3</c:v>
                </c:pt>
                <c:pt idx="5162">
                  <c:v>-9.2436974789916193E-3</c:v>
                </c:pt>
                <c:pt idx="5163">
                  <c:v>-9.2436974789916193E-3</c:v>
                </c:pt>
                <c:pt idx="5164">
                  <c:v>-9.2436974789916193E-3</c:v>
                </c:pt>
                <c:pt idx="5165">
                  <c:v>-9.2436974789916193E-3</c:v>
                </c:pt>
                <c:pt idx="5166">
                  <c:v>-9.2436974789916193E-3</c:v>
                </c:pt>
                <c:pt idx="5167">
                  <c:v>-8.4033613445378408E-3</c:v>
                </c:pt>
                <c:pt idx="5168">
                  <c:v>-8.4033613445378408E-3</c:v>
                </c:pt>
                <c:pt idx="5169">
                  <c:v>-9.2436974789916193E-3</c:v>
                </c:pt>
                <c:pt idx="5170">
                  <c:v>-9.2436974789916193E-3</c:v>
                </c:pt>
                <c:pt idx="5171">
                  <c:v>-9.2436974789916193E-3</c:v>
                </c:pt>
                <c:pt idx="5172">
                  <c:v>-9.2436974789916193E-3</c:v>
                </c:pt>
                <c:pt idx="5173">
                  <c:v>-9.2436974789916193E-3</c:v>
                </c:pt>
                <c:pt idx="5174">
                  <c:v>-9.2436974789916193E-3</c:v>
                </c:pt>
                <c:pt idx="5175">
                  <c:v>-9.2436974789916193E-3</c:v>
                </c:pt>
                <c:pt idx="5176">
                  <c:v>-9.2436974789916193E-3</c:v>
                </c:pt>
                <c:pt idx="5177">
                  <c:v>-9.2436974789916193E-3</c:v>
                </c:pt>
                <c:pt idx="5178">
                  <c:v>-9.2436974789916193E-3</c:v>
                </c:pt>
                <c:pt idx="5179">
                  <c:v>-9.2436974789916193E-3</c:v>
                </c:pt>
                <c:pt idx="5180">
                  <c:v>-9.2436974789916193E-3</c:v>
                </c:pt>
                <c:pt idx="5181">
                  <c:v>-1.0084033613445301E-2</c:v>
                </c:pt>
                <c:pt idx="5182">
                  <c:v>-1.0084033613445301E-2</c:v>
                </c:pt>
                <c:pt idx="5183">
                  <c:v>-1.0084033613445301E-2</c:v>
                </c:pt>
                <c:pt idx="5184">
                  <c:v>-1.09243697478991E-2</c:v>
                </c:pt>
                <c:pt idx="5185">
                  <c:v>-1.09243697478991E-2</c:v>
                </c:pt>
                <c:pt idx="5186">
                  <c:v>-1.09243697478991E-2</c:v>
                </c:pt>
                <c:pt idx="5187">
                  <c:v>-1.09243697478991E-2</c:v>
                </c:pt>
                <c:pt idx="5188">
                  <c:v>-1.1764705882352899E-2</c:v>
                </c:pt>
                <c:pt idx="5189">
                  <c:v>-1.09243697478991E-2</c:v>
                </c:pt>
                <c:pt idx="5190">
                  <c:v>-1.09243697478991E-2</c:v>
                </c:pt>
                <c:pt idx="5191">
                  <c:v>-1.09243697478991E-2</c:v>
                </c:pt>
                <c:pt idx="5192">
                  <c:v>-1.09243697478991E-2</c:v>
                </c:pt>
                <c:pt idx="5193">
                  <c:v>-1.1764705882352899E-2</c:v>
                </c:pt>
                <c:pt idx="5194">
                  <c:v>-1.1764705882352899E-2</c:v>
                </c:pt>
                <c:pt idx="5195">
                  <c:v>-1.1764705882352899E-2</c:v>
                </c:pt>
                <c:pt idx="5196">
                  <c:v>-1.1764705882352899E-2</c:v>
                </c:pt>
                <c:pt idx="5197">
                  <c:v>-1.1764705882352899E-2</c:v>
                </c:pt>
                <c:pt idx="5198">
                  <c:v>-1.1764705882352899E-2</c:v>
                </c:pt>
                <c:pt idx="5199">
                  <c:v>-1.1764705882352899E-2</c:v>
                </c:pt>
                <c:pt idx="5200">
                  <c:v>-1.1764705882352899E-2</c:v>
                </c:pt>
                <c:pt idx="5201">
                  <c:v>-1.1764705882352899E-2</c:v>
                </c:pt>
                <c:pt idx="5202">
                  <c:v>-1.1764705882352899E-2</c:v>
                </c:pt>
                <c:pt idx="5203">
                  <c:v>-1.1764705882352899E-2</c:v>
                </c:pt>
                <c:pt idx="5204">
                  <c:v>-1.1764705882352899E-2</c:v>
                </c:pt>
                <c:pt idx="5205">
                  <c:v>-1.1764705882352899E-2</c:v>
                </c:pt>
                <c:pt idx="5206">
                  <c:v>-1.26050420168067E-2</c:v>
                </c:pt>
                <c:pt idx="5207">
                  <c:v>-1.26050420168067E-2</c:v>
                </c:pt>
                <c:pt idx="5208">
                  <c:v>-1.26050420168067E-2</c:v>
                </c:pt>
                <c:pt idx="5209">
                  <c:v>-1.26050420168067E-2</c:v>
                </c:pt>
                <c:pt idx="5210">
                  <c:v>-1.1764705882352899E-2</c:v>
                </c:pt>
                <c:pt idx="5211">
                  <c:v>-1.1764705882352899E-2</c:v>
                </c:pt>
                <c:pt idx="5212">
                  <c:v>-1.26050420168067E-2</c:v>
                </c:pt>
                <c:pt idx="5213">
                  <c:v>-1.26050420168067E-2</c:v>
                </c:pt>
                <c:pt idx="5214">
                  <c:v>-1.26050420168067E-2</c:v>
                </c:pt>
                <c:pt idx="5215">
                  <c:v>-1.26050420168067E-2</c:v>
                </c:pt>
                <c:pt idx="5216">
                  <c:v>-1.26050420168067E-2</c:v>
                </c:pt>
                <c:pt idx="5217">
                  <c:v>-1.26050420168067E-2</c:v>
                </c:pt>
                <c:pt idx="5218">
                  <c:v>-1.26050420168067E-2</c:v>
                </c:pt>
                <c:pt idx="5219">
                  <c:v>-1.26050420168067E-2</c:v>
                </c:pt>
                <c:pt idx="5220">
                  <c:v>-1.34453781512605E-2</c:v>
                </c:pt>
                <c:pt idx="5221">
                  <c:v>-1.34453781512605E-2</c:v>
                </c:pt>
                <c:pt idx="5222">
                  <c:v>-1.34453781512605E-2</c:v>
                </c:pt>
                <c:pt idx="5223">
                  <c:v>-1.34453781512605E-2</c:v>
                </c:pt>
                <c:pt idx="5224">
                  <c:v>-1.34453781512605E-2</c:v>
                </c:pt>
                <c:pt idx="5225">
                  <c:v>-1.34453781512605E-2</c:v>
                </c:pt>
                <c:pt idx="5226">
                  <c:v>-1.34453781512605E-2</c:v>
                </c:pt>
                <c:pt idx="5227">
                  <c:v>-1.26050420168067E-2</c:v>
                </c:pt>
                <c:pt idx="5228">
                  <c:v>-1.26050420168067E-2</c:v>
                </c:pt>
                <c:pt idx="5229">
                  <c:v>-1.26050420168067E-2</c:v>
                </c:pt>
                <c:pt idx="5230">
                  <c:v>-1.26050420168067E-2</c:v>
                </c:pt>
                <c:pt idx="5231">
                  <c:v>-1.26050420168067E-2</c:v>
                </c:pt>
                <c:pt idx="5232">
                  <c:v>-1.26050420168067E-2</c:v>
                </c:pt>
                <c:pt idx="5233">
                  <c:v>-1.26050420168067E-2</c:v>
                </c:pt>
                <c:pt idx="5234">
                  <c:v>-1.26050420168067E-2</c:v>
                </c:pt>
                <c:pt idx="5235">
                  <c:v>-1.26050420168067E-2</c:v>
                </c:pt>
                <c:pt idx="5236">
                  <c:v>-1.26050420168067E-2</c:v>
                </c:pt>
                <c:pt idx="5237">
                  <c:v>-1.26050420168067E-2</c:v>
                </c:pt>
                <c:pt idx="5238">
                  <c:v>-1.26050420168067E-2</c:v>
                </c:pt>
                <c:pt idx="5239">
                  <c:v>-1.26050420168067E-2</c:v>
                </c:pt>
                <c:pt idx="5240">
                  <c:v>-1.26050420168067E-2</c:v>
                </c:pt>
                <c:pt idx="5241">
                  <c:v>-1.26050420168067E-2</c:v>
                </c:pt>
                <c:pt idx="5242">
                  <c:v>-1.26050420168067E-2</c:v>
                </c:pt>
                <c:pt idx="5243">
                  <c:v>-1.26050420168067E-2</c:v>
                </c:pt>
                <c:pt idx="5244">
                  <c:v>-1.1764705882352899E-2</c:v>
                </c:pt>
                <c:pt idx="5245">
                  <c:v>-1.1764705882352899E-2</c:v>
                </c:pt>
                <c:pt idx="5246">
                  <c:v>-1.1764705882352899E-2</c:v>
                </c:pt>
                <c:pt idx="5247">
                  <c:v>-1.1764705882352899E-2</c:v>
                </c:pt>
                <c:pt idx="5248">
                  <c:v>-1.09243697478991E-2</c:v>
                </c:pt>
                <c:pt idx="5249">
                  <c:v>-1.09243697478991E-2</c:v>
                </c:pt>
                <c:pt idx="5250">
                  <c:v>-1.09243697478991E-2</c:v>
                </c:pt>
                <c:pt idx="5251">
                  <c:v>-1.09243697478991E-2</c:v>
                </c:pt>
                <c:pt idx="5252">
                  <c:v>-1.09243697478991E-2</c:v>
                </c:pt>
                <c:pt idx="5253">
                  <c:v>-1.09243697478991E-2</c:v>
                </c:pt>
                <c:pt idx="5254">
                  <c:v>-1.09243697478991E-2</c:v>
                </c:pt>
                <c:pt idx="5255">
                  <c:v>-1.09243697478991E-2</c:v>
                </c:pt>
                <c:pt idx="5256">
                  <c:v>-1.09243697478991E-2</c:v>
                </c:pt>
                <c:pt idx="5257">
                  <c:v>-1.09243697478991E-2</c:v>
                </c:pt>
                <c:pt idx="5258">
                  <c:v>-1.09243697478991E-2</c:v>
                </c:pt>
                <c:pt idx="5259">
                  <c:v>-1.09243697478991E-2</c:v>
                </c:pt>
                <c:pt idx="5260">
                  <c:v>-1.09243697478991E-2</c:v>
                </c:pt>
                <c:pt idx="5261">
                  <c:v>-1.09243697478991E-2</c:v>
                </c:pt>
                <c:pt idx="5262">
                  <c:v>-1.09243697478991E-2</c:v>
                </c:pt>
                <c:pt idx="5263">
                  <c:v>-1.09243697478991E-2</c:v>
                </c:pt>
                <c:pt idx="5264">
                  <c:v>-1.09243697478991E-2</c:v>
                </c:pt>
                <c:pt idx="5265">
                  <c:v>-1.09243697478991E-2</c:v>
                </c:pt>
                <c:pt idx="5266">
                  <c:v>-1.09243697478991E-2</c:v>
                </c:pt>
                <c:pt idx="5267">
                  <c:v>-1.09243697478991E-2</c:v>
                </c:pt>
                <c:pt idx="5268">
                  <c:v>-1.0084033613445301E-2</c:v>
                </c:pt>
                <c:pt idx="5269">
                  <c:v>-1.0084033613445301E-2</c:v>
                </c:pt>
                <c:pt idx="5270">
                  <c:v>-1.0084033613445301E-2</c:v>
                </c:pt>
                <c:pt idx="5271">
                  <c:v>-1.09243697478991E-2</c:v>
                </c:pt>
                <c:pt idx="5272">
                  <c:v>-1.09243697478991E-2</c:v>
                </c:pt>
                <c:pt idx="5273">
                  <c:v>-1.1764705882352899E-2</c:v>
                </c:pt>
                <c:pt idx="5274">
                  <c:v>-1.1764705882352899E-2</c:v>
                </c:pt>
                <c:pt idx="5275">
                  <c:v>-1.09243697478991E-2</c:v>
                </c:pt>
                <c:pt idx="5276">
                  <c:v>-1.09243697478991E-2</c:v>
                </c:pt>
                <c:pt idx="5277">
                  <c:v>-1.09243697478991E-2</c:v>
                </c:pt>
                <c:pt idx="5278">
                  <c:v>-1.09243697478991E-2</c:v>
                </c:pt>
                <c:pt idx="5279">
                  <c:v>-1.09243697478991E-2</c:v>
                </c:pt>
                <c:pt idx="5280">
                  <c:v>-1.09243697478991E-2</c:v>
                </c:pt>
                <c:pt idx="5281">
                  <c:v>-1.09243697478991E-2</c:v>
                </c:pt>
                <c:pt idx="5282">
                  <c:v>-1.09243697478991E-2</c:v>
                </c:pt>
                <c:pt idx="5283">
                  <c:v>-1.09243697478991E-2</c:v>
                </c:pt>
                <c:pt idx="5284">
                  <c:v>-1.09243697478991E-2</c:v>
                </c:pt>
                <c:pt idx="5285">
                  <c:v>-1.09243697478991E-2</c:v>
                </c:pt>
                <c:pt idx="5286">
                  <c:v>-1.09243697478991E-2</c:v>
                </c:pt>
                <c:pt idx="5287">
                  <c:v>-1.09243697478991E-2</c:v>
                </c:pt>
                <c:pt idx="5288">
                  <c:v>-1.09243697478991E-2</c:v>
                </c:pt>
                <c:pt idx="5289">
                  <c:v>-1.09243697478991E-2</c:v>
                </c:pt>
                <c:pt idx="5290">
                  <c:v>-1.1764705882352899E-2</c:v>
                </c:pt>
                <c:pt idx="5291">
                  <c:v>-1.1764705882352899E-2</c:v>
                </c:pt>
                <c:pt idx="5292">
                  <c:v>-1.1764705882352899E-2</c:v>
                </c:pt>
                <c:pt idx="5293">
                  <c:v>-1.1764705882352899E-2</c:v>
                </c:pt>
                <c:pt idx="5294">
                  <c:v>-1.1764705882352899E-2</c:v>
                </c:pt>
                <c:pt idx="5295">
                  <c:v>-1.1764705882352899E-2</c:v>
                </c:pt>
                <c:pt idx="5296">
                  <c:v>-1.1764705882352899E-2</c:v>
                </c:pt>
                <c:pt idx="5297">
                  <c:v>-1.1764705882352899E-2</c:v>
                </c:pt>
                <c:pt idx="5298">
                  <c:v>-1.1764705882352899E-2</c:v>
                </c:pt>
                <c:pt idx="5299">
                  <c:v>-1.1764705882352899E-2</c:v>
                </c:pt>
                <c:pt idx="5300">
                  <c:v>-1.1764705882352899E-2</c:v>
                </c:pt>
                <c:pt idx="5301">
                  <c:v>-1.1764705882352899E-2</c:v>
                </c:pt>
                <c:pt idx="5302">
                  <c:v>-1.1764705882352899E-2</c:v>
                </c:pt>
                <c:pt idx="5303">
                  <c:v>-1.1764705882352899E-2</c:v>
                </c:pt>
                <c:pt idx="5304">
                  <c:v>-1.1764705882352899E-2</c:v>
                </c:pt>
                <c:pt idx="5305">
                  <c:v>-1.1764705882352899E-2</c:v>
                </c:pt>
                <c:pt idx="5306">
                  <c:v>-1.1764705882352899E-2</c:v>
                </c:pt>
                <c:pt idx="5307">
                  <c:v>-1.1764705882352899E-2</c:v>
                </c:pt>
                <c:pt idx="5308">
                  <c:v>-1.1764705882352899E-2</c:v>
                </c:pt>
                <c:pt idx="5309">
                  <c:v>-1.1764705882352899E-2</c:v>
                </c:pt>
                <c:pt idx="5310">
                  <c:v>-1.1764705882352899E-2</c:v>
                </c:pt>
                <c:pt idx="5311">
                  <c:v>-1.1764705882352899E-2</c:v>
                </c:pt>
                <c:pt idx="5312">
                  <c:v>-1.1764705882352899E-2</c:v>
                </c:pt>
                <c:pt idx="5313">
                  <c:v>-1.1764705882352899E-2</c:v>
                </c:pt>
                <c:pt idx="5314">
                  <c:v>-1.1764705882352899E-2</c:v>
                </c:pt>
                <c:pt idx="5315">
                  <c:v>-1.1764705882352899E-2</c:v>
                </c:pt>
                <c:pt idx="5316">
                  <c:v>-1.1764705882352899E-2</c:v>
                </c:pt>
                <c:pt idx="5317">
                  <c:v>-1.1764705882352899E-2</c:v>
                </c:pt>
                <c:pt idx="5318">
                  <c:v>-1.1764705882352899E-2</c:v>
                </c:pt>
                <c:pt idx="5319">
                  <c:v>-1.1764705882352899E-2</c:v>
                </c:pt>
                <c:pt idx="5320">
                  <c:v>-1.1764705882352899E-2</c:v>
                </c:pt>
                <c:pt idx="5321">
                  <c:v>-1.1764705882352899E-2</c:v>
                </c:pt>
                <c:pt idx="5322">
                  <c:v>-1.1764705882352899E-2</c:v>
                </c:pt>
                <c:pt idx="5323">
                  <c:v>-1.1764705882352899E-2</c:v>
                </c:pt>
                <c:pt idx="5324">
                  <c:v>-1.1764705882352899E-2</c:v>
                </c:pt>
                <c:pt idx="5325">
                  <c:v>-1.26050420168067E-2</c:v>
                </c:pt>
                <c:pt idx="5326">
                  <c:v>-1.26050420168067E-2</c:v>
                </c:pt>
                <c:pt idx="5327">
                  <c:v>-1.26050420168067E-2</c:v>
                </c:pt>
                <c:pt idx="5328">
                  <c:v>-1.26050420168067E-2</c:v>
                </c:pt>
                <c:pt idx="5329">
                  <c:v>-1.26050420168067E-2</c:v>
                </c:pt>
                <c:pt idx="5330">
                  <c:v>-1.26050420168067E-2</c:v>
                </c:pt>
                <c:pt idx="5331">
                  <c:v>-1.26050420168067E-2</c:v>
                </c:pt>
                <c:pt idx="5332">
                  <c:v>-1.26050420168067E-2</c:v>
                </c:pt>
                <c:pt idx="5333">
                  <c:v>-1.26050420168067E-2</c:v>
                </c:pt>
                <c:pt idx="5334">
                  <c:v>-1.26050420168067E-2</c:v>
                </c:pt>
                <c:pt idx="5335">
                  <c:v>-1.26050420168067E-2</c:v>
                </c:pt>
                <c:pt idx="5336">
                  <c:v>-1.26050420168067E-2</c:v>
                </c:pt>
                <c:pt idx="5337">
                  <c:v>-1.26050420168067E-2</c:v>
                </c:pt>
                <c:pt idx="5338">
                  <c:v>-1.1764705882352899E-2</c:v>
                </c:pt>
                <c:pt idx="5339">
                  <c:v>-1.1764705882352899E-2</c:v>
                </c:pt>
                <c:pt idx="5340">
                  <c:v>-1.1764705882352899E-2</c:v>
                </c:pt>
                <c:pt idx="5341">
                  <c:v>-1.1764705882352899E-2</c:v>
                </c:pt>
                <c:pt idx="5342">
                  <c:v>-1.1764705882352899E-2</c:v>
                </c:pt>
                <c:pt idx="5343">
                  <c:v>-1.1764705882352899E-2</c:v>
                </c:pt>
                <c:pt idx="5344">
                  <c:v>-1.1764705882352899E-2</c:v>
                </c:pt>
                <c:pt idx="5345">
                  <c:v>-1.1764705882352899E-2</c:v>
                </c:pt>
                <c:pt idx="5346">
                  <c:v>-1.1764705882352899E-2</c:v>
                </c:pt>
                <c:pt idx="5347">
                  <c:v>-1.1764705882352899E-2</c:v>
                </c:pt>
                <c:pt idx="5348">
                  <c:v>-1.1764705882352899E-2</c:v>
                </c:pt>
                <c:pt idx="5349">
                  <c:v>-1.1764705882352899E-2</c:v>
                </c:pt>
                <c:pt idx="5350">
                  <c:v>-1.1764705882352899E-2</c:v>
                </c:pt>
                <c:pt idx="5351">
                  <c:v>-1.1764705882352899E-2</c:v>
                </c:pt>
                <c:pt idx="5352">
                  <c:v>-1.1764705882352899E-2</c:v>
                </c:pt>
                <c:pt idx="5353">
                  <c:v>-1.1764705882352899E-2</c:v>
                </c:pt>
                <c:pt idx="5354">
                  <c:v>-1.1764705882352899E-2</c:v>
                </c:pt>
                <c:pt idx="5355">
                  <c:v>-1.1764705882352899E-2</c:v>
                </c:pt>
                <c:pt idx="5356">
                  <c:v>-1.26050420168066E-2</c:v>
                </c:pt>
                <c:pt idx="5357">
                  <c:v>-1.26050420168066E-2</c:v>
                </c:pt>
                <c:pt idx="5358">
                  <c:v>-1.26050420168066E-2</c:v>
                </c:pt>
                <c:pt idx="5359">
                  <c:v>-1.26050420168066E-2</c:v>
                </c:pt>
                <c:pt idx="5360">
                  <c:v>-1.26050420168066E-2</c:v>
                </c:pt>
                <c:pt idx="5361">
                  <c:v>-1.26050420168066E-2</c:v>
                </c:pt>
                <c:pt idx="5362">
                  <c:v>-1.26050420168066E-2</c:v>
                </c:pt>
                <c:pt idx="5363">
                  <c:v>-1.3445378151260399E-2</c:v>
                </c:pt>
                <c:pt idx="5364">
                  <c:v>-1.42857142857142E-2</c:v>
                </c:pt>
                <c:pt idx="5365">
                  <c:v>-1.42857142857142E-2</c:v>
                </c:pt>
                <c:pt idx="5366">
                  <c:v>-1.42857142857142E-2</c:v>
                </c:pt>
                <c:pt idx="5367">
                  <c:v>-1.42857142857142E-2</c:v>
                </c:pt>
                <c:pt idx="5368">
                  <c:v>-1.42857142857142E-2</c:v>
                </c:pt>
                <c:pt idx="5369">
                  <c:v>-1.42857142857142E-2</c:v>
                </c:pt>
                <c:pt idx="5370">
                  <c:v>-1.42857142857142E-2</c:v>
                </c:pt>
                <c:pt idx="5371">
                  <c:v>-1.42857142857142E-2</c:v>
                </c:pt>
                <c:pt idx="5372">
                  <c:v>-1.42857142857142E-2</c:v>
                </c:pt>
                <c:pt idx="5373">
                  <c:v>-1.42857142857142E-2</c:v>
                </c:pt>
                <c:pt idx="5374">
                  <c:v>-1.42857142857142E-2</c:v>
                </c:pt>
                <c:pt idx="5375">
                  <c:v>-1.42857142857142E-2</c:v>
                </c:pt>
                <c:pt idx="5376">
                  <c:v>-1.42857142857142E-2</c:v>
                </c:pt>
                <c:pt idx="5377">
                  <c:v>-1.42857142857142E-2</c:v>
                </c:pt>
                <c:pt idx="5378">
                  <c:v>-1.42857142857142E-2</c:v>
                </c:pt>
                <c:pt idx="5379">
                  <c:v>-1.42857142857142E-2</c:v>
                </c:pt>
                <c:pt idx="5380">
                  <c:v>-1.42857142857142E-2</c:v>
                </c:pt>
                <c:pt idx="5381">
                  <c:v>-1.42857142857142E-2</c:v>
                </c:pt>
                <c:pt idx="5382">
                  <c:v>-1.42857142857142E-2</c:v>
                </c:pt>
                <c:pt idx="5383">
                  <c:v>-1.42857142857142E-2</c:v>
                </c:pt>
                <c:pt idx="5384">
                  <c:v>-1.42857142857142E-2</c:v>
                </c:pt>
                <c:pt idx="5385">
                  <c:v>-1.42857142857142E-2</c:v>
                </c:pt>
                <c:pt idx="5386">
                  <c:v>-1.42857142857142E-2</c:v>
                </c:pt>
                <c:pt idx="5387">
                  <c:v>-1.42857142857142E-2</c:v>
                </c:pt>
                <c:pt idx="5388">
                  <c:v>-1.42857142857142E-2</c:v>
                </c:pt>
                <c:pt idx="5389">
                  <c:v>-1.42857142857142E-2</c:v>
                </c:pt>
                <c:pt idx="5390">
                  <c:v>-1.42857142857142E-2</c:v>
                </c:pt>
                <c:pt idx="5391">
                  <c:v>-1.42857142857142E-2</c:v>
                </c:pt>
                <c:pt idx="5392">
                  <c:v>-1.42857142857142E-2</c:v>
                </c:pt>
                <c:pt idx="5393">
                  <c:v>-1.42857142857142E-2</c:v>
                </c:pt>
                <c:pt idx="5394">
                  <c:v>-1.42857142857142E-2</c:v>
                </c:pt>
                <c:pt idx="5395">
                  <c:v>-1.42857142857142E-2</c:v>
                </c:pt>
                <c:pt idx="5396">
                  <c:v>-1.42857142857142E-2</c:v>
                </c:pt>
                <c:pt idx="5397">
                  <c:v>-1.42857142857142E-2</c:v>
                </c:pt>
                <c:pt idx="5398">
                  <c:v>-1.42857142857142E-2</c:v>
                </c:pt>
                <c:pt idx="5399">
                  <c:v>-1.42857142857142E-2</c:v>
                </c:pt>
                <c:pt idx="5400">
                  <c:v>-1.42857142857142E-2</c:v>
                </c:pt>
                <c:pt idx="5401">
                  <c:v>-1.42857142857142E-2</c:v>
                </c:pt>
                <c:pt idx="5402">
                  <c:v>-1.42857142857142E-2</c:v>
                </c:pt>
                <c:pt idx="5403">
                  <c:v>-1.42857142857142E-2</c:v>
                </c:pt>
                <c:pt idx="5404">
                  <c:v>-1.42857142857142E-2</c:v>
                </c:pt>
                <c:pt idx="5405">
                  <c:v>-1.42857142857142E-2</c:v>
                </c:pt>
                <c:pt idx="5406">
                  <c:v>-1.42857142857142E-2</c:v>
                </c:pt>
                <c:pt idx="5407">
                  <c:v>-1.42857142857142E-2</c:v>
                </c:pt>
                <c:pt idx="5408">
                  <c:v>-1.42857142857142E-2</c:v>
                </c:pt>
                <c:pt idx="5409">
                  <c:v>-1.42857142857142E-2</c:v>
                </c:pt>
                <c:pt idx="5410">
                  <c:v>-1.42857142857142E-2</c:v>
                </c:pt>
                <c:pt idx="5411">
                  <c:v>-1.42857142857142E-2</c:v>
                </c:pt>
                <c:pt idx="5412">
                  <c:v>-1.42857142857142E-2</c:v>
                </c:pt>
                <c:pt idx="5413">
                  <c:v>-1.42857142857142E-2</c:v>
                </c:pt>
                <c:pt idx="5414">
                  <c:v>-1.42857142857142E-2</c:v>
                </c:pt>
                <c:pt idx="5415">
                  <c:v>-1.42857142857142E-2</c:v>
                </c:pt>
                <c:pt idx="5416">
                  <c:v>-1.42857142857142E-2</c:v>
                </c:pt>
                <c:pt idx="5417">
                  <c:v>-1.42857142857142E-2</c:v>
                </c:pt>
                <c:pt idx="5418">
                  <c:v>-1.42857142857142E-2</c:v>
                </c:pt>
                <c:pt idx="5419">
                  <c:v>-1.42857142857142E-2</c:v>
                </c:pt>
                <c:pt idx="5420">
                  <c:v>-1.42857142857142E-2</c:v>
                </c:pt>
                <c:pt idx="5421">
                  <c:v>-1.42857142857142E-2</c:v>
                </c:pt>
                <c:pt idx="5422">
                  <c:v>-1.42857142857142E-2</c:v>
                </c:pt>
                <c:pt idx="5423">
                  <c:v>-1.42857142857142E-2</c:v>
                </c:pt>
                <c:pt idx="5424">
                  <c:v>-1.42857142857142E-2</c:v>
                </c:pt>
                <c:pt idx="5425">
                  <c:v>-1.42857142857142E-2</c:v>
                </c:pt>
                <c:pt idx="5426">
                  <c:v>-1.42857142857142E-2</c:v>
                </c:pt>
                <c:pt idx="5427">
                  <c:v>-1.42857142857142E-2</c:v>
                </c:pt>
                <c:pt idx="5428">
                  <c:v>-1.42857142857142E-2</c:v>
                </c:pt>
                <c:pt idx="5429">
                  <c:v>-1.42857142857142E-2</c:v>
                </c:pt>
                <c:pt idx="5430">
                  <c:v>-1.42857142857142E-2</c:v>
                </c:pt>
                <c:pt idx="5431">
                  <c:v>-1.42857142857142E-2</c:v>
                </c:pt>
                <c:pt idx="5432">
                  <c:v>-1.42857142857142E-2</c:v>
                </c:pt>
                <c:pt idx="5433">
                  <c:v>-1.42857142857142E-2</c:v>
                </c:pt>
                <c:pt idx="5434">
                  <c:v>-1.42857142857142E-2</c:v>
                </c:pt>
                <c:pt idx="5435">
                  <c:v>-1.42857142857142E-2</c:v>
                </c:pt>
                <c:pt idx="5436">
                  <c:v>-1.42857142857142E-2</c:v>
                </c:pt>
                <c:pt idx="5437">
                  <c:v>-1.5126050420168E-2</c:v>
                </c:pt>
                <c:pt idx="5438">
                  <c:v>-1.5126050420168E-2</c:v>
                </c:pt>
                <c:pt idx="5439">
                  <c:v>-1.5126050420168E-2</c:v>
                </c:pt>
                <c:pt idx="5440">
                  <c:v>-1.5126050420168E-2</c:v>
                </c:pt>
                <c:pt idx="5441">
                  <c:v>-1.5126050420168E-2</c:v>
                </c:pt>
                <c:pt idx="5442">
                  <c:v>-1.5126050420168E-2</c:v>
                </c:pt>
                <c:pt idx="5443">
                  <c:v>-1.5126050420168E-2</c:v>
                </c:pt>
                <c:pt idx="5444">
                  <c:v>-1.5126050420168E-2</c:v>
                </c:pt>
                <c:pt idx="5445">
                  <c:v>-1.5126050420168E-2</c:v>
                </c:pt>
                <c:pt idx="5446">
                  <c:v>-1.5126050420168E-2</c:v>
                </c:pt>
                <c:pt idx="5447">
                  <c:v>-1.5126050420168E-2</c:v>
                </c:pt>
                <c:pt idx="5448">
                  <c:v>-1.5126050420168E-2</c:v>
                </c:pt>
                <c:pt idx="5449">
                  <c:v>-1.5126050420168E-2</c:v>
                </c:pt>
                <c:pt idx="5450">
                  <c:v>-1.5126050420168E-2</c:v>
                </c:pt>
                <c:pt idx="5451">
                  <c:v>-1.5126050420168E-2</c:v>
                </c:pt>
                <c:pt idx="5452">
                  <c:v>-1.5126050420168E-2</c:v>
                </c:pt>
                <c:pt idx="5453">
                  <c:v>-1.5126050420168E-2</c:v>
                </c:pt>
                <c:pt idx="5454">
                  <c:v>-1.5126050420168E-2</c:v>
                </c:pt>
                <c:pt idx="5455">
                  <c:v>-1.5126050420168E-2</c:v>
                </c:pt>
                <c:pt idx="5456">
                  <c:v>-1.5126050420168E-2</c:v>
                </c:pt>
                <c:pt idx="5457">
                  <c:v>-1.5126050420168E-2</c:v>
                </c:pt>
                <c:pt idx="5458">
                  <c:v>-1.5126050420168E-2</c:v>
                </c:pt>
                <c:pt idx="5459">
                  <c:v>-1.5126050420168E-2</c:v>
                </c:pt>
                <c:pt idx="5460">
                  <c:v>-1.5126050420168E-2</c:v>
                </c:pt>
                <c:pt idx="5461">
                  <c:v>-1.5126050420168E-2</c:v>
                </c:pt>
                <c:pt idx="5462">
                  <c:v>-1.5126050420168E-2</c:v>
                </c:pt>
                <c:pt idx="5463">
                  <c:v>-1.5126050420168E-2</c:v>
                </c:pt>
                <c:pt idx="5464">
                  <c:v>-1.5126050420168E-2</c:v>
                </c:pt>
                <c:pt idx="5465">
                  <c:v>-1.5126050420168E-2</c:v>
                </c:pt>
                <c:pt idx="5466">
                  <c:v>-1.5126050420168E-2</c:v>
                </c:pt>
                <c:pt idx="5467">
                  <c:v>-1.5126050420168E-2</c:v>
                </c:pt>
                <c:pt idx="5468">
                  <c:v>-1.5126050420168E-2</c:v>
                </c:pt>
                <c:pt idx="5469">
                  <c:v>-1.5126050420168E-2</c:v>
                </c:pt>
                <c:pt idx="5470">
                  <c:v>-1.5126050420168E-2</c:v>
                </c:pt>
                <c:pt idx="5471">
                  <c:v>-1.5126050420168E-2</c:v>
                </c:pt>
                <c:pt idx="5472">
                  <c:v>-1.5966386554621799E-2</c:v>
                </c:pt>
                <c:pt idx="5473">
                  <c:v>-1.5966386554621799E-2</c:v>
                </c:pt>
                <c:pt idx="5474">
                  <c:v>-1.5966386554621799E-2</c:v>
                </c:pt>
                <c:pt idx="5475">
                  <c:v>-1.5966386554621799E-2</c:v>
                </c:pt>
                <c:pt idx="5476">
                  <c:v>-1.5966386554621799E-2</c:v>
                </c:pt>
                <c:pt idx="5477">
                  <c:v>-1.5966386554621799E-2</c:v>
                </c:pt>
                <c:pt idx="5478">
                  <c:v>-1.5966386554621799E-2</c:v>
                </c:pt>
                <c:pt idx="5479">
                  <c:v>-1.5966386554621799E-2</c:v>
                </c:pt>
                <c:pt idx="5480">
                  <c:v>-1.5966386554621799E-2</c:v>
                </c:pt>
                <c:pt idx="5481">
                  <c:v>-1.5966386554621799E-2</c:v>
                </c:pt>
                <c:pt idx="5482">
                  <c:v>-1.5966386554621799E-2</c:v>
                </c:pt>
                <c:pt idx="5483">
                  <c:v>-1.5966386554621799E-2</c:v>
                </c:pt>
                <c:pt idx="5484">
                  <c:v>-1.5966386554621799E-2</c:v>
                </c:pt>
                <c:pt idx="5485">
                  <c:v>-1.5966386554621799E-2</c:v>
                </c:pt>
                <c:pt idx="5486">
                  <c:v>-1.5966386554621799E-2</c:v>
                </c:pt>
                <c:pt idx="5487">
                  <c:v>-1.5966386554621799E-2</c:v>
                </c:pt>
                <c:pt idx="5488">
                  <c:v>-1.5966386554621799E-2</c:v>
                </c:pt>
                <c:pt idx="5489">
                  <c:v>-1.5966386554621799E-2</c:v>
                </c:pt>
                <c:pt idx="5490">
                  <c:v>-1.5966386554621799E-2</c:v>
                </c:pt>
                <c:pt idx="5491">
                  <c:v>-1.5966386554621799E-2</c:v>
                </c:pt>
                <c:pt idx="5492">
                  <c:v>-1.5966386554621799E-2</c:v>
                </c:pt>
                <c:pt idx="5493">
                  <c:v>-1.5966386554621799E-2</c:v>
                </c:pt>
                <c:pt idx="5494">
                  <c:v>-1.5966386554621799E-2</c:v>
                </c:pt>
                <c:pt idx="5495">
                  <c:v>-1.5966386554621799E-2</c:v>
                </c:pt>
                <c:pt idx="5496">
                  <c:v>-1.5966386554621799E-2</c:v>
                </c:pt>
                <c:pt idx="5497">
                  <c:v>-1.5966386554621799E-2</c:v>
                </c:pt>
                <c:pt idx="5498">
                  <c:v>-1.5966386554621799E-2</c:v>
                </c:pt>
                <c:pt idx="5499">
                  <c:v>-1.5966386554621799E-2</c:v>
                </c:pt>
                <c:pt idx="5500">
                  <c:v>-1.5126050420168E-2</c:v>
                </c:pt>
                <c:pt idx="5501">
                  <c:v>-1.5126050420168E-2</c:v>
                </c:pt>
                <c:pt idx="5502">
                  <c:v>-1.5126050420168E-2</c:v>
                </c:pt>
                <c:pt idx="5503">
                  <c:v>-1.5126050420168E-2</c:v>
                </c:pt>
                <c:pt idx="5504">
                  <c:v>-1.5126050420168E-2</c:v>
                </c:pt>
                <c:pt idx="5505">
                  <c:v>-1.5126050420168E-2</c:v>
                </c:pt>
                <c:pt idx="5506">
                  <c:v>-1.5126050420168E-2</c:v>
                </c:pt>
                <c:pt idx="5507">
                  <c:v>-1.5126050420168E-2</c:v>
                </c:pt>
                <c:pt idx="5508">
                  <c:v>-1.5126050420168E-2</c:v>
                </c:pt>
                <c:pt idx="5509">
                  <c:v>-1.5126050420168E-2</c:v>
                </c:pt>
                <c:pt idx="5510">
                  <c:v>-1.5126050420168E-2</c:v>
                </c:pt>
                <c:pt idx="5511">
                  <c:v>-1.5126050420168E-2</c:v>
                </c:pt>
                <c:pt idx="5512">
                  <c:v>-1.5126050420168E-2</c:v>
                </c:pt>
                <c:pt idx="5513">
                  <c:v>-1.5126050420168E-2</c:v>
                </c:pt>
                <c:pt idx="5514">
                  <c:v>-1.5126050420168E-2</c:v>
                </c:pt>
                <c:pt idx="5515">
                  <c:v>-1.5126050420168E-2</c:v>
                </c:pt>
                <c:pt idx="5516">
                  <c:v>-1.5126050420168E-2</c:v>
                </c:pt>
                <c:pt idx="5517">
                  <c:v>-1.5126050420168E-2</c:v>
                </c:pt>
                <c:pt idx="5518">
                  <c:v>-1.5126050420168E-2</c:v>
                </c:pt>
                <c:pt idx="5519">
                  <c:v>-1.5126050420168E-2</c:v>
                </c:pt>
                <c:pt idx="5520">
                  <c:v>-1.5126050420168E-2</c:v>
                </c:pt>
                <c:pt idx="5521">
                  <c:v>-1.5126050420168E-2</c:v>
                </c:pt>
                <c:pt idx="5522">
                  <c:v>-1.5126050420168E-2</c:v>
                </c:pt>
                <c:pt idx="5523">
                  <c:v>-1.5126050420168E-2</c:v>
                </c:pt>
                <c:pt idx="5524">
                  <c:v>-1.5126050420168E-2</c:v>
                </c:pt>
                <c:pt idx="5525">
                  <c:v>-1.5126050420168E-2</c:v>
                </c:pt>
                <c:pt idx="5526">
                  <c:v>-1.5126050420168E-2</c:v>
                </c:pt>
                <c:pt idx="5527">
                  <c:v>-1.5126050420168E-2</c:v>
                </c:pt>
                <c:pt idx="5528">
                  <c:v>-1.5966386554621799E-2</c:v>
                </c:pt>
                <c:pt idx="5529">
                  <c:v>-1.5966386554621799E-2</c:v>
                </c:pt>
                <c:pt idx="5530">
                  <c:v>-1.5966386554621799E-2</c:v>
                </c:pt>
                <c:pt idx="5531">
                  <c:v>-1.5966386554621799E-2</c:v>
                </c:pt>
                <c:pt idx="5532">
                  <c:v>-1.5966386554621799E-2</c:v>
                </c:pt>
                <c:pt idx="5533">
                  <c:v>-1.5966386554621799E-2</c:v>
                </c:pt>
                <c:pt idx="5534">
                  <c:v>-1.5966386554621799E-2</c:v>
                </c:pt>
                <c:pt idx="5535">
                  <c:v>-1.5966386554621799E-2</c:v>
                </c:pt>
                <c:pt idx="5536">
                  <c:v>-1.5966386554621799E-2</c:v>
                </c:pt>
                <c:pt idx="5537">
                  <c:v>-1.5966386554621799E-2</c:v>
                </c:pt>
                <c:pt idx="5538">
                  <c:v>-1.5966386554621799E-2</c:v>
                </c:pt>
                <c:pt idx="5539">
                  <c:v>-1.5966386554621799E-2</c:v>
                </c:pt>
                <c:pt idx="5540">
                  <c:v>-1.5966386554621799E-2</c:v>
                </c:pt>
                <c:pt idx="5541">
                  <c:v>-1.5966386554621799E-2</c:v>
                </c:pt>
                <c:pt idx="5542">
                  <c:v>-1.5966386554621799E-2</c:v>
                </c:pt>
                <c:pt idx="5543">
                  <c:v>-1.5966386554621799E-2</c:v>
                </c:pt>
                <c:pt idx="5544">
                  <c:v>-1.5966386554621799E-2</c:v>
                </c:pt>
                <c:pt idx="5545">
                  <c:v>-1.5966386554621799E-2</c:v>
                </c:pt>
                <c:pt idx="5546">
                  <c:v>-1.5966386554621799E-2</c:v>
                </c:pt>
                <c:pt idx="5547">
                  <c:v>-1.5966386554621799E-2</c:v>
                </c:pt>
                <c:pt idx="5548">
                  <c:v>-1.6806722689075598E-2</c:v>
                </c:pt>
                <c:pt idx="5549">
                  <c:v>-1.6806722689075598E-2</c:v>
                </c:pt>
                <c:pt idx="5550">
                  <c:v>-1.6806722689075598E-2</c:v>
                </c:pt>
                <c:pt idx="5551">
                  <c:v>-1.5966386554621799E-2</c:v>
                </c:pt>
                <c:pt idx="5552">
                  <c:v>-1.5966386554621799E-2</c:v>
                </c:pt>
                <c:pt idx="5553">
                  <c:v>-1.5966386554621799E-2</c:v>
                </c:pt>
                <c:pt idx="5554">
                  <c:v>-1.5966386554621799E-2</c:v>
                </c:pt>
                <c:pt idx="5555">
                  <c:v>-1.5966386554621799E-2</c:v>
                </c:pt>
                <c:pt idx="5556">
                  <c:v>-1.5966386554621799E-2</c:v>
                </c:pt>
                <c:pt idx="5557">
                  <c:v>-1.5966386554621799E-2</c:v>
                </c:pt>
                <c:pt idx="5558">
                  <c:v>-1.5966386554621799E-2</c:v>
                </c:pt>
                <c:pt idx="5559">
                  <c:v>-1.5966386554621799E-2</c:v>
                </c:pt>
                <c:pt idx="5560">
                  <c:v>-1.5966386554621799E-2</c:v>
                </c:pt>
                <c:pt idx="5561">
                  <c:v>-1.5966386554621799E-2</c:v>
                </c:pt>
                <c:pt idx="5562">
                  <c:v>-1.5966386554621799E-2</c:v>
                </c:pt>
                <c:pt idx="5563">
                  <c:v>-1.5966386554621799E-2</c:v>
                </c:pt>
                <c:pt idx="5564">
                  <c:v>-1.5966386554621799E-2</c:v>
                </c:pt>
                <c:pt idx="5565">
                  <c:v>-1.6806722689075598E-2</c:v>
                </c:pt>
                <c:pt idx="5566">
                  <c:v>-1.6806722689075598E-2</c:v>
                </c:pt>
                <c:pt idx="5567">
                  <c:v>-1.6806722689075598E-2</c:v>
                </c:pt>
                <c:pt idx="5568">
                  <c:v>-1.6806722689075598E-2</c:v>
                </c:pt>
                <c:pt idx="5569">
                  <c:v>-1.6806722689075598E-2</c:v>
                </c:pt>
                <c:pt idx="5570">
                  <c:v>-1.5966386554621799E-2</c:v>
                </c:pt>
                <c:pt idx="5571">
                  <c:v>-1.5966386554621799E-2</c:v>
                </c:pt>
                <c:pt idx="5572">
                  <c:v>-1.5966386554621799E-2</c:v>
                </c:pt>
                <c:pt idx="5573">
                  <c:v>-1.5966386554621799E-2</c:v>
                </c:pt>
                <c:pt idx="5574">
                  <c:v>-1.5966386554621799E-2</c:v>
                </c:pt>
                <c:pt idx="5575">
                  <c:v>-1.5966386554621799E-2</c:v>
                </c:pt>
                <c:pt idx="5576">
                  <c:v>-1.5966386554621799E-2</c:v>
                </c:pt>
                <c:pt idx="5577">
                  <c:v>-1.5966386554621799E-2</c:v>
                </c:pt>
                <c:pt idx="5578">
                  <c:v>-1.5966386554621799E-2</c:v>
                </c:pt>
                <c:pt idx="5579">
                  <c:v>-1.5966386554621799E-2</c:v>
                </c:pt>
                <c:pt idx="5580">
                  <c:v>-1.5966386554621799E-2</c:v>
                </c:pt>
                <c:pt idx="5581">
                  <c:v>-1.5966386554621799E-2</c:v>
                </c:pt>
                <c:pt idx="5582">
                  <c:v>-1.5966386554621799E-2</c:v>
                </c:pt>
                <c:pt idx="5583">
                  <c:v>-1.6806722689075598E-2</c:v>
                </c:pt>
                <c:pt idx="5584">
                  <c:v>-1.6806722689075598E-2</c:v>
                </c:pt>
                <c:pt idx="5585">
                  <c:v>-1.6806722689075598E-2</c:v>
                </c:pt>
                <c:pt idx="5586">
                  <c:v>-1.6806722689075598E-2</c:v>
                </c:pt>
                <c:pt idx="5587">
                  <c:v>-1.6806722689075598E-2</c:v>
                </c:pt>
                <c:pt idx="5588">
                  <c:v>-1.6806722689075598E-2</c:v>
                </c:pt>
                <c:pt idx="5589">
                  <c:v>-1.6806722689075598E-2</c:v>
                </c:pt>
                <c:pt idx="5590">
                  <c:v>-1.6806722689075598E-2</c:v>
                </c:pt>
                <c:pt idx="5591">
                  <c:v>-1.6806722689075598E-2</c:v>
                </c:pt>
                <c:pt idx="5592">
                  <c:v>-1.6806722689075598E-2</c:v>
                </c:pt>
                <c:pt idx="5593">
                  <c:v>-1.6806722689075598E-2</c:v>
                </c:pt>
                <c:pt idx="5594">
                  <c:v>-1.6806722689075598E-2</c:v>
                </c:pt>
                <c:pt idx="5595">
                  <c:v>-1.6806722689075598E-2</c:v>
                </c:pt>
                <c:pt idx="5596">
                  <c:v>-1.6806722689075598E-2</c:v>
                </c:pt>
                <c:pt idx="5597">
                  <c:v>-1.6806722689075598E-2</c:v>
                </c:pt>
                <c:pt idx="5598">
                  <c:v>-1.6806722689075598E-2</c:v>
                </c:pt>
                <c:pt idx="5599">
                  <c:v>-1.6806722689075598E-2</c:v>
                </c:pt>
                <c:pt idx="5600">
                  <c:v>-1.6806722689075598E-2</c:v>
                </c:pt>
                <c:pt idx="5601">
                  <c:v>-1.6806722689075598E-2</c:v>
                </c:pt>
                <c:pt idx="5602">
                  <c:v>-1.6806722689075598E-2</c:v>
                </c:pt>
                <c:pt idx="5603">
                  <c:v>-1.6806722689075598E-2</c:v>
                </c:pt>
                <c:pt idx="5604">
                  <c:v>-1.6806722689075598E-2</c:v>
                </c:pt>
                <c:pt idx="5605">
                  <c:v>-1.7647058823529401E-2</c:v>
                </c:pt>
                <c:pt idx="5606">
                  <c:v>-1.7647058823529401E-2</c:v>
                </c:pt>
                <c:pt idx="5607">
                  <c:v>-1.7647058823529401E-2</c:v>
                </c:pt>
                <c:pt idx="5608">
                  <c:v>-1.7647058823529401E-2</c:v>
                </c:pt>
                <c:pt idx="5609">
                  <c:v>-1.7647058823529401E-2</c:v>
                </c:pt>
                <c:pt idx="5610">
                  <c:v>-1.7647058823529401E-2</c:v>
                </c:pt>
                <c:pt idx="5611">
                  <c:v>-1.7647058823529401E-2</c:v>
                </c:pt>
                <c:pt idx="5612">
                  <c:v>-1.7647058823529401E-2</c:v>
                </c:pt>
                <c:pt idx="5613">
                  <c:v>-1.7647058823529401E-2</c:v>
                </c:pt>
                <c:pt idx="5614">
                  <c:v>-1.7647058823529401E-2</c:v>
                </c:pt>
                <c:pt idx="5615">
                  <c:v>-1.7647058823529401E-2</c:v>
                </c:pt>
                <c:pt idx="5616">
                  <c:v>-1.7647058823529401E-2</c:v>
                </c:pt>
                <c:pt idx="5617">
                  <c:v>-1.7647058823529401E-2</c:v>
                </c:pt>
                <c:pt idx="5618">
                  <c:v>-1.7647058823529401E-2</c:v>
                </c:pt>
                <c:pt idx="5619">
                  <c:v>-1.7647058823529401E-2</c:v>
                </c:pt>
                <c:pt idx="5620">
                  <c:v>-1.7647058823529401E-2</c:v>
                </c:pt>
                <c:pt idx="5621">
                  <c:v>-1.7647058823529401E-2</c:v>
                </c:pt>
                <c:pt idx="5622">
                  <c:v>-1.7647058823529401E-2</c:v>
                </c:pt>
                <c:pt idx="5623">
                  <c:v>-1.7647058823529401E-2</c:v>
                </c:pt>
                <c:pt idx="5624">
                  <c:v>-1.7647058823529401E-2</c:v>
                </c:pt>
                <c:pt idx="5625">
                  <c:v>-1.7647058823529401E-2</c:v>
                </c:pt>
                <c:pt idx="5626">
                  <c:v>-1.7647058823529401E-2</c:v>
                </c:pt>
                <c:pt idx="5627">
                  <c:v>-1.7647058823529401E-2</c:v>
                </c:pt>
                <c:pt idx="5628">
                  <c:v>-1.7647058823529401E-2</c:v>
                </c:pt>
                <c:pt idx="5629">
                  <c:v>-1.7647058823529401E-2</c:v>
                </c:pt>
                <c:pt idx="5630">
                  <c:v>-1.7647058823529401E-2</c:v>
                </c:pt>
                <c:pt idx="5631">
                  <c:v>-1.7647058823529401E-2</c:v>
                </c:pt>
                <c:pt idx="5632">
                  <c:v>-1.84873949579831E-2</c:v>
                </c:pt>
                <c:pt idx="5633">
                  <c:v>-1.84873949579831E-2</c:v>
                </c:pt>
                <c:pt idx="5634">
                  <c:v>-1.84873949579831E-2</c:v>
                </c:pt>
                <c:pt idx="5635">
                  <c:v>-1.84873949579831E-2</c:v>
                </c:pt>
                <c:pt idx="5636">
                  <c:v>-1.84873949579831E-2</c:v>
                </c:pt>
                <c:pt idx="5637">
                  <c:v>-1.84873949579831E-2</c:v>
                </c:pt>
                <c:pt idx="5638">
                  <c:v>-1.84873949579831E-2</c:v>
                </c:pt>
                <c:pt idx="5639">
                  <c:v>-1.84873949579831E-2</c:v>
                </c:pt>
                <c:pt idx="5640">
                  <c:v>-1.84873949579831E-2</c:v>
                </c:pt>
                <c:pt idx="5641">
                  <c:v>-1.84873949579831E-2</c:v>
                </c:pt>
                <c:pt idx="5642">
                  <c:v>-1.84873949579831E-2</c:v>
                </c:pt>
                <c:pt idx="5643">
                  <c:v>-1.84873949579831E-2</c:v>
                </c:pt>
                <c:pt idx="5644">
                  <c:v>-1.84873949579831E-2</c:v>
                </c:pt>
                <c:pt idx="5645">
                  <c:v>-1.84873949579831E-2</c:v>
                </c:pt>
                <c:pt idx="5646">
                  <c:v>-1.84873949579831E-2</c:v>
                </c:pt>
                <c:pt idx="5647">
                  <c:v>-1.84873949579831E-2</c:v>
                </c:pt>
                <c:pt idx="5648">
                  <c:v>-1.84873949579831E-2</c:v>
                </c:pt>
                <c:pt idx="5649">
                  <c:v>-1.84873949579831E-2</c:v>
                </c:pt>
                <c:pt idx="5650">
                  <c:v>-1.84873949579831E-2</c:v>
                </c:pt>
                <c:pt idx="5651">
                  <c:v>-1.84873949579831E-2</c:v>
                </c:pt>
                <c:pt idx="5652">
                  <c:v>-1.84873949579831E-2</c:v>
                </c:pt>
                <c:pt idx="5653">
                  <c:v>-1.84873949579831E-2</c:v>
                </c:pt>
                <c:pt idx="5654">
                  <c:v>-1.84873949579831E-2</c:v>
                </c:pt>
                <c:pt idx="5655">
                  <c:v>-1.84873949579831E-2</c:v>
                </c:pt>
                <c:pt idx="5656">
                  <c:v>-1.84873949579831E-2</c:v>
                </c:pt>
                <c:pt idx="5657">
                  <c:v>-1.84873949579831E-2</c:v>
                </c:pt>
                <c:pt idx="5658">
                  <c:v>-1.9327731092436899E-2</c:v>
                </c:pt>
                <c:pt idx="5659">
                  <c:v>-1.9327731092436899E-2</c:v>
                </c:pt>
                <c:pt idx="5660">
                  <c:v>-1.9327731092436899E-2</c:v>
                </c:pt>
                <c:pt idx="5661">
                  <c:v>-1.9327731092436899E-2</c:v>
                </c:pt>
                <c:pt idx="5662">
                  <c:v>-2.0168067226890699E-2</c:v>
                </c:pt>
                <c:pt idx="5663">
                  <c:v>-2.0168067226890699E-2</c:v>
                </c:pt>
                <c:pt idx="5664">
                  <c:v>-2.0168067226890699E-2</c:v>
                </c:pt>
                <c:pt idx="5665">
                  <c:v>-2.0168067226890699E-2</c:v>
                </c:pt>
                <c:pt idx="5666">
                  <c:v>-2.0168067226890699E-2</c:v>
                </c:pt>
                <c:pt idx="5667">
                  <c:v>-2.0168067226890699E-2</c:v>
                </c:pt>
                <c:pt idx="5668">
                  <c:v>-2.0168067226890699E-2</c:v>
                </c:pt>
                <c:pt idx="5669">
                  <c:v>-2.0168067226890699E-2</c:v>
                </c:pt>
                <c:pt idx="5670">
                  <c:v>-2.0168067226890699E-2</c:v>
                </c:pt>
                <c:pt idx="5671">
                  <c:v>-1.9327731092436899E-2</c:v>
                </c:pt>
                <c:pt idx="5672">
                  <c:v>-1.84873949579831E-2</c:v>
                </c:pt>
                <c:pt idx="5673">
                  <c:v>-1.84873949579831E-2</c:v>
                </c:pt>
                <c:pt idx="5674">
                  <c:v>-1.84873949579831E-2</c:v>
                </c:pt>
                <c:pt idx="5675">
                  <c:v>-1.84873949579831E-2</c:v>
                </c:pt>
                <c:pt idx="5676">
                  <c:v>-1.84873949579831E-2</c:v>
                </c:pt>
                <c:pt idx="5677">
                  <c:v>-1.84873949579831E-2</c:v>
                </c:pt>
                <c:pt idx="5678">
                  <c:v>-1.84873949579831E-2</c:v>
                </c:pt>
                <c:pt idx="5679">
                  <c:v>-1.84873949579831E-2</c:v>
                </c:pt>
                <c:pt idx="5680">
                  <c:v>-1.84873949579831E-2</c:v>
                </c:pt>
                <c:pt idx="5681">
                  <c:v>-1.84873949579831E-2</c:v>
                </c:pt>
                <c:pt idx="5682">
                  <c:v>-1.84873949579831E-2</c:v>
                </c:pt>
                <c:pt idx="5683">
                  <c:v>-1.84873949579831E-2</c:v>
                </c:pt>
                <c:pt idx="5684">
                  <c:v>-1.84873949579831E-2</c:v>
                </c:pt>
                <c:pt idx="5685">
                  <c:v>-1.84873949579831E-2</c:v>
                </c:pt>
                <c:pt idx="5686">
                  <c:v>-1.9327731092436899E-2</c:v>
                </c:pt>
                <c:pt idx="5687">
                  <c:v>-1.84873949579831E-2</c:v>
                </c:pt>
                <c:pt idx="5688">
                  <c:v>-1.84873949579831E-2</c:v>
                </c:pt>
                <c:pt idx="5689">
                  <c:v>-1.84873949579831E-2</c:v>
                </c:pt>
                <c:pt idx="5690">
                  <c:v>-1.84873949579831E-2</c:v>
                </c:pt>
                <c:pt idx="5691">
                  <c:v>-1.84873949579831E-2</c:v>
                </c:pt>
                <c:pt idx="5692">
                  <c:v>-1.84873949579831E-2</c:v>
                </c:pt>
                <c:pt idx="5693">
                  <c:v>-1.84873949579831E-2</c:v>
                </c:pt>
                <c:pt idx="5694">
                  <c:v>-1.9327731092436899E-2</c:v>
                </c:pt>
                <c:pt idx="5695">
                  <c:v>-1.9327731092436899E-2</c:v>
                </c:pt>
                <c:pt idx="5696">
                  <c:v>-1.9327731092436899E-2</c:v>
                </c:pt>
                <c:pt idx="5697">
                  <c:v>-1.9327731092436899E-2</c:v>
                </c:pt>
                <c:pt idx="5698">
                  <c:v>-1.9327731092436899E-2</c:v>
                </c:pt>
                <c:pt idx="5699">
                  <c:v>-1.9327731092436899E-2</c:v>
                </c:pt>
                <c:pt idx="5700">
                  <c:v>-1.9327731092436899E-2</c:v>
                </c:pt>
                <c:pt idx="5701">
                  <c:v>-1.9327731092436899E-2</c:v>
                </c:pt>
                <c:pt idx="5702">
                  <c:v>-1.9327731092436899E-2</c:v>
                </c:pt>
                <c:pt idx="5703">
                  <c:v>-1.9327731092436899E-2</c:v>
                </c:pt>
                <c:pt idx="5704">
                  <c:v>-1.9327731092436899E-2</c:v>
                </c:pt>
                <c:pt idx="5705">
                  <c:v>-1.9327731092436899E-2</c:v>
                </c:pt>
                <c:pt idx="5706">
                  <c:v>-1.9327731092436899E-2</c:v>
                </c:pt>
                <c:pt idx="5707">
                  <c:v>-1.9327731092436899E-2</c:v>
                </c:pt>
                <c:pt idx="5708">
                  <c:v>-1.84873949579831E-2</c:v>
                </c:pt>
                <c:pt idx="5709">
                  <c:v>-1.84873949579831E-2</c:v>
                </c:pt>
                <c:pt idx="5710">
                  <c:v>-1.9327731092436899E-2</c:v>
                </c:pt>
                <c:pt idx="5711">
                  <c:v>-1.9327731092436899E-2</c:v>
                </c:pt>
                <c:pt idx="5712">
                  <c:v>-1.9327731092436899E-2</c:v>
                </c:pt>
                <c:pt idx="5713">
                  <c:v>-1.9327731092436899E-2</c:v>
                </c:pt>
                <c:pt idx="5714">
                  <c:v>-1.9327731092436899E-2</c:v>
                </c:pt>
                <c:pt idx="5715">
                  <c:v>-1.9327731092436899E-2</c:v>
                </c:pt>
                <c:pt idx="5716">
                  <c:v>-1.9327731092436899E-2</c:v>
                </c:pt>
                <c:pt idx="5717">
                  <c:v>-2.0168067226890699E-2</c:v>
                </c:pt>
                <c:pt idx="5718">
                  <c:v>-2.0168067226890699E-2</c:v>
                </c:pt>
                <c:pt idx="5719">
                  <c:v>-2.0168067226890699E-2</c:v>
                </c:pt>
                <c:pt idx="5720">
                  <c:v>-2.0168067226890699E-2</c:v>
                </c:pt>
                <c:pt idx="5721">
                  <c:v>-2.0168067226890699E-2</c:v>
                </c:pt>
                <c:pt idx="5722">
                  <c:v>-1.9327731092436899E-2</c:v>
                </c:pt>
                <c:pt idx="5723">
                  <c:v>-1.9327731092436899E-2</c:v>
                </c:pt>
                <c:pt idx="5724">
                  <c:v>-1.9327731092436899E-2</c:v>
                </c:pt>
                <c:pt idx="5725">
                  <c:v>-1.9327731092436899E-2</c:v>
                </c:pt>
                <c:pt idx="5726">
                  <c:v>-1.9327731092436899E-2</c:v>
                </c:pt>
                <c:pt idx="5727">
                  <c:v>-1.9327731092436899E-2</c:v>
                </c:pt>
                <c:pt idx="5728">
                  <c:v>-1.9327731092436899E-2</c:v>
                </c:pt>
                <c:pt idx="5729">
                  <c:v>-1.9327731092436899E-2</c:v>
                </c:pt>
                <c:pt idx="5730">
                  <c:v>-1.9327731092436899E-2</c:v>
                </c:pt>
                <c:pt idx="5731">
                  <c:v>-1.9327731092436899E-2</c:v>
                </c:pt>
                <c:pt idx="5732">
                  <c:v>-1.9327731092436899E-2</c:v>
                </c:pt>
                <c:pt idx="5733">
                  <c:v>-1.9327731092436899E-2</c:v>
                </c:pt>
                <c:pt idx="5734">
                  <c:v>-1.9327731092436899E-2</c:v>
                </c:pt>
                <c:pt idx="5735">
                  <c:v>-2.0168067226890699E-2</c:v>
                </c:pt>
                <c:pt idx="5736">
                  <c:v>-2.0168067226890699E-2</c:v>
                </c:pt>
                <c:pt idx="5737">
                  <c:v>-2.0168067226890699E-2</c:v>
                </c:pt>
                <c:pt idx="5738">
                  <c:v>-2.0168067226890699E-2</c:v>
                </c:pt>
                <c:pt idx="5739">
                  <c:v>-2.0168067226890699E-2</c:v>
                </c:pt>
                <c:pt idx="5740">
                  <c:v>-2.0168067226890699E-2</c:v>
                </c:pt>
                <c:pt idx="5741">
                  <c:v>-2.0168067226890699E-2</c:v>
                </c:pt>
                <c:pt idx="5742">
                  <c:v>-2.0168067226890699E-2</c:v>
                </c:pt>
                <c:pt idx="5743">
                  <c:v>-2.0168067226890699E-2</c:v>
                </c:pt>
                <c:pt idx="5744">
                  <c:v>-2.0168067226890699E-2</c:v>
                </c:pt>
                <c:pt idx="5745">
                  <c:v>-2.0168067226890699E-2</c:v>
                </c:pt>
                <c:pt idx="5746">
                  <c:v>-2.0168067226890699E-2</c:v>
                </c:pt>
                <c:pt idx="5747">
                  <c:v>-2.0168067226890699E-2</c:v>
                </c:pt>
                <c:pt idx="5748">
                  <c:v>-2.0168067226890699E-2</c:v>
                </c:pt>
                <c:pt idx="5749">
                  <c:v>-2.0168067226890699E-2</c:v>
                </c:pt>
                <c:pt idx="5750">
                  <c:v>-2.0168067226890699E-2</c:v>
                </c:pt>
                <c:pt idx="5751">
                  <c:v>-2.0168067226890699E-2</c:v>
                </c:pt>
                <c:pt idx="5752">
                  <c:v>-2.1008403361344501E-2</c:v>
                </c:pt>
                <c:pt idx="5753">
                  <c:v>-2.1008403361344501E-2</c:v>
                </c:pt>
                <c:pt idx="5754">
                  <c:v>-2.1008403361344501E-2</c:v>
                </c:pt>
                <c:pt idx="5755">
                  <c:v>-2.1008403361344501E-2</c:v>
                </c:pt>
                <c:pt idx="5756">
                  <c:v>-2.1008403361344501E-2</c:v>
                </c:pt>
                <c:pt idx="5757">
                  <c:v>-2.1008403361344501E-2</c:v>
                </c:pt>
                <c:pt idx="5758">
                  <c:v>-2.1008403361344501E-2</c:v>
                </c:pt>
                <c:pt idx="5759">
                  <c:v>-2.1008403361344501E-2</c:v>
                </c:pt>
                <c:pt idx="5760">
                  <c:v>-2.1008403361344501E-2</c:v>
                </c:pt>
                <c:pt idx="5761">
                  <c:v>-2.1008403361344501E-2</c:v>
                </c:pt>
                <c:pt idx="5762">
                  <c:v>-2.1008403361344501E-2</c:v>
                </c:pt>
                <c:pt idx="5763">
                  <c:v>-2.1008403361344501E-2</c:v>
                </c:pt>
                <c:pt idx="5764">
                  <c:v>-2.1008403361344501E-2</c:v>
                </c:pt>
                <c:pt idx="5765">
                  <c:v>-2.1008403361344501E-2</c:v>
                </c:pt>
                <c:pt idx="5766">
                  <c:v>-2.0168067226890699E-2</c:v>
                </c:pt>
                <c:pt idx="5767">
                  <c:v>-2.0168067226890699E-2</c:v>
                </c:pt>
                <c:pt idx="5768">
                  <c:v>-2.0168067226890699E-2</c:v>
                </c:pt>
                <c:pt idx="5769">
                  <c:v>-2.0168067226890699E-2</c:v>
                </c:pt>
                <c:pt idx="5770">
                  <c:v>-2.0168067226890699E-2</c:v>
                </c:pt>
                <c:pt idx="5771">
                  <c:v>-2.0168067226890699E-2</c:v>
                </c:pt>
                <c:pt idx="5772">
                  <c:v>-2.0168067226890699E-2</c:v>
                </c:pt>
                <c:pt idx="5773">
                  <c:v>-2.0168067226890699E-2</c:v>
                </c:pt>
                <c:pt idx="5774">
                  <c:v>-2.0168067226890699E-2</c:v>
                </c:pt>
                <c:pt idx="5775">
                  <c:v>-2.0168067226890699E-2</c:v>
                </c:pt>
                <c:pt idx="5776">
                  <c:v>-2.0168067226890699E-2</c:v>
                </c:pt>
                <c:pt idx="5777">
                  <c:v>-2.0168067226890699E-2</c:v>
                </c:pt>
                <c:pt idx="5778">
                  <c:v>-2.0168067226890699E-2</c:v>
                </c:pt>
                <c:pt idx="5779">
                  <c:v>-2.0168067226890699E-2</c:v>
                </c:pt>
                <c:pt idx="5780">
                  <c:v>-2.0168067226890699E-2</c:v>
                </c:pt>
                <c:pt idx="5781">
                  <c:v>-2.0168067226890699E-2</c:v>
                </c:pt>
                <c:pt idx="5782">
                  <c:v>-2.0168067226890699E-2</c:v>
                </c:pt>
                <c:pt idx="5783">
                  <c:v>-2.0168067226890699E-2</c:v>
                </c:pt>
                <c:pt idx="5784">
                  <c:v>-2.0168067226890699E-2</c:v>
                </c:pt>
                <c:pt idx="5785">
                  <c:v>-2.0168067226890699E-2</c:v>
                </c:pt>
                <c:pt idx="5786">
                  <c:v>-2.0168067226890699E-2</c:v>
                </c:pt>
                <c:pt idx="5787">
                  <c:v>-2.0168067226890699E-2</c:v>
                </c:pt>
                <c:pt idx="5788">
                  <c:v>-2.0168067226890699E-2</c:v>
                </c:pt>
                <c:pt idx="5789">
                  <c:v>-2.0168067226890699E-2</c:v>
                </c:pt>
                <c:pt idx="5790">
                  <c:v>-2.0168067226890699E-2</c:v>
                </c:pt>
                <c:pt idx="5791">
                  <c:v>-2.0168067226890699E-2</c:v>
                </c:pt>
                <c:pt idx="5792">
                  <c:v>-2.0168067226890699E-2</c:v>
                </c:pt>
                <c:pt idx="5793">
                  <c:v>-2.0168067226890699E-2</c:v>
                </c:pt>
                <c:pt idx="5794">
                  <c:v>-2.0168067226890699E-2</c:v>
                </c:pt>
                <c:pt idx="5795">
                  <c:v>-2.0168067226890699E-2</c:v>
                </c:pt>
                <c:pt idx="5796">
                  <c:v>-2.0168067226890699E-2</c:v>
                </c:pt>
                <c:pt idx="5797">
                  <c:v>-2.0168067226890699E-2</c:v>
                </c:pt>
                <c:pt idx="5798">
                  <c:v>-2.0168067226890699E-2</c:v>
                </c:pt>
                <c:pt idx="5799">
                  <c:v>-1.9327731092436899E-2</c:v>
                </c:pt>
                <c:pt idx="5800">
                  <c:v>-1.9327731092436899E-2</c:v>
                </c:pt>
                <c:pt idx="5801">
                  <c:v>-1.9327731092436899E-2</c:v>
                </c:pt>
                <c:pt idx="5802">
                  <c:v>-1.9327731092436899E-2</c:v>
                </c:pt>
                <c:pt idx="5803">
                  <c:v>-1.9327731092436899E-2</c:v>
                </c:pt>
                <c:pt idx="5804">
                  <c:v>-1.84873949579831E-2</c:v>
                </c:pt>
                <c:pt idx="5805">
                  <c:v>-1.84873949579831E-2</c:v>
                </c:pt>
                <c:pt idx="5806">
                  <c:v>-1.84873949579831E-2</c:v>
                </c:pt>
                <c:pt idx="5807">
                  <c:v>-1.84873949579831E-2</c:v>
                </c:pt>
                <c:pt idx="5808">
                  <c:v>-1.7647058823529401E-2</c:v>
                </c:pt>
                <c:pt idx="5809">
                  <c:v>-1.7647058823529401E-2</c:v>
                </c:pt>
                <c:pt idx="5810">
                  <c:v>-1.7647058823529401E-2</c:v>
                </c:pt>
                <c:pt idx="5811">
                  <c:v>-1.7647058823529401E-2</c:v>
                </c:pt>
                <c:pt idx="5812">
                  <c:v>-1.7647058823529401E-2</c:v>
                </c:pt>
                <c:pt idx="5813">
                  <c:v>-1.7647058823529401E-2</c:v>
                </c:pt>
                <c:pt idx="5814">
                  <c:v>-1.7647058823529401E-2</c:v>
                </c:pt>
                <c:pt idx="5815">
                  <c:v>-1.7647058823529401E-2</c:v>
                </c:pt>
                <c:pt idx="5816">
                  <c:v>-1.7647058823529401E-2</c:v>
                </c:pt>
                <c:pt idx="5817">
                  <c:v>-1.7647058823529401E-2</c:v>
                </c:pt>
                <c:pt idx="5818">
                  <c:v>-1.7647058823529401E-2</c:v>
                </c:pt>
                <c:pt idx="5819">
                  <c:v>-1.7647058823529401E-2</c:v>
                </c:pt>
                <c:pt idx="5820">
                  <c:v>-1.7647058823529401E-2</c:v>
                </c:pt>
                <c:pt idx="5821">
                  <c:v>-1.7647058823529401E-2</c:v>
                </c:pt>
                <c:pt idx="5822">
                  <c:v>-1.7647058823529401E-2</c:v>
                </c:pt>
                <c:pt idx="5823">
                  <c:v>-1.7647058823529401E-2</c:v>
                </c:pt>
                <c:pt idx="5824">
                  <c:v>-1.7647058823529401E-2</c:v>
                </c:pt>
                <c:pt idx="5825">
                  <c:v>-1.7647058823529401E-2</c:v>
                </c:pt>
                <c:pt idx="5826">
                  <c:v>-1.84873949579831E-2</c:v>
                </c:pt>
                <c:pt idx="5827">
                  <c:v>-1.84873949579831E-2</c:v>
                </c:pt>
                <c:pt idx="5828">
                  <c:v>-1.84873949579831E-2</c:v>
                </c:pt>
                <c:pt idx="5829">
                  <c:v>-1.84873949579831E-2</c:v>
                </c:pt>
                <c:pt idx="5830">
                  <c:v>-1.84873949579831E-2</c:v>
                </c:pt>
                <c:pt idx="5831">
                  <c:v>-1.84873949579831E-2</c:v>
                </c:pt>
                <c:pt idx="5832">
                  <c:v>-1.84873949579831E-2</c:v>
                </c:pt>
                <c:pt idx="5833">
                  <c:v>-1.84873949579831E-2</c:v>
                </c:pt>
                <c:pt idx="5834">
                  <c:v>-1.84873949579831E-2</c:v>
                </c:pt>
                <c:pt idx="5835">
                  <c:v>-1.84873949579831E-2</c:v>
                </c:pt>
                <c:pt idx="5836">
                  <c:v>-1.9327731092437E-2</c:v>
                </c:pt>
                <c:pt idx="5837">
                  <c:v>-1.9327731092437E-2</c:v>
                </c:pt>
                <c:pt idx="5838">
                  <c:v>-1.9327731092437E-2</c:v>
                </c:pt>
                <c:pt idx="5839">
                  <c:v>-1.9327731092437E-2</c:v>
                </c:pt>
                <c:pt idx="5840">
                  <c:v>-1.9327731092437E-2</c:v>
                </c:pt>
                <c:pt idx="5841">
                  <c:v>-1.9327731092437E-2</c:v>
                </c:pt>
                <c:pt idx="5842">
                  <c:v>-1.9327731092437E-2</c:v>
                </c:pt>
                <c:pt idx="5843">
                  <c:v>-1.9327731092437E-2</c:v>
                </c:pt>
                <c:pt idx="5844">
                  <c:v>-1.9327731092437E-2</c:v>
                </c:pt>
                <c:pt idx="5845">
                  <c:v>-1.9327731092437E-2</c:v>
                </c:pt>
                <c:pt idx="5846">
                  <c:v>-1.9327731092437E-2</c:v>
                </c:pt>
                <c:pt idx="5847">
                  <c:v>-1.9327731092437E-2</c:v>
                </c:pt>
                <c:pt idx="5848">
                  <c:v>-1.9327731092437E-2</c:v>
                </c:pt>
                <c:pt idx="5849">
                  <c:v>-1.9327731092437E-2</c:v>
                </c:pt>
                <c:pt idx="5850">
                  <c:v>-1.9327731092437E-2</c:v>
                </c:pt>
                <c:pt idx="5851">
                  <c:v>-1.9327731092437E-2</c:v>
                </c:pt>
                <c:pt idx="5852">
                  <c:v>-2.0168067226890699E-2</c:v>
                </c:pt>
                <c:pt idx="5853">
                  <c:v>-2.0168067226890699E-2</c:v>
                </c:pt>
                <c:pt idx="5854">
                  <c:v>-2.0168067226890699E-2</c:v>
                </c:pt>
                <c:pt idx="5855">
                  <c:v>-2.0168067226890699E-2</c:v>
                </c:pt>
                <c:pt idx="5856">
                  <c:v>-2.1008403361344501E-2</c:v>
                </c:pt>
                <c:pt idx="5857">
                  <c:v>-2.1848739495798301E-2</c:v>
                </c:pt>
                <c:pt idx="5858">
                  <c:v>-2.1848739495798301E-2</c:v>
                </c:pt>
                <c:pt idx="5859">
                  <c:v>-2.1848739495798301E-2</c:v>
                </c:pt>
                <c:pt idx="5860">
                  <c:v>-2.1848739495798301E-2</c:v>
                </c:pt>
                <c:pt idx="5861">
                  <c:v>-2.1848739495798301E-2</c:v>
                </c:pt>
                <c:pt idx="5862">
                  <c:v>-2.1848739495798301E-2</c:v>
                </c:pt>
                <c:pt idx="5863">
                  <c:v>-2.1848739495798301E-2</c:v>
                </c:pt>
                <c:pt idx="5864">
                  <c:v>-2.1848739495798301E-2</c:v>
                </c:pt>
                <c:pt idx="5865">
                  <c:v>-2.1848739495798301E-2</c:v>
                </c:pt>
                <c:pt idx="5866">
                  <c:v>-2.1848739495798301E-2</c:v>
                </c:pt>
                <c:pt idx="5867">
                  <c:v>-2.1848739495798301E-2</c:v>
                </c:pt>
                <c:pt idx="5868">
                  <c:v>-2.1848739495798301E-2</c:v>
                </c:pt>
                <c:pt idx="5869">
                  <c:v>-2.1848739495798301E-2</c:v>
                </c:pt>
                <c:pt idx="5870">
                  <c:v>-2.1848739495798301E-2</c:v>
                </c:pt>
                <c:pt idx="5871">
                  <c:v>-2.1848739495798301E-2</c:v>
                </c:pt>
                <c:pt idx="5872">
                  <c:v>-2.26890756302521E-2</c:v>
                </c:pt>
                <c:pt idx="5873">
                  <c:v>-2.26890756302521E-2</c:v>
                </c:pt>
                <c:pt idx="5874">
                  <c:v>-2.26890756302521E-2</c:v>
                </c:pt>
                <c:pt idx="5875">
                  <c:v>-2.26890756302521E-2</c:v>
                </c:pt>
                <c:pt idx="5876">
                  <c:v>-2.26890756302521E-2</c:v>
                </c:pt>
                <c:pt idx="5877">
                  <c:v>-2.26890756302521E-2</c:v>
                </c:pt>
                <c:pt idx="5878">
                  <c:v>-2.26890756302521E-2</c:v>
                </c:pt>
                <c:pt idx="5879">
                  <c:v>-2.26890756302521E-2</c:v>
                </c:pt>
                <c:pt idx="5880">
                  <c:v>-2.26890756302521E-2</c:v>
                </c:pt>
                <c:pt idx="5881">
                  <c:v>-2.26890756302521E-2</c:v>
                </c:pt>
                <c:pt idx="5882">
                  <c:v>-2.26890756302521E-2</c:v>
                </c:pt>
                <c:pt idx="5883">
                  <c:v>-2.26890756302521E-2</c:v>
                </c:pt>
                <c:pt idx="5884">
                  <c:v>-2.26890756302521E-2</c:v>
                </c:pt>
                <c:pt idx="5885">
                  <c:v>-2.26890756302521E-2</c:v>
                </c:pt>
                <c:pt idx="5886">
                  <c:v>-2.26890756302521E-2</c:v>
                </c:pt>
                <c:pt idx="5887">
                  <c:v>-2.26890756302521E-2</c:v>
                </c:pt>
                <c:pt idx="5888">
                  <c:v>-2.26890756302521E-2</c:v>
                </c:pt>
                <c:pt idx="5889">
                  <c:v>-2.26890756302521E-2</c:v>
                </c:pt>
                <c:pt idx="5890">
                  <c:v>-2.26890756302521E-2</c:v>
                </c:pt>
                <c:pt idx="5891">
                  <c:v>-2.26890756302521E-2</c:v>
                </c:pt>
                <c:pt idx="5892">
                  <c:v>-2.26890756302521E-2</c:v>
                </c:pt>
                <c:pt idx="5893">
                  <c:v>-2.26890756302521E-2</c:v>
                </c:pt>
                <c:pt idx="5894">
                  <c:v>-2.26890756302521E-2</c:v>
                </c:pt>
                <c:pt idx="5895">
                  <c:v>-2.26890756302521E-2</c:v>
                </c:pt>
                <c:pt idx="5896">
                  <c:v>-2.26890756302521E-2</c:v>
                </c:pt>
                <c:pt idx="5897">
                  <c:v>-2.26890756302521E-2</c:v>
                </c:pt>
                <c:pt idx="5898">
                  <c:v>-2.26890756302521E-2</c:v>
                </c:pt>
                <c:pt idx="5899">
                  <c:v>-2.26890756302521E-2</c:v>
                </c:pt>
                <c:pt idx="5900">
                  <c:v>-2.26890756302521E-2</c:v>
                </c:pt>
                <c:pt idx="5901">
                  <c:v>-2.26890756302521E-2</c:v>
                </c:pt>
                <c:pt idx="5902">
                  <c:v>-2.26890756302521E-2</c:v>
                </c:pt>
                <c:pt idx="5903">
                  <c:v>-2.26890756302521E-2</c:v>
                </c:pt>
                <c:pt idx="5904">
                  <c:v>-2.26890756302521E-2</c:v>
                </c:pt>
                <c:pt idx="5905">
                  <c:v>-2.26890756302521E-2</c:v>
                </c:pt>
                <c:pt idx="5906">
                  <c:v>-2.26890756302521E-2</c:v>
                </c:pt>
                <c:pt idx="5907">
                  <c:v>-2.26890756302521E-2</c:v>
                </c:pt>
                <c:pt idx="5908">
                  <c:v>-2.26890756302521E-2</c:v>
                </c:pt>
                <c:pt idx="5909">
                  <c:v>-2.26890756302521E-2</c:v>
                </c:pt>
                <c:pt idx="5910">
                  <c:v>-2.3529411764705899E-2</c:v>
                </c:pt>
                <c:pt idx="5911">
                  <c:v>-2.3529411764705899E-2</c:v>
                </c:pt>
                <c:pt idx="5912">
                  <c:v>-2.3529411764705899E-2</c:v>
                </c:pt>
                <c:pt idx="5913">
                  <c:v>-2.3529411764705899E-2</c:v>
                </c:pt>
                <c:pt idx="5914">
                  <c:v>-2.3529411764705899E-2</c:v>
                </c:pt>
                <c:pt idx="5915">
                  <c:v>-2.3529411764705899E-2</c:v>
                </c:pt>
                <c:pt idx="5916">
                  <c:v>-2.3529411764705899E-2</c:v>
                </c:pt>
                <c:pt idx="5917">
                  <c:v>-2.3529411764705899E-2</c:v>
                </c:pt>
                <c:pt idx="5918">
                  <c:v>-2.3529411764705899E-2</c:v>
                </c:pt>
                <c:pt idx="5919">
                  <c:v>-2.3529411764705899E-2</c:v>
                </c:pt>
                <c:pt idx="5920">
                  <c:v>-2.3529411764705899E-2</c:v>
                </c:pt>
                <c:pt idx="5921">
                  <c:v>-2.3529411764705899E-2</c:v>
                </c:pt>
                <c:pt idx="5922">
                  <c:v>-2.3529411764705899E-2</c:v>
                </c:pt>
                <c:pt idx="5923">
                  <c:v>-2.4369747899159602E-2</c:v>
                </c:pt>
                <c:pt idx="5924">
                  <c:v>-2.4369747899159602E-2</c:v>
                </c:pt>
                <c:pt idx="5925">
                  <c:v>-2.4369747899159602E-2</c:v>
                </c:pt>
                <c:pt idx="5926">
                  <c:v>-2.4369747899159602E-2</c:v>
                </c:pt>
                <c:pt idx="5927">
                  <c:v>-2.4369747899159602E-2</c:v>
                </c:pt>
                <c:pt idx="5928">
                  <c:v>-2.4369747899159602E-2</c:v>
                </c:pt>
                <c:pt idx="5929">
                  <c:v>-2.4369747899159602E-2</c:v>
                </c:pt>
                <c:pt idx="5930">
                  <c:v>-2.4369747899159602E-2</c:v>
                </c:pt>
                <c:pt idx="5931">
                  <c:v>-2.4369747899159602E-2</c:v>
                </c:pt>
                <c:pt idx="5932">
                  <c:v>-2.4369747899159602E-2</c:v>
                </c:pt>
                <c:pt idx="5933">
                  <c:v>-2.4369747899159602E-2</c:v>
                </c:pt>
                <c:pt idx="5934">
                  <c:v>-2.4369747899159602E-2</c:v>
                </c:pt>
                <c:pt idx="5935">
                  <c:v>-2.4369747899159602E-2</c:v>
                </c:pt>
                <c:pt idx="5936">
                  <c:v>-2.4369747899159602E-2</c:v>
                </c:pt>
                <c:pt idx="5937">
                  <c:v>-2.4369747899159602E-2</c:v>
                </c:pt>
                <c:pt idx="5938">
                  <c:v>-2.4369747899159602E-2</c:v>
                </c:pt>
                <c:pt idx="5939">
                  <c:v>-2.3529411764705899E-2</c:v>
                </c:pt>
                <c:pt idx="5940">
                  <c:v>-2.3529411764705899E-2</c:v>
                </c:pt>
                <c:pt idx="5941">
                  <c:v>-2.3529411764705899E-2</c:v>
                </c:pt>
                <c:pt idx="5942">
                  <c:v>-2.3529411764705899E-2</c:v>
                </c:pt>
                <c:pt idx="5943">
                  <c:v>-2.3529411764705899E-2</c:v>
                </c:pt>
                <c:pt idx="5944">
                  <c:v>-2.3529411764705899E-2</c:v>
                </c:pt>
                <c:pt idx="5945">
                  <c:v>-2.3529411764705899E-2</c:v>
                </c:pt>
                <c:pt idx="5946">
                  <c:v>-2.3529411764705899E-2</c:v>
                </c:pt>
                <c:pt idx="5947">
                  <c:v>-2.3529411764705899E-2</c:v>
                </c:pt>
                <c:pt idx="5948">
                  <c:v>-2.3529411764705899E-2</c:v>
                </c:pt>
                <c:pt idx="5949">
                  <c:v>-2.3529411764705899E-2</c:v>
                </c:pt>
                <c:pt idx="5950">
                  <c:v>-2.3529411764705899E-2</c:v>
                </c:pt>
                <c:pt idx="5951">
                  <c:v>-2.3529411764705899E-2</c:v>
                </c:pt>
                <c:pt idx="5952">
                  <c:v>-2.3529411764705899E-2</c:v>
                </c:pt>
                <c:pt idx="5953">
                  <c:v>-2.3529411764705899E-2</c:v>
                </c:pt>
                <c:pt idx="5954">
                  <c:v>-2.3529411764705899E-2</c:v>
                </c:pt>
                <c:pt idx="5955">
                  <c:v>-2.3529411764705899E-2</c:v>
                </c:pt>
                <c:pt idx="5956">
                  <c:v>-2.3529411764705899E-2</c:v>
                </c:pt>
                <c:pt idx="5957">
                  <c:v>-2.3529411764705899E-2</c:v>
                </c:pt>
                <c:pt idx="5958">
                  <c:v>-2.3529411764705899E-2</c:v>
                </c:pt>
                <c:pt idx="5959">
                  <c:v>-2.3529411764705899E-2</c:v>
                </c:pt>
                <c:pt idx="5960">
                  <c:v>-2.3529411764705899E-2</c:v>
                </c:pt>
                <c:pt idx="5961">
                  <c:v>-2.3529411764705899E-2</c:v>
                </c:pt>
                <c:pt idx="5962">
                  <c:v>-2.3529411764705899E-2</c:v>
                </c:pt>
                <c:pt idx="5963">
                  <c:v>-2.3529411764705899E-2</c:v>
                </c:pt>
                <c:pt idx="5964">
                  <c:v>-2.3529411764705899E-2</c:v>
                </c:pt>
                <c:pt idx="5965">
                  <c:v>-2.3529411764705899E-2</c:v>
                </c:pt>
                <c:pt idx="5966">
                  <c:v>-2.3529411764705899E-2</c:v>
                </c:pt>
                <c:pt idx="5967">
                  <c:v>-2.3529411764705899E-2</c:v>
                </c:pt>
                <c:pt idx="5968">
                  <c:v>-2.3529411764705899E-2</c:v>
                </c:pt>
                <c:pt idx="5969">
                  <c:v>-2.3529411764705899E-2</c:v>
                </c:pt>
                <c:pt idx="5970">
                  <c:v>-2.3529411764705899E-2</c:v>
                </c:pt>
                <c:pt idx="5971">
                  <c:v>-2.3529411764705899E-2</c:v>
                </c:pt>
                <c:pt idx="5972">
                  <c:v>-2.3529411764705899E-2</c:v>
                </c:pt>
                <c:pt idx="5973">
                  <c:v>-2.3529411764705899E-2</c:v>
                </c:pt>
                <c:pt idx="5974">
                  <c:v>-2.3529411764705899E-2</c:v>
                </c:pt>
                <c:pt idx="5975">
                  <c:v>-2.3529411764705899E-2</c:v>
                </c:pt>
                <c:pt idx="5976">
                  <c:v>-2.3529411764705899E-2</c:v>
                </c:pt>
                <c:pt idx="5977">
                  <c:v>-2.3529411764705899E-2</c:v>
                </c:pt>
                <c:pt idx="5978">
                  <c:v>-2.3529411764705899E-2</c:v>
                </c:pt>
                <c:pt idx="5979">
                  <c:v>-2.3529411764705899E-2</c:v>
                </c:pt>
                <c:pt idx="5980">
                  <c:v>-2.3529411764705899E-2</c:v>
                </c:pt>
                <c:pt idx="5981">
                  <c:v>-2.4369747899159602E-2</c:v>
                </c:pt>
                <c:pt idx="5982">
                  <c:v>-2.4369747899159602E-2</c:v>
                </c:pt>
                <c:pt idx="5983">
                  <c:v>-2.4369747899159602E-2</c:v>
                </c:pt>
                <c:pt idx="5984">
                  <c:v>-2.3529411764705899E-2</c:v>
                </c:pt>
                <c:pt idx="5985">
                  <c:v>-2.3529411764705899E-2</c:v>
                </c:pt>
                <c:pt idx="5986">
                  <c:v>-2.4369747899159602E-2</c:v>
                </c:pt>
                <c:pt idx="5987">
                  <c:v>-2.4369747899159602E-2</c:v>
                </c:pt>
                <c:pt idx="5988">
                  <c:v>-2.4369747899159602E-2</c:v>
                </c:pt>
                <c:pt idx="5989">
                  <c:v>-2.4369747899159602E-2</c:v>
                </c:pt>
                <c:pt idx="5990">
                  <c:v>-2.4369747899159602E-2</c:v>
                </c:pt>
                <c:pt idx="5991">
                  <c:v>-2.4369747899159602E-2</c:v>
                </c:pt>
                <c:pt idx="5992">
                  <c:v>-2.4369747899159602E-2</c:v>
                </c:pt>
                <c:pt idx="5993">
                  <c:v>-2.4369747899159602E-2</c:v>
                </c:pt>
                <c:pt idx="5994">
                  <c:v>-2.4369747899159602E-2</c:v>
                </c:pt>
                <c:pt idx="5995">
                  <c:v>-2.4369747899159602E-2</c:v>
                </c:pt>
                <c:pt idx="5996">
                  <c:v>-2.4369747899159602E-2</c:v>
                </c:pt>
                <c:pt idx="5997">
                  <c:v>-2.4369747899159602E-2</c:v>
                </c:pt>
                <c:pt idx="5998">
                  <c:v>-2.4369747899159602E-2</c:v>
                </c:pt>
                <c:pt idx="5999">
                  <c:v>-2.4369747899159602E-2</c:v>
                </c:pt>
                <c:pt idx="6000">
                  <c:v>-2.4369747899159602E-2</c:v>
                </c:pt>
                <c:pt idx="6001">
                  <c:v>-2.4369747899159602E-2</c:v>
                </c:pt>
                <c:pt idx="6002">
                  <c:v>-2.4369747899159602E-2</c:v>
                </c:pt>
                <c:pt idx="6003">
                  <c:v>-2.3529411764705899E-2</c:v>
                </c:pt>
                <c:pt idx="6004">
                  <c:v>-2.3529411764705899E-2</c:v>
                </c:pt>
                <c:pt idx="6005">
                  <c:v>-2.3529411764705899E-2</c:v>
                </c:pt>
                <c:pt idx="6006">
                  <c:v>-2.4369747899159602E-2</c:v>
                </c:pt>
                <c:pt idx="6007">
                  <c:v>-2.4369747899159602E-2</c:v>
                </c:pt>
                <c:pt idx="6008">
                  <c:v>-2.4369747899159602E-2</c:v>
                </c:pt>
                <c:pt idx="6009">
                  <c:v>-2.4369747899159602E-2</c:v>
                </c:pt>
                <c:pt idx="6010">
                  <c:v>-2.5210084033613401E-2</c:v>
                </c:pt>
                <c:pt idx="6011">
                  <c:v>-2.4369747899159602E-2</c:v>
                </c:pt>
                <c:pt idx="6012">
                  <c:v>-2.5210084033613401E-2</c:v>
                </c:pt>
                <c:pt idx="6013">
                  <c:v>-2.5210084033613401E-2</c:v>
                </c:pt>
                <c:pt idx="6014">
                  <c:v>-2.5210084033613401E-2</c:v>
                </c:pt>
                <c:pt idx="6015">
                  <c:v>-2.5210084033613401E-2</c:v>
                </c:pt>
                <c:pt idx="6016">
                  <c:v>-2.5210084033613401E-2</c:v>
                </c:pt>
                <c:pt idx="6017">
                  <c:v>-2.5210084033613401E-2</c:v>
                </c:pt>
                <c:pt idx="6018">
                  <c:v>-2.5210084033613401E-2</c:v>
                </c:pt>
                <c:pt idx="6019">
                  <c:v>-2.5210084033613401E-2</c:v>
                </c:pt>
                <c:pt idx="6020">
                  <c:v>-2.4369747899159602E-2</c:v>
                </c:pt>
                <c:pt idx="6021">
                  <c:v>-2.4369747899159602E-2</c:v>
                </c:pt>
                <c:pt idx="6022">
                  <c:v>-2.4369747899159602E-2</c:v>
                </c:pt>
                <c:pt idx="6023">
                  <c:v>-2.4369747899159602E-2</c:v>
                </c:pt>
                <c:pt idx="6024">
                  <c:v>-2.4369747899159602E-2</c:v>
                </c:pt>
                <c:pt idx="6025">
                  <c:v>-2.4369747899159602E-2</c:v>
                </c:pt>
                <c:pt idx="6026">
                  <c:v>-2.4369747899159602E-2</c:v>
                </c:pt>
                <c:pt idx="6027">
                  <c:v>-2.4369747899159602E-2</c:v>
                </c:pt>
                <c:pt idx="6028">
                  <c:v>-2.4369747899159602E-2</c:v>
                </c:pt>
                <c:pt idx="6029">
                  <c:v>-2.4369747899159602E-2</c:v>
                </c:pt>
                <c:pt idx="6030">
                  <c:v>-2.4369747899159602E-2</c:v>
                </c:pt>
                <c:pt idx="6031">
                  <c:v>-2.4369747899159602E-2</c:v>
                </c:pt>
                <c:pt idx="6032">
                  <c:v>-2.4369747899159602E-2</c:v>
                </c:pt>
                <c:pt idx="6033">
                  <c:v>-2.5210084033613401E-2</c:v>
                </c:pt>
                <c:pt idx="6034">
                  <c:v>-2.5210084033613401E-2</c:v>
                </c:pt>
                <c:pt idx="6035">
                  <c:v>-2.5210084033613401E-2</c:v>
                </c:pt>
                <c:pt idx="6036">
                  <c:v>-2.5210084033613401E-2</c:v>
                </c:pt>
                <c:pt idx="6037">
                  <c:v>-2.5210084033613401E-2</c:v>
                </c:pt>
                <c:pt idx="6038">
                  <c:v>-2.5210084033613401E-2</c:v>
                </c:pt>
                <c:pt idx="6039">
                  <c:v>-2.5210084033613401E-2</c:v>
                </c:pt>
                <c:pt idx="6040">
                  <c:v>-2.5210084033613401E-2</c:v>
                </c:pt>
                <c:pt idx="6041">
                  <c:v>-2.5210084033613401E-2</c:v>
                </c:pt>
                <c:pt idx="6042">
                  <c:v>-2.5210084033613401E-2</c:v>
                </c:pt>
                <c:pt idx="6043">
                  <c:v>-2.5210084033613401E-2</c:v>
                </c:pt>
                <c:pt idx="6044">
                  <c:v>-2.5210084033613401E-2</c:v>
                </c:pt>
                <c:pt idx="6045">
                  <c:v>-2.5210084033613401E-2</c:v>
                </c:pt>
                <c:pt idx="6046">
                  <c:v>-2.5210084033613401E-2</c:v>
                </c:pt>
                <c:pt idx="6047">
                  <c:v>-2.5210084033613401E-2</c:v>
                </c:pt>
                <c:pt idx="6048">
                  <c:v>-2.5210084033613401E-2</c:v>
                </c:pt>
                <c:pt idx="6049">
                  <c:v>-2.5210084033613401E-2</c:v>
                </c:pt>
                <c:pt idx="6050">
                  <c:v>-2.5210084033613401E-2</c:v>
                </c:pt>
                <c:pt idx="6051">
                  <c:v>-2.5210084033613401E-2</c:v>
                </c:pt>
                <c:pt idx="6052">
                  <c:v>-2.5210084033613401E-2</c:v>
                </c:pt>
                <c:pt idx="6053">
                  <c:v>-2.5210084033613401E-2</c:v>
                </c:pt>
                <c:pt idx="6054">
                  <c:v>-2.5210084033613401E-2</c:v>
                </c:pt>
                <c:pt idx="6055">
                  <c:v>-2.5210084033613401E-2</c:v>
                </c:pt>
                <c:pt idx="6056">
                  <c:v>-2.5210084033613401E-2</c:v>
                </c:pt>
                <c:pt idx="6057">
                  <c:v>-2.5210084033613401E-2</c:v>
                </c:pt>
                <c:pt idx="6058">
                  <c:v>-2.5210084033613401E-2</c:v>
                </c:pt>
                <c:pt idx="6059">
                  <c:v>-2.5210084033613401E-2</c:v>
                </c:pt>
                <c:pt idx="6060">
                  <c:v>-2.5210084033613401E-2</c:v>
                </c:pt>
                <c:pt idx="6061">
                  <c:v>-2.5210084033613401E-2</c:v>
                </c:pt>
                <c:pt idx="6062">
                  <c:v>-2.5210084033613401E-2</c:v>
                </c:pt>
                <c:pt idx="6063">
                  <c:v>-2.5210084033613401E-2</c:v>
                </c:pt>
                <c:pt idx="6064">
                  <c:v>-2.5210084033613401E-2</c:v>
                </c:pt>
                <c:pt idx="6065">
                  <c:v>-2.60504201680671E-2</c:v>
                </c:pt>
                <c:pt idx="6066">
                  <c:v>-2.60504201680671E-2</c:v>
                </c:pt>
                <c:pt idx="6067">
                  <c:v>-2.60504201680671E-2</c:v>
                </c:pt>
                <c:pt idx="6068">
                  <c:v>-2.60504201680671E-2</c:v>
                </c:pt>
                <c:pt idx="6069">
                  <c:v>-2.60504201680671E-2</c:v>
                </c:pt>
                <c:pt idx="6070">
                  <c:v>-2.60504201680671E-2</c:v>
                </c:pt>
                <c:pt idx="6071">
                  <c:v>-2.60504201680671E-2</c:v>
                </c:pt>
                <c:pt idx="6072">
                  <c:v>-2.60504201680671E-2</c:v>
                </c:pt>
                <c:pt idx="6073">
                  <c:v>-2.60504201680671E-2</c:v>
                </c:pt>
                <c:pt idx="6074">
                  <c:v>-2.60504201680671E-2</c:v>
                </c:pt>
                <c:pt idx="6075">
                  <c:v>-2.60504201680671E-2</c:v>
                </c:pt>
                <c:pt idx="6076">
                  <c:v>-2.60504201680671E-2</c:v>
                </c:pt>
                <c:pt idx="6077">
                  <c:v>-2.60504201680671E-2</c:v>
                </c:pt>
                <c:pt idx="6078">
                  <c:v>-2.60504201680671E-2</c:v>
                </c:pt>
                <c:pt idx="6079">
                  <c:v>-2.60504201680671E-2</c:v>
                </c:pt>
                <c:pt idx="6080">
                  <c:v>-2.60504201680671E-2</c:v>
                </c:pt>
                <c:pt idx="6081">
                  <c:v>-2.60504201680671E-2</c:v>
                </c:pt>
                <c:pt idx="6082">
                  <c:v>-2.60504201680671E-2</c:v>
                </c:pt>
                <c:pt idx="6083">
                  <c:v>-2.60504201680671E-2</c:v>
                </c:pt>
                <c:pt idx="6084">
                  <c:v>-2.60504201680671E-2</c:v>
                </c:pt>
                <c:pt idx="6085">
                  <c:v>-2.60504201680671E-2</c:v>
                </c:pt>
                <c:pt idx="6086">
                  <c:v>-2.60504201680671E-2</c:v>
                </c:pt>
                <c:pt idx="6087">
                  <c:v>-2.5210084033613401E-2</c:v>
                </c:pt>
                <c:pt idx="6088">
                  <c:v>-2.5210084033613401E-2</c:v>
                </c:pt>
                <c:pt idx="6089">
                  <c:v>-2.5210084033613401E-2</c:v>
                </c:pt>
                <c:pt idx="6090">
                  <c:v>-2.5210084033613401E-2</c:v>
                </c:pt>
                <c:pt idx="6091">
                  <c:v>-2.5210084033613401E-2</c:v>
                </c:pt>
                <c:pt idx="6092">
                  <c:v>-2.5210084033613401E-2</c:v>
                </c:pt>
                <c:pt idx="6093">
                  <c:v>-2.5210084033613401E-2</c:v>
                </c:pt>
                <c:pt idx="6094">
                  <c:v>-2.5210084033613401E-2</c:v>
                </c:pt>
                <c:pt idx="6095">
                  <c:v>-2.60504201680671E-2</c:v>
                </c:pt>
                <c:pt idx="6096">
                  <c:v>-2.60504201680671E-2</c:v>
                </c:pt>
                <c:pt idx="6097">
                  <c:v>-2.60504201680671E-2</c:v>
                </c:pt>
                <c:pt idx="6098">
                  <c:v>-2.60504201680671E-2</c:v>
                </c:pt>
                <c:pt idx="6099">
                  <c:v>-2.60504201680671E-2</c:v>
                </c:pt>
                <c:pt idx="6100">
                  <c:v>-2.60504201680671E-2</c:v>
                </c:pt>
                <c:pt idx="6101">
                  <c:v>-2.60504201680671E-2</c:v>
                </c:pt>
                <c:pt idx="6102">
                  <c:v>-2.60504201680671E-2</c:v>
                </c:pt>
                <c:pt idx="6103">
                  <c:v>-2.60504201680671E-2</c:v>
                </c:pt>
                <c:pt idx="6104">
                  <c:v>-2.60504201680671E-2</c:v>
                </c:pt>
                <c:pt idx="6105">
                  <c:v>-2.60504201680671E-2</c:v>
                </c:pt>
                <c:pt idx="6106">
                  <c:v>-2.60504201680671E-2</c:v>
                </c:pt>
                <c:pt idx="6107">
                  <c:v>-2.60504201680671E-2</c:v>
                </c:pt>
                <c:pt idx="6108">
                  <c:v>-2.60504201680671E-2</c:v>
                </c:pt>
                <c:pt idx="6109">
                  <c:v>-2.60504201680671E-2</c:v>
                </c:pt>
                <c:pt idx="6110">
                  <c:v>-2.60504201680671E-2</c:v>
                </c:pt>
                <c:pt idx="6111">
                  <c:v>-2.60504201680671E-2</c:v>
                </c:pt>
                <c:pt idx="6112">
                  <c:v>-2.60504201680671E-2</c:v>
                </c:pt>
                <c:pt idx="6113">
                  <c:v>-2.60504201680671E-2</c:v>
                </c:pt>
                <c:pt idx="6114">
                  <c:v>-2.60504201680671E-2</c:v>
                </c:pt>
                <c:pt idx="6115">
                  <c:v>-2.60504201680671E-2</c:v>
                </c:pt>
                <c:pt idx="6116">
                  <c:v>-2.60504201680671E-2</c:v>
                </c:pt>
                <c:pt idx="6117">
                  <c:v>-2.60504201680671E-2</c:v>
                </c:pt>
                <c:pt idx="6118">
                  <c:v>-2.60504201680671E-2</c:v>
                </c:pt>
                <c:pt idx="6119">
                  <c:v>-2.60504201680671E-2</c:v>
                </c:pt>
                <c:pt idx="6120">
                  <c:v>-2.60504201680671E-2</c:v>
                </c:pt>
                <c:pt idx="6121">
                  <c:v>-2.60504201680671E-2</c:v>
                </c:pt>
                <c:pt idx="6122">
                  <c:v>-2.60504201680671E-2</c:v>
                </c:pt>
                <c:pt idx="6123">
                  <c:v>-2.60504201680671E-2</c:v>
                </c:pt>
                <c:pt idx="6124">
                  <c:v>-2.60504201680671E-2</c:v>
                </c:pt>
                <c:pt idx="6125">
                  <c:v>-2.60504201680671E-2</c:v>
                </c:pt>
                <c:pt idx="6126">
                  <c:v>-2.60504201680671E-2</c:v>
                </c:pt>
                <c:pt idx="6127">
                  <c:v>-2.60504201680671E-2</c:v>
                </c:pt>
                <c:pt idx="6128">
                  <c:v>-2.60504201680671E-2</c:v>
                </c:pt>
                <c:pt idx="6129">
                  <c:v>-2.60504201680671E-2</c:v>
                </c:pt>
                <c:pt idx="6130">
                  <c:v>-2.60504201680671E-2</c:v>
                </c:pt>
                <c:pt idx="6131">
                  <c:v>-2.60504201680671E-2</c:v>
                </c:pt>
                <c:pt idx="6132">
                  <c:v>-2.5210084033613401E-2</c:v>
                </c:pt>
                <c:pt idx="6133">
                  <c:v>-2.5210084033613401E-2</c:v>
                </c:pt>
                <c:pt idx="6134">
                  <c:v>-2.5210084033613401E-2</c:v>
                </c:pt>
                <c:pt idx="6135">
                  <c:v>-2.5210084033613401E-2</c:v>
                </c:pt>
                <c:pt idx="6136">
                  <c:v>-2.5210084033613401E-2</c:v>
                </c:pt>
                <c:pt idx="6137">
                  <c:v>-2.5210084033613401E-2</c:v>
                </c:pt>
                <c:pt idx="6138">
                  <c:v>-2.5210084033613401E-2</c:v>
                </c:pt>
                <c:pt idx="6139">
                  <c:v>-2.5210084033613401E-2</c:v>
                </c:pt>
                <c:pt idx="6140">
                  <c:v>-2.60504201680671E-2</c:v>
                </c:pt>
                <c:pt idx="6141">
                  <c:v>-2.60504201680671E-2</c:v>
                </c:pt>
                <c:pt idx="6142">
                  <c:v>-2.60504201680671E-2</c:v>
                </c:pt>
                <c:pt idx="6143">
                  <c:v>-2.60504201680671E-2</c:v>
                </c:pt>
                <c:pt idx="6144">
                  <c:v>-2.60504201680671E-2</c:v>
                </c:pt>
                <c:pt idx="6145">
                  <c:v>-2.60504201680671E-2</c:v>
                </c:pt>
                <c:pt idx="6146">
                  <c:v>-2.60504201680671E-2</c:v>
                </c:pt>
                <c:pt idx="6147">
                  <c:v>-2.60504201680671E-2</c:v>
                </c:pt>
                <c:pt idx="6148">
                  <c:v>-2.5210084033613401E-2</c:v>
                </c:pt>
                <c:pt idx="6149">
                  <c:v>-2.5210084033613401E-2</c:v>
                </c:pt>
                <c:pt idx="6150">
                  <c:v>-2.5210084033613401E-2</c:v>
                </c:pt>
                <c:pt idx="6151">
                  <c:v>-2.5210084033613401E-2</c:v>
                </c:pt>
                <c:pt idx="6152">
                  <c:v>-2.5210084033613401E-2</c:v>
                </c:pt>
                <c:pt idx="6153">
                  <c:v>-2.5210084033613401E-2</c:v>
                </c:pt>
                <c:pt idx="6154">
                  <c:v>-2.5210084033613401E-2</c:v>
                </c:pt>
                <c:pt idx="6155">
                  <c:v>-2.5210084033613401E-2</c:v>
                </c:pt>
                <c:pt idx="6156">
                  <c:v>-2.5210084033613401E-2</c:v>
                </c:pt>
                <c:pt idx="6157">
                  <c:v>-2.5210084033613401E-2</c:v>
                </c:pt>
                <c:pt idx="6158">
                  <c:v>-2.5210084033613401E-2</c:v>
                </c:pt>
                <c:pt idx="6159">
                  <c:v>-2.5210084033613401E-2</c:v>
                </c:pt>
                <c:pt idx="6160">
                  <c:v>-2.5210084033613401E-2</c:v>
                </c:pt>
                <c:pt idx="6161">
                  <c:v>-2.5210084033613401E-2</c:v>
                </c:pt>
                <c:pt idx="6162">
                  <c:v>-2.5210084033613401E-2</c:v>
                </c:pt>
                <c:pt idx="6163">
                  <c:v>-2.4369747899159602E-2</c:v>
                </c:pt>
                <c:pt idx="6164">
                  <c:v>-2.5210084033613401E-2</c:v>
                </c:pt>
                <c:pt idx="6165">
                  <c:v>-2.5210084033613401E-2</c:v>
                </c:pt>
                <c:pt idx="6166">
                  <c:v>-2.5210084033613401E-2</c:v>
                </c:pt>
                <c:pt idx="6167">
                  <c:v>-2.5210084033613401E-2</c:v>
                </c:pt>
                <c:pt idx="6168">
                  <c:v>-2.5210084033613401E-2</c:v>
                </c:pt>
                <c:pt idx="6169">
                  <c:v>-2.5210084033613401E-2</c:v>
                </c:pt>
                <c:pt idx="6170">
                  <c:v>-2.5210084033613401E-2</c:v>
                </c:pt>
                <c:pt idx="6171">
                  <c:v>-2.5210084033613401E-2</c:v>
                </c:pt>
                <c:pt idx="6172">
                  <c:v>-2.5210084033613401E-2</c:v>
                </c:pt>
                <c:pt idx="6173">
                  <c:v>-2.5210084033613401E-2</c:v>
                </c:pt>
                <c:pt idx="6174">
                  <c:v>-2.5210084033613401E-2</c:v>
                </c:pt>
                <c:pt idx="6175">
                  <c:v>-2.5210084033613401E-2</c:v>
                </c:pt>
                <c:pt idx="6176">
                  <c:v>-2.5210084033613401E-2</c:v>
                </c:pt>
                <c:pt idx="6177">
                  <c:v>-2.5210084033613401E-2</c:v>
                </c:pt>
                <c:pt idx="6178">
                  <c:v>-2.5210084033613401E-2</c:v>
                </c:pt>
                <c:pt idx="6179">
                  <c:v>-2.5210084033613401E-2</c:v>
                </c:pt>
                <c:pt idx="6180">
                  <c:v>-2.5210084033613401E-2</c:v>
                </c:pt>
                <c:pt idx="6181">
                  <c:v>-2.5210084033613401E-2</c:v>
                </c:pt>
                <c:pt idx="6182">
                  <c:v>-2.5210084033613401E-2</c:v>
                </c:pt>
                <c:pt idx="6183">
                  <c:v>-2.5210084033613401E-2</c:v>
                </c:pt>
                <c:pt idx="6184">
                  <c:v>-2.5210084033613401E-2</c:v>
                </c:pt>
                <c:pt idx="6185">
                  <c:v>-2.5210084033613401E-2</c:v>
                </c:pt>
                <c:pt idx="6186">
                  <c:v>-2.5210084033613401E-2</c:v>
                </c:pt>
                <c:pt idx="6187">
                  <c:v>-2.5210084033613401E-2</c:v>
                </c:pt>
                <c:pt idx="6188">
                  <c:v>-2.5210084033613401E-2</c:v>
                </c:pt>
                <c:pt idx="6189">
                  <c:v>-2.5210084033613401E-2</c:v>
                </c:pt>
                <c:pt idx="6190">
                  <c:v>-2.5210084033613401E-2</c:v>
                </c:pt>
                <c:pt idx="6191">
                  <c:v>-2.5210084033613401E-2</c:v>
                </c:pt>
                <c:pt idx="6192">
                  <c:v>-2.5210084033613401E-2</c:v>
                </c:pt>
                <c:pt idx="6193">
                  <c:v>-2.5210084033613401E-2</c:v>
                </c:pt>
                <c:pt idx="6194">
                  <c:v>-2.5210084033613401E-2</c:v>
                </c:pt>
                <c:pt idx="6195">
                  <c:v>-2.5210084033613401E-2</c:v>
                </c:pt>
                <c:pt idx="6196">
                  <c:v>-2.5210084033613401E-2</c:v>
                </c:pt>
                <c:pt idx="6197">
                  <c:v>-2.5210084033613401E-2</c:v>
                </c:pt>
                <c:pt idx="6198">
                  <c:v>-2.5210084033613401E-2</c:v>
                </c:pt>
                <c:pt idx="6199">
                  <c:v>-2.5210084033613401E-2</c:v>
                </c:pt>
                <c:pt idx="6200">
                  <c:v>-2.4369747899159602E-2</c:v>
                </c:pt>
                <c:pt idx="6201">
                  <c:v>-2.4369747899159602E-2</c:v>
                </c:pt>
                <c:pt idx="6202">
                  <c:v>-2.4369747899159602E-2</c:v>
                </c:pt>
                <c:pt idx="6203">
                  <c:v>-2.4369747899159602E-2</c:v>
                </c:pt>
                <c:pt idx="6204">
                  <c:v>-2.4369747899159602E-2</c:v>
                </c:pt>
                <c:pt idx="6205">
                  <c:v>-2.4369747899159602E-2</c:v>
                </c:pt>
                <c:pt idx="6206">
                  <c:v>-2.4369747899159602E-2</c:v>
                </c:pt>
                <c:pt idx="6207">
                  <c:v>-2.4369747899159602E-2</c:v>
                </c:pt>
                <c:pt idx="6208">
                  <c:v>-2.4369747899159602E-2</c:v>
                </c:pt>
                <c:pt idx="6209">
                  <c:v>-2.4369747899159602E-2</c:v>
                </c:pt>
                <c:pt idx="6210">
                  <c:v>-2.4369747899159602E-2</c:v>
                </c:pt>
                <c:pt idx="6211">
                  <c:v>-2.4369747899159602E-2</c:v>
                </c:pt>
                <c:pt idx="6212">
                  <c:v>-2.4369747899159602E-2</c:v>
                </c:pt>
                <c:pt idx="6213">
                  <c:v>-2.4369747899159602E-2</c:v>
                </c:pt>
                <c:pt idx="6214">
                  <c:v>-2.4369747899159602E-2</c:v>
                </c:pt>
                <c:pt idx="6215">
                  <c:v>-2.4369747899159602E-2</c:v>
                </c:pt>
                <c:pt idx="6216">
                  <c:v>-2.4369747899159602E-2</c:v>
                </c:pt>
                <c:pt idx="6217">
                  <c:v>-2.4369747899159602E-2</c:v>
                </c:pt>
                <c:pt idx="6218">
                  <c:v>-2.4369747899159602E-2</c:v>
                </c:pt>
                <c:pt idx="6219">
                  <c:v>-2.4369747899159602E-2</c:v>
                </c:pt>
                <c:pt idx="6220">
                  <c:v>-2.4369747899159602E-2</c:v>
                </c:pt>
                <c:pt idx="6221">
                  <c:v>-2.3529411764705799E-2</c:v>
                </c:pt>
                <c:pt idx="6222">
                  <c:v>-2.3529411764705799E-2</c:v>
                </c:pt>
                <c:pt idx="6223">
                  <c:v>-2.3529411764705799E-2</c:v>
                </c:pt>
                <c:pt idx="6224">
                  <c:v>-2.3529411764705799E-2</c:v>
                </c:pt>
                <c:pt idx="6225">
                  <c:v>-2.3529411764705799E-2</c:v>
                </c:pt>
                <c:pt idx="6226">
                  <c:v>-2.3529411764705799E-2</c:v>
                </c:pt>
                <c:pt idx="6227">
                  <c:v>-2.3529411764705799E-2</c:v>
                </c:pt>
                <c:pt idx="6228">
                  <c:v>-2.3529411764705799E-2</c:v>
                </c:pt>
                <c:pt idx="6229">
                  <c:v>-2.3529411764705799E-2</c:v>
                </c:pt>
                <c:pt idx="6230">
                  <c:v>-2.3529411764705799E-2</c:v>
                </c:pt>
                <c:pt idx="6231">
                  <c:v>-2.3529411764705799E-2</c:v>
                </c:pt>
                <c:pt idx="6232">
                  <c:v>-2.3529411764705799E-2</c:v>
                </c:pt>
                <c:pt idx="6233">
                  <c:v>-2.3529411764705799E-2</c:v>
                </c:pt>
                <c:pt idx="6234">
                  <c:v>-2.3529411764705799E-2</c:v>
                </c:pt>
                <c:pt idx="6235">
                  <c:v>-2.3529411764705799E-2</c:v>
                </c:pt>
                <c:pt idx="6236">
                  <c:v>-2.3529411764705799E-2</c:v>
                </c:pt>
                <c:pt idx="6237">
                  <c:v>-2.3529411764705799E-2</c:v>
                </c:pt>
                <c:pt idx="6238">
                  <c:v>-2.3529411764705799E-2</c:v>
                </c:pt>
                <c:pt idx="6239">
                  <c:v>-2.3529411764705799E-2</c:v>
                </c:pt>
                <c:pt idx="6240">
                  <c:v>-2.3529411764705799E-2</c:v>
                </c:pt>
                <c:pt idx="6241">
                  <c:v>-2.3529411764705799E-2</c:v>
                </c:pt>
                <c:pt idx="6242">
                  <c:v>-2.2689075630251999E-2</c:v>
                </c:pt>
                <c:pt idx="6243">
                  <c:v>-2.2689075630251999E-2</c:v>
                </c:pt>
                <c:pt idx="6244">
                  <c:v>-2.2689075630251999E-2</c:v>
                </c:pt>
                <c:pt idx="6245">
                  <c:v>-2.2689075630251999E-2</c:v>
                </c:pt>
                <c:pt idx="6246">
                  <c:v>-2.2689075630251999E-2</c:v>
                </c:pt>
                <c:pt idx="6247">
                  <c:v>-2.2689075630251999E-2</c:v>
                </c:pt>
                <c:pt idx="6248">
                  <c:v>-2.2689075630251999E-2</c:v>
                </c:pt>
                <c:pt idx="6249">
                  <c:v>-2.2689075630251999E-2</c:v>
                </c:pt>
                <c:pt idx="6250">
                  <c:v>-2.2689075630251999E-2</c:v>
                </c:pt>
                <c:pt idx="6251">
                  <c:v>-2.2689075630251999E-2</c:v>
                </c:pt>
                <c:pt idx="6252">
                  <c:v>-2.2689075630251999E-2</c:v>
                </c:pt>
                <c:pt idx="6253">
                  <c:v>-2.2689075630251999E-2</c:v>
                </c:pt>
                <c:pt idx="6254">
                  <c:v>-2.2689075630251999E-2</c:v>
                </c:pt>
                <c:pt idx="6255">
                  <c:v>-2.2689075630251999E-2</c:v>
                </c:pt>
                <c:pt idx="6256">
                  <c:v>-2.2689075630251999E-2</c:v>
                </c:pt>
                <c:pt idx="6257">
                  <c:v>-2.2689075630251999E-2</c:v>
                </c:pt>
                <c:pt idx="6258">
                  <c:v>-2.2689075630251999E-2</c:v>
                </c:pt>
                <c:pt idx="6259">
                  <c:v>-2.2689075630251999E-2</c:v>
                </c:pt>
                <c:pt idx="6260">
                  <c:v>-2.2689075630251999E-2</c:v>
                </c:pt>
                <c:pt idx="6261">
                  <c:v>-2.2689075630251999E-2</c:v>
                </c:pt>
                <c:pt idx="6262">
                  <c:v>-2.2689075630251999E-2</c:v>
                </c:pt>
                <c:pt idx="6263">
                  <c:v>-2.2689075630251999E-2</c:v>
                </c:pt>
                <c:pt idx="6264">
                  <c:v>-2.2689075630251999E-2</c:v>
                </c:pt>
                <c:pt idx="6265">
                  <c:v>-2.2689075630251999E-2</c:v>
                </c:pt>
                <c:pt idx="6266">
                  <c:v>-2.2689075630251999E-2</c:v>
                </c:pt>
                <c:pt idx="6267">
                  <c:v>-2.2689075630251999E-2</c:v>
                </c:pt>
                <c:pt idx="6268">
                  <c:v>-2.2689075630251999E-2</c:v>
                </c:pt>
                <c:pt idx="6269">
                  <c:v>-2.2689075630251999E-2</c:v>
                </c:pt>
                <c:pt idx="6270">
                  <c:v>-2.2689075630251999E-2</c:v>
                </c:pt>
                <c:pt idx="6271">
                  <c:v>-2.2689075630251999E-2</c:v>
                </c:pt>
                <c:pt idx="6272">
                  <c:v>-2.2689075630251999E-2</c:v>
                </c:pt>
                <c:pt idx="6273">
                  <c:v>-2.2689075630251999E-2</c:v>
                </c:pt>
                <c:pt idx="6274">
                  <c:v>-2.2689075630251999E-2</c:v>
                </c:pt>
                <c:pt idx="6275">
                  <c:v>-2.3529411764705799E-2</c:v>
                </c:pt>
                <c:pt idx="6276">
                  <c:v>-2.3529411764705799E-2</c:v>
                </c:pt>
                <c:pt idx="6277">
                  <c:v>-2.3529411764705799E-2</c:v>
                </c:pt>
                <c:pt idx="6278">
                  <c:v>-2.3529411764705799E-2</c:v>
                </c:pt>
                <c:pt idx="6279">
                  <c:v>-2.3529411764705799E-2</c:v>
                </c:pt>
                <c:pt idx="6280">
                  <c:v>-2.3529411764705799E-2</c:v>
                </c:pt>
                <c:pt idx="6281">
                  <c:v>-2.3529411764705799E-2</c:v>
                </c:pt>
                <c:pt idx="6282">
                  <c:v>-2.3529411764705799E-2</c:v>
                </c:pt>
                <c:pt idx="6283">
                  <c:v>-2.3529411764705799E-2</c:v>
                </c:pt>
                <c:pt idx="6284">
                  <c:v>-2.3529411764705799E-2</c:v>
                </c:pt>
                <c:pt idx="6285">
                  <c:v>-2.3529411764705799E-2</c:v>
                </c:pt>
                <c:pt idx="6286">
                  <c:v>-2.3529411764705799E-2</c:v>
                </c:pt>
                <c:pt idx="6287">
                  <c:v>-2.3529411764705799E-2</c:v>
                </c:pt>
                <c:pt idx="6288">
                  <c:v>-2.3529411764705799E-2</c:v>
                </c:pt>
                <c:pt idx="6289">
                  <c:v>-2.3529411764705799E-2</c:v>
                </c:pt>
                <c:pt idx="6290">
                  <c:v>-2.3529411764705799E-2</c:v>
                </c:pt>
                <c:pt idx="6291">
                  <c:v>-2.3529411764705799E-2</c:v>
                </c:pt>
                <c:pt idx="6292">
                  <c:v>-2.3529411764705799E-2</c:v>
                </c:pt>
                <c:pt idx="6293">
                  <c:v>-2.3529411764705799E-2</c:v>
                </c:pt>
                <c:pt idx="6294">
                  <c:v>-2.3529411764705799E-2</c:v>
                </c:pt>
                <c:pt idx="6295">
                  <c:v>-2.3529411764705799E-2</c:v>
                </c:pt>
                <c:pt idx="6296">
                  <c:v>-2.3529411764705799E-2</c:v>
                </c:pt>
                <c:pt idx="6297">
                  <c:v>-2.3529411764705799E-2</c:v>
                </c:pt>
                <c:pt idx="6298">
                  <c:v>-2.3529411764705799E-2</c:v>
                </c:pt>
                <c:pt idx="6299">
                  <c:v>-2.3529411764705799E-2</c:v>
                </c:pt>
                <c:pt idx="6300">
                  <c:v>-2.4369747899159602E-2</c:v>
                </c:pt>
                <c:pt idx="6301">
                  <c:v>-2.4369747899159602E-2</c:v>
                </c:pt>
                <c:pt idx="6302">
                  <c:v>-2.4369747899159602E-2</c:v>
                </c:pt>
                <c:pt idx="6303">
                  <c:v>-2.4369747899159602E-2</c:v>
                </c:pt>
                <c:pt idx="6304">
                  <c:v>-2.4369747899159602E-2</c:v>
                </c:pt>
                <c:pt idx="6305">
                  <c:v>-2.4369747899159602E-2</c:v>
                </c:pt>
                <c:pt idx="6306">
                  <c:v>-2.4369747899159602E-2</c:v>
                </c:pt>
                <c:pt idx="6307">
                  <c:v>-2.4369747899159602E-2</c:v>
                </c:pt>
                <c:pt idx="6308">
                  <c:v>-2.4369747899159602E-2</c:v>
                </c:pt>
                <c:pt idx="6309">
                  <c:v>-2.4369747899159602E-2</c:v>
                </c:pt>
                <c:pt idx="6310">
                  <c:v>-2.4369747899159602E-2</c:v>
                </c:pt>
                <c:pt idx="6311">
                  <c:v>-2.4369747899159602E-2</c:v>
                </c:pt>
                <c:pt idx="6312">
                  <c:v>-2.4369747899159602E-2</c:v>
                </c:pt>
                <c:pt idx="6313">
                  <c:v>-2.4369747899159602E-2</c:v>
                </c:pt>
                <c:pt idx="6314">
                  <c:v>-2.3529411764705899E-2</c:v>
                </c:pt>
                <c:pt idx="6315">
                  <c:v>-2.3529411764705899E-2</c:v>
                </c:pt>
                <c:pt idx="6316">
                  <c:v>-2.4369747899159602E-2</c:v>
                </c:pt>
                <c:pt idx="6317">
                  <c:v>-2.4369747899159602E-2</c:v>
                </c:pt>
                <c:pt idx="6318">
                  <c:v>-2.4369747899159602E-2</c:v>
                </c:pt>
                <c:pt idx="6319">
                  <c:v>-2.4369747899159602E-2</c:v>
                </c:pt>
                <c:pt idx="6320">
                  <c:v>-2.4369747899159602E-2</c:v>
                </c:pt>
                <c:pt idx="6321">
                  <c:v>-2.4369747899159602E-2</c:v>
                </c:pt>
                <c:pt idx="6322">
                  <c:v>-2.4369747899159602E-2</c:v>
                </c:pt>
                <c:pt idx="6323">
                  <c:v>-2.4369747899159602E-2</c:v>
                </c:pt>
                <c:pt idx="6324">
                  <c:v>-2.4369747899159602E-2</c:v>
                </c:pt>
                <c:pt idx="6325">
                  <c:v>-2.4369747899159602E-2</c:v>
                </c:pt>
                <c:pt idx="6326">
                  <c:v>-2.4369747899159602E-2</c:v>
                </c:pt>
                <c:pt idx="6327">
                  <c:v>-2.4369747899159602E-2</c:v>
                </c:pt>
                <c:pt idx="6328">
                  <c:v>-2.4369747899159602E-2</c:v>
                </c:pt>
                <c:pt idx="6329">
                  <c:v>-2.5210084033613401E-2</c:v>
                </c:pt>
                <c:pt idx="6330">
                  <c:v>-2.5210084033613401E-2</c:v>
                </c:pt>
                <c:pt idx="6331">
                  <c:v>-2.5210084033613401E-2</c:v>
                </c:pt>
                <c:pt idx="6332">
                  <c:v>-2.5210084033613401E-2</c:v>
                </c:pt>
                <c:pt idx="6333">
                  <c:v>-2.5210084033613401E-2</c:v>
                </c:pt>
                <c:pt idx="6334">
                  <c:v>-2.5210084033613401E-2</c:v>
                </c:pt>
                <c:pt idx="6335">
                  <c:v>-2.5210084033613401E-2</c:v>
                </c:pt>
                <c:pt idx="6336">
                  <c:v>-2.5210084033613401E-2</c:v>
                </c:pt>
                <c:pt idx="6337">
                  <c:v>-2.5210084033613401E-2</c:v>
                </c:pt>
                <c:pt idx="6338">
                  <c:v>-2.5210084033613401E-2</c:v>
                </c:pt>
                <c:pt idx="6339">
                  <c:v>-2.60504201680672E-2</c:v>
                </c:pt>
                <c:pt idx="6340">
                  <c:v>-2.60504201680672E-2</c:v>
                </c:pt>
                <c:pt idx="6341">
                  <c:v>-2.60504201680672E-2</c:v>
                </c:pt>
                <c:pt idx="6342">
                  <c:v>-2.60504201680672E-2</c:v>
                </c:pt>
                <c:pt idx="6343">
                  <c:v>-2.60504201680672E-2</c:v>
                </c:pt>
                <c:pt idx="6344">
                  <c:v>-2.60504201680672E-2</c:v>
                </c:pt>
                <c:pt idx="6345">
                  <c:v>-2.60504201680672E-2</c:v>
                </c:pt>
                <c:pt idx="6346">
                  <c:v>-2.60504201680672E-2</c:v>
                </c:pt>
                <c:pt idx="6347">
                  <c:v>-2.60504201680672E-2</c:v>
                </c:pt>
                <c:pt idx="6348">
                  <c:v>-2.6890756302521E-2</c:v>
                </c:pt>
                <c:pt idx="6349">
                  <c:v>-2.6890756302521E-2</c:v>
                </c:pt>
                <c:pt idx="6350">
                  <c:v>-2.6890756302521E-2</c:v>
                </c:pt>
                <c:pt idx="6351">
                  <c:v>-2.6890756302521E-2</c:v>
                </c:pt>
                <c:pt idx="6352">
                  <c:v>-2.6890756302521E-2</c:v>
                </c:pt>
                <c:pt idx="6353">
                  <c:v>-2.6890756302521E-2</c:v>
                </c:pt>
                <c:pt idx="6354">
                  <c:v>-2.6890756302521E-2</c:v>
                </c:pt>
                <c:pt idx="6355">
                  <c:v>-2.6890756302521E-2</c:v>
                </c:pt>
                <c:pt idx="6356">
                  <c:v>-2.6890756302521E-2</c:v>
                </c:pt>
                <c:pt idx="6357">
                  <c:v>-2.6890756302521E-2</c:v>
                </c:pt>
                <c:pt idx="6358">
                  <c:v>-2.6890756302521E-2</c:v>
                </c:pt>
                <c:pt idx="6359">
                  <c:v>-2.6890756302521E-2</c:v>
                </c:pt>
                <c:pt idx="6360">
                  <c:v>-2.6890756302521E-2</c:v>
                </c:pt>
                <c:pt idx="6361">
                  <c:v>-2.6890756302521E-2</c:v>
                </c:pt>
                <c:pt idx="6362">
                  <c:v>-2.6890756302521E-2</c:v>
                </c:pt>
                <c:pt idx="6363">
                  <c:v>-2.6890756302521E-2</c:v>
                </c:pt>
                <c:pt idx="6364">
                  <c:v>-2.6890756302521E-2</c:v>
                </c:pt>
                <c:pt idx="6365">
                  <c:v>-2.6890756302521E-2</c:v>
                </c:pt>
                <c:pt idx="6366">
                  <c:v>-2.6890756302521E-2</c:v>
                </c:pt>
                <c:pt idx="6367">
                  <c:v>-2.6890756302521E-2</c:v>
                </c:pt>
                <c:pt idx="6368">
                  <c:v>-2.6890756302521E-2</c:v>
                </c:pt>
                <c:pt idx="6369">
                  <c:v>-2.6890756302521E-2</c:v>
                </c:pt>
                <c:pt idx="6370">
                  <c:v>-2.6890756302521E-2</c:v>
                </c:pt>
                <c:pt idx="6371">
                  <c:v>-2.6890756302521E-2</c:v>
                </c:pt>
                <c:pt idx="6372">
                  <c:v>-2.6890756302521E-2</c:v>
                </c:pt>
                <c:pt idx="6373">
                  <c:v>-2.6890756302521E-2</c:v>
                </c:pt>
                <c:pt idx="6374">
                  <c:v>-2.6890756302521E-2</c:v>
                </c:pt>
                <c:pt idx="6375">
                  <c:v>-2.6890756302521E-2</c:v>
                </c:pt>
                <c:pt idx="6376">
                  <c:v>-2.6890756302521E-2</c:v>
                </c:pt>
                <c:pt idx="6377">
                  <c:v>-2.6890756302521E-2</c:v>
                </c:pt>
                <c:pt idx="6378">
                  <c:v>-2.6890756302521E-2</c:v>
                </c:pt>
                <c:pt idx="6379">
                  <c:v>-2.6890756302521E-2</c:v>
                </c:pt>
                <c:pt idx="6380">
                  <c:v>-2.60504201680672E-2</c:v>
                </c:pt>
                <c:pt idx="6381">
                  <c:v>-2.60504201680672E-2</c:v>
                </c:pt>
                <c:pt idx="6382">
                  <c:v>-2.60504201680672E-2</c:v>
                </c:pt>
                <c:pt idx="6383">
                  <c:v>-2.60504201680672E-2</c:v>
                </c:pt>
                <c:pt idx="6384">
                  <c:v>-2.6890756302521E-2</c:v>
                </c:pt>
                <c:pt idx="6385">
                  <c:v>-2.6890756302521E-2</c:v>
                </c:pt>
                <c:pt idx="6386">
                  <c:v>-2.6890756302521E-2</c:v>
                </c:pt>
                <c:pt idx="6387">
                  <c:v>-2.6890756302521E-2</c:v>
                </c:pt>
                <c:pt idx="6388">
                  <c:v>-2.6890756302521E-2</c:v>
                </c:pt>
                <c:pt idx="6389">
                  <c:v>-2.7731092436974799E-2</c:v>
                </c:pt>
                <c:pt idx="6390">
                  <c:v>-2.7731092436974799E-2</c:v>
                </c:pt>
                <c:pt idx="6391">
                  <c:v>-2.7731092436974799E-2</c:v>
                </c:pt>
                <c:pt idx="6392">
                  <c:v>-2.7731092436974799E-2</c:v>
                </c:pt>
                <c:pt idx="6393">
                  <c:v>-2.7731092436974799E-2</c:v>
                </c:pt>
                <c:pt idx="6394">
                  <c:v>-2.7731092436974799E-2</c:v>
                </c:pt>
                <c:pt idx="6395">
                  <c:v>-2.7731092436974799E-2</c:v>
                </c:pt>
                <c:pt idx="6396">
                  <c:v>-2.7731092436974799E-2</c:v>
                </c:pt>
                <c:pt idx="6397">
                  <c:v>-2.7731092436974799E-2</c:v>
                </c:pt>
                <c:pt idx="6398">
                  <c:v>-2.7731092436974799E-2</c:v>
                </c:pt>
                <c:pt idx="6399">
                  <c:v>-2.7731092436974799E-2</c:v>
                </c:pt>
                <c:pt idx="6400">
                  <c:v>-2.7731092436974799E-2</c:v>
                </c:pt>
                <c:pt idx="6401">
                  <c:v>-2.7731092436974799E-2</c:v>
                </c:pt>
                <c:pt idx="6402">
                  <c:v>-2.7731092436974799E-2</c:v>
                </c:pt>
                <c:pt idx="6403">
                  <c:v>-2.7731092436974799E-2</c:v>
                </c:pt>
                <c:pt idx="6404">
                  <c:v>-2.7731092436974799E-2</c:v>
                </c:pt>
                <c:pt idx="6405">
                  <c:v>-2.7731092436974799E-2</c:v>
                </c:pt>
                <c:pt idx="6406">
                  <c:v>-2.7731092436974799E-2</c:v>
                </c:pt>
                <c:pt idx="6407">
                  <c:v>-2.7731092436974799E-2</c:v>
                </c:pt>
                <c:pt idx="6408">
                  <c:v>-2.7731092436974799E-2</c:v>
                </c:pt>
                <c:pt idx="6409">
                  <c:v>-2.7731092436974799E-2</c:v>
                </c:pt>
                <c:pt idx="6410">
                  <c:v>-2.7731092436974799E-2</c:v>
                </c:pt>
                <c:pt idx="6411">
                  <c:v>-2.7731092436974799E-2</c:v>
                </c:pt>
                <c:pt idx="6412">
                  <c:v>-2.7731092436974799E-2</c:v>
                </c:pt>
                <c:pt idx="6413">
                  <c:v>-2.7731092436974799E-2</c:v>
                </c:pt>
                <c:pt idx="6414">
                  <c:v>-2.7731092436974799E-2</c:v>
                </c:pt>
                <c:pt idx="6415">
                  <c:v>-2.7731092436974799E-2</c:v>
                </c:pt>
                <c:pt idx="6416">
                  <c:v>-2.7731092436974799E-2</c:v>
                </c:pt>
                <c:pt idx="6417">
                  <c:v>-2.8571428571428501E-2</c:v>
                </c:pt>
                <c:pt idx="6418">
                  <c:v>-2.8571428571428501E-2</c:v>
                </c:pt>
                <c:pt idx="6419">
                  <c:v>-2.8571428571428501E-2</c:v>
                </c:pt>
                <c:pt idx="6420">
                  <c:v>-2.8571428571428501E-2</c:v>
                </c:pt>
                <c:pt idx="6421">
                  <c:v>-2.8571428571428501E-2</c:v>
                </c:pt>
                <c:pt idx="6422">
                  <c:v>-2.8571428571428501E-2</c:v>
                </c:pt>
                <c:pt idx="6423">
                  <c:v>-2.8571428571428501E-2</c:v>
                </c:pt>
                <c:pt idx="6424">
                  <c:v>-2.8571428571428501E-2</c:v>
                </c:pt>
                <c:pt idx="6425">
                  <c:v>-2.94117647058823E-2</c:v>
                </c:pt>
                <c:pt idx="6426">
                  <c:v>-2.94117647058823E-2</c:v>
                </c:pt>
                <c:pt idx="6427">
                  <c:v>-2.94117647058823E-2</c:v>
                </c:pt>
                <c:pt idx="6428">
                  <c:v>-2.94117647058823E-2</c:v>
                </c:pt>
                <c:pt idx="6429">
                  <c:v>-2.94117647058823E-2</c:v>
                </c:pt>
                <c:pt idx="6430">
                  <c:v>-2.94117647058823E-2</c:v>
                </c:pt>
                <c:pt idx="6431">
                  <c:v>-2.94117647058823E-2</c:v>
                </c:pt>
                <c:pt idx="6432">
                  <c:v>-2.94117647058823E-2</c:v>
                </c:pt>
                <c:pt idx="6433">
                  <c:v>-2.94117647058823E-2</c:v>
                </c:pt>
                <c:pt idx="6434">
                  <c:v>-3.02521008403361E-2</c:v>
                </c:pt>
                <c:pt idx="6435">
                  <c:v>-3.02521008403361E-2</c:v>
                </c:pt>
                <c:pt idx="6436">
                  <c:v>-3.02521008403361E-2</c:v>
                </c:pt>
                <c:pt idx="6437">
                  <c:v>-3.02521008403361E-2</c:v>
                </c:pt>
                <c:pt idx="6438">
                  <c:v>-3.02521008403361E-2</c:v>
                </c:pt>
                <c:pt idx="6439">
                  <c:v>-3.02521008403361E-2</c:v>
                </c:pt>
                <c:pt idx="6440">
                  <c:v>-3.02521008403361E-2</c:v>
                </c:pt>
                <c:pt idx="6441">
                  <c:v>-3.02521008403361E-2</c:v>
                </c:pt>
                <c:pt idx="6442">
                  <c:v>-3.02521008403361E-2</c:v>
                </c:pt>
                <c:pt idx="6443">
                  <c:v>-3.02521008403361E-2</c:v>
                </c:pt>
                <c:pt idx="6444">
                  <c:v>-3.02521008403361E-2</c:v>
                </c:pt>
                <c:pt idx="6445">
                  <c:v>-3.02521008403361E-2</c:v>
                </c:pt>
                <c:pt idx="6446">
                  <c:v>-3.02521008403361E-2</c:v>
                </c:pt>
                <c:pt idx="6447">
                  <c:v>-3.02521008403361E-2</c:v>
                </c:pt>
                <c:pt idx="6448">
                  <c:v>-3.02521008403361E-2</c:v>
                </c:pt>
                <c:pt idx="6449">
                  <c:v>-3.02521008403361E-2</c:v>
                </c:pt>
                <c:pt idx="6450">
                  <c:v>-3.02521008403361E-2</c:v>
                </c:pt>
                <c:pt idx="6451">
                  <c:v>-3.02521008403361E-2</c:v>
                </c:pt>
                <c:pt idx="6452">
                  <c:v>-3.02521008403361E-2</c:v>
                </c:pt>
                <c:pt idx="6453">
                  <c:v>-3.02521008403361E-2</c:v>
                </c:pt>
                <c:pt idx="6454">
                  <c:v>-3.02521008403361E-2</c:v>
                </c:pt>
                <c:pt idx="6455">
                  <c:v>-3.02521008403361E-2</c:v>
                </c:pt>
                <c:pt idx="6456">
                  <c:v>-3.02521008403361E-2</c:v>
                </c:pt>
                <c:pt idx="6457">
                  <c:v>-3.02521008403361E-2</c:v>
                </c:pt>
                <c:pt idx="6458">
                  <c:v>-3.02521008403361E-2</c:v>
                </c:pt>
                <c:pt idx="6459">
                  <c:v>-3.02521008403361E-2</c:v>
                </c:pt>
                <c:pt idx="6460">
                  <c:v>-3.02521008403361E-2</c:v>
                </c:pt>
                <c:pt idx="6461">
                  <c:v>-3.02521008403361E-2</c:v>
                </c:pt>
                <c:pt idx="6462">
                  <c:v>-3.02521008403361E-2</c:v>
                </c:pt>
                <c:pt idx="6463">
                  <c:v>-3.02521008403361E-2</c:v>
                </c:pt>
                <c:pt idx="6464">
                  <c:v>-3.02521008403361E-2</c:v>
                </c:pt>
                <c:pt idx="6465">
                  <c:v>-3.02521008403361E-2</c:v>
                </c:pt>
                <c:pt idx="6466">
                  <c:v>-3.02521008403361E-2</c:v>
                </c:pt>
                <c:pt idx="6467">
                  <c:v>-3.02521008403361E-2</c:v>
                </c:pt>
                <c:pt idx="6468">
                  <c:v>-3.02521008403361E-2</c:v>
                </c:pt>
                <c:pt idx="6469">
                  <c:v>-3.02521008403361E-2</c:v>
                </c:pt>
                <c:pt idx="6470">
                  <c:v>-3.02521008403361E-2</c:v>
                </c:pt>
                <c:pt idx="6471">
                  <c:v>-3.02521008403361E-2</c:v>
                </c:pt>
                <c:pt idx="6472">
                  <c:v>-3.02521008403361E-2</c:v>
                </c:pt>
                <c:pt idx="6473">
                  <c:v>-3.02521008403361E-2</c:v>
                </c:pt>
                <c:pt idx="6474">
                  <c:v>-3.02521008403361E-2</c:v>
                </c:pt>
                <c:pt idx="6475">
                  <c:v>-3.02521008403361E-2</c:v>
                </c:pt>
                <c:pt idx="6476">
                  <c:v>-3.02521008403361E-2</c:v>
                </c:pt>
                <c:pt idx="6477">
                  <c:v>-3.02521008403361E-2</c:v>
                </c:pt>
                <c:pt idx="6478">
                  <c:v>-3.02521008403361E-2</c:v>
                </c:pt>
                <c:pt idx="6479">
                  <c:v>-3.02521008403361E-2</c:v>
                </c:pt>
                <c:pt idx="6480">
                  <c:v>-3.02521008403361E-2</c:v>
                </c:pt>
                <c:pt idx="6481">
                  <c:v>-3.02521008403361E-2</c:v>
                </c:pt>
                <c:pt idx="6482">
                  <c:v>-3.02521008403361E-2</c:v>
                </c:pt>
                <c:pt idx="6483">
                  <c:v>-3.02521008403361E-2</c:v>
                </c:pt>
                <c:pt idx="6484">
                  <c:v>-3.02521008403361E-2</c:v>
                </c:pt>
                <c:pt idx="6485">
                  <c:v>-3.02521008403361E-2</c:v>
                </c:pt>
                <c:pt idx="6486">
                  <c:v>-3.02521008403361E-2</c:v>
                </c:pt>
                <c:pt idx="6487">
                  <c:v>-3.02521008403361E-2</c:v>
                </c:pt>
                <c:pt idx="6488">
                  <c:v>-3.02521008403361E-2</c:v>
                </c:pt>
                <c:pt idx="6489">
                  <c:v>-3.02521008403361E-2</c:v>
                </c:pt>
                <c:pt idx="6490">
                  <c:v>-3.02521008403361E-2</c:v>
                </c:pt>
                <c:pt idx="6491">
                  <c:v>-3.02521008403361E-2</c:v>
                </c:pt>
                <c:pt idx="6492">
                  <c:v>-3.02521008403361E-2</c:v>
                </c:pt>
                <c:pt idx="6493">
                  <c:v>-3.02521008403361E-2</c:v>
                </c:pt>
                <c:pt idx="6494">
                  <c:v>-3.02521008403361E-2</c:v>
                </c:pt>
                <c:pt idx="6495">
                  <c:v>-3.02521008403361E-2</c:v>
                </c:pt>
                <c:pt idx="6496">
                  <c:v>-3.02521008403361E-2</c:v>
                </c:pt>
                <c:pt idx="6497">
                  <c:v>-3.02521008403361E-2</c:v>
                </c:pt>
                <c:pt idx="6498">
                  <c:v>-3.02521008403361E-2</c:v>
                </c:pt>
                <c:pt idx="6499">
                  <c:v>-3.02521008403361E-2</c:v>
                </c:pt>
                <c:pt idx="6500">
                  <c:v>-3.02521008403361E-2</c:v>
                </c:pt>
                <c:pt idx="6501">
                  <c:v>-3.02521008403361E-2</c:v>
                </c:pt>
                <c:pt idx="6502">
                  <c:v>-3.1092436974789899E-2</c:v>
                </c:pt>
                <c:pt idx="6503">
                  <c:v>-3.1092436974789899E-2</c:v>
                </c:pt>
                <c:pt idx="6504">
                  <c:v>-3.1092436974789899E-2</c:v>
                </c:pt>
                <c:pt idx="6505">
                  <c:v>-3.1092436974789899E-2</c:v>
                </c:pt>
                <c:pt idx="6506">
                  <c:v>-3.1932773109243598E-2</c:v>
                </c:pt>
                <c:pt idx="6507">
                  <c:v>-3.1932773109243598E-2</c:v>
                </c:pt>
                <c:pt idx="6508">
                  <c:v>-3.1932773109243598E-2</c:v>
                </c:pt>
                <c:pt idx="6509">
                  <c:v>-3.1932773109243598E-2</c:v>
                </c:pt>
                <c:pt idx="6510">
                  <c:v>-3.1932773109243598E-2</c:v>
                </c:pt>
                <c:pt idx="6511">
                  <c:v>-3.1932773109243598E-2</c:v>
                </c:pt>
                <c:pt idx="6512">
                  <c:v>-3.1932773109243598E-2</c:v>
                </c:pt>
                <c:pt idx="6513">
                  <c:v>-3.1932773109243598E-2</c:v>
                </c:pt>
                <c:pt idx="6514">
                  <c:v>-3.1932773109243598E-2</c:v>
                </c:pt>
                <c:pt idx="6515">
                  <c:v>-3.1932773109243598E-2</c:v>
                </c:pt>
                <c:pt idx="6516">
                  <c:v>-3.1932773109243598E-2</c:v>
                </c:pt>
                <c:pt idx="6517">
                  <c:v>-3.1932773109243598E-2</c:v>
                </c:pt>
                <c:pt idx="6518">
                  <c:v>-3.1932773109243598E-2</c:v>
                </c:pt>
                <c:pt idx="6519">
                  <c:v>-3.1932773109243598E-2</c:v>
                </c:pt>
                <c:pt idx="6520">
                  <c:v>-3.1932773109243598E-2</c:v>
                </c:pt>
                <c:pt idx="6521">
                  <c:v>-3.1932773109243598E-2</c:v>
                </c:pt>
                <c:pt idx="6522">
                  <c:v>-3.1932773109243598E-2</c:v>
                </c:pt>
                <c:pt idx="6523">
                  <c:v>-3.1932773109243598E-2</c:v>
                </c:pt>
                <c:pt idx="6524">
                  <c:v>-3.1932773109243598E-2</c:v>
                </c:pt>
                <c:pt idx="6525">
                  <c:v>-3.1932773109243598E-2</c:v>
                </c:pt>
                <c:pt idx="6526">
                  <c:v>-3.1932773109243598E-2</c:v>
                </c:pt>
                <c:pt idx="6527">
                  <c:v>-3.1932773109243598E-2</c:v>
                </c:pt>
                <c:pt idx="6528">
                  <c:v>-3.1932773109243598E-2</c:v>
                </c:pt>
                <c:pt idx="6529">
                  <c:v>-3.1932773109243598E-2</c:v>
                </c:pt>
                <c:pt idx="6530">
                  <c:v>-3.1932773109243598E-2</c:v>
                </c:pt>
                <c:pt idx="6531">
                  <c:v>-3.1932773109243598E-2</c:v>
                </c:pt>
                <c:pt idx="6532">
                  <c:v>-3.1932773109243598E-2</c:v>
                </c:pt>
                <c:pt idx="6533">
                  <c:v>-3.1932773109243598E-2</c:v>
                </c:pt>
                <c:pt idx="6534">
                  <c:v>-3.1932773109243598E-2</c:v>
                </c:pt>
                <c:pt idx="6535">
                  <c:v>-3.1932773109243598E-2</c:v>
                </c:pt>
                <c:pt idx="6536">
                  <c:v>-3.1932773109243598E-2</c:v>
                </c:pt>
                <c:pt idx="6537">
                  <c:v>-3.1932773109243598E-2</c:v>
                </c:pt>
                <c:pt idx="6538">
                  <c:v>-3.1932773109243598E-2</c:v>
                </c:pt>
                <c:pt idx="6539">
                  <c:v>-3.1932773109243598E-2</c:v>
                </c:pt>
                <c:pt idx="6540">
                  <c:v>-3.1932773109243598E-2</c:v>
                </c:pt>
                <c:pt idx="6541">
                  <c:v>-3.1932773109243598E-2</c:v>
                </c:pt>
                <c:pt idx="6542">
                  <c:v>-3.1932773109243598E-2</c:v>
                </c:pt>
                <c:pt idx="6543">
                  <c:v>-3.1932773109243598E-2</c:v>
                </c:pt>
                <c:pt idx="6544">
                  <c:v>-3.1932773109243598E-2</c:v>
                </c:pt>
                <c:pt idx="6545">
                  <c:v>-3.1932773109243598E-2</c:v>
                </c:pt>
                <c:pt idx="6546">
                  <c:v>-3.1932773109243598E-2</c:v>
                </c:pt>
                <c:pt idx="6547">
                  <c:v>-3.1932773109243598E-2</c:v>
                </c:pt>
                <c:pt idx="6548">
                  <c:v>-3.1932773109243598E-2</c:v>
                </c:pt>
                <c:pt idx="6549">
                  <c:v>-3.1932773109243598E-2</c:v>
                </c:pt>
                <c:pt idx="6550">
                  <c:v>-3.1932773109243598E-2</c:v>
                </c:pt>
                <c:pt idx="6551">
                  <c:v>-3.1932773109243598E-2</c:v>
                </c:pt>
                <c:pt idx="6552">
                  <c:v>-3.1932773109243598E-2</c:v>
                </c:pt>
                <c:pt idx="6553">
                  <c:v>-3.1932773109243598E-2</c:v>
                </c:pt>
                <c:pt idx="6554">
                  <c:v>-3.1932773109243598E-2</c:v>
                </c:pt>
                <c:pt idx="6555">
                  <c:v>-3.1932773109243598E-2</c:v>
                </c:pt>
                <c:pt idx="6556">
                  <c:v>-3.1932773109243598E-2</c:v>
                </c:pt>
                <c:pt idx="6557">
                  <c:v>-3.1932773109243598E-2</c:v>
                </c:pt>
                <c:pt idx="6558">
                  <c:v>-3.1932773109243598E-2</c:v>
                </c:pt>
                <c:pt idx="6559">
                  <c:v>-3.1932773109243598E-2</c:v>
                </c:pt>
                <c:pt idx="6560">
                  <c:v>-3.1932773109243598E-2</c:v>
                </c:pt>
                <c:pt idx="6561">
                  <c:v>-3.1092436974789899E-2</c:v>
                </c:pt>
                <c:pt idx="6562">
                  <c:v>-3.1092436974789899E-2</c:v>
                </c:pt>
                <c:pt idx="6563">
                  <c:v>-3.1092436974789899E-2</c:v>
                </c:pt>
                <c:pt idx="6564">
                  <c:v>-3.1092436974789899E-2</c:v>
                </c:pt>
                <c:pt idx="6565">
                  <c:v>-3.1092436974789899E-2</c:v>
                </c:pt>
                <c:pt idx="6566">
                  <c:v>-3.1092436974789899E-2</c:v>
                </c:pt>
                <c:pt idx="6567">
                  <c:v>-3.02521008403361E-2</c:v>
                </c:pt>
                <c:pt idx="6568">
                  <c:v>-3.02521008403361E-2</c:v>
                </c:pt>
                <c:pt idx="6569">
                  <c:v>-3.02521008403361E-2</c:v>
                </c:pt>
                <c:pt idx="6570">
                  <c:v>-3.02521008403361E-2</c:v>
                </c:pt>
                <c:pt idx="6571">
                  <c:v>-3.02521008403361E-2</c:v>
                </c:pt>
                <c:pt idx="6572">
                  <c:v>-3.02521008403361E-2</c:v>
                </c:pt>
                <c:pt idx="6573">
                  <c:v>-3.02521008403361E-2</c:v>
                </c:pt>
                <c:pt idx="6574">
                  <c:v>-3.02521008403361E-2</c:v>
                </c:pt>
                <c:pt idx="6575">
                  <c:v>-3.02521008403361E-2</c:v>
                </c:pt>
                <c:pt idx="6576">
                  <c:v>-3.02521008403361E-2</c:v>
                </c:pt>
                <c:pt idx="6577">
                  <c:v>-2.94117647058823E-2</c:v>
                </c:pt>
                <c:pt idx="6578">
                  <c:v>-2.94117647058823E-2</c:v>
                </c:pt>
                <c:pt idx="6579">
                  <c:v>-2.94117647058823E-2</c:v>
                </c:pt>
                <c:pt idx="6580">
                  <c:v>-2.94117647058823E-2</c:v>
                </c:pt>
                <c:pt idx="6581">
                  <c:v>-2.94117647058823E-2</c:v>
                </c:pt>
                <c:pt idx="6582">
                  <c:v>-2.94117647058823E-2</c:v>
                </c:pt>
                <c:pt idx="6583">
                  <c:v>-2.94117647058823E-2</c:v>
                </c:pt>
                <c:pt idx="6584">
                  <c:v>-2.94117647058823E-2</c:v>
                </c:pt>
                <c:pt idx="6585">
                  <c:v>-2.94117647058823E-2</c:v>
                </c:pt>
                <c:pt idx="6586">
                  <c:v>-2.94117647058823E-2</c:v>
                </c:pt>
                <c:pt idx="6587">
                  <c:v>-2.94117647058823E-2</c:v>
                </c:pt>
                <c:pt idx="6588">
                  <c:v>-2.94117647058823E-2</c:v>
                </c:pt>
                <c:pt idx="6589">
                  <c:v>-2.94117647058823E-2</c:v>
                </c:pt>
                <c:pt idx="6590">
                  <c:v>-2.94117647058823E-2</c:v>
                </c:pt>
                <c:pt idx="6591">
                  <c:v>-2.94117647058823E-2</c:v>
                </c:pt>
                <c:pt idx="6592">
                  <c:v>-2.94117647058823E-2</c:v>
                </c:pt>
                <c:pt idx="6593">
                  <c:v>-2.94117647058823E-2</c:v>
                </c:pt>
                <c:pt idx="6594">
                  <c:v>-2.94117647058823E-2</c:v>
                </c:pt>
                <c:pt idx="6595">
                  <c:v>-2.94117647058823E-2</c:v>
                </c:pt>
                <c:pt idx="6596">
                  <c:v>-2.94117647058823E-2</c:v>
                </c:pt>
                <c:pt idx="6597">
                  <c:v>-2.94117647058823E-2</c:v>
                </c:pt>
                <c:pt idx="6598">
                  <c:v>-2.94117647058823E-2</c:v>
                </c:pt>
                <c:pt idx="6599">
                  <c:v>-2.94117647058823E-2</c:v>
                </c:pt>
                <c:pt idx="6600">
                  <c:v>-2.94117647058823E-2</c:v>
                </c:pt>
                <c:pt idx="6601">
                  <c:v>-2.94117647058823E-2</c:v>
                </c:pt>
                <c:pt idx="6602">
                  <c:v>-2.94117647058823E-2</c:v>
                </c:pt>
                <c:pt idx="6603">
                  <c:v>-2.94117647058823E-2</c:v>
                </c:pt>
                <c:pt idx="6604">
                  <c:v>-2.94117647058823E-2</c:v>
                </c:pt>
                <c:pt idx="6605">
                  <c:v>-2.94117647058823E-2</c:v>
                </c:pt>
                <c:pt idx="6606">
                  <c:v>-2.94117647058823E-2</c:v>
                </c:pt>
                <c:pt idx="6607">
                  <c:v>-2.94117647058823E-2</c:v>
                </c:pt>
                <c:pt idx="6608">
                  <c:v>-2.94117647058823E-2</c:v>
                </c:pt>
                <c:pt idx="6609">
                  <c:v>-2.94117647058823E-2</c:v>
                </c:pt>
                <c:pt idx="6610">
                  <c:v>-2.94117647058823E-2</c:v>
                </c:pt>
                <c:pt idx="6611">
                  <c:v>-2.94117647058823E-2</c:v>
                </c:pt>
                <c:pt idx="6612">
                  <c:v>-2.94117647058823E-2</c:v>
                </c:pt>
                <c:pt idx="6613">
                  <c:v>-2.94117647058823E-2</c:v>
                </c:pt>
                <c:pt idx="6614">
                  <c:v>-3.02521008403361E-2</c:v>
                </c:pt>
                <c:pt idx="6615">
                  <c:v>-3.02521008403361E-2</c:v>
                </c:pt>
                <c:pt idx="6616">
                  <c:v>-3.1092436974789899E-2</c:v>
                </c:pt>
                <c:pt idx="6617">
                  <c:v>-3.1092436974789899E-2</c:v>
                </c:pt>
                <c:pt idx="6618">
                  <c:v>-3.1092436974789899E-2</c:v>
                </c:pt>
                <c:pt idx="6619">
                  <c:v>-3.1092436974789899E-2</c:v>
                </c:pt>
                <c:pt idx="6620">
                  <c:v>-3.1092436974789899E-2</c:v>
                </c:pt>
                <c:pt idx="6621">
                  <c:v>-3.1092436974789899E-2</c:v>
                </c:pt>
                <c:pt idx="6622">
                  <c:v>-3.1092436974789899E-2</c:v>
                </c:pt>
                <c:pt idx="6623">
                  <c:v>-3.1092436974789899E-2</c:v>
                </c:pt>
                <c:pt idx="6624">
                  <c:v>-3.1092436974789899E-2</c:v>
                </c:pt>
                <c:pt idx="6625">
                  <c:v>-3.1092436974789899E-2</c:v>
                </c:pt>
                <c:pt idx="6626">
                  <c:v>-3.1092436974789899E-2</c:v>
                </c:pt>
                <c:pt idx="6627">
                  <c:v>-3.1092436974789899E-2</c:v>
                </c:pt>
                <c:pt idx="6628">
                  <c:v>-3.1092436974789899E-2</c:v>
                </c:pt>
                <c:pt idx="6629">
                  <c:v>-3.1092436974789899E-2</c:v>
                </c:pt>
                <c:pt idx="6630">
                  <c:v>-3.1092436974789899E-2</c:v>
                </c:pt>
                <c:pt idx="6631">
                  <c:v>-3.1932773109243598E-2</c:v>
                </c:pt>
                <c:pt idx="6632">
                  <c:v>-3.1932773109243598E-2</c:v>
                </c:pt>
                <c:pt idx="6633">
                  <c:v>-3.1932773109243598E-2</c:v>
                </c:pt>
                <c:pt idx="6634">
                  <c:v>-3.1932773109243598E-2</c:v>
                </c:pt>
                <c:pt idx="6635">
                  <c:v>-3.1932773109243598E-2</c:v>
                </c:pt>
                <c:pt idx="6636">
                  <c:v>-3.1932773109243598E-2</c:v>
                </c:pt>
                <c:pt idx="6637">
                  <c:v>-3.1932773109243598E-2</c:v>
                </c:pt>
                <c:pt idx="6638">
                  <c:v>-3.1932773109243598E-2</c:v>
                </c:pt>
                <c:pt idx="6639">
                  <c:v>-3.1932773109243598E-2</c:v>
                </c:pt>
                <c:pt idx="6640">
                  <c:v>-3.1932773109243598E-2</c:v>
                </c:pt>
                <c:pt idx="6641">
                  <c:v>-3.1932773109243598E-2</c:v>
                </c:pt>
                <c:pt idx="6642">
                  <c:v>-3.1932773109243598E-2</c:v>
                </c:pt>
                <c:pt idx="6643">
                  <c:v>-3.1932773109243598E-2</c:v>
                </c:pt>
                <c:pt idx="6644">
                  <c:v>-3.1932773109243598E-2</c:v>
                </c:pt>
                <c:pt idx="6645">
                  <c:v>-3.1932773109243598E-2</c:v>
                </c:pt>
                <c:pt idx="6646">
                  <c:v>-3.1932773109243598E-2</c:v>
                </c:pt>
                <c:pt idx="6647">
                  <c:v>-3.1932773109243598E-2</c:v>
                </c:pt>
                <c:pt idx="6648">
                  <c:v>-3.2773109243697397E-2</c:v>
                </c:pt>
                <c:pt idx="6649">
                  <c:v>-3.2773109243697397E-2</c:v>
                </c:pt>
                <c:pt idx="6650">
                  <c:v>-3.2773109243697397E-2</c:v>
                </c:pt>
                <c:pt idx="6651">
                  <c:v>-3.2773109243697397E-2</c:v>
                </c:pt>
                <c:pt idx="6652">
                  <c:v>-3.2773109243697397E-2</c:v>
                </c:pt>
                <c:pt idx="6653">
                  <c:v>-3.2773109243697397E-2</c:v>
                </c:pt>
                <c:pt idx="6654">
                  <c:v>-3.2773109243697397E-2</c:v>
                </c:pt>
                <c:pt idx="6655">
                  <c:v>-3.2773109243697397E-2</c:v>
                </c:pt>
                <c:pt idx="6656">
                  <c:v>-3.2773109243697397E-2</c:v>
                </c:pt>
                <c:pt idx="6657">
                  <c:v>-3.2773109243697397E-2</c:v>
                </c:pt>
                <c:pt idx="6658">
                  <c:v>-3.2773109243697397E-2</c:v>
                </c:pt>
                <c:pt idx="6659">
                  <c:v>-3.2773109243697397E-2</c:v>
                </c:pt>
                <c:pt idx="6660">
                  <c:v>-3.2773109243697397E-2</c:v>
                </c:pt>
                <c:pt idx="6661">
                  <c:v>-3.2773109243697397E-2</c:v>
                </c:pt>
                <c:pt idx="6662">
                  <c:v>-3.2773109243697397E-2</c:v>
                </c:pt>
                <c:pt idx="6663">
                  <c:v>-3.2773109243697397E-2</c:v>
                </c:pt>
                <c:pt idx="6664">
                  <c:v>-3.2773109243697397E-2</c:v>
                </c:pt>
                <c:pt idx="6665">
                  <c:v>-3.2773109243697397E-2</c:v>
                </c:pt>
                <c:pt idx="6666">
                  <c:v>-3.2773109243697397E-2</c:v>
                </c:pt>
                <c:pt idx="6667">
                  <c:v>-3.2773109243697397E-2</c:v>
                </c:pt>
                <c:pt idx="6668">
                  <c:v>-3.2773109243697397E-2</c:v>
                </c:pt>
                <c:pt idx="6669">
                  <c:v>-3.2773109243697397E-2</c:v>
                </c:pt>
                <c:pt idx="6670">
                  <c:v>-3.2773109243697397E-2</c:v>
                </c:pt>
                <c:pt idx="6671">
                  <c:v>-3.2773109243697397E-2</c:v>
                </c:pt>
                <c:pt idx="6672">
                  <c:v>-3.2773109243697397E-2</c:v>
                </c:pt>
                <c:pt idx="6673">
                  <c:v>-3.1932773109243598E-2</c:v>
                </c:pt>
                <c:pt idx="6674">
                  <c:v>-3.1932773109243598E-2</c:v>
                </c:pt>
                <c:pt idx="6675">
                  <c:v>-3.1932773109243598E-2</c:v>
                </c:pt>
                <c:pt idx="6676">
                  <c:v>-3.1932773109243598E-2</c:v>
                </c:pt>
                <c:pt idx="6677">
                  <c:v>-3.1932773109243598E-2</c:v>
                </c:pt>
                <c:pt idx="6678">
                  <c:v>-3.1932773109243598E-2</c:v>
                </c:pt>
                <c:pt idx="6679">
                  <c:v>-3.1932773109243598E-2</c:v>
                </c:pt>
                <c:pt idx="6680">
                  <c:v>-3.1932773109243598E-2</c:v>
                </c:pt>
                <c:pt idx="6681">
                  <c:v>-3.1932773109243598E-2</c:v>
                </c:pt>
                <c:pt idx="6682">
                  <c:v>-3.1092436974789899E-2</c:v>
                </c:pt>
                <c:pt idx="6683">
                  <c:v>-3.02521008403361E-2</c:v>
                </c:pt>
                <c:pt idx="6684">
                  <c:v>-3.02521008403361E-2</c:v>
                </c:pt>
                <c:pt idx="6685">
                  <c:v>-3.02521008403361E-2</c:v>
                </c:pt>
                <c:pt idx="6686">
                  <c:v>-3.02521008403361E-2</c:v>
                </c:pt>
                <c:pt idx="6687">
                  <c:v>-3.02521008403361E-2</c:v>
                </c:pt>
                <c:pt idx="6688">
                  <c:v>-3.02521008403361E-2</c:v>
                </c:pt>
                <c:pt idx="6689">
                  <c:v>-3.02521008403361E-2</c:v>
                </c:pt>
                <c:pt idx="6690">
                  <c:v>-3.02521008403361E-2</c:v>
                </c:pt>
                <c:pt idx="6691">
                  <c:v>-3.02521008403361E-2</c:v>
                </c:pt>
                <c:pt idx="6692">
                  <c:v>-3.02521008403361E-2</c:v>
                </c:pt>
                <c:pt idx="6693">
                  <c:v>-3.02521008403361E-2</c:v>
                </c:pt>
                <c:pt idx="6694">
                  <c:v>-3.02521008403361E-2</c:v>
                </c:pt>
                <c:pt idx="6695">
                  <c:v>-2.94117647058823E-2</c:v>
                </c:pt>
                <c:pt idx="6696">
                  <c:v>-2.94117647058823E-2</c:v>
                </c:pt>
                <c:pt idx="6697">
                  <c:v>-2.94117647058823E-2</c:v>
                </c:pt>
                <c:pt idx="6698">
                  <c:v>-2.94117647058823E-2</c:v>
                </c:pt>
                <c:pt idx="6699">
                  <c:v>-2.94117647058823E-2</c:v>
                </c:pt>
                <c:pt idx="6700">
                  <c:v>-2.94117647058823E-2</c:v>
                </c:pt>
                <c:pt idx="6701">
                  <c:v>-2.94117647058823E-2</c:v>
                </c:pt>
                <c:pt idx="6702">
                  <c:v>-2.94117647058823E-2</c:v>
                </c:pt>
                <c:pt idx="6703">
                  <c:v>-2.8571428571428501E-2</c:v>
                </c:pt>
                <c:pt idx="6704">
                  <c:v>-2.8571428571428501E-2</c:v>
                </c:pt>
                <c:pt idx="6705">
                  <c:v>-2.8571428571428501E-2</c:v>
                </c:pt>
                <c:pt idx="6706">
                  <c:v>-2.8571428571428501E-2</c:v>
                </c:pt>
                <c:pt idx="6707">
                  <c:v>-2.8571428571428501E-2</c:v>
                </c:pt>
                <c:pt idx="6708">
                  <c:v>-2.8571428571428501E-2</c:v>
                </c:pt>
                <c:pt idx="6709">
                  <c:v>-2.8571428571428501E-2</c:v>
                </c:pt>
                <c:pt idx="6710">
                  <c:v>-2.8571428571428501E-2</c:v>
                </c:pt>
                <c:pt idx="6711">
                  <c:v>-2.8571428571428501E-2</c:v>
                </c:pt>
                <c:pt idx="6712">
                  <c:v>-2.8571428571428501E-2</c:v>
                </c:pt>
                <c:pt idx="6713">
                  <c:v>-2.8571428571428501E-2</c:v>
                </c:pt>
                <c:pt idx="6714">
                  <c:v>-2.7731092436974698E-2</c:v>
                </c:pt>
                <c:pt idx="6715">
                  <c:v>-2.7731092436974698E-2</c:v>
                </c:pt>
                <c:pt idx="6716">
                  <c:v>-2.7731092436974698E-2</c:v>
                </c:pt>
                <c:pt idx="6717">
                  <c:v>-2.7731092436974698E-2</c:v>
                </c:pt>
                <c:pt idx="6718">
                  <c:v>-2.7731092436974698E-2</c:v>
                </c:pt>
                <c:pt idx="6719">
                  <c:v>-2.7731092436974698E-2</c:v>
                </c:pt>
                <c:pt idx="6720">
                  <c:v>-2.7731092436974698E-2</c:v>
                </c:pt>
                <c:pt idx="6721">
                  <c:v>-2.7731092436974698E-2</c:v>
                </c:pt>
                <c:pt idx="6722">
                  <c:v>-2.7731092436974698E-2</c:v>
                </c:pt>
                <c:pt idx="6723">
                  <c:v>-2.7731092436974698E-2</c:v>
                </c:pt>
                <c:pt idx="6724">
                  <c:v>-2.7731092436974698E-2</c:v>
                </c:pt>
                <c:pt idx="6725">
                  <c:v>-2.7731092436974698E-2</c:v>
                </c:pt>
                <c:pt idx="6726">
                  <c:v>-2.7731092436974698E-2</c:v>
                </c:pt>
                <c:pt idx="6727">
                  <c:v>-2.7731092436974698E-2</c:v>
                </c:pt>
                <c:pt idx="6728">
                  <c:v>-2.7731092436974698E-2</c:v>
                </c:pt>
                <c:pt idx="6729">
                  <c:v>-2.7731092436974698E-2</c:v>
                </c:pt>
                <c:pt idx="6730">
                  <c:v>-2.6890756302520899E-2</c:v>
                </c:pt>
                <c:pt idx="6731">
                  <c:v>-2.6890756302520899E-2</c:v>
                </c:pt>
                <c:pt idx="6732">
                  <c:v>-2.6890756302520899E-2</c:v>
                </c:pt>
                <c:pt idx="6733">
                  <c:v>-2.6890756302520899E-2</c:v>
                </c:pt>
                <c:pt idx="6734">
                  <c:v>-2.6890756302520899E-2</c:v>
                </c:pt>
                <c:pt idx="6735">
                  <c:v>-2.6890756302520899E-2</c:v>
                </c:pt>
                <c:pt idx="6736">
                  <c:v>-2.6890756302520899E-2</c:v>
                </c:pt>
                <c:pt idx="6737">
                  <c:v>-2.6890756302520899E-2</c:v>
                </c:pt>
                <c:pt idx="6738">
                  <c:v>-2.6890756302520899E-2</c:v>
                </c:pt>
                <c:pt idx="6739">
                  <c:v>-2.6890756302520899E-2</c:v>
                </c:pt>
                <c:pt idx="6740">
                  <c:v>-2.6890756302520899E-2</c:v>
                </c:pt>
                <c:pt idx="6741">
                  <c:v>-2.6890756302520899E-2</c:v>
                </c:pt>
                <c:pt idx="6742">
                  <c:v>-2.6890756302520899E-2</c:v>
                </c:pt>
                <c:pt idx="6743">
                  <c:v>-2.6890756302520899E-2</c:v>
                </c:pt>
                <c:pt idx="6744">
                  <c:v>-2.6890756302520899E-2</c:v>
                </c:pt>
                <c:pt idx="6745">
                  <c:v>-2.6890756302520899E-2</c:v>
                </c:pt>
                <c:pt idx="6746">
                  <c:v>-2.6890756302520899E-2</c:v>
                </c:pt>
                <c:pt idx="6747">
                  <c:v>-2.6890756302520899E-2</c:v>
                </c:pt>
                <c:pt idx="6748">
                  <c:v>-2.6890756302520899E-2</c:v>
                </c:pt>
                <c:pt idx="6749">
                  <c:v>-2.6890756302520899E-2</c:v>
                </c:pt>
                <c:pt idx="6750">
                  <c:v>-2.6890756302520899E-2</c:v>
                </c:pt>
                <c:pt idx="6751">
                  <c:v>-2.6890756302520899E-2</c:v>
                </c:pt>
                <c:pt idx="6752">
                  <c:v>-2.6890756302520899E-2</c:v>
                </c:pt>
                <c:pt idx="6753">
                  <c:v>-2.6890756302520899E-2</c:v>
                </c:pt>
                <c:pt idx="6754">
                  <c:v>-2.6890756302520899E-2</c:v>
                </c:pt>
                <c:pt idx="6755">
                  <c:v>-2.6890756302520899E-2</c:v>
                </c:pt>
                <c:pt idx="6756">
                  <c:v>-2.7731092436974698E-2</c:v>
                </c:pt>
                <c:pt idx="6757">
                  <c:v>-2.7731092436974698E-2</c:v>
                </c:pt>
                <c:pt idx="6758">
                  <c:v>-2.7731092436974698E-2</c:v>
                </c:pt>
                <c:pt idx="6759">
                  <c:v>-2.7731092436974698E-2</c:v>
                </c:pt>
                <c:pt idx="6760">
                  <c:v>-2.6890756302520899E-2</c:v>
                </c:pt>
                <c:pt idx="6761">
                  <c:v>-2.6890756302520899E-2</c:v>
                </c:pt>
                <c:pt idx="6762">
                  <c:v>-2.6890756302520899E-2</c:v>
                </c:pt>
                <c:pt idx="6763">
                  <c:v>-2.6890756302520899E-2</c:v>
                </c:pt>
                <c:pt idx="6764">
                  <c:v>-2.6890756302520899E-2</c:v>
                </c:pt>
                <c:pt idx="6765">
                  <c:v>-2.6890756302520899E-2</c:v>
                </c:pt>
                <c:pt idx="6766">
                  <c:v>-2.6890756302520899E-2</c:v>
                </c:pt>
                <c:pt idx="6767">
                  <c:v>-2.6890756302520899E-2</c:v>
                </c:pt>
                <c:pt idx="6768">
                  <c:v>-2.6890756302520899E-2</c:v>
                </c:pt>
                <c:pt idx="6769">
                  <c:v>-2.6890756302520899E-2</c:v>
                </c:pt>
                <c:pt idx="6770">
                  <c:v>-2.6890756302520899E-2</c:v>
                </c:pt>
                <c:pt idx="6771">
                  <c:v>-2.6890756302520899E-2</c:v>
                </c:pt>
                <c:pt idx="6772">
                  <c:v>-2.6890756302520899E-2</c:v>
                </c:pt>
                <c:pt idx="6773">
                  <c:v>-2.6890756302520899E-2</c:v>
                </c:pt>
                <c:pt idx="6774">
                  <c:v>-2.6890756302520899E-2</c:v>
                </c:pt>
                <c:pt idx="6775">
                  <c:v>-2.6890756302520899E-2</c:v>
                </c:pt>
                <c:pt idx="6776">
                  <c:v>-2.6890756302520899E-2</c:v>
                </c:pt>
                <c:pt idx="6777">
                  <c:v>-2.6890756302520899E-2</c:v>
                </c:pt>
                <c:pt idx="6778">
                  <c:v>-2.6890756302520899E-2</c:v>
                </c:pt>
                <c:pt idx="6779">
                  <c:v>-2.6890756302520899E-2</c:v>
                </c:pt>
                <c:pt idx="6780">
                  <c:v>-2.6890756302520899E-2</c:v>
                </c:pt>
                <c:pt idx="6781">
                  <c:v>-2.6890756302520899E-2</c:v>
                </c:pt>
                <c:pt idx="6782">
                  <c:v>-2.6890756302520899E-2</c:v>
                </c:pt>
                <c:pt idx="6783">
                  <c:v>-2.6890756302520899E-2</c:v>
                </c:pt>
                <c:pt idx="6784">
                  <c:v>-2.6890756302520899E-2</c:v>
                </c:pt>
                <c:pt idx="6785">
                  <c:v>-2.6890756302520899E-2</c:v>
                </c:pt>
                <c:pt idx="6786">
                  <c:v>-2.6890756302520899E-2</c:v>
                </c:pt>
                <c:pt idx="6787">
                  <c:v>-2.6890756302520899E-2</c:v>
                </c:pt>
                <c:pt idx="6788">
                  <c:v>-2.6890756302520899E-2</c:v>
                </c:pt>
                <c:pt idx="6789">
                  <c:v>-2.6890756302520899E-2</c:v>
                </c:pt>
                <c:pt idx="6790">
                  <c:v>-2.6890756302520899E-2</c:v>
                </c:pt>
                <c:pt idx="6791">
                  <c:v>-2.6890756302520899E-2</c:v>
                </c:pt>
                <c:pt idx="6792">
                  <c:v>-2.6890756302520899E-2</c:v>
                </c:pt>
                <c:pt idx="6793">
                  <c:v>-2.6890756302520899E-2</c:v>
                </c:pt>
                <c:pt idx="6794">
                  <c:v>-2.6890756302520899E-2</c:v>
                </c:pt>
                <c:pt idx="6795">
                  <c:v>-2.6890756302520899E-2</c:v>
                </c:pt>
                <c:pt idx="6796">
                  <c:v>-2.60504201680671E-2</c:v>
                </c:pt>
                <c:pt idx="6797">
                  <c:v>-2.60504201680671E-2</c:v>
                </c:pt>
                <c:pt idx="6798">
                  <c:v>-2.60504201680671E-2</c:v>
                </c:pt>
                <c:pt idx="6799">
                  <c:v>-2.60504201680671E-2</c:v>
                </c:pt>
                <c:pt idx="6800">
                  <c:v>-2.60504201680671E-2</c:v>
                </c:pt>
                <c:pt idx="6801">
                  <c:v>-2.60504201680671E-2</c:v>
                </c:pt>
                <c:pt idx="6802">
                  <c:v>-2.60504201680671E-2</c:v>
                </c:pt>
                <c:pt idx="6803">
                  <c:v>-2.60504201680671E-2</c:v>
                </c:pt>
                <c:pt idx="6804">
                  <c:v>-2.60504201680671E-2</c:v>
                </c:pt>
                <c:pt idx="6805">
                  <c:v>-2.60504201680671E-2</c:v>
                </c:pt>
                <c:pt idx="6806">
                  <c:v>-2.60504201680671E-2</c:v>
                </c:pt>
                <c:pt idx="6807">
                  <c:v>-2.5210084033613401E-2</c:v>
                </c:pt>
                <c:pt idx="6808">
                  <c:v>-2.5210084033613401E-2</c:v>
                </c:pt>
                <c:pt idx="6809">
                  <c:v>-2.5210084033613401E-2</c:v>
                </c:pt>
                <c:pt idx="6810">
                  <c:v>-2.5210084033613401E-2</c:v>
                </c:pt>
                <c:pt idx="6811">
                  <c:v>-2.5210084033613401E-2</c:v>
                </c:pt>
                <c:pt idx="6812">
                  <c:v>-2.5210084033613401E-2</c:v>
                </c:pt>
                <c:pt idx="6813">
                  <c:v>-2.5210084033613401E-2</c:v>
                </c:pt>
                <c:pt idx="6814">
                  <c:v>-2.5210084033613401E-2</c:v>
                </c:pt>
                <c:pt idx="6815">
                  <c:v>-2.5210084033613401E-2</c:v>
                </c:pt>
                <c:pt idx="6816">
                  <c:v>-2.60504201680671E-2</c:v>
                </c:pt>
                <c:pt idx="6817">
                  <c:v>-2.60504201680671E-2</c:v>
                </c:pt>
                <c:pt idx="6818">
                  <c:v>-2.60504201680671E-2</c:v>
                </c:pt>
                <c:pt idx="6819">
                  <c:v>-2.60504201680671E-2</c:v>
                </c:pt>
                <c:pt idx="6820">
                  <c:v>-2.60504201680671E-2</c:v>
                </c:pt>
                <c:pt idx="6821">
                  <c:v>-2.60504201680671E-2</c:v>
                </c:pt>
                <c:pt idx="6822">
                  <c:v>-2.60504201680671E-2</c:v>
                </c:pt>
                <c:pt idx="6823">
                  <c:v>-2.60504201680671E-2</c:v>
                </c:pt>
                <c:pt idx="6824">
                  <c:v>-2.60504201680671E-2</c:v>
                </c:pt>
                <c:pt idx="6825">
                  <c:v>-2.60504201680671E-2</c:v>
                </c:pt>
                <c:pt idx="6826">
                  <c:v>-2.60504201680671E-2</c:v>
                </c:pt>
                <c:pt idx="6827">
                  <c:v>-2.60504201680671E-2</c:v>
                </c:pt>
                <c:pt idx="6828">
                  <c:v>-2.60504201680671E-2</c:v>
                </c:pt>
                <c:pt idx="6829">
                  <c:v>-2.60504201680671E-2</c:v>
                </c:pt>
                <c:pt idx="6830">
                  <c:v>-2.60504201680671E-2</c:v>
                </c:pt>
                <c:pt idx="6831">
                  <c:v>-2.60504201680671E-2</c:v>
                </c:pt>
                <c:pt idx="6832">
                  <c:v>-2.60504201680671E-2</c:v>
                </c:pt>
                <c:pt idx="6833">
                  <c:v>-2.60504201680671E-2</c:v>
                </c:pt>
                <c:pt idx="6834">
                  <c:v>-2.60504201680671E-2</c:v>
                </c:pt>
                <c:pt idx="6835">
                  <c:v>-2.5210084033613401E-2</c:v>
                </c:pt>
                <c:pt idx="6836">
                  <c:v>-2.4369747899159602E-2</c:v>
                </c:pt>
                <c:pt idx="6837">
                  <c:v>-2.4369747899159602E-2</c:v>
                </c:pt>
                <c:pt idx="6838">
                  <c:v>-2.4369747899159602E-2</c:v>
                </c:pt>
                <c:pt idx="6839">
                  <c:v>-2.4369747899159602E-2</c:v>
                </c:pt>
                <c:pt idx="6840">
                  <c:v>-2.4369747899159602E-2</c:v>
                </c:pt>
                <c:pt idx="6841">
                  <c:v>-2.4369747899159602E-2</c:v>
                </c:pt>
                <c:pt idx="6842">
                  <c:v>-2.4369747899159602E-2</c:v>
                </c:pt>
                <c:pt idx="6843">
                  <c:v>-2.4369747899159602E-2</c:v>
                </c:pt>
                <c:pt idx="6844">
                  <c:v>-2.5210084033613401E-2</c:v>
                </c:pt>
                <c:pt idx="6845">
                  <c:v>-2.5210084033613401E-2</c:v>
                </c:pt>
                <c:pt idx="6846">
                  <c:v>-2.60504201680672E-2</c:v>
                </c:pt>
                <c:pt idx="6847">
                  <c:v>-2.60504201680672E-2</c:v>
                </c:pt>
                <c:pt idx="6848">
                  <c:v>-2.60504201680672E-2</c:v>
                </c:pt>
                <c:pt idx="6849">
                  <c:v>-2.60504201680672E-2</c:v>
                </c:pt>
                <c:pt idx="6850">
                  <c:v>-2.60504201680672E-2</c:v>
                </c:pt>
                <c:pt idx="6851">
                  <c:v>-2.60504201680672E-2</c:v>
                </c:pt>
                <c:pt idx="6852">
                  <c:v>-2.60504201680672E-2</c:v>
                </c:pt>
                <c:pt idx="6853">
                  <c:v>-2.60504201680672E-2</c:v>
                </c:pt>
                <c:pt idx="6854">
                  <c:v>-2.60504201680672E-2</c:v>
                </c:pt>
                <c:pt idx="6855">
                  <c:v>-2.60504201680672E-2</c:v>
                </c:pt>
                <c:pt idx="6856">
                  <c:v>-2.60504201680672E-2</c:v>
                </c:pt>
                <c:pt idx="6857">
                  <c:v>-2.60504201680672E-2</c:v>
                </c:pt>
                <c:pt idx="6858">
                  <c:v>-2.60504201680672E-2</c:v>
                </c:pt>
                <c:pt idx="6859">
                  <c:v>-2.60504201680672E-2</c:v>
                </c:pt>
                <c:pt idx="6860">
                  <c:v>-2.60504201680672E-2</c:v>
                </c:pt>
                <c:pt idx="6861">
                  <c:v>-2.60504201680672E-2</c:v>
                </c:pt>
                <c:pt idx="6862">
                  <c:v>-2.60504201680672E-2</c:v>
                </c:pt>
                <c:pt idx="6863">
                  <c:v>-2.60504201680672E-2</c:v>
                </c:pt>
                <c:pt idx="6864">
                  <c:v>-2.60504201680672E-2</c:v>
                </c:pt>
                <c:pt idx="6865">
                  <c:v>-2.60504201680672E-2</c:v>
                </c:pt>
                <c:pt idx="6866">
                  <c:v>-2.60504201680672E-2</c:v>
                </c:pt>
                <c:pt idx="6867">
                  <c:v>-2.60504201680672E-2</c:v>
                </c:pt>
                <c:pt idx="6868">
                  <c:v>-2.60504201680672E-2</c:v>
                </c:pt>
                <c:pt idx="6869">
                  <c:v>-2.60504201680672E-2</c:v>
                </c:pt>
                <c:pt idx="6870">
                  <c:v>-2.60504201680672E-2</c:v>
                </c:pt>
                <c:pt idx="6871">
                  <c:v>-2.60504201680672E-2</c:v>
                </c:pt>
                <c:pt idx="6872">
                  <c:v>-2.60504201680672E-2</c:v>
                </c:pt>
                <c:pt idx="6873">
                  <c:v>-2.60504201680672E-2</c:v>
                </c:pt>
                <c:pt idx="6874">
                  <c:v>-2.5210084033613401E-2</c:v>
                </c:pt>
                <c:pt idx="6875">
                  <c:v>-2.5210084033613401E-2</c:v>
                </c:pt>
                <c:pt idx="6876">
                  <c:v>-2.5210084033613401E-2</c:v>
                </c:pt>
                <c:pt idx="6877">
                  <c:v>-2.5210084033613401E-2</c:v>
                </c:pt>
                <c:pt idx="6878">
                  <c:v>-2.5210084033613401E-2</c:v>
                </c:pt>
                <c:pt idx="6879">
                  <c:v>-2.5210084033613401E-2</c:v>
                </c:pt>
                <c:pt idx="6880">
                  <c:v>-2.60504201680672E-2</c:v>
                </c:pt>
                <c:pt idx="6881">
                  <c:v>-2.60504201680672E-2</c:v>
                </c:pt>
                <c:pt idx="6882">
                  <c:v>-2.60504201680672E-2</c:v>
                </c:pt>
                <c:pt idx="6883">
                  <c:v>-2.60504201680672E-2</c:v>
                </c:pt>
                <c:pt idx="6884">
                  <c:v>-2.60504201680672E-2</c:v>
                </c:pt>
                <c:pt idx="6885">
                  <c:v>-2.60504201680672E-2</c:v>
                </c:pt>
                <c:pt idx="6886">
                  <c:v>-2.60504201680672E-2</c:v>
                </c:pt>
                <c:pt idx="6887">
                  <c:v>-2.5210084033613401E-2</c:v>
                </c:pt>
                <c:pt idx="6888">
                  <c:v>-2.5210084033613401E-2</c:v>
                </c:pt>
                <c:pt idx="6889">
                  <c:v>-2.5210084033613401E-2</c:v>
                </c:pt>
                <c:pt idx="6890">
                  <c:v>-2.5210084033613401E-2</c:v>
                </c:pt>
                <c:pt idx="6891">
                  <c:v>-2.5210084033613401E-2</c:v>
                </c:pt>
                <c:pt idx="6892">
                  <c:v>-2.60504201680672E-2</c:v>
                </c:pt>
                <c:pt idx="6893">
                  <c:v>-2.5210084033613401E-2</c:v>
                </c:pt>
                <c:pt idx="6894">
                  <c:v>-2.5210084033613401E-2</c:v>
                </c:pt>
                <c:pt idx="6895">
                  <c:v>-2.5210084033613401E-2</c:v>
                </c:pt>
                <c:pt idx="6896">
                  <c:v>-2.5210084033613401E-2</c:v>
                </c:pt>
                <c:pt idx="6897">
                  <c:v>-2.5210084033613401E-2</c:v>
                </c:pt>
                <c:pt idx="6898">
                  <c:v>-2.5210084033613401E-2</c:v>
                </c:pt>
                <c:pt idx="6899">
                  <c:v>-2.60504201680672E-2</c:v>
                </c:pt>
                <c:pt idx="6900">
                  <c:v>-2.60504201680672E-2</c:v>
                </c:pt>
                <c:pt idx="6901">
                  <c:v>-2.60504201680672E-2</c:v>
                </c:pt>
                <c:pt idx="6902">
                  <c:v>-2.60504201680672E-2</c:v>
                </c:pt>
                <c:pt idx="6903">
                  <c:v>-2.60504201680672E-2</c:v>
                </c:pt>
                <c:pt idx="6904">
                  <c:v>-2.5210084033613401E-2</c:v>
                </c:pt>
                <c:pt idx="6905">
                  <c:v>-2.5210084033613401E-2</c:v>
                </c:pt>
                <c:pt idx="6906">
                  <c:v>-2.5210084033613401E-2</c:v>
                </c:pt>
                <c:pt idx="6907">
                  <c:v>-2.5210084033613401E-2</c:v>
                </c:pt>
                <c:pt idx="6908">
                  <c:v>-2.5210084033613401E-2</c:v>
                </c:pt>
                <c:pt idx="6909">
                  <c:v>-2.5210084033613401E-2</c:v>
                </c:pt>
                <c:pt idx="6910">
                  <c:v>-2.5210084033613401E-2</c:v>
                </c:pt>
                <c:pt idx="6911">
                  <c:v>-2.5210084033613401E-2</c:v>
                </c:pt>
                <c:pt idx="6912">
                  <c:v>-2.5210084033613401E-2</c:v>
                </c:pt>
                <c:pt idx="6913">
                  <c:v>-2.5210084033613401E-2</c:v>
                </c:pt>
                <c:pt idx="6914">
                  <c:v>-2.5210084033613401E-2</c:v>
                </c:pt>
                <c:pt idx="6915">
                  <c:v>-2.5210084033613401E-2</c:v>
                </c:pt>
                <c:pt idx="6916">
                  <c:v>-2.5210084033613401E-2</c:v>
                </c:pt>
                <c:pt idx="6917">
                  <c:v>-2.60504201680672E-2</c:v>
                </c:pt>
                <c:pt idx="6918">
                  <c:v>-2.60504201680672E-2</c:v>
                </c:pt>
                <c:pt idx="6919">
                  <c:v>-2.60504201680672E-2</c:v>
                </c:pt>
                <c:pt idx="6920">
                  <c:v>-2.60504201680672E-2</c:v>
                </c:pt>
                <c:pt idx="6921">
                  <c:v>-2.5210084033613401E-2</c:v>
                </c:pt>
                <c:pt idx="6922">
                  <c:v>-2.5210084033613401E-2</c:v>
                </c:pt>
                <c:pt idx="6923">
                  <c:v>-2.5210084033613401E-2</c:v>
                </c:pt>
                <c:pt idx="6924">
                  <c:v>-2.5210084033613401E-2</c:v>
                </c:pt>
                <c:pt idx="6925">
                  <c:v>-2.5210084033613401E-2</c:v>
                </c:pt>
                <c:pt idx="6926">
                  <c:v>-2.5210084033613401E-2</c:v>
                </c:pt>
                <c:pt idx="6927">
                  <c:v>-2.5210084033613401E-2</c:v>
                </c:pt>
                <c:pt idx="6928">
                  <c:v>-2.5210084033613401E-2</c:v>
                </c:pt>
                <c:pt idx="6929">
                  <c:v>-2.5210084033613401E-2</c:v>
                </c:pt>
                <c:pt idx="6930">
                  <c:v>-2.5210084033613401E-2</c:v>
                </c:pt>
                <c:pt idx="6931">
                  <c:v>-2.5210084033613401E-2</c:v>
                </c:pt>
                <c:pt idx="6932">
                  <c:v>-2.5210084033613401E-2</c:v>
                </c:pt>
                <c:pt idx="6933">
                  <c:v>-2.5210084033613401E-2</c:v>
                </c:pt>
                <c:pt idx="6934">
                  <c:v>-2.5210084033613401E-2</c:v>
                </c:pt>
                <c:pt idx="6935">
                  <c:v>-2.5210084033613401E-2</c:v>
                </c:pt>
                <c:pt idx="6936">
                  <c:v>-2.5210084033613401E-2</c:v>
                </c:pt>
                <c:pt idx="6937">
                  <c:v>-2.4369747899159602E-2</c:v>
                </c:pt>
                <c:pt idx="6938">
                  <c:v>-2.4369747899159602E-2</c:v>
                </c:pt>
                <c:pt idx="6939">
                  <c:v>-2.4369747899159602E-2</c:v>
                </c:pt>
                <c:pt idx="6940">
                  <c:v>-2.3529411764705899E-2</c:v>
                </c:pt>
                <c:pt idx="6941">
                  <c:v>-2.3529411764705899E-2</c:v>
                </c:pt>
                <c:pt idx="6942">
                  <c:v>-2.3529411764705899E-2</c:v>
                </c:pt>
                <c:pt idx="6943">
                  <c:v>-2.3529411764705899E-2</c:v>
                </c:pt>
                <c:pt idx="6944">
                  <c:v>-2.3529411764705899E-2</c:v>
                </c:pt>
                <c:pt idx="6945">
                  <c:v>-2.3529411764705899E-2</c:v>
                </c:pt>
                <c:pt idx="6946">
                  <c:v>-2.3529411764705899E-2</c:v>
                </c:pt>
                <c:pt idx="6947">
                  <c:v>-2.3529411764705899E-2</c:v>
                </c:pt>
                <c:pt idx="6948">
                  <c:v>-2.3529411764705899E-2</c:v>
                </c:pt>
                <c:pt idx="6949">
                  <c:v>-2.26890756302521E-2</c:v>
                </c:pt>
                <c:pt idx="6950">
                  <c:v>-2.26890756302521E-2</c:v>
                </c:pt>
                <c:pt idx="6951">
                  <c:v>-2.26890756302521E-2</c:v>
                </c:pt>
                <c:pt idx="6952">
                  <c:v>-2.26890756302521E-2</c:v>
                </c:pt>
                <c:pt idx="6953">
                  <c:v>-2.26890756302521E-2</c:v>
                </c:pt>
                <c:pt idx="6954">
                  <c:v>-2.26890756302521E-2</c:v>
                </c:pt>
                <c:pt idx="6955">
                  <c:v>-2.26890756302521E-2</c:v>
                </c:pt>
                <c:pt idx="6956">
                  <c:v>-2.26890756302521E-2</c:v>
                </c:pt>
                <c:pt idx="6957">
                  <c:v>-2.26890756302521E-2</c:v>
                </c:pt>
                <c:pt idx="6958">
                  <c:v>-2.26890756302521E-2</c:v>
                </c:pt>
                <c:pt idx="6959">
                  <c:v>-2.26890756302521E-2</c:v>
                </c:pt>
                <c:pt idx="6960">
                  <c:v>-2.26890756302521E-2</c:v>
                </c:pt>
                <c:pt idx="6961">
                  <c:v>-2.26890756302521E-2</c:v>
                </c:pt>
                <c:pt idx="6962">
                  <c:v>-2.26890756302521E-2</c:v>
                </c:pt>
                <c:pt idx="6963">
                  <c:v>-2.1848739495798301E-2</c:v>
                </c:pt>
                <c:pt idx="6964">
                  <c:v>-2.1848739495798301E-2</c:v>
                </c:pt>
                <c:pt idx="6965">
                  <c:v>-2.1848739495798301E-2</c:v>
                </c:pt>
                <c:pt idx="6966">
                  <c:v>-2.1848739495798301E-2</c:v>
                </c:pt>
                <c:pt idx="6967">
                  <c:v>-2.1848739495798301E-2</c:v>
                </c:pt>
                <c:pt idx="6968">
                  <c:v>-2.1848739495798301E-2</c:v>
                </c:pt>
                <c:pt idx="6969">
                  <c:v>-2.1848739495798301E-2</c:v>
                </c:pt>
                <c:pt idx="6970">
                  <c:v>-2.1848739495798301E-2</c:v>
                </c:pt>
                <c:pt idx="6971">
                  <c:v>-2.1848739495798301E-2</c:v>
                </c:pt>
                <c:pt idx="6972">
                  <c:v>-2.1848739495798301E-2</c:v>
                </c:pt>
                <c:pt idx="6973">
                  <c:v>-2.26890756302521E-2</c:v>
                </c:pt>
                <c:pt idx="6974">
                  <c:v>-2.26890756302521E-2</c:v>
                </c:pt>
                <c:pt idx="6975">
                  <c:v>-2.26890756302521E-2</c:v>
                </c:pt>
                <c:pt idx="6976">
                  <c:v>-2.26890756302521E-2</c:v>
                </c:pt>
                <c:pt idx="6977">
                  <c:v>-2.26890756302521E-2</c:v>
                </c:pt>
                <c:pt idx="6978">
                  <c:v>-2.26890756302521E-2</c:v>
                </c:pt>
                <c:pt idx="6979">
                  <c:v>-2.3529411764705899E-2</c:v>
                </c:pt>
                <c:pt idx="6980">
                  <c:v>-2.3529411764705899E-2</c:v>
                </c:pt>
                <c:pt idx="6981">
                  <c:v>-2.3529411764705899E-2</c:v>
                </c:pt>
                <c:pt idx="6982">
                  <c:v>-2.3529411764705899E-2</c:v>
                </c:pt>
                <c:pt idx="6983">
                  <c:v>-2.3529411764705899E-2</c:v>
                </c:pt>
                <c:pt idx="6984">
                  <c:v>-2.3529411764705899E-2</c:v>
                </c:pt>
                <c:pt idx="6985">
                  <c:v>-2.3529411764705899E-2</c:v>
                </c:pt>
                <c:pt idx="6986">
                  <c:v>-2.3529411764705899E-2</c:v>
                </c:pt>
                <c:pt idx="6987">
                  <c:v>-2.3529411764705899E-2</c:v>
                </c:pt>
                <c:pt idx="6988">
                  <c:v>-2.3529411764705899E-2</c:v>
                </c:pt>
                <c:pt idx="6989">
                  <c:v>-2.3529411764705899E-2</c:v>
                </c:pt>
                <c:pt idx="6990">
                  <c:v>-2.3529411764705899E-2</c:v>
                </c:pt>
                <c:pt idx="6991">
                  <c:v>-2.3529411764705899E-2</c:v>
                </c:pt>
                <c:pt idx="6992">
                  <c:v>-2.3529411764705899E-2</c:v>
                </c:pt>
                <c:pt idx="6993">
                  <c:v>-2.3529411764705899E-2</c:v>
                </c:pt>
                <c:pt idx="6994">
                  <c:v>-2.3529411764705899E-2</c:v>
                </c:pt>
                <c:pt idx="6995">
                  <c:v>-2.3529411764705899E-2</c:v>
                </c:pt>
                <c:pt idx="6996">
                  <c:v>-2.3529411764705899E-2</c:v>
                </c:pt>
                <c:pt idx="6997">
                  <c:v>-2.3529411764705899E-2</c:v>
                </c:pt>
                <c:pt idx="6998">
                  <c:v>-2.3529411764705899E-2</c:v>
                </c:pt>
                <c:pt idx="6999">
                  <c:v>-2.3529411764705899E-2</c:v>
                </c:pt>
                <c:pt idx="7000">
                  <c:v>-2.3529411764705899E-2</c:v>
                </c:pt>
                <c:pt idx="7001">
                  <c:v>-2.3529411764705899E-2</c:v>
                </c:pt>
                <c:pt idx="7002">
                  <c:v>-2.3529411764705899E-2</c:v>
                </c:pt>
                <c:pt idx="7003">
                  <c:v>-2.3529411764705899E-2</c:v>
                </c:pt>
                <c:pt idx="7004">
                  <c:v>-2.3529411764705899E-2</c:v>
                </c:pt>
                <c:pt idx="7005">
                  <c:v>-2.3529411764705899E-2</c:v>
                </c:pt>
                <c:pt idx="7006">
                  <c:v>-2.3529411764705899E-2</c:v>
                </c:pt>
                <c:pt idx="7007">
                  <c:v>-2.3529411764705899E-2</c:v>
                </c:pt>
                <c:pt idx="7008">
                  <c:v>-2.26890756302521E-2</c:v>
                </c:pt>
                <c:pt idx="7009">
                  <c:v>-2.26890756302521E-2</c:v>
                </c:pt>
                <c:pt idx="7010">
                  <c:v>-2.26890756302521E-2</c:v>
                </c:pt>
                <c:pt idx="7011">
                  <c:v>-2.26890756302521E-2</c:v>
                </c:pt>
                <c:pt idx="7012">
                  <c:v>-2.26890756302521E-2</c:v>
                </c:pt>
                <c:pt idx="7013">
                  <c:v>-2.18487394957982E-2</c:v>
                </c:pt>
                <c:pt idx="7014">
                  <c:v>-2.1008403361344501E-2</c:v>
                </c:pt>
                <c:pt idx="7015">
                  <c:v>-2.0168067226890699E-2</c:v>
                </c:pt>
                <c:pt idx="7016">
                  <c:v>-2.0168067226890699E-2</c:v>
                </c:pt>
                <c:pt idx="7017">
                  <c:v>-2.0168067226890699E-2</c:v>
                </c:pt>
                <c:pt idx="7018">
                  <c:v>-2.0168067226890699E-2</c:v>
                </c:pt>
                <c:pt idx="7019">
                  <c:v>-2.0168067226890699E-2</c:v>
                </c:pt>
                <c:pt idx="7020">
                  <c:v>-2.0168067226890699E-2</c:v>
                </c:pt>
                <c:pt idx="7021">
                  <c:v>-2.0168067226890699E-2</c:v>
                </c:pt>
                <c:pt idx="7022">
                  <c:v>-2.0168067226890699E-2</c:v>
                </c:pt>
                <c:pt idx="7023">
                  <c:v>-2.0168067226890699E-2</c:v>
                </c:pt>
                <c:pt idx="7024">
                  <c:v>-2.0168067226890699E-2</c:v>
                </c:pt>
                <c:pt idx="7025">
                  <c:v>-2.0168067226890699E-2</c:v>
                </c:pt>
                <c:pt idx="7026">
                  <c:v>-2.0168067226890699E-2</c:v>
                </c:pt>
                <c:pt idx="7027">
                  <c:v>-2.0168067226890699E-2</c:v>
                </c:pt>
                <c:pt idx="7028">
                  <c:v>-2.0168067226890699E-2</c:v>
                </c:pt>
                <c:pt idx="7029">
                  <c:v>-2.0168067226890699E-2</c:v>
                </c:pt>
                <c:pt idx="7030">
                  <c:v>-2.0168067226890699E-2</c:v>
                </c:pt>
                <c:pt idx="7031">
                  <c:v>-2.0168067226890699E-2</c:v>
                </c:pt>
                <c:pt idx="7032">
                  <c:v>-2.0168067226890699E-2</c:v>
                </c:pt>
                <c:pt idx="7033">
                  <c:v>-1.9327731092436899E-2</c:v>
                </c:pt>
                <c:pt idx="7034">
                  <c:v>-1.9327731092436899E-2</c:v>
                </c:pt>
                <c:pt idx="7035">
                  <c:v>-1.9327731092436899E-2</c:v>
                </c:pt>
                <c:pt idx="7036">
                  <c:v>-1.9327731092436899E-2</c:v>
                </c:pt>
                <c:pt idx="7037">
                  <c:v>-1.9327731092436899E-2</c:v>
                </c:pt>
                <c:pt idx="7038">
                  <c:v>-1.9327731092436899E-2</c:v>
                </c:pt>
                <c:pt idx="7039">
                  <c:v>-1.9327731092436899E-2</c:v>
                </c:pt>
                <c:pt idx="7040">
                  <c:v>-1.9327731092436899E-2</c:v>
                </c:pt>
                <c:pt idx="7041">
                  <c:v>-1.9327731092436899E-2</c:v>
                </c:pt>
                <c:pt idx="7042">
                  <c:v>-1.9327731092436899E-2</c:v>
                </c:pt>
                <c:pt idx="7043">
                  <c:v>-1.9327731092436899E-2</c:v>
                </c:pt>
                <c:pt idx="7044">
                  <c:v>-1.9327731092436899E-2</c:v>
                </c:pt>
                <c:pt idx="7045">
                  <c:v>-1.9327731092436899E-2</c:v>
                </c:pt>
                <c:pt idx="7046">
                  <c:v>-1.9327731092436899E-2</c:v>
                </c:pt>
                <c:pt idx="7047">
                  <c:v>-1.9327731092436899E-2</c:v>
                </c:pt>
                <c:pt idx="7048">
                  <c:v>-1.9327731092436899E-2</c:v>
                </c:pt>
                <c:pt idx="7049">
                  <c:v>-1.9327731092436899E-2</c:v>
                </c:pt>
                <c:pt idx="7050">
                  <c:v>-1.9327731092436899E-2</c:v>
                </c:pt>
                <c:pt idx="7051">
                  <c:v>-1.9327731092436899E-2</c:v>
                </c:pt>
                <c:pt idx="7052">
                  <c:v>-1.9327731092436899E-2</c:v>
                </c:pt>
                <c:pt idx="7053">
                  <c:v>-1.9327731092436899E-2</c:v>
                </c:pt>
                <c:pt idx="7054">
                  <c:v>-1.9327731092436899E-2</c:v>
                </c:pt>
                <c:pt idx="7055">
                  <c:v>-1.9327731092436899E-2</c:v>
                </c:pt>
                <c:pt idx="7056">
                  <c:v>-1.9327731092436899E-2</c:v>
                </c:pt>
                <c:pt idx="7057">
                  <c:v>-2.0168067226890699E-2</c:v>
                </c:pt>
                <c:pt idx="7058">
                  <c:v>-2.0168067226890699E-2</c:v>
                </c:pt>
                <c:pt idx="7059">
                  <c:v>-2.0168067226890699E-2</c:v>
                </c:pt>
                <c:pt idx="7060">
                  <c:v>-2.0168067226890699E-2</c:v>
                </c:pt>
                <c:pt idx="7061">
                  <c:v>-2.0168067226890699E-2</c:v>
                </c:pt>
                <c:pt idx="7062">
                  <c:v>-2.0168067226890699E-2</c:v>
                </c:pt>
                <c:pt idx="7063">
                  <c:v>-2.0168067226890699E-2</c:v>
                </c:pt>
                <c:pt idx="7064">
                  <c:v>-2.0168067226890699E-2</c:v>
                </c:pt>
                <c:pt idx="7065">
                  <c:v>-2.0168067226890699E-2</c:v>
                </c:pt>
                <c:pt idx="7066">
                  <c:v>-2.0168067226890699E-2</c:v>
                </c:pt>
                <c:pt idx="7067">
                  <c:v>-2.0168067226890699E-2</c:v>
                </c:pt>
                <c:pt idx="7068">
                  <c:v>-2.0168067226890699E-2</c:v>
                </c:pt>
                <c:pt idx="7069">
                  <c:v>-2.0168067226890699E-2</c:v>
                </c:pt>
                <c:pt idx="7070">
                  <c:v>-2.0168067226890699E-2</c:v>
                </c:pt>
                <c:pt idx="7071">
                  <c:v>-2.0168067226890699E-2</c:v>
                </c:pt>
                <c:pt idx="7072">
                  <c:v>-2.0168067226890699E-2</c:v>
                </c:pt>
                <c:pt idx="7073">
                  <c:v>-2.0168067226890699E-2</c:v>
                </c:pt>
                <c:pt idx="7074">
                  <c:v>-2.0168067226890699E-2</c:v>
                </c:pt>
                <c:pt idx="7075">
                  <c:v>-2.0168067226890699E-2</c:v>
                </c:pt>
                <c:pt idx="7076">
                  <c:v>-2.0168067226890699E-2</c:v>
                </c:pt>
                <c:pt idx="7077">
                  <c:v>-2.0168067226890699E-2</c:v>
                </c:pt>
                <c:pt idx="7078">
                  <c:v>-2.0168067226890699E-2</c:v>
                </c:pt>
                <c:pt idx="7079">
                  <c:v>-2.0168067226890699E-2</c:v>
                </c:pt>
                <c:pt idx="7080">
                  <c:v>-2.0168067226890699E-2</c:v>
                </c:pt>
                <c:pt idx="7081">
                  <c:v>-2.0168067226890699E-2</c:v>
                </c:pt>
                <c:pt idx="7082">
                  <c:v>-2.0168067226890699E-2</c:v>
                </c:pt>
                <c:pt idx="7083">
                  <c:v>-2.0168067226890699E-2</c:v>
                </c:pt>
                <c:pt idx="7084">
                  <c:v>-2.0168067226890699E-2</c:v>
                </c:pt>
                <c:pt idx="7085">
                  <c:v>-2.0168067226890699E-2</c:v>
                </c:pt>
                <c:pt idx="7086">
                  <c:v>-2.0168067226890699E-2</c:v>
                </c:pt>
                <c:pt idx="7087">
                  <c:v>-2.0168067226890699E-2</c:v>
                </c:pt>
                <c:pt idx="7088">
                  <c:v>-2.0168067226890699E-2</c:v>
                </c:pt>
                <c:pt idx="7089">
                  <c:v>-2.0168067226890699E-2</c:v>
                </c:pt>
                <c:pt idx="7090">
                  <c:v>-2.0168067226890699E-2</c:v>
                </c:pt>
                <c:pt idx="7091">
                  <c:v>-2.0168067226890699E-2</c:v>
                </c:pt>
                <c:pt idx="7092">
                  <c:v>-2.0168067226890699E-2</c:v>
                </c:pt>
                <c:pt idx="7093">
                  <c:v>-2.0168067226890699E-2</c:v>
                </c:pt>
                <c:pt idx="7094">
                  <c:v>-2.0168067226890699E-2</c:v>
                </c:pt>
                <c:pt idx="7095">
                  <c:v>-2.0168067226890699E-2</c:v>
                </c:pt>
                <c:pt idx="7096">
                  <c:v>-2.0168067226890699E-2</c:v>
                </c:pt>
                <c:pt idx="7097">
                  <c:v>-2.0168067226890699E-2</c:v>
                </c:pt>
                <c:pt idx="7098">
                  <c:v>-2.0168067226890699E-2</c:v>
                </c:pt>
                <c:pt idx="7099">
                  <c:v>-2.0168067226890699E-2</c:v>
                </c:pt>
                <c:pt idx="7100">
                  <c:v>-2.0168067226890699E-2</c:v>
                </c:pt>
                <c:pt idx="7101">
                  <c:v>-2.0168067226890699E-2</c:v>
                </c:pt>
                <c:pt idx="7102">
                  <c:v>-2.0168067226890699E-2</c:v>
                </c:pt>
                <c:pt idx="7103">
                  <c:v>-2.0168067226890699E-2</c:v>
                </c:pt>
                <c:pt idx="7104">
                  <c:v>-2.0168067226890699E-2</c:v>
                </c:pt>
                <c:pt idx="7105">
                  <c:v>-2.0168067226890699E-2</c:v>
                </c:pt>
                <c:pt idx="7106">
                  <c:v>-2.0168067226890699E-2</c:v>
                </c:pt>
                <c:pt idx="7107">
                  <c:v>-2.0168067226890699E-2</c:v>
                </c:pt>
                <c:pt idx="7108">
                  <c:v>-2.0168067226890699E-2</c:v>
                </c:pt>
                <c:pt idx="7109">
                  <c:v>-2.0168067226890699E-2</c:v>
                </c:pt>
                <c:pt idx="7110">
                  <c:v>-2.0168067226890699E-2</c:v>
                </c:pt>
                <c:pt idx="7111">
                  <c:v>-2.0168067226890699E-2</c:v>
                </c:pt>
                <c:pt idx="7112">
                  <c:v>-2.0168067226890699E-2</c:v>
                </c:pt>
                <c:pt idx="7113">
                  <c:v>-2.0168067226890699E-2</c:v>
                </c:pt>
                <c:pt idx="7114">
                  <c:v>-1.9327731092436899E-2</c:v>
                </c:pt>
                <c:pt idx="7115">
                  <c:v>-1.9327731092436899E-2</c:v>
                </c:pt>
                <c:pt idx="7116">
                  <c:v>-1.9327731092436899E-2</c:v>
                </c:pt>
                <c:pt idx="7117">
                  <c:v>-1.9327731092436899E-2</c:v>
                </c:pt>
                <c:pt idx="7118">
                  <c:v>-2.0168067226890699E-2</c:v>
                </c:pt>
                <c:pt idx="7119">
                  <c:v>-2.0168067226890699E-2</c:v>
                </c:pt>
                <c:pt idx="7120">
                  <c:v>-2.0168067226890699E-2</c:v>
                </c:pt>
                <c:pt idx="7121">
                  <c:v>-2.0168067226890699E-2</c:v>
                </c:pt>
                <c:pt idx="7122">
                  <c:v>-2.0168067226890699E-2</c:v>
                </c:pt>
                <c:pt idx="7123">
                  <c:v>-2.0168067226890699E-2</c:v>
                </c:pt>
                <c:pt idx="7124">
                  <c:v>-2.0168067226890699E-2</c:v>
                </c:pt>
                <c:pt idx="7125">
                  <c:v>-2.0168067226890699E-2</c:v>
                </c:pt>
                <c:pt idx="7126">
                  <c:v>-2.1008403361344501E-2</c:v>
                </c:pt>
                <c:pt idx="7127">
                  <c:v>-2.1008403361344501E-2</c:v>
                </c:pt>
                <c:pt idx="7128">
                  <c:v>-2.1008403361344501E-2</c:v>
                </c:pt>
                <c:pt idx="7129">
                  <c:v>-2.1008403361344501E-2</c:v>
                </c:pt>
                <c:pt idx="7130">
                  <c:v>-2.1008403361344501E-2</c:v>
                </c:pt>
                <c:pt idx="7131">
                  <c:v>-2.1008403361344501E-2</c:v>
                </c:pt>
                <c:pt idx="7132">
                  <c:v>-2.1008403361344501E-2</c:v>
                </c:pt>
                <c:pt idx="7133">
                  <c:v>-2.1008403361344501E-2</c:v>
                </c:pt>
                <c:pt idx="7134">
                  <c:v>-2.1008403361344501E-2</c:v>
                </c:pt>
                <c:pt idx="7135">
                  <c:v>-2.1008403361344501E-2</c:v>
                </c:pt>
                <c:pt idx="7136">
                  <c:v>-2.1008403361344501E-2</c:v>
                </c:pt>
                <c:pt idx="7137">
                  <c:v>-2.1008403361344501E-2</c:v>
                </c:pt>
                <c:pt idx="7138">
                  <c:v>-2.1008403361344501E-2</c:v>
                </c:pt>
                <c:pt idx="7139">
                  <c:v>-2.1008403361344501E-2</c:v>
                </c:pt>
                <c:pt idx="7140">
                  <c:v>-2.1008403361344501E-2</c:v>
                </c:pt>
                <c:pt idx="7141">
                  <c:v>-2.1008403361344501E-2</c:v>
                </c:pt>
                <c:pt idx="7142">
                  <c:v>-2.1008403361344501E-2</c:v>
                </c:pt>
                <c:pt idx="7143">
                  <c:v>-2.1008403361344501E-2</c:v>
                </c:pt>
                <c:pt idx="7144">
                  <c:v>-2.1008403361344501E-2</c:v>
                </c:pt>
                <c:pt idx="7145">
                  <c:v>-2.1008403361344501E-2</c:v>
                </c:pt>
                <c:pt idx="7146">
                  <c:v>-2.1008403361344501E-2</c:v>
                </c:pt>
                <c:pt idx="7147">
                  <c:v>-2.1008403361344501E-2</c:v>
                </c:pt>
                <c:pt idx="7148">
                  <c:v>-2.1008403361344501E-2</c:v>
                </c:pt>
                <c:pt idx="7149">
                  <c:v>-2.1008403361344501E-2</c:v>
                </c:pt>
                <c:pt idx="7150">
                  <c:v>-2.1008403361344501E-2</c:v>
                </c:pt>
                <c:pt idx="7151">
                  <c:v>-2.1008403361344501E-2</c:v>
                </c:pt>
                <c:pt idx="7152">
                  <c:v>-2.1008403361344501E-2</c:v>
                </c:pt>
                <c:pt idx="7153">
                  <c:v>-2.1008403361344501E-2</c:v>
                </c:pt>
                <c:pt idx="7154">
                  <c:v>-2.1008403361344501E-2</c:v>
                </c:pt>
                <c:pt idx="7155">
                  <c:v>-2.1008403361344501E-2</c:v>
                </c:pt>
                <c:pt idx="7156">
                  <c:v>-2.1008403361344501E-2</c:v>
                </c:pt>
                <c:pt idx="7157">
                  <c:v>-2.1008403361344501E-2</c:v>
                </c:pt>
                <c:pt idx="7158">
                  <c:v>-2.1008403361344501E-2</c:v>
                </c:pt>
                <c:pt idx="7159">
                  <c:v>-2.1008403361344501E-2</c:v>
                </c:pt>
                <c:pt idx="7160">
                  <c:v>-2.1008403361344501E-2</c:v>
                </c:pt>
                <c:pt idx="7161">
                  <c:v>-2.1008403361344501E-2</c:v>
                </c:pt>
                <c:pt idx="7162">
                  <c:v>-2.1008403361344501E-2</c:v>
                </c:pt>
                <c:pt idx="7163">
                  <c:v>-2.18487394957982E-2</c:v>
                </c:pt>
                <c:pt idx="7164">
                  <c:v>-2.18487394957982E-2</c:v>
                </c:pt>
                <c:pt idx="7165">
                  <c:v>-2.18487394957982E-2</c:v>
                </c:pt>
                <c:pt idx="7166">
                  <c:v>-2.18487394957982E-2</c:v>
                </c:pt>
                <c:pt idx="7167">
                  <c:v>-2.18487394957982E-2</c:v>
                </c:pt>
                <c:pt idx="7168">
                  <c:v>-2.18487394957982E-2</c:v>
                </c:pt>
                <c:pt idx="7169">
                  <c:v>-2.18487394957982E-2</c:v>
                </c:pt>
                <c:pt idx="7170">
                  <c:v>-2.18487394957982E-2</c:v>
                </c:pt>
                <c:pt idx="7171">
                  <c:v>-2.18487394957982E-2</c:v>
                </c:pt>
                <c:pt idx="7172">
                  <c:v>-2.18487394957982E-2</c:v>
                </c:pt>
                <c:pt idx="7173">
                  <c:v>-2.18487394957982E-2</c:v>
                </c:pt>
                <c:pt idx="7174">
                  <c:v>-2.1008403361344501E-2</c:v>
                </c:pt>
                <c:pt idx="7175">
                  <c:v>-2.1008403361344501E-2</c:v>
                </c:pt>
                <c:pt idx="7176">
                  <c:v>-2.1008403361344501E-2</c:v>
                </c:pt>
                <c:pt idx="7177">
                  <c:v>-2.1008403361344501E-2</c:v>
                </c:pt>
                <c:pt idx="7178">
                  <c:v>-2.1008403361344501E-2</c:v>
                </c:pt>
                <c:pt idx="7179">
                  <c:v>-2.1008403361344501E-2</c:v>
                </c:pt>
                <c:pt idx="7180">
                  <c:v>-2.1008403361344501E-2</c:v>
                </c:pt>
                <c:pt idx="7181">
                  <c:v>-2.1008403361344501E-2</c:v>
                </c:pt>
                <c:pt idx="7182">
                  <c:v>-2.1008403361344501E-2</c:v>
                </c:pt>
                <c:pt idx="7183">
                  <c:v>-2.1008403361344501E-2</c:v>
                </c:pt>
                <c:pt idx="7184">
                  <c:v>-2.1008403361344501E-2</c:v>
                </c:pt>
                <c:pt idx="7185">
                  <c:v>-2.1008403361344501E-2</c:v>
                </c:pt>
                <c:pt idx="7186">
                  <c:v>-2.1008403361344501E-2</c:v>
                </c:pt>
                <c:pt idx="7187">
                  <c:v>-2.1008403361344501E-2</c:v>
                </c:pt>
                <c:pt idx="7188">
                  <c:v>-2.18487394957982E-2</c:v>
                </c:pt>
                <c:pt idx="7189">
                  <c:v>-2.18487394957982E-2</c:v>
                </c:pt>
                <c:pt idx="7190">
                  <c:v>-2.18487394957982E-2</c:v>
                </c:pt>
                <c:pt idx="7191">
                  <c:v>-2.18487394957982E-2</c:v>
                </c:pt>
                <c:pt idx="7192">
                  <c:v>-2.18487394957982E-2</c:v>
                </c:pt>
                <c:pt idx="7193">
                  <c:v>-2.18487394957982E-2</c:v>
                </c:pt>
                <c:pt idx="7194">
                  <c:v>-2.2689075630251999E-2</c:v>
                </c:pt>
                <c:pt idx="7195">
                  <c:v>-2.2689075630251999E-2</c:v>
                </c:pt>
                <c:pt idx="7196">
                  <c:v>-2.2689075630251999E-2</c:v>
                </c:pt>
                <c:pt idx="7197">
                  <c:v>-2.2689075630251999E-2</c:v>
                </c:pt>
                <c:pt idx="7198">
                  <c:v>-2.2689075630251999E-2</c:v>
                </c:pt>
                <c:pt idx="7199">
                  <c:v>-2.18487394957982E-2</c:v>
                </c:pt>
                <c:pt idx="7200">
                  <c:v>-2.18487394957982E-2</c:v>
                </c:pt>
                <c:pt idx="7201">
                  <c:v>-2.18487394957982E-2</c:v>
                </c:pt>
                <c:pt idx="7202">
                  <c:v>-2.18487394957982E-2</c:v>
                </c:pt>
                <c:pt idx="7203">
                  <c:v>-2.18487394957982E-2</c:v>
                </c:pt>
                <c:pt idx="7204">
                  <c:v>-2.18487394957982E-2</c:v>
                </c:pt>
                <c:pt idx="7205">
                  <c:v>-2.18487394957982E-2</c:v>
                </c:pt>
                <c:pt idx="7206">
                  <c:v>-2.18487394957982E-2</c:v>
                </c:pt>
                <c:pt idx="7207">
                  <c:v>-2.18487394957982E-2</c:v>
                </c:pt>
                <c:pt idx="7208">
                  <c:v>-2.18487394957982E-2</c:v>
                </c:pt>
                <c:pt idx="7209">
                  <c:v>-2.18487394957982E-2</c:v>
                </c:pt>
                <c:pt idx="7210">
                  <c:v>-2.18487394957982E-2</c:v>
                </c:pt>
                <c:pt idx="7211">
                  <c:v>-2.18487394957982E-2</c:v>
                </c:pt>
                <c:pt idx="7212">
                  <c:v>-2.18487394957982E-2</c:v>
                </c:pt>
                <c:pt idx="7213">
                  <c:v>-2.18487394957982E-2</c:v>
                </c:pt>
                <c:pt idx="7214">
                  <c:v>-2.18487394957982E-2</c:v>
                </c:pt>
                <c:pt idx="7215">
                  <c:v>-2.18487394957982E-2</c:v>
                </c:pt>
                <c:pt idx="7216">
                  <c:v>-2.18487394957982E-2</c:v>
                </c:pt>
                <c:pt idx="7217">
                  <c:v>-2.18487394957982E-2</c:v>
                </c:pt>
                <c:pt idx="7218">
                  <c:v>-2.18487394957982E-2</c:v>
                </c:pt>
                <c:pt idx="7219">
                  <c:v>-2.18487394957982E-2</c:v>
                </c:pt>
                <c:pt idx="7220">
                  <c:v>-2.18487394957982E-2</c:v>
                </c:pt>
                <c:pt idx="7221">
                  <c:v>-2.1008403361344501E-2</c:v>
                </c:pt>
                <c:pt idx="7222">
                  <c:v>-2.1008403361344501E-2</c:v>
                </c:pt>
                <c:pt idx="7223">
                  <c:v>-2.0168067226890699E-2</c:v>
                </c:pt>
                <c:pt idx="7224">
                  <c:v>-2.0168067226890699E-2</c:v>
                </c:pt>
                <c:pt idx="7225">
                  <c:v>-2.0168067226890699E-2</c:v>
                </c:pt>
                <c:pt idx="7226">
                  <c:v>-2.0168067226890699E-2</c:v>
                </c:pt>
                <c:pt idx="7227">
                  <c:v>-2.0168067226890699E-2</c:v>
                </c:pt>
                <c:pt idx="7228">
                  <c:v>-1.9327731092436899E-2</c:v>
                </c:pt>
                <c:pt idx="7229">
                  <c:v>-1.9327731092436899E-2</c:v>
                </c:pt>
                <c:pt idx="7230">
                  <c:v>-1.9327731092436899E-2</c:v>
                </c:pt>
                <c:pt idx="7231">
                  <c:v>-1.9327731092436899E-2</c:v>
                </c:pt>
                <c:pt idx="7232">
                  <c:v>-1.9327731092436899E-2</c:v>
                </c:pt>
                <c:pt idx="7233">
                  <c:v>-1.9327731092436899E-2</c:v>
                </c:pt>
                <c:pt idx="7234">
                  <c:v>-1.84873949579831E-2</c:v>
                </c:pt>
                <c:pt idx="7235">
                  <c:v>-1.84873949579831E-2</c:v>
                </c:pt>
                <c:pt idx="7236">
                  <c:v>-1.84873949579831E-2</c:v>
                </c:pt>
                <c:pt idx="7237">
                  <c:v>-1.84873949579831E-2</c:v>
                </c:pt>
                <c:pt idx="7238">
                  <c:v>-1.9327731092436899E-2</c:v>
                </c:pt>
                <c:pt idx="7239">
                  <c:v>-1.9327731092436899E-2</c:v>
                </c:pt>
                <c:pt idx="7240">
                  <c:v>-1.9327731092436899E-2</c:v>
                </c:pt>
                <c:pt idx="7241">
                  <c:v>-1.9327731092436899E-2</c:v>
                </c:pt>
                <c:pt idx="7242">
                  <c:v>-1.9327731092436899E-2</c:v>
                </c:pt>
                <c:pt idx="7243">
                  <c:v>-2.0168067226890699E-2</c:v>
                </c:pt>
                <c:pt idx="7244">
                  <c:v>-2.0168067226890699E-2</c:v>
                </c:pt>
                <c:pt idx="7245">
                  <c:v>-2.0168067226890699E-2</c:v>
                </c:pt>
                <c:pt idx="7246">
                  <c:v>-2.0168067226890699E-2</c:v>
                </c:pt>
                <c:pt idx="7247">
                  <c:v>-2.0168067226890699E-2</c:v>
                </c:pt>
                <c:pt idx="7248">
                  <c:v>-1.9327731092436899E-2</c:v>
                </c:pt>
                <c:pt idx="7249">
                  <c:v>-1.9327731092436899E-2</c:v>
                </c:pt>
                <c:pt idx="7250">
                  <c:v>-1.9327731092436899E-2</c:v>
                </c:pt>
                <c:pt idx="7251">
                  <c:v>-1.9327731092436899E-2</c:v>
                </c:pt>
                <c:pt idx="7252">
                  <c:v>-1.9327731092436899E-2</c:v>
                </c:pt>
                <c:pt idx="7253">
                  <c:v>-1.9327731092436899E-2</c:v>
                </c:pt>
                <c:pt idx="7254">
                  <c:v>-1.9327731092436899E-2</c:v>
                </c:pt>
                <c:pt idx="7255">
                  <c:v>-1.9327731092436899E-2</c:v>
                </c:pt>
                <c:pt idx="7256">
                  <c:v>-1.9327731092436899E-2</c:v>
                </c:pt>
                <c:pt idx="7257">
                  <c:v>-1.9327731092436899E-2</c:v>
                </c:pt>
                <c:pt idx="7258">
                  <c:v>-1.9327731092436899E-2</c:v>
                </c:pt>
                <c:pt idx="7259">
                  <c:v>-1.9327731092436899E-2</c:v>
                </c:pt>
                <c:pt idx="7260">
                  <c:v>-1.9327731092436899E-2</c:v>
                </c:pt>
                <c:pt idx="7261">
                  <c:v>-1.9327731092436899E-2</c:v>
                </c:pt>
                <c:pt idx="7262">
                  <c:v>-1.9327731092436899E-2</c:v>
                </c:pt>
                <c:pt idx="7263">
                  <c:v>-1.9327731092436899E-2</c:v>
                </c:pt>
                <c:pt idx="7264">
                  <c:v>-1.9327731092436899E-2</c:v>
                </c:pt>
                <c:pt idx="7265">
                  <c:v>-1.9327731092436899E-2</c:v>
                </c:pt>
                <c:pt idx="7266">
                  <c:v>-1.9327731092436899E-2</c:v>
                </c:pt>
                <c:pt idx="7267">
                  <c:v>-1.9327731092436899E-2</c:v>
                </c:pt>
                <c:pt idx="7268">
                  <c:v>-1.9327731092436899E-2</c:v>
                </c:pt>
                <c:pt idx="7269">
                  <c:v>-1.9327731092436899E-2</c:v>
                </c:pt>
                <c:pt idx="7270">
                  <c:v>-1.9327731092436899E-2</c:v>
                </c:pt>
                <c:pt idx="7271">
                  <c:v>-1.9327731092436899E-2</c:v>
                </c:pt>
                <c:pt idx="7272">
                  <c:v>-1.9327731092436899E-2</c:v>
                </c:pt>
                <c:pt idx="7273">
                  <c:v>-1.9327731092436899E-2</c:v>
                </c:pt>
                <c:pt idx="7274">
                  <c:v>-1.9327731092436899E-2</c:v>
                </c:pt>
                <c:pt idx="7275">
                  <c:v>-1.9327731092436899E-2</c:v>
                </c:pt>
                <c:pt idx="7276">
                  <c:v>-1.9327731092436899E-2</c:v>
                </c:pt>
                <c:pt idx="7277">
                  <c:v>-1.9327731092436899E-2</c:v>
                </c:pt>
                <c:pt idx="7278">
                  <c:v>-1.9327731092436899E-2</c:v>
                </c:pt>
                <c:pt idx="7279">
                  <c:v>-1.9327731092436899E-2</c:v>
                </c:pt>
                <c:pt idx="7280">
                  <c:v>-1.9327731092436899E-2</c:v>
                </c:pt>
                <c:pt idx="7281">
                  <c:v>-1.9327731092436899E-2</c:v>
                </c:pt>
                <c:pt idx="7282">
                  <c:v>-1.9327731092436899E-2</c:v>
                </c:pt>
                <c:pt idx="7283">
                  <c:v>-1.9327731092436899E-2</c:v>
                </c:pt>
                <c:pt idx="7284">
                  <c:v>-1.9327731092436899E-2</c:v>
                </c:pt>
                <c:pt idx="7285">
                  <c:v>-1.9327731092436899E-2</c:v>
                </c:pt>
                <c:pt idx="7286">
                  <c:v>-1.9327731092436899E-2</c:v>
                </c:pt>
                <c:pt idx="7287">
                  <c:v>-1.9327731092436899E-2</c:v>
                </c:pt>
                <c:pt idx="7288">
                  <c:v>-1.9327731092436899E-2</c:v>
                </c:pt>
                <c:pt idx="7289">
                  <c:v>-1.9327731092436899E-2</c:v>
                </c:pt>
                <c:pt idx="7290">
                  <c:v>-2.0168067226890699E-2</c:v>
                </c:pt>
                <c:pt idx="7291">
                  <c:v>-2.0168067226890699E-2</c:v>
                </c:pt>
                <c:pt idx="7292">
                  <c:v>-2.0168067226890699E-2</c:v>
                </c:pt>
                <c:pt idx="7293">
                  <c:v>-2.0168067226890699E-2</c:v>
                </c:pt>
                <c:pt idx="7294">
                  <c:v>-2.0168067226890699E-2</c:v>
                </c:pt>
                <c:pt idx="7295">
                  <c:v>-2.0168067226890699E-2</c:v>
                </c:pt>
                <c:pt idx="7296">
                  <c:v>-2.0168067226890699E-2</c:v>
                </c:pt>
                <c:pt idx="7297">
                  <c:v>-2.0168067226890699E-2</c:v>
                </c:pt>
                <c:pt idx="7298">
                  <c:v>-2.0168067226890699E-2</c:v>
                </c:pt>
                <c:pt idx="7299">
                  <c:v>-2.0168067226890699E-2</c:v>
                </c:pt>
                <c:pt idx="7300">
                  <c:v>-2.0168067226890699E-2</c:v>
                </c:pt>
                <c:pt idx="7301">
                  <c:v>-2.0168067226890699E-2</c:v>
                </c:pt>
                <c:pt idx="7302">
                  <c:v>-2.0168067226890699E-2</c:v>
                </c:pt>
                <c:pt idx="7303">
                  <c:v>-2.0168067226890699E-2</c:v>
                </c:pt>
                <c:pt idx="7304">
                  <c:v>-2.0168067226890699E-2</c:v>
                </c:pt>
                <c:pt idx="7305">
                  <c:v>-2.0168067226890699E-2</c:v>
                </c:pt>
                <c:pt idx="7306">
                  <c:v>-2.0168067226890699E-2</c:v>
                </c:pt>
                <c:pt idx="7307">
                  <c:v>-2.0168067226890699E-2</c:v>
                </c:pt>
                <c:pt idx="7308">
                  <c:v>-2.0168067226890699E-2</c:v>
                </c:pt>
                <c:pt idx="7309">
                  <c:v>-2.0168067226890699E-2</c:v>
                </c:pt>
                <c:pt idx="7310">
                  <c:v>-2.0168067226890699E-2</c:v>
                </c:pt>
                <c:pt idx="7311">
                  <c:v>-2.0168067226890699E-2</c:v>
                </c:pt>
                <c:pt idx="7312">
                  <c:v>-2.0168067226890699E-2</c:v>
                </c:pt>
                <c:pt idx="7313">
                  <c:v>-2.0168067226890699E-2</c:v>
                </c:pt>
                <c:pt idx="7314">
                  <c:v>-2.0168067226890699E-2</c:v>
                </c:pt>
                <c:pt idx="7315">
                  <c:v>-2.0168067226890699E-2</c:v>
                </c:pt>
                <c:pt idx="7316">
                  <c:v>-2.0168067226890699E-2</c:v>
                </c:pt>
                <c:pt idx="7317">
                  <c:v>-2.0168067226890699E-2</c:v>
                </c:pt>
                <c:pt idx="7318">
                  <c:v>-2.0168067226890699E-2</c:v>
                </c:pt>
                <c:pt idx="7319">
                  <c:v>-2.0168067226890699E-2</c:v>
                </c:pt>
                <c:pt idx="7320">
                  <c:v>-2.0168067226890699E-2</c:v>
                </c:pt>
                <c:pt idx="7321">
                  <c:v>-2.0168067226890699E-2</c:v>
                </c:pt>
                <c:pt idx="7322">
                  <c:v>-2.0168067226890699E-2</c:v>
                </c:pt>
                <c:pt idx="7323">
                  <c:v>-2.0168067226890699E-2</c:v>
                </c:pt>
                <c:pt idx="7324">
                  <c:v>-2.0168067226890699E-2</c:v>
                </c:pt>
                <c:pt idx="7325">
                  <c:v>-2.0168067226890699E-2</c:v>
                </c:pt>
                <c:pt idx="7326">
                  <c:v>-2.0168067226890699E-2</c:v>
                </c:pt>
                <c:pt idx="7327">
                  <c:v>-2.0168067226890699E-2</c:v>
                </c:pt>
                <c:pt idx="7328">
                  <c:v>-2.0168067226890699E-2</c:v>
                </c:pt>
                <c:pt idx="7329">
                  <c:v>-2.0168067226890699E-2</c:v>
                </c:pt>
                <c:pt idx="7330">
                  <c:v>-2.0168067226890699E-2</c:v>
                </c:pt>
                <c:pt idx="7331">
                  <c:v>-2.0168067226890699E-2</c:v>
                </c:pt>
                <c:pt idx="7332">
                  <c:v>-2.0168067226890699E-2</c:v>
                </c:pt>
                <c:pt idx="7333">
                  <c:v>-2.0168067226890699E-2</c:v>
                </c:pt>
                <c:pt idx="7334">
                  <c:v>-2.0168067226890699E-2</c:v>
                </c:pt>
                <c:pt idx="7335">
                  <c:v>-2.0168067226890699E-2</c:v>
                </c:pt>
                <c:pt idx="7336">
                  <c:v>-2.0168067226890699E-2</c:v>
                </c:pt>
                <c:pt idx="7337">
                  <c:v>-2.0168067226890699E-2</c:v>
                </c:pt>
                <c:pt idx="7338">
                  <c:v>-2.0168067226890699E-2</c:v>
                </c:pt>
                <c:pt idx="7339">
                  <c:v>-2.0168067226890699E-2</c:v>
                </c:pt>
                <c:pt idx="7340">
                  <c:v>-1.9327731092436899E-2</c:v>
                </c:pt>
                <c:pt idx="7341">
                  <c:v>-1.9327731092436899E-2</c:v>
                </c:pt>
                <c:pt idx="7342">
                  <c:v>-2.0168067226890699E-2</c:v>
                </c:pt>
                <c:pt idx="7343">
                  <c:v>-2.0168067226890699E-2</c:v>
                </c:pt>
                <c:pt idx="7344">
                  <c:v>-2.1008403361344501E-2</c:v>
                </c:pt>
                <c:pt idx="7345">
                  <c:v>-2.1008403361344501E-2</c:v>
                </c:pt>
                <c:pt idx="7346">
                  <c:v>-2.1008403361344501E-2</c:v>
                </c:pt>
                <c:pt idx="7347">
                  <c:v>-2.1008403361344501E-2</c:v>
                </c:pt>
                <c:pt idx="7348">
                  <c:v>-2.1008403361344501E-2</c:v>
                </c:pt>
                <c:pt idx="7349">
                  <c:v>-2.1008403361344501E-2</c:v>
                </c:pt>
                <c:pt idx="7350">
                  <c:v>-2.1008403361344501E-2</c:v>
                </c:pt>
                <c:pt idx="7351">
                  <c:v>-2.1008403361344501E-2</c:v>
                </c:pt>
                <c:pt idx="7352">
                  <c:v>-2.1008403361344501E-2</c:v>
                </c:pt>
                <c:pt idx="7353">
                  <c:v>-2.1008403361344501E-2</c:v>
                </c:pt>
                <c:pt idx="7354">
                  <c:v>-2.1008403361344501E-2</c:v>
                </c:pt>
                <c:pt idx="7355">
                  <c:v>-2.1008403361344501E-2</c:v>
                </c:pt>
                <c:pt idx="7356">
                  <c:v>-2.1008403361344501E-2</c:v>
                </c:pt>
                <c:pt idx="7357">
                  <c:v>-2.1008403361344501E-2</c:v>
                </c:pt>
                <c:pt idx="7358">
                  <c:v>-2.1008403361344501E-2</c:v>
                </c:pt>
                <c:pt idx="7359">
                  <c:v>-2.1008403361344501E-2</c:v>
                </c:pt>
                <c:pt idx="7360">
                  <c:v>-2.1008403361344501E-2</c:v>
                </c:pt>
                <c:pt idx="7361">
                  <c:v>-2.1008403361344501E-2</c:v>
                </c:pt>
                <c:pt idx="7362">
                  <c:v>-2.1008403361344501E-2</c:v>
                </c:pt>
                <c:pt idx="7363">
                  <c:v>-2.1008403361344501E-2</c:v>
                </c:pt>
                <c:pt idx="7364">
                  <c:v>-2.1008403361344501E-2</c:v>
                </c:pt>
                <c:pt idx="7365">
                  <c:v>-2.1008403361344501E-2</c:v>
                </c:pt>
                <c:pt idx="7366">
                  <c:v>-2.1008403361344501E-2</c:v>
                </c:pt>
                <c:pt idx="7367">
                  <c:v>-2.1008403361344501E-2</c:v>
                </c:pt>
                <c:pt idx="7368">
                  <c:v>-2.1008403361344501E-2</c:v>
                </c:pt>
                <c:pt idx="7369">
                  <c:v>-2.1008403361344501E-2</c:v>
                </c:pt>
                <c:pt idx="7370">
                  <c:v>-2.1008403361344501E-2</c:v>
                </c:pt>
                <c:pt idx="7371">
                  <c:v>-2.1008403361344501E-2</c:v>
                </c:pt>
                <c:pt idx="7372">
                  <c:v>-2.1008403361344501E-2</c:v>
                </c:pt>
                <c:pt idx="7373">
                  <c:v>-2.1008403361344501E-2</c:v>
                </c:pt>
                <c:pt idx="7374">
                  <c:v>-2.1008403361344501E-2</c:v>
                </c:pt>
                <c:pt idx="7375">
                  <c:v>-2.1008403361344501E-2</c:v>
                </c:pt>
                <c:pt idx="7376">
                  <c:v>-2.1008403361344501E-2</c:v>
                </c:pt>
                <c:pt idx="7377">
                  <c:v>-2.1008403361344501E-2</c:v>
                </c:pt>
                <c:pt idx="7378">
                  <c:v>-2.1008403361344501E-2</c:v>
                </c:pt>
                <c:pt idx="7379">
                  <c:v>-2.1008403361344501E-2</c:v>
                </c:pt>
                <c:pt idx="7380">
                  <c:v>-2.1008403361344501E-2</c:v>
                </c:pt>
                <c:pt idx="7381">
                  <c:v>-2.1008403361344501E-2</c:v>
                </c:pt>
                <c:pt idx="7382">
                  <c:v>-2.1008403361344501E-2</c:v>
                </c:pt>
                <c:pt idx="7383">
                  <c:v>-2.1008403361344501E-2</c:v>
                </c:pt>
                <c:pt idx="7384">
                  <c:v>-2.1008403361344501E-2</c:v>
                </c:pt>
                <c:pt idx="7385">
                  <c:v>-2.1008403361344501E-2</c:v>
                </c:pt>
                <c:pt idx="7386">
                  <c:v>-2.1008403361344501E-2</c:v>
                </c:pt>
                <c:pt idx="7387">
                  <c:v>-2.1008403361344501E-2</c:v>
                </c:pt>
                <c:pt idx="7388">
                  <c:v>-2.1008403361344501E-2</c:v>
                </c:pt>
                <c:pt idx="7389">
                  <c:v>-2.1848739495798301E-2</c:v>
                </c:pt>
                <c:pt idx="7390">
                  <c:v>-2.1848739495798301E-2</c:v>
                </c:pt>
                <c:pt idx="7391">
                  <c:v>-2.1848739495798301E-2</c:v>
                </c:pt>
                <c:pt idx="7392">
                  <c:v>-2.1848739495798301E-2</c:v>
                </c:pt>
                <c:pt idx="7393">
                  <c:v>-2.1848739495798301E-2</c:v>
                </c:pt>
                <c:pt idx="7394">
                  <c:v>-2.1848739495798301E-2</c:v>
                </c:pt>
                <c:pt idx="7395">
                  <c:v>-2.1848739495798301E-2</c:v>
                </c:pt>
                <c:pt idx="7396">
                  <c:v>-2.1848739495798301E-2</c:v>
                </c:pt>
                <c:pt idx="7397">
                  <c:v>-2.1848739495798301E-2</c:v>
                </c:pt>
                <c:pt idx="7398">
                  <c:v>-2.26890756302521E-2</c:v>
                </c:pt>
                <c:pt idx="7399">
                  <c:v>-2.26890756302521E-2</c:v>
                </c:pt>
                <c:pt idx="7400">
                  <c:v>-2.26890756302521E-2</c:v>
                </c:pt>
                <c:pt idx="7401">
                  <c:v>-2.26890756302521E-2</c:v>
                </c:pt>
                <c:pt idx="7402">
                  <c:v>-2.26890756302521E-2</c:v>
                </c:pt>
                <c:pt idx="7403">
                  <c:v>-2.26890756302521E-2</c:v>
                </c:pt>
                <c:pt idx="7404">
                  <c:v>-2.26890756302521E-2</c:v>
                </c:pt>
                <c:pt idx="7405">
                  <c:v>-2.26890756302521E-2</c:v>
                </c:pt>
                <c:pt idx="7406">
                  <c:v>-2.26890756302521E-2</c:v>
                </c:pt>
                <c:pt idx="7407">
                  <c:v>-2.26890756302521E-2</c:v>
                </c:pt>
                <c:pt idx="7408">
                  <c:v>-2.26890756302521E-2</c:v>
                </c:pt>
                <c:pt idx="7409">
                  <c:v>-2.26890756302521E-2</c:v>
                </c:pt>
                <c:pt idx="7410">
                  <c:v>-2.26890756302521E-2</c:v>
                </c:pt>
                <c:pt idx="7411">
                  <c:v>-2.26890756302521E-2</c:v>
                </c:pt>
                <c:pt idx="7412">
                  <c:v>-2.26890756302521E-2</c:v>
                </c:pt>
                <c:pt idx="7413">
                  <c:v>-2.26890756302521E-2</c:v>
                </c:pt>
                <c:pt idx="7414">
                  <c:v>-2.26890756302521E-2</c:v>
                </c:pt>
                <c:pt idx="7415">
                  <c:v>-2.1848739495798301E-2</c:v>
                </c:pt>
                <c:pt idx="7416">
                  <c:v>-2.1848739495798301E-2</c:v>
                </c:pt>
                <c:pt idx="7417">
                  <c:v>-2.1848739495798301E-2</c:v>
                </c:pt>
                <c:pt idx="7418">
                  <c:v>-2.1008403361344501E-2</c:v>
                </c:pt>
                <c:pt idx="7419">
                  <c:v>-2.1008403361344501E-2</c:v>
                </c:pt>
                <c:pt idx="7420">
                  <c:v>-2.1008403361344501E-2</c:v>
                </c:pt>
                <c:pt idx="7421">
                  <c:v>-2.1008403361344501E-2</c:v>
                </c:pt>
                <c:pt idx="7422">
                  <c:v>-2.1008403361344501E-2</c:v>
                </c:pt>
                <c:pt idx="7423">
                  <c:v>-2.1008403361344501E-2</c:v>
                </c:pt>
                <c:pt idx="7424">
                  <c:v>-2.1008403361344501E-2</c:v>
                </c:pt>
                <c:pt idx="7425">
                  <c:v>-2.1008403361344501E-2</c:v>
                </c:pt>
                <c:pt idx="7426">
                  <c:v>-2.1008403361344501E-2</c:v>
                </c:pt>
                <c:pt idx="7427">
                  <c:v>-2.1008403361344501E-2</c:v>
                </c:pt>
                <c:pt idx="7428">
                  <c:v>-2.1008403361344501E-2</c:v>
                </c:pt>
                <c:pt idx="7429">
                  <c:v>-2.1008403361344501E-2</c:v>
                </c:pt>
                <c:pt idx="7430">
                  <c:v>-2.1848739495798301E-2</c:v>
                </c:pt>
                <c:pt idx="7431">
                  <c:v>-2.1848739495798301E-2</c:v>
                </c:pt>
                <c:pt idx="7432">
                  <c:v>-2.1848739495798301E-2</c:v>
                </c:pt>
                <c:pt idx="7433">
                  <c:v>-2.1848739495798301E-2</c:v>
                </c:pt>
                <c:pt idx="7434">
                  <c:v>-2.1848739495798301E-2</c:v>
                </c:pt>
                <c:pt idx="7435">
                  <c:v>-2.1848739495798301E-2</c:v>
                </c:pt>
                <c:pt idx="7436">
                  <c:v>-2.1848739495798301E-2</c:v>
                </c:pt>
                <c:pt idx="7437">
                  <c:v>-2.1848739495798301E-2</c:v>
                </c:pt>
                <c:pt idx="7438">
                  <c:v>-2.1848739495798301E-2</c:v>
                </c:pt>
                <c:pt idx="7439">
                  <c:v>-2.1848739495798301E-2</c:v>
                </c:pt>
                <c:pt idx="7440">
                  <c:v>-2.26890756302521E-2</c:v>
                </c:pt>
                <c:pt idx="7441">
                  <c:v>-2.26890756302521E-2</c:v>
                </c:pt>
                <c:pt idx="7442">
                  <c:v>-2.26890756302521E-2</c:v>
                </c:pt>
                <c:pt idx="7443">
                  <c:v>-2.26890756302521E-2</c:v>
                </c:pt>
                <c:pt idx="7444">
                  <c:v>-2.26890756302521E-2</c:v>
                </c:pt>
                <c:pt idx="7445">
                  <c:v>-2.26890756302521E-2</c:v>
                </c:pt>
                <c:pt idx="7446">
                  <c:v>-2.26890756302521E-2</c:v>
                </c:pt>
                <c:pt idx="7447">
                  <c:v>-2.1848739495798301E-2</c:v>
                </c:pt>
                <c:pt idx="7448">
                  <c:v>-2.1848739495798301E-2</c:v>
                </c:pt>
                <c:pt idx="7449">
                  <c:v>-2.1008403361344501E-2</c:v>
                </c:pt>
                <c:pt idx="7450">
                  <c:v>-2.1848739495798301E-2</c:v>
                </c:pt>
                <c:pt idx="7451">
                  <c:v>-2.1848739495798301E-2</c:v>
                </c:pt>
                <c:pt idx="7452">
                  <c:v>-2.1848739495798301E-2</c:v>
                </c:pt>
                <c:pt idx="7453">
                  <c:v>-2.1848739495798301E-2</c:v>
                </c:pt>
                <c:pt idx="7454">
                  <c:v>-2.1848739495798301E-2</c:v>
                </c:pt>
                <c:pt idx="7455">
                  <c:v>-2.1848739495798301E-2</c:v>
                </c:pt>
                <c:pt idx="7456">
                  <c:v>-2.1848739495798301E-2</c:v>
                </c:pt>
                <c:pt idx="7457">
                  <c:v>-2.1848739495798301E-2</c:v>
                </c:pt>
                <c:pt idx="7458">
                  <c:v>-2.1848739495798301E-2</c:v>
                </c:pt>
                <c:pt idx="7459">
                  <c:v>-2.1848739495798301E-2</c:v>
                </c:pt>
                <c:pt idx="7460">
                  <c:v>-2.1008403361344501E-2</c:v>
                </c:pt>
                <c:pt idx="7461">
                  <c:v>-2.1008403361344501E-2</c:v>
                </c:pt>
                <c:pt idx="7462">
                  <c:v>-2.1008403361344501E-2</c:v>
                </c:pt>
                <c:pt idx="7463">
                  <c:v>-2.1008403361344501E-2</c:v>
                </c:pt>
                <c:pt idx="7464">
                  <c:v>-2.1008403361344501E-2</c:v>
                </c:pt>
                <c:pt idx="7465">
                  <c:v>-2.1008403361344501E-2</c:v>
                </c:pt>
                <c:pt idx="7466">
                  <c:v>-2.1008403361344501E-2</c:v>
                </c:pt>
                <c:pt idx="7467">
                  <c:v>-2.1008403361344501E-2</c:v>
                </c:pt>
                <c:pt idx="7468">
                  <c:v>-2.1008403361344501E-2</c:v>
                </c:pt>
                <c:pt idx="7469">
                  <c:v>-2.1008403361344501E-2</c:v>
                </c:pt>
                <c:pt idx="7470">
                  <c:v>-2.1008403361344501E-2</c:v>
                </c:pt>
                <c:pt idx="7471">
                  <c:v>-2.1008403361344501E-2</c:v>
                </c:pt>
                <c:pt idx="7472">
                  <c:v>-2.1008403361344501E-2</c:v>
                </c:pt>
                <c:pt idx="7473">
                  <c:v>-2.1008403361344501E-2</c:v>
                </c:pt>
                <c:pt idx="7474">
                  <c:v>-2.1008403361344501E-2</c:v>
                </c:pt>
                <c:pt idx="7475">
                  <c:v>-2.1008403361344501E-2</c:v>
                </c:pt>
                <c:pt idx="7476">
                  <c:v>-2.1008403361344501E-2</c:v>
                </c:pt>
                <c:pt idx="7477">
                  <c:v>-2.1008403361344501E-2</c:v>
                </c:pt>
                <c:pt idx="7478">
                  <c:v>-2.1008403361344501E-2</c:v>
                </c:pt>
                <c:pt idx="7479">
                  <c:v>-2.1008403361344501E-2</c:v>
                </c:pt>
                <c:pt idx="7480">
                  <c:v>-2.1008403361344501E-2</c:v>
                </c:pt>
                <c:pt idx="7481">
                  <c:v>-2.1008403361344501E-2</c:v>
                </c:pt>
                <c:pt idx="7482">
                  <c:v>-2.1008403361344501E-2</c:v>
                </c:pt>
                <c:pt idx="7483">
                  <c:v>-2.1008403361344501E-2</c:v>
                </c:pt>
                <c:pt idx="7484">
                  <c:v>-2.1008403361344501E-2</c:v>
                </c:pt>
                <c:pt idx="7485">
                  <c:v>-2.1008403361344501E-2</c:v>
                </c:pt>
                <c:pt idx="7486">
                  <c:v>-2.1008403361344501E-2</c:v>
                </c:pt>
                <c:pt idx="7487">
                  <c:v>-2.1008403361344501E-2</c:v>
                </c:pt>
                <c:pt idx="7488">
                  <c:v>-2.1008403361344501E-2</c:v>
                </c:pt>
                <c:pt idx="7489">
                  <c:v>-2.1008403361344501E-2</c:v>
                </c:pt>
                <c:pt idx="7490">
                  <c:v>-2.1008403361344501E-2</c:v>
                </c:pt>
                <c:pt idx="7491">
                  <c:v>-2.1008403361344501E-2</c:v>
                </c:pt>
                <c:pt idx="7492">
                  <c:v>-2.1008403361344501E-2</c:v>
                </c:pt>
                <c:pt idx="7493">
                  <c:v>-2.1008403361344501E-2</c:v>
                </c:pt>
                <c:pt idx="7494">
                  <c:v>-2.1008403361344501E-2</c:v>
                </c:pt>
                <c:pt idx="7495">
                  <c:v>-2.1008403361344501E-2</c:v>
                </c:pt>
                <c:pt idx="7496">
                  <c:v>-2.1008403361344501E-2</c:v>
                </c:pt>
                <c:pt idx="7497">
                  <c:v>-2.1008403361344501E-2</c:v>
                </c:pt>
                <c:pt idx="7498">
                  <c:v>-2.0168067226890699E-2</c:v>
                </c:pt>
                <c:pt idx="7499">
                  <c:v>-2.0168067226890699E-2</c:v>
                </c:pt>
                <c:pt idx="7500">
                  <c:v>-2.0168067226890699E-2</c:v>
                </c:pt>
                <c:pt idx="7501">
                  <c:v>-2.0168067226890699E-2</c:v>
                </c:pt>
                <c:pt idx="7502">
                  <c:v>-2.0168067226890699E-2</c:v>
                </c:pt>
                <c:pt idx="7503">
                  <c:v>-2.0168067226890699E-2</c:v>
                </c:pt>
                <c:pt idx="7504">
                  <c:v>-2.0168067226890699E-2</c:v>
                </c:pt>
                <c:pt idx="7505">
                  <c:v>-2.0168067226890699E-2</c:v>
                </c:pt>
                <c:pt idx="7506">
                  <c:v>-2.0168067226890699E-2</c:v>
                </c:pt>
                <c:pt idx="7507">
                  <c:v>-2.0168067226890699E-2</c:v>
                </c:pt>
                <c:pt idx="7508">
                  <c:v>-2.0168067226890699E-2</c:v>
                </c:pt>
                <c:pt idx="7509">
                  <c:v>-2.0168067226890699E-2</c:v>
                </c:pt>
                <c:pt idx="7510">
                  <c:v>-2.0168067226890699E-2</c:v>
                </c:pt>
                <c:pt idx="7511">
                  <c:v>-2.0168067226890699E-2</c:v>
                </c:pt>
                <c:pt idx="7512">
                  <c:v>-2.0168067226890699E-2</c:v>
                </c:pt>
                <c:pt idx="7513">
                  <c:v>-2.0168067226890699E-2</c:v>
                </c:pt>
                <c:pt idx="7514">
                  <c:v>-2.0168067226890699E-2</c:v>
                </c:pt>
                <c:pt idx="7515">
                  <c:v>-2.0168067226890699E-2</c:v>
                </c:pt>
                <c:pt idx="7516">
                  <c:v>-2.0168067226890699E-2</c:v>
                </c:pt>
                <c:pt idx="7517">
                  <c:v>-2.0168067226890699E-2</c:v>
                </c:pt>
                <c:pt idx="7518">
                  <c:v>-2.0168067226890699E-2</c:v>
                </c:pt>
                <c:pt idx="7519">
                  <c:v>-2.0168067226890699E-2</c:v>
                </c:pt>
                <c:pt idx="7520">
                  <c:v>-2.0168067226890699E-2</c:v>
                </c:pt>
                <c:pt idx="7521">
                  <c:v>-2.0168067226890699E-2</c:v>
                </c:pt>
                <c:pt idx="7522">
                  <c:v>-2.0168067226890699E-2</c:v>
                </c:pt>
                <c:pt idx="7523">
                  <c:v>-2.0168067226890699E-2</c:v>
                </c:pt>
                <c:pt idx="7524">
                  <c:v>-2.0168067226890699E-2</c:v>
                </c:pt>
                <c:pt idx="7525">
                  <c:v>-2.0168067226890699E-2</c:v>
                </c:pt>
                <c:pt idx="7526">
                  <c:v>-2.0168067226890699E-2</c:v>
                </c:pt>
                <c:pt idx="7527">
                  <c:v>-2.0168067226890699E-2</c:v>
                </c:pt>
                <c:pt idx="7528">
                  <c:v>-2.0168067226890699E-2</c:v>
                </c:pt>
                <c:pt idx="7529">
                  <c:v>-2.0168067226890699E-2</c:v>
                </c:pt>
                <c:pt idx="7530">
                  <c:v>-2.0168067226890699E-2</c:v>
                </c:pt>
                <c:pt idx="7531">
                  <c:v>-2.0168067226890699E-2</c:v>
                </c:pt>
                <c:pt idx="7532">
                  <c:v>-2.0168067226890699E-2</c:v>
                </c:pt>
                <c:pt idx="7533">
                  <c:v>-2.0168067226890699E-2</c:v>
                </c:pt>
                <c:pt idx="7534">
                  <c:v>-2.0168067226890699E-2</c:v>
                </c:pt>
                <c:pt idx="7535">
                  <c:v>-2.0168067226890699E-2</c:v>
                </c:pt>
                <c:pt idx="7536">
                  <c:v>-2.0168067226890699E-2</c:v>
                </c:pt>
                <c:pt idx="7537">
                  <c:v>-2.0168067226890699E-2</c:v>
                </c:pt>
                <c:pt idx="7538">
                  <c:v>-2.0168067226890699E-2</c:v>
                </c:pt>
                <c:pt idx="7539">
                  <c:v>-2.0168067226890699E-2</c:v>
                </c:pt>
                <c:pt idx="7540">
                  <c:v>-2.0168067226890699E-2</c:v>
                </c:pt>
                <c:pt idx="7541">
                  <c:v>-2.0168067226890699E-2</c:v>
                </c:pt>
                <c:pt idx="7542">
                  <c:v>-2.0168067226890699E-2</c:v>
                </c:pt>
                <c:pt idx="7543">
                  <c:v>-2.0168067226890699E-2</c:v>
                </c:pt>
                <c:pt idx="7544">
                  <c:v>-2.0168067226890699E-2</c:v>
                </c:pt>
                <c:pt idx="7545">
                  <c:v>-2.0168067226890699E-2</c:v>
                </c:pt>
                <c:pt idx="7546">
                  <c:v>-2.0168067226890699E-2</c:v>
                </c:pt>
                <c:pt idx="7547">
                  <c:v>-2.1008403361344501E-2</c:v>
                </c:pt>
                <c:pt idx="7548">
                  <c:v>-2.1008403361344501E-2</c:v>
                </c:pt>
                <c:pt idx="7549">
                  <c:v>-2.1008403361344501E-2</c:v>
                </c:pt>
                <c:pt idx="7550">
                  <c:v>-2.1008403361344501E-2</c:v>
                </c:pt>
                <c:pt idx="7551">
                  <c:v>-2.1008403361344501E-2</c:v>
                </c:pt>
                <c:pt idx="7552">
                  <c:v>-2.1008403361344501E-2</c:v>
                </c:pt>
                <c:pt idx="7553">
                  <c:v>-2.1008403361344501E-2</c:v>
                </c:pt>
                <c:pt idx="7554">
                  <c:v>-2.1008403361344501E-2</c:v>
                </c:pt>
                <c:pt idx="7555">
                  <c:v>-2.1008403361344501E-2</c:v>
                </c:pt>
                <c:pt idx="7556">
                  <c:v>-2.1008403361344501E-2</c:v>
                </c:pt>
                <c:pt idx="7557">
                  <c:v>-2.1008403361344501E-2</c:v>
                </c:pt>
                <c:pt idx="7558">
                  <c:v>-2.1008403361344501E-2</c:v>
                </c:pt>
                <c:pt idx="7559">
                  <c:v>-2.1008403361344501E-2</c:v>
                </c:pt>
                <c:pt idx="7560">
                  <c:v>-2.1008403361344501E-2</c:v>
                </c:pt>
                <c:pt idx="7561">
                  <c:v>-2.1008403361344501E-2</c:v>
                </c:pt>
                <c:pt idx="7562">
                  <c:v>-2.0168067226890699E-2</c:v>
                </c:pt>
                <c:pt idx="7563">
                  <c:v>-2.0168067226890699E-2</c:v>
                </c:pt>
                <c:pt idx="7564">
                  <c:v>-2.0168067226890699E-2</c:v>
                </c:pt>
                <c:pt idx="7565">
                  <c:v>-1.9327731092436899E-2</c:v>
                </c:pt>
                <c:pt idx="7566">
                  <c:v>-1.9327731092436899E-2</c:v>
                </c:pt>
                <c:pt idx="7567">
                  <c:v>-1.9327731092436899E-2</c:v>
                </c:pt>
                <c:pt idx="7568">
                  <c:v>-1.9327731092436899E-2</c:v>
                </c:pt>
                <c:pt idx="7569">
                  <c:v>-1.9327731092436899E-2</c:v>
                </c:pt>
                <c:pt idx="7570">
                  <c:v>-1.9327731092436899E-2</c:v>
                </c:pt>
                <c:pt idx="7571">
                  <c:v>-1.9327731092436899E-2</c:v>
                </c:pt>
                <c:pt idx="7572">
                  <c:v>-1.9327731092436899E-2</c:v>
                </c:pt>
                <c:pt idx="7573">
                  <c:v>-1.9327731092436899E-2</c:v>
                </c:pt>
                <c:pt idx="7574">
                  <c:v>-1.9327731092436899E-2</c:v>
                </c:pt>
                <c:pt idx="7575">
                  <c:v>-1.9327731092436899E-2</c:v>
                </c:pt>
                <c:pt idx="7576">
                  <c:v>-1.9327731092436899E-2</c:v>
                </c:pt>
                <c:pt idx="7577">
                  <c:v>-2.0168067226890699E-2</c:v>
                </c:pt>
                <c:pt idx="7578">
                  <c:v>-2.0168067226890699E-2</c:v>
                </c:pt>
                <c:pt idx="7579">
                  <c:v>-2.0168067226890699E-2</c:v>
                </c:pt>
                <c:pt idx="7580">
                  <c:v>-2.0168067226890699E-2</c:v>
                </c:pt>
                <c:pt idx="7581">
                  <c:v>-2.0168067226890699E-2</c:v>
                </c:pt>
                <c:pt idx="7582">
                  <c:v>-2.0168067226890699E-2</c:v>
                </c:pt>
                <c:pt idx="7583">
                  <c:v>-2.0168067226890699E-2</c:v>
                </c:pt>
                <c:pt idx="7584">
                  <c:v>-2.1008403361344501E-2</c:v>
                </c:pt>
                <c:pt idx="7585">
                  <c:v>-2.1008403361344501E-2</c:v>
                </c:pt>
                <c:pt idx="7586">
                  <c:v>-2.1008403361344501E-2</c:v>
                </c:pt>
                <c:pt idx="7587">
                  <c:v>-2.1008403361344501E-2</c:v>
                </c:pt>
                <c:pt idx="7588">
                  <c:v>-2.1008403361344501E-2</c:v>
                </c:pt>
                <c:pt idx="7589">
                  <c:v>-2.1008403361344501E-2</c:v>
                </c:pt>
                <c:pt idx="7590">
                  <c:v>-2.1008403361344501E-2</c:v>
                </c:pt>
                <c:pt idx="7591">
                  <c:v>-2.1008403361344501E-2</c:v>
                </c:pt>
                <c:pt idx="7592">
                  <c:v>-2.1008403361344501E-2</c:v>
                </c:pt>
                <c:pt idx="7593">
                  <c:v>-2.1008403361344501E-2</c:v>
                </c:pt>
                <c:pt idx="7594">
                  <c:v>-2.18487394957982E-2</c:v>
                </c:pt>
                <c:pt idx="7595">
                  <c:v>-2.18487394957982E-2</c:v>
                </c:pt>
                <c:pt idx="7596">
                  <c:v>-2.18487394957982E-2</c:v>
                </c:pt>
                <c:pt idx="7597">
                  <c:v>-2.2689075630251999E-2</c:v>
                </c:pt>
                <c:pt idx="7598">
                  <c:v>-2.2689075630251999E-2</c:v>
                </c:pt>
                <c:pt idx="7599">
                  <c:v>-2.2689075630251999E-2</c:v>
                </c:pt>
                <c:pt idx="7600">
                  <c:v>-2.2689075630251999E-2</c:v>
                </c:pt>
                <c:pt idx="7601">
                  <c:v>-2.3529411764705799E-2</c:v>
                </c:pt>
                <c:pt idx="7602">
                  <c:v>-2.3529411764705799E-2</c:v>
                </c:pt>
                <c:pt idx="7603">
                  <c:v>-2.3529411764705799E-2</c:v>
                </c:pt>
                <c:pt idx="7604">
                  <c:v>-2.3529411764705799E-2</c:v>
                </c:pt>
                <c:pt idx="7605">
                  <c:v>-2.3529411764705799E-2</c:v>
                </c:pt>
                <c:pt idx="7606">
                  <c:v>-2.3529411764705799E-2</c:v>
                </c:pt>
                <c:pt idx="7607">
                  <c:v>-2.3529411764705799E-2</c:v>
                </c:pt>
                <c:pt idx="7608">
                  <c:v>-2.3529411764705799E-2</c:v>
                </c:pt>
                <c:pt idx="7609">
                  <c:v>-2.2689075630251999E-2</c:v>
                </c:pt>
                <c:pt idx="7610">
                  <c:v>-2.2689075630251999E-2</c:v>
                </c:pt>
                <c:pt idx="7611">
                  <c:v>-2.2689075630251999E-2</c:v>
                </c:pt>
                <c:pt idx="7612">
                  <c:v>-2.2689075630251999E-2</c:v>
                </c:pt>
                <c:pt idx="7613">
                  <c:v>-2.2689075630251999E-2</c:v>
                </c:pt>
                <c:pt idx="7614">
                  <c:v>-2.2689075630251999E-2</c:v>
                </c:pt>
                <c:pt idx="7615">
                  <c:v>-2.2689075630251999E-2</c:v>
                </c:pt>
                <c:pt idx="7616">
                  <c:v>-2.2689075630251999E-2</c:v>
                </c:pt>
                <c:pt idx="7617">
                  <c:v>-2.2689075630251999E-2</c:v>
                </c:pt>
                <c:pt idx="7618">
                  <c:v>-2.2689075630251999E-2</c:v>
                </c:pt>
                <c:pt idx="7619">
                  <c:v>-2.2689075630251999E-2</c:v>
                </c:pt>
                <c:pt idx="7620">
                  <c:v>-2.2689075630251999E-2</c:v>
                </c:pt>
                <c:pt idx="7621">
                  <c:v>-2.2689075630251999E-2</c:v>
                </c:pt>
                <c:pt idx="7622">
                  <c:v>-2.2689075630251999E-2</c:v>
                </c:pt>
                <c:pt idx="7623">
                  <c:v>-2.2689075630251999E-2</c:v>
                </c:pt>
                <c:pt idx="7624">
                  <c:v>-2.2689075630251999E-2</c:v>
                </c:pt>
                <c:pt idx="7625">
                  <c:v>-2.2689075630251999E-2</c:v>
                </c:pt>
                <c:pt idx="7626">
                  <c:v>-2.2689075630251999E-2</c:v>
                </c:pt>
                <c:pt idx="7627">
                  <c:v>-2.2689075630251999E-2</c:v>
                </c:pt>
                <c:pt idx="7628">
                  <c:v>-2.2689075630251999E-2</c:v>
                </c:pt>
                <c:pt idx="7629">
                  <c:v>-2.2689075630251999E-2</c:v>
                </c:pt>
                <c:pt idx="7630">
                  <c:v>-2.2689075630251999E-2</c:v>
                </c:pt>
                <c:pt idx="7631">
                  <c:v>-2.2689075630251999E-2</c:v>
                </c:pt>
                <c:pt idx="7632">
                  <c:v>-2.2689075630251999E-2</c:v>
                </c:pt>
                <c:pt idx="7633">
                  <c:v>-2.2689075630251999E-2</c:v>
                </c:pt>
                <c:pt idx="7634">
                  <c:v>-2.2689075630251999E-2</c:v>
                </c:pt>
                <c:pt idx="7635">
                  <c:v>-2.2689075630251999E-2</c:v>
                </c:pt>
                <c:pt idx="7636">
                  <c:v>-2.2689075630251999E-2</c:v>
                </c:pt>
                <c:pt idx="7637">
                  <c:v>-2.2689075630251999E-2</c:v>
                </c:pt>
                <c:pt idx="7638">
                  <c:v>-2.2689075630251999E-2</c:v>
                </c:pt>
                <c:pt idx="7639">
                  <c:v>-2.2689075630251999E-2</c:v>
                </c:pt>
                <c:pt idx="7640">
                  <c:v>-2.2689075630251999E-2</c:v>
                </c:pt>
                <c:pt idx="7641">
                  <c:v>-2.3529411764705799E-2</c:v>
                </c:pt>
                <c:pt idx="7642">
                  <c:v>-2.3529411764705799E-2</c:v>
                </c:pt>
                <c:pt idx="7643">
                  <c:v>-2.3529411764705799E-2</c:v>
                </c:pt>
                <c:pt idx="7644">
                  <c:v>-2.3529411764705799E-2</c:v>
                </c:pt>
                <c:pt idx="7645">
                  <c:v>-2.3529411764705799E-2</c:v>
                </c:pt>
                <c:pt idx="7646">
                  <c:v>-2.3529411764705799E-2</c:v>
                </c:pt>
                <c:pt idx="7647">
                  <c:v>-2.3529411764705799E-2</c:v>
                </c:pt>
                <c:pt idx="7648">
                  <c:v>-2.3529411764705799E-2</c:v>
                </c:pt>
                <c:pt idx="7649">
                  <c:v>-2.3529411764705799E-2</c:v>
                </c:pt>
                <c:pt idx="7650">
                  <c:v>-2.2689075630251999E-2</c:v>
                </c:pt>
                <c:pt idx="7651">
                  <c:v>-2.2689075630251999E-2</c:v>
                </c:pt>
                <c:pt idx="7652">
                  <c:v>-2.2689075630251999E-2</c:v>
                </c:pt>
                <c:pt idx="7653">
                  <c:v>-2.2689075630251999E-2</c:v>
                </c:pt>
                <c:pt idx="7654">
                  <c:v>-2.2689075630251999E-2</c:v>
                </c:pt>
                <c:pt idx="7655">
                  <c:v>-2.18487394957982E-2</c:v>
                </c:pt>
                <c:pt idx="7656">
                  <c:v>-2.18487394957982E-2</c:v>
                </c:pt>
                <c:pt idx="7657">
                  <c:v>-2.18487394957982E-2</c:v>
                </c:pt>
                <c:pt idx="7658">
                  <c:v>-2.18487394957982E-2</c:v>
                </c:pt>
                <c:pt idx="7659">
                  <c:v>-2.18487394957982E-2</c:v>
                </c:pt>
                <c:pt idx="7660">
                  <c:v>-2.18487394957982E-2</c:v>
                </c:pt>
                <c:pt idx="7661">
                  <c:v>-2.18487394957982E-2</c:v>
                </c:pt>
                <c:pt idx="7662">
                  <c:v>-2.1008403361344501E-2</c:v>
                </c:pt>
                <c:pt idx="7663">
                  <c:v>-2.1008403361344501E-2</c:v>
                </c:pt>
                <c:pt idx="7664">
                  <c:v>-2.1008403361344501E-2</c:v>
                </c:pt>
                <c:pt idx="7665">
                  <c:v>-2.18487394957982E-2</c:v>
                </c:pt>
                <c:pt idx="7666">
                  <c:v>-2.18487394957982E-2</c:v>
                </c:pt>
                <c:pt idx="7667">
                  <c:v>-2.18487394957982E-2</c:v>
                </c:pt>
                <c:pt idx="7668">
                  <c:v>-2.18487394957982E-2</c:v>
                </c:pt>
                <c:pt idx="7669">
                  <c:v>-2.18487394957982E-2</c:v>
                </c:pt>
                <c:pt idx="7670">
                  <c:v>-2.2689075630251999E-2</c:v>
                </c:pt>
                <c:pt idx="7671">
                  <c:v>-2.2689075630251999E-2</c:v>
                </c:pt>
                <c:pt idx="7672">
                  <c:v>-2.2689075630251999E-2</c:v>
                </c:pt>
                <c:pt idx="7673">
                  <c:v>-2.2689075630251999E-2</c:v>
                </c:pt>
                <c:pt idx="7674">
                  <c:v>-2.2689075630251999E-2</c:v>
                </c:pt>
                <c:pt idx="7675">
                  <c:v>-2.2689075630251999E-2</c:v>
                </c:pt>
                <c:pt idx="7676">
                  <c:v>-2.2689075630251999E-2</c:v>
                </c:pt>
                <c:pt idx="7677">
                  <c:v>-2.2689075630251999E-2</c:v>
                </c:pt>
                <c:pt idx="7678">
                  <c:v>-2.2689075630251999E-2</c:v>
                </c:pt>
                <c:pt idx="7679">
                  <c:v>-2.2689075630251999E-2</c:v>
                </c:pt>
                <c:pt idx="7680">
                  <c:v>-2.2689075630251999E-2</c:v>
                </c:pt>
                <c:pt idx="7681">
                  <c:v>-2.2689075630251999E-2</c:v>
                </c:pt>
                <c:pt idx="7682">
                  <c:v>-2.2689075630251999E-2</c:v>
                </c:pt>
                <c:pt idx="7683">
                  <c:v>-2.2689075630251999E-2</c:v>
                </c:pt>
                <c:pt idx="7684">
                  <c:v>-2.2689075630251999E-2</c:v>
                </c:pt>
                <c:pt idx="7685">
                  <c:v>-2.2689075630251999E-2</c:v>
                </c:pt>
                <c:pt idx="7686">
                  <c:v>-2.2689075630251999E-2</c:v>
                </c:pt>
                <c:pt idx="7687">
                  <c:v>-2.2689075630251999E-2</c:v>
                </c:pt>
                <c:pt idx="7688">
                  <c:v>-2.2689075630251999E-2</c:v>
                </c:pt>
                <c:pt idx="7689">
                  <c:v>-2.2689075630251999E-2</c:v>
                </c:pt>
                <c:pt idx="7690">
                  <c:v>-2.2689075630251999E-2</c:v>
                </c:pt>
                <c:pt idx="7691">
                  <c:v>-2.2689075630251999E-2</c:v>
                </c:pt>
                <c:pt idx="7692">
                  <c:v>-2.2689075630251999E-2</c:v>
                </c:pt>
                <c:pt idx="7693">
                  <c:v>-2.2689075630251999E-2</c:v>
                </c:pt>
                <c:pt idx="7694">
                  <c:v>-2.2689075630251999E-2</c:v>
                </c:pt>
                <c:pt idx="7695">
                  <c:v>-2.2689075630251999E-2</c:v>
                </c:pt>
                <c:pt idx="7696">
                  <c:v>-2.2689075630251999E-2</c:v>
                </c:pt>
                <c:pt idx="7697">
                  <c:v>-2.2689075630251999E-2</c:v>
                </c:pt>
                <c:pt idx="7698">
                  <c:v>-2.2689075630251999E-2</c:v>
                </c:pt>
                <c:pt idx="7699">
                  <c:v>-2.2689075630251999E-2</c:v>
                </c:pt>
                <c:pt idx="7700">
                  <c:v>-2.2689075630251999E-2</c:v>
                </c:pt>
                <c:pt idx="7701">
                  <c:v>-2.2689075630251999E-2</c:v>
                </c:pt>
                <c:pt idx="7702">
                  <c:v>-2.2689075630251999E-2</c:v>
                </c:pt>
                <c:pt idx="7703">
                  <c:v>-2.2689075630251999E-2</c:v>
                </c:pt>
                <c:pt idx="7704">
                  <c:v>-2.2689075630251999E-2</c:v>
                </c:pt>
                <c:pt idx="7705">
                  <c:v>-2.2689075630251999E-2</c:v>
                </c:pt>
                <c:pt idx="7706">
                  <c:v>-2.2689075630251999E-2</c:v>
                </c:pt>
                <c:pt idx="7707">
                  <c:v>-2.3529411764705799E-2</c:v>
                </c:pt>
                <c:pt idx="7708">
                  <c:v>-2.3529411764705799E-2</c:v>
                </c:pt>
                <c:pt idx="7709">
                  <c:v>-2.3529411764705799E-2</c:v>
                </c:pt>
                <c:pt idx="7710">
                  <c:v>-2.3529411764705799E-2</c:v>
                </c:pt>
                <c:pt idx="7711">
                  <c:v>-2.3529411764705799E-2</c:v>
                </c:pt>
                <c:pt idx="7712">
                  <c:v>-2.3529411764705799E-2</c:v>
                </c:pt>
                <c:pt idx="7713">
                  <c:v>-2.3529411764705799E-2</c:v>
                </c:pt>
                <c:pt idx="7714">
                  <c:v>-2.3529411764705799E-2</c:v>
                </c:pt>
                <c:pt idx="7715">
                  <c:v>-2.3529411764705799E-2</c:v>
                </c:pt>
                <c:pt idx="7716">
                  <c:v>-2.3529411764705799E-2</c:v>
                </c:pt>
                <c:pt idx="7717">
                  <c:v>-2.3529411764705799E-2</c:v>
                </c:pt>
                <c:pt idx="7718">
                  <c:v>-2.3529411764705799E-2</c:v>
                </c:pt>
                <c:pt idx="7719">
                  <c:v>-2.3529411764705799E-2</c:v>
                </c:pt>
                <c:pt idx="7720">
                  <c:v>-2.3529411764705799E-2</c:v>
                </c:pt>
                <c:pt idx="7721">
                  <c:v>-2.3529411764705799E-2</c:v>
                </c:pt>
                <c:pt idx="7722">
                  <c:v>-2.3529411764705799E-2</c:v>
                </c:pt>
                <c:pt idx="7723">
                  <c:v>-2.3529411764705799E-2</c:v>
                </c:pt>
                <c:pt idx="7724">
                  <c:v>-2.3529411764705799E-2</c:v>
                </c:pt>
                <c:pt idx="7725">
                  <c:v>-2.3529411764705799E-2</c:v>
                </c:pt>
                <c:pt idx="7726">
                  <c:v>-2.3529411764705799E-2</c:v>
                </c:pt>
                <c:pt idx="7727">
                  <c:v>-2.3529411764705799E-2</c:v>
                </c:pt>
                <c:pt idx="7728">
                  <c:v>-2.3529411764705799E-2</c:v>
                </c:pt>
                <c:pt idx="7729">
                  <c:v>-2.3529411764705799E-2</c:v>
                </c:pt>
                <c:pt idx="7730">
                  <c:v>-2.3529411764705799E-2</c:v>
                </c:pt>
                <c:pt idx="7731">
                  <c:v>-2.3529411764705799E-2</c:v>
                </c:pt>
                <c:pt idx="7732">
                  <c:v>-2.3529411764705799E-2</c:v>
                </c:pt>
                <c:pt idx="7733">
                  <c:v>-2.3529411764705799E-2</c:v>
                </c:pt>
                <c:pt idx="7734">
                  <c:v>-2.3529411764705799E-2</c:v>
                </c:pt>
                <c:pt idx="7735">
                  <c:v>-2.3529411764705799E-2</c:v>
                </c:pt>
                <c:pt idx="7736">
                  <c:v>-2.3529411764705799E-2</c:v>
                </c:pt>
                <c:pt idx="7737">
                  <c:v>-2.3529411764705799E-2</c:v>
                </c:pt>
                <c:pt idx="7738">
                  <c:v>-2.3529411764705799E-2</c:v>
                </c:pt>
                <c:pt idx="7739">
                  <c:v>-2.3529411764705799E-2</c:v>
                </c:pt>
                <c:pt idx="7740">
                  <c:v>-2.3529411764705799E-2</c:v>
                </c:pt>
                <c:pt idx="7741">
                  <c:v>-2.3529411764705799E-2</c:v>
                </c:pt>
                <c:pt idx="7742">
                  <c:v>-2.3529411764705799E-2</c:v>
                </c:pt>
                <c:pt idx="7743">
                  <c:v>-2.3529411764705799E-2</c:v>
                </c:pt>
                <c:pt idx="7744">
                  <c:v>-2.3529411764705799E-2</c:v>
                </c:pt>
                <c:pt idx="7745">
                  <c:v>-2.3529411764705799E-2</c:v>
                </c:pt>
                <c:pt idx="7746">
                  <c:v>-2.3529411764705799E-2</c:v>
                </c:pt>
                <c:pt idx="7747">
                  <c:v>-2.3529411764705799E-2</c:v>
                </c:pt>
                <c:pt idx="7748">
                  <c:v>-2.3529411764705799E-2</c:v>
                </c:pt>
                <c:pt idx="7749">
                  <c:v>-2.3529411764705799E-2</c:v>
                </c:pt>
                <c:pt idx="7750">
                  <c:v>-2.3529411764705799E-2</c:v>
                </c:pt>
                <c:pt idx="7751">
                  <c:v>-2.3529411764705799E-2</c:v>
                </c:pt>
                <c:pt idx="7752">
                  <c:v>-2.3529411764705799E-2</c:v>
                </c:pt>
                <c:pt idx="7753">
                  <c:v>-2.3529411764705799E-2</c:v>
                </c:pt>
                <c:pt idx="7754">
                  <c:v>-2.3529411764705799E-2</c:v>
                </c:pt>
                <c:pt idx="7755">
                  <c:v>-2.3529411764705799E-2</c:v>
                </c:pt>
                <c:pt idx="7756">
                  <c:v>-2.3529411764705799E-2</c:v>
                </c:pt>
                <c:pt idx="7757">
                  <c:v>-2.3529411764705799E-2</c:v>
                </c:pt>
                <c:pt idx="7758">
                  <c:v>-2.3529411764705799E-2</c:v>
                </c:pt>
                <c:pt idx="7759">
                  <c:v>-2.3529411764705799E-2</c:v>
                </c:pt>
                <c:pt idx="7760">
                  <c:v>-2.3529411764705799E-2</c:v>
                </c:pt>
                <c:pt idx="7761">
                  <c:v>-2.3529411764705799E-2</c:v>
                </c:pt>
                <c:pt idx="7762">
                  <c:v>-2.3529411764705799E-2</c:v>
                </c:pt>
                <c:pt idx="7763">
                  <c:v>-2.3529411764705799E-2</c:v>
                </c:pt>
                <c:pt idx="7764">
                  <c:v>-2.3529411764705799E-2</c:v>
                </c:pt>
                <c:pt idx="7765">
                  <c:v>-2.3529411764705799E-2</c:v>
                </c:pt>
                <c:pt idx="7766">
                  <c:v>-2.4369747899159602E-2</c:v>
                </c:pt>
                <c:pt idx="7767">
                  <c:v>-2.4369747899159602E-2</c:v>
                </c:pt>
                <c:pt idx="7768">
                  <c:v>-2.4369747899159602E-2</c:v>
                </c:pt>
                <c:pt idx="7769">
                  <c:v>-2.4369747899159602E-2</c:v>
                </c:pt>
                <c:pt idx="7770">
                  <c:v>-2.4369747899159602E-2</c:v>
                </c:pt>
                <c:pt idx="7771">
                  <c:v>-2.4369747899159602E-2</c:v>
                </c:pt>
                <c:pt idx="7772">
                  <c:v>-2.4369747899159602E-2</c:v>
                </c:pt>
                <c:pt idx="7773">
                  <c:v>-2.4369747899159602E-2</c:v>
                </c:pt>
                <c:pt idx="7774">
                  <c:v>-2.4369747899159602E-2</c:v>
                </c:pt>
                <c:pt idx="7775">
                  <c:v>-2.4369747899159602E-2</c:v>
                </c:pt>
                <c:pt idx="7776">
                  <c:v>-2.4369747899159602E-2</c:v>
                </c:pt>
                <c:pt idx="7777">
                  <c:v>-2.4369747899159602E-2</c:v>
                </c:pt>
                <c:pt idx="7778">
                  <c:v>-2.4369747899159602E-2</c:v>
                </c:pt>
                <c:pt idx="7779">
                  <c:v>-2.4369747899159602E-2</c:v>
                </c:pt>
                <c:pt idx="7780">
                  <c:v>-2.4369747899159602E-2</c:v>
                </c:pt>
                <c:pt idx="7781">
                  <c:v>-2.4369747899159602E-2</c:v>
                </c:pt>
                <c:pt idx="7782">
                  <c:v>-2.4369747899159602E-2</c:v>
                </c:pt>
                <c:pt idx="7783">
                  <c:v>-2.4369747899159602E-2</c:v>
                </c:pt>
                <c:pt idx="7784">
                  <c:v>-2.4369747899159602E-2</c:v>
                </c:pt>
                <c:pt idx="7785">
                  <c:v>-2.3529411764705799E-2</c:v>
                </c:pt>
                <c:pt idx="7786">
                  <c:v>-2.3529411764705799E-2</c:v>
                </c:pt>
                <c:pt idx="7787">
                  <c:v>-2.3529411764705799E-2</c:v>
                </c:pt>
                <c:pt idx="7788">
                  <c:v>-2.3529411764705799E-2</c:v>
                </c:pt>
                <c:pt idx="7789">
                  <c:v>-2.3529411764705799E-2</c:v>
                </c:pt>
                <c:pt idx="7790">
                  <c:v>-2.3529411764705799E-2</c:v>
                </c:pt>
                <c:pt idx="7791">
                  <c:v>-2.3529411764705799E-2</c:v>
                </c:pt>
                <c:pt idx="7792">
                  <c:v>-2.3529411764705799E-2</c:v>
                </c:pt>
                <c:pt idx="7793">
                  <c:v>-2.3529411764705799E-2</c:v>
                </c:pt>
                <c:pt idx="7794">
                  <c:v>-2.3529411764705799E-2</c:v>
                </c:pt>
                <c:pt idx="7795">
                  <c:v>-2.3529411764705799E-2</c:v>
                </c:pt>
                <c:pt idx="7796">
                  <c:v>-2.3529411764705799E-2</c:v>
                </c:pt>
                <c:pt idx="7797">
                  <c:v>-2.3529411764705799E-2</c:v>
                </c:pt>
                <c:pt idx="7798">
                  <c:v>-2.4369747899159602E-2</c:v>
                </c:pt>
                <c:pt idx="7799">
                  <c:v>-2.4369747899159602E-2</c:v>
                </c:pt>
                <c:pt idx="7800">
                  <c:v>-2.4369747899159602E-2</c:v>
                </c:pt>
                <c:pt idx="7801">
                  <c:v>-2.4369747899159602E-2</c:v>
                </c:pt>
                <c:pt idx="7802">
                  <c:v>-2.4369747899159602E-2</c:v>
                </c:pt>
                <c:pt idx="7803">
                  <c:v>-2.4369747899159602E-2</c:v>
                </c:pt>
                <c:pt idx="7804">
                  <c:v>-2.4369747899159602E-2</c:v>
                </c:pt>
                <c:pt idx="7805">
                  <c:v>-2.4369747899159602E-2</c:v>
                </c:pt>
                <c:pt idx="7806">
                  <c:v>-2.4369747899159602E-2</c:v>
                </c:pt>
                <c:pt idx="7807">
                  <c:v>-2.4369747899159602E-2</c:v>
                </c:pt>
                <c:pt idx="7808">
                  <c:v>-2.4369747899159602E-2</c:v>
                </c:pt>
                <c:pt idx="7809">
                  <c:v>-2.4369747899159602E-2</c:v>
                </c:pt>
                <c:pt idx="7810">
                  <c:v>-2.4369747899159602E-2</c:v>
                </c:pt>
                <c:pt idx="7811">
                  <c:v>-2.4369747899159602E-2</c:v>
                </c:pt>
                <c:pt idx="7812">
                  <c:v>-2.4369747899159602E-2</c:v>
                </c:pt>
                <c:pt idx="7813">
                  <c:v>-2.4369747899159602E-2</c:v>
                </c:pt>
                <c:pt idx="7814">
                  <c:v>-2.4369747899159602E-2</c:v>
                </c:pt>
                <c:pt idx="7815">
                  <c:v>-2.4369747899159602E-2</c:v>
                </c:pt>
                <c:pt idx="7816">
                  <c:v>-2.4369747899159602E-2</c:v>
                </c:pt>
                <c:pt idx="7817">
                  <c:v>-2.4369747899159602E-2</c:v>
                </c:pt>
                <c:pt idx="7818">
                  <c:v>-2.4369747899159602E-2</c:v>
                </c:pt>
                <c:pt idx="7819">
                  <c:v>-2.4369747899159602E-2</c:v>
                </c:pt>
                <c:pt idx="7820">
                  <c:v>-2.4369747899159602E-2</c:v>
                </c:pt>
                <c:pt idx="7821">
                  <c:v>-2.4369747899159602E-2</c:v>
                </c:pt>
                <c:pt idx="7822">
                  <c:v>-2.4369747899159602E-2</c:v>
                </c:pt>
                <c:pt idx="7823">
                  <c:v>-2.4369747899159602E-2</c:v>
                </c:pt>
                <c:pt idx="7824">
                  <c:v>-2.4369747899159602E-2</c:v>
                </c:pt>
                <c:pt idx="7825">
                  <c:v>-2.4369747899159602E-2</c:v>
                </c:pt>
                <c:pt idx="7826">
                  <c:v>-2.4369747899159602E-2</c:v>
                </c:pt>
                <c:pt idx="7827">
                  <c:v>-2.5210084033613401E-2</c:v>
                </c:pt>
                <c:pt idx="7828">
                  <c:v>-2.5210084033613401E-2</c:v>
                </c:pt>
                <c:pt idx="7829">
                  <c:v>-2.5210084033613401E-2</c:v>
                </c:pt>
                <c:pt idx="7830">
                  <c:v>-2.5210084033613401E-2</c:v>
                </c:pt>
                <c:pt idx="7831">
                  <c:v>-2.4369747899159602E-2</c:v>
                </c:pt>
                <c:pt idx="7832">
                  <c:v>-2.4369747899159602E-2</c:v>
                </c:pt>
                <c:pt idx="7833">
                  <c:v>-2.4369747899159602E-2</c:v>
                </c:pt>
                <c:pt idx="7834">
                  <c:v>-2.4369747899159602E-2</c:v>
                </c:pt>
                <c:pt idx="7835">
                  <c:v>-2.4369747899159602E-2</c:v>
                </c:pt>
                <c:pt idx="7836">
                  <c:v>-2.4369747899159602E-2</c:v>
                </c:pt>
                <c:pt idx="7837">
                  <c:v>-2.4369747899159602E-2</c:v>
                </c:pt>
                <c:pt idx="7838">
                  <c:v>-2.4369747899159602E-2</c:v>
                </c:pt>
                <c:pt idx="7839">
                  <c:v>-2.4369747899159602E-2</c:v>
                </c:pt>
                <c:pt idx="7840">
                  <c:v>-2.4369747899159602E-2</c:v>
                </c:pt>
                <c:pt idx="7841">
                  <c:v>-2.4369747899159602E-2</c:v>
                </c:pt>
                <c:pt idx="7842">
                  <c:v>-2.4369747899159602E-2</c:v>
                </c:pt>
                <c:pt idx="7843">
                  <c:v>-2.3529411764705899E-2</c:v>
                </c:pt>
                <c:pt idx="7844">
                  <c:v>-2.3529411764705899E-2</c:v>
                </c:pt>
                <c:pt idx="7845">
                  <c:v>-2.26890756302521E-2</c:v>
                </c:pt>
                <c:pt idx="7846">
                  <c:v>-2.26890756302521E-2</c:v>
                </c:pt>
                <c:pt idx="7847">
                  <c:v>-2.1848739495798301E-2</c:v>
                </c:pt>
                <c:pt idx="7848">
                  <c:v>-2.1008403361344501E-2</c:v>
                </c:pt>
                <c:pt idx="7849">
                  <c:v>-2.1008403361344501E-2</c:v>
                </c:pt>
                <c:pt idx="7850">
                  <c:v>-2.1008403361344501E-2</c:v>
                </c:pt>
                <c:pt idx="7851">
                  <c:v>-2.1008403361344501E-2</c:v>
                </c:pt>
                <c:pt idx="7852">
                  <c:v>-2.1008403361344501E-2</c:v>
                </c:pt>
                <c:pt idx="7853">
                  <c:v>-2.1008403361344501E-2</c:v>
                </c:pt>
                <c:pt idx="7854">
                  <c:v>-2.0168067226890699E-2</c:v>
                </c:pt>
                <c:pt idx="7855">
                  <c:v>-2.0168067226890699E-2</c:v>
                </c:pt>
                <c:pt idx="7856">
                  <c:v>-2.0168067226890699E-2</c:v>
                </c:pt>
                <c:pt idx="7857">
                  <c:v>-2.0168067226890699E-2</c:v>
                </c:pt>
                <c:pt idx="7858">
                  <c:v>-1.9327731092437E-2</c:v>
                </c:pt>
                <c:pt idx="7859">
                  <c:v>-1.9327731092437E-2</c:v>
                </c:pt>
                <c:pt idx="7860">
                  <c:v>-1.84873949579832E-2</c:v>
                </c:pt>
                <c:pt idx="7861">
                  <c:v>-1.84873949579832E-2</c:v>
                </c:pt>
                <c:pt idx="7862">
                  <c:v>-1.84873949579832E-2</c:v>
                </c:pt>
                <c:pt idx="7863">
                  <c:v>-1.84873949579832E-2</c:v>
                </c:pt>
                <c:pt idx="7864">
                  <c:v>-1.9327731092437E-2</c:v>
                </c:pt>
                <c:pt idx="7865">
                  <c:v>-1.9327731092437E-2</c:v>
                </c:pt>
                <c:pt idx="7866">
                  <c:v>-1.9327731092437E-2</c:v>
                </c:pt>
                <c:pt idx="7867">
                  <c:v>-1.9327731092437E-2</c:v>
                </c:pt>
                <c:pt idx="7868">
                  <c:v>-1.9327731092437E-2</c:v>
                </c:pt>
                <c:pt idx="7869">
                  <c:v>-1.9327731092437E-2</c:v>
                </c:pt>
                <c:pt idx="7870">
                  <c:v>-2.0168067226890699E-2</c:v>
                </c:pt>
                <c:pt idx="7871">
                  <c:v>-2.0168067226890699E-2</c:v>
                </c:pt>
                <c:pt idx="7872">
                  <c:v>-2.0168067226890699E-2</c:v>
                </c:pt>
                <c:pt idx="7873">
                  <c:v>-2.0168067226890699E-2</c:v>
                </c:pt>
                <c:pt idx="7874">
                  <c:v>-2.0168067226890699E-2</c:v>
                </c:pt>
                <c:pt idx="7875">
                  <c:v>-2.0168067226890699E-2</c:v>
                </c:pt>
                <c:pt idx="7876">
                  <c:v>-2.0168067226890699E-2</c:v>
                </c:pt>
                <c:pt idx="7877">
                  <c:v>-2.0168067226890699E-2</c:v>
                </c:pt>
                <c:pt idx="7878">
                  <c:v>-2.0168067226890699E-2</c:v>
                </c:pt>
                <c:pt idx="7879">
                  <c:v>-2.0168067226890699E-2</c:v>
                </c:pt>
                <c:pt idx="7880">
                  <c:v>-2.0168067226890699E-2</c:v>
                </c:pt>
                <c:pt idx="7881">
                  <c:v>-2.0168067226890699E-2</c:v>
                </c:pt>
                <c:pt idx="7882">
                  <c:v>-2.0168067226890699E-2</c:v>
                </c:pt>
                <c:pt idx="7883">
                  <c:v>-2.0168067226890699E-2</c:v>
                </c:pt>
                <c:pt idx="7884">
                  <c:v>-2.0168067226890699E-2</c:v>
                </c:pt>
                <c:pt idx="7885">
                  <c:v>-2.0168067226890699E-2</c:v>
                </c:pt>
                <c:pt idx="7886">
                  <c:v>-2.0168067226890699E-2</c:v>
                </c:pt>
                <c:pt idx="7887">
                  <c:v>-2.1008403361344501E-2</c:v>
                </c:pt>
                <c:pt idx="7888">
                  <c:v>-2.1008403361344501E-2</c:v>
                </c:pt>
                <c:pt idx="7889">
                  <c:v>-2.1848739495798301E-2</c:v>
                </c:pt>
                <c:pt idx="7890">
                  <c:v>-2.1848739495798301E-2</c:v>
                </c:pt>
                <c:pt idx="7891">
                  <c:v>-2.1848739495798301E-2</c:v>
                </c:pt>
                <c:pt idx="7892">
                  <c:v>-2.1848739495798301E-2</c:v>
                </c:pt>
                <c:pt idx="7893">
                  <c:v>-2.1848739495798301E-2</c:v>
                </c:pt>
                <c:pt idx="7894">
                  <c:v>-2.1848739495798301E-2</c:v>
                </c:pt>
                <c:pt idx="7895">
                  <c:v>-2.1848739495798301E-2</c:v>
                </c:pt>
                <c:pt idx="7896">
                  <c:v>-2.1848739495798301E-2</c:v>
                </c:pt>
                <c:pt idx="7897">
                  <c:v>-2.1848739495798301E-2</c:v>
                </c:pt>
                <c:pt idx="7898">
                  <c:v>-2.1848739495798301E-2</c:v>
                </c:pt>
                <c:pt idx="7899">
                  <c:v>-2.1848739495798301E-2</c:v>
                </c:pt>
                <c:pt idx="7900">
                  <c:v>-2.1848739495798301E-2</c:v>
                </c:pt>
                <c:pt idx="7901">
                  <c:v>-2.1848739495798301E-2</c:v>
                </c:pt>
                <c:pt idx="7902">
                  <c:v>-2.1848739495798301E-2</c:v>
                </c:pt>
                <c:pt idx="7903">
                  <c:v>-2.1848739495798301E-2</c:v>
                </c:pt>
                <c:pt idx="7904">
                  <c:v>-2.1848739495798301E-2</c:v>
                </c:pt>
                <c:pt idx="7905">
                  <c:v>-2.1848739495798301E-2</c:v>
                </c:pt>
                <c:pt idx="7906">
                  <c:v>-2.1848739495798301E-2</c:v>
                </c:pt>
                <c:pt idx="7907">
                  <c:v>-2.26890756302521E-2</c:v>
                </c:pt>
                <c:pt idx="7908">
                  <c:v>-2.26890756302521E-2</c:v>
                </c:pt>
                <c:pt idx="7909">
                  <c:v>-2.26890756302521E-2</c:v>
                </c:pt>
                <c:pt idx="7910">
                  <c:v>-2.26890756302521E-2</c:v>
                </c:pt>
                <c:pt idx="7911">
                  <c:v>-2.26890756302521E-2</c:v>
                </c:pt>
                <c:pt idx="7912">
                  <c:v>-2.1848739495798301E-2</c:v>
                </c:pt>
                <c:pt idx="7913">
                  <c:v>-2.1848739495798301E-2</c:v>
                </c:pt>
                <c:pt idx="7914">
                  <c:v>-2.1848739495798301E-2</c:v>
                </c:pt>
                <c:pt idx="7915">
                  <c:v>-2.1848739495798301E-2</c:v>
                </c:pt>
                <c:pt idx="7916">
                  <c:v>-2.1848739495798301E-2</c:v>
                </c:pt>
                <c:pt idx="7917">
                  <c:v>-2.1848739495798301E-2</c:v>
                </c:pt>
                <c:pt idx="7918">
                  <c:v>-2.1848739495798301E-2</c:v>
                </c:pt>
                <c:pt idx="7919">
                  <c:v>-2.1848739495798301E-2</c:v>
                </c:pt>
                <c:pt idx="7920">
                  <c:v>-2.1848739495798301E-2</c:v>
                </c:pt>
                <c:pt idx="7921">
                  <c:v>-2.1008403361344501E-2</c:v>
                </c:pt>
                <c:pt idx="7922">
                  <c:v>-2.0168067226890699E-2</c:v>
                </c:pt>
                <c:pt idx="7923">
                  <c:v>-2.0168067226890699E-2</c:v>
                </c:pt>
                <c:pt idx="7924">
                  <c:v>-2.0168067226890699E-2</c:v>
                </c:pt>
                <c:pt idx="7925">
                  <c:v>-2.0168067226890699E-2</c:v>
                </c:pt>
                <c:pt idx="7926">
                  <c:v>-2.0168067226890699E-2</c:v>
                </c:pt>
                <c:pt idx="7927">
                  <c:v>-2.0168067226890699E-2</c:v>
                </c:pt>
                <c:pt idx="7928">
                  <c:v>-1.9327731092436899E-2</c:v>
                </c:pt>
                <c:pt idx="7929">
                  <c:v>-1.9327731092436899E-2</c:v>
                </c:pt>
                <c:pt idx="7930">
                  <c:v>-1.84873949579831E-2</c:v>
                </c:pt>
                <c:pt idx="7931">
                  <c:v>-1.7647058823529401E-2</c:v>
                </c:pt>
                <c:pt idx="7932">
                  <c:v>-1.7647058823529401E-2</c:v>
                </c:pt>
                <c:pt idx="7933">
                  <c:v>-1.7647058823529401E-2</c:v>
                </c:pt>
                <c:pt idx="7934">
                  <c:v>-1.7647058823529401E-2</c:v>
                </c:pt>
                <c:pt idx="7935">
                  <c:v>-1.7647058823529401E-2</c:v>
                </c:pt>
                <c:pt idx="7936">
                  <c:v>-1.7647058823529401E-2</c:v>
                </c:pt>
                <c:pt idx="7937">
                  <c:v>-1.7647058823529401E-2</c:v>
                </c:pt>
                <c:pt idx="7938">
                  <c:v>-1.7647058823529401E-2</c:v>
                </c:pt>
                <c:pt idx="7939">
                  <c:v>-1.6806722689075598E-2</c:v>
                </c:pt>
                <c:pt idx="7940">
                  <c:v>-1.6806722689075598E-2</c:v>
                </c:pt>
                <c:pt idx="7941">
                  <c:v>-1.6806722689075598E-2</c:v>
                </c:pt>
                <c:pt idx="7942">
                  <c:v>-1.6806722689075598E-2</c:v>
                </c:pt>
                <c:pt idx="7943">
                  <c:v>-1.6806722689075598E-2</c:v>
                </c:pt>
                <c:pt idx="7944">
                  <c:v>-1.6806722689075598E-2</c:v>
                </c:pt>
                <c:pt idx="7945">
                  <c:v>-1.6806722689075598E-2</c:v>
                </c:pt>
                <c:pt idx="7946">
                  <c:v>-1.6806722689075598E-2</c:v>
                </c:pt>
                <c:pt idx="7947">
                  <c:v>-1.6806722689075598E-2</c:v>
                </c:pt>
                <c:pt idx="7948">
                  <c:v>-1.6806722689075598E-2</c:v>
                </c:pt>
                <c:pt idx="7949">
                  <c:v>-1.6806722689075598E-2</c:v>
                </c:pt>
                <c:pt idx="7950">
                  <c:v>-1.6806722689075598E-2</c:v>
                </c:pt>
                <c:pt idx="7951">
                  <c:v>-1.6806722689075598E-2</c:v>
                </c:pt>
                <c:pt idx="7952">
                  <c:v>-1.6806722689075598E-2</c:v>
                </c:pt>
                <c:pt idx="7953">
                  <c:v>-1.6806722689075598E-2</c:v>
                </c:pt>
                <c:pt idx="7954">
                  <c:v>-1.6806722689075598E-2</c:v>
                </c:pt>
                <c:pt idx="7955">
                  <c:v>-1.6806722689075598E-2</c:v>
                </c:pt>
                <c:pt idx="7956">
                  <c:v>-1.6806722689075598E-2</c:v>
                </c:pt>
                <c:pt idx="7957">
                  <c:v>-1.6806722689075598E-2</c:v>
                </c:pt>
                <c:pt idx="7958">
                  <c:v>-1.6806722689075598E-2</c:v>
                </c:pt>
                <c:pt idx="7959">
                  <c:v>-1.6806722689075598E-2</c:v>
                </c:pt>
                <c:pt idx="7960">
                  <c:v>-1.6806722689075598E-2</c:v>
                </c:pt>
                <c:pt idx="7961">
                  <c:v>-1.7647058823529401E-2</c:v>
                </c:pt>
                <c:pt idx="7962">
                  <c:v>-1.7647058823529401E-2</c:v>
                </c:pt>
                <c:pt idx="7963">
                  <c:v>-1.7647058823529401E-2</c:v>
                </c:pt>
                <c:pt idx="7964">
                  <c:v>-1.7647058823529401E-2</c:v>
                </c:pt>
                <c:pt idx="7965">
                  <c:v>-1.7647058823529401E-2</c:v>
                </c:pt>
                <c:pt idx="7966">
                  <c:v>-1.7647058823529401E-2</c:v>
                </c:pt>
                <c:pt idx="7967">
                  <c:v>-1.7647058823529401E-2</c:v>
                </c:pt>
                <c:pt idx="7968">
                  <c:v>-1.7647058823529401E-2</c:v>
                </c:pt>
                <c:pt idx="7969">
                  <c:v>-1.7647058823529401E-2</c:v>
                </c:pt>
                <c:pt idx="7970">
                  <c:v>-1.7647058823529401E-2</c:v>
                </c:pt>
                <c:pt idx="7971">
                  <c:v>-1.7647058823529401E-2</c:v>
                </c:pt>
                <c:pt idx="7972">
                  <c:v>-1.7647058823529401E-2</c:v>
                </c:pt>
                <c:pt idx="7973">
                  <c:v>-1.7647058823529401E-2</c:v>
                </c:pt>
                <c:pt idx="7974">
                  <c:v>-1.7647058823529401E-2</c:v>
                </c:pt>
                <c:pt idx="7975">
                  <c:v>-1.7647058823529401E-2</c:v>
                </c:pt>
                <c:pt idx="7976">
                  <c:v>-1.7647058823529401E-2</c:v>
                </c:pt>
                <c:pt idx="7977">
                  <c:v>-1.7647058823529401E-2</c:v>
                </c:pt>
                <c:pt idx="7978">
                  <c:v>-1.7647058823529401E-2</c:v>
                </c:pt>
                <c:pt idx="7979">
                  <c:v>-1.7647058823529401E-2</c:v>
                </c:pt>
                <c:pt idx="7980">
                  <c:v>-1.7647058823529401E-2</c:v>
                </c:pt>
                <c:pt idx="7981">
                  <c:v>-1.7647058823529401E-2</c:v>
                </c:pt>
                <c:pt idx="7982">
                  <c:v>-1.7647058823529401E-2</c:v>
                </c:pt>
                <c:pt idx="7983">
                  <c:v>-1.7647058823529401E-2</c:v>
                </c:pt>
                <c:pt idx="7984">
                  <c:v>-1.7647058823529401E-2</c:v>
                </c:pt>
                <c:pt idx="7985">
                  <c:v>-1.7647058823529401E-2</c:v>
                </c:pt>
                <c:pt idx="7986">
                  <c:v>-1.7647058823529401E-2</c:v>
                </c:pt>
                <c:pt idx="7987">
                  <c:v>-1.7647058823529401E-2</c:v>
                </c:pt>
                <c:pt idx="7988">
                  <c:v>-1.7647058823529401E-2</c:v>
                </c:pt>
                <c:pt idx="7989">
                  <c:v>-1.7647058823529401E-2</c:v>
                </c:pt>
                <c:pt idx="7990">
                  <c:v>-1.7647058823529401E-2</c:v>
                </c:pt>
                <c:pt idx="7991">
                  <c:v>-1.7647058823529401E-2</c:v>
                </c:pt>
                <c:pt idx="7992">
                  <c:v>-1.7647058823529401E-2</c:v>
                </c:pt>
                <c:pt idx="7993">
                  <c:v>-1.7647058823529401E-2</c:v>
                </c:pt>
                <c:pt idx="7994">
                  <c:v>-1.7647058823529401E-2</c:v>
                </c:pt>
                <c:pt idx="7995">
                  <c:v>-1.7647058823529401E-2</c:v>
                </c:pt>
                <c:pt idx="7996">
                  <c:v>-1.7647058823529401E-2</c:v>
                </c:pt>
                <c:pt idx="7997">
                  <c:v>-1.7647058823529401E-2</c:v>
                </c:pt>
                <c:pt idx="7998">
                  <c:v>-1.7647058823529401E-2</c:v>
                </c:pt>
                <c:pt idx="7999">
                  <c:v>-1.7647058823529401E-2</c:v>
                </c:pt>
                <c:pt idx="8000">
                  <c:v>-1.7647058823529401E-2</c:v>
                </c:pt>
                <c:pt idx="8001">
                  <c:v>-1.84873949579831E-2</c:v>
                </c:pt>
                <c:pt idx="8002">
                  <c:v>-1.84873949579831E-2</c:v>
                </c:pt>
                <c:pt idx="8003">
                  <c:v>-1.84873949579831E-2</c:v>
                </c:pt>
                <c:pt idx="8004">
                  <c:v>-1.84873949579831E-2</c:v>
                </c:pt>
                <c:pt idx="8005">
                  <c:v>-1.84873949579831E-2</c:v>
                </c:pt>
                <c:pt idx="8006">
                  <c:v>-1.84873949579831E-2</c:v>
                </c:pt>
                <c:pt idx="8007">
                  <c:v>-1.84873949579831E-2</c:v>
                </c:pt>
                <c:pt idx="8008">
                  <c:v>-1.84873949579831E-2</c:v>
                </c:pt>
                <c:pt idx="8009">
                  <c:v>-1.84873949579831E-2</c:v>
                </c:pt>
                <c:pt idx="8010">
                  <c:v>-1.84873949579831E-2</c:v>
                </c:pt>
                <c:pt idx="8011">
                  <c:v>-1.84873949579831E-2</c:v>
                </c:pt>
                <c:pt idx="8012">
                  <c:v>-1.84873949579831E-2</c:v>
                </c:pt>
                <c:pt idx="8013">
                  <c:v>-1.84873949579831E-2</c:v>
                </c:pt>
                <c:pt idx="8014">
                  <c:v>-1.84873949579831E-2</c:v>
                </c:pt>
                <c:pt idx="8015">
                  <c:v>-1.7647058823529401E-2</c:v>
                </c:pt>
                <c:pt idx="8016">
                  <c:v>-1.7647058823529401E-2</c:v>
                </c:pt>
                <c:pt idx="8017">
                  <c:v>-1.7647058823529401E-2</c:v>
                </c:pt>
                <c:pt idx="8018">
                  <c:v>-1.7647058823529401E-2</c:v>
                </c:pt>
                <c:pt idx="8019">
                  <c:v>-1.7647058823529401E-2</c:v>
                </c:pt>
                <c:pt idx="8020">
                  <c:v>-1.7647058823529401E-2</c:v>
                </c:pt>
                <c:pt idx="8021">
                  <c:v>-1.7647058823529401E-2</c:v>
                </c:pt>
                <c:pt idx="8022">
                  <c:v>-1.7647058823529401E-2</c:v>
                </c:pt>
                <c:pt idx="8023">
                  <c:v>-1.7647058823529401E-2</c:v>
                </c:pt>
                <c:pt idx="8024">
                  <c:v>-1.7647058823529401E-2</c:v>
                </c:pt>
                <c:pt idx="8025">
                  <c:v>-1.7647058823529401E-2</c:v>
                </c:pt>
                <c:pt idx="8026">
                  <c:v>-1.7647058823529401E-2</c:v>
                </c:pt>
                <c:pt idx="8027">
                  <c:v>-1.84873949579831E-2</c:v>
                </c:pt>
                <c:pt idx="8028">
                  <c:v>-1.84873949579831E-2</c:v>
                </c:pt>
                <c:pt idx="8029">
                  <c:v>-1.84873949579831E-2</c:v>
                </c:pt>
                <c:pt idx="8030">
                  <c:v>-1.84873949579831E-2</c:v>
                </c:pt>
                <c:pt idx="8031">
                  <c:v>-1.84873949579831E-2</c:v>
                </c:pt>
                <c:pt idx="8032">
                  <c:v>-1.84873949579831E-2</c:v>
                </c:pt>
                <c:pt idx="8033">
                  <c:v>-1.84873949579831E-2</c:v>
                </c:pt>
                <c:pt idx="8034">
                  <c:v>-1.84873949579831E-2</c:v>
                </c:pt>
                <c:pt idx="8035">
                  <c:v>-1.84873949579831E-2</c:v>
                </c:pt>
                <c:pt idx="8036">
                  <c:v>-1.84873949579831E-2</c:v>
                </c:pt>
                <c:pt idx="8037">
                  <c:v>-1.84873949579831E-2</c:v>
                </c:pt>
                <c:pt idx="8038">
                  <c:v>-1.84873949579831E-2</c:v>
                </c:pt>
                <c:pt idx="8039">
                  <c:v>-1.84873949579831E-2</c:v>
                </c:pt>
                <c:pt idx="8040">
                  <c:v>-1.84873949579831E-2</c:v>
                </c:pt>
                <c:pt idx="8041">
                  <c:v>-1.84873949579831E-2</c:v>
                </c:pt>
                <c:pt idx="8042">
                  <c:v>-1.84873949579831E-2</c:v>
                </c:pt>
                <c:pt idx="8043">
                  <c:v>-1.84873949579831E-2</c:v>
                </c:pt>
                <c:pt idx="8044">
                  <c:v>-1.7647058823529401E-2</c:v>
                </c:pt>
                <c:pt idx="8045">
                  <c:v>-1.7647058823529401E-2</c:v>
                </c:pt>
                <c:pt idx="8046">
                  <c:v>-1.7647058823529401E-2</c:v>
                </c:pt>
                <c:pt idx="8047">
                  <c:v>-1.7647058823529401E-2</c:v>
                </c:pt>
                <c:pt idx="8048">
                  <c:v>-1.7647058823529401E-2</c:v>
                </c:pt>
                <c:pt idx="8049">
                  <c:v>-1.7647058823529401E-2</c:v>
                </c:pt>
                <c:pt idx="8050">
                  <c:v>-1.7647058823529401E-2</c:v>
                </c:pt>
                <c:pt idx="8051">
                  <c:v>-1.7647058823529401E-2</c:v>
                </c:pt>
                <c:pt idx="8052">
                  <c:v>-1.7647058823529401E-2</c:v>
                </c:pt>
                <c:pt idx="8053">
                  <c:v>-1.7647058823529401E-2</c:v>
                </c:pt>
                <c:pt idx="8054">
                  <c:v>-1.7647058823529401E-2</c:v>
                </c:pt>
                <c:pt idx="8055">
                  <c:v>-1.7647058823529401E-2</c:v>
                </c:pt>
                <c:pt idx="8056">
                  <c:v>-1.7647058823529401E-2</c:v>
                </c:pt>
                <c:pt idx="8057">
                  <c:v>-1.6806722689075598E-2</c:v>
                </c:pt>
                <c:pt idx="8058">
                  <c:v>-1.6806722689075598E-2</c:v>
                </c:pt>
                <c:pt idx="8059">
                  <c:v>-1.6806722689075598E-2</c:v>
                </c:pt>
                <c:pt idx="8060">
                  <c:v>-1.6806722689075598E-2</c:v>
                </c:pt>
                <c:pt idx="8061">
                  <c:v>-1.6806722689075598E-2</c:v>
                </c:pt>
                <c:pt idx="8062">
                  <c:v>-1.6806722689075598E-2</c:v>
                </c:pt>
                <c:pt idx="8063">
                  <c:v>-1.6806722689075598E-2</c:v>
                </c:pt>
                <c:pt idx="8064">
                  <c:v>-1.6806722689075598E-2</c:v>
                </c:pt>
                <c:pt idx="8065">
                  <c:v>-1.6806722689075598E-2</c:v>
                </c:pt>
                <c:pt idx="8066">
                  <c:v>-1.6806722689075598E-2</c:v>
                </c:pt>
                <c:pt idx="8067">
                  <c:v>-1.6806722689075598E-2</c:v>
                </c:pt>
                <c:pt idx="8068">
                  <c:v>-1.6806722689075598E-2</c:v>
                </c:pt>
                <c:pt idx="8069">
                  <c:v>-1.6806722689075598E-2</c:v>
                </c:pt>
                <c:pt idx="8070">
                  <c:v>-1.7647058823529401E-2</c:v>
                </c:pt>
                <c:pt idx="8071">
                  <c:v>-1.6806722689075598E-2</c:v>
                </c:pt>
                <c:pt idx="8072">
                  <c:v>-1.6806722689075598E-2</c:v>
                </c:pt>
                <c:pt idx="8073">
                  <c:v>-1.6806722689075598E-2</c:v>
                </c:pt>
                <c:pt idx="8074">
                  <c:v>-1.6806722689075598E-2</c:v>
                </c:pt>
                <c:pt idx="8075">
                  <c:v>-1.6806722689075598E-2</c:v>
                </c:pt>
                <c:pt idx="8076">
                  <c:v>-1.6806722689075598E-2</c:v>
                </c:pt>
                <c:pt idx="8077">
                  <c:v>-1.6806722689075598E-2</c:v>
                </c:pt>
                <c:pt idx="8078">
                  <c:v>-1.6806722689075598E-2</c:v>
                </c:pt>
                <c:pt idx="8079">
                  <c:v>-1.6806722689075598E-2</c:v>
                </c:pt>
                <c:pt idx="8080">
                  <c:v>-1.6806722689075598E-2</c:v>
                </c:pt>
                <c:pt idx="8081">
                  <c:v>-1.6806722689075598E-2</c:v>
                </c:pt>
                <c:pt idx="8082">
                  <c:v>-1.6806722689075598E-2</c:v>
                </c:pt>
                <c:pt idx="8083">
                  <c:v>-1.6806722689075598E-2</c:v>
                </c:pt>
                <c:pt idx="8084">
                  <c:v>-1.6806722689075598E-2</c:v>
                </c:pt>
                <c:pt idx="8085">
                  <c:v>-1.6806722689075598E-2</c:v>
                </c:pt>
                <c:pt idx="8086">
                  <c:v>-1.6806722689075598E-2</c:v>
                </c:pt>
                <c:pt idx="8087">
                  <c:v>-1.6806722689075598E-2</c:v>
                </c:pt>
                <c:pt idx="8088">
                  <c:v>-1.6806722689075598E-2</c:v>
                </c:pt>
                <c:pt idx="8089">
                  <c:v>-1.6806722689075598E-2</c:v>
                </c:pt>
                <c:pt idx="8090">
                  <c:v>-1.6806722689075598E-2</c:v>
                </c:pt>
                <c:pt idx="8091">
                  <c:v>-1.6806722689075598E-2</c:v>
                </c:pt>
                <c:pt idx="8092">
                  <c:v>-1.6806722689075598E-2</c:v>
                </c:pt>
                <c:pt idx="8093">
                  <c:v>-1.6806722689075598E-2</c:v>
                </c:pt>
                <c:pt idx="8094">
                  <c:v>-1.6806722689075598E-2</c:v>
                </c:pt>
                <c:pt idx="8095">
                  <c:v>-1.6806722689075598E-2</c:v>
                </c:pt>
                <c:pt idx="8096">
                  <c:v>-1.6806722689075598E-2</c:v>
                </c:pt>
                <c:pt idx="8097">
                  <c:v>-1.6806722689075598E-2</c:v>
                </c:pt>
                <c:pt idx="8098">
                  <c:v>-1.6806722689075598E-2</c:v>
                </c:pt>
                <c:pt idx="8099">
                  <c:v>-1.6806722689075598E-2</c:v>
                </c:pt>
                <c:pt idx="8100">
                  <c:v>-1.6806722689075598E-2</c:v>
                </c:pt>
                <c:pt idx="8101">
                  <c:v>-1.6806722689075598E-2</c:v>
                </c:pt>
                <c:pt idx="8102">
                  <c:v>-1.6806722689075598E-2</c:v>
                </c:pt>
                <c:pt idx="8103">
                  <c:v>-1.6806722689075598E-2</c:v>
                </c:pt>
                <c:pt idx="8104">
                  <c:v>-1.5966386554621799E-2</c:v>
                </c:pt>
                <c:pt idx="8105">
                  <c:v>-1.5966386554621799E-2</c:v>
                </c:pt>
                <c:pt idx="8106">
                  <c:v>-1.5966386554621799E-2</c:v>
                </c:pt>
                <c:pt idx="8107">
                  <c:v>-1.5966386554621799E-2</c:v>
                </c:pt>
                <c:pt idx="8108">
                  <c:v>-1.5966386554621799E-2</c:v>
                </c:pt>
                <c:pt idx="8109">
                  <c:v>-1.5966386554621799E-2</c:v>
                </c:pt>
                <c:pt idx="8110">
                  <c:v>-1.5966386554621799E-2</c:v>
                </c:pt>
                <c:pt idx="8111">
                  <c:v>-1.5966386554621799E-2</c:v>
                </c:pt>
                <c:pt idx="8112">
                  <c:v>-1.5966386554621799E-2</c:v>
                </c:pt>
                <c:pt idx="8113">
                  <c:v>-1.5966386554621799E-2</c:v>
                </c:pt>
                <c:pt idx="8114">
                  <c:v>-1.5966386554621799E-2</c:v>
                </c:pt>
                <c:pt idx="8115">
                  <c:v>-1.5966386554621799E-2</c:v>
                </c:pt>
                <c:pt idx="8116">
                  <c:v>-1.5966386554621799E-2</c:v>
                </c:pt>
                <c:pt idx="8117">
                  <c:v>-1.5966386554621799E-2</c:v>
                </c:pt>
                <c:pt idx="8118">
                  <c:v>-1.5966386554621799E-2</c:v>
                </c:pt>
                <c:pt idx="8119">
                  <c:v>-1.5966386554621799E-2</c:v>
                </c:pt>
                <c:pt idx="8120">
                  <c:v>-1.5966386554621799E-2</c:v>
                </c:pt>
                <c:pt idx="8121">
                  <c:v>-1.5966386554621799E-2</c:v>
                </c:pt>
                <c:pt idx="8122">
                  <c:v>-1.5966386554621799E-2</c:v>
                </c:pt>
                <c:pt idx="8123">
                  <c:v>-1.5966386554621799E-2</c:v>
                </c:pt>
                <c:pt idx="8124">
                  <c:v>-1.5966386554621799E-2</c:v>
                </c:pt>
                <c:pt idx="8125">
                  <c:v>-1.5966386554621799E-2</c:v>
                </c:pt>
                <c:pt idx="8126">
                  <c:v>-1.5966386554621799E-2</c:v>
                </c:pt>
                <c:pt idx="8127">
                  <c:v>-1.5966386554621799E-2</c:v>
                </c:pt>
                <c:pt idx="8128">
                  <c:v>-1.5966386554621799E-2</c:v>
                </c:pt>
                <c:pt idx="8129">
                  <c:v>-1.5966386554621799E-2</c:v>
                </c:pt>
                <c:pt idx="8130">
                  <c:v>-1.5966386554621799E-2</c:v>
                </c:pt>
                <c:pt idx="8131">
                  <c:v>-1.5966386554621799E-2</c:v>
                </c:pt>
                <c:pt idx="8132">
                  <c:v>-1.5966386554621799E-2</c:v>
                </c:pt>
                <c:pt idx="8133">
                  <c:v>-1.6806722689075598E-2</c:v>
                </c:pt>
                <c:pt idx="8134">
                  <c:v>-1.6806722689075598E-2</c:v>
                </c:pt>
                <c:pt idx="8135">
                  <c:v>-1.6806722689075598E-2</c:v>
                </c:pt>
                <c:pt idx="8136">
                  <c:v>-1.6806722689075598E-2</c:v>
                </c:pt>
                <c:pt idx="8137">
                  <c:v>-1.6806722689075598E-2</c:v>
                </c:pt>
                <c:pt idx="8138">
                  <c:v>-1.6806722689075598E-2</c:v>
                </c:pt>
                <c:pt idx="8139">
                  <c:v>-1.6806722689075598E-2</c:v>
                </c:pt>
                <c:pt idx="8140">
                  <c:v>-1.6806722689075598E-2</c:v>
                </c:pt>
                <c:pt idx="8141">
                  <c:v>-1.6806722689075598E-2</c:v>
                </c:pt>
                <c:pt idx="8142">
                  <c:v>-1.6806722689075598E-2</c:v>
                </c:pt>
                <c:pt idx="8143">
                  <c:v>-1.6806722689075598E-2</c:v>
                </c:pt>
                <c:pt idx="8144">
                  <c:v>-1.6806722689075598E-2</c:v>
                </c:pt>
                <c:pt idx="8145">
                  <c:v>-1.6806722689075598E-2</c:v>
                </c:pt>
                <c:pt idx="8146">
                  <c:v>-1.6806722689075598E-2</c:v>
                </c:pt>
                <c:pt idx="8147">
                  <c:v>-1.6806722689075598E-2</c:v>
                </c:pt>
                <c:pt idx="8148">
                  <c:v>-1.6806722689075598E-2</c:v>
                </c:pt>
                <c:pt idx="8149">
                  <c:v>-1.6806722689075598E-2</c:v>
                </c:pt>
                <c:pt idx="8150">
                  <c:v>-1.6806722689075598E-2</c:v>
                </c:pt>
                <c:pt idx="8151">
                  <c:v>-1.6806722689075598E-2</c:v>
                </c:pt>
                <c:pt idx="8152">
                  <c:v>-1.6806722689075598E-2</c:v>
                </c:pt>
                <c:pt idx="8153">
                  <c:v>-1.5966386554621799E-2</c:v>
                </c:pt>
                <c:pt idx="8154">
                  <c:v>-1.5966386554621799E-2</c:v>
                </c:pt>
                <c:pt idx="8155">
                  <c:v>-1.5966386554621799E-2</c:v>
                </c:pt>
                <c:pt idx="8156">
                  <c:v>-1.5966386554621799E-2</c:v>
                </c:pt>
                <c:pt idx="8157">
                  <c:v>-1.5966386554621799E-2</c:v>
                </c:pt>
                <c:pt idx="8158">
                  <c:v>-1.5966386554621799E-2</c:v>
                </c:pt>
                <c:pt idx="8159">
                  <c:v>-1.5966386554621799E-2</c:v>
                </c:pt>
                <c:pt idx="8160">
                  <c:v>-1.5966386554621799E-2</c:v>
                </c:pt>
                <c:pt idx="8161">
                  <c:v>-1.5966386554621799E-2</c:v>
                </c:pt>
                <c:pt idx="8162">
                  <c:v>-1.5966386554621799E-2</c:v>
                </c:pt>
                <c:pt idx="8163">
                  <c:v>-1.5966386554621799E-2</c:v>
                </c:pt>
                <c:pt idx="8164">
                  <c:v>-1.5966386554621799E-2</c:v>
                </c:pt>
                <c:pt idx="8165">
                  <c:v>-1.5966386554621799E-2</c:v>
                </c:pt>
                <c:pt idx="8166">
                  <c:v>-1.5966386554621799E-2</c:v>
                </c:pt>
                <c:pt idx="8167">
                  <c:v>-1.5966386554621799E-2</c:v>
                </c:pt>
                <c:pt idx="8168">
                  <c:v>-1.5966386554621799E-2</c:v>
                </c:pt>
                <c:pt idx="8169">
                  <c:v>-1.5966386554621799E-2</c:v>
                </c:pt>
                <c:pt idx="8170">
                  <c:v>-1.5966386554621799E-2</c:v>
                </c:pt>
                <c:pt idx="8171">
                  <c:v>-1.5966386554621799E-2</c:v>
                </c:pt>
                <c:pt idx="8172">
                  <c:v>-1.5966386554621799E-2</c:v>
                </c:pt>
                <c:pt idx="8173">
                  <c:v>-1.5966386554621799E-2</c:v>
                </c:pt>
                <c:pt idx="8174">
                  <c:v>-1.5966386554621799E-2</c:v>
                </c:pt>
                <c:pt idx="8175">
                  <c:v>-1.5966386554621799E-2</c:v>
                </c:pt>
                <c:pt idx="8176">
                  <c:v>-1.5966386554621799E-2</c:v>
                </c:pt>
                <c:pt idx="8177">
                  <c:v>-1.5966386554621799E-2</c:v>
                </c:pt>
                <c:pt idx="8178">
                  <c:v>-1.5966386554621799E-2</c:v>
                </c:pt>
                <c:pt idx="8179">
                  <c:v>-1.5126050420168E-2</c:v>
                </c:pt>
                <c:pt idx="8180">
                  <c:v>-1.5126050420168E-2</c:v>
                </c:pt>
                <c:pt idx="8181">
                  <c:v>-1.5126050420168E-2</c:v>
                </c:pt>
                <c:pt idx="8182">
                  <c:v>-1.5126050420168E-2</c:v>
                </c:pt>
                <c:pt idx="8183">
                  <c:v>-1.5126050420168E-2</c:v>
                </c:pt>
                <c:pt idx="8184">
                  <c:v>-1.5126050420168E-2</c:v>
                </c:pt>
                <c:pt idx="8185">
                  <c:v>-1.5126050420168E-2</c:v>
                </c:pt>
                <c:pt idx="8186">
                  <c:v>-1.5126050420168E-2</c:v>
                </c:pt>
                <c:pt idx="8187">
                  <c:v>-1.5126050420168E-2</c:v>
                </c:pt>
                <c:pt idx="8188">
                  <c:v>-1.5126050420168E-2</c:v>
                </c:pt>
                <c:pt idx="8189">
                  <c:v>-1.5126050420168E-2</c:v>
                </c:pt>
                <c:pt idx="8190">
                  <c:v>-1.5126050420168E-2</c:v>
                </c:pt>
                <c:pt idx="8191">
                  <c:v>-1.5126050420168E-2</c:v>
                </c:pt>
                <c:pt idx="8192">
                  <c:v>-1.5126050420168E-2</c:v>
                </c:pt>
                <c:pt idx="8193">
                  <c:v>-1.5126050420168E-2</c:v>
                </c:pt>
                <c:pt idx="8194">
                  <c:v>-1.5126050420168E-2</c:v>
                </c:pt>
                <c:pt idx="8195">
                  <c:v>-1.5126050420168E-2</c:v>
                </c:pt>
                <c:pt idx="8196">
                  <c:v>-1.5126050420168E-2</c:v>
                </c:pt>
                <c:pt idx="8197">
                  <c:v>-1.5126050420168E-2</c:v>
                </c:pt>
                <c:pt idx="8198">
                  <c:v>-1.5126050420168E-2</c:v>
                </c:pt>
                <c:pt idx="8199">
                  <c:v>-1.5126050420168E-2</c:v>
                </c:pt>
                <c:pt idx="8200">
                  <c:v>-1.5126050420168E-2</c:v>
                </c:pt>
                <c:pt idx="8201">
                  <c:v>-1.5126050420168E-2</c:v>
                </c:pt>
                <c:pt idx="8202">
                  <c:v>-1.5966386554621799E-2</c:v>
                </c:pt>
                <c:pt idx="8203">
                  <c:v>-1.5966386554621799E-2</c:v>
                </c:pt>
                <c:pt idx="8204">
                  <c:v>-1.5966386554621799E-2</c:v>
                </c:pt>
                <c:pt idx="8205">
                  <c:v>-1.5966386554621799E-2</c:v>
                </c:pt>
                <c:pt idx="8206">
                  <c:v>-1.5966386554621799E-2</c:v>
                </c:pt>
                <c:pt idx="8207">
                  <c:v>-1.5966386554621799E-2</c:v>
                </c:pt>
                <c:pt idx="8208">
                  <c:v>-1.5966386554621799E-2</c:v>
                </c:pt>
                <c:pt idx="8209">
                  <c:v>-1.5966386554621799E-2</c:v>
                </c:pt>
                <c:pt idx="8210">
                  <c:v>-1.5966386554621799E-2</c:v>
                </c:pt>
                <c:pt idx="8211">
                  <c:v>-1.5966386554621799E-2</c:v>
                </c:pt>
                <c:pt idx="8212">
                  <c:v>-1.5966386554621799E-2</c:v>
                </c:pt>
                <c:pt idx="8213">
                  <c:v>-1.5966386554621799E-2</c:v>
                </c:pt>
                <c:pt idx="8214">
                  <c:v>-1.5966386554621799E-2</c:v>
                </c:pt>
                <c:pt idx="8215">
                  <c:v>-1.5966386554621799E-2</c:v>
                </c:pt>
                <c:pt idx="8216">
                  <c:v>-1.5966386554621799E-2</c:v>
                </c:pt>
                <c:pt idx="8217">
                  <c:v>-1.5966386554621799E-2</c:v>
                </c:pt>
                <c:pt idx="8218">
                  <c:v>-1.5966386554621799E-2</c:v>
                </c:pt>
                <c:pt idx="8219">
                  <c:v>-1.5966386554621799E-2</c:v>
                </c:pt>
                <c:pt idx="8220">
                  <c:v>-1.5966386554621799E-2</c:v>
                </c:pt>
                <c:pt idx="8221">
                  <c:v>-1.5966386554621799E-2</c:v>
                </c:pt>
                <c:pt idx="8222">
                  <c:v>-1.5966386554621799E-2</c:v>
                </c:pt>
                <c:pt idx="8223">
                  <c:v>-1.5966386554621799E-2</c:v>
                </c:pt>
                <c:pt idx="8224">
                  <c:v>-1.5966386554621799E-2</c:v>
                </c:pt>
                <c:pt idx="8225">
                  <c:v>-1.5966386554621799E-2</c:v>
                </c:pt>
                <c:pt idx="8226">
                  <c:v>-1.5966386554621799E-2</c:v>
                </c:pt>
                <c:pt idx="8227">
                  <c:v>-1.5966386554621799E-2</c:v>
                </c:pt>
                <c:pt idx="8228">
                  <c:v>-1.5966386554621799E-2</c:v>
                </c:pt>
                <c:pt idx="8229">
                  <c:v>-1.5966386554621799E-2</c:v>
                </c:pt>
                <c:pt idx="8230">
                  <c:v>-1.5966386554621799E-2</c:v>
                </c:pt>
                <c:pt idx="8231">
                  <c:v>-1.5966386554621799E-2</c:v>
                </c:pt>
                <c:pt idx="8232">
                  <c:v>-1.6806722689075598E-2</c:v>
                </c:pt>
                <c:pt idx="8233">
                  <c:v>-1.6806722689075598E-2</c:v>
                </c:pt>
                <c:pt idx="8234">
                  <c:v>-1.6806722689075598E-2</c:v>
                </c:pt>
                <c:pt idx="8235">
                  <c:v>-1.6806722689075598E-2</c:v>
                </c:pt>
                <c:pt idx="8236">
                  <c:v>-1.6806722689075598E-2</c:v>
                </c:pt>
                <c:pt idx="8237">
                  <c:v>-1.6806722689075598E-2</c:v>
                </c:pt>
                <c:pt idx="8238">
                  <c:v>-1.6806722689075598E-2</c:v>
                </c:pt>
                <c:pt idx="8239">
                  <c:v>-1.6806722689075598E-2</c:v>
                </c:pt>
                <c:pt idx="8240">
                  <c:v>-1.6806722689075598E-2</c:v>
                </c:pt>
                <c:pt idx="8241">
                  <c:v>-1.6806722689075598E-2</c:v>
                </c:pt>
                <c:pt idx="8242">
                  <c:v>-1.6806722689075598E-2</c:v>
                </c:pt>
                <c:pt idx="8243">
                  <c:v>-1.5966386554621799E-2</c:v>
                </c:pt>
                <c:pt idx="8244">
                  <c:v>-1.5966386554621799E-2</c:v>
                </c:pt>
                <c:pt idx="8245">
                  <c:v>-1.5966386554621799E-2</c:v>
                </c:pt>
                <c:pt idx="8246">
                  <c:v>-1.5966386554621799E-2</c:v>
                </c:pt>
                <c:pt idx="8247">
                  <c:v>-1.5966386554621799E-2</c:v>
                </c:pt>
                <c:pt idx="8248">
                  <c:v>-1.5966386554621799E-2</c:v>
                </c:pt>
                <c:pt idx="8249">
                  <c:v>-1.5966386554621799E-2</c:v>
                </c:pt>
                <c:pt idx="8250">
                  <c:v>-1.5966386554621799E-2</c:v>
                </c:pt>
                <c:pt idx="8251">
                  <c:v>-1.5966386554621799E-2</c:v>
                </c:pt>
                <c:pt idx="8252">
                  <c:v>-1.5966386554621799E-2</c:v>
                </c:pt>
                <c:pt idx="8253">
                  <c:v>-1.5966386554621799E-2</c:v>
                </c:pt>
                <c:pt idx="8254">
                  <c:v>-1.5966386554621799E-2</c:v>
                </c:pt>
                <c:pt idx="8255">
                  <c:v>-1.5966386554621799E-2</c:v>
                </c:pt>
                <c:pt idx="8256">
                  <c:v>-1.5966386554621799E-2</c:v>
                </c:pt>
                <c:pt idx="8257">
                  <c:v>-1.5966386554621799E-2</c:v>
                </c:pt>
                <c:pt idx="8258">
                  <c:v>-1.5966386554621799E-2</c:v>
                </c:pt>
                <c:pt idx="8259">
                  <c:v>-1.5966386554621799E-2</c:v>
                </c:pt>
                <c:pt idx="8260">
                  <c:v>-1.5966386554621799E-2</c:v>
                </c:pt>
                <c:pt idx="8261">
                  <c:v>-1.5966386554621799E-2</c:v>
                </c:pt>
                <c:pt idx="8262">
                  <c:v>-1.5966386554621799E-2</c:v>
                </c:pt>
                <c:pt idx="8263">
                  <c:v>-1.5966386554621799E-2</c:v>
                </c:pt>
                <c:pt idx="8264">
                  <c:v>-1.5966386554621799E-2</c:v>
                </c:pt>
                <c:pt idx="8265">
                  <c:v>-1.5966386554621799E-2</c:v>
                </c:pt>
                <c:pt idx="8266">
                  <c:v>-1.5966386554621799E-2</c:v>
                </c:pt>
                <c:pt idx="8267">
                  <c:v>-1.5966386554621799E-2</c:v>
                </c:pt>
                <c:pt idx="8268">
                  <c:v>-1.5966386554621799E-2</c:v>
                </c:pt>
                <c:pt idx="8269">
                  <c:v>-1.5966386554621799E-2</c:v>
                </c:pt>
                <c:pt idx="8270">
                  <c:v>-1.5966386554621799E-2</c:v>
                </c:pt>
                <c:pt idx="8271">
                  <c:v>-1.5966386554621799E-2</c:v>
                </c:pt>
                <c:pt idx="8272">
                  <c:v>-1.5966386554621799E-2</c:v>
                </c:pt>
                <c:pt idx="8273">
                  <c:v>-1.5966386554621799E-2</c:v>
                </c:pt>
                <c:pt idx="8274">
                  <c:v>-1.5966386554621799E-2</c:v>
                </c:pt>
                <c:pt idx="8275">
                  <c:v>-1.5966386554621799E-2</c:v>
                </c:pt>
                <c:pt idx="8276">
                  <c:v>-1.5966386554621799E-2</c:v>
                </c:pt>
                <c:pt idx="8277">
                  <c:v>-1.5966386554621799E-2</c:v>
                </c:pt>
                <c:pt idx="8278">
                  <c:v>-1.5966386554621799E-2</c:v>
                </c:pt>
                <c:pt idx="8279">
                  <c:v>-1.5966386554621799E-2</c:v>
                </c:pt>
                <c:pt idx="8280">
                  <c:v>-1.5966386554621799E-2</c:v>
                </c:pt>
                <c:pt idx="8281">
                  <c:v>-1.5966386554621799E-2</c:v>
                </c:pt>
                <c:pt idx="8282">
                  <c:v>-1.5966386554621799E-2</c:v>
                </c:pt>
                <c:pt idx="8283">
                  <c:v>-1.5966386554621799E-2</c:v>
                </c:pt>
                <c:pt idx="8284">
                  <c:v>-1.5966386554621799E-2</c:v>
                </c:pt>
                <c:pt idx="8285">
                  <c:v>-1.5966386554621799E-2</c:v>
                </c:pt>
                <c:pt idx="8286">
                  <c:v>-1.5966386554621799E-2</c:v>
                </c:pt>
                <c:pt idx="8287">
                  <c:v>-1.5966386554621799E-2</c:v>
                </c:pt>
                <c:pt idx="8288">
                  <c:v>-1.5966386554621799E-2</c:v>
                </c:pt>
                <c:pt idx="8289">
                  <c:v>-1.5966386554621799E-2</c:v>
                </c:pt>
                <c:pt idx="8290">
                  <c:v>-1.5966386554621799E-2</c:v>
                </c:pt>
                <c:pt idx="8291">
                  <c:v>-1.6806722689075598E-2</c:v>
                </c:pt>
                <c:pt idx="8292">
                  <c:v>-1.6806722689075598E-2</c:v>
                </c:pt>
                <c:pt idx="8293">
                  <c:v>-1.6806722689075598E-2</c:v>
                </c:pt>
                <c:pt idx="8294">
                  <c:v>-1.6806722689075598E-2</c:v>
                </c:pt>
                <c:pt idx="8295">
                  <c:v>-1.6806722689075598E-2</c:v>
                </c:pt>
                <c:pt idx="8296">
                  <c:v>-1.6806722689075598E-2</c:v>
                </c:pt>
                <c:pt idx="8297">
                  <c:v>-1.6806722689075598E-2</c:v>
                </c:pt>
                <c:pt idx="8298">
                  <c:v>-1.6806722689075598E-2</c:v>
                </c:pt>
                <c:pt idx="8299">
                  <c:v>-1.7647058823529401E-2</c:v>
                </c:pt>
                <c:pt idx="8300">
                  <c:v>-1.7647058823529401E-2</c:v>
                </c:pt>
                <c:pt idx="8301">
                  <c:v>-1.7647058823529401E-2</c:v>
                </c:pt>
                <c:pt idx="8302">
                  <c:v>-1.7647058823529401E-2</c:v>
                </c:pt>
                <c:pt idx="8303">
                  <c:v>-1.7647058823529401E-2</c:v>
                </c:pt>
                <c:pt idx="8304">
                  <c:v>-1.7647058823529401E-2</c:v>
                </c:pt>
                <c:pt idx="8305">
                  <c:v>-1.7647058823529401E-2</c:v>
                </c:pt>
                <c:pt idx="8306">
                  <c:v>-1.7647058823529401E-2</c:v>
                </c:pt>
                <c:pt idx="8307">
                  <c:v>-1.7647058823529401E-2</c:v>
                </c:pt>
                <c:pt idx="8308">
                  <c:v>-1.7647058823529401E-2</c:v>
                </c:pt>
                <c:pt idx="8309">
                  <c:v>-1.7647058823529401E-2</c:v>
                </c:pt>
                <c:pt idx="8310">
                  <c:v>-1.7647058823529401E-2</c:v>
                </c:pt>
                <c:pt idx="8311">
                  <c:v>-1.7647058823529401E-2</c:v>
                </c:pt>
                <c:pt idx="8312">
                  <c:v>-1.7647058823529401E-2</c:v>
                </c:pt>
                <c:pt idx="8313">
                  <c:v>-1.7647058823529401E-2</c:v>
                </c:pt>
                <c:pt idx="8314">
                  <c:v>-1.7647058823529401E-2</c:v>
                </c:pt>
                <c:pt idx="8315">
                  <c:v>-1.7647058823529401E-2</c:v>
                </c:pt>
                <c:pt idx="8316">
                  <c:v>-1.7647058823529401E-2</c:v>
                </c:pt>
                <c:pt idx="8317">
                  <c:v>-1.7647058823529401E-2</c:v>
                </c:pt>
                <c:pt idx="8318">
                  <c:v>-1.7647058823529401E-2</c:v>
                </c:pt>
                <c:pt idx="8319">
                  <c:v>-1.7647058823529401E-2</c:v>
                </c:pt>
                <c:pt idx="8320">
                  <c:v>-1.7647058823529401E-2</c:v>
                </c:pt>
                <c:pt idx="8321">
                  <c:v>-1.7647058823529401E-2</c:v>
                </c:pt>
                <c:pt idx="8322">
                  <c:v>-1.84873949579831E-2</c:v>
                </c:pt>
                <c:pt idx="8323">
                  <c:v>-1.84873949579831E-2</c:v>
                </c:pt>
                <c:pt idx="8324">
                  <c:v>-1.84873949579831E-2</c:v>
                </c:pt>
                <c:pt idx="8325">
                  <c:v>-1.84873949579831E-2</c:v>
                </c:pt>
                <c:pt idx="8326">
                  <c:v>-1.84873949579831E-2</c:v>
                </c:pt>
                <c:pt idx="8327">
                  <c:v>-1.84873949579831E-2</c:v>
                </c:pt>
                <c:pt idx="8328">
                  <c:v>-1.84873949579831E-2</c:v>
                </c:pt>
                <c:pt idx="8329">
                  <c:v>-1.84873949579831E-2</c:v>
                </c:pt>
                <c:pt idx="8330">
                  <c:v>-1.84873949579831E-2</c:v>
                </c:pt>
                <c:pt idx="8331">
                  <c:v>-1.84873949579831E-2</c:v>
                </c:pt>
                <c:pt idx="8332">
                  <c:v>-1.84873949579831E-2</c:v>
                </c:pt>
                <c:pt idx="8333">
                  <c:v>-1.84873949579831E-2</c:v>
                </c:pt>
                <c:pt idx="8334">
                  <c:v>-1.84873949579831E-2</c:v>
                </c:pt>
                <c:pt idx="8335">
                  <c:v>-1.7647058823529401E-2</c:v>
                </c:pt>
                <c:pt idx="8336">
                  <c:v>-1.84873949579831E-2</c:v>
                </c:pt>
                <c:pt idx="8337">
                  <c:v>-1.84873949579831E-2</c:v>
                </c:pt>
                <c:pt idx="8338">
                  <c:v>-1.84873949579831E-2</c:v>
                </c:pt>
                <c:pt idx="8339">
                  <c:v>-1.84873949579831E-2</c:v>
                </c:pt>
                <c:pt idx="8340">
                  <c:v>-1.84873949579831E-2</c:v>
                </c:pt>
                <c:pt idx="8341">
                  <c:v>-1.84873949579831E-2</c:v>
                </c:pt>
                <c:pt idx="8342">
                  <c:v>-1.84873949579831E-2</c:v>
                </c:pt>
                <c:pt idx="8343">
                  <c:v>-1.84873949579831E-2</c:v>
                </c:pt>
                <c:pt idx="8344">
                  <c:v>-1.84873949579831E-2</c:v>
                </c:pt>
                <c:pt idx="8345">
                  <c:v>-1.84873949579831E-2</c:v>
                </c:pt>
                <c:pt idx="8346">
                  <c:v>-1.84873949579831E-2</c:v>
                </c:pt>
                <c:pt idx="8347">
                  <c:v>-1.84873949579831E-2</c:v>
                </c:pt>
                <c:pt idx="8348">
                  <c:v>-1.84873949579831E-2</c:v>
                </c:pt>
                <c:pt idx="8349">
                  <c:v>-1.84873949579831E-2</c:v>
                </c:pt>
                <c:pt idx="8350">
                  <c:v>-1.84873949579831E-2</c:v>
                </c:pt>
                <c:pt idx="8351">
                  <c:v>-1.84873949579831E-2</c:v>
                </c:pt>
                <c:pt idx="8352">
                  <c:v>-1.84873949579831E-2</c:v>
                </c:pt>
                <c:pt idx="8353">
                  <c:v>-1.84873949579831E-2</c:v>
                </c:pt>
                <c:pt idx="8354">
                  <c:v>-1.7647058823529401E-2</c:v>
                </c:pt>
                <c:pt idx="8355">
                  <c:v>-1.7647058823529401E-2</c:v>
                </c:pt>
                <c:pt idx="8356">
                  <c:v>-1.7647058823529401E-2</c:v>
                </c:pt>
                <c:pt idx="8357">
                  <c:v>-1.7647058823529401E-2</c:v>
                </c:pt>
                <c:pt idx="8358">
                  <c:v>-1.7647058823529401E-2</c:v>
                </c:pt>
                <c:pt idx="8359">
                  <c:v>-1.7647058823529401E-2</c:v>
                </c:pt>
                <c:pt idx="8360">
                  <c:v>-1.7647058823529401E-2</c:v>
                </c:pt>
                <c:pt idx="8361">
                  <c:v>-1.7647058823529401E-2</c:v>
                </c:pt>
                <c:pt idx="8362">
                  <c:v>-1.7647058823529401E-2</c:v>
                </c:pt>
                <c:pt idx="8363">
                  <c:v>-1.7647058823529401E-2</c:v>
                </c:pt>
                <c:pt idx="8364">
                  <c:v>-1.6806722689075598E-2</c:v>
                </c:pt>
                <c:pt idx="8365">
                  <c:v>-1.7647058823529401E-2</c:v>
                </c:pt>
                <c:pt idx="8366">
                  <c:v>-1.7647058823529401E-2</c:v>
                </c:pt>
                <c:pt idx="8367">
                  <c:v>-1.7647058823529401E-2</c:v>
                </c:pt>
                <c:pt idx="8368">
                  <c:v>-1.7647058823529401E-2</c:v>
                </c:pt>
                <c:pt idx="8369">
                  <c:v>-1.7647058823529401E-2</c:v>
                </c:pt>
                <c:pt idx="8370">
                  <c:v>-1.6806722689075598E-2</c:v>
                </c:pt>
                <c:pt idx="8371">
                  <c:v>-1.6806722689075598E-2</c:v>
                </c:pt>
                <c:pt idx="8372">
                  <c:v>-1.6806722689075598E-2</c:v>
                </c:pt>
                <c:pt idx="8373">
                  <c:v>-1.5966386554621799E-2</c:v>
                </c:pt>
                <c:pt idx="8374">
                  <c:v>-1.5966386554621799E-2</c:v>
                </c:pt>
                <c:pt idx="8375">
                  <c:v>-1.5966386554621799E-2</c:v>
                </c:pt>
                <c:pt idx="8376">
                  <c:v>-1.5966386554621799E-2</c:v>
                </c:pt>
                <c:pt idx="8377">
                  <c:v>-1.5966386554621799E-2</c:v>
                </c:pt>
                <c:pt idx="8378">
                  <c:v>-1.5966386554621799E-2</c:v>
                </c:pt>
                <c:pt idx="8379">
                  <c:v>-1.5966386554621799E-2</c:v>
                </c:pt>
                <c:pt idx="8380">
                  <c:v>-1.5966386554621799E-2</c:v>
                </c:pt>
                <c:pt idx="8381">
                  <c:v>-1.5966386554621799E-2</c:v>
                </c:pt>
                <c:pt idx="8382">
                  <c:v>-1.5966386554621799E-2</c:v>
                </c:pt>
                <c:pt idx="8383">
                  <c:v>-1.5126050420168E-2</c:v>
                </c:pt>
                <c:pt idx="8384">
                  <c:v>-1.5126050420168E-2</c:v>
                </c:pt>
                <c:pt idx="8385">
                  <c:v>-1.5126050420168E-2</c:v>
                </c:pt>
                <c:pt idx="8386">
                  <c:v>-1.5126050420168E-2</c:v>
                </c:pt>
                <c:pt idx="8387">
                  <c:v>-1.5126050420168E-2</c:v>
                </c:pt>
                <c:pt idx="8388">
                  <c:v>-1.5126050420168E-2</c:v>
                </c:pt>
                <c:pt idx="8389">
                  <c:v>-1.5126050420168E-2</c:v>
                </c:pt>
                <c:pt idx="8390">
                  <c:v>-1.5126050420168E-2</c:v>
                </c:pt>
                <c:pt idx="8391">
                  <c:v>-1.5126050420168E-2</c:v>
                </c:pt>
                <c:pt idx="8392">
                  <c:v>-1.5126050420168E-2</c:v>
                </c:pt>
                <c:pt idx="8393">
                  <c:v>-1.5126050420168E-2</c:v>
                </c:pt>
                <c:pt idx="8394">
                  <c:v>-1.5126050420168E-2</c:v>
                </c:pt>
                <c:pt idx="8395">
                  <c:v>-1.5126050420168E-2</c:v>
                </c:pt>
                <c:pt idx="8396">
                  <c:v>-1.5126050420168E-2</c:v>
                </c:pt>
                <c:pt idx="8397">
                  <c:v>-1.5126050420168E-2</c:v>
                </c:pt>
                <c:pt idx="8398">
                  <c:v>-1.5126050420168E-2</c:v>
                </c:pt>
                <c:pt idx="8399">
                  <c:v>-1.5126050420168E-2</c:v>
                </c:pt>
                <c:pt idx="8400">
                  <c:v>-1.5126050420168E-2</c:v>
                </c:pt>
                <c:pt idx="8401">
                  <c:v>-1.5126050420168E-2</c:v>
                </c:pt>
                <c:pt idx="8402">
                  <c:v>-1.5126050420168E-2</c:v>
                </c:pt>
                <c:pt idx="8403">
                  <c:v>-1.5126050420168E-2</c:v>
                </c:pt>
                <c:pt idx="8404">
                  <c:v>-1.5126050420168E-2</c:v>
                </c:pt>
                <c:pt idx="8405">
                  <c:v>-1.5126050420168E-2</c:v>
                </c:pt>
                <c:pt idx="8406">
                  <c:v>-1.5126050420168E-2</c:v>
                </c:pt>
                <c:pt idx="8407">
                  <c:v>-1.5126050420168E-2</c:v>
                </c:pt>
                <c:pt idx="8408">
                  <c:v>-1.5126050420168E-2</c:v>
                </c:pt>
                <c:pt idx="8409">
                  <c:v>-1.5126050420168E-2</c:v>
                </c:pt>
                <c:pt idx="8410">
                  <c:v>-1.5126050420168E-2</c:v>
                </c:pt>
                <c:pt idx="8411">
                  <c:v>-1.5126050420168E-2</c:v>
                </c:pt>
                <c:pt idx="8412">
                  <c:v>-1.5126050420168E-2</c:v>
                </c:pt>
                <c:pt idx="8413">
                  <c:v>-1.5126050420168E-2</c:v>
                </c:pt>
                <c:pt idx="8414">
                  <c:v>-1.42857142857142E-2</c:v>
                </c:pt>
                <c:pt idx="8415">
                  <c:v>-1.42857142857142E-2</c:v>
                </c:pt>
                <c:pt idx="8416">
                  <c:v>-1.42857142857142E-2</c:v>
                </c:pt>
                <c:pt idx="8417">
                  <c:v>-1.42857142857142E-2</c:v>
                </c:pt>
                <c:pt idx="8418">
                  <c:v>-1.42857142857142E-2</c:v>
                </c:pt>
                <c:pt idx="8419">
                  <c:v>-1.42857142857142E-2</c:v>
                </c:pt>
                <c:pt idx="8420">
                  <c:v>-1.5126050420168E-2</c:v>
                </c:pt>
                <c:pt idx="8421">
                  <c:v>-1.5126050420168E-2</c:v>
                </c:pt>
                <c:pt idx="8422">
                  <c:v>-1.5966386554621799E-2</c:v>
                </c:pt>
                <c:pt idx="8423">
                  <c:v>-1.5966386554621799E-2</c:v>
                </c:pt>
                <c:pt idx="8424">
                  <c:v>-1.5966386554621799E-2</c:v>
                </c:pt>
                <c:pt idx="8425">
                  <c:v>-1.5966386554621799E-2</c:v>
                </c:pt>
                <c:pt idx="8426">
                  <c:v>-1.5966386554621799E-2</c:v>
                </c:pt>
                <c:pt idx="8427">
                  <c:v>-1.5966386554621799E-2</c:v>
                </c:pt>
                <c:pt idx="8428">
                  <c:v>-1.5966386554621799E-2</c:v>
                </c:pt>
                <c:pt idx="8429">
                  <c:v>-1.5966386554621799E-2</c:v>
                </c:pt>
                <c:pt idx="8430">
                  <c:v>-1.5966386554621799E-2</c:v>
                </c:pt>
                <c:pt idx="8431">
                  <c:v>-1.5966386554621799E-2</c:v>
                </c:pt>
                <c:pt idx="8432">
                  <c:v>-1.5966386554621799E-2</c:v>
                </c:pt>
                <c:pt idx="8433">
                  <c:v>-1.5966386554621799E-2</c:v>
                </c:pt>
                <c:pt idx="8434">
                  <c:v>-1.5966386554621799E-2</c:v>
                </c:pt>
                <c:pt idx="8435">
                  <c:v>-1.5966386554621799E-2</c:v>
                </c:pt>
                <c:pt idx="8436">
                  <c:v>-1.5966386554621799E-2</c:v>
                </c:pt>
                <c:pt idx="8437">
                  <c:v>-1.5966386554621799E-2</c:v>
                </c:pt>
                <c:pt idx="8438">
                  <c:v>-1.5966386554621799E-2</c:v>
                </c:pt>
                <c:pt idx="8439">
                  <c:v>-1.5966386554621799E-2</c:v>
                </c:pt>
                <c:pt idx="8440">
                  <c:v>-1.5966386554621799E-2</c:v>
                </c:pt>
                <c:pt idx="8441">
                  <c:v>-1.5966386554621799E-2</c:v>
                </c:pt>
                <c:pt idx="8442">
                  <c:v>-1.5966386554621799E-2</c:v>
                </c:pt>
                <c:pt idx="8443">
                  <c:v>-1.5966386554621799E-2</c:v>
                </c:pt>
                <c:pt idx="8444">
                  <c:v>-1.5966386554621799E-2</c:v>
                </c:pt>
                <c:pt idx="8445">
                  <c:v>-1.5966386554621799E-2</c:v>
                </c:pt>
                <c:pt idx="8446">
                  <c:v>-1.5966386554621799E-2</c:v>
                </c:pt>
                <c:pt idx="8447">
                  <c:v>-1.5966386554621799E-2</c:v>
                </c:pt>
                <c:pt idx="8448">
                  <c:v>-1.5966386554621799E-2</c:v>
                </c:pt>
                <c:pt idx="8449">
                  <c:v>-1.5966386554621799E-2</c:v>
                </c:pt>
                <c:pt idx="8450">
                  <c:v>-1.5966386554621799E-2</c:v>
                </c:pt>
                <c:pt idx="8451">
                  <c:v>-1.5966386554621799E-2</c:v>
                </c:pt>
                <c:pt idx="8452">
                  <c:v>-1.5966386554621799E-2</c:v>
                </c:pt>
                <c:pt idx="8453">
                  <c:v>-1.6806722689075598E-2</c:v>
                </c:pt>
                <c:pt idx="8454">
                  <c:v>-1.6806722689075598E-2</c:v>
                </c:pt>
                <c:pt idx="8455">
                  <c:v>-1.6806722689075598E-2</c:v>
                </c:pt>
                <c:pt idx="8456">
                  <c:v>-1.6806722689075598E-2</c:v>
                </c:pt>
                <c:pt idx="8457">
                  <c:v>-1.6806722689075598E-2</c:v>
                </c:pt>
                <c:pt idx="8458">
                  <c:v>-1.6806722689075598E-2</c:v>
                </c:pt>
                <c:pt idx="8459">
                  <c:v>-1.6806722689075598E-2</c:v>
                </c:pt>
                <c:pt idx="8460">
                  <c:v>-1.6806722689075598E-2</c:v>
                </c:pt>
                <c:pt idx="8461">
                  <c:v>-1.6806722689075598E-2</c:v>
                </c:pt>
                <c:pt idx="8462">
                  <c:v>-1.6806722689075598E-2</c:v>
                </c:pt>
                <c:pt idx="8463">
                  <c:v>-1.6806722689075598E-2</c:v>
                </c:pt>
                <c:pt idx="8464">
                  <c:v>-1.6806722689075598E-2</c:v>
                </c:pt>
                <c:pt idx="8465">
                  <c:v>-1.6806722689075598E-2</c:v>
                </c:pt>
                <c:pt idx="8466">
                  <c:v>-1.6806722689075598E-2</c:v>
                </c:pt>
                <c:pt idx="8467">
                  <c:v>-1.6806722689075598E-2</c:v>
                </c:pt>
                <c:pt idx="8468">
                  <c:v>-1.6806722689075598E-2</c:v>
                </c:pt>
                <c:pt idx="8469">
                  <c:v>-1.6806722689075598E-2</c:v>
                </c:pt>
                <c:pt idx="8470">
                  <c:v>-1.6806722689075598E-2</c:v>
                </c:pt>
                <c:pt idx="8471">
                  <c:v>-1.6806722689075598E-2</c:v>
                </c:pt>
                <c:pt idx="8472">
                  <c:v>-1.6806722689075598E-2</c:v>
                </c:pt>
                <c:pt idx="8473">
                  <c:v>-1.6806722689075598E-2</c:v>
                </c:pt>
                <c:pt idx="8474">
                  <c:v>-1.6806722689075598E-2</c:v>
                </c:pt>
                <c:pt idx="8475">
                  <c:v>-1.6806722689075598E-2</c:v>
                </c:pt>
                <c:pt idx="8476">
                  <c:v>-1.6806722689075598E-2</c:v>
                </c:pt>
                <c:pt idx="8477">
                  <c:v>-1.6806722689075598E-2</c:v>
                </c:pt>
                <c:pt idx="8478">
                  <c:v>-1.6806722689075598E-2</c:v>
                </c:pt>
                <c:pt idx="8479">
                  <c:v>-1.6806722689075598E-2</c:v>
                </c:pt>
                <c:pt idx="8480">
                  <c:v>-1.6806722689075598E-2</c:v>
                </c:pt>
                <c:pt idx="8481">
                  <c:v>-1.6806722689075598E-2</c:v>
                </c:pt>
                <c:pt idx="8482">
                  <c:v>-1.7647058823529401E-2</c:v>
                </c:pt>
                <c:pt idx="8483">
                  <c:v>-1.7647058823529401E-2</c:v>
                </c:pt>
                <c:pt idx="8484">
                  <c:v>-1.7647058823529401E-2</c:v>
                </c:pt>
                <c:pt idx="8485">
                  <c:v>-1.7647058823529401E-2</c:v>
                </c:pt>
                <c:pt idx="8486">
                  <c:v>-1.7647058823529401E-2</c:v>
                </c:pt>
                <c:pt idx="8487">
                  <c:v>-1.7647058823529401E-2</c:v>
                </c:pt>
                <c:pt idx="8488">
                  <c:v>-1.7647058823529401E-2</c:v>
                </c:pt>
                <c:pt idx="8489">
                  <c:v>-1.6806722689075598E-2</c:v>
                </c:pt>
                <c:pt idx="8490">
                  <c:v>-1.6806722689075598E-2</c:v>
                </c:pt>
                <c:pt idx="8491">
                  <c:v>-1.6806722689075598E-2</c:v>
                </c:pt>
                <c:pt idx="8492">
                  <c:v>-1.6806722689075598E-2</c:v>
                </c:pt>
                <c:pt idx="8493">
                  <c:v>-1.6806722689075598E-2</c:v>
                </c:pt>
                <c:pt idx="8494">
                  <c:v>-1.6806722689075598E-2</c:v>
                </c:pt>
                <c:pt idx="8495">
                  <c:v>-1.6806722689075598E-2</c:v>
                </c:pt>
                <c:pt idx="8496">
                  <c:v>-1.6806722689075598E-2</c:v>
                </c:pt>
                <c:pt idx="8497">
                  <c:v>-1.6806722689075598E-2</c:v>
                </c:pt>
                <c:pt idx="8498">
                  <c:v>-1.6806722689075598E-2</c:v>
                </c:pt>
                <c:pt idx="8499">
                  <c:v>-1.6806722689075598E-2</c:v>
                </c:pt>
                <c:pt idx="8500">
                  <c:v>-1.6806722689075598E-2</c:v>
                </c:pt>
                <c:pt idx="8501">
                  <c:v>-1.6806722689075598E-2</c:v>
                </c:pt>
                <c:pt idx="8502">
                  <c:v>-1.6806722689075598E-2</c:v>
                </c:pt>
                <c:pt idx="8503">
                  <c:v>-1.6806722689075598E-2</c:v>
                </c:pt>
                <c:pt idx="8504">
                  <c:v>-1.6806722689075598E-2</c:v>
                </c:pt>
                <c:pt idx="8505">
                  <c:v>-1.6806722689075598E-2</c:v>
                </c:pt>
                <c:pt idx="8506">
                  <c:v>-1.6806722689075598E-2</c:v>
                </c:pt>
                <c:pt idx="8507">
                  <c:v>-1.6806722689075598E-2</c:v>
                </c:pt>
                <c:pt idx="8508">
                  <c:v>-1.6806722689075598E-2</c:v>
                </c:pt>
                <c:pt idx="8509">
                  <c:v>-1.6806722689075598E-2</c:v>
                </c:pt>
                <c:pt idx="8510">
                  <c:v>-1.6806722689075598E-2</c:v>
                </c:pt>
                <c:pt idx="8511">
                  <c:v>-1.6806722689075598E-2</c:v>
                </c:pt>
                <c:pt idx="8512">
                  <c:v>-1.6806722689075598E-2</c:v>
                </c:pt>
                <c:pt idx="8513">
                  <c:v>-1.6806722689075598E-2</c:v>
                </c:pt>
                <c:pt idx="8514">
                  <c:v>-1.6806722689075598E-2</c:v>
                </c:pt>
                <c:pt idx="8515">
                  <c:v>-1.6806722689075598E-2</c:v>
                </c:pt>
                <c:pt idx="8516">
                  <c:v>-1.6806722689075598E-2</c:v>
                </c:pt>
                <c:pt idx="8517">
                  <c:v>-1.6806722689075598E-2</c:v>
                </c:pt>
                <c:pt idx="8518">
                  <c:v>-1.6806722689075598E-2</c:v>
                </c:pt>
                <c:pt idx="8519">
                  <c:v>-1.6806722689075598E-2</c:v>
                </c:pt>
                <c:pt idx="8520">
                  <c:v>-1.6806722689075598E-2</c:v>
                </c:pt>
                <c:pt idx="8521">
                  <c:v>-1.6806722689075598E-2</c:v>
                </c:pt>
                <c:pt idx="8522">
                  <c:v>-1.6806722689075598E-2</c:v>
                </c:pt>
                <c:pt idx="8523">
                  <c:v>-1.6806722689075598E-2</c:v>
                </c:pt>
                <c:pt idx="8524">
                  <c:v>-1.6806722689075598E-2</c:v>
                </c:pt>
                <c:pt idx="8525">
                  <c:v>-1.6806722689075598E-2</c:v>
                </c:pt>
                <c:pt idx="8526">
                  <c:v>-1.6806722689075598E-2</c:v>
                </c:pt>
                <c:pt idx="8527">
                  <c:v>-1.6806722689075598E-2</c:v>
                </c:pt>
                <c:pt idx="8528">
                  <c:v>-1.6806722689075598E-2</c:v>
                </c:pt>
                <c:pt idx="8529">
                  <c:v>-1.6806722689075598E-2</c:v>
                </c:pt>
                <c:pt idx="8530">
                  <c:v>-1.6806722689075598E-2</c:v>
                </c:pt>
                <c:pt idx="8531">
                  <c:v>-1.6806722689075598E-2</c:v>
                </c:pt>
                <c:pt idx="8532">
                  <c:v>-1.6806722689075598E-2</c:v>
                </c:pt>
                <c:pt idx="8533">
                  <c:v>-1.6806722689075598E-2</c:v>
                </c:pt>
                <c:pt idx="8534">
                  <c:v>-1.6806722689075598E-2</c:v>
                </c:pt>
                <c:pt idx="8535">
                  <c:v>-1.6806722689075598E-2</c:v>
                </c:pt>
                <c:pt idx="8536">
                  <c:v>-1.6806722689075598E-2</c:v>
                </c:pt>
                <c:pt idx="8537">
                  <c:v>-1.6806722689075598E-2</c:v>
                </c:pt>
                <c:pt idx="8538">
                  <c:v>-1.6806722689075598E-2</c:v>
                </c:pt>
                <c:pt idx="8539">
                  <c:v>-1.7647058823529401E-2</c:v>
                </c:pt>
                <c:pt idx="8540">
                  <c:v>-1.7647058823529401E-2</c:v>
                </c:pt>
                <c:pt idx="8541">
                  <c:v>-1.7647058823529401E-2</c:v>
                </c:pt>
                <c:pt idx="8542">
                  <c:v>-1.7647058823529401E-2</c:v>
                </c:pt>
                <c:pt idx="8543">
                  <c:v>-1.7647058823529401E-2</c:v>
                </c:pt>
                <c:pt idx="8544">
                  <c:v>-1.7647058823529401E-2</c:v>
                </c:pt>
                <c:pt idx="8545">
                  <c:v>-1.7647058823529401E-2</c:v>
                </c:pt>
                <c:pt idx="8546">
                  <c:v>-1.7647058823529401E-2</c:v>
                </c:pt>
                <c:pt idx="8547">
                  <c:v>-1.7647058823529401E-2</c:v>
                </c:pt>
                <c:pt idx="8548">
                  <c:v>-1.7647058823529401E-2</c:v>
                </c:pt>
                <c:pt idx="8549">
                  <c:v>-1.6806722689075598E-2</c:v>
                </c:pt>
                <c:pt idx="8550">
                  <c:v>-1.6806722689075598E-2</c:v>
                </c:pt>
                <c:pt idx="8551">
                  <c:v>-1.5966386554621799E-2</c:v>
                </c:pt>
                <c:pt idx="8552">
                  <c:v>-1.5966386554621799E-2</c:v>
                </c:pt>
                <c:pt idx="8553">
                  <c:v>-1.5966386554621799E-2</c:v>
                </c:pt>
                <c:pt idx="8554">
                  <c:v>-1.5966386554621799E-2</c:v>
                </c:pt>
                <c:pt idx="8555">
                  <c:v>-1.5966386554621799E-2</c:v>
                </c:pt>
                <c:pt idx="8556">
                  <c:v>-1.5966386554621799E-2</c:v>
                </c:pt>
                <c:pt idx="8557">
                  <c:v>-1.5966386554621799E-2</c:v>
                </c:pt>
                <c:pt idx="8558">
                  <c:v>-1.5966386554621799E-2</c:v>
                </c:pt>
                <c:pt idx="8559">
                  <c:v>-1.5966386554621799E-2</c:v>
                </c:pt>
                <c:pt idx="8560">
                  <c:v>-1.5966386554621799E-2</c:v>
                </c:pt>
                <c:pt idx="8561">
                  <c:v>-1.5966386554621799E-2</c:v>
                </c:pt>
                <c:pt idx="8562">
                  <c:v>-1.5966386554621799E-2</c:v>
                </c:pt>
                <c:pt idx="8563">
                  <c:v>-1.5966386554621799E-2</c:v>
                </c:pt>
                <c:pt idx="8564">
                  <c:v>-1.5966386554621799E-2</c:v>
                </c:pt>
                <c:pt idx="8565">
                  <c:v>-1.5966386554621799E-2</c:v>
                </c:pt>
                <c:pt idx="8566">
                  <c:v>-1.5966386554621799E-2</c:v>
                </c:pt>
                <c:pt idx="8567">
                  <c:v>-1.5966386554621799E-2</c:v>
                </c:pt>
                <c:pt idx="8568">
                  <c:v>-1.5966386554621799E-2</c:v>
                </c:pt>
                <c:pt idx="8569">
                  <c:v>-1.5966386554621799E-2</c:v>
                </c:pt>
                <c:pt idx="8570">
                  <c:v>-1.5966386554621799E-2</c:v>
                </c:pt>
                <c:pt idx="8571">
                  <c:v>-1.5966386554621799E-2</c:v>
                </c:pt>
                <c:pt idx="8572">
                  <c:v>-1.5966386554621799E-2</c:v>
                </c:pt>
                <c:pt idx="8573">
                  <c:v>-1.5966386554621799E-2</c:v>
                </c:pt>
                <c:pt idx="8574">
                  <c:v>-1.5966386554621799E-2</c:v>
                </c:pt>
                <c:pt idx="8575">
                  <c:v>-1.5966386554621799E-2</c:v>
                </c:pt>
                <c:pt idx="8576">
                  <c:v>-1.5966386554621799E-2</c:v>
                </c:pt>
                <c:pt idx="8577">
                  <c:v>-1.5966386554621799E-2</c:v>
                </c:pt>
                <c:pt idx="8578">
                  <c:v>-1.5966386554621799E-2</c:v>
                </c:pt>
                <c:pt idx="8579">
                  <c:v>-1.5966386554621799E-2</c:v>
                </c:pt>
                <c:pt idx="8580">
                  <c:v>-1.5966386554621799E-2</c:v>
                </c:pt>
                <c:pt idx="8581">
                  <c:v>-1.5966386554621799E-2</c:v>
                </c:pt>
                <c:pt idx="8582">
                  <c:v>-1.5966386554621799E-2</c:v>
                </c:pt>
                <c:pt idx="8583">
                  <c:v>-1.5966386554621799E-2</c:v>
                </c:pt>
                <c:pt idx="8584">
                  <c:v>-1.5966386554621799E-2</c:v>
                </c:pt>
                <c:pt idx="8585">
                  <c:v>-1.5966386554621799E-2</c:v>
                </c:pt>
                <c:pt idx="8586">
                  <c:v>-1.5966386554621799E-2</c:v>
                </c:pt>
                <c:pt idx="8587">
                  <c:v>-1.5966386554621799E-2</c:v>
                </c:pt>
                <c:pt idx="8588">
                  <c:v>-1.5966386554621799E-2</c:v>
                </c:pt>
                <c:pt idx="8589">
                  <c:v>-1.5966386554621799E-2</c:v>
                </c:pt>
                <c:pt idx="8590">
                  <c:v>-1.5966386554621799E-2</c:v>
                </c:pt>
                <c:pt idx="8591">
                  <c:v>-1.6806722689075598E-2</c:v>
                </c:pt>
                <c:pt idx="8592">
                  <c:v>-1.6806722689075598E-2</c:v>
                </c:pt>
                <c:pt idx="8593">
                  <c:v>-1.6806722689075598E-2</c:v>
                </c:pt>
                <c:pt idx="8594">
                  <c:v>-1.6806722689075598E-2</c:v>
                </c:pt>
                <c:pt idx="8595">
                  <c:v>-1.5966386554621799E-2</c:v>
                </c:pt>
                <c:pt idx="8596">
                  <c:v>-1.5966386554621799E-2</c:v>
                </c:pt>
                <c:pt idx="8597">
                  <c:v>-1.5126050420168E-2</c:v>
                </c:pt>
                <c:pt idx="8598">
                  <c:v>-1.5126050420168E-2</c:v>
                </c:pt>
                <c:pt idx="8599">
                  <c:v>-1.5126050420168E-2</c:v>
                </c:pt>
                <c:pt idx="8600">
                  <c:v>-1.5126050420168E-2</c:v>
                </c:pt>
                <c:pt idx="8601">
                  <c:v>-1.5126050420168E-2</c:v>
                </c:pt>
                <c:pt idx="8602">
                  <c:v>-1.5126050420168E-2</c:v>
                </c:pt>
                <c:pt idx="8603">
                  <c:v>-1.5126050420168E-2</c:v>
                </c:pt>
                <c:pt idx="8604">
                  <c:v>-1.5126050420168E-2</c:v>
                </c:pt>
                <c:pt idx="8605">
                  <c:v>-1.5126050420168E-2</c:v>
                </c:pt>
                <c:pt idx="8606">
                  <c:v>-1.5126050420168E-2</c:v>
                </c:pt>
                <c:pt idx="8607">
                  <c:v>-1.5126050420168E-2</c:v>
                </c:pt>
                <c:pt idx="8608">
                  <c:v>-1.5126050420168E-2</c:v>
                </c:pt>
                <c:pt idx="8609">
                  <c:v>-1.5126050420168E-2</c:v>
                </c:pt>
                <c:pt idx="8610">
                  <c:v>-1.5126050420168E-2</c:v>
                </c:pt>
                <c:pt idx="8611">
                  <c:v>-1.5126050420168E-2</c:v>
                </c:pt>
                <c:pt idx="8612">
                  <c:v>-1.5126050420168E-2</c:v>
                </c:pt>
                <c:pt idx="8613">
                  <c:v>-1.5126050420168E-2</c:v>
                </c:pt>
                <c:pt idx="8614">
                  <c:v>-1.5126050420168E-2</c:v>
                </c:pt>
                <c:pt idx="8615">
                  <c:v>-1.5126050420168E-2</c:v>
                </c:pt>
                <c:pt idx="8616">
                  <c:v>-1.5126050420168E-2</c:v>
                </c:pt>
                <c:pt idx="8617">
                  <c:v>-1.5126050420168E-2</c:v>
                </c:pt>
                <c:pt idx="8618">
                  <c:v>-1.5126050420168E-2</c:v>
                </c:pt>
                <c:pt idx="8619">
                  <c:v>-1.5126050420168E-2</c:v>
                </c:pt>
                <c:pt idx="8620">
                  <c:v>-1.5126050420168E-2</c:v>
                </c:pt>
                <c:pt idx="8621">
                  <c:v>-1.5126050420168E-2</c:v>
                </c:pt>
                <c:pt idx="8622">
                  <c:v>-1.42857142857142E-2</c:v>
                </c:pt>
                <c:pt idx="8623">
                  <c:v>-1.34453781512605E-2</c:v>
                </c:pt>
                <c:pt idx="8624">
                  <c:v>-1.34453781512605E-2</c:v>
                </c:pt>
                <c:pt idx="8625">
                  <c:v>-1.34453781512605E-2</c:v>
                </c:pt>
                <c:pt idx="8626">
                  <c:v>-1.34453781512605E-2</c:v>
                </c:pt>
                <c:pt idx="8627">
                  <c:v>-1.34453781512605E-2</c:v>
                </c:pt>
                <c:pt idx="8628">
                  <c:v>-1.34453781512605E-2</c:v>
                </c:pt>
                <c:pt idx="8629">
                  <c:v>-1.34453781512605E-2</c:v>
                </c:pt>
                <c:pt idx="8630">
                  <c:v>-1.34453781512605E-2</c:v>
                </c:pt>
                <c:pt idx="8631">
                  <c:v>-1.34453781512605E-2</c:v>
                </c:pt>
                <c:pt idx="8632">
                  <c:v>-1.34453781512605E-2</c:v>
                </c:pt>
                <c:pt idx="8633">
                  <c:v>-1.26050420168067E-2</c:v>
                </c:pt>
                <c:pt idx="8634">
                  <c:v>-1.26050420168067E-2</c:v>
                </c:pt>
                <c:pt idx="8635">
                  <c:v>-1.26050420168067E-2</c:v>
                </c:pt>
                <c:pt idx="8636">
                  <c:v>-1.26050420168067E-2</c:v>
                </c:pt>
                <c:pt idx="8637">
                  <c:v>-1.26050420168067E-2</c:v>
                </c:pt>
                <c:pt idx="8638">
                  <c:v>-1.26050420168067E-2</c:v>
                </c:pt>
                <c:pt idx="8639">
                  <c:v>-1.26050420168067E-2</c:v>
                </c:pt>
                <c:pt idx="8640">
                  <c:v>-1.26050420168067E-2</c:v>
                </c:pt>
                <c:pt idx="8641">
                  <c:v>-1.1764705882352899E-2</c:v>
                </c:pt>
                <c:pt idx="8642">
                  <c:v>-1.1764705882352899E-2</c:v>
                </c:pt>
                <c:pt idx="8643">
                  <c:v>-1.1764705882352899E-2</c:v>
                </c:pt>
                <c:pt idx="8644">
                  <c:v>-1.09243697478991E-2</c:v>
                </c:pt>
                <c:pt idx="8645">
                  <c:v>-1.09243697478991E-2</c:v>
                </c:pt>
                <c:pt idx="8646">
                  <c:v>-1.09243697478991E-2</c:v>
                </c:pt>
                <c:pt idx="8647">
                  <c:v>-1.09243697478991E-2</c:v>
                </c:pt>
                <c:pt idx="8648">
                  <c:v>-1.09243697478991E-2</c:v>
                </c:pt>
                <c:pt idx="8649">
                  <c:v>-1.09243697478991E-2</c:v>
                </c:pt>
                <c:pt idx="8650">
                  <c:v>-1.09243697478991E-2</c:v>
                </c:pt>
                <c:pt idx="8651">
                  <c:v>-1.09243697478991E-2</c:v>
                </c:pt>
                <c:pt idx="8652">
                  <c:v>-1.09243697478991E-2</c:v>
                </c:pt>
                <c:pt idx="8653">
                  <c:v>-1.09243697478991E-2</c:v>
                </c:pt>
                <c:pt idx="8654">
                  <c:v>-1.09243697478991E-2</c:v>
                </c:pt>
                <c:pt idx="8655">
                  <c:v>-1.09243697478991E-2</c:v>
                </c:pt>
                <c:pt idx="8656">
                  <c:v>-1.09243697478991E-2</c:v>
                </c:pt>
                <c:pt idx="8657">
                  <c:v>-1.09243697478991E-2</c:v>
                </c:pt>
                <c:pt idx="8658">
                  <c:v>-1.09243697478991E-2</c:v>
                </c:pt>
                <c:pt idx="8659">
                  <c:v>-1.09243697478991E-2</c:v>
                </c:pt>
                <c:pt idx="8660">
                  <c:v>-1.09243697478991E-2</c:v>
                </c:pt>
                <c:pt idx="8661">
                  <c:v>-1.09243697478991E-2</c:v>
                </c:pt>
                <c:pt idx="8662">
                  <c:v>-1.09243697478991E-2</c:v>
                </c:pt>
                <c:pt idx="8663">
                  <c:v>-1.09243697478991E-2</c:v>
                </c:pt>
                <c:pt idx="8664">
                  <c:v>-1.09243697478991E-2</c:v>
                </c:pt>
                <c:pt idx="8665">
                  <c:v>-1.09243697478991E-2</c:v>
                </c:pt>
                <c:pt idx="8666">
                  <c:v>-1.0084033613445301E-2</c:v>
                </c:pt>
                <c:pt idx="8667">
                  <c:v>-1.0084033613445301E-2</c:v>
                </c:pt>
                <c:pt idx="8668">
                  <c:v>-1.0084033613445301E-2</c:v>
                </c:pt>
                <c:pt idx="8669">
                  <c:v>-1.0084033613445301E-2</c:v>
                </c:pt>
                <c:pt idx="8670">
                  <c:v>-1.0084033613445301E-2</c:v>
                </c:pt>
                <c:pt idx="8671">
                  <c:v>-1.0084033613445301E-2</c:v>
                </c:pt>
                <c:pt idx="8672">
                  <c:v>-1.09243697478991E-2</c:v>
                </c:pt>
                <c:pt idx="8673">
                  <c:v>-1.09243697478991E-2</c:v>
                </c:pt>
                <c:pt idx="8674">
                  <c:v>-1.09243697478991E-2</c:v>
                </c:pt>
                <c:pt idx="8675">
                  <c:v>-1.09243697478991E-2</c:v>
                </c:pt>
                <c:pt idx="8676">
                  <c:v>-1.09243697478991E-2</c:v>
                </c:pt>
                <c:pt idx="8677">
                  <c:v>-1.09243697478991E-2</c:v>
                </c:pt>
                <c:pt idx="8678">
                  <c:v>-1.09243697478991E-2</c:v>
                </c:pt>
                <c:pt idx="8679">
                  <c:v>-1.09243697478991E-2</c:v>
                </c:pt>
                <c:pt idx="8680">
                  <c:v>-1.09243697478991E-2</c:v>
                </c:pt>
                <c:pt idx="8681">
                  <c:v>-1.09243697478991E-2</c:v>
                </c:pt>
                <c:pt idx="8682">
                  <c:v>-1.09243697478991E-2</c:v>
                </c:pt>
                <c:pt idx="8683">
                  <c:v>-1.09243697478991E-2</c:v>
                </c:pt>
                <c:pt idx="8684">
                  <c:v>-1.09243697478991E-2</c:v>
                </c:pt>
                <c:pt idx="8685">
                  <c:v>-1.09243697478991E-2</c:v>
                </c:pt>
                <c:pt idx="8686">
                  <c:v>-1.09243697478991E-2</c:v>
                </c:pt>
                <c:pt idx="8687">
                  <c:v>-1.09243697478991E-2</c:v>
                </c:pt>
                <c:pt idx="8688">
                  <c:v>-1.09243697478991E-2</c:v>
                </c:pt>
                <c:pt idx="8689">
                  <c:v>-1.09243697478991E-2</c:v>
                </c:pt>
                <c:pt idx="8690">
                  <c:v>-1.09243697478991E-2</c:v>
                </c:pt>
                <c:pt idx="8691">
                  <c:v>-1.09243697478991E-2</c:v>
                </c:pt>
                <c:pt idx="8692">
                  <c:v>-1.09243697478991E-2</c:v>
                </c:pt>
                <c:pt idx="8693">
                  <c:v>-1.09243697478991E-2</c:v>
                </c:pt>
                <c:pt idx="8694">
                  <c:v>-1.09243697478991E-2</c:v>
                </c:pt>
                <c:pt idx="8695">
                  <c:v>-1.09243697478991E-2</c:v>
                </c:pt>
                <c:pt idx="8696">
                  <c:v>-1.09243697478991E-2</c:v>
                </c:pt>
                <c:pt idx="8697">
                  <c:v>-1.09243697478991E-2</c:v>
                </c:pt>
                <c:pt idx="8698">
                  <c:v>-1.09243697478991E-2</c:v>
                </c:pt>
                <c:pt idx="8699">
                  <c:v>-1.0084033613445301E-2</c:v>
                </c:pt>
                <c:pt idx="8700">
                  <c:v>-1.0084033613445301E-2</c:v>
                </c:pt>
                <c:pt idx="8701">
                  <c:v>-1.0084033613445301E-2</c:v>
                </c:pt>
                <c:pt idx="8702">
                  <c:v>-1.0084033613445301E-2</c:v>
                </c:pt>
                <c:pt idx="8703">
                  <c:v>-1.0084033613445301E-2</c:v>
                </c:pt>
                <c:pt idx="8704">
                  <c:v>-1.0084033613445301E-2</c:v>
                </c:pt>
                <c:pt idx="8705">
                  <c:v>-1.0084033613445301E-2</c:v>
                </c:pt>
                <c:pt idx="8706">
                  <c:v>-1.0084033613445301E-2</c:v>
                </c:pt>
                <c:pt idx="8707">
                  <c:v>-1.0084033613445301E-2</c:v>
                </c:pt>
                <c:pt idx="8708">
                  <c:v>-1.0084033613445301E-2</c:v>
                </c:pt>
                <c:pt idx="8709">
                  <c:v>-1.0084033613445301E-2</c:v>
                </c:pt>
                <c:pt idx="8710">
                  <c:v>-9.2436974789916193E-3</c:v>
                </c:pt>
                <c:pt idx="8711">
                  <c:v>-9.2436974789916193E-3</c:v>
                </c:pt>
                <c:pt idx="8712">
                  <c:v>-9.2436974789916193E-3</c:v>
                </c:pt>
                <c:pt idx="8713">
                  <c:v>-9.2436974789916193E-3</c:v>
                </c:pt>
                <c:pt idx="8714">
                  <c:v>-9.2436974789916193E-3</c:v>
                </c:pt>
                <c:pt idx="8715">
                  <c:v>-9.2436974789916193E-3</c:v>
                </c:pt>
                <c:pt idx="8716">
                  <c:v>-9.2436974789916193E-3</c:v>
                </c:pt>
                <c:pt idx="8717">
                  <c:v>-9.2436974789916193E-3</c:v>
                </c:pt>
                <c:pt idx="8718">
                  <c:v>-9.2436974789916193E-3</c:v>
                </c:pt>
                <c:pt idx="8719">
                  <c:v>-9.2436974789916193E-3</c:v>
                </c:pt>
                <c:pt idx="8720">
                  <c:v>-9.2436974789916193E-3</c:v>
                </c:pt>
                <c:pt idx="8721">
                  <c:v>-9.2436974789916193E-3</c:v>
                </c:pt>
                <c:pt idx="8722">
                  <c:v>-9.2436974789916193E-3</c:v>
                </c:pt>
                <c:pt idx="8723">
                  <c:v>-9.2436974789916193E-3</c:v>
                </c:pt>
                <c:pt idx="8724">
                  <c:v>-9.2436974789916193E-3</c:v>
                </c:pt>
                <c:pt idx="8725">
                  <c:v>-9.2436974789916193E-3</c:v>
                </c:pt>
                <c:pt idx="8726">
                  <c:v>-9.2436974789916193E-3</c:v>
                </c:pt>
                <c:pt idx="8727">
                  <c:v>-9.2436974789916193E-3</c:v>
                </c:pt>
                <c:pt idx="8728">
                  <c:v>-9.2436974789916193E-3</c:v>
                </c:pt>
                <c:pt idx="8729">
                  <c:v>-9.2436974789916193E-3</c:v>
                </c:pt>
                <c:pt idx="8730">
                  <c:v>-9.2436974789916193E-3</c:v>
                </c:pt>
                <c:pt idx="8731">
                  <c:v>-9.2436974789916193E-3</c:v>
                </c:pt>
                <c:pt idx="8732">
                  <c:v>-1.0084033613445301E-2</c:v>
                </c:pt>
                <c:pt idx="8733">
                  <c:v>-1.0084033613445301E-2</c:v>
                </c:pt>
                <c:pt idx="8734">
                  <c:v>-1.0084033613445301E-2</c:v>
                </c:pt>
                <c:pt idx="8735">
                  <c:v>-1.0084033613445301E-2</c:v>
                </c:pt>
                <c:pt idx="8736">
                  <c:v>-1.0084033613445301E-2</c:v>
                </c:pt>
                <c:pt idx="8737">
                  <c:v>-1.0084033613445301E-2</c:v>
                </c:pt>
                <c:pt idx="8738">
                  <c:v>-1.0084033613445301E-2</c:v>
                </c:pt>
                <c:pt idx="8739">
                  <c:v>-1.0084033613445301E-2</c:v>
                </c:pt>
                <c:pt idx="8740">
                  <c:v>-1.0084033613445301E-2</c:v>
                </c:pt>
                <c:pt idx="8741">
                  <c:v>-1.0084033613445301E-2</c:v>
                </c:pt>
                <c:pt idx="8742">
                  <c:v>-1.0084033613445301E-2</c:v>
                </c:pt>
                <c:pt idx="8743">
                  <c:v>-1.0084033613445301E-2</c:v>
                </c:pt>
                <c:pt idx="8744">
                  <c:v>-1.0084033613445301E-2</c:v>
                </c:pt>
                <c:pt idx="8745">
                  <c:v>-1.0084033613445301E-2</c:v>
                </c:pt>
                <c:pt idx="8746">
                  <c:v>-1.0084033613445301E-2</c:v>
                </c:pt>
                <c:pt idx="8747">
                  <c:v>-1.0084033613445301E-2</c:v>
                </c:pt>
                <c:pt idx="8748">
                  <c:v>-1.0084033613445301E-2</c:v>
                </c:pt>
                <c:pt idx="8749">
                  <c:v>-1.0084033613445301E-2</c:v>
                </c:pt>
                <c:pt idx="8750">
                  <c:v>-1.0084033613445301E-2</c:v>
                </c:pt>
                <c:pt idx="8751">
                  <c:v>-1.0084033613445301E-2</c:v>
                </c:pt>
                <c:pt idx="8752">
                  <c:v>-1.0084033613445301E-2</c:v>
                </c:pt>
                <c:pt idx="8753">
                  <c:v>-1.0084033613445301E-2</c:v>
                </c:pt>
                <c:pt idx="8754">
                  <c:v>-1.0084033613445301E-2</c:v>
                </c:pt>
                <c:pt idx="8755">
                  <c:v>-1.0084033613445301E-2</c:v>
                </c:pt>
                <c:pt idx="8756">
                  <c:v>-1.0084033613445301E-2</c:v>
                </c:pt>
                <c:pt idx="8757">
                  <c:v>-1.0084033613445301E-2</c:v>
                </c:pt>
                <c:pt idx="8758">
                  <c:v>-1.0084033613445301E-2</c:v>
                </c:pt>
                <c:pt idx="8759">
                  <c:v>-1.0084033613445301E-2</c:v>
                </c:pt>
                <c:pt idx="8760">
                  <c:v>-1.0084033613445301E-2</c:v>
                </c:pt>
                <c:pt idx="8761">
                  <c:v>-1.0084033613445301E-2</c:v>
                </c:pt>
                <c:pt idx="8762">
                  <c:v>-1.0084033613445301E-2</c:v>
                </c:pt>
                <c:pt idx="8763">
                  <c:v>-1.0084033613445301E-2</c:v>
                </c:pt>
                <c:pt idx="8764">
                  <c:v>-1.0084033613445301E-2</c:v>
                </c:pt>
                <c:pt idx="8765">
                  <c:v>-1.0084033613445301E-2</c:v>
                </c:pt>
                <c:pt idx="8766">
                  <c:v>-1.0084033613445301E-2</c:v>
                </c:pt>
                <c:pt idx="8767">
                  <c:v>-1.0084033613445301E-2</c:v>
                </c:pt>
                <c:pt idx="8768">
                  <c:v>-1.0084033613445301E-2</c:v>
                </c:pt>
                <c:pt idx="8769">
                  <c:v>-1.0084033613445301E-2</c:v>
                </c:pt>
                <c:pt idx="8770">
                  <c:v>-1.0084033613445301E-2</c:v>
                </c:pt>
                <c:pt idx="8771">
                  <c:v>-1.0084033613445301E-2</c:v>
                </c:pt>
                <c:pt idx="8772">
                  <c:v>-1.0084033613445301E-2</c:v>
                </c:pt>
                <c:pt idx="8773">
                  <c:v>-1.0084033613445301E-2</c:v>
                </c:pt>
                <c:pt idx="8774">
                  <c:v>-1.0084033613445301E-2</c:v>
                </c:pt>
                <c:pt idx="8775">
                  <c:v>-1.0084033613445301E-2</c:v>
                </c:pt>
                <c:pt idx="8776">
                  <c:v>-1.0084033613445301E-2</c:v>
                </c:pt>
                <c:pt idx="8777">
                  <c:v>-1.0084033613445301E-2</c:v>
                </c:pt>
                <c:pt idx="8778">
                  <c:v>-1.0084033613445301E-2</c:v>
                </c:pt>
                <c:pt idx="8779">
                  <c:v>-1.0084033613445301E-2</c:v>
                </c:pt>
                <c:pt idx="8780">
                  <c:v>-1.0084033613445301E-2</c:v>
                </c:pt>
                <c:pt idx="8781">
                  <c:v>-1.0084033613445301E-2</c:v>
                </c:pt>
                <c:pt idx="8782">
                  <c:v>-1.0084033613445301E-2</c:v>
                </c:pt>
                <c:pt idx="8783">
                  <c:v>-1.0084033613445301E-2</c:v>
                </c:pt>
                <c:pt idx="8784">
                  <c:v>-1.0084033613445301E-2</c:v>
                </c:pt>
                <c:pt idx="8785">
                  <c:v>-1.0084033613445301E-2</c:v>
                </c:pt>
                <c:pt idx="8786">
                  <c:v>-1.0084033613445301E-2</c:v>
                </c:pt>
                <c:pt idx="8787">
                  <c:v>-1.0084033613445301E-2</c:v>
                </c:pt>
                <c:pt idx="8788">
                  <c:v>-1.0084033613445301E-2</c:v>
                </c:pt>
                <c:pt idx="8789">
                  <c:v>-1.0084033613445301E-2</c:v>
                </c:pt>
                <c:pt idx="8790">
                  <c:v>-1.0084033613445301E-2</c:v>
                </c:pt>
                <c:pt idx="8791">
                  <c:v>-1.0084033613445301E-2</c:v>
                </c:pt>
                <c:pt idx="8792">
                  <c:v>-1.0084033613445301E-2</c:v>
                </c:pt>
                <c:pt idx="8793">
                  <c:v>-1.0084033613445301E-2</c:v>
                </c:pt>
                <c:pt idx="8794">
                  <c:v>-1.0084033613445301E-2</c:v>
                </c:pt>
                <c:pt idx="8795">
                  <c:v>-1.0084033613445301E-2</c:v>
                </c:pt>
                <c:pt idx="8796">
                  <c:v>-1.0084033613445301E-2</c:v>
                </c:pt>
                <c:pt idx="8797">
                  <c:v>-1.0084033613445301E-2</c:v>
                </c:pt>
                <c:pt idx="8798">
                  <c:v>-1.0084033613445301E-2</c:v>
                </c:pt>
                <c:pt idx="8799">
                  <c:v>-1.0084033613445301E-2</c:v>
                </c:pt>
                <c:pt idx="8800">
                  <c:v>-1.0084033613445301E-2</c:v>
                </c:pt>
                <c:pt idx="8801">
                  <c:v>-1.0084033613445301E-2</c:v>
                </c:pt>
                <c:pt idx="8802">
                  <c:v>-1.09243697478991E-2</c:v>
                </c:pt>
                <c:pt idx="8803">
                  <c:v>-1.09243697478991E-2</c:v>
                </c:pt>
                <c:pt idx="8804">
                  <c:v>-1.1764705882352899E-2</c:v>
                </c:pt>
                <c:pt idx="8805">
                  <c:v>-1.1764705882352899E-2</c:v>
                </c:pt>
                <c:pt idx="8806">
                  <c:v>-1.1764705882352899E-2</c:v>
                </c:pt>
                <c:pt idx="8807">
                  <c:v>-1.1764705882352899E-2</c:v>
                </c:pt>
                <c:pt idx="8808">
                  <c:v>-1.1764705882352899E-2</c:v>
                </c:pt>
                <c:pt idx="8809">
                  <c:v>-1.1764705882352899E-2</c:v>
                </c:pt>
                <c:pt idx="8810">
                  <c:v>-1.1764705882352899E-2</c:v>
                </c:pt>
                <c:pt idx="8811">
                  <c:v>-1.1764705882352899E-2</c:v>
                </c:pt>
                <c:pt idx="8812">
                  <c:v>-1.1764705882352899E-2</c:v>
                </c:pt>
                <c:pt idx="8813">
                  <c:v>-1.1764705882352899E-2</c:v>
                </c:pt>
                <c:pt idx="8814">
                  <c:v>-1.1764705882352899E-2</c:v>
                </c:pt>
                <c:pt idx="8815">
                  <c:v>-1.1764705882352899E-2</c:v>
                </c:pt>
                <c:pt idx="8816">
                  <c:v>-1.1764705882352899E-2</c:v>
                </c:pt>
                <c:pt idx="8817">
                  <c:v>-1.1764705882352899E-2</c:v>
                </c:pt>
                <c:pt idx="8818">
                  <c:v>-1.1764705882352899E-2</c:v>
                </c:pt>
                <c:pt idx="8819">
                  <c:v>-1.1764705882352899E-2</c:v>
                </c:pt>
                <c:pt idx="8820">
                  <c:v>-1.1764705882352899E-2</c:v>
                </c:pt>
                <c:pt idx="8821">
                  <c:v>-1.1764705882352899E-2</c:v>
                </c:pt>
                <c:pt idx="8822">
                  <c:v>-1.1764705882352899E-2</c:v>
                </c:pt>
                <c:pt idx="8823">
                  <c:v>-1.1764705882352899E-2</c:v>
                </c:pt>
                <c:pt idx="8824">
                  <c:v>-1.1764705882352899E-2</c:v>
                </c:pt>
                <c:pt idx="8825">
                  <c:v>-1.1764705882352899E-2</c:v>
                </c:pt>
                <c:pt idx="8826">
                  <c:v>-1.1764705882352899E-2</c:v>
                </c:pt>
                <c:pt idx="8827">
                  <c:v>-1.1764705882352899E-2</c:v>
                </c:pt>
                <c:pt idx="8828">
                  <c:v>-1.1764705882352899E-2</c:v>
                </c:pt>
                <c:pt idx="8829">
                  <c:v>-1.1764705882352899E-2</c:v>
                </c:pt>
                <c:pt idx="8830">
                  <c:v>-1.1764705882352899E-2</c:v>
                </c:pt>
                <c:pt idx="8831">
                  <c:v>-1.1764705882352899E-2</c:v>
                </c:pt>
                <c:pt idx="8832">
                  <c:v>-1.1764705882352899E-2</c:v>
                </c:pt>
                <c:pt idx="8833">
                  <c:v>-1.1764705882352899E-2</c:v>
                </c:pt>
                <c:pt idx="8834">
                  <c:v>-1.1764705882352899E-2</c:v>
                </c:pt>
                <c:pt idx="8835">
                  <c:v>-1.1764705882352899E-2</c:v>
                </c:pt>
                <c:pt idx="8836">
                  <c:v>-1.1764705882352899E-2</c:v>
                </c:pt>
                <c:pt idx="8837">
                  <c:v>-1.1764705882352899E-2</c:v>
                </c:pt>
                <c:pt idx="8838">
                  <c:v>-1.1764705882352899E-2</c:v>
                </c:pt>
                <c:pt idx="8839">
                  <c:v>-1.1764705882352899E-2</c:v>
                </c:pt>
                <c:pt idx="8840">
                  <c:v>-1.1764705882352899E-2</c:v>
                </c:pt>
                <c:pt idx="8841">
                  <c:v>-1.09243697478991E-2</c:v>
                </c:pt>
                <c:pt idx="8842">
                  <c:v>-1.09243697478991E-2</c:v>
                </c:pt>
                <c:pt idx="8843">
                  <c:v>-1.09243697478991E-2</c:v>
                </c:pt>
                <c:pt idx="8844">
                  <c:v>-1.09243697478991E-2</c:v>
                </c:pt>
                <c:pt idx="8845">
                  <c:v>-1.1764705882352899E-2</c:v>
                </c:pt>
                <c:pt idx="8846">
                  <c:v>-1.1764705882352899E-2</c:v>
                </c:pt>
                <c:pt idx="8847">
                  <c:v>-1.1764705882352899E-2</c:v>
                </c:pt>
                <c:pt idx="8848">
                  <c:v>-1.1764705882352899E-2</c:v>
                </c:pt>
                <c:pt idx="8849">
                  <c:v>-1.1764705882352899E-2</c:v>
                </c:pt>
                <c:pt idx="8850">
                  <c:v>-1.1764705882352899E-2</c:v>
                </c:pt>
                <c:pt idx="8851">
                  <c:v>-1.1764705882352899E-2</c:v>
                </c:pt>
                <c:pt idx="8852">
                  <c:v>-1.1764705882352899E-2</c:v>
                </c:pt>
                <c:pt idx="8853">
                  <c:v>-1.1764705882352899E-2</c:v>
                </c:pt>
                <c:pt idx="8854">
                  <c:v>-1.1764705882352899E-2</c:v>
                </c:pt>
                <c:pt idx="8855">
                  <c:v>-1.1764705882352899E-2</c:v>
                </c:pt>
                <c:pt idx="8856">
                  <c:v>-1.1764705882352899E-2</c:v>
                </c:pt>
                <c:pt idx="8857">
                  <c:v>-1.1764705882352899E-2</c:v>
                </c:pt>
                <c:pt idx="8858">
                  <c:v>-1.1764705882352899E-2</c:v>
                </c:pt>
                <c:pt idx="8859">
                  <c:v>-1.1764705882352899E-2</c:v>
                </c:pt>
                <c:pt idx="8860">
                  <c:v>-1.1764705882352899E-2</c:v>
                </c:pt>
                <c:pt idx="8861">
                  <c:v>-1.1764705882352899E-2</c:v>
                </c:pt>
                <c:pt idx="8862">
                  <c:v>-1.1764705882352899E-2</c:v>
                </c:pt>
                <c:pt idx="8863">
                  <c:v>-1.1764705882352899E-2</c:v>
                </c:pt>
                <c:pt idx="8864">
                  <c:v>-1.09243697478991E-2</c:v>
                </c:pt>
                <c:pt idx="8865">
                  <c:v>-1.09243697478991E-2</c:v>
                </c:pt>
                <c:pt idx="8866">
                  <c:v>-1.09243697478991E-2</c:v>
                </c:pt>
                <c:pt idx="8867">
                  <c:v>-1.09243697478991E-2</c:v>
                </c:pt>
                <c:pt idx="8868">
                  <c:v>-1.09243697478991E-2</c:v>
                </c:pt>
                <c:pt idx="8869">
                  <c:v>-1.09243697478991E-2</c:v>
                </c:pt>
                <c:pt idx="8870">
                  <c:v>-1.09243697478991E-2</c:v>
                </c:pt>
                <c:pt idx="8871">
                  <c:v>-1.09243697478991E-2</c:v>
                </c:pt>
                <c:pt idx="8872">
                  <c:v>-1.09243697478991E-2</c:v>
                </c:pt>
                <c:pt idx="8873">
                  <c:v>-1.09243697478991E-2</c:v>
                </c:pt>
                <c:pt idx="8874">
                  <c:v>-1.09243697478991E-2</c:v>
                </c:pt>
                <c:pt idx="8875">
                  <c:v>-1.09243697478991E-2</c:v>
                </c:pt>
                <c:pt idx="8876">
                  <c:v>-1.1764705882352899E-2</c:v>
                </c:pt>
                <c:pt idx="8877">
                  <c:v>-1.1764705882352899E-2</c:v>
                </c:pt>
                <c:pt idx="8878">
                  <c:v>-1.1764705882352899E-2</c:v>
                </c:pt>
                <c:pt idx="8879">
                  <c:v>-1.1764705882352899E-2</c:v>
                </c:pt>
                <c:pt idx="8880">
                  <c:v>-1.26050420168067E-2</c:v>
                </c:pt>
                <c:pt idx="8881">
                  <c:v>-1.26050420168067E-2</c:v>
                </c:pt>
                <c:pt idx="8882">
                  <c:v>-1.26050420168067E-2</c:v>
                </c:pt>
                <c:pt idx="8883">
                  <c:v>-1.26050420168067E-2</c:v>
                </c:pt>
                <c:pt idx="8884">
                  <c:v>-1.26050420168067E-2</c:v>
                </c:pt>
                <c:pt idx="8885">
                  <c:v>-1.26050420168067E-2</c:v>
                </c:pt>
                <c:pt idx="8886">
                  <c:v>-1.26050420168067E-2</c:v>
                </c:pt>
                <c:pt idx="8887">
                  <c:v>-1.26050420168067E-2</c:v>
                </c:pt>
                <c:pt idx="8888">
                  <c:v>-1.26050420168067E-2</c:v>
                </c:pt>
                <c:pt idx="8889">
                  <c:v>-1.34453781512605E-2</c:v>
                </c:pt>
                <c:pt idx="8890">
                  <c:v>-1.34453781512605E-2</c:v>
                </c:pt>
                <c:pt idx="8891">
                  <c:v>-1.34453781512605E-2</c:v>
                </c:pt>
                <c:pt idx="8892">
                  <c:v>-1.34453781512605E-2</c:v>
                </c:pt>
                <c:pt idx="8893">
                  <c:v>-1.34453781512605E-2</c:v>
                </c:pt>
                <c:pt idx="8894">
                  <c:v>-1.34453781512605E-2</c:v>
                </c:pt>
                <c:pt idx="8895">
                  <c:v>-1.34453781512605E-2</c:v>
                </c:pt>
                <c:pt idx="8896">
                  <c:v>-1.34453781512605E-2</c:v>
                </c:pt>
                <c:pt idx="8897">
                  <c:v>-1.34453781512605E-2</c:v>
                </c:pt>
                <c:pt idx="8898">
                  <c:v>-1.34453781512605E-2</c:v>
                </c:pt>
                <c:pt idx="8899">
                  <c:v>-1.34453781512605E-2</c:v>
                </c:pt>
                <c:pt idx="8900">
                  <c:v>-1.34453781512605E-2</c:v>
                </c:pt>
                <c:pt idx="8901">
                  <c:v>-1.34453781512605E-2</c:v>
                </c:pt>
                <c:pt idx="8902">
                  <c:v>-1.34453781512605E-2</c:v>
                </c:pt>
                <c:pt idx="8903">
                  <c:v>-1.34453781512605E-2</c:v>
                </c:pt>
                <c:pt idx="8904">
                  <c:v>-1.34453781512605E-2</c:v>
                </c:pt>
                <c:pt idx="8905">
                  <c:v>-1.34453781512605E-2</c:v>
                </c:pt>
                <c:pt idx="8906">
                  <c:v>-1.34453781512605E-2</c:v>
                </c:pt>
                <c:pt idx="8907">
                  <c:v>-1.34453781512605E-2</c:v>
                </c:pt>
                <c:pt idx="8908">
                  <c:v>-1.34453781512605E-2</c:v>
                </c:pt>
                <c:pt idx="8909">
                  <c:v>-1.34453781512605E-2</c:v>
                </c:pt>
                <c:pt idx="8910">
                  <c:v>-1.34453781512605E-2</c:v>
                </c:pt>
                <c:pt idx="8911">
                  <c:v>-1.34453781512605E-2</c:v>
                </c:pt>
                <c:pt idx="8912">
                  <c:v>-1.34453781512605E-2</c:v>
                </c:pt>
                <c:pt idx="8913">
                  <c:v>-1.34453781512605E-2</c:v>
                </c:pt>
                <c:pt idx="8914">
                  <c:v>-1.34453781512605E-2</c:v>
                </c:pt>
                <c:pt idx="8915">
                  <c:v>-1.34453781512605E-2</c:v>
                </c:pt>
                <c:pt idx="8916">
                  <c:v>-1.34453781512605E-2</c:v>
                </c:pt>
                <c:pt idx="8917">
                  <c:v>-1.34453781512605E-2</c:v>
                </c:pt>
                <c:pt idx="8918">
                  <c:v>-1.34453781512605E-2</c:v>
                </c:pt>
                <c:pt idx="8919">
                  <c:v>-1.34453781512605E-2</c:v>
                </c:pt>
                <c:pt idx="8920">
                  <c:v>-1.42857142857142E-2</c:v>
                </c:pt>
                <c:pt idx="8921">
                  <c:v>-1.42857142857142E-2</c:v>
                </c:pt>
                <c:pt idx="8922">
                  <c:v>-1.42857142857142E-2</c:v>
                </c:pt>
                <c:pt idx="8923">
                  <c:v>-1.42857142857142E-2</c:v>
                </c:pt>
                <c:pt idx="8924">
                  <c:v>-1.42857142857142E-2</c:v>
                </c:pt>
                <c:pt idx="8925">
                  <c:v>-1.42857142857142E-2</c:v>
                </c:pt>
                <c:pt idx="8926">
                  <c:v>-1.42857142857142E-2</c:v>
                </c:pt>
                <c:pt idx="8927">
                  <c:v>-1.5126050420168E-2</c:v>
                </c:pt>
                <c:pt idx="8928">
                  <c:v>-1.5126050420168E-2</c:v>
                </c:pt>
                <c:pt idx="8929">
                  <c:v>-1.5126050420168E-2</c:v>
                </c:pt>
                <c:pt idx="8930">
                  <c:v>-1.5126050420168E-2</c:v>
                </c:pt>
                <c:pt idx="8931">
                  <c:v>-1.5126050420168E-2</c:v>
                </c:pt>
                <c:pt idx="8932">
                  <c:v>-1.5126050420168E-2</c:v>
                </c:pt>
                <c:pt idx="8933">
                  <c:v>-1.5126050420168E-2</c:v>
                </c:pt>
                <c:pt idx="8934">
                  <c:v>-1.5126050420168E-2</c:v>
                </c:pt>
                <c:pt idx="8935">
                  <c:v>-1.5126050420168E-2</c:v>
                </c:pt>
                <c:pt idx="8936">
                  <c:v>-1.5126050420168E-2</c:v>
                </c:pt>
                <c:pt idx="8937">
                  <c:v>-1.5126050420168E-2</c:v>
                </c:pt>
                <c:pt idx="8938">
                  <c:v>-1.5126050420168E-2</c:v>
                </c:pt>
                <c:pt idx="8939">
                  <c:v>-1.5126050420168E-2</c:v>
                </c:pt>
                <c:pt idx="8940">
                  <c:v>-1.59663865546219E-2</c:v>
                </c:pt>
                <c:pt idx="8941">
                  <c:v>-1.59663865546219E-2</c:v>
                </c:pt>
                <c:pt idx="8942">
                  <c:v>-1.59663865546219E-2</c:v>
                </c:pt>
                <c:pt idx="8943">
                  <c:v>-1.5126050420168E-2</c:v>
                </c:pt>
                <c:pt idx="8944">
                  <c:v>-1.5126050420168E-2</c:v>
                </c:pt>
                <c:pt idx="8945">
                  <c:v>-1.5126050420168E-2</c:v>
                </c:pt>
                <c:pt idx="8946">
                  <c:v>-1.42857142857142E-2</c:v>
                </c:pt>
                <c:pt idx="8947">
                  <c:v>-1.42857142857142E-2</c:v>
                </c:pt>
                <c:pt idx="8948">
                  <c:v>-1.42857142857142E-2</c:v>
                </c:pt>
                <c:pt idx="8949">
                  <c:v>-1.42857142857142E-2</c:v>
                </c:pt>
                <c:pt idx="8950">
                  <c:v>-1.42857142857142E-2</c:v>
                </c:pt>
                <c:pt idx="8951">
                  <c:v>-1.42857142857142E-2</c:v>
                </c:pt>
                <c:pt idx="8952">
                  <c:v>-1.42857142857142E-2</c:v>
                </c:pt>
                <c:pt idx="8953">
                  <c:v>-1.42857142857142E-2</c:v>
                </c:pt>
                <c:pt idx="8954">
                  <c:v>-1.42857142857142E-2</c:v>
                </c:pt>
                <c:pt idx="8955">
                  <c:v>-1.42857142857142E-2</c:v>
                </c:pt>
                <c:pt idx="8956">
                  <c:v>-1.42857142857142E-2</c:v>
                </c:pt>
                <c:pt idx="8957">
                  <c:v>-1.42857142857142E-2</c:v>
                </c:pt>
                <c:pt idx="8958">
                  <c:v>-1.42857142857142E-2</c:v>
                </c:pt>
                <c:pt idx="8959">
                  <c:v>-1.42857142857142E-2</c:v>
                </c:pt>
                <c:pt idx="8960">
                  <c:v>-1.42857142857142E-2</c:v>
                </c:pt>
                <c:pt idx="8961">
                  <c:v>-1.42857142857142E-2</c:v>
                </c:pt>
                <c:pt idx="8962">
                  <c:v>-1.5126050420168E-2</c:v>
                </c:pt>
                <c:pt idx="8963">
                  <c:v>-1.5126050420168E-2</c:v>
                </c:pt>
                <c:pt idx="8964">
                  <c:v>-1.5126050420168E-2</c:v>
                </c:pt>
                <c:pt idx="8965">
                  <c:v>-1.5126050420168E-2</c:v>
                </c:pt>
                <c:pt idx="8966">
                  <c:v>-1.5126050420168E-2</c:v>
                </c:pt>
                <c:pt idx="8967">
                  <c:v>-1.5126050420168E-2</c:v>
                </c:pt>
                <c:pt idx="8968">
                  <c:v>-1.5126050420168E-2</c:v>
                </c:pt>
                <c:pt idx="8969">
                  <c:v>-1.5126050420168E-2</c:v>
                </c:pt>
                <c:pt idx="8970">
                  <c:v>-1.5126050420168E-2</c:v>
                </c:pt>
                <c:pt idx="8971">
                  <c:v>-1.5126050420168E-2</c:v>
                </c:pt>
                <c:pt idx="8972">
                  <c:v>-1.5126050420168E-2</c:v>
                </c:pt>
                <c:pt idx="8973">
                  <c:v>-1.5126050420168E-2</c:v>
                </c:pt>
                <c:pt idx="8974">
                  <c:v>-1.42857142857142E-2</c:v>
                </c:pt>
                <c:pt idx="8975">
                  <c:v>-1.42857142857142E-2</c:v>
                </c:pt>
                <c:pt idx="8976">
                  <c:v>-1.42857142857142E-2</c:v>
                </c:pt>
                <c:pt idx="8977">
                  <c:v>-1.42857142857142E-2</c:v>
                </c:pt>
                <c:pt idx="8978">
                  <c:v>-1.42857142857142E-2</c:v>
                </c:pt>
                <c:pt idx="8979">
                  <c:v>-1.42857142857142E-2</c:v>
                </c:pt>
                <c:pt idx="8980">
                  <c:v>-1.42857142857142E-2</c:v>
                </c:pt>
                <c:pt idx="8981">
                  <c:v>-1.42857142857142E-2</c:v>
                </c:pt>
                <c:pt idx="8982">
                  <c:v>-1.42857142857142E-2</c:v>
                </c:pt>
                <c:pt idx="8983">
                  <c:v>-1.42857142857142E-2</c:v>
                </c:pt>
                <c:pt idx="8984">
                  <c:v>-1.42857142857142E-2</c:v>
                </c:pt>
                <c:pt idx="8985">
                  <c:v>-1.42857142857142E-2</c:v>
                </c:pt>
                <c:pt idx="8986">
                  <c:v>-1.42857142857142E-2</c:v>
                </c:pt>
                <c:pt idx="8987">
                  <c:v>-1.42857142857142E-2</c:v>
                </c:pt>
                <c:pt idx="8988">
                  <c:v>-1.42857142857142E-2</c:v>
                </c:pt>
                <c:pt idx="8989">
                  <c:v>-1.42857142857142E-2</c:v>
                </c:pt>
                <c:pt idx="8990">
                  <c:v>-1.42857142857142E-2</c:v>
                </c:pt>
                <c:pt idx="8991">
                  <c:v>-1.42857142857142E-2</c:v>
                </c:pt>
                <c:pt idx="8992">
                  <c:v>-1.42857142857142E-2</c:v>
                </c:pt>
                <c:pt idx="8993">
                  <c:v>-1.42857142857142E-2</c:v>
                </c:pt>
                <c:pt idx="8994">
                  <c:v>-1.42857142857142E-2</c:v>
                </c:pt>
                <c:pt idx="8995">
                  <c:v>-1.42857142857142E-2</c:v>
                </c:pt>
                <c:pt idx="8996">
                  <c:v>-1.42857142857142E-2</c:v>
                </c:pt>
                <c:pt idx="8997">
                  <c:v>-1.42857142857142E-2</c:v>
                </c:pt>
                <c:pt idx="8998">
                  <c:v>-1.42857142857142E-2</c:v>
                </c:pt>
                <c:pt idx="8999">
                  <c:v>-1.42857142857142E-2</c:v>
                </c:pt>
                <c:pt idx="9000">
                  <c:v>-1.42857142857142E-2</c:v>
                </c:pt>
                <c:pt idx="9001">
                  <c:v>-1.42857142857142E-2</c:v>
                </c:pt>
                <c:pt idx="9002">
                  <c:v>-1.42857142857142E-2</c:v>
                </c:pt>
                <c:pt idx="9003">
                  <c:v>-1.42857142857142E-2</c:v>
                </c:pt>
                <c:pt idx="9004">
                  <c:v>-1.42857142857142E-2</c:v>
                </c:pt>
                <c:pt idx="9005">
                  <c:v>-1.42857142857142E-2</c:v>
                </c:pt>
                <c:pt idx="9006">
                  <c:v>-1.42857142857142E-2</c:v>
                </c:pt>
                <c:pt idx="9007">
                  <c:v>-1.42857142857142E-2</c:v>
                </c:pt>
                <c:pt idx="9008">
                  <c:v>-1.42857142857142E-2</c:v>
                </c:pt>
                <c:pt idx="9009">
                  <c:v>-1.42857142857142E-2</c:v>
                </c:pt>
                <c:pt idx="9010">
                  <c:v>-1.42857142857142E-2</c:v>
                </c:pt>
                <c:pt idx="9011">
                  <c:v>-1.42857142857142E-2</c:v>
                </c:pt>
                <c:pt idx="9012">
                  <c:v>-1.42857142857142E-2</c:v>
                </c:pt>
                <c:pt idx="9013">
                  <c:v>-1.42857142857142E-2</c:v>
                </c:pt>
                <c:pt idx="9014">
                  <c:v>-1.42857142857142E-2</c:v>
                </c:pt>
                <c:pt idx="9015">
                  <c:v>-1.42857142857142E-2</c:v>
                </c:pt>
                <c:pt idx="9016">
                  <c:v>-1.42857142857142E-2</c:v>
                </c:pt>
                <c:pt idx="9017">
                  <c:v>-1.42857142857142E-2</c:v>
                </c:pt>
                <c:pt idx="9018">
                  <c:v>-1.5126050420168E-2</c:v>
                </c:pt>
                <c:pt idx="9019">
                  <c:v>-1.5126050420168E-2</c:v>
                </c:pt>
                <c:pt idx="9020">
                  <c:v>-1.5126050420168E-2</c:v>
                </c:pt>
                <c:pt idx="9021">
                  <c:v>-1.5126050420168E-2</c:v>
                </c:pt>
                <c:pt idx="9022">
                  <c:v>-1.5126050420168E-2</c:v>
                </c:pt>
                <c:pt idx="9023">
                  <c:v>-1.5126050420168E-2</c:v>
                </c:pt>
                <c:pt idx="9024">
                  <c:v>-1.5126050420168E-2</c:v>
                </c:pt>
                <c:pt idx="9025">
                  <c:v>-1.42857142857142E-2</c:v>
                </c:pt>
                <c:pt idx="9026">
                  <c:v>-1.42857142857142E-2</c:v>
                </c:pt>
                <c:pt idx="9027">
                  <c:v>-1.42857142857142E-2</c:v>
                </c:pt>
                <c:pt idx="9028">
                  <c:v>-1.42857142857142E-2</c:v>
                </c:pt>
                <c:pt idx="9029">
                  <c:v>-1.42857142857142E-2</c:v>
                </c:pt>
                <c:pt idx="9030">
                  <c:v>-1.42857142857142E-2</c:v>
                </c:pt>
                <c:pt idx="9031">
                  <c:v>-1.42857142857142E-2</c:v>
                </c:pt>
                <c:pt idx="9032">
                  <c:v>-1.34453781512605E-2</c:v>
                </c:pt>
                <c:pt idx="9033">
                  <c:v>-1.34453781512605E-2</c:v>
                </c:pt>
                <c:pt idx="9034">
                  <c:v>-1.34453781512605E-2</c:v>
                </c:pt>
                <c:pt idx="9035">
                  <c:v>-1.34453781512605E-2</c:v>
                </c:pt>
                <c:pt idx="9036">
                  <c:v>-1.34453781512605E-2</c:v>
                </c:pt>
                <c:pt idx="9037">
                  <c:v>-1.34453781512605E-2</c:v>
                </c:pt>
                <c:pt idx="9038">
                  <c:v>-1.34453781512605E-2</c:v>
                </c:pt>
                <c:pt idx="9039">
                  <c:v>-1.34453781512605E-2</c:v>
                </c:pt>
                <c:pt idx="9040">
                  <c:v>-1.34453781512605E-2</c:v>
                </c:pt>
                <c:pt idx="9041">
                  <c:v>-1.34453781512605E-2</c:v>
                </c:pt>
                <c:pt idx="9042">
                  <c:v>-1.34453781512605E-2</c:v>
                </c:pt>
                <c:pt idx="9043">
                  <c:v>-1.34453781512605E-2</c:v>
                </c:pt>
                <c:pt idx="9044">
                  <c:v>-1.34453781512605E-2</c:v>
                </c:pt>
                <c:pt idx="9045">
                  <c:v>-1.34453781512605E-2</c:v>
                </c:pt>
                <c:pt idx="9046">
                  <c:v>-1.34453781512605E-2</c:v>
                </c:pt>
                <c:pt idx="9047">
                  <c:v>-1.34453781512605E-2</c:v>
                </c:pt>
                <c:pt idx="9048">
                  <c:v>-1.34453781512605E-2</c:v>
                </c:pt>
                <c:pt idx="9049">
                  <c:v>-1.34453781512605E-2</c:v>
                </c:pt>
                <c:pt idx="9050">
                  <c:v>-1.34453781512605E-2</c:v>
                </c:pt>
                <c:pt idx="9051">
                  <c:v>-1.34453781512605E-2</c:v>
                </c:pt>
                <c:pt idx="9052">
                  <c:v>-1.34453781512605E-2</c:v>
                </c:pt>
                <c:pt idx="9053">
                  <c:v>-1.34453781512605E-2</c:v>
                </c:pt>
                <c:pt idx="9054">
                  <c:v>-1.34453781512605E-2</c:v>
                </c:pt>
                <c:pt idx="9055">
                  <c:v>-1.34453781512605E-2</c:v>
                </c:pt>
                <c:pt idx="9056">
                  <c:v>-1.34453781512605E-2</c:v>
                </c:pt>
                <c:pt idx="9057">
                  <c:v>-1.34453781512605E-2</c:v>
                </c:pt>
                <c:pt idx="9058">
                  <c:v>-1.34453781512605E-2</c:v>
                </c:pt>
                <c:pt idx="9059">
                  <c:v>-1.26050420168067E-2</c:v>
                </c:pt>
                <c:pt idx="9060">
                  <c:v>-1.26050420168067E-2</c:v>
                </c:pt>
                <c:pt idx="9061">
                  <c:v>-1.26050420168067E-2</c:v>
                </c:pt>
                <c:pt idx="9062">
                  <c:v>-1.26050420168067E-2</c:v>
                </c:pt>
                <c:pt idx="9063">
                  <c:v>-1.26050420168067E-2</c:v>
                </c:pt>
                <c:pt idx="9064">
                  <c:v>-1.26050420168067E-2</c:v>
                </c:pt>
                <c:pt idx="9065">
                  <c:v>-1.26050420168067E-2</c:v>
                </c:pt>
                <c:pt idx="9066">
                  <c:v>-1.1764705882352899E-2</c:v>
                </c:pt>
                <c:pt idx="9067">
                  <c:v>-1.1764705882352899E-2</c:v>
                </c:pt>
                <c:pt idx="9068">
                  <c:v>-1.09243697478991E-2</c:v>
                </c:pt>
                <c:pt idx="9069">
                  <c:v>-1.09243697478991E-2</c:v>
                </c:pt>
                <c:pt idx="9070">
                  <c:v>-1.09243697478991E-2</c:v>
                </c:pt>
                <c:pt idx="9071">
                  <c:v>-1.09243697478991E-2</c:v>
                </c:pt>
                <c:pt idx="9072">
                  <c:v>-1.09243697478991E-2</c:v>
                </c:pt>
                <c:pt idx="9073">
                  <c:v>-1.09243697478991E-2</c:v>
                </c:pt>
                <c:pt idx="9074">
                  <c:v>-1.09243697478991E-2</c:v>
                </c:pt>
                <c:pt idx="9075">
                  <c:v>-1.09243697478991E-2</c:v>
                </c:pt>
                <c:pt idx="9076">
                  <c:v>-1.09243697478991E-2</c:v>
                </c:pt>
                <c:pt idx="9077">
                  <c:v>-1.09243697478991E-2</c:v>
                </c:pt>
                <c:pt idx="9078">
                  <c:v>-1.09243697478991E-2</c:v>
                </c:pt>
                <c:pt idx="9079">
                  <c:v>-1.09243697478991E-2</c:v>
                </c:pt>
                <c:pt idx="9080">
                  <c:v>-1.09243697478991E-2</c:v>
                </c:pt>
                <c:pt idx="9081">
                  <c:v>-1.09243697478991E-2</c:v>
                </c:pt>
                <c:pt idx="9082">
                  <c:v>-1.09243697478991E-2</c:v>
                </c:pt>
                <c:pt idx="9083">
                  <c:v>-1.09243697478991E-2</c:v>
                </c:pt>
                <c:pt idx="9084">
                  <c:v>-1.09243697478991E-2</c:v>
                </c:pt>
                <c:pt idx="9085">
                  <c:v>-1.09243697478991E-2</c:v>
                </c:pt>
                <c:pt idx="9086">
                  <c:v>-1.0084033613445301E-2</c:v>
                </c:pt>
                <c:pt idx="9087">
                  <c:v>-1.0084033613445301E-2</c:v>
                </c:pt>
                <c:pt idx="9088">
                  <c:v>-1.0084033613445301E-2</c:v>
                </c:pt>
                <c:pt idx="9089">
                  <c:v>-1.0084033613445301E-2</c:v>
                </c:pt>
                <c:pt idx="9090">
                  <c:v>-1.0084033613445301E-2</c:v>
                </c:pt>
                <c:pt idx="9091">
                  <c:v>-1.0084033613445301E-2</c:v>
                </c:pt>
                <c:pt idx="9092">
                  <c:v>-1.0084033613445301E-2</c:v>
                </c:pt>
                <c:pt idx="9093">
                  <c:v>-1.0084033613445301E-2</c:v>
                </c:pt>
                <c:pt idx="9094">
                  <c:v>-1.0084033613445301E-2</c:v>
                </c:pt>
                <c:pt idx="9095">
                  <c:v>-1.0084033613445301E-2</c:v>
                </c:pt>
                <c:pt idx="9096">
                  <c:v>-1.0084033613445301E-2</c:v>
                </c:pt>
                <c:pt idx="9097">
                  <c:v>-1.0084033613445301E-2</c:v>
                </c:pt>
                <c:pt idx="9098">
                  <c:v>-1.0084033613445301E-2</c:v>
                </c:pt>
                <c:pt idx="9099">
                  <c:v>-1.0084033613445301E-2</c:v>
                </c:pt>
                <c:pt idx="9100">
                  <c:v>-1.0084033613445301E-2</c:v>
                </c:pt>
                <c:pt idx="9101">
                  <c:v>-1.0084033613445301E-2</c:v>
                </c:pt>
                <c:pt idx="9102">
                  <c:v>-1.0084033613445301E-2</c:v>
                </c:pt>
                <c:pt idx="9103">
                  <c:v>-1.0084033613445301E-2</c:v>
                </c:pt>
                <c:pt idx="9104">
                  <c:v>-1.09243697478991E-2</c:v>
                </c:pt>
                <c:pt idx="9105">
                  <c:v>-1.09243697478991E-2</c:v>
                </c:pt>
                <c:pt idx="9106">
                  <c:v>-1.09243697478991E-2</c:v>
                </c:pt>
                <c:pt idx="9107">
                  <c:v>-1.09243697478991E-2</c:v>
                </c:pt>
                <c:pt idx="9108">
                  <c:v>-1.09243697478991E-2</c:v>
                </c:pt>
                <c:pt idx="9109">
                  <c:v>-1.09243697478991E-2</c:v>
                </c:pt>
                <c:pt idx="9110">
                  <c:v>-1.09243697478991E-2</c:v>
                </c:pt>
                <c:pt idx="9111">
                  <c:v>-1.09243697478991E-2</c:v>
                </c:pt>
                <c:pt idx="9112">
                  <c:v>-1.09243697478991E-2</c:v>
                </c:pt>
                <c:pt idx="9113">
                  <c:v>-1.09243697478991E-2</c:v>
                </c:pt>
                <c:pt idx="9114">
                  <c:v>-1.09243697478991E-2</c:v>
                </c:pt>
                <c:pt idx="9115">
                  <c:v>-1.09243697478991E-2</c:v>
                </c:pt>
                <c:pt idx="9116">
                  <c:v>-1.09243697478991E-2</c:v>
                </c:pt>
                <c:pt idx="9117">
                  <c:v>-1.09243697478991E-2</c:v>
                </c:pt>
                <c:pt idx="9118">
                  <c:v>-1.09243697478991E-2</c:v>
                </c:pt>
                <c:pt idx="9119">
                  <c:v>-1.09243697478991E-2</c:v>
                </c:pt>
                <c:pt idx="9120">
                  <c:v>-1.09243697478991E-2</c:v>
                </c:pt>
                <c:pt idx="9121">
                  <c:v>-1.09243697478991E-2</c:v>
                </c:pt>
                <c:pt idx="9122">
                  <c:v>-1.09243697478991E-2</c:v>
                </c:pt>
                <c:pt idx="9123">
                  <c:v>-1.09243697478991E-2</c:v>
                </c:pt>
                <c:pt idx="9124">
                  <c:v>-1.09243697478991E-2</c:v>
                </c:pt>
                <c:pt idx="9125">
                  <c:v>-1.09243697478991E-2</c:v>
                </c:pt>
                <c:pt idx="9126">
                  <c:v>-1.09243697478991E-2</c:v>
                </c:pt>
                <c:pt idx="9127">
                  <c:v>-1.09243697478991E-2</c:v>
                </c:pt>
                <c:pt idx="9128">
                  <c:v>-1.09243697478991E-2</c:v>
                </c:pt>
                <c:pt idx="9129">
                  <c:v>-1.0084033613445301E-2</c:v>
                </c:pt>
                <c:pt idx="9130">
                  <c:v>-1.0084033613445301E-2</c:v>
                </c:pt>
                <c:pt idx="9131">
                  <c:v>-1.0084033613445301E-2</c:v>
                </c:pt>
                <c:pt idx="9132">
                  <c:v>-1.0084033613445301E-2</c:v>
                </c:pt>
                <c:pt idx="9133">
                  <c:v>-1.0084033613445301E-2</c:v>
                </c:pt>
                <c:pt idx="9134">
                  <c:v>-1.0084033613445301E-2</c:v>
                </c:pt>
                <c:pt idx="9135">
                  <c:v>-1.0084033613445301E-2</c:v>
                </c:pt>
                <c:pt idx="9136">
                  <c:v>-1.0084033613445301E-2</c:v>
                </c:pt>
                <c:pt idx="9137">
                  <c:v>-1.0084033613445301E-2</c:v>
                </c:pt>
                <c:pt idx="9138">
                  <c:v>-1.0084033613445301E-2</c:v>
                </c:pt>
                <c:pt idx="9139">
                  <c:v>-1.0084033613445301E-2</c:v>
                </c:pt>
                <c:pt idx="9140">
                  <c:v>-1.0084033613445301E-2</c:v>
                </c:pt>
                <c:pt idx="9141">
                  <c:v>-1.0084033613445301E-2</c:v>
                </c:pt>
                <c:pt idx="9142">
                  <c:v>-1.0084033613445301E-2</c:v>
                </c:pt>
                <c:pt idx="9143">
                  <c:v>-1.0084033613445301E-2</c:v>
                </c:pt>
                <c:pt idx="9144">
                  <c:v>-1.0084033613445301E-2</c:v>
                </c:pt>
                <c:pt idx="9145">
                  <c:v>-1.0084033613445301E-2</c:v>
                </c:pt>
                <c:pt idx="9146">
                  <c:v>-1.0084033613445301E-2</c:v>
                </c:pt>
                <c:pt idx="9147">
                  <c:v>-1.0084033613445301E-2</c:v>
                </c:pt>
                <c:pt idx="9148">
                  <c:v>-1.0084033613445301E-2</c:v>
                </c:pt>
                <c:pt idx="9149">
                  <c:v>-1.0084033613445301E-2</c:v>
                </c:pt>
                <c:pt idx="9150">
                  <c:v>-1.0084033613445301E-2</c:v>
                </c:pt>
                <c:pt idx="9151">
                  <c:v>-1.0084033613445301E-2</c:v>
                </c:pt>
                <c:pt idx="9152">
                  <c:v>-1.0084033613445301E-2</c:v>
                </c:pt>
                <c:pt idx="9153">
                  <c:v>-1.0084033613445301E-2</c:v>
                </c:pt>
                <c:pt idx="9154">
                  <c:v>-1.0084033613445301E-2</c:v>
                </c:pt>
                <c:pt idx="9155">
                  <c:v>-1.09243697478991E-2</c:v>
                </c:pt>
                <c:pt idx="9156">
                  <c:v>-1.09243697478991E-2</c:v>
                </c:pt>
                <c:pt idx="9157">
                  <c:v>-1.09243697478991E-2</c:v>
                </c:pt>
                <c:pt idx="9158">
                  <c:v>-1.1764705882352899E-2</c:v>
                </c:pt>
                <c:pt idx="9159">
                  <c:v>-1.1764705882352899E-2</c:v>
                </c:pt>
                <c:pt idx="9160">
                  <c:v>-1.1764705882352899E-2</c:v>
                </c:pt>
                <c:pt idx="9161">
                  <c:v>-1.1764705882352899E-2</c:v>
                </c:pt>
                <c:pt idx="9162">
                  <c:v>-1.1764705882352899E-2</c:v>
                </c:pt>
                <c:pt idx="9163">
                  <c:v>-1.1764705882352899E-2</c:v>
                </c:pt>
                <c:pt idx="9164">
                  <c:v>-1.1764705882352899E-2</c:v>
                </c:pt>
                <c:pt idx="9165">
                  <c:v>-1.1764705882352899E-2</c:v>
                </c:pt>
                <c:pt idx="9166">
                  <c:v>-1.1764705882352899E-2</c:v>
                </c:pt>
                <c:pt idx="9167">
                  <c:v>-1.1764705882352899E-2</c:v>
                </c:pt>
                <c:pt idx="9168">
                  <c:v>-1.1764705882352899E-2</c:v>
                </c:pt>
                <c:pt idx="9169">
                  <c:v>-1.1764705882352899E-2</c:v>
                </c:pt>
                <c:pt idx="9170">
                  <c:v>-1.1764705882352899E-2</c:v>
                </c:pt>
                <c:pt idx="9171">
                  <c:v>-1.1764705882352899E-2</c:v>
                </c:pt>
                <c:pt idx="9172">
                  <c:v>-1.1764705882352899E-2</c:v>
                </c:pt>
                <c:pt idx="9173">
                  <c:v>-1.26050420168067E-2</c:v>
                </c:pt>
                <c:pt idx="9174">
                  <c:v>-1.26050420168067E-2</c:v>
                </c:pt>
                <c:pt idx="9175">
                  <c:v>-1.26050420168067E-2</c:v>
                </c:pt>
                <c:pt idx="9176">
                  <c:v>-1.26050420168067E-2</c:v>
                </c:pt>
                <c:pt idx="9177">
                  <c:v>-1.26050420168067E-2</c:v>
                </c:pt>
                <c:pt idx="9178">
                  <c:v>-1.26050420168067E-2</c:v>
                </c:pt>
                <c:pt idx="9179">
                  <c:v>-1.1764705882352899E-2</c:v>
                </c:pt>
                <c:pt idx="9180">
                  <c:v>-1.1764705882352899E-2</c:v>
                </c:pt>
                <c:pt idx="9181">
                  <c:v>-1.1764705882352899E-2</c:v>
                </c:pt>
                <c:pt idx="9182">
                  <c:v>-1.1764705882352899E-2</c:v>
                </c:pt>
                <c:pt idx="9183">
                  <c:v>-1.1764705882352899E-2</c:v>
                </c:pt>
                <c:pt idx="9184">
                  <c:v>-1.1764705882352899E-2</c:v>
                </c:pt>
                <c:pt idx="9185">
                  <c:v>-1.1764705882352899E-2</c:v>
                </c:pt>
                <c:pt idx="9186">
                  <c:v>-1.1764705882352899E-2</c:v>
                </c:pt>
                <c:pt idx="9187">
                  <c:v>-1.1764705882352899E-2</c:v>
                </c:pt>
                <c:pt idx="9188">
                  <c:v>-1.1764705882352899E-2</c:v>
                </c:pt>
                <c:pt idx="9189">
                  <c:v>-1.1764705882352899E-2</c:v>
                </c:pt>
                <c:pt idx="9190">
                  <c:v>-1.1764705882352899E-2</c:v>
                </c:pt>
                <c:pt idx="9191">
                  <c:v>-1.1764705882352899E-2</c:v>
                </c:pt>
                <c:pt idx="9192">
                  <c:v>-1.1764705882352899E-2</c:v>
                </c:pt>
                <c:pt idx="9193">
                  <c:v>-1.1764705882352899E-2</c:v>
                </c:pt>
                <c:pt idx="9194">
                  <c:v>-1.1764705882352899E-2</c:v>
                </c:pt>
                <c:pt idx="9195">
                  <c:v>-1.1764705882352899E-2</c:v>
                </c:pt>
                <c:pt idx="9196">
                  <c:v>-1.1764705882352899E-2</c:v>
                </c:pt>
                <c:pt idx="9197">
                  <c:v>-1.1764705882352899E-2</c:v>
                </c:pt>
                <c:pt idx="9198">
                  <c:v>-1.1764705882352899E-2</c:v>
                </c:pt>
                <c:pt idx="9199">
                  <c:v>-1.1764705882352899E-2</c:v>
                </c:pt>
                <c:pt idx="9200">
                  <c:v>-1.1764705882352899E-2</c:v>
                </c:pt>
                <c:pt idx="9201">
                  <c:v>-1.1764705882352899E-2</c:v>
                </c:pt>
                <c:pt idx="9202">
                  <c:v>-1.1764705882352899E-2</c:v>
                </c:pt>
                <c:pt idx="9203">
                  <c:v>-1.1764705882352899E-2</c:v>
                </c:pt>
                <c:pt idx="9204">
                  <c:v>-1.1764705882352899E-2</c:v>
                </c:pt>
                <c:pt idx="9205">
                  <c:v>-1.1764705882352899E-2</c:v>
                </c:pt>
                <c:pt idx="9206">
                  <c:v>-1.1764705882352899E-2</c:v>
                </c:pt>
                <c:pt idx="9207">
                  <c:v>-1.1764705882352899E-2</c:v>
                </c:pt>
                <c:pt idx="9208">
                  <c:v>-1.1764705882352899E-2</c:v>
                </c:pt>
                <c:pt idx="9209">
                  <c:v>-1.1764705882352899E-2</c:v>
                </c:pt>
                <c:pt idx="9210">
                  <c:v>-1.1764705882352899E-2</c:v>
                </c:pt>
                <c:pt idx="9211">
                  <c:v>-1.1764705882352899E-2</c:v>
                </c:pt>
                <c:pt idx="9212">
                  <c:v>-1.1764705882352899E-2</c:v>
                </c:pt>
                <c:pt idx="9213">
                  <c:v>-1.1764705882352899E-2</c:v>
                </c:pt>
                <c:pt idx="9214">
                  <c:v>-1.1764705882352899E-2</c:v>
                </c:pt>
                <c:pt idx="9215">
                  <c:v>-1.1764705882352899E-2</c:v>
                </c:pt>
                <c:pt idx="9216">
                  <c:v>-1.1764705882352899E-2</c:v>
                </c:pt>
                <c:pt idx="9217">
                  <c:v>-1.1764705882352899E-2</c:v>
                </c:pt>
                <c:pt idx="9218">
                  <c:v>-1.1764705882352899E-2</c:v>
                </c:pt>
                <c:pt idx="9219">
                  <c:v>-1.1764705882352899E-2</c:v>
                </c:pt>
                <c:pt idx="9220">
                  <c:v>-1.09243697478991E-2</c:v>
                </c:pt>
                <c:pt idx="9221">
                  <c:v>-1.09243697478991E-2</c:v>
                </c:pt>
                <c:pt idx="9222">
                  <c:v>-1.09243697478991E-2</c:v>
                </c:pt>
                <c:pt idx="9223">
                  <c:v>-1.09243697478991E-2</c:v>
                </c:pt>
                <c:pt idx="9224">
                  <c:v>-1.0084033613445301E-2</c:v>
                </c:pt>
                <c:pt idx="9225">
                  <c:v>-1.0084033613445301E-2</c:v>
                </c:pt>
                <c:pt idx="9226">
                  <c:v>-1.0084033613445301E-2</c:v>
                </c:pt>
                <c:pt idx="9227">
                  <c:v>-9.2436974789916193E-3</c:v>
                </c:pt>
                <c:pt idx="9228">
                  <c:v>-9.2436974789916193E-3</c:v>
                </c:pt>
                <c:pt idx="9229">
                  <c:v>-9.2436974789916193E-3</c:v>
                </c:pt>
                <c:pt idx="9230">
                  <c:v>-9.2436974789916193E-3</c:v>
                </c:pt>
                <c:pt idx="9231">
                  <c:v>-9.2436974789916193E-3</c:v>
                </c:pt>
                <c:pt idx="9232">
                  <c:v>-9.2436974789916193E-3</c:v>
                </c:pt>
                <c:pt idx="9233">
                  <c:v>-9.2436974789916193E-3</c:v>
                </c:pt>
                <c:pt idx="9234">
                  <c:v>-9.2436974789916193E-3</c:v>
                </c:pt>
                <c:pt idx="9235">
                  <c:v>-9.2436974789916193E-3</c:v>
                </c:pt>
                <c:pt idx="9236">
                  <c:v>-9.2436974789916193E-3</c:v>
                </c:pt>
                <c:pt idx="9237">
                  <c:v>-9.2436974789916193E-3</c:v>
                </c:pt>
                <c:pt idx="9238">
                  <c:v>-9.2436974789916193E-3</c:v>
                </c:pt>
                <c:pt idx="9239">
                  <c:v>-9.2436974789916193E-3</c:v>
                </c:pt>
                <c:pt idx="9240">
                  <c:v>-9.2436974789916193E-3</c:v>
                </c:pt>
                <c:pt idx="9241">
                  <c:v>-9.2436974789916193E-3</c:v>
                </c:pt>
                <c:pt idx="9242">
                  <c:v>-9.2436974789916193E-3</c:v>
                </c:pt>
                <c:pt idx="9243">
                  <c:v>-9.2436974789916193E-3</c:v>
                </c:pt>
                <c:pt idx="9244">
                  <c:v>-9.2436974789916193E-3</c:v>
                </c:pt>
                <c:pt idx="9245">
                  <c:v>-9.2436974789916193E-3</c:v>
                </c:pt>
                <c:pt idx="9246">
                  <c:v>-9.2436974789916193E-3</c:v>
                </c:pt>
                <c:pt idx="9247">
                  <c:v>-9.2436974789916193E-3</c:v>
                </c:pt>
                <c:pt idx="9248">
                  <c:v>-9.2436974789916193E-3</c:v>
                </c:pt>
                <c:pt idx="9249">
                  <c:v>-9.2436974789916193E-3</c:v>
                </c:pt>
                <c:pt idx="9250">
                  <c:v>-9.2436974789916193E-3</c:v>
                </c:pt>
                <c:pt idx="9251">
                  <c:v>-9.2436974789916193E-3</c:v>
                </c:pt>
                <c:pt idx="9252">
                  <c:v>-9.2436974789916193E-3</c:v>
                </c:pt>
                <c:pt idx="9253">
                  <c:v>-9.2436974789916193E-3</c:v>
                </c:pt>
                <c:pt idx="9254">
                  <c:v>-9.2436974789916193E-3</c:v>
                </c:pt>
                <c:pt idx="9255">
                  <c:v>-9.2436974789916193E-3</c:v>
                </c:pt>
                <c:pt idx="9256">
                  <c:v>-9.2436974789916193E-3</c:v>
                </c:pt>
                <c:pt idx="9257">
                  <c:v>-9.2436974789916193E-3</c:v>
                </c:pt>
                <c:pt idx="9258">
                  <c:v>-9.2436974789916193E-3</c:v>
                </c:pt>
                <c:pt idx="9259">
                  <c:v>-9.2436974789916193E-3</c:v>
                </c:pt>
                <c:pt idx="9260">
                  <c:v>-8.4033613445378408E-3</c:v>
                </c:pt>
                <c:pt idx="9261">
                  <c:v>-7.5630252100840597E-3</c:v>
                </c:pt>
                <c:pt idx="9262">
                  <c:v>-7.5630252100840597E-3</c:v>
                </c:pt>
                <c:pt idx="9263">
                  <c:v>-8.4033613445378408E-3</c:v>
                </c:pt>
                <c:pt idx="9264">
                  <c:v>-8.4033613445378408E-3</c:v>
                </c:pt>
                <c:pt idx="9265">
                  <c:v>-8.4033613445378408E-3</c:v>
                </c:pt>
                <c:pt idx="9266">
                  <c:v>-8.4033613445378408E-3</c:v>
                </c:pt>
                <c:pt idx="9267">
                  <c:v>-8.4033613445378408E-3</c:v>
                </c:pt>
                <c:pt idx="9268">
                  <c:v>-8.4033613445378408E-3</c:v>
                </c:pt>
                <c:pt idx="9269">
                  <c:v>-8.4033613445378408E-3</c:v>
                </c:pt>
                <c:pt idx="9270">
                  <c:v>-8.4033613445378408E-3</c:v>
                </c:pt>
                <c:pt idx="9271">
                  <c:v>-8.4033613445378408E-3</c:v>
                </c:pt>
                <c:pt idx="9272">
                  <c:v>-8.4033613445378408E-3</c:v>
                </c:pt>
                <c:pt idx="9273">
                  <c:v>-8.4033613445378408E-3</c:v>
                </c:pt>
                <c:pt idx="9274">
                  <c:v>-8.4033613445378408E-3</c:v>
                </c:pt>
                <c:pt idx="9275">
                  <c:v>-8.4033613445378408E-3</c:v>
                </c:pt>
                <c:pt idx="9276">
                  <c:v>-8.4033613445378408E-3</c:v>
                </c:pt>
                <c:pt idx="9277">
                  <c:v>-8.4033613445378408E-3</c:v>
                </c:pt>
                <c:pt idx="9278">
                  <c:v>-9.2436974789916193E-3</c:v>
                </c:pt>
                <c:pt idx="9279">
                  <c:v>-9.2436974789916193E-3</c:v>
                </c:pt>
                <c:pt idx="9280">
                  <c:v>-9.2436974789916193E-3</c:v>
                </c:pt>
                <c:pt idx="9281">
                  <c:v>-9.2436974789916193E-3</c:v>
                </c:pt>
                <c:pt idx="9282">
                  <c:v>-9.2436974789916193E-3</c:v>
                </c:pt>
                <c:pt idx="9283">
                  <c:v>-9.2436974789916193E-3</c:v>
                </c:pt>
                <c:pt idx="9284">
                  <c:v>-9.2436974789916193E-3</c:v>
                </c:pt>
                <c:pt idx="9285">
                  <c:v>-9.2436974789916193E-3</c:v>
                </c:pt>
                <c:pt idx="9286">
                  <c:v>-9.2436974789916193E-3</c:v>
                </c:pt>
                <c:pt idx="9287">
                  <c:v>-9.2436974789916193E-3</c:v>
                </c:pt>
                <c:pt idx="9288">
                  <c:v>-9.2436974789916193E-3</c:v>
                </c:pt>
                <c:pt idx="9289">
                  <c:v>-9.2436974789916193E-3</c:v>
                </c:pt>
                <c:pt idx="9290">
                  <c:v>-9.2436974789916193E-3</c:v>
                </c:pt>
                <c:pt idx="9291">
                  <c:v>-9.2436974789916193E-3</c:v>
                </c:pt>
                <c:pt idx="9292">
                  <c:v>-9.2436974789916193E-3</c:v>
                </c:pt>
                <c:pt idx="9293">
                  <c:v>-9.2436974789916193E-3</c:v>
                </c:pt>
                <c:pt idx="9294">
                  <c:v>-9.2436974789916193E-3</c:v>
                </c:pt>
                <c:pt idx="9295">
                  <c:v>-9.2436974789916193E-3</c:v>
                </c:pt>
                <c:pt idx="9296">
                  <c:v>-9.2436974789916193E-3</c:v>
                </c:pt>
                <c:pt idx="9297">
                  <c:v>-9.2436974789916193E-3</c:v>
                </c:pt>
                <c:pt idx="9298">
                  <c:v>-9.2436974789916193E-3</c:v>
                </c:pt>
                <c:pt idx="9299">
                  <c:v>-8.4033613445378408E-3</c:v>
                </c:pt>
                <c:pt idx="9300">
                  <c:v>-9.2436974789916193E-3</c:v>
                </c:pt>
                <c:pt idx="9301">
                  <c:v>-9.2436974789916193E-3</c:v>
                </c:pt>
                <c:pt idx="9302">
                  <c:v>-9.2436974789916193E-3</c:v>
                </c:pt>
                <c:pt idx="9303">
                  <c:v>-9.2436974789916193E-3</c:v>
                </c:pt>
                <c:pt idx="9304">
                  <c:v>-9.2436974789916193E-3</c:v>
                </c:pt>
                <c:pt idx="9305">
                  <c:v>-9.2436974789916193E-3</c:v>
                </c:pt>
                <c:pt idx="9306">
                  <c:v>-9.2436974789916193E-3</c:v>
                </c:pt>
                <c:pt idx="9307">
                  <c:v>-9.2436974789916193E-3</c:v>
                </c:pt>
                <c:pt idx="9308">
                  <c:v>-9.2436974789916193E-3</c:v>
                </c:pt>
                <c:pt idx="9309">
                  <c:v>-9.2436974789916193E-3</c:v>
                </c:pt>
                <c:pt idx="9310">
                  <c:v>-9.2436974789916193E-3</c:v>
                </c:pt>
                <c:pt idx="9311">
                  <c:v>-9.2436974789916193E-3</c:v>
                </c:pt>
                <c:pt idx="9312">
                  <c:v>-9.2436974789916193E-3</c:v>
                </c:pt>
                <c:pt idx="9313">
                  <c:v>-9.2436974789916193E-3</c:v>
                </c:pt>
                <c:pt idx="9314">
                  <c:v>-9.2436974789916193E-3</c:v>
                </c:pt>
                <c:pt idx="9315">
                  <c:v>-9.2436974789916193E-3</c:v>
                </c:pt>
                <c:pt idx="9316">
                  <c:v>-9.2436974789916193E-3</c:v>
                </c:pt>
                <c:pt idx="9317">
                  <c:v>-9.2436974789916193E-3</c:v>
                </c:pt>
                <c:pt idx="9318">
                  <c:v>-9.2436974789916193E-3</c:v>
                </c:pt>
                <c:pt idx="9319">
                  <c:v>-9.2436974789916193E-3</c:v>
                </c:pt>
                <c:pt idx="9320">
                  <c:v>-9.2436974789916193E-3</c:v>
                </c:pt>
                <c:pt idx="9321">
                  <c:v>-9.2436974789916193E-3</c:v>
                </c:pt>
                <c:pt idx="9322">
                  <c:v>-9.2436974789916193E-3</c:v>
                </c:pt>
                <c:pt idx="9323">
                  <c:v>-9.2436974789916193E-3</c:v>
                </c:pt>
                <c:pt idx="9324">
                  <c:v>-9.2436974789916193E-3</c:v>
                </c:pt>
                <c:pt idx="9325">
                  <c:v>-9.2436974789916193E-3</c:v>
                </c:pt>
                <c:pt idx="9326">
                  <c:v>-9.2436974789916193E-3</c:v>
                </c:pt>
                <c:pt idx="9327">
                  <c:v>-9.2436974789916193E-3</c:v>
                </c:pt>
                <c:pt idx="9328">
                  <c:v>-1.0084033613445301E-2</c:v>
                </c:pt>
                <c:pt idx="9329">
                  <c:v>-1.0084033613445301E-2</c:v>
                </c:pt>
                <c:pt idx="9330">
                  <c:v>-1.0084033613445301E-2</c:v>
                </c:pt>
                <c:pt idx="9331">
                  <c:v>-1.0084033613445301E-2</c:v>
                </c:pt>
                <c:pt idx="9332">
                  <c:v>-1.0084033613445301E-2</c:v>
                </c:pt>
                <c:pt idx="9333">
                  <c:v>-1.0084033613445301E-2</c:v>
                </c:pt>
                <c:pt idx="9334">
                  <c:v>-1.0084033613445301E-2</c:v>
                </c:pt>
                <c:pt idx="9335">
                  <c:v>-1.0084033613445301E-2</c:v>
                </c:pt>
                <c:pt idx="9336">
                  <c:v>-1.0084033613445301E-2</c:v>
                </c:pt>
                <c:pt idx="9337">
                  <c:v>-1.0084033613445301E-2</c:v>
                </c:pt>
                <c:pt idx="9338">
                  <c:v>-1.0084033613445301E-2</c:v>
                </c:pt>
                <c:pt idx="9339">
                  <c:v>-1.0084033613445301E-2</c:v>
                </c:pt>
                <c:pt idx="9340">
                  <c:v>-1.0084033613445301E-2</c:v>
                </c:pt>
                <c:pt idx="9341">
                  <c:v>-1.0084033613445301E-2</c:v>
                </c:pt>
                <c:pt idx="9342">
                  <c:v>-1.0084033613445301E-2</c:v>
                </c:pt>
                <c:pt idx="9343">
                  <c:v>-1.0084033613445301E-2</c:v>
                </c:pt>
                <c:pt idx="9344">
                  <c:v>-1.0084033613445301E-2</c:v>
                </c:pt>
                <c:pt idx="9345">
                  <c:v>-1.0084033613445301E-2</c:v>
                </c:pt>
                <c:pt idx="9346">
                  <c:v>-1.0084033613445301E-2</c:v>
                </c:pt>
                <c:pt idx="9347">
                  <c:v>-1.0084033613445301E-2</c:v>
                </c:pt>
                <c:pt idx="9348">
                  <c:v>-1.0084033613445301E-2</c:v>
                </c:pt>
                <c:pt idx="9349">
                  <c:v>-1.0084033613445301E-2</c:v>
                </c:pt>
                <c:pt idx="9350">
                  <c:v>-1.0084033613445301E-2</c:v>
                </c:pt>
                <c:pt idx="9351">
                  <c:v>-1.0084033613445301E-2</c:v>
                </c:pt>
                <c:pt idx="9352">
                  <c:v>-1.0084033613445301E-2</c:v>
                </c:pt>
                <c:pt idx="9353">
                  <c:v>-1.0084033613445301E-2</c:v>
                </c:pt>
                <c:pt idx="9354">
                  <c:v>-1.0084033613445301E-2</c:v>
                </c:pt>
                <c:pt idx="9355">
                  <c:v>-1.0084033613445301E-2</c:v>
                </c:pt>
                <c:pt idx="9356">
                  <c:v>-1.09243697478991E-2</c:v>
                </c:pt>
                <c:pt idx="9357">
                  <c:v>-1.09243697478991E-2</c:v>
                </c:pt>
                <c:pt idx="9358">
                  <c:v>-1.09243697478991E-2</c:v>
                </c:pt>
                <c:pt idx="9359">
                  <c:v>-1.09243697478991E-2</c:v>
                </c:pt>
                <c:pt idx="9360">
                  <c:v>-1.09243697478991E-2</c:v>
                </c:pt>
                <c:pt idx="9361">
                  <c:v>-1.09243697478991E-2</c:v>
                </c:pt>
                <c:pt idx="9362">
                  <c:v>-1.09243697478991E-2</c:v>
                </c:pt>
                <c:pt idx="9363">
                  <c:v>-1.1764705882352899E-2</c:v>
                </c:pt>
                <c:pt idx="9364">
                  <c:v>-1.1764705882352899E-2</c:v>
                </c:pt>
                <c:pt idx="9365">
                  <c:v>-1.1764705882352899E-2</c:v>
                </c:pt>
                <c:pt idx="9366">
                  <c:v>-1.1764705882352899E-2</c:v>
                </c:pt>
                <c:pt idx="9367">
                  <c:v>-1.1764705882352899E-2</c:v>
                </c:pt>
                <c:pt idx="9368">
                  <c:v>-1.1764705882352899E-2</c:v>
                </c:pt>
                <c:pt idx="9369">
                  <c:v>-1.1764705882352899E-2</c:v>
                </c:pt>
                <c:pt idx="9370">
                  <c:v>-1.1764705882352899E-2</c:v>
                </c:pt>
                <c:pt idx="9371">
                  <c:v>-1.1764705882352899E-2</c:v>
                </c:pt>
                <c:pt idx="9372">
                  <c:v>-1.1764705882352899E-2</c:v>
                </c:pt>
                <c:pt idx="9373">
                  <c:v>-1.1764705882352899E-2</c:v>
                </c:pt>
                <c:pt idx="9374">
                  <c:v>-1.1764705882352899E-2</c:v>
                </c:pt>
                <c:pt idx="9375">
                  <c:v>-1.1764705882352899E-2</c:v>
                </c:pt>
                <c:pt idx="9376">
                  <c:v>-1.1764705882352899E-2</c:v>
                </c:pt>
                <c:pt idx="9377">
                  <c:v>-1.1764705882352899E-2</c:v>
                </c:pt>
                <c:pt idx="9378">
                  <c:v>-1.1764705882352899E-2</c:v>
                </c:pt>
                <c:pt idx="9379">
                  <c:v>-1.09243697478991E-2</c:v>
                </c:pt>
                <c:pt idx="9380">
                  <c:v>-1.09243697478991E-2</c:v>
                </c:pt>
                <c:pt idx="9381">
                  <c:v>-1.09243697478991E-2</c:v>
                </c:pt>
                <c:pt idx="9382">
                  <c:v>-1.09243697478991E-2</c:v>
                </c:pt>
                <c:pt idx="9383">
                  <c:v>-1.09243697478991E-2</c:v>
                </c:pt>
                <c:pt idx="9384">
                  <c:v>-1.09243697478991E-2</c:v>
                </c:pt>
                <c:pt idx="9385">
                  <c:v>-1.09243697478991E-2</c:v>
                </c:pt>
                <c:pt idx="9386">
                  <c:v>-1.0084033613445301E-2</c:v>
                </c:pt>
                <c:pt idx="9387">
                  <c:v>-1.0084033613445301E-2</c:v>
                </c:pt>
                <c:pt idx="9388">
                  <c:v>-1.0084033613445301E-2</c:v>
                </c:pt>
                <c:pt idx="9389">
                  <c:v>-1.0084033613445301E-2</c:v>
                </c:pt>
                <c:pt idx="9390">
                  <c:v>-1.0084033613445301E-2</c:v>
                </c:pt>
                <c:pt idx="9391">
                  <c:v>-1.0084033613445301E-2</c:v>
                </c:pt>
                <c:pt idx="9392">
                  <c:v>-1.0084033613445301E-2</c:v>
                </c:pt>
                <c:pt idx="9393">
                  <c:v>-1.0084033613445301E-2</c:v>
                </c:pt>
                <c:pt idx="9394">
                  <c:v>-1.0084033613445301E-2</c:v>
                </c:pt>
                <c:pt idx="9395">
                  <c:v>-1.0084033613445301E-2</c:v>
                </c:pt>
                <c:pt idx="9396">
                  <c:v>-1.0084033613445301E-2</c:v>
                </c:pt>
                <c:pt idx="9397">
                  <c:v>-1.0084033613445301E-2</c:v>
                </c:pt>
                <c:pt idx="9398">
                  <c:v>-1.0084033613445301E-2</c:v>
                </c:pt>
                <c:pt idx="9399">
                  <c:v>-1.0084033613445301E-2</c:v>
                </c:pt>
                <c:pt idx="9400">
                  <c:v>-1.0084033613445301E-2</c:v>
                </c:pt>
                <c:pt idx="9401">
                  <c:v>-1.0084033613445301E-2</c:v>
                </c:pt>
                <c:pt idx="9402">
                  <c:v>-1.0084033613445301E-2</c:v>
                </c:pt>
                <c:pt idx="9403">
                  <c:v>-1.0084033613445301E-2</c:v>
                </c:pt>
                <c:pt idx="9404">
                  <c:v>-1.0084033613445301E-2</c:v>
                </c:pt>
                <c:pt idx="9405">
                  <c:v>-1.0084033613445301E-2</c:v>
                </c:pt>
                <c:pt idx="9406">
                  <c:v>-1.0084033613445301E-2</c:v>
                </c:pt>
                <c:pt idx="9407">
                  <c:v>-1.0084033613445301E-2</c:v>
                </c:pt>
                <c:pt idx="9408">
                  <c:v>-1.0084033613445301E-2</c:v>
                </c:pt>
                <c:pt idx="9409">
                  <c:v>-1.0084033613445301E-2</c:v>
                </c:pt>
                <c:pt idx="9410">
                  <c:v>-1.0084033613445301E-2</c:v>
                </c:pt>
                <c:pt idx="9411">
                  <c:v>-1.0084033613445301E-2</c:v>
                </c:pt>
                <c:pt idx="9412">
                  <c:v>-1.0084033613445301E-2</c:v>
                </c:pt>
                <c:pt idx="9413">
                  <c:v>-1.0084033613445301E-2</c:v>
                </c:pt>
                <c:pt idx="9414">
                  <c:v>-1.0084033613445301E-2</c:v>
                </c:pt>
                <c:pt idx="9415">
                  <c:v>-1.0084033613445301E-2</c:v>
                </c:pt>
                <c:pt idx="9416">
                  <c:v>-1.0084033613445301E-2</c:v>
                </c:pt>
                <c:pt idx="9417">
                  <c:v>-1.0084033613445301E-2</c:v>
                </c:pt>
                <c:pt idx="9418">
                  <c:v>-1.0084033613445301E-2</c:v>
                </c:pt>
                <c:pt idx="9419">
                  <c:v>-1.0084033613445301E-2</c:v>
                </c:pt>
                <c:pt idx="9420">
                  <c:v>-1.0084033613445301E-2</c:v>
                </c:pt>
                <c:pt idx="9421">
                  <c:v>-1.0084033613445301E-2</c:v>
                </c:pt>
                <c:pt idx="9422">
                  <c:v>-1.0084033613445301E-2</c:v>
                </c:pt>
                <c:pt idx="9423">
                  <c:v>-1.0084033613445301E-2</c:v>
                </c:pt>
                <c:pt idx="9424">
                  <c:v>-9.2436974789915603E-3</c:v>
                </c:pt>
                <c:pt idx="9425">
                  <c:v>-9.2436974789915603E-3</c:v>
                </c:pt>
                <c:pt idx="9426">
                  <c:v>-9.2436974789915603E-3</c:v>
                </c:pt>
                <c:pt idx="9427">
                  <c:v>-9.2436974789915603E-3</c:v>
                </c:pt>
                <c:pt idx="9428">
                  <c:v>-8.4033613445377801E-3</c:v>
                </c:pt>
                <c:pt idx="9429">
                  <c:v>-9.2436974789915603E-3</c:v>
                </c:pt>
                <c:pt idx="9430">
                  <c:v>-9.2436974789915603E-3</c:v>
                </c:pt>
                <c:pt idx="9431">
                  <c:v>-9.2436974789915603E-3</c:v>
                </c:pt>
                <c:pt idx="9432">
                  <c:v>-9.2436974789915603E-3</c:v>
                </c:pt>
                <c:pt idx="9433">
                  <c:v>-9.2436974789915603E-3</c:v>
                </c:pt>
                <c:pt idx="9434">
                  <c:v>-9.2436974789915603E-3</c:v>
                </c:pt>
                <c:pt idx="9435">
                  <c:v>-9.2436974789915603E-3</c:v>
                </c:pt>
                <c:pt idx="9436">
                  <c:v>-9.2436974789915603E-3</c:v>
                </c:pt>
                <c:pt idx="9437">
                  <c:v>-9.2436974789915603E-3</c:v>
                </c:pt>
                <c:pt idx="9438">
                  <c:v>-9.2436974789915603E-3</c:v>
                </c:pt>
                <c:pt idx="9439">
                  <c:v>-9.2436974789915603E-3</c:v>
                </c:pt>
                <c:pt idx="9440">
                  <c:v>-9.2436974789915603E-3</c:v>
                </c:pt>
                <c:pt idx="9441">
                  <c:v>-9.2436974789915603E-3</c:v>
                </c:pt>
                <c:pt idx="9442">
                  <c:v>-9.2436974789915603E-3</c:v>
                </c:pt>
                <c:pt idx="9443">
                  <c:v>-9.2436974789915603E-3</c:v>
                </c:pt>
                <c:pt idx="9444">
                  <c:v>-1.0084033613445301E-2</c:v>
                </c:pt>
                <c:pt idx="9445">
                  <c:v>-1.0084033613445301E-2</c:v>
                </c:pt>
                <c:pt idx="9446">
                  <c:v>-1.0084033613445301E-2</c:v>
                </c:pt>
                <c:pt idx="9447">
                  <c:v>-1.0084033613445301E-2</c:v>
                </c:pt>
                <c:pt idx="9448">
                  <c:v>-1.0084033613445301E-2</c:v>
                </c:pt>
                <c:pt idx="9449">
                  <c:v>-1.0084033613445301E-2</c:v>
                </c:pt>
                <c:pt idx="9450">
                  <c:v>-1.0084033613445301E-2</c:v>
                </c:pt>
                <c:pt idx="9451">
                  <c:v>-1.0084033613445301E-2</c:v>
                </c:pt>
                <c:pt idx="9452">
                  <c:v>-1.0084033613445301E-2</c:v>
                </c:pt>
                <c:pt idx="9453">
                  <c:v>-1.0084033613445301E-2</c:v>
                </c:pt>
                <c:pt idx="9454">
                  <c:v>-1.0084033613445301E-2</c:v>
                </c:pt>
                <c:pt idx="9455">
                  <c:v>-1.0084033613445301E-2</c:v>
                </c:pt>
                <c:pt idx="9456">
                  <c:v>-1.0084033613445301E-2</c:v>
                </c:pt>
                <c:pt idx="9457">
                  <c:v>-1.0084033613445301E-2</c:v>
                </c:pt>
                <c:pt idx="9458">
                  <c:v>-1.0084033613445301E-2</c:v>
                </c:pt>
                <c:pt idx="9459">
                  <c:v>-1.0084033613445301E-2</c:v>
                </c:pt>
                <c:pt idx="9460">
                  <c:v>-1.0084033613445301E-2</c:v>
                </c:pt>
                <c:pt idx="9461">
                  <c:v>-1.0084033613445301E-2</c:v>
                </c:pt>
                <c:pt idx="9462">
                  <c:v>-9.2436974789915603E-3</c:v>
                </c:pt>
                <c:pt idx="9463">
                  <c:v>-9.2436974789915603E-3</c:v>
                </c:pt>
                <c:pt idx="9464">
                  <c:v>-8.4033613445377801E-3</c:v>
                </c:pt>
                <c:pt idx="9465">
                  <c:v>-8.4033613445377801E-3</c:v>
                </c:pt>
                <c:pt idx="9466">
                  <c:v>-8.4033613445377801E-3</c:v>
                </c:pt>
                <c:pt idx="9467">
                  <c:v>-8.4033613445377801E-3</c:v>
                </c:pt>
                <c:pt idx="9468">
                  <c:v>-8.4033613445377801E-3</c:v>
                </c:pt>
                <c:pt idx="9469">
                  <c:v>-8.4033613445377801E-3</c:v>
                </c:pt>
                <c:pt idx="9470">
                  <c:v>-8.4033613445377801E-3</c:v>
                </c:pt>
                <c:pt idx="9471">
                  <c:v>-8.4033613445377801E-3</c:v>
                </c:pt>
                <c:pt idx="9472">
                  <c:v>-8.4033613445377801E-3</c:v>
                </c:pt>
                <c:pt idx="9473">
                  <c:v>-8.4033613445377801E-3</c:v>
                </c:pt>
                <c:pt idx="9474">
                  <c:v>-8.4033613445377801E-3</c:v>
                </c:pt>
                <c:pt idx="9475">
                  <c:v>-8.4033613445377801E-3</c:v>
                </c:pt>
                <c:pt idx="9476">
                  <c:v>-8.4033613445377801E-3</c:v>
                </c:pt>
                <c:pt idx="9477">
                  <c:v>-8.4033613445377801E-3</c:v>
                </c:pt>
                <c:pt idx="9478">
                  <c:v>-8.4033613445377801E-3</c:v>
                </c:pt>
                <c:pt idx="9479">
                  <c:v>-8.4033613445377801E-3</c:v>
                </c:pt>
                <c:pt idx="9480">
                  <c:v>-8.4033613445377801E-3</c:v>
                </c:pt>
                <c:pt idx="9481">
                  <c:v>-8.4033613445377801E-3</c:v>
                </c:pt>
                <c:pt idx="9482">
                  <c:v>-8.4033613445377801E-3</c:v>
                </c:pt>
                <c:pt idx="9483">
                  <c:v>-8.4033613445377801E-3</c:v>
                </c:pt>
                <c:pt idx="9484">
                  <c:v>-8.4033613445377801E-3</c:v>
                </c:pt>
                <c:pt idx="9485">
                  <c:v>-8.4033613445377801E-3</c:v>
                </c:pt>
                <c:pt idx="9486">
                  <c:v>-8.4033613445377801E-3</c:v>
                </c:pt>
                <c:pt idx="9487">
                  <c:v>-8.4033613445377801E-3</c:v>
                </c:pt>
                <c:pt idx="9488">
                  <c:v>-8.4033613445377801E-3</c:v>
                </c:pt>
                <c:pt idx="9489">
                  <c:v>-9.2436974789915603E-3</c:v>
                </c:pt>
                <c:pt idx="9490">
                  <c:v>-9.2436974789915603E-3</c:v>
                </c:pt>
                <c:pt idx="9491">
                  <c:v>-9.2436974789915603E-3</c:v>
                </c:pt>
                <c:pt idx="9492">
                  <c:v>-9.2436974789915603E-3</c:v>
                </c:pt>
                <c:pt idx="9493">
                  <c:v>-1.0084033613445301E-2</c:v>
                </c:pt>
                <c:pt idx="9494">
                  <c:v>-1.0084033613445301E-2</c:v>
                </c:pt>
                <c:pt idx="9495">
                  <c:v>-1.0084033613445301E-2</c:v>
                </c:pt>
                <c:pt idx="9496">
                  <c:v>-1.0084033613445301E-2</c:v>
                </c:pt>
                <c:pt idx="9497">
                  <c:v>-1.0084033613445301E-2</c:v>
                </c:pt>
                <c:pt idx="9498">
                  <c:v>-1.0084033613445301E-2</c:v>
                </c:pt>
                <c:pt idx="9499">
                  <c:v>-1.0084033613445301E-2</c:v>
                </c:pt>
                <c:pt idx="9500">
                  <c:v>-1.0084033613445301E-2</c:v>
                </c:pt>
                <c:pt idx="9501">
                  <c:v>-1.0084033613445301E-2</c:v>
                </c:pt>
                <c:pt idx="9502">
                  <c:v>-1.0084033613445301E-2</c:v>
                </c:pt>
                <c:pt idx="9503">
                  <c:v>-1.0084033613445301E-2</c:v>
                </c:pt>
                <c:pt idx="9504">
                  <c:v>-1.0084033613445301E-2</c:v>
                </c:pt>
                <c:pt idx="9505">
                  <c:v>-1.0084033613445301E-2</c:v>
                </c:pt>
                <c:pt idx="9506">
                  <c:v>-1.0084033613445301E-2</c:v>
                </c:pt>
                <c:pt idx="9507">
                  <c:v>-1.0084033613445301E-2</c:v>
                </c:pt>
                <c:pt idx="9508">
                  <c:v>-1.0084033613445301E-2</c:v>
                </c:pt>
                <c:pt idx="9509">
                  <c:v>-1.0084033613445301E-2</c:v>
                </c:pt>
                <c:pt idx="9510">
                  <c:v>-1.0084033613445301E-2</c:v>
                </c:pt>
                <c:pt idx="9511">
                  <c:v>-1.0084033613445301E-2</c:v>
                </c:pt>
                <c:pt idx="9512">
                  <c:v>-1.0084033613445301E-2</c:v>
                </c:pt>
                <c:pt idx="9513">
                  <c:v>-1.0084033613445301E-2</c:v>
                </c:pt>
                <c:pt idx="9514">
                  <c:v>-1.0084033613445301E-2</c:v>
                </c:pt>
                <c:pt idx="9515">
                  <c:v>-1.0084033613445301E-2</c:v>
                </c:pt>
                <c:pt idx="9516">
                  <c:v>-1.09243697478991E-2</c:v>
                </c:pt>
                <c:pt idx="9517">
                  <c:v>-1.09243697478991E-2</c:v>
                </c:pt>
                <c:pt idx="9518">
                  <c:v>-1.09243697478991E-2</c:v>
                </c:pt>
                <c:pt idx="9519">
                  <c:v>-1.09243697478991E-2</c:v>
                </c:pt>
                <c:pt idx="9520">
                  <c:v>-1.09243697478991E-2</c:v>
                </c:pt>
                <c:pt idx="9521">
                  <c:v>-1.09243697478991E-2</c:v>
                </c:pt>
                <c:pt idx="9522">
                  <c:v>-1.09243697478991E-2</c:v>
                </c:pt>
                <c:pt idx="9523">
                  <c:v>-1.09243697478991E-2</c:v>
                </c:pt>
                <c:pt idx="9524">
                  <c:v>-1.09243697478991E-2</c:v>
                </c:pt>
                <c:pt idx="9525">
                  <c:v>-1.09243697478991E-2</c:v>
                </c:pt>
                <c:pt idx="9526">
                  <c:v>-1.09243697478991E-2</c:v>
                </c:pt>
                <c:pt idx="9527">
                  <c:v>-1.09243697478991E-2</c:v>
                </c:pt>
                <c:pt idx="9528">
                  <c:v>-1.09243697478991E-2</c:v>
                </c:pt>
                <c:pt idx="9529">
                  <c:v>-1.09243697478991E-2</c:v>
                </c:pt>
                <c:pt idx="9530">
                  <c:v>-1.09243697478991E-2</c:v>
                </c:pt>
                <c:pt idx="9531">
                  <c:v>-1.09243697478991E-2</c:v>
                </c:pt>
                <c:pt idx="9532">
                  <c:v>-1.09243697478991E-2</c:v>
                </c:pt>
                <c:pt idx="9533">
                  <c:v>-1.09243697478991E-2</c:v>
                </c:pt>
                <c:pt idx="9534">
                  <c:v>-1.09243697478991E-2</c:v>
                </c:pt>
                <c:pt idx="9535">
                  <c:v>-1.09243697478991E-2</c:v>
                </c:pt>
                <c:pt idx="9536">
                  <c:v>-1.09243697478991E-2</c:v>
                </c:pt>
                <c:pt idx="9537">
                  <c:v>-1.09243697478991E-2</c:v>
                </c:pt>
                <c:pt idx="9538">
                  <c:v>-1.09243697478991E-2</c:v>
                </c:pt>
                <c:pt idx="9539">
                  <c:v>-1.09243697478991E-2</c:v>
                </c:pt>
                <c:pt idx="9540">
                  <c:v>-1.0084033613445301E-2</c:v>
                </c:pt>
                <c:pt idx="9541">
                  <c:v>-1.0084033613445301E-2</c:v>
                </c:pt>
                <c:pt idx="9542">
                  <c:v>-1.0084033613445301E-2</c:v>
                </c:pt>
                <c:pt idx="9543">
                  <c:v>-1.0084033613445301E-2</c:v>
                </c:pt>
                <c:pt idx="9544">
                  <c:v>-1.0084033613445301E-2</c:v>
                </c:pt>
                <c:pt idx="9545">
                  <c:v>-1.0084033613445301E-2</c:v>
                </c:pt>
                <c:pt idx="9546">
                  <c:v>-9.2436974789915603E-3</c:v>
                </c:pt>
                <c:pt idx="9547">
                  <c:v>-9.2436974789915603E-3</c:v>
                </c:pt>
                <c:pt idx="9548">
                  <c:v>-9.2436974789915603E-3</c:v>
                </c:pt>
                <c:pt idx="9549">
                  <c:v>-9.2436974789915603E-3</c:v>
                </c:pt>
                <c:pt idx="9550">
                  <c:v>-9.2436974789915603E-3</c:v>
                </c:pt>
                <c:pt idx="9551">
                  <c:v>-9.2436974789915603E-3</c:v>
                </c:pt>
                <c:pt idx="9552">
                  <c:v>-9.2436974789915603E-3</c:v>
                </c:pt>
                <c:pt idx="9553">
                  <c:v>-9.2436974789915603E-3</c:v>
                </c:pt>
                <c:pt idx="9554">
                  <c:v>-9.2436974789915603E-3</c:v>
                </c:pt>
                <c:pt idx="9555">
                  <c:v>-9.2436974789915603E-3</c:v>
                </c:pt>
                <c:pt idx="9556">
                  <c:v>-9.2436974789915603E-3</c:v>
                </c:pt>
                <c:pt idx="9557">
                  <c:v>-9.2436974789915603E-3</c:v>
                </c:pt>
                <c:pt idx="9558">
                  <c:v>-9.2436974789915603E-3</c:v>
                </c:pt>
                <c:pt idx="9559">
                  <c:v>-9.2436974789915603E-3</c:v>
                </c:pt>
                <c:pt idx="9560">
                  <c:v>-9.2436974789915603E-3</c:v>
                </c:pt>
                <c:pt idx="9561">
                  <c:v>-9.2436974789915603E-3</c:v>
                </c:pt>
                <c:pt idx="9562">
                  <c:v>-9.2436974789915603E-3</c:v>
                </c:pt>
                <c:pt idx="9563">
                  <c:v>-9.2436974789915603E-3</c:v>
                </c:pt>
                <c:pt idx="9564">
                  <c:v>-9.2436974789915603E-3</c:v>
                </c:pt>
                <c:pt idx="9565">
                  <c:v>-9.2436974789915603E-3</c:v>
                </c:pt>
                <c:pt idx="9566">
                  <c:v>-9.2436974789915603E-3</c:v>
                </c:pt>
                <c:pt idx="9567">
                  <c:v>-9.2436974789915603E-3</c:v>
                </c:pt>
                <c:pt idx="9568">
                  <c:v>-9.2436974789915603E-3</c:v>
                </c:pt>
                <c:pt idx="9569">
                  <c:v>-9.2436974789915603E-3</c:v>
                </c:pt>
                <c:pt idx="9570">
                  <c:v>-9.2436974789915603E-3</c:v>
                </c:pt>
                <c:pt idx="9571">
                  <c:v>-9.2436974789915603E-3</c:v>
                </c:pt>
                <c:pt idx="9572">
                  <c:v>-1.0084033613445301E-2</c:v>
                </c:pt>
                <c:pt idx="9573">
                  <c:v>-1.0084033613445301E-2</c:v>
                </c:pt>
                <c:pt idx="9574">
                  <c:v>-1.0084033613445301E-2</c:v>
                </c:pt>
                <c:pt idx="9575">
                  <c:v>-1.0084033613445301E-2</c:v>
                </c:pt>
                <c:pt idx="9576">
                  <c:v>-1.0084033613445301E-2</c:v>
                </c:pt>
                <c:pt idx="9577">
                  <c:v>-1.0084033613445301E-2</c:v>
                </c:pt>
                <c:pt idx="9578">
                  <c:v>-1.0084033613445301E-2</c:v>
                </c:pt>
                <c:pt idx="9579">
                  <c:v>-1.0084033613445301E-2</c:v>
                </c:pt>
                <c:pt idx="9580">
                  <c:v>-1.0084033613445301E-2</c:v>
                </c:pt>
                <c:pt idx="9581">
                  <c:v>-1.0084033613445301E-2</c:v>
                </c:pt>
                <c:pt idx="9582">
                  <c:v>-1.0084033613445301E-2</c:v>
                </c:pt>
                <c:pt idx="9583">
                  <c:v>-1.0084033613445301E-2</c:v>
                </c:pt>
                <c:pt idx="9584">
                  <c:v>-1.0084033613445301E-2</c:v>
                </c:pt>
                <c:pt idx="9585">
                  <c:v>-1.0084033613445301E-2</c:v>
                </c:pt>
                <c:pt idx="9586">
                  <c:v>-1.0084033613445301E-2</c:v>
                </c:pt>
                <c:pt idx="9587">
                  <c:v>-1.0084033613445301E-2</c:v>
                </c:pt>
                <c:pt idx="9588">
                  <c:v>-1.0084033613445301E-2</c:v>
                </c:pt>
                <c:pt idx="9589">
                  <c:v>-1.0084033613445301E-2</c:v>
                </c:pt>
                <c:pt idx="9590">
                  <c:v>-1.0084033613445301E-2</c:v>
                </c:pt>
                <c:pt idx="9591">
                  <c:v>-1.0084033613445301E-2</c:v>
                </c:pt>
                <c:pt idx="9592">
                  <c:v>-1.0084033613445301E-2</c:v>
                </c:pt>
                <c:pt idx="9593">
                  <c:v>-1.0084033613445301E-2</c:v>
                </c:pt>
                <c:pt idx="9594">
                  <c:v>-1.0084033613445301E-2</c:v>
                </c:pt>
                <c:pt idx="9595">
                  <c:v>-1.0084033613445301E-2</c:v>
                </c:pt>
                <c:pt idx="9596">
                  <c:v>-1.0084033613445301E-2</c:v>
                </c:pt>
                <c:pt idx="9597">
                  <c:v>-1.0084033613445301E-2</c:v>
                </c:pt>
                <c:pt idx="9598">
                  <c:v>-1.0084033613445301E-2</c:v>
                </c:pt>
                <c:pt idx="9599">
                  <c:v>-1.0084033613445301E-2</c:v>
                </c:pt>
                <c:pt idx="9600">
                  <c:v>-1.0084033613445301E-2</c:v>
                </c:pt>
                <c:pt idx="9601">
                  <c:v>-1.0084033613445301E-2</c:v>
                </c:pt>
                <c:pt idx="9602">
                  <c:v>-1.0084033613445301E-2</c:v>
                </c:pt>
                <c:pt idx="9603">
                  <c:v>-1.0084033613445301E-2</c:v>
                </c:pt>
                <c:pt idx="9604">
                  <c:v>-1.09243697478991E-2</c:v>
                </c:pt>
                <c:pt idx="9605">
                  <c:v>-1.09243697478991E-2</c:v>
                </c:pt>
                <c:pt idx="9606">
                  <c:v>-1.09243697478991E-2</c:v>
                </c:pt>
                <c:pt idx="9607">
                  <c:v>-1.09243697478991E-2</c:v>
                </c:pt>
                <c:pt idx="9608">
                  <c:v>-1.09243697478991E-2</c:v>
                </c:pt>
                <c:pt idx="9609">
                  <c:v>-1.09243697478991E-2</c:v>
                </c:pt>
                <c:pt idx="9610">
                  <c:v>-1.09243697478991E-2</c:v>
                </c:pt>
                <c:pt idx="9611">
                  <c:v>-1.09243697478991E-2</c:v>
                </c:pt>
                <c:pt idx="9612">
                  <c:v>-1.09243697478991E-2</c:v>
                </c:pt>
                <c:pt idx="9613">
                  <c:v>-1.09243697478991E-2</c:v>
                </c:pt>
                <c:pt idx="9614">
                  <c:v>-1.1764705882352899E-2</c:v>
                </c:pt>
                <c:pt idx="9615">
                  <c:v>-1.1764705882352899E-2</c:v>
                </c:pt>
                <c:pt idx="9616">
                  <c:v>-1.26050420168067E-2</c:v>
                </c:pt>
                <c:pt idx="9617">
                  <c:v>-1.26050420168067E-2</c:v>
                </c:pt>
                <c:pt idx="9618">
                  <c:v>-1.26050420168067E-2</c:v>
                </c:pt>
                <c:pt idx="9619">
                  <c:v>-1.26050420168067E-2</c:v>
                </c:pt>
                <c:pt idx="9620">
                  <c:v>-1.26050420168067E-2</c:v>
                </c:pt>
                <c:pt idx="9621">
                  <c:v>-1.26050420168067E-2</c:v>
                </c:pt>
                <c:pt idx="9622">
                  <c:v>-1.26050420168067E-2</c:v>
                </c:pt>
                <c:pt idx="9623">
                  <c:v>-1.26050420168067E-2</c:v>
                </c:pt>
                <c:pt idx="9624">
                  <c:v>-1.26050420168067E-2</c:v>
                </c:pt>
                <c:pt idx="9625">
                  <c:v>-1.26050420168067E-2</c:v>
                </c:pt>
                <c:pt idx="9626">
                  <c:v>-1.34453781512605E-2</c:v>
                </c:pt>
                <c:pt idx="9627">
                  <c:v>-1.34453781512605E-2</c:v>
                </c:pt>
                <c:pt idx="9628">
                  <c:v>-1.34453781512605E-2</c:v>
                </c:pt>
                <c:pt idx="9629">
                  <c:v>-1.34453781512605E-2</c:v>
                </c:pt>
                <c:pt idx="9630">
                  <c:v>-1.34453781512605E-2</c:v>
                </c:pt>
                <c:pt idx="9631">
                  <c:v>-1.34453781512605E-2</c:v>
                </c:pt>
                <c:pt idx="9632">
                  <c:v>-1.34453781512605E-2</c:v>
                </c:pt>
                <c:pt idx="9633">
                  <c:v>-1.34453781512605E-2</c:v>
                </c:pt>
                <c:pt idx="9634">
                  <c:v>-1.34453781512605E-2</c:v>
                </c:pt>
                <c:pt idx="9635">
                  <c:v>-1.34453781512605E-2</c:v>
                </c:pt>
                <c:pt idx="9636">
                  <c:v>-1.34453781512605E-2</c:v>
                </c:pt>
                <c:pt idx="9637">
                  <c:v>-1.34453781512605E-2</c:v>
                </c:pt>
                <c:pt idx="9638">
                  <c:v>-1.34453781512605E-2</c:v>
                </c:pt>
                <c:pt idx="9639">
                  <c:v>-1.34453781512605E-2</c:v>
                </c:pt>
                <c:pt idx="9640">
                  <c:v>-1.34453781512605E-2</c:v>
                </c:pt>
                <c:pt idx="9641">
                  <c:v>-1.34453781512605E-2</c:v>
                </c:pt>
                <c:pt idx="9642">
                  <c:v>-1.34453781512605E-2</c:v>
                </c:pt>
                <c:pt idx="9643">
                  <c:v>-1.34453781512605E-2</c:v>
                </c:pt>
                <c:pt idx="9644">
                  <c:v>-1.26050420168067E-2</c:v>
                </c:pt>
                <c:pt idx="9645">
                  <c:v>-1.26050420168067E-2</c:v>
                </c:pt>
                <c:pt idx="9646">
                  <c:v>-1.26050420168067E-2</c:v>
                </c:pt>
                <c:pt idx="9647">
                  <c:v>-1.26050420168067E-2</c:v>
                </c:pt>
                <c:pt idx="9648">
                  <c:v>-1.26050420168067E-2</c:v>
                </c:pt>
                <c:pt idx="9649">
                  <c:v>-1.26050420168067E-2</c:v>
                </c:pt>
                <c:pt idx="9650">
                  <c:v>-1.26050420168067E-2</c:v>
                </c:pt>
                <c:pt idx="9651">
                  <c:v>-1.26050420168067E-2</c:v>
                </c:pt>
                <c:pt idx="9652">
                  <c:v>-1.26050420168067E-2</c:v>
                </c:pt>
                <c:pt idx="9653">
                  <c:v>-1.26050420168067E-2</c:v>
                </c:pt>
                <c:pt idx="9654">
                  <c:v>-1.26050420168067E-2</c:v>
                </c:pt>
                <c:pt idx="9655">
                  <c:v>-1.26050420168067E-2</c:v>
                </c:pt>
                <c:pt idx="9656">
                  <c:v>-1.26050420168067E-2</c:v>
                </c:pt>
                <c:pt idx="9657">
                  <c:v>-1.26050420168067E-2</c:v>
                </c:pt>
                <c:pt idx="9658">
                  <c:v>-1.26050420168067E-2</c:v>
                </c:pt>
                <c:pt idx="9659">
                  <c:v>-1.26050420168067E-2</c:v>
                </c:pt>
                <c:pt idx="9660">
                  <c:v>-1.26050420168067E-2</c:v>
                </c:pt>
                <c:pt idx="9661">
                  <c:v>-1.26050420168067E-2</c:v>
                </c:pt>
                <c:pt idx="9662">
                  <c:v>-1.26050420168067E-2</c:v>
                </c:pt>
                <c:pt idx="9663">
                  <c:v>-1.26050420168067E-2</c:v>
                </c:pt>
                <c:pt idx="9664">
                  <c:v>-1.26050420168067E-2</c:v>
                </c:pt>
                <c:pt idx="9665">
                  <c:v>-1.1764705882352899E-2</c:v>
                </c:pt>
                <c:pt idx="9666">
                  <c:v>-1.1764705882352899E-2</c:v>
                </c:pt>
                <c:pt idx="9667">
                  <c:v>-1.1764705882352899E-2</c:v>
                </c:pt>
                <c:pt idx="9668">
                  <c:v>-1.1764705882352899E-2</c:v>
                </c:pt>
                <c:pt idx="9669">
                  <c:v>-1.1764705882352899E-2</c:v>
                </c:pt>
                <c:pt idx="9670">
                  <c:v>-1.1764705882352899E-2</c:v>
                </c:pt>
                <c:pt idx="9671">
                  <c:v>-1.1764705882352899E-2</c:v>
                </c:pt>
                <c:pt idx="9672">
                  <c:v>-1.1764705882352899E-2</c:v>
                </c:pt>
                <c:pt idx="9673">
                  <c:v>-1.1764705882352899E-2</c:v>
                </c:pt>
                <c:pt idx="9674">
                  <c:v>-1.1764705882352899E-2</c:v>
                </c:pt>
                <c:pt idx="9675">
                  <c:v>-1.1764705882352899E-2</c:v>
                </c:pt>
                <c:pt idx="9676">
                  <c:v>-1.1764705882352899E-2</c:v>
                </c:pt>
                <c:pt idx="9677">
                  <c:v>-1.09243697478991E-2</c:v>
                </c:pt>
                <c:pt idx="9678">
                  <c:v>-1.09243697478991E-2</c:v>
                </c:pt>
                <c:pt idx="9679">
                  <c:v>-1.09243697478991E-2</c:v>
                </c:pt>
                <c:pt idx="9680">
                  <c:v>-1.09243697478991E-2</c:v>
                </c:pt>
                <c:pt idx="9681">
                  <c:v>-1.09243697478991E-2</c:v>
                </c:pt>
                <c:pt idx="9682">
                  <c:v>-1.09243697478991E-2</c:v>
                </c:pt>
                <c:pt idx="9683">
                  <c:v>-1.09243697478991E-2</c:v>
                </c:pt>
                <c:pt idx="9684">
                  <c:v>-1.0084033613445301E-2</c:v>
                </c:pt>
                <c:pt idx="9685">
                  <c:v>-1.0084033613445301E-2</c:v>
                </c:pt>
                <c:pt idx="9686">
                  <c:v>-1.0084033613445301E-2</c:v>
                </c:pt>
                <c:pt idx="9687">
                  <c:v>-1.0084033613445301E-2</c:v>
                </c:pt>
                <c:pt idx="9688">
                  <c:v>-1.0084033613445301E-2</c:v>
                </c:pt>
                <c:pt idx="9689">
                  <c:v>-1.0084033613445301E-2</c:v>
                </c:pt>
                <c:pt idx="9690">
                  <c:v>-1.0084033613445301E-2</c:v>
                </c:pt>
                <c:pt idx="9691">
                  <c:v>-9.2436974789916193E-3</c:v>
                </c:pt>
                <c:pt idx="9692">
                  <c:v>-9.2436974789916193E-3</c:v>
                </c:pt>
                <c:pt idx="9693">
                  <c:v>-9.2436974789916193E-3</c:v>
                </c:pt>
                <c:pt idx="9694">
                  <c:v>-1.0084033613445301E-2</c:v>
                </c:pt>
                <c:pt idx="9695">
                  <c:v>-1.0084033613445301E-2</c:v>
                </c:pt>
                <c:pt idx="9696">
                  <c:v>-1.0084033613445301E-2</c:v>
                </c:pt>
                <c:pt idx="9697">
                  <c:v>-1.0084033613445301E-2</c:v>
                </c:pt>
                <c:pt idx="9698">
                  <c:v>-1.0084033613445301E-2</c:v>
                </c:pt>
                <c:pt idx="9699">
                  <c:v>-1.0084033613445301E-2</c:v>
                </c:pt>
                <c:pt idx="9700">
                  <c:v>-1.0084033613445301E-2</c:v>
                </c:pt>
                <c:pt idx="9701">
                  <c:v>-1.0084033613445301E-2</c:v>
                </c:pt>
                <c:pt idx="9702">
                  <c:v>-1.0084033613445301E-2</c:v>
                </c:pt>
                <c:pt idx="9703">
                  <c:v>-1.0084033613445301E-2</c:v>
                </c:pt>
                <c:pt idx="9704">
                  <c:v>-1.0084033613445301E-2</c:v>
                </c:pt>
                <c:pt idx="9705">
                  <c:v>-1.0084033613445301E-2</c:v>
                </c:pt>
                <c:pt idx="9706">
                  <c:v>-1.0084033613445301E-2</c:v>
                </c:pt>
                <c:pt idx="9707">
                  <c:v>-1.0084033613445301E-2</c:v>
                </c:pt>
                <c:pt idx="9708">
                  <c:v>-1.0084033613445301E-2</c:v>
                </c:pt>
                <c:pt idx="9709">
                  <c:v>-1.0084033613445301E-2</c:v>
                </c:pt>
                <c:pt idx="9710">
                  <c:v>-1.0084033613445301E-2</c:v>
                </c:pt>
                <c:pt idx="9711">
                  <c:v>-1.0084033613445301E-2</c:v>
                </c:pt>
                <c:pt idx="9712">
                  <c:v>-1.0084033613445301E-2</c:v>
                </c:pt>
                <c:pt idx="9713">
                  <c:v>-1.0084033613445301E-2</c:v>
                </c:pt>
                <c:pt idx="9714">
                  <c:v>-1.0084033613445301E-2</c:v>
                </c:pt>
                <c:pt idx="9715">
                  <c:v>-1.0084033613445301E-2</c:v>
                </c:pt>
                <c:pt idx="9716">
                  <c:v>-1.0084033613445301E-2</c:v>
                </c:pt>
                <c:pt idx="9717">
                  <c:v>-1.0084033613445301E-2</c:v>
                </c:pt>
                <c:pt idx="9718">
                  <c:v>-1.0084033613445301E-2</c:v>
                </c:pt>
                <c:pt idx="9719">
                  <c:v>-1.0084033613445301E-2</c:v>
                </c:pt>
                <c:pt idx="9720">
                  <c:v>-1.0084033613445301E-2</c:v>
                </c:pt>
                <c:pt idx="9721">
                  <c:v>-1.0084033613445301E-2</c:v>
                </c:pt>
                <c:pt idx="9722">
                  <c:v>-1.0084033613445301E-2</c:v>
                </c:pt>
                <c:pt idx="9723">
                  <c:v>-1.0084033613445301E-2</c:v>
                </c:pt>
                <c:pt idx="9724">
                  <c:v>-1.0084033613445301E-2</c:v>
                </c:pt>
                <c:pt idx="9725">
                  <c:v>-1.0084033613445301E-2</c:v>
                </c:pt>
                <c:pt idx="9726">
                  <c:v>-1.0084033613445301E-2</c:v>
                </c:pt>
                <c:pt idx="9727">
                  <c:v>-1.0084033613445301E-2</c:v>
                </c:pt>
                <c:pt idx="9728">
                  <c:v>-1.0084033613445301E-2</c:v>
                </c:pt>
                <c:pt idx="9729">
                  <c:v>-1.0084033613445301E-2</c:v>
                </c:pt>
                <c:pt idx="9730">
                  <c:v>-1.0084033613445301E-2</c:v>
                </c:pt>
                <c:pt idx="9731">
                  <c:v>-1.0084033613445301E-2</c:v>
                </c:pt>
                <c:pt idx="9732">
                  <c:v>-1.0084033613445301E-2</c:v>
                </c:pt>
                <c:pt idx="9733">
                  <c:v>-1.0084033613445301E-2</c:v>
                </c:pt>
                <c:pt idx="9734">
                  <c:v>-1.0084033613445301E-2</c:v>
                </c:pt>
                <c:pt idx="9735">
                  <c:v>-1.0084033613445301E-2</c:v>
                </c:pt>
                <c:pt idx="9736">
                  <c:v>-1.0084033613445301E-2</c:v>
                </c:pt>
                <c:pt idx="9737">
                  <c:v>-9.2436974789916193E-3</c:v>
                </c:pt>
                <c:pt idx="9738">
                  <c:v>-9.2436974789916193E-3</c:v>
                </c:pt>
                <c:pt idx="9739">
                  <c:v>-9.2436974789916193E-3</c:v>
                </c:pt>
                <c:pt idx="9740">
                  <c:v>-9.2436974789916193E-3</c:v>
                </c:pt>
                <c:pt idx="9741">
                  <c:v>-9.2436974789916193E-3</c:v>
                </c:pt>
                <c:pt idx="9742">
                  <c:v>-9.2436974789916193E-3</c:v>
                </c:pt>
                <c:pt idx="9743">
                  <c:v>-9.2436974789916193E-3</c:v>
                </c:pt>
                <c:pt idx="9744">
                  <c:v>-9.2436974789916193E-3</c:v>
                </c:pt>
                <c:pt idx="9745">
                  <c:v>-9.2436974789916193E-3</c:v>
                </c:pt>
                <c:pt idx="9746">
                  <c:v>-9.2436974789916193E-3</c:v>
                </c:pt>
                <c:pt idx="9747">
                  <c:v>-9.2436974789916193E-3</c:v>
                </c:pt>
                <c:pt idx="9748">
                  <c:v>-9.2436974789916193E-3</c:v>
                </c:pt>
                <c:pt idx="9749">
                  <c:v>-9.2436974789916193E-3</c:v>
                </c:pt>
                <c:pt idx="9750">
                  <c:v>-9.2436974789916193E-3</c:v>
                </c:pt>
                <c:pt idx="9751">
                  <c:v>-9.2436974789916193E-3</c:v>
                </c:pt>
                <c:pt idx="9752">
                  <c:v>-9.2436974789916193E-3</c:v>
                </c:pt>
                <c:pt idx="9753">
                  <c:v>-9.2436974789916193E-3</c:v>
                </c:pt>
                <c:pt idx="9754">
                  <c:v>-9.2436974789916193E-3</c:v>
                </c:pt>
                <c:pt idx="9755">
                  <c:v>-9.2436974789916193E-3</c:v>
                </c:pt>
                <c:pt idx="9756">
                  <c:v>-8.4033613445378408E-3</c:v>
                </c:pt>
                <c:pt idx="9757">
                  <c:v>-9.2436974789916193E-3</c:v>
                </c:pt>
                <c:pt idx="9758">
                  <c:v>-8.4033613445378408E-3</c:v>
                </c:pt>
                <c:pt idx="9759">
                  <c:v>-8.4033613445378408E-3</c:v>
                </c:pt>
                <c:pt idx="9760">
                  <c:v>-8.4033613445378408E-3</c:v>
                </c:pt>
                <c:pt idx="9761">
                  <c:v>-8.4033613445378408E-3</c:v>
                </c:pt>
                <c:pt idx="9762">
                  <c:v>-8.4033613445378408E-3</c:v>
                </c:pt>
                <c:pt idx="9763">
                  <c:v>-8.4033613445378408E-3</c:v>
                </c:pt>
                <c:pt idx="9764">
                  <c:v>-8.4033613445378408E-3</c:v>
                </c:pt>
                <c:pt idx="9765">
                  <c:v>-8.4033613445378408E-3</c:v>
                </c:pt>
                <c:pt idx="9766">
                  <c:v>-8.4033613445378408E-3</c:v>
                </c:pt>
                <c:pt idx="9767">
                  <c:v>-8.4033613445378408E-3</c:v>
                </c:pt>
                <c:pt idx="9768">
                  <c:v>-8.4033613445378408E-3</c:v>
                </c:pt>
                <c:pt idx="9769">
                  <c:v>-8.4033613445378408E-3</c:v>
                </c:pt>
                <c:pt idx="9770">
                  <c:v>-8.4033613445378408E-3</c:v>
                </c:pt>
                <c:pt idx="9771">
                  <c:v>-9.2436974789916193E-3</c:v>
                </c:pt>
                <c:pt idx="9772">
                  <c:v>-9.2436974789916193E-3</c:v>
                </c:pt>
                <c:pt idx="9773">
                  <c:v>-9.2436974789916193E-3</c:v>
                </c:pt>
                <c:pt idx="9774">
                  <c:v>-9.2436974789916193E-3</c:v>
                </c:pt>
                <c:pt idx="9775">
                  <c:v>-9.2436974789916193E-3</c:v>
                </c:pt>
                <c:pt idx="9776">
                  <c:v>-9.2436974789916193E-3</c:v>
                </c:pt>
                <c:pt idx="9777">
                  <c:v>-9.2436974789916193E-3</c:v>
                </c:pt>
                <c:pt idx="9778">
                  <c:v>-9.2436974789916193E-3</c:v>
                </c:pt>
                <c:pt idx="9779">
                  <c:v>-9.2436974789916193E-3</c:v>
                </c:pt>
                <c:pt idx="9780">
                  <c:v>-9.2436974789916193E-3</c:v>
                </c:pt>
                <c:pt idx="9781">
                  <c:v>-9.2436974789916193E-3</c:v>
                </c:pt>
                <c:pt idx="9782">
                  <c:v>-9.2436974789916193E-3</c:v>
                </c:pt>
                <c:pt idx="9783">
                  <c:v>-9.2436974789916193E-3</c:v>
                </c:pt>
                <c:pt idx="9784">
                  <c:v>-9.2436974789916193E-3</c:v>
                </c:pt>
                <c:pt idx="9785">
                  <c:v>-9.2436974789916193E-3</c:v>
                </c:pt>
                <c:pt idx="9786">
                  <c:v>-9.2436974789916193E-3</c:v>
                </c:pt>
                <c:pt idx="9787">
                  <c:v>-9.2436974789916193E-3</c:v>
                </c:pt>
                <c:pt idx="9788">
                  <c:v>-9.2436974789916193E-3</c:v>
                </c:pt>
                <c:pt idx="9789">
                  <c:v>-9.2436974789916193E-3</c:v>
                </c:pt>
                <c:pt idx="9790">
                  <c:v>-9.2436974789916193E-3</c:v>
                </c:pt>
                <c:pt idx="9791">
                  <c:v>-9.2436974789916193E-3</c:v>
                </c:pt>
                <c:pt idx="9792">
                  <c:v>-9.2436974789916193E-3</c:v>
                </c:pt>
                <c:pt idx="9793">
                  <c:v>-8.4033613445378408E-3</c:v>
                </c:pt>
                <c:pt idx="9794">
                  <c:v>-8.4033613445378408E-3</c:v>
                </c:pt>
                <c:pt idx="9795">
                  <c:v>-8.4033613445378408E-3</c:v>
                </c:pt>
                <c:pt idx="9796">
                  <c:v>-8.4033613445378408E-3</c:v>
                </c:pt>
                <c:pt idx="9797">
                  <c:v>-8.4033613445378408E-3</c:v>
                </c:pt>
                <c:pt idx="9798">
                  <c:v>-8.4033613445378408E-3</c:v>
                </c:pt>
                <c:pt idx="9799">
                  <c:v>-8.4033613445378408E-3</c:v>
                </c:pt>
                <c:pt idx="9800">
                  <c:v>-8.4033613445378408E-3</c:v>
                </c:pt>
                <c:pt idx="9801">
                  <c:v>-9.2436974789916193E-3</c:v>
                </c:pt>
                <c:pt idx="9802">
                  <c:v>-9.2436974789916193E-3</c:v>
                </c:pt>
                <c:pt idx="9803">
                  <c:v>-9.2436974789916193E-3</c:v>
                </c:pt>
                <c:pt idx="9804">
                  <c:v>-9.2436974789916193E-3</c:v>
                </c:pt>
                <c:pt idx="9805">
                  <c:v>-9.2436974789916193E-3</c:v>
                </c:pt>
                <c:pt idx="9806">
                  <c:v>-9.2436974789916193E-3</c:v>
                </c:pt>
                <c:pt idx="9807">
                  <c:v>-9.2436974789916193E-3</c:v>
                </c:pt>
                <c:pt idx="9808">
                  <c:v>-9.2436974789916193E-3</c:v>
                </c:pt>
                <c:pt idx="9809">
                  <c:v>-9.2436974789916193E-3</c:v>
                </c:pt>
                <c:pt idx="9810">
                  <c:v>-9.2436974789916193E-3</c:v>
                </c:pt>
                <c:pt idx="9811">
                  <c:v>-9.2436974789916193E-3</c:v>
                </c:pt>
                <c:pt idx="9812">
                  <c:v>-9.2436974789916193E-3</c:v>
                </c:pt>
                <c:pt idx="9813">
                  <c:v>-9.2436974789916193E-3</c:v>
                </c:pt>
                <c:pt idx="9814">
                  <c:v>-9.2436974789916193E-3</c:v>
                </c:pt>
                <c:pt idx="9815">
                  <c:v>-9.2436974789916193E-3</c:v>
                </c:pt>
                <c:pt idx="9816">
                  <c:v>-9.2436974789916193E-3</c:v>
                </c:pt>
                <c:pt idx="9817">
                  <c:v>-9.2436974789916193E-3</c:v>
                </c:pt>
                <c:pt idx="9818">
                  <c:v>-9.2436974789916193E-3</c:v>
                </c:pt>
                <c:pt idx="9819">
                  <c:v>-9.2436974789916193E-3</c:v>
                </c:pt>
                <c:pt idx="9820">
                  <c:v>-9.2436974789916193E-3</c:v>
                </c:pt>
                <c:pt idx="9821">
                  <c:v>-9.2436974789916193E-3</c:v>
                </c:pt>
                <c:pt idx="9822">
                  <c:v>-9.2436974789916193E-3</c:v>
                </c:pt>
                <c:pt idx="9823">
                  <c:v>-9.2436974789916193E-3</c:v>
                </c:pt>
                <c:pt idx="9824">
                  <c:v>-9.2436974789916193E-3</c:v>
                </c:pt>
                <c:pt idx="9825">
                  <c:v>-9.2436974789916193E-3</c:v>
                </c:pt>
                <c:pt idx="9826">
                  <c:v>-9.2436974789916193E-3</c:v>
                </c:pt>
                <c:pt idx="9827">
                  <c:v>-9.2436974789916193E-3</c:v>
                </c:pt>
                <c:pt idx="9828">
                  <c:v>-9.2436974789916193E-3</c:v>
                </c:pt>
                <c:pt idx="9829">
                  <c:v>-9.2436974789916193E-3</c:v>
                </c:pt>
                <c:pt idx="9830">
                  <c:v>-9.2436974789916193E-3</c:v>
                </c:pt>
                <c:pt idx="9831">
                  <c:v>-9.2436974789916193E-3</c:v>
                </c:pt>
                <c:pt idx="9832">
                  <c:v>-1.0084033613445301E-2</c:v>
                </c:pt>
                <c:pt idx="9833">
                  <c:v>-1.0084033613445301E-2</c:v>
                </c:pt>
                <c:pt idx="9834">
                  <c:v>-1.0084033613445301E-2</c:v>
                </c:pt>
                <c:pt idx="9835">
                  <c:v>-9.2436974789916193E-3</c:v>
                </c:pt>
                <c:pt idx="9836">
                  <c:v>-9.2436974789916193E-3</c:v>
                </c:pt>
                <c:pt idx="9837">
                  <c:v>-9.2436974789916193E-3</c:v>
                </c:pt>
                <c:pt idx="9838">
                  <c:v>-9.2436974789916193E-3</c:v>
                </c:pt>
                <c:pt idx="9839">
                  <c:v>-9.2436974789916193E-3</c:v>
                </c:pt>
                <c:pt idx="9840">
                  <c:v>-9.2436974789916193E-3</c:v>
                </c:pt>
                <c:pt idx="9841">
                  <c:v>-9.2436974789916193E-3</c:v>
                </c:pt>
                <c:pt idx="9842">
                  <c:v>-9.2436974789916193E-3</c:v>
                </c:pt>
                <c:pt idx="9843">
                  <c:v>-9.2436974789916193E-3</c:v>
                </c:pt>
                <c:pt idx="9844">
                  <c:v>-9.2436974789916193E-3</c:v>
                </c:pt>
                <c:pt idx="9845">
                  <c:v>-9.2436974789916193E-3</c:v>
                </c:pt>
                <c:pt idx="9846">
                  <c:v>-9.2436974789916193E-3</c:v>
                </c:pt>
                <c:pt idx="9847">
                  <c:v>-9.2436974789916193E-3</c:v>
                </c:pt>
                <c:pt idx="9848">
                  <c:v>-9.2436974789916193E-3</c:v>
                </c:pt>
                <c:pt idx="9849">
                  <c:v>-9.2436974789916193E-3</c:v>
                </c:pt>
                <c:pt idx="9850">
                  <c:v>-9.2436974789916193E-3</c:v>
                </c:pt>
                <c:pt idx="9851">
                  <c:v>-9.2436974789916193E-3</c:v>
                </c:pt>
                <c:pt idx="9852">
                  <c:v>-9.2436974789916193E-3</c:v>
                </c:pt>
                <c:pt idx="9853">
                  <c:v>-9.2436974789916193E-3</c:v>
                </c:pt>
                <c:pt idx="9854">
                  <c:v>-9.2436974789916193E-3</c:v>
                </c:pt>
                <c:pt idx="9855">
                  <c:v>-9.2436974789916193E-3</c:v>
                </c:pt>
                <c:pt idx="9856">
                  <c:v>-9.2436974789916193E-3</c:v>
                </c:pt>
                <c:pt idx="9857">
                  <c:v>-9.2436974789916193E-3</c:v>
                </c:pt>
                <c:pt idx="9858">
                  <c:v>-9.2436974789916193E-3</c:v>
                </c:pt>
                <c:pt idx="9859">
                  <c:v>-9.2436974789916193E-3</c:v>
                </c:pt>
                <c:pt idx="9860">
                  <c:v>-8.4033613445378408E-3</c:v>
                </c:pt>
                <c:pt idx="9861">
                  <c:v>-8.4033613445378408E-3</c:v>
                </c:pt>
                <c:pt idx="9862">
                  <c:v>-9.2436974789916193E-3</c:v>
                </c:pt>
                <c:pt idx="9863">
                  <c:v>-9.2436974789916193E-3</c:v>
                </c:pt>
                <c:pt idx="9864">
                  <c:v>-9.2436974789916193E-3</c:v>
                </c:pt>
                <c:pt idx="9865">
                  <c:v>-9.2436974789916193E-3</c:v>
                </c:pt>
                <c:pt idx="9866">
                  <c:v>-9.2436974789916193E-3</c:v>
                </c:pt>
                <c:pt idx="9867">
                  <c:v>-9.2436974789916193E-3</c:v>
                </c:pt>
                <c:pt idx="9868">
                  <c:v>-9.2436974789916193E-3</c:v>
                </c:pt>
                <c:pt idx="9869">
                  <c:v>-9.2436974789916193E-3</c:v>
                </c:pt>
                <c:pt idx="9870">
                  <c:v>-9.2436974789916193E-3</c:v>
                </c:pt>
                <c:pt idx="9871">
                  <c:v>-9.2436974789916193E-3</c:v>
                </c:pt>
                <c:pt idx="9872">
                  <c:v>-9.2436974789916193E-3</c:v>
                </c:pt>
                <c:pt idx="9873">
                  <c:v>-9.2436974789916193E-3</c:v>
                </c:pt>
                <c:pt idx="9874">
                  <c:v>-9.2436974789916193E-3</c:v>
                </c:pt>
                <c:pt idx="9875">
                  <c:v>-9.2436974789916193E-3</c:v>
                </c:pt>
                <c:pt idx="9876">
                  <c:v>-1.0084033613445301E-2</c:v>
                </c:pt>
                <c:pt idx="9877">
                  <c:v>-1.0084033613445301E-2</c:v>
                </c:pt>
                <c:pt idx="9878">
                  <c:v>-1.0084033613445301E-2</c:v>
                </c:pt>
                <c:pt idx="9879">
                  <c:v>-1.0084033613445301E-2</c:v>
                </c:pt>
                <c:pt idx="9880">
                  <c:v>-1.0084033613445301E-2</c:v>
                </c:pt>
                <c:pt idx="9881">
                  <c:v>-1.0084033613445301E-2</c:v>
                </c:pt>
                <c:pt idx="9882">
                  <c:v>-1.0084033613445301E-2</c:v>
                </c:pt>
                <c:pt idx="9883">
                  <c:v>-1.0084033613445301E-2</c:v>
                </c:pt>
                <c:pt idx="9884">
                  <c:v>-9.2436974789916193E-3</c:v>
                </c:pt>
                <c:pt idx="9885">
                  <c:v>-9.2436974789916193E-3</c:v>
                </c:pt>
                <c:pt idx="9886">
                  <c:v>-9.2436974789916193E-3</c:v>
                </c:pt>
                <c:pt idx="9887">
                  <c:v>-9.2436974789916193E-3</c:v>
                </c:pt>
                <c:pt idx="9888">
                  <c:v>-9.2436974789916193E-3</c:v>
                </c:pt>
                <c:pt idx="9889">
                  <c:v>-9.2436974789916193E-3</c:v>
                </c:pt>
                <c:pt idx="9890">
                  <c:v>-9.2436974789916193E-3</c:v>
                </c:pt>
                <c:pt idx="9891">
                  <c:v>-9.2436974789916193E-3</c:v>
                </c:pt>
                <c:pt idx="9892">
                  <c:v>-8.4033613445377801E-3</c:v>
                </c:pt>
                <c:pt idx="9893">
                  <c:v>-8.4033613445377801E-3</c:v>
                </c:pt>
                <c:pt idx="9894">
                  <c:v>-8.4033613445377801E-3</c:v>
                </c:pt>
                <c:pt idx="9895">
                  <c:v>-8.4033613445377801E-3</c:v>
                </c:pt>
                <c:pt idx="9896">
                  <c:v>-8.4033613445377801E-3</c:v>
                </c:pt>
                <c:pt idx="9897">
                  <c:v>-8.4033613445377801E-3</c:v>
                </c:pt>
                <c:pt idx="9898">
                  <c:v>-8.4033613445377801E-3</c:v>
                </c:pt>
                <c:pt idx="9899">
                  <c:v>-8.4033613445377801E-3</c:v>
                </c:pt>
                <c:pt idx="9900">
                  <c:v>-8.4033613445377801E-3</c:v>
                </c:pt>
                <c:pt idx="9901">
                  <c:v>-8.4033613445377801E-3</c:v>
                </c:pt>
                <c:pt idx="9902">
                  <c:v>-8.4033613445377801E-3</c:v>
                </c:pt>
                <c:pt idx="9903">
                  <c:v>-8.4033613445377801E-3</c:v>
                </c:pt>
                <c:pt idx="9904">
                  <c:v>-8.4033613445377801E-3</c:v>
                </c:pt>
                <c:pt idx="9905">
                  <c:v>-8.4033613445377801E-3</c:v>
                </c:pt>
                <c:pt idx="9906">
                  <c:v>-8.4033613445377801E-3</c:v>
                </c:pt>
                <c:pt idx="9907">
                  <c:v>-8.4033613445377801E-3</c:v>
                </c:pt>
                <c:pt idx="9908">
                  <c:v>-8.4033613445377801E-3</c:v>
                </c:pt>
                <c:pt idx="9909">
                  <c:v>-8.4033613445377801E-3</c:v>
                </c:pt>
                <c:pt idx="9910">
                  <c:v>-8.4033613445377801E-3</c:v>
                </c:pt>
                <c:pt idx="9911">
                  <c:v>-8.4033613445377801E-3</c:v>
                </c:pt>
                <c:pt idx="9912">
                  <c:v>-8.4033613445377801E-3</c:v>
                </c:pt>
                <c:pt idx="9913">
                  <c:v>-8.4033613445377801E-3</c:v>
                </c:pt>
                <c:pt idx="9914">
                  <c:v>-8.4033613445377801E-3</c:v>
                </c:pt>
                <c:pt idx="9915">
                  <c:v>-8.4033613445377801E-3</c:v>
                </c:pt>
                <c:pt idx="9916">
                  <c:v>-9.2436974789915603E-3</c:v>
                </c:pt>
                <c:pt idx="9917">
                  <c:v>-8.4033613445377801E-3</c:v>
                </c:pt>
                <c:pt idx="9918">
                  <c:v>-8.4033613445377801E-3</c:v>
                </c:pt>
                <c:pt idx="9919">
                  <c:v>-8.4033613445377801E-3</c:v>
                </c:pt>
                <c:pt idx="9920">
                  <c:v>-8.4033613445377801E-3</c:v>
                </c:pt>
                <c:pt idx="9921">
                  <c:v>-7.5630252100839998E-3</c:v>
                </c:pt>
                <c:pt idx="9922">
                  <c:v>-7.5630252100839998E-3</c:v>
                </c:pt>
                <c:pt idx="9923">
                  <c:v>-7.5630252100839998E-3</c:v>
                </c:pt>
                <c:pt idx="9924">
                  <c:v>-7.5630252100839998E-3</c:v>
                </c:pt>
                <c:pt idx="9925">
                  <c:v>-7.5630252100839998E-3</c:v>
                </c:pt>
                <c:pt idx="9926">
                  <c:v>-7.5630252100839998E-3</c:v>
                </c:pt>
                <c:pt idx="9927">
                  <c:v>-7.5630252100839998E-3</c:v>
                </c:pt>
                <c:pt idx="9928">
                  <c:v>-7.5630252100839998E-3</c:v>
                </c:pt>
                <c:pt idx="9929">
                  <c:v>-7.5630252100839998E-3</c:v>
                </c:pt>
                <c:pt idx="9930">
                  <c:v>-7.5630252100839998E-3</c:v>
                </c:pt>
                <c:pt idx="9931">
                  <c:v>-7.5630252100839998E-3</c:v>
                </c:pt>
                <c:pt idx="9932">
                  <c:v>-7.5630252100839998E-3</c:v>
                </c:pt>
                <c:pt idx="9933">
                  <c:v>-7.5630252100839998E-3</c:v>
                </c:pt>
                <c:pt idx="9934">
                  <c:v>-7.5630252100839998E-3</c:v>
                </c:pt>
                <c:pt idx="9935">
                  <c:v>-7.5630252100839998E-3</c:v>
                </c:pt>
                <c:pt idx="9936">
                  <c:v>-7.5630252100839998E-3</c:v>
                </c:pt>
                <c:pt idx="9937">
                  <c:v>-7.5630252100839998E-3</c:v>
                </c:pt>
                <c:pt idx="9938">
                  <c:v>-7.5630252100839998E-3</c:v>
                </c:pt>
                <c:pt idx="9939">
                  <c:v>-7.5630252100839998E-3</c:v>
                </c:pt>
                <c:pt idx="9940">
                  <c:v>-7.5630252100839998E-3</c:v>
                </c:pt>
                <c:pt idx="9941">
                  <c:v>-7.5630252100839998E-3</c:v>
                </c:pt>
                <c:pt idx="9942">
                  <c:v>-7.5630252100839998E-3</c:v>
                </c:pt>
                <c:pt idx="9943">
                  <c:v>-7.5630252100839998E-3</c:v>
                </c:pt>
                <c:pt idx="9944">
                  <c:v>-7.5630252100839998E-3</c:v>
                </c:pt>
                <c:pt idx="9945">
                  <c:v>-7.5630252100839998E-3</c:v>
                </c:pt>
                <c:pt idx="9946">
                  <c:v>-7.5630252100839998E-3</c:v>
                </c:pt>
                <c:pt idx="9947">
                  <c:v>-7.5630252100839998E-3</c:v>
                </c:pt>
                <c:pt idx="9948">
                  <c:v>-7.5630252100839998E-3</c:v>
                </c:pt>
                <c:pt idx="9949">
                  <c:v>-7.5630252100839998E-3</c:v>
                </c:pt>
                <c:pt idx="9950">
                  <c:v>-7.5630252100839998E-3</c:v>
                </c:pt>
                <c:pt idx="9951">
                  <c:v>-7.5630252100839998E-3</c:v>
                </c:pt>
                <c:pt idx="9952">
                  <c:v>-7.5630252100839998E-3</c:v>
                </c:pt>
                <c:pt idx="9953">
                  <c:v>-8.4033613445377801E-3</c:v>
                </c:pt>
                <c:pt idx="9954">
                  <c:v>-8.4033613445377801E-3</c:v>
                </c:pt>
                <c:pt idx="9955">
                  <c:v>-8.4033613445377801E-3</c:v>
                </c:pt>
                <c:pt idx="9956">
                  <c:v>-8.4033613445377801E-3</c:v>
                </c:pt>
                <c:pt idx="9957">
                  <c:v>-8.4033613445377801E-3</c:v>
                </c:pt>
                <c:pt idx="9958">
                  <c:v>-8.4033613445377801E-3</c:v>
                </c:pt>
                <c:pt idx="9959">
                  <c:v>-8.4033613445377801E-3</c:v>
                </c:pt>
                <c:pt idx="9960">
                  <c:v>-9.2436974789915603E-3</c:v>
                </c:pt>
                <c:pt idx="9961">
                  <c:v>-9.2436974789915603E-3</c:v>
                </c:pt>
                <c:pt idx="9962">
                  <c:v>-9.2436974789915603E-3</c:v>
                </c:pt>
                <c:pt idx="9963">
                  <c:v>-9.2436974789915603E-3</c:v>
                </c:pt>
                <c:pt idx="9964">
                  <c:v>-9.2436974789915603E-3</c:v>
                </c:pt>
                <c:pt idx="9965">
                  <c:v>-9.2436974789915603E-3</c:v>
                </c:pt>
                <c:pt idx="9966">
                  <c:v>-1.0084033613445301E-2</c:v>
                </c:pt>
                <c:pt idx="9967">
                  <c:v>-1.0084033613445301E-2</c:v>
                </c:pt>
                <c:pt idx="9968">
                  <c:v>-1.0084033613445301E-2</c:v>
                </c:pt>
                <c:pt idx="9969">
                  <c:v>-1.0084033613445301E-2</c:v>
                </c:pt>
                <c:pt idx="9970">
                  <c:v>-1.0084033613445301E-2</c:v>
                </c:pt>
                <c:pt idx="9971">
                  <c:v>-1.0084033613445301E-2</c:v>
                </c:pt>
                <c:pt idx="9972">
                  <c:v>-1.0084033613445301E-2</c:v>
                </c:pt>
                <c:pt idx="9973">
                  <c:v>-1.0084033613445301E-2</c:v>
                </c:pt>
                <c:pt idx="9974">
                  <c:v>-1.0084033613445301E-2</c:v>
                </c:pt>
                <c:pt idx="9975">
                  <c:v>-1.0084033613445301E-2</c:v>
                </c:pt>
                <c:pt idx="9976">
                  <c:v>-1.0084033613445301E-2</c:v>
                </c:pt>
                <c:pt idx="9977">
                  <c:v>-1.0084033613445301E-2</c:v>
                </c:pt>
                <c:pt idx="9978">
                  <c:v>-1.0084033613445301E-2</c:v>
                </c:pt>
                <c:pt idx="9979">
                  <c:v>-1.0084033613445301E-2</c:v>
                </c:pt>
                <c:pt idx="9980">
                  <c:v>-1.0084033613445301E-2</c:v>
                </c:pt>
                <c:pt idx="9981">
                  <c:v>-1.0084033613445301E-2</c:v>
                </c:pt>
                <c:pt idx="9982">
                  <c:v>-1.0084033613445301E-2</c:v>
                </c:pt>
                <c:pt idx="9983">
                  <c:v>-1.0084033613445301E-2</c:v>
                </c:pt>
                <c:pt idx="9984">
                  <c:v>-1.0084033613445301E-2</c:v>
                </c:pt>
                <c:pt idx="9985">
                  <c:v>-1.0084033613445301E-2</c:v>
                </c:pt>
                <c:pt idx="9986">
                  <c:v>-1.09243697478991E-2</c:v>
                </c:pt>
                <c:pt idx="9987">
                  <c:v>-1.09243697478991E-2</c:v>
                </c:pt>
                <c:pt idx="9988">
                  <c:v>-1.09243697478991E-2</c:v>
                </c:pt>
                <c:pt idx="9989">
                  <c:v>-1.09243697478991E-2</c:v>
                </c:pt>
                <c:pt idx="9990">
                  <c:v>-1.09243697478991E-2</c:v>
                </c:pt>
                <c:pt idx="9991">
                  <c:v>-1.09243697478991E-2</c:v>
                </c:pt>
                <c:pt idx="9992">
                  <c:v>-1.09243697478991E-2</c:v>
                </c:pt>
                <c:pt idx="9993">
                  <c:v>-1.09243697478991E-2</c:v>
                </c:pt>
                <c:pt idx="9994">
                  <c:v>-1.09243697478991E-2</c:v>
                </c:pt>
                <c:pt idx="9995">
                  <c:v>-1.09243697478991E-2</c:v>
                </c:pt>
                <c:pt idx="9996">
                  <c:v>-1.09243697478991E-2</c:v>
                </c:pt>
                <c:pt idx="9997">
                  <c:v>-1.09243697478991E-2</c:v>
                </c:pt>
                <c:pt idx="9998">
                  <c:v>-1.0084033613445301E-2</c:v>
                </c:pt>
                <c:pt idx="9999">
                  <c:v>-1.0084033613445301E-2</c:v>
                </c:pt>
                <c:pt idx="10000">
                  <c:v>-1.0084033613445301E-2</c:v>
                </c:pt>
                <c:pt idx="10001">
                  <c:v>-1.0084033613445301E-2</c:v>
                </c:pt>
                <c:pt idx="10002">
                  <c:v>-1.0084033613445301E-2</c:v>
                </c:pt>
                <c:pt idx="10003">
                  <c:v>-1.0084033613445301E-2</c:v>
                </c:pt>
                <c:pt idx="10004">
                  <c:v>-1.0084033613445301E-2</c:v>
                </c:pt>
                <c:pt idx="10005">
                  <c:v>-1.0084033613445301E-2</c:v>
                </c:pt>
                <c:pt idx="10006">
                  <c:v>-1.0084033613445301E-2</c:v>
                </c:pt>
                <c:pt idx="10007">
                  <c:v>-1.0084033613445301E-2</c:v>
                </c:pt>
                <c:pt idx="10008">
                  <c:v>-9.2436974789915603E-3</c:v>
                </c:pt>
                <c:pt idx="10009">
                  <c:v>-9.2436974789915603E-3</c:v>
                </c:pt>
                <c:pt idx="10010">
                  <c:v>-8.4033613445377801E-3</c:v>
                </c:pt>
                <c:pt idx="10011">
                  <c:v>-8.4033613445377801E-3</c:v>
                </c:pt>
                <c:pt idx="10012">
                  <c:v>-8.4033613445377801E-3</c:v>
                </c:pt>
                <c:pt idx="10013">
                  <c:v>-8.4033613445377801E-3</c:v>
                </c:pt>
                <c:pt idx="10014">
                  <c:v>-8.4033613445377801E-3</c:v>
                </c:pt>
                <c:pt idx="10015">
                  <c:v>-8.4033613445377801E-3</c:v>
                </c:pt>
                <c:pt idx="10016">
                  <c:v>-8.4033613445377801E-3</c:v>
                </c:pt>
                <c:pt idx="10017">
                  <c:v>-8.4033613445377801E-3</c:v>
                </c:pt>
                <c:pt idx="10018">
                  <c:v>-8.4033613445377801E-3</c:v>
                </c:pt>
                <c:pt idx="10019">
                  <c:v>-8.4033613445377801E-3</c:v>
                </c:pt>
                <c:pt idx="10020">
                  <c:v>-8.4033613445377801E-3</c:v>
                </c:pt>
                <c:pt idx="10021">
                  <c:v>-8.4033613445377801E-3</c:v>
                </c:pt>
                <c:pt idx="10022">
                  <c:v>-8.4033613445377801E-3</c:v>
                </c:pt>
                <c:pt idx="10023">
                  <c:v>-8.4033613445377801E-3</c:v>
                </c:pt>
                <c:pt idx="10024">
                  <c:v>-8.4033613445377801E-3</c:v>
                </c:pt>
                <c:pt idx="10025">
                  <c:v>-8.4033613445377801E-3</c:v>
                </c:pt>
                <c:pt idx="10026">
                  <c:v>-8.4033613445377801E-3</c:v>
                </c:pt>
                <c:pt idx="10027">
                  <c:v>-8.4033613445377801E-3</c:v>
                </c:pt>
                <c:pt idx="10028">
                  <c:v>-9.2436974789915603E-3</c:v>
                </c:pt>
                <c:pt idx="10029">
                  <c:v>-9.2436974789915603E-3</c:v>
                </c:pt>
                <c:pt idx="10030">
                  <c:v>-9.2436974789915603E-3</c:v>
                </c:pt>
                <c:pt idx="10031">
                  <c:v>-9.2436974789915603E-3</c:v>
                </c:pt>
                <c:pt idx="10032">
                  <c:v>-9.2436974789915603E-3</c:v>
                </c:pt>
                <c:pt idx="10033">
                  <c:v>-8.4033613445377801E-3</c:v>
                </c:pt>
                <c:pt idx="10034">
                  <c:v>-8.4033613445377801E-3</c:v>
                </c:pt>
                <c:pt idx="10035">
                  <c:v>-8.4033613445377801E-3</c:v>
                </c:pt>
                <c:pt idx="10036">
                  <c:v>-8.4033613445377801E-3</c:v>
                </c:pt>
                <c:pt idx="10037">
                  <c:v>-8.4033613445377801E-3</c:v>
                </c:pt>
                <c:pt idx="10038">
                  <c:v>-8.4033613445377801E-3</c:v>
                </c:pt>
                <c:pt idx="10039">
                  <c:v>-8.4033613445377801E-3</c:v>
                </c:pt>
                <c:pt idx="10040">
                  <c:v>-8.4033613445377801E-3</c:v>
                </c:pt>
                <c:pt idx="10041">
                  <c:v>-8.4033613445377801E-3</c:v>
                </c:pt>
                <c:pt idx="10042">
                  <c:v>-8.4033613445377801E-3</c:v>
                </c:pt>
                <c:pt idx="10043">
                  <c:v>-8.4033613445377801E-3</c:v>
                </c:pt>
                <c:pt idx="10044">
                  <c:v>-8.4033613445377801E-3</c:v>
                </c:pt>
                <c:pt idx="10045">
                  <c:v>-8.4033613445377801E-3</c:v>
                </c:pt>
                <c:pt idx="10046">
                  <c:v>-8.4033613445377801E-3</c:v>
                </c:pt>
                <c:pt idx="10047">
                  <c:v>-8.4033613445377801E-3</c:v>
                </c:pt>
                <c:pt idx="10048">
                  <c:v>-8.4033613445377801E-3</c:v>
                </c:pt>
                <c:pt idx="10049">
                  <c:v>-8.4033613445377801E-3</c:v>
                </c:pt>
                <c:pt idx="10050">
                  <c:v>-8.4033613445377801E-3</c:v>
                </c:pt>
                <c:pt idx="10051">
                  <c:v>-8.4033613445377801E-3</c:v>
                </c:pt>
                <c:pt idx="10052">
                  <c:v>-8.4033613445377801E-3</c:v>
                </c:pt>
                <c:pt idx="10053">
                  <c:v>-8.4033613445377801E-3</c:v>
                </c:pt>
                <c:pt idx="10054">
                  <c:v>-8.4033613445377801E-3</c:v>
                </c:pt>
                <c:pt idx="10055">
                  <c:v>-9.2436974789916193E-3</c:v>
                </c:pt>
                <c:pt idx="10056">
                  <c:v>-8.4033613445378408E-3</c:v>
                </c:pt>
                <c:pt idx="10057">
                  <c:v>-8.4033613445378408E-3</c:v>
                </c:pt>
                <c:pt idx="10058">
                  <c:v>-8.4033613445378408E-3</c:v>
                </c:pt>
                <c:pt idx="10059">
                  <c:v>-8.4033613445378408E-3</c:v>
                </c:pt>
                <c:pt idx="10060">
                  <c:v>-8.4033613445378408E-3</c:v>
                </c:pt>
                <c:pt idx="10061">
                  <c:v>-8.4033613445378408E-3</c:v>
                </c:pt>
                <c:pt idx="10062">
                  <c:v>-7.5630252100840597E-3</c:v>
                </c:pt>
                <c:pt idx="10063">
                  <c:v>-7.5630252100840597E-3</c:v>
                </c:pt>
                <c:pt idx="10064">
                  <c:v>-7.5630252100840597E-3</c:v>
                </c:pt>
                <c:pt idx="10065">
                  <c:v>-7.5630252100840597E-3</c:v>
                </c:pt>
                <c:pt idx="10066">
                  <c:v>-7.5630252100840597E-3</c:v>
                </c:pt>
                <c:pt idx="10067">
                  <c:v>-7.5630252100840597E-3</c:v>
                </c:pt>
                <c:pt idx="10068">
                  <c:v>-7.5630252100840597E-3</c:v>
                </c:pt>
                <c:pt idx="10069">
                  <c:v>-7.5630252100840597E-3</c:v>
                </c:pt>
                <c:pt idx="10070">
                  <c:v>-7.5630252100840597E-3</c:v>
                </c:pt>
                <c:pt idx="10071">
                  <c:v>-7.5630252100840597E-3</c:v>
                </c:pt>
                <c:pt idx="10072">
                  <c:v>-7.5630252100840597E-3</c:v>
                </c:pt>
                <c:pt idx="10073">
                  <c:v>-7.5630252100840597E-3</c:v>
                </c:pt>
                <c:pt idx="10074">
                  <c:v>-7.5630252100840597E-3</c:v>
                </c:pt>
                <c:pt idx="10075">
                  <c:v>-7.5630252100840597E-3</c:v>
                </c:pt>
                <c:pt idx="10076">
                  <c:v>-7.5630252100840597E-3</c:v>
                </c:pt>
                <c:pt idx="10077">
                  <c:v>-7.5630252100840597E-3</c:v>
                </c:pt>
                <c:pt idx="10078">
                  <c:v>-7.5630252100840597E-3</c:v>
                </c:pt>
                <c:pt idx="10079">
                  <c:v>-7.5630252100840597E-3</c:v>
                </c:pt>
                <c:pt idx="10080">
                  <c:v>-7.5630252100840597E-3</c:v>
                </c:pt>
                <c:pt idx="10081">
                  <c:v>-7.5630252100840597E-3</c:v>
                </c:pt>
                <c:pt idx="10082">
                  <c:v>-7.5630252100840597E-3</c:v>
                </c:pt>
                <c:pt idx="10083">
                  <c:v>-7.5630252100840597E-3</c:v>
                </c:pt>
                <c:pt idx="10084">
                  <c:v>-7.5630252100840597E-3</c:v>
                </c:pt>
                <c:pt idx="10085">
                  <c:v>-7.5630252100840597E-3</c:v>
                </c:pt>
                <c:pt idx="10086">
                  <c:v>-7.5630252100840597E-3</c:v>
                </c:pt>
                <c:pt idx="10087">
                  <c:v>-7.5630252100840597E-3</c:v>
                </c:pt>
                <c:pt idx="10088">
                  <c:v>-7.5630252100840597E-3</c:v>
                </c:pt>
                <c:pt idx="10089">
                  <c:v>-7.5630252100840597E-3</c:v>
                </c:pt>
                <c:pt idx="10090">
                  <c:v>-7.5630252100840597E-3</c:v>
                </c:pt>
                <c:pt idx="10091">
                  <c:v>-7.5630252100840597E-3</c:v>
                </c:pt>
                <c:pt idx="10092">
                  <c:v>-7.5630252100840597E-3</c:v>
                </c:pt>
                <c:pt idx="10093">
                  <c:v>-7.5630252100840597E-3</c:v>
                </c:pt>
                <c:pt idx="10094">
                  <c:v>-8.4033613445378408E-3</c:v>
                </c:pt>
                <c:pt idx="10095">
                  <c:v>-8.4033613445378408E-3</c:v>
                </c:pt>
                <c:pt idx="10096">
                  <c:v>-8.4033613445378408E-3</c:v>
                </c:pt>
                <c:pt idx="10097">
                  <c:v>-8.4033613445378408E-3</c:v>
                </c:pt>
                <c:pt idx="10098">
                  <c:v>-8.4033613445378408E-3</c:v>
                </c:pt>
                <c:pt idx="10099">
                  <c:v>-8.4033613445378408E-3</c:v>
                </c:pt>
                <c:pt idx="10100">
                  <c:v>-8.4033613445378408E-3</c:v>
                </c:pt>
                <c:pt idx="10101">
                  <c:v>-8.4033613445378408E-3</c:v>
                </c:pt>
                <c:pt idx="10102">
                  <c:v>-8.4033613445378408E-3</c:v>
                </c:pt>
                <c:pt idx="10103">
                  <c:v>-8.4033613445378408E-3</c:v>
                </c:pt>
                <c:pt idx="10104">
                  <c:v>-8.4033613445378408E-3</c:v>
                </c:pt>
                <c:pt idx="10105">
                  <c:v>-8.4033613445378408E-3</c:v>
                </c:pt>
                <c:pt idx="10106">
                  <c:v>-8.4033613445378408E-3</c:v>
                </c:pt>
                <c:pt idx="10107">
                  <c:v>-8.4033613445378408E-3</c:v>
                </c:pt>
                <c:pt idx="10108">
                  <c:v>-8.4033613445378408E-3</c:v>
                </c:pt>
                <c:pt idx="10109">
                  <c:v>-8.4033613445378408E-3</c:v>
                </c:pt>
                <c:pt idx="10110">
                  <c:v>-8.4033613445378408E-3</c:v>
                </c:pt>
                <c:pt idx="10111">
                  <c:v>-8.4033613445378408E-3</c:v>
                </c:pt>
                <c:pt idx="10112">
                  <c:v>-8.4033613445378408E-3</c:v>
                </c:pt>
                <c:pt idx="10113">
                  <c:v>-8.4033613445378408E-3</c:v>
                </c:pt>
                <c:pt idx="10114">
                  <c:v>-8.4033613445378408E-3</c:v>
                </c:pt>
                <c:pt idx="10115">
                  <c:v>-8.4033613445378408E-3</c:v>
                </c:pt>
                <c:pt idx="10116">
                  <c:v>-8.4033613445378408E-3</c:v>
                </c:pt>
                <c:pt idx="10117">
                  <c:v>-8.4033613445378408E-3</c:v>
                </c:pt>
                <c:pt idx="10118">
                  <c:v>-8.4033613445378408E-3</c:v>
                </c:pt>
                <c:pt idx="10119">
                  <c:v>-8.4033613445378408E-3</c:v>
                </c:pt>
                <c:pt idx="10120">
                  <c:v>-8.4033613445378408E-3</c:v>
                </c:pt>
                <c:pt idx="10121">
                  <c:v>-8.4033613445378408E-3</c:v>
                </c:pt>
                <c:pt idx="10122">
                  <c:v>-8.4033613445378408E-3</c:v>
                </c:pt>
                <c:pt idx="10123">
                  <c:v>-8.4033613445378408E-3</c:v>
                </c:pt>
                <c:pt idx="10124">
                  <c:v>-8.4033613445378408E-3</c:v>
                </c:pt>
                <c:pt idx="10125">
                  <c:v>-8.4033613445378408E-3</c:v>
                </c:pt>
                <c:pt idx="10126">
                  <c:v>-8.4033613445378408E-3</c:v>
                </c:pt>
                <c:pt idx="10127">
                  <c:v>-8.4033613445378408E-3</c:v>
                </c:pt>
                <c:pt idx="10128">
                  <c:v>-8.4033613445378408E-3</c:v>
                </c:pt>
                <c:pt idx="10129">
                  <c:v>-8.4033613445378408E-3</c:v>
                </c:pt>
                <c:pt idx="10130">
                  <c:v>-8.4033613445378408E-3</c:v>
                </c:pt>
                <c:pt idx="10131">
                  <c:v>-8.4033613445378408E-3</c:v>
                </c:pt>
                <c:pt idx="10132">
                  <c:v>-8.4033613445378408E-3</c:v>
                </c:pt>
                <c:pt idx="10133">
                  <c:v>-8.4033613445378408E-3</c:v>
                </c:pt>
                <c:pt idx="10134">
                  <c:v>-8.4033613445378408E-3</c:v>
                </c:pt>
                <c:pt idx="10135">
                  <c:v>-8.4033613445378408E-3</c:v>
                </c:pt>
                <c:pt idx="10136">
                  <c:v>-8.4033613445378408E-3</c:v>
                </c:pt>
                <c:pt idx="10137">
                  <c:v>-8.4033613445378408E-3</c:v>
                </c:pt>
                <c:pt idx="10138">
                  <c:v>-9.2436974789916193E-3</c:v>
                </c:pt>
                <c:pt idx="10139">
                  <c:v>-9.2436974789916193E-3</c:v>
                </c:pt>
                <c:pt idx="10140">
                  <c:v>-9.2436974789916193E-3</c:v>
                </c:pt>
                <c:pt idx="10141">
                  <c:v>-9.2436974789916193E-3</c:v>
                </c:pt>
                <c:pt idx="10142">
                  <c:v>-9.2436974789916193E-3</c:v>
                </c:pt>
                <c:pt idx="10143">
                  <c:v>-9.2436974789916193E-3</c:v>
                </c:pt>
                <c:pt idx="10144">
                  <c:v>-9.2436974789916193E-3</c:v>
                </c:pt>
                <c:pt idx="10145">
                  <c:v>-9.2436974789916193E-3</c:v>
                </c:pt>
                <c:pt idx="10146">
                  <c:v>-9.2436974789916193E-3</c:v>
                </c:pt>
                <c:pt idx="10147">
                  <c:v>-9.2436974789916193E-3</c:v>
                </c:pt>
                <c:pt idx="10148">
                  <c:v>-9.2436974789916193E-3</c:v>
                </c:pt>
                <c:pt idx="10149">
                  <c:v>-9.2436974789916193E-3</c:v>
                </c:pt>
                <c:pt idx="10150">
                  <c:v>-8.4033613445378408E-3</c:v>
                </c:pt>
                <c:pt idx="10151">
                  <c:v>-8.4033613445378408E-3</c:v>
                </c:pt>
                <c:pt idx="10152">
                  <c:v>-8.4033613445378408E-3</c:v>
                </c:pt>
                <c:pt idx="10153">
                  <c:v>-8.4033613445378408E-3</c:v>
                </c:pt>
                <c:pt idx="10154">
                  <c:v>-8.4033613445378408E-3</c:v>
                </c:pt>
                <c:pt idx="10155">
                  <c:v>-8.4033613445378408E-3</c:v>
                </c:pt>
                <c:pt idx="10156">
                  <c:v>-8.4033613445378408E-3</c:v>
                </c:pt>
                <c:pt idx="10157">
                  <c:v>-8.4033613445378408E-3</c:v>
                </c:pt>
                <c:pt idx="10158">
                  <c:v>-8.4033613445378408E-3</c:v>
                </c:pt>
                <c:pt idx="10159">
                  <c:v>-8.4033613445378408E-3</c:v>
                </c:pt>
                <c:pt idx="10160">
                  <c:v>-8.4033613445378408E-3</c:v>
                </c:pt>
                <c:pt idx="10161">
                  <c:v>-8.4033613445378408E-3</c:v>
                </c:pt>
                <c:pt idx="10162">
                  <c:v>-8.4033613445378408E-3</c:v>
                </c:pt>
                <c:pt idx="10163">
                  <c:v>-8.4033613445378408E-3</c:v>
                </c:pt>
                <c:pt idx="10164">
                  <c:v>-8.4033613445378408E-3</c:v>
                </c:pt>
                <c:pt idx="10165">
                  <c:v>-8.4033613445378408E-3</c:v>
                </c:pt>
                <c:pt idx="10166">
                  <c:v>-8.4033613445378408E-3</c:v>
                </c:pt>
                <c:pt idx="10167">
                  <c:v>-8.4033613445378408E-3</c:v>
                </c:pt>
                <c:pt idx="10168">
                  <c:v>-9.2436974789916193E-3</c:v>
                </c:pt>
                <c:pt idx="10169">
                  <c:v>-9.2436974789916193E-3</c:v>
                </c:pt>
                <c:pt idx="10170">
                  <c:v>-9.2436974789916193E-3</c:v>
                </c:pt>
                <c:pt idx="10171">
                  <c:v>-9.2436974789916193E-3</c:v>
                </c:pt>
                <c:pt idx="10172">
                  <c:v>-8.4033613445378408E-3</c:v>
                </c:pt>
                <c:pt idx="10173">
                  <c:v>-8.4033613445378408E-3</c:v>
                </c:pt>
                <c:pt idx="10174">
                  <c:v>-8.4033613445378408E-3</c:v>
                </c:pt>
                <c:pt idx="10175">
                  <c:v>-7.5630252100840597E-3</c:v>
                </c:pt>
                <c:pt idx="10176">
                  <c:v>-7.5630252100840597E-3</c:v>
                </c:pt>
                <c:pt idx="10177">
                  <c:v>-7.5630252100840597E-3</c:v>
                </c:pt>
                <c:pt idx="10178">
                  <c:v>-8.4033613445378408E-3</c:v>
                </c:pt>
                <c:pt idx="10179">
                  <c:v>-8.4033613445378408E-3</c:v>
                </c:pt>
                <c:pt idx="10180">
                  <c:v>-8.4033613445378408E-3</c:v>
                </c:pt>
                <c:pt idx="10181">
                  <c:v>-8.4033613445378408E-3</c:v>
                </c:pt>
                <c:pt idx="10182">
                  <c:v>-8.4033613445378408E-3</c:v>
                </c:pt>
                <c:pt idx="10183">
                  <c:v>-8.4033613445378408E-3</c:v>
                </c:pt>
                <c:pt idx="10184">
                  <c:v>-8.4033613445378408E-3</c:v>
                </c:pt>
                <c:pt idx="10185">
                  <c:v>-8.4033613445378408E-3</c:v>
                </c:pt>
                <c:pt idx="10186">
                  <c:v>-8.4033613445378408E-3</c:v>
                </c:pt>
                <c:pt idx="10187">
                  <c:v>-8.4033613445378408E-3</c:v>
                </c:pt>
                <c:pt idx="10188">
                  <c:v>-8.4033613445378408E-3</c:v>
                </c:pt>
                <c:pt idx="10189">
                  <c:v>-8.4033613445378408E-3</c:v>
                </c:pt>
                <c:pt idx="10190">
                  <c:v>-8.4033613445378408E-3</c:v>
                </c:pt>
                <c:pt idx="10191">
                  <c:v>-8.4033613445378408E-3</c:v>
                </c:pt>
                <c:pt idx="10192">
                  <c:v>-8.4033613445378408E-3</c:v>
                </c:pt>
                <c:pt idx="10193">
                  <c:v>-8.4033613445378408E-3</c:v>
                </c:pt>
                <c:pt idx="10194">
                  <c:v>-8.4033613445378408E-3</c:v>
                </c:pt>
                <c:pt idx="10195">
                  <c:v>-8.4033613445378408E-3</c:v>
                </c:pt>
                <c:pt idx="10196">
                  <c:v>-8.4033613445378408E-3</c:v>
                </c:pt>
                <c:pt idx="10197">
                  <c:v>-8.4033613445378408E-3</c:v>
                </c:pt>
                <c:pt idx="10198">
                  <c:v>-8.4033613445378408E-3</c:v>
                </c:pt>
                <c:pt idx="10199">
                  <c:v>-8.4033613445378408E-3</c:v>
                </c:pt>
                <c:pt idx="10200">
                  <c:v>-8.4033613445378408E-3</c:v>
                </c:pt>
                <c:pt idx="10201">
                  <c:v>-8.4033613445378408E-3</c:v>
                </c:pt>
                <c:pt idx="10202">
                  <c:v>-8.4033613445378408E-3</c:v>
                </c:pt>
                <c:pt idx="10203">
                  <c:v>-8.4033613445378408E-3</c:v>
                </c:pt>
                <c:pt idx="10204">
                  <c:v>-8.4033613445378408E-3</c:v>
                </c:pt>
                <c:pt idx="10205">
                  <c:v>-8.4033613445378408E-3</c:v>
                </c:pt>
                <c:pt idx="10206">
                  <c:v>-8.4033613445378408E-3</c:v>
                </c:pt>
                <c:pt idx="10207">
                  <c:v>-8.4033613445378408E-3</c:v>
                </c:pt>
                <c:pt idx="10208">
                  <c:v>-8.4033613445378408E-3</c:v>
                </c:pt>
                <c:pt idx="10209">
                  <c:v>-8.4033613445378408E-3</c:v>
                </c:pt>
                <c:pt idx="10210">
                  <c:v>-8.4033613445378408E-3</c:v>
                </c:pt>
                <c:pt idx="10211">
                  <c:v>-8.4033613445378408E-3</c:v>
                </c:pt>
                <c:pt idx="10212">
                  <c:v>-8.4033613445378408E-3</c:v>
                </c:pt>
                <c:pt idx="10213">
                  <c:v>-8.4033613445378408E-3</c:v>
                </c:pt>
                <c:pt idx="10214">
                  <c:v>-8.4033613445378408E-3</c:v>
                </c:pt>
                <c:pt idx="10215">
                  <c:v>-8.4033613445378408E-3</c:v>
                </c:pt>
                <c:pt idx="10216">
                  <c:v>-9.2436974789916193E-3</c:v>
                </c:pt>
                <c:pt idx="10217">
                  <c:v>-9.2436974789916193E-3</c:v>
                </c:pt>
                <c:pt idx="10218">
                  <c:v>-9.2436974789916193E-3</c:v>
                </c:pt>
                <c:pt idx="10219">
                  <c:v>-9.2436974789916193E-3</c:v>
                </c:pt>
                <c:pt idx="10220">
                  <c:v>-9.2436974789916193E-3</c:v>
                </c:pt>
                <c:pt idx="10221">
                  <c:v>-9.2436974789916193E-3</c:v>
                </c:pt>
                <c:pt idx="10222">
                  <c:v>-9.2436974789916193E-3</c:v>
                </c:pt>
                <c:pt idx="10223">
                  <c:v>-9.2436974789916193E-3</c:v>
                </c:pt>
                <c:pt idx="10224">
                  <c:v>-1.0084033613445301E-2</c:v>
                </c:pt>
                <c:pt idx="10225">
                  <c:v>-1.0084033613445301E-2</c:v>
                </c:pt>
                <c:pt idx="10226">
                  <c:v>-1.0084033613445301E-2</c:v>
                </c:pt>
                <c:pt idx="10227">
                  <c:v>-1.0084033613445301E-2</c:v>
                </c:pt>
                <c:pt idx="10228">
                  <c:v>-9.2436974789916193E-3</c:v>
                </c:pt>
                <c:pt idx="10229">
                  <c:v>-9.2436974789916193E-3</c:v>
                </c:pt>
                <c:pt idx="10230">
                  <c:v>-9.2436974789916193E-3</c:v>
                </c:pt>
                <c:pt idx="10231">
                  <c:v>-9.2436974789916193E-3</c:v>
                </c:pt>
                <c:pt idx="10232">
                  <c:v>-9.2436974789916193E-3</c:v>
                </c:pt>
                <c:pt idx="10233">
                  <c:v>-9.2436974789916193E-3</c:v>
                </c:pt>
                <c:pt idx="10234">
                  <c:v>-9.2436974789916193E-3</c:v>
                </c:pt>
                <c:pt idx="10235">
                  <c:v>-8.4033613445378408E-3</c:v>
                </c:pt>
                <c:pt idx="10236">
                  <c:v>-8.4033613445378408E-3</c:v>
                </c:pt>
                <c:pt idx="10237">
                  <c:v>-8.4033613445378408E-3</c:v>
                </c:pt>
                <c:pt idx="10238">
                  <c:v>-8.4033613445378408E-3</c:v>
                </c:pt>
                <c:pt idx="10239">
                  <c:v>-8.4033613445378408E-3</c:v>
                </c:pt>
                <c:pt idx="10240">
                  <c:v>-8.4033613445378408E-3</c:v>
                </c:pt>
                <c:pt idx="10241">
                  <c:v>-8.4033613445378408E-3</c:v>
                </c:pt>
                <c:pt idx="10242">
                  <c:v>-8.4033613445378408E-3</c:v>
                </c:pt>
                <c:pt idx="10243">
                  <c:v>-8.4033613445378408E-3</c:v>
                </c:pt>
                <c:pt idx="10244">
                  <c:v>-8.4033613445378408E-3</c:v>
                </c:pt>
                <c:pt idx="10245">
                  <c:v>-8.4033613445378408E-3</c:v>
                </c:pt>
                <c:pt idx="10246">
                  <c:v>-8.4033613445378408E-3</c:v>
                </c:pt>
                <c:pt idx="10247">
                  <c:v>-8.4033613445378408E-3</c:v>
                </c:pt>
                <c:pt idx="10248">
                  <c:v>-8.4033613445378408E-3</c:v>
                </c:pt>
                <c:pt idx="10249">
                  <c:v>-8.4033613445378408E-3</c:v>
                </c:pt>
                <c:pt idx="10250">
                  <c:v>-8.4033613445378408E-3</c:v>
                </c:pt>
                <c:pt idx="10251">
                  <c:v>-8.4033613445378408E-3</c:v>
                </c:pt>
                <c:pt idx="10252">
                  <c:v>-8.4033613445378408E-3</c:v>
                </c:pt>
                <c:pt idx="10253">
                  <c:v>-8.4033613445378408E-3</c:v>
                </c:pt>
                <c:pt idx="10254">
                  <c:v>-8.4033613445378408E-3</c:v>
                </c:pt>
                <c:pt idx="10255">
                  <c:v>-9.2436974789916193E-3</c:v>
                </c:pt>
                <c:pt idx="10256">
                  <c:v>-8.4033613445378408E-3</c:v>
                </c:pt>
                <c:pt idx="10257">
                  <c:v>-8.4033613445378408E-3</c:v>
                </c:pt>
                <c:pt idx="10258">
                  <c:v>-8.4033613445378408E-3</c:v>
                </c:pt>
                <c:pt idx="10259">
                  <c:v>-8.4033613445378408E-3</c:v>
                </c:pt>
                <c:pt idx="10260">
                  <c:v>-8.4033613445378408E-3</c:v>
                </c:pt>
                <c:pt idx="10261">
                  <c:v>-8.4033613445378408E-3</c:v>
                </c:pt>
                <c:pt idx="10262">
                  <c:v>-8.4033613445378408E-3</c:v>
                </c:pt>
                <c:pt idx="10263">
                  <c:v>-8.4033613445378408E-3</c:v>
                </c:pt>
                <c:pt idx="10264">
                  <c:v>-8.4033613445378408E-3</c:v>
                </c:pt>
                <c:pt idx="10265">
                  <c:v>-8.4033613445378408E-3</c:v>
                </c:pt>
                <c:pt idx="10266">
                  <c:v>-8.4033613445378408E-3</c:v>
                </c:pt>
                <c:pt idx="10267">
                  <c:v>-8.4033613445378408E-3</c:v>
                </c:pt>
                <c:pt idx="10268">
                  <c:v>-8.4033613445378408E-3</c:v>
                </c:pt>
                <c:pt idx="10269">
                  <c:v>-8.4033613445378408E-3</c:v>
                </c:pt>
                <c:pt idx="10270">
                  <c:v>-8.4033613445378408E-3</c:v>
                </c:pt>
                <c:pt idx="10271">
                  <c:v>-8.4033613445378408E-3</c:v>
                </c:pt>
                <c:pt idx="10272">
                  <c:v>-8.4033613445378408E-3</c:v>
                </c:pt>
                <c:pt idx="10273">
                  <c:v>-8.4033613445378408E-3</c:v>
                </c:pt>
                <c:pt idx="10274">
                  <c:v>-8.4033613445378408E-3</c:v>
                </c:pt>
                <c:pt idx="10275">
                  <c:v>-8.4033613445378408E-3</c:v>
                </c:pt>
                <c:pt idx="10276">
                  <c:v>-8.4033613445378408E-3</c:v>
                </c:pt>
                <c:pt idx="10277">
                  <c:v>-8.4033613445378408E-3</c:v>
                </c:pt>
                <c:pt idx="10278">
                  <c:v>-8.4033613445378408E-3</c:v>
                </c:pt>
                <c:pt idx="10279">
                  <c:v>-8.4033613445378408E-3</c:v>
                </c:pt>
                <c:pt idx="10280">
                  <c:v>-8.4033613445378408E-3</c:v>
                </c:pt>
                <c:pt idx="10281">
                  <c:v>-8.4033613445378408E-3</c:v>
                </c:pt>
                <c:pt idx="10282">
                  <c:v>-8.4033613445378408E-3</c:v>
                </c:pt>
                <c:pt idx="10283">
                  <c:v>-8.4033613445378408E-3</c:v>
                </c:pt>
                <c:pt idx="10284">
                  <c:v>-8.4033613445378408E-3</c:v>
                </c:pt>
                <c:pt idx="10285">
                  <c:v>-8.4033613445378408E-3</c:v>
                </c:pt>
                <c:pt idx="10286">
                  <c:v>-8.4033613445378408E-3</c:v>
                </c:pt>
                <c:pt idx="10287">
                  <c:v>-8.4033613445378408E-3</c:v>
                </c:pt>
                <c:pt idx="10288">
                  <c:v>-8.4033613445378408E-3</c:v>
                </c:pt>
                <c:pt idx="10289">
                  <c:v>-8.4033613445378408E-3</c:v>
                </c:pt>
                <c:pt idx="10290">
                  <c:v>-8.4033613445378408E-3</c:v>
                </c:pt>
                <c:pt idx="10291">
                  <c:v>-8.4033613445378408E-3</c:v>
                </c:pt>
                <c:pt idx="10292">
                  <c:v>-8.4033613445378408E-3</c:v>
                </c:pt>
                <c:pt idx="10293">
                  <c:v>-8.4033613445378408E-3</c:v>
                </c:pt>
                <c:pt idx="10294">
                  <c:v>-8.4033613445378408E-3</c:v>
                </c:pt>
                <c:pt idx="10295">
                  <c:v>-8.4033613445378408E-3</c:v>
                </c:pt>
                <c:pt idx="10296">
                  <c:v>-8.4033613445378408E-3</c:v>
                </c:pt>
                <c:pt idx="10297">
                  <c:v>-8.4033613445378408E-3</c:v>
                </c:pt>
                <c:pt idx="10298">
                  <c:v>-8.4033613445378408E-3</c:v>
                </c:pt>
                <c:pt idx="10299">
                  <c:v>-8.4033613445378408E-3</c:v>
                </c:pt>
                <c:pt idx="10300">
                  <c:v>-8.4033613445378408E-3</c:v>
                </c:pt>
                <c:pt idx="10301">
                  <c:v>-8.4033613445378408E-3</c:v>
                </c:pt>
                <c:pt idx="10302">
                  <c:v>-8.4033613445378408E-3</c:v>
                </c:pt>
                <c:pt idx="10303">
                  <c:v>-8.4033613445378408E-3</c:v>
                </c:pt>
                <c:pt idx="10304">
                  <c:v>-8.4033613445378408E-3</c:v>
                </c:pt>
                <c:pt idx="10305">
                  <c:v>-8.4033613445378408E-3</c:v>
                </c:pt>
                <c:pt idx="10306">
                  <c:v>-8.4033613445378408E-3</c:v>
                </c:pt>
                <c:pt idx="10307">
                  <c:v>-8.4033613445378408E-3</c:v>
                </c:pt>
                <c:pt idx="10308">
                  <c:v>-9.2436974789916193E-3</c:v>
                </c:pt>
                <c:pt idx="10309">
                  <c:v>-9.2436974789916193E-3</c:v>
                </c:pt>
                <c:pt idx="10310">
                  <c:v>-9.2436974789916193E-3</c:v>
                </c:pt>
                <c:pt idx="10311">
                  <c:v>-1.0084033613445301E-2</c:v>
                </c:pt>
                <c:pt idx="10312">
                  <c:v>-1.0084033613445301E-2</c:v>
                </c:pt>
                <c:pt idx="10313">
                  <c:v>-1.0084033613445301E-2</c:v>
                </c:pt>
                <c:pt idx="10314">
                  <c:v>-1.0084033613445301E-2</c:v>
                </c:pt>
                <c:pt idx="10315">
                  <c:v>-1.0084033613445301E-2</c:v>
                </c:pt>
                <c:pt idx="10316">
                  <c:v>-1.0084033613445301E-2</c:v>
                </c:pt>
                <c:pt idx="10317">
                  <c:v>-1.0084033613445301E-2</c:v>
                </c:pt>
                <c:pt idx="10318">
                  <c:v>-1.0084033613445301E-2</c:v>
                </c:pt>
                <c:pt idx="10319">
                  <c:v>-1.0084033613445301E-2</c:v>
                </c:pt>
                <c:pt idx="10320">
                  <c:v>-1.0084033613445301E-2</c:v>
                </c:pt>
                <c:pt idx="10321">
                  <c:v>-1.0084033613445301E-2</c:v>
                </c:pt>
                <c:pt idx="10322">
                  <c:v>-1.0084033613445301E-2</c:v>
                </c:pt>
                <c:pt idx="10323">
                  <c:v>-1.0084033613445301E-2</c:v>
                </c:pt>
                <c:pt idx="10324">
                  <c:v>-1.0084033613445301E-2</c:v>
                </c:pt>
                <c:pt idx="10325">
                  <c:v>-1.0084033613445301E-2</c:v>
                </c:pt>
                <c:pt idx="10326">
                  <c:v>-1.0084033613445301E-2</c:v>
                </c:pt>
                <c:pt idx="10327">
                  <c:v>-1.0084033613445301E-2</c:v>
                </c:pt>
                <c:pt idx="10328">
                  <c:v>-1.0084033613445301E-2</c:v>
                </c:pt>
                <c:pt idx="10329">
                  <c:v>-1.0084033613445301E-2</c:v>
                </c:pt>
                <c:pt idx="10330">
                  <c:v>-1.0084033613445301E-2</c:v>
                </c:pt>
                <c:pt idx="10331">
                  <c:v>-1.0084033613445301E-2</c:v>
                </c:pt>
                <c:pt idx="10332">
                  <c:v>-1.0084033613445301E-2</c:v>
                </c:pt>
                <c:pt idx="10333">
                  <c:v>-1.09243697478991E-2</c:v>
                </c:pt>
                <c:pt idx="10334">
                  <c:v>-1.09243697478991E-2</c:v>
                </c:pt>
                <c:pt idx="10335">
                  <c:v>-1.09243697478991E-2</c:v>
                </c:pt>
                <c:pt idx="10336">
                  <c:v>-1.09243697478991E-2</c:v>
                </c:pt>
                <c:pt idx="10337">
                  <c:v>-1.09243697478991E-2</c:v>
                </c:pt>
                <c:pt idx="10338">
                  <c:v>-1.09243697478991E-2</c:v>
                </c:pt>
                <c:pt idx="10339">
                  <c:v>-1.09243697478991E-2</c:v>
                </c:pt>
                <c:pt idx="10340">
                  <c:v>-1.0084033613445301E-2</c:v>
                </c:pt>
                <c:pt idx="10341">
                  <c:v>-1.0084033613445301E-2</c:v>
                </c:pt>
                <c:pt idx="10342">
                  <c:v>-1.0084033613445301E-2</c:v>
                </c:pt>
                <c:pt idx="10343">
                  <c:v>-1.0084033613445301E-2</c:v>
                </c:pt>
                <c:pt idx="10344">
                  <c:v>-1.0084033613445301E-2</c:v>
                </c:pt>
                <c:pt idx="10345">
                  <c:v>-1.0084033613445301E-2</c:v>
                </c:pt>
                <c:pt idx="10346">
                  <c:v>-1.0084033613445301E-2</c:v>
                </c:pt>
                <c:pt idx="10347">
                  <c:v>-1.0084033613445301E-2</c:v>
                </c:pt>
                <c:pt idx="10348">
                  <c:v>-1.0084033613445301E-2</c:v>
                </c:pt>
                <c:pt idx="10349">
                  <c:v>-9.2436974789916193E-3</c:v>
                </c:pt>
                <c:pt idx="10350">
                  <c:v>-9.2436974789916193E-3</c:v>
                </c:pt>
                <c:pt idx="10351">
                  <c:v>-9.2436974789916193E-3</c:v>
                </c:pt>
                <c:pt idx="10352">
                  <c:v>-9.2436974789916193E-3</c:v>
                </c:pt>
                <c:pt idx="10353">
                  <c:v>-9.2436974789916193E-3</c:v>
                </c:pt>
                <c:pt idx="10354">
                  <c:v>-9.2436974789916193E-3</c:v>
                </c:pt>
                <c:pt idx="10355">
                  <c:v>-9.2436974789916193E-3</c:v>
                </c:pt>
                <c:pt idx="10356">
                  <c:v>-9.2436974789916193E-3</c:v>
                </c:pt>
                <c:pt idx="10357">
                  <c:v>-9.2436974789916193E-3</c:v>
                </c:pt>
                <c:pt idx="10358">
                  <c:v>-9.2436974789916193E-3</c:v>
                </c:pt>
                <c:pt idx="10359">
                  <c:v>-9.2436974789916193E-3</c:v>
                </c:pt>
                <c:pt idx="10360">
                  <c:v>-9.2436974789916193E-3</c:v>
                </c:pt>
                <c:pt idx="10361">
                  <c:v>-9.2436974789916193E-3</c:v>
                </c:pt>
                <c:pt idx="10362">
                  <c:v>-9.2436974789916193E-3</c:v>
                </c:pt>
                <c:pt idx="10363">
                  <c:v>-9.2436974789916193E-3</c:v>
                </c:pt>
                <c:pt idx="10364">
                  <c:v>-1.0084033613445301E-2</c:v>
                </c:pt>
                <c:pt idx="10365">
                  <c:v>-1.0084033613445301E-2</c:v>
                </c:pt>
                <c:pt idx="10366">
                  <c:v>-1.0084033613445301E-2</c:v>
                </c:pt>
                <c:pt idx="10367">
                  <c:v>-1.0084033613445301E-2</c:v>
                </c:pt>
                <c:pt idx="10368">
                  <c:v>-9.2436974789915603E-3</c:v>
                </c:pt>
                <c:pt idx="10369">
                  <c:v>-9.2436974789915603E-3</c:v>
                </c:pt>
                <c:pt idx="10370">
                  <c:v>-9.2436974789915603E-3</c:v>
                </c:pt>
                <c:pt idx="10371">
                  <c:v>-9.2436974789915603E-3</c:v>
                </c:pt>
                <c:pt idx="10372">
                  <c:v>-9.2436974789915603E-3</c:v>
                </c:pt>
                <c:pt idx="10373">
                  <c:v>-9.2436974789915603E-3</c:v>
                </c:pt>
                <c:pt idx="10374">
                  <c:v>-9.2436974789915603E-3</c:v>
                </c:pt>
                <c:pt idx="10375">
                  <c:v>-9.2436974789915603E-3</c:v>
                </c:pt>
                <c:pt idx="10376">
                  <c:v>-9.2436974789915603E-3</c:v>
                </c:pt>
                <c:pt idx="10377">
                  <c:v>-9.2436974789915603E-3</c:v>
                </c:pt>
                <c:pt idx="10378">
                  <c:v>-9.2436974789915603E-3</c:v>
                </c:pt>
                <c:pt idx="10379">
                  <c:v>-9.2436974789915603E-3</c:v>
                </c:pt>
                <c:pt idx="10380">
                  <c:v>-9.2436974789915603E-3</c:v>
                </c:pt>
                <c:pt idx="10381">
                  <c:v>-8.4033613445377801E-3</c:v>
                </c:pt>
                <c:pt idx="10382">
                  <c:v>-8.4033613445377801E-3</c:v>
                </c:pt>
                <c:pt idx="10383">
                  <c:v>-8.4033613445377801E-3</c:v>
                </c:pt>
                <c:pt idx="10384">
                  <c:v>-8.4033613445377801E-3</c:v>
                </c:pt>
                <c:pt idx="10385">
                  <c:v>-8.4033613445377801E-3</c:v>
                </c:pt>
                <c:pt idx="10386">
                  <c:v>-8.4033613445377801E-3</c:v>
                </c:pt>
                <c:pt idx="10387">
                  <c:v>-8.4033613445377801E-3</c:v>
                </c:pt>
                <c:pt idx="10388">
                  <c:v>-8.4033613445377801E-3</c:v>
                </c:pt>
                <c:pt idx="10389">
                  <c:v>-8.4033613445377801E-3</c:v>
                </c:pt>
                <c:pt idx="10390">
                  <c:v>-8.4033613445377801E-3</c:v>
                </c:pt>
                <c:pt idx="10391">
                  <c:v>-8.4033613445377801E-3</c:v>
                </c:pt>
                <c:pt idx="10392">
                  <c:v>-8.4033613445377801E-3</c:v>
                </c:pt>
                <c:pt idx="10393">
                  <c:v>-8.4033613445377801E-3</c:v>
                </c:pt>
                <c:pt idx="10394">
                  <c:v>-8.4033613445377801E-3</c:v>
                </c:pt>
                <c:pt idx="10395">
                  <c:v>-8.4033613445377801E-3</c:v>
                </c:pt>
                <c:pt idx="10396">
                  <c:v>-8.4033613445377801E-3</c:v>
                </c:pt>
                <c:pt idx="10397">
                  <c:v>-8.4033613445377801E-3</c:v>
                </c:pt>
                <c:pt idx="10398">
                  <c:v>-7.5630252100839998E-3</c:v>
                </c:pt>
                <c:pt idx="10399">
                  <c:v>-7.5630252100839998E-3</c:v>
                </c:pt>
                <c:pt idx="10400">
                  <c:v>-7.5630252100839998E-3</c:v>
                </c:pt>
                <c:pt idx="10401">
                  <c:v>-7.5630252100839998E-3</c:v>
                </c:pt>
                <c:pt idx="10402">
                  <c:v>-7.5630252100839998E-3</c:v>
                </c:pt>
                <c:pt idx="10403">
                  <c:v>-7.5630252100839998E-3</c:v>
                </c:pt>
                <c:pt idx="10404">
                  <c:v>-7.5630252100839998E-3</c:v>
                </c:pt>
                <c:pt idx="10405">
                  <c:v>-7.5630252100839998E-3</c:v>
                </c:pt>
                <c:pt idx="10406">
                  <c:v>-6.7226890756302204E-3</c:v>
                </c:pt>
                <c:pt idx="10407">
                  <c:v>-6.7226890756302204E-3</c:v>
                </c:pt>
                <c:pt idx="10408">
                  <c:v>-6.7226890756302204E-3</c:v>
                </c:pt>
                <c:pt idx="10409">
                  <c:v>-6.7226890756302204E-3</c:v>
                </c:pt>
                <c:pt idx="10410">
                  <c:v>-6.7226890756302204E-3</c:v>
                </c:pt>
                <c:pt idx="10411">
                  <c:v>-6.7226890756302204E-3</c:v>
                </c:pt>
                <c:pt idx="10412">
                  <c:v>-6.7226890756302204E-3</c:v>
                </c:pt>
                <c:pt idx="10413">
                  <c:v>-6.7226890756302204E-3</c:v>
                </c:pt>
                <c:pt idx="10414">
                  <c:v>-5.8823529411764497E-3</c:v>
                </c:pt>
                <c:pt idx="10415">
                  <c:v>-5.8823529411764497E-3</c:v>
                </c:pt>
                <c:pt idx="10416">
                  <c:v>-5.8823529411764497E-3</c:v>
                </c:pt>
                <c:pt idx="10417">
                  <c:v>-5.8823529411764497E-3</c:v>
                </c:pt>
                <c:pt idx="10418">
                  <c:v>-5.8823529411764497E-3</c:v>
                </c:pt>
                <c:pt idx="10419">
                  <c:v>-5.8823529411764497E-3</c:v>
                </c:pt>
                <c:pt idx="10420">
                  <c:v>-5.8823529411764497E-3</c:v>
                </c:pt>
                <c:pt idx="10421">
                  <c:v>-5.8823529411764497E-3</c:v>
                </c:pt>
                <c:pt idx="10422">
                  <c:v>-5.8823529411764497E-3</c:v>
                </c:pt>
                <c:pt idx="10423">
                  <c:v>-5.8823529411764497E-3</c:v>
                </c:pt>
                <c:pt idx="10424">
                  <c:v>-5.8823529411764497E-3</c:v>
                </c:pt>
                <c:pt idx="10425">
                  <c:v>-5.8823529411764497E-3</c:v>
                </c:pt>
                <c:pt idx="10426">
                  <c:v>-5.8823529411764497E-3</c:v>
                </c:pt>
                <c:pt idx="10427">
                  <c:v>-5.8823529411764497E-3</c:v>
                </c:pt>
                <c:pt idx="10428">
                  <c:v>-5.8823529411764497E-3</c:v>
                </c:pt>
                <c:pt idx="10429">
                  <c:v>-5.8823529411764497E-3</c:v>
                </c:pt>
                <c:pt idx="10430">
                  <c:v>-6.7226890756302204E-3</c:v>
                </c:pt>
                <c:pt idx="10431">
                  <c:v>-6.7226890756302204E-3</c:v>
                </c:pt>
                <c:pt idx="10432">
                  <c:v>-6.7226890756302204E-3</c:v>
                </c:pt>
                <c:pt idx="10433">
                  <c:v>-6.7226890756302204E-3</c:v>
                </c:pt>
                <c:pt idx="10434">
                  <c:v>-6.7226890756302204E-3</c:v>
                </c:pt>
                <c:pt idx="10435">
                  <c:v>-6.7226890756302204E-3</c:v>
                </c:pt>
                <c:pt idx="10436">
                  <c:v>-6.7226890756302204E-3</c:v>
                </c:pt>
                <c:pt idx="10437">
                  <c:v>-6.7226890756302204E-3</c:v>
                </c:pt>
                <c:pt idx="10438">
                  <c:v>-6.7226890756302204E-3</c:v>
                </c:pt>
                <c:pt idx="10439">
                  <c:v>-6.7226890756302204E-3</c:v>
                </c:pt>
                <c:pt idx="10440">
                  <c:v>-6.7226890756302204E-3</c:v>
                </c:pt>
                <c:pt idx="10441">
                  <c:v>-6.7226890756302204E-3</c:v>
                </c:pt>
                <c:pt idx="10442">
                  <c:v>-6.7226890756302204E-3</c:v>
                </c:pt>
                <c:pt idx="10443">
                  <c:v>-6.7226890756302204E-3</c:v>
                </c:pt>
                <c:pt idx="10444">
                  <c:v>-6.7226890756302204E-3</c:v>
                </c:pt>
                <c:pt idx="10445">
                  <c:v>-5.8823529411764497E-3</c:v>
                </c:pt>
                <c:pt idx="10446">
                  <c:v>-5.8823529411764497E-3</c:v>
                </c:pt>
                <c:pt idx="10447">
                  <c:v>-5.8823529411764497E-3</c:v>
                </c:pt>
                <c:pt idx="10448">
                  <c:v>-5.8823529411764497E-3</c:v>
                </c:pt>
                <c:pt idx="10449">
                  <c:v>-5.8823529411764497E-3</c:v>
                </c:pt>
                <c:pt idx="10450">
                  <c:v>-5.8823529411764497E-3</c:v>
                </c:pt>
                <c:pt idx="10451">
                  <c:v>-5.8823529411764497E-3</c:v>
                </c:pt>
                <c:pt idx="10452">
                  <c:v>-5.8823529411764497E-3</c:v>
                </c:pt>
                <c:pt idx="10453">
                  <c:v>-5.8823529411764497E-3</c:v>
                </c:pt>
                <c:pt idx="10454">
                  <c:v>-5.8823529411764497E-3</c:v>
                </c:pt>
                <c:pt idx="10455">
                  <c:v>-5.8823529411764497E-3</c:v>
                </c:pt>
                <c:pt idx="10456">
                  <c:v>-5.8823529411764497E-3</c:v>
                </c:pt>
                <c:pt idx="10457">
                  <c:v>-5.8823529411764497E-3</c:v>
                </c:pt>
                <c:pt idx="10458">
                  <c:v>-6.7226890756302204E-3</c:v>
                </c:pt>
                <c:pt idx="10459">
                  <c:v>-6.7226890756302204E-3</c:v>
                </c:pt>
                <c:pt idx="10460">
                  <c:v>-6.7226890756302204E-3</c:v>
                </c:pt>
                <c:pt idx="10461">
                  <c:v>-6.7226890756302204E-3</c:v>
                </c:pt>
                <c:pt idx="10462">
                  <c:v>-6.7226890756302204E-3</c:v>
                </c:pt>
                <c:pt idx="10463">
                  <c:v>-6.7226890756302204E-3</c:v>
                </c:pt>
                <c:pt idx="10464">
                  <c:v>-6.7226890756302204E-3</c:v>
                </c:pt>
                <c:pt idx="10465">
                  <c:v>-6.7226890756302204E-3</c:v>
                </c:pt>
                <c:pt idx="10466">
                  <c:v>-6.7226890756302204E-3</c:v>
                </c:pt>
                <c:pt idx="10467">
                  <c:v>-6.7226890756302204E-3</c:v>
                </c:pt>
                <c:pt idx="10468">
                  <c:v>-6.7226890756302204E-3</c:v>
                </c:pt>
                <c:pt idx="10469">
                  <c:v>-7.5630252100839998E-3</c:v>
                </c:pt>
                <c:pt idx="10470">
                  <c:v>-7.5630252100839998E-3</c:v>
                </c:pt>
                <c:pt idx="10471">
                  <c:v>-7.5630252100839998E-3</c:v>
                </c:pt>
                <c:pt idx="10472">
                  <c:v>-7.5630252100839998E-3</c:v>
                </c:pt>
                <c:pt idx="10473">
                  <c:v>-7.5630252100839998E-3</c:v>
                </c:pt>
                <c:pt idx="10474">
                  <c:v>-7.5630252100839998E-3</c:v>
                </c:pt>
                <c:pt idx="10475">
                  <c:v>-7.5630252100839998E-3</c:v>
                </c:pt>
                <c:pt idx="10476">
                  <c:v>-7.5630252100839998E-3</c:v>
                </c:pt>
                <c:pt idx="10477">
                  <c:v>-7.5630252100839998E-3</c:v>
                </c:pt>
                <c:pt idx="10478">
                  <c:v>-7.5630252100839998E-3</c:v>
                </c:pt>
                <c:pt idx="10479">
                  <c:v>-7.5630252100839998E-3</c:v>
                </c:pt>
                <c:pt idx="10480">
                  <c:v>-7.5630252100839998E-3</c:v>
                </c:pt>
                <c:pt idx="10481">
                  <c:v>-7.5630252100839998E-3</c:v>
                </c:pt>
                <c:pt idx="10482">
                  <c:v>-7.5630252100839998E-3</c:v>
                </c:pt>
                <c:pt idx="10483">
                  <c:v>-7.5630252100839998E-3</c:v>
                </c:pt>
                <c:pt idx="10484">
                  <c:v>-7.5630252100839998E-3</c:v>
                </c:pt>
                <c:pt idx="10485">
                  <c:v>-7.5630252100839998E-3</c:v>
                </c:pt>
                <c:pt idx="10486">
                  <c:v>-7.5630252100839998E-3</c:v>
                </c:pt>
                <c:pt idx="10487">
                  <c:v>-7.5630252100839998E-3</c:v>
                </c:pt>
                <c:pt idx="10488">
                  <c:v>-7.5630252100839998E-3</c:v>
                </c:pt>
                <c:pt idx="10489">
                  <c:v>-7.5630252100839998E-3</c:v>
                </c:pt>
                <c:pt idx="10490">
                  <c:v>-7.5630252100839998E-3</c:v>
                </c:pt>
                <c:pt idx="10491">
                  <c:v>-7.5630252100839998E-3</c:v>
                </c:pt>
                <c:pt idx="10492">
                  <c:v>-7.5630252100839998E-3</c:v>
                </c:pt>
                <c:pt idx="10493">
                  <c:v>-7.5630252100839998E-3</c:v>
                </c:pt>
                <c:pt idx="10494">
                  <c:v>-7.5630252100839998E-3</c:v>
                </c:pt>
                <c:pt idx="10495">
                  <c:v>-7.5630252100839998E-3</c:v>
                </c:pt>
                <c:pt idx="10496">
                  <c:v>-7.5630252100839998E-3</c:v>
                </c:pt>
                <c:pt idx="10497">
                  <c:v>-7.5630252100839998E-3</c:v>
                </c:pt>
                <c:pt idx="10498">
                  <c:v>-7.5630252100839998E-3</c:v>
                </c:pt>
                <c:pt idx="10499">
                  <c:v>-7.5630252100839998E-3</c:v>
                </c:pt>
                <c:pt idx="10500">
                  <c:v>-7.5630252100839998E-3</c:v>
                </c:pt>
                <c:pt idx="10501">
                  <c:v>-7.5630252100839998E-3</c:v>
                </c:pt>
                <c:pt idx="10502">
                  <c:v>-7.5630252100839998E-3</c:v>
                </c:pt>
                <c:pt idx="10503">
                  <c:v>-7.5630252100839998E-3</c:v>
                </c:pt>
                <c:pt idx="10504">
                  <c:v>-7.5630252100839998E-3</c:v>
                </c:pt>
                <c:pt idx="10505">
                  <c:v>-7.5630252100839998E-3</c:v>
                </c:pt>
                <c:pt idx="10506">
                  <c:v>-7.5630252100839998E-3</c:v>
                </c:pt>
                <c:pt idx="10507">
                  <c:v>-7.5630252100839998E-3</c:v>
                </c:pt>
                <c:pt idx="10508">
                  <c:v>-7.5630252100839998E-3</c:v>
                </c:pt>
                <c:pt idx="10509">
                  <c:v>-7.5630252100839998E-3</c:v>
                </c:pt>
                <c:pt idx="10510">
                  <c:v>-7.5630252100839998E-3</c:v>
                </c:pt>
                <c:pt idx="10511">
                  <c:v>-7.5630252100839998E-3</c:v>
                </c:pt>
                <c:pt idx="10512">
                  <c:v>-7.5630252100839998E-3</c:v>
                </c:pt>
                <c:pt idx="10513">
                  <c:v>-7.5630252100839998E-3</c:v>
                </c:pt>
                <c:pt idx="10514">
                  <c:v>-7.5630252100839998E-3</c:v>
                </c:pt>
                <c:pt idx="10515">
                  <c:v>-7.5630252100839998E-3</c:v>
                </c:pt>
                <c:pt idx="10516">
                  <c:v>-7.5630252100839998E-3</c:v>
                </c:pt>
                <c:pt idx="10517">
                  <c:v>-7.5630252100839998E-3</c:v>
                </c:pt>
                <c:pt idx="10518">
                  <c:v>-7.5630252100839998E-3</c:v>
                </c:pt>
                <c:pt idx="10519">
                  <c:v>-7.5630252100839998E-3</c:v>
                </c:pt>
                <c:pt idx="10520">
                  <c:v>-7.5630252100839998E-3</c:v>
                </c:pt>
                <c:pt idx="10521">
                  <c:v>-7.5630252100839998E-3</c:v>
                </c:pt>
                <c:pt idx="10522">
                  <c:v>-7.5630252100839998E-3</c:v>
                </c:pt>
                <c:pt idx="10523">
                  <c:v>-7.5630252100839998E-3</c:v>
                </c:pt>
                <c:pt idx="10524">
                  <c:v>-6.7226890756302204E-3</c:v>
                </c:pt>
                <c:pt idx="10525">
                  <c:v>-6.7226890756302204E-3</c:v>
                </c:pt>
                <c:pt idx="10526">
                  <c:v>-6.7226890756302204E-3</c:v>
                </c:pt>
                <c:pt idx="10527">
                  <c:v>-6.7226890756302204E-3</c:v>
                </c:pt>
                <c:pt idx="10528">
                  <c:v>-6.7226890756302204E-3</c:v>
                </c:pt>
                <c:pt idx="10529">
                  <c:v>-6.7226890756302204E-3</c:v>
                </c:pt>
                <c:pt idx="10530">
                  <c:v>-6.7226890756302204E-3</c:v>
                </c:pt>
                <c:pt idx="10531">
                  <c:v>-6.7226890756302204E-3</c:v>
                </c:pt>
                <c:pt idx="10532">
                  <c:v>-6.7226890756302204E-3</c:v>
                </c:pt>
                <c:pt idx="10533">
                  <c:v>-6.7226890756302204E-3</c:v>
                </c:pt>
                <c:pt idx="10534">
                  <c:v>-6.7226890756302204E-3</c:v>
                </c:pt>
                <c:pt idx="10535">
                  <c:v>-6.7226890756302204E-3</c:v>
                </c:pt>
                <c:pt idx="10536">
                  <c:v>-6.7226890756302204E-3</c:v>
                </c:pt>
                <c:pt idx="10537">
                  <c:v>-6.7226890756302204E-3</c:v>
                </c:pt>
                <c:pt idx="10538">
                  <c:v>-6.7226890756302204E-3</c:v>
                </c:pt>
                <c:pt idx="10539">
                  <c:v>-6.7226890756302204E-3</c:v>
                </c:pt>
                <c:pt idx="10540">
                  <c:v>-6.7226890756302204E-3</c:v>
                </c:pt>
                <c:pt idx="10541">
                  <c:v>-6.7226890756302204E-3</c:v>
                </c:pt>
                <c:pt idx="10542">
                  <c:v>-6.7226890756302204E-3</c:v>
                </c:pt>
                <c:pt idx="10543">
                  <c:v>-6.7226890756302204E-3</c:v>
                </c:pt>
                <c:pt idx="10544">
                  <c:v>-6.7226890756302204E-3</c:v>
                </c:pt>
                <c:pt idx="10545">
                  <c:v>-6.7226890756302204E-3</c:v>
                </c:pt>
                <c:pt idx="10546">
                  <c:v>-7.5630252100839998E-3</c:v>
                </c:pt>
                <c:pt idx="10547">
                  <c:v>-7.5630252100839998E-3</c:v>
                </c:pt>
                <c:pt idx="10548">
                  <c:v>-7.5630252100839998E-3</c:v>
                </c:pt>
                <c:pt idx="10549">
                  <c:v>-7.5630252100839998E-3</c:v>
                </c:pt>
                <c:pt idx="10550">
                  <c:v>-7.5630252100839998E-3</c:v>
                </c:pt>
                <c:pt idx="10551">
                  <c:v>-7.5630252100839998E-3</c:v>
                </c:pt>
                <c:pt idx="10552">
                  <c:v>-7.5630252100839998E-3</c:v>
                </c:pt>
                <c:pt idx="10553">
                  <c:v>-6.7226890756302204E-3</c:v>
                </c:pt>
                <c:pt idx="10554">
                  <c:v>-7.5630252100839998E-3</c:v>
                </c:pt>
                <c:pt idx="10555">
                  <c:v>-6.7226890756302204E-3</c:v>
                </c:pt>
                <c:pt idx="10556">
                  <c:v>-5.8823529411764497E-3</c:v>
                </c:pt>
                <c:pt idx="10557">
                  <c:v>-5.8823529411764497E-3</c:v>
                </c:pt>
                <c:pt idx="10558">
                  <c:v>-5.8823529411764497E-3</c:v>
                </c:pt>
                <c:pt idx="10559">
                  <c:v>-5.8823529411764497E-3</c:v>
                </c:pt>
                <c:pt idx="10560">
                  <c:v>-5.8823529411764497E-3</c:v>
                </c:pt>
                <c:pt idx="10561">
                  <c:v>-5.8823529411764497E-3</c:v>
                </c:pt>
                <c:pt idx="10562">
                  <c:v>-5.0420168067226703E-3</c:v>
                </c:pt>
                <c:pt idx="10563">
                  <c:v>-5.0420168067226703E-3</c:v>
                </c:pt>
                <c:pt idx="10564">
                  <c:v>-5.0420168067226703E-3</c:v>
                </c:pt>
                <c:pt idx="10565">
                  <c:v>-5.0420168067226703E-3</c:v>
                </c:pt>
                <c:pt idx="10566">
                  <c:v>-5.0420168067226703E-3</c:v>
                </c:pt>
                <c:pt idx="10567">
                  <c:v>-5.0420168067226703E-3</c:v>
                </c:pt>
                <c:pt idx="10568">
                  <c:v>-5.0420168067226703E-3</c:v>
                </c:pt>
                <c:pt idx="10569">
                  <c:v>-5.0420168067226703E-3</c:v>
                </c:pt>
                <c:pt idx="10570">
                  <c:v>-5.0420168067226703E-3</c:v>
                </c:pt>
                <c:pt idx="10571">
                  <c:v>-5.0420168067226703E-3</c:v>
                </c:pt>
                <c:pt idx="10572">
                  <c:v>-5.0420168067226703E-3</c:v>
                </c:pt>
                <c:pt idx="10573">
                  <c:v>-5.0420168067226703E-3</c:v>
                </c:pt>
                <c:pt idx="10574">
                  <c:v>-5.0420168067226703E-3</c:v>
                </c:pt>
                <c:pt idx="10575">
                  <c:v>-5.0420168067226703E-3</c:v>
                </c:pt>
                <c:pt idx="10576">
                  <c:v>-5.0420168067226703E-3</c:v>
                </c:pt>
                <c:pt idx="10577">
                  <c:v>-5.0420168067226703E-3</c:v>
                </c:pt>
                <c:pt idx="10578">
                  <c:v>-5.0420168067226703E-3</c:v>
                </c:pt>
                <c:pt idx="10579">
                  <c:v>-5.0420168067226703E-3</c:v>
                </c:pt>
                <c:pt idx="10580">
                  <c:v>-5.0420168067226703E-3</c:v>
                </c:pt>
                <c:pt idx="10581">
                  <c:v>-5.0420168067226703E-3</c:v>
                </c:pt>
                <c:pt idx="10582">
                  <c:v>-5.0420168067226703E-3</c:v>
                </c:pt>
                <c:pt idx="10583">
                  <c:v>-5.0420168067226703E-3</c:v>
                </c:pt>
                <c:pt idx="10584">
                  <c:v>-5.0420168067226703E-3</c:v>
                </c:pt>
                <c:pt idx="10585">
                  <c:v>-5.0420168067226703E-3</c:v>
                </c:pt>
                <c:pt idx="10586">
                  <c:v>-5.0420168067226703E-3</c:v>
                </c:pt>
                <c:pt idx="10587">
                  <c:v>-5.0420168067226703E-3</c:v>
                </c:pt>
                <c:pt idx="10588">
                  <c:v>-5.0420168067226703E-3</c:v>
                </c:pt>
                <c:pt idx="10589">
                  <c:v>-5.0420168067226703E-3</c:v>
                </c:pt>
                <c:pt idx="10590">
                  <c:v>-4.20168067226889E-3</c:v>
                </c:pt>
                <c:pt idx="10591">
                  <c:v>-4.20168067226889E-3</c:v>
                </c:pt>
                <c:pt idx="10592">
                  <c:v>-4.20168067226889E-3</c:v>
                </c:pt>
                <c:pt idx="10593">
                  <c:v>-5.0420168067226703E-3</c:v>
                </c:pt>
                <c:pt idx="10594">
                  <c:v>-5.0420168067226703E-3</c:v>
                </c:pt>
                <c:pt idx="10595">
                  <c:v>-5.0420168067226703E-3</c:v>
                </c:pt>
                <c:pt idx="10596">
                  <c:v>-5.0420168067226703E-3</c:v>
                </c:pt>
                <c:pt idx="10597">
                  <c:v>-5.8823529411764497E-3</c:v>
                </c:pt>
                <c:pt idx="10598">
                  <c:v>-5.8823529411764497E-3</c:v>
                </c:pt>
                <c:pt idx="10599">
                  <c:v>-5.8823529411764497E-3</c:v>
                </c:pt>
                <c:pt idx="10600">
                  <c:v>-5.8823529411764497E-3</c:v>
                </c:pt>
                <c:pt idx="10601">
                  <c:v>-5.0420168067226703E-3</c:v>
                </c:pt>
                <c:pt idx="10602">
                  <c:v>-5.0420168067226703E-3</c:v>
                </c:pt>
                <c:pt idx="10603">
                  <c:v>-5.0420168067226703E-3</c:v>
                </c:pt>
                <c:pt idx="10604">
                  <c:v>-5.0420168067226703E-3</c:v>
                </c:pt>
                <c:pt idx="10605">
                  <c:v>-5.0420168067226703E-3</c:v>
                </c:pt>
                <c:pt idx="10606">
                  <c:v>-5.0420168067226703E-3</c:v>
                </c:pt>
                <c:pt idx="10607">
                  <c:v>-4.20168067226889E-3</c:v>
                </c:pt>
                <c:pt idx="10608">
                  <c:v>-4.20168067226889E-3</c:v>
                </c:pt>
                <c:pt idx="10609">
                  <c:v>-4.20168067226889E-3</c:v>
                </c:pt>
                <c:pt idx="10610">
                  <c:v>-4.20168067226889E-3</c:v>
                </c:pt>
                <c:pt idx="10611">
                  <c:v>-4.20168067226889E-3</c:v>
                </c:pt>
                <c:pt idx="10612">
                  <c:v>-4.20168067226889E-3</c:v>
                </c:pt>
                <c:pt idx="10613">
                  <c:v>-4.20168067226889E-3</c:v>
                </c:pt>
                <c:pt idx="10614">
                  <c:v>-4.20168067226889E-3</c:v>
                </c:pt>
                <c:pt idx="10615">
                  <c:v>-4.20168067226889E-3</c:v>
                </c:pt>
                <c:pt idx="10616">
                  <c:v>-4.20168067226889E-3</c:v>
                </c:pt>
                <c:pt idx="10617">
                  <c:v>-4.20168067226889E-3</c:v>
                </c:pt>
                <c:pt idx="10618">
                  <c:v>-4.20168067226889E-3</c:v>
                </c:pt>
                <c:pt idx="10619">
                  <c:v>-4.20168067226889E-3</c:v>
                </c:pt>
                <c:pt idx="10620">
                  <c:v>-4.20168067226889E-3</c:v>
                </c:pt>
                <c:pt idx="10621">
                  <c:v>-4.20168067226889E-3</c:v>
                </c:pt>
                <c:pt idx="10622">
                  <c:v>-4.20168067226889E-3</c:v>
                </c:pt>
                <c:pt idx="10623">
                  <c:v>-4.20168067226889E-3</c:v>
                </c:pt>
                <c:pt idx="10624">
                  <c:v>-4.20168067226889E-3</c:v>
                </c:pt>
                <c:pt idx="10625">
                  <c:v>-3.3613445378151102E-3</c:v>
                </c:pt>
                <c:pt idx="10626">
                  <c:v>-3.3613445378151102E-3</c:v>
                </c:pt>
                <c:pt idx="10627">
                  <c:v>-3.3613445378151102E-3</c:v>
                </c:pt>
                <c:pt idx="10628">
                  <c:v>-3.3613445378151102E-3</c:v>
                </c:pt>
                <c:pt idx="10629">
                  <c:v>-3.3613445378151102E-3</c:v>
                </c:pt>
                <c:pt idx="10630">
                  <c:v>-3.3613445378151102E-3</c:v>
                </c:pt>
                <c:pt idx="10631">
                  <c:v>-3.3613445378151102E-3</c:v>
                </c:pt>
                <c:pt idx="10632">
                  <c:v>-3.3613445378151102E-3</c:v>
                </c:pt>
                <c:pt idx="10633">
                  <c:v>-3.3613445378151102E-3</c:v>
                </c:pt>
                <c:pt idx="10634">
                  <c:v>-3.3613445378151102E-3</c:v>
                </c:pt>
                <c:pt idx="10635">
                  <c:v>-3.3613445378151102E-3</c:v>
                </c:pt>
                <c:pt idx="10636">
                  <c:v>-3.3613445378151102E-3</c:v>
                </c:pt>
                <c:pt idx="10637">
                  <c:v>-3.3613445378151102E-3</c:v>
                </c:pt>
                <c:pt idx="10638">
                  <c:v>-3.3613445378151102E-3</c:v>
                </c:pt>
                <c:pt idx="10639">
                  <c:v>-3.3613445378151102E-3</c:v>
                </c:pt>
                <c:pt idx="10640">
                  <c:v>-3.3613445378151102E-3</c:v>
                </c:pt>
                <c:pt idx="10641">
                  <c:v>-3.3613445378151102E-3</c:v>
                </c:pt>
                <c:pt idx="10642">
                  <c:v>-3.3613445378151102E-3</c:v>
                </c:pt>
                <c:pt idx="10643">
                  <c:v>-3.3613445378151102E-3</c:v>
                </c:pt>
                <c:pt idx="10644">
                  <c:v>-3.3613445378151102E-3</c:v>
                </c:pt>
                <c:pt idx="10645">
                  <c:v>-3.3613445378151102E-3</c:v>
                </c:pt>
                <c:pt idx="10646">
                  <c:v>-3.3613445378151102E-3</c:v>
                </c:pt>
                <c:pt idx="10647">
                  <c:v>-3.3613445378151102E-3</c:v>
                </c:pt>
                <c:pt idx="10648">
                  <c:v>-3.3613445378151102E-3</c:v>
                </c:pt>
                <c:pt idx="10649">
                  <c:v>-3.3613445378151102E-3</c:v>
                </c:pt>
                <c:pt idx="10650">
                  <c:v>-3.3613445378151102E-3</c:v>
                </c:pt>
                <c:pt idx="10651">
                  <c:v>-3.3613445378151102E-3</c:v>
                </c:pt>
                <c:pt idx="10652">
                  <c:v>-3.3613445378151102E-3</c:v>
                </c:pt>
                <c:pt idx="10653">
                  <c:v>-3.3613445378151102E-3</c:v>
                </c:pt>
                <c:pt idx="10654">
                  <c:v>-3.3613445378151102E-3</c:v>
                </c:pt>
                <c:pt idx="10655">
                  <c:v>-3.3613445378151102E-3</c:v>
                </c:pt>
                <c:pt idx="10656">
                  <c:v>-3.3613445378151102E-3</c:v>
                </c:pt>
                <c:pt idx="10657">
                  <c:v>-3.3613445378151102E-3</c:v>
                </c:pt>
                <c:pt idx="10658">
                  <c:v>-3.3613445378151102E-3</c:v>
                </c:pt>
                <c:pt idx="10659">
                  <c:v>-3.3613445378151102E-3</c:v>
                </c:pt>
                <c:pt idx="10660">
                  <c:v>-3.3613445378151102E-3</c:v>
                </c:pt>
                <c:pt idx="10661">
                  <c:v>-3.3613445378151102E-3</c:v>
                </c:pt>
                <c:pt idx="10662">
                  <c:v>-3.3613445378151102E-3</c:v>
                </c:pt>
                <c:pt idx="10663">
                  <c:v>-3.3613445378151102E-3</c:v>
                </c:pt>
                <c:pt idx="10664">
                  <c:v>-3.3613445378151102E-3</c:v>
                </c:pt>
                <c:pt idx="10665">
                  <c:v>-2.5210084033613299E-3</c:v>
                </c:pt>
                <c:pt idx="10666">
                  <c:v>-2.5210084033613299E-3</c:v>
                </c:pt>
                <c:pt idx="10667">
                  <c:v>-2.5210084033613299E-3</c:v>
                </c:pt>
                <c:pt idx="10668">
                  <c:v>-2.5210084033613299E-3</c:v>
                </c:pt>
                <c:pt idx="10669">
                  <c:v>-2.5210084033613299E-3</c:v>
                </c:pt>
                <c:pt idx="10670">
                  <c:v>-2.5210084033613299E-3</c:v>
                </c:pt>
                <c:pt idx="10671">
                  <c:v>-2.5210084033613299E-3</c:v>
                </c:pt>
                <c:pt idx="10672">
                  <c:v>-2.5210084033613299E-3</c:v>
                </c:pt>
                <c:pt idx="10673">
                  <c:v>-2.5210084033613299E-3</c:v>
                </c:pt>
                <c:pt idx="10674">
                  <c:v>-2.5210084033613299E-3</c:v>
                </c:pt>
                <c:pt idx="10675">
                  <c:v>-2.5210084033613299E-3</c:v>
                </c:pt>
                <c:pt idx="10676">
                  <c:v>-2.5210084033613299E-3</c:v>
                </c:pt>
                <c:pt idx="10677">
                  <c:v>-2.5210084033613299E-3</c:v>
                </c:pt>
                <c:pt idx="10678">
                  <c:v>-2.5210084033613299E-3</c:v>
                </c:pt>
                <c:pt idx="10679">
                  <c:v>-2.5210084033613299E-3</c:v>
                </c:pt>
                <c:pt idx="10680">
                  <c:v>-2.5210084033613299E-3</c:v>
                </c:pt>
                <c:pt idx="10681">
                  <c:v>-2.5210084033613299E-3</c:v>
                </c:pt>
                <c:pt idx="10682">
                  <c:v>-2.5210084033613299E-3</c:v>
                </c:pt>
                <c:pt idx="10683">
                  <c:v>-2.5210084033613299E-3</c:v>
                </c:pt>
                <c:pt idx="10684">
                  <c:v>-2.5210084033613299E-3</c:v>
                </c:pt>
                <c:pt idx="10685">
                  <c:v>-1.6806722689075499E-3</c:v>
                </c:pt>
                <c:pt idx="10686">
                  <c:v>-1.6806722689075499E-3</c:v>
                </c:pt>
                <c:pt idx="10687">
                  <c:v>-1.6806722689075499E-3</c:v>
                </c:pt>
                <c:pt idx="10688">
                  <c:v>-1.6806722689075499E-3</c:v>
                </c:pt>
                <c:pt idx="10689">
                  <c:v>-1.6806722689075499E-3</c:v>
                </c:pt>
                <c:pt idx="10690">
                  <c:v>-1.6806722689075499E-3</c:v>
                </c:pt>
                <c:pt idx="10691">
                  <c:v>-1.6806722689075499E-3</c:v>
                </c:pt>
                <c:pt idx="10692">
                  <c:v>-1.6806722689075499E-3</c:v>
                </c:pt>
                <c:pt idx="10693">
                  <c:v>-1.6806722689075499E-3</c:v>
                </c:pt>
                <c:pt idx="10694">
                  <c:v>-1.6806722689075499E-3</c:v>
                </c:pt>
                <c:pt idx="10695">
                  <c:v>-1.6806722689075499E-3</c:v>
                </c:pt>
                <c:pt idx="10696">
                  <c:v>-1.6806722689075499E-3</c:v>
                </c:pt>
                <c:pt idx="10697">
                  <c:v>-1.6806722689075499E-3</c:v>
                </c:pt>
                <c:pt idx="10698">
                  <c:v>-1.6806722689075499E-3</c:v>
                </c:pt>
                <c:pt idx="10699">
                  <c:v>-1.6806722689075499E-3</c:v>
                </c:pt>
                <c:pt idx="10700">
                  <c:v>-1.6806722689075499E-3</c:v>
                </c:pt>
                <c:pt idx="10701">
                  <c:v>-1.6806722689075499E-3</c:v>
                </c:pt>
                <c:pt idx="10702">
                  <c:v>-1.6806722689075499E-3</c:v>
                </c:pt>
                <c:pt idx="10703">
                  <c:v>-1.6806722689075499E-3</c:v>
                </c:pt>
                <c:pt idx="10704">
                  <c:v>-1.6806722689075499E-3</c:v>
                </c:pt>
                <c:pt idx="10705">
                  <c:v>-1.6806722689075499E-3</c:v>
                </c:pt>
                <c:pt idx="10706">
                  <c:v>-1.6806722689075499E-3</c:v>
                </c:pt>
                <c:pt idx="10707">
                  <c:v>-1.6806722689075499E-3</c:v>
                </c:pt>
                <c:pt idx="10708">
                  <c:v>-1.6806722689075499E-3</c:v>
                </c:pt>
                <c:pt idx="10709">
                  <c:v>-8.4033613445377799E-4</c:v>
                </c:pt>
                <c:pt idx="10710">
                  <c:v>-8.4033613445377799E-4</c:v>
                </c:pt>
                <c:pt idx="10711">
                  <c:v>-8.4033613445377799E-4</c:v>
                </c:pt>
                <c:pt idx="10712">
                  <c:v>-8.4033613445377799E-4</c:v>
                </c:pt>
                <c:pt idx="10713">
                  <c:v>-8.4033613445377799E-4</c:v>
                </c:pt>
                <c:pt idx="10714">
                  <c:v>-8.4033613445377799E-4</c:v>
                </c:pt>
                <c:pt idx="10715">
                  <c:v>-8.4033613445377799E-4</c:v>
                </c:pt>
                <c:pt idx="10716">
                  <c:v>-8.4033613445377799E-4</c:v>
                </c:pt>
                <c:pt idx="10717">
                  <c:v>-8.4033613445377799E-4</c:v>
                </c:pt>
                <c:pt idx="10718">
                  <c:v>-8.4033613445377799E-4</c:v>
                </c:pt>
                <c:pt idx="10719">
                  <c:v>-8.4033613445377799E-4</c:v>
                </c:pt>
                <c:pt idx="10720">
                  <c:v>-8.4033613445377799E-4</c:v>
                </c:pt>
                <c:pt idx="10721">
                  <c:v>-8.4033613445377799E-4</c:v>
                </c:pt>
                <c:pt idx="10722">
                  <c:v>-8.4033613445377799E-4</c:v>
                </c:pt>
                <c:pt idx="10723">
                  <c:v>-8.4033613445377799E-4</c:v>
                </c:pt>
                <c:pt idx="10724">
                  <c:v>-8.4033613445377799E-4</c:v>
                </c:pt>
                <c:pt idx="10725">
                  <c:v>-8.4033613445377799E-4</c:v>
                </c:pt>
                <c:pt idx="10726">
                  <c:v>-8.4033613445377799E-4</c:v>
                </c:pt>
                <c:pt idx="10727">
                  <c:v>-8.4033613445377799E-4</c:v>
                </c:pt>
                <c:pt idx="10728">
                  <c:v>-8.4033613445377799E-4</c:v>
                </c:pt>
                <c:pt idx="10729">
                  <c:v>-8.4033613445377799E-4</c:v>
                </c:pt>
                <c:pt idx="10730">
                  <c:v>-8.4033613445377799E-4</c:v>
                </c:pt>
                <c:pt idx="10731">
                  <c:v>-8.4033613445377799E-4</c:v>
                </c:pt>
                <c:pt idx="10732">
                  <c:v>-8.4033613445377799E-4</c:v>
                </c:pt>
                <c:pt idx="10733">
                  <c:v>-8.4033613445377799E-4</c:v>
                </c:pt>
                <c:pt idx="10734">
                  <c:v>-8.4033613445377799E-4</c:v>
                </c:pt>
                <c:pt idx="10735">
                  <c:v>-8.4033613445377799E-4</c:v>
                </c:pt>
                <c:pt idx="10736">
                  <c:v>-8.4033613445377799E-4</c:v>
                </c:pt>
                <c:pt idx="10737">
                  <c:v>-8.4033613445377799E-4</c:v>
                </c:pt>
                <c:pt idx="10738">
                  <c:v>-8.4033613445377799E-4</c:v>
                </c:pt>
                <c:pt idx="10739">
                  <c:v>-8.4033613445377799E-4</c:v>
                </c:pt>
                <c:pt idx="10740">
                  <c:v>-8.4033613445377799E-4</c:v>
                </c:pt>
                <c:pt idx="10741">
                  <c:v>-8.4033613445377799E-4</c:v>
                </c:pt>
                <c:pt idx="10742">
                  <c:v>-8.4033613445377799E-4</c:v>
                </c:pt>
                <c:pt idx="10743">
                  <c:v>-8.4033613445377799E-4</c:v>
                </c:pt>
                <c:pt idx="10744">
                  <c:v>-8.4033613445377799E-4</c:v>
                </c:pt>
                <c:pt idx="10745">
                  <c:v>-8.4033613445377799E-4</c:v>
                </c:pt>
                <c:pt idx="10746">
                  <c:v>-8.4033613445377799E-4</c:v>
                </c:pt>
                <c:pt idx="10747">
                  <c:v>-8.4033613445377799E-4</c:v>
                </c:pt>
                <c:pt idx="10748">
                  <c:v>-8.4033613445377799E-4</c:v>
                </c:pt>
                <c:pt idx="10749">
                  <c:v>-8.4033613445377799E-4</c:v>
                </c:pt>
                <c:pt idx="10750">
                  <c:v>-8.4033613445377799E-4</c:v>
                </c:pt>
                <c:pt idx="10751">
                  <c:v>-8.4033613445377799E-4</c:v>
                </c:pt>
                <c:pt idx="10752">
                  <c:v>-8.4033613445377799E-4</c:v>
                </c:pt>
                <c:pt idx="10753">
                  <c:v>-8.4033613445377799E-4</c:v>
                </c:pt>
                <c:pt idx="10754">
                  <c:v>-8.4033613445377799E-4</c:v>
                </c:pt>
                <c:pt idx="10755">
                  <c:v>-8.4033613445377799E-4</c:v>
                </c:pt>
                <c:pt idx="10756">
                  <c:v>-8.4033613445377799E-4</c:v>
                </c:pt>
                <c:pt idx="10757">
                  <c:v>-8.4033613445377799E-4</c:v>
                </c:pt>
                <c:pt idx="10758">
                  <c:v>-8.4033613445377799E-4</c:v>
                </c:pt>
                <c:pt idx="10759">
                  <c:v>-8.4033613445377799E-4</c:v>
                </c:pt>
                <c:pt idx="10760">
                  <c:v>-8.4033613445377799E-4</c:v>
                </c:pt>
                <c:pt idx="10761">
                  <c:v>-8.4033613445377799E-4</c:v>
                </c:pt>
                <c:pt idx="10762">
                  <c:v>-8.4033613445377799E-4</c:v>
                </c:pt>
                <c:pt idx="10763">
                  <c:v>-1.68067226890761E-3</c:v>
                </c:pt>
                <c:pt idx="10764">
                  <c:v>-1.68067226890761E-3</c:v>
                </c:pt>
                <c:pt idx="10765">
                  <c:v>-1.68067226890761E-3</c:v>
                </c:pt>
                <c:pt idx="10766">
                  <c:v>-1.68067226890761E-3</c:v>
                </c:pt>
                <c:pt idx="10767">
                  <c:v>-1.68067226890761E-3</c:v>
                </c:pt>
                <c:pt idx="10768">
                  <c:v>-1.68067226890761E-3</c:v>
                </c:pt>
                <c:pt idx="10769">
                  <c:v>-1.68067226890761E-3</c:v>
                </c:pt>
                <c:pt idx="10770">
                  <c:v>-1.68067226890761E-3</c:v>
                </c:pt>
                <c:pt idx="10771">
                  <c:v>-1.68067226890761E-3</c:v>
                </c:pt>
                <c:pt idx="10772">
                  <c:v>-1.68067226890761E-3</c:v>
                </c:pt>
                <c:pt idx="10773">
                  <c:v>-1.68067226890761E-3</c:v>
                </c:pt>
                <c:pt idx="10774">
                  <c:v>-1.68067226890761E-3</c:v>
                </c:pt>
                <c:pt idx="10775">
                  <c:v>-1.68067226890761E-3</c:v>
                </c:pt>
                <c:pt idx="10776">
                  <c:v>-1.68067226890761E-3</c:v>
                </c:pt>
                <c:pt idx="10777">
                  <c:v>-1.68067226890761E-3</c:v>
                </c:pt>
                <c:pt idx="10778">
                  <c:v>-1.68067226890761E-3</c:v>
                </c:pt>
                <c:pt idx="10779">
                  <c:v>-1.68067226890761E-3</c:v>
                </c:pt>
                <c:pt idx="10780">
                  <c:v>-1.68067226890761E-3</c:v>
                </c:pt>
                <c:pt idx="10781">
                  <c:v>-1.68067226890761E-3</c:v>
                </c:pt>
                <c:pt idx="10782">
                  <c:v>-1.68067226890761E-3</c:v>
                </c:pt>
                <c:pt idx="10783">
                  <c:v>-1.68067226890761E-3</c:v>
                </c:pt>
                <c:pt idx="10784">
                  <c:v>-1.68067226890761E-3</c:v>
                </c:pt>
                <c:pt idx="10785">
                  <c:v>-1.68067226890761E-3</c:v>
                </c:pt>
                <c:pt idx="10786">
                  <c:v>-1.68067226890761E-3</c:v>
                </c:pt>
                <c:pt idx="10787">
                  <c:v>-1.68067226890761E-3</c:v>
                </c:pt>
                <c:pt idx="10788">
                  <c:v>-1.68067226890761E-3</c:v>
                </c:pt>
                <c:pt idx="10789">
                  <c:v>-1.68067226890761E-3</c:v>
                </c:pt>
                <c:pt idx="10790">
                  <c:v>-1.68067226890761E-3</c:v>
                </c:pt>
                <c:pt idx="10791">
                  <c:v>-1.68067226890761E-3</c:v>
                </c:pt>
                <c:pt idx="10792">
                  <c:v>-1.68067226890761E-3</c:v>
                </c:pt>
                <c:pt idx="10793">
                  <c:v>-1.68067226890761E-3</c:v>
                </c:pt>
                <c:pt idx="10794">
                  <c:v>-1.68067226890761E-3</c:v>
                </c:pt>
                <c:pt idx="10795">
                  <c:v>-1.68067226890761E-3</c:v>
                </c:pt>
                <c:pt idx="10796">
                  <c:v>-1.68067226890761E-3</c:v>
                </c:pt>
                <c:pt idx="10797">
                  <c:v>-1.68067226890761E-3</c:v>
                </c:pt>
                <c:pt idx="10798">
                  <c:v>-1.68067226890761E-3</c:v>
                </c:pt>
                <c:pt idx="10799">
                  <c:v>-8.4033613445383404E-4</c:v>
                </c:pt>
                <c:pt idx="10800">
                  <c:v>-8.4033613445383404E-4</c:v>
                </c:pt>
                <c:pt idx="10801">
                  <c:v>-8.4033613445383404E-4</c:v>
                </c:pt>
                <c:pt idx="10802">
                  <c:v>-8.4033613445383404E-4</c:v>
                </c:pt>
                <c:pt idx="10803">
                  <c:v>-8.4033613445383404E-4</c:v>
                </c:pt>
                <c:pt idx="10804">
                  <c:v>-8.4033613445383404E-4</c:v>
                </c:pt>
                <c:pt idx="10805">
                  <c:v>-8.4033613445383404E-4</c:v>
                </c:pt>
                <c:pt idx="10806">
                  <c:v>-8.4033613445383404E-4</c:v>
                </c:pt>
                <c:pt idx="10807">
                  <c:v>-8.4033613445383404E-4</c:v>
                </c:pt>
                <c:pt idx="10808">
                  <c:v>-8.4033613445383404E-4</c:v>
                </c:pt>
                <c:pt idx="10809">
                  <c:v>-8.4033613445383404E-4</c:v>
                </c:pt>
                <c:pt idx="10810">
                  <c:v>-8.4033613445383404E-4</c:v>
                </c:pt>
                <c:pt idx="10811">
                  <c:v>-8.4033613445383404E-4</c:v>
                </c:pt>
                <c:pt idx="10812">
                  <c:v>-8.4033613445383404E-4</c:v>
                </c:pt>
                <c:pt idx="10813">
                  <c:v>-8.4033613445383404E-4</c:v>
                </c:pt>
                <c:pt idx="10814">
                  <c:v>-8.4033613445383404E-4</c:v>
                </c:pt>
                <c:pt idx="10815">
                  <c:v>-8.4033613445383404E-4</c:v>
                </c:pt>
                <c:pt idx="10816">
                  <c:v>-8.4033613445383404E-4</c:v>
                </c:pt>
                <c:pt idx="10817">
                  <c:v>-8.4033613445383404E-4</c:v>
                </c:pt>
                <c:pt idx="10818">
                  <c:v>-8.4033613445383404E-4</c:v>
                </c:pt>
                <c:pt idx="10819">
                  <c:v>-8.4033613445383404E-4</c:v>
                </c:pt>
                <c:pt idx="10820">
                  <c:v>-8.4033613445383404E-4</c:v>
                </c:pt>
                <c:pt idx="10821">
                  <c:v>0</c:v>
                </c:pt>
                <c:pt idx="10822">
                  <c:v>0</c:v>
                </c:pt>
                <c:pt idx="10823">
                  <c:v>0</c:v>
                </c:pt>
                <c:pt idx="10824">
                  <c:v>0</c:v>
                </c:pt>
                <c:pt idx="10825">
                  <c:v>0</c:v>
                </c:pt>
                <c:pt idx="10826">
                  <c:v>8.4033613445377799E-4</c:v>
                </c:pt>
                <c:pt idx="10827">
                  <c:v>0</c:v>
                </c:pt>
                <c:pt idx="10828">
                  <c:v>0</c:v>
                </c:pt>
                <c:pt idx="10829">
                  <c:v>0</c:v>
                </c:pt>
                <c:pt idx="10830">
                  <c:v>0</c:v>
                </c:pt>
                <c:pt idx="10831">
                  <c:v>0</c:v>
                </c:pt>
                <c:pt idx="10832">
                  <c:v>0</c:v>
                </c:pt>
                <c:pt idx="10833">
                  <c:v>0</c:v>
                </c:pt>
                <c:pt idx="10834">
                  <c:v>0</c:v>
                </c:pt>
                <c:pt idx="10835">
                  <c:v>0</c:v>
                </c:pt>
                <c:pt idx="10836">
                  <c:v>0</c:v>
                </c:pt>
                <c:pt idx="10837">
                  <c:v>0</c:v>
                </c:pt>
                <c:pt idx="10838">
                  <c:v>0</c:v>
                </c:pt>
                <c:pt idx="10839">
                  <c:v>0</c:v>
                </c:pt>
                <c:pt idx="10840">
                  <c:v>0</c:v>
                </c:pt>
                <c:pt idx="10841">
                  <c:v>0</c:v>
                </c:pt>
                <c:pt idx="10842">
                  <c:v>0</c:v>
                </c:pt>
                <c:pt idx="10843">
                  <c:v>0</c:v>
                </c:pt>
                <c:pt idx="10844">
                  <c:v>0</c:v>
                </c:pt>
                <c:pt idx="10845">
                  <c:v>0</c:v>
                </c:pt>
                <c:pt idx="10846">
                  <c:v>0</c:v>
                </c:pt>
                <c:pt idx="10847">
                  <c:v>0</c:v>
                </c:pt>
                <c:pt idx="10848">
                  <c:v>0</c:v>
                </c:pt>
                <c:pt idx="10849">
                  <c:v>0</c:v>
                </c:pt>
                <c:pt idx="10850">
                  <c:v>0</c:v>
                </c:pt>
                <c:pt idx="10851">
                  <c:v>0</c:v>
                </c:pt>
                <c:pt idx="10852">
                  <c:v>0</c:v>
                </c:pt>
                <c:pt idx="10853">
                  <c:v>0</c:v>
                </c:pt>
                <c:pt idx="10854">
                  <c:v>0</c:v>
                </c:pt>
                <c:pt idx="10855">
                  <c:v>0</c:v>
                </c:pt>
                <c:pt idx="10856">
                  <c:v>0</c:v>
                </c:pt>
                <c:pt idx="10857">
                  <c:v>0</c:v>
                </c:pt>
                <c:pt idx="10858">
                  <c:v>0</c:v>
                </c:pt>
                <c:pt idx="10859">
                  <c:v>0</c:v>
                </c:pt>
                <c:pt idx="10860">
                  <c:v>0</c:v>
                </c:pt>
                <c:pt idx="10861">
                  <c:v>0</c:v>
                </c:pt>
                <c:pt idx="10862">
                  <c:v>0</c:v>
                </c:pt>
                <c:pt idx="10863">
                  <c:v>0</c:v>
                </c:pt>
                <c:pt idx="10864">
                  <c:v>8.4033613445377799E-4</c:v>
                </c:pt>
                <c:pt idx="10865">
                  <c:v>8.4033613445377799E-4</c:v>
                </c:pt>
                <c:pt idx="10866">
                  <c:v>8.4033613445377799E-4</c:v>
                </c:pt>
                <c:pt idx="10867">
                  <c:v>8.4033613445377799E-4</c:v>
                </c:pt>
                <c:pt idx="10868">
                  <c:v>8.4033613445377799E-4</c:v>
                </c:pt>
                <c:pt idx="10869">
                  <c:v>8.4033613445377799E-4</c:v>
                </c:pt>
                <c:pt idx="10870">
                  <c:v>8.4033613445377799E-4</c:v>
                </c:pt>
                <c:pt idx="10871">
                  <c:v>8.4033613445377799E-4</c:v>
                </c:pt>
                <c:pt idx="10872">
                  <c:v>8.4033613445377799E-4</c:v>
                </c:pt>
                <c:pt idx="10873">
                  <c:v>8.4033613445377799E-4</c:v>
                </c:pt>
                <c:pt idx="10874">
                  <c:v>8.4033613445377799E-4</c:v>
                </c:pt>
                <c:pt idx="10875">
                  <c:v>8.4033613445377799E-4</c:v>
                </c:pt>
                <c:pt idx="10876">
                  <c:v>8.4033613445377799E-4</c:v>
                </c:pt>
                <c:pt idx="10877">
                  <c:v>8.4033613445377799E-4</c:v>
                </c:pt>
                <c:pt idx="10878">
                  <c:v>8.4033613445377799E-4</c:v>
                </c:pt>
                <c:pt idx="10879">
                  <c:v>8.4033613445377799E-4</c:v>
                </c:pt>
                <c:pt idx="10880">
                  <c:v>8.4033613445377799E-4</c:v>
                </c:pt>
                <c:pt idx="10881">
                  <c:v>8.4033613445377799E-4</c:v>
                </c:pt>
                <c:pt idx="10882">
                  <c:v>8.4033613445377799E-4</c:v>
                </c:pt>
                <c:pt idx="10883">
                  <c:v>8.4033613445377799E-4</c:v>
                </c:pt>
                <c:pt idx="10884">
                  <c:v>8.4033613445377799E-4</c:v>
                </c:pt>
                <c:pt idx="10885">
                  <c:v>8.4033613445377799E-4</c:v>
                </c:pt>
                <c:pt idx="10886">
                  <c:v>8.4033613445377799E-4</c:v>
                </c:pt>
                <c:pt idx="10887">
                  <c:v>8.4033613445377799E-4</c:v>
                </c:pt>
                <c:pt idx="10888">
                  <c:v>8.4033613445377799E-4</c:v>
                </c:pt>
                <c:pt idx="10889">
                  <c:v>8.4033613445377799E-4</c:v>
                </c:pt>
                <c:pt idx="10890">
                  <c:v>8.4033613445377799E-4</c:v>
                </c:pt>
                <c:pt idx="10891">
                  <c:v>8.4033613445377799E-4</c:v>
                </c:pt>
                <c:pt idx="10892">
                  <c:v>8.4033613445377799E-4</c:v>
                </c:pt>
                <c:pt idx="10893">
                  <c:v>8.4033613445377799E-4</c:v>
                </c:pt>
                <c:pt idx="10894">
                  <c:v>8.4033613445377799E-4</c:v>
                </c:pt>
                <c:pt idx="10895">
                  <c:v>8.4033613445377799E-4</c:v>
                </c:pt>
                <c:pt idx="10896">
                  <c:v>8.4033613445377799E-4</c:v>
                </c:pt>
                <c:pt idx="10897">
                  <c:v>8.4033613445377799E-4</c:v>
                </c:pt>
                <c:pt idx="10898">
                  <c:v>8.4033613445377799E-4</c:v>
                </c:pt>
                <c:pt idx="10899">
                  <c:v>8.4033613445377799E-4</c:v>
                </c:pt>
                <c:pt idx="10900">
                  <c:v>8.4033613445377799E-4</c:v>
                </c:pt>
                <c:pt idx="10901">
                  <c:v>8.4033613445377799E-4</c:v>
                </c:pt>
                <c:pt idx="10902">
                  <c:v>8.4033613445377799E-4</c:v>
                </c:pt>
                <c:pt idx="10903">
                  <c:v>8.4033613445377799E-4</c:v>
                </c:pt>
                <c:pt idx="10904">
                  <c:v>8.4033613445377799E-4</c:v>
                </c:pt>
                <c:pt idx="10905">
                  <c:v>8.4033613445377799E-4</c:v>
                </c:pt>
                <c:pt idx="10906">
                  <c:v>8.4033613445377799E-4</c:v>
                </c:pt>
                <c:pt idx="10907">
                  <c:v>8.4033613445377799E-4</c:v>
                </c:pt>
                <c:pt idx="10908">
                  <c:v>8.4033613445377799E-4</c:v>
                </c:pt>
                <c:pt idx="10909">
                  <c:v>8.4033613445377799E-4</c:v>
                </c:pt>
                <c:pt idx="10910">
                  <c:v>8.4033613445377799E-4</c:v>
                </c:pt>
                <c:pt idx="10911">
                  <c:v>8.4033613445377799E-4</c:v>
                </c:pt>
                <c:pt idx="10912">
                  <c:v>8.4033613445377799E-4</c:v>
                </c:pt>
                <c:pt idx="10913">
                  <c:v>1.6806722689075499E-3</c:v>
                </c:pt>
                <c:pt idx="10914">
                  <c:v>1.6806722689075499E-3</c:v>
                </c:pt>
                <c:pt idx="10915">
                  <c:v>8.4033613445377799E-4</c:v>
                </c:pt>
                <c:pt idx="10916">
                  <c:v>8.4033613445377799E-4</c:v>
                </c:pt>
                <c:pt idx="10917">
                  <c:v>8.4033613445377799E-4</c:v>
                </c:pt>
                <c:pt idx="10918">
                  <c:v>8.4033613445377799E-4</c:v>
                </c:pt>
                <c:pt idx="10919">
                  <c:v>8.4033613445377799E-4</c:v>
                </c:pt>
                <c:pt idx="10920">
                  <c:v>8.4033613445377799E-4</c:v>
                </c:pt>
                <c:pt idx="10921">
                  <c:v>8.4033613445377799E-4</c:v>
                </c:pt>
                <c:pt idx="10922">
                  <c:v>8.4033613445377799E-4</c:v>
                </c:pt>
                <c:pt idx="10923">
                  <c:v>8.4033613445377799E-4</c:v>
                </c:pt>
                <c:pt idx="10924">
                  <c:v>1.6806722689075499E-3</c:v>
                </c:pt>
                <c:pt idx="10925">
                  <c:v>1.6806722689075499E-3</c:v>
                </c:pt>
                <c:pt idx="10926">
                  <c:v>2.5210084033613299E-3</c:v>
                </c:pt>
                <c:pt idx="10927">
                  <c:v>2.5210084033613299E-3</c:v>
                </c:pt>
                <c:pt idx="10928">
                  <c:v>2.5210084033613299E-3</c:v>
                </c:pt>
                <c:pt idx="10929">
                  <c:v>2.5210084033613299E-3</c:v>
                </c:pt>
                <c:pt idx="10930">
                  <c:v>2.5210084033613299E-3</c:v>
                </c:pt>
                <c:pt idx="10931">
                  <c:v>2.5210084033613299E-3</c:v>
                </c:pt>
                <c:pt idx="10932">
                  <c:v>3.3613445378151102E-3</c:v>
                </c:pt>
                <c:pt idx="10933">
                  <c:v>3.3613445378151102E-3</c:v>
                </c:pt>
                <c:pt idx="10934">
                  <c:v>3.3613445378151102E-3</c:v>
                </c:pt>
                <c:pt idx="10935">
                  <c:v>3.3613445378151102E-3</c:v>
                </c:pt>
                <c:pt idx="10936">
                  <c:v>3.3613445378151102E-3</c:v>
                </c:pt>
                <c:pt idx="10937">
                  <c:v>3.3613445378151102E-3</c:v>
                </c:pt>
                <c:pt idx="10938">
                  <c:v>3.3613445378151102E-3</c:v>
                </c:pt>
                <c:pt idx="10939">
                  <c:v>3.3613445378151102E-3</c:v>
                </c:pt>
                <c:pt idx="10940">
                  <c:v>3.3613445378151102E-3</c:v>
                </c:pt>
                <c:pt idx="10941">
                  <c:v>3.3613445378151102E-3</c:v>
                </c:pt>
                <c:pt idx="10942">
                  <c:v>3.3613445378151102E-3</c:v>
                </c:pt>
                <c:pt idx="10943">
                  <c:v>3.3613445378151102E-3</c:v>
                </c:pt>
                <c:pt idx="10944">
                  <c:v>3.3613445378151102E-3</c:v>
                </c:pt>
                <c:pt idx="10945">
                  <c:v>3.3613445378151102E-3</c:v>
                </c:pt>
                <c:pt idx="10946">
                  <c:v>3.3613445378151102E-3</c:v>
                </c:pt>
                <c:pt idx="10947">
                  <c:v>3.3613445378151102E-3</c:v>
                </c:pt>
                <c:pt idx="10948">
                  <c:v>3.3613445378151102E-3</c:v>
                </c:pt>
                <c:pt idx="10949">
                  <c:v>3.3613445378151102E-3</c:v>
                </c:pt>
                <c:pt idx="10950">
                  <c:v>3.3613445378151102E-3</c:v>
                </c:pt>
                <c:pt idx="10951">
                  <c:v>3.3613445378151102E-3</c:v>
                </c:pt>
                <c:pt idx="10952">
                  <c:v>3.3613445378151102E-3</c:v>
                </c:pt>
                <c:pt idx="10953">
                  <c:v>3.3613445378151102E-3</c:v>
                </c:pt>
                <c:pt idx="10954">
                  <c:v>3.3613445378151102E-3</c:v>
                </c:pt>
                <c:pt idx="10955">
                  <c:v>3.3613445378151102E-3</c:v>
                </c:pt>
                <c:pt idx="10956">
                  <c:v>3.3613445378151102E-3</c:v>
                </c:pt>
                <c:pt idx="10957">
                  <c:v>3.3613445378151102E-3</c:v>
                </c:pt>
                <c:pt idx="10958">
                  <c:v>3.3613445378151102E-3</c:v>
                </c:pt>
                <c:pt idx="10959">
                  <c:v>3.3613445378151102E-3</c:v>
                </c:pt>
                <c:pt idx="10960">
                  <c:v>3.3613445378151102E-3</c:v>
                </c:pt>
                <c:pt idx="10961">
                  <c:v>3.3613445378151102E-3</c:v>
                </c:pt>
                <c:pt idx="10962">
                  <c:v>3.3613445378151102E-3</c:v>
                </c:pt>
                <c:pt idx="10963">
                  <c:v>3.3613445378151102E-3</c:v>
                </c:pt>
                <c:pt idx="10964">
                  <c:v>3.3613445378151102E-3</c:v>
                </c:pt>
                <c:pt idx="10965">
                  <c:v>2.5210084033613299E-3</c:v>
                </c:pt>
                <c:pt idx="10966">
                  <c:v>2.5210084033613299E-3</c:v>
                </c:pt>
                <c:pt idx="10967">
                  <c:v>2.5210084033613299E-3</c:v>
                </c:pt>
                <c:pt idx="10968">
                  <c:v>2.5210084033613299E-3</c:v>
                </c:pt>
                <c:pt idx="10969">
                  <c:v>2.5210084033613299E-3</c:v>
                </c:pt>
                <c:pt idx="10970">
                  <c:v>2.5210084033613299E-3</c:v>
                </c:pt>
                <c:pt idx="10971">
                  <c:v>3.3613445378151102E-3</c:v>
                </c:pt>
                <c:pt idx="10972">
                  <c:v>2.5210084033613299E-3</c:v>
                </c:pt>
                <c:pt idx="10973">
                  <c:v>2.5210084033613299E-3</c:v>
                </c:pt>
                <c:pt idx="10974">
                  <c:v>2.5210084033613299E-3</c:v>
                </c:pt>
                <c:pt idx="10975">
                  <c:v>2.5210084033613299E-3</c:v>
                </c:pt>
                <c:pt idx="10976">
                  <c:v>2.5210084033613299E-3</c:v>
                </c:pt>
                <c:pt idx="10977">
                  <c:v>2.5210084033613299E-3</c:v>
                </c:pt>
                <c:pt idx="10978">
                  <c:v>2.5210084033613299E-3</c:v>
                </c:pt>
                <c:pt idx="10979">
                  <c:v>2.5210084033613299E-3</c:v>
                </c:pt>
                <c:pt idx="10980">
                  <c:v>2.5210084033613299E-3</c:v>
                </c:pt>
                <c:pt idx="10981">
                  <c:v>2.5210084033613299E-3</c:v>
                </c:pt>
                <c:pt idx="10982">
                  <c:v>2.5210084033613299E-3</c:v>
                </c:pt>
                <c:pt idx="10983">
                  <c:v>2.5210084033613299E-3</c:v>
                </c:pt>
                <c:pt idx="10984">
                  <c:v>2.5210084033613299E-3</c:v>
                </c:pt>
                <c:pt idx="10985">
                  <c:v>2.5210084033613299E-3</c:v>
                </c:pt>
                <c:pt idx="10986">
                  <c:v>1.6806722689075499E-3</c:v>
                </c:pt>
                <c:pt idx="10987">
                  <c:v>1.6806722689075499E-3</c:v>
                </c:pt>
                <c:pt idx="10988">
                  <c:v>2.5210084033613299E-3</c:v>
                </c:pt>
                <c:pt idx="10989">
                  <c:v>2.5210084033613299E-3</c:v>
                </c:pt>
                <c:pt idx="10990">
                  <c:v>2.5210084033613299E-3</c:v>
                </c:pt>
                <c:pt idx="10991">
                  <c:v>2.5210084033613299E-3</c:v>
                </c:pt>
                <c:pt idx="10992">
                  <c:v>2.5210084033613299E-3</c:v>
                </c:pt>
                <c:pt idx="10993">
                  <c:v>2.5210084033613299E-3</c:v>
                </c:pt>
                <c:pt idx="10994">
                  <c:v>2.5210084033613299E-3</c:v>
                </c:pt>
                <c:pt idx="10995">
                  <c:v>2.5210084033613299E-3</c:v>
                </c:pt>
                <c:pt idx="10996">
                  <c:v>2.5210084033613299E-3</c:v>
                </c:pt>
                <c:pt idx="10997">
                  <c:v>2.5210084033613299E-3</c:v>
                </c:pt>
                <c:pt idx="10998">
                  <c:v>3.3613445378151102E-3</c:v>
                </c:pt>
                <c:pt idx="10999">
                  <c:v>3.3613445378151102E-3</c:v>
                </c:pt>
                <c:pt idx="11000">
                  <c:v>4.20168067226889E-3</c:v>
                </c:pt>
                <c:pt idx="11001">
                  <c:v>4.20168067226889E-3</c:v>
                </c:pt>
                <c:pt idx="11002">
                  <c:v>4.20168067226889E-3</c:v>
                </c:pt>
                <c:pt idx="11003">
                  <c:v>4.20168067226889E-3</c:v>
                </c:pt>
                <c:pt idx="11004">
                  <c:v>4.20168067226889E-3</c:v>
                </c:pt>
                <c:pt idx="11005">
                  <c:v>4.20168067226889E-3</c:v>
                </c:pt>
                <c:pt idx="11006">
                  <c:v>4.20168067226889E-3</c:v>
                </c:pt>
                <c:pt idx="11007">
                  <c:v>4.20168067226889E-3</c:v>
                </c:pt>
                <c:pt idx="11008">
                  <c:v>4.20168067226889E-3</c:v>
                </c:pt>
                <c:pt idx="11009">
                  <c:v>4.20168067226889E-3</c:v>
                </c:pt>
                <c:pt idx="11010">
                  <c:v>4.20168067226889E-3</c:v>
                </c:pt>
                <c:pt idx="11011">
                  <c:v>4.20168067226889E-3</c:v>
                </c:pt>
                <c:pt idx="11012">
                  <c:v>4.20168067226889E-3</c:v>
                </c:pt>
                <c:pt idx="11013">
                  <c:v>4.20168067226889E-3</c:v>
                </c:pt>
                <c:pt idx="11014">
                  <c:v>5.0420168067226703E-3</c:v>
                </c:pt>
                <c:pt idx="11015">
                  <c:v>5.0420168067226703E-3</c:v>
                </c:pt>
                <c:pt idx="11016">
                  <c:v>4.20168067226889E-3</c:v>
                </c:pt>
                <c:pt idx="11017">
                  <c:v>4.20168067226889E-3</c:v>
                </c:pt>
                <c:pt idx="11018">
                  <c:v>4.20168067226889E-3</c:v>
                </c:pt>
                <c:pt idx="11019">
                  <c:v>4.20168067226889E-3</c:v>
                </c:pt>
                <c:pt idx="11020">
                  <c:v>4.20168067226889E-3</c:v>
                </c:pt>
                <c:pt idx="11021">
                  <c:v>4.20168067226889E-3</c:v>
                </c:pt>
                <c:pt idx="11022">
                  <c:v>4.20168067226889E-3</c:v>
                </c:pt>
                <c:pt idx="11023">
                  <c:v>4.20168067226889E-3</c:v>
                </c:pt>
                <c:pt idx="11024">
                  <c:v>4.20168067226889E-3</c:v>
                </c:pt>
                <c:pt idx="11025">
                  <c:v>4.20168067226889E-3</c:v>
                </c:pt>
                <c:pt idx="11026">
                  <c:v>4.20168067226889E-3</c:v>
                </c:pt>
                <c:pt idx="11027">
                  <c:v>4.20168067226889E-3</c:v>
                </c:pt>
                <c:pt idx="11028">
                  <c:v>4.20168067226889E-3</c:v>
                </c:pt>
                <c:pt idx="11029">
                  <c:v>4.20168067226889E-3</c:v>
                </c:pt>
                <c:pt idx="11030">
                  <c:v>4.20168067226889E-3</c:v>
                </c:pt>
                <c:pt idx="11031">
                  <c:v>4.20168067226889E-3</c:v>
                </c:pt>
                <c:pt idx="11032">
                  <c:v>4.20168067226889E-3</c:v>
                </c:pt>
                <c:pt idx="11033">
                  <c:v>5.0420168067226703E-3</c:v>
                </c:pt>
                <c:pt idx="11034">
                  <c:v>5.0420168067226703E-3</c:v>
                </c:pt>
                <c:pt idx="11035">
                  <c:v>5.0420168067226703E-3</c:v>
                </c:pt>
                <c:pt idx="11036">
                  <c:v>5.0420168067226703E-3</c:v>
                </c:pt>
                <c:pt idx="11037">
                  <c:v>5.0420168067226703E-3</c:v>
                </c:pt>
                <c:pt idx="11038">
                  <c:v>5.0420168067226703E-3</c:v>
                </c:pt>
                <c:pt idx="11039">
                  <c:v>5.0420168067226703E-3</c:v>
                </c:pt>
                <c:pt idx="11040">
                  <c:v>5.0420168067226703E-3</c:v>
                </c:pt>
                <c:pt idx="11041">
                  <c:v>5.0420168067226703E-3</c:v>
                </c:pt>
                <c:pt idx="11042">
                  <c:v>5.0420168067226703E-3</c:v>
                </c:pt>
                <c:pt idx="11043">
                  <c:v>5.0420168067226703E-3</c:v>
                </c:pt>
                <c:pt idx="11044">
                  <c:v>5.0420168067226703E-3</c:v>
                </c:pt>
                <c:pt idx="11045">
                  <c:v>5.0420168067226703E-3</c:v>
                </c:pt>
                <c:pt idx="11046">
                  <c:v>5.0420168067226703E-3</c:v>
                </c:pt>
                <c:pt idx="11047">
                  <c:v>5.8823529411764497E-3</c:v>
                </c:pt>
                <c:pt idx="11048">
                  <c:v>5.8823529411764497E-3</c:v>
                </c:pt>
                <c:pt idx="11049">
                  <c:v>5.8823529411764497E-3</c:v>
                </c:pt>
                <c:pt idx="11050">
                  <c:v>5.8823529411764497E-3</c:v>
                </c:pt>
                <c:pt idx="11051">
                  <c:v>5.8823529411764497E-3</c:v>
                </c:pt>
                <c:pt idx="11052">
                  <c:v>5.8823529411764497E-3</c:v>
                </c:pt>
                <c:pt idx="11053">
                  <c:v>5.8823529411764497E-3</c:v>
                </c:pt>
                <c:pt idx="11054">
                  <c:v>5.8823529411764497E-3</c:v>
                </c:pt>
                <c:pt idx="11055">
                  <c:v>5.8823529411764497E-3</c:v>
                </c:pt>
                <c:pt idx="11056">
                  <c:v>5.8823529411764497E-3</c:v>
                </c:pt>
                <c:pt idx="11057">
                  <c:v>5.8823529411764497E-3</c:v>
                </c:pt>
                <c:pt idx="11058">
                  <c:v>5.8823529411764497E-3</c:v>
                </c:pt>
                <c:pt idx="11059">
                  <c:v>5.8823529411764497E-3</c:v>
                </c:pt>
                <c:pt idx="11060">
                  <c:v>5.8823529411764497E-3</c:v>
                </c:pt>
                <c:pt idx="11061">
                  <c:v>5.8823529411764497E-3</c:v>
                </c:pt>
                <c:pt idx="11062">
                  <c:v>5.8823529411764497E-3</c:v>
                </c:pt>
                <c:pt idx="11063">
                  <c:v>5.8823529411764497E-3</c:v>
                </c:pt>
                <c:pt idx="11064">
                  <c:v>6.7226890756302204E-3</c:v>
                </c:pt>
                <c:pt idx="11065">
                  <c:v>6.7226890756302204E-3</c:v>
                </c:pt>
                <c:pt idx="11066">
                  <c:v>6.7226890756302204E-3</c:v>
                </c:pt>
                <c:pt idx="11067">
                  <c:v>6.7226890756302204E-3</c:v>
                </c:pt>
                <c:pt idx="11068">
                  <c:v>6.7226890756302204E-3</c:v>
                </c:pt>
                <c:pt idx="11069">
                  <c:v>6.7226890756302204E-3</c:v>
                </c:pt>
                <c:pt idx="11070">
                  <c:v>6.7226890756302204E-3</c:v>
                </c:pt>
                <c:pt idx="11071">
                  <c:v>6.7226890756302204E-3</c:v>
                </c:pt>
                <c:pt idx="11072">
                  <c:v>6.7226890756302204E-3</c:v>
                </c:pt>
                <c:pt idx="11073">
                  <c:v>6.7226890756302204E-3</c:v>
                </c:pt>
                <c:pt idx="11074">
                  <c:v>6.7226890756302204E-3</c:v>
                </c:pt>
                <c:pt idx="11075">
                  <c:v>7.5630252100839998E-3</c:v>
                </c:pt>
                <c:pt idx="11076">
                  <c:v>7.5630252100839998E-3</c:v>
                </c:pt>
                <c:pt idx="11077">
                  <c:v>7.5630252100839998E-3</c:v>
                </c:pt>
                <c:pt idx="11078">
                  <c:v>6.7226890756302204E-3</c:v>
                </c:pt>
                <c:pt idx="11079">
                  <c:v>6.7226890756302204E-3</c:v>
                </c:pt>
                <c:pt idx="11080">
                  <c:v>6.7226890756302204E-3</c:v>
                </c:pt>
                <c:pt idx="11081">
                  <c:v>6.7226890756302204E-3</c:v>
                </c:pt>
                <c:pt idx="11082">
                  <c:v>6.7226890756302204E-3</c:v>
                </c:pt>
                <c:pt idx="11083">
                  <c:v>6.7226890756302204E-3</c:v>
                </c:pt>
                <c:pt idx="11084">
                  <c:v>6.7226890756302204E-3</c:v>
                </c:pt>
                <c:pt idx="11085">
                  <c:v>6.7226890756302204E-3</c:v>
                </c:pt>
                <c:pt idx="11086">
                  <c:v>6.7226890756302204E-3</c:v>
                </c:pt>
                <c:pt idx="11087">
                  <c:v>6.7226890756302204E-3</c:v>
                </c:pt>
                <c:pt idx="11088">
                  <c:v>6.7226890756302204E-3</c:v>
                </c:pt>
                <c:pt idx="11089">
                  <c:v>6.7226890756302204E-3</c:v>
                </c:pt>
                <c:pt idx="11090">
                  <c:v>6.7226890756302204E-3</c:v>
                </c:pt>
                <c:pt idx="11091">
                  <c:v>6.7226890756302204E-3</c:v>
                </c:pt>
                <c:pt idx="11092">
                  <c:v>6.7226890756302204E-3</c:v>
                </c:pt>
                <c:pt idx="11093">
                  <c:v>6.7226890756302204E-3</c:v>
                </c:pt>
                <c:pt idx="11094">
                  <c:v>6.7226890756302204E-3</c:v>
                </c:pt>
                <c:pt idx="11095">
                  <c:v>6.7226890756302204E-3</c:v>
                </c:pt>
                <c:pt idx="11096">
                  <c:v>6.7226890756302204E-3</c:v>
                </c:pt>
                <c:pt idx="11097">
                  <c:v>6.7226890756302204E-3</c:v>
                </c:pt>
                <c:pt idx="11098">
                  <c:v>6.7226890756302204E-3</c:v>
                </c:pt>
                <c:pt idx="11099">
                  <c:v>6.7226890756302204E-3</c:v>
                </c:pt>
                <c:pt idx="11100">
                  <c:v>6.7226890756302204E-3</c:v>
                </c:pt>
                <c:pt idx="11101">
                  <c:v>6.7226890756302204E-3</c:v>
                </c:pt>
                <c:pt idx="11102">
                  <c:v>6.7226890756302204E-3</c:v>
                </c:pt>
                <c:pt idx="11103">
                  <c:v>6.7226890756302204E-3</c:v>
                </c:pt>
                <c:pt idx="11104">
                  <c:v>6.7226890756302204E-3</c:v>
                </c:pt>
                <c:pt idx="11105">
                  <c:v>6.7226890756302204E-3</c:v>
                </c:pt>
                <c:pt idx="11106">
                  <c:v>6.7226890756302204E-3</c:v>
                </c:pt>
                <c:pt idx="11107">
                  <c:v>6.7226890756302204E-3</c:v>
                </c:pt>
                <c:pt idx="11108">
                  <c:v>6.7226890756302204E-3</c:v>
                </c:pt>
                <c:pt idx="11109">
                  <c:v>6.7226890756302204E-3</c:v>
                </c:pt>
                <c:pt idx="11110">
                  <c:v>6.7226890756302204E-3</c:v>
                </c:pt>
                <c:pt idx="11111">
                  <c:v>7.5630252100839998E-3</c:v>
                </c:pt>
                <c:pt idx="11112">
                  <c:v>7.5630252100839998E-3</c:v>
                </c:pt>
                <c:pt idx="11113">
                  <c:v>7.5630252100839998E-3</c:v>
                </c:pt>
                <c:pt idx="11114">
                  <c:v>7.5630252100839998E-3</c:v>
                </c:pt>
                <c:pt idx="11115">
                  <c:v>6.7226890756302204E-3</c:v>
                </c:pt>
                <c:pt idx="11116">
                  <c:v>6.7226890756302204E-3</c:v>
                </c:pt>
                <c:pt idx="11117">
                  <c:v>6.7226890756302204E-3</c:v>
                </c:pt>
                <c:pt idx="11118">
                  <c:v>6.7226890756302204E-3</c:v>
                </c:pt>
                <c:pt idx="11119">
                  <c:v>6.7226890756302204E-3</c:v>
                </c:pt>
                <c:pt idx="11120">
                  <c:v>6.7226890756302204E-3</c:v>
                </c:pt>
                <c:pt idx="11121">
                  <c:v>6.7226890756302204E-3</c:v>
                </c:pt>
                <c:pt idx="11122">
                  <c:v>6.7226890756302204E-3</c:v>
                </c:pt>
                <c:pt idx="11123">
                  <c:v>6.7226890756302204E-3</c:v>
                </c:pt>
                <c:pt idx="11124">
                  <c:v>6.7226890756302204E-3</c:v>
                </c:pt>
                <c:pt idx="11125">
                  <c:v>6.7226890756302204E-3</c:v>
                </c:pt>
                <c:pt idx="11126">
                  <c:v>6.7226890756302204E-3</c:v>
                </c:pt>
                <c:pt idx="11127">
                  <c:v>6.7226890756302204E-3</c:v>
                </c:pt>
                <c:pt idx="11128">
                  <c:v>6.7226890756302204E-3</c:v>
                </c:pt>
                <c:pt idx="11129">
                  <c:v>6.7226890756302204E-3</c:v>
                </c:pt>
                <c:pt idx="11130">
                  <c:v>6.7226890756302204E-3</c:v>
                </c:pt>
                <c:pt idx="11131">
                  <c:v>6.7226890756302204E-3</c:v>
                </c:pt>
                <c:pt idx="11132">
                  <c:v>6.7226890756302204E-3</c:v>
                </c:pt>
                <c:pt idx="11133">
                  <c:v>7.5630252100839998E-3</c:v>
                </c:pt>
                <c:pt idx="11134">
                  <c:v>7.5630252100839998E-3</c:v>
                </c:pt>
                <c:pt idx="11135">
                  <c:v>7.5630252100839998E-3</c:v>
                </c:pt>
                <c:pt idx="11136">
                  <c:v>7.5630252100839998E-3</c:v>
                </c:pt>
                <c:pt idx="11137">
                  <c:v>7.5630252100839998E-3</c:v>
                </c:pt>
                <c:pt idx="11138">
                  <c:v>7.5630252100839998E-3</c:v>
                </c:pt>
                <c:pt idx="11139">
                  <c:v>7.5630252100839998E-3</c:v>
                </c:pt>
                <c:pt idx="11140">
                  <c:v>7.5630252100839998E-3</c:v>
                </c:pt>
                <c:pt idx="11141">
                  <c:v>7.5630252100839998E-3</c:v>
                </c:pt>
                <c:pt idx="11142">
                  <c:v>7.5630252100839998E-3</c:v>
                </c:pt>
                <c:pt idx="11143">
                  <c:v>7.5630252100839998E-3</c:v>
                </c:pt>
                <c:pt idx="11144">
                  <c:v>7.5630252100839998E-3</c:v>
                </c:pt>
                <c:pt idx="11145">
                  <c:v>7.5630252100839998E-3</c:v>
                </c:pt>
                <c:pt idx="11146">
                  <c:v>7.5630252100839998E-3</c:v>
                </c:pt>
                <c:pt idx="11147">
                  <c:v>7.5630252100839998E-3</c:v>
                </c:pt>
                <c:pt idx="11148">
                  <c:v>7.5630252100839998E-3</c:v>
                </c:pt>
                <c:pt idx="11149">
                  <c:v>7.5630252100839998E-3</c:v>
                </c:pt>
                <c:pt idx="11150">
                  <c:v>7.5630252100839998E-3</c:v>
                </c:pt>
                <c:pt idx="11151">
                  <c:v>7.5630252100839998E-3</c:v>
                </c:pt>
                <c:pt idx="11152">
                  <c:v>7.5630252100839998E-3</c:v>
                </c:pt>
                <c:pt idx="11153">
                  <c:v>7.5630252100839998E-3</c:v>
                </c:pt>
                <c:pt idx="11154">
                  <c:v>7.5630252100839998E-3</c:v>
                </c:pt>
                <c:pt idx="11155">
                  <c:v>7.5630252100839998E-3</c:v>
                </c:pt>
                <c:pt idx="11156">
                  <c:v>7.5630252100839998E-3</c:v>
                </c:pt>
                <c:pt idx="11157">
                  <c:v>7.5630252100839998E-3</c:v>
                </c:pt>
                <c:pt idx="11158">
                  <c:v>6.7226890756302204E-3</c:v>
                </c:pt>
                <c:pt idx="11159">
                  <c:v>6.7226890756302204E-3</c:v>
                </c:pt>
                <c:pt idx="11160">
                  <c:v>6.7226890756302204E-3</c:v>
                </c:pt>
                <c:pt idx="11161">
                  <c:v>6.7226890756302204E-3</c:v>
                </c:pt>
                <c:pt idx="11162">
                  <c:v>6.7226890756302204E-3</c:v>
                </c:pt>
                <c:pt idx="11163">
                  <c:v>6.7226890756302204E-3</c:v>
                </c:pt>
                <c:pt idx="11164">
                  <c:v>6.7226890756302204E-3</c:v>
                </c:pt>
                <c:pt idx="11165">
                  <c:v>6.7226890756302204E-3</c:v>
                </c:pt>
                <c:pt idx="11166">
                  <c:v>6.7226890756302204E-3</c:v>
                </c:pt>
                <c:pt idx="11167">
                  <c:v>5.8823529411764497E-3</c:v>
                </c:pt>
                <c:pt idx="11168">
                  <c:v>5.8823529411764497E-3</c:v>
                </c:pt>
                <c:pt idx="11169">
                  <c:v>5.8823529411764497E-3</c:v>
                </c:pt>
                <c:pt idx="11170">
                  <c:v>5.8823529411764497E-3</c:v>
                </c:pt>
                <c:pt idx="11171">
                  <c:v>5.8823529411764497E-3</c:v>
                </c:pt>
                <c:pt idx="11172">
                  <c:v>5.8823529411765E-3</c:v>
                </c:pt>
                <c:pt idx="11173">
                  <c:v>5.8823529411765E-3</c:v>
                </c:pt>
                <c:pt idx="11174">
                  <c:v>5.8823529411765E-3</c:v>
                </c:pt>
                <c:pt idx="11175">
                  <c:v>5.8823529411765E-3</c:v>
                </c:pt>
                <c:pt idx="11176">
                  <c:v>5.8823529411765E-3</c:v>
                </c:pt>
                <c:pt idx="11177">
                  <c:v>5.8823529411765E-3</c:v>
                </c:pt>
                <c:pt idx="11178">
                  <c:v>5.8823529411765E-3</c:v>
                </c:pt>
                <c:pt idx="11179">
                  <c:v>5.8823529411765E-3</c:v>
                </c:pt>
                <c:pt idx="11180">
                  <c:v>6.7226890756302803E-3</c:v>
                </c:pt>
                <c:pt idx="11181">
                  <c:v>6.7226890756302803E-3</c:v>
                </c:pt>
                <c:pt idx="11182">
                  <c:v>6.7226890756302803E-3</c:v>
                </c:pt>
                <c:pt idx="11183">
                  <c:v>6.7226890756302803E-3</c:v>
                </c:pt>
                <c:pt idx="11184">
                  <c:v>6.7226890756302803E-3</c:v>
                </c:pt>
                <c:pt idx="11185">
                  <c:v>6.7226890756302803E-3</c:v>
                </c:pt>
                <c:pt idx="11186">
                  <c:v>6.7226890756302803E-3</c:v>
                </c:pt>
                <c:pt idx="11187">
                  <c:v>6.7226890756302803E-3</c:v>
                </c:pt>
                <c:pt idx="11188">
                  <c:v>6.7226890756302803E-3</c:v>
                </c:pt>
                <c:pt idx="11189">
                  <c:v>6.7226890756302803E-3</c:v>
                </c:pt>
                <c:pt idx="11190">
                  <c:v>6.7226890756302803E-3</c:v>
                </c:pt>
                <c:pt idx="11191">
                  <c:v>6.7226890756302803E-3</c:v>
                </c:pt>
                <c:pt idx="11192">
                  <c:v>6.7226890756302803E-3</c:v>
                </c:pt>
                <c:pt idx="11193">
                  <c:v>6.7226890756302803E-3</c:v>
                </c:pt>
                <c:pt idx="11194">
                  <c:v>6.7226890756302803E-3</c:v>
                </c:pt>
                <c:pt idx="11195">
                  <c:v>6.7226890756302803E-3</c:v>
                </c:pt>
                <c:pt idx="11196">
                  <c:v>6.7226890756302803E-3</c:v>
                </c:pt>
                <c:pt idx="11197">
                  <c:v>6.7226890756302803E-3</c:v>
                </c:pt>
                <c:pt idx="11198">
                  <c:v>6.7226890756302803E-3</c:v>
                </c:pt>
                <c:pt idx="11199">
                  <c:v>6.7226890756302803E-3</c:v>
                </c:pt>
                <c:pt idx="11200">
                  <c:v>6.7226890756302803E-3</c:v>
                </c:pt>
                <c:pt idx="11201">
                  <c:v>6.7226890756302803E-3</c:v>
                </c:pt>
                <c:pt idx="11202">
                  <c:v>6.7226890756302803E-3</c:v>
                </c:pt>
                <c:pt idx="11203">
                  <c:v>6.7226890756302803E-3</c:v>
                </c:pt>
                <c:pt idx="11204">
                  <c:v>6.7226890756302803E-3</c:v>
                </c:pt>
                <c:pt idx="11205">
                  <c:v>6.7226890756302803E-3</c:v>
                </c:pt>
                <c:pt idx="11206">
                  <c:v>6.7226890756302803E-3</c:v>
                </c:pt>
                <c:pt idx="11207">
                  <c:v>6.7226890756302803E-3</c:v>
                </c:pt>
                <c:pt idx="11208">
                  <c:v>6.7226890756302803E-3</c:v>
                </c:pt>
                <c:pt idx="11209">
                  <c:v>6.7226890756302803E-3</c:v>
                </c:pt>
                <c:pt idx="11210">
                  <c:v>6.7226890756302803E-3</c:v>
                </c:pt>
                <c:pt idx="11211">
                  <c:v>6.7226890756302803E-3</c:v>
                </c:pt>
                <c:pt idx="11212">
                  <c:v>6.7226890756302803E-3</c:v>
                </c:pt>
                <c:pt idx="11213">
                  <c:v>6.7226890756302803E-3</c:v>
                </c:pt>
                <c:pt idx="11214">
                  <c:v>6.7226890756302803E-3</c:v>
                </c:pt>
                <c:pt idx="11215">
                  <c:v>6.7226890756302803E-3</c:v>
                </c:pt>
                <c:pt idx="11216">
                  <c:v>6.7226890756302803E-3</c:v>
                </c:pt>
                <c:pt idx="11217">
                  <c:v>6.7226890756302803E-3</c:v>
                </c:pt>
                <c:pt idx="11218">
                  <c:v>6.7226890756302803E-3</c:v>
                </c:pt>
                <c:pt idx="11219">
                  <c:v>6.7226890756302803E-3</c:v>
                </c:pt>
                <c:pt idx="11220">
                  <c:v>5.8823529411765E-3</c:v>
                </c:pt>
                <c:pt idx="11221">
                  <c:v>5.8823529411765E-3</c:v>
                </c:pt>
                <c:pt idx="11222">
                  <c:v>5.8823529411765E-3</c:v>
                </c:pt>
                <c:pt idx="11223">
                  <c:v>5.8823529411765E-3</c:v>
                </c:pt>
                <c:pt idx="11224">
                  <c:v>5.8823529411765E-3</c:v>
                </c:pt>
                <c:pt idx="11225">
                  <c:v>5.8823529411765E-3</c:v>
                </c:pt>
                <c:pt idx="11226">
                  <c:v>5.8823529411765E-3</c:v>
                </c:pt>
                <c:pt idx="11227">
                  <c:v>5.8823529411765E-3</c:v>
                </c:pt>
                <c:pt idx="11228">
                  <c:v>5.8823529411765E-3</c:v>
                </c:pt>
                <c:pt idx="11229">
                  <c:v>5.8823529411765E-3</c:v>
                </c:pt>
                <c:pt idx="11230">
                  <c:v>5.8823529411765E-3</c:v>
                </c:pt>
                <c:pt idx="11231">
                  <c:v>5.8823529411765E-3</c:v>
                </c:pt>
                <c:pt idx="11232">
                  <c:v>5.8823529411765E-3</c:v>
                </c:pt>
                <c:pt idx="11233">
                  <c:v>5.8823529411765E-3</c:v>
                </c:pt>
                <c:pt idx="11234">
                  <c:v>5.8823529411765E-3</c:v>
                </c:pt>
                <c:pt idx="11235">
                  <c:v>5.8823529411765E-3</c:v>
                </c:pt>
                <c:pt idx="11236">
                  <c:v>5.0420168067227197E-3</c:v>
                </c:pt>
                <c:pt idx="11237">
                  <c:v>5.0420168067227197E-3</c:v>
                </c:pt>
                <c:pt idx="11238">
                  <c:v>5.0420168067227197E-3</c:v>
                </c:pt>
                <c:pt idx="11239">
                  <c:v>5.0420168067227197E-3</c:v>
                </c:pt>
                <c:pt idx="11240">
                  <c:v>5.0420168067227197E-3</c:v>
                </c:pt>
                <c:pt idx="11241">
                  <c:v>5.0420168067227197E-3</c:v>
                </c:pt>
                <c:pt idx="11242">
                  <c:v>5.0420168067227197E-3</c:v>
                </c:pt>
                <c:pt idx="11243">
                  <c:v>5.0420168067227197E-3</c:v>
                </c:pt>
                <c:pt idx="11244">
                  <c:v>5.0420168067227197E-3</c:v>
                </c:pt>
                <c:pt idx="11245">
                  <c:v>5.0420168067227197E-3</c:v>
                </c:pt>
                <c:pt idx="11246">
                  <c:v>5.0420168067227197E-3</c:v>
                </c:pt>
                <c:pt idx="11247">
                  <c:v>5.0420168067227197E-3</c:v>
                </c:pt>
                <c:pt idx="11248">
                  <c:v>5.0420168067227197E-3</c:v>
                </c:pt>
                <c:pt idx="11249">
                  <c:v>5.0420168067227197E-3</c:v>
                </c:pt>
                <c:pt idx="11250">
                  <c:v>5.0420168067227197E-3</c:v>
                </c:pt>
                <c:pt idx="11251">
                  <c:v>5.0420168067227197E-3</c:v>
                </c:pt>
                <c:pt idx="11252">
                  <c:v>5.0420168067227197E-3</c:v>
                </c:pt>
                <c:pt idx="11253">
                  <c:v>5.0420168067227197E-3</c:v>
                </c:pt>
                <c:pt idx="11254">
                  <c:v>5.0420168067227197E-3</c:v>
                </c:pt>
                <c:pt idx="11255">
                  <c:v>5.0420168067227197E-3</c:v>
                </c:pt>
                <c:pt idx="11256">
                  <c:v>5.0420168067227197E-3</c:v>
                </c:pt>
                <c:pt idx="11257">
                  <c:v>5.0420168067227197E-3</c:v>
                </c:pt>
                <c:pt idx="11258">
                  <c:v>5.0420168067227197E-3</c:v>
                </c:pt>
                <c:pt idx="11259">
                  <c:v>5.0420168067227197E-3</c:v>
                </c:pt>
                <c:pt idx="11260">
                  <c:v>5.0420168067227197E-3</c:v>
                </c:pt>
                <c:pt idx="11261">
                  <c:v>5.0420168067227197E-3</c:v>
                </c:pt>
                <c:pt idx="11262">
                  <c:v>5.0420168067227197E-3</c:v>
                </c:pt>
                <c:pt idx="11263">
                  <c:v>5.0420168067227197E-3</c:v>
                </c:pt>
                <c:pt idx="11264">
                  <c:v>5.0420168067227197E-3</c:v>
                </c:pt>
                <c:pt idx="11265">
                  <c:v>5.0420168067227197E-3</c:v>
                </c:pt>
                <c:pt idx="11266">
                  <c:v>5.0420168067227197E-3</c:v>
                </c:pt>
                <c:pt idx="11267">
                  <c:v>5.0420168067227197E-3</c:v>
                </c:pt>
                <c:pt idx="11268">
                  <c:v>5.0420168067227197E-3</c:v>
                </c:pt>
                <c:pt idx="11269">
                  <c:v>5.0420168067227197E-3</c:v>
                </c:pt>
                <c:pt idx="11270">
                  <c:v>5.0420168067227197E-3</c:v>
                </c:pt>
                <c:pt idx="11271">
                  <c:v>5.0420168067227197E-3</c:v>
                </c:pt>
                <c:pt idx="11272">
                  <c:v>5.0420168067227197E-3</c:v>
                </c:pt>
                <c:pt idx="11273">
                  <c:v>5.0420168067227197E-3</c:v>
                </c:pt>
                <c:pt idx="11274">
                  <c:v>5.0420168067227197E-3</c:v>
                </c:pt>
                <c:pt idx="11275">
                  <c:v>5.0420168067227197E-3</c:v>
                </c:pt>
                <c:pt idx="11276">
                  <c:v>5.0420168067227197E-3</c:v>
                </c:pt>
                <c:pt idx="11277">
                  <c:v>5.0420168067227197E-3</c:v>
                </c:pt>
                <c:pt idx="11278">
                  <c:v>5.0420168067227197E-3</c:v>
                </c:pt>
                <c:pt idx="11279">
                  <c:v>5.0420168067227197E-3</c:v>
                </c:pt>
                <c:pt idx="11280">
                  <c:v>5.0420168067227197E-3</c:v>
                </c:pt>
                <c:pt idx="11281">
                  <c:v>5.0420168067227197E-3</c:v>
                </c:pt>
                <c:pt idx="11282">
                  <c:v>5.0420168067227197E-3</c:v>
                </c:pt>
                <c:pt idx="11283">
                  <c:v>5.0420168067227197E-3</c:v>
                </c:pt>
                <c:pt idx="11284">
                  <c:v>5.0420168067227197E-3</c:v>
                </c:pt>
                <c:pt idx="11285">
                  <c:v>5.0420168067227197E-3</c:v>
                </c:pt>
                <c:pt idx="11286">
                  <c:v>5.0420168067227197E-3</c:v>
                </c:pt>
                <c:pt idx="11287">
                  <c:v>5.0420168067227197E-3</c:v>
                </c:pt>
                <c:pt idx="11288">
                  <c:v>5.0420168067227197E-3</c:v>
                </c:pt>
                <c:pt idx="11289">
                  <c:v>5.0420168067227197E-3</c:v>
                </c:pt>
                <c:pt idx="11290">
                  <c:v>5.0420168067227197E-3</c:v>
                </c:pt>
                <c:pt idx="11291">
                  <c:v>5.0420168067227197E-3</c:v>
                </c:pt>
                <c:pt idx="11292">
                  <c:v>5.0420168067227197E-3</c:v>
                </c:pt>
                <c:pt idx="11293">
                  <c:v>5.0420168067227197E-3</c:v>
                </c:pt>
                <c:pt idx="11294">
                  <c:v>5.0420168067227197E-3</c:v>
                </c:pt>
                <c:pt idx="11295">
                  <c:v>5.0420168067227197E-3</c:v>
                </c:pt>
                <c:pt idx="11296">
                  <c:v>5.0420168067227197E-3</c:v>
                </c:pt>
                <c:pt idx="11297">
                  <c:v>5.0420168067227197E-3</c:v>
                </c:pt>
                <c:pt idx="11298">
                  <c:v>5.0420168067227197E-3</c:v>
                </c:pt>
                <c:pt idx="11299">
                  <c:v>5.0420168067227197E-3</c:v>
                </c:pt>
                <c:pt idx="11300">
                  <c:v>5.0420168067227197E-3</c:v>
                </c:pt>
                <c:pt idx="11301">
                  <c:v>5.0420168067227197E-3</c:v>
                </c:pt>
                <c:pt idx="11302">
                  <c:v>5.0420168067227197E-3</c:v>
                </c:pt>
                <c:pt idx="11303">
                  <c:v>5.0420168067227197E-3</c:v>
                </c:pt>
                <c:pt idx="11304">
                  <c:v>5.0420168067227197E-3</c:v>
                </c:pt>
                <c:pt idx="11305">
                  <c:v>5.0420168067227197E-3</c:v>
                </c:pt>
                <c:pt idx="11306">
                  <c:v>5.0420168067227197E-3</c:v>
                </c:pt>
                <c:pt idx="11307">
                  <c:v>5.0420168067227197E-3</c:v>
                </c:pt>
                <c:pt idx="11308">
                  <c:v>5.0420168067227197E-3</c:v>
                </c:pt>
                <c:pt idx="11309">
                  <c:v>5.0420168067227197E-3</c:v>
                </c:pt>
                <c:pt idx="11310">
                  <c:v>4.2016806722689403E-3</c:v>
                </c:pt>
                <c:pt idx="11311">
                  <c:v>4.2016806722689403E-3</c:v>
                </c:pt>
                <c:pt idx="11312">
                  <c:v>4.2016806722689403E-3</c:v>
                </c:pt>
                <c:pt idx="11313">
                  <c:v>4.2016806722689403E-3</c:v>
                </c:pt>
                <c:pt idx="11314">
                  <c:v>4.2016806722689403E-3</c:v>
                </c:pt>
                <c:pt idx="11315">
                  <c:v>3.3613445378151601E-3</c:v>
                </c:pt>
                <c:pt idx="11316">
                  <c:v>3.3613445378151601E-3</c:v>
                </c:pt>
                <c:pt idx="11317">
                  <c:v>3.3613445378151601E-3</c:v>
                </c:pt>
                <c:pt idx="11318">
                  <c:v>3.3613445378151601E-3</c:v>
                </c:pt>
                <c:pt idx="11319">
                  <c:v>3.3613445378151601E-3</c:v>
                </c:pt>
                <c:pt idx="11320">
                  <c:v>3.3613445378151601E-3</c:v>
                </c:pt>
                <c:pt idx="11321">
                  <c:v>3.3613445378151601E-3</c:v>
                </c:pt>
                <c:pt idx="11322">
                  <c:v>3.3613445378151601E-3</c:v>
                </c:pt>
                <c:pt idx="11323">
                  <c:v>3.3613445378151601E-3</c:v>
                </c:pt>
                <c:pt idx="11324">
                  <c:v>3.3613445378151601E-3</c:v>
                </c:pt>
                <c:pt idx="11325">
                  <c:v>3.3613445378151601E-3</c:v>
                </c:pt>
                <c:pt idx="11326">
                  <c:v>3.3613445378151601E-3</c:v>
                </c:pt>
                <c:pt idx="11327">
                  <c:v>3.3613445378151601E-3</c:v>
                </c:pt>
                <c:pt idx="11328">
                  <c:v>3.3613445378151601E-3</c:v>
                </c:pt>
                <c:pt idx="11329">
                  <c:v>3.3613445378151601E-3</c:v>
                </c:pt>
                <c:pt idx="11330">
                  <c:v>3.3613445378151601E-3</c:v>
                </c:pt>
                <c:pt idx="11331">
                  <c:v>3.3613445378151601E-3</c:v>
                </c:pt>
                <c:pt idx="11332">
                  <c:v>3.3613445378151601E-3</c:v>
                </c:pt>
                <c:pt idx="11333">
                  <c:v>3.3613445378151601E-3</c:v>
                </c:pt>
                <c:pt idx="11334">
                  <c:v>3.3613445378151601E-3</c:v>
                </c:pt>
                <c:pt idx="11335">
                  <c:v>3.3613445378151601E-3</c:v>
                </c:pt>
                <c:pt idx="11336">
                  <c:v>3.3613445378151601E-3</c:v>
                </c:pt>
                <c:pt idx="11337">
                  <c:v>3.3613445378151601E-3</c:v>
                </c:pt>
                <c:pt idx="11338">
                  <c:v>3.3613445378151601E-3</c:v>
                </c:pt>
                <c:pt idx="11339">
                  <c:v>3.3613445378151601E-3</c:v>
                </c:pt>
                <c:pt idx="11340">
                  <c:v>3.3613445378151601E-3</c:v>
                </c:pt>
                <c:pt idx="11341">
                  <c:v>3.3613445378151601E-3</c:v>
                </c:pt>
                <c:pt idx="11342">
                  <c:v>3.3613445378151601E-3</c:v>
                </c:pt>
                <c:pt idx="11343">
                  <c:v>3.3613445378151601E-3</c:v>
                </c:pt>
                <c:pt idx="11344">
                  <c:v>3.3613445378151601E-3</c:v>
                </c:pt>
                <c:pt idx="11345">
                  <c:v>3.3613445378151601E-3</c:v>
                </c:pt>
                <c:pt idx="11346">
                  <c:v>3.3613445378151601E-3</c:v>
                </c:pt>
                <c:pt idx="11347">
                  <c:v>3.3613445378151601E-3</c:v>
                </c:pt>
                <c:pt idx="11348">
                  <c:v>3.3613445378151601E-3</c:v>
                </c:pt>
                <c:pt idx="11349">
                  <c:v>3.3613445378151601E-3</c:v>
                </c:pt>
                <c:pt idx="11350">
                  <c:v>3.3613445378151601E-3</c:v>
                </c:pt>
                <c:pt idx="11351">
                  <c:v>3.3613445378151601E-3</c:v>
                </c:pt>
                <c:pt idx="11352">
                  <c:v>3.3613445378151601E-3</c:v>
                </c:pt>
                <c:pt idx="11353">
                  <c:v>3.3613445378151601E-3</c:v>
                </c:pt>
                <c:pt idx="11354">
                  <c:v>3.3613445378151601E-3</c:v>
                </c:pt>
                <c:pt idx="11355">
                  <c:v>3.3613445378151601E-3</c:v>
                </c:pt>
                <c:pt idx="11356">
                  <c:v>3.3613445378151601E-3</c:v>
                </c:pt>
                <c:pt idx="11357">
                  <c:v>4.2016806722689403E-3</c:v>
                </c:pt>
                <c:pt idx="11358">
                  <c:v>4.2016806722689403E-3</c:v>
                </c:pt>
                <c:pt idx="11359">
                  <c:v>4.2016806722689403E-3</c:v>
                </c:pt>
                <c:pt idx="11360">
                  <c:v>4.2016806722689403E-3</c:v>
                </c:pt>
                <c:pt idx="11361">
                  <c:v>4.2016806722689403E-3</c:v>
                </c:pt>
                <c:pt idx="11362">
                  <c:v>4.2016806722689403E-3</c:v>
                </c:pt>
                <c:pt idx="11363">
                  <c:v>4.2016806722689403E-3</c:v>
                </c:pt>
                <c:pt idx="11364">
                  <c:v>4.2016806722689403E-3</c:v>
                </c:pt>
                <c:pt idx="11365">
                  <c:v>4.2016806722689403E-3</c:v>
                </c:pt>
                <c:pt idx="11366">
                  <c:v>4.2016806722689403E-3</c:v>
                </c:pt>
                <c:pt idx="11367">
                  <c:v>4.2016806722689403E-3</c:v>
                </c:pt>
                <c:pt idx="11368">
                  <c:v>4.2016806722689403E-3</c:v>
                </c:pt>
                <c:pt idx="11369">
                  <c:v>4.2016806722689403E-3</c:v>
                </c:pt>
                <c:pt idx="11370">
                  <c:v>4.2016806722689403E-3</c:v>
                </c:pt>
                <c:pt idx="11371">
                  <c:v>4.2016806722689403E-3</c:v>
                </c:pt>
                <c:pt idx="11372">
                  <c:v>4.2016806722689403E-3</c:v>
                </c:pt>
                <c:pt idx="11373">
                  <c:v>4.2016806722689403E-3</c:v>
                </c:pt>
                <c:pt idx="11374">
                  <c:v>4.2016806722689403E-3</c:v>
                </c:pt>
                <c:pt idx="11375">
                  <c:v>4.2016806722689403E-3</c:v>
                </c:pt>
                <c:pt idx="11376">
                  <c:v>4.2016806722689403E-3</c:v>
                </c:pt>
                <c:pt idx="11377">
                  <c:v>5.0420168067227197E-3</c:v>
                </c:pt>
                <c:pt idx="11378">
                  <c:v>5.0420168067227197E-3</c:v>
                </c:pt>
                <c:pt idx="11379">
                  <c:v>5.0420168067227197E-3</c:v>
                </c:pt>
                <c:pt idx="11380">
                  <c:v>5.0420168067227197E-3</c:v>
                </c:pt>
                <c:pt idx="11381">
                  <c:v>5.0420168067227197E-3</c:v>
                </c:pt>
                <c:pt idx="11382">
                  <c:v>5.0420168067227197E-3</c:v>
                </c:pt>
                <c:pt idx="11383">
                  <c:v>5.0420168067227197E-3</c:v>
                </c:pt>
                <c:pt idx="11384">
                  <c:v>5.0420168067227197E-3</c:v>
                </c:pt>
                <c:pt idx="11385">
                  <c:v>5.0420168067227197E-3</c:v>
                </c:pt>
                <c:pt idx="11386">
                  <c:v>5.0420168067227197E-3</c:v>
                </c:pt>
                <c:pt idx="11387">
                  <c:v>5.0420168067227197E-3</c:v>
                </c:pt>
                <c:pt idx="11388">
                  <c:v>5.0420168067227197E-3</c:v>
                </c:pt>
                <c:pt idx="11389">
                  <c:v>5.0420168067227197E-3</c:v>
                </c:pt>
                <c:pt idx="11390">
                  <c:v>5.0420168067227197E-3</c:v>
                </c:pt>
                <c:pt idx="11391">
                  <c:v>5.0420168067227197E-3</c:v>
                </c:pt>
                <c:pt idx="11392">
                  <c:v>5.0420168067227197E-3</c:v>
                </c:pt>
                <c:pt idx="11393">
                  <c:v>5.0420168067227197E-3</c:v>
                </c:pt>
                <c:pt idx="11394">
                  <c:v>5.0420168067227197E-3</c:v>
                </c:pt>
                <c:pt idx="11395">
                  <c:v>5.0420168067227197E-3</c:v>
                </c:pt>
                <c:pt idx="11396">
                  <c:v>5.0420168067227197E-3</c:v>
                </c:pt>
                <c:pt idx="11397">
                  <c:v>5.0420168067227197E-3</c:v>
                </c:pt>
                <c:pt idx="11398">
                  <c:v>5.0420168067227197E-3</c:v>
                </c:pt>
                <c:pt idx="11399">
                  <c:v>5.0420168067227197E-3</c:v>
                </c:pt>
                <c:pt idx="11400">
                  <c:v>5.0420168067227197E-3</c:v>
                </c:pt>
                <c:pt idx="11401">
                  <c:v>5.0420168067227197E-3</c:v>
                </c:pt>
                <c:pt idx="11402">
                  <c:v>5.0420168067227197E-3</c:v>
                </c:pt>
                <c:pt idx="11403">
                  <c:v>5.0420168067227197E-3</c:v>
                </c:pt>
                <c:pt idx="11404">
                  <c:v>5.0420168067227197E-3</c:v>
                </c:pt>
                <c:pt idx="11405">
                  <c:v>5.8823529411765E-3</c:v>
                </c:pt>
                <c:pt idx="11406">
                  <c:v>5.8823529411765E-3</c:v>
                </c:pt>
                <c:pt idx="11407">
                  <c:v>5.8823529411765E-3</c:v>
                </c:pt>
                <c:pt idx="11408">
                  <c:v>5.8823529411765E-3</c:v>
                </c:pt>
                <c:pt idx="11409">
                  <c:v>5.8823529411765E-3</c:v>
                </c:pt>
                <c:pt idx="11410">
                  <c:v>5.8823529411765E-3</c:v>
                </c:pt>
                <c:pt idx="11411">
                  <c:v>5.8823529411765E-3</c:v>
                </c:pt>
                <c:pt idx="11412">
                  <c:v>5.8823529411765E-3</c:v>
                </c:pt>
                <c:pt idx="11413">
                  <c:v>5.8823529411765E-3</c:v>
                </c:pt>
                <c:pt idx="11414">
                  <c:v>5.8823529411765E-3</c:v>
                </c:pt>
                <c:pt idx="11415">
                  <c:v>5.8823529411765E-3</c:v>
                </c:pt>
                <c:pt idx="11416">
                  <c:v>5.8823529411765E-3</c:v>
                </c:pt>
                <c:pt idx="11417">
                  <c:v>5.8823529411765E-3</c:v>
                </c:pt>
                <c:pt idx="11418">
                  <c:v>5.8823529411765E-3</c:v>
                </c:pt>
                <c:pt idx="11419">
                  <c:v>5.8823529411765E-3</c:v>
                </c:pt>
                <c:pt idx="11420">
                  <c:v>5.8823529411765E-3</c:v>
                </c:pt>
                <c:pt idx="11421">
                  <c:v>5.8823529411765E-3</c:v>
                </c:pt>
                <c:pt idx="11422">
                  <c:v>5.8823529411765E-3</c:v>
                </c:pt>
                <c:pt idx="11423">
                  <c:v>5.8823529411765E-3</c:v>
                </c:pt>
                <c:pt idx="11424">
                  <c:v>5.8823529411765E-3</c:v>
                </c:pt>
                <c:pt idx="11425">
                  <c:v>5.8823529411765E-3</c:v>
                </c:pt>
                <c:pt idx="11426">
                  <c:v>5.8823529411765E-3</c:v>
                </c:pt>
                <c:pt idx="11427">
                  <c:v>5.8823529411765E-3</c:v>
                </c:pt>
                <c:pt idx="11428">
                  <c:v>5.8823529411765E-3</c:v>
                </c:pt>
                <c:pt idx="11429">
                  <c:v>5.8823529411765E-3</c:v>
                </c:pt>
                <c:pt idx="11430">
                  <c:v>5.8823529411765E-3</c:v>
                </c:pt>
                <c:pt idx="11431">
                  <c:v>5.8823529411765E-3</c:v>
                </c:pt>
                <c:pt idx="11432">
                  <c:v>5.0420168067227197E-3</c:v>
                </c:pt>
                <c:pt idx="11433">
                  <c:v>5.0420168067227197E-3</c:v>
                </c:pt>
                <c:pt idx="11434">
                  <c:v>5.0420168067227197E-3</c:v>
                </c:pt>
                <c:pt idx="11435">
                  <c:v>5.0420168067227197E-3</c:v>
                </c:pt>
                <c:pt idx="11436">
                  <c:v>5.0420168067227197E-3</c:v>
                </c:pt>
                <c:pt idx="11437">
                  <c:v>5.0420168067227197E-3</c:v>
                </c:pt>
                <c:pt idx="11438">
                  <c:v>5.0420168067227197E-3</c:v>
                </c:pt>
                <c:pt idx="11439">
                  <c:v>5.0420168067227197E-3</c:v>
                </c:pt>
                <c:pt idx="11440">
                  <c:v>5.0420168067227197E-3</c:v>
                </c:pt>
                <c:pt idx="11441">
                  <c:v>5.0420168067227197E-3</c:v>
                </c:pt>
                <c:pt idx="11442">
                  <c:v>5.0420168067227197E-3</c:v>
                </c:pt>
                <c:pt idx="11443">
                  <c:v>5.0420168067227197E-3</c:v>
                </c:pt>
                <c:pt idx="11444">
                  <c:v>5.0420168067227197E-3</c:v>
                </c:pt>
                <c:pt idx="11445">
                  <c:v>5.0420168067227197E-3</c:v>
                </c:pt>
                <c:pt idx="11446">
                  <c:v>5.0420168067227197E-3</c:v>
                </c:pt>
                <c:pt idx="11447">
                  <c:v>5.8823529411765E-3</c:v>
                </c:pt>
                <c:pt idx="11448">
                  <c:v>5.8823529411765E-3</c:v>
                </c:pt>
                <c:pt idx="11449">
                  <c:v>5.8823529411765E-3</c:v>
                </c:pt>
                <c:pt idx="11450">
                  <c:v>5.8823529411765E-3</c:v>
                </c:pt>
                <c:pt idx="11451">
                  <c:v>5.8823529411765E-3</c:v>
                </c:pt>
                <c:pt idx="11452">
                  <c:v>5.8823529411765E-3</c:v>
                </c:pt>
                <c:pt idx="11453">
                  <c:v>5.8823529411765E-3</c:v>
                </c:pt>
                <c:pt idx="11454">
                  <c:v>5.8823529411765E-3</c:v>
                </c:pt>
                <c:pt idx="11455">
                  <c:v>5.8823529411765E-3</c:v>
                </c:pt>
                <c:pt idx="11456">
                  <c:v>5.8823529411765E-3</c:v>
                </c:pt>
                <c:pt idx="11457">
                  <c:v>5.8823529411765E-3</c:v>
                </c:pt>
                <c:pt idx="11458">
                  <c:v>5.8823529411765E-3</c:v>
                </c:pt>
                <c:pt idx="11459">
                  <c:v>5.8823529411765E-3</c:v>
                </c:pt>
                <c:pt idx="11460">
                  <c:v>5.8823529411765E-3</c:v>
                </c:pt>
                <c:pt idx="11461">
                  <c:v>5.8823529411765E-3</c:v>
                </c:pt>
                <c:pt idx="11462">
                  <c:v>5.8823529411765E-3</c:v>
                </c:pt>
                <c:pt idx="11463">
                  <c:v>5.8823529411765E-3</c:v>
                </c:pt>
                <c:pt idx="11464">
                  <c:v>5.8823529411765E-3</c:v>
                </c:pt>
                <c:pt idx="11465">
                  <c:v>5.8823529411765E-3</c:v>
                </c:pt>
                <c:pt idx="11466">
                  <c:v>5.8823529411765E-3</c:v>
                </c:pt>
                <c:pt idx="11467">
                  <c:v>5.0420168067227197E-3</c:v>
                </c:pt>
                <c:pt idx="11468">
                  <c:v>5.0420168067227197E-3</c:v>
                </c:pt>
                <c:pt idx="11469">
                  <c:v>5.0420168067227197E-3</c:v>
                </c:pt>
                <c:pt idx="11470">
                  <c:v>5.0420168067227197E-3</c:v>
                </c:pt>
                <c:pt idx="11471">
                  <c:v>4.20168067226889E-3</c:v>
                </c:pt>
                <c:pt idx="11472">
                  <c:v>4.20168067226889E-3</c:v>
                </c:pt>
                <c:pt idx="11473">
                  <c:v>4.20168067226889E-3</c:v>
                </c:pt>
                <c:pt idx="11474">
                  <c:v>4.20168067226889E-3</c:v>
                </c:pt>
                <c:pt idx="11475">
                  <c:v>4.20168067226889E-3</c:v>
                </c:pt>
                <c:pt idx="11476">
                  <c:v>4.20168067226889E-3</c:v>
                </c:pt>
                <c:pt idx="11477">
                  <c:v>4.20168067226889E-3</c:v>
                </c:pt>
                <c:pt idx="11478">
                  <c:v>4.20168067226889E-3</c:v>
                </c:pt>
                <c:pt idx="11479">
                  <c:v>4.20168067226889E-3</c:v>
                </c:pt>
                <c:pt idx="11480">
                  <c:v>4.20168067226889E-3</c:v>
                </c:pt>
                <c:pt idx="11481">
                  <c:v>4.20168067226889E-3</c:v>
                </c:pt>
                <c:pt idx="11482">
                  <c:v>4.20168067226889E-3</c:v>
                </c:pt>
                <c:pt idx="11483">
                  <c:v>4.20168067226889E-3</c:v>
                </c:pt>
                <c:pt idx="11484">
                  <c:v>4.20168067226889E-3</c:v>
                </c:pt>
                <c:pt idx="11485">
                  <c:v>4.20168067226889E-3</c:v>
                </c:pt>
                <c:pt idx="11486">
                  <c:v>4.20168067226889E-3</c:v>
                </c:pt>
                <c:pt idx="11487">
                  <c:v>3.3613445378151102E-3</c:v>
                </c:pt>
                <c:pt idx="11488">
                  <c:v>3.3613445378151102E-3</c:v>
                </c:pt>
                <c:pt idx="11489">
                  <c:v>3.3613445378151102E-3</c:v>
                </c:pt>
                <c:pt idx="11490">
                  <c:v>3.3613445378151102E-3</c:v>
                </c:pt>
                <c:pt idx="11491">
                  <c:v>3.3613445378151102E-3</c:v>
                </c:pt>
                <c:pt idx="11492">
                  <c:v>3.3613445378151102E-3</c:v>
                </c:pt>
                <c:pt idx="11493">
                  <c:v>3.3613445378151102E-3</c:v>
                </c:pt>
                <c:pt idx="11494">
                  <c:v>3.3613445378151102E-3</c:v>
                </c:pt>
                <c:pt idx="11495">
                  <c:v>3.3613445378151102E-3</c:v>
                </c:pt>
                <c:pt idx="11496">
                  <c:v>3.3613445378151102E-3</c:v>
                </c:pt>
                <c:pt idx="11497">
                  <c:v>3.3613445378151102E-3</c:v>
                </c:pt>
                <c:pt idx="11498">
                  <c:v>3.3613445378151102E-3</c:v>
                </c:pt>
                <c:pt idx="11499">
                  <c:v>3.3613445378151102E-3</c:v>
                </c:pt>
                <c:pt idx="11500">
                  <c:v>4.20168067226889E-3</c:v>
                </c:pt>
                <c:pt idx="11501">
                  <c:v>4.20168067226889E-3</c:v>
                </c:pt>
                <c:pt idx="11502">
                  <c:v>4.20168067226889E-3</c:v>
                </c:pt>
                <c:pt idx="11503">
                  <c:v>4.20168067226889E-3</c:v>
                </c:pt>
                <c:pt idx="11504">
                  <c:v>4.20168067226889E-3</c:v>
                </c:pt>
                <c:pt idx="11505">
                  <c:v>4.20168067226889E-3</c:v>
                </c:pt>
                <c:pt idx="11506">
                  <c:v>4.20168067226889E-3</c:v>
                </c:pt>
                <c:pt idx="11507">
                  <c:v>5.0420168067226703E-3</c:v>
                </c:pt>
                <c:pt idx="11508">
                  <c:v>5.0420168067226703E-3</c:v>
                </c:pt>
                <c:pt idx="11509">
                  <c:v>5.0420168067226703E-3</c:v>
                </c:pt>
                <c:pt idx="11510">
                  <c:v>5.8823529411764497E-3</c:v>
                </c:pt>
                <c:pt idx="11511">
                  <c:v>5.8823529411764497E-3</c:v>
                </c:pt>
                <c:pt idx="11512">
                  <c:v>6.7226890756302204E-3</c:v>
                </c:pt>
                <c:pt idx="11513">
                  <c:v>6.7226890756302204E-3</c:v>
                </c:pt>
                <c:pt idx="11514">
                  <c:v>6.7226890756302204E-3</c:v>
                </c:pt>
                <c:pt idx="11515">
                  <c:v>6.7226890756302204E-3</c:v>
                </c:pt>
                <c:pt idx="11516">
                  <c:v>6.7226890756302204E-3</c:v>
                </c:pt>
                <c:pt idx="11517">
                  <c:v>6.7226890756302204E-3</c:v>
                </c:pt>
                <c:pt idx="11518">
                  <c:v>5.8823529411764497E-3</c:v>
                </c:pt>
                <c:pt idx="11519">
                  <c:v>5.8823529411764497E-3</c:v>
                </c:pt>
                <c:pt idx="11520">
                  <c:v>5.8823529411764497E-3</c:v>
                </c:pt>
                <c:pt idx="11521">
                  <c:v>5.8823529411764497E-3</c:v>
                </c:pt>
                <c:pt idx="11522">
                  <c:v>5.8823529411764497E-3</c:v>
                </c:pt>
                <c:pt idx="11523">
                  <c:v>5.8823529411764497E-3</c:v>
                </c:pt>
                <c:pt idx="11524">
                  <c:v>5.8823529411764497E-3</c:v>
                </c:pt>
                <c:pt idx="11525">
                  <c:v>5.8823529411764497E-3</c:v>
                </c:pt>
                <c:pt idx="11526">
                  <c:v>5.8823529411764497E-3</c:v>
                </c:pt>
                <c:pt idx="11527">
                  <c:v>5.8823529411764497E-3</c:v>
                </c:pt>
                <c:pt idx="11528">
                  <c:v>5.8823529411764497E-3</c:v>
                </c:pt>
                <c:pt idx="11529">
                  <c:v>5.8823529411764497E-3</c:v>
                </c:pt>
                <c:pt idx="11530">
                  <c:v>5.8823529411764497E-3</c:v>
                </c:pt>
                <c:pt idx="11531">
                  <c:v>5.8823529411764497E-3</c:v>
                </c:pt>
                <c:pt idx="11532">
                  <c:v>5.0420168067226703E-3</c:v>
                </c:pt>
                <c:pt idx="11533">
                  <c:v>5.0420168067226703E-3</c:v>
                </c:pt>
                <c:pt idx="11534">
                  <c:v>5.0420168067226703E-3</c:v>
                </c:pt>
                <c:pt idx="11535">
                  <c:v>5.0420168067226703E-3</c:v>
                </c:pt>
                <c:pt idx="11536">
                  <c:v>5.0420168067226703E-3</c:v>
                </c:pt>
                <c:pt idx="11537">
                  <c:v>5.8823529411764497E-3</c:v>
                </c:pt>
                <c:pt idx="11538">
                  <c:v>5.8823529411764497E-3</c:v>
                </c:pt>
                <c:pt idx="11539">
                  <c:v>5.8823529411764497E-3</c:v>
                </c:pt>
                <c:pt idx="11540">
                  <c:v>5.8823529411764497E-3</c:v>
                </c:pt>
                <c:pt idx="11541">
                  <c:v>6.7226890756302204E-3</c:v>
                </c:pt>
                <c:pt idx="11542">
                  <c:v>6.7226890756302204E-3</c:v>
                </c:pt>
                <c:pt idx="11543">
                  <c:v>6.7226890756302204E-3</c:v>
                </c:pt>
                <c:pt idx="11544">
                  <c:v>6.7226890756302204E-3</c:v>
                </c:pt>
                <c:pt idx="11545">
                  <c:v>6.7226890756302204E-3</c:v>
                </c:pt>
                <c:pt idx="11546">
                  <c:v>6.7226890756302204E-3</c:v>
                </c:pt>
                <c:pt idx="11547">
                  <c:v>6.7226890756302204E-3</c:v>
                </c:pt>
                <c:pt idx="11548">
                  <c:v>5.8823529411764497E-3</c:v>
                </c:pt>
                <c:pt idx="11549">
                  <c:v>5.8823529411764497E-3</c:v>
                </c:pt>
                <c:pt idx="11550">
                  <c:v>5.8823529411764497E-3</c:v>
                </c:pt>
                <c:pt idx="11551">
                  <c:v>5.8823529411764497E-3</c:v>
                </c:pt>
                <c:pt idx="11552">
                  <c:v>5.8823529411764497E-3</c:v>
                </c:pt>
                <c:pt idx="11553">
                  <c:v>5.8823529411764497E-3</c:v>
                </c:pt>
                <c:pt idx="11554">
                  <c:v>5.8823529411764497E-3</c:v>
                </c:pt>
                <c:pt idx="11555">
                  <c:v>5.8823529411764497E-3</c:v>
                </c:pt>
                <c:pt idx="11556">
                  <c:v>5.8823529411764497E-3</c:v>
                </c:pt>
                <c:pt idx="11557">
                  <c:v>5.8823529411764497E-3</c:v>
                </c:pt>
                <c:pt idx="11558">
                  <c:v>5.8823529411764497E-3</c:v>
                </c:pt>
                <c:pt idx="11559">
                  <c:v>5.8823529411764497E-3</c:v>
                </c:pt>
                <c:pt idx="11560">
                  <c:v>5.8823529411764497E-3</c:v>
                </c:pt>
                <c:pt idx="11561">
                  <c:v>5.8823529411764497E-3</c:v>
                </c:pt>
                <c:pt idx="11562">
                  <c:v>5.8823529411764497E-3</c:v>
                </c:pt>
                <c:pt idx="11563">
                  <c:v>5.8823529411764497E-3</c:v>
                </c:pt>
                <c:pt idx="11564">
                  <c:v>5.8823529411764497E-3</c:v>
                </c:pt>
                <c:pt idx="11565">
                  <c:v>5.8823529411764497E-3</c:v>
                </c:pt>
                <c:pt idx="11566">
                  <c:v>5.8823529411764497E-3</c:v>
                </c:pt>
                <c:pt idx="11567">
                  <c:v>5.8823529411764497E-3</c:v>
                </c:pt>
                <c:pt idx="11568">
                  <c:v>5.8823529411764497E-3</c:v>
                </c:pt>
                <c:pt idx="11569">
                  <c:v>5.8823529411764497E-3</c:v>
                </c:pt>
                <c:pt idx="11570">
                  <c:v>6.7226890756302204E-3</c:v>
                </c:pt>
                <c:pt idx="11571">
                  <c:v>6.7226890756302204E-3</c:v>
                </c:pt>
                <c:pt idx="11572">
                  <c:v>6.7226890756302204E-3</c:v>
                </c:pt>
                <c:pt idx="11573">
                  <c:v>6.7226890756302204E-3</c:v>
                </c:pt>
                <c:pt idx="11574">
                  <c:v>6.7226890756302204E-3</c:v>
                </c:pt>
                <c:pt idx="11575">
                  <c:v>5.8823529411764497E-3</c:v>
                </c:pt>
                <c:pt idx="11576">
                  <c:v>5.8823529411764497E-3</c:v>
                </c:pt>
                <c:pt idx="11577">
                  <c:v>5.8823529411764497E-3</c:v>
                </c:pt>
                <c:pt idx="11578">
                  <c:v>5.8823529411764497E-3</c:v>
                </c:pt>
                <c:pt idx="11579">
                  <c:v>5.8823529411764497E-3</c:v>
                </c:pt>
                <c:pt idx="11580">
                  <c:v>5.8823529411764497E-3</c:v>
                </c:pt>
                <c:pt idx="11581">
                  <c:v>5.8823529411764497E-3</c:v>
                </c:pt>
                <c:pt idx="11582">
                  <c:v>5.8823529411764497E-3</c:v>
                </c:pt>
                <c:pt idx="11583">
                  <c:v>5.8823529411764497E-3</c:v>
                </c:pt>
                <c:pt idx="11584">
                  <c:v>5.8823529411764497E-3</c:v>
                </c:pt>
                <c:pt idx="11585">
                  <c:v>6.7226890756302204E-3</c:v>
                </c:pt>
                <c:pt idx="11586">
                  <c:v>6.7226890756302204E-3</c:v>
                </c:pt>
                <c:pt idx="11587">
                  <c:v>6.7226890756302204E-3</c:v>
                </c:pt>
                <c:pt idx="11588">
                  <c:v>5.8823529411764497E-3</c:v>
                </c:pt>
                <c:pt idx="11589">
                  <c:v>5.8823529411764497E-3</c:v>
                </c:pt>
                <c:pt idx="11590">
                  <c:v>5.8823529411764497E-3</c:v>
                </c:pt>
                <c:pt idx="11591">
                  <c:v>5.8823529411764497E-3</c:v>
                </c:pt>
                <c:pt idx="11592">
                  <c:v>5.8823529411764497E-3</c:v>
                </c:pt>
                <c:pt idx="11593">
                  <c:v>5.8823529411764497E-3</c:v>
                </c:pt>
                <c:pt idx="11594">
                  <c:v>5.8823529411764497E-3</c:v>
                </c:pt>
                <c:pt idx="11595">
                  <c:v>5.8823529411764497E-3</c:v>
                </c:pt>
                <c:pt idx="11596">
                  <c:v>5.8823529411764497E-3</c:v>
                </c:pt>
                <c:pt idx="11597">
                  <c:v>5.8823529411764497E-3</c:v>
                </c:pt>
                <c:pt idx="11598">
                  <c:v>5.8823529411764497E-3</c:v>
                </c:pt>
                <c:pt idx="11599">
                  <c:v>5.8823529411764497E-3</c:v>
                </c:pt>
                <c:pt idx="11600">
                  <c:v>5.8823529411764497E-3</c:v>
                </c:pt>
                <c:pt idx="11601">
                  <c:v>5.8823529411764497E-3</c:v>
                </c:pt>
                <c:pt idx="11602">
                  <c:v>5.8823529411764497E-3</c:v>
                </c:pt>
                <c:pt idx="11603">
                  <c:v>5.8823529411764497E-3</c:v>
                </c:pt>
                <c:pt idx="11604">
                  <c:v>5.8823529411764497E-3</c:v>
                </c:pt>
                <c:pt idx="11605">
                  <c:v>5.8823529411764497E-3</c:v>
                </c:pt>
                <c:pt idx="11606">
                  <c:v>5.8823529411764497E-3</c:v>
                </c:pt>
                <c:pt idx="11607">
                  <c:v>5.8823529411764497E-3</c:v>
                </c:pt>
                <c:pt idx="11608">
                  <c:v>5.8823529411764497E-3</c:v>
                </c:pt>
                <c:pt idx="11609">
                  <c:v>5.8823529411764497E-3</c:v>
                </c:pt>
                <c:pt idx="11610">
                  <c:v>5.8823529411764497E-3</c:v>
                </c:pt>
                <c:pt idx="11611">
                  <c:v>5.8823529411764497E-3</c:v>
                </c:pt>
                <c:pt idx="11612">
                  <c:v>5.8823529411764497E-3</c:v>
                </c:pt>
                <c:pt idx="11613">
                  <c:v>5.8823529411764497E-3</c:v>
                </c:pt>
                <c:pt idx="11614">
                  <c:v>5.8823529411764497E-3</c:v>
                </c:pt>
                <c:pt idx="11615">
                  <c:v>5.8823529411764497E-3</c:v>
                </c:pt>
                <c:pt idx="11616">
                  <c:v>5.8823529411764497E-3</c:v>
                </c:pt>
                <c:pt idx="11617">
                  <c:v>5.8823529411764497E-3</c:v>
                </c:pt>
                <c:pt idx="11618">
                  <c:v>5.8823529411764497E-3</c:v>
                </c:pt>
                <c:pt idx="11619">
                  <c:v>5.8823529411764497E-3</c:v>
                </c:pt>
                <c:pt idx="11620">
                  <c:v>5.8823529411764497E-3</c:v>
                </c:pt>
                <c:pt idx="11621">
                  <c:v>5.8823529411764497E-3</c:v>
                </c:pt>
                <c:pt idx="11622">
                  <c:v>5.8823529411764497E-3</c:v>
                </c:pt>
                <c:pt idx="11623">
                  <c:v>5.8823529411764497E-3</c:v>
                </c:pt>
                <c:pt idx="11624">
                  <c:v>5.8823529411764497E-3</c:v>
                </c:pt>
                <c:pt idx="11625">
                  <c:v>5.8823529411764497E-3</c:v>
                </c:pt>
                <c:pt idx="11626">
                  <c:v>5.8823529411764497E-3</c:v>
                </c:pt>
                <c:pt idx="11627">
                  <c:v>5.8823529411764497E-3</c:v>
                </c:pt>
                <c:pt idx="11628">
                  <c:v>5.8823529411764497E-3</c:v>
                </c:pt>
                <c:pt idx="11629">
                  <c:v>5.8823529411764497E-3</c:v>
                </c:pt>
                <c:pt idx="11630">
                  <c:v>5.8823529411764497E-3</c:v>
                </c:pt>
                <c:pt idx="11631">
                  <c:v>5.8823529411764497E-3</c:v>
                </c:pt>
                <c:pt idx="11632">
                  <c:v>5.8823529411764497E-3</c:v>
                </c:pt>
                <c:pt idx="11633">
                  <c:v>5.8823529411764497E-3</c:v>
                </c:pt>
                <c:pt idx="11634">
                  <c:v>5.8823529411764497E-3</c:v>
                </c:pt>
                <c:pt idx="11635">
                  <c:v>5.8823529411764497E-3</c:v>
                </c:pt>
                <c:pt idx="11636">
                  <c:v>5.8823529411764497E-3</c:v>
                </c:pt>
                <c:pt idx="11637">
                  <c:v>5.8823529411764497E-3</c:v>
                </c:pt>
                <c:pt idx="11638">
                  <c:v>5.0420168067226703E-3</c:v>
                </c:pt>
                <c:pt idx="11639">
                  <c:v>5.0420168067226703E-3</c:v>
                </c:pt>
                <c:pt idx="11640">
                  <c:v>5.0420168067226703E-3</c:v>
                </c:pt>
                <c:pt idx="11641">
                  <c:v>5.0420168067226703E-3</c:v>
                </c:pt>
                <c:pt idx="11642">
                  <c:v>5.0420168067226703E-3</c:v>
                </c:pt>
                <c:pt idx="11643">
                  <c:v>5.0420168067226703E-3</c:v>
                </c:pt>
                <c:pt idx="11644">
                  <c:v>4.20168067226889E-3</c:v>
                </c:pt>
                <c:pt idx="11645">
                  <c:v>4.20168067226889E-3</c:v>
                </c:pt>
                <c:pt idx="11646">
                  <c:v>4.20168067226889E-3</c:v>
                </c:pt>
                <c:pt idx="11647">
                  <c:v>4.20168067226889E-3</c:v>
                </c:pt>
                <c:pt idx="11648">
                  <c:v>4.20168067226889E-3</c:v>
                </c:pt>
                <c:pt idx="11649">
                  <c:v>4.20168067226889E-3</c:v>
                </c:pt>
                <c:pt idx="11650">
                  <c:v>4.20168067226889E-3</c:v>
                </c:pt>
                <c:pt idx="11651">
                  <c:v>4.20168067226889E-3</c:v>
                </c:pt>
                <c:pt idx="11652">
                  <c:v>4.20168067226889E-3</c:v>
                </c:pt>
                <c:pt idx="11653">
                  <c:v>4.20168067226889E-3</c:v>
                </c:pt>
                <c:pt idx="11654">
                  <c:v>4.20168067226889E-3</c:v>
                </c:pt>
                <c:pt idx="11655">
                  <c:v>4.20168067226889E-3</c:v>
                </c:pt>
                <c:pt idx="11656">
                  <c:v>4.20168067226889E-3</c:v>
                </c:pt>
                <c:pt idx="11657">
                  <c:v>4.20168067226889E-3</c:v>
                </c:pt>
                <c:pt idx="11658">
                  <c:v>4.20168067226889E-3</c:v>
                </c:pt>
                <c:pt idx="11659">
                  <c:v>4.20168067226889E-3</c:v>
                </c:pt>
                <c:pt idx="11660">
                  <c:v>4.20168067226889E-3</c:v>
                </c:pt>
                <c:pt idx="11661">
                  <c:v>4.20168067226889E-3</c:v>
                </c:pt>
                <c:pt idx="11662">
                  <c:v>4.20168067226889E-3</c:v>
                </c:pt>
                <c:pt idx="11663">
                  <c:v>5.0420168067226703E-3</c:v>
                </c:pt>
                <c:pt idx="11664">
                  <c:v>5.0420168067226703E-3</c:v>
                </c:pt>
                <c:pt idx="11665">
                  <c:v>5.0420168067226703E-3</c:v>
                </c:pt>
                <c:pt idx="11666">
                  <c:v>5.0420168067226703E-3</c:v>
                </c:pt>
                <c:pt idx="11667">
                  <c:v>5.0420168067226703E-3</c:v>
                </c:pt>
                <c:pt idx="11668">
                  <c:v>5.0420168067226703E-3</c:v>
                </c:pt>
                <c:pt idx="11669">
                  <c:v>5.0420168067226703E-3</c:v>
                </c:pt>
                <c:pt idx="11670">
                  <c:v>5.0420168067226703E-3</c:v>
                </c:pt>
                <c:pt idx="11671">
                  <c:v>5.0420168067226703E-3</c:v>
                </c:pt>
                <c:pt idx="11672">
                  <c:v>5.0420168067226703E-3</c:v>
                </c:pt>
                <c:pt idx="11673">
                  <c:v>5.0420168067226703E-3</c:v>
                </c:pt>
                <c:pt idx="11674">
                  <c:v>5.0420168067226703E-3</c:v>
                </c:pt>
                <c:pt idx="11675">
                  <c:v>5.0420168067226703E-3</c:v>
                </c:pt>
                <c:pt idx="11676">
                  <c:v>5.0420168067226703E-3</c:v>
                </c:pt>
                <c:pt idx="11677">
                  <c:v>5.0420168067226703E-3</c:v>
                </c:pt>
                <c:pt idx="11678">
                  <c:v>5.0420168067226703E-3</c:v>
                </c:pt>
                <c:pt idx="11679">
                  <c:v>5.0420168067226703E-3</c:v>
                </c:pt>
                <c:pt idx="11680">
                  <c:v>5.0420168067226703E-3</c:v>
                </c:pt>
                <c:pt idx="11681">
                  <c:v>5.0420168067226703E-3</c:v>
                </c:pt>
                <c:pt idx="11682">
                  <c:v>5.0420168067226703E-3</c:v>
                </c:pt>
                <c:pt idx="11683">
                  <c:v>5.0420168067226703E-3</c:v>
                </c:pt>
                <c:pt idx="11684">
                  <c:v>5.0420168067226703E-3</c:v>
                </c:pt>
                <c:pt idx="11685">
                  <c:v>5.0420168067226703E-3</c:v>
                </c:pt>
                <c:pt idx="11686">
                  <c:v>5.0420168067226703E-3</c:v>
                </c:pt>
                <c:pt idx="11687">
                  <c:v>5.0420168067226703E-3</c:v>
                </c:pt>
                <c:pt idx="11688">
                  <c:v>5.0420168067226703E-3</c:v>
                </c:pt>
                <c:pt idx="11689">
                  <c:v>5.0420168067226703E-3</c:v>
                </c:pt>
                <c:pt idx="11690">
                  <c:v>4.20168067226889E-3</c:v>
                </c:pt>
                <c:pt idx="11691">
                  <c:v>4.20168067226889E-3</c:v>
                </c:pt>
                <c:pt idx="11692">
                  <c:v>4.20168067226889E-3</c:v>
                </c:pt>
                <c:pt idx="11693">
                  <c:v>4.20168067226889E-3</c:v>
                </c:pt>
                <c:pt idx="11694">
                  <c:v>4.20168067226889E-3</c:v>
                </c:pt>
                <c:pt idx="11695">
                  <c:v>4.20168067226889E-3</c:v>
                </c:pt>
                <c:pt idx="11696">
                  <c:v>4.20168067226889E-3</c:v>
                </c:pt>
                <c:pt idx="11697">
                  <c:v>4.20168067226889E-3</c:v>
                </c:pt>
                <c:pt idx="11698">
                  <c:v>4.20168067226889E-3</c:v>
                </c:pt>
                <c:pt idx="11699">
                  <c:v>4.20168067226889E-3</c:v>
                </c:pt>
                <c:pt idx="11700">
                  <c:v>4.20168067226889E-3</c:v>
                </c:pt>
                <c:pt idx="11701">
                  <c:v>4.20168067226889E-3</c:v>
                </c:pt>
                <c:pt idx="11702">
                  <c:v>4.20168067226889E-3</c:v>
                </c:pt>
                <c:pt idx="11703">
                  <c:v>4.20168067226889E-3</c:v>
                </c:pt>
                <c:pt idx="11704">
                  <c:v>4.20168067226889E-3</c:v>
                </c:pt>
                <c:pt idx="11705">
                  <c:v>4.20168067226889E-3</c:v>
                </c:pt>
                <c:pt idx="11706">
                  <c:v>4.20168067226889E-3</c:v>
                </c:pt>
                <c:pt idx="11707">
                  <c:v>4.20168067226889E-3</c:v>
                </c:pt>
                <c:pt idx="11708">
                  <c:v>4.20168067226889E-3</c:v>
                </c:pt>
                <c:pt idx="11709">
                  <c:v>4.20168067226889E-3</c:v>
                </c:pt>
                <c:pt idx="11710">
                  <c:v>4.20168067226889E-3</c:v>
                </c:pt>
                <c:pt idx="11711">
                  <c:v>4.20168067226889E-3</c:v>
                </c:pt>
                <c:pt idx="11712">
                  <c:v>4.20168067226889E-3</c:v>
                </c:pt>
                <c:pt idx="11713">
                  <c:v>4.20168067226889E-3</c:v>
                </c:pt>
                <c:pt idx="11714">
                  <c:v>4.20168067226889E-3</c:v>
                </c:pt>
                <c:pt idx="11715">
                  <c:v>4.20168067226889E-3</c:v>
                </c:pt>
                <c:pt idx="11716">
                  <c:v>4.20168067226889E-3</c:v>
                </c:pt>
                <c:pt idx="11717">
                  <c:v>4.20168067226889E-3</c:v>
                </c:pt>
                <c:pt idx="11718">
                  <c:v>5.0420168067226703E-3</c:v>
                </c:pt>
                <c:pt idx="11719">
                  <c:v>5.0420168067226703E-3</c:v>
                </c:pt>
                <c:pt idx="11720">
                  <c:v>5.0420168067226703E-3</c:v>
                </c:pt>
                <c:pt idx="11721">
                  <c:v>5.0420168067226703E-3</c:v>
                </c:pt>
                <c:pt idx="11722">
                  <c:v>5.0420168067226703E-3</c:v>
                </c:pt>
                <c:pt idx="11723">
                  <c:v>5.0420168067226703E-3</c:v>
                </c:pt>
                <c:pt idx="11724">
                  <c:v>5.0420168067226703E-3</c:v>
                </c:pt>
                <c:pt idx="11725">
                  <c:v>5.0420168067226703E-3</c:v>
                </c:pt>
                <c:pt idx="11726">
                  <c:v>5.0420168067226703E-3</c:v>
                </c:pt>
                <c:pt idx="11727">
                  <c:v>5.0420168067226703E-3</c:v>
                </c:pt>
                <c:pt idx="11728">
                  <c:v>5.0420168067226703E-3</c:v>
                </c:pt>
                <c:pt idx="11729">
                  <c:v>5.0420168067226703E-3</c:v>
                </c:pt>
                <c:pt idx="11730">
                  <c:v>5.0420168067226703E-3</c:v>
                </c:pt>
                <c:pt idx="11731">
                  <c:v>5.0420168067226703E-3</c:v>
                </c:pt>
                <c:pt idx="11732">
                  <c:v>5.0420168067226703E-3</c:v>
                </c:pt>
                <c:pt idx="11733">
                  <c:v>5.0420168067226703E-3</c:v>
                </c:pt>
                <c:pt idx="11734">
                  <c:v>5.0420168067226703E-3</c:v>
                </c:pt>
                <c:pt idx="11735">
                  <c:v>5.0420168067226703E-3</c:v>
                </c:pt>
                <c:pt idx="11736">
                  <c:v>5.0420168067226703E-3</c:v>
                </c:pt>
                <c:pt idx="11737">
                  <c:v>5.0420168067226703E-3</c:v>
                </c:pt>
                <c:pt idx="11738">
                  <c:v>5.0420168067226703E-3</c:v>
                </c:pt>
                <c:pt idx="11739">
                  <c:v>5.0420168067226703E-3</c:v>
                </c:pt>
                <c:pt idx="11740">
                  <c:v>5.0420168067226703E-3</c:v>
                </c:pt>
                <c:pt idx="11741">
                  <c:v>5.0420168067226703E-3</c:v>
                </c:pt>
                <c:pt idx="11742">
                  <c:v>5.0420168067226703E-3</c:v>
                </c:pt>
                <c:pt idx="11743">
                  <c:v>5.0420168067226703E-3</c:v>
                </c:pt>
                <c:pt idx="11744">
                  <c:v>5.0420168067226703E-3</c:v>
                </c:pt>
                <c:pt idx="11745">
                  <c:v>5.0420168067226703E-3</c:v>
                </c:pt>
                <c:pt idx="11746">
                  <c:v>5.0420168067226703E-3</c:v>
                </c:pt>
                <c:pt idx="11747">
                  <c:v>5.8823529411764497E-3</c:v>
                </c:pt>
                <c:pt idx="11748">
                  <c:v>5.8823529411764497E-3</c:v>
                </c:pt>
                <c:pt idx="11749">
                  <c:v>5.8823529411764497E-3</c:v>
                </c:pt>
                <c:pt idx="11750">
                  <c:v>5.8823529411764497E-3</c:v>
                </c:pt>
                <c:pt idx="11751">
                  <c:v>5.8823529411764497E-3</c:v>
                </c:pt>
                <c:pt idx="11752">
                  <c:v>5.8823529411764497E-3</c:v>
                </c:pt>
                <c:pt idx="11753">
                  <c:v>5.8823529411764497E-3</c:v>
                </c:pt>
                <c:pt idx="11754">
                  <c:v>5.8823529411764497E-3</c:v>
                </c:pt>
                <c:pt idx="11755">
                  <c:v>5.0420168067226703E-3</c:v>
                </c:pt>
                <c:pt idx="11756">
                  <c:v>5.0420168067226703E-3</c:v>
                </c:pt>
                <c:pt idx="11757">
                  <c:v>5.0420168067226703E-3</c:v>
                </c:pt>
                <c:pt idx="11758">
                  <c:v>4.20168067226889E-3</c:v>
                </c:pt>
                <c:pt idx="11759">
                  <c:v>4.20168067226889E-3</c:v>
                </c:pt>
                <c:pt idx="11760">
                  <c:v>4.20168067226889E-3</c:v>
                </c:pt>
                <c:pt idx="11761">
                  <c:v>4.20168067226889E-3</c:v>
                </c:pt>
                <c:pt idx="11762">
                  <c:v>4.20168067226889E-3</c:v>
                </c:pt>
                <c:pt idx="11763">
                  <c:v>4.20168067226889E-3</c:v>
                </c:pt>
                <c:pt idx="11764">
                  <c:v>4.20168067226889E-3</c:v>
                </c:pt>
                <c:pt idx="11765">
                  <c:v>4.20168067226889E-3</c:v>
                </c:pt>
                <c:pt idx="11766">
                  <c:v>4.20168067226889E-3</c:v>
                </c:pt>
                <c:pt idx="11767">
                  <c:v>4.20168067226889E-3</c:v>
                </c:pt>
                <c:pt idx="11768">
                  <c:v>4.20168067226889E-3</c:v>
                </c:pt>
                <c:pt idx="11769">
                  <c:v>4.20168067226889E-3</c:v>
                </c:pt>
                <c:pt idx="11770">
                  <c:v>4.20168067226889E-3</c:v>
                </c:pt>
                <c:pt idx="11771">
                  <c:v>4.20168067226889E-3</c:v>
                </c:pt>
                <c:pt idx="11772">
                  <c:v>4.20168067226889E-3</c:v>
                </c:pt>
                <c:pt idx="11773">
                  <c:v>4.20168067226889E-3</c:v>
                </c:pt>
                <c:pt idx="11774">
                  <c:v>4.20168067226889E-3</c:v>
                </c:pt>
                <c:pt idx="11775">
                  <c:v>4.20168067226889E-3</c:v>
                </c:pt>
                <c:pt idx="11776">
                  <c:v>4.20168067226889E-3</c:v>
                </c:pt>
                <c:pt idx="11777">
                  <c:v>4.20168067226889E-3</c:v>
                </c:pt>
                <c:pt idx="11778">
                  <c:v>4.20168067226889E-3</c:v>
                </c:pt>
                <c:pt idx="11779">
                  <c:v>3.3613445378151102E-3</c:v>
                </c:pt>
                <c:pt idx="11780">
                  <c:v>3.3613445378151102E-3</c:v>
                </c:pt>
                <c:pt idx="11781">
                  <c:v>3.3613445378151102E-3</c:v>
                </c:pt>
                <c:pt idx="11782">
                  <c:v>3.3613445378151102E-3</c:v>
                </c:pt>
                <c:pt idx="11783">
                  <c:v>3.3613445378151102E-3</c:v>
                </c:pt>
                <c:pt idx="11784">
                  <c:v>4.20168067226889E-3</c:v>
                </c:pt>
                <c:pt idx="11785">
                  <c:v>4.20168067226889E-3</c:v>
                </c:pt>
                <c:pt idx="11786">
                  <c:v>4.20168067226889E-3</c:v>
                </c:pt>
                <c:pt idx="11787">
                  <c:v>4.20168067226889E-3</c:v>
                </c:pt>
                <c:pt idx="11788">
                  <c:v>4.20168067226889E-3</c:v>
                </c:pt>
                <c:pt idx="11789">
                  <c:v>4.20168067226889E-3</c:v>
                </c:pt>
                <c:pt idx="11790">
                  <c:v>4.20168067226889E-3</c:v>
                </c:pt>
                <c:pt idx="11791">
                  <c:v>4.20168067226889E-3</c:v>
                </c:pt>
                <c:pt idx="11792">
                  <c:v>4.20168067226889E-3</c:v>
                </c:pt>
                <c:pt idx="11793">
                  <c:v>4.20168067226889E-3</c:v>
                </c:pt>
                <c:pt idx="11794">
                  <c:v>4.20168067226889E-3</c:v>
                </c:pt>
                <c:pt idx="11795">
                  <c:v>4.20168067226889E-3</c:v>
                </c:pt>
                <c:pt idx="11796">
                  <c:v>4.20168067226889E-3</c:v>
                </c:pt>
                <c:pt idx="11797">
                  <c:v>4.20168067226889E-3</c:v>
                </c:pt>
                <c:pt idx="11798">
                  <c:v>4.20168067226889E-3</c:v>
                </c:pt>
                <c:pt idx="11799">
                  <c:v>4.20168067226889E-3</c:v>
                </c:pt>
                <c:pt idx="11800">
                  <c:v>4.20168067226889E-3</c:v>
                </c:pt>
                <c:pt idx="11801">
                  <c:v>4.20168067226889E-3</c:v>
                </c:pt>
                <c:pt idx="11802">
                  <c:v>4.20168067226889E-3</c:v>
                </c:pt>
                <c:pt idx="11803">
                  <c:v>4.20168067226889E-3</c:v>
                </c:pt>
                <c:pt idx="11804">
                  <c:v>4.20168067226889E-3</c:v>
                </c:pt>
                <c:pt idx="11805">
                  <c:v>4.20168067226889E-3</c:v>
                </c:pt>
                <c:pt idx="11806">
                  <c:v>4.20168067226889E-3</c:v>
                </c:pt>
                <c:pt idx="11807">
                  <c:v>4.20168067226889E-3</c:v>
                </c:pt>
                <c:pt idx="11808">
                  <c:v>4.20168067226889E-3</c:v>
                </c:pt>
                <c:pt idx="11809">
                  <c:v>4.20168067226889E-3</c:v>
                </c:pt>
                <c:pt idx="11810">
                  <c:v>4.20168067226889E-3</c:v>
                </c:pt>
                <c:pt idx="11811">
                  <c:v>4.20168067226889E-3</c:v>
                </c:pt>
                <c:pt idx="11812">
                  <c:v>4.20168067226889E-3</c:v>
                </c:pt>
                <c:pt idx="11813">
                  <c:v>4.20168067226889E-3</c:v>
                </c:pt>
                <c:pt idx="11814">
                  <c:v>4.20168067226889E-3</c:v>
                </c:pt>
                <c:pt idx="11815">
                  <c:v>4.20168067226889E-3</c:v>
                </c:pt>
                <c:pt idx="11816">
                  <c:v>4.20168067226889E-3</c:v>
                </c:pt>
                <c:pt idx="11817">
                  <c:v>4.20168067226889E-3</c:v>
                </c:pt>
                <c:pt idx="11818">
                  <c:v>4.20168067226889E-3</c:v>
                </c:pt>
                <c:pt idx="11819">
                  <c:v>4.20168067226889E-3</c:v>
                </c:pt>
                <c:pt idx="11820">
                  <c:v>4.20168067226889E-3</c:v>
                </c:pt>
                <c:pt idx="11821">
                  <c:v>4.20168067226889E-3</c:v>
                </c:pt>
                <c:pt idx="11822">
                  <c:v>4.20168067226889E-3</c:v>
                </c:pt>
                <c:pt idx="11823">
                  <c:v>4.20168067226889E-3</c:v>
                </c:pt>
                <c:pt idx="11824">
                  <c:v>4.20168067226889E-3</c:v>
                </c:pt>
                <c:pt idx="11825">
                  <c:v>4.20168067226889E-3</c:v>
                </c:pt>
                <c:pt idx="11826">
                  <c:v>4.20168067226889E-3</c:v>
                </c:pt>
                <c:pt idx="11827">
                  <c:v>4.20168067226889E-3</c:v>
                </c:pt>
                <c:pt idx="11828">
                  <c:v>4.20168067226889E-3</c:v>
                </c:pt>
                <c:pt idx="11829">
                  <c:v>4.20168067226889E-3</c:v>
                </c:pt>
                <c:pt idx="11830">
                  <c:v>4.20168067226889E-3</c:v>
                </c:pt>
                <c:pt idx="11831">
                  <c:v>4.20168067226889E-3</c:v>
                </c:pt>
                <c:pt idx="11832">
                  <c:v>4.20168067226889E-3</c:v>
                </c:pt>
                <c:pt idx="11833">
                  <c:v>4.20168067226889E-3</c:v>
                </c:pt>
                <c:pt idx="11834">
                  <c:v>4.20168067226889E-3</c:v>
                </c:pt>
                <c:pt idx="11835">
                  <c:v>4.20168067226889E-3</c:v>
                </c:pt>
                <c:pt idx="11836">
                  <c:v>4.20168067226889E-3</c:v>
                </c:pt>
                <c:pt idx="11837">
                  <c:v>4.20168067226889E-3</c:v>
                </c:pt>
                <c:pt idx="11838">
                  <c:v>4.20168067226889E-3</c:v>
                </c:pt>
                <c:pt idx="11839">
                  <c:v>4.20168067226889E-3</c:v>
                </c:pt>
                <c:pt idx="11840">
                  <c:v>4.20168067226889E-3</c:v>
                </c:pt>
                <c:pt idx="11841">
                  <c:v>4.20168067226889E-3</c:v>
                </c:pt>
                <c:pt idx="11842">
                  <c:v>4.20168067226889E-3</c:v>
                </c:pt>
                <c:pt idx="11843">
                  <c:v>4.20168067226889E-3</c:v>
                </c:pt>
                <c:pt idx="11844">
                  <c:v>4.20168067226889E-3</c:v>
                </c:pt>
                <c:pt idx="11845">
                  <c:v>4.20168067226889E-3</c:v>
                </c:pt>
                <c:pt idx="11846">
                  <c:v>4.20168067226889E-3</c:v>
                </c:pt>
                <c:pt idx="11847">
                  <c:v>4.20168067226889E-3</c:v>
                </c:pt>
                <c:pt idx="11848">
                  <c:v>4.20168067226889E-3</c:v>
                </c:pt>
                <c:pt idx="11849">
                  <c:v>4.20168067226889E-3</c:v>
                </c:pt>
                <c:pt idx="11850">
                  <c:v>4.20168067226889E-3</c:v>
                </c:pt>
                <c:pt idx="11851">
                  <c:v>4.20168067226889E-3</c:v>
                </c:pt>
                <c:pt idx="11852">
                  <c:v>4.20168067226889E-3</c:v>
                </c:pt>
                <c:pt idx="11853">
                  <c:v>4.20168067226889E-3</c:v>
                </c:pt>
                <c:pt idx="11854">
                  <c:v>4.20168067226889E-3</c:v>
                </c:pt>
                <c:pt idx="11855">
                  <c:v>4.20168067226889E-3</c:v>
                </c:pt>
                <c:pt idx="11856">
                  <c:v>4.20168067226889E-3</c:v>
                </c:pt>
                <c:pt idx="11857">
                  <c:v>4.20168067226889E-3</c:v>
                </c:pt>
                <c:pt idx="11858">
                  <c:v>4.20168067226889E-3</c:v>
                </c:pt>
                <c:pt idx="11859">
                  <c:v>4.20168067226889E-3</c:v>
                </c:pt>
                <c:pt idx="11860">
                  <c:v>3.3613445378151102E-3</c:v>
                </c:pt>
                <c:pt idx="11861">
                  <c:v>3.3613445378151102E-3</c:v>
                </c:pt>
                <c:pt idx="11862">
                  <c:v>3.3613445378151102E-3</c:v>
                </c:pt>
                <c:pt idx="11863">
                  <c:v>3.3613445378151102E-3</c:v>
                </c:pt>
                <c:pt idx="11864">
                  <c:v>3.3613445378151102E-3</c:v>
                </c:pt>
                <c:pt idx="11865">
                  <c:v>3.3613445378151102E-3</c:v>
                </c:pt>
                <c:pt idx="11866">
                  <c:v>3.3613445378151102E-3</c:v>
                </c:pt>
                <c:pt idx="11867">
                  <c:v>3.3613445378151102E-3</c:v>
                </c:pt>
                <c:pt idx="11868">
                  <c:v>3.3613445378151102E-3</c:v>
                </c:pt>
                <c:pt idx="11869">
                  <c:v>3.3613445378151102E-3</c:v>
                </c:pt>
                <c:pt idx="11870">
                  <c:v>3.3613445378151102E-3</c:v>
                </c:pt>
                <c:pt idx="11871">
                  <c:v>3.3613445378151102E-3</c:v>
                </c:pt>
                <c:pt idx="11872">
                  <c:v>3.3613445378151102E-3</c:v>
                </c:pt>
                <c:pt idx="11873">
                  <c:v>3.3613445378151102E-3</c:v>
                </c:pt>
                <c:pt idx="11874">
                  <c:v>3.3613445378151102E-3</c:v>
                </c:pt>
                <c:pt idx="11875">
                  <c:v>3.3613445378151102E-3</c:v>
                </c:pt>
                <c:pt idx="11876">
                  <c:v>3.3613445378151102E-3</c:v>
                </c:pt>
                <c:pt idx="11877">
                  <c:v>3.3613445378151102E-3</c:v>
                </c:pt>
                <c:pt idx="11878">
                  <c:v>3.3613445378151102E-3</c:v>
                </c:pt>
                <c:pt idx="11879">
                  <c:v>3.3613445378151102E-3</c:v>
                </c:pt>
                <c:pt idx="11880">
                  <c:v>3.3613445378151102E-3</c:v>
                </c:pt>
                <c:pt idx="11881">
                  <c:v>3.3613445378151102E-3</c:v>
                </c:pt>
                <c:pt idx="11882">
                  <c:v>3.3613445378151102E-3</c:v>
                </c:pt>
                <c:pt idx="11883">
                  <c:v>3.3613445378151102E-3</c:v>
                </c:pt>
                <c:pt idx="11884">
                  <c:v>3.3613445378151102E-3</c:v>
                </c:pt>
                <c:pt idx="11885">
                  <c:v>3.3613445378151102E-3</c:v>
                </c:pt>
                <c:pt idx="11886">
                  <c:v>3.3613445378151102E-3</c:v>
                </c:pt>
                <c:pt idx="11887">
                  <c:v>3.3613445378151102E-3</c:v>
                </c:pt>
                <c:pt idx="11888">
                  <c:v>3.3613445378151102E-3</c:v>
                </c:pt>
                <c:pt idx="11889">
                  <c:v>3.3613445378151102E-3</c:v>
                </c:pt>
                <c:pt idx="11890">
                  <c:v>3.3613445378151102E-3</c:v>
                </c:pt>
                <c:pt idx="11891">
                  <c:v>3.3613445378151102E-3</c:v>
                </c:pt>
                <c:pt idx="11892">
                  <c:v>3.3613445378151102E-3</c:v>
                </c:pt>
                <c:pt idx="11893">
                  <c:v>3.3613445378151102E-3</c:v>
                </c:pt>
                <c:pt idx="11894">
                  <c:v>3.3613445378151102E-3</c:v>
                </c:pt>
                <c:pt idx="11895">
                  <c:v>3.3613445378151102E-3</c:v>
                </c:pt>
                <c:pt idx="11896">
                  <c:v>3.3613445378151102E-3</c:v>
                </c:pt>
                <c:pt idx="11897">
                  <c:v>3.3613445378151102E-3</c:v>
                </c:pt>
                <c:pt idx="11898">
                  <c:v>3.3613445378151102E-3</c:v>
                </c:pt>
                <c:pt idx="11899">
                  <c:v>4.2016806722689403E-3</c:v>
                </c:pt>
                <c:pt idx="11900">
                  <c:v>4.2016806722689403E-3</c:v>
                </c:pt>
                <c:pt idx="11901">
                  <c:v>4.2016806722689403E-3</c:v>
                </c:pt>
                <c:pt idx="11902">
                  <c:v>4.2016806722689403E-3</c:v>
                </c:pt>
                <c:pt idx="11903">
                  <c:v>4.2016806722689403E-3</c:v>
                </c:pt>
                <c:pt idx="11904">
                  <c:v>4.2016806722689403E-3</c:v>
                </c:pt>
                <c:pt idx="11905">
                  <c:v>4.2016806722689403E-3</c:v>
                </c:pt>
                <c:pt idx="11906">
                  <c:v>4.2016806722689403E-3</c:v>
                </c:pt>
                <c:pt idx="11907">
                  <c:v>4.2016806722689403E-3</c:v>
                </c:pt>
                <c:pt idx="11908">
                  <c:v>5.0420168067227197E-3</c:v>
                </c:pt>
                <c:pt idx="11909">
                  <c:v>5.0420168067227197E-3</c:v>
                </c:pt>
                <c:pt idx="11910">
                  <c:v>5.0420168067227197E-3</c:v>
                </c:pt>
                <c:pt idx="11911">
                  <c:v>5.0420168067227197E-3</c:v>
                </c:pt>
                <c:pt idx="11912">
                  <c:v>5.0420168067227197E-3</c:v>
                </c:pt>
                <c:pt idx="11913">
                  <c:v>5.0420168067227197E-3</c:v>
                </c:pt>
                <c:pt idx="11914">
                  <c:v>5.0420168067227197E-3</c:v>
                </c:pt>
                <c:pt idx="11915">
                  <c:v>5.0420168067227197E-3</c:v>
                </c:pt>
                <c:pt idx="11916">
                  <c:v>5.0420168067227197E-3</c:v>
                </c:pt>
                <c:pt idx="11917">
                  <c:v>5.0420168067227197E-3</c:v>
                </c:pt>
                <c:pt idx="11918">
                  <c:v>5.0420168067227197E-3</c:v>
                </c:pt>
                <c:pt idx="11919">
                  <c:v>5.0420168067227197E-3</c:v>
                </c:pt>
                <c:pt idx="11920">
                  <c:v>4.2016806722689403E-3</c:v>
                </c:pt>
                <c:pt idx="11921">
                  <c:v>4.2016806722689403E-3</c:v>
                </c:pt>
                <c:pt idx="11922">
                  <c:v>4.2016806722689403E-3</c:v>
                </c:pt>
                <c:pt idx="11923">
                  <c:v>4.2016806722689403E-3</c:v>
                </c:pt>
                <c:pt idx="11924">
                  <c:v>4.2016806722689403E-3</c:v>
                </c:pt>
                <c:pt idx="11925">
                  <c:v>4.2016806722689403E-3</c:v>
                </c:pt>
                <c:pt idx="11926">
                  <c:v>4.2016806722689403E-3</c:v>
                </c:pt>
                <c:pt idx="11927">
                  <c:v>4.2016806722689403E-3</c:v>
                </c:pt>
                <c:pt idx="11928">
                  <c:v>3.3613445378151601E-3</c:v>
                </c:pt>
                <c:pt idx="11929">
                  <c:v>3.3613445378151601E-3</c:v>
                </c:pt>
                <c:pt idx="11930">
                  <c:v>3.3613445378151601E-3</c:v>
                </c:pt>
                <c:pt idx="11931">
                  <c:v>3.3613445378151601E-3</c:v>
                </c:pt>
                <c:pt idx="11932">
                  <c:v>3.3613445378151601E-3</c:v>
                </c:pt>
                <c:pt idx="11933">
                  <c:v>3.3613445378151601E-3</c:v>
                </c:pt>
                <c:pt idx="11934">
                  <c:v>3.3613445378151601E-3</c:v>
                </c:pt>
                <c:pt idx="11935">
                  <c:v>3.3613445378151601E-3</c:v>
                </c:pt>
                <c:pt idx="11936">
                  <c:v>3.3613445378151601E-3</c:v>
                </c:pt>
                <c:pt idx="11937">
                  <c:v>3.3613445378151601E-3</c:v>
                </c:pt>
                <c:pt idx="11938">
                  <c:v>3.3613445378151601E-3</c:v>
                </c:pt>
                <c:pt idx="11939">
                  <c:v>3.3613445378151601E-3</c:v>
                </c:pt>
                <c:pt idx="11940">
                  <c:v>3.3613445378151601E-3</c:v>
                </c:pt>
                <c:pt idx="11941">
                  <c:v>3.3613445378151601E-3</c:v>
                </c:pt>
                <c:pt idx="11942">
                  <c:v>3.3613445378151601E-3</c:v>
                </c:pt>
                <c:pt idx="11943">
                  <c:v>3.3613445378151601E-3</c:v>
                </c:pt>
                <c:pt idx="11944">
                  <c:v>3.3613445378151601E-3</c:v>
                </c:pt>
                <c:pt idx="11945">
                  <c:v>3.3613445378151601E-3</c:v>
                </c:pt>
                <c:pt idx="11946">
                  <c:v>3.3613445378151601E-3</c:v>
                </c:pt>
                <c:pt idx="11947">
                  <c:v>3.3613445378151601E-3</c:v>
                </c:pt>
                <c:pt idx="11948">
                  <c:v>3.3613445378151601E-3</c:v>
                </c:pt>
                <c:pt idx="11949">
                  <c:v>3.3613445378151601E-3</c:v>
                </c:pt>
                <c:pt idx="11950">
                  <c:v>3.3613445378151601E-3</c:v>
                </c:pt>
                <c:pt idx="11951">
                  <c:v>3.3613445378151601E-3</c:v>
                </c:pt>
                <c:pt idx="11952">
                  <c:v>3.3613445378151601E-3</c:v>
                </c:pt>
                <c:pt idx="11953">
                  <c:v>3.3613445378151601E-3</c:v>
                </c:pt>
                <c:pt idx="11954">
                  <c:v>3.3613445378151601E-3</c:v>
                </c:pt>
                <c:pt idx="11955">
                  <c:v>3.3613445378151601E-3</c:v>
                </c:pt>
                <c:pt idx="11956">
                  <c:v>3.3613445378151601E-3</c:v>
                </c:pt>
                <c:pt idx="11957">
                  <c:v>2.5210084033613898E-3</c:v>
                </c:pt>
                <c:pt idx="11958">
                  <c:v>2.5210084033613898E-3</c:v>
                </c:pt>
                <c:pt idx="11959">
                  <c:v>2.5210084033613898E-3</c:v>
                </c:pt>
                <c:pt idx="11960">
                  <c:v>2.5210084033613898E-3</c:v>
                </c:pt>
                <c:pt idx="11961">
                  <c:v>2.5210084033613898E-3</c:v>
                </c:pt>
                <c:pt idx="11962">
                  <c:v>2.5210084033613898E-3</c:v>
                </c:pt>
                <c:pt idx="11963">
                  <c:v>2.5210084033613898E-3</c:v>
                </c:pt>
                <c:pt idx="11964">
                  <c:v>2.5210084033613898E-3</c:v>
                </c:pt>
                <c:pt idx="11965">
                  <c:v>2.5210084033613898E-3</c:v>
                </c:pt>
                <c:pt idx="11966">
                  <c:v>2.5210084033613898E-3</c:v>
                </c:pt>
                <c:pt idx="11967">
                  <c:v>2.5210084033613898E-3</c:v>
                </c:pt>
                <c:pt idx="11968">
                  <c:v>2.5210084033613898E-3</c:v>
                </c:pt>
                <c:pt idx="11969">
                  <c:v>2.5210084033613898E-3</c:v>
                </c:pt>
                <c:pt idx="11970">
                  <c:v>1.68067226890761E-3</c:v>
                </c:pt>
                <c:pt idx="11971">
                  <c:v>1.68067226890761E-3</c:v>
                </c:pt>
                <c:pt idx="11972">
                  <c:v>1.68067226890761E-3</c:v>
                </c:pt>
                <c:pt idx="11973">
                  <c:v>1.68067226890761E-3</c:v>
                </c:pt>
                <c:pt idx="11974">
                  <c:v>1.68067226890761E-3</c:v>
                </c:pt>
                <c:pt idx="11975">
                  <c:v>1.68067226890761E-3</c:v>
                </c:pt>
                <c:pt idx="11976">
                  <c:v>1.68067226890761E-3</c:v>
                </c:pt>
                <c:pt idx="11977">
                  <c:v>1.68067226890761E-3</c:v>
                </c:pt>
                <c:pt idx="11978">
                  <c:v>1.68067226890761E-3</c:v>
                </c:pt>
                <c:pt idx="11979">
                  <c:v>1.68067226890761E-3</c:v>
                </c:pt>
                <c:pt idx="11980">
                  <c:v>1.68067226890761E-3</c:v>
                </c:pt>
                <c:pt idx="11981">
                  <c:v>1.68067226890761E-3</c:v>
                </c:pt>
                <c:pt idx="11982">
                  <c:v>1.68067226890761E-3</c:v>
                </c:pt>
                <c:pt idx="11983">
                  <c:v>1.68067226890761E-3</c:v>
                </c:pt>
                <c:pt idx="11984">
                  <c:v>1.68067226890761E-3</c:v>
                </c:pt>
                <c:pt idx="11985">
                  <c:v>1.68067226890761E-3</c:v>
                </c:pt>
                <c:pt idx="11986">
                  <c:v>1.68067226890761E-3</c:v>
                </c:pt>
                <c:pt idx="11987">
                  <c:v>1.68067226890761E-3</c:v>
                </c:pt>
                <c:pt idx="11988">
                  <c:v>1.68067226890761E-3</c:v>
                </c:pt>
                <c:pt idx="11989">
                  <c:v>1.68067226890761E-3</c:v>
                </c:pt>
                <c:pt idx="11990">
                  <c:v>1.68067226890761E-3</c:v>
                </c:pt>
                <c:pt idx="11991">
                  <c:v>1.68067226890761E-3</c:v>
                </c:pt>
                <c:pt idx="11992">
                  <c:v>1.68067226890761E-3</c:v>
                </c:pt>
                <c:pt idx="11993">
                  <c:v>8.4033613445377799E-4</c:v>
                </c:pt>
                <c:pt idx="11994">
                  <c:v>8.4033613445377799E-4</c:v>
                </c:pt>
                <c:pt idx="11995">
                  <c:v>8.4033613445377799E-4</c:v>
                </c:pt>
                <c:pt idx="11996">
                  <c:v>8.4033613445377799E-4</c:v>
                </c:pt>
                <c:pt idx="11997">
                  <c:v>8.4033613445377799E-4</c:v>
                </c:pt>
                <c:pt idx="11998">
                  <c:v>8.4033613445377799E-4</c:v>
                </c:pt>
                <c:pt idx="11999">
                  <c:v>8.4033613445377799E-4</c:v>
                </c:pt>
                <c:pt idx="12000">
                  <c:v>8.4033613445377799E-4</c:v>
                </c:pt>
                <c:pt idx="12001">
                  <c:v>8.4033613445377799E-4</c:v>
                </c:pt>
                <c:pt idx="12002">
                  <c:v>8.4033613445377799E-4</c:v>
                </c:pt>
                <c:pt idx="12003">
                  <c:v>8.4033613445377799E-4</c:v>
                </c:pt>
                <c:pt idx="12004">
                  <c:v>1.6806722689075499E-3</c:v>
                </c:pt>
                <c:pt idx="12005">
                  <c:v>1.6806722689075499E-3</c:v>
                </c:pt>
                <c:pt idx="12006">
                  <c:v>1.6806722689075499E-3</c:v>
                </c:pt>
                <c:pt idx="12007">
                  <c:v>1.6806722689075499E-3</c:v>
                </c:pt>
                <c:pt idx="12008">
                  <c:v>1.6806722689075499E-3</c:v>
                </c:pt>
                <c:pt idx="12009">
                  <c:v>1.6806722689075499E-3</c:v>
                </c:pt>
                <c:pt idx="12010">
                  <c:v>2.5210084033613299E-3</c:v>
                </c:pt>
                <c:pt idx="12011">
                  <c:v>2.5210084033613299E-3</c:v>
                </c:pt>
                <c:pt idx="12012">
                  <c:v>2.5210084033613299E-3</c:v>
                </c:pt>
                <c:pt idx="12013">
                  <c:v>2.5210084033613299E-3</c:v>
                </c:pt>
                <c:pt idx="12014">
                  <c:v>2.5210084033613299E-3</c:v>
                </c:pt>
                <c:pt idx="12015">
                  <c:v>2.5210084033613299E-3</c:v>
                </c:pt>
                <c:pt idx="12016">
                  <c:v>2.5210084033613299E-3</c:v>
                </c:pt>
                <c:pt idx="12017">
                  <c:v>2.5210084033613299E-3</c:v>
                </c:pt>
                <c:pt idx="12018">
                  <c:v>2.5210084033613299E-3</c:v>
                </c:pt>
                <c:pt idx="12019">
                  <c:v>2.5210084033613299E-3</c:v>
                </c:pt>
                <c:pt idx="12020">
                  <c:v>2.5210084033613299E-3</c:v>
                </c:pt>
                <c:pt idx="12021">
                  <c:v>2.5210084033613299E-3</c:v>
                </c:pt>
                <c:pt idx="12022">
                  <c:v>2.5210084033613299E-3</c:v>
                </c:pt>
                <c:pt idx="12023">
                  <c:v>2.5210084033613299E-3</c:v>
                </c:pt>
                <c:pt idx="12024">
                  <c:v>2.5210084033613299E-3</c:v>
                </c:pt>
                <c:pt idx="12025">
                  <c:v>2.5210084033613299E-3</c:v>
                </c:pt>
                <c:pt idx="12026">
                  <c:v>2.5210084033613299E-3</c:v>
                </c:pt>
                <c:pt idx="12027">
                  <c:v>2.5210084033613299E-3</c:v>
                </c:pt>
                <c:pt idx="12028">
                  <c:v>2.5210084033613299E-3</c:v>
                </c:pt>
                <c:pt idx="12029">
                  <c:v>2.5210084033613299E-3</c:v>
                </c:pt>
                <c:pt idx="12030">
                  <c:v>2.5210084033613299E-3</c:v>
                </c:pt>
                <c:pt idx="12031">
                  <c:v>2.5210084033613299E-3</c:v>
                </c:pt>
                <c:pt idx="12032">
                  <c:v>2.5210084033613299E-3</c:v>
                </c:pt>
                <c:pt idx="12033">
                  <c:v>2.5210084033613299E-3</c:v>
                </c:pt>
                <c:pt idx="12034">
                  <c:v>2.5210084033613299E-3</c:v>
                </c:pt>
                <c:pt idx="12035">
                  <c:v>2.5210084033613299E-3</c:v>
                </c:pt>
                <c:pt idx="12036">
                  <c:v>2.5210084033613299E-3</c:v>
                </c:pt>
                <c:pt idx="12037">
                  <c:v>2.5210084033613299E-3</c:v>
                </c:pt>
                <c:pt idx="12038">
                  <c:v>2.5210084033613299E-3</c:v>
                </c:pt>
                <c:pt idx="12039">
                  <c:v>2.5210084033613299E-3</c:v>
                </c:pt>
                <c:pt idx="12040">
                  <c:v>2.5210084033613299E-3</c:v>
                </c:pt>
                <c:pt idx="12041">
                  <c:v>2.5210084033613299E-3</c:v>
                </c:pt>
                <c:pt idx="12042">
                  <c:v>2.5210084033613299E-3</c:v>
                </c:pt>
                <c:pt idx="12043">
                  <c:v>2.5210084033613299E-3</c:v>
                </c:pt>
                <c:pt idx="12044">
                  <c:v>2.5210084033613299E-3</c:v>
                </c:pt>
                <c:pt idx="12045">
                  <c:v>2.5210084033613299E-3</c:v>
                </c:pt>
                <c:pt idx="12046">
                  <c:v>2.5210084033613299E-3</c:v>
                </c:pt>
                <c:pt idx="12047">
                  <c:v>2.5210084033613299E-3</c:v>
                </c:pt>
                <c:pt idx="12048">
                  <c:v>2.5210084033613299E-3</c:v>
                </c:pt>
                <c:pt idx="12049">
                  <c:v>2.5210084033613299E-3</c:v>
                </c:pt>
                <c:pt idx="12050">
                  <c:v>2.5210084033613299E-3</c:v>
                </c:pt>
                <c:pt idx="12051">
                  <c:v>2.5210084033613299E-3</c:v>
                </c:pt>
                <c:pt idx="12052">
                  <c:v>2.5210084033613299E-3</c:v>
                </c:pt>
                <c:pt idx="12053">
                  <c:v>2.5210084033613299E-3</c:v>
                </c:pt>
                <c:pt idx="12054">
                  <c:v>2.5210084033613299E-3</c:v>
                </c:pt>
                <c:pt idx="12055">
                  <c:v>2.5210084033613299E-3</c:v>
                </c:pt>
                <c:pt idx="12056">
                  <c:v>2.5210084033613299E-3</c:v>
                </c:pt>
                <c:pt idx="12057">
                  <c:v>2.5210084033613299E-3</c:v>
                </c:pt>
                <c:pt idx="12058">
                  <c:v>2.5210084033613299E-3</c:v>
                </c:pt>
                <c:pt idx="12059">
                  <c:v>2.5210084033613299E-3</c:v>
                </c:pt>
                <c:pt idx="12060">
                  <c:v>2.5210084033613299E-3</c:v>
                </c:pt>
                <c:pt idx="12061">
                  <c:v>2.5210084033613299E-3</c:v>
                </c:pt>
                <c:pt idx="12062">
                  <c:v>2.5210084033613299E-3</c:v>
                </c:pt>
                <c:pt idx="12063">
                  <c:v>2.5210084033613299E-3</c:v>
                </c:pt>
                <c:pt idx="12064">
                  <c:v>2.5210084033613299E-3</c:v>
                </c:pt>
                <c:pt idx="12065">
                  <c:v>2.5210084033613299E-3</c:v>
                </c:pt>
                <c:pt idx="12066">
                  <c:v>2.5210084033613299E-3</c:v>
                </c:pt>
                <c:pt idx="12067">
                  <c:v>2.5210084033613299E-3</c:v>
                </c:pt>
                <c:pt idx="12068">
                  <c:v>2.5210084033613299E-3</c:v>
                </c:pt>
                <c:pt idx="12069">
                  <c:v>2.5210084033613299E-3</c:v>
                </c:pt>
                <c:pt idx="12070">
                  <c:v>2.5210084033613299E-3</c:v>
                </c:pt>
                <c:pt idx="12071">
                  <c:v>2.5210084033613299E-3</c:v>
                </c:pt>
                <c:pt idx="12072">
                  <c:v>2.5210084033613299E-3</c:v>
                </c:pt>
                <c:pt idx="12073">
                  <c:v>2.5210084033613299E-3</c:v>
                </c:pt>
                <c:pt idx="12074">
                  <c:v>2.5210084033613299E-3</c:v>
                </c:pt>
                <c:pt idx="12075">
                  <c:v>1.6806722689075499E-3</c:v>
                </c:pt>
                <c:pt idx="12076">
                  <c:v>8.4033613445377799E-4</c:v>
                </c:pt>
                <c:pt idx="12077">
                  <c:v>8.4033613445377799E-4</c:v>
                </c:pt>
                <c:pt idx="12078">
                  <c:v>8.4033613445377799E-4</c:v>
                </c:pt>
                <c:pt idx="12079">
                  <c:v>8.4033613445377799E-4</c:v>
                </c:pt>
                <c:pt idx="12080">
                  <c:v>8.4033613445377799E-4</c:v>
                </c:pt>
                <c:pt idx="12081">
                  <c:v>1.6806722689075499E-3</c:v>
                </c:pt>
                <c:pt idx="12082">
                  <c:v>1.6806722689075499E-3</c:v>
                </c:pt>
                <c:pt idx="12083">
                  <c:v>1.6806722689075499E-3</c:v>
                </c:pt>
                <c:pt idx="12084">
                  <c:v>1.6806722689075499E-3</c:v>
                </c:pt>
                <c:pt idx="12085">
                  <c:v>1.6806722689075499E-3</c:v>
                </c:pt>
                <c:pt idx="12086">
                  <c:v>1.6806722689075499E-3</c:v>
                </c:pt>
                <c:pt idx="12087">
                  <c:v>1.6806722689075499E-3</c:v>
                </c:pt>
                <c:pt idx="12088">
                  <c:v>1.6806722689075499E-3</c:v>
                </c:pt>
                <c:pt idx="12089">
                  <c:v>1.6806722689075499E-3</c:v>
                </c:pt>
                <c:pt idx="12090">
                  <c:v>1.6806722689075499E-3</c:v>
                </c:pt>
                <c:pt idx="12091">
                  <c:v>1.6806722689075499E-3</c:v>
                </c:pt>
                <c:pt idx="12092">
                  <c:v>1.6806722689075499E-3</c:v>
                </c:pt>
                <c:pt idx="12093">
                  <c:v>1.6806722689075499E-3</c:v>
                </c:pt>
                <c:pt idx="12094">
                  <c:v>1.6806722689075499E-3</c:v>
                </c:pt>
                <c:pt idx="12095">
                  <c:v>1.6806722689075499E-3</c:v>
                </c:pt>
                <c:pt idx="12096">
                  <c:v>1.6806722689075499E-3</c:v>
                </c:pt>
                <c:pt idx="12097">
                  <c:v>1.6806722689075499E-3</c:v>
                </c:pt>
                <c:pt idx="12098">
                  <c:v>1.6806722689075499E-3</c:v>
                </c:pt>
                <c:pt idx="12099">
                  <c:v>1.6806722689075499E-3</c:v>
                </c:pt>
                <c:pt idx="12100">
                  <c:v>1.6806722689075499E-3</c:v>
                </c:pt>
                <c:pt idx="12101">
                  <c:v>1.6806722689075499E-3</c:v>
                </c:pt>
                <c:pt idx="12102">
                  <c:v>1.6806722689075499E-3</c:v>
                </c:pt>
                <c:pt idx="12103">
                  <c:v>1.6806722689075499E-3</c:v>
                </c:pt>
                <c:pt idx="12104">
                  <c:v>1.6806722689075499E-3</c:v>
                </c:pt>
                <c:pt idx="12105">
                  <c:v>1.6806722689075499E-3</c:v>
                </c:pt>
                <c:pt idx="12106">
                  <c:v>1.6806722689075499E-3</c:v>
                </c:pt>
                <c:pt idx="12107">
                  <c:v>1.6806722689075499E-3</c:v>
                </c:pt>
                <c:pt idx="12108">
                  <c:v>1.6806722689075499E-3</c:v>
                </c:pt>
                <c:pt idx="12109">
                  <c:v>1.6806722689075499E-3</c:v>
                </c:pt>
                <c:pt idx="12110">
                  <c:v>1.6806722689075499E-3</c:v>
                </c:pt>
                <c:pt idx="12111">
                  <c:v>1.6806722689075499E-3</c:v>
                </c:pt>
                <c:pt idx="12112">
                  <c:v>1.6806722689075499E-3</c:v>
                </c:pt>
                <c:pt idx="12113">
                  <c:v>1.6806722689075499E-3</c:v>
                </c:pt>
                <c:pt idx="12114">
                  <c:v>1.6806722689075499E-3</c:v>
                </c:pt>
                <c:pt idx="12115">
                  <c:v>1.6806722689075499E-3</c:v>
                </c:pt>
                <c:pt idx="12116">
                  <c:v>1.6806722689075499E-3</c:v>
                </c:pt>
                <c:pt idx="12117">
                  <c:v>1.6806722689075499E-3</c:v>
                </c:pt>
                <c:pt idx="12118">
                  <c:v>2.5210084033613299E-3</c:v>
                </c:pt>
                <c:pt idx="12119">
                  <c:v>2.5210084033613299E-3</c:v>
                </c:pt>
                <c:pt idx="12120">
                  <c:v>2.5210084033613299E-3</c:v>
                </c:pt>
                <c:pt idx="12121">
                  <c:v>2.5210084033613299E-3</c:v>
                </c:pt>
                <c:pt idx="12122">
                  <c:v>2.5210084033613299E-3</c:v>
                </c:pt>
                <c:pt idx="12123">
                  <c:v>2.5210084033613299E-3</c:v>
                </c:pt>
                <c:pt idx="12124">
                  <c:v>2.5210084033613299E-3</c:v>
                </c:pt>
                <c:pt idx="12125">
                  <c:v>2.5210084033613299E-3</c:v>
                </c:pt>
                <c:pt idx="12126">
                  <c:v>2.5210084033613299E-3</c:v>
                </c:pt>
                <c:pt idx="12127">
                  <c:v>2.5210084033613299E-3</c:v>
                </c:pt>
                <c:pt idx="12128">
                  <c:v>2.5210084033613299E-3</c:v>
                </c:pt>
                <c:pt idx="12129">
                  <c:v>2.5210084033613299E-3</c:v>
                </c:pt>
                <c:pt idx="12130">
                  <c:v>2.5210084033613299E-3</c:v>
                </c:pt>
                <c:pt idx="12131">
                  <c:v>2.5210084033613299E-3</c:v>
                </c:pt>
                <c:pt idx="12132">
                  <c:v>2.5210084033613299E-3</c:v>
                </c:pt>
                <c:pt idx="12133">
                  <c:v>1.6806722689075499E-3</c:v>
                </c:pt>
                <c:pt idx="12134">
                  <c:v>1.6806722689075499E-3</c:v>
                </c:pt>
                <c:pt idx="12135">
                  <c:v>1.6806722689075499E-3</c:v>
                </c:pt>
                <c:pt idx="12136">
                  <c:v>1.6806722689075499E-3</c:v>
                </c:pt>
                <c:pt idx="12137">
                  <c:v>1.6806722689075499E-3</c:v>
                </c:pt>
                <c:pt idx="12138">
                  <c:v>1.6806722689075499E-3</c:v>
                </c:pt>
                <c:pt idx="12139">
                  <c:v>1.6806722689075499E-3</c:v>
                </c:pt>
                <c:pt idx="12140">
                  <c:v>1.6806722689075499E-3</c:v>
                </c:pt>
                <c:pt idx="12141">
                  <c:v>1.6806722689075499E-3</c:v>
                </c:pt>
                <c:pt idx="12142">
                  <c:v>1.6806722689075499E-3</c:v>
                </c:pt>
                <c:pt idx="12143">
                  <c:v>1.6806722689075499E-3</c:v>
                </c:pt>
                <c:pt idx="12144">
                  <c:v>1.6806722689075499E-3</c:v>
                </c:pt>
                <c:pt idx="12145">
                  <c:v>1.6806722689075499E-3</c:v>
                </c:pt>
                <c:pt idx="12146">
                  <c:v>1.6806722689075499E-3</c:v>
                </c:pt>
                <c:pt idx="12147">
                  <c:v>1.6806722689075499E-3</c:v>
                </c:pt>
                <c:pt idx="12148">
                  <c:v>1.6806722689075499E-3</c:v>
                </c:pt>
                <c:pt idx="12149">
                  <c:v>1.6806722689075499E-3</c:v>
                </c:pt>
                <c:pt idx="12150">
                  <c:v>1.6806722689075499E-3</c:v>
                </c:pt>
                <c:pt idx="12151">
                  <c:v>1.6806722689075499E-3</c:v>
                </c:pt>
                <c:pt idx="12152">
                  <c:v>8.4033613445377799E-4</c:v>
                </c:pt>
                <c:pt idx="12153">
                  <c:v>8.4033613445377799E-4</c:v>
                </c:pt>
                <c:pt idx="12154">
                  <c:v>8.4033613445377799E-4</c:v>
                </c:pt>
                <c:pt idx="12155">
                  <c:v>0</c:v>
                </c:pt>
                <c:pt idx="12156">
                  <c:v>0</c:v>
                </c:pt>
                <c:pt idx="12157">
                  <c:v>0</c:v>
                </c:pt>
                <c:pt idx="12158">
                  <c:v>0</c:v>
                </c:pt>
                <c:pt idx="12159">
                  <c:v>0</c:v>
                </c:pt>
                <c:pt idx="12160">
                  <c:v>0</c:v>
                </c:pt>
                <c:pt idx="12161">
                  <c:v>0</c:v>
                </c:pt>
                <c:pt idx="12162">
                  <c:v>8.4033613445377799E-4</c:v>
                </c:pt>
                <c:pt idx="12163">
                  <c:v>8.4033613445377799E-4</c:v>
                </c:pt>
                <c:pt idx="12164">
                  <c:v>8.4033613445377799E-4</c:v>
                </c:pt>
                <c:pt idx="12165">
                  <c:v>8.4033613445377799E-4</c:v>
                </c:pt>
                <c:pt idx="12166">
                  <c:v>1.6806722689075499E-3</c:v>
                </c:pt>
                <c:pt idx="12167">
                  <c:v>1.6806722689075499E-3</c:v>
                </c:pt>
                <c:pt idx="12168">
                  <c:v>1.6806722689075499E-3</c:v>
                </c:pt>
                <c:pt idx="12169">
                  <c:v>1.6806722689075499E-3</c:v>
                </c:pt>
                <c:pt idx="12170">
                  <c:v>1.6806722689075499E-3</c:v>
                </c:pt>
                <c:pt idx="12171">
                  <c:v>1.6806722689075499E-3</c:v>
                </c:pt>
                <c:pt idx="12172">
                  <c:v>1.6806722689075499E-3</c:v>
                </c:pt>
                <c:pt idx="12173">
                  <c:v>1.6806722689075499E-3</c:v>
                </c:pt>
                <c:pt idx="12174">
                  <c:v>1.6806722689075499E-3</c:v>
                </c:pt>
                <c:pt idx="12175">
                  <c:v>1.6806722689075499E-3</c:v>
                </c:pt>
                <c:pt idx="12176">
                  <c:v>1.6806722689075499E-3</c:v>
                </c:pt>
                <c:pt idx="12177">
                  <c:v>1.6806722689075499E-3</c:v>
                </c:pt>
                <c:pt idx="12178">
                  <c:v>1.6806722689075499E-3</c:v>
                </c:pt>
                <c:pt idx="12179">
                  <c:v>1.6806722689075499E-3</c:v>
                </c:pt>
                <c:pt idx="12180">
                  <c:v>1.6806722689075499E-3</c:v>
                </c:pt>
                <c:pt idx="12181">
                  <c:v>1.6806722689075499E-3</c:v>
                </c:pt>
                <c:pt idx="12182">
                  <c:v>1.6806722689075499E-3</c:v>
                </c:pt>
                <c:pt idx="12183">
                  <c:v>1.6806722689075499E-3</c:v>
                </c:pt>
                <c:pt idx="12184">
                  <c:v>1.6806722689075499E-3</c:v>
                </c:pt>
                <c:pt idx="12185">
                  <c:v>1.6806722689075499E-3</c:v>
                </c:pt>
                <c:pt idx="12186">
                  <c:v>1.6806722689075499E-3</c:v>
                </c:pt>
                <c:pt idx="12187">
                  <c:v>1.6806722689075499E-3</c:v>
                </c:pt>
                <c:pt idx="12188">
                  <c:v>1.6806722689075499E-3</c:v>
                </c:pt>
                <c:pt idx="12189">
                  <c:v>1.6806722689075499E-3</c:v>
                </c:pt>
                <c:pt idx="12190">
                  <c:v>1.6806722689075499E-3</c:v>
                </c:pt>
                <c:pt idx="12191">
                  <c:v>1.6806722689075499E-3</c:v>
                </c:pt>
                <c:pt idx="12192">
                  <c:v>1.6806722689075499E-3</c:v>
                </c:pt>
                <c:pt idx="12193">
                  <c:v>1.6806722689075499E-3</c:v>
                </c:pt>
                <c:pt idx="12194">
                  <c:v>1.6806722689075499E-3</c:v>
                </c:pt>
                <c:pt idx="12195">
                  <c:v>1.6806722689075499E-3</c:v>
                </c:pt>
                <c:pt idx="12196">
                  <c:v>1.6806722689075499E-3</c:v>
                </c:pt>
                <c:pt idx="12197">
                  <c:v>1.6806722689075499E-3</c:v>
                </c:pt>
                <c:pt idx="12198">
                  <c:v>1.6806722689075499E-3</c:v>
                </c:pt>
                <c:pt idx="12199">
                  <c:v>1.6806722689075499E-3</c:v>
                </c:pt>
                <c:pt idx="12200">
                  <c:v>1.6806722689075499E-3</c:v>
                </c:pt>
                <c:pt idx="12201">
                  <c:v>1.6806722689075499E-3</c:v>
                </c:pt>
                <c:pt idx="12202">
                  <c:v>1.6806722689075499E-3</c:v>
                </c:pt>
                <c:pt idx="12203">
                  <c:v>1.6806722689075499E-3</c:v>
                </c:pt>
                <c:pt idx="12204">
                  <c:v>1.6806722689075499E-3</c:v>
                </c:pt>
                <c:pt idx="12205">
                  <c:v>1.6806722689075499E-3</c:v>
                </c:pt>
                <c:pt idx="12206">
                  <c:v>1.6806722689075499E-3</c:v>
                </c:pt>
                <c:pt idx="12207">
                  <c:v>1.6806722689075499E-3</c:v>
                </c:pt>
                <c:pt idx="12208">
                  <c:v>1.6806722689075499E-3</c:v>
                </c:pt>
                <c:pt idx="12209">
                  <c:v>1.6806722689075499E-3</c:v>
                </c:pt>
                <c:pt idx="12210">
                  <c:v>1.6806722689075499E-3</c:v>
                </c:pt>
                <c:pt idx="12211">
                  <c:v>1.6806722689075499E-3</c:v>
                </c:pt>
                <c:pt idx="12212">
                  <c:v>1.6806722689075499E-3</c:v>
                </c:pt>
                <c:pt idx="12213">
                  <c:v>1.6806722689075499E-3</c:v>
                </c:pt>
                <c:pt idx="12214">
                  <c:v>1.6806722689075499E-3</c:v>
                </c:pt>
                <c:pt idx="12215">
                  <c:v>1.6806722689075499E-3</c:v>
                </c:pt>
                <c:pt idx="12216">
                  <c:v>1.6806722689075499E-3</c:v>
                </c:pt>
                <c:pt idx="12217">
                  <c:v>1.6806722689075499E-3</c:v>
                </c:pt>
                <c:pt idx="12218">
                  <c:v>1.6806722689075499E-3</c:v>
                </c:pt>
                <c:pt idx="12219">
                  <c:v>1.6806722689075499E-3</c:v>
                </c:pt>
                <c:pt idx="12220">
                  <c:v>1.6806722689075499E-3</c:v>
                </c:pt>
                <c:pt idx="12221">
                  <c:v>1.6806722689075499E-3</c:v>
                </c:pt>
                <c:pt idx="12222">
                  <c:v>1.6806722689075499E-3</c:v>
                </c:pt>
                <c:pt idx="12223">
                  <c:v>1.6806722689075499E-3</c:v>
                </c:pt>
                <c:pt idx="12224">
                  <c:v>1.6806722689075499E-3</c:v>
                </c:pt>
                <c:pt idx="12225">
                  <c:v>8.4033613445377799E-4</c:v>
                </c:pt>
                <c:pt idx="12226">
                  <c:v>8.4033613445377799E-4</c:v>
                </c:pt>
                <c:pt idx="12227">
                  <c:v>8.4033613445377799E-4</c:v>
                </c:pt>
                <c:pt idx="12228">
                  <c:v>8.4033613445377799E-4</c:v>
                </c:pt>
                <c:pt idx="12229">
                  <c:v>8.4033613445377799E-4</c:v>
                </c:pt>
                <c:pt idx="12230">
                  <c:v>8.4033613445377799E-4</c:v>
                </c:pt>
                <c:pt idx="12231">
                  <c:v>8.4033613445377799E-4</c:v>
                </c:pt>
                <c:pt idx="12232">
                  <c:v>8.4033613445377799E-4</c:v>
                </c:pt>
                <c:pt idx="12233">
                  <c:v>8.4033613445377799E-4</c:v>
                </c:pt>
                <c:pt idx="12234">
                  <c:v>8.4033613445377799E-4</c:v>
                </c:pt>
                <c:pt idx="12235">
                  <c:v>8.4033613445377799E-4</c:v>
                </c:pt>
                <c:pt idx="12236">
                  <c:v>8.4033613445377799E-4</c:v>
                </c:pt>
                <c:pt idx="12237">
                  <c:v>8.4033613445377799E-4</c:v>
                </c:pt>
                <c:pt idx="12238">
                  <c:v>8.4033613445377799E-4</c:v>
                </c:pt>
                <c:pt idx="12239">
                  <c:v>8.4033613445377799E-4</c:v>
                </c:pt>
                <c:pt idx="12240">
                  <c:v>8.4033613445377799E-4</c:v>
                </c:pt>
                <c:pt idx="12241">
                  <c:v>8.4033613445377799E-4</c:v>
                </c:pt>
                <c:pt idx="12242">
                  <c:v>8.4033613445377799E-4</c:v>
                </c:pt>
                <c:pt idx="12243">
                  <c:v>8.4033613445377799E-4</c:v>
                </c:pt>
                <c:pt idx="12244">
                  <c:v>8.4033613445377799E-4</c:v>
                </c:pt>
                <c:pt idx="12245">
                  <c:v>8.4033613445377799E-4</c:v>
                </c:pt>
                <c:pt idx="12246">
                  <c:v>8.4033613445377799E-4</c:v>
                </c:pt>
                <c:pt idx="12247">
                  <c:v>8.4033613445377799E-4</c:v>
                </c:pt>
                <c:pt idx="12248">
                  <c:v>8.4033613445377799E-4</c:v>
                </c:pt>
                <c:pt idx="12249">
                  <c:v>8.4033613445377799E-4</c:v>
                </c:pt>
                <c:pt idx="12250">
                  <c:v>8.4033613445377799E-4</c:v>
                </c:pt>
                <c:pt idx="12251">
                  <c:v>8.4033613445377799E-4</c:v>
                </c:pt>
                <c:pt idx="12252">
                  <c:v>8.4033613445377799E-4</c:v>
                </c:pt>
                <c:pt idx="12253">
                  <c:v>8.4033613445377799E-4</c:v>
                </c:pt>
                <c:pt idx="12254">
                  <c:v>8.4033613445377799E-4</c:v>
                </c:pt>
                <c:pt idx="12255">
                  <c:v>8.4033613445377799E-4</c:v>
                </c:pt>
                <c:pt idx="12256">
                  <c:v>8.4033613445377799E-4</c:v>
                </c:pt>
                <c:pt idx="12257">
                  <c:v>8.4033613445377799E-4</c:v>
                </c:pt>
                <c:pt idx="12258">
                  <c:v>8.4033613445377799E-4</c:v>
                </c:pt>
                <c:pt idx="12259">
                  <c:v>8.4033613445377799E-4</c:v>
                </c:pt>
                <c:pt idx="12260">
                  <c:v>8.4033613445377799E-4</c:v>
                </c:pt>
                <c:pt idx="12261">
                  <c:v>8.4033613445377799E-4</c:v>
                </c:pt>
                <c:pt idx="12262">
                  <c:v>8.4033613445377799E-4</c:v>
                </c:pt>
                <c:pt idx="12263">
                  <c:v>8.4033613445377799E-4</c:v>
                </c:pt>
                <c:pt idx="12264">
                  <c:v>8.4033613445377799E-4</c:v>
                </c:pt>
                <c:pt idx="12265">
                  <c:v>8.4033613445377799E-4</c:v>
                </c:pt>
                <c:pt idx="12266">
                  <c:v>1.6806722689075499E-3</c:v>
                </c:pt>
                <c:pt idx="12267">
                  <c:v>1.6806722689075499E-3</c:v>
                </c:pt>
                <c:pt idx="12268">
                  <c:v>1.6806722689075499E-3</c:v>
                </c:pt>
                <c:pt idx="12269">
                  <c:v>1.6806722689075499E-3</c:v>
                </c:pt>
                <c:pt idx="12270">
                  <c:v>1.6806722689075499E-3</c:v>
                </c:pt>
                <c:pt idx="12271">
                  <c:v>1.6806722689075499E-3</c:v>
                </c:pt>
                <c:pt idx="12272">
                  <c:v>1.6806722689075499E-3</c:v>
                </c:pt>
                <c:pt idx="12273">
                  <c:v>1.6806722689075499E-3</c:v>
                </c:pt>
                <c:pt idx="12274">
                  <c:v>1.6806722689075499E-3</c:v>
                </c:pt>
                <c:pt idx="12275">
                  <c:v>1.6806722689075499E-3</c:v>
                </c:pt>
                <c:pt idx="12276">
                  <c:v>1.6806722689075499E-3</c:v>
                </c:pt>
                <c:pt idx="12277">
                  <c:v>1.6806722689075499E-3</c:v>
                </c:pt>
                <c:pt idx="12278">
                  <c:v>1.6806722689075499E-3</c:v>
                </c:pt>
                <c:pt idx="12279">
                  <c:v>1.6806722689075499E-3</c:v>
                </c:pt>
                <c:pt idx="12280">
                  <c:v>2.5210084033613299E-3</c:v>
                </c:pt>
                <c:pt idx="12281">
                  <c:v>2.5210084033613299E-3</c:v>
                </c:pt>
                <c:pt idx="12282">
                  <c:v>2.5210084033613299E-3</c:v>
                </c:pt>
                <c:pt idx="12283">
                  <c:v>2.5210084033613299E-3</c:v>
                </c:pt>
                <c:pt idx="12284">
                  <c:v>2.5210084033613299E-3</c:v>
                </c:pt>
                <c:pt idx="12285">
                  <c:v>2.5210084033613299E-3</c:v>
                </c:pt>
                <c:pt idx="12286">
                  <c:v>2.5210084033613299E-3</c:v>
                </c:pt>
                <c:pt idx="12287">
                  <c:v>2.5210084033613299E-3</c:v>
                </c:pt>
                <c:pt idx="12288">
                  <c:v>2.5210084033613299E-3</c:v>
                </c:pt>
                <c:pt idx="12289">
                  <c:v>2.5210084033613299E-3</c:v>
                </c:pt>
                <c:pt idx="12290">
                  <c:v>2.5210084033613299E-3</c:v>
                </c:pt>
                <c:pt idx="12291">
                  <c:v>2.5210084033613299E-3</c:v>
                </c:pt>
                <c:pt idx="12292">
                  <c:v>2.5210084033613299E-3</c:v>
                </c:pt>
                <c:pt idx="12293">
                  <c:v>2.5210084033613299E-3</c:v>
                </c:pt>
                <c:pt idx="12294">
                  <c:v>2.5210084033613299E-3</c:v>
                </c:pt>
                <c:pt idx="12295">
                  <c:v>2.5210084033613299E-3</c:v>
                </c:pt>
                <c:pt idx="12296">
                  <c:v>2.5210084033613299E-3</c:v>
                </c:pt>
                <c:pt idx="12297">
                  <c:v>2.5210084033613299E-3</c:v>
                </c:pt>
                <c:pt idx="12298">
                  <c:v>2.5210084033613299E-3</c:v>
                </c:pt>
                <c:pt idx="12299">
                  <c:v>1.6806722689075499E-3</c:v>
                </c:pt>
                <c:pt idx="12300">
                  <c:v>1.6806722689075499E-3</c:v>
                </c:pt>
                <c:pt idx="12301">
                  <c:v>1.6806722689075499E-3</c:v>
                </c:pt>
                <c:pt idx="12302">
                  <c:v>1.6806722689075499E-3</c:v>
                </c:pt>
                <c:pt idx="12303">
                  <c:v>1.6806722689075499E-3</c:v>
                </c:pt>
                <c:pt idx="12304">
                  <c:v>1.6806722689075499E-3</c:v>
                </c:pt>
                <c:pt idx="12305">
                  <c:v>1.6806722689075499E-3</c:v>
                </c:pt>
                <c:pt idx="12306">
                  <c:v>1.6806722689075499E-3</c:v>
                </c:pt>
                <c:pt idx="12307">
                  <c:v>1.6806722689075499E-3</c:v>
                </c:pt>
                <c:pt idx="12308">
                  <c:v>1.6806722689075499E-3</c:v>
                </c:pt>
                <c:pt idx="12309">
                  <c:v>1.6806722689075499E-3</c:v>
                </c:pt>
                <c:pt idx="12310">
                  <c:v>1.6806722689075499E-3</c:v>
                </c:pt>
                <c:pt idx="12311">
                  <c:v>1.6806722689075499E-3</c:v>
                </c:pt>
                <c:pt idx="12312">
                  <c:v>1.6806722689075499E-3</c:v>
                </c:pt>
                <c:pt idx="12313">
                  <c:v>1.6806722689075499E-3</c:v>
                </c:pt>
                <c:pt idx="12314">
                  <c:v>1.6806722689075499E-3</c:v>
                </c:pt>
                <c:pt idx="12315">
                  <c:v>1.6806722689075499E-3</c:v>
                </c:pt>
                <c:pt idx="12316">
                  <c:v>1.6806722689075499E-3</c:v>
                </c:pt>
                <c:pt idx="12317">
                  <c:v>1.6806722689075499E-3</c:v>
                </c:pt>
                <c:pt idx="12318">
                  <c:v>1.6806722689075499E-3</c:v>
                </c:pt>
                <c:pt idx="12319">
                  <c:v>1.6806722689075499E-3</c:v>
                </c:pt>
                <c:pt idx="12320">
                  <c:v>1.6806722689075499E-3</c:v>
                </c:pt>
                <c:pt idx="12321">
                  <c:v>1.6806722689075499E-3</c:v>
                </c:pt>
                <c:pt idx="12322">
                  <c:v>1.6806722689075499E-3</c:v>
                </c:pt>
                <c:pt idx="12323">
                  <c:v>1.6806722689075499E-3</c:v>
                </c:pt>
                <c:pt idx="12324">
                  <c:v>1.6806722689075499E-3</c:v>
                </c:pt>
                <c:pt idx="12325">
                  <c:v>1.6806722689075499E-3</c:v>
                </c:pt>
                <c:pt idx="12326">
                  <c:v>1.6806722689075499E-3</c:v>
                </c:pt>
                <c:pt idx="12327">
                  <c:v>1.6806722689075499E-3</c:v>
                </c:pt>
                <c:pt idx="12328">
                  <c:v>1.6806722689075499E-3</c:v>
                </c:pt>
                <c:pt idx="12329">
                  <c:v>1.6806722689075499E-3</c:v>
                </c:pt>
                <c:pt idx="12330">
                  <c:v>1.6806722689075499E-3</c:v>
                </c:pt>
                <c:pt idx="12331">
                  <c:v>1.6806722689075499E-3</c:v>
                </c:pt>
                <c:pt idx="12332">
                  <c:v>1.6806722689075499E-3</c:v>
                </c:pt>
                <c:pt idx="12333">
                  <c:v>1.6806722689075499E-3</c:v>
                </c:pt>
                <c:pt idx="12334">
                  <c:v>1.6806722689075499E-3</c:v>
                </c:pt>
                <c:pt idx="12335">
                  <c:v>8.4033613445377799E-4</c:v>
                </c:pt>
                <c:pt idx="12336">
                  <c:v>8.4033613445377799E-4</c:v>
                </c:pt>
                <c:pt idx="12337">
                  <c:v>1.6806722689075499E-3</c:v>
                </c:pt>
                <c:pt idx="12338">
                  <c:v>1.6806722689075499E-3</c:v>
                </c:pt>
                <c:pt idx="12339">
                  <c:v>1.6806722689075499E-3</c:v>
                </c:pt>
                <c:pt idx="12340">
                  <c:v>1.6806722689075499E-3</c:v>
                </c:pt>
                <c:pt idx="12341">
                  <c:v>1.6806722689075499E-3</c:v>
                </c:pt>
                <c:pt idx="12342">
                  <c:v>1.6806722689075499E-3</c:v>
                </c:pt>
                <c:pt idx="12343">
                  <c:v>1.6806722689075499E-3</c:v>
                </c:pt>
                <c:pt idx="12344">
                  <c:v>1.6806722689075499E-3</c:v>
                </c:pt>
                <c:pt idx="12345">
                  <c:v>1.6806722689075499E-3</c:v>
                </c:pt>
                <c:pt idx="12346">
                  <c:v>1.6806722689075499E-3</c:v>
                </c:pt>
                <c:pt idx="12347">
                  <c:v>1.6806722689075499E-3</c:v>
                </c:pt>
                <c:pt idx="12348">
                  <c:v>1.6806722689075499E-3</c:v>
                </c:pt>
                <c:pt idx="12349">
                  <c:v>2.5210084033613299E-3</c:v>
                </c:pt>
                <c:pt idx="12350">
                  <c:v>2.5210084033613299E-3</c:v>
                </c:pt>
                <c:pt idx="12351">
                  <c:v>2.5210084033613299E-3</c:v>
                </c:pt>
                <c:pt idx="12352">
                  <c:v>2.5210084033613299E-3</c:v>
                </c:pt>
                <c:pt idx="12353">
                  <c:v>2.5210084033613299E-3</c:v>
                </c:pt>
                <c:pt idx="12354">
                  <c:v>3.3613445378151102E-3</c:v>
                </c:pt>
                <c:pt idx="12355">
                  <c:v>3.3613445378151102E-3</c:v>
                </c:pt>
                <c:pt idx="12356">
                  <c:v>3.3613445378151102E-3</c:v>
                </c:pt>
                <c:pt idx="12357">
                  <c:v>3.3613445378151102E-3</c:v>
                </c:pt>
                <c:pt idx="12358">
                  <c:v>3.3613445378151102E-3</c:v>
                </c:pt>
                <c:pt idx="12359">
                  <c:v>3.3613445378151102E-3</c:v>
                </c:pt>
                <c:pt idx="12360">
                  <c:v>3.3613445378151102E-3</c:v>
                </c:pt>
                <c:pt idx="12361">
                  <c:v>3.3613445378151102E-3</c:v>
                </c:pt>
                <c:pt idx="12362">
                  <c:v>3.3613445378151102E-3</c:v>
                </c:pt>
                <c:pt idx="12363">
                  <c:v>3.3613445378151102E-3</c:v>
                </c:pt>
                <c:pt idx="12364">
                  <c:v>3.3613445378151102E-3</c:v>
                </c:pt>
                <c:pt idx="12365">
                  <c:v>3.3613445378151102E-3</c:v>
                </c:pt>
                <c:pt idx="12366">
                  <c:v>3.3613445378151102E-3</c:v>
                </c:pt>
                <c:pt idx="12367">
                  <c:v>3.3613445378151102E-3</c:v>
                </c:pt>
                <c:pt idx="12368">
                  <c:v>3.3613445378151102E-3</c:v>
                </c:pt>
                <c:pt idx="12369">
                  <c:v>3.3613445378151102E-3</c:v>
                </c:pt>
                <c:pt idx="12370">
                  <c:v>3.3613445378151102E-3</c:v>
                </c:pt>
                <c:pt idx="12371">
                  <c:v>3.3613445378151102E-3</c:v>
                </c:pt>
                <c:pt idx="12372">
                  <c:v>3.3613445378151102E-3</c:v>
                </c:pt>
                <c:pt idx="12373">
                  <c:v>3.3613445378151102E-3</c:v>
                </c:pt>
                <c:pt idx="12374">
                  <c:v>3.3613445378151102E-3</c:v>
                </c:pt>
                <c:pt idx="12375">
                  <c:v>3.3613445378151102E-3</c:v>
                </c:pt>
                <c:pt idx="12376">
                  <c:v>3.3613445378151102E-3</c:v>
                </c:pt>
                <c:pt idx="12377">
                  <c:v>3.3613445378151102E-3</c:v>
                </c:pt>
                <c:pt idx="12378">
                  <c:v>3.3613445378151102E-3</c:v>
                </c:pt>
                <c:pt idx="12379">
                  <c:v>3.3613445378151102E-3</c:v>
                </c:pt>
                <c:pt idx="12380">
                  <c:v>3.3613445378151102E-3</c:v>
                </c:pt>
                <c:pt idx="12381">
                  <c:v>3.3613445378151102E-3</c:v>
                </c:pt>
                <c:pt idx="12382">
                  <c:v>3.3613445378151102E-3</c:v>
                </c:pt>
                <c:pt idx="12383">
                  <c:v>3.3613445378151102E-3</c:v>
                </c:pt>
                <c:pt idx="12384">
                  <c:v>3.3613445378151102E-3</c:v>
                </c:pt>
                <c:pt idx="12385">
                  <c:v>3.3613445378151102E-3</c:v>
                </c:pt>
                <c:pt idx="12386">
                  <c:v>3.3613445378151102E-3</c:v>
                </c:pt>
                <c:pt idx="12387">
                  <c:v>3.3613445378151102E-3</c:v>
                </c:pt>
                <c:pt idx="12388">
                  <c:v>3.3613445378151102E-3</c:v>
                </c:pt>
                <c:pt idx="12389">
                  <c:v>3.3613445378151102E-3</c:v>
                </c:pt>
                <c:pt idx="12390">
                  <c:v>3.3613445378151102E-3</c:v>
                </c:pt>
                <c:pt idx="12391">
                  <c:v>3.3613445378151102E-3</c:v>
                </c:pt>
                <c:pt idx="12392">
                  <c:v>3.3613445378151102E-3</c:v>
                </c:pt>
                <c:pt idx="12393">
                  <c:v>3.3613445378151102E-3</c:v>
                </c:pt>
                <c:pt idx="12394">
                  <c:v>3.3613445378151102E-3</c:v>
                </c:pt>
                <c:pt idx="12395">
                  <c:v>3.3613445378151102E-3</c:v>
                </c:pt>
                <c:pt idx="12396">
                  <c:v>3.3613445378151102E-3</c:v>
                </c:pt>
                <c:pt idx="12397">
                  <c:v>3.3613445378151102E-3</c:v>
                </c:pt>
                <c:pt idx="12398">
                  <c:v>2.5210084033613299E-3</c:v>
                </c:pt>
                <c:pt idx="12399">
                  <c:v>2.5210084033613299E-3</c:v>
                </c:pt>
                <c:pt idx="12400">
                  <c:v>2.5210084033613299E-3</c:v>
                </c:pt>
                <c:pt idx="12401">
                  <c:v>2.5210084033613299E-3</c:v>
                </c:pt>
                <c:pt idx="12402">
                  <c:v>3.3613445378151102E-3</c:v>
                </c:pt>
                <c:pt idx="12403">
                  <c:v>3.3613445378151102E-3</c:v>
                </c:pt>
                <c:pt idx="12404">
                  <c:v>3.3613445378151102E-3</c:v>
                </c:pt>
                <c:pt idx="12405">
                  <c:v>3.3613445378151102E-3</c:v>
                </c:pt>
                <c:pt idx="12406">
                  <c:v>3.3613445378151102E-3</c:v>
                </c:pt>
                <c:pt idx="12407">
                  <c:v>3.3613445378151102E-3</c:v>
                </c:pt>
                <c:pt idx="12408">
                  <c:v>3.3613445378151102E-3</c:v>
                </c:pt>
                <c:pt idx="12409">
                  <c:v>3.3613445378151102E-3</c:v>
                </c:pt>
                <c:pt idx="12410">
                  <c:v>3.3613445378151102E-3</c:v>
                </c:pt>
                <c:pt idx="12411">
                  <c:v>3.3613445378151102E-3</c:v>
                </c:pt>
                <c:pt idx="12412">
                  <c:v>3.3613445378151102E-3</c:v>
                </c:pt>
                <c:pt idx="12413">
                  <c:v>3.3613445378151102E-3</c:v>
                </c:pt>
                <c:pt idx="12414">
                  <c:v>3.3613445378151102E-3</c:v>
                </c:pt>
                <c:pt idx="12415">
                  <c:v>3.3613445378151102E-3</c:v>
                </c:pt>
                <c:pt idx="12416">
                  <c:v>3.3613445378151102E-3</c:v>
                </c:pt>
                <c:pt idx="12417">
                  <c:v>3.3613445378151102E-3</c:v>
                </c:pt>
                <c:pt idx="12418">
                  <c:v>2.5210084033613299E-3</c:v>
                </c:pt>
                <c:pt idx="12419">
                  <c:v>2.5210084033613299E-3</c:v>
                </c:pt>
                <c:pt idx="12420">
                  <c:v>2.5210084033613299E-3</c:v>
                </c:pt>
                <c:pt idx="12421">
                  <c:v>2.5210084033613299E-3</c:v>
                </c:pt>
                <c:pt idx="12422">
                  <c:v>1.6806722689075499E-3</c:v>
                </c:pt>
                <c:pt idx="12423">
                  <c:v>1.6806722689075499E-3</c:v>
                </c:pt>
                <c:pt idx="12424">
                  <c:v>1.6806722689075499E-3</c:v>
                </c:pt>
                <c:pt idx="12425">
                  <c:v>1.6806722689075499E-3</c:v>
                </c:pt>
                <c:pt idx="12426">
                  <c:v>1.6806722689075499E-3</c:v>
                </c:pt>
                <c:pt idx="12427">
                  <c:v>1.6806722689075499E-3</c:v>
                </c:pt>
                <c:pt idx="12428">
                  <c:v>1.6806722689075499E-3</c:v>
                </c:pt>
                <c:pt idx="12429">
                  <c:v>1.6806722689075499E-3</c:v>
                </c:pt>
                <c:pt idx="12430">
                  <c:v>1.6806722689075499E-3</c:v>
                </c:pt>
                <c:pt idx="12431">
                  <c:v>1.6806722689075499E-3</c:v>
                </c:pt>
                <c:pt idx="12432">
                  <c:v>1.6806722689075499E-3</c:v>
                </c:pt>
                <c:pt idx="12433">
                  <c:v>1.6806722689075499E-3</c:v>
                </c:pt>
                <c:pt idx="12434">
                  <c:v>1.6806722689075499E-3</c:v>
                </c:pt>
                <c:pt idx="12435">
                  <c:v>1.6806722689075499E-3</c:v>
                </c:pt>
                <c:pt idx="12436">
                  <c:v>1.6806722689075499E-3</c:v>
                </c:pt>
                <c:pt idx="12437">
                  <c:v>1.6806722689075499E-3</c:v>
                </c:pt>
                <c:pt idx="12438">
                  <c:v>1.6806722689075499E-3</c:v>
                </c:pt>
                <c:pt idx="12439">
                  <c:v>1.6806722689075499E-3</c:v>
                </c:pt>
                <c:pt idx="12440">
                  <c:v>1.6806722689075499E-3</c:v>
                </c:pt>
                <c:pt idx="12441">
                  <c:v>1.6806722689075499E-3</c:v>
                </c:pt>
                <c:pt idx="12442">
                  <c:v>1.6806722689075499E-3</c:v>
                </c:pt>
                <c:pt idx="12443">
                  <c:v>1.6806722689075499E-3</c:v>
                </c:pt>
                <c:pt idx="12444">
                  <c:v>1.6806722689075499E-3</c:v>
                </c:pt>
                <c:pt idx="12445">
                  <c:v>1.6806722689075499E-3</c:v>
                </c:pt>
                <c:pt idx="12446">
                  <c:v>1.6806722689075499E-3</c:v>
                </c:pt>
                <c:pt idx="12447">
                  <c:v>1.6806722689075499E-3</c:v>
                </c:pt>
                <c:pt idx="12448">
                  <c:v>1.6806722689075499E-3</c:v>
                </c:pt>
                <c:pt idx="12449">
                  <c:v>1.6806722689075499E-3</c:v>
                </c:pt>
                <c:pt idx="12450">
                  <c:v>1.6806722689075499E-3</c:v>
                </c:pt>
                <c:pt idx="12451">
                  <c:v>1.6806722689075499E-3</c:v>
                </c:pt>
                <c:pt idx="12452">
                  <c:v>1.6806722689075499E-3</c:v>
                </c:pt>
                <c:pt idx="12453">
                  <c:v>1.6806722689075499E-3</c:v>
                </c:pt>
                <c:pt idx="12454">
                  <c:v>1.6806722689075499E-3</c:v>
                </c:pt>
                <c:pt idx="12455">
                  <c:v>1.6806722689075499E-3</c:v>
                </c:pt>
                <c:pt idx="12456">
                  <c:v>1.6806722689075499E-3</c:v>
                </c:pt>
                <c:pt idx="12457">
                  <c:v>8.4033613445377799E-4</c:v>
                </c:pt>
                <c:pt idx="12458">
                  <c:v>8.4033613445377799E-4</c:v>
                </c:pt>
                <c:pt idx="12459">
                  <c:v>8.4033613445377799E-4</c:v>
                </c:pt>
                <c:pt idx="12460">
                  <c:v>8.4033613445377799E-4</c:v>
                </c:pt>
                <c:pt idx="12461">
                  <c:v>1.6806722689075499E-3</c:v>
                </c:pt>
                <c:pt idx="12462">
                  <c:v>1.6806722689075499E-3</c:v>
                </c:pt>
                <c:pt idx="12463">
                  <c:v>1.6806722689075499E-3</c:v>
                </c:pt>
                <c:pt idx="12464">
                  <c:v>1.6806722689075499E-3</c:v>
                </c:pt>
                <c:pt idx="12465">
                  <c:v>1.6806722689075499E-3</c:v>
                </c:pt>
                <c:pt idx="12466">
                  <c:v>1.6806722689075499E-3</c:v>
                </c:pt>
                <c:pt idx="12467">
                  <c:v>1.6806722689075499E-3</c:v>
                </c:pt>
                <c:pt idx="12468">
                  <c:v>1.6806722689075499E-3</c:v>
                </c:pt>
                <c:pt idx="12469">
                  <c:v>2.5210084033613299E-3</c:v>
                </c:pt>
                <c:pt idx="12470">
                  <c:v>2.5210084033613299E-3</c:v>
                </c:pt>
                <c:pt idx="12471">
                  <c:v>2.5210084033613299E-3</c:v>
                </c:pt>
                <c:pt idx="12472">
                  <c:v>1.6806722689075499E-3</c:v>
                </c:pt>
                <c:pt idx="12473">
                  <c:v>1.6806722689075499E-3</c:v>
                </c:pt>
                <c:pt idx="12474">
                  <c:v>1.6806722689075499E-3</c:v>
                </c:pt>
                <c:pt idx="12475">
                  <c:v>1.6806722689075499E-3</c:v>
                </c:pt>
                <c:pt idx="12476">
                  <c:v>1.6806722689075499E-3</c:v>
                </c:pt>
                <c:pt idx="12477">
                  <c:v>1.6806722689075499E-3</c:v>
                </c:pt>
                <c:pt idx="12478">
                  <c:v>1.6806722689075499E-3</c:v>
                </c:pt>
                <c:pt idx="12479">
                  <c:v>1.6806722689075499E-3</c:v>
                </c:pt>
                <c:pt idx="12480">
                  <c:v>1.6806722689075499E-3</c:v>
                </c:pt>
                <c:pt idx="12481">
                  <c:v>1.6806722689075499E-3</c:v>
                </c:pt>
                <c:pt idx="12482">
                  <c:v>1.6806722689075499E-3</c:v>
                </c:pt>
                <c:pt idx="12483">
                  <c:v>1.6806722689075499E-3</c:v>
                </c:pt>
                <c:pt idx="12484">
                  <c:v>1.6806722689075499E-3</c:v>
                </c:pt>
                <c:pt idx="12485">
                  <c:v>1.6806722689075499E-3</c:v>
                </c:pt>
                <c:pt idx="12486">
                  <c:v>1.6806722689075499E-3</c:v>
                </c:pt>
                <c:pt idx="12487">
                  <c:v>1.6806722689075499E-3</c:v>
                </c:pt>
                <c:pt idx="12488">
                  <c:v>1.6806722689075499E-3</c:v>
                </c:pt>
                <c:pt idx="12489">
                  <c:v>1.6806722689075499E-3</c:v>
                </c:pt>
                <c:pt idx="12490">
                  <c:v>1.6806722689075499E-3</c:v>
                </c:pt>
                <c:pt idx="12491">
                  <c:v>1.6806722689075499E-3</c:v>
                </c:pt>
                <c:pt idx="12492">
                  <c:v>1.6806722689075499E-3</c:v>
                </c:pt>
                <c:pt idx="12493">
                  <c:v>1.6806722689075499E-3</c:v>
                </c:pt>
                <c:pt idx="12494">
                  <c:v>1.6806722689075499E-3</c:v>
                </c:pt>
                <c:pt idx="12495">
                  <c:v>1.6806722689075499E-3</c:v>
                </c:pt>
                <c:pt idx="12496">
                  <c:v>1.6806722689075499E-3</c:v>
                </c:pt>
                <c:pt idx="12497">
                  <c:v>1.6806722689075499E-3</c:v>
                </c:pt>
                <c:pt idx="12498">
                  <c:v>1.6806722689075499E-3</c:v>
                </c:pt>
                <c:pt idx="12499">
                  <c:v>1.6806722689075499E-3</c:v>
                </c:pt>
                <c:pt idx="12500">
                  <c:v>1.6806722689075499E-3</c:v>
                </c:pt>
                <c:pt idx="12501">
                  <c:v>1.6806722689075499E-3</c:v>
                </c:pt>
                <c:pt idx="12502">
                  <c:v>1.6806722689075499E-3</c:v>
                </c:pt>
                <c:pt idx="12503">
                  <c:v>1.6806722689075499E-3</c:v>
                </c:pt>
                <c:pt idx="12504">
                  <c:v>1.6806722689075499E-3</c:v>
                </c:pt>
                <c:pt idx="12505">
                  <c:v>1.6806722689075499E-3</c:v>
                </c:pt>
                <c:pt idx="12506">
                  <c:v>1.6806722689075499E-3</c:v>
                </c:pt>
                <c:pt idx="12507">
                  <c:v>1.6806722689075499E-3</c:v>
                </c:pt>
                <c:pt idx="12508">
                  <c:v>1.6806722689075499E-3</c:v>
                </c:pt>
                <c:pt idx="12509">
                  <c:v>1.6806722689075499E-3</c:v>
                </c:pt>
                <c:pt idx="12510">
                  <c:v>1.6806722689075499E-3</c:v>
                </c:pt>
                <c:pt idx="12511">
                  <c:v>1.6806722689075499E-3</c:v>
                </c:pt>
                <c:pt idx="12512">
                  <c:v>1.6806722689075499E-3</c:v>
                </c:pt>
                <c:pt idx="12513">
                  <c:v>1.6806722689075499E-3</c:v>
                </c:pt>
                <c:pt idx="12514">
                  <c:v>1.6806722689075499E-3</c:v>
                </c:pt>
                <c:pt idx="12515">
                  <c:v>1.6806722689075499E-3</c:v>
                </c:pt>
                <c:pt idx="12516">
                  <c:v>1.6806722689075499E-3</c:v>
                </c:pt>
                <c:pt idx="12517">
                  <c:v>1.6806722689075499E-3</c:v>
                </c:pt>
                <c:pt idx="12518">
                  <c:v>1.6806722689075499E-3</c:v>
                </c:pt>
                <c:pt idx="12519">
                  <c:v>1.6806722689075499E-3</c:v>
                </c:pt>
                <c:pt idx="12520">
                  <c:v>1.6806722689075499E-3</c:v>
                </c:pt>
                <c:pt idx="12521">
                  <c:v>1.6806722689075499E-3</c:v>
                </c:pt>
                <c:pt idx="12522">
                  <c:v>1.6806722689075499E-3</c:v>
                </c:pt>
                <c:pt idx="12523">
                  <c:v>1.6806722689075499E-3</c:v>
                </c:pt>
                <c:pt idx="12524">
                  <c:v>1.6806722689075499E-3</c:v>
                </c:pt>
                <c:pt idx="12525">
                  <c:v>1.6806722689075499E-3</c:v>
                </c:pt>
                <c:pt idx="12526">
                  <c:v>1.6806722689075499E-3</c:v>
                </c:pt>
                <c:pt idx="12527">
                  <c:v>1.6806722689075499E-3</c:v>
                </c:pt>
                <c:pt idx="12528">
                  <c:v>1.6806722689075499E-3</c:v>
                </c:pt>
                <c:pt idx="12529">
                  <c:v>1.6806722689075499E-3</c:v>
                </c:pt>
                <c:pt idx="12530">
                  <c:v>1.6806722689075499E-3</c:v>
                </c:pt>
                <c:pt idx="12531">
                  <c:v>1.6806722689075499E-3</c:v>
                </c:pt>
                <c:pt idx="12532">
                  <c:v>1.6806722689075499E-3</c:v>
                </c:pt>
                <c:pt idx="12533">
                  <c:v>1.6806722689075499E-3</c:v>
                </c:pt>
                <c:pt idx="12534">
                  <c:v>1.6806722689075499E-3</c:v>
                </c:pt>
                <c:pt idx="12535">
                  <c:v>1.6806722689075499E-3</c:v>
                </c:pt>
                <c:pt idx="12536">
                  <c:v>1.6806722689075499E-3</c:v>
                </c:pt>
                <c:pt idx="12537">
                  <c:v>1.6806722689075499E-3</c:v>
                </c:pt>
                <c:pt idx="12538">
                  <c:v>1.6806722689075499E-3</c:v>
                </c:pt>
                <c:pt idx="12539">
                  <c:v>1.6806722689075499E-3</c:v>
                </c:pt>
                <c:pt idx="12540">
                  <c:v>1.6806722689075499E-3</c:v>
                </c:pt>
                <c:pt idx="12541">
                  <c:v>1.6806722689075499E-3</c:v>
                </c:pt>
                <c:pt idx="12542">
                  <c:v>1.6806722689075499E-3</c:v>
                </c:pt>
                <c:pt idx="12543">
                  <c:v>1.6806722689075499E-3</c:v>
                </c:pt>
                <c:pt idx="12544">
                  <c:v>1.6806722689075499E-3</c:v>
                </c:pt>
                <c:pt idx="12545">
                  <c:v>1.6806722689075499E-3</c:v>
                </c:pt>
                <c:pt idx="12546">
                  <c:v>1.6806722689075499E-3</c:v>
                </c:pt>
                <c:pt idx="12547">
                  <c:v>1.6806722689075499E-3</c:v>
                </c:pt>
                <c:pt idx="12548">
                  <c:v>1.6806722689075499E-3</c:v>
                </c:pt>
                <c:pt idx="12549">
                  <c:v>1.6806722689075499E-3</c:v>
                </c:pt>
                <c:pt idx="12550">
                  <c:v>1.6806722689075499E-3</c:v>
                </c:pt>
                <c:pt idx="12551">
                  <c:v>1.6806722689075499E-3</c:v>
                </c:pt>
                <c:pt idx="12552">
                  <c:v>1.6806722689075499E-3</c:v>
                </c:pt>
                <c:pt idx="12553">
                  <c:v>1.6806722689075499E-3</c:v>
                </c:pt>
                <c:pt idx="12554">
                  <c:v>2.5210084033613299E-3</c:v>
                </c:pt>
                <c:pt idx="12555">
                  <c:v>2.5210084033613299E-3</c:v>
                </c:pt>
                <c:pt idx="12556">
                  <c:v>2.5210084033613299E-3</c:v>
                </c:pt>
                <c:pt idx="12557">
                  <c:v>2.5210084033613299E-3</c:v>
                </c:pt>
                <c:pt idx="12558">
                  <c:v>2.5210084033613299E-3</c:v>
                </c:pt>
                <c:pt idx="12559">
                  <c:v>2.5210084033613299E-3</c:v>
                </c:pt>
                <c:pt idx="12560">
                  <c:v>2.5210084033613299E-3</c:v>
                </c:pt>
                <c:pt idx="12561">
                  <c:v>2.5210084033613299E-3</c:v>
                </c:pt>
                <c:pt idx="12562">
                  <c:v>2.5210084033613299E-3</c:v>
                </c:pt>
                <c:pt idx="12563">
                  <c:v>2.5210084033613299E-3</c:v>
                </c:pt>
                <c:pt idx="12564">
                  <c:v>2.5210084033613299E-3</c:v>
                </c:pt>
                <c:pt idx="12565">
                  <c:v>2.5210084033613299E-3</c:v>
                </c:pt>
                <c:pt idx="12566">
                  <c:v>2.5210084033613299E-3</c:v>
                </c:pt>
                <c:pt idx="12567">
                  <c:v>2.5210084033613299E-3</c:v>
                </c:pt>
                <c:pt idx="12568">
                  <c:v>2.5210084033613299E-3</c:v>
                </c:pt>
                <c:pt idx="12569">
                  <c:v>2.5210084033613299E-3</c:v>
                </c:pt>
                <c:pt idx="12570">
                  <c:v>3.3613445378151102E-3</c:v>
                </c:pt>
                <c:pt idx="12571">
                  <c:v>3.3613445378151102E-3</c:v>
                </c:pt>
                <c:pt idx="12572">
                  <c:v>3.3613445378151102E-3</c:v>
                </c:pt>
                <c:pt idx="12573">
                  <c:v>3.3613445378151102E-3</c:v>
                </c:pt>
                <c:pt idx="12574">
                  <c:v>3.3613445378151102E-3</c:v>
                </c:pt>
                <c:pt idx="12575">
                  <c:v>3.3613445378151102E-3</c:v>
                </c:pt>
                <c:pt idx="12576">
                  <c:v>3.3613445378151102E-3</c:v>
                </c:pt>
                <c:pt idx="12577">
                  <c:v>3.3613445378151102E-3</c:v>
                </c:pt>
                <c:pt idx="12578">
                  <c:v>3.3613445378151102E-3</c:v>
                </c:pt>
                <c:pt idx="12579">
                  <c:v>3.3613445378151102E-3</c:v>
                </c:pt>
                <c:pt idx="12580">
                  <c:v>3.3613445378151102E-3</c:v>
                </c:pt>
                <c:pt idx="12581">
                  <c:v>3.3613445378151102E-3</c:v>
                </c:pt>
                <c:pt idx="12582">
                  <c:v>3.3613445378151102E-3</c:v>
                </c:pt>
                <c:pt idx="12583">
                  <c:v>3.3613445378151102E-3</c:v>
                </c:pt>
                <c:pt idx="12584">
                  <c:v>3.3613445378151102E-3</c:v>
                </c:pt>
                <c:pt idx="12585">
                  <c:v>3.3613445378151102E-3</c:v>
                </c:pt>
                <c:pt idx="12586">
                  <c:v>3.3613445378151102E-3</c:v>
                </c:pt>
                <c:pt idx="12587">
                  <c:v>3.3613445378151102E-3</c:v>
                </c:pt>
                <c:pt idx="12588">
                  <c:v>3.3613445378151102E-3</c:v>
                </c:pt>
                <c:pt idx="12589">
                  <c:v>3.3613445378151102E-3</c:v>
                </c:pt>
                <c:pt idx="12590">
                  <c:v>4.20168067226889E-3</c:v>
                </c:pt>
                <c:pt idx="12591">
                  <c:v>4.20168067226889E-3</c:v>
                </c:pt>
                <c:pt idx="12592">
                  <c:v>4.20168067226889E-3</c:v>
                </c:pt>
                <c:pt idx="12593">
                  <c:v>4.20168067226889E-3</c:v>
                </c:pt>
                <c:pt idx="12594">
                  <c:v>4.20168067226889E-3</c:v>
                </c:pt>
                <c:pt idx="12595">
                  <c:v>4.20168067226889E-3</c:v>
                </c:pt>
                <c:pt idx="12596">
                  <c:v>4.20168067226889E-3</c:v>
                </c:pt>
                <c:pt idx="12597">
                  <c:v>4.20168067226889E-3</c:v>
                </c:pt>
                <c:pt idx="12598">
                  <c:v>4.20168067226889E-3</c:v>
                </c:pt>
                <c:pt idx="12599">
                  <c:v>4.20168067226889E-3</c:v>
                </c:pt>
                <c:pt idx="12600">
                  <c:v>4.20168067226889E-3</c:v>
                </c:pt>
                <c:pt idx="12601">
                  <c:v>4.20168067226889E-3</c:v>
                </c:pt>
                <c:pt idx="12602">
                  <c:v>4.20168067226889E-3</c:v>
                </c:pt>
                <c:pt idx="12603">
                  <c:v>4.20168067226889E-3</c:v>
                </c:pt>
                <c:pt idx="12604">
                  <c:v>4.20168067226889E-3</c:v>
                </c:pt>
                <c:pt idx="12605">
                  <c:v>4.20168067226889E-3</c:v>
                </c:pt>
                <c:pt idx="12606">
                  <c:v>3.3613445378151102E-3</c:v>
                </c:pt>
                <c:pt idx="12607">
                  <c:v>3.3613445378151102E-3</c:v>
                </c:pt>
                <c:pt idx="12608">
                  <c:v>3.3613445378151102E-3</c:v>
                </c:pt>
                <c:pt idx="12609">
                  <c:v>3.3613445378151102E-3</c:v>
                </c:pt>
                <c:pt idx="12610">
                  <c:v>3.3613445378151102E-3</c:v>
                </c:pt>
                <c:pt idx="12611">
                  <c:v>3.3613445378151102E-3</c:v>
                </c:pt>
                <c:pt idx="12612">
                  <c:v>3.3613445378151102E-3</c:v>
                </c:pt>
                <c:pt idx="12613">
                  <c:v>3.3613445378151102E-3</c:v>
                </c:pt>
                <c:pt idx="12614">
                  <c:v>3.3613445378151102E-3</c:v>
                </c:pt>
                <c:pt idx="12615">
                  <c:v>3.3613445378151102E-3</c:v>
                </c:pt>
                <c:pt idx="12616">
                  <c:v>4.20168067226889E-3</c:v>
                </c:pt>
                <c:pt idx="12617">
                  <c:v>4.20168067226889E-3</c:v>
                </c:pt>
                <c:pt idx="12618">
                  <c:v>4.20168067226889E-3</c:v>
                </c:pt>
                <c:pt idx="12619">
                  <c:v>4.20168067226889E-3</c:v>
                </c:pt>
                <c:pt idx="12620">
                  <c:v>4.20168067226889E-3</c:v>
                </c:pt>
                <c:pt idx="12621">
                  <c:v>5.0420168067226703E-3</c:v>
                </c:pt>
                <c:pt idx="12622">
                  <c:v>5.8823529411764497E-3</c:v>
                </c:pt>
                <c:pt idx="12623">
                  <c:v>5.8823529411764497E-3</c:v>
                </c:pt>
                <c:pt idx="12624">
                  <c:v>5.8823529411764497E-3</c:v>
                </c:pt>
                <c:pt idx="12625">
                  <c:v>5.8823529411764497E-3</c:v>
                </c:pt>
                <c:pt idx="12626">
                  <c:v>5.8823529411764497E-3</c:v>
                </c:pt>
                <c:pt idx="12627">
                  <c:v>5.8823529411764497E-3</c:v>
                </c:pt>
                <c:pt idx="12628">
                  <c:v>5.8823529411764497E-3</c:v>
                </c:pt>
                <c:pt idx="12629">
                  <c:v>5.8823529411764497E-3</c:v>
                </c:pt>
                <c:pt idx="12630">
                  <c:v>5.8823529411764497E-3</c:v>
                </c:pt>
                <c:pt idx="12631">
                  <c:v>5.8823529411764497E-3</c:v>
                </c:pt>
                <c:pt idx="12632">
                  <c:v>5.8823529411764497E-3</c:v>
                </c:pt>
                <c:pt idx="12633">
                  <c:v>5.8823529411764497E-3</c:v>
                </c:pt>
                <c:pt idx="12634">
                  <c:v>5.8823529411764497E-3</c:v>
                </c:pt>
                <c:pt idx="12635">
                  <c:v>5.8823529411764497E-3</c:v>
                </c:pt>
                <c:pt idx="12636">
                  <c:v>5.8823529411764497E-3</c:v>
                </c:pt>
                <c:pt idx="12637">
                  <c:v>5.8823529411764497E-3</c:v>
                </c:pt>
                <c:pt idx="12638">
                  <c:v>5.8823529411764497E-3</c:v>
                </c:pt>
                <c:pt idx="12639">
                  <c:v>5.8823529411764497E-3</c:v>
                </c:pt>
                <c:pt idx="12640">
                  <c:v>5.8823529411764497E-3</c:v>
                </c:pt>
                <c:pt idx="12641">
                  <c:v>5.8823529411764497E-3</c:v>
                </c:pt>
                <c:pt idx="12642">
                  <c:v>5.8823529411764497E-3</c:v>
                </c:pt>
                <c:pt idx="12643">
                  <c:v>5.8823529411764497E-3</c:v>
                </c:pt>
                <c:pt idx="12644">
                  <c:v>5.8823529411764497E-3</c:v>
                </c:pt>
                <c:pt idx="12645">
                  <c:v>5.8823529411764497E-3</c:v>
                </c:pt>
                <c:pt idx="12646">
                  <c:v>5.8823529411764497E-3</c:v>
                </c:pt>
                <c:pt idx="12647">
                  <c:v>5.8823529411764497E-3</c:v>
                </c:pt>
                <c:pt idx="12648">
                  <c:v>5.8823529411764497E-3</c:v>
                </c:pt>
                <c:pt idx="12649">
                  <c:v>5.8823529411764497E-3</c:v>
                </c:pt>
                <c:pt idx="12650">
                  <c:v>5.8823529411764497E-3</c:v>
                </c:pt>
                <c:pt idx="12651">
                  <c:v>5.8823529411764497E-3</c:v>
                </c:pt>
                <c:pt idx="12652">
                  <c:v>5.8823529411764497E-3</c:v>
                </c:pt>
                <c:pt idx="12653">
                  <c:v>5.8823529411764497E-3</c:v>
                </c:pt>
                <c:pt idx="12654">
                  <c:v>5.8823529411764497E-3</c:v>
                </c:pt>
                <c:pt idx="12655">
                  <c:v>5.8823529411764497E-3</c:v>
                </c:pt>
                <c:pt idx="12656">
                  <c:v>5.8823529411764497E-3</c:v>
                </c:pt>
                <c:pt idx="12657">
                  <c:v>5.8823529411764497E-3</c:v>
                </c:pt>
                <c:pt idx="12658">
                  <c:v>5.8823529411764497E-3</c:v>
                </c:pt>
                <c:pt idx="12659">
                  <c:v>5.8823529411764497E-3</c:v>
                </c:pt>
                <c:pt idx="12660">
                  <c:v>5.8823529411764497E-3</c:v>
                </c:pt>
                <c:pt idx="12661">
                  <c:v>5.8823529411764497E-3</c:v>
                </c:pt>
                <c:pt idx="12662">
                  <c:v>5.8823529411764497E-3</c:v>
                </c:pt>
                <c:pt idx="12663">
                  <c:v>5.8823529411764497E-3</c:v>
                </c:pt>
                <c:pt idx="12664">
                  <c:v>5.8823529411764497E-3</c:v>
                </c:pt>
                <c:pt idx="12665">
                  <c:v>5.8823529411764497E-3</c:v>
                </c:pt>
                <c:pt idx="12666">
                  <c:v>5.8823529411764497E-3</c:v>
                </c:pt>
                <c:pt idx="12667">
                  <c:v>5.8823529411764497E-3</c:v>
                </c:pt>
                <c:pt idx="12668">
                  <c:v>5.8823529411764497E-3</c:v>
                </c:pt>
                <c:pt idx="12669">
                  <c:v>5.8823529411764497E-3</c:v>
                </c:pt>
                <c:pt idx="12670">
                  <c:v>5.8823529411764497E-3</c:v>
                </c:pt>
                <c:pt idx="12671">
                  <c:v>5.8823529411764497E-3</c:v>
                </c:pt>
                <c:pt idx="12672">
                  <c:v>5.8823529411764497E-3</c:v>
                </c:pt>
                <c:pt idx="12673">
                  <c:v>5.8823529411764497E-3</c:v>
                </c:pt>
                <c:pt idx="12674">
                  <c:v>5.0420168067226703E-3</c:v>
                </c:pt>
                <c:pt idx="12675">
                  <c:v>5.0420168067226703E-3</c:v>
                </c:pt>
                <c:pt idx="12676">
                  <c:v>5.0420168067226703E-3</c:v>
                </c:pt>
                <c:pt idx="12677">
                  <c:v>5.0420168067226703E-3</c:v>
                </c:pt>
                <c:pt idx="12678">
                  <c:v>5.0420168067226703E-3</c:v>
                </c:pt>
                <c:pt idx="12679">
                  <c:v>5.0420168067226703E-3</c:v>
                </c:pt>
                <c:pt idx="12680">
                  <c:v>4.20168067226889E-3</c:v>
                </c:pt>
                <c:pt idx="12681">
                  <c:v>4.20168067226889E-3</c:v>
                </c:pt>
                <c:pt idx="12682">
                  <c:v>4.20168067226889E-3</c:v>
                </c:pt>
                <c:pt idx="12683">
                  <c:v>4.20168067226889E-3</c:v>
                </c:pt>
                <c:pt idx="12684">
                  <c:v>4.20168067226889E-3</c:v>
                </c:pt>
                <c:pt idx="12685">
                  <c:v>4.20168067226889E-3</c:v>
                </c:pt>
                <c:pt idx="12686">
                  <c:v>4.20168067226889E-3</c:v>
                </c:pt>
                <c:pt idx="12687">
                  <c:v>4.20168067226889E-3</c:v>
                </c:pt>
                <c:pt idx="12688">
                  <c:v>4.20168067226889E-3</c:v>
                </c:pt>
                <c:pt idx="12689">
                  <c:v>4.20168067226889E-3</c:v>
                </c:pt>
                <c:pt idx="12690">
                  <c:v>4.20168067226889E-3</c:v>
                </c:pt>
                <c:pt idx="12691">
                  <c:v>4.20168067226889E-3</c:v>
                </c:pt>
                <c:pt idx="12692">
                  <c:v>4.20168067226889E-3</c:v>
                </c:pt>
                <c:pt idx="12693">
                  <c:v>4.20168067226889E-3</c:v>
                </c:pt>
                <c:pt idx="12694">
                  <c:v>4.20168067226889E-3</c:v>
                </c:pt>
                <c:pt idx="12695">
                  <c:v>4.20168067226889E-3</c:v>
                </c:pt>
                <c:pt idx="12696">
                  <c:v>4.20168067226889E-3</c:v>
                </c:pt>
                <c:pt idx="12697">
                  <c:v>4.20168067226889E-3</c:v>
                </c:pt>
                <c:pt idx="12698">
                  <c:v>5.0420168067226703E-3</c:v>
                </c:pt>
                <c:pt idx="12699">
                  <c:v>5.0420168067226703E-3</c:v>
                </c:pt>
                <c:pt idx="12700">
                  <c:v>5.0420168067226703E-3</c:v>
                </c:pt>
                <c:pt idx="12701">
                  <c:v>5.0420168067226703E-3</c:v>
                </c:pt>
                <c:pt idx="12702">
                  <c:v>5.0420168067226703E-3</c:v>
                </c:pt>
                <c:pt idx="12703">
                  <c:v>5.0420168067226703E-3</c:v>
                </c:pt>
                <c:pt idx="12704">
                  <c:v>5.0420168067226703E-3</c:v>
                </c:pt>
                <c:pt idx="12705">
                  <c:v>5.0420168067226703E-3</c:v>
                </c:pt>
                <c:pt idx="12706">
                  <c:v>5.0420168067226703E-3</c:v>
                </c:pt>
                <c:pt idx="12707">
                  <c:v>5.0420168067226703E-3</c:v>
                </c:pt>
                <c:pt idx="12708">
                  <c:v>5.0420168067226703E-3</c:v>
                </c:pt>
                <c:pt idx="12709">
                  <c:v>5.0420168067226703E-3</c:v>
                </c:pt>
                <c:pt idx="12710">
                  <c:v>5.0420168067226703E-3</c:v>
                </c:pt>
                <c:pt idx="12711">
                  <c:v>5.0420168067226703E-3</c:v>
                </c:pt>
                <c:pt idx="12712">
                  <c:v>5.0420168067226703E-3</c:v>
                </c:pt>
                <c:pt idx="12713">
                  <c:v>5.0420168067226703E-3</c:v>
                </c:pt>
                <c:pt idx="12714">
                  <c:v>5.0420168067226703E-3</c:v>
                </c:pt>
                <c:pt idx="12715">
                  <c:v>5.0420168067226703E-3</c:v>
                </c:pt>
                <c:pt idx="12716">
                  <c:v>5.0420168067226703E-3</c:v>
                </c:pt>
                <c:pt idx="12717">
                  <c:v>5.0420168067226703E-3</c:v>
                </c:pt>
                <c:pt idx="12718">
                  <c:v>5.0420168067226703E-3</c:v>
                </c:pt>
                <c:pt idx="12719">
                  <c:v>5.0420168067226703E-3</c:v>
                </c:pt>
                <c:pt idx="12720">
                  <c:v>5.0420168067226703E-3</c:v>
                </c:pt>
                <c:pt idx="12721">
                  <c:v>5.0420168067226703E-3</c:v>
                </c:pt>
                <c:pt idx="12722">
                  <c:v>5.0420168067226703E-3</c:v>
                </c:pt>
                <c:pt idx="12723">
                  <c:v>5.0420168067226703E-3</c:v>
                </c:pt>
                <c:pt idx="12724">
                  <c:v>5.0420168067226703E-3</c:v>
                </c:pt>
                <c:pt idx="12725">
                  <c:v>5.0420168067226703E-3</c:v>
                </c:pt>
                <c:pt idx="12726">
                  <c:v>5.0420168067226703E-3</c:v>
                </c:pt>
                <c:pt idx="12727">
                  <c:v>5.0420168067226703E-3</c:v>
                </c:pt>
                <c:pt idx="12728">
                  <c:v>5.0420168067226703E-3</c:v>
                </c:pt>
                <c:pt idx="12729">
                  <c:v>5.0420168067226703E-3</c:v>
                </c:pt>
                <c:pt idx="12730">
                  <c:v>5.0420168067226703E-3</c:v>
                </c:pt>
                <c:pt idx="12731">
                  <c:v>5.0420168067226703E-3</c:v>
                </c:pt>
                <c:pt idx="12732">
                  <c:v>5.0420168067226703E-3</c:v>
                </c:pt>
                <c:pt idx="12733">
                  <c:v>5.0420168067226703E-3</c:v>
                </c:pt>
                <c:pt idx="12734">
                  <c:v>5.0420168067226703E-3</c:v>
                </c:pt>
                <c:pt idx="12735">
                  <c:v>5.0420168067226703E-3</c:v>
                </c:pt>
                <c:pt idx="12736">
                  <c:v>5.0420168067226703E-3</c:v>
                </c:pt>
                <c:pt idx="12737">
                  <c:v>5.0420168067226703E-3</c:v>
                </c:pt>
                <c:pt idx="12738">
                  <c:v>5.0420168067226703E-3</c:v>
                </c:pt>
                <c:pt idx="12739">
                  <c:v>5.0420168067226703E-3</c:v>
                </c:pt>
                <c:pt idx="12740">
                  <c:v>5.0420168067226703E-3</c:v>
                </c:pt>
                <c:pt idx="12741">
                  <c:v>5.0420168067226703E-3</c:v>
                </c:pt>
                <c:pt idx="12742">
                  <c:v>5.0420168067226703E-3</c:v>
                </c:pt>
                <c:pt idx="12743">
                  <c:v>5.0420168067226703E-3</c:v>
                </c:pt>
                <c:pt idx="12744">
                  <c:v>5.8823529411764497E-3</c:v>
                </c:pt>
                <c:pt idx="12745">
                  <c:v>5.8823529411764497E-3</c:v>
                </c:pt>
                <c:pt idx="12746">
                  <c:v>5.8823529411764497E-3</c:v>
                </c:pt>
                <c:pt idx="12747">
                  <c:v>5.8823529411764497E-3</c:v>
                </c:pt>
                <c:pt idx="12748">
                  <c:v>5.8823529411764497E-3</c:v>
                </c:pt>
                <c:pt idx="12749">
                  <c:v>5.8823529411764497E-3</c:v>
                </c:pt>
                <c:pt idx="12750">
                  <c:v>5.8823529411764497E-3</c:v>
                </c:pt>
                <c:pt idx="12751">
                  <c:v>5.8823529411764497E-3</c:v>
                </c:pt>
                <c:pt idx="12752">
                  <c:v>5.8823529411764497E-3</c:v>
                </c:pt>
                <c:pt idx="12753">
                  <c:v>5.8823529411764497E-3</c:v>
                </c:pt>
                <c:pt idx="12754">
                  <c:v>5.8823529411764497E-3</c:v>
                </c:pt>
                <c:pt idx="12755">
                  <c:v>5.8823529411764497E-3</c:v>
                </c:pt>
                <c:pt idx="12756">
                  <c:v>5.8823529411764497E-3</c:v>
                </c:pt>
                <c:pt idx="12757">
                  <c:v>5.8823529411764497E-3</c:v>
                </c:pt>
                <c:pt idx="12758">
                  <c:v>5.8823529411764497E-3</c:v>
                </c:pt>
                <c:pt idx="12759">
                  <c:v>5.8823529411764497E-3</c:v>
                </c:pt>
                <c:pt idx="12760">
                  <c:v>5.8823529411764497E-3</c:v>
                </c:pt>
                <c:pt idx="12761">
                  <c:v>5.8823529411764497E-3</c:v>
                </c:pt>
                <c:pt idx="12762">
                  <c:v>5.8823529411764497E-3</c:v>
                </c:pt>
                <c:pt idx="12763">
                  <c:v>5.8823529411764497E-3</c:v>
                </c:pt>
                <c:pt idx="12764">
                  <c:v>5.8823529411764497E-3</c:v>
                </c:pt>
                <c:pt idx="12765">
                  <c:v>5.8823529411764497E-3</c:v>
                </c:pt>
                <c:pt idx="12766">
                  <c:v>5.8823529411764497E-3</c:v>
                </c:pt>
                <c:pt idx="12767">
                  <c:v>5.0420168067226703E-3</c:v>
                </c:pt>
                <c:pt idx="12768">
                  <c:v>5.0420168067226703E-3</c:v>
                </c:pt>
                <c:pt idx="12769">
                  <c:v>5.0420168067226703E-3</c:v>
                </c:pt>
                <c:pt idx="12770">
                  <c:v>5.0420168067226703E-3</c:v>
                </c:pt>
                <c:pt idx="12771">
                  <c:v>5.0420168067226703E-3</c:v>
                </c:pt>
                <c:pt idx="12772">
                  <c:v>5.0420168067226703E-3</c:v>
                </c:pt>
                <c:pt idx="12773">
                  <c:v>5.0420168067226703E-3</c:v>
                </c:pt>
                <c:pt idx="12774">
                  <c:v>5.0420168067226703E-3</c:v>
                </c:pt>
                <c:pt idx="12775">
                  <c:v>5.0420168067226703E-3</c:v>
                </c:pt>
                <c:pt idx="12776">
                  <c:v>5.0420168067226703E-3</c:v>
                </c:pt>
                <c:pt idx="12777">
                  <c:v>5.0420168067226703E-3</c:v>
                </c:pt>
                <c:pt idx="12778">
                  <c:v>5.0420168067226703E-3</c:v>
                </c:pt>
                <c:pt idx="12779">
                  <c:v>5.0420168067226703E-3</c:v>
                </c:pt>
                <c:pt idx="12780">
                  <c:v>5.0420168067226703E-3</c:v>
                </c:pt>
                <c:pt idx="12781">
                  <c:v>5.0420168067226703E-3</c:v>
                </c:pt>
                <c:pt idx="12782">
                  <c:v>5.0420168067226703E-3</c:v>
                </c:pt>
                <c:pt idx="12783">
                  <c:v>5.0420168067226703E-3</c:v>
                </c:pt>
                <c:pt idx="12784">
                  <c:v>4.20168067226889E-3</c:v>
                </c:pt>
                <c:pt idx="12785">
                  <c:v>4.20168067226889E-3</c:v>
                </c:pt>
                <c:pt idx="12786">
                  <c:v>3.3613445378151102E-3</c:v>
                </c:pt>
                <c:pt idx="12787">
                  <c:v>3.3613445378151102E-3</c:v>
                </c:pt>
                <c:pt idx="12788">
                  <c:v>3.3613445378151102E-3</c:v>
                </c:pt>
                <c:pt idx="12789">
                  <c:v>3.3613445378151102E-3</c:v>
                </c:pt>
                <c:pt idx="12790">
                  <c:v>3.3613445378151102E-3</c:v>
                </c:pt>
                <c:pt idx="12791">
                  <c:v>3.3613445378151102E-3</c:v>
                </c:pt>
                <c:pt idx="12792">
                  <c:v>3.3613445378151102E-3</c:v>
                </c:pt>
                <c:pt idx="12793">
                  <c:v>3.3613445378151102E-3</c:v>
                </c:pt>
                <c:pt idx="12794">
                  <c:v>3.3613445378151102E-3</c:v>
                </c:pt>
                <c:pt idx="12795">
                  <c:v>3.3613445378151102E-3</c:v>
                </c:pt>
                <c:pt idx="12796">
                  <c:v>3.3613445378151102E-3</c:v>
                </c:pt>
                <c:pt idx="12797">
                  <c:v>3.3613445378151102E-3</c:v>
                </c:pt>
                <c:pt idx="12798">
                  <c:v>3.3613445378151102E-3</c:v>
                </c:pt>
                <c:pt idx="12799">
                  <c:v>4.20168067226889E-3</c:v>
                </c:pt>
                <c:pt idx="12800">
                  <c:v>4.20168067226889E-3</c:v>
                </c:pt>
                <c:pt idx="12801">
                  <c:v>4.20168067226889E-3</c:v>
                </c:pt>
                <c:pt idx="12802">
                  <c:v>4.20168067226889E-3</c:v>
                </c:pt>
                <c:pt idx="12803">
                  <c:v>4.20168067226889E-3</c:v>
                </c:pt>
                <c:pt idx="12804">
                  <c:v>4.20168067226889E-3</c:v>
                </c:pt>
                <c:pt idx="12805">
                  <c:v>4.20168067226889E-3</c:v>
                </c:pt>
                <c:pt idx="12806">
                  <c:v>4.20168067226889E-3</c:v>
                </c:pt>
                <c:pt idx="12807">
                  <c:v>4.20168067226889E-3</c:v>
                </c:pt>
                <c:pt idx="12808">
                  <c:v>4.20168067226889E-3</c:v>
                </c:pt>
                <c:pt idx="12809">
                  <c:v>4.20168067226889E-3</c:v>
                </c:pt>
                <c:pt idx="12810">
                  <c:v>4.20168067226889E-3</c:v>
                </c:pt>
                <c:pt idx="12811">
                  <c:v>4.20168067226889E-3</c:v>
                </c:pt>
                <c:pt idx="12812">
                  <c:v>4.20168067226889E-3</c:v>
                </c:pt>
                <c:pt idx="12813">
                  <c:v>4.20168067226889E-3</c:v>
                </c:pt>
                <c:pt idx="12814">
                  <c:v>4.20168067226889E-3</c:v>
                </c:pt>
                <c:pt idx="12815">
                  <c:v>4.20168067226889E-3</c:v>
                </c:pt>
                <c:pt idx="12816">
                  <c:v>4.20168067226889E-3</c:v>
                </c:pt>
                <c:pt idx="12817">
                  <c:v>4.20168067226889E-3</c:v>
                </c:pt>
                <c:pt idx="12818">
                  <c:v>4.20168067226889E-3</c:v>
                </c:pt>
                <c:pt idx="12819">
                  <c:v>4.20168067226889E-3</c:v>
                </c:pt>
                <c:pt idx="12820">
                  <c:v>5.0420168067226703E-3</c:v>
                </c:pt>
                <c:pt idx="12821">
                  <c:v>5.0420168067226703E-3</c:v>
                </c:pt>
                <c:pt idx="12822">
                  <c:v>5.0420168067226703E-3</c:v>
                </c:pt>
                <c:pt idx="12823">
                  <c:v>5.0420168067226703E-3</c:v>
                </c:pt>
                <c:pt idx="12824">
                  <c:v>5.0420168067226703E-3</c:v>
                </c:pt>
                <c:pt idx="12825">
                  <c:v>5.0420168067226703E-3</c:v>
                </c:pt>
                <c:pt idx="12826">
                  <c:v>5.0420168067226703E-3</c:v>
                </c:pt>
                <c:pt idx="12827">
                  <c:v>4.20168067226889E-3</c:v>
                </c:pt>
                <c:pt idx="12828">
                  <c:v>4.20168067226889E-3</c:v>
                </c:pt>
                <c:pt idx="12829">
                  <c:v>4.20168067226889E-3</c:v>
                </c:pt>
                <c:pt idx="12830">
                  <c:v>4.20168067226889E-3</c:v>
                </c:pt>
                <c:pt idx="12831">
                  <c:v>3.3613445378151102E-3</c:v>
                </c:pt>
                <c:pt idx="12832">
                  <c:v>3.3613445378151102E-3</c:v>
                </c:pt>
                <c:pt idx="12833">
                  <c:v>3.3613445378151102E-3</c:v>
                </c:pt>
                <c:pt idx="12834">
                  <c:v>3.3613445378151102E-3</c:v>
                </c:pt>
                <c:pt idx="12835">
                  <c:v>3.3613445378151102E-3</c:v>
                </c:pt>
                <c:pt idx="12836">
                  <c:v>3.3613445378151102E-3</c:v>
                </c:pt>
                <c:pt idx="12837">
                  <c:v>3.3613445378151102E-3</c:v>
                </c:pt>
                <c:pt idx="12838">
                  <c:v>3.3613445378151102E-3</c:v>
                </c:pt>
                <c:pt idx="12839">
                  <c:v>2.5210084033613299E-3</c:v>
                </c:pt>
                <c:pt idx="12840">
                  <c:v>3.3613445378151102E-3</c:v>
                </c:pt>
                <c:pt idx="12841">
                  <c:v>3.3613445378151102E-3</c:v>
                </c:pt>
                <c:pt idx="12842">
                  <c:v>3.3613445378151102E-3</c:v>
                </c:pt>
                <c:pt idx="12843">
                  <c:v>3.3613445378151102E-3</c:v>
                </c:pt>
                <c:pt idx="12844">
                  <c:v>3.3613445378151102E-3</c:v>
                </c:pt>
                <c:pt idx="12845">
                  <c:v>3.3613445378151102E-3</c:v>
                </c:pt>
                <c:pt idx="12846">
                  <c:v>3.3613445378151102E-3</c:v>
                </c:pt>
                <c:pt idx="12847">
                  <c:v>3.3613445378151102E-3</c:v>
                </c:pt>
                <c:pt idx="12848">
                  <c:v>3.3613445378151102E-3</c:v>
                </c:pt>
                <c:pt idx="12849">
                  <c:v>4.2016806722690002E-3</c:v>
                </c:pt>
                <c:pt idx="12850">
                  <c:v>4.2016806722690002E-3</c:v>
                </c:pt>
                <c:pt idx="12851">
                  <c:v>4.2016806722690002E-3</c:v>
                </c:pt>
                <c:pt idx="12852">
                  <c:v>4.2016806722690002E-3</c:v>
                </c:pt>
                <c:pt idx="12853">
                  <c:v>4.2016806722690002E-3</c:v>
                </c:pt>
                <c:pt idx="12854">
                  <c:v>4.2016806722690002E-3</c:v>
                </c:pt>
                <c:pt idx="12855">
                  <c:v>4.2016806722690002E-3</c:v>
                </c:pt>
                <c:pt idx="12856">
                  <c:v>4.2016806722690002E-3</c:v>
                </c:pt>
                <c:pt idx="12857">
                  <c:v>4.2016806722690002E-3</c:v>
                </c:pt>
                <c:pt idx="12858">
                  <c:v>4.2016806722690002E-3</c:v>
                </c:pt>
                <c:pt idx="12859">
                  <c:v>3.3613445378152199E-3</c:v>
                </c:pt>
                <c:pt idx="12860">
                  <c:v>3.3613445378152199E-3</c:v>
                </c:pt>
                <c:pt idx="12861">
                  <c:v>3.3613445378152199E-3</c:v>
                </c:pt>
                <c:pt idx="12862">
                  <c:v>3.3613445378152199E-3</c:v>
                </c:pt>
                <c:pt idx="12863">
                  <c:v>3.3613445378152199E-3</c:v>
                </c:pt>
                <c:pt idx="12864">
                  <c:v>3.3613445378152199E-3</c:v>
                </c:pt>
                <c:pt idx="12865">
                  <c:v>3.3613445378152199E-3</c:v>
                </c:pt>
                <c:pt idx="12866">
                  <c:v>3.3613445378152199E-3</c:v>
                </c:pt>
                <c:pt idx="12867">
                  <c:v>4.2016806722690002E-3</c:v>
                </c:pt>
                <c:pt idx="12868">
                  <c:v>4.2016806722690002E-3</c:v>
                </c:pt>
                <c:pt idx="12869">
                  <c:v>4.2016806722690002E-3</c:v>
                </c:pt>
                <c:pt idx="12870">
                  <c:v>3.3613445378152199E-3</c:v>
                </c:pt>
                <c:pt idx="12871">
                  <c:v>3.3613445378152199E-3</c:v>
                </c:pt>
                <c:pt idx="12872">
                  <c:v>3.3613445378152199E-3</c:v>
                </c:pt>
                <c:pt idx="12873">
                  <c:v>3.3613445378152199E-3</c:v>
                </c:pt>
                <c:pt idx="12874">
                  <c:v>3.3613445378152199E-3</c:v>
                </c:pt>
                <c:pt idx="12875">
                  <c:v>3.3613445378152199E-3</c:v>
                </c:pt>
                <c:pt idx="12876">
                  <c:v>3.3613445378152199E-3</c:v>
                </c:pt>
                <c:pt idx="12877">
                  <c:v>3.3613445378152199E-3</c:v>
                </c:pt>
                <c:pt idx="12878">
                  <c:v>3.3613445378152199E-3</c:v>
                </c:pt>
                <c:pt idx="12879">
                  <c:v>3.3613445378152199E-3</c:v>
                </c:pt>
                <c:pt idx="12880">
                  <c:v>3.3613445378152199E-3</c:v>
                </c:pt>
                <c:pt idx="12881">
                  <c:v>3.3613445378152199E-3</c:v>
                </c:pt>
                <c:pt idx="12882">
                  <c:v>3.3613445378152199E-3</c:v>
                </c:pt>
                <c:pt idx="12883">
                  <c:v>3.3613445378152199E-3</c:v>
                </c:pt>
                <c:pt idx="12884">
                  <c:v>3.3613445378152199E-3</c:v>
                </c:pt>
                <c:pt idx="12885">
                  <c:v>3.3613445378152199E-3</c:v>
                </c:pt>
                <c:pt idx="12886">
                  <c:v>3.3613445378152199E-3</c:v>
                </c:pt>
                <c:pt idx="12887">
                  <c:v>3.3613445378152199E-3</c:v>
                </c:pt>
                <c:pt idx="12888">
                  <c:v>3.3613445378152199E-3</c:v>
                </c:pt>
                <c:pt idx="12889">
                  <c:v>3.3613445378152199E-3</c:v>
                </c:pt>
                <c:pt idx="12890">
                  <c:v>4.2016806722690002E-3</c:v>
                </c:pt>
                <c:pt idx="12891">
                  <c:v>4.2016806722690002E-3</c:v>
                </c:pt>
                <c:pt idx="12892">
                  <c:v>4.2016806722690002E-3</c:v>
                </c:pt>
                <c:pt idx="12893">
                  <c:v>4.2016806722690002E-3</c:v>
                </c:pt>
                <c:pt idx="12894">
                  <c:v>4.2016806722690002E-3</c:v>
                </c:pt>
                <c:pt idx="12895">
                  <c:v>4.2016806722690002E-3</c:v>
                </c:pt>
                <c:pt idx="12896">
                  <c:v>4.2016806722690002E-3</c:v>
                </c:pt>
                <c:pt idx="12897">
                  <c:v>4.2016806722690002E-3</c:v>
                </c:pt>
                <c:pt idx="12898">
                  <c:v>4.2016806722690002E-3</c:v>
                </c:pt>
                <c:pt idx="12899">
                  <c:v>4.2016806722690002E-3</c:v>
                </c:pt>
                <c:pt idx="12900">
                  <c:v>4.2016806722690002E-3</c:v>
                </c:pt>
                <c:pt idx="12901">
                  <c:v>4.2016806722690002E-3</c:v>
                </c:pt>
                <c:pt idx="12902">
                  <c:v>4.2016806722690002E-3</c:v>
                </c:pt>
                <c:pt idx="12903">
                  <c:v>4.2016806722690002E-3</c:v>
                </c:pt>
                <c:pt idx="12904">
                  <c:v>4.2016806722690002E-3</c:v>
                </c:pt>
                <c:pt idx="12905">
                  <c:v>4.2016806722690002E-3</c:v>
                </c:pt>
                <c:pt idx="12906">
                  <c:v>4.2016806722690002E-3</c:v>
                </c:pt>
                <c:pt idx="12907">
                  <c:v>4.2016806722690002E-3</c:v>
                </c:pt>
                <c:pt idx="12908">
                  <c:v>3.3613445378152199E-3</c:v>
                </c:pt>
                <c:pt idx="12909">
                  <c:v>3.3613445378152199E-3</c:v>
                </c:pt>
                <c:pt idx="12910">
                  <c:v>3.3613445378152199E-3</c:v>
                </c:pt>
                <c:pt idx="12911">
                  <c:v>3.3613445378152199E-3</c:v>
                </c:pt>
                <c:pt idx="12912">
                  <c:v>3.3613445378152199E-3</c:v>
                </c:pt>
                <c:pt idx="12913">
                  <c:v>3.3613445378152199E-3</c:v>
                </c:pt>
                <c:pt idx="12914">
                  <c:v>3.3613445378152199E-3</c:v>
                </c:pt>
                <c:pt idx="12915">
                  <c:v>3.3613445378152199E-3</c:v>
                </c:pt>
                <c:pt idx="12916">
                  <c:v>4.2016806722690002E-3</c:v>
                </c:pt>
                <c:pt idx="12917">
                  <c:v>4.2016806722690002E-3</c:v>
                </c:pt>
                <c:pt idx="12918">
                  <c:v>4.2016806722690002E-3</c:v>
                </c:pt>
                <c:pt idx="12919">
                  <c:v>4.2016806722690002E-3</c:v>
                </c:pt>
                <c:pt idx="12920">
                  <c:v>4.2016806722690002E-3</c:v>
                </c:pt>
                <c:pt idx="12921">
                  <c:v>4.2016806722690002E-3</c:v>
                </c:pt>
                <c:pt idx="12922">
                  <c:v>4.2016806722690002E-3</c:v>
                </c:pt>
                <c:pt idx="12923">
                  <c:v>4.2016806722690002E-3</c:v>
                </c:pt>
                <c:pt idx="12924">
                  <c:v>4.2016806722690002E-3</c:v>
                </c:pt>
                <c:pt idx="12925">
                  <c:v>4.2016806722690002E-3</c:v>
                </c:pt>
                <c:pt idx="12926">
                  <c:v>4.2016806722690002E-3</c:v>
                </c:pt>
                <c:pt idx="12927">
                  <c:v>4.2016806722690002E-3</c:v>
                </c:pt>
                <c:pt idx="12928">
                  <c:v>4.2016806722690002E-3</c:v>
                </c:pt>
                <c:pt idx="12929">
                  <c:v>4.2016806722690002E-3</c:v>
                </c:pt>
                <c:pt idx="12930">
                  <c:v>4.2016806722690002E-3</c:v>
                </c:pt>
                <c:pt idx="12931">
                  <c:v>4.2016806722690002E-3</c:v>
                </c:pt>
                <c:pt idx="12932">
                  <c:v>4.2016806722690002E-3</c:v>
                </c:pt>
                <c:pt idx="12933">
                  <c:v>4.2016806722690002E-3</c:v>
                </c:pt>
                <c:pt idx="12934">
                  <c:v>4.2016806722690002E-3</c:v>
                </c:pt>
                <c:pt idx="12935">
                  <c:v>5.0420168067227796E-3</c:v>
                </c:pt>
                <c:pt idx="12936">
                  <c:v>5.0420168067227796E-3</c:v>
                </c:pt>
                <c:pt idx="12937">
                  <c:v>5.0420168067227796E-3</c:v>
                </c:pt>
                <c:pt idx="12938">
                  <c:v>5.0420168067227796E-3</c:v>
                </c:pt>
                <c:pt idx="12939">
                  <c:v>5.0420168067227796E-3</c:v>
                </c:pt>
                <c:pt idx="12940">
                  <c:v>5.0420168067227796E-3</c:v>
                </c:pt>
                <c:pt idx="12941">
                  <c:v>5.0420168067227796E-3</c:v>
                </c:pt>
                <c:pt idx="12942">
                  <c:v>5.0420168067227796E-3</c:v>
                </c:pt>
                <c:pt idx="12943">
                  <c:v>5.0420168067227796E-3</c:v>
                </c:pt>
                <c:pt idx="12944">
                  <c:v>5.0420168067227796E-3</c:v>
                </c:pt>
                <c:pt idx="12945">
                  <c:v>5.0420168067227796E-3</c:v>
                </c:pt>
                <c:pt idx="12946">
                  <c:v>5.0420168067227796E-3</c:v>
                </c:pt>
                <c:pt idx="12947">
                  <c:v>5.0420168067227796E-3</c:v>
                </c:pt>
                <c:pt idx="12948">
                  <c:v>5.0420168067227796E-3</c:v>
                </c:pt>
                <c:pt idx="12949">
                  <c:v>5.8823529411765598E-3</c:v>
                </c:pt>
                <c:pt idx="12950">
                  <c:v>5.8823529411765598E-3</c:v>
                </c:pt>
                <c:pt idx="12951">
                  <c:v>5.8823529411765598E-3</c:v>
                </c:pt>
                <c:pt idx="12952">
                  <c:v>5.8823529411765598E-3</c:v>
                </c:pt>
                <c:pt idx="12953">
                  <c:v>5.8823529411765598E-3</c:v>
                </c:pt>
                <c:pt idx="12954">
                  <c:v>5.8823529411765598E-3</c:v>
                </c:pt>
                <c:pt idx="12955">
                  <c:v>5.8823529411765598E-3</c:v>
                </c:pt>
                <c:pt idx="12956">
                  <c:v>5.8823529411765598E-3</c:v>
                </c:pt>
                <c:pt idx="12957">
                  <c:v>5.8823529411765598E-3</c:v>
                </c:pt>
                <c:pt idx="12958">
                  <c:v>5.8823529411765598E-3</c:v>
                </c:pt>
                <c:pt idx="12959">
                  <c:v>5.8823529411765598E-3</c:v>
                </c:pt>
                <c:pt idx="12960">
                  <c:v>6.7226890756303297E-3</c:v>
                </c:pt>
                <c:pt idx="12961">
                  <c:v>6.7226890756303297E-3</c:v>
                </c:pt>
                <c:pt idx="12962">
                  <c:v>6.7226890756303297E-3</c:v>
                </c:pt>
                <c:pt idx="12963">
                  <c:v>6.7226890756303297E-3</c:v>
                </c:pt>
                <c:pt idx="12964">
                  <c:v>6.7226890756303297E-3</c:v>
                </c:pt>
                <c:pt idx="12965">
                  <c:v>6.7226890756303297E-3</c:v>
                </c:pt>
                <c:pt idx="12966">
                  <c:v>6.7226890756303297E-3</c:v>
                </c:pt>
                <c:pt idx="12967">
                  <c:v>6.7226890756303297E-3</c:v>
                </c:pt>
                <c:pt idx="12968">
                  <c:v>6.7226890756303297E-3</c:v>
                </c:pt>
                <c:pt idx="12969">
                  <c:v>6.7226890756303297E-3</c:v>
                </c:pt>
                <c:pt idx="12970">
                  <c:v>6.7226890756303297E-3</c:v>
                </c:pt>
                <c:pt idx="12971">
                  <c:v>6.7226890756303297E-3</c:v>
                </c:pt>
                <c:pt idx="12972">
                  <c:v>6.7226890756303297E-3</c:v>
                </c:pt>
                <c:pt idx="12973">
                  <c:v>6.7226890756303297E-3</c:v>
                </c:pt>
                <c:pt idx="12974">
                  <c:v>6.7226890756303297E-3</c:v>
                </c:pt>
                <c:pt idx="12975">
                  <c:v>6.7226890756303297E-3</c:v>
                </c:pt>
                <c:pt idx="12976">
                  <c:v>7.56302521008411E-3</c:v>
                </c:pt>
                <c:pt idx="12977">
                  <c:v>7.56302521008411E-3</c:v>
                </c:pt>
                <c:pt idx="12978">
                  <c:v>7.56302521008411E-3</c:v>
                </c:pt>
                <c:pt idx="12979">
                  <c:v>7.56302521008411E-3</c:v>
                </c:pt>
                <c:pt idx="12980">
                  <c:v>7.56302521008411E-3</c:v>
                </c:pt>
                <c:pt idx="12981">
                  <c:v>7.56302521008411E-3</c:v>
                </c:pt>
                <c:pt idx="12982">
                  <c:v>7.56302521008411E-3</c:v>
                </c:pt>
                <c:pt idx="12983">
                  <c:v>8.4033613445378894E-3</c:v>
                </c:pt>
                <c:pt idx="12984">
                  <c:v>8.4033613445378894E-3</c:v>
                </c:pt>
                <c:pt idx="12985">
                  <c:v>8.4033613445378894E-3</c:v>
                </c:pt>
                <c:pt idx="12986">
                  <c:v>8.4033613445378894E-3</c:v>
                </c:pt>
                <c:pt idx="12987">
                  <c:v>8.4033613445378894E-3</c:v>
                </c:pt>
                <c:pt idx="12988">
                  <c:v>8.4033613445378894E-3</c:v>
                </c:pt>
                <c:pt idx="12989">
                  <c:v>8.4033613445378894E-3</c:v>
                </c:pt>
                <c:pt idx="12990">
                  <c:v>8.4033613445378894E-3</c:v>
                </c:pt>
                <c:pt idx="12991">
                  <c:v>8.4033613445378894E-3</c:v>
                </c:pt>
                <c:pt idx="12992">
                  <c:v>8.4033613445378894E-3</c:v>
                </c:pt>
                <c:pt idx="12993">
                  <c:v>8.4033613445378894E-3</c:v>
                </c:pt>
                <c:pt idx="12994">
                  <c:v>8.4033613445378894E-3</c:v>
                </c:pt>
                <c:pt idx="12995">
                  <c:v>8.4033613445378894E-3</c:v>
                </c:pt>
                <c:pt idx="12996">
                  <c:v>8.4033613445378894E-3</c:v>
                </c:pt>
                <c:pt idx="12997">
                  <c:v>8.4033613445378894E-3</c:v>
                </c:pt>
                <c:pt idx="12998">
                  <c:v>8.4033613445378894E-3</c:v>
                </c:pt>
                <c:pt idx="12999">
                  <c:v>8.4033613445378894E-3</c:v>
                </c:pt>
                <c:pt idx="13000">
                  <c:v>8.4033613445378894E-3</c:v>
                </c:pt>
                <c:pt idx="13001">
                  <c:v>8.4033613445378894E-3</c:v>
                </c:pt>
                <c:pt idx="13002">
                  <c:v>8.4033613445378894E-3</c:v>
                </c:pt>
                <c:pt idx="13003">
                  <c:v>8.4033613445378894E-3</c:v>
                </c:pt>
                <c:pt idx="13004">
                  <c:v>8.4033613445378894E-3</c:v>
                </c:pt>
                <c:pt idx="13005">
                  <c:v>7.56302521008411E-3</c:v>
                </c:pt>
                <c:pt idx="13006">
                  <c:v>7.56302521008411E-3</c:v>
                </c:pt>
                <c:pt idx="13007">
                  <c:v>7.56302521008411E-3</c:v>
                </c:pt>
                <c:pt idx="13008">
                  <c:v>7.56302521008411E-3</c:v>
                </c:pt>
                <c:pt idx="13009">
                  <c:v>7.56302521008411E-3</c:v>
                </c:pt>
                <c:pt idx="13010">
                  <c:v>7.56302521008411E-3</c:v>
                </c:pt>
                <c:pt idx="13011">
                  <c:v>7.56302521008411E-3</c:v>
                </c:pt>
                <c:pt idx="13012">
                  <c:v>7.56302521008411E-3</c:v>
                </c:pt>
                <c:pt idx="13013">
                  <c:v>7.56302521008411E-3</c:v>
                </c:pt>
                <c:pt idx="13014">
                  <c:v>7.56302521008411E-3</c:v>
                </c:pt>
                <c:pt idx="13015">
                  <c:v>7.56302521008411E-3</c:v>
                </c:pt>
                <c:pt idx="13016">
                  <c:v>7.56302521008411E-3</c:v>
                </c:pt>
                <c:pt idx="13017">
                  <c:v>7.56302521008411E-3</c:v>
                </c:pt>
                <c:pt idx="13018">
                  <c:v>7.56302521008411E-3</c:v>
                </c:pt>
                <c:pt idx="13019">
                  <c:v>7.56302521008411E-3</c:v>
                </c:pt>
                <c:pt idx="13020">
                  <c:v>7.56302521008411E-3</c:v>
                </c:pt>
                <c:pt idx="13021">
                  <c:v>6.7226890756302204E-3</c:v>
                </c:pt>
                <c:pt idx="13022">
                  <c:v>5.8823529411764497E-3</c:v>
                </c:pt>
                <c:pt idx="13023">
                  <c:v>5.8823529411764497E-3</c:v>
                </c:pt>
                <c:pt idx="13024">
                  <c:v>5.8823529411764497E-3</c:v>
                </c:pt>
                <c:pt idx="13025">
                  <c:v>5.8823529411764497E-3</c:v>
                </c:pt>
                <c:pt idx="13026">
                  <c:v>5.8823529411764497E-3</c:v>
                </c:pt>
                <c:pt idx="13027">
                  <c:v>5.8823529411764497E-3</c:v>
                </c:pt>
                <c:pt idx="13028">
                  <c:v>5.8823529411764497E-3</c:v>
                </c:pt>
                <c:pt idx="13029">
                  <c:v>5.8823529411764497E-3</c:v>
                </c:pt>
                <c:pt idx="13030">
                  <c:v>5.8823529411764497E-3</c:v>
                </c:pt>
                <c:pt idx="13031">
                  <c:v>5.8823529411764497E-3</c:v>
                </c:pt>
                <c:pt idx="13032">
                  <c:v>5.8823529411764497E-3</c:v>
                </c:pt>
                <c:pt idx="13033">
                  <c:v>5.8823529411764497E-3</c:v>
                </c:pt>
                <c:pt idx="13034">
                  <c:v>5.8823529411764497E-3</c:v>
                </c:pt>
                <c:pt idx="13035">
                  <c:v>5.8823529411764497E-3</c:v>
                </c:pt>
                <c:pt idx="13036">
                  <c:v>5.8823529411764497E-3</c:v>
                </c:pt>
                <c:pt idx="13037">
                  <c:v>5.8823529411764497E-3</c:v>
                </c:pt>
                <c:pt idx="13038">
                  <c:v>5.8823529411764497E-3</c:v>
                </c:pt>
                <c:pt idx="13039">
                  <c:v>5.8823529411764497E-3</c:v>
                </c:pt>
                <c:pt idx="13040">
                  <c:v>5.8823529411764497E-3</c:v>
                </c:pt>
                <c:pt idx="13041">
                  <c:v>5.8823529411764497E-3</c:v>
                </c:pt>
                <c:pt idx="13042">
                  <c:v>5.8823529411764497E-3</c:v>
                </c:pt>
                <c:pt idx="13043">
                  <c:v>5.8823529411764497E-3</c:v>
                </c:pt>
                <c:pt idx="13044">
                  <c:v>5.8823529411764497E-3</c:v>
                </c:pt>
                <c:pt idx="13045">
                  <c:v>5.0420168067226703E-3</c:v>
                </c:pt>
                <c:pt idx="13046">
                  <c:v>5.0420168067226703E-3</c:v>
                </c:pt>
                <c:pt idx="13047">
                  <c:v>5.0420168067226703E-3</c:v>
                </c:pt>
                <c:pt idx="13048">
                  <c:v>5.0420168067226703E-3</c:v>
                </c:pt>
                <c:pt idx="13049">
                  <c:v>5.0420168067226703E-3</c:v>
                </c:pt>
                <c:pt idx="13050">
                  <c:v>5.0420168067226703E-3</c:v>
                </c:pt>
                <c:pt idx="13051">
                  <c:v>5.0420168067226703E-3</c:v>
                </c:pt>
                <c:pt idx="13052">
                  <c:v>5.0420168067226703E-3</c:v>
                </c:pt>
                <c:pt idx="13053">
                  <c:v>5.0420168067226703E-3</c:v>
                </c:pt>
                <c:pt idx="13054">
                  <c:v>5.0420168067226703E-3</c:v>
                </c:pt>
                <c:pt idx="13055">
                  <c:v>5.0420168067226703E-3</c:v>
                </c:pt>
                <c:pt idx="13056">
                  <c:v>4.20168067226889E-3</c:v>
                </c:pt>
                <c:pt idx="13057">
                  <c:v>4.20168067226889E-3</c:v>
                </c:pt>
                <c:pt idx="13058">
                  <c:v>4.20168067226889E-3</c:v>
                </c:pt>
                <c:pt idx="13059">
                  <c:v>4.20168067226889E-3</c:v>
                </c:pt>
                <c:pt idx="13060">
                  <c:v>4.20168067226889E-3</c:v>
                </c:pt>
                <c:pt idx="13061">
                  <c:v>4.20168067226889E-3</c:v>
                </c:pt>
                <c:pt idx="13062">
                  <c:v>4.20168067226889E-3</c:v>
                </c:pt>
                <c:pt idx="13063">
                  <c:v>4.20168067226889E-3</c:v>
                </c:pt>
                <c:pt idx="13064">
                  <c:v>4.20168067226889E-3</c:v>
                </c:pt>
                <c:pt idx="13065">
                  <c:v>4.20168067226889E-3</c:v>
                </c:pt>
                <c:pt idx="13066">
                  <c:v>4.20168067226889E-3</c:v>
                </c:pt>
                <c:pt idx="13067">
                  <c:v>4.20168067226889E-3</c:v>
                </c:pt>
                <c:pt idx="13068">
                  <c:v>4.20168067226889E-3</c:v>
                </c:pt>
                <c:pt idx="13069">
                  <c:v>4.20168067226889E-3</c:v>
                </c:pt>
                <c:pt idx="13070">
                  <c:v>4.20168067226889E-3</c:v>
                </c:pt>
                <c:pt idx="13071">
                  <c:v>4.20168067226889E-3</c:v>
                </c:pt>
                <c:pt idx="13072">
                  <c:v>4.20168067226889E-3</c:v>
                </c:pt>
                <c:pt idx="13073">
                  <c:v>4.20168067226889E-3</c:v>
                </c:pt>
                <c:pt idx="13074">
                  <c:v>4.20168067226889E-3</c:v>
                </c:pt>
                <c:pt idx="13075">
                  <c:v>4.20168067226889E-3</c:v>
                </c:pt>
                <c:pt idx="13076">
                  <c:v>4.20168067226889E-3</c:v>
                </c:pt>
                <c:pt idx="13077">
                  <c:v>4.20168067226889E-3</c:v>
                </c:pt>
                <c:pt idx="13078">
                  <c:v>4.20168067226889E-3</c:v>
                </c:pt>
                <c:pt idx="13079">
                  <c:v>4.20168067226889E-3</c:v>
                </c:pt>
                <c:pt idx="13080">
                  <c:v>3.3613445378151102E-3</c:v>
                </c:pt>
                <c:pt idx="13081">
                  <c:v>3.3613445378151102E-3</c:v>
                </c:pt>
                <c:pt idx="13082">
                  <c:v>3.3613445378151102E-3</c:v>
                </c:pt>
                <c:pt idx="13083">
                  <c:v>3.3613445378151102E-3</c:v>
                </c:pt>
                <c:pt idx="13084">
                  <c:v>3.3613445378151102E-3</c:v>
                </c:pt>
                <c:pt idx="13085">
                  <c:v>3.3613445378151102E-3</c:v>
                </c:pt>
                <c:pt idx="13086">
                  <c:v>3.3613445378151102E-3</c:v>
                </c:pt>
                <c:pt idx="13087">
                  <c:v>3.3613445378151102E-3</c:v>
                </c:pt>
                <c:pt idx="13088">
                  <c:v>3.3613445378151102E-3</c:v>
                </c:pt>
                <c:pt idx="13089">
                  <c:v>3.3613445378151102E-3</c:v>
                </c:pt>
                <c:pt idx="13090">
                  <c:v>3.3613445378151102E-3</c:v>
                </c:pt>
                <c:pt idx="13091">
                  <c:v>3.3613445378151102E-3</c:v>
                </c:pt>
                <c:pt idx="13092">
                  <c:v>3.3613445378151102E-3</c:v>
                </c:pt>
                <c:pt idx="13093">
                  <c:v>3.3613445378151102E-3</c:v>
                </c:pt>
                <c:pt idx="13094">
                  <c:v>3.3613445378151102E-3</c:v>
                </c:pt>
                <c:pt idx="13095">
                  <c:v>3.3613445378151102E-3</c:v>
                </c:pt>
                <c:pt idx="13096">
                  <c:v>3.3613445378151102E-3</c:v>
                </c:pt>
                <c:pt idx="13097">
                  <c:v>3.3613445378151102E-3</c:v>
                </c:pt>
                <c:pt idx="13098">
                  <c:v>3.3613445378151102E-3</c:v>
                </c:pt>
                <c:pt idx="13099">
                  <c:v>3.3613445378151102E-3</c:v>
                </c:pt>
                <c:pt idx="13100">
                  <c:v>3.3613445378151102E-3</c:v>
                </c:pt>
                <c:pt idx="13101">
                  <c:v>3.3613445378151102E-3</c:v>
                </c:pt>
                <c:pt idx="13102">
                  <c:v>3.3613445378151102E-3</c:v>
                </c:pt>
                <c:pt idx="13103">
                  <c:v>3.3613445378151102E-3</c:v>
                </c:pt>
                <c:pt idx="13104">
                  <c:v>3.3613445378151102E-3</c:v>
                </c:pt>
                <c:pt idx="13105">
                  <c:v>3.3613445378151102E-3</c:v>
                </c:pt>
                <c:pt idx="13106">
                  <c:v>3.3613445378151102E-3</c:v>
                </c:pt>
                <c:pt idx="13107">
                  <c:v>3.3613445378151102E-3</c:v>
                </c:pt>
                <c:pt idx="13108">
                  <c:v>3.3613445378151102E-3</c:v>
                </c:pt>
                <c:pt idx="13109">
                  <c:v>4.20168067226889E-3</c:v>
                </c:pt>
                <c:pt idx="13110">
                  <c:v>5.0420168067226703E-3</c:v>
                </c:pt>
                <c:pt idx="13111">
                  <c:v>5.0420168067226703E-3</c:v>
                </c:pt>
                <c:pt idx="13112">
                  <c:v>5.0420168067226703E-3</c:v>
                </c:pt>
                <c:pt idx="13113">
                  <c:v>5.0420168067226703E-3</c:v>
                </c:pt>
                <c:pt idx="13114">
                  <c:v>5.0420168067226703E-3</c:v>
                </c:pt>
                <c:pt idx="13115">
                  <c:v>5.0420168067226703E-3</c:v>
                </c:pt>
                <c:pt idx="13116">
                  <c:v>5.0420168067226703E-3</c:v>
                </c:pt>
                <c:pt idx="13117">
                  <c:v>5.0420168067226703E-3</c:v>
                </c:pt>
                <c:pt idx="13118">
                  <c:v>5.0420168067226703E-3</c:v>
                </c:pt>
                <c:pt idx="13119">
                  <c:v>5.0420168067226703E-3</c:v>
                </c:pt>
                <c:pt idx="13120">
                  <c:v>5.0420168067226703E-3</c:v>
                </c:pt>
                <c:pt idx="13121">
                  <c:v>5.0420168067226703E-3</c:v>
                </c:pt>
                <c:pt idx="13122">
                  <c:v>5.0420168067226703E-3</c:v>
                </c:pt>
                <c:pt idx="13123">
                  <c:v>5.0420168067226703E-3</c:v>
                </c:pt>
                <c:pt idx="13124">
                  <c:v>5.0420168067226703E-3</c:v>
                </c:pt>
                <c:pt idx="13125">
                  <c:v>5.0420168067226703E-3</c:v>
                </c:pt>
                <c:pt idx="13126">
                  <c:v>5.0420168067226703E-3</c:v>
                </c:pt>
                <c:pt idx="13127">
                  <c:v>5.0420168067226703E-3</c:v>
                </c:pt>
                <c:pt idx="13128">
                  <c:v>5.0420168067226703E-3</c:v>
                </c:pt>
                <c:pt idx="13129">
                  <c:v>5.0420168067226703E-3</c:v>
                </c:pt>
                <c:pt idx="13130">
                  <c:v>5.0420168067226703E-3</c:v>
                </c:pt>
                <c:pt idx="13131">
                  <c:v>5.0420168067226703E-3</c:v>
                </c:pt>
                <c:pt idx="13132">
                  <c:v>5.0420168067226703E-3</c:v>
                </c:pt>
                <c:pt idx="13133">
                  <c:v>5.0420168067226703E-3</c:v>
                </c:pt>
                <c:pt idx="13134">
                  <c:v>5.0420168067226703E-3</c:v>
                </c:pt>
                <c:pt idx="13135">
                  <c:v>5.0420168067226703E-3</c:v>
                </c:pt>
                <c:pt idx="13136">
                  <c:v>5.0420168067226703E-3</c:v>
                </c:pt>
                <c:pt idx="13137">
                  <c:v>5.0420168067226703E-3</c:v>
                </c:pt>
                <c:pt idx="13138">
                  <c:v>5.0420168067226703E-3</c:v>
                </c:pt>
                <c:pt idx="13139">
                  <c:v>5.0420168067226703E-3</c:v>
                </c:pt>
                <c:pt idx="13140">
                  <c:v>5.0420168067226703E-3</c:v>
                </c:pt>
                <c:pt idx="13141">
                  <c:v>5.0420168067226703E-3</c:v>
                </c:pt>
                <c:pt idx="13142">
                  <c:v>5.0420168067226703E-3</c:v>
                </c:pt>
                <c:pt idx="13143">
                  <c:v>4.20168067226889E-3</c:v>
                </c:pt>
                <c:pt idx="13144">
                  <c:v>4.20168067226889E-3</c:v>
                </c:pt>
                <c:pt idx="13145">
                  <c:v>4.20168067226889E-3</c:v>
                </c:pt>
                <c:pt idx="13146">
                  <c:v>3.3613445378151102E-3</c:v>
                </c:pt>
                <c:pt idx="13147">
                  <c:v>3.3613445378151102E-3</c:v>
                </c:pt>
                <c:pt idx="13148">
                  <c:v>3.3613445378151102E-3</c:v>
                </c:pt>
                <c:pt idx="13149">
                  <c:v>3.3613445378151102E-3</c:v>
                </c:pt>
                <c:pt idx="13150">
                  <c:v>3.3613445378151102E-3</c:v>
                </c:pt>
                <c:pt idx="13151">
                  <c:v>3.3613445378151102E-3</c:v>
                </c:pt>
                <c:pt idx="13152">
                  <c:v>3.3613445378151102E-3</c:v>
                </c:pt>
                <c:pt idx="13153">
                  <c:v>3.3613445378151102E-3</c:v>
                </c:pt>
                <c:pt idx="13154">
                  <c:v>3.3613445378151102E-3</c:v>
                </c:pt>
                <c:pt idx="13155">
                  <c:v>3.3613445378151102E-3</c:v>
                </c:pt>
                <c:pt idx="13156">
                  <c:v>3.3613445378151102E-3</c:v>
                </c:pt>
                <c:pt idx="13157">
                  <c:v>3.3613445378151102E-3</c:v>
                </c:pt>
                <c:pt idx="13158">
                  <c:v>3.3613445378151102E-3</c:v>
                </c:pt>
                <c:pt idx="13159">
                  <c:v>3.3613445378151102E-3</c:v>
                </c:pt>
                <c:pt idx="13160">
                  <c:v>3.3613445378151102E-3</c:v>
                </c:pt>
                <c:pt idx="13161">
                  <c:v>4.20168067226889E-3</c:v>
                </c:pt>
                <c:pt idx="13162">
                  <c:v>4.20168067226889E-3</c:v>
                </c:pt>
                <c:pt idx="13163">
                  <c:v>4.20168067226889E-3</c:v>
                </c:pt>
                <c:pt idx="13164">
                  <c:v>4.20168067226889E-3</c:v>
                </c:pt>
                <c:pt idx="13165">
                  <c:v>4.20168067226889E-3</c:v>
                </c:pt>
                <c:pt idx="13166">
                  <c:v>5.0420168067226703E-3</c:v>
                </c:pt>
                <c:pt idx="13167">
                  <c:v>5.0420168067226703E-3</c:v>
                </c:pt>
                <c:pt idx="13168">
                  <c:v>5.0420168067226703E-3</c:v>
                </c:pt>
                <c:pt idx="13169">
                  <c:v>5.0420168067226703E-3</c:v>
                </c:pt>
                <c:pt idx="13170">
                  <c:v>5.0420168067226703E-3</c:v>
                </c:pt>
                <c:pt idx="13171">
                  <c:v>5.0420168067226703E-3</c:v>
                </c:pt>
                <c:pt idx="13172">
                  <c:v>5.0420168067226703E-3</c:v>
                </c:pt>
                <c:pt idx="13173">
                  <c:v>5.0420168067226703E-3</c:v>
                </c:pt>
                <c:pt idx="13174">
                  <c:v>5.0420168067226703E-3</c:v>
                </c:pt>
                <c:pt idx="13175">
                  <c:v>5.0420168067226703E-3</c:v>
                </c:pt>
                <c:pt idx="13176">
                  <c:v>5.0420168067226703E-3</c:v>
                </c:pt>
                <c:pt idx="13177">
                  <c:v>5.0420168067226703E-3</c:v>
                </c:pt>
                <c:pt idx="13178">
                  <c:v>5.0420168067226703E-3</c:v>
                </c:pt>
                <c:pt idx="13179">
                  <c:v>5.0420168067226703E-3</c:v>
                </c:pt>
                <c:pt idx="13180">
                  <c:v>5.0420168067226703E-3</c:v>
                </c:pt>
                <c:pt idx="13181">
                  <c:v>5.8823529411764497E-3</c:v>
                </c:pt>
                <c:pt idx="13182">
                  <c:v>5.8823529411764497E-3</c:v>
                </c:pt>
                <c:pt idx="13183">
                  <c:v>5.8823529411764497E-3</c:v>
                </c:pt>
                <c:pt idx="13184">
                  <c:v>5.8823529411764497E-3</c:v>
                </c:pt>
                <c:pt idx="13185">
                  <c:v>5.8823529411764497E-3</c:v>
                </c:pt>
                <c:pt idx="13186">
                  <c:v>5.8823529411764497E-3</c:v>
                </c:pt>
                <c:pt idx="13187">
                  <c:v>5.8823529411764497E-3</c:v>
                </c:pt>
                <c:pt idx="13188">
                  <c:v>5.8823529411764497E-3</c:v>
                </c:pt>
                <c:pt idx="13189">
                  <c:v>5.8823529411764497E-3</c:v>
                </c:pt>
                <c:pt idx="13190">
                  <c:v>5.8823529411764497E-3</c:v>
                </c:pt>
                <c:pt idx="13191">
                  <c:v>5.8823529411764497E-3</c:v>
                </c:pt>
                <c:pt idx="13192">
                  <c:v>5.8823529411764497E-3</c:v>
                </c:pt>
                <c:pt idx="13193">
                  <c:v>5.8823529411764497E-3</c:v>
                </c:pt>
                <c:pt idx="13194">
                  <c:v>5.8823529411764497E-3</c:v>
                </c:pt>
                <c:pt idx="13195">
                  <c:v>5.8823529411764497E-3</c:v>
                </c:pt>
                <c:pt idx="13196">
                  <c:v>5.0420168067226703E-3</c:v>
                </c:pt>
                <c:pt idx="13197">
                  <c:v>5.0420168067226703E-3</c:v>
                </c:pt>
                <c:pt idx="13198">
                  <c:v>5.8823529411764497E-3</c:v>
                </c:pt>
                <c:pt idx="13199">
                  <c:v>5.0420168067226703E-3</c:v>
                </c:pt>
                <c:pt idx="13200">
                  <c:v>5.0420168067226703E-3</c:v>
                </c:pt>
                <c:pt idx="13201">
                  <c:v>5.0420168067226703E-3</c:v>
                </c:pt>
                <c:pt idx="13202">
                  <c:v>5.0420168067226703E-3</c:v>
                </c:pt>
                <c:pt idx="13203">
                  <c:v>5.0420168067226703E-3</c:v>
                </c:pt>
                <c:pt idx="13204">
                  <c:v>5.0420168067226703E-3</c:v>
                </c:pt>
                <c:pt idx="13205">
                  <c:v>5.0420168067226703E-3</c:v>
                </c:pt>
                <c:pt idx="13206">
                  <c:v>5.0420168067226703E-3</c:v>
                </c:pt>
                <c:pt idx="13207">
                  <c:v>5.0420168067226703E-3</c:v>
                </c:pt>
                <c:pt idx="13208">
                  <c:v>5.0420168067226703E-3</c:v>
                </c:pt>
                <c:pt idx="13209">
                  <c:v>5.0420168067226703E-3</c:v>
                </c:pt>
                <c:pt idx="13210">
                  <c:v>5.0420168067226703E-3</c:v>
                </c:pt>
                <c:pt idx="13211">
                  <c:v>5.0420168067226703E-3</c:v>
                </c:pt>
                <c:pt idx="13212">
                  <c:v>5.0420168067226703E-3</c:v>
                </c:pt>
                <c:pt idx="13213">
                  <c:v>5.0420168067226703E-3</c:v>
                </c:pt>
                <c:pt idx="13214">
                  <c:v>5.0420168067226703E-3</c:v>
                </c:pt>
                <c:pt idx="13215">
                  <c:v>5.0420168067226703E-3</c:v>
                </c:pt>
                <c:pt idx="13216">
                  <c:v>5.0420168067226703E-3</c:v>
                </c:pt>
                <c:pt idx="13217">
                  <c:v>5.0420168067226703E-3</c:v>
                </c:pt>
                <c:pt idx="13218">
                  <c:v>5.0420168067226703E-3</c:v>
                </c:pt>
                <c:pt idx="13219">
                  <c:v>5.0420168067226703E-3</c:v>
                </c:pt>
                <c:pt idx="13220">
                  <c:v>5.0420168067226703E-3</c:v>
                </c:pt>
                <c:pt idx="13221">
                  <c:v>5.0420168067226703E-3</c:v>
                </c:pt>
                <c:pt idx="13222">
                  <c:v>5.0420168067226703E-3</c:v>
                </c:pt>
                <c:pt idx="13223">
                  <c:v>5.0420168067226703E-3</c:v>
                </c:pt>
                <c:pt idx="13224">
                  <c:v>5.8823529411764497E-3</c:v>
                </c:pt>
                <c:pt idx="13225">
                  <c:v>5.8823529411764497E-3</c:v>
                </c:pt>
                <c:pt idx="13226">
                  <c:v>5.8823529411764497E-3</c:v>
                </c:pt>
                <c:pt idx="13227">
                  <c:v>5.8823529411764497E-3</c:v>
                </c:pt>
                <c:pt idx="13228">
                  <c:v>5.8823529411764497E-3</c:v>
                </c:pt>
                <c:pt idx="13229">
                  <c:v>5.8823529411764497E-3</c:v>
                </c:pt>
                <c:pt idx="13230">
                  <c:v>5.8823529411764497E-3</c:v>
                </c:pt>
                <c:pt idx="13231">
                  <c:v>5.8823529411764497E-3</c:v>
                </c:pt>
                <c:pt idx="13232">
                  <c:v>5.8823529411764497E-3</c:v>
                </c:pt>
                <c:pt idx="13233">
                  <c:v>5.8823529411764497E-3</c:v>
                </c:pt>
                <c:pt idx="13234">
                  <c:v>5.8823529411764497E-3</c:v>
                </c:pt>
                <c:pt idx="13235">
                  <c:v>5.0420168067226703E-3</c:v>
                </c:pt>
                <c:pt idx="13236">
                  <c:v>5.0420168067226703E-3</c:v>
                </c:pt>
                <c:pt idx="13237">
                  <c:v>5.0420168067226703E-3</c:v>
                </c:pt>
                <c:pt idx="13238">
                  <c:v>5.0420168067226703E-3</c:v>
                </c:pt>
                <c:pt idx="13239">
                  <c:v>5.0420168067226703E-3</c:v>
                </c:pt>
                <c:pt idx="13240">
                  <c:v>5.0420168067226703E-3</c:v>
                </c:pt>
                <c:pt idx="13241">
                  <c:v>5.0420168067226703E-3</c:v>
                </c:pt>
                <c:pt idx="13242">
                  <c:v>5.0420168067226703E-3</c:v>
                </c:pt>
                <c:pt idx="13243">
                  <c:v>5.0420168067226703E-3</c:v>
                </c:pt>
                <c:pt idx="13244">
                  <c:v>5.0420168067226703E-3</c:v>
                </c:pt>
                <c:pt idx="13245">
                  <c:v>5.0420168067226703E-3</c:v>
                </c:pt>
                <c:pt idx="13246">
                  <c:v>5.0420168067226703E-3</c:v>
                </c:pt>
                <c:pt idx="13247">
                  <c:v>5.0420168067226703E-3</c:v>
                </c:pt>
                <c:pt idx="13248">
                  <c:v>5.0420168067226703E-3</c:v>
                </c:pt>
                <c:pt idx="13249">
                  <c:v>5.0420168067226703E-3</c:v>
                </c:pt>
                <c:pt idx="13250">
                  <c:v>5.0420168067226703E-3</c:v>
                </c:pt>
                <c:pt idx="13251">
                  <c:v>4.20168067226889E-3</c:v>
                </c:pt>
                <c:pt idx="13252">
                  <c:v>4.20168067226889E-3</c:v>
                </c:pt>
                <c:pt idx="13253">
                  <c:v>4.20168067226889E-3</c:v>
                </c:pt>
                <c:pt idx="13254">
                  <c:v>4.20168067226889E-3</c:v>
                </c:pt>
                <c:pt idx="13255">
                  <c:v>4.20168067226889E-3</c:v>
                </c:pt>
                <c:pt idx="13256">
                  <c:v>4.20168067226889E-3</c:v>
                </c:pt>
                <c:pt idx="13257">
                  <c:v>4.20168067226889E-3</c:v>
                </c:pt>
                <c:pt idx="13258">
                  <c:v>4.20168067226889E-3</c:v>
                </c:pt>
                <c:pt idx="13259">
                  <c:v>4.20168067226889E-3</c:v>
                </c:pt>
                <c:pt idx="13260">
                  <c:v>4.20168067226889E-3</c:v>
                </c:pt>
                <c:pt idx="13261">
                  <c:v>4.20168067226889E-3</c:v>
                </c:pt>
                <c:pt idx="13262">
                  <c:v>4.20168067226889E-3</c:v>
                </c:pt>
                <c:pt idx="13263">
                  <c:v>4.20168067226889E-3</c:v>
                </c:pt>
                <c:pt idx="13264">
                  <c:v>4.20168067226889E-3</c:v>
                </c:pt>
                <c:pt idx="13265">
                  <c:v>4.20168067226889E-3</c:v>
                </c:pt>
                <c:pt idx="13266">
                  <c:v>4.20168067226889E-3</c:v>
                </c:pt>
                <c:pt idx="13267">
                  <c:v>4.20168067226889E-3</c:v>
                </c:pt>
                <c:pt idx="13268">
                  <c:v>4.20168067226889E-3</c:v>
                </c:pt>
                <c:pt idx="13269">
                  <c:v>4.20168067226889E-3</c:v>
                </c:pt>
                <c:pt idx="13270">
                  <c:v>4.20168067226889E-3</c:v>
                </c:pt>
                <c:pt idx="13271">
                  <c:v>4.20168067226889E-3</c:v>
                </c:pt>
                <c:pt idx="13272">
                  <c:v>4.20168067226889E-3</c:v>
                </c:pt>
                <c:pt idx="13273">
                  <c:v>4.20168067226889E-3</c:v>
                </c:pt>
                <c:pt idx="13274">
                  <c:v>4.20168067226889E-3</c:v>
                </c:pt>
                <c:pt idx="13275">
                  <c:v>4.20168067226889E-3</c:v>
                </c:pt>
                <c:pt idx="13276">
                  <c:v>4.20168067226889E-3</c:v>
                </c:pt>
                <c:pt idx="13277">
                  <c:v>4.20168067226889E-3</c:v>
                </c:pt>
                <c:pt idx="13278">
                  <c:v>4.20168067226889E-3</c:v>
                </c:pt>
                <c:pt idx="13279">
                  <c:v>4.20168067226889E-3</c:v>
                </c:pt>
                <c:pt idx="13280">
                  <c:v>5.0420168067226703E-3</c:v>
                </c:pt>
                <c:pt idx="13281">
                  <c:v>5.0420168067226703E-3</c:v>
                </c:pt>
                <c:pt idx="13282">
                  <c:v>5.0420168067226703E-3</c:v>
                </c:pt>
                <c:pt idx="13283">
                  <c:v>5.0420168067226703E-3</c:v>
                </c:pt>
                <c:pt idx="13284">
                  <c:v>5.0420168067226703E-3</c:v>
                </c:pt>
                <c:pt idx="13285">
                  <c:v>5.0420168067226703E-3</c:v>
                </c:pt>
                <c:pt idx="13286">
                  <c:v>5.0420168067226703E-3</c:v>
                </c:pt>
                <c:pt idx="13287">
                  <c:v>5.0420168067226703E-3</c:v>
                </c:pt>
                <c:pt idx="13288">
                  <c:v>5.0420168067226703E-3</c:v>
                </c:pt>
                <c:pt idx="13289">
                  <c:v>5.0420168067226703E-3</c:v>
                </c:pt>
                <c:pt idx="13290">
                  <c:v>5.0420168067226703E-3</c:v>
                </c:pt>
                <c:pt idx="13291">
                  <c:v>5.0420168067226703E-3</c:v>
                </c:pt>
                <c:pt idx="13292">
                  <c:v>5.0420168067226703E-3</c:v>
                </c:pt>
                <c:pt idx="13293">
                  <c:v>5.0420168067226703E-3</c:v>
                </c:pt>
                <c:pt idx="13294">
                  <c:v>5.0420168067226703E-3</c:v>
                </c:pt>
                <c:pt idx="13295">
                  <c:v>5.0420168067226703E-3</c:v>
                </c:pt>
                <c:pt idx="13296">
                  <c:v>5.0420168067226703E-3</c:v>
                </c:pt>
                <c:pt idx="13297">
                  <c:v>5.0420168067226703E-3</c:v>
                </c:pt>
                <c:pt idx="13298">
                  <c:v>5.0420168067226703E-3</c:v>
                </c:pt>
                <c:pt idx="13299">
                  <c:v>5.0420168067226703E-3</c:v>
                </c:pt>
                <c:pt idx="13300">
                  <c:v>5.0420168067226703E-3</c:v>
                </c:pt>
                <c:pt idx="13301">
                  <c:v>5.0420168067226703E-3</c:v>
                </c:pt>
                <c:pt idx="13302">
                  <c:v>5.0420168067226703E-3</c:v>
                </c:pt>
                <c:pt idx="13303">
                  <c:v>5.0420168067226703E-3</c:v>
                </c:pt>
                <c:pt idx="13304">
                  <c:v>5.0420168067226703E-3</c:v>
                </c:pt>
                <c:pt idx="13305">
                  <c:v>5.0420168067226703E-3</c:v>
                </c:pt>
                <c:pt idx="13306">
                  <c:v>4.20168067226889E-3</c:v>
                </c:pt>
                <c:pt idx="13307">
                  <c:v>4.20168067226889E-3</c:v>
                </c:pt>
                <c:pt idx="13308">
                  <c:v>4.20168067226889E-3</c:v>
                </c:pt>
                <c:pt idx="13309">
                  <c:v>4.20168067226889E-3</c:v>
                </c:pt>
                <c:pt idx="13310">
                  <c:v>4.20168067226889E-3</c:v>
                </c:pt>
                <c:pt idx="13311">
                  <c:v>4.20168067226889E-3</c:v>
                </c:pt>
                <c:pt idx="13312">
                  <c:v>4.20168067226889E-3</c:v>
                </c:pt>
                <c:pt idx="13313">
                  <c:v>4.20168067226889E-3</c:v>
                </c:pt>
                <c:pt idx="13314">
                  <c:v>4.20168067226889E-3</c:v>
                </c:pt>
                <c:pt idx="13315">
                  <c:v>4.20168067226889E-3</c:v>
                </c:pt>
                <c:pt idx="13316">
                  <c:v>4.20168067226889E-3</c:v>
                </c:pt>
                <c:pt idx="13317">
                  <c:v>4.20168067226889E-3</c:v>
                </c:pt>
                <c:pt idx="13318">
                  <c:v>4.20168067226889E-3</c:v>
                </c:pt>
                <c:pt idx="13319">
                  <c:v>4.20168067226889E-3</c:v>
                </c:pt>
                <c:pt idx="13320">
                  <c:v>4.20168067226889E-3</c:v>
                </c:pt>
                <c:pt idx="13321">
                  <c:v>4.20168067226889E-3</c:v>
                </c:pt>
                <c:pt idx="13322">
                  <c:v>4.20168067226889E-3</c:v>
                </c:pt>
                <c:pt idx="13323">
                  <c:v>4.20168067226889E-3</c:v>
                </c:pt>
                <c:pt idx="13324">
                  <c:v>4.20168067226889E-3</c:v>
                </c:pt>
                <c:pt idx="13325">
                  <c:v>4.20168067226889E-3</c:v>
                </c:pt>
                <c:pt idx="13326">
                  <c:v>4.20168067226889E-3</c:v>
                </c:pt>
                <c:pt idx="13327">
                  <c:v>4.20168067226889E-3</c:v>
                </c:pt>
                <c:pt idx="13328">
                  <c:v>4.20168067226889E-3</c:v>
                </c:pt>
                <c:pt idx="13329">
                  <c:v>4.20168067226889E-3</c:v>
                </c:pt>
                <c:pt idx="13330">
                  <c:v>4.20168067226889E-3</c:v>
                </c:pt>
                <c:pt idx="13331">
                  <c:v>4.20168067226889E-3</c:v>
                </c:pt>
                <c:pt idx="13332">
                  <c:v>4.20168067226889E-3</c:v>
                </c:pt>
                <c:pt idx="13333">
                  <c:v>4.20168067226889E-3</c:v>
                </c:pt>
                <c:pt idx="13334">
                  <c:v>4.20168067226889E-3</c:v>
                </c:pt>
                <c:pt idx="13335">
                  <c:v>4.20168067226889E-3</c:v>
                </c:pt>
                <c:pt idx="13336">
                  <c:v>4.20168067226889E-3</c:v>
                </c:pt>
                <c:pt idx="13337">
                  <c:v>4.20168067226889E-3</c:v>
                </c:pt>
                <c:pt idx="13338">
                  <c:v>4.20168067226889E-3</c:v>
                </c:pt>
                <c:pt idx="13339">
                  <c:v>4.20168067226889E-3</c:v>
                </c:pt>
                <c:pt idx="13340">
                  <c:v>4.20168067226889E-3</c:v>
                </c:pt>
                <c:pt idx="13341">
                  <c:v>4.20168067226889E-3</c:v>
                </c:pt>
                <c:pt idx="13342">
                  <c:v>4.20168067226889E-3</c:v>
                </c:pt>
                <c:pt idx="13343">
                  <c:v>4.20168067226889E-3</c:v>
                </c:pt>
                <c:pt idx="13344">
                  <c:v>4.20168067226889E-3</c:v>
                </c:pt>
                <c:pt idx="13345">
                  <c:v>4.20168067226889E-3</c:v>
                </c:pt>
                <c:pt idx="13346">
                  <c:v>4.20168067226889E-3</c:v>
                </c:pt>
                <c:pt idx="13347">
                  <c:v>4.20168067226889E-3</c:v>
                </c:pt>
                <c:pt idx="13348">
                  <c:v>4.20168067226889E-3</c:v>
                </c:pt>
                <c:pt idx="13349">
                  <c:v>4.20168067226889E-3</c:v>
                </c:pt>
                <c:pt idx="13350">
                  <c:v>4.20168067226889E-3</c:v>
                </c:pt>
                <c:pt idx="13351">
                  <c:v>4.20168067226889E-3</c:v>
                </c:pt>
                <c:pt idx="13352">
                  <c:v>4.20168067226889E-3</c:v>
                </c:pt>
                <c:pt idx="13353">
                  <c:v>4.20168067226889E-3</c:v>
                </c:pt>
                <c:pt idx="13354">
                  <c:v>4.20168067226889E-3</c:v>
                </c:pt>
                <c:pt idx="13355">
                  <c:v>4.20168067226889E-3</c:v>
                </c:pt>
                <c:pt idx="13356">
                  <c:v>4.20168067226889E-3</c:v>
                </c:pt>
                <c:pt idx="13357">
                  <c:v>4.20168067226889E-3</c:v>
                </c:pt>
                <c:pt idx="13358">
                  <c:v>4.20168067226889E-3</c:v>
                </c:pt>
                <c:pt idx="13359">
                  <c:v>4.20168067226889E-3</c:v>
                </c:pt>
                <c:pt idx="13360">
                  <c:v>4.20168067226889E-3</c:v>
                </c:pt>
                <c:pt idx="13361">
                  <c:v>4.20168067226889E-3</c:v>
                </c:pt>
                <c:pt idx="13362">
                  <c:v>4.20168067226889E-3</c:v>
                </c:pt>
                <c:pt idx="13363">
                  <c:v>4.20168067226889E-3</c:v>
                </c:pt>
                <c:pt idx="13364">
                  <c:v>4.20168067226889E-3</c:v>
                </c:pt>
                <c:pt idx="13365">
                  <c:v>4.20168067226889E-3</c:v>
                </c:pt>
                <c:pt idx="13366">
                  <c:v>4.20168067226889E-3</c:v>
                </c:pt>
                <c:pt idx="13367">
                  <c:v>4.20168067226889E-3</c:v>
                </c:pt>
                <c:pt idx="13368">
                  <c:v>4.20168067226889E-3</c:v>
                </c:pt>
                <c:pt idx="13369">
                  <c:v>4.20168067226889E-3</c:v>
                </c:pt>
                <c:pt idx="13370">
                  <c:v>4.20168067226889E-3</c:v>
                </c:pt>
                <c:pt idx="13371">
                  <c:v>4.20168067226889E-3</c:v>
                </c:pt>
                <c:pt idx="13372">
                  <c:v>4.20168067226889E-3</c:v>
                </c:pt>
                <c:pt idx="13373">
                  <c:v>4.20168067226889E-3</c:v>
                </c:pt>
                <c:pt idx="13374">
                  <c:v>4.20168067226889E-3</c:v>
                </c:pt>
                <c:pt idx="13375">
                  <c:v>4.20168067226889E-3</c:v>
                </c:pt>
                <c:pt idx="13376">
                  <c:v>4.20168067226889E-3</c:v>
                </c:pt>
                <c:pt idx="13377">
                  <c:v>4.20168067226889E-3</c:v>
                </c:pt>
                <c:pt idx="13378">
                  <c:v>3.3613445378151102E-3</c:v>
                </c:pt>
                <c:pt idx="13379">
                  <c:v>3.3613445378151102E-3</c:v>
                </c:pt>
                <c:pt idx="13380">
                  <c:v>3.3613445378151102E-3</c:v>
                </c:pt>
                <c:pt idx="13381">
                  <c:v>3.3613445378151102E-3</c:v>
                </c:pt>
                <c:pt idx="13382">
                  <c:v>3.3613445378151102E-3</c:v>
                </c:pt>
                <c:pt idx="13383">
                  <c:v>3.3613445378151102E-3</c:v>
                </c:pt>
                <c:pt idx="13384">
                  <c:v>3.3613445378151102E-3</c:v>
                </c:pt>
                <c:pt idx="13385">
                  <c:v>3.3613445378151102E-3</c:v>
                </c:pt>
                <c:pt idx="13386">
                  <c:v>3.3613445378151102E-3</c:v>
                </c:pt>
                <c:pt idx="13387">
                  <c:v>3.3613445378151102E-3</c:v>
                </c:pt>
                <c:pt idx="13388">
                  <c:v>3.3613445378151102E-3</c:v>
                </c:pt>
                <c:pt idx="13389">
                  <c:v>3.3613445378151102E-3</c:v>
                </c:pt>
                <c:pt idx="13390">
                  <c:v>3.3613445378151102E-3</c:v>
                </c:pt>
                <c:pt idx="13391">
                  <c:v>3.3613445378151102E-3</c:v>
                </c:pt>
                <c:pt idx="13392">
                  <c:v>3.3613445378151102E-3</c:v>
                </c:pt>
                <c:pt idx="13393">
                  <c:v>3.3613445378151102E-3</c:v>
                </c:pt>
                <c:pt idx="13394">
                  <c:v>3.3613445378151102E-3</c:v>
                </c:pt>
                <c:pt idx="13395">
                  <c:v>3.3613445378151102E-3</c:v>
                </c:pt>
                <c:pt idx="13396">
                  <c:v>3.3613445378151102E-3</c:v>
                </c:pt>
                <c:pt idx="13397">
                  <c:v>3.3613445378151102E-3</c:v>
                </c:pt>
                <c:pt idx="13398">
                  <c:v>3.3613445378151102E-3</c:v>
                </c:pt>
                <c:pt idx="13399">
                  <c:v>3.3613445378151102E-3</c:v>
                </c:pt>
                <c:pt idx="13400">
                  <c:v>3.3613445378151102E-3</c:v>
                </c:pt>
                <c:pt idx="13401">
                  <c:v>3.3613445378151102E-3</c:v>
                </c:pt>
                <c:pt idx="13402">
                  <c:v>3.3613445378151102E-3</c:v>
                </c:pt>
                <c:pt idx="13403">
                  <c:v>3.3613445378151102E-3</c:v>
                </c:pt>
                <c:pt idx="13404">
                  <c:v>3.3613445378151102E-3</c:v>
                </c:pt>
                <c:pt idx="13405">
                  <c:v>3.3613445378151102E-3</c:v>
                </c:pt>
                <c:pt idx="13406">
                  <c:v>3.3613445378151102E-3</c:v>
                </c:pt>
                <c:pt idx="13407">
                  <c:v>3.3613445378151102E-3</c:v>
                </c:pt>
                <c:pt idx="13408">
                  <c:v>3.3613445378151102E-3</c:v>
                </c:pt>
                <c:pt idx="13409">
                  <c:v>4.20168067226889E-3</c:v>
                </c:pt>
                <c:pt idx="13410">
                  <c:v>4.20168067226889E-3</c:v>
                </c:pt>
                <c:pt idx="13411">
                  <c:v>4.20168067226889E-3</c:v>
                </c:pt>
                <c:pt idx="13412">
                  <c:v>4.20168067226889E-3</c:v>
                </c:pt>
                <c:pt idx="13413">
                  <c:v>4.20168067226889E-3</c:v>
                </c:pt>
                <c:pt idx="13414">
                  <c:v>4.20168067226889E-3</c:v>
                </c:pt>
                <c:pt idx="13415">
                  <c:v>4.20168067226889E-3</c:v>
                </c:pt>
                <c:pt idx="13416">
                  <c:v>4.20168067226889E-3</c:v>
                </c:pt>
                <c:pt idx="13417">
                  <c:v>4.20168067226889E-3</c:v>
                </c:pt>
                <c:pt idx="13418">
                  <c:v>4.20168067226889E-3</c:v>
                </c:pt>
                <c:pt idx="13419">
                  <c:v>4.20168067226889E-3</c:v>
                </c:pt>
                <c:pt idx="13420">
                  <c:v>4.20168067226889E-3</c:v>
                </c:pt>
                <c:pt idx="13421">
                  <c:v>4.20168067226889E-3</c:v>
                </c:pt>
                <c:pt idx="13422">
                  <c:v>4.20168067226889E-3</c:v>
                </c:pt>
                <c:pt idx="13423">
                  <c:v>4.20168067226889E-3</c:v>
                </c:pt>
                <c:pt idx="13424">
                  <c:v>3.3613445378151102E-3</c:v>
                </c:pt>
                <c:pt idx="13425">
                  <c:v>3.3613445378151102E-3</c:v>
                </c:pt>
                <c:pt idx="13426">
                  <c:v>3.3613445378151102E-3</c:v>
                </c:pt>
                <c:pt idx="13427">
                  <c:v>3.3613445378151102E-3</c:v>
                </c:pt>
                <c:pt idx="13428">
                  <c:v>3.3613445378151102E-3</c:v>
                </c:pt>
                <c:pt idx="13429">
                  <c:v>3.3613445378151102E-3</c:v>
                </c:pt>
                <c:pt idx="13430">
                  <c:v>3.3613445378151102E-3</c:v>
                </c:pt>
                <c:pt idx="13431">
                  <c:v>3.3613445378151102E-3</c:v>
                </c:pt>
                <c:pt idx="13432">
                  <c:v>3.3613445378151102E-3</c:v>
                </c:pt>
                <c:pt idx="13433">
                  <c:v>3.3613445378151102E-3</c:v>
                </c:pt>
                <c:pt idx="13434">
                  <c:v>3.3613445378151102E-3</c:v>
                </c:pt>
                <c:pt idx="13435">
                  <c:v>3.3613445378151102E-3</c:v>
                </c:pt>
                <c:pt idx="13436">
                  <c:v>3.3613445378151102E-3</c:v>
                </c:pt>
                <c:pt idx="13437">
                  <c:v>3.3613445378151102E-3</c:v>
                </c:pt>
                <c:pt idx="13438">
                  <c:v>3.3613445378151102E-3</c:v>
                </c:pt>
                <c:pt idx="13439">
                  <c:v>3.3613445378151102E-3</c:v>
                </c:pt>
                <c:pt idx="13440">
                  <c:v>3.3613445378151102E-3</c:v>
                </c:pt>
                <c:pt idx="13441">
                  <c:v>3.3613445378151102E-3</c:v>
                </c:pt>
                <c:pt idx="13442">
                  <c:v>3.3613445378151102E-3</c:v>
                </c:pt>
                <c:pt idx="13443">
                  <c:v>3.3613445378151102E-3</c:v>
                </c:pt>
                <c:pt idx="13444">
                  <c:v>3.3613445378151102E-3</c:v>
                </c:pt>
                <c:pt idx="13445">
                  <c:v>3.3613445378151102E-3</c:v>
                </c:pt>
                <c:pt idx="13446">
                  <c:v>3.3613445378151102E-3</c:v>
                </c:pt>
                <c:pt idx="13447">
                  <c:v>3.3613445378151102E-3</c:v>
                </c:pt>
                <c:pt idx="13448">
                  <c:v>3.3613445378151102E-3</c:v>
                </c:pt>
                <c:pt idx="13449">
                  <c:v>3.3613445378151102E-3</c:v>
                </c:pt>
                <c:pt idx="13450">
                  <c:v>3.3613445378151102E-3</c:v>
                </c:pt>
                <c:pt idx="13451">
                  <c:v>3.3613445378151102E-3</c:v>
                </c:pt>
                <c:pt idx="13452">
                  <c:v>2.5210084033613299E-3</c:v>
                </c:pt>
                <c:pt idx="13453">
                  <c:v>2.5210084033613299E-3</c:v>
                </c:pt>
                <c:pt idx="13454">
                  <c:v>2.5210084033613299E-3</c:v>
                </c:pt>
                <c:pt idx="13455">
                  <c:v>2.5210084033613299E-3</c:v>
                </c:pt>
                <c:pt idx="13456">
                  <c:v>2.5210084033613299E-3</c:v>
                </c:pt>
                <c:pt idx="13457">
                  <c:v>2.5210084033613299E-3</c:v>
                </c:pt>
                <c:pt idx="13458">
                  <c:v>2.5210084033613299E-3</c:v>
                </c:pt>
                <c:pt idx="13459">
                  <c:v>2.5210084033613299E-3</c:v>
                </c:pt>
                <c:pt idx="13460">
                  <c:v>2.5210084033613299E-3</c:v>
                </c:pt>
                <c:pt idx="13461">
                  <c:v>2.5210084033613299E-3</c:v>
                </c:pt>
                <c:pt idx="13462">
                  <c:v>2.5210084033613299E-3</c:v>
                </c:pt>
                <c:pt idx="13463">
                  <c:v>2.5210084033613299E-3</c:v>
                </c:pt>
                <c:pt idx="13464">
                  <c:v>2.5210084033613299E-3</c:v>
                </c:pt>
                <c:pt idx="13465">
                  <c:v>2.5210084033613299E-3</c:v>
                </c:pt>
                <c:pt idx="13466">
                  <c:v>2.5210084033613299E-3</c:v>
                </c:pt>
                <c:pt idx="13467">
                  <c:v>2.5210084033613299E-3</c:v>
                </c:pt>
                <c:pt idx="13468">
                  <c:v>2.5210084033613299E-3</c:v>
                </c:pt>
                <c:pt idx="13469">
                  <c:v>2.5210084033613299E-3</c:v>
                </c:pt>
                <c:pt idx="13470">
                  <c:v>2.5210084033613299E-3</c:v>
                </c:pt>
                <c:pt idx="13471">
                  <c:v>2.5210084033613299E-3</c:v>
                </c:pt>
                <c:pt idx="13472">
                  <c:v>2.5210084033613299E-3</c:v>
                </c:pt>
                <c:pt idx="13473">
                  <c:v>2.5210084033613299E-3</c:v>
                </c:pt>
                <c:pt idx="13474">
                  <c:v>2.5210084033613299E-3</c:v>
                </c:pt>
                <c:pt idx="13475">
                  <c:v>2.5210084033613299E-3</c:v>
                </c:pt>
                <c:pt idx="13476">
                  <c:v>2.5210084033613299E-3</c:v>
                </c:pt>
                <c:pt idx="13477">
                  <c:v>2.5210084033613299E-3</c:v>
                </c:pt>
                <c:pt idx="13478">
                  <c:v>2.5210084033613299E-3</c:v>
                </c:pt>
                <c:pt idx="13479">
                  <c:v>2.5210084033613299E-3</c:v>
                </c:pt>
                <c:pt idx="13480">
                  <c:v>2.5210084033613299E-3</c:v>
                </c:pt>
                <c:pt idx="13481">
                  <c:v>2.5210084033613299E-3</c:v>
                </c:pt>
                <c:pt idx="13482">
                  <c:v>2.5210084033613299E-3</c:v>
                </c:pt>
                <c:pt idx="13483">
                  <c:v>2.5210084033613299E-3</c:v>
                </c:pt>
                <c:pt idx="13484">
                  <c:v>2.5210084033613299E-3</c:v>
                </c:pt>
                <c:pt idx="13485">
                  <c:v>3.3613445378151102E-3</c:v>
                </c:pt>
                <c:pt idx="13486">
                  <c:v>3.3613445378151102E-3</c:v>
                </c:pt>
                <c:pt idx="13487">
                  <c:v>3.3613445378151102E-3</c:v>
                </c:pt>
                <c:pt idx="13488">
                  <c:v>3.3613445378151102E-3</c:v>
                </c:pt>
                <c:pt idx="13489">
                  <c:v>3.3613445378151102E-3</c:v>
                </c:pt>
                <c:pt idx="13490">
                  <c:v>3.3613445378151102E-3</c:v>
                </c:pt>
                <c:pt idx="13491">
                  <c:v>3.3613445378151102E-3</c:v>
                </c:pt>
                <c:pt idx="13492">
                  <c:v>3.3613445378151102E-3</c:v>
                </c:pt>
                <c:pt idx="13493">
                  <c:v>3.3613445378151102E-3</c:v>
                </c:pt>
                <c:pt idx="13494">
                  <c:v>3.3613445378151102E-3</c:v>
                </c:pt>
                <c:pt idx="13495">
                  <c:v>3.3613445378151102E-3</c:v>
                </c:pt>
                <c:pt idx="13496">
                  <c:v>3.3613445378151102E-3</c:v>
                </c:pt>
                <c:pt idx="13497">
                  <c:v>3.3613445378151102E-3</c:v>
                </c:pt>
                <c:pt idx="13498">
                  <c:v>3.3613445378151102E-3</c:v>
                </c:pt>
                <c:pt idx="13499">
                  <c:v>3.3613445378151102E-3</c:v>
                </c:pt>
                <c:pt idx="13500">
                  <c:v>3.3613445378151102E-3</c:v>
                </c:pt>
                <c:pt idx="13501">
                  <c:v>3.3613445378151102E-3</c:v>
                </c:pt>
                <c:pt idx="13502">
                  <c:v>3.3613445378151102E-3</c:v>
                </c:pt>
                <c:pt idx="13503">
                  <c:v>3.3613445378151102E-3</c:v>
                </c:pt>
                <c:pt idx="13504">
                  <c:v>3.3613445378151102E-3</c:v>
                </c:pt>
                <c:pt idx="13505">
                  <c:v>3.3613445378151102E-3</c:v>
                </c:pt>
                <c:pt idx="13506">
                  <c:v>3.3613445378151102E-3</c:v>
                </c:pt>
                <c:pt idx="13507">
                  <c:v>3.3613445378151102E-3</c:v>
                </c:pt>
                <c:pt idx="13508">
                  <c:v>3.3613445378151102E-3</c:v>
                </c:pt>
                <c:pt idx="13509">
                  <c:v>3.3613445378151102E-3</c:v>
                </c:pt>
                <c:pt idx="13510">
                  <c:v>3.3613445378151102E-3</c:v>
                </c:pt>
                <c:pt idx="13511">
                  <c:v>3.3613445378151102E-3</c:v>
                </c:pt>
                <c:pt idx="13512">
                  <c:v>3.3613445378151102E-3</c:v>
                </c:pt>
                <c:pt idx="13513">
                  <c:v>3.3613445378151102E-3</c:v>
                </c:pt>
                <c:pt idx="13514">
                  <c:v>3.3613445378151102E-3</c:v>
                </c:pt>
                <c:pt idx="13515">
                  <c:v>3.3613445378151102E-3</c:v>
                </c:pt>
                <c:pt idx="13516">
                  <c:v>3.3613445378151102E-3</c:v>
                </c:pt>
                <c:pt idx="13517">
                  <c:v>3.3613445378151102E-3</c:v>
                </c:pt>
                <c:pt idx="13518">
                  <c:v>3.3613445378151102E-3</c:v>
                </c:pt>
                <c:pt idx="13519">
                  <c:v>3.3613445378151102E-3</c:v>
                </c:pt>
                <c:pt idx="13520">
                  <c:v>3.3613445378151102E-3</c:v>
                </c:pt>
                <c:pt idx="13521">
                  <c:v>2.5210084033613299E-3</c:v>
                </c:pt>
                <c:pt idx="13522">
                  <c:v>2.5210084033613299E-3</c:v>
                </c:pt>
                <c:pt idx="13523">
                  <c:v>2.5210084033613299E-3</c:v>
                </c:pt>
                <c:pt idx="13524">
                  <c:v>2.5210084033613299E-3</c:v>
                </c:pt>
                <c:pt idx="13525">
                  <c:v>2.5210084033613299E-3</c:v>
                </c:pt>
                <c:pt idx="13526">
                  <c:v>2.5210084033613299E-3</c:v>
                </c:pt>
                <c:pt idx="13527">
                  <c:v>2.5210084033613299E-3</c:v>
                </c:pt>
                <c:pt idx="13528">
                  <c:v>2.5210084033613299E-3</c:v>
                </c:pt>
                <c:pt idx="13529">
                  <c:v>2.5210084033613299E-3</c:v>
                </c:pt>
                <c:pt idx="13530">
                  <c:v>2.5210084033613299E-3</c:v>
                </c:pt>
                <c:pt idx="13531">
                  <c:v>2.5210084033613299E-3</c:v>
                </c:pt>
                <c:pt idx="13532">
                  <c:v>2.5210084033613299E-3</c:v>
                </c:pt>
                <c:pt idx="13533">
                  <c:v>1.6806722689075499E-3</c:v>
                </c:pt>
                <c:pt idx="13534">
                  <c:v>1.6806722689075499E-3</c:v>
                </c:pt>
                <c:pt idx="13535">
                  <c:v>1.6806722689075499E-3</c:v>
                </c:pt>
                <c:pt idx="13536">
                  <c:v>1.6806722689075499E-3</c:v>
                </c:pt>
                <c:pt idx="13537">
                  <c:v>1.6806722689075499E-3</c:v>
                </c:pt>
                <c:pt idx="13538">
                  <c:v>8.4033613445377799E-4</c:v>
                </c:pt>
                <c:pt idx="13539">
                  <c:v>8.4033613445377799E-4</c:v>
                </c:pt>
                <c:pt idx="13540">
                  <c:v>8.4033613445377799E-4</c:v>
                </c:pt>
                <c:pt idx="13541">
                  <c:v>8.4033613445377799E-4</c:v>
                </c:pt>
                <c:pt idx="13542">
                  <c:v>8.4033613445377799E-4</c:v>
                </c:pt>
                <c:pt idx="13543">
                  <c:v>8.4033613445377799E-4</c:v>
                </c:pt>
                <c:pt idx="13544">
                  <c:v>8.4033613445377799E-4</c:v>
                </c:pt>
                <c:pt idx="13545">
                  <c:v>8.4033613445377799E-4</c:v>
                </c:pt>
                <c:pt idx="13546">
                  <c:v>8.4033613445377799E-4</c:v>
                </c:pt>
                <c:pt idx="13547">
                  <c:v>8.4033613445377799E-4</c:v>
                </c:pt>
                <c:pt idx="13548">
                  <c:v>8.4033613445377799E-4</c:v>
                </c:pt>
                <c:pt idx="13549">
                  <c:v>8.4033613445377799E-4</c:v>
                </c:pt>
                <c:pt idx="13550">
                  <c:v>8.4033613445377799E-4</c:v>
                </c:pt>
                <c:pt idx="13551">
                  <c:v>8.4033613445377799E-4</c:v>
                </c:pt>
                <c:pt idx="13552">
                  <c:v>8.4033613445377799E-4</c:v>
                </c:pt>
                <c:pt idx="13553">
                  <c:v>8.4033613445377799E-4</c:v>
                </c:pt>
                <c:pt idx="13554">
                  <c:v>8.4033613445377799E-4</c:v>
                </c:pt>
                <c:pt idx="13555">
                  <c:v>8.4033613445377799E-4</c:v>
                </c:pt>
                <c:pt idx="13556">
                  <c:v>8.4033613445377799E-4</c:v>
                </c:pt>
                <c:pt idx="13557">
                  <c:v>8.4033613445377799E-4</c:v>
                </c:pt>
                <c:pt idx="13558">
                  <c:v>8.4033613445377799E-4</c:v>
                </c:pt>
                <c:pt idx="13559">
                  <c:v>8.4033613445377799E-4</c:v>
                </c:pt>
                <c:pt idx="13560">
                  <c:v>8.4033613445377799E-4</c:v>
                </c:pt>
                <c:pt idx="13561">
                  <c:v>8.4033613445377799E-4</c:v>
                </c:pt>
                <c:pt idx="13562">
                  <c:v>8.4033613445377799E-4</c:v>
                </c:pt>
                <c:pt idx="13563">
                  <c:v>8.4033613445377799E-4</c:v>
                </c:pt>
                <c:pt idx="13564">
                  <c:v>8.4033613445377799E-4</c:v>
                </c:pt>
                <c:pt idx="13565">
                  <c:v>8.4033613445377799E-4</c:v>
                </c:pt>
                <c:pt idx="13566">
                  <c:v>8.4033613445377799E-4</c:v>
                </c:pt>
                <c:pt idx="13567">
                  <c:v>8.4033613445377799E-4</c:v>
                </c:pt>
                <c:pt idx="13568">
                  <c:v>8.4033613445377799E-4</c:v>
                </c:pt>
                <c:pt idx="13569">
                  <c:v>8.4033613445377799E-4</c:v>
                </c:pt>
                <c:pt idx="13570">
                  <c:v>8.4033613445377799E-4</c:v>
                </c:pt>
                <c:pt idx="13571">
                  <c:v>8.4033613445377799E-4</c:v>
                </c:pt>
                <c:pt idx="13572">
                  <c:v>1.6806722689075499E-3</c:v>
                </c:pt>
                <c:pt idx="13573">
                  <c:v>1.6806722689075499E-3</c:v>
                </c:pt>
                <c:pt idx="13574">
                  <c:v>1.6806722689075499E-3</c:v>
                </c:pt>
                <c:pt idx="13575">
                  <c:v>1.6806722689075499E-3</c:v>
                </c:pt>
                <c:pt idx="13576">
                  <c:v>1.6806722689075499E-3</c:v>
                </c:pt>
                <c:pt idx="13577">
                  <c:v>1.6806722689075499E-3</c:v>
                </c:pt>
                <c:pt idx="13578">
                  <c:v>2.5210084033613299E-3</c:v>
                </c:pt>
                <c:pt idx="13579">
                  <c:v>2.5210084033613299E-3</c:v>
                </c:pt>
                <c:pt idx="13580">
                  <c:v>2.5210084033613299E-3</c:v>
                </c:pt>
                <c:pt idx="13581">
                  <c:v>2.5210084033613299E-3</c:v>
                </c:pt>
                <c:pt idx="13582">
                  <c:v>2.5210084033613299E-3</c:v>
                </c:pt>
                <c:pt idx="13583">
                  <c:v>2.5210084033613299E-3</c:v>
                </c:pt>
                <c:pt idx="13584">
                  <c:v>2.5210084033613299E-3</c:v>
                </c:pt>
                <c:pt idx="13585">
                  <c:v>2.5210084033613299E-3</c:v>
                </c:pt>
                <c:pt idx="13586">
                  <c:v>2.5210084033613299E-3</c:v>
                </c:pt>
                <c:pt idx="13587">
                  <c:v>2.5210084033613299E-3</c:v>
                </c:pt>
                <c:pt idx="13588">
                  <c:v>2.5210084033613299E-3</c:v>
                </c:pt>
                <c:pt idx="13589">
                  <c:v>2.5210084033613299E-3</c:v>
                </c:pt>
                <c:pt idx="13590">
                  <c:v>2.5210084033613299E-3</c:v>
                </c:pt>
                <c:pt idx="13591">
                  <c:v>2.5210084033613299E-3</c:v>
                </c:pt>
                <c:pt idx="13592">
                  <c:v>2.5210084033613299E-3</c:v>
                </c:pt>
                <c:pt idx="13593">
                  <c:v>2.5210084033613299E-3</c:v>
                </c:pt>
                <c:pt idx="13594">
                  <c:v>2.5210084033613299E-3</c:v>
                </c:pt>
                <c:pt idx="13595">
                  <c:v>2.5210084033613299E-3</c:v>
                </c:pt>
                <c:pt idx="13596">
                  <c:v>2.5210084033613299E-3</c:v>
                </c:pt>
                <c:pt idx="13597">
                  <c:v>2.5210084033613299E-3</c:v>
                </c:pt>
                <c:pt idx="13598">
                  <c:v>2.5210084033613299E-3</c:v>
                </c:pt>
                <c:pt idx="13599">
                  <c:v>3.3613445378151102E-3</c:v>
                </c:pt>
                <c:pt idx="13600">
                  <c:v>3.3613445378151102E-3</c:v>
                </c:pt>
                <c:pt idx="13601">
                  <c:v>3.3613445378151102E-3</c:v>
                </c:pt>
                <c:pt idx="13602">
                  <c:v>3.3613445378151102E-3</c:v>
                </c:pt>
                <c:pt idx="13603">
                  <c:v>3.3613445378151102E-3</c:v>
                </c:pt>
                <c:pt idx="13604">
                  <c:v>3.3613445378151102E-3</c:v>
                </c:pt>
                <c:pt idx="13605">
                  <c:v>3.3613445378151102E-3</c:v>
                </c:pt>
                <c:pt idx="13606">
                  <c:v>3.3613445378151102E-3</c:v>
                </c:pt>
                <c:pt idx="13607">
                  <c:v>3.3613445378151102E-3</c:v>
                </c:pt>
                <c:pt idx="13608">
                  <c:v>3.3613445378151102E-3</c:v>
                </c:pt>
                <c:pt idx="13609">
                  <c:v>3.3613445378151102E-3</c:v>
                </c:pt>
                <c:pt idx="13610">
                  <c:v>3.3613445378151102E-3</c:v>
                </c:pt>
                <c:pt idx="13611">
                  <c:v>3.3613445378151102E-3</c:v>
                </c:pt>
                <c:pt idx="13612">
                  <c:v>3.3613445378151102E-3</c:v>
                </c:pt>
                <c:pt idx="13613">
                  <c:v>3.3613445378151102E-3</c:v>
                </c:pt>
                <c:pt idx="13614">
                  <c:v>3.3613445378151102E-3</c:v>
                </c:pt>
                <c:pt idx="13615">
                  <c:v>3.3613445378151102E-3</c:v>
                </c:pt>
                <c:pt idx="13616">
                  <c:v>3.3613445378151102E-3</c:v>
                </c:pt>
                <c:pt idx="13617">
                  <c:v>3.3613445378151102E-3</c:v>
                </c:pt>
                <c:pt idx="13618">
                  <c:v>3.3613445378151102E-3</c:v>
                </c:pt>
                <c:pt idx="13619">
                  <c:v>3.3613445378151102E-3</c:v>
                </c:pt>
                <c:pt idx="13620">
                  <c:v>4.20168067226889E-3</c:v>
                </c:pt>
                <c:pt idx="13621">
                  <c:v>4.20168067226889E-3</c:v>
                </c:pt>
                <c:pt idx="13622">
                  <c:v>4.20168067226889E-3</c:v>
                </c:pt>
                <c:pt idx="13623">
                  <c:v>4.20168067226889E-3</c:v>
                </c:pt>
                <c:pt idx="13624">
                  <c:v>4.20168067226889E-3</c:v>
                </c:pt>
                <c:pt idx="13625">
                  <c:v>4.20168067226889E-3</c:v>
                </c:pt>
                <c:pt idx="13626">
                  <c:v>4.20168067226889E-3</c:v>
                </c:pt>
                <c:pt idx="13627">
                  <c:v>4.20168067226889E-3</c:v>
                </c:pt>
                <c:pt idx="13628">
                  <c:v>4.20168067226889E-3</c:v>
                </c:pt>
                <c:pt idx="13629">
                  <c:v>4.20168067226889E-3</c:v>
                </c:pt>
                <c:pt idx="13630">
                  <c:v>5.0420168067226703E-3</c:v>
                </c:pt>
                <c:pt idx="13631">
                  <c:v>5.0420168067226703E-3</c:v>
                </c:pt>
                <c:pt idx="13632">
                  <c:v>5.0420168067226703E-3</c:v>
                </c:pt>
                <c:pt idx="13633">
                  <c:v>5.0420168067226703E-3</c:v>
                </c:pt>
                <c:pt idx="13634">
                  <c:v>5.0420168067226703E-3</c:v>
                </c:pt>
                <c:pt idx="13635">
                  <c:v>5.0420168067226703E-3</c:v>
                </c:pt>
                <c:pt idx="13636">
                  <c:v>5.0420168067226703E-3</c:v>
                </c:pt>
                <c:pt idx="13637">
                  <c:v>5.0420168067226703E-3</c:v>
                </c:pt>
                <c:pt idx="13638">
                  <c:v>5.0420168067226703E-3</c:v>
                </c:pt>
                <c:pt idx="13639">
                  <c:v>5.0420168067226703E-3</c:v>
                </c:pt>
                <c:pt idx="13640">
                  <c:v>5.0420168067226703E-3</c:v>
                </c:pt>
                <c:pt idx="13641">
                  <c:v>5.0420168067226703E-3</c:v>
                </c:pt>
                <c:pt idx="13642">
                  <c:v>5.0420168067226703E-3</c:v>
                </c:pt>
                <c:pt idx="13643">
                  <c:v>5.0420168067226703E-3</c:v>
                </c:pt>
                <c:pt idx="13644">
                  <c:v>4.20168067226889E-3</c:v>
                </c:pt>
                <c:pt idx="13645">
                  <c:v>4.20168067226889E-3</c:v>
                </c:pt>
                <c:pt idx="13646">
                  <c:v>4.20168067226889E-3</c:v>
                </c:pt>
                <c:pt idx="13647">
                  <c:v>5.0420168067226703E-3</c:v>
                </c:pt>
                <c:pt idx="13648">
                  <c:v>5.0420168067226703E-3</c:v>
                </c:pt>
                <c:pt idx="13649">
                  <c:v>5.8823529411764497E-3</c:v>
                </c:pt>
                <c:pt idx="13650">
                  <c:v>6.7226890756302204E-3</c:v>
                </c:pt>
                <c:pt idx="13651">
                  <c:v>6.7226890756302204E-3</c:v>
                </c:pt>
                <c:pt idx="13652">
                  <c:v>6.7226890756302204E-3</c:v>
                </c:pt>
                <c:pt idx="13653">
                  <c:v>6.7226890756302204E-3</c:v>
                </c:pt>
                <c:pt idx="13654">
                  <c:v>6.7226890756302204E-3</c:v>
                </c:pt>
                <c:pt idx="13655">
                  <c:v>6.7226890756302204E-3</c:v>
                </c:pt>
                <c:pt idx="13656">
                  <c:v>6.7226890756302204E-3</c:v>
                </c:pt>
                <c:pt idx="13657">
                  <c:v>6.7226890756302204E-3</c:v>
                </c:pt>
                <c:pt idx="13658">
                  <c:v>6.7226890756302204E-3</c:v>
                </c:pt>
                <c:pt idx="13659">
                  <c:v>6.7226890756302204E-3</c:v>
                </c:pt>
                <c:pt idx="13660">
                  <c:v>6.7226890756302204E-3</c:v>
                </c:pt>
                <c:pt idx="13661">
                  <c:v>6.7226890756302204E-3</c:v>
                </c:pt>
                <c:pt idx="13662">
                  <c:v>6.7226890756302204E-3</c:v>
                </c:pt>
                <c:pt idx="13663">
                  <c:v>6.7226890756302204E-3</c:v>
                </c:pt>
                <c:pt idx="13664">
                  <c:v>6.7226890756302204E-3</c:v>
                </c:pt>
                <c:pt idx="13665">
                  <c:v>6.7226890756302204E-3</c:v>
                </c:pt>
                <c:pt idx="13666">
                  <c:v>6.7226890756302204E-3</c:v>
                </c:pt>
                <c:pt idx="13667">
                  <c:v>6.7226890756302204E-3</c:v>
                </c:pt>
                <c:pt idx="13668">
                  <c:v>6.7226890756302204E-3</c:v>
                </c:pt>
                <c:pt idx="13669">
                  <c:v>6.7226890756302204E-3</c:v>
                </c:pt>
                <c:pt idx="13670">
                  <c:v>6.7226890756302204E-3</c:v>
                </c:pt>
                <c:pt idx="13671">
                  <c:v>6.7226890756302204E-3</c:v>
                </c:pt>
                <c:pt idx="13672">
                  <c:v>6.7226890756302204E-3</c:v>
                </c:pt>
                <c:pt idx="13673">
                  <c:v>6.7226890756302204E-3</c:v>
                </c:pt>
                <c:pt idx="13674">
                  <c:v>6.7226890756302204E-3</c:v>
                </c:pt>
                <c:pt idx="13675">
                  <c:v>6.7226890756302204E-3</c:v>
                </c:pt>
                <c:pt idx="13676">
                  <c:v>6.7226890756302204E-3</c:v>
                </c:pt>
                <c:pt idx="13677">
                  <c:v>7.5630252100839998E-3</c:v>
                </c:pt>
                <c:pt idx="13678">
                  <c:v>7.5630252100839998E-3</c:v>
                </c:pt>
                <c:pt idx="13679">
                  <c:v>7.5630252100839998E-3</c:v>
                </c:pt>
                <c:pt idx="13680">
                  <c:v>7.5630252100839998E-3</c:v>
                </c:pt>
                <c:pt idx="13681">
                  <c:v>7.5630252100839998E-3</c:v>
                </c:pt>
                <c:pt idx="13682">
                  <c:v>7.5630252100839998E-3</c:v>
                </c:pt>
                <c:pt idx="13683">
                  <c:v>7.5630252100839998E-3</c:v>
                </c:pt>
                <c:pt idx="13684">
                  <c:v>8.4033613445377801E-3</c:v>
                </c:pt>
                <c:pt idx="13685">
                  <c:v>8.4033613445377801E-3</c:v>
                </c:pt>
                <c:pt idx="13686">
                  <c:v>8.4033613445377801E-3</c:v>
                </c:pt>
                <c:pt idx="13687">
                  <c:v>8.4033613445377801E-3</c:v>
                </c:pt>
                <c:pt idx="13688">
                  <c:v>8.4033613445377801E-3</c:v>
                </c:pt>
                <c:pt idx="13689">
                  <c:v>8.4033613445377801E-3</c:v>
                </c:pt>
                <c:pt idx="13690">
                  <c:v>8.4033613445377801E-3</c:v>
                </c:pt>
                <c:pt idx="13691">
                  <c:v>8.4033613445377801E-3</c:v>
                </c:pt>
                <c:pt idx="13692">
                  <c:v>8.4033613445377801E-3</c:v>
                </c:pt>
                <c:pt idx="13693">
                  <c:v>8.4033613445377801E-3</c:v>
                </c:pt>
                <c:pt idx="13694">
                  <c:v>8.4033613445377801E-3</c:v>
                </c:pt>
                <c:pt idx="13695">
                  <c:v>8.4033613445377801E-3</c:v>
                </c:pt>
                <c:pt idx="13696">
                  <c:v>8.4033613445377801E-3</c:v>
                </c:pt>
                <c:pt idx="13697">
                  <c:v>8.4033613445377801E-3</c:v>
                </c:pt>
                <c:pt idx="13698">
                  <c:v>8.4033613445377801E-3</c:v>
                </c:pt>
                <c:pt idx="13699">
                  <c:v>8.4033613445377801E-3</c:v>
                </c:pt>
                <c:pt idx="13700">
                  <c:v>8.4033613445377801E-3</c:v>
                </c:pt>
                <c:pt idx="13701">
                  <c:v>8.4033613445377801E-3</c:v>
                </c:pt>
                <c:pt idx="13702">
                  <c:v>8.4033613445377801E-3</c:v>
                </c:pt>
                <c:pt idx="13703">
                  <c:v>8.4033613445377801E-3</c:v>
                </c:pt>
                <c:pt idx="13704">
                  <c:v>8.4033613445377801E-3</c:v>
                </c:pt>
                <c:pt idx="13705">
                  <c:v>8.4033613445377801E-3</c:v>
                </c:pt>
                <c:pt idx="13706">
                  <c:v>8.4033613445377801E-3</c:v>
                </c:pt>
                <c:pt idx="13707">
                  <c:v>8.4033613445377801E-3</c:v>
                </c:pt>
                <c:pt idx="13708">
                  <c:v>8.4033613445377801E-3</c:v>
                </c:pt>
                <c:pt idx="13709">
                  <c:v>8.4033613445377801E-3</c:v>
                </c:pt>
                <c:pt idx="13710">
                  <c:v>8.4033613445377801E-3</c:v>
                </c:pt>
                <c:pt idx="13711">
                  <c:v>8.4033613445377801E-3</c:v>
                </c:pt>
                <c:pt idx="13712">
                  <c:v>8.4033613445377801E-3</c:v>
                </c:pt>
                <c:pt idx="13713">
                  <c:v>8.4033613445377801E-3</c:v>
                </c:pt>
                <c:pt idx="13714">
                  <c:v>8.4033613445377801E-3</c:v>
                </c:pt>
                <c:pt idx="13715">
                  <c:v>8.4033613445377801E-3</c:v>
                </c:pt>
                <c:pt idx="13716">
                  <c:v>8.4033613445377801E-3</c:v>
                </c:pt>
                <c:pt idx="13717">
                  <c:v>8.4033613445377801E-3</c:v>
                </c:pt>
                <c:pt idx="13718">
                  <c:v>9.2436974789915603E-3</c:v>
                </c:pt>
                <c:pt idx="13719">
                  <c:v>9.2436974789915603E-3</c:v>
                </c:pt>
                <c:pt idx="13720">
                  <c:v>9.2436974789915603E-3</c:v>
                </c:pt>
                <c:pt idx="13721">
                  <c:v>9.2436974789915603E-3</c:v>
                </c:pt>
                <c:pt idx="13722">
                  <c:v>9.2436974789915603E-3</c:v>
                </c:pt>
                <c:pt idx="13723">
                  <c:v>9.2436974789915603E-3</c:v>
                </c:pt>
                <c:pt idx="13724">
                  <c:v>9.2436974789915603E-3</c:v>
                </c:pt>
                <c:pt idx="13725">
                  <c:v>9.2436974789915603E-3</c:v>
                </c:pt>
                <c:pt idx="13726">
                  <c:v>9.2436974789915603E-3</c:v>
                </c:pt>
                <c:pt idx="13727">
                  <c:v>9.2436974789915603E-3</c:v>
                </c:pt>
                <c:pt idx="13728">
                  <c:v>9.2436974789915603E-3</c:v>
                </c:pt>
                <c:pt idx="13729">
                  <c:v>9.2436974789915603E-3</c:v>
                </c:pt>
                <c:pt idx="13730">
                  <c:v>9.2436974789915603E-3</c:v>
                </c:pt>
                <c:pt idx="13731">
                  <c:v>9.2436974789915603E-3</c:v>
                </c:pt>
                <c:pt idx="13732">
                  <c:v>9.2436974789915603E-3</c:v>
                </c:pt>
                <c:pt idx="13733">
                  <c:v>9.2436974789915603E-3</c:v>
                </c:pt>
                <c:pt idx="13734">
                  <c:v>9.2436974789915603E-3</c:v>
                </c:pt>
                <c:pt idx="13735">
                  <c:v>9.2436974789915603E-3</c:v>
                </c:pt>
                <c:pt idx="13736">
                  <c:v>8.4033613445377801E-3</c:v>
                </c:pt>
                <c:pt idx="13737">
                  <c:v>8.4033613445377801E-3</c:v>
                </c:pt>
                <c:pt idx="13738">
                  <c:v>8.4033613445377801E-3</c:v>
                </c:pt>
                <c:pt idx="13739">
                  <c:v>8.4033613445377801E-3</c:v>
                </c:pt>
                <c:pt idx="13740">
                  <c:v>8.4033613445377801E-3</c:v>
                </c:pt>
                <c:pt idx="13741">
                  <c:v>8.4033613445377801E-3</c:v>
                </c:pt>
                <c:pt idx="13742">
                  <c:v>8.4033613445377801E-3</c:v>
                </c:pt>
                <c:pt idx="13743">
                  <c:v>7.5630252100839998E-3</c:v>
                </c:pt>
                <c:pt idx="13744">
                  <c:v>7.5630252100839998E-3</c:v>
                </c:pt>
                <c:pt idx="13745">
                  <c:v>7.5630252100839998E-3</c:v>
                </c:pt>
                <c:pt idx="13746">
                  <c:v>7.5630252100839998E-3</c:v>
                </c:pt>
                <c:pt idx="13747">
                  <c:v>7.5630252100839998E-3</c:v>
                </c:pt>
                <c:pt idx="13748">
                  <c:v>7.5630252100839998E-3</c:v>
                </c:pt>
                <c:pt idx="13749">
                  <c:v>7.5630252100839998E-3</c:v>
                </c:pt>
                <c:pt idx="13750">
                  <c:v>7.5630252100839998E-3</c:v>
                </c:pt>
                <c:pt idx="13751">
                  <c:v>7.5630252100839998E-3</c:v>
                </c:pt>
                <c:pt idx="13752">
                  <c:v>7.5630252100839998E-3</c:v>
                </c:pt>
                <c:pt idx="13753">
                  <c:v>7.5630252100839998E-3</c:v>
                </c:pt>
                <c:pt idx="13754">
                  <c:v>7.5630252100839998E-3</c:v>
                </c:pt>
                <c:pt idx="13755">
                  <c:v>7.5630252100839998E-3</c:v>
                </c:pt>
                <c:pt idx="13756">
                  <c:v>7.5630252100839998E-3</c:v>
                </c:pt>
                <c:pt idx="13757">
                  <c:v>7.5630252100839998E-3</c:v>
                </c:pt>
                <c:pt idx="13758">
                  <c:v>7.5630252100839998E-3</c:v>
                </c:pt>
                <c:pt idx="13759">
                  <c:v>7.5630252100839998E-3</c:v>
                </c:pt>
                <c:pt idx="13760">
                  <c:v>7.5630252100839998E-3</c:v>
                </c:pt>
                <c:pt idx="13761">
                  <c:v>6.7226890756302204E-3</c:v>
                </c:pt>
                <c:pt idx="13762">
                  <c:v>6.7226890756302204E-3</c:v>
                </c:pt>
                <c:pt idx="13763">
                  <c:v>6.7226890756302204E-3</c:v>
                </c:pt>
                <c:pt idx="13764">
                  <c:v>6.7226890756302204E-3</c:v>
                </c:pt>
                <c:pt idx="13765">
                  <c:v>6.7226890756302204E-3</c:v>
                </c:pt>
                <c:pt idx="13766">
                  <c:v>6.7226890756302204E-3</c:v>
                </c:pt>
                <c:pt idx="13767">
                  <c:v>6.7226890756302204E-3</c:v>
                </c:pt>
                <c:pt idx="13768">
                  <c:v>6.7226890756302204E-3</c:v>
                </c:pt>
                <c:pt idx="13769">
                  <c:v>6.7226890756302204E-3</c:v>
                </c:pt>
                <c:pt idx="13770">
                  <c:v>6.7226890756302204E-3</c:v>
                </c:pt>
                <c:pt idx="13771">
                  <c:v>6.7226890756302204E-3</c:v>
                </c:pt>
                <c:pt idx="13772">
                  <c:v>6.7226890756302204E-3</c:v>
                </c:pt>
                <c:pt idx="13773">
                  <c:v>6.7226890756302204E-3</c:v>
                </c:pt>
                <c:pt idx="13774">
                  <c:v>6.7226890756302204E-3</c:v>
                </c:pt>
                <c:pt idx="13775">
                  <c:v>6.7226890756302204E-3</c:v>
                </c:pt>
                <c:pt idx="13776">
                  <c:v>5.8823529411764497E-3</c:v>
                </c:pt>
                <c:pt idx="13777">
                  <c:v>5.8823529411764497E-3</c:v>
                </c:pt>
                <c:pt idx="13778">
                  <c:v>5.8823529411764497E-3</c:v>
                </c:pt>
                <c:pt idx="13779">
                  <c:v>5.8823529411764497E-3</c:v>
                </c:pt>
                <c:pt idx="13780">
                  <c:v>5.8823529411764497E-3</c:v>
                </c:pt>
                <c:pt idx="13781">
                  <c:v>5.8823529411764497E-3</c:v>
                </c:pt>
                <c:pt idx="13782">
                  <c:v>5.8823529411764497E-3</c:v>
                </c:pt>
                <c:pt idx="13783">
                  <c:v>6.7226890756302204E-3</c:v>
                </c:pt>
                <c:pt idx="13784">
                  <c:v>6.7226890756302204E-3</c:v>
                </c:pt>
                <c:pt idx="13785">
                  <c:v>6.7226890756302204E-3</c:v>
                </c:pt>
                <c:pt idx="13786">
                  <c:v>6.7226890756302204E-3</c:v>
                </c:pt>
                <c:pt idx="13787">
                  <c:v>6.7226890756302204E-3</c:v>
                </c:pt>
                <c:pt idx="13788">
                  <c:v>5.8823529411764497E-3</c:v>
                </c:pt>
                <c:pt idx="13789">
                  <c:v>5.8823529411764497E-3</c:v>
                </c:pt>
                <c:pt idx="13790">
                  <c:v>5.8823529411764497E-3</c:v>
                </c:pt>
                <c:pt idx="13791">
                  <c:v>5.8823529411764497E-3</c:v>
                </c:pt>
                <c:pt idx="13792">
                  <c:v>5.8823529411764497E-3</c:v>
                </c:pt>
                <c:pt idx="13793">
                  <c:v>5.8823529411764497E-3</c:v>
                </c:pt>
                <c:pt idx="13794">
                  <c:v>5.8823529411764497E-3</c:v>
                </c:pt>
                <c:pt idx="13795">
                  <c:v>5.8823529411764497E-3</c:v>
                </c:pt>
                <c:pt idx="13796">
                  <c:v>5.8823529411764497E-3</c:v>
                </c:pt>
                <c:pt idx="13797">
                  <c:v>5.8823529411764497E-3</c:v>
                </c:pt>
                <c:pt idx="13798">
                  <c:v>5.8823529411764497E-3</c:v>
                </c:pt>
                <c:pt idx="13799">
                  <c:v>5.8823529411764497E-3</c:v>
                </c:pt>
                <c:pt idx="13800">
                  <c:v>5.8823529411764497E-3</c:v>
                </c:pt>
                <c:pt idx="13801">
                  <c:v>5.8823529411764497E-3</c:v>
                </c:pt>
                <c:pt idx="13802">
                  <c:v>5.8823529411764497E-3</c:v>
                </c:pt>
                <c:pt idx="13803">
                  <c:v>5.8823529411764497E-3</c:v>
                </c:pt>
                <c:pt idx="13804">
                  <c:v>5.8823529411764497E-3</c:v>
                </c:pt>
                <c:pt idx="13805">
                  <c:v>5.8823529411764497E-3</c:v>
                </c:pt>
                <c:pt idx="13806">
                  <c:v>5.8823529411764497E-3</c:v>
                </c:pt>
                <c:pt idx="13807">
                  <c:v>5.8823529411764497E-3</c:v>
                </c:pt>
                <c:pt idx="13808">
                  <c:v>5.8823529411764497E-3</c:v>
                </c:pt>
                <c:pt idx="13809">
                  <c:v>5.8823529411764497E-3</c:v>
                </c:pt>
                <c:pt idx="13810">
                  <c:v>5.8823529411764497E-3</c:v>
                </c:pt>
                <c:pt idx="13811">
                  <c:v>5.8823529411764497E-3</c:v>
                </c:pt>
                <c:pt idx="13812">
                  <c:v>5.8823529411764497E-3</c:v>
                </c:pt>
                <c:pt idx="13813">
                  <c:v>5.8823529411764497E-3</c:v>
                </c:pt>
                <c:pt idx="13814">
                  <c:v>5.8823529411764497E-3</c:v>
                </c:pt>
                <c:pt idx="13815">
                  <c:v>5.8823529411764497E-3</c:v>
                </c:pt>
                <c:pt idx="13816">
                  <c:v>5.8823529411764497E-3</c:v>
                </c:pt>
                <c:pt idx="13817">
                  <c:v>5.8823529411764497E-3</c:v>
                </c:pt>
                <c:pt idx="13818">
                  <c:v>5.8823529411764497E-3</c:v>
                </c:pt>
                <c:pt idx="13819">
                  <c:v>5.8823529411764497E-3</c:v>
                </c:pt>
                <c:pt idx="13820">
                  <c:v>5.8823529411764497E-3</c:v>
                </c:pt>
                <c:pt idx="13821">
                  <c:v>5.8823529411764497E-3</c:v>
                </c:pt>
                <c:pt idx="13822">
                  <c:v>5.8823529411764497E-3</c:v>
                </c:pt>
                <c:pt idx="13823">
                  <c:v>5.8823529411764497E-3</c:v>
                </c:pt>
                <c:pt idx="13824">
                  <c:v>5.8823529411764497E-3</c:v>
                </c:pt>
                <c:pt idx="13825">
                  <c:v>5.8823529411764497E-3</c:v>
                </c:pt>
                <c:pt idx="13826">
                  <c:v>5.8823529411764497E-3</c:v>
                </c:pt>
                <c:pt idx="13827">
                  <c:v>5.8823529411764497E-3</c:v>
                </c:pt>
                <c:pt idx="13828">
                  <c:v>5.8823529411764497E-3</c:v>
                </c:pt>
                <c:pt idx="13829">
                  <c:v>5.8823529411764497E-3</c:v>
                </c:pt>
                <c:pt idx="13830">
                  <c:v>5.8823529411764497E-3</c:v>
                </c:pt>
                <c:pt idx="13831">
                  <c:v>5.8823529411764497E-3</c:v>
                </c:pt>
                <c:pt idx="13832">
                  <c:v>5.8823529411764497E-3</c:v>
                </c:pt>
                <c:pt idx="13833">
                  <c:v>5.8823529411764497E-3</c:v>
                </c:pt>
                <c:pt idx="13834">
                  <c:v>6.7226890756302204E-3</c:v>
                </c:pt>
                <c:pt idx="13835">
                  <c:v>6.7226890756302204E-3</c:v>
                </c:pt>
                <c:pt idx="13836">
                  <c:v>6.7226890756302204E-3</c:v>
                </c:pt>
                <c:pt idx="13837">
                  <c:v>6.7226890756302204E-3</c:v>
                </c:pt>
                <c:pt idx="13838">
                  <c:v>6.7226890756302204E-3</c:v>
                </c:pt>
                <c:pt idx="13839">
                  <c:v>6.7226890756302204E-3</c:v>
                </c:pt>
                <c:pt idx="13840">
                  <c:v>6.7226890756302204E-3</c:v>
                </c:pt>
                <c:pt idx="13841">
                  <c:v>6.7226890756302204E-3</c:v>
                </c:pt>
                <c:pt idx="13842">
                  <c:v>7.5630252100839998E-3</c:v>
                </c:pt>
                <c:pt idx="13843">
                  <c:v>7.5630252100839998E-3</c:v>
                </c:pt>
                <c:pt idx="13844">
                  <c:v>7.5630252100839998E-3</c:v>
                </c:pt>
                <c:pt idx="13845">
                  <c:v>7.5630252100839998E-3</c:v>
                </c:pt>
                <c:pt idx="13846">
                  <c:v>7.5630252100839998E-3</c:v>
                </c:pt>
                <c:pt idx="13847">
                  <c:v>7.5630252100839998E-3</c:v>
                </c:pt>
                <c:pt idx="13848">
                  <c:v>7.5630252100839998E-3</c:v>
                </c:pt>
                <c:pt idx="13849">
                  <c:v>7.5630252100839998E-3</c:v>
                </c:pt>
                <c:pt idx="13850">
                  <c:v>6.7226890756302204E-3</c:v>
                </c:pt>
                <c:pt idx="13851">
                  <c:v>6.7226890756302204E-3</c:v>
                </c:pt>
                <c:pt idx="13852">
                  <c:v>6.7226890756302204E-3</c:v>
                </c:pt>
                <c:pt idx="13853">
                  <c:v>6.7226890756302204E-3</c:v>
                </c:pt>
                <c:pt idx="13854">
                  <c:v>6.7226890756302204E-3</c:v>
                </c:pt>
                <c:pt idx="13855">
                  <c:v>6.7226890756302204E-3</c:v>
                </c:pt>
                <c:pt idx="13856">
                  <c:v>6.7226890756302204E-3</c:v>
                </c:pt>
                <c:pt idx="13857">
                  <c:v>7.5630252100839998E-3</c:v>
                </c:pt>
                <c:pt idx="13858">
                  <c:v>7.5630252100839998E-3</c:v>
                </c:pt>
                <c:pt idx="13859">
                  <c:v>7.5630252100839998E-3</c:v>
                </c:pt>
                <c:pt idx="13860">
                  <c:v>7.5630252100839998E-3</c:v>
                </c:pt>
                <c:pt idx="13861">
                  <c:v>7.5630252100839998E-3</c:v>
                </c:pt>
                <c:pt idx="13862">
                  <c:v>7.5630252100839998E-3</c:v>
                </c:pt>
                <c:pt idx="13863">
                  <c:v>7.5630252100839998E-3</c:v>
                </c:pt>
                <c:pt idx="13864">
                  <c:v>7.5630252100839998E-3</c:v>
                </c:pt>
                <c:pt idx="13865">
                  <c:v>7.5630252100839998E-3</c:v>
                </c:pt>
                <c:pt idx="13866">
                  <c:v>8.4033613445377801E-3</c:v>
                </c:pt>
                <c:pt idx="13867">
                  <c:v>8.4033613445377801E-3</c:v>
                </c:pt>
                <c:pt idx="13868">
                  <c:v>8.4033613445377801E-3</c:v>
                </c:pt>
                <c:pt idx="13869">
                  <c:v>8.4033613445377801E-3</c:v>
                </c:pt>
                <c:pt idx="13870">
                  <c:v>8.4033613445377801E-3</c:v>
                </c:pt>
                <c:pt idx="13871">
                  <c:v>8.4033613445377801E-3</c:v>
                </c:pt>
                <c:pt idx="13872">
                  <c:v>8.4033613445377801E-3</c:v>
                </c:pt>
                <c:pt idx="13873">
                  <c:v>7.5630252100839998E-3</c:v>
                </c:pt>
                <c:pt idx="13874">
                  <c:v>7.5630252100839998E-3</c:v>
                </c:pt>
                <c:pt idx="13875">
                  <c:v>7.5630252100839998E-3</c:v>
                </c:pt>
                <c:pt idx="13876">
                  <c:v>7.5630252100839998E-3</c:v>
                </c:pt>
                <c:pt idx="13877">
                  <c:v>7.5630252100839998E-3</c:v>
                </c:pt>
                <c:pt idx="13878">
                  <c:v>7.5630252100839998E-3</c:v>
                </c:pt>
                <c:pt idx="13879">
                  <c:v>7.5630252100839998E-3</c:v>
                </c:pt>
                <c:pt idx="13880">
                  <c:v>7.5630252100839998E-3</c:v>
                </c:pt>
                <c:pt idx="13881">
                  <c:v>7.5630252100839998E-3</c:v>
                </c:pt>
                <c:pt idx="13882">
                  <c:v>7.5630252100839998E-3</c:v>
                </c:pt>
                <c:pt idx="13883">
                  <c:v>8.4033613445377801E-3</c:v>
                </c:pt>
                <c:pt idx="13884">
                  <c:v>8.4033613445377801E-3</c:v>
                </c:pt>
                <c:pt idx="13885">
                  <c:v>8.4033613445377801E-3</c:v>
                </c:pt>
                <c:pt idx="13886">
                  <c:v>8.4033613445377801E-3</c:v>
                </c:pt>
                <c:pt idx="13887">
                  <c:v>8.4033613445377801E-3</c:v>
                </c:pt>
                <c:pt idx="13888">
                  <c:v>8.4033613445377801E-3</c:v>
                </c:pt>
                <c:pt idx="13889">
                  <c:v>8.4033613445377801E-3</c:v>
                </c:pt>
                <c:pt idx="13890">
                  <c:v>8.4033613445377801E-3</c:v>
                </c:pt>
                <c:pt idx="13891">
                  <c:v>7.5630252100839998E-3</c:v>
                </c:pt>
                <c:pt idx="13892">
                  <c:v>7.5630252100839998E-3</c:v>
                </c:pt>
                <c:pt idx="13893">
                  <c:v>7.5630252100839998E-3</c:v>
                </c:pt>
                <c:pt idx="13894">
                  <c:v>7.5630252100839998E-3</c:v>
                </c:pt>
                <c:pt idx="13895">
                  <c:v>7.5630252100839998E-3</c:v>
                </c:pt>
                <c:pt idx="13896">
                  <c:v>7.5630252100839998E-3</c:v>
                </c:pt>
                <c:pt idx="13897">
                  <c:v>7.5630252100839998E-3</c:v>
                </c:pt>
                <c:pt idx="13898">
                  <c:v>7.5630252100839998E-3</c:v>
                </c:pt>
                <c:pt idx="13899">
                  <c:v>7.5630252100839998E-3</c:v>
                </c:pt>
                <c:pt idx="13900">
                  <c:v>7.5630252100839998E-3</c:v>
                </c:pt>
                <c:pt idx="13901">
                  <c:v>7.5630252100839998E-3</c:v>
                </c:pt>
                <c:pt idx="13902">
                  <c:v>7.5630252100839998E-3</c:v>
                </c:pt>
                <c:pt idx="13903">
                  <c:v>6.7226890756302204E-3</c:v>
                </c:pt>
                <c:pt idx="13904">
                  <c:v>6.7226890756302204E-3</c:v>
                </c:pt>
                <c:pt idx="13905">
                  <c:v>6.7226890756302204E-3</c:v>
                </c:pt>
                <c:pt idx="13906">
                  <c:v>6.7226890756302204E-3</c:v>
                </c:pt>
                <c:pt idx="13907">
                  <c:v>6.7226890756302204E-3</c:v>
                </c:pt>
                <c:pt idx="13908">
                  <c:v>6.7226890756302204E-3</c:v>
                </c:pt>
                <c:pt idx="13909">
                  <c:v>6.7226890756302204E-3</c:v>
                </c:pt>
                <c:pt idx="13910">
                  <c:v>6.7226890756302204E-3</c:v>
                </c:pt>
                <c:pt idx="13911">
                  <c:v>6.7226890756302204E-3</c:v>
                </c:pt>
                <c:pt idx="13912">
                  <c:v>6.7226890756302204E-3</c:v>
                </c:pt>
                <c:pt idx="13913">
                  <c:v>6.7226890756302204E-3</c:v>
                </c:pt>
                <c:pt idx="13914">
                  <c:v>6.7226890756302204E-3</c:v>
                </c:pt>
                <c:pt idx="13915">
                  <c:v>6.7226890756302204E-3</c:v>
                </c:pt>
                <c:pt idx="13916">
                  <c:v>6.7226890756302204E-3</c:v>
                </c:pt>
                <c:pt idx="13917">
                  <c:v>6.7226890756302204E-3</c:v>
                </c:pt>
                <c:pt idx="13918">
                  <c:v>5.8823529411764497E-3</c:v>
                </c:pt>
                <c:pt idx="13919">
                  <c:v>6.7226890756302204E-3</c:v>
                </c:pt>
                <c:pt idx="13920">
                  <c:v>6.7226890756302204E-3</c:v>
                </c:pt>
                <c:pt idx="13921">
                  <c:v>6.7226890756302204E-3</c:v>
                </c:pt>
                <c:pt idx="13922">
                  <c:v>6.7226890756302204E-3</c:v>
                </c:pt>
                <c:pt idx="13923">
                  <c:v>6.7226890756302204E-3</c:v>
                </c:pt>
                <c:pt idx="13924">
                  <c:v>6.7226890756302204E-3</c:v>
                </c:pt>
                <c:pt idx="13925">
                  <c:v>6.7226890756302204E-3</c:v>
                </c:pt>
                <c:pt idx="13926">
                  <c:v>6.7226890756302204E-3</c:v>
                </c:pt>
                <c:pt idx="13927">
                  <c:v>6.7226890756302204E-3</c:v>
                </c:pt>
                <c:pt idx="13928">
                  <c:v>6.7226890756302204E-3</c:v>
                </c:pt>
                <c:pt idx="13929">
                  <c:v>6.7226890756302204E-3</c:v>
                </c:pt>
                <c:pt idx="13930">
                  <c:v>6.7226890756302204E-3</c:v>
                </c:pt>
                <c:pt idx="13931">
                  <c:v>6.7226890756302204E-3</c:v>
                </c:pt>
                <c:pt idx="13932">
                  <c:v>6.7226890756302204E-3</c:v>
                </c:pt>
                <c:pt idx="13933">
                  <c:v>6.7226890756302204E-3</c:v>
                </c:pt>
                <c:pt idx="13934">
                  <c:v>5.8823529411764497E-3</c:v>
                </c:pt>
                <c:pt idx="13935">
                  <c:v>5.8823529411764497E-3</c:v>
                </c:pt>
                <c:pt idx="13936">
                  <c:v>5.8823529411764497E-3</c:v>
                </c:pt>
                <c:pt idx="13937">
                  <c:v>5.8823529411764497E-3</c:v>
                </c:pt>
                <c:pt idx="13938">
                  <c:v>5.8823529411764497E-3</c:v>
                </c:pt>
                <c:pt idx="13939">
                  <c:v>5.8823529411764497E-3</c:v>
                </c:pt>
                <c:pt idx="13940">
                  <c:v>5.8823529411764497E-3</c:v>
                </c:pt>
                <c:pt idx="13941">
                  <c:v>5.8823529411764497E-3</c:v>
                </c:pt>
                <c:pt idx="13942">
                  <c:v>5.8823529411764497E-3</c:v>
                </c:pt>
                <c:pt idx="13943">
                  <c:v>5.8823529411764497E-3</c:v>
                </c:pt>
                <c:pt idx="13944">
                  <c:v>5.8823529411764497E-3</c:v>
                </c:pt>
                <c:pt idx="13945">
                  <c:v>5.8823529411764497E-3</c:v>
                </c:pt>
                <c:pt idx="13946">
                  <c:v>5.8823529411764497E-3</c:v>
                </c:pt>
                <c:pt idx="13947">
                  <c:v>5.8823529411764497E-3</c:v>
                </c:pt>
                <c:pt idx="13948">
                  <c:v>5.8823529411764497E-3</c:v>
                </c:pt>
                <c:pt idx="13949">
                  <c:v>5.8823529411764497E-3</c:v>
                </c:pt>
                <c:pt idx="13950">
                  <c:v>5.8823529411764497E-3</c:v>
                </c:pt>
                <c:pt idx="13951">
                  <c:v>5.8823529411764497E-3</c:v>
                </c:pt>
                <c:pt idx="13952">
                  <c:v>5.8823529411764497E-3</c:v>
                </c:pt>
                <c:pt idx="13953">
                  <c:v>5.8823529411764497E-3</c:v>
                </c:pt>
                <c:pt idx="13954">
                  <c:v>5.8823529411764497E-3</c:v>
                </c:pt>
                <c:pt idx="13955">
                  <c:v>5.8823529411764497E-3</c:v>
                </c:pt>
                <c:pt idx="13956">
                  <c:v>5.8823529411764497E-3</c:v>
                </c:pt>
                <c:pt idx="13957">
                  <c:v>5.8823529411764497E-3</c:v>
                </c:pt>
                <c:pt idx="13958">
                  <c:v>5.8823529411764497E-3</c:v>
                </c:pt>
                <c:pt idx="13959">
                  <c:v>5.8823529411764497E-3</c:v>
                </c:pt>
                <c:pt idx="13960">
                  <c:v>5.8823529411764497E-3</c:v>
                </c:pt>
                <c:pt idx="13961">
                  <c:v>5.8823529411764497E-3</c:v>
                </c:pt>
                <c:pt idx="13962">
                  <c:v>5.8823529411764497E-3</c:v>
                </c:pt>
                <c:pt idx="13963">
                  <c:v>5.8823529411764497E-3</c:v>
                </c:pt>
                <c:pt idx="13964">
                  <c:v>5.8823529411764497E-3</c:v>
                </c:pt>
                <c:pt idx="13965">
                  <c:v>5.8823529411764497E-3</c:v>
                </c:pt>
                <c:pt idx="13966">
                  <c:v>5.8823529411764497E-3</c:v>
                </c:pt>
                <c:pt idx="13967">
                  <c:v>5.8823529411764497E-3</c:v>
                </c:pt>
                <c:pt idx="13968">
                  <c:v>5.8823529411764497E-3</c:v>
                </c:pt>
                <c:pt idx="13969">
                  <c:v>5.8823529411764497E-3</c:v>
                </c:pt>
                <c:pt idx="13970">
                  <c:v>5.8823529411764497E-3</c:v>
                </c:pt>
                <c:pt idx="13971">
                  <c:v>5.8823529411764497E-3</c:v>
                </c:pt>
                <c:pt idx="13972">
                  <c:v>5.8823529411764497E-3</c:v>
                </c:pt>
                <c:pt idx="13973">
                  <c:v>5.8823529411764497E-3</c:v>
                </c:pt>
                <c:pt idx="13974">
                  <c:v>5.8823529411764497E-3</c:v>
                </c:pt>
                <c:pt idx="13975">
                  <c:v>5.8823529411764497E-3</c:v>
                </c:pt>
                <c:pt idx="13976">
                  <c:v>5.8823529411764497E-3</c:v>
                </c:pt>
                <c:pt idx="13977">
                  <c:v>5.8823529411764497E-3</c:v>
                </c:pt>
                <c:pt idx="13978">
                  <c:v>5.8823529411764497E-3</c:v>
                </c:pt>
                <c:pt idx="13979">
                  <c:v>6.7226890756303297E-3</c:v>
                </c:pt>
                <c:pt idx="13980">
                  <c:v>6.7226890756303297E-3</c:v>
                </c:pt>
                <c:pt idx="13981">
                  <c:v>6.7226890756303297E-3</c:v>
                </c:pt>
                <c:pt idx="13982">
                  <c:v>6.7226890756303297E-3</c:v>
                </c:pt>
                <c:pt idx="13983">
                  <c:v>6.7226890756303297E-3</c:v>
                </c:pt>
                <c:pt idx="13984">
                  <c:v>6.7226890756303297E-3</c:v>
                </c:pt>
                <c:pt idx="13985">
                  <c:v>6.7226890756303297E-3</c:v>
                </c:pt>
                <c:pt idx="13986">
                  <c:v>6.7226890756303297E-3</c:v>
                </c:pt>
                <c:pt idx="13987">
                  <c:v>6.7226890756303297E-3</c:v>
                </c:pt>
                <c:pt idx="13988">
                  <c:v>5.8823529411765598E-3</c:v>
                </c:pt>
                <c:pt idx="13989">
                  <c:v>5.8823529411765598E-3</c:v>
                </c:pt>
                <c:pt idx="13990">
                  <c:v>5.8823529411765598E-3</c:v>
                </c:pt>
                <c:pt idx="13991">
                  <c:v>5.8823529411765598E-3</c:v>
                </c:pt>
                <c:pt idx="13992">
                  <c:v>5.8823529411765598E-3</c:v>
                </c:pt>
                <c:pt idx="13993">
                  <c:v>5.0420168067227796E-3</c:v>
                </c:pt>
                <c:pt idx="13994">
                  <c:v>5.0420168067227796E-3</c:v>
                </c:pt>
                <c:pt idx="13995">
                  <c:v>5.0420168067227796E-3</c:v>
                </c:pt>
                <c:pt idx="13996">
                  <c:v>5.0420168067227796E-3</c:v>
                </c:pt>
                <c:pt idx="13997">
                  <c:v>5.0420168067227796E-3</c:v>
                </c:pt>
                <c:pt idx="13998">
                  <c:v>5.0420168067227796E-3</c:v>
                </c:pt>
                <c:pt idx="13999">
                  <c:v>5.0420168067227796E-3</c:v>
                </c:pt>
                <c:pt idx="14000">
                  <c:v>5.0420168067227796E-3</c:v>
                </c:pt>
                <c:pt idx="14001">
                  <c:v>5.0420168067227796E-3</c:v>
                </c:pt>
                <c:pt idx="14002">
                  <c:v>5.0420168067227796E-3</c:v>
                </c:pt>
                <c:pt idx="14003">
                  <c:v>5.0420168067227796E-3</c:v>
                </c:pt>
                <c:pt idx="14004">
                  <c:v>5.0420168067227796E-3</c:v>
                </c:pt>
                <c:pt idx="14005">
                  <c:v>5.0420168067227796E-3</c:v>
                </c:pt>
                <c:pt idx="14006">
                  <c:v>5.0420168067227796E-3</c:v>
                </c:pt>
                <c:pt idx="14007">
                  <c:v>5.0420168067227796E-3</c:v>
                </c:pt>
                <c:pt idx="14008">
                  <c:v>5.0420168067227796E-3</c:v>
                </c:pt>
                <c:pt idx="14009">
                  <c:v>5.0420168067227796E-3</c:v>
                </c:pt>
                <c:pt idx="14010">
                  <c:v>5.0420168067227796E-3</c:v>
                </c:pt>
                <c:pt idx="14011">
                  <c:v>5.0420168067227796E-3</c:v>
                </c:pt>
                <c:pt idx="14012">
                  <c:v>5.0420168067227796E-3</c:v>
                </c:pt>
                <c:pt idx="14013">
                  <c:v>5.0420168067227796E-3</c:v>
                </c:pt>
                <c:pt idx="14014">
                  <c:v>5.0420168067227796E-3</c:v>
                </c:pt>
                <c:pt idx="14015">
                  <c:v>5.0420168067227796E-3</c:v>
                </c:pt>
                <c:pt idx="14016">
                  <c:v>5.0420168067227796E-3</c:v>
                </c:pt>
                <c:pt idx="14017">
                  <c:v>5.0420168067227796E-3</c:v>
                </c:pt>
                <c:pt idx="14018">
                  <c:v>5.8823529411765598E-3</c:v>
                </c:pt>
                <c:pt idx="14019">
                  <c:v>5.0420168067227796E-3</c:v>
                </c:pt>
                <c:pt idx="14020">
                  <c:v>5.0420168067227796E-3</c:v>
                </c:pt>
                <c:pt idx="14021">
                  <c:v>5.0420168067227796E-3</c:v>
                </c:pt>
                <c:pt idx="14022">
                  <c:v>5.0420168067227796E-3</c:v>
                </c:pt>
                <c:pt idx="14023">
                  <c:v>5.0420168067227796E-3</c:v>
                </c:pt>
                <c:pt idx="14024">
                  <c:v>5.0420168067227796E-3</c:v>
                </c:pt>
                <c:pt idx="14025">
                  <c:v>5.0420168067227796E-3</c:v>
                </c:pt>
                <c:pt idx="14026">
                  <c:v>4.2016806722690002E-3</c:v>
                </c:pt>
                <c:pt idx="14027">
                  <c:v>4.2016806722690002E-3</c:v>
                </c:pt>
                <c:pt idx="14028">
                  <c:v>4.2016806722690002E-3</c:v>
                </c:pt>
                <c:pt idx="14029">
                  <c:v>4.2016806722690002E-3</c:v>
                </c:pt>
                <c:pt idx="14030">
                  <c:v>5.0420168067227796E-3</c:v>
                </c:pt>
                <c:pt idx="14031">
                  <c:v>5.0420168067227796E-3</c:v>
                </c:pt>
                <c:pt idx="14032">
                  <c:v>5.0420168067227796E-3</c:v>
                </c:pt>
                <c:pt idx="14033">
                  <c:v>5.0420168067227796E-3</c:v>
                </c:pt>
                <c:pt idx="14034">
                  <c:v>5.0420168067227796E-3</c:v>
                </c:pt>
                <c:pt idx="14035">
                  <c:v>5.0420168067227796E-3</c:v>
                </c:pt>
                <c:pt idx="14036">
                  <c:v>5.0420168067227796E-3</c:v>
                </c:pt>
                <c:pt idx="14037">
                  <c:v>5.0420168067227796E-3</c:v>
                </c:pt>
                <c:pt idx="14038">
                  <c:v>5.0420168067227796E-3</c:v>
                </c:pt>
                <c:pt idx="14039">
                  <c:v>5.0420168067227796E-3</c:v>
                </c:pt>
                <c:pt idx="14040">
                  <c:v>5.0420168067227796E-3</c:v>
                </c:pt>
                <c:pt idx="14041">
                  <c:v>4.2016806722690002E-3</c:v>
                </c:pt>
                <c:pt idx="14042">
                  <c:v>4.2016806722690002E-3</c:v>
                </c:pt>
                <c:pt idx="14043">
                  <c:v>4.2016806722690002E-3</c:v>
                </c:pt>
                <c:pt idx="14044">
                  <c:v>4.2016806722690002E-3</c:v>
                </c:pt>
                <c:pt idx="14045">
                  <c:v>4.2016806722690002E-3</c:v>
                </c:pt>
                <c:pt idx="14046">
                  <c:v>4.2016806722690002E-3</c:v>
                </c:pt>
                <c:pt idx="14047">
                  <c:v>4.2016806722690002E-3</c:v>
                </c:pt>
                <c:pt idx="14048">
                  <c:v>4.2016806722690002E-3</c:v>
                </c:pt>
                <c:pt idx="14049">
                  <c:v>4.2016806722690002E-3</c:v>
                </c:pt>
                <c:pt idx="14050">
                  <c:v>4.2016806722690002E-3</c:v>
                </c:pt>
                <c:pt idx="14051">
                  <c:v>4.2016806722690002E-3</c:v>
                </c:pt>
                <c:pt idx="14052">
                  <c:v>4.2016806722690002E-3</c:v>
                </c:pt>
                <c:pt idx="14053">
                  <c:v>4.2016806722690002E-3</c:v>
                </c:pt>
                <c:pt idx="14054">
                  <c:v>4.2016806722690002E-3</c:v>
                </c:pt>
                <c:pt idx="14055">
                  <c:v>4.2016806722690002E-3</c:v>
                </c:pt>
                <c:pt idx="14056">
                  <c:v>5.0420168067227796E-3</c:v>
                </c:pt>
                <c:pt idx="14057">
                  <c:v>5.0420168067227796E-3</c:v>
                </c:pt>
                <c:pt idx="14058">
                  <c:v>5.0420168067227796E-3</c:v>
                </c:pt>
                <c:pt idx="14059">
                  <c:v>5.0420168067227796E-3</c:v>
                </c:pt>
                <c:pt idx="14060">
                  <c:v>5.0420168067227796E-3</c:v>
                </c:pt>
                <c:pt idx="14061">
                  <c:v>5.0420168067227796E-3</c:v>
                </c:pt>
                <c:pt idx="14062">
                  <c:v>5.0420168067227796E-3</c:v>
                </c:pt>
                <c:pt idx="14063">
                  <c:v>5.0420168067227796E-3</c:v>
                </c:pt>
                <c:pt idx="14064">
                  <c:v>5.0420168067227796E-3</c:v>
                </c:pt>
                <c:pt idx="14065">
                  <c:v>5.0420168067227796E-3</c:v>
                </c:pt>
                <c:pt idx="14066">
                  <c:v>5.0420168067227796E-3</c:v>
                </c:pt>
                <c:pt idx="14067">
                  <c:v>5.0420168067227796E-3</c:v>
                </c:pt>
                <c:pt idx="14068">
                  <c:v>4.2016806722690002E-3</c:v>
                </c:pt>
                <c:pt idx="14069">
                  <c:v>4.2016806722690002E-3</c:v>
                </c:pt>
                <c:pt idx="14070">
                  <c:v>4.2016806722690002E-3</c:v>
                </c:pt>
                <c:pt idx="14071">
                  <c:v>4.2016806722690002E-3</c:v>
                </c:pt>
                <c:pt idx="14072">
                  <c:v>4.2016806722690002E-3</c:v>
                </c:pt>
                <c:pt idx="14073">
                  <c:v>4.2016806722690002E-3</c:v>
                </c:pt>
                <c:pt idx="14074">
                  <c:v>4.2016806722690002E-3</c:v>
                </c:pt>
                <c:pt idx="14075">
                  <c:v>4.2016806722690002E-3</c:v>
                </c:pt>
                <c:pt idx="14076">
                  <c:v>4.2016806722690002E-3</c:v>
                </c:pt>
                <c:pt idx="14077">
                  <c:v>4.2016806722690002E-3</c:v>
                </c:pt>
                <c:pt idx="14078">
                  <c:v>4.2016806722690002E-3</c:v>
                </c:pt>
                <c:pt idx="14079">
                  <c:v>4.2016806722690002E-3</c:v>
                </c:pt>
                <c:pt idx="14080">
                  <c:v>4.2016806722690002E-3</c:v>
                </c:pt>
                <c:pt idx="14081">
                  <c:v>4.2016806722690002E-3</c:v>
                </c:pt>
                <c:pt idx="14082">
                  <c:v>4.2016806722690002E-3</c:v>
                </c:pt>
                <c:pt idx="14083">
                  <c:v>4.2016806722690002E-3</c:v>
                </c:pt>
                <c:pt idx="14084">
                  <c:v>4.2016806722690002E-3</c:v>
                </c:pt>
                <c:pt idx="14085">
                  <c:v>4.2016806722690002E-3</c:v>
                </c:pt>
                <c:pt idx="14086">
                  <c:v>4.2016806722690002E-3</c:v>
                </c:pt>
                <c:pt idx="14087">
                  <c:v>4.2016806722690002E-3</c:v>
                </c:pt>
                <c:pt idx="14088">
                  <c:v>4.2016806722690002E-3</c:v>
                </c:pt>
                <c:pt idx="14089">
                  <c:v>4.2016806722690002E-3</c:v>
                </c:pt>
                <c:pt idx="14090">
                  <c:v>4.2016806722690002E-3</c:v>
                </c:pt>
                <c:pt idx="14091">
                  <c:v>4.2016806722690002E-3</c:v>
                </c:pt>
                <c:pt idx="14092">
                  <c:v>5.0420168067227796E-3</c:v>
                </c:pt>
                <c:pt idx="14093">
                  <c:v>5.0420168067227796E-3</c:v>
                </c:pt>
                <c:pt idx="14094">
                  <c:v>5.0420168067227796E-3</c:v>
                </c:pt>
                <c:pt idx="14095">
                  <c:v>5.0420168067227796E-3</c:v>
                </c:pt>
                <c:pt idx="14096">
                  <c:v>4.2016806722690002E-3</c:v>
                </c:pt>
                <c:pt idx="14097">
                  <c:v>4.2016806722690002E-3</c:v>
                </c:pt>
                <c:pt idx="14098">
                  <c:v>4.2016806722690002E-3</c:v>
                </c:pt>
                <c:pt idx="14099">
                  <c:v>4.2016806722690002E-3</c:v>
                </c:pt>
                <c:pt idx="14100">
                  <c:v>4.2016806722690002E-3</c:v>
                </c:pt>
                <c:pt idx="14101">
                  <c:v>4.2016806722690002E-3</c:v>
                </c:pt>
                <c:pt idx="14102">
                  <c:v>4.2016806722690002E-3</c:v>
                </c:pt>
                <c:pt idx="14103">
                  <c:v>4.2016806722690002E-3</c:v>
                </c:pt>
                <c:pt idx="14104">
                  <c:v>4.2016806722690002E-3</c:v>
                </c:pt>
                <c:pt idx="14105">
                  <c:v>4.2016806722690002E-3</c:v>
                </c:pt>
                <c:pt idx="14106">
                  <c:v>4.2016806722690002E-3</c:v>
                </c:pt>
                <c:pt idx="14107">
                  <c:v>4.2016806722690002E-3</c:v>
                </c:pt>
                <c:pt idx="14108">
                  <c:v>4.2016806722690002E-3</c:v>
                </c:pt>
                <c:pt idx="14109">
                  <c:v>4.2016806722690002E-3</c:v>
                </c:pt>
                <c:pt idx="14110">
                  <c:v>4.2016806722690002E-3</c:v>
                </c:pt>
                <c:pt idx="14111">
                  <c:v>4.2016806722690002E-3</c:v>
                </c:pt>
                <c:pt idx="14112">
                  <c:v>4.2016806722690002E-3</c:v>
                </c:pt>
                <c:pt idx="14113">
                  <c:v>4.2016806722690002E-3</c:v>
                </c:pt>
                <c:pt idx="14114">
                  <c:v>4.2016806722690002E-3</c:v>
                </c:pt>
                <c:pt idx="14115">
                  <c:v>4.2016806722690002E-3</c:v>
                </c:pt>
                <c:pt idx="14116">
                  <c:v>4.2016806722690002E-3</c:v>
                </c:pt>
                <c:pt idx="14117">
                  <c:v>4.2016806722690002E-3</c:v>
                </c:pt>
                <c:pt idx="14118">
                  <c:v>4.2016806722690002E-3</c:v>
                </c:pt>
                <c:pt idx="14119">
                  <c:v>4.2016806722690002E-3</c:v>
                </c:pt>
                <c:pt idx="14120">
                  <c:v>4.2016806722690002E-3</c:v>
                </c:pt>
                <c:pt idx="14121">
                  <c:v>4.2016806722690002E-3</c:v>
                </c:pt>
                <c:pt idx="14122">
                  <c:v>4.2016806722690002E-3</c:v>
                </c:pt>
                <c:pt idx="14123">
                  <c:v>4.2016806722690002E-3</c:v>
                </c:pt>
                <c:pt idx="14124">
                  <c:v>4.2016806722690002E-3</c:v>
                </c:pt>
                <c:pt idx="14125">
                  <c:v>4.2016806722690002E-3</c:v>
                </c:pt>
                <c:pt idx="14126">
                  <c:v>4.2016806722690002E-3</c:v>
                </c:pt>
                <c:pt idx="14127">
                  <c:v>4.2016806722690002E-3</c:v>
                </c:pt>
                <c:pt idx="14128">
                  <c:v>4.2016806722690002E-3</c:v>
                </c:pt>
                <c:pt idx="14129">
                  <c:v>4.2016806722690002E-3</c:v>
                </c:pt>
                <c:pt idx="14130">
                  <c:v>4.2016806722690002E-3</c:v>
                </c:pt>
                <c:pt idx="14131">
                  <c:v>4.2016806722690002E-3</c:v>
                </c:pt>
                <c:pt idx="14132">
                  <c:v>4.2016806722690002E-3</c:v>
                </c:pt>
                <c:pt idx="14133">
                  <c:v>4.2016806722690002E-3</c:v>
                </c:pt>
                <c:pt idx="14134">
                  <c:v>4.2016806722690002E-3</c:v>
                </c:pt>
                <c:pt idx="14135">
                  <c:v>4.2016806722690002E-3</c:v>
                </c:pt>
                <c:pt idx="14136">
                  <c:v>4.2016806722690002E-3</c:v>
                </c:pt>
                <c:pt idx="14137">
                  <c:v>4.2016806722690002E-3</c:v>
                </c:pt>
                <c:pt idx="14138">
                  <c:v>4.2016806722690002E-3</c:v>
                </c:pt>
                <c:pt idx="14139">
                  <c:v>4.2016806722690002E-3</c:v>
                </c:pt>
                <c:pt idx="14140">
                  <c:v>4.2016806722690002E-3</c:v>
                </c:pt>
                <c:pt idx="14141">
                  <c:v>4.2016806722690002E-3</c:v>
                </c:pt>
                <c:pt idx="14142">
                  <c:v>4.2016806722690002E-3</c:v>
                </c:pt>
                <c:pt idx="14143">
                  <c:v>4.2016806722690002E-3</c:v>
                </c:pt>
                <c:pt idx="14144">
                  <c:v>4.2016806722690002E-3</c:v>
                </c:pt>
                <c:pt idx="14145">
                  <c:v>4.2016806722690002E-3</c:v>
                </c:pt>
                <c:pt idx="14146">
                  <c:v>4.2016806722690002E-3</c:v>
                </c:pt>
                <c:pt idx="14147">
                  <c:v>4.2016806722690002E-3</c:v>
                </c:pt>
                <c:pt idx="14148">
                  <c:v>4.2016806722690002E-3</c:v>
                </c:pt>
                <c:pt idx="14149">
                  <c:v>4.2016806722690002E-3</c:v>
                </c:pt>
                <c:pt idx="14150">
                  <c:v>4.2016806722690002E-3</c:v>
                </c:pt>
                <c:pt idx="14151">
                  <c:v>4.2016806722690002E-3</c:v>
                </c:pt>
                <c:pt idx="14152">
                  <c:v>4.2016806722690002E-3</c:v>
                </c:pt>
                <c:pt idx="14153">
                  <c:v>4.2016806722690002E-3</c:v>
                </c:pt>
                <c:pt idx="14154">
                  <c:v>4.2016806722690002E-3</c:v>
                </c:pt>
                <c:pt idx="14155">
                  <c:v>4.2016806722690002E-3</c:v>
                </c:pt>
                <c:pt idx="14156">
                  <c:v>4.2016806722690002E-3</c:v>
                </c:pt>
                <c:pt idx="14157">
                  <c:v>5.0420168067227796E-3</c:v>
                </c:pt>
                <c:pt idx="14158">
                  <c:v>5.0420168067227796E-3</c:v>
                </c:pt>
                <c:pt idx="14159">
                  <c:v>5.0420168067227796E-3</c:v>
                </c:pt>
                <c:pt idx="14160">
                  <c:v>5.0420168067227796E-3</c:v>
                </c:pt>
                <c:pt idx="14161">
                  <c:v>5.0420168067227796E-3</c:v>
                </c:pt>
                <c:pt idx="14162">
                  <c:v>5.0420168067227796E-3</c:v>
                </c:pt>
                <c:pt idx="14163">
                  <c:v>5.0420168067227796E-3</c:v>
                </c:pt>
                <c:pt idx="14164">
                  <c:v>5.0420168067227796E-3</c:v>
                </c:pt>
                <c:pt idx="14165">
                  <c:v>5.0420168067227796E-3</c:v>
                </c:pt>
                <c:pt idx="14166">
                  <c:v>5.0420168067227796E-3</c:v>
                </c:pt>
                <c:pt idx="14167">
                  <c:v>5.0420168067227796E-3</c:v>
                </c:pt>
                <c:pt idx="14168">
                  <c:v>5.0420168067227796E-3</c:v>
                </c:pt>
                <c:pt idx="14169">
                  <c:v>5.0420168067227796E-3</c:v>
                </c:pt>
                <c:pt idx="14170">
                  <c:v>5.0420168067227796E-3</c:v>
                </c:pt>
                <c:pt idx="14171">
                  <c:v>5.0420168067227796E-3</c:v>
                </c:pt>
                <c:pt idx="14172">
                  <c:v>5.0420168067227796E-3</c:v>
                </c:pt>
                <c:pt idx="14173">
                  <c:v>5.0420168067227796E-3</c:v>
                </c:pt>
                <c:pt idx="14174">
                  <c:v>5.0420168067227796E-3</c:v>
                </c:pt>
                <c:pt idx="14175">
                  <c:v>5.0420168067227796E-3</c:v>
                </c:pt>
                <c:pt idx="14176">
                  <c:v>5.0420168067227796E-3</c:v>
                </c:pt>
                <c:pt idx="14177">
                  <c:v>5.0420168067227796E-3</c:v>
                </c:pt>
                <c:pt idx="14178">
                  <c:v>5.0420168067227796E-3</c:v>
                </c:pt>
                <c:pt idx="14179">
                  <c:v>5.0420168067227796E-3</c:v>
                </c:pt>
                <c:pt idx="14180">
                  <c:v>5.0420168067227796E-3</c:v>
                </c:pt>
                <c:pt idx="14181">
                  <c:v>5.8823529411765598E-3</c:v>
                </c:pt>
                <c:pt idx="14182">
                  <c:v>5.8823529411765598E-3</c:v>
                </c:pt>
                <c:pt idx="14183">
                  <c:v>5.8823529411765598E-3</c:v>
                </c:pt>
                <c:pt idx="14184">
                  <c:v>5.8823529411765598E-3</c:v>
                </c:pt>
                <c:pt idx="14185">
                  <c:v>5.8823529411765598E-3</c:v>
                </c:pt>
                <c:pt idx="14186">
                  <c:v>5.8823529411765598E-3</c:v>
                </c:pt>
                <c:pt idx="14187">
                  <c:v>5.8823529411765598E-3</c:v>
                </c:pt>
                <c:pt idx="14188">
                  <c:v>5.8823529411765598E-3</c:v>
                </c:pt>
                <c:pt idx="14189">
                  <c:v>5.8823529411765598E-3</c:v>
                </c:pt>
                <c:pt idx="14190">
                  <c:v>5.8823529411765598E-3</c:v>
                </c:pt>
                <c:pt idx="14191">
                  <c:v>5.8823529411765598E-3</c:v>
                </c:pt>
                <c:pt idx="14192">
                  <c:v>5.8823529411765598E-3</c:v>
                </c:pt>
                <c:pt idx="14193">
                  <c:v>5.8823529411765598E-3</c:v>
                </c:pt>
                <c:pt idx="14194">
                  <c:v>5.0420168067226703E-3</c:v>
                </c:pt>
                <c:pt idx="14195">
                  <c:v>4.20168067226889E-3</c:v>
                </c:pt>
                <c:pt idx="14196">
                  <c:v>4.20168067226889E-3</c:v>
                </c:pt>
                <c:pt idx="14197">
                  <c:v>4.20168067226889E-3</c:v>
                </c:pt>
                <c:pt idx="14198">
                  <c:v>4.20168067226889E-3</c:v>
                </c:pt>
                <c:pt idx="14199">
                  <c:v>4.20168067226889E-3</c:v>
                </c:pt>
                <c:pt idx="14200">
                  <c:v>5.0420168067226703E-3</c:v>
                </c:pt>
                <c:pt idx="14201">
                  <c:v>5.0420168067226703E-3</c:v>
                </c:pt>
                <c:pt idx="14202">
                  <c:v>5.0420168067226703E-3</c:v>
                </c:pt>
                <c:pt idx="14203">
                  <c:v>5.0420168067226703E-3</c:v>
                </c:pt>
                <c:pt idx="14204">
                  <c:v>5.0420168067226703E-3</c:v>
                </c:pt>
                <c:pt idx="14205">
                  <c:v>5.0420168067226703E-3</c:v>
                </c:pt>
                <c:pt idx="14206">
                  <c:v>5.0420168067226703E-3</c:v>
                </c:pt>
                <c:pt idx="14207">
                  <c:v>5.0420168067226703E-3</c:v>
                </c:pt>
                <c:pt idx="14208">
                  <c:v>5.0420168067226703E-3</c:v>
                </c:pt>
                <c:pt idx="14209">
                  <c:v>5.0420168067226703E-3</c:v>
                </c:pt>
                <c:pt idx="14210">
                  <c:v>5.0420168067226703E-3</c:v>
                </c:pt>
                <c:pt idx="14211">
                  <c:v>5.0420168067226703E-3</c:v>
                </c:pt>
                <c:pt idx="14212">
                  <c:v>5.0420168067226703E-3</c:v>
                </c:pt>
                <c:pt idx="14213">
                  <c:v>5.0420168067226703E-3</c:v>
                </c:pt>
                <c:pt idx="14214">
                  <c:v>5.0420168067226703E-3</c:v>
                </c:pt>
                <c:pt idx="14215">
                  <c:v>5.0420168067226703E-3</c:v>
                </c:pt>
                <c:pt idx="14216">
                  <c:v>5.0420168067226703E-3</c:v>
                </c:pt>
                <c:pt idx="14217">
                  <c:v>5.0420168067226703E-3</c:v>
                </c:pt>
                <c:pt idx="14218">
                  <c:v>5.0420168067226703E-3</c:v>
                </c:pt>
                <c:pt idx="14219">
                  <c:v>5.0420168067226703E-3</c:v>
                </c:pt>
                <c:pt idx="14220">
                  <c:v>5.0420168067226703E-3</c:v>
                </c:pt>
                <c:pt idx="14221">
                  <c:v>5.0420168067226703E-3</c:v>
                </c:pt>
                <c:pt idx="14222">
                  <c:v>5.0420168067226703E-3</c:v>
                </c:pt>
                <c:pt idx="14223">
                  <c:v>5.0420168067226703E-3</c:v>
                </c:pt>
                <c:pt idx="14224">
                  <c:v>5.0420168067226703E-3</c:v>
                </c:pt>
                <c:pt idx="14225">
                  <c:v>5.0420168067226703E-3</c:v>
                </c:pt>
                <c:pt idx="14226">
                  <c:v>5.0420168067226703E-3</c:v>
                </c:pt>
                <c:pt idx="14227">
                  <c:v>5.0420168067226703E-3</c:v>
                </c:pt>
                <c:pt idx="14228">
                  <c:v>5.0420168067226703E-3</c:v>
                </c:pt>
                <c:pt idx="14229">
                  <c:v>5.0420168067226703E-3</c:v>
                </c:pt>
                <c:pt idx="14230">
                  <c:v>5.0420168067226703E-3</c:v>
                </c:pt>
                <c:pt idx="14231">
                  <c:v>5.0420168067226703E-3</c:v>
                </c:pt>
                <c:pt idx="14232">
                  <c:v>5.0420168067226703E-3</c:v>
                </c:pt>
                <c:pt idx="14233">
                  <c:v>5.0420168067226703E-3</c:v>
                </c:pt>
                <c:pt idx="14234">
                  <c:v>5.0420168067226703E-3</c:v>
                </c:pt>
                <c:pt idx="14235">
                  <c:v>5.0420168067226703E-3</c:v>
                </c:pt>
                <c:pt idx="14236">
                  <c:v>5.0420168067226703E-3</c:v>
                </c:pt>
                <c:pt idx="14237">
                  <c:v>5.0420168067226703E-3</c:v>
                </c:pt>
                <c:pt idx="14238">
                  <c:v>5.0420168067226703E-3</c:v>
                </c:pt>
                <c:pt idx="14239">
                  <c:v>5.0420168067226703E-3</c:v>
                </c:pt>
                <c:pt idx="14240">
                  <c:v>5.0420168067226703E-3</c:v>
                </c:pt>
                <c:pt idx="14241">
                  <c:v>5.0420168067226703E-3</c:v>
                </c:pt>
                <c:pt idx="14242">
                  <c:v>5.0420168067226703E-3</c:v>
                </c:pt>
                <c:pt idx="14243">
                  <c:v>5.0420168067226703E-3</c:v>
                </c:pt>
                <c:pt idx="14244">
                  <c:v>5.0420168067226703E-3</c:v>
                </c:pt>
                <c:pt idx="14245">
                  <c:v>5.0420168067226703E-3</c:v>
                </c:pt>
                <c:pt idx="14246">
                  <c:v>5.0420168067226703E-3</c:v>
                </c:pt>
                <c:pt idx="14247">
                  <c:v>5.0420168067226703E-3</c:v>
                </c:pt>
                <c:pt idx="14248">
                  <c:v>5.0420168067226703E-3</c:v>
                </c:pt>
                <c:pt idx="14249">
                  <c:v>5.0420168067226703E-3</c:v>
                </c:pt>
                <c:pt idx="14250">
                  <c:v>5.0420168067226703E-3</c:v>
                </c:pt>
                <c:pt idx="14251">
                  <c:v>5.0420168067226703E-3</c:v>
                </c:pt>
                <c:pt idx="14252">
                  <c:v>5.0420168067226703E-3</c:v>
                </c:pt>
                <c:pt idx="14253">
                  <c:v>5.0420168067226703E-3</c:v>
                </c:pt>
                <c:pt idx="14254">
                  <c:v>5.0420168067226703E-3</c:v>
                </c:pt>
                <c:pt idx="14255">
                  <c:v>5.0420168067226703E-3</c:v>
                </c:pt>
                <c:pt idx="14256">
                  <c:v>5.0420168067226703E-3</c:v>
                </c:pt>
                <c:pt idx="14257">
                  <c:v>5.0420168067226703E-3</c:v>
                </c:pt>
                <c:pt idx="14258">
                  <c:v>5.0420168067226703E-3</c:v>
                </c:pt>
                <c:pt idx="14259">
                  <c:v>5.0420168067226703E-3</c:v>
                </c:pt>
                <c:pt idx="14260">
                  <c:v>5.0420168067226703E-3</c:v>
                </c:pt>
                <c:pt idx="14261">
                  <c:v>5.0420168067226703E-3</c:v>
                </c:pt>
                <c:pt idx="14262">
                  <c:v>5.0420168067226703E-3</c:v>
                </c:pt>
                <c:pt idx="14263">
                  <c:v>5.0420168067226703E-3</c:v>
                </c:pt>
                <c:pt idx="14264">
                  <c:v>5.0420168067226703E-3</c:v>
                </c:pt>
                <c:pt idx="14265">
                  <c:v>5.0420168067226703E-3</c:v>
                </c:pt>
                <c:pt idx="14266">
                  <c:v>5.0420168067226703E-3</c:v>
                </c:pt>
                <c:pt idx="14267">
                  <c:v>5.0420168067226703E-3</c:v>
                </c:pt>
                <c:pt idx="14268">
                  <c:v>5.0420168067226703E-3</c:v>
                </c:pt>
                <c:pt idx="14269">
                  <c:v>5.0420168067226703E-3</c:v>
                </c:pt>
                <c:pt idx="14270">
                  <c:v>5.0420168067226703E-3</c:v>
                </c:pt>
                <c:pt idx="14271">
                  <c:v>5.0420168067226703E-3</c:v>
                </c:pt>
                <c:pt idx="14272">
                  <c:v>5.0420168067226703E-3</c:v>
                </c:pt>
                <c:pt idx="14273">
                  <c:v>5.0420168067226703E-3</c:v>
                </c:pt>
                <c:pt idx="14274">
                  <c:v>5.0420168067226703E-3</c:v>
                </c:pt>
                <c:pt idx="14275">
                  <c:v>5.0420168067226703E-3</c:v>
                </c:pt>
                <c:pt idx="14276">
                  <c:v>5.0420168067226703E-3</c:v>
                </c:pt>
                <c:pt idx="14277">
                  <c:v>5.0420168067226703E-3</c:v>
                </c:pt>
                <c:pt idx="14278">
                  <c:v>5.0420168067226703E-3</c:v>
                </c:pt>
                <c:pt idx="14279">
                  <c:v>5.0420168067226703E-3</c:v>
                </c:pt>
                <c:pt idx="14280">
                  <c:v>5.0420168067226703E-3</c:v>
                </c:pt>
                <c:pt idx="14281">
                  <c:v>4.20168067226889E-3</c:v>
                </c:pt>
                <c:pt idx="14282">
                  <c:v>4.20168067226889E-3</c:v>
                </c:pt>
                <c:pt idx="14283">
                  <c:v>4.20168067226889E-3</c:v>
                </c:pt>
                <c:pt idx="14284">
                  <c:v>4.20168067226889E-3</c:v>
                </c:pt>
                <c:pt idx="14285">
                  <c:v>4.20168067226889E-3</c:v>
                </c:pt>
                <c:pt idx="14286">
                  <c:v>4.20168067226889E-3</c:v>
                </c:pt>
                <c:pt idx="14287">
                  <c:v>4.20168067226889E-3</c:v>
                </c:pt>
                <c:pt idx="14288">
                  <c:v>4.20168067226889E-3</c:v>
                </c:pt>
                <c:pt idx="14289">
                  <c:v>4.20168067226889E-3</c:v>
                </c:pt>
                <c:pt idx="14290">
                  <c:v>4.20168067226889E-3</c:v>
                </c:pt>
                <c:pt idx="14291">
                  <c:v>4.20168067226889E-3</c:v>
                </c:pt>
                <c:pt idx="14292">
                  <c:v>5.0420168067226703E-3</c:v>
                </c:pt>
                <c:pt idx="14293">
                  <c:v>5.0420168067226703E-3</c:v>
                </c:pt>
                <c:pt idx="14294">
                  <c:v>5.0420168067226703E-3</c:v>
                </c:pt>
                <c:pt idx="14295">
                  <c:v>5.0420168067226703E-3</c:v>
                </c:pt>
                <c:pt idx="14296">
                  <c:v>5.0420168067226703E-3</c:v>
                </c:pt>
                <c:pt idx="14297">
                  <c:v>5.0420168067226703E-3</c:v>
                </c:pt>
                <c:pt idx="14298">
                  <c:v>5.0420168067226703E-3</c:v>
                </c:pt>
                <c:pt idx="14299">
                  <c:v>5.0420168067226703E-3</c:v>
                </c:pt>
                <c:pt idx="14300">
                  <c:v>5.0420168067226703E-3</c:v>
                </c:pt>
                <c:pt idx="14301">
                  <c:v>5.0420168067226703E-3</c:v>
                </c:pt>
                <c:pt idx="14302">
                  <c:v>5.0420168067226703E-3</c:v>
                </c:pt>
                <c:pt idx="14303">
                  <c:v>5.0420168067226703E-3</c:v>
                </c:pt>
                <c:pt idx="14304">
                  <c:v>5.0420168067226703E-3</c:v>
                </c:pt>
                <c:pt idx="14305">
                  <c:v>5.0420168067226703E-3</c:v>
                </c:pt>
                <c:pt idx="14306">
                  <c:v>5.0420168067226703E-3</c:v>
                </c:pt>
                <c:pt idx="14307">
                  <c:v>5.0420168067226703E-3</c:v>
                </c:pt>
                <c:pt idx="14308">
                  <c:v>5.0420168067226703E-3</c:v>
                </c:pt>
                <c:pt idx="14309">
                  <c:v>5.0420168067226703E-3</c:v>
                </c:pt>
                <c:pt idx="14310">
                  <c:v>5.0420168067226703E-3</c:v>
                </c:pt>
                <c:pt idx="14311">
                  <c:v>5.0420168067226703E-3</c:v>
                </c:pt>
                <c:pt idx="14312">
                  <c:v>4.20168067226889E-3</c:v>
                </c:pt>
                <c:pt idx="14313">
                  <c:v>4.20168067226889E-3</c:v>
                </c:pt>
                <c:pt idx="14314">
                  <c:v>4.20168067226889E-3</c:v>
                </c:pt>
                <c:pt idx="14315">
                  <c:v>4.20168067226889E-3</c:v>
                </c:pt>
                <c:pt idx="14316">
                  <c:v>4.20168067226889E-3</c:v>
                </c:pt>
                <c:pt idx="14317">
                  <c:v>4.20168067226889E-3</c:v>
                </c:pt>
                <c:pt idx="14318">
                  <c:v>4.20168067226889E-3</c:v>
                </c:pt>
                <c:pt idx="14319">
                  <c:v>5.0420168067226703E-3</c:v>
                </c:pt>
                <c:pt idx="14320">
                  <c:v>5.0420168067226703E-3</c:v>
                </c:pt>
                <c:pt idx="14321">
                  <c:v>5.0420168067226703E-3</c:v>
                </c:pt>
                <c:pt idx="14322">
                  <c:v>5.0420168067226703E-3</c:v>
                </c:pt>
                <c:pt idx="14323">
                  <c:v>4.20168067226889E-3</c:v>
                </c:pt>
                <c:pt idx="14324">
                  <c:v>4.20168067226889E-3</c:v>
                </c:pt>
                <c:pt idx="14325">
                  <c:v>5.0420168067226703E-3</c:v>
                </c:pt>
                <c:pt idx="14326">
                  <c:v>5.0420168067226703E-3</c:v>
                </c:pt>
                <c:pt idx="14327">
                  <c:v>5.0420168067226703E-3</c:v>
                </c:pt>
                <c:pt idx="14328">
                  <c:v>5.0420168067226703E-3</c:v>
                </c:pt>
                <c:pt idx="14329">
                  <c:v>5.0420168067226703E-3</c:v>
                </c:pt>
                <c:pt idx="14330">
                  <c:v>5.0420168067226703E-3</c:v>
                </c:pt>
                <c:pt idx="14331">
                  <c:v>5.0420168067226703E-3</c:v>
                </c:pt>
                <c:pt idx="14332">
                  <c:v>5.0420168067226703E-3</c:v>
                </c:pt>
                <c:pt idx="14333">
                  <c:v>5.0420168067226703E-3</c:v>
                </c:pt>
                <c:pt idx="14334">
                  <c:v>5.0420168067226703E-3</c:v>
                </c:pt>
                <c:pt idx="14335">
                  <c:v>5.0420168067226703E-3</c:v>
                </c:pt>
                <c:pt idx="14336">
                  <c:v>5.0420168067226703E-3</c:v>
                </c:pt>
                <c:pt idx="14337">
                  <c:v>5.0420168067226703E-3</c:v>
                </c:pt>
                <c:pt idx="14338">
                  <c:v>5.0420168067226703E-3</c:v>
                </c:pt>
                <c:pt idx="14339">
                  <c:v>5.0420168067226703E-3</c:v>
                </c:pt>
                <c:pt idx="14340">
                  <c:v>5.0420168067226703E-3</c:v>
                </c:pt>
                <c:pt idx="14341">
                  <c:v>5.0420168067226703E-3</c:v>
                </c:pt>
                <c:pt idx="14342">
                  <c:v>5.0420168067226703E-3</c:v>
                </c:pt>
                <c:pt idx="14343">
                  <c:v>5.0420168067226703E-3</c:v>
                </c:pt>
                <c:pt idx="14344">
                  <c:v>5.0420168067226703E-3</c:v>
                </c:pt>
                <c:pt idx="14345">
                  <c:v>5.0420168067226703E-3</c:v>
                </c:pt>
                <c:pt idx="14346">
                  <c:v>5.0420168067226703E-3</c:v>
                </c:pt>
                <c:pt idx="14347">
                  <c:v>5.0420168067226703E-3</c:v>
                </c:pt>
                <c:pt idx="14348">
                  <c:v>5.0420168067226703E-3</c:v>
                </c:pt>
                <c:pt idx="14349">
                  <c:v>5.0420168067226703E-3</c:v>
                </c:pt>
                <c:pt idx="14350">
                  <c:v>5.0420168067226703E-3</c:v>
                </c:pt>
                <c:pt idx="14351">
                  <c:v>5.0420168067226703E-3</c:v>
                </c:pt>
                <c:pt idx="14352">
                  <c:v>5.0420168067226703E-3</c:v>
                </c:pt>
                <c:pt idx="14353">
                  <c:v>5.0420168067226703E-3</c:v>
                </c:pt>
                <c:pt idx="14354">
                  <c:v>5.0420168067226703E-3</c:v>
                </c:pt>
                <c:pt idx="14355">
                  <c:v>5.0420168067226703E-3</c:v>
                </c:pt>
                <c:pt idx="14356">
                  <c:v>5.0420168067226703E-3</c:v>
                </c:pt>
                <c:pt idx="14357">
                  <c:v>5.0420168067226703E-3</c:v>
                </c:pt>
                <c:pt idx="14358">
                  <c:v>5.0420168067226703E-3</c:v>
                </c:pt>
                <c:pt idx="14359">
                  <c:v>5.0420168067226703E-3</c:v>
                </c:pt>
                <c:pt idx="14360">
                  <c:v>5.0420168067226703E-3</c:v>
                </c:pt>
                <c:pt idx="14361">
                  <c:v>5.0420168067226703E-3</c:v>
                </c:pt>
                <c:pt idx="14362">
                  <c:v>5.0420168067226703E-3</c:v>
                </c:pt>
                <c:pt idx="14363">
                  <c:v>5.0420168067226703E-3</c:v>
                </c:pt>
                <c:pt idx="14364">
                  <c:v>5.0420168067226703E-3</c:v>
                </c:pt>
                <c:pt idx="14365">
                  <c:v>5.0420168067226703E-3</c:v>
                </c:pt>
                <c:pt idx="14366">
                  <c:v>5.0420168067226703E-3</c:v>
                </c:pt>
                <c:pt idx="14367">
                  <c:v>4.20168067226889E-3</c:v>
                </c:pt>
                <c:pt idx="14368">
                  <c:v>4.20168067226889E-3</c:v>
                </c:pt>
                <c:pt idx="14369">
                  <c:v>4.20168067226889E-3</c:v>
                </c:pt>
                <c:pt idx="14370">
                  <c:v>4.20168067226889E-3</c:v>
                </c:pt>
                <c:pt idx="14371">
                  <c:v>4.20168067226889E-3</c:v>
                </c:pt>
                <c:pt idx="14372">
                  <c:v>4.20168067226889E-3</c:v>
                </c:pt>
                <c:pt idx="14373">
                  <c:v>4.20168067226889E-3</c:v>
                </c:pt>
                <c:pt idx="14374">
                  <c:v>4.20168067226889E-3</c:v>
                </c:pt>
                <c:pt idx="14375">
                  <c:v>4.20168067226889E-3</c:v>
                </c:pt>
                <c:pt idx="14376">
                  <c:v>4.20168067226889E-3</c:v>
                </c:pt>
                <c:pt idx="14377">
                  <c:v>4.20168067226889E-3</c:v>
                </c:pt>
                <c:pt idx="14378">
                  <c:v>4.20168067226889E-3</c:v>
                </c:pt>
                <c:pt idx="14379">
                  <c:v>4.20168067226889E-3</c:v>
                </c:pt>
                <c:pt idx="14380">
                  <c:v>4.20168067226889E-3</c:v>
                </c:pt>
                <c:pt idx="14381">
                  <c:v>4.20168067226889E-3</c:v>
                </c:pt>
                <c:pt idx="14382">
                  <c:v>4.20168067226889E-3</c:v>
                </c:pt>
                <c:pt idx="14383">
                  <c:v>4.20168067226889E-3</c:v>
                </c:pt>
                <c:pt idx="14384">
                  <c:v>4.20168067226889E-3</c:v>
                </c:pt>
                <c:pt idx="14385">
                  <c:v>4.20168067226889E-3</c:v>
                </c:pt>
                <c:pt idx="14386">
                  <c:v>4.20168067226889E-3</c:v>
                </c:pt>
                <c:pt idx="14387">
                  <c:v>4.20168067226889E-3</c:v>
                </c:pt>
                <c:pt idx="14388">
                  <c:v>4.20168067226889E-3</c:v>
                </c:pt>
                <c:pt idx="14389">
                  <c:v>4.20168067226889E-3</c:v>
                </c:pt>
                <c:pt idx="14390">
                  <c:v>4.20168067226889E-3</c:v>
                </c:pt>
                <c:pt idx="14391">
                  <c:v>4.20168067226889E-3</c:v>
                </c:pt>
                <c:pt idx="14392">
                  <c:v>4.20168067226889E-3</c:v>
                </c:pt>
                <c:pt idx="14393">
                  <c:v>4.20168067226889E-3</c:v>
                </c:pt>
                <c:pt idx="14394">
                  <c:v>4.20168067226889E-3</c:v>
                </c:pt>
                <c:pt idx="14395">
                  <c:v>4.20168067226889E-3</c:v>
                </c:pt>
                <c:pt idx="14396">
                  <c:v>4.20168067226889E-3</c:v>
                </c:pt>
                <c:pt idx="14397">
                  <c:v>4.20168067226889E-3</c:v>
                </c:pt>
                <c:pt idx="14398">
                  <c:v>4.20168067226889E-3</c:v>
                </c:pt>
                <c:pt idx="14399">
                  <c:v>3.3613445378151102E-3</c:v>
                </c:pt>
                <c:pt idx="14400">
                  <c:v>3.3613445378151102E-3</c:v>
                </c:pt>
                <c:pt idx="14401">
                  <c:v>3.3613445378151102E-3</c:v>
                </c:pt>
                <c:pt idx="14402">
                  <c:v>3.3613445378151102E-3</c:v>
                </c:pt>
                <c:pt idx="14403">
                  <c:v>3.3613445378151102E-3</c:v>
                </c:pt>
                <c:pt idx="14404">
                  <c:v>3.3613445378151102E-3</c:v>
                </c:pt>
                <c:pt idx="14405">
                  <c:v>3.3613445378151102E-3</c:v>
                </c:pt>
                <c:pt idx="14406">
                  <c:v>3.3613445378151102E-3</c:v>
                </c:pt>
                <c:pt idx="14407">
                  <c:v>3.3613445378151102E-3</c:v>
                </c:pt>
                <c:pt idx="14408">
                  <c:v>3.3613445378151102E-3</c:v>
                </c:pt>
                <c:pt idx="14409">
                  <c:v>3.3613445378151102E-3</c:v>
                </c:pt>
                <c:pt idx="14410">
                  <c:v>3.3613445378151102E-3</c:v>
                </c:pt>
                <c:pt idx="14411">
                  <c:v>3.3613445378151102E-3</c:v>
                </c:pt>
                <c:pt idx="14412">
                  <c:v>3.3613445378151102E-3</c:v>
                </c:pt>
                <c:pt idx="14413">
                  <c:v>3.3613445378151102E-3</c:v>
                </c:pt>
                <c:pt idx="14414">
                  <c:v>3.3613445378151102E-3</c:v>
                </c:pt>
                <c:pt idx="14415">
                  <c:v>3.3613445378151102E-3</c:v>
                </c:pt>
                <c:pt idx="14416">
                  <c:v>3.3613445378151102E-3</c:v>
                </c:pt>
                <c:pt idx="14417">
                  <c:v>3.3613445378151102E-3</c:v>
                </c:pt>
                <c:pt idx="14418">
                  <c:v>3.3613445378151102E-3</c:v>
                </c:pt>
                <c:pt idx="14419">
                  <c:v>3.3613445378151102E-3</c:v>
                </c:pt>
                <c:pt idx="14420">
                  <c:v>3.3613445378151102E-3</c:v>
                </c:pt>
                <c:pt idx="14421">
                  <c:v>3.3613445378151102E-3</c:v>
                </c:pt>
                <c:pt idx="14422">
                  <c:v>3.3613445378151102E-3</c:v>
                </c:pt>
                <c:pt idx="14423">
                  <c:v>3.3613445378151102E-3</c:v>
                </c:pt>
                <c:pt idx="14424">
                  <c:v>3.3613445378151102E-3</c:v>
                </c:pt>
                <c:pt idx="14425">
                  <c:v>3.3613445378151102E-3</c:v>
                </c:pt>
                <c:pt idx="14426">
                  <c:v>3.3613445378151102E-3</c:v>
                </c:pt>
                <c:pt idx="14427">
                  <c:v>3.3613445378151102E-3</c:v>
                </c:pt>
                <c:pt idx="14428">
                  <c:v>3.3613445378151102E-3</c:v>
                </c:pt>
                <c:pt idx="14429">
                  <c:v>3.3613445378151102E-3</c:v>
                </c:pt>
                <c:pt idx="14430">
                  <c:v>3.3613445378151102E-3</c:v>
                </c:pt>
                <c:pt idx="14431">
                  <c:v>3.3613445378151102E-3</c:v>
                </c:pt>
                <c:pt idx="14432">
                  <c:v>3.3613445378151102E-3</c:v>
                </c:pt>
                <c:pt idx="14433">
                  <c:v>3.3613445378151102E-3</c:v>
                </c:pt>
                <c:pt idx="14434">
                  <c:v>3.3613445378151102E-3</c:v>
                </c:pt>
                <c:pt idx="14435">
                  <c:v>3.3613445378151102E-3</c:v>
                </c:pt>
                <c:pt idx="14436">
                  <c:v>3.3613445378151102E-3</c:v>
                </c:pt>
                <c:pt idx="14437">
                  <c:v>3.3613445378151102E-3</c:v>
                </c:pt>
                <c:pt idx="14438">
                  <c:v>3.3613445378151102E-3</c:v>
                </c:pt>
                <c:pt idx="14439">
                  <c:v>4.20168067226889E-3</c:v>
                </c:pt>
                <c:pt idx="14440">
                  <c:v>4.20168067226889E-3</c:v>
                </c:pt>
                <c:pt idx="14441">
                  <c:v>4.20168067226889E-3</c:v>
                </c:pt>
                <c:pt idx="14442">
                  <c:v>4.20168067226889E-3</c:v>
                </c:pt>
                <c:pt idx="14443">
                  <c:v>4.20168067226889E-3</c:v>
                </c:pt>
                <c:pt idx="14444">
                  <c:v>4.20168067226889E-3</c:v>
                </c:pt>
                <c:pt idx="14445">
                  <c:v>4.20168067226889E-3</c:v>
                </c:pt>
                <c:pt idx="14446">
                  <c:v>4.20168067226889E-3</c:v>
                </c:pt>
                <c:pt idx="14447">
                  <c:v>4.20168067226889E-3</c:v>
                </c:pt>
                <c:pt idx="14448">
                  <c:v>4.20168067226889E-3</c:v>
                </c:pt>
                <c:pt idx="14449">
                  <c:v>4.20168067226889E-3</c:v>
                </c:pt>
                <c:pt idx="14450">
                  <c:v>4.20168067226889E-3</c:v>
                </c:pt>
                <c:pt idx="14451">
                  <c:v>4.20168067226889E-3</c:v>
                </c:pt>
                <c:pt idx="14452">
                  <c:v>4.20168067226889E-3</c:v>
                </c:pt>
                <c:pt idx="14453">
                  <c:v>4.20168067226889E-3</c:v>
                </c:pt>
                <c:pt idx="14454">
                  <c:v>4.20168067226889E-3</c:v>
                </c:pt>
                <c:pt idx="14455">
                  <c:v>4.20168067226889E-3</c:v>
                </c:pt>
                <c:pt idx="14456">
                  <c:v>4.20168067226889E-3</c:v>
                </c:pt>
                <c:pt idx="14457">
                  <c:v>3.3613445378151102E-3</c:v>
                </c:pt>
                <c:pt idx="14458">
                  <c:v>3.3613445378151102E-3</c:v>
                </c:pt>
                <c:pt idx="14459">
                  <c:v>3.3613445378151102E-3</c:v>
                </c:pt>
                <c:pt idx="14460">
                  <c:v>3.3613445378151102E-3</c:v>
                </c:pt>
                <c:pt idx="14461">
                  <c:v>3.3613445378151102E-3</c:v>
                </c:pt>
                <c:pt idx="14462">
                  <c:v>3.3613445378151102E-3</c:v>
                </c:pt>
                <c:pt idx="14463">
                  <c:v>3.3613445378151102E-3</c:v>
                </c:pt>
                <c:pt idx="14464">
                  <c:v>3.3613445378151102E-3</c:v>
                </c:pt>
                <c:pt idx="14465">
                  <c:v>3.3613445378151102E-3</c:v>
                </c:pt>
                <c:pt idx="14466">
                  <c:v>3.3613445378151102E-3</c:v>
                </c:pt>
                <c:pt idx="14467">
                  <c:v>3.3613445378151102E-3</c:v>
                </c:pt>
                <c:pt idx="14468">
                  <c:v>3.3613445378151102E-3</c:v>
                </c:pt>
                <c:pt idx="14469">
                  <c:v>3.3613445378151102E-3</c:v>
                </c:pt>
                <c:pt idx="14470">
                  <c:v>3.3613445378151102E-3</c:v>
                </c:pt>
                <c:pt idx="14471">
                  <c:v>3.3613445378151102E-3</c:v>
                </c:pt>
                <c:pt idx="14472">
                  <c:v>3.3613445378151102E-3</c:v>
                </c:pt>
                <c:pt idx="14473">
                  <c:v>3.3613445378151102E-3</c:v>
                </c:pt>
                <c:pt idx="14474">
                  <c:v>3.3613445378151102E-3</c:v>
                </c:pt>
                <c:pt idx="14475">
                  <c:v>3.3613445378151102E-3</c:v>
                </c:pt>
                <c:pt idx="14476">
                  <c:v>3.3613445378151102E-3</c:v>
                </c:pt>
                <c:pt idx="14477">
                  <c:v>3.3613445378151102E-3</c:v>
                </c:pt>
                <c:pt idx="14478">
                  <c:v>3.3613445378151102E-3</c:v>
                </c:pt>
                <c:pt idx="14479">
                  <c:v>3.3613445378151102E-3</c:v>
                </c:pt>
                <c:pt idx="14480">
                  <c:v>3.3613445378151102E-3</c:v>
                </c:pt>
                <c:pt idx="14481">
                  <c:v>3.3613445378151102E-3</c:v>
                </c:pt>
                <c:pt idx="14482">
                  <c:v>3.3613445378151102E-3</c:v>
                </c:pt>
                <c:pt idx="14483">
                  <c:v>3.3613445378151102E-3</c:v>
                </c:pt>
                <c:pt idx="14484">
                  <c:v>3.3613445378151102E-3</c:v>
                </c:pt>
                <c:pt idx="14485">
                  <c:v>3.3613445378151102E-3</c:v>
                </c:pt>
                <c:pt idx="14486">
                  <c:v>3.3613445378151102E-3</c:v>
                </c:pt>
                <c:pt idx="14487">
                  <c:v>3.3613445378151102E-3</c:v>
                </c:pt>
                <c:pt idx="14488">
                  <c:v>3.3613445378151102E-3</c:v>
                </c:pt>
                <c:pt idx="14489">
                  <c:v>3.3613445378151102E-3</c:v>
                </c:pt>
                <c:pt idx="14490">
                  <c:v>3.3613445378151102E-3</c:v>
                </c:pt>
                <c:pt idx="14491">
                  <c:v>4.20168067226889E-3</c:v>
                </c:pt>
                <c:pt idx="14492">
                  <c:v>5.0420168067226703E-3</c:v>
                </c:pt>
                <c:pt idx="14493">
                  <c:v>5.0420168067226703E-3</c:v>
                </c:pt>
                <c:pt idx="14494">
                  <c:v>5.0420168067226703E-3</c:v>
                </c:pt>
                <c:pt idx="14495">
                  <c:v>5.0420168067226703E-3</c:v>
                </c:pt>
                <c:pt idx="14496">
                  <c:v>5.0420168067226703E-3</c:v>
                </c:pt>
                <c:pt idx="14497">
                  <c:v>5.0420168067226703E-3</c:v>
                </c:pt>
                <c:pt idx="14498">
                  <c:v>5.0420168067226703E-3</c:v>
                </c:pt>
                <c:pt idx="14499">
                  <c:v>5.0420168067226703E-3</c:v>
                </c:pt>
                <c:pt idx="14500">
                  <c:v>5.0420168067226703E-3</c:v>
                </c:pt>
                <c:pt idx="14501">
                  <c:v>5.0420168067226703E-3</c:v>
                </c:pt>
                <c:pt idx="14502">
                  <c:v>5.0420168067226703E-3</c:v>
                </c:pt>
                <c:pt idx="14503">
                  <c:v>5.0420168067226703E-3</c:v>
                </c:pt>
                <c:pt idx="14504">
                  <c:v>5.0420168067226703E-3</c:v>
                </c:pt>
                <c:pt idx="14505">
                  <c:v>5.0420168067226703E-3</c:v>
                </c:pt>
                <c:pt idx="14506">
                  <c:v>5.0420168067226703E-3</c:v>
                </c:pt>
                <c:pt idx="14507">
                  <c:v>5.0420168067226703E-3</c:v>
                </c:pt>
                <c:pt idx="14508">
                  <c:v>5.0420168067226703E-3</c:v>
                </c:pt>
                <c:pt idx="14509">
                  <c:v>5.0420168067226703E-3</c:v>
                </c:pt>
                <c:pt idx="14510">
                  <c:v>5.0420168067226703E-3</c:v>
                </c:pt>
                <c:pt idx="14511">
                  <c:v>5.0420168067226703E-3</c:v>
                </c:pt>
                <c:pt idx="14512">
                  <c:v>5.0420168067226703E-3</c:v>
                </c:pt>
                <c:pt idx="14513">
                  <c:v>5.0420168067226703E-3</c:v>
                </c:pt>
                <c:pt idx="14514">
                  <c:v>5.0420168067226703E-3</c:v>
                </c:pt>
                <c:pt idx="14515">
                  <c:v>5.0420168067226703E-3</c:v>
                </c:pt>
                <c:pt idx="14516">
                  <c:v>5.0420168067226703E-3</c:v>
                </c:pt>
                <c:pt idx="14517">
                  <c:v>5.0420168067226703E-3</c:v>
                </c:pt>
                <c:pt idx="14518">
                  <c:v>5.0420168067226703E-3</c:v>
                </c:pt>
                <c:pt idx="14519">
                  <c:v>5.0420168067226703E-3</c:v>
                </c:pt>
                <c:pt idx="14520">
                  <c:v>5.0420168067226703E-3</c:v>
                </c:pt>
                <c:pt idx="14521">
                  <c:v>5.0420168067226703E-3</c:v>
                </c:pt>
                <c:pt idx="14522">
                  <c:v>5.0420168067226703E-3</c:v>
                </c:pt>
                <c:pt idx="14523">
                  <c:v>5.0420168067226703E-3</c:v>
                </c:pt>
                <c:pt idx="14524">
                  <c:v>5.0420168067226703E-3</c:v>
                </c:pt>
                <c:pt idx="14525">
                  <c:v>5.0420168067226703E-3</c:v>
                </c:pt>
                <c:pt idx="14526">
                  <c:v>5.0420168067226703E-3</c:v>
                </c:pt>
                <c:pt idx="14527">
                  <c:v>5.0420168067226703E-3</c:v>
                </c:pt>
                <c:pt idx="14528">
                  <c:v>5.0420168067226703E-3</c:v>
                </c:pt>
                <c:pt idx="14529">
                  <c:v>5.0420168067226703E-3</c:v>
                </c:pt>
                <c:pt idx="14530">
                  <c:v>5.0420168067226703E-3</c:v>
                </c:pt>
                <c:pt idx="14531">
                  <c:v>5.0420168067226703E-3</c:v>
                </c:pt>
                <c:pt idx="14532">
                  <c:v>5.0420168067226703E-3</c:v>
                </c:pt>
                <c:pt idx="14533">
                  <c:v>5.0420168067226703E-3</c:v>
                </c:pt>
                <c:pt idx="14534">
                  <c:v>5.0420168067226703E-3</c:v>
                </c:pt>
                <c:pt idx="14535">
                  <c:v>5.0420168067226703E-3</c:v>
                </c:pt>
                <c:pt idx="14536">
                  <c:v>5.0420168067226703E-3</c:v>
                </c:pt>
                <c:pt idx="14537">
                  <c:v>5.0420168067226703E-3</c:v>
                </c:pt>
                <c:pt idx="14538">
                  <c:v>5.0420168067226703E-3</c:v>
                </c:pt>
                <c:pt idx="14539">
                  <c:v>5.0420168067226703E-3</c:v>
                </c:pt>
                <c:pt idx="14540">
                  <c:v>5.0420168067226703E-3</c:v>
                </c:pt>
                <c:pt idx="14541">
                  <c:v>5.0420168067226703E-3</c:v>
                </c:pt>
                <c:pt idx="14542">
                  <c:v>5.0420168067226703E-3</c:v>
                </c:pt>
                <c:pt idx="14543">
                  <c:v>5.0420168067226703E-3</c:v>
                </c:pt>
                <c:pt idx="14544">
                  <c:v>5.0420168067226703E-3</c:v>
                </c:pt>
                <c:pt idx="14545">
                  <c:v>5.0420168067226703E-3</c:v>
                </c:pt>
                <c:pt idx="14546">
                  <c:v>5.0420168067226703E-3</c:v>
                </c:pt>
                <c:pt idx="14547">
                  <c:v>5.0420168067226703E-3</c:v>
                </c:pt>
                <c:pt idx="14548">
                  <c:v>5.0420168067226703E-3</c:v>
                </c:pt>
                <c:pt idx="14549">
                  <c:v>5.0420168067226703E-3</c:v>
                </c:pt>
                <c:pt idx="14550">
                  <c:v>5.0420168067226703E-3</c:v>
                </c:pt>
                <c:pt idx="14551">
                  <c:v>5.0420168067226703E-3</c:v>
                </c:pt>
                <c:pt idx="14552">
                  <c:v>5.0420168067226703E-3</c:v>
                </c:pt>
                <c:pt idx="14553">
                  <c:v>5.0420168067226703E-3</c:v>
                </c:pt>
                <c:pt idx="14554">
                  <c:v>5.0420168067226703E-3</c:v>
                </c:pt>
                <c:pt idx="14555">
                  <c:v>5.0420168067226703E-3</c:v>
                </c:pt>
                <c:pt idx="14556">
                  <c:v>5.0420168067226703E-3</c:v>
                </c:pt>
                <c:pt idx="14557">
                  <c:v>5.0420168067226703E-3</c:v>
                </c:pt>
                <c:pt idx="14558">
                  <c:v>5.0420168067226703E-3</c:v>
                </c:pt>
                <c:pt idx="14559">
                  <c:v>5.0420168067226703E-3</c:v>
                </c:pt>
                <c:pt idx="14560">
                  <c:v>5.0420168067226703E-3</c:v>
                </c:pt>
                <c:pt idx="14561">
                  <c:v>5.0420168067226703E-3</c:v>
                </c:pt>
                <c:pt idx="14562">
                  <c:v>5.0420168067226703E-3</c:v>
                </c:pt>
                <c:pt idx="14563">
                  <c:v>5.0420168067226703E-3</c:v>
                </c:pt>
                <c:pt idx="14564">
                  <c:v>5.0420168067226703E-3</c:v>
                </c:pt>
                <c:pt idx="14565">
                  <c:v>5.0420168067226703E-3</c:v>
                </c:pt>
                <c:pt idx="14566">
                  <c:v>5.0420168067226703E-3</c:v>
                </c:pt>
                <c:pt idx="14567">
                  <c:v>5.0420168067226703E-3</c:v>
                </c:pt>
                <c:pt idx="14568">
                  <c:v>5.0420168067226703E-3</c:v>
                </c:pt>
                <c:pt idx="14569">
                  <c:v>5.0420168067226703E-3</c:v>
                </c:pt>
                <c:pt idx="14570">
                  <c:v>5.0420168067226703E-3</c:v>
                </c:pt>
                <c:pt idx="14571">
                  <c:v>5.0420168067226703E-3</c:v>
                </c:pt>
                <c:pt idx="14572">
                  <c:v>5.0420168067226703E-3</c:v>
                </c:pt>
                <c:pt idx="14573">
                  <c:v>5.0420168067226703E-3</c:v>
                </c:pt>
                <c:pt idx="14574">
                  <c:v>5.0420168067226703E-3</c:v>
                </c:pt>
                <c:pt idx="14575">
                  <c:v>5.0420168067226703E-3</c:v>
                </c:pt>
                <c:pt idx="14576">
                  <c:v>5.0420168067226703E-3</c:v>
                </c:pt>
                <c:pt idx="14577">
                  <c:v>5.0420168067226703E-3</c:v>
                </c:pt>
                <c:pt idx="14578">
                  <c:v>5.0420168067226703E-3</c:v>
                </c:pt>
                <c:pt idx="14579">
                  <c:v>5.0420168067226703E-3</c:v>
                </c:pt>
                <c:pt idx="14580">
                  <c:v>5.8823529411764497E-3</c:v>
                </c:pt>
                <c:pt idx="14581">
                  <c:v>6.7226890756302204E-3</c:v>
                </c:pt>
                <c:pt idx="14582">
                  <c:v>6.7226890756302204E-3</c:v>
                </c:pt>
                <c:pt idx="14583">
                  <c:v>6.7226890756302204E-3</c:v>
                </c:pt>
                <c:pt idx="14584">
                  <c:v>6.7226890756302204E-3</c:v>
                </c:pt>
                <c:pt idx="14585">
                  <c:v>6.7226890756302204E-3</c:v>
                </c:pt>
                <c:pt idx="14586">
                  <c:v>6.7226890756302204E-3</c:v>
                </c:pt>
                <c:pt idx="14587">
                  <c:v>6.7226890756302204E-3</c:v>
                </c:pt>
                <c:pt idx="14588">
                  <c:v>6.7226890756302204E-3</c:v>
                </c:pt>
                <c:pt idx="14589">
                  <c:v>6.7226890756302204E-3</c:v>
                </c:pt>
                <c:pt idx="14590">
                  <c:v>6.7226890756302204E-3</c:v>
                </c:pt>
                <c:pt idx="14591">
                  <c:v>6.7226890756302204E-3</c:v>
                </c:pt>
                <c:pt idx="14592">
                  <c:v>6.7226890756302204E-3</c:v>
                </c:pt>
                <c:pt idx="14593">
                  <c:v>6.7226890756302204E-3</c:v>
                </c:pt>
                <c:pt idx="14594">
                  <c:v>6.7226890756302204E-3</c:v>
                </c:pt>
                <c:pt idx="14595">
                  <c:v>6.7226890756302204E-3</c:v>
                </c:pt>
                <c:pt idx="14596">
                  <c:v>6.7226890756302204E-3</c:v>
                </c:pt>
                <c:pt idx="14597">
                  <c:v>6.7226890756302204E-3</c:v>
                </c:pt>
                <c:pt idx="14598">
                  <c:v>6.7226890756302204E-3</c:v>
                </c:pt>
                <c:pt idx="14599">
                  <c:v>6.7226890756302204E-3</c:v>
                </c:pt>
                <c:pt idx="14600">
                  <c:v>6.7226890756302204E-3</c:v>
                </c:pt>
                <c:pt idx="14601">
                  <c:v>6.7226890756302204E-3</c:v>
                </c:pt>
                <c:pt idx="14602">
                  <c:v>6.7226890756302204E-3</c:v>
                </c:pt>
                <c:pt idx="14603">
                  <c:v>6.7226890756302204E-3</c:v>
                </c:pt>
                <c:pt idx="14604">
                  <c:v>6.7226890756302204E-3</c:v>
                </c:pt>
                <c:pt idx="14605">
                  <c:v>6.7226890756302204E-3</c:v>
                </c:pt>
                <c:pt idx="14606">
                  <c:v>6.7226890756302204E-3</c:v>
                </c:pt>
                <c:pt idx="14607">
                  <c:v>6.7226890756302204E-3</c:v>
                </c:pt>
                <c:pt idx="14608">
                  <c:v>6.7226890756302204E-3</c:v>
                </c:pt>
                <c:pt idx="14609">
                  <c:v>6.7226890756302204E-3</c:v>
                </c:pt>
                <c:pt idx="14610">
                  <c:v>6.7226890756302204E-3</c:v>
                </c:pt>
                <c:pt idx="14611">
                  <c:v>6.7226890756302204E-3</c:v>
                </c:pt>
                <c:pt idx="14612">
                  <c:v>6.7226890756302204E-3</c:v>
                </c:pt>
                <c:pt idx="14613">
                  <c:v>6.7226890756302204E-3</c:v>
                </c:pt>
                <c:pt idx="14614">
                  <c:v>6.7226890756302204E-3</c:v>
                </c:pt>
                <c:pt idx="14615">
                  <c:v>6.7226890756302204E-3</c:v>
                </c:pt>
                <c:pt idx="14616">
                  <c:v>6.7226890756302204E-3</c:v>
                </c:pt>
                <c:pt idx="14617">
                  <c:v>6.7226890756302204E-3</c:v>
                </c:pt>
                <c:pt idx="14618">
                  <c:v>6.7226890756302204E-3</c:v>
                </c:pt>
                <c:pt idx="14619">
                  <c:v>6.7226890756302204E-3</c:v>
                </c:pt>
                <c:pt idx="14620">
                  <c:v>6.7226890756302204E-3</c:v>
                </c:pt>
                <c:pt idx="14621">
                  <c:v>6.7226890756302204E-3</c:v>
                </c:pt>
                <c:pt idx="14622">
                  <c:v>6.7226890756302204E-3</c:v>
                </c:pt>
                <c:pt idx="14623">
                  <c:v>6.7226890756302204E-3</c:v>
                </c:pt>
                <c:pt idx="14624">
                  <c:v>6.7226890756302204E-3</c:v>
                </c:pt>
                <c:pt idx="14625">
                  <c:v>6.7226890756302204E-3</c:v>
                </c:pt>
                <c:pt idx="14626">
                  <c:v>6.7226890756302204E-3</c:v>
                </c:pt>
                <c:pt idx="14627">
                  <c:v>6.7226890756302204E-3</c:v>
                </c:pt>
                <c:pt idx="14628">
                  <c:v>6.7226890756302204E-3</c:v>
                </c:pt>
                <c:pt idx="14629">
                  <c:v>6.7226890756302204E-3</c:v>
                </c:pt>
                <c:pt idx="14630">
                  <c:v>7.5630252100839998E-3</c:v>
                </c:pt>
                <c:pt idx="14631">
                  <c:v>7.5630252100839998E-3</c:v>
                </c:pt>
                <c:pt idx="14632">
                  <c:v>7.5630252100839998E-3</c:v>
                </c:pt>
                <c:pt idx="14633">
                  <c:v>7.5630252100839998E-3</c:v>
                </c:pt>
                <c:pt idx="14634">
                  <c:v>7.5630252100839998E-3</c:v>
                </c:pt>
                <c:pt idx="14635">
                  <c:v>7.5630252100839998E-3</c:v>
                </c:pt>
                <c:pt idx="14636">
                  <c:v>7.5630252100839998E-3</c:v>
                </c:pt>
                <c:pt idx="14637">
                  <c:v>7.5630252100839998E-3</c:v>
                </c:pt>
                <c:pt idx="14638">
                  <c:v>7.5630252100839998E-3</c:v>
                </c:pt>
                <c:pt idx="14639">
                  <c:v>7.5630252100839998E-3</c:v>
                </c:pt>
                <c:pt idx="14640">
                  <c:v>7.5630252100839998E-3</c:v>
                </c:pt>
                <c:pt idx="14641">
                  <c:v>7.5630252100839998E-3</c:v>
                </c:pt>
                <c:pt idx="14642">
                  <c:v>7.5630252100839998E-3</c:v>
                </c:pt>
                <c:pt idx="14643">
                  <c:v>7.5630252100839998E-3</c:v>
                </c:pt>
                <c:pt idx="14644">
                  <c:v>7.5630252100839998E-3</c:v>
                </c:pt>
                <c:pt idx="14645">
                  <c:v>7.5630252100839998E-3</c:v>
                </c:pt>
                <c:pt idx="14646">
                  <c:v>7.5630252100839998E-3</c:v>
                </c:pt>
                <c:pt idx="14647">
                  <c:v>6.7226890756302204E-3</c:v>
                </c:pt>
                <c:pt idx="14648">
                  <c:v>6.7226890756302204E-3</c:v>
                </c:pt>
                <c:pt idx="14649">
                  <c:v>6.7226890756302204E-3</c:v>
                </c:pt>
                <c:pt idx="14650">
                  <c:v>6.7226890756302204E-3</c:v>
                </c:pt>
                <c:pt idx="14651">
                  <c:v>6.7226890756302204E-3</c:v>
                </c:pt>
                <c:pt idx="14652">
                  <c:v>6.7226890756302204E-3</c:v>
                </c:pt>
                <c:pt idx="14653">
                  <c:v>6.7226890756302204E-3</c:v>
                </c:pt>
                <c:pt idx="14654">
                  <c:v>6.7226890756302204E-3</c:v>
                </c:pt>
                <c:pt idx="14655">
                  <c:v>6.7226890756302204E-3</c:v>
                </c:pt>
                <c:pt idx="14656">
                  <c:v>6.7226890756302204E-3</c:v>
                </c:pt>
                <c:pt idx="14657">
                  <c:v>6.7226890756302204E-3</c:v>
                </c:pt>
                <c:pt idx="14658">
                  <c:v>6.7226890756302204E-3</c:v>
                </c:pt>
                <c:pt idx="14659">
                  <c:v>6.7226890756302204E-3</c:v>
                </c:pt>
                <c:pt idx="14660">
                  <c:v>6.7226890756302204E-3</c:v>
                </c:pt>
                <c:pt idx="14661">
                  <c:v>6.7226890756302204E-3</c:v>
                </c:pt>
                <c:pt idx="14662">
                  <c:v>5.8823529411764497E-3</c:v>
                </c:pt>
                <c:pt idx="14663">
                  <c:v>5.8823529411764497E-3</c:v>
                </c:pt>
                <c:pt idx="14664">
                  <c:v>5.8823529411764497E-3</c:v>
                </c:pt>
                <c:pt idx="14665">
                  <c:v>5.8823529411764497E-3</c:v>
                </c:pt>
                <c:pt idx="14666">
                  <c:v>5.8823529411764497E-3</c:v>
                </c:pt>
                <c:pt idx="14667">
                  <c:v>5.8823529411764497E-3</c:v>
                </c:pt>
                <c:pt idx="14668">
                  <c:v>5.8823529411764497E-3</c:v>
                </c:pt>
                <c:pt idx="14669">
                  <c:v>5.8823529411764497E-3</c:v>
                </c:pt>
                <c:pt idx="14670">
                  <c:v>5.8823529411764497E-3</c:v>
                </c:pt>
                <c:pt idx="14671">
                  <c:v>5.8823529411764497E-3</c:v>
                </c:pt>
                <c:pt idx="14672">
                  <c:v>5.8823529411764497E-3</c:v>
                </c:pt>
                <c:pt idx="14673">
                  <c:v>5.8823529411764497E-3</c:v>
                </c:pt>
                <c:pt idx="14674">
                  <c:v>5.8823529411764497E-3</c:v>
                </c:pt>
                <c:pt idx="14675">
                  <c:v>5.8823529411764497E-3</c:v>
                </c:pt>
                <c:pt idx="14676">
                  <c:v>5.8823529411764497E-3</c:v>
                </c:pt>
                <c:pt idx="14677">
                  <c:v>5.8823529411764497E-3</c:v>
                </c:pt>
                <c:pt idx="14678">
                  <c:v>5.8823529411764497E-3</c:v>
                </c:pt>
                <c:pt idx="14679">
                  <c:v>5.8823529411764497E-3</c:v>
                </c:pt>
                <c:pt idx="14680">
                  <c:v>5.8823529411764497E-3</c:v>
                </c:pt>
                <c:pt idx="14681">
                  <c:v>5.8823529411764497E-3</c:v>
                </c:pt>
                <c:pt idx="14682">
                  <c:v>5.8823529411764497E-3</c:v>
                </c:pt>
                <c:pt idx="14683">
                  <c:v>5.8823529411764497E-3</c:v>
                </c:pt>
                <c:pt idx="14684">
                  <c:v>5.8823529411764497E-3</c:v>
                </c:pt>
                <c:pt idx="14685">
                  <c:v>5.8823529411764497E-3</c:v>
                </c:pt>
                <c:pt idx="14686">
                  <c:v>5.8823529411764497E-3</c:v>
                </c:pt>
                <c:pt idx="14687">
                  <c:v>5.8823529411764497E-3</c:v>
                </c:pt>
                <c:pt idx="14688">
                  <c:v>5.8823529411764497E-3</c:v>
                </c:pt>
                <c:pt idx="14689">
                  <c:v>5.8823529411764497E-3</c:v>
                </c:pt>
                <c:pt idx="14690">
                  <c:v>5.8823529411764497E-3</c:v>
                </c:pt>
                <c:pt idx="14691">
                  <c:v>5.8823529411764497E-3</c:v>
                </c:pt>
                <c:pt idx="14692">
                  <c:v>5.8823529411764497E-3</c:v>
                </c:pt>
                <c:pt idx="14693">
                  <c:v>5.8823529411764497E-3</c:v>
                </c:pt>
                <c:pt idx="14694">
                  <c:v>5.0420168067226703E-3</c:v>
                </c:pt>
                <c:pt idx="14695">
                  <c:v>5.0420168067226703E-3</c:v>
                </c:pt>
                <c:pt idx="14696">
                  <c:v>5.0420168067226703E-3</c:v>
                </c:pt>
                <c:pt idx="14697">
                  <c:v>5.0420168067226703E-3</c:v>
                </c:pt>
                <c:pt idx="14698">
                  <c:v>5.0420168067226703E-3</c:v>
                </c:pt>
                <c:pt idx="14699">
                  <c:v>5.0420168067226703E-3</c:v>
                </c:pt>
                <c:pt idx="14700">
                  <c:v>5.0420168067226703E-3</c:v>
                </c:pt>
                <c:pt idx="14701">
                  <c:v>5.0420168067226703E-3</c:v>
                </c:pt>
                <c:pt idx="14702">
                  <c:v>5.0420168067226703E-3</c:v>
                </c:pt>
                <c:pt idx="14703">
                  <c:v>5.0420168067226703E-3</c:v>
                </c:pt>
                <c:pt idx="14704">
                  <c:v>5.8823529411764497E-3</c:v>
                </c:pt>
                <c:pt idx="14705">
                  <c:v>5.8823529411764497E-3</c:v>
                </c:pt>
                <c:pt idx="14706">
                  <c:v>5.8823529411764497E-3</c:v>
                </c:pt>
                <c:pt idx="14707">
                  <c:v>5.8823529411764497E-3</c:v>
                </c:pt>
                <c:pt idx="14708">
                  <c:v>5.8823529411764497E-3</c:v>
                </c:pt>
                <c:pt idx="14709">
                  <c:v>5.8823529411764497E-3</c:v>
                </c:pt>
                <c:pt idx="14710">
                  <c:v>5.8823529411764497E-3</c:v>
                </c:pt>
                <c:pt idx="14711">
                  <c:v>5.8823529411764497E-3</c:v>
                </c:pt>
                <c:pt idx="14712">
                  <c:v>5.8823529411764497E-3</c:v>
                </c:pt>
                <c:pt idx="14713">
                  <c:v>5.8823529411764497E-3</c:v>
                </c:pt>
                <c:pt idx="14714">
                  <c:v>5.8823529411764497E-3</c:v>
                </c:pt>
                <c:pt idx="14715">
                  <c:v>5.8823529411764497E-3</c:v>
                </c:pt>
                <c:pt idx="14716">
                  <c:v>5.8823529411764497E-3</c:v>
                </c:pt>
                <c:pt idx="14717">
                  <c:v>5.8823529411764497E-3</c:v>
                </c:pt>
                <c:pt idx="14718">
                  <c:v>5.8823529411764497E-3</c:v>
                </c:pt>
                <c:pt idx="14719">
                  <c:v>5.8823529411764497E-3</c:v>
                </c:pt>
                <c:pt idx="14720">
                  <c:v>5.8823529411764497E-3</c:v>
                </c:pt>
                <c:pt idx="14721">
                  <c:v>5.8823529411764497E-3</c:v>
                </c:pt>
                <c:pt idx="14722">
                  <c:v>5.8823529411764497E-3</c:v>
                </c:pt>
                <c:pt idx="14723">
                  <c:v>5.8823529411764497E-3</c:v>
                </c:pt>
                <c:pt idx="14724">
                  <c:v>5.8823529411764497E-3</c:v>
                </c:pt>
                <c:pt idx="14725">
                  <c:v>5.8823529411764497E-3</c:v>
                </c:pt>
                <c:pt idx="14726">
                  <c:v>5.8823529411764497E-3</c:v>
                </c:pt>
                <c:pt idx="14727">
                  <c:v>5.8823529411764497E-3</c:v>
                </c:pt>
                <c:pt idx="14728">
                  <c:v>5.8823529411764497E-3</c:v>
                </c:pt>
                <c:pt idx="14729">
                  <c:v>5.8823529411764497E-3</c:v>
                </c:pt>
                <c:pt idx="14730">
                  <c:v>5.0420168067226703E-3</c:v>
                </c:pt>
                <c:pt idx="14731">
                  <c:v>5.0420168067226703E-3</c:v>
                </c:pt>
                <c:pt idx="14732">
                  <c:v>5.0420168067226703E-3</c:v>
                </c:pt>
                <c:pt idx="14733">
                  <c:v>5.0420168067226703E-3</c:v>
                </c:pt>
                <c:pt idx="14734">
                  <c:v>5.0420168067226703E-3</c:v>
                </c:pt>
                <c:pt idx="14735">
                  <c:v>5.0420168067226703E-3</c:v>
                </c:pt>
                <c:pt idx="14736">
                  <c:v>5.0420168067226703E-3</c:v>
                </c:pt>
                <c:pt idx="14737">
                  <c:v>5.0420168067226703E-3</c:v>
                </c:pt>
                <c:pt idx="14738">
                  <c:v>5.0420168067226703E-3</c:v>
                </c:pt>
                <c:pt idx="14739">
                  <c:v>5.0420168067226703E-3</c:v>
                </c:pt>
                <c:pt idx="14740">
                  <c:v>5.0420168067226703E-3</c:v>
                </c:pt>
                <c:pt idx="14741">
                  <c:v>5.0420168067226703E-3</c:v>
                </c:pt>
                <c:pt idx="14742">
                  <c:v>5.0420168067226703E-3</c:v>
                </c:pt>
                <c:pt idx="14743">
                  <c:v>5.0420168067226703E-3</c:v>
                </c:pt>
                <c:pt idx="14744">
                  <c:v>5.0420168067226703E-3</c:v>
                </c:pt>
                <c:pt idx="14745">
                  <c:v>5.0420168067226703E-3</c:v>
                </c:pt>
                <c:pt idx="14746">
                  <c:v>5.0420168067226703E-3</c:v>
                </c:pt>
                <c:pt idx="14747">
                  <c:v>5.0420168067226703E-3</c:v>
                </c:pt>
                <c:pt idx="14748">
                  <c:v>4.20168067226889E-3</c:v>
                </c:pt>
                <c:pt idx="14749">
                  <c:v>4.20168067226889E-3</c:v>
                </c:pt>
                <c:pt idx="14750">
                  <c:v>4.20168067226889E-3</c:v>
                </c:pt>
                <c:pt idx="14751">
                  <c:v>4.20168067226889E-3</c:v>
                </c:pt>
                <c:pt idx="14752">
                  <c:v>4.20168067226889E-3</c:v>
                </c:pt>
                <c:pt idx="14753">
                  <c:v>4.20168067226889E-3</c:v>
                </c:pt>
                <c:pt idx="14754">
                  <c:v>4.20168067226889E-3</c:v>
                </c:pt>
                <c:pt idx="14755">
                  <c:v>5.0420168067226703E-3</c:v>
                </c:pt>
                <c:pt idx="14756">
                  <c:v>5.0420168067226703E-3</c:v>
                </c:pt>
                <c:pt idx="14757">
                  <c:v>5.0420168067226703E-3</c:v>
                </c:pt>
                <c:pt idx="14758">
                  <c:v>5.0420168067226703E-3</c:v>
                </c:pt>
                <c:pt idx="14759">
                  <c:v>5.0420168067226703E-3</c:v>
                </c:pt>
                <c:pt idx="14760">
                  <c:v>5.0420168067226703E-3</c:v>
                </c:pt>
                <c:pt idx="14761">
                  <c:v>5.0420168067226703E-3</c:v>
                </c:pt>
                <c:pt idx="14762">
                  <c:v>5.0420168067226703E-3</c:v>
                </c:pt>
                <c:pt idx="14763">
                  <c:v>5.0420168067226703E-3</c:v>
                </c:pt>
                <c:pt idx="14764">
                  <c:v>5.0420168067226703E-3</c:v>
                </c:pt>
                <c:pt idx="14765">
                  <c:v>5.0420168067226703E-3</c:v>
                </c:pt>
                <c:pt idx="14766">
                  <c:v>5.0420168067226703E-3</c:v>
                </c:pt>
                <c:pt idx="14767">
                  <c:v>5.0420168067226703E-3</c:v>
                </c:pt>
                <c:pt idx="14768">
                  <c:v>5.0420168067226703E-3</c:v>
                </c:pt>
                <c:pt idx="14769">
                  <c:v>5.0420168067226703E-3</c:v>
                </c:pt>
                <c:pt idx="14770">
                  <c:v>5.0420168067226703E-3</c:v>
                </c:pt>
                <c:pt idx="14771">
                  <c:v>5.0420168067226703E-3</c:v>
                </c:pt>
                <c:pt idx="14772">
                  <c:v>5.0420168067226703E-3</c:v>
                </c:pt>
                <c:pt idx="14773">
                  <c:v>5.0420168067226703E-3</c:v>
                </c:pt>
                <c:pt idx="14774">
                  <c:v>5.0420168067226703E-3</c:v>
                </c:pt>
                <c:pt idx="14775">
                  <c:v>5.0420168067226703E-3</c:v>
                </c:pt>
                <c:pt idx="14776">
                  <c:v>5.0420168067226703E-3</c:v>
                </c:pt>
                <c:pt idx="14777">
                  <c:v>5.0420168067226703E-3</c:v>
                </c:pt>
                <c:pt idx="14778">
                  <c:v>5.0420168067226703E-3</c:v>
                </c:pt>
                <c:pt idx="14779">
                  <c:v>5.0420168067226703E-3</c:v>
                </c:pt>
                <c:pt idx="14780">
                  <c:v>5.0420168067226703E-3</c:v>
                </c:pt>
                <c:pt idx="14781">
                  <c:v>5.0420168067226703E-3</c:v>
                </c:pt>
                <c:pt idx="14782">
                  <c:v>5.0420168067226703E-3</c:v>
                </c:pt>
                <c:pt idx="14783">
                  <c:v>5.0420168067226703E-3</c:v>
                </c:pt>
                <c:pt idx="14784">
                  <c:v>5.0420168067226703E-3</c:v>
                </c:pt>
                <c:pt idx="14785">
                  <c:v>5.0420168067226703E-3</c:v>
                </c:pt>
                <c:pt idx="14786">
                  <c:v>5.0420168067226703E-3</c:v>
                </c:pt>
                <c:pt idx="14787">
                  <c:v>4.20168067226889E-3</c:v>
                </c:pt>
                <c:pt idx="14788">
                  <c:v>4.20168067226889E-3</c:v>
                </c:pt>
                <c:pt idx="14789">
                  <c:v>4.20168067226889E-3</c:v>
                </c:pt>
                <c:pt idx="14790">
                  <c:v>4.20168067226889E-3</c:v>
                </c:pt>
                <c:pt idx="14791">
                  <c:v>4.20168067226889E-3</c:v>
                </c:pt>
                <c:pt idx="14792">
                  <c:v>4.20168067226889E-3</c:v>
                </c:pt>
                <c:pt idx="14793">
                  <c:v>4.20168067226889E-3</c:v>
                </c:pt>
                <c:pt idx="14794">
                  <c:v>4.20168067226889E-3</c:v>
                </c:pt>
                <c:pt idx="14795">
                  <c:v>4.20168067226889E-3</c:v>
                </c:pt>
                <c:pt idx="14796">
                  <c:v>4.20168067226889E-3</c:v>
                </c:pt>
                <c:pt idx="14797">
                  <c:v>4.20168067226889E-3</c:v>
                </c:pt>
                <c:pt idx="14798">
                  <c:v>4.20168067226889E-3</c:v>
                </c:pt>
                <c:pt idx="14799">
                  <c:v>4.20168067226889E-3</c:v>
                </c:pt>
                <c:pt idx="14800">
                  <c:v>4.20168067226889E-3</c:v>
                </c:pt>
                <c:pt idx="14801">
                  <c:v>4.20168067226889E-3</c:v>
                </c:pt>
                <c:pt idx="14802">
                  <c:v>4.20168067226889E-3</c:v>
                </c:pt>
                <c:pt idx="14803">
                  <c:v>4.20168067226889E-3</c:v>
                </c:pt>
                <c:pt idx="14804">
                  <c:v>4.20168067226889E-3</c:v>
                </c:pt>
                <c:pt idx="14805">
                  <c:v>4.20168067226889E-3</c:v>
                </c:pt>
                <c:pt idx="14806">
                  <c:v>4.20168067226889E-3</c:v>
                </c:pt>
                <c:pt idx="14807">
                  <c:v>4.20168067226889E-3</c:v>
                </c:pt>
                <c:pt idx="14808">
                  <c:v>4.20168067226889E-3</c:v>
                </c:pt>
                <c:pt idx="14809">
                  <c:v>4.20168067226889E-3</c:v>
                </c:pt>
                <c:pt idx="14810">
                  <c:v>4.20168067226889E-3</c:v>
                </c:pt>
                <c:pt idx="14811">
                  <c:v>4.20168067226889E-3</c:v>
                </c:pt>
                <c:pt idx="14812">
                  <c:v>4.20168067226889E-3</c:v>
                </c:pt>
                <c:pt idx="14813">
                  <c:v>4.20168067226889E-3</c:v>
                </c:pt>
                <c:pt idx="14814">
                  <c:v>4.20168067226889E-3</c:v>
                </c:pt>
                <c:pt idx="14815">
                  <c:v>4.20168067226889E-3</c:v>
                </c:pt>
                <c:pt idx="14816">
                  <c:v>4.20168067226889E-3</c:v>
                </c:pt>
                <c:pt idx="14817">
                  <c:v>4.20168067226889E-3</c:v>
                </c:pt>
                <c:pt idx="14818">
                  <c:v>4.20168067226889E-3</c:v>
                </c:pt>
                <c:pt idx="14819">
                  <c:v>4.20168067226889E-3</c:v>
                </c:pt>
                <c:pt idx="14820">
                  <c:v>4.20168067226889E-3</c:v>
                </c:pt>
                <c:pt idx="14821">
                  <c:v>4.20168067226889E-3</c:v>
                </c:pt>
                <c:pt idx="14822">
                  <c:v>4.20168067226889E-3</c:v>
                </c:pt>
                <c:pt idx="14823">
                  <c:v>4.20168067226889E-3</c:v>
                </c:pt>
                <c:pt idx="14824">
                  <c:v>4.20168067226889E-3</c:v>
                </c:pt>
                <c:pt idx="14825">
                  <c:v>3.3613445378151102E-3</c:v>
                </c:pt>
                <c:pt idx="14826">
                  <c:v>3.3613445378151102E-3</c:v>
                </c:pt>
                <c:pt idx="14827">
                  <c:v>3.3613445378151102E-3</c:v>
                </c:pt>
                <c:pt idx="14828">
                  <c:v>3.3613445378151102E-3</c:v>
                </c:pt>
                <c:pt idx="14829">
                  <c:v>3.3613445378151102E-3</c:v>
                </c:pt>
                <c:pt idx="14830">
                  <c:v>3.3613445378151102E-3</c:v>
                </c:pt>
                <c:pt idx="14831">
                  <c:v>3.3613445378151102E-3</c:v>
                </c:pt>
                <c:pt idx="14832">
                  <c:v>3.3613445378151102E-3</c:v>
                </c:pt>
                <c:pt idx="14833">
                  <c:v>3.3613445378151102E-3</c:v>
                </c:pt>
                <c:pt idx="14834">
                  <c:v>3.3613445378151102E-3</c:v>
                </c:pt>
                <c:pt idx="14835">
                  <c:v>3.3613445378151102E-3</c:v>
                </c:pt>
                <c:pt idx="14836">
                  <c:v>3.3613445378151102E-3</c:v>
                </c:pt>
                <c:pt idx="14837">
                  <c:v>3.3613445378151102E-3</c:v>
                </c:pt>
                <c:pt idx="14838">
                  <c:v>3.3613445378151102E-3</c:v>
                </c:pt>
                <c:pt idx="14839">
                  <c:v>3.3613445378151102E-3</c:v>
                </c:pt>
                <c:pt idx="14840">
                  <c:v>3.3613445378151102E-3</c:v>
                </c:pt>
                <c:pt idx="14841">
                  <c:v>3.3613445378151102E-3</c:v>
                </c:pt>
                <c:pt idx="14842">
                  <c:v>3.3613445378151102E-3</c:v>
                </c:pt>
                <c:pt idx="14843">
                  <c:v>3.3613445378151102E-3</c:v>
                </c:pt>
                <c:pt idx="14844">
                  <c:v>3.3613445378151102E-3</c:v>
                </c:pt>
                <c:pt idx="14845">
                  <c:v>3.3613445378151102E-3</c:v>
                </c:pt>
                <c:pt idx="14846">
                  <c:v>3.3613445378151102E-3</c:v>
                </c:pt>
                <c:pt idx="14847">
                  <c:v>3.3613445378151102E-3</c:v>
                </c:pt>
                <c:pt idx="14848">
                  <c:v>3.3613445378151102E-3</c:v>
                </c:pt>
                <c:pt idx="14849">
                  <c:v>3.3613445378151102E-3</c:v>
                </c:pt>
                <c:pt idx="14850">
                  <c:v>3.3613445378151102E-3</c:v>
                </c:pt>
                <c:pt idx="14851">
                  <c:v>3.3613445378151102E-3</c:v>
                </c:pt>
                <c:pt idx="14852">
                  <c:v>3.3613445378151102E-3</c:v>
                </c:pt>
                <c:pt idx="14853">
                  <c:v>3.3613445378151102E-3</c:v>
                </c:pt>
                <c:pt idx="14854">
                  <c:v>3.3613445378151102E-3</c:v>
                </c:pt>
                <c:pt idx="14855">
                  <c:v>3.3613445378151102E-3</c:v>
                </c:pt>
                <c:pt idx="14856">
                  <c:v>3.3613445378151102E-3</c:v>
                </c:pt>
                <c:pt idx="14857">
                  <c:v>3.3613445378151102E-3</c:v>
                </c:pt>
                <c:pt idx="14858">
                  <c:v>3.3613445378151102E-3</c:v>
                </c:pt>
                <c:pt idx="14859">
                  <c:v>3.3613445378151102E-3</c:v>
                </c:pt>
                <c:pt idx="14860">
                  <c:v>3.3613445378151102E-3</c:v>
                </c:pt>
                <c:pt idx="14861">
                  <c:v>3.3613445378151102E-3</c:v>
                </c:pt>
                <c:pt idx="14862">
                  <c:v>3.3613445378151102E-3</c:v>
                </c:pt>
                <c:pt idx="14863">
                  <c:v>3.3613445378151102E-3</c:v>
                </c:pt>
                <c:pt idx="14864">
                  <c:v>3.3613445378151102E-3</c:v>
                </c:pt>
                <c:pt idx="14865">
                  <c:v>3.3613445378151102E-3</c:v>
                </c:pt>
                <c:pt idx="14866">
                  <c:v>3.3613445378151102E-3</c:v>
                </c:pt>
                <c:pt idx="14867">
                  <c:v>3.3613445378151102E-3</c:v>
                </c:pt>
                <c:pt idx="14868">
                  <c:v>3.3613445378151102E-3</c:v>
                </c:pt>
                <c:pt idx="14869">
                  <c:v>3.3613445378151102E-3</c:v>
                </c:pt>
                <c:pt idx="14870">
                  <c:v>3.3613445378151102E-3</c:v>
                </c:pt>
                <c:pt idx="14871">
                  <c:v>3.3613445378151102E-3</c:v>
                </c:pt>
                <c:pt idx="14872">
                  <c:v>3.3613445378151102E-3</c:v>
                </c:pt>
                <c:pt idx="14873">
                  <c:v>3.3613445378151102E-3</c:v>
                </c:pt>
                <c:pt idx="14874">
                  <c:v>3.3613445378151102E-3</c:v>
                </c:pt>
                <c:pt idx="14875">
                  <c:v>3.3613445378151102E-3</c:v>
                </c:pt>
                <c:pt idx="14876">
                  <c:v>3.3613445378151102E-3</c:v>
                </c:pt>
                <c:pt idx="14877">
                  <c:v>3.3613445378151102E-3</c:v>
                </c:pt>
                <c:pt idx="14878">
                  <c:v>3.3613445378151102E-3</c:v>
                </c:pt>
                <c:pt idx="14879">
                  <c:v>3.3613445378151102E-3</c:v>
                </c:pt>
                <c:pt idx="14880">
                  <c:v>3.3613445378151102E-3</c:v>
                </c:pt>
                <c:pt idx="14881">
                  <c:v>3.3613445378151102E-3</c:v>
                </c:pt>
                <c:pt idx="14882">
                  <c:v>3.3613445378151102E-3</c:v>
                </c:pt>
                <c:pt idx="14883">
                  <c:v>3.3613445378151102E-3</c:v>
                </c:pt>
                <c:pt idx="14884">
                  <c:v>3.3613445378151102E-3</c:v>
                </c:pt>
                <c:pt idx="14885">
                  <c:v>3.3613445378151102E-3</c:v>
                </c:pt>
                <c:pt idx="14886">
                  <c:v>3.3613445378151102E-3</c:v>
                </c:pt>
                <c:pt idx="14887">
                  <c:v>3.3613445378151102E-3</c:v>
                </c:pt>
                <c:pt idx="14888">
                  <c:v>3.3613445378151102E-3</c:v>
                </c:pt>
                <c:pt idx="14889">
                  <c:v>3.3613445378151102E-3</c:v>
                </c:pt>
                <c:pt idx="14890">
                  <c:v>3.3613445378151102E-3</c:v>
                </c:pt>
                <c:pt idx="14891">
                  <c:v>3.3613445378151102E-3</c:v>
                </c:pt>
                <c:pt idx="14892">
                  <c:v>3.3613445378151102E-3</c:v>
                </c:pt>
                <c:pt idx="14893">
                  <c:v>3.3613445378151102E-3</c:v>
                </c:pt>
                <c:pt idx="14894">
                  <c:v>3.3613445378151102E-3</c:v>
                </c:pt>
                <c:pt idx="14895">
                  <c:v>3.3613445378151102E-3</c:v>
                </c:pt>
                <c:pt idx="14896">
                  <c:v>3.3613445378151102E-3</c:v>
                </c:pt>
                <c:pt idx="14897">
                  <c:v>3.3613445378151102E-3</c:v>
                </c:pt>
                <c:pt idx="14898">
                  <c:v>3.3613445378151102E-3</c:v>
                </c:pt>
                <c:pt idx="14899">
                  <c:v>3.3613445378151102E-3</c:v>
                </c:pt>
                <c:pt idx="14900">
                  <c:v>3.3613445378151102E-3</c:v>
                </c:pt>
                <c:pt idx="14901">
                  <c:v>3.3613445378151102E-3</c:v>
                </c:pt>
                <c:pt idx="14902">
                  <c:v>3.3613445378151102E-3</c:v>
                </c:pt>
                <c:pt idx="14903">
                  <c:v>3.3613445378151102E-3</c:v>
                </c:pt>
                <c:pt idx="14904">
                  <c:v>3.3613445378151102E-3</c:v>
                </c:pt>
                <c:pt idx="14905">
                  <c:v>3.3613445378151102E-3</c:v>
                </c:pt>
                <c:pt idx="14906">
                  <c:v>3.3613445378151102E-3</c:v>
                </c:pt>
                <c:pt idx="14907">
                  <c:v>3.3613445378151102E-3</c:v>
                </c:pt>
                <c:pt idx="14908">
                  <c:v>3.3613445378151102E-3</c:v>
                </c:pt>
                <c:pt idx="14909">
                  <c:v>3.3613445378151102E-3</c:v>
                </c:pt>
                <c:pt idx="14910">
                  <c:v>3.3613445378151102E-3</c:v>
                </c:pt>
                <c:pt idx="14911">
                  <c:v>3.3613445378151102E-3</c:v>
                </c:pt>
                <c:pt idx="14912">
                  <c:v>3.3613445378151102E-3</c:v>
                </c:pt>
                <c:pt idx="14913">
                  <c:v>3.3613445378151102E-3</c:v>
                </c:pt>
                <c:pt idx="14914">
                  <c:v>3.3613445378151102E-3</c:v>
                </c:pt>
                <c:pt idx="14915">
                  <c:v>3.3613445378151102E-3</c:v>
                </c:pt>
                <c:pt idx="14916">
                  <c:v>3.3613445378151102E-3</c:v>
                </c:pt>
                <c:pt idx="14917">
                  <c:v>3.3613445378151102E-3</c:v>
                </c:pt>
                <c:pt idx="14918">
                  <c:v>3.3613445378151102E-3</c:v>
                </c:pt>
                <c:pt idx="14919">
                  <c:v>3.3613445378151102E-3</c:v>
                </c:pt>
                <c:pt idx="14920">
                  <c:v>3.3613445378151102E-3</c:v>
                </c:pt>
                <c:pt idx="14921">
                  <c:v>3.3613445378151102E-3</c:v>
                </c:pt>
                <c:pt idx="14922">
                  <c:v>3.3613445378151102E-3</c:v>
                </c:pt>
                <c:pt idx="14923">
                  <c:v>3.3613445378151102E-3</c:v>
                </c:pt>
                <c:pt idx="14924">
                  <c:v>3.3613445378151102E-3</c:v>
                </c:pt>
                <c:pt idx="14925">
                  <c:v>3.3613445378151102E-3</c:v>
                </c:pt>
                <c:pt idx="14926">
                  <c:v>3.3613445378151102E-3</c:v>
                </c:pt>
                <c:pt idx="14927">
                  <c:v>3.3613445378151102E-3</c:v>
                </c:pt>
                <c:pt idx="14928">
                  <c:v>3.3613445378151102E-3</c:v>
                </c:pt>
                <c:pt idx="14929">
                  <c:v>3.3613445378151102E-3</c:v>
                </c:pt>
                <c:pt idx="14930">
                  <c:v>3.3613445378151102E-3</c:v>
                </c:pt>
                <c:pt idx="14931">
                  <c:v>3.3613445378151102E-3</c:v>
                </c:pt>
                <c:pt idx="14932">
                  <c:v>3.3613445378151102E-3</c:v>
                </c:pt>
                <c:pt idx="14933">
                  <c:v>3.3613445378151102E-3</c:v>
                </c:pt>
                <c:pt idx="14934">
                  <c:v>3.3613445378151102E-3</c:v>
                </c:pt>
                <c:pt idx="14935">
                  <c:v>3.3613445378151102E-3</c:v>
                </c:pt>
                <c:pt idx="14936">
                  <c:v>3.3613445378151102E-3</c:v>
                </c:pt>
                <c:pt idx="14937">
                  <c:v>3.3613445378151102E-3</c:v>
                </c:pt>
                <c:pt idx="14938">
                  <c:v>2.5210084033613299E-3</c:v>
                </c:pt>
                <c:pt idx="14939">
                  <c:v>2.5210084033613299E-3</c:v>
                </c:pt>
                <c:pt idx="14940">
                  <c:v>2.5210084033613299E-3</c:v>
                </c:pt>
                <c:pt idx="14941">
                  <c:v>2.5210084033613299E-3</c:v>
                </c:pt>
                <c:pt idx="14942">
                  <c:v>2.5210084033613299E-3</c:v>
                </c:pt>
                <c:pt idx="14943">
                  <c:v>2.5210084033613299E-3</c:v>
                </c:pt>
                <c:pt idx="14944">
                  <c:v>2.5210084033613299E-3</c:v>
                </c:pt>
                <c:pt idx="14945">
                  <c:v>2.5210084033613299E-3</c:v>
                </c:pt>
                <c:pt idx="14946">
                  <c:v>2.5210084033613299E-3</c:v>
                </c:pt>
                <c:pt idx="14947">
                  <c:v>2.5210084033613299E-3</c:v>
                </c:pt>
                <c:pt idx="14948">
                  <c:v>2.5210084033613299E-3</c:v>
                </c:pt>
                <c:pt idx="14949">
                  <c:v>2.5210084033613299E-3</c:v>
                </c:pt>
                <c:pt idx="14950">
                  <c:v>2.5210084033613299E-3</c:v>
                </c:pt>
                <c:pt idx="14951">
                  <c:v>2.5210084033613299E-3</c:v>
                </c:pt>
                <c:pt idx="14952">
                  <c:v>2.5210084033613299E-3</c:v>
                </c:pt>
                <c:pt idx="14953">
                  <c:v>2.5210084033613299E-3</c:v>
                </c:pt>
                <c:pt idx="14954">
                  <c:v>2.5210084033613299E-3</c:v>
                </c:pt>
                <c:pt idx="14955">
                  <c:v>2.5210084033613299E-3</c:v>
                </c:pt>
                <c:pt idx="14956">
                  <c:v>2.5210084033613299E-3</c:v>
                </c:pt>
                <c:pt idx="14957">
                  <c:v>2.5210084033613299E-3</c:v>
                </c:pt>
                <c:pt idx="14958">
                  <c:v>2.5210084033613299E-3</c:v>
                </c:pt>
                <c:pt idx="14959">
                  <c:v>2.5210084033613299E-3</c:v>
                </c:pt>
                <c:pt idx="14960">
                  <c:v>2.5210084033613299E-3</c:v>
                </c:pt>
                <c:pt idx="14961">
                  <c:v>2.5210084033613299E-3</c:v>
                </c:pt>
                <c:pt idx="14962">
                  <c:v>2.5210084033613299E-3</c:v>
                </c:pt>
                <c:pt idx="14963">
                  <c:v>2.5210084033613299E-3</c:v>
                </c:pt>
                <c:pt idx="14964">
                  <c:v>2.5210084033613299E-3</c:v>
                </c:pt>
                <c:pt idx="14965">
                  <c:v>2.5210084033613299E-3</c:v>
                </c:pt>
                <c:pt idx="14966">
                  <c:v>2.5210084033613299E-3</c:v>
                </c:pt>
                <c:pt idx="14967">
                  <c:v>2.5210084033613299E-3</c:v>
                </c:pt>
                <c:pt idx="14968">
                  <c:v>2.5210084033613299E-3</c:v>
                </c:pt>
                <c:pt idx="14969">
                  <c:v>2.5210084033613299E-3</c:v>
                </c:pt>
                <c:pt idx="14970">
                  <c:v>2.5210084033613299E-3</c:v>
                </c:pt>
                <c:pt idx="14971">
                  <c:v>2.5210084033613299E-3</c:v>
                </c:pt>
                <c:pt idx="14972">
                  <c:v>2.5210084033613299E-3</c:v>
                </c:pt>
                <c:pt idx="14973">
                  <c:v>2.5210084033613299E-3</c:v>
                </c:pt>
                <c:pt idx="14974">
                  <c:v>2.5210084033613299E-3</c:v>
                </c:pt>
                <c:pt idx="14975">
                  <c:v>2.5210084033613299E-3</c:v>
                </c:pt>
                <c:pt idx="14976">
                  <c:v>2.5210084033613299E-3</c:v>
                </c:pt>
                <c:pt idx="14977">
                  <c:v>2.5210084033613299E-3</c:v>
                </c:pt>
                <c:pt idx="14978">
                  <c:v>2.5210084033613299E-3</c:v>
                </c:pt>
                <c:pt idx="14979">
                  <c:v>2.5210084033613299E-3</c:v>
                </c:pt>
                <c:pt idx="14980">
                  <c:v>2.5210084033613299E-3</c:v>
                </c:pt>
                <c:pt idx="14981">
                  <c:v>1.6806722689075499E-3</c:v>
                </c:pt>
                <c:pt idx="14982">
                  <c:v>1.6806722689075499E-3</c:v>
                </c:pt>
                <c:pt idx="14983">
                  <c:v>1.6806722689075499E-3</c:v>
                </c:pt>
                <c:pt idx="14984">
                  <c:v>1.6806722689075499E-3</c:v>
                </c:pt>
                <c:pt idx="14985">
                  <c:v>1.6806722689075499E-3</c:v>
                </c:pt>
                <c:pt idx="14986">
                  <c:v>1.6806722689075499E-3</c:v>
                </c:pt>
                <c:pt idx="14987">
                  <c:v>1.6806722689075499E-3</c:v>
                </c:pt>
                <c:pt idx="14988">
                  <c:v>1.6806722689075499E-3</c:v>
                </c:pt>
                <c:pt idx="14989">
                  <c:v>1.6806722689075499E-3</c:v>
                </c:pt>
                <c:pt idx="14990">
                  <c:v>1.6806722689075499E-3</c:v>
                </c:pt>
                <c:pt idx="14991">
                  <c:v>1.6806722689075499E-3</c:v>
                </c:pt>
                <c:pt idx="14992">
                  <c:v>1.6806722689075499E-3</c:v>
                </c:pt>
                <c:pt idx="14993">
                  <c:v>1.6806722689075499E-3</c:v>
                </c:pt>
                <c:pt idx="14994">
                  <c:v>1.6806722689075499E-3</c:v>
                </c:pt>
                <c:pt idx="14995">
                  <c:v>1.6806722689075499E-3</c:v>
                </c:pt>
                <c:pt idx="14996">
                  <c:v>1.6806722689075499E-3</c:v>
                </c:pt>
                <c:pt idx="14997">
                  <c:v>1.6806722689075499E-3</c:v>
                </c:pt>
                <c:pt idx="14998">
                  <c:v>8.4033613445377799E-4</c:v>
                </c:pt>
                <c:pt idx="14999">
                  <c:v>8.4033613445377799E-4</c:v>
                </c:pt>
                <c:pt idx="15000">
                  <c:v>8.4033613445377799E-4</c:v>
                </c:pt>
                <c:pt idx="15001">
                  <c:v>8.4033613445377799E-4</c:v>
                </c:pt>
                <c:pt idx="15002">
                  <c:v>8.4033613445377799E-4</c:v>
                </c:pt>
                <c:pt idx="15003">
                  <c:v>8.4033613445377799E-4</c:v>
                </c:pt>
                <c:pt idx="15004">
                  <c:v>8.4033613445377799E-4</c:v>
                </c:pt>
                <c:pt idx="15005">
                  <c:v>8.4033613445377799E-4</c:v>
                </c:pt>
                <c:pt idx="15006">
                  <c:v>8.4033613445377799E-4</c:v>
                </c:pt>
                <c:pt idx="15007">
                  <c:v>8.4033613445377799E-4</c:v>
                </c:pt>
                <c:pt idx="15008">
                  <c:v>8.4033613445377799E-4</c:v>
                </c:pt>
                <c:pt idx="15009">
                  <c:v>8.4033613445377799E-4</c:v>
                </c:pt>
                <c:pt idx="15010">
                  <c:v>8.4033613445377799E-4</c:v>
                </c:pt>
                <c:pt idx="15011">
                  <c:v>8.4033613445377799E-4</c:v>
                </c:pt>
                <c:pt idx="15012">
                  <c:v>8.4033613445377799E-4</c:v>
                </c:pt>
                <c:pt idx="15013">
                  <c:v>8.4033613445377799E-4</c:v>
                </c:pt>
                <c:pt idx="15014">
                  <c:v>8.4033613445377799E-4</c:v>
                </c:pt>
                <c:pt idx="15015">
                  <c:v>8.4033613445377799E-4</c:v>
                </c:pt>
                <c:pt idx="15016">
                  <c:v>8.4033613445377799E-4</c:v>
                </c:pt>
                <c:pt idx="15017">
                  <c:v>8.4033613445377799E-4</c:v>
                </c:pt>
                <c:pt idx="15018">
                  <c:v>8.4033613445377799E-4</c:v>
                </c:pt>
                <c:pt idx="15019">
                  <c:v>8.4033613445377799E-4</c:v>
                </c:pt>
                <c:pt idx="15020">
                  <c:v>8.4033613445377799E-4</c:v>
                </c:pt>
                <c:pt idx="15021">
                  <c:v>8.4033613445377799E-4</c:v>
                </c:pt>
                <c:pt idx="15022">
                  <c:v>8.4033613445377799E-4</c:v>
                </c:pt>
                <c:pt idx="15023">
                  <c:v>8.4033613445377799E-4</c:v>
                </c:pt>
                <c:pt idx="15024">
                  <c:v>8.4033613445377799E-4</c:v>
                </c:pt>
                <c:pt idx="15025">
                  <c:v>8.4033613445377799E-4</c:v>
                </c:pt>
                <c:pt idx="15026">
                  <c:v>8.4033613445377799E-4</c:v>
                </c:pt>
                <c:pt idx="15027">
                  <c:v>8.4033613445377799E-4</c:v>
                </c:pt>
                <c:pt idx="15028">
                  <c:v>8.4033613445377799E-4</c:v>
                </c:pt>
                <c:pt idx="15029">
                  <c:v>8.4033613445377799E-4</c:v>
                </c:pt>
                <c:pt idx="15030">
                  <c:v>8.4033613445377799E-4</c:v>
                </c:pt>
                <c:pt idx="15031">
                  <c:v>8.4033613445377799E-4</c:v>
                </c:pt>
                <c:pt idx="15032">
                  <c:v>8.4033613445377799E-4</c:v>
                </c:pt>
                <c:pt idx="15033">
                  <c:v>1.6806722689075499E-3</c:v>
                </c:pt>
                <c:pt idx="15034">
                  <c:v>1.6806722689075499E-3</c:v>
                </c:pt>
                <c:pt idx="15035">
                  <c:v>1.6806722689075499E-3</c:v>
                </c:pt>
                <c:pt idx="15036">
                  <c:v>1.6806722689075499E-3</c:v>
                </c:pt>
                <c:pt idx="15037">
                  <c:v>1.6806722689075499E-3</c:v>
                </c:pt>
                <c:pt idx="15038">
                  <c:v>1.6806722689075499E-3</c:v>
                </c:pt>
                <c:pt idx="15039">
                  <c:v>1.6806722689075499E-3</c:v>
                </c:pt>
                <c:pt idx="15040">
                  <c:v>1.6806722689075499E-3</c:v>
                </c:pt>
                <c:pt idx="15041">
                  <c:v>1.6806722689075499E-3</c:v>
                </c:pt>
                <c:pt idx="15042">
                  <c:v>1.6806722689075499E-3</c:v>
                </c:pt>
                <c:pt idx="15043">
                  <c:v>1.6806722689075499E-3</c:v>
                </c:pt>
                <c:pt idx="15044">
                  <c:v>1.6806722689075499E-3</c:v>
                </c:pt>
                <c:pt idx="15045">
                  <c:v>1.6806722689075499E-3</c:v>
                </c:pt>
                <c:pt idx="15046">
                  <c:v>1.6806722689075499E-3</c:v>
                </c:pt>
                <c:pt idx="15047">
                  <c:v>1.6806722689075499E-3</c:v>
                </c:pt>
                <c:pt idx="15048">
                  <c:v>8.4033613445377799E-4</c:v>
                </c:pt>
                <c:pt idx="15049">
                  <c:v>8.4033613445377799E-4</c:v>
                </c:pt>
                <c:pt idx="15050">
                  <c:v>8.4033613445377799E-4</c:v>
                </c:pt>
                <c:pt idx="15051">
                  <c:v>1.6806722689075499E-3</c:v>
                </c:pt>
                <c:pt idx="15052">
                  <c:v>1.6806722689075499E-3</c:v>
                </c:pt>
                <c:pt idx="15053">
                  <c:v>1.6806722689075499E-3</c:v>
                </c:pt>
                <c:pt idx="15054">
                  <c:v>1.6806722689075499E-3</c:v>
                </c:pt>
                <c:pt idx="15055">
                  <c:v>1.6806722689075499E-3</c:v>
                </c:pt>
                <c:pt idx="15056">
                  <c:v>1.6806722689075499E-3</c:v>
                </c:pt>
                <c:pt idx="15057">
                  <c:v>8.4033613445377799E-4</c:v>
                </c:pt>
                <c:pt idx="15058">
                  <c:v>8.4033613445377799E-4</c:v>
                </c:pt>
                <c:pt idx="15059">
                  <c:v>8.4033613445377799E-4</c:v>
                </c:pt>
                <c:pt idx="15060">
                  <c:v>8.4033613445377799E-4</c:v>
                </c:pt>
                <c:pt idx="15061">
                  <c:v>8.4033613445377799E-4</c:v>
                </c:pt>
                <c:pt idx="15062">
                  <c:v>8.4033613445377799E-4</c:v>
                </c:pt>
                <c:pt idx="15063">
                  <c:v>8.4033613445377799E-4</c:v>
                </c:pt>
                <c:pt idx="15064">
                  <c:v>8.4033613445377799E-4</c:v>
                </c:pt>
                <c:pt idx="15065">
                  <c:v>8.4033613445377799E-4</c:v>
                </c:pt>
                <c:pt idx="15066">
                  <c:v>8.4033613445377799E-4</c:v>
                </c:pt>
                <c:pt idx="15067">
                  <c:v>8.4033613445377799E-4</c:v>
                </c:pt>
                <c:pt idx="15068">
                  <c:v>8.4033613445377799E-4</c:v>
                </c:pt>
                <c:pt idx="15069">
                  <c:v>8.4033613445377799E-4</c:v>
                </c:pt>
                <c:pt idx="15070">
                  <c:v>1.6806722689075499E-3</c:v>
                </c:pt>
                <c:pt idx="15071">
                  <c:v>1.6806722689075499E-3</c:v>
                </c:pt>
                <c:pt idx="15072">
                  <c:v>1.6806722689075499E-3</c:v>
                </c:pt>
                <c:pt idx="15073">
                  <c:v>1.6806722689075499E-3</c:v>
                </c:pt>
                <c:pt idx="15074">
                  <c:v>1.6806722689075499E-3</c:v>
                </c:pt>
                <c:pt idx="15075">
                  <c:v>1.6806722689075499E-3</c:v>
                </c:pt>
                <c:pt idx="15076">
                  <c:v>1.6806722689075499E-3</c:v>
                </c:pt>
                <c:pt idx="15077">
                  <c:v>1.6806722689075499E-3</c:v>
                </c:pt>
                <c:pt idx="15078">
                  <c:v>1.6806722689075499E-3</c:v>
                </c:pt>
                <c:pt idx="15079">
                  <c:v>1.6806722689075499E-3</c:v>
                </c:pt>
                <c:pt idx="15080">
                  <c:v>1.6806722689075499E-3</c:v>
                </c:pt>
                <c:pt idx="15081">
                  <c:v>1.6806722689075499E-3</c:v>
                </c:pt>
                <c:pt idx="15082">
                  <c:v>2.5210084033613299E-3</c:v>
                </c:pt>
                <c:pt idx="15083">
                  <c:v>2.5210084033613299E-3</c:v>
                </c:pt>
                <c:pt idx="15084">
                  <c:v>2.5210084033613299E-3</c:v>
                </c:pt>
                <c:pt idx="15085">
                  <c:v>2.5210084033613299E-3</c:v>
                </c:pt>
                <c:pt idx="15086">
                  <c:v>2.5210084033613299E-3</c:v>
                </c:pt>
                <c:pt idx="15087">
                  <c:v>2.5210084033613299E-3</c:v>
                </c:pt>
                <c:pt idx="15088">
                  <c:v>2.5210084033613299E-3</c:v>
                </c:pt>
                <c:pt idx="15089">
                  <c:v>2.5210084033613299E-3</c:v>
                </c:pt>
                <c:pt idx="15090">
                  <c:v>2.5210084033613299E-3</c:v>
                </c:pt>
                <c:pt idx="15091">
                  <c:v>2.5210084033613299E-3</c:v>
                </c:pt>
                <c:pt idx="15092">
                  <c:v>2.5210084033613299E-3</c:v>
                </c:pt>
                <c:pt idx="15093">
                  <c:v>2.5210084033613299E-3</c:v>
                </c:pt>
                <c:pt idx="15094">
                  <c:v>2.5210084033613299E-3</c:v>
                </c:pt>
                <c:pt idx="15095">
                  <c:v>2.5210084033613299E-3</c:v>
                </c:pt>
                <c:pt idx="15096">
                  <c:v>2.5210084033613299E-3</c:v>
                </c:pt>
                <c:pt idx="15097">
                  <c:v>2.5210084033613299E-3</c:v>
                </c:pt>
                <c:pt idx="15098">
                  <c:v>2.5210084033613299E-3</c:v>
                </c:pt>
                <c:pt idx="15099">
                  <c:v>2.5210084033613299E-3</c:v>
                </c:pt>
                <c:pt idx="15100">
                  <c:v>2.5210084033613299E-3</c:v>
                </c:pt>
                <c:pt idx="15101">
                  <c:v>2.5210084033613299E-3</c:v>
                </c:pt>
                <c:pt idx="15102">
                  <c:v>2.5210084033613299E-3</c:v>
                </c:pt>
                <c:pt idx="15103">
                  <c:v>2.5210084033613299E-3</c:v>
                </c:pt>
                <c:pt idx="15104">
                  <c:v>2.5210084033613299E-3</c:v>
                </c:pt>
                <c:pt idx="15105">
                  <c:v>2.5210084033613299E-3</c:v>
                </c:pt>
                <c:pt idx="15106">
                  <c:v>2.5210084033613299E-3</c:v>
                </c:pt>
                <c:pt idx="15107">
                  <c:v>2.5210084033613299E-3</c:v>
                </c:pt>
                <c:pt idx="15108">
                  <c:v>2.5210084033613299E-3</c:v>
                </c:pt>
                <c:pt idx="15109">
                  <c:v>2.5210084033613299E-3</c:v>
                </c:pt>
                <c:pt idx="15110">
                  <c:v>2.5210084033613299E-3</c:v>
                </c:pt>
                <c:pt idx="15111">
                  <c:v>2.5210084033613299E-3</c:v>
                </c:pt>
                <c:pt idx="15112">
                  <c:v>2.5210084033613299E-3</c:v>
                </c:pt>
                <c:pt idx="15113">
                  <c:v>2.5210084033613299E-3</c:v>
                </c:pt>
                <c:pt idx="15114">
                  <c:v>2.5210084033613299E-3</c:v>
                </c:pt>
                <c:pt idx="15115">
                  <c:v>1.6806722689075499E-3</c:v>
                </c:pt>
                <c:pt idx="15116">
                  <c:v>1.6806722689075499E-3</c:v>
                </c:pt>
                <c:pt idx="15117">
                  <c:v>1.6806722689075499E-3</c:v>
                </c:pt>
                <c:pt idx="15118">
                  <c:v>1.6806722689075499E-3</c:v>
                </c:pt>
                <c:pt idx="15119">
                  <c:v>1.6806722689075499E-3</c:v>
                </c:pt>
                <c:pt idx="15120">
                  <c:v>1.6806722689075499E-3</c:v>
                </c:pt>
                <c:pt idx="15121">
                  <c:v>1.6806722689075499E-3</c:v>
                </c:pt>
                <c:pt idx="15122">
                  <c:v>1.6806722689075499E-3</c:v>
                </c:pt>
                <c:pt idx="15123">
                  <c:v>1.6806722689075499E-3</c:v>
                </c:pt>
                <c:pt idx="15124">
                  <c:v>1.6806722689075499E-3</c:v>
                </c:pt>
                <c:pt idx="15125">
                  <c:v>1.6806722689075499E-3</c:v>
                </c:pt>
                <c:pt idx="15126">
                  <c:v>1.6806722689075499E-3</c:v>
                </c:pt>
                <c:pt idx="15127">
                  <c:v>1.6806722689075499E-3</c:v>
                </c:pt>
                <c:pt idx="15128">
                  <c:v>1.6806722689075499E-3</c:v>
                </c:pt>
                <c:pt idx="15129">
                  <c:v>1.6806722689075499E-3</c:v>
                </c:pt>
                <c:pt idx="15130">
                  <c:v>1.6806722689075499E-3</c:v>
                </c:pt>
                <c:pt idx="15131">
                  <c:v>1.6806722689075499E-3</c:v>
                </c:pt>
                <c:pt idx="15132">
                  <c:v>2.5210084033613299E-3</c:v>
                </c:pt>
                <c:pt idx="15133">
                  <c:v>2.5210084033613299E-3</c:v>
                </c:pt>
                <c:pt idx="15134">
                  <c:v>2.5210084033613299E-3</c:v>
                </c:pt>
                <c:pt idx="15135">
                  <c:v>3.3613445378151102E-3</c:v>
                </c:pt>
                <c:pt idx="15136">
                  <c:v>3.3613445378151102E-3</c:v>
                </c:pt>
                <c:pt idx="15137">
                  <c:v>3.3613445378151102E-3</c:v>
                </c:pt>
                <c:pt idx="15138">
                  <c:v>3.3613445378151102E-3</c:v>
                </c:pt>
                <c:pt idx="15139">
                  <c:v>3.3613445378151102E-3</c:v>
                </c:pt>
                <c:pt idx="15140">
                  <c:v>3.3613445378151102E-3</c:v>
                </c:pt>
                <c:pt idx="15141">
                  <c:v>3.3613445378151102E-3</c:v>
                </c:pt>
                <c:pt idx="15142">
                  <c:v>3.3613445378151102E-3</c:v>
                </c:pt>
                <c:pt idx="15143">
                  <c:v>3.3613445378151102E-3</c:v>
                </c:pt>
                <c:pt idx="15144">
                  <c:v>3.3613445378151102E-3</c:v>
                </c:pt>
                <c:pt idx="15145">
                  <c:v>2.5210084033613299E-3</c:v>
                </c:pt>
                <c:pt idx="15146">
                  <c:v>2.5210084033613299E-3</c:v>
                </c:pt>
                <c:pt idx="15147">
                  <c:v>2.5210084033613299E-3</c:v>
                </c:pt>
                <c:pt idx="15148">
                  <c:v>2.5210084033613299E-3</c:v>
                </c:pt>
                <c:pt idx="15149">
                  <c:v>2.5210084033613299E-3</c:v>
                </c:pt>
                <c:pt idx="15150">
                  <c:v>2.5210084033613299E-3</c:v>
                </c:pt>
                <c:pt idx="15151">
                  <c:v>2.5210084033613299E-3</c:v>
                </c:pt>
                <c:pt idx="15152">
                  <c:v>2.5210084033613299E-3</c:v>
                </c:pt>
                <c:pt idx="15153">
                  <c:v>2.5210084033613299E-3</c:v>
                </c:pt>
                <c:pt idx="15154">
                  <c:v>2.5210084033613299E-3</c:v>
                </c:pt>
                <c:pt idx="15155">
                  <c:v>2.5210084033613299E-3</c:v>
                </c:pt>
                <c:pt idx="15156">
                  <c:v>2.5210084033613299E-3</c:v>
                </c:pt>
                <c:pt idx="15157">
                  <c:v>2.5210084033613299E-3</c:v>
                </c:pt>
                <c:pt idx="15158">
                  <c:v>2.5210084033613299E-3</c:v>
                </c:pt>
                <c:pt idx="15159">
                  <c:v>2.5210084033613299E-3</c:v>
                </c:pt>
                <c:pt idx="15160">
                  <c:v>2.5210084033613299E-3</c:v>
                </c:pt>
                <c:pt idx="15161">
                  <c:v>2.5210084033613299E-3</c:v>
                </c:pt>
                <c:pt idx="15162">
                  <c:v>2.5210084033613299E-3</c:v>
                </c:pt>
                <c:pt idx="15163">
                  <c:v>2.5210084033613299E-3</c:v>
                </c:pt>
                <c:pt idx="15164">
                  <c:v>2.5210084033613299E-3</c:v>
                </c:pt>
                <c:pt idx="15165">
                  <c:v>2.5210084033613299E-3</c:v>
                </c:pt>
                <c:pt idx="15166">
                  <c:v>2.5210084033613299E-3</c:v>
                </c:pt>
                <c:pt idx="15167">
                  <c:v>2.5210084033613299E-3</c:v>
                </c:pt>
                <c:pt idx="15168">
                  <c:v>2.5210084033613299E-3</c:v>
                </c:pt>
                <c:pt idx="15169">
                  <c:v>2.5210084033613299E-3</c:v>
                </c:pt>
                <c:pt idx="15170">
                  <c:v>2.5210084033613299E-3</c:v>
                </c:pt>
                <c:pt idx="15171">
                  <c:v>2.5210084033613299E-3</c:v>
                </c:pt>
                <c:pt idx="15172">
                  <c:v>2.5210084033613299E-3</c:v>
                </c:pt>
                <c:pt idx="15173">
                  <c:v>2.5210084033613299E-3</c:v>
                </c:pt>
                <c:pt idx="15174">
                  <c:v>2.5210084033613299E-3</c:v>
                </c:pt>
                <c:pt idx="15175">
                  <c:v>2.5210084033613299E-3</c:v>
                </c:pt>
                <c:pt idx="15176">
                  <c:v>2.5210084033613299E-3</c:v>
                </c:pt>
                <c:pt idx="15177">
                  <c:v>2.5210084033613299E-3</c:v>
                </c:pt>
                <c:pt idx="15178">
                  <c:v>2.5210084033613299E-3</c:v>
                </c:pt>
                <c:pt idx="15179">
                  <c:v>2.5210084033613299E-3</c:v>
                </c:pt>
                <c:pt idx="15180">
                  <c:v>2.5210084033613299E-3</c:v>
                </c:pt>
                <c:pt idx="15181">
                  <c:v>2.5210084033613299E-3</c:v>
                </c:pt>
                <c:pt idx="15182">
                  <c:v>2.5210084033613299E-3</c:v>
                </c:pt>
                <c:pt idx="15183">
                  <c:v>2.5210084033613299E-3</c:v>
                </c:pt>
                <c:pt idx="15184">
                  <c:v>2.5210084033613299E-3</c:v>
                </c:pt>
                <c:pt idx="15185">
                  <c:v>2.5210084033613299E-3</c:v>
                </c:pt>
                <c:pt idx="15186">
                  <c:v>2.5210084033613299E-3</c:v>
                </c:pt>
                <c:pt idx="15187">
                  <c:v>2.5210084033613299E-3</c:v>
                </c:pt>
                <c:pt idx="15188">
                  <c:v>2.5210084033613299E-3</c:v>
                </c:pt>
                <c:pt idx="15189">
                  <c:v>2.5210084033613299E-3</c:v>
                </c:pt>
                <c:pt idx="15190">
                  <c:v>2.5210084033613299E-3</c:v>
                </c:pt>
                <c:pt idx="15191">
                  <c:v>1.6806722689075499E-3</c:v>
                </c:pt>
                <c:pt idx="15192">
                  <c:v>1.6806722689075499E-3</c:v>
                </c:pt>
                <c:pt idx="15193">
                  <c:v>1.6806722689075499E-3</c:v>
                </c:pt>
                <c:pt idx="15194">
                  <c:v>1.6806722689075499E-3</c:v>
                </c:pt>
                <c:pt idx="15195">
                  <c:v>1.6806722689075499E-3</c:v>
                </c:pt>
                <c:pt idx="15196">
                  <c:v>1.6806722689075499E-3</c:v>
                </c:pt>
                <c:pt idx="15197">
                  <c:v>1.6806722689075499E-3</c:v>
                </c:pt>
                <c:pt idx="15198">
                  <c:v>1.6806722689075499E-3</c:v>
                </c:pt>
                <c:pt idx="15199">
                  <c:v>1.6806722689075499E-3</c:v>
                </c:pt>
                <c:pt idx="15200">
                  <c:v>1.6806722689075499E-3</c:v>
                </c:pt>
                <c:pt idx="15201">
                  <c:v>1.6806722689075499E-3</c:v>
                </c:pt>
                <c:pt idx="15202">
                  <c:v>1.6806722689075499E-3</c:v>
                </c:pt>
                <c:pt idx="15203">
                  <c:v>1.6806722689075499E-3</c:v>
                </c:pt>
                <c:pt idx="15204">
                  <c:v>1.6806722689075499E-3</c:v>
                </c:pt>
                <c:pt idx="15205">
                  <c:v>1.6806722689075499E-3</c:v>
                </c:pt>
                <c:pt idx="15206">
                  <c:v>1.6806722689075499E-3</c:v>
                </c:pt>
                <c:pt idx="15207">
                  <c:v>1.6806722689075499E-3</c:v>
                </c:pt>
                <c:pt idx="15208">
                  <c:v>1.6806722689075499E-3</c:v>
                </c:pt>
                <c:pt idx="15209">
                  <c:v>1.6806722689075499E-3</c:v>
                </c:pt>
                <c:pt idx="15210">
                  <c:v>1.6806722689075499E-3</c:v>
                </c:pt>
                <c:pt idx="15211">
                  <c:v>1.6806722689075499E-3</c:v>
                </c:pt>
                <c:pt idx="15212">
                  <c:v>1.6806722689075499E-3</c:v>
                </c:pt>
                <c:pt idx="15213">
                  <c:v>1.6806722689075499E-3</c:v>
                </c:pt>
                <c:pt idx="15214">
                  <c:v>1.6806722689075499E-3</c:v>
                </c:pt>
                <c:pt idx="15215">
                  <c:v>1.6806722689075499E-3</c:v>
                </c:pt>
                <c:pt idx="15216">
                  <c:v>1.6806722689075499E-3</c:v>
                </c:pt>
                <c:pt idx="15217">
                  <c:v>1.6806722689075499E-3</c:v>
                </c:pt>
                <c:pt idx="15218">
                  <c:v>1.6806722689075499E-3</c:v>
                </c:pt>
                <c:pt idx="15219">
                  <c:v>1.6806722689075499E-3</c:v>
                </c:pt>
                <c:pt idx="15220">
                  <c:v>1.6806722689075499E-3</c:v>
                </c:pt>
                <c:pt idx="15221">
                  <c:v>8.4033613445377799E-4</c:v>
                </c:pt>
                <c:pt idx="15222">
                  <c:v>8.4033613445377799E-4</c:v>
                </c:pt>
                <c:pt idx="15223">
                  <c:v>8.4033613445377799E-4</c:v>
                </c:pt>
                <c:pt idx="15224">
                  <c:v>8.4033613445377799E-4</c:v>
                </c:pt>
                <c:pt idx="15225">
                  <c:v>8.4033613445377799E-4</c:v>
                </c:pt>
                <c:pt idx="15226">
                  <c:v>8.4033613445377799E-4</c:v>
                </c:pt>
                <c:pt idx="15227">
                  <c:v>8.4033613445377799E-4</c:v>
                </c:pt>
                <c:pt idx="15228">
                  <c:v>8.4033613445377799E-4</c:v>
                </c:pt>
                <c:pt idx="15229">
                  <c:v>8.4033613445377799E-4</c:v>
                </c:pt>
                <c:pt idx="15230">
                  <c:v>8.4033613445377799E-4</c:v>
                </c:pt>
                <c:pt idx="15231">
                  <c:v>8.4033613445377799E-4</c:v>
                </c:pt>
                <c:pt idx="15232">
                  <c:v>1.6806722689075499E-3</c:v>
                </c:pt>
                <c:pt idx="15233">
                  <c:v>1.6806722689075499E-3</c:v>
                </c:pt>
                <c:pt idx="15234">
                  <c:v>1.6806722689075499E-3</c:v>
                </c:pt>
                <c:pt idx="15235">
                  <c:v>1.6806722689075499E-3</c:v>
                </c:pt>
                <c:pt idx="15236">
                  <c:v>1.6806722689075499E-3</c:v>
                </c:pt>
                <c:pt idx="15237">
                  <c:v>1.6806722689075499E-3</c:v>
                </c:pt>
                <c:pt idx="15238">
                  <c:v>1.6806722689075499E-3</c:v>
                </c:pt>
                <c:pt idx="15239">
                  <c:v>1.6806722689075499E-3</c:v>
                </c:pt>
                <c:pt idx="15240">
                  <c:v>1.6806722689075499E-3</c:v>
                </c:pt>
                <c:pt idx="15241">
                  <c:v>1.6806722689075499E-3</c:v>
                </c:pt>
                <c:pt idx="15242">
                  <c:v>1.6806722689075499E-3</c:v>
                </c:pt>
                <c:pt idx="15243">
                  <c:v>8.4033613445377799E-4</c:v>
                </c:pt>
                <c:pt idx="15244">
                  <c:v>8.4033613445377799E-4</c:v>
                </c:pt>
                <c:pt idx="15245">
                  <c:v>8.4033613445377799E-4</c:v>
                </c:pt>
                <c:pt idx="15246">
                  <c:v>8.4033613445377799E-4</c:v>
                </c:pt>
                <c:pt idx="15247">
                  <c:v>8.4033613445377799E-4</c:v>
                </c:pt>
                <c:pt idx="15248">
                  <c:v>8.4033613445377799E-4</c:v>
                </c:pt>
                <c:pt idx="15249">
                  <c:v>8.4033613445377799E-4</c:v>
                </c:pt>
                <c:pt idx="15250">
                  <c:v>8.4033613445377799E-4</c:v>
                </c:pt>
                <c:pt idx="15251">
                  <c:v>8.4033613445377799E-4</c:v>
                </c:pt>
                <c:pt idx="15252">
                  <c:v>8.4033613445377799E-4</c:v>
                </c:pt>
                <c:pt idx="15253">
                  <c:v>8.4033613445377799E-4</c:v>
                </c:pt>
                <c:pt idx="15254">
                  <c:v>8.4033613445377799E-4</c:v>
                </c:pt>
                <c:pt idx="15255">
                  <c:v>8.4033613445377799E-4</c:v>
                </c:pt>
                <c:pt idx="15256">
                  <c:v>1.6806722689075499E-3</c:v>
                </c:pt>
                <c:pt idx="15257">
                  <c:v>1.6806722689075499E-3</c:v>
                </c:pt>
                <c:pt idx="15258">
                  <c:v>1.6806722689075499E-3</c:v>
                </c:pt>
                <c:pt idx="15259">
                  <c:v>1.6806722689075499E-3</c:v>
                </c:pt>
                <c:pt idx="15260">
                  <c:v>1.6806722689075499E-3</c:v>
                </c:pt>
                <c:pt idx="15261">
                  <c:v>1.6806722689075499E-3</c:v>
                </c:pt>
                <c:pt idx="15262">
                  <c:v>1.6806722689075499E-3</c:v>
                </c:pt>
                <c:pt idx="15263">
                  <c:v>1.6806722689075499E-3</c:v>
                </c:pt>
                <c:pt idx="15264">
                  <c:v>1.6806722689075499E-3</c:v>
                </c:pt>
                <c:pt idx="15265">
                  <c:v>1.6806722689075499E-3</c:v>
                </c:pt>
                <c:pt idx="15266">
                  <c:v>1.6806722689075499E-3</c:v>
                </c:pt>
                <c:pt idx="15267">
                  <c:v>1.6806722689075499E-3</c:v>
                </c:pt>
                <c:pt idx="15268">
                  <c:v>1.6806722689075499E-3</c:v>
                </c:pt>
                <c:pt idx="15269">
                  <c:v>1.6806722689075499E-3</c:v>
                </c:pt>
                <c:pt idx="15270">
                  <c:v>1.6806722689075499E-3</c:v>
                </c:pt>
                <c:pt idx="15271">
                  <c:v>1.6806722689075499E-3</c:v>
                </c:pt>
                <c:pt idx="15272">
                  <c:v>1.6806722689075499E-3</c:v>
                </c:pt>
                <c:pt idx="15273">
                  <c:v>1.6806722689075499E-3</c:v>
                </c:pt>
                <c:pt idx="15274">
                  <c:v>1.6806722689075499E-3</c:v>
                </c:pt>
                <c:pt idx="15275">
                  <c:v>1.6806722689075499E-3</c:v>
                </c:pt>
                <c:pt idx="15276">
                  <c:v>1.6806722689075499E-3</c:v>
                </c:pt>
                <c:pt idx="15277">
                  <c:v>1.6806722689075499E-3</c:v>
                </c:pt>
                <c:pt idx="15278">
                  <c:v>1.6806722689075499E-3</c:v>
                </c:pt>
                <c:pt idx="15279">
                  <c:v>1.6806722689075499E-3</c:v>
                </c:pt>
                <c:pt idx="15280">
                  <c:v>1.6806722689075499E-3</c:v>
                </c:pt>
                <c:pt idx="15281">
                  <c:v>1.6806722689075499E-3</c:v>
                </c:pt>
                <c:pt idx="15282">
                  <c:v>1.6806722689075499E-3</c:v>
                </c:pt>
                <c:pt idx="15283">
                  <c:v>1.6806722689075499E-3</c:v>
                </c:pt>
                <c:pt idx="15284">
                  <c:v>1.6806722689075499E-3</c:v>
                </c:pt>
                <c:pt idx="15285">
                  <c:v>1.6806722689075499E-3</c:v>
                </c:pt>
                <c:pt idx="15286">
                  <c:v>1.6806722689075499E-3</c:v>
                </c:pt>
                <c:pt idx="15287">
                  <c:v>1.6806722689075499E-3</c:v>
                </c:pt>
                <c:pt idx="15288">
                  <c:v>1.6806722689075499E-3</c:v>
                </c:pt>
                <c:pt idx="15289">
                  <c:v>1.6806722689075499E-3</c:v>
                </c:pt>
                <c:pt idx="15290">
                  <c:v>1.6806722689075499E-3</c:v>
                </c:pt>
                <c:pt idx="15291">
                  <c:v>1.6806722689075499E-3</c:v>
                </c:pt>
                <c:pt idx="15292">
                  <c:v>1.6806722689075499E-3</c:v>
                </c:pt>
                <c:pt idx="15293">
                  <c:v>1.6806722689075499E-3</c:v>
                </c:pt>
                <c:pt idx="15294">
                  <c:v>1.6806722689075499E-3</c:v>
                </c:pt>
                <c:pt idx="15295">
                  <c:v>1.6806722689075499E-3</c:v>
                </c:pt>
                <c:pt idx="15296">
                  <c:v>1.6806722689075499E-3</c:v>
                </c:pt>
                <c:pt idx="15297">
                  <c:v>1.6806722689075499E-3</c:v>
                </c:pt>
                <c:pt idx="15298">
                  <c:v>1.6806722689075499E-3</c:v>
                </c:pt>
                <c:pt idx="15299">
                  <c:v>1.6806722689075499E-3</c:v>
                </c:pt>
                <c:pt idx="15300">
                  <c:v>1.6806722689075499E-3</c:v>
                </c:pt>
                <c:pt idx="15301">
                  <c:v>1.6806722689075499E-3</c:v>
                </c:pt>
                <c:pt idx="15302">
                  <c:v>1.6806722689075499E-3</c:v>
                </c:pt>
                <c:pt idx="15303">
                  <c:v>1.6806722689075499E-3</c:v>
                </c:pt>
                <c:pt idx="15304">
                  <c:v>1.6806722689075499E-3</c:v>
                </c:pt>
                <c:pt idx="15305">
                  <c:v>1.6806722689075499E-3</c:v>
                </c:pt>
                <c:pt idx="15306">
                  <c:v>1.6806722689075499E-3</c:v>
                </c:pt>
                <c:pt idx="15307">
                  <c:v>1.6806722689075499E-3</c:v>
                </c:pt>
                <c:pt idx="15308">
                  <c:v>1.6806722689075499E-3</c:v>
                </c:pt>
                <c:pt idx="15309">
                  <c:v>1.6806722689075499E-3</c:v>
                </c:pt>
                <c:pt idx="15310">
                  <c:v>1.6806722689075499E-3</c:v>
                </c:pt>
                <c:pt idx="15311">
                  <c:v>1.6806722689075499E-3</c:v>
                </c:pt>
                <c:pt idx="15312">
                  <c:v>1.6806722689075499E-3</c:v>
                </c:pt>
                <c:pt idx="15313">
                  <c:v>1.6806722689075499E-3</c:v>
                </c:pt>
                <c:pt idx="15314">
                  <c:v>1.6806722689075499E-3</c:v>
                </c:pt>
                <c:pt idx="15315">
                  <c:v>1.6806722689075499E-3</c:v>
                </c:pt>
                <c:pt idx="15316">
                  <c:v>1.6806722689075499E-3</c:v>
                </c:pt>
                <c:pt idx="15317">
                  <c:v>1.6806722689075499E-3</c:v>
                </c:pt>
                <c:pt idx="15318">
                  <c:v>1.6806722689075499E-3</c:v>
                </c:pt>
                <c:pt idx="15319">
                  <c:v>1.6806722689075499E-3</c:v>
                </c:pt>
                <c:pt idx="15320">
                  <c:v>1.6806722689075499E-3</c:v>
                </c:pt>
                <c:pt idx="15321">
                  <c:v>1.6806722689075499E-3</c:v>
                </c:pt>
                <c:pt idx="15322">
                  <c:v>1.6806722689075499E-3</c:v>
                </c:pt>
                <c:pt idx="15323">
                  <c:v>1.6806722689075499E-3</c:v>
                </c:pt>
                <c:pt idx="15324">
                  <c:v>1.6806722689075499E-3</c:v>
                </c:pt>
                <c:pt idx="15325">
                  <c:v>1.6806722689075499E-3</c:v>
                </c:pt>
                <c:pt idx="15326">
                  <c:v>8.4033613445377799E-4</c:v>
                </c:pt>
                <c:pt idx="15327">
                  <c:v>8.4033613445377799E-4</c:v>
                </c:pt>
                <c:pt idx="15328">
                  <c:v>8.4033613445377799E-4</c:v>
                </c:pt>
                <c:pt idx="15329">
                  <c:v>0</c:v>
                </c:pt>
                <c:pt idx="15330">
                  <c:v>0</c:v>
                </c:pt>
                <c:pt idx="15331">
                  <c:v>0</c:v>
                </c:pt>
                <c:pt idx="15332">
                  <c:v>0</c:v>
                </c:pt>
                <c:pt idx="15333">
                  <c:v>-8.4033613445377799E-4</c:v>
                </c:pt>
                <c:pt idx="15334">
                  <c:v>-8.4033613445377799E-4</c:v>
                </c:pt>
                <c:pt idx="15335">
                  <c:v>-8.4033613445377799E-4</c:v>
                </c:pt>
                <c:pt idx="15336">
                  <c:v>-8.4033613445377799E-4</c:v>
                </c:pt>
                <c:pt idx="15337">
                  <c:v>-8.4033613445377799E-4</c:v>
                </c:pt>
                <c:pt idx="15338">
                  <c:v>-8.4033613445377799E-4</c:v>
                </c:pt>
                <c:pt idx="15339">
                  <c:v>-8.4033613445377799E-4</c:v>
                </c:pt>
                <c:pt idx="15340">
                  <c:v>-8.4033613445377799E-4</c:v>
                </c:pt>
                <c:pt idx="15341">
                  <c:v>-8.4033613445377799E-4</c:v>
                </c:pt>
                <c:pt idx="15342">
                  <c:v>-8.4033613445377799E-4</c:v>
                </c:pt>
                <c:pt idx="15343">
                  <c:v>-8.4033613445377799E-4</c:v>
                </c:pt>
                <c:pt idx="15344">
                  <c:v>-8.4033613445377799E-4</c:v>
                </c:pt>
                <c:pt idx="15345">
                  <c:v>-8.4033613445377799E-4</c:v>
                </c:pt>
                <c:pt idx="15346">
                  <c:v>-8.4033613445377799E-4</c:v>
                </c:pt>
                <c:pt idx="15347">
                  <c:v>-8.4033613445377799E-4</c:v>
                </c:pt>
                <c:pt idx="15348">
                  <c:v>-8.4033613445377799E-4</c:v>
                </c:pt>
                <c:pt idx="15349">
                  <c:v>-8.4033613445377799E-4</c:v>
                </c:pt>
                <c:pt idx="15350">
                  <c:v>-8.4033613445377799E-4</c:v>
                </c:pt>
                <c:pt idx="15351">
                  <c:v>-8.4033613445377799E-4</c:v>
                </c:pt>
                <c:pt idx="15352">
                  <c:v>-8.4033613445377799E-4</c:v>
                </c:pt>
                <c:pt idx="15353">
                  <c:v>-8.4033613445377799E-4</c:v>
                </c:pt>
                <c:pt idx="15354">
                  <c:v>-8.4033613445377799E-4</c:v>
                </c:pt>
                <c:pt idx="15355">
                  <c:v>-8.4033613445377799E-4</c:v>
                </c:pt>
                <c:pt idx="15356">
                  <c:v>-8.4033613445377799E-4</c:v>
                </c:pt>
                <c:pt idx="15357">
                  <c:v>-8.4033613445377799E-4</c:v>
                </c:pt>
                <c:pt idx="15358">
                  <c:v>-8.4033613445377799E-4</c:v>
                </c:pt>
                <c:pt idx="15359">
                  <c:v>-8.4033613445377799E-4</c:v>
                </c:pt>
                <c:pt idx="15360">
                  <c:v>-8.4033613445377799E-4</c:v>
                </c:pt>
                <c:pt idx="15361">
                  <c:v>-8.4033613445377799E-4</c:v>
                </c:pt>
                <c:pt idx="15362">
                  <c:v>-8.4033613445377799E-4</c:v>
                </c:pt>
                <c:pt idx="15363">
                  <c:v>-8.4033613445377799E-4</c:v>
                </c:pt>
                <c:pt idx="15364">
                  <c:v>-8.4033613445377799E-4</c:v>
                </c:pt>
                <c:pt idx="15365">
                  <c:v>-8.4033613445377799E-4</c:v>
                </c:pt>
                <c:pt idx="15366">
                  <c:v>0</c:v>
                </c:pt>
                <c:pt idx="15367">
                  <c:v>0</c:v>
                </c:pt>
                <c:pt idx="15368">
                  <c:v>0</c:v>
                </c:pt>
                <c:pt idx="15369">
                  <c:v>0</c:v>
                </c:pt>
                <c:pt idx="15370">
                  <c:v>0</c:v>
                </c:pt>
                <c:pt idx="15371">
                  <c:v>0</c:v>
                </c:pt>
                <c:pt idx="15372">
                  <c:v>0</c:v>
                </c:pt>
                <c:pt idx="15373">
                  <c:v>0</c:v>
                </c:pt>
                <c:pt idx="15374">
                  <c:v>0</c:v>
                </c:pt>
                <c:pt idx="15375">
                  <c:v>0</c:v>
                </c:pt>
                <c:pt idx="15376">
                  <c:v>0</c:v>
                </c:pt>
                <c:pt idx="15377">
                  <c:v>0</c:v>
                </c:pt>
                <c:pt idx="15378">
                  <c:v>0</c:v>
                </c:pt>
                <c:pt idx="15379">
                  <c:v>0</c:v>
                </c:pt>
                <c:pt idx="15380">
                  <c:v>0</c:v>
                </c:pt>
                <c:pt idx="15381">
                  <c:v>0</c:v>
                </c:pt>
                <c:pt idx="15382">
                  <c:v>0</c:v>
                </c:pt>
                <c:pt idx="15383">
                  <c:v>0</c:v>
                </c:pt>
                <c:pt idx="15384">
                  <c:v>0</c:v>
                </c:pt>
                <c:pt idx="15385">
                  <c:v>0</c:v>
                </c:pt>
                <c:pt idx="15386">
                  <c:v>0</c:v>
                </c:pt>
                <c:pt idx="15387">
                  <c:v>0</c:v>
                </c:pt>
                <c:pt idx="15388">
                  <c:v>0</c:v>
                </c:pt>
                <c:pt idx="15389">
                  <c:v>-8.4033613445377799E-4</c:v>
                </c:pt>
                <c:pt idx="15390">
                  <c:v>-8.4033613445377799E-4</c:v>
                </c:pt>
                <c:pt idx="15391">
                  <c:v>-8.4033613445377799E-4</c:v>
                </c:pt>
                <c:pt idx="15392">
                  <c:v>-8.4033613445377799E-4</c:v>
                </c:pt>
                <c:pt idx="15393">
                  <c:v>-8.4033613445377799E-4</c:v>
                </c:pt>
                <c:pt idx="15394">
                  <c:v>-8.4033613445377799E-4</c:v>
                </c:pt>
                <c:pt idx="15395">
                  <c:v>-8.4033613445377799E-4</c:v>
                </c:pt>
                <c:pt idx="15396">
                  <c:v>-8.4033613445377799E-4</c:v>
                </c:pt>
                <c:pt idx="15397">
                  <c:v>-8.4033613445377799E-4</c:v>
                </c:pt>
                <c:pt idx="15398">
                  <c:v>-8.4033613445377799E-4</c:v>
                </c:pt>
                <c:pt idx="15399">
                  <c:v>-8.4033613445377799E-4</c:v>
                </c:pt>
                <c:pt idx="15400">
                  <c:v>-8.4033613445377799E-4</c:v>
                </c:pt>
                <c:pt idx="15401">
                  <c:v>-8.4033613445377799E-4</c:v>
                </c:pt>
                <c:pt idx="15402">
                  <c:v>-8.4033613445377799E-4</c:v>
                </c:pt>
                <c:pt idx="15403">
                  <c:v>-8.4033613445377799E-4</c:v>
                </c:pt>
                <c:pt idx="15404">
                  <c:v>-8.4033613445377799E-4</c:v>
                </c:pt>
                <c:pt idx="15405">
                  <c:v>-8.4033613445377799E-4</c:v>
                </c:pt>
                <c:pt idx="15406">
                  <c:v>-8.4033613445377799E-4</c:v>
                </c:pt>
                <c:pt idx="15407">
                  <c:v>-8.4033613445377799E-4</c:v>
                </c:pt>
                <c:pt idx="15408">
                  <c:v>-8.4033613445377799E-4</c:v>
                </c:pt>
                <c:pt idx="15409">
                  <c:v>-8.4033613445377799E-4</c:v>
                </c:pt>
                <c:pt idx="15410">
                  <c:v>-8.4033613445377799E-4</c:v>
                </c:pt>
                <c:pt idx="15411">
                  <c:v>-8.4033613445377799E-4</c:v>
                </c:pt>
                <c:pt idx="15412">
                  <c:v>-8.4033613445377799E-4</c:v>
                </c:pt>
                <c:pt idx="15413">
                  <c:v>-8.4033613445377799E-4</c:v>
                </c:pt>
                <c:pt idx="15414">
                  <c:v>-8.4033613445377799E-4</c:v>
                </c:pt>
                <c:pt idx="15415">
                  <c:v>-8.4033613445377799E-4</c:v>
                </c:pt>
                <c:pt idx="15416">
                  <c:v>-8.4033613445377799E-4</c:v>
                </c:pt>
                <c:pt idx="15417">
                  <c:v>-8.4033613445377799E-4</c:v>
                </c:pt>
                <c:pt idx="15418">
                  <c:v>-8.4033613445377799E-4</c:v>
                </c:pt>
                <c:pt idx="15419">
                  <c:v>-8.4033613445377799E-4</c:v>
                </c:pt>
                <c:pt idx="15420">
                  <c:v>-8.4033613445377799E-4</c:v>
                </c:pt>
                <c:pt idx="15421">
                  <c:v>-8.4033613445377799E-4</c:v>
                </c:pt>
                <c:pt idx="15422">
                  <c:v>-8.4033613445377799E-4</c:v>
                </c:pt>
                <c:pt idx="15423">
                  <c:v>-8.4033613445377799E-4</c:v>
                </c:pt>
                <c:pt idx="15424">
                  <c:v>-8.4033613445377799E-4</c:v>
                </c:pt>
                <c:pt idx="15425">
                  <c:v>-8.4033613445377799E-4</c:v>
                </c:pt>
                <c:pt idx="15426">
                  <c:v>-8.4033613445377799E-4</c:v>
                </c:pt>
                <c:pt idx="15427">
                  <c:v>-8.4033613445377799E-4</c:v>
                </c:pt>
                <c:pt idx="15428">
                  <c:v>-8.4033613445377799E-4</c:v>
                </c:pt>
                <c:pt idx="15429">
                  <c:v>-8.4033613445377799E-4</c:v>
                </c:pt>
                <c:pt idx="15430">
                  <c:v>-8.4033613445377799E-4</c:v>
                </c:pt>
                <c:pt idx="15431">
                  <c:v>-8.4033613445377799E-4</c:v>
                </c:pt>
                <c:pt idx="15432">
                  <c:v>-8.4033613445377799E-4</c:v>
                </c:pt>
                <c:pt idx="15433">
                  <c:v>-8.4033613445377799E-4</c:v>
                </c:pt>
                <c:pt idx="15434">
                  <c:v>-8.4033613445377799E-4</c:v>
                </c:pt>
                <c:pt idx="15435">
                  <c:v>-8.4033613445377799E-4</c:v>
                </c:pt>
                <c:pt idx="15436">
                  <c:v>-8.4033613445377799E-4</c:v>
                </c:pt>
                <c:pt idx="15437">
                  <c:v>-8.4033613445377799E-4</c:v>
                </c:pt>
                <c:pt idx="15438">
                  <c:v>-8.4033613445377799E-4</c:v>
                </c:pt>
                <c:pt idx="15439">
                  <c:v>-8.4033613445377799E-4</c:v>
                </c:pt>
                <c:pt idx="15440">
                  <c:v>-8.4033613445377799E-4</c:v>
                </c:pt>
                <c:pt idx="15441">
                  <c:v>-8.4033613445377799E-4</c:v>
                </c:pt>
                <c:pt idx="15442">
                  <c:v>-8.4033613445377799E-4</c:v>
                </c:pt>
                <c:pt idx="15443">
                  <c:v>-8.4033613445377799E-4</c:v>
                </c:pt>
                <c:pt idx="15444">
                  <c:v>-8.4033613445377799E-4</c:v>
                </c:pt>
                <c:pt idx="15445">
                  <c:v>-8.4033613445377799E-4</c:v>
                </c:pt>
                <c:pt idx="15446">
                  <c:v>-8.4033613445377799E-4</c:v>
                </c:pt>
                <c:pt idx="15447">
                  <c:v>-8.4033613445377799E-4</c:v>
                </c:pt>
                <c:pt idx="15448">
                  <c:v>-8.4033613445377799E-4</c:v>
                </c:pt>
                <c:pt idx="15449">
                  <c:v>-8.4033613445377799E-4</c:v>
                </c:pt>
                <c:pt idx="15450">
                  <c:v>-8.4033613445377799E-4</c:v>
                </c:pt>
                <c:pt idx="15451">
                  <c:v>-8.4033613445377799E-4</c:v>
                </c:pt>
                <c:pt idx="15452">
                  <c:v>0</c:v>
                </c:pt>
                <c:pt idx="15453">
                  <c:v>0</c:v>
                </c:pt>
                <c:pt idx="15454">
                  <c:v>0</c:v>
                </c:pt>
                <c:pt idx="15455">
                  <c:v>0</c:v>
                </c:pt>
                <c:pt idx="15456">
                  <c:v>0</c:v>
                </c:pt>
                <c:pt idx="15457">
                  <c:v>0</c:v>
                </c:pt>
                <c:pt idx="15458">
                  <c:v>0</c:v>
                </c:pt>
                <c:pt idx="15459">
                  <c:v>0</c:v>
                </c:pt>
                <c:pt idx="15460">
                  <c:v>0</c:v>
                </c:pt>
                <c:pt idx="15461">
                  <c:v>0</c:v>
                </c:pt>
                <c:pt idx="15462">
                  <c:v>0</c:v>
                </c:pt>
                <c:pt idx="15463">
                  <c:v>0</c:v>
                </c:pt>
                <c:pt idx="15464">
                  <c:v>0</c:v>
                </c:pt>
                <c:pt idx="15465">
                  <c:v>0</c:v>
                </c:pt>
                <c:pt idx="15466">
                  <c:v>0</c:v>
                </c:pt>
                <c:pt idx="15467">
                  <c:v>0</c:v>
                </c:pt>
                <c:pt idx="15468">
                  <c:v>0</c:v>
                </c:pt>
                <c:pt idx="15469">
                  <c:v>0</c:v>
                </c:pt>
                <c:pt idx="15470">
                  <c:v>0</c:v>
                </c:pt>
                <c:pt idx="15471">
                  <c:v>0</c:v>
                </c:pt>
                <c:pt idx="15472">
                  <c:v>0</c:v>
                </c:pt>
                <c:pt idx="15473">
                  <c:v>0</c:v>
                </c:pt>
                <c:pt idx="15474">
                  <c:v>0</c:v>
                </c:pt>
                <c:pt idx="15475">
                  <c:v>0</c:v>
                </c:pt>
                <c:pt idx="15476">
                  <c:v>0</c:v>
                </c:pt>
                <c:pt idx="15477">
                  <c:v>0</c:v>
                </c:pt>
                <c:pt idx="15478">
                  <c:v>0</c:v>
                </c:pt>
                <c:pt idx="15479">
                  <c:v>0</c:v>
                </c:pt>
                <c:pt idx="15480">
                  <c:v>0</c:v>
                </c:pt>
                <c:pt idx="15481">
                  <c:v>0</c:v>
                </c:pt>
                <c:pt idx="15482">
                  <c:v>0</c:v>
                </c:pt>
                <c:pt idx="15483">
                  <c:v>0</c:v>
                </c:pt>
                <c:pt idx="15484">
                  <c:v>0</c:v>
                </c:pt>
                <c:pt idx="15485">
                  <c:v>0</c:v>
                </c:pt>
                <c:pt idx="15486">
                  <c:v>0</c:v>
                </c:pt>
                <c:pt idx="15487">
                  <c:v>0</c:v>
                </c:pt>
                <c:pt idx="15488">
                  <c:v>0</c:v>
                </c:pt>
                <c:pt idx="15489">
                  <c:v>0</c:v>
                </c:pt>
                <c:pt idx="15490">
                  <c:v>0</c:v>
                </c:pt>
                <c:pt idx="15491">
                  <c:v>0</c:v>
                </c:pt>
                <c:pt idx="15492">
                  <c:v>0</c:v>
                </c:pt>
                <c:pt idx="15493">
                  <c:v>0</c:v>
                </c:pt>
                <c:pt idx="15494">
                  <c:v>0</c:v>
                </c:pt>
                <c:pt idx="15495">
                  <c:v>0</c:v>
                </c:pt>
                <c:pt idx="15496">
                  <c:v>0</c:v>
                </c:pt>
                <c:pt idx="15497">
                  <c:v>-8.4033613445377799E-4</c:v>
                </c:pt>
                <c:pt idx="15498">
                  <c:v>-8.4033613445377799E-4</c:v>
                </c:pt>
                <c:pt idx="15499">
                  <c:v>-8.4033613445377799E-4</c:v>
                </c:pt>
                <c:pt idx="15500">
                  <c:v>-8.4033613445377799E-4</c:v>
                </c:pt>
                <c:pt idx="15501">
                  <c:v>-8.4033613445377799E-4</c:v>
                </c:pt>
                <c:pt idx="15502">
                  <c:v>-8.4033613445377799E-4</c:v>
                </c:pt>
                <c:pt idx="15503">
                  <c:v>-8.4033613445377799E-4</c:v>
                </c:pt>
                <c:pt idx="15504">
                  <c:v>-1.6806722689075499E-3</c:v>
                </c:pt>
                <c:pt idx="15505">
                  <c:v>-1.6806722689075499E-3</c:v>
                </c:pt>
                <c:pt idx="15506">
                  <c:v>-1.6806722689075499E-3</c:v>
                </c:pt>
                <c:pt idx="15507">
                  <c:v>-1.6806722689075499E-3</c:v>
                </c:pt>
                <c:pt idx="15508">
                  <c:v>-1.6806722689075499E-3</c:v>
                </c:pt>
                <c:pt idx="15509">
                  <c:v>-1.6806722689075499E-3</c:v>
                </c:pt>
                <c:pt idx="15510">
                  <c:v>-1.6806722689075499E-3</c:v>
                </c:pt>
                <c:pt idx="15511">
                  <c:v>-1.6806722689075499E-3</c:v>
                </c:pt>
                <c:pt idx="15512">
                  <c:v>-1.6806722689075499E-3</c:v>
                </c:pt>
                <c:pt idx="15513">
                  <c:v>-2.5210084033613299E-3</c:v>
                </c:pt>
                <c:pt idx="15514">
                  <c:v>-2.5210084033613299E-3</c:v>
                </c:pt>
                <c:pt idx="15515">
                  <c:v>-2.5210084033613299E-3</c:v>
                </c:pt>
                <c:pt idx="15516">
                  <c:v>-2.5210084033613299E-3</c:v>
                </c:pt>
                <c:pt idx="15517">
                  <c:v>-2.5210084033613299E-3</c:v>
                </c:pt>
                <c:pt idx="15518">
                  <c:v>-2.5210084033613299E-3</c:v>
                </c:pt>
                <c:pt idx="15519">
                  <c:v>-2.5210084033613299E-3</c:v>
                </c:pt>
                <c:pt idx="15520">
                  <c:v>-2.5210084033613299E-3</c:v>
                </c:pt>
                <c:pt idx="15521">
                  <c:v>-2.5210084033613299E-3</c:v>
                </c:pt>
                <c:pt idx="15522">
                  <c:v>-2.5210084033613299E-3</c:v>
                </c:pt>
                <c:pt idx="15523">
                  <c:v>-2.5210084033613299E-3</c:v>
                </c:pt>
                <c:pt idx="15524">
                  <c:v>-2.5210084033613299E-3</c:v>
                </c:pt>
                <c:pt idx="15525">
                  <c:v>-2.5210084033613299E-3</c:v>
                </c:pt>
                <c:pt idx="15526">
                  <c:v>-2.5210084033613299E-3</c:v>
                </c:pt>
                <c:pt idx="15527">
                  <c:v>-2.5210084033613299E-3</c:v>
                </c:pt>
                <c:pt idx="15528">
                  <c:v>-2.5210084033613299E-3</c:v>
                </c:pt>
                <c:pt idx="15529">
                  <c:v>-2.5210084033613299E-3</c:v>
                </c:pt>
                <c:pt idx="15530">
                  <c:v>-2.5210084033613299E-3</c:v>
                </c:pt>
                <c:pt idx="15531">
                  <c:v>-2.5210084033613299E-3</c:v>
                </c:pt>
                <c:pt idx="15532">
                  <c:v>-2.5210084033613299E-3</c:v>
                </c:pt>
                <c:pt idx="15533">
                  <c:v>-2.5210084033613299E-3</c:v>
                </c:pt>
                <c:pt idx="15534">
                  <c:v>-2.5210084033613299E-3</c:v>
                </c:pt>
                <c:pt idx="15535">
                  <c:v>-2.5210084033613299E-3</c:v>
                </c:pt>
                <c:pt idx="15536">
                  <c:v>-2.5210084033613299E-3</c:v>
                </c:pt>
                <c:pt idx="15537">
                  <c:v>-2.5210084033613299E-3</c:v>
                </c:pt>
                <c:pt idx="15538">
                  <c:v>-2.5210084033613299E-3</c:v>
                </c:pt>
                <c:pt idx="15539">
                  <c:v>-2.5210084033613299E-3</c:v>
                </c:pt>
                <c:pt idx="15540">
                  <c:v>-2.5210084033613299E-3</c:v>
                </c:pt>
                <c:pt idx="15541">
                  <c:v>-2.5210084033613299E-3</c:v>
                </c:pt>
                <c:pt idx="15542">
                  <c:v>-1.6806722689075499E-3</c:v>
                </c:pt>
                <c:pt idx="15543">
                  <c:v>-1.6806722689075499E-3</c:v>
                </c:pt>
                <c:pt idx="15544">
                  <c:v>-1.6806722689075499E-3</c:v>
                </c:pt>
                <c:pt idx="15545">
                  <c:v>-1.6806722689075499E-3</c:v>
                </c:pt>
                <c:pt idx="15546">
                  <c:v>-1.6806722689075499E-3</c:v>
                </c:pt>
                <c:pt idx="15547">
                  <c:v>-1.6806722689075499E-3</c:v>
                </c:pt>
                <c:pt idx="15548">
                  <c:v>-1.6806722689075499E-3</c:v>
                </c:pt>
                <c:pt idx="15549">
                  <c:v>-1.6806722689075499E-3</c:v>
                </c:pt>
                <c:pt idx="15550">
                  <c:v>-1.6806722689075499E-3</c:v>
                </c:pt>
                <c:pt idx="15551">
                  <c:v>-1.6806722689075499E-3</c:v>
                </c:pt>
                <c:pt idx="15552">
                  <c:v>-1.6806722689075499E-3</c:v>
                </c:pt>
                <c:pt idx="15553">
                  <c:v>-1.6806722689075499E-3</c:v>
                </c:pt>
                <c:pt idx="15554">
                  <c:v>-1.6806722689075499E-3</c:v>
                </c:pt>
                <c:pt idx="15555">
                  <c:v>-1.6806722689075499E-3</c:v>
                </c:pt>
                <c:pt idx="15556">
                  <c:v>-1.6806722689075499E-3</c:v>
                </c:pt>
                <c:pt idx="15557">
                  <c:v>-1.6806722689075499E-3</c:v>
                </c:pt>
                <c:pt idx="15558">
                  <c:v>-1.6806722689075499E-3</c:v>
                </c:pt>
                <c:pt idx="15559">
                  <c:v>-1.6806722689075499E-3</c:v>
                </c:pt>
                <c:pt idx="15560">
                  <c:v>-1.6806722689075499E-3</c:v>
                </c:pt>
                <c:pt idx="15561">
                  <c:v>-1.6806722689075499E-3</c:v>
                </c:pt>
                <c:pt idx="15562">
                  <c:v>-1.6806722689075499E-3</c:v>
                </c:pt>
                <c:pt idx="15563">
                  <c:v>-1.6806722689075499E-3</c:v>
                </c:pt>
                <c:pt idx="15564">
                  <c:v>-1.6806722689075499E-3</c:v>
                </c:pt>
                <c:pt idx="15565">
                  <c:v>-1.6806722689075499E-3</c:v>
                </c:pt>
                <c:pt idx="15566">
                  <c:v>-1.6806722689075499E-3</c:v>
                </c:pt>
                <c:pt idx="15567">
                  <c:v>-1.6806722689075499E-3</c:v>
                </c:pt>
                <c:pt idx="15568">
                  <c:v>-1.6806722689075499E-3</c:v>
                </c:pt>
                <c:pt idx="15569">
                  <c:v>-1.6806722689075499E-3</c:v>
                </c:pt>
                <c:pt idx="15570">
                  <c:v>-1.6806722689075499E-3</c:v>
                </c:pt>
                <c:pt idx="15571">
                  <c:v>-1.6806722689075499E-3</c:v>
                </c:pt>
                <c:pt idx="15572">
                  <c:v>-1.6806722689075499E-3</c:v>
                </c:pt>
                <c:pt idx="15573">
                  <c:v>-1.6806722689075499E-3</c:v>
                </c:pt>
                <c:pt idx="15574">
                  <c:v>-1.6806722689075499E-3</c:v>
                </c:pt>
                <c:pt idx="15575">
                  <c:v>-1.6806722689075499E-3</c:v>
                </c:pt>
                <c:pt idx="15576">
                  <c:v>-1.6806722689075499E-3</c:v>
                </c:pt>
                <c:pt idx="15577">
                  <c:v>-1.6806722689075499E-3</c:v>
                </c:pt>
                <c:pt idx="15578">
                  <c:v>-1.6806722689075499E-3</c:v>
                </c:pt>
                <c:pt idx="15579">
                  <c:v>-1.6806722689075499E-3</c:v>
                </c:pt>
                <c:pt idx="15580">
                  <c:v>-2.5210084033613299E-3</c:v>
                </c:pt>
                <c:pt idx="15581">
                  <c:v>-2.5210084033613299E-3</c:v>
                </c:pt>
                <c:pt idx="15582">
                  <c:v>-2.5210084033613299E-3</c:v>
                </c:pt>
                <c:pt idx="15583">
                  <c:v>-2.5210084033613299E-3</c:v>
                </c:pt>
                <c:pt idx="15584">
                  <c:v>-2.5210084033613299E-3</c:v>
                </c:pt>
                <c:pt idx="15585">
                  <c:v>-2.5210084033613299E-3</c:v>
                </c:pt>
                <c:pt idx="15586">
                  <c:v>-2.5210084033613299E-3</c:v>
                </c:pt>
                <c:pt idx="15587">
                  <c:v>-2.5210084033613299E-3</c:v>
                </c:pt>
                <c:pt idx="15588">
                  <c:v>-2.5210084033613299E-3</c:v>
                </c:pt>
                <c:pt idx="15589">
                  <c:v>-2.5210084033613299E-3</c:v>
                </c:pt>
                <c:pt idx="15590">
                  <c:v>-2.5210084033613299E-3</c:v>
                </c:pt>
                <c:pt idx="15591">
                  <c:v>-2.5210084033613299E-3</c:v>
                </c:pt>
                <c:pt idx="15592">
                  <c:v>-2.5210084033613299E-3</c:v>
                </c:pt>
                <c:pt idx="15593">
                  <c:v>-2.5210084033613299E-3</c:v>
                </c:pt>
                <c:pt idx="15594">
                  <c:v>-1.6806722689075499E-3</c:v>
                </c:pt>
                <c:pt idx="15595">
                  <c:v>-1.6806722689075499E-3</c:v>
                </c:pt>
                <c:pt idx="15596">
                  <c:v>-1.6806722689075499E-3</c:v>
                </c:pt>
                <c:pt idx="15597">
                  <c:v>-1.6806722689075499E-3</c:v>
                </c:pt>
                <c:pt idx="15598">
                  <c:v>-1.6806722689075499E-3</c:v>
                </c:pt>
                <c:pt idx="15599">
                  <c:v>-1.6806722689075499E-3</c:v>
                </c:pt>
                <c:pt idx="15600">
                  <c:v>-1.6806722689075499E-3</c:v>
                </c:pt>
                <c:pt idx="15601">
                  <c:v>-1.6806722689075499E-3</c:v>
                </c:pt>
                <c:pt idx="15602">
                  <c:v>-1.6806722689075499E-3</c:v>
                </c:pt>
                <c:pt idx="15603">
                  <c:v>-1.6806722689075499E-3</c:v>
                </c:pt>
                <c:pt idx="15604">
                  <c:v>-1.6806722689075499E-3</c:v>
                </c:pt>
                <c:pt idx="15605">
                  <c:v>-1.6806722689075499E-3</c:v>
                </c:pt>
                <c:pt idx="15606">
                  <c:v>-1.6806722689075499E-3</c:v>
                </c:pt>
                <c:pt idx="15607">
                  <c:v>-1.6806722689075499E-3</c:v>
                </c:pt>
                <c:pt idx="15608">
                  <c:v>-1.6806722689075499E-3</c:v>
                </c:pt>
                <c:pt idx="15609">
                  <c:v>-2.5210084033613299E-3</c:v>
                </c:pt>
                <c:pt idx="15610">
                  <c:v>-2.5210084033613299E-3</c:v>
                </c:pt>
                <c:pt idx="15611">
                  <c:v>-2.5210084033613299E-3</c:v>
                </c:pt>
                <c:pt idx="15612">
                  <c:v>-2.5210084033613299E-3</c:v>
                </c:pt>
                <c:pt idx="15613">
                  <c:v>-2.5210084033613299E-3</c:v>
                </c:pt>
                <c:pt idx="15614">
                  <c:v>-2.5210084033613299E-3</c:v>
                </c:pt>
                <c:pt idx="15615">
                  <c:v>-2.5210084033613299E-3</c:v>
                </c:pt>
                <c:pt idx="15616">
                  <c:v>-2.5210084033613299E-3</c:v>
                </c:pt>
                <c:pt idx="15617">
                  <c:v>-2.5210084033613299E-3</c:v>
                </c:pt>
                <c:pt idx="15618">
                  <c:v>-2.5210084033613299E-3</c:v>
                </c:pt>
                <c:pt idx="15619">
                  <c:v>-2.5210084033613299E-3</c:v>
                </c:pt>
                <c:pt idx="15620">
                  <c:v>-2.5210084033613299E-3</c:v>
                </c:pt>
                <c:pt idx="15621">
                  <c:v>-2.5210084033613299E-3</c:v>
                </c:pt>
                <c:pt idx="15622">
                  <c:v>-2.5210084033613299E-3</c:v>
                </c:pt>
                <c:pt idx="15623">
                  <c:v>-2.5210084033613299E-3</c:v>
                </c:pt>
                <c:pt idx="15624">
                  <c:v>-2.5210084033613299E-3</c:v>
                </c:pt>
                <c:pt idx="15625">
                  <c:v>-2.5210084033613299E-3</c:v>
                </c:pt>
                <c:pt idx="15626">
                  <c:v>-2.5210084033613299E-3</c:v>
                </c:pt>
                <c:pt idx="15627">
                  <c:v>-2.5210084033613299E-3</c:v>
                </c:pt>
                <c:pt idx="15628">
                  <c:v>-2.5210084033613299E-3</c:v>
                </c:pt>
                <c:pt idx="15629">
                  <c:v>-2.5210084033613299E-3</c:v>
                </c:pt>
                <c:pt idx="15630">
                  <c:v>-2.5210084033613299E-3</c:v>
                </c:pt>
                <c:pt idx="15631">
                  <c:v>-2.5210084033613299E-3</c:v>
                </c:pt>
                <c:pt idx="15632">
                  <c:v>-2.5210084033613299E-3</c:v>
                </c:pt>
                <c:pt idx="15633">
                  <c:v>-2.5210084033613299E-3</c:v>
                </c:pt>
                <c:pt idx="15634">
                  <c:v>-2.5210084033613299E-3</c:v>
                </c:pt>
                <c:pt idx="15635">
                  <c:v>-2.5210084033613299E-3</c:v>
                </c:pt>
                <c:pt idx="15636">
                  <c:v>-2.5210084033613299E-3</c:v>
                </c:pt>
                <c:pt idx="15637">
                  <c:v>-2.5210084033613299E-3</c:v>
                </c:pt>
                <c:pt idx="15638">
                  <c:v>-2.5210084033613299E-3</c:v>
                </c:pt>
                <c:pt idx="15639">
                  <c:v>-2.5210084033613299E-3</c:v>
                </c:pt>
                <c:pt idx="15640">
                  <c:v>-2.5210084033613299E-3</c:v>
                </c:pt>
                <c:pt idx="15641">
                  <c:v>-2.5210084033613299E-3</c:v>
                </c:pt>
                <c:pt idx="15642">
                  <c:v>-2.5210084033613299E-3</c:v>
                </c:pt>
                <c:pt idx="15643">
                  <c:v>-2.5210084033613299E-3</c:v>
                </c:pt>
                <c:pt idx="15644">
                  <c:v>-2.5210084033613299E-3</c:v>
                </c:pt>
                <c:pt idx="15645">
                  <c:v>-2.5210084033613299E-3</c:v>
                </c:pt>
                <c:pt idx="15646">
                  <c:v>-2.5210084033613299E-3</c:v>
                </c:pt>
                <c:pt idx="15647">
                  <c:v>-2.5210084033613299E-3</c:v>
                </c:pt>
                <c:pt idx="15648">
                  <c:v>-2.5210084033613299E-3</c:v>
                </c:pt>
                <c:pt idx="15649">
                  <c:v>-2.5210084033613299E-3</c:v>
                </c:pt>
                <c:pt idx="15650">
                  <c:v>-2.5210084033613299E-3</c:v>
                </c:pt>
                <c:pt idx="15651">
                  <c:v>-2.5210084033613299E-3</c:v>
                </c:pt>
                <c:pt idx="15652">
                  <c:v>-2.5210084033613299E-3</c:v>
                </c:pt>
                <c:pt idx="15653">
                  <c:v>-2.5210084033613299E-3</c:v>
                </c:pt>
                <c:pt idx="15654">
                  <c:v>-2.5210084033613299E-3</c:v>
                </c:pt>
                <c:pt idx="15655">
                  <c:v>-2.5210084033613299E-3</c:v>
                </c:pt>
                <c:pt idx="15656">
                  <c:v>-2.5210084033613299E-3</c:v>
                </c:pt>
                <c:pt idx="15657">
                  <c:v>-1.6806722689075499E-3</c:v>
                </c:pt>
                <c:pt idx="15658">
                  <c:v>-1.6806722689075499E-3</c:v>
                </c:pt>
                <c:pt idx="15659">
                  <c:v>-1.6806722689075499E-3</c:v>
                </c:pt>
                <c:pt idx="15660">
                  <c:v>-8.4033613445377799E-4</c:v>
                </c:pt>
                <c:pt idx="15661">
                  <c:v>-8.4033613445377799E-4</c:v>
                </c:pt>
                <c:pt idx="15662">
                  <c:v>-8.4033613445377799E-4</c:v>
                </c:pt>
                <c:pt idx="15663">
                  <c:v>-8.4033613445377799E-4</c:v>
                </c:pt>
                <c:pt idx="15664">
                  <c:v>-8.4033613445377799E-4</c:v>
                </c:pt>
                <c:pt idx="15665">
                  <c:v>-8.4033613445377799E-4</c:v>
                </c:pt>
                <c:pt idx="15666">
                  <c:v>-8.4033613445377799E-4</c:v>
                </c:pt>
                <c:pt idx="15667">
                  <c:v>-8.4033613445377799E-4</c:v>
                </c:pt>
                <c:pt idx="15668">
                  <c:v>-1.6806722689075499E-3</c:v>
                </c:pt>
                <c:pt idx="15669">
                  <c:v>-1.6806722689075499E-3</c:v>
                </c:pt>
                <c:pt idx="15670">
                  <c:v>-1.6806722689075499E-3</c:v>
                </c:pt>
                <c:pt idx="15671">
                  <c:v>-1.6806722689075499E-3</c:v>
                </c:pt>
                <c:pt idx="15672">
                  <c:v>-1.6806722689075499E-3</c:v>
                </c:pt>
                <c:pt idx="15673">
                  <c:v>-1.6806722689075499E-3</c:v>
                </c:pt>
                <c:pt idx="15674">
                  <c:v>-1.6806722689075499E-3</c:v>
                </c:pt>
                <c:pt idx="15675">
                  <c:v>-1.6806722689075499E-3</c:v>
                </c:pt>
                <c:pt idx="15676">
                  <c:v>-1.6806722689075499E-3</c:v>
                </c:pt>
                <c:pt idx="15677">
                  <c:v>-1.6806722689075499E-3</c:v>
                </c:pt>
                <c:pt idx="15678">
                  <c:v>-1.6806722689075499E-3</c:v>
                </c:pt>
                <c:pt idx="15679">
                  <c:v>-1.6806722689075499E-3</c:v>
                </c:pt>
                <c:pt idx="15680">
                  <c:v>-1.6806722689075499E-3</c:v>
                </c:pt>
                <c:pt idx="15681">
                  <c:v>-1.6806722689075499E-3</c:v>
                </c:pt>
                <c:pt idx="15682">
                  <c:v>-1.6806722689075499E-3</c:v>
                </c:pt>
                <c:pt idx="15683">
                  <c:v>-1.6806722689075499E-3</c:v>
                </c:pt>
                <c:pt idx="15684">
                  <c:v>-1.6806722689075499E-3</c:v>
                </c:pt>
                <c:pt idx="15685">
                  <c:v>-1.6806722689075499E-3</c:v>
                </c:pt>
                <c:pt idx="15686">
                  <c:v>-1.6806722689075499E-3</c:v>
                </c:pt>
                <c:pt idx="15687">
                  <c:v>-1.6806722689075499E-3</c:v>
                </c:pt>
                <c:pt idx="15688">
                  <c:v>-1.6806722689075499E-3</c:v>
                </c:pt>
                <c:pt idx="15689">
                  <c:v>-1.6806722689075499E-3</c:v>
                </c:pt>
                <c:pt idx="15690">
                  <c:v>-1.6806722689075499E-3</c:v>
                </c:pt>
                <c:pt idx="15691">
                  <c:v>-1.6806722689075499E-3</c:v>
                </c:pt>
                <c:pt idx="15692">
                  <c:v>-1.6806722689075499E-3</c:v>
                </c:pt>
                <c:pt idx="15693">
                  <c:v>-1.6806722689075499E-3</c:v>
                </c:pt>
                <c:pt idx="15694">
                  <c:v>-1.6806722689075499E-3</c:v>
                </c:pt>
                <c:pt idx="15695">
                  <c:v>-1.6806722689075499E-3</c:v>
                </c:pt>
                <c:pt idx="15696">
                  <c:v>-1.6806722689075499E-3</c:v>
                </c:pt>
                <c:pt idx="15697">
                  <c:v>-1.6806722689075499E-3</c:v>
                </c:pt>
                <c:pt idx="15698">
                  <c:v>-1.6806722689075499E-3</c:v>
                </c:pt>
                <c:pt idx="15699">
                  <c:v>-1.6806722689075499E-3</c:v>
                </c:pt>
                <c:pt idx="15700">
                  <c:v>-1.6806722689075499E-3</c:v>
                </c:pt>
                <c:pt idx="15701">
                  <c:v>-8.4033613445377799E-4</c:v>
                </c:pt>
                <c:pt idx="15702">
                  <c:v>-8.4033613445377799E-4</c:v>
                </c:pt>
                <c:pt idx="15703">
                  <c:v>-8.4033613445377799E-4</c:v>
                </c:pt>
                <c:pt idx="15704">
                  <c:v>-8.4033613445377799E-4</c:v>
                </c:pt>
                <c:pt idx="15705">
                  <c:v>-8.4033613445377799E-4</c:v>
                </c:pt>
                <c:pt idx="15706">
                  <c:v>-8.4033613445377799E-4</c:v>
                </c:pt>
                <c:pt idx="15707">
                  <c:v>-8.4033613445377799E-4</c:v>
                </c:pt>
                <c:pt idx="15708">
                  <c:v>-8.4033613445377799E-4</c:v>
                </c:pt>
                <c:pt idx="15709">
                  <c:v>-8.4033613445377799E-4</c:v>
                </c:pt>
                <c:pt idx="15710">
                  <c:v>-8.4033613445377799E-4</c:v>
                </c:pt>
                <c:pt idx="15711">
                  <c:v>-8.4033613445377799E-4</c:v>
                </c:pt>
                <c:pt idx="15712">
                  <c:v>-8.4033613445377799E-4</c:v>
                </c:pt>
                <c:pt idx="15713">
                  <c:v>-8.4033613445377799E-4</c:v>
                </c:pt>
                <c:pt idx="15714">
                  <c:v>-8.4033613445377799E-4</c:v>
                </c:pt>
                <c:pt idx="15715">
                  <c:v>-8.4033613445377799E-4</c:v>
                </c:pt>
                <c:pt idx="15716">
                  <c:v>-8.4033613445377799E-4</c:v>
                </c:pt>
                <c:pt idx="15717">
                  <c:v>-8.4033613445377799E-4</c:v>
                </c:pt>
                <c:pt idx="15718">
                  <c:v>-8.4033613445377799E-4</c:v>
                </c:pt>
                <c:pt idx="15719">
                  <c:v>-8.4033613445377799E-4</c:v>
                </c:pt>
                <c:pt idx="15720">
                  <c:v>-8.4033613445377799E-4</c:v>
                </c:pt>
                <c:pt idx="15721">
                  <c:v>-8.4033613445377799E-4</c:v>
                </c:pt>
                <c:pt idx="15722">
                  <c:v>-8.4033613445377799E-4</c:v>
                </c:pt>
                <c:pt idx="15723">
                  <c:v>-8.4033613445377799E-4</c:v>
                </c:pt>
                <c:pt idx="15724">
                  <c:v>-8.4033613445377799E-4</c:v>
                </c:pt>
                <c:pt idx="15725">
                  <c:v>-8.4033613445377799E-4</c:v>
                </c:pt>
                <c:pt idx="15726">
                  <c:v>-8.4033613445377799E-4</c:v>
                </c:pt>
                <c:pt idx="15727">
                  <c:v>-8.4033613445377799E-4</c:v>
                </c:pt>
                <c:pt idx="15728">
                  <c:v>-8.4033613445377799E-4</c:v>
                </c:pt>
                <c:pt idx="15729">
                  <c:v>-8.4033613445377799E-4</c:v>
                </c:pt>
                <c:pt idx="15730">
                  <c:v>-8.4033613445377799E-4</c:v>
                </c:pt>
                <c:pt idx="15731">
                  <c:v>-8.4033613445377799E-4</c:v>
                </c:pt>
                <c:pt idx="15732">
                  <c:v>-8.4033613445377799E-4</c:v>
                </c:pt>
                <c:pt idx="15733">
                  <c:v>-8.4033613445377799E-4</c:v>
                </c:pt>
                <c:pt idx="15734">
                  <c:v>-8.4033613445377799E-4</c:v>
                </c:pt>
                <c:pt idx="15735">
                  <c:v>-8.4033613445377799E-4</c:v>
                </c:pt>
                <c:pt idx="15736">
                  <c:v>-8.4033613445377799E-4</c:v>
                </c:pt>
                <c:pt idx="15737">
                  <c:v>-8.4033613445377799E-4</c:v>
                </c:pt>
                <c:pt idx="15738">
                  <c:v>-8.4033613445377799E-4</c:v>
                </c:pt>
                <c:pt idx="15739">
                  <c:v>-8.4033613445377799E-4</c:v>
                </c:pt>
                <c:pt idx="15740">
                  <c:v>-8.4033613445377799E-4</c:v>
                </c:pt>
                <c:pt idx="15741">
                  <c:v>-8.4033613445377799E-4</c:v>
                </c:pt>
                <c:pt idx="15742">
                  <c:v>-8.4033613445377799E-4</c:v>
                </c:pt>
                <c:pt idx="15743">
                  <c:v>-8.4033613445377799E-4</c:v>
                </c:pt>
                <c:pt idx="15744">
                  <c:v>-8.4033613445377799E-4</c:v>
                </c:pt>
                <c:pt idx="15745">
                  <c:v>-8.4033613445377799E-4</c:v>
                </c:pt>
                <c:pt idx="15746">
                  <c:v>-8.4033613445377799E-4</c:v>
                </c:pt>
                <c:pt idx="15747">
                  <c:v>-8.4033613445377799E-4</c:v>
                </c:pt>
                <c:pt idx="15748">
                  <c:v>-8.4033613445377799E-4</c:v>
                </c:pt>
                <c:pt idx="15749">
                  <c:v>-8.4033613445377799E-4</c:v>
                </c:pt>
                <c:pt idx="15750">
                  <c:v>-8.4033613445377799E-4</c:v>
                </c:pt>
                <c:pt idx="15751">
                  <c:v>-8.4033613445377799E-4</c:v>
                </c:pt>
                <c:pt idx="15752">
                  <c:v>-8.4033613445377799E-4</c:v>
                </c:pt>
                <c:pt idx="15753">
                  <c:v>-8.4033613445377799E-4</c:v>
                </c:pt>
                <c:pt idx="15754">
                  <c:v>-8.4033613445377799E-4</c:v>
                </c:pt>
                <c:pt idx="15755">
                  <c:v>-8.4033613445377799E-4</c:v>
                </c:pt>
                <c:pt idx="15756">
                  <c:v>-8.4033613445377799E-4</c:v>
                </c:pt>
                <c:pt idx="15757">
                  <c:v>-8.4033613445377799E-4</c:v>
                </c:pt>
                <c:pt idx="15758">
                  <c:v>-8.4033613445377799E-4</c:v>
                </c:pt>
                <c:pt idx="15759">
                  <c:v>-8.4033613445377799E-4</c:v>
                </c:pt>
                <c:pt idx="15760">
                  <c:v>-8.4033613445377799E-4</c:v>
                </c:pt>
                <c:pt idx="15761">
                  <c:v>-8.4033613445377799E-4</c:v>
                </c:pt>
                <c:pt idx="15762">
                  <c:v>-8.4033613445377799E-4</c:v>
                </c:pt>
                <c:pt idx="15763">
                  <c:v>-8.4033613445377799E-4</c:v>
                </c:pt>
                <c:pt idx="15764">
                  <c:v>-8.4033613445377799E-4</c:v>
                </c:pt>
                <c:pt idx="15765">
                  <c:v>-8.4033613445377799E-4</c:v>
                </c:pt>
                <c:pt idx="15766">
                  <c:v>-8.4033613445377799E-4</c:v>
                </c:pt>
                <c:pt idx="15767">
                  <c:v>-8.4033613445377799E-4</c:v>
                </c:pt>
                <c:pt idx="15768">
                  <c:v>-8.4033613445377799E-4</c:v>
                </c:pt>
                <c:pt idx="15769">
                  <c:v>-8.4033613445377799E-4</c:v>
                </c:pt>
                <c:pt idx="15770">
                  <c:v>-1.6806722689075499E-3</c:v>
                </c:pt>
                <c:pt idx="15771">
                  <c:v>-1.6806722689075499E-3</c:v>
                </c:pt>
                <c:pt idx="15772">
                  <c:v>-1.6806722689075499E-3</c:v>
                </c:pt>
                <c:pt idx="15773">
                  <c:v>-1.6806722689075499E-3</c:v>
                </c:pt>
                <c:pt idx="15774">
                  <c:v>-1.6806722689075499E-3</c:v>
                </c:pt>
                <c:pt idx="15775">
                  <c:v>-1.6806722689075499E-3</c:v>
                </c:pt>
                <c:pt idx="15776">
                  <c:v>-1.6806722689075499E-3</c:v>
                </c:pt>
                <c:pt idx="15777">
                  <c:v>-1.6806722689075499E-3</c:v>
                </c:pt>
                <c:pt idx="15778">
                  <c:v>-1.6806722689075499E-3</c:v>
                </c:pt>
                <c:pt idx="15779">
                  <c:v>-1.6806722689075499E-3</c:v>
                </c:pt>
                <c:pt idx="15780">
                  <c:v>-1.6806722689075499E-3</c:v>
                </c:pt>
                <c:pt idx="15781">
                  <c:v>-1.6806722689075499E-3</c:v>
                </c:pt>
                <c:pt idx="15782">
                  <c:v>-1.6806722689075499E-3</c:v>
                </c:pt>
                <c:pt idx="15783">
                  <c:v>-1.6806722689075499E-3</c:v>
                </c:pt>
                <c:pt idx="15784">
                  <c:v>-1.6806722689075499E-3</c:v>
                </c:pt>
                <c:pt idx="15785">
                  <c:v>-1.6806722689075499E-3</c:v>
                </c:pt>
                <c:pt idx="15786">
                  <c:v>-1.6806722689075499E-3</c:v>
                </c:pt>
                <c:pt idx="15787">
                  <c:v>-1.6806722689075499E-3</c:v>
                </c:pt>
                <c:pt idx="15788">
                  <c:v>-1.6806722689075499E-3</c:v>
                </c:pt>
                <c:pt idx="15789">
                  <c:v>-1.6806722689075499E-3</c:v>
                </c:pt>
                <c:pt idx="15790">
                  <c:v>-8.4033613445377799E-4</c:v>
                </c:pt>
                <c:pt idx="15791">
                  <c:v>-8.4033613445377799E-4</c:v>
                </c:pt>
                <c:pt idx="15792">
                  <c:v>-8.4033613445377799E-4</c:v>
                </c:pt>
                <c:pt idx="15793">
                  <c:v>-8.4033613445377799E-4</c:v>
                </c:pt>
                <c:pt idx="15794">
                  <c:v>-8.4033613445377799E-4</c:v>
                </c:pt>
                <c:pt idx="15795">
                  <c:v>-8.4033613445377799E-4</c:v>
                </c:pt>
                <c:pt idx="15796">
                  <c:v>-8.4033613445377799E-4</c:v>
                </c:pt>
                <c:pt idx="15797">
                  <c:v>-8.4033613445377799E-4</c:v>
                </c:pt>
                <c:pt idx="15798">
                  <c:v>-8.4033613445377799E-4</c:v>
                </c:pt>
                <c:pt idx="15799">
                  <c:v>-8.4033613445377799E-4</c:v>
                </c:pt>
                <c:pt idx="15800">
                  <c:v>-8.4033613445377799E-4</c:v>
                </c:pt>
                <c:pt idx="15801">
                  <c:v>-8.4033613445377799E-4</c:v>
                </c:pt>
                <c:pt idx="15802">
                  <c:v>-8.4033613445377799E-4</c:v>
                </c:pt>
                <c:pt idx="15803">
                  <c:v>-8.4033613445377799E-4</c:v>
                </c:pt>
                <c:pt idx="15804">
                  <c:v>-8.4033613445377799E-4</c:v>
                </c:pt>
                <c:pt idx="15805">
                  <c:v>-8.4033613445377799E-4</c:v>
                </c:pt>
                <c:pt idx="15806">
                  <c:v>-8.4033613445377799E-4</c:v>
                </c:pt>
                <c:pt idx="15807">
                  <c:v>-8.4033613445377799E-4</c:v>
                </c:pt>
                <c:pt idx="15808">
                  <c:v>-8.4033613445377799E-4</c:v>
                </c:pt>
                <c:pt idx="15809">
                  <c:v>-8.4033613445377799E-4</c:v>
                </c:pt>
                <c:pt idx="15810">
                  <c:v>-8.4033613445377799E-4</c:v>
                </c:pt>
                <c:pt idx="15811">
                  <c:v>-8.4033613445377799E-4</c:v>
                </c:pt>
                <c:pt idx="15812">
                  <c:v>-8.4033613445377799E-4</c:v>
                </c:pt>
                <c:pt idx="15813">
                  <c:v>-8.4033613445377799E-4</c:v>
                </c:pt>
                <c:pt idx="15814">
                  <c:v>-8.4033613445377799E-4</c:v>
                </c:pt>
                <c:pt idx="15815">
                  <c:v>-8.4033613445377799E-4</c:v>
                </c:pt>
                <c:pt idx="15816">
                  <c:v>-8.4033613445377799E-4</c:v>
                </c:pt>
                <c:pt idx="15817">
                  <c:v>-8.4033613445377799E-4</c:v>
                </c:pt>
                <c:pt idx="15818">
                  <c:v>-8.4033613445377799E-4</c:v>
                </c:pt>
                <c:pt idx="15819">
                  <c:v>-8.4033613445377799E-4</c:v>
                </c:pt>
                <c:pt idx="15820">
                  <c:v>-8.4033613445377799E-4</c:v>
                </c:pt>
                <c:pt idx="15821">
                  <c:v>-8.4033613445377799E-4</c:v>
                </c:pt>
                <c:pt idx="15822">
                  <c:v>-1.6806722689076601E-3</c:v>
                </c:pt>
                <c:pt idx="15823">
                  <c:v>-1.6806722689076601E-3</c:v>
                </c:pt>
                <c:pt idx="15824">
                  <c:v>-1.6806722689076601E-3</c:v>
                </c:pt>
                <c:pt idx="15825">
                  <c:v>-1.6806722689076601E-3</c:v>
                </c:pt>
                <c:pt idx="15826">
                  <c:v>-1.6806722689076601E-3</c:v>
                </c:pt>
                <c:pt idx="15827">
                  <c:v>-1.6806722689076601E-3</c:v>
                </c:pt>
                <c:pt idx="15828">
                  <c:v>-1.6806722689076601E-3</c:v>
                </c:pt>
                <c:pt idx="15829">
                  <c:v>-1.6806722689076601E-3</c:v>
                </c:pt>
                <c:pt idx="15830">
                  <c:v>-1.6806722689076601E-3</c:v>
                </c:pt>
                <c:pt idx="15831">
                  <c:v>-1.6806722689076601E-3</c:v>
                </c:pt>
                <c:pt idx="15832">
                  <c:v>-1.6806722689076601E-3</c:v>
                </c:pt>
                <c:pt idx="15833">
                  <c:v>-1.6806722689076601E-3</c:v>
                </c:pt>
                <c:pt idx="15834">
                  <c:v>-1.6806722689076601E-3</c:v>
                </c:pt>
                <c:pt idx="15835">
                  <c:v>-1.6806722689076601E-3</c:v>
                </c:pt>
                <c:pt idx="15836">
                  <c:v>-1.6806722689076601E-3</c:v>
                </c:pt>
                <c:pt idx="15837">
                  <c:v>-1.6806722689076601E-3</c:v>
                </c:pt>
                <c:pt idx="15838">
                  <c:v>-1.6806722689076601E-3</c:v>
                </c:pt>
                <c:pt idx="15839">
                  <c:v>-1.6806722689076601E-3</c:v>
                </c:pt>
                <c:pt idx="15840">
                  <c:v>-1.6806722689076601E-3</c:v>
                </c:pt>
                <c:pt idx="15841">
                  <c:v>-1.6806722689076601E-3</c:v>
                </c:pt>
                <c:pt idx="15842">
                  <c:v>-1.6806722689076601E-3</c:v>
                </c:pt>
                <c:pt idx="15843">
                  <c:v>-1.6806722689076601E-3</c:v>
                </c:pt>
                <c:pt idx="15844">
                  <c:v>-1.6806722689076601E-3</c:v>
                </c:pt>
                <c:pt idx="15845">
                  <c:v>-1.6806722689076601E-3</c:v>
                </c:pt>
                <c:pt idx="15846">
                  <c:v>-1.6806722689076601E-3</c:v>
                </c:pt>
                <c:pt idx="15847">
                  <c:v>-2.5210084033614401E-3</c:v>
                </c:pt>
                <c:pt idx="15848">
                  <c:v>-2.5210084033614401E-3</c:v>
                </c:pt>
                <c:pt idx="15849">
                  <c:v>-2.5210084033614401E-3</c:v>
                </c:pt>
                <c:pt idx="15850">
                  <c:v>-2.5210084033614401E-3</c:v>
                </c:pt>
                <c:pt idx="15851">
                  <c:v>-2.5210084033614401E-3</c:v>
                </c:pt>
                <c:pt idx="15852">
                  <c:v>-2.5210084033614401E-3</c:v>
                </c:pt>
                <c:pt idx="15853">
                  <c:v>-2.5210084033614401E-3</c:v>
                </c:pt>
                <c:pt idx="15854">
                  <c:v>-2.5210084033614401E-3</c:v>
                </c:pt>
                <c:pt idx="15855">
                  <c:v>-2.5210084033614401E-3</c:v>
                </c:pt>
                <c:pt idx="15856">
                  <c:v>-2.5210084033614401E-3</c:v>
                </c:pt>
                <c:pt idx="15857">
                  <c:v>-2.5210084033614401E-3</c:v>
                </c:pt>
                <c:pt idx="15858">
                  <c:v>-2.5210084033614401E-3</c:v>
                </c:pt>
                <c:pt idx="15859">
                  <c:v>-2.5210084033614401E-3</c:v>
                </c:pt>
                <c:pt idx="15860">
                  <c:v>-2.5210084033614401E-3</c:v>
                </c:pt>
                <c:pt idx="15861">
                  <c:v>-2.5210084033614401E-3</c:v>
                </c:pt>
                <c:pt idx="15862">
                  <c:v>-2.5210084033614401E-3</c:v>
                </c:pt>
                <c:pt idx="15863">
                  <c:v>-2.5210084033614401E-3</c:v>
                </c:pt>
                <c:pt idx="15864">
                  <c:v>-2.5210084033614401E-3</c:v>
                </c:pt>
                <c:pt idx="15865">
                  <c:v>-2.5210084033614401E-3</c:v>
                </c:pt>
                <c:pt idx="15866">
                  <c:v>-2.5210084033614401E-3</c:v>
                </c:pt>
                <c:pt idx="15867">
                  <c:v>-2.5210084033614401E-3</c:v>
                </c:pt>
                <c:pt idx="15868">
                  <c:v>-2.5210084033614401E-3</c:v>
                </c:pt>
                <c:pt idx="15869">
                  <c:v>-2.5210084033614401E-3</c:v>
                </c:pt>
                <c:pt idx="15870">
                  <c:v>-2.5210084033614401E-3</c:v>
                </c:pt>
                <c:pt idx="15871">
                  <c:v>-2.5210084033614401E-3</c:v>
                </c:pt>
                <c:pt idx="15872">
                  <c:v>-2.5210084033614401E-3</c:v>
                </c:pt>
                <c:pt idx="15873">
                  <c:v>-2.5210084033614401E-3</c:v>
                </c:pt>
                <c:pt idx="15874">
                  <c:v>-2.5210084033614401E-3</c:v>
                </c:pt>
                <c:pt idx="15875">
                  <c:v>-2.5210084033614401E-3</c:v>
                </c:pt>
                <c:pt idx="15876">
                  <c:v>-2.5210084033614401E-3</c:v>
                </c:pt>
                <c:pt idx="15877">
                  <c:v>-2.5210084033614401E-3</c:v>
                </c:pt>
                <c:pt idx="15878">
                  <c:v>-2.5210084033614401E-3</c:v>
                </c:pt>
                <c:pt idx="15879">
                  <c:v>-2.5210084033614401E-3</c:v>
                </c:pt>
                <c:pt idx="15880">
                  <c:v>-2.5210084033614401E-3</c:v>
                </c:pt>
                <c:pt idx="15881">
                  <c:v>-2.5210084033614401E-3</c:v>
                </c:pt>
                <c:pt idx="15882">
                  <c:v>-2.5210084033614401E-3</c:v>
                </c:pt>
                <c:pt idx="15883">
                  <c:v>-3.3613445378152199E-3</c:v>
                </c:pt>
                <c:pt idx="15884">
                  <c:v>-3.3613445378152199E-3</c:v>
                </c:pt>
                <c:pt idx="15885">
                  <c:v>-3.3613445378152199E-3</c:v>
                </c:pt>
                <c:pt idx="15886">
                  <c:v>-3.3613445378152199E-3</c:v>
                </c:pt>
                <c:pt idx="15887">
                  <c:v>-3.3613445378152199E-3</c:v>
                </c:pt>
                <c:pt idx="15888">
                  <c:v>-3.3613445378152199E-3</c:v>
                </c:pt>
                <c:pt idx="15889">
                  <c:v>-3.3613445378152199E-3</c:v>
                </c:pt>
                <c:pt idx="15890">
                  <c:v>-3.3613445378152199E-3</c:v>
                </c:pt>
                <c:pt idx="15891">
                  <c:v>-3.3613445378152199E-3</c:v>
                </c:pt>
                <c:pt idx="15892">
                  <c:v>-3.3613445378152199E-3</c:v>
                </c:pt>
                <c:pt idx="15893">
                  <c:v>-3.3613445378152199E-3</c:v>
                </c:pt>
                <c:pt idx="15894">
                  <c:v>-3.3613445378152199E-3</c:v>
                </c:pt>
                <c:pt idx="15895">
                  <c:v>-3.3613445378152199E-3</c:v>
                </c:pt>
                <c:pt idx="15896">
                  <c:v>-3.3613445378152199E-3</c:v>
                </c:pt>
                <c:pt idx="15897">
                  <c:v>-3.3613445378152199E-3</c:v>
                </c:pt>
                <c:pt idx="15898">
                  <c:v>-3.3613445378152199E-3</c:v>
                </c:pt>
                <c:pt idx="15899">
                  <c:v>-3.3613445378152199E-3</c:v>
                </c:pt>
                <c:pt idx="15900">
                  <c:v>-3.3613445378152199E-3</c:v>
                </c:pt>
                <c:pt idx="15901">
                  <c:v>-3.3613445378152199E-3</c:v>
                </c:pt>
                <c:pt idx="15902">
                  <c:v>-3.3613445378152199E-3</c:v>
                </c:pt>
                <c:pt idx="15903">
                  <c:v>-3.3613445378152199E-3</c:v>
                </c:pt>
                <c:pt idx="15904">
                  <c:v>-3.3613445378152199E-3</c:v>
                </c:pt>
                <c:pt idx="15905">
                  <c:v>-3.3613445378152199E-3</c:v>
                </c:pt>
                <c:pt idx="15906">
                  <c:v>-3.3613445378152199E-3</c:v>
                </c:pt>
                <c:pt idx="15907">
                  <c:v>-3.3613445378152199E-3</c:v>
                </c:pt>
                <c:pt idx="15908">
                  <c:v>-3.3613445378152199E-3</c:v>
                </c:pt>
                <c:pt idx="15909">
                  <c:v>-3.3613445378152199E-3</c:v>
                </c:pt>
                <c:pt idx="15910">
                  <c:v>-3.3613445378152199E-3</c:v>
                </c:pt>
                <c:pt idx="15911">
                  <c:v>-3.3613445378152199E-3</c:v>
                </c:pt>
                <c:pt idx="15912">
                  <c:v>-3.3613445378152199E-3</c:v>
                </c:pt>
                <c:pt idx="15913">
                  <c:v>-3.3613445378152199E-3</c:v>
                </c:pt>
                <c:pt idx="15914">
                  <c:v>-3.3613445378152199E-3</c:v>
                </c:pt>
                <c:pt idx="15915">
                  <c:v>-3.3613445378152199E-3</c:v>
                </c:pt>
                <c:pt idx="15916">
                  <c:v>-3.3613445378152199E-3</c:v>
                </c:pt>
                <c:pt idx="15917">
                  <c:v>-3.3613445378152199E-3</c:v>
                </c:pt>
                <c:pt idx="15918">
                  <c:v>-3.3613445378152199E-3</c:v>
                </c:pt>
                <c:pt idx="15919">
                  <c:v>-3.3613445378152199E-3</c:v>
                </c:pt>
                <c:pt idx="15920">
                  <c:v>-3.3613445378152199E-3</c:v>
                </c:pt>
                <c:pt idx="15921">
                  <c:v>-3.3613445378152199E-3</c:v>
                </c:pt>
                <c:pt idx="15922">
                  <c:v>-3.3613445378152199E-3</c:v>
                </c:pt>
                <c:pt idx="15923">
                  <c:v>-3.3613445378152199E-3</c:v>
                </c:pt>
                <c:pt idx="15924">
                  <c:v>-3.3613445378152199E-3</c:v>
                </c:pt>
                <c:pt idx="15925">
                  <c:v>-3.3613445378152199E-3</c:v>
                </c:pt>
                <c:pt idx="15926">
                  <c:v>-3.3613445378152199E-3</c:v>
                </c:pt>
                <c:pt idx="15927">
                  <c:v>-3.3613445378152199E-3</c:v>
                </c:pt>
                <c:pt idx="15928">
                  <c:v>-4.2016806722690002E-3</c:v>
                </c:pt>
                <c:pt idx="15929">
                  <c:v>-4.2016806722690002E-3</c:v>
                </c:pt>
                <c:pt idx="15930">
                  <c:v>-4.2016806722690002E-3</c:v>
                </c:pt>
                <c:pt idx="15931">
                  <c:v>-4.2016806722690002E-3</c:v>
                </c:pt>
                <c:pt idx="15932">
                  <c:v>-4.2016806722690002E-3</c:v>
                </c:pt>
                <c:pt idx="15933">
                  <c:v>-5.0420168067227796E-3</c:v>
                </c:pt>
                <c:pt idx="15934">
                  <c:v>-5.0420168067227796E-3</c:v>
                </c:pt>
                <c:pt idx="15935">
                  <c:v>-5.0420168067227796E-3</c:v>
                </c:pt>
                <c:pt idx="15936">
                  <c:v>-5.0420168067227796E-3</c:v>
                </c:pt>
                <c:pt idx="15937">
                  <c:v>-5.0420168067227796E-3</c:v>
                </c:pt>
                <c:pt idx="15938">
                  <c:v>-4.2016806722690002E-3</c:v>
                </c:pt>
                <c:pt idx="15939">
                  <c:v>-4.2016806722690002E-3</c:v>
                </c:pt>
                <c:pt idx="15940">
                  <c:v>-4.2016806722690002E-3</c:v>
                </c:pt>
                <c:pt idx="15941">
                  <c:v>-4.2016806722690002E-3</c:v>
                </c:pt>
                <c:pt idx="15942">
                  <c:v>-4.2016806722690002E-3</c:v>
                </c:pt>
                <c:pt idx="15943">
                  <c:v>-4.2016806722690002E-3</c:v>
                </c:pt>
                <c:pt idx="15944">
                  <c:v>-4.2016806722690002E-3</c:v>
                </c:pt>
                <c:pt idx="15945">
                  <c:v>-4.2016806722690002E-3</c:v>
                </c:pt>
                <c:pt idx="15946">
                  <c:v>-4.2016806722690002E-3</c:v>
                </c:pt>
                <c:pt idx="15947">
                  <c:v>-4.2016806722690002E-3</c:v>
                </c:pt>
                <c:pt idx="15948">
                  <c:v>-4.2016806722690002E-3</c:v>
                </c:pt>
                <c:pt idx="15949">
                  <c:v>-4.2016806722690002E-3</c:v>
                </c:pt>
                <c:pt idx="15950">
                  <c:v>-4.2016806722690002E-3</c:v>
                </c:pt>
                <c:pt idx="15951">
                  <c:v>-4.2016806722690002E-3</c:v>
                </c:pt>
                <c:pt idx="15952">
                  <c:v>-4.2016806722690002E-3</c:v>
                </c:pt>
                <c:pt idx="15953">
                  <c:v>-4.2016806722690002E-3</c:v>
                </c:pt>
                <c:pt idx="15954">
                  <c:v>-4.2016806722690002E-3</c:v>
                </c:pt>
                <c:pt idx="15955">
                  <c:v>-4.2016806722690002E-3</c:v>
                </c:pt>
                <c:pt idx="15956">
                  <c:v>-4.2016806722690002E-3</c:v>
                </c:pt>
                <c:pt idx="15957">
                  <c:v>-3.3613445378151102E-3</c:v>
                </c:pt>
                <c:pt idx="15958">
                  <c:v>-3.3613445378151102E-3</c:v>
                </c:pt>
                <c:pt idx="15959">
                  <c:v>-3.3613445378151102E-3</c:v>
                </c:pt>
                <c:pt idx="15960">
                  <c:v>-3.3613445378151102E-3</c:v>
                </c:pt>
                <c:pt idx="15961">
                  <c:v>-3.3613445378151102E-3</c:v>
                </c:pt>
                <c:pt idx="15962">
                  <c:v>-3.3613445378151102E-3</c:v>
                </c:pt>
                <c:pt idx="15963">
                  <c:v>-3.3613445378151102E-3</c:v>
                </c:pt>
                <c:pt idx="15964">
                  <c:v>-3.3613445378151102E-3</c:v>
                </c:pt>
                <c:pt idx="15965">
                  <c:v>-3.3613445378151102E-3</c:v>
                </c:pt>
                <c:pt idx="15966">
                  <c:v>-3.3613445378151102E-3</c:v>
                </c:pt>
                <c:pt idx="15967">
                  <c:v>-3.3613445378151102E-3</c:v>
                </c:pt>
                <c:pt idx="15968">
                  <c:v>-3.3613445378151102E-3</c:v>
                </c:pt>
                <c:pt idx="15969">
                  <c:v>-3.3613445378151102E-3</c:v>
                </c:pt>
                <c:pt idx="15970">
                  <c:v>-3.3613445378151102E-3</c:v>
                </c:pt>
                <c:pt idx="15971">
                  <c:v>-3.3613445378151102E-3</c:v>
                </c:pt>
                <c:pt idx="15972">
                  <c:v>-3.3613445378151102E-3</c:v>
                </c:pt>
                <c:pt idx="15973">
                  <c:v>-3.3613445378151102E-3</c:v>
                </c:pt>
                <c:pt idx="15974">
                  <c:v>-3.3613445378151102E-3</c:v>
                </c:pt>
                <c:pt idx="15975">
                  <c:v>-3.3613445378151102E-3</c:v>
                </c:pt>
                <c:pt idx="15976">
                  <c:v>-3.3613445378151102E-3</c:v>
                </c:pt>
                <c:pt idx="15977">
                  <c:v>-3.3613445378151102E-3</c:v>
                </c:pt>
                <c:pt idx="15978">
                  <c:v>-3.3613445378151102E-3</c:v>
                </c:pt>
                <c:pt idx="15979">
                  <c:v>-3.3613445378151102E-3</c:v>
                </c:pt>
                <c:pt idx="15980">
                  <c:v>-3.3613445378151102E-3</c:v>
                </c:pt>
                <c:pt idx="15981">
                  <c:v>-3.3613445378151102E-3</c:v>
                </c:pt>
                <c:pt idx="15982">
                  <c:v>-3.3613445378151102E-3</c:v>
                </c:pt>
                <c:pt idx="15983">
                  <c:v>-3.3613445378151102E-3</c:v>
                </c:pt>
                <c:pt idx="15984">
                  <c:v>-3.3613445378151102E-3</c:v>
                </c:pt>
                <c:pt idx="15985">
                  <c:v>-3.3613445378151102E-3</c:v>
                </c:pt>
                <c:pt idx="15986">
                  <c:v>-3.3613445378151102E-3</c:v>
                </c:pt>
                <c:pt idx="15987">
                  <c:v>-3.3613445378151102E-3</c:v>
                </c:pt>
                <c:pt idx="15988">
                  <c:v>-3.3613445378151102E-3</c:v>
                </c:pt>
                <c:pt idx="15989">
                  <c:v>-4.20168067226889E-3</c:v>
                </c:pt>
                <c:pt idx="15990">
                  <c:v>-4.20168067226889E-3</c:v>
                </c:pt>
                <c:pt idx="15991">
                  <c:v>-4.20168067226889E-3</c:v>
                </c:pt>
                <c:pt idx="15992">
                  <c:v>-4.20168067226889E-3</c:v>
                </c:pt>
                <c:pt idx="15993">
                  <c:v>-4.20168067226889E-3</c:v>
                </c:pt>
                <c:pt idx="15994">
                  <c:v>-4.20168067226889E-3</c:v>
                </c:pt>
                <c:pt idx="15995">
                  <c:v>-4.20168067226889E-3</c:v>
                </c:pt>
                <c:pt idx="15996">
                  <c:v>-4.20168067226889E-3</c:v>
                </c:pt>
                <c:pt idx="15997">
                  <c:v>-4.20168067226889E-3</c:v>
                </c:pt>
                <c:pt idx="15998">
                  <c:v>-4.20168067226889E-3</c:v>
                </c:pt>
                <c:pt idx="15999">
                  <c:v>-4.20168067226889E-3</c:v>
                </c:pt>
                <c:pt idx="16000">
                  <c:v>-4.20168067226889E-3</c:v>
                </c:pt>
                <c:pt idx="16001">
                  <c:v>-4.20168067226889E-3</c:v>
                </c:pt>
                <c:pt idx="16002">
                  <c:v>-4.20168067226889E-3</c:v>
                </c:pt>
                <c:pt idx="16003">
                  <c:v>-4.20168067226889E-3</c:v>
                </c:pt>
                <c:pt idx="16004">
                  <c:v>-4.20168067226889E-3</c:v>
                </c:pt>
                <c:pt idx="16005">
                  <c:v>-4.20168067226889E-3</c:v>
                </c:pt>
                <c:pt idx="16006">
                  <c:v>-5.0420168067226703E-3</c:v>
                </c:pt>
                <c:pt idx="16007">
                  <c:v>-5.0420168067226703E-3</c:v>
                </c:pt>
                <c:pt idx="16008">
                  <c:v>-5.0420168067226703E-3</c:v>
                </c:pt>
                <c:pt idx="16009">
                  <c:v>-5.0420168067226703E-3</c:v>
                </c:pt>
                <c:pt idx="16010">
                  <c:v>-5.0420168067226703E-3</c:v>
                </c:pt>
                <c:pt idx="16011">
                  <c:v>-5.0420168067226703E-3</c:v>
                </c:pt>
                <c:pt idx="16012">
                  <c:v>-5.0420168067226703E-3</c:v>
                </c:pt>
                <c:pt idx="16013">
                  <c:v>-5.0420168067226703E-3</c:v>
                </c:pt>
                <c:pt idx="16014">
                  <c:v>-5.0420168067226703E-3</c:v>
                </c:pt>
                <c:pt idx="16015">
                  <c:v>-5.0420168067226703E-3</c:v>
                </c:pt>
                <c:pt idx="16016">
                  <c:v>-5.0420168067226703E-3</c:v>
                </c:pt>
                <c:pt idx="16017">
                  <c:v>-5.0420168067226703E-3</c:v>
                </c:pt>
                <c:pt idx="16018">
                  <c:v>-5.0420168067226703E-3</c:v>
                </c:pt>
                <c:pt idx="16019">
                  <c:v>-5.0420168067226703E-3</c:v>
                </c:pt>
                <c:pt idx="16020">
                  <c:v>-5.0420168067226703E-3</c:v>
                </c:pt>
                <c:pt idx="16021">
                  <c:v>-5.0420168067226703E-3</c:v>
                </c:pt>
                <c:pt idx="16022">
                  <c:v>-5.0420168067226703E-3</c:v>
                </c:pt>
                <c:pt idx="16023">
                  <c:v>-5.0420168067226703E-3</c:v>
                </c:pt>
                <c:pt idx="16024">
                  <c:v>-5.0420168067226703E-3</c:v>
                </c:pt>
                <c:pt idx="16025">
                  <c:v>-5.0420168067226703E-3</c:v>
                </c:pt>
                <c:pt idx="16026">
                  <c:v>-5.0420168067226703E-3</c:v>
                </c:pt>
                <c:pt idx="16027">
                  <c:v>-5.0420168067226703E-3</c:v>
                </c:pt>
                <c:pt idx="16028">
                  <c:v>-5.0420168067226703E-3</c:v>
                </c:pt>
                <c:pt idx="16029">
                  <c:v>-5.0420168067226703E-3</c:v>
                </c:pt>
                <c:pt idx="16030">
                  <c:v>-5.0420168067226703E-3</c:v>
                </c:pt>
                <c:pt idx="16031">
                  <c:v>-5.0420168067226703E-3</c:v>
                </c:pt>
                <c:pt idx="16032">
                  <c:v>-5.0420168067226703E-3</c:v>
                </c:pt>
                <c:pt idx="16033">
                  <c:v>-5.0420168067226703E-3</c:v>
                </c:pt>
                <c:pt idx="16034">
                  <c:v>-5.0420168067226703E-3</c:v>
                </c:pt>
                <c:pt idx="16035">
                  <c:v>-5.0420168067226703E-3</c:v>
                </c:pt>
                <c:pt idx="16036">
                  <c:v>-5.0420168067226703E-3</c:v>
                </c:pt>
                <c:pt idx="16037">
                  <c:v>-5.0420168067226703E-3</c:v>
                </c:pt>
                <c:pt idx="16038">
                  <c:v>-5.0420168067226703E-3</c:v>
                </c:pt>
                <c:pt idx="16039">
                  <c:v>-5.0420168067226703E-3</c:v>
                </c:pt>
                <c:pt idx="16040">
                  <c:v>-5.0420168067226703E-3</c:v>
                </c:pt>
                <c:pt idx="16041">
                  <c:v>-5.0420168067226703E-3</c:v>
                </c:pt>
                <c:pt idx="16042">
                  <c:v>-5.0420168067226703E-3</c:v>
                </c:pt>
                <c:pt idx="16043">
                  <c:v>-5.0420168067226703E-3</c:v>
                </c:pt>
                <c:pt idx="16044">
                  <c:v>-5.0420168067226703E-3</c:v>
                </c:pt>
                <c:pt idx="16045">
                  <c:v>-5.0420168067226703E-3</c:v>
                </c:pt>
                <c:pt idx="16046">
                  <c:v>-5.8823529411764497E-3</c:v>
                </c:pt>
                <c:pt idx="16047">
                  <c:v>-5.8823529411764497E-3</c:v>
                </c:pt>
                <c:pt idx="16048">
                  <c:v>-5.8823529411764497E-3</c:v>
                </c:pt>
                <c:pt idx="16049">
                  <c:v>-5.8823529411764497E-3</c:v>
                </c:pt>
                <c:pt idx="16050">
                  <c:v>-5.8823529411764497E-3</c:v>
                </c:pt>
                <c:pt idx="16051">
                  <c:v>-5.8823529411764497E-3</c:v>
                </c:pt>
                <c:pt idx="16052">
                  <c:v>-5.8823529411764497E-3</c:v>
                </c:pt>
                <c:pt idx="16053">
                  <c:v>-5.8823529411764497E-3</c:v>
                </c:pt>
                <c:pt idx="16054">
                  <c:v>-5.8823529411764497E-3</c:v>
                </c:pt>
                <c:pt idx="16055">
                  <c:v>-5.8823529411764497E-3</c:v>
                </c:pt>
                <c:pt idx="16056">
                  <c:v>-5.8823529411764497E-3</c:v>
                </c:pt>
                <c:pt idx="16057">
                  <c:v>-5.8823529411764497E-3</c:v>
                </c:pt>
                <c:pt idx="16058">
                  <c:v>-5.0420168067226703E-3</c:v>
                </c:pt>
                <c:pt idx="16059">
                  <c:v>-5.0420168067226703E-3</c:v>
                </c:pt>
                <c:pt idx="16060">
                  <c:v>-5.0420168067226703E-3</c:v>
                </c:pt>
                <c:pt idx="16061">
                  <c:v>-5.0420168067226703E-3</c:v>
                </c:pt>
                <c:pt idx="16062">
                  <c:v>-5.0420168067226703E-3</c:v>
                </c:pt>
                <c:pt idx="16063">
                  <c:v>-5.0420168067226703E-3</c:v>
                </c:pt>
                <c:pt idx="16064">
                  <c:v>-5.0420168067226703E-3</c:v>
                </c:pt>
                <c:pt idx="16065">
                  <c:v>-5.0420168067226703E-3</c:v>
                </c:pt>
                <c:pt idx="16066">
                  <c:v>-5.0420168067226703E-3</c:v>
                </c:pt>
                <c:pt idx="16067">
                  <c:v>-5.0420168067226703E-3</c:v>
                </c:pt>
                <c:pt idx="16068">
                  <c:v>-5.0420168067226703E-3</c:v>
                </c:pt>
                <c:pt idx="16069">
                  <c:v>-5.0420168067226703E-3</c:v>
                </c:pt>
                <c:pt idx="16070">
                  <c:v>-5.0420168067226703E-3</c:v>
                </c:pt>
                <c:pt idx="16071">
                  <c:v>-5.0420168067226703E-3</c:v>
                </c:pt>
                <c:pt idx="16072">
                  <c:v>-5.0420168067226703E-3</c:v>
                </c:pt>
                <c:pt idx="16073">
                  <c:v>-5.0420168067226703E-3</c:v>
                </c:pt>
                <c:pt idx="16074">
                  <c:v>-5.0420168067226703E-3</c:v>
                </c:pt>
                <c:pt idx="16075">
                  <c:v>-5.0420168067226703E-3</c:v>
                </c:pt>
                <c:pt idx="16076">
                  <c:v>-4.20168067226889E-3</c:v>
                </c:pt>
                <c:pt idx="16077">
                  <c:v>-4.20168067226889E-3</c:v>
                </c:pt>
                <c:pt idx="16078">
                  <c:v>-4.20168067226889E-3</c:v>
                </c:pt>
                <c:pt idx="16079">
                  <c:v>-4.20168067226889E-3</c:v>
                </c:pt>
                <c:pt idx="16080">
                  <c:v>-5.0420168067226703E-3</c:v>
                </c:pt>
                <c:pt idx="16081">
                  <c:v>-5.0420168067226703E-3</c:v>
                </c:pt>
                <c:pt idx="16082">
                  <c:v>-5.0420168067226703E-3</c:v>
                </c:pt>
                <c:pt idx="16083">
                  <c:v>-5.0420168067226703E-3</c:v>
                </c:pt>
                <c:pt idx="16084">
                  <c:v>-5.0420168067226703E-3</c:v>
                </c:pt>
                <c:pt idx="16085">
                  <c:v>-5.0420168067226703E-3</c:v>
                </c:pt>
                <c:pt idx="16086">
                  <c:v>-5.0420168067226703E-3</c:v>
                </c:pt>
                <c:pt idx="16087">
                  <c:v>-5.0420168067226703E-3</c:v>
                </c:pt>
                <c:pt idx="16088">
                  <c:v>-5.0420168067226703E-3</c:v>
                </c:pt>
                <c:pt idx="16089">
                  <c:v>-5.0420168067226703E-3</c:v>
                </c:pt>
                <c:pt idx="16090">
                  <c:v>-5.0420168067226703E-3</c:v>
                </c:pt>
                <c:pt idx="16091">
                  <c:v>-5.0420168067226703E-3</c:v>
                </c:pt>
                <c:pt idx="16092">
                  <c:v>-5.0420168067226703E-3</c:v>
                </c:pt>
                <c:pt idx="16093">
                  <c:v>-5.0420168067226703E-3</c:v>
                </c:pt>
                <c:pt idx="16094">
                  <c:v>-5.0420168067226703E-3</c:v>
                </c:pt>
                <c:pt idx="16095">
                  <c:v>-5.0420168067226703E-3</c:v>
                </c:pt>
                <c:pt idx="16096">
                  <c:v>-5.0420168067226703E-3</c:v>
                </c:pt>
                <c:pt idx="16097">
                  <c:v>-5.0420168067226703E-3</c:v>
                </c:pt>
                <c:pt idx="16098">
                  <c:v>-5.0420168067226703E-3</c:v>
                </c:pt>
                <c:pt idx="16099">
                  <c:v>-5.0420168067226703E-3</c:v>
                </c:pt>
                <c:pt idx="16100">
                  <c:v>-5.0420168067226703E-3</c:v>
                </c:pt>
                <c:pt idx="16101">
                  <c:v>-5.0420168067226703E-3</c:v>
                </c:pt>
                <c:pt idx="16102">
                  <c:v>-5.0420168067226703E-3</c:v>
                </c:pt>
                <c:pt idx="16103">
                  <c:v>-5.0420168067226703E-3</c:v>
                </c:pt>
                <c:pt idx="16104">
                  <c:v>-5.0420168067226703E-3</c:v>
                </c:pt>
                <c:pt idx="16105">
                  <c:v>-5.0420168067226703E-3</c:v>
                </c:pt>
                <c:pt idx="16106">
                  <c:v>-5.0420168067226703E-3</c:v>
                </c:pt>
                <c:pt idx="16107">
                  <c:v>-5.0420168067226703E-3</c:v>
                </c:pt>
                <c:pt idx="16108">
                  <c:v>-5.0420168067226703E-3</c:v>
                </c:pt>
                <c:pt idx="16109">
                  <c:v>-5.0420168067226703E-3</c:v>
                </c:pt>
                <c:pt idx="16110">
                  <c:v>-5.0420168067226703E-3</c:v>
                </c:pt>
                <c:pt idx="16111">
                  <c:v>-5.0420168067226703E-3</c:v>
                </c:pt>
                <c:pt idx="16112">
                  <c:v>-5.0420168067226703E-3</c:v>
                </c:pt>
                <c:pt idx="16113">
                  <c:v>-5.0420168067226703E-3</c:v>
                </c:pt>
                <c:pt idx="16114">
                  <c:v>-5.0420168067226703E-3</c:v>
                </c:pt>
                <c:pt idx="16115">
                  <c:v>-5.0420168067226703E-3</c:v>
                </c:pt>
                <c:pt idx="16116">
                  <c:v>-5.0420168067226703E-3</c:v>
                </c:pt>
                <c:pt idx="16117">
                  <c:v>-5.0420168067226703E-3</c:v>
                </c:pt>
                <c:pt idx="16118">
                  <c:v>-5.0420168067226703E-3</c:v>
                </c:pt>
                <c:pt idx="16119">
                  <c:v>-5.0420168067226703E-3</c:v>
                </c:pt>
                <c:pt idx="16120">
                  <c:v>-4.20168067226889E-3</c:v>
                </c:pt>
                <c:pt idx="16121">
                  <c:v>-4.20168067226889E-3</c:v>
                </c:pt>
                <c:pt idx="16122">
                  <c:v>-4.20168067226889E-3</c:v>
                </c:pt>
                <c:pt idx="16123">
                  <c:v>-4.20168067226889E-3</c:v>
                </c:pt>
                <c:pt idx="16124">
                  <c:v>-4.20168067226889E-3</c:v>
                </c:pt>
                <c:pt idx="16125">
                  <c:v>-4.20168067226889E-3</c:v>
                </c:pt>
                <c:pt idx="16126">
                  <c:v>-4.20168067226889E-3</c:v>
                </c:pt>
                <c:pt idx="16127">
                  <c:v>-4.20168067226889E-3</c:v>
                </c:pt>
                <c:pt idx="16128">
                  <c:v>-4.20168067226889E-3</c:v>
                </c:pt>
                <c:pt idx="16129">
                  <c:v>-4.20168067226889E-3</c:v>
                </c:pt>
                <c:pt idx="16130">
                  <c:v>-4.20168067226889E-3</c:v>
                </c:pt>
                <c:pt idx="16131">
                  <c:v>-4.20168067226889E-3</c:v>
                </c:pt>
                <c:pt idx="16132">
                  <c:v>-4.20168067226889E-3</c:v>
                </c:pt>
                <c:pt idx="16133">
                  <c:v>-4.20168067226889E-3</c:v>
                </c:pt>
                <c:pt idx="16134">
                  <c:v>-4.20168067226889E-3</c:v>
                </c:pt>
                <c:pt idx="16135">
                  <c:v>-4.20168067226889E-3</c:v>
                </c:pt>
                <c:pt idx="16136">
                  <c:v>-4.20168067226889E-3</c:v>
                </c:pt>
                <c:pt idx="16137">
                  <c:v>-4.20168067226889E-3</c:v>
                </c:pt>
                <c:pt idx="16138">
                  <c:v>-4.20168067226889E-3</c:v>
                </c:pt>
                <c:pt idx="16139">
                  <c:v>-5.0420168067226703E-3</c:v>
                </c:pt>
                <c:pt idx="16140">
                  <c:v>-5.0420168067226703E-3</c:v>
                </c:pt>
                <c:pt idx="16141">
                  <c:v>-5.0420168067226703E-3</c:v>
                </c:pt>
                <c:pt idx="16142">
                  <c:v>-5.0420168067226703E-3</c:v>
                </c:pt>
                <c:pt idx="16143">
                  <c:v>-5.0420168067226703E-3</c:v>
                </c:pt>
                <c:pt idx="16144">
                  <c:v>-5.0420168067226703E-3</c:v>
                </c:pt>
                <c:pt idx="16145">
                  <c:v>-5.0420168067226703E-3</c:v>
                </c:pt>
                <c:pt idx="16146">
                  <c:v>-5.0420168067226703E-3</c:v>
                </c:pt>
                <c:pt idx="16147">
                  <c:v>-5.0420168067226703E-3</c:v>
                </c:pt>
                <c:pt idx="16148">
                  <c:v>-5.0420168067226703E-3</c:v>
                </c:pt>
                <c:pt idx="16149">
                  <c:v>-5.0420168067226703E-3</c:v>
                </c:pt>
                <c:pt idx="16150">
                  <c:v>-5.0420168067226703E-3</c:v>
                </c:pt>
                <c:pt idx="16151">
                  <c:v>-5.0420168067226703E-3</c:v>
                </c:pt>
                <c:pt idx="16152">
                  <c:v>-5.0420168067226703E-3</c:v>
                </c:pt>
                <c:pt idx="16153">
                  <c:v>-5.0420168067226703E-3</c:v>
                </c:pt>
                <c:pt idx="16154">
                  <c:v>-5.0420168067226703E-3</c:v>
                </c:pt>
                <c:pt idx="16155">
                  <c:v>-5.0420168067226703E-3</c:v>
                </c:pt>
                <c:pt idx="16156">
                  <c:v>-4.20168067226889E-3</c:v>
                </c:pt>
                <c:pt idx="16157">
                  <c:v>-5.0420168067226703E-3</c:v>
                </c:pt>
                <c:pt idx="16158">
                  <c:v>-5.0420168067226703E-3</c:v>
                </c:pt>
                <c:pt idx="16159">
                  <c:v>-5.0420168067226703E-3</c:v>
                </c:pt>
                <c:pt idx="16160">
                  <c:v>-5.0420168067226703E-3</c:v>
                </c:pt>
                <c:pt idx="16161">
                  <c:v>-5.0420168067226703E-3</c:v>
                </c:pt>
                <c:pt idx="16162">
                  <c:v>-5.0420168067226703E-3</c:v>
                </c:pt>
                <c:pt idx="16163">
                  <c:v>-5.0420168067226703E-3</c:v>
                </c:pt>
                <c:pt idx="16164">
                  <c:v>-5.0420168067226703E-3</c:v>
                </c:pt>
                <c:pt idx="16165">
                  <c:v>-5.0420168067226703E-3</c:v>
                </c:pt>
                <c:pt idx="16166">
                  <c:v>-5.0420168067226703E-3</c:v>
                </c:pt>
                <c:pt idx="16167">
                  <c:v>-5.0420168067226703E-3</c:v>
                </c:pt>
                <c:pt idx="16168">
                  <c:v>-5.8823529411764497E-3</c:v>
                </c:pt>
                <c:pt idx="16169">
                  <c:v>-5.8823529411764497E-3</c:v>
                </c:pt>
                <c:pt idx="16170">
                  <c:v>-5.8823529411764497E-3</c:v>
                </c:pt>
                <c:pt idx="16171">
                  <c:v>-5.8823529411764497E-3</c:v>
                </c:pt>
                <c:pt idx="16172">
                  <c:v>-5.8823529411764497E-3</c:v>
                </c:pt>
                <c:pt idx="16173">
                  <c:v>-5.8823529411764497E-3</c:v>
                </c:pt>
                <c:pt idx="16174">
                  <c:v>-5.8823529411764497E-3</c:v>
                </c:pt>
                <c:pt idx="16175">
                  <c:v>-5.8823529411764497E-3</c:v>
                </c:pt>
                <c:pt idx="16176">
                  <c:v>-5.8823529411764497E-3</c:v>
                </c:pt>
                <c:pt idx="16177">
                  <c:v>-5.8823529411764497E-3</c:v>
                </c:pt>
                <c:pt idx="16178">
                  <c:v>-5.8823529411764497E-3</c:v>
                </c:pt>
                <c:pt idx="16179">
                  <c:v>-5.8823529411764497E-3</c:v>
                </c:pt>
                <c:pt idx="16180">
                  <c:v>-5.8823529411764497E-3</c:v>
                </c:pt>
                <c:pt idx="16181">
                  <c:v>-5.8823529411764497E-3</c:v>
                </c:pt>
                <c:pt idx="16182">
                  <c:v>-5.8823529411764497E-3</c:v>
                </c:pt>
                <c:pt idx="16183">
                  <c:v>-5.8823529411764497E-3</c:v>
                </c:pt>
                <c:pt idx="16184">
                  <c:v>-5.8823529411764497E-3</c:v>
                </c:pt>
                <c:pt idx="16185">
                  <c:v>-5.8823529411764497E-3</c:v>
                </c:pt>
                <c:pt idx="16186">
                  <c:v>-5.8823529411764497E-3</c:v>
                </c:pt>
                <c:pt idx="16187">
                  <c:v>-5.8823529411764497E-3</c:v>
                </c:pt>
                <c:pt idx="16188">
                  <c:v>-5.8823529411764497E-3</c:v>
                </c:pt>
                <c:pt idx="16189">
                  <c:v>-5.8823529411764497E-3</c:v>
                </c:pt>
                <c:pt idx="16190">
                  <c:v>-5.8823529411764497E-3</c:v>
                </c:pt>
                <c:pt idx="16191">
                  <c:v>-5.8823529411764497E-3</c:v>
                </c:pt>
                <c:pt idx="16192">
                  <c:v>-5.8823529411764497E-3</c:v>
                </c:pt>
                <c:pt idx="16193">
                  <c:v>-5.8823529411764497E-3</c:v>
                </c:pt>
                <c:pt idx="16194">
                  <c:v>-5.8823529411764497E-3</c:v>
                </c:pt>
                <c:pt idx="16195">
                  <c:v>-5.8823529411764497E-3</c:v>
                </c:pt>
                <c:pt idx="16196">
                  <c:v>-6.7226890756302204E-3</c:v>
                </c:pt>
                <c:pt idx="16197">
                  <c:v>-6.7226890756302204E-3</c:v>
                </c:pt>
                <c:pt idx="16198">
                  <c:v>-6.7226890756302204E-3</c:v>
                </c:pt>
                <c:pt idx="16199">
                  <c:v>-6.7226890756302204E-3</c:v>
                </c:pt>
                <c:pt idx="16200">
                  <c:v>-6.7226890756302204E-3</c:v>
                </c:pt>
                <c:pt idx="16201">
                  <c:v>-6.7226890756302204E-3</c:v>
                </c:pt>
                <c:pt idx="16202">
                  <c:v>-6.7226890756302204E-3</c:v>
                </c:pt>
                <c:pt idx="16203">
                  <c:v>-6.7226890756302204E-3</c:v>
                </c:pt>
                <c:pt idx="16204">
                  <c:v>-6.7226890756302204E-3</c:v>
                </c:pt>
                <c:pt idx="16205">
                  <c:v>-6.7226890756302204E-3</c:v>
                </c:pt>
                <c:pt idx="16206">
                  <c:v>-6.7226890756302204E-3</c:v>
                </c:pt>
                <c:pt idx="16207">
                  <c:v>-6.7226890756302204E-3</c:v>
                </c:pt>
                <c:pt idx="16208">
                  <c:v>-6.7226890756302204E-3</c:v>
                </c:pt>
                <c:pt idx="16209">
                  <c:v>-6.7226890756302204E-3</c:v>
                </c:pt>
                <c:pt idx="16210">
                  <c:v>-6.7226890756302204E-3</c:v>
                </c:pt>
                <c:pt idx="16211">
                  <c:v>-6.7226890756302204E-3</c:v>
                </c:pt>
                <c:pt idx="16212">
                  <c:v>-6.7226890756302204E-3</c:v>
                </c:pt>
                <c:pt idx="16213">
                  <c:v>-6.7226890756302204E-3</c:v>
                </c:pt>
                <c:pt idx="16214">
                  <c:v>-6.7226890756302204E-3</c:v>
                </c:pt>
                <c:pt idx="16215">
                  <c:v>-6.7226890756302204E-3</c:v>
                </c:pt>
                <c:pt idx="16216">
                  <c:v>-6.7226890756302204E-3</c:v>
                </c:pt>
                <c:pt idx="16217">
                  <c:v>-6.7226890756302204E-3</c:v>
                </c:pt>
                <c:pt idx="16218">
                  <c:v>-6.7226890756302204E-3</c:v>
                </c:pt>
                <c:pt idx="16219">
                  <c:v>-6.7226890756302204E-3</c:v>
                </c:pt>
                <c:pt idx="16220">
                  <c:v>-6.7226890756302204E-3</c:v>
                </c:pt>
                <c:pt idx="16221">
                  <c:v>-6.7226890756302204E-3</c:v>
                </c:pt>
                <c:pt idx="16222">
                  <c:v>-6.7226890756302204E-3</c:v>
                </c:pt>
                <c:pt idx="16223">
                  <c:v>-6.7226890756302204E-3</c:v>
                </c:pt>
                <c:pt idx="16224">
                  <c:v>-6.7226890756302204E-3</c:v>
                </c:pt>
                <c:pt idx="16225">
                  <c:v>-6.7226890756302204E-3</c:v>
                </c:pt>
                <c:pt idx="16226">
                  <c:v>-6.7226890756302204E-3</c:v>
                </c:pt>
                <c:pt idx="16227">
                  <c:v>-6.7226890756302204E-3</c:v>
                </c:pt>
                <c:pt idx="16228">
                  <c:v>-6.7226890756302204E-3</c:v>
                </c:pt>
                <c:pt idx="16229">
                  <c:v>-6.7226890756302204E-3</c:v>
                </c:pt>
                <c:pt idx="16230">
                  <c:v>-6.7226890756302204E-3</c:v>
                </c:pt>
                <c:pt idx="16231">
                  <c:v>-6.7226890756302204E-3</c:v>
                </c:pt>
                <c:pt idx="16232">
                  <c:v>-6.7226890756302204E-3</c:v>
                </c:pt>
                <c:pt idx="16233">
                  <c:v>-6.7226890756302204E-3</c:v>
                </c:pt>
                <c:pt idx="16234">
                  <c:v>-6.7226890756302204E-3</c:v>
                </c:pt>
                <c:pt idx="16235">
                  <c:v>-6.7226890756302204E-3</c:v>
                </c:pt>
                <c:pt idx="16236">
                  <c:v>-6.7226890756302204E-3</c:v>
                </c:pt>
                <c:pt idx="16237">
                  <c:v>-6.7226890756302204E-3</c:v>
                </c:pt>
                <c:pt idx="16238">
                  <c:v>-6.7226890756302204E-3</c:v>
                </c:pt>
                <c:pt idx="16239">
                  <c:v>-6.7226890756302204E-3</c:v>
                </c:pt>
                <c:pt idx="16240">
                  <c:v>-6.7226890756302204E-3</c:v>
                </c:pt>
                <c:pt idx="16241">
                  <c:v>-6.7226890756302204E-3</c:v>
                </c:pt>
                <c:pt idx="16242">
                  <c:v>-6.7226890756302204E-3</c:v>
                </c:pt>
                <c:pt idx="16243">
                  <c:v>-6.7226890756302204E-3</c:v>
                </c:pt>
                <c:pt idx="16244">
                  <c:v>-6.7226890756302204E-3</c:v>
                </c:pt>
                <c:pt idx="16245">
                  <c:v>-6.7226890756302204E-3</c:v>
                </c:pt>
                <c:pt idx="16246">
                  <c:v>-6.7226890756302204E-3</c:v>
                </c:pt>
                <c:pt idx="16247">
                  <c:v>-6.7226890756302204E-3</c:v>
                </c:pt>
                <c:pt idx="16248">
                  <c:v>-5.8823529411764497E-3</c:v>
                </c:pt>
                <c:pt idx="16249">
                  <c:v>-5.8823529411764497E-3</c:v>
                </c:pt>
                <c:pt idx="16250">
                  <c:v>-5.8823529411764497E-3</c:v>
                </c:pt>
                <c:pt idx="16251">
                  <c:v>-5.8823529411764497E-3</c:v>
                </c:pt>
                <c:pt idx="16252">
                  <c:v>-5.8823529411764497E-3</c:v>
                </c:pt>
                <c:pt idx="16253">
                  <c:v>-5.8823529411764497E-3</c:v>
                </c:pt>
                <c:pt idx="16254">
                  <c:v>-5.8823529411764497E-3</c:v>
                </c:pt>
                <c:pt idx="16255">
                  <c:v>-5.8823529411764497E-3</c:v>
                </c:pt>
                <c:pt idx="16256">
                  <c:v>-5.8823529411764497E-3</c:v>
                </c:pt>
                <c:pt idx="16257">
                  <c:v>-5.8823529411764497E-3</c:v>
                </c:pt>
                <c:pt idx="16258">
                  <c:v>-5.8823529411764497E-3</c:v>
                </c:pt>
                <c:pt idx="16259">
                  <c:v>-5.8823529411764497E-3</c:v>
                </c:pt>
                <c:pt idx="16260">
                  <c:v>-5.8823529411764497E-3</c:v>
                </c:pt>
                <c:pt idx="16261">
                  <c:v>-5.8823529411764497E-3</c:v>
                </c:pt>
                <c:pt idx="16262">
                  <c:v>-5.0420168067226703E-3</c:v>
                </c:pt>
                <c:pt idx="16263">
                  <c:v>-5.0420168067226703E-3</c:v>
                </c:pt>
                <c:pt idx="16264">
                  <c:v>-5.0420168067226703E-3</c:v>
                </c:pt>
                <c:pt idx="16265">
                  <c:v>-5.0420168067226703E-3</c:v>
                </c:pt>
                <c:pt idx="16266">
                  <c:v>-5.0420168067226703E-3</c:v>
                </c:pt>
                <c:pt idx="16267">
                  <c:v>-5.0420168067226703E-3</c:v>
                </c:pt>
                <c:pt idx="16268">
                  <c:v>-5.0420168067226703E-3</c:v>
                </c:pt>
                <c:pt idx="16269">
                  <c:v>-5.0420168067226703E-3</c:v>
                </c:pt>
                <c:pt idx="16270">
                  <c:v>-5.0420168067226703E-3</c:v>
                </c:pt>
                <c:pt idx="16271">
                  <c:v>-5.0420168067226703E-3</c:v>
                </c:pt>
                <c:pt idx="16272">
                  <c:v>-5.0420168067226703E-3</c:v>
                </c:pt>
                <c:pt idx="16273">
                  <c:v>-5.0420168067226703E-3</c:v>
                </c:pt>
                <c:pt idx="16274">
                  <c:v>-5.0420168067226703E-3</c:v>
                </c:pt>
                <c:pt idx="16275">
                  <c:v>-5.0420168067226703E-3</c:v>
                </c:pt>
                <c:pt idx="16276">
                  <c:v>-5.0420168067226703E-3</c:v>
                </c:pt>
                <c:pt idx="16277">
                  <c:v>-5.0420168067226703E-3</c:v>
                </c:pt>
                <c:pt idx="16278">
                  <c:v>-5.0420168067226703E-3</c:v>
                </c:pt>
                <c:pt idx="16279">
                  <c:v>-5.8823529411764497E-3</c:v>
                </c:pt>
                <c:pt idx="16280">
                  <c:v>-5.8823529411764497E-3</c:v>
                </c:pt>
                <c:pt idx="16281">
                  <c:v>-5.8823529411764497E-3</c:v>
                </c:pt>
                <c:pt idx="16282">
                  <c:v>-5.8823529411764497E-3</c:v>
                </c:pt>
                <c:pt idx="16283">
                  <c:v>-5.8823529411764497E-3</c:v>
                </c:pt>
                <c:pt idx="16284">
                  <c:v>-5.8823529411764497E-3</c:v>
                </c:pt>
                <c:pt idx="16285">
                  <c:v>-5.8823529411764497E-3</c:v>
                </c:pt>
                <c:pt idx="16286">
                  <c:v>-5.8823529411764497E-3</c:v>
                </c:pt>
                <c:pt idx="16287">
                  <c:v>-5.8823529411764497E-3</c:v>
                </c:pt>
                <c:pt idx="16288">
                  <c:v>-5.8823529411764497E-3</c:v>
                </c:pt>
                <c:pt idx="16289">
                  <c:v>-5.8823529411764497E-3</c:v>
                </c:pt>
                <c:pt idx="16290">
                  <c:v>-5.8823529411764497E-3</c:v>
                </c:pt>
                <c:pt idx="16291">
                  <c:v>-5.8823529411764497E-3</c:v>
                </c:pt>
                <c:pt idx="16292">
                  <c:v>-5.8823529411764497E-3</c:v>
                </c:pt>
                <c:pt idx="16293">
                  <c:v>-5.8823529411764497E-3</c:v>
                </c:pt>
                <c:pt idx="16294">
                  <c:v>-5.8823529411764497E-3</c:v>
                </c:pt>
                <c:pt idx="16295">
                  <c:v>-5.8823529411764497E-3</c:v>
                </c:pt>
                <c:pt idx="16296">
                  <c:v>-5.8823529411764497E-3</c:v>
                </c:pt>
                <c:pt idx="16297">
                  <c:v>-5.8823529411764497E-3</c:v>
                </c:pt>
                <c:pt idx="16298">
                  <c:v>-5.8823529411764497E-3</c:v>
                </c:pt>
                <c:pt idx="16299">
                  <c:v>-5.8823529411764497E-3</c:v>
                </c:pt>
                <c:pt idx="16300">
                  <c:v>-5.8823529411764497E-3</c:v>
                </c:pt>
                <c:pt idx="16301">
                  <c:v>-5.0420168067226703E-3</c:v>
                </c:pt>
                <c:pt idx="16302">
                  <c:v>-5.0420168067226703E-3</c:v>
                </c:pt>
                <c:pt idx="16303">
                  <c:v>-5.0420168067226703E-3</c:v>
                </c:pt>
                <c:pt idx="16304">
                  <c:v>-5.0420168067226703E-3</c:v>
                </c:pt>
                <c:pt idx="16305">
                  <c:v>-5.0420168067226703E-3</c:v>
                </c:pt>
                <c:pt idx="16306">
                  <c:v>-5.0420168067226703E-3</c:v>
                </c:pt>
                <c:pt idx="16307">
                  <c:v>-5.8823529411764497E-3</c:v>
                </c:pt>
                <c:pt idx="16308">
                  <c:v>-5.8823529411764497E-3</c:v>
                </c:pt>
                <c:pt idx="16309">
                  <c:v>-5.8823529411764497E-3</c:v>
                </c:pt>
                <c:pt idx="16310">
                  <c:v>-5.8823529411764497E-3</c:v>
                </c:pt>
                <c:pt idx="16311">
                  <c:v>-5.8823529411764497E-3</c:v>
                </c:pt>
                <c:pt idx="16312">
                  <c:v>-5.8823529411764497E-3</c:v>
                </c:pt>
                <c:pt idx="16313">
                  <c:v>-6.7226890756302204E-3</c:v>
                </c:pt>
                <c:pt idx="16314">
                  <c:v>-5.8823529411764497E-3</c:v>
                </c:pt>
                <c:pt idx="16315">
                  <c:v>-5.8823529411764497E-3</c:v>
                </c:pt>
                <c:pt idx="16316">
                  <c:v>-5.8823529411764497E-3</c:v>
                </c:pt>
                <c:pt idx="16317">
                  <c:v>-6.7226890756302204E-3</c:v>
                </c:pt>
                <c:pt idx="16318">
                  <c:v>-6.7226890756302204E-3</c:v>
                </c:pt>
                <c:pt idx="16319">
                  <c:v>-6.7226890756302204E-3</c:v>
                </c:pt>
                <c:pt idx="16320">
                  <c:v>-6.7226890756302204E-3</c:v>
                </c:pt>
                <c:pt idx="16321">
                  <c:v>-6.7226890756302204E-3</c:v>
                </c:pt>
                <c:pt idx="16322">
                  <c:v>-6.7226890756302204E-3</c:v>
                </c:pt>
                <c:pt idx="16323">
                  <c:v>-6.7226890756302204E-3</c:v>
                </c:pt>
                <c:pt idx="16324">
                  <c:v>-6.7226890756302204E-3</c:v>
                </c:pt>
                <c:pt idx="16325">
                  <c:v>-6.7226890756302204E-3</c:v>
                </c:pt>
                <c:pt idx="16326">
                  <c:v>-6.7226890756302204E-3</c:v>
                </c:pt>
                <c:pt idx="16327">
                  <c:v>-6.7226890756302204E-3</c:v>
                </c:pt>
                <c:pt idx="16328">
                  <c:v>-6.7226890756302204E-3</c:v>
                </c:pt>
                <c:pt idx="16329">
                  <c:v>-6.7226890756302204E-3</c:v>
                </c:pt>
                <c:pt idx="16330">
                  <c:v>-6.7226890756302204E-3</c:v>
                </c:pt>
                <c:pt idx="16331">
                  <c:v>-6.7226890756302204E-3</c:v>
                </c:pt>
                <c:pt idx="16332">
                  <c:v>-6.7226890756302204E-3</c:v>
                </c:pt>
                <c:pt idx="16333">
                  <c:v>-6.7226890756302204E-3</c:v>
                </c:pt>
                <c:pt idx="16334">
                  <c:v>-6.7226890756302204E-3</c:v>
                </c:pt>
                <c:pt idx="16335">
                  <c:v>-6.7226890756302204E-3</c:v>
                </c:pt>
                <c:pt idx="16336">
                  <c:v>-6.7226890756302204E-3</c:v>
                </c:pt>
                <c:pt idx="16337">
                  <c:v>-6.7226890756302204E-3</c:v>
                </c:pt>
                <c:pt idx="16338">
                  <c:v>-6.7226890756302204E-3</c:v>
                </c:pt>
                <c:pt idx="16339">
                  <c:v>-6.7226890756302204E-3</c:v>
                </c:pt>
                <c:pt idx="16340">
                  <c:v>-6.7226890756302204E-3</c:v>
                </c:pt>
                <c:pt idx="16341">
                  <c:v>-6.7226890756302204E-3</c:v>
                </c:pt>
                <c:pt idx="16342">
                  <c:v>-6.7226890756302204E-3</c:v>
                </c:pt>
                <c:pt idx="16343">
                  <c:v>-6.7226890756302204E-3</c:v>
                </c:pt>
                <c:pt idx="16344">
                  <c:v>-6.7226890756302204E-3</c:v>
                </c:pt>
                <c:pt idx="16345">
                  <c:v>-5.8823529411764497E-3</c:v>
                </c:pt>
                <c:pt idx="16346">
                  <c:v>-5.0420168067226703E-3</c:v>
                </c:pt>
                <c:pt idx="16347">
                  <c:v>-5.0420168067226703E-3</c:v>
                </c:pt>
                <c:pt idx="16348">
                  <c:v>-5.0420168067226703E-3</c:v>
                </c:pt>
                <c:pt idx="16349">
                  <c:v>-5.0420168067226703E-3</c:v>
                </c:pt>
                <c:pt idx="16350">
                  <c:v>-5.0420168067226703E-3</c:v>
                </c:pt>
                <c:pt idx="16351">
                  <c:v>-5.0420168067226703E-3</c:v>
                </c:pt>
                <c:pt idx="16352">
                  <c:v>-5.0420168067226703E-3</c:v>
                </c:pt>
                <c:pt idx="16353">
                  <c:v>-5.0420168067226703E-3</c:v>
                </c:pt>
                <c:pt idx="16354">
                  <c:v>-5.0420168067226703E-3</c:v>
                </c:pt>
                <c:pt idx="16355">
                  <c:v>-5.0420168067226703E-3</c:v>
                </c:pt>
                <c:pt idx="16356">
                  <c:v>-5.0420168067226703E-3</c:v>
                </c:pt>
                <c:pt idx="16357">
                  <c:v>-5.0420168067226703E-3</c:v>
                </c:pt>
                <c:pt idx="16358">
                  <c:v>-5.0420168067226703E-3</c:v>
                </c:pt>
                <c:pt idx="16359">
                  <c:v>-5.0420168067226703E-3</c:v>
                </c:pt>
                <c:pt idx="16360">
                  <c:v>-5.0420168067226703E-3</c:v>
                </c:pt>
                <c:pt idx="16361">
                  <c:v>-5.0420168067226703E-3</c:v>
                </c:pt>
                <c:pt idx="16362">
                  <c:v>-5.0420168067226703E-3</c:v>
                </c:pt>
                <c:pt idx="16363">
                  <c:v>-5.0420168067226703E-3</c:v>
                </c:pt>
                <c:pt idx="16364">
                  <c:v>-5.0420168067226703E-3</c:v>
                </c:pt>
                <c:pt idx="16365">
                  <c:v>-5.0420168067226703E-3</c:v>
                </c:pt>
                <c:pt idx="16366">
                  <c:v>-5.0420168067226703E-3</c:v>
                </c:pt>
                <c:pt idx="16367">
                  <c:v>-5.0420168067226703E-3</c:v>
                </c:pt>
                <c:pt idx="16368">
                  <c:v>-5.0420168067226703E-3</c:v>
                </c:pt>
                <c:pt idx="16369">
                  <c:v>-5.0420168067226703E-3</c:v>
                </c:pt>
                <c:pt idx="16370">
                  <c:v>-5.0420168067226703E-3</c:v>
                </c:pt>
                <c:pt idx="16371">
                  <c:v>-5.0420168067226703E-3</c:v>
                </c:pt>
                <c:pt idx="16372">
                  <c:v>-5.0420168067226703E-3</c:v>
                </c:pt>
                <c:pt idx="16373">
                  <c:v>-5.0420168067226703E-3</c:v>
                </c:pt>
                <c:pt idx="16374">
                  <c:v>-5.0420168067226703E-3</c:v>
                </c:pt>
                <c:pt idx="16375">
                  <c:v>-5.0420168067226703E-3</c:v>
                </c:pt>
                <c:pt idx="16376">
                  <c:v>-5.0420168067226703E-3</c:v>
                </c:pt>
                <c:pt idx="16377">
                  <c:v>-5.0420168067226703E-3</c:v>
                </c:pt>
                <c:pt idx="16378">
                  <c:v>-5.0420168067226703E-3</c:v>
                </c:pt>
                <c:pt idx="16379">
                  <c:v>-5.0420168067226703E-3</c:v>
                </c:pt>
                <c:pt idx="16380">
                  <c:v>-5.0420168067226703E-3</c:v>
                </c:pt>
                <c:pt idx="16381">
                  <c:v>-5.0420168067226703E-3</c:v>
                </c:pt>
                <c:pt idx="16382">
                  <c:v>-5.0420168067226703E-3</c:v>
                </c:pt>
                <c:pt idx="16383">
                  <c:v>-5.0420168067226703E-3</c:v>
                </c:pt>
                <c:pt idx="16384">
                  <c:v>-5.0420168067226703E-3</c:v>
                </c:pt>
                <c:pt idx="16385">
                  <c:v>-5.0420168067226703E-3</c:v>
                </c:pt>
                <c:pt idx="16386">
                  <c:v>-5.0420168067226703E-3</c:v>
                </c:pt>
                <c:pt idx="16387">
                  <c:v>-5.0420168067226703E-3</c:v>
                </c:pt>
                <c:pt idx="16388">
                  <c:v>-5.0420168067226703E-3</c:v>
                </c:pt>
                <c:pt idx="16389">
                  <c:v>-5.0420168067226703E-3</c:v>
                </c:pt>
                <c:pt idx="16390">
                  <c:v>-5.0420168067226703E-3</c:v>
                </c:pt>
                <c:pt idx="16391">
                  <c:v>-5.0420168067226703E-3</c:v>
                </c:pt>
                <c:pt idx="16392">
                  <c:v>-5.0420168067226703E-3</c:v>
                </c:pt>
                <c:pt idx="16393">
                  <c:v>-5.0420168067226703E-3</c:v>
                </c:pt>
                <c:pt idx="16394">
                  <c:v>-5.0420168067226703E-3</c:v>
                </c:pt>
                <c:pt idx="16395">
                  <c:v>-5.0420168067226703E-3</c:v>
                </c:pt>
                <c:pt idx="16396">
                  <c:v>-5.0420168067226703E-3</c:v>
                </c:pt>
                <c:pt idx="16397">
                  <c:v>-5.0420168067226703E-3</c:v>
                </c:pt>
                <c:pt idx="16398">
                  <c:v>-5.0420168067226703E-3</c:v>
                </c:pt>
                <c:pt idx="16399">
                  <c:v>-5.0420168067226703E-3</c:v>
                </c:pt>
                <c:pt idx="16400">
                  <c:v>-5.0420168067226703E-3</c:v>
                </c:pt>
                <c:pt idx="16401">
                  <c:v>-5.0420168067226703E-3</c:v>
                </c:pt>
                <c:pt idx="16402">
                  <c:v>-5.0420168067226703E-3</c:v>
                </c:pt>
                <c:pt idx="16403">
                  <c:v>-5.0420168067226703E-3</c:v>
                </c:pt>
                <c:pt idx="16404">
                  <c:v>-5.0420168067226703E-3</c:v>
                </c:pt>
                <c:pt idx="16405">
                  <c:v>-5.0420168067226703E-3</c:v>
                </c:pt>
                <c:pt idx="16406">
                  <c:v>-5.0420168067226703E-3</c:v>
                </c:pt>
                <c:pt idx="16407">
                  <c:v>-5.0420168067226703E-3</c:v>
                </c:pt>
                <c:pt idx="16408">
                  <c:v>-5.0420168067226703E-3</c:v>
                </c:pt>
                <c:pt idx="16409">
                  <c:v>-5.0420168067226703E-3</c:v>
                </c:pt>
                <c:pt idx="16410">
                  <c:v>-5.0420168067226703E-3</c:v>
                </c:pt>
                <c:pt idx="16411">
                  <c:v>-5.0420168067226703E-3</c:v>
                </c:pt>
                <c:pt idx="16412">
                  <c:v>-5.0420168067226703E-3</c:v>
                </c:pt>
                <c:pt idx="16413">
                  <c:v>-5.0420168067226703E-3</c:v>
                </c:pt>
                <c:pt idx="16414">
                  <c:v>-5.0420168067226703E-3</c:v>
                </c:pt>
                <c:pt idx="16415">
                  <c:v>-5.0420168067226703E-3</c:v>
                </c:pt>
                <c:pt idx="16416">
                  <c:v>-5.0420168067226703E-3</c:v>
                </c:pt>
                <c:pt idx="16417">
                  <c:v>-5.0420168067226703E-3</c:v>
                </c:pt>
                <c:pt idx="16418">
                  <c:v>-5.0420168067226703E-3</c:v>
                </c:pt>
                <c:pt idx="16419">
                  <c:v>-5.0420168067226703E-3</c:v>
                </c:pt>
                <c:pt idx="16420">
                  <c:v>-4.20168067226889E-3</c:v>
                </c:pt>
                <c:pt idx="16421">
                  <c:v>-4.20168067226889E-3</c:v>
                </c:pt>
                <c:pt idx="16422">
                  <c:v>-4.20168067226889E-3</c:v>
                </c:pt>
                <c:pt idx="16423">
                  <c:v>-4.20168067226889E-3</c:v>
                </c:pt>
                <c:pt idx="16424">
                  <c:v>-4.20168067226889E-3</c:v>
                </c:pt>
                <c:pt idx="16425">
                  <c:v>-4.20168067226889E-3</c:v>
                </c:pt>
                <c:pt idx="16426">
                  <c:v>-4.20168067226889E-3</c:v>
                </c:pt>
                <c:pt idx="16427">
                  <c:v>-4.20168067226889E-3</c:v>
                </c:pt>
                <c:pt idx="16428">
                  <c:v>-4.20168067226889E-3</c:v>
                </c:pt>
                <c:pt idx="16429">
                  <c:v>-4.20168067226889E-3</c:v>
                </c:pt>
                <c:pt idx="16430">
                  <c:v>-4.20168067226889E-3</c:v>
                </c:pt>
                <c:pt idx="16431">
                  <c:v>-4.20168067226889E-3</c:v>
                </c:pt>
                <c:pt idx="16432">
                  <c:v>-4.20168067226889E-3</c:v>
                </c:pt>
                <c:pt idx="16433">
                  <c:v>-4.20168067226889E-3</c:v>
                </c:pt>
                <c:pt idx="16434">
                  <c:v>-4.20168067226889E-3</c:v>
                </c:pt>
                <c:pt idx="16435">
                  <c:v>-4.20168067226889E-3</c:v>
                </c:pt>
                <c:pt idx="16436">
                  <c:v>-4.20168067226889E-3</c:v>
                </c:pt>
                <c:pt idx="16437">
                  <c:v>-4.20168067226889E-3</c:v>
                </c:pt>
                <c:pt idx="16438">
                  <c:v>-4.20168067226889E-3</c:v>
                </c:pt>
                <c:pt idx="16439">
                  <c:v>-4.20168067226889E-3</c:v>
                </c:pt>
                <c:pt idx="16440">
                  <c:v>-4.20168067226889E-3</c:v>
                </c:pt>
                <c:pt idx="16441">
                  <c:v>-4.20168067226889E-3</c:v>
                </c:pt>
                <c:pt idx="16442">
                  <c:v>-4.20168067226889E-3</c:v>
                </c:pt>
                <c:pt idx="16443">
                  <c:v>-4.20168067226889E-3</c:v>
                </c:pt>
                <c:pt idx="16444">
                  <c:v>-4.20168067226889E-3</c:v>
                </c:pt>
                <c:pt idx="16445">
                  <c:v>-4.20168067226889E-3</c:v>
                </c:pt>
                <c:pt idx="16446">
                  <c:v>-4.20168067226889E-3</c:v>
                </c:pt>
                <c:pt idx="16447">
                  <c:v>-4.20168067226889E-3</c:v>
                </c:pt>
                <c:pt idx="16448">
                  <c:v>-4.20168067226889E-3</c:v>
                </c:pt>
                <c:pt idx="16449">
                  <c:v>-4.20168067226889E-3</c:v>
                </c:pt>
                <c:pt idx="16450">
                  <c:v>-5.0420168067226703E-3</c:v>
                </c:pt>
                <c:pt idx="16451">
                  <c:v>-5.0420168067226703E-3</c:v>
                </c:pt>
                <c:pt idx="16452">
                  <c:v>-5.0420168067226703E-3</c:v>
                </c:pt>
                <c:pt idx="16453">
                  <c:v>-5.0420168067226703E-3</c:v>
                </c:pt>
                <c:pt idx="16454">
                  <c:v>-5.0420168067226703E-3</c:v>
                </c:pt>
                <c:pt idx="16455">
                  <c:v>-5.0420168067226703E-3</c:v>
                </c:pt>
                <c:pt idx="16456">
                  <c:v>-5.0420168067226703E-3</c:v>
                </c:pt>
                <c:pt idx="16457">
                  <c:v>-5.0420168067226703E-3</c:v>
                </c:pt>
                <c:pt idx="16458">
                  <c:v>-5.0420168067226703E-3</c:v>
                </c:pt>
                <c:pt idx="16459">
                  <c:v>-5.0420168067226703E-3</c:v>
                </c:pt>
                <c:pt idx="16460">
                  <c:v>-5.0420168067226703E-3</c:v>
                </c:pt>
                <c:pt idx="16461">
                  <c:v>-5.0420168067226703E-3</c:v>
                </c:pt>
                <c:pt idx="16462">
                  <c:v>-5.0420168067226703E-3</c:v>
                </c:pt>
                <c:pt idx="16463">
                  <c:v>-5.0420168067226703E-3</c:v>
                </c:pt>
                <c:pt idx="16464">
                  <c:v>-5.0420168067226703E-3</c:v>
                </c:pt>
                <c:pt idx="16465">
                  <c:v>-5.0420168067226703E-3</c:v>
                </c:pt>
                <c:pt idx="16466">
                  <c:v>-5.0420168067226703E-3</c:v>
                </c:pt>
                <c:pt idx="16467">
                  <c:v>-5.0420168067226703E-3</c:v>
                </c:pt>
                <c:pt idx="16468">
                  <c:v>-5.0420168067226703E-3</c:v>
                </c:pt>
                <c:pt idx="16469">
                  <c:v>-5.0420168067226703E-3</c:v>
                </c:pt>
                <c:pt idx="16470">
                  <c:v>-5.0420168067226703E-3</c:v>
                </c:pt>
                <c:pt idx="16471">
                  <c:v>-5.0420168067226703E-3</c:v>
                </c:pt>
                <c:pt idx="16472">
                  <c:v>-5.0420168067226703E-3</c:v>
                </c:pt>
                <c:pt idx="16473">
                  <c:v>-5.0420168067226703E-3</c:v>
                </c:pt>
                <c:pt idx="16474">
                  <c:v>-5.0420168067226703E-3</c:v>
                </c:pt>
                <c:pt idx="16475">
                  <c:v>-5.0420168067226703E-3</c:v>
                </c:pt>
                <c:pt idx="16476">
                  <c:v>-5.0420168067226703E-3</c:v>
                </c:pt>
                <c:pt idx="16477">
                  <c:v>-5.8823529411764497E-3</c:v>
                </c:pt>
                <c:pt idx="16478">
                  <c:v>-5.8823529411764497E-3</c:v>
                </c:pt>
                <c:pt idx="16479">
                  <c:v>-5.8823529411764497E-3</c:v>
                </c:pt>
                <c:pt idx="16480">
                  <c:v>-5.8823529411764497E-3</c:v>
                </c:pt>
                <c:pt idx="16481">
                  <c:v>-5.8823529411764497E-3</c:v>
                </c:pt>
                <c:pt idx="16482">
                  <c:v>-5.8823529411764497E-3</c:v>
                </c:pt>
                <c:pt idx="16483">
                  <c:v>-6.7226890756302204E-3</c:v>
                </c:pt>
                <c:pt idx="16484">
                  <c:v>-6.7226890756302204E-3</c:v>
                </c:pt>
                <c:pt idx="16485">
                  <c:v>-6.7226890756302204E-3</c:v>
                </c:pt>
                <c:pt idx="16486">
                  <c:v>-6.7226890756302204E-3</c:v>
                </c:pt>
                <c:pt idx="16487">
                  <c:v>-6.7226890756302204E-3</c:v>
                </c:pt>
                <c:pt idx="16488">
                  <c:v>-6.7226890756302204E-3</c:v>
                </c:pt>
                <c:pt idx="16489">
                  <c:v>-6.7226890756302204E-3</c:v>
                </c:pt>
                <c:pt idx="16490">
                  <c:v>-6.7226890756302204E-3</c:v>
                </c:pt>
                <c:pt idx="16491">
                  <c:v>-6.7226890756302204E-3</c:v>
                </c:pt>
                <c:pt idx="16492">
                  <c:v>-6.7226890756302204E-3</c:v>
                </c:pt>
                <c:pt idx="16493">
                  <c:v>-6.7226890756302204E-3</c:v>
                </c:pt>
                <c:pt idx="16494">
                  <c:v>-6.7226890756302204E-3</c:v>
                </c:pt>
                <c:pt idx="16495">
                  <c:v>-6.7226890756302204E-3</c:v>
                </c:pt>
                <c:pt idx="16496">
                  <c:v>-6.7226890756302204E-3</c:v>
                </c:pt>
                <c:pt idx="16497">
                  <c:v>-6.7226890756302204E-3</c:v>
                </c:pt>
                <c:pt idx="16498">
                  <c:v>-6.7226890756302204E-3</c:v>
                </c:pt>
                <c:pt idx="16499">
                  <c:v>-6.7226890756302204E-3</c:v>
                </c:pt>
                <c:pt idx="16500">
                  <c:v>-6.7226890756302204E-3</c:v>
                </c:pt>
                <c:pt idx="16501">
                  <c:v>-6.7226890756302204E-3</c:v>
                </c:pt>
                <c:pt idx="16502">
                  <c:v>-7.5630252100839998E-3</c:v>
                </c:pt>
                <c:pt idx="16503">
                  <c:v>-7.5630252100839998E-3</c:v>
                </c:pt>
                <c:pt idx="16504">
                  <c:v>-7.5630252100839998E-3</c:v>
                </c:pt>
                <c:pt idx="16505">
                  <c:v>-7.5630252100839998E-3</c:v>
                </c:pt>
                <c:pt idx="16506">
                  <c:v>-7.5630252100839998E-3</c:v>
                </c:pt>
                <c:pt idx="16507">
                  <c:v>-8.4033613445377801E-3</c:v>
                </c:pt>
                <c:pt idx="16508">
                  <c:v>-8.4033613445377801E-3</c:v>
                </c:pt>
                <c:pt idx="16509">
                  <c:v>-8.4033613445377801E-3</c:v>
                </c:pt>
                <c:pt idx="16510">
                  <c:v>-8.4033613445377801E-3</c:v>
                </c:pt>
                <c:pt idx="16511">
                  <c:v>-8.4033613445377801E-3</c:v>
                </c:pt>
                <c:pt idx="16512">
                  <c:v>-8.4033613445377801E-3</c:v>
                </c:pt>
                <c:pt idx="16513">
                  <c:v>-8.4033613445377801E-3</c:v>
                </c:pt>
                <c:pt idx="16514">
                  <c:v>-8.4033613445377801E-3</c:v>
                </c:pt>
                <c:pt idx="16515">
                  <c:v>-8.4033613445377801E-3</c:v>
                </c:pt>
                <c:pt idx="16516">
                  <c:v>-8.4033613445377801E-3</c:v>
                </c:pt>
                <c:pt idx="16517">
                  <c:v>-7.5630252100839998E-3</c:v>
                </c:pt>
                <c:pt idx="16518">
                  <c:v>-7.5630252100839998E-3</c:v>
                </c:pt>
                <c:pt idx="16519">
                  <c:v>-7.5630252100839998E-3</c:v>
                </c:pt>
                <c:pt idx="16520">
                  <c:v>-7.5630252100839998E-3</c:v>
                </c:pt>
                <c:pt idx="16521">
                  <c:v>-7.5630252100839998E-3</c:v>
                </c:pt>
                <c:pt idx="16522">
                  <c:v>-7.5630252100839998E-3</c:v>
                </c:pt>
                <c:pt idx="16523">
                  <c:v>-7.5630252100839998E-3</c:v>
                </c:pt>
                <c:pt idx="16524">
                  <c:v>-7.5630252100839998E-3</c:v>
                </c:pt>
                <c:pt idx="16525">
                  <c:v>-7.5630252100839998E-3</c:v>
                </c:pt>
                <c:pt idx="16526">
                  <c:v>-7.5630252100839998E-3</c:v>
                </c:pt>
                <c:pt idx="16527">
                  <c:v>-7.5630252100839998E-3</c:v>
                </c:pt>
                <c:pt idx="16528">
                  <c:v>-7.5630252100839998E-3</c:v>
                </c:pt>
                <c:pt idx="16529">
                  <c:v>-7.5630252100839998E-3</c:v>
                </c:pt>
                <c:pt idx="16530">
                  <c:v>-7.5630252100839998E-3</c:v>
                </c:pt>
                <c:pt idx="16531">
                  <c:v>-7.5630252100839998E-3</c:v>
                </c:pt>
                <c:pt idx="16532">
                  <c:v>-7.5630252100839998E-3</c:v>
                </c:pt>
                <c:pt idx="16533">
                  <c:v>-7.5630252100839998E-3</c:v>
                </c:pt>
                <c:pt idx="16534">
                  <c:v>-7.5630252100839998E-3</c:v>
                </c:pt>
                <c:pt idx="16535">
                  <c:v>-7.5630252100839998E-3</c:v>
                </c:pt>
                <c:pt idx="16536">
                  <c:v>-7.5630252100839998E-3</c:v>
                </c:pt>
                <c:pt idx="16537">
                  <c:v>-7.5630252100839998E-3</c:v>
                </c:pt>
                <c:pt idx="16538">
                  <c:v>-7.5630252100839998E-3</c:v>
                </c:pt>
                <c:pt idx="16539">
                  <c:v>-7.5630252100839998E-3</c:v>
                </c:pt>
                <c:pt idx="16540">
                  <c:v>-7.5630252100839998E-3</c:v>
                </c:pt>
                <c:pt idx="16541">
                  <c:v>-7.5630252100839998E-3</c:v>
                </c:pt>
                <c:pt idx="16542">
                  <c:v>-7.5630252100839998E-3</c:v>
                </c:pt>
                <c:pt idx="16543">
                  <c:v>-7.5630252100839998E-3</c:v>
                </c:pt>
                <c:pt idx="16544">
                  <c:v>-7.5630252100839998E-3</c:v>
                </c:pt>
                <c:pt idx="16545">
                  <c:v>-7.5630252100839998E-3</c:v>
                </c:pt>
                <c:pt idx="16546">
                  <c:v>-7.5630252100839998E-3</c:v>
                </c:pt>
                <c:pt idx="16547">
                  <c:v>-7.5630252100839998E-3</c:v>
                </c:pt>
                <c:pt idx="16548">
                  <c:v>-7.5630252100839998E-3</c:v>
                </c:pt>
                <c:pt idx="16549">
                  <c:v>-7.5630252100839998E-3</c:v>
                </c:pt>
                <c:pt idx="16550">
                  <c:v>-7.5630252100839998E-3</c:v>
                </c:pt>
                <c:pt idx="16551">
                  <c:v>-7.5630252100839998E-3</c:v>
                </c:pt>
                <c:pt idx="16552">
                  <c:v>-7.5630252100839998E-3</c:v>
                </c:pt>
                <c:pt idx="16553">
                  <c:v>-7.5630252100839998E-3</c:v>
                </c:pt>
                <c:pt idx="16554">
                  <c:v>-7.5630252100839998E-3</c:v>
                </c:pt>
                <c:pt idx="16555">
                  <c:v>-7.5630252100839998E-3</c:v>
                </c:pt>
                <c:pt idx="16556">
                  <c:v>-7.5630252100839998E-3</c:v>
                </c:pt>
                <c:pt idx="16557">
                  <c:v>-7.5630252100839998E-3</c:v>
                </c:pt>
                <c:pt idx="16558">
                  <c:v>-7.5630252100839998E-3</c:v>
                </c:pt>
                <c:pt idx="16559">
                  <c:v>-7.5630252100839998E-3</c:v>
                </c:pt>
                <c:pt idx="16560">
                  <c:v>-7.5630252100839998E-3</c:v>
                </c:pt>
                <c:pt idx="16561">
                  <c:v>-7.5630252100839998E-3</c:v>
                </c:pt>
                <c:pt idx="16562">
                  <c:v>-6.7226890756302204E-3</c:v>
                </c:pt>
                <c:pt idx="16563">
                  <c:v>-6.7226890756302204E-3</c:v>
                </c:pt>
                <c:pt idx="16564">
                  <c:v>-6.7226890756302204E-3</c:v>
                </c:pt>
                <c:pt idx="16565">
                  <c:v>-6.7226890756302204E-3</c:v>
                </c:pt>
                <c:pt idx="16566">
                  <c:v>-6.7226890756302204E-3</c:v>
                </c:pt>
                <c:pt idx="16567">
                  <c:v>-6.7226890756302204E-3</c:v>
                </c:pt>
                <c:pt idx="16568">
                  <c:v>-6.7226890756302204E-3</c:v>
                </c:pt>
                <c:pt idx="16569">
                  <c:v>-6.7226890756302204E-3</c:v>
                </c:pt>
                <c:pt idx="16570">
                  <c:v>-6.7226890756302204E-3</c:v>
                </c:pt>
                <c:pt idx="16571">
                  <c:v>-6.7226890756302204E-3</c:v>
                </c:pt>
                <c:pt idx="16572">
                  <c:v>-6.7226890756302204E-3</c:v>
                </c:pt>
                <c:pt idx="16573">
                  <c:v>-6.7226890756302204E-3</c:v>
                </c:pt>
                <c:pt idx="16574">
                  <c:v>-6.7226890756302204E-3</c:v>
                </c:pt>
                <c:pt idx="16575">
                  <c:v>-6.7226890756302204E-3</c:v>
                </c:pt>
                <c:pt idx="16576">
                  <c:v>-6.7226890756302204E-3</c:v>
                </c:pt>
                <c:pt idx="16577">
                  <c:v>-7.5630252100839998E-3</c:v>
                </c:pt>
                <c:pt idx="16578">
                  <c:v>-7.5630252100839998E-3</c:v>
                </c:pt>
                <c:pt idx="16579">
                  <c:v>-7.5630252100839998E-3</c:v>
                </c:pt>
                <c:pt idx="16580">
                  <c:v>-7.5630252100839998E-3</c:v>
                </c:pt>
                <c:pt idx="16581">
                  <c:v>-7.5630252100839998E-3</c:v>
                </c:pt>
                <c:pt idx="16582">
                  <c:v>-7.5630252100839998E-3</c:v>
                </c:pt>
                <c:pt idx="16583">
                  <c:v>-7.5630252100839998E-3</c:v>
                </c:pt>
                <c:pt idx="16584">
                  <c:v>-7.5630252100839998E-3</c:v>
                </c:pt>
                <c:pt idx="16585">
                  <c:v>-7.5630252100839998E-3</c:v>
                </c:pt>
                <c:pt idx="16586">
                  <c:v>-7.5630252100839998E-3</c:v>
                </c:pt>
                <c:pt idx="16587">
                  <c:v>-7.5630252100839998E-3</c:v>
                </c:pt>
                <c:pt idx="16588">
                  <c:v>-7.5630252100839998E-3</c:v>
                </c:pt>
                <c:pt idx="16589">
                  <c:v>-7.5630252100839998E-3</c:v>
                </c:pt>
                <c:pt idx="16590">
                  <c:v>-7.5630252100839998E-3</c:v>
                </c:pt>
                <c:pt idx="16591">
                  <c:v>-7.5630252100839998E-3</c:v>
                </c:pt>
                <c:pt idx="16592">
                  <c:v>-7.5630252100839998E-3</c:v>
                </c:pt>
                <c:pt idx="16593">
                  <c:v>-7.5630252100839998E-3</c:v>
                </c:pt>
                <c:pt idx="16594">
                  <c:v>-7.5630252100839998E-3</c:v>
                </c:pt>
                <c:pt idx="16595">
                  <c:v>-7.5630252100839998E-3</c:v>
                </c:pt>
                <c:pt idx="16596">
                  <c:v>-7.5630252100839998E-3</c:v>
                </c:pt>
                <c:pt idx="16597">
                  <c:v>-7.5630252100839998E-3</c:v>
                </c:pt>
                <c:pt idx="16598">
                  <c:v>-7.5630252100839998E-3</c:v>
                </c:pt>
                <c:pt idx="16599">
                  <c:v>-7.5630252100839998E-3</c:v>
                </c:pt>
                <c:pt idx="16600">
                  <c:v>-7.5630252100839998E-3</c:v>
                </c:pt>
                <c:pt idx="16601">
                  <c:v>-7.5630252100839998E-3</c:v>
                </c:pt>
                <c:pt idx="16602">
                  <c:v>-7.5630252100839998E-3</c:v>
                </c:pt>
                <c:pt idx="16603">
                  <c:v>-7.5630252100839998E-3</c:v>
                </c:pt>
                <c:pt idx="16604">
                  <c:v>-7.5630252100839998E-3</c:v>
                </c:pt>
                <c:pt idx="16605">
                  <c:v>-7.5630252100839998E-3</c:v>
                </c:pt>
                <c:pt idx="16606">
                  <c:v>-7.5630252100839998E-3</c:v>
                </c:pt>
                <c:pt idx="16607">
                  <c:v>-7.5630252100839998E-3</c:v>
                </c:pt>
                <c:pt idx="16608">
                  <c:v>-7.5630252100839998E-3</c:v>
                </c:pt>
                <c:pt idx="16609">
                  <c:v>-7.5630252100839998E-3</c:v>
                </c:pt>
                <c:pt idx="16610">
                  <c:v>-7.5630252100839998E-3</c:v>
                </c:pt>
                <c:pt idx="16611">
                  <c:v>-7.5630252100839998E-3</c:v>
                </c:pt>
                <c:pt idx="16612">
                  <c:v>-7.5630252100839998E-3</c:v>
                </c:pt>
                <c:pt idx="16613">
                  <c:v>-7.5630252100839998E-3</c:v>
                </c:pt>
                <c:pt idx="16614">
                  <c:v>-7.5630252100839998E-3</c:v>
                </c:pt>
                <c:pt idx="16615">
                  <c:v>-7.5630252100839998E-3</c:v>
                </c:pt>
                <c:pt idx="16616">
                  <c:v>-7.5630252100839998E-3</c:v>
                </c:pt>
                <c:pt idx="16617">
                  <c:v>-7.5630252100839998E-3</c:v>
                </c:pt>
                <c:pt idx="16618">
                  <c:v>-7.5630252100839998E-3</c:v>
                </c:pt>
                <c:pt idx="16619">
                  <c:v>-7.5630252100839998E-3</c:v>
                </c:pt>
                <c:pt idx="16620">
                  <c:v>-7.5630252100839998E-3</c:v>
                </c:pt>
                <c:pt idx="16621">
                  <c:v>-7.5630252100839998E-3</c:v>
                </c:pt>
                <c:pt idx="16622">
                  <c:v>-7.5630252100839998E-3</c:v>
                </c:pt>
                <c:pt idx="16623">
                  <c:v>-7.5630252100839998E-3</c:v>
                </c:pt>
                <c:pt idx="16624">
                  <c:v>-7.5630252100839998E-3</c:v>
                </c:pt>
                <c:pt idx="16625">
                  <c:v>-7.5630252100839998E-3</c:v>
                </c:pt>
                <c:pt idx="16626">
                  <c:v>-7.5630252100839998E-3</c:v>
                </c:pt>
                <c:pt idx="16627">
                  <c:v>-7.5630252100839998E-3</c:v>
                </c:pt>
                <c:pt idx="16628">
                  <c:v>-7.5630252100839998E-3</c:v>
                </c:pt>
                <c:pt idx="16629">
                  <c:v>-7.5630252100839998E-3</c:v>
                </c:pt>
                <c:pt idx="16630">
                  <c:v>-7.5630252100839998E-3</c:v>
                </c:pt>
                <c:pt idx="16631">
                  <c:v>-7.5630252100839998E-3</c:v>
                </c:pt>
                <c:pt idx="16632">
                  <c:v>-7.5630252100839998E-3</c:v>
                </c:pt>
                <c:pt idx="16633">
                  <c:v>-6.7226890756302204E-3</c:v>
                </c:pt>
                <c:pt idx="16634">
                  <c:v>-6.7226890756302204E-3</c:v>
                </c:pt>
                <c:pt idx="16635">
                  <c:v>-6.7226890756302204E-3</c:v>
                </c:pt>
                <c:pt idx="16636">
                  <c:v>-6.7226890756302204E-3</c:v>
                </c:pt>
                <c:pt idx="16637">
                  <c:v>-6.7226890756302204E-3</c:v>
                </c:pt>
                <c:pt idx="16638">
                  <c:v>-6.7226890756302204E-3</c:v>
                </c:pt>
                <c:pt idx="16639">
                  <c:v>-6.7226890756302204E-3</c:v>
                </c:pt>
                <c:pt idx="16640">
                  <c:v>-6.7226890756302204E-3</c:v>
                </c:pt>
                <c:pt idx="16641">
                  <c:v>-6.7226890756302204E-3</c:v>
                </c:pt>
                <c:pt idx="16642">
                  <c:v>-6.7226890756302204E-3</c:v>
                </c:pt>
                <c:pt idx="16643">
                  <c:v>-6.7226890756302204E-3</c:v>
                </c:pt>
                <c:pt idx="16644">
                  <c:v>-6.7226890756302204E-3</c:v>
                </c:pt>
                <c:pt idx="16645">
                  <c:v>-6.7226890756302204E-3</c:v>
                </c:pt>
                <c:pt idx="16646">
                  <c:v>-5.8823529411764497E-3</c:v>
                </c:pt>
                <c:pt idx="16647">
                  <c:v>-5.8823529411764497E-3</c:v>
                </c:pt>
                <c:pt idx="16648">
                  <c:v>-5.8823529411764497E-3</c:v>
                </c:pt>
                <c:pt idx="16649">
                  <c:v>-5.8823529411764497E-3</c:v>
                </c:pt>
                <c:pt idx="16650">
                  <c:v>-5.8823529411764497E-3</c:v>
                </c:pt>
                <c:pt idx="16651">
                  <c:v>-5.8823529411764497E-3</c:v>
                </c:pt>
                <c:pt idx="16652">
                  <c:v>-5.8823529411764497E-3</c:v>
                </c:pt>
                <c:pt idx="16653">
                  <c:v>-5.8823529411764497E-3</c:v>
                </c:pt>
                <c:pt idx="16654">
                  <c:v>-5.8823529411764497E-3</c:v>
                </c:pt>
                <c:pt idx="16655">
                  <c:v>-5.8823529411764497E-3</c:v>
                </c:pt>
                <c:pt idx="16656">
                  <c:v>-5.8823529411764497E-3</c:v>
                </c:pt>
                <c:pt idx="16657">
                  <c:v>-5.8823529411764497E-3</c:v>
                </c:pt>
                <c:pt idx="16658">
                  <c:v>-5.8823529411764497E-3</c:v>
                </c:pt>
                <c:pt idx="16659">
                  <c:v>-5.8823529411764497E-3</c:v>
                </c:pt>
                <c:pt idx="16660">
                  <c:v>-5.8823529411764497E-3</c:v>
                </c:pt>
                <c:pt idx="16661">
                  <c:v>-5.8823529411764497E-3</c:v>
                </c:pt>
                <c:pt idx="16662">
                  <c:v>-5.8823529411764497E-3</c:v>
                </c:pt>
                <c:pt idx="16663">
                  <c:v>-5.8823529411764497E-3</c:v>
                </c:pt>
                <c:pt idx="16664">
                  <c:v>-5.8823529411764497E-3</c:v>
                </c:pt>
                <c:pt idx="16665">
                  <c:v>-5.8823529411764497E-3</c:v>
                </c:pt>
                <c:pt idx="16666">
                  <c:v>-5.8823529411764497E-3</c:v>
                </c:pt>
                <c:pt idx="16667">
                  <c:v>-5.8823529411764497E-3</c:v>
                </c:pt>
                <c:pt idx="16668">
                  <c:v>-5.8823529411764497E-3</c:v>
                </c:pt>
                <c:pt idx="16669">
                  <c:v>-5.8823529411764497E-3</c:v>
                </c:pt>
                <c:pt idx="16670">
                  <c:v>-5.8823529411764497E-3</c:v>
                </c:pt>
                <c:pt idx="16671">
                  <c:v>-5.8823529411764497E-3</c:v>
                </c:pt>
                <c:pt idx="16672">
                  <c:v>-5.8823529411764497E-3</c:v>
                </c:pt>
                <c:pt idx="16673">
                  <c:v>-5.8823529411764497E-3</c:v>
                </c:pt>
                <c:pt idx="16674">
                  <c:v>-5.8823529411764497E-3</c:v>
                </c:pt>
                <c:pt idx="16675">
                  <c:v>-5.8823529411764497E-3</c:v>
                </c:pt>
                <c:pt idx="16676">
                  <c:v>-5.8823529411764497E-3</c:v>
                </c:pt>
                <c:pt idx="16677">
                  <c:v>-5.8823529411764497E-3</c:v>
                </c:pt>
                <c:pt idx="16678">
                  <c:v>-5.8823529411764497E-3</c:v>
                </c:pt>
                <c:pt idx="16679">
                  <c:v>-5.8823529411764497E-3</c:v>
                </c:pt>
                <c:pt idx="16680">
                  <c:v>-5.8823529411764497E-3</c:v>
                </c:pt>
                <c:pt idx="16681">
                  <c:v>-5.8823529411764497E-3</c:v>
                </c:pt>
                <c:pt idx="16682">
                  <c:v>-5.8823529411764497E-3</c:v>
                </c:pt>
                <c:pt idx="16683">
                  <c:v>-5.8823529411764497E-3</c:v>
                </c:pt>
                <c:pt idx="16684">
                  <c:v>-5.8823529411764497E-3</c:v>
                </c:pt>
                <c:pt idx="16685">
                  <c:v>-5.8823529411764497E-3</c:v>
                </c:pt>
                <c:pt idx="16686">
                  <c:v>-5.8823529411764497E-3</c:v>
                </c:pt>
                <c:pt idx="16687">
                  <c:v>-5.8823529411764497E-3</c:v>
                </c:pt>
                <c:pt idx="16688">
                  <c:v>-5.8823529411764497E-3</c:v>
                </c:pt>
                <c:pt idx="16689">
                  <c:v>-5.8823529411764497E-3</c:v>
                </c:pt>
                <c:pt idx="16690">
                  <c:v>-5.8823529411764497E-3</c:v>
                </c:pt>
                <c:pt idx="16691">
                  <c:v>-5.8823529411764497E-3</c:v>
                </c:pt>
                <c:pt idx="16692">
                  <c:v>-5.8823529411764497E-3</c:v>
                </c:pt>
                <c:pt idx="16693">
                  <c:v>-5.8823529411764497E-3</c:v>
                </c:pt>
                <c:pt idx="16694">
                  <c:v>-5.8823529411764497E-3</c:v>
                </c:pt>
                <c:pt idx="16695">
                  <c:v>-5.8823529411764497E-3</c:v>
                </c:pt>
                <c:pt idx="16696">
                  <c:v>-5.8823529411764497E-3</c:v>
                </c:pt>
                <c:pt idx="16697">
                  <c:v>-5.8823529411764497E-3</c:v>
                </c:pt>
                <c:pt idx="16698">
                  <c:v>-5.8823529411764497E-3</c:v>
                </c:pt>
                <c:pt idx="16699">
                  <c:v>-5.8823529411764497E-3</c:v>
                </c:pt>
                <c:pt idx="16700">
                  <c:v>-5.8823529411764497E-3</c:v>
                </c:pt>
                <c:pt idx="16701">
                  <c:v>-5.8823529411764497E-3</c:v>
                </c:pt>
                <c:pt idx="16702">
                  <c:v>-5.8823529411764497E-3</c:v>
                </c:pt>
                <c:pt idx="16703">
                  <c:v>-5.8823529411764497E-3</c:v>
                </c:pt>
                <c:pt idx="16704">
                  <c:v>-5.8823529411764497E-3</c:v>
                </c:pt>
                <c:pt idx="16705">
                  <c:v>-5.8823529411764497E-3</c:v>
                </c:pt>
                <c:pt idx="16706">
                  <c:v>-5.8823529411764497E-3</c:v>
                </c:pt>
                <c:pt idx="16707">
                  <c:v>-5.8823529411764497E-3</c:v>
                </c:pt>
                <c:pt idx="16708">
                  <c:v>-5.8823529411764497E-3</c:v>
                </c:pt>
                <c:pt idx="16709">
                  <c:v>-5.8823529411764497E-3</c:v>
                </c:pt>
                <c:pt idx="16710">
                  <c:v>-5.8823529411764497E-3</c:v>
                </c:pt>
                <c:pt idx="16711">
                  <c:v>-5.0420168067226703E-3</c:v>
                </c:pt>
                <c:pt idx="16712">
                  <c:v>-5.0420168067226703E-3</c:v>
                </c:pt>
                <c:pt idx="16713">
                  <c:v>-5.0420168067226703E-3</c:v>
                </c:pt>
                <c:pt idx="16714">
                  <c:v>-5.0420168067226703E-3</c:v>
                </c:pt>
                <c:pt idx="16715">
                  <c:v>-5.0420168067226703E-3</c:v>
                </c:pt>
                <c:pt idx="16716">
                  <c:v>-5.0420168067226703E-3</c:v>
                </c:pt>
                <c:pt idx="16717">
                  <c:v>-5.0420168067226703E-3</c:v>
                </c:pt>
                <c:pt idx="16718">
                  <c:v>-5.0420168067226703E-3</c:v>
                </c:pt>
                <c:pt idx="16719">
                  <c:v>-5.0420168067226703E-3</c:v>
                </c:pt>
                <c:pt idx="16720">
                  <c:v>-5.0420168067226703E-3</c:v>
                </c:pt>
                <c:pt idx="16721">
                  <c:v>-5.0420168067226703E-3</c:v>
                </c:pt>
                <c:pt idx="16722">
                  <c:v>-5.0420168067226703E-3</c:v>
                </c:pt>
                <c:pt idx="16723">
                  <c:v>-5.0420168067226703E-3</c:v>
                </c:pt>
                <c:pt idx="16724">
                  <c:v>-5.0420168067226703E-3</c:v>
                </c:pt>
                <c:pt idx="16725">
                  <c:v>-5.0420168067226703E-3</c:v>
                </c:pt>
                <c:pt idx="16726">
                  <c:v>-5.0420168067226703E-3</c:v>
                </c:pt>
                <c:pt idx="16727">
                  <c:v>-5.0420168067226703E-3</c:v>
                </c:pt>
                <c:pt idx="16728">
                  <c:v>-5.0420168067226703E-3</c:v>
                </c:pt>
                <c:pt idx="16729">
                  <c:v>-5.0420168067226703E-3</c:v>
                </c:pt>
                <c:pt idx="16730">
                  <c:v>-5.8823529411764497E-3</c:v>
                </c:pt>
                <c:pt idx="16731">
                  <c:v>-5.8823529411764497E-3</c:v>
                </c:pt>
                <c:pt idx="16732">
                  <c:v>-5.8823529411764497E-3</c:v>
                </c:pt>
                <c:pt idx="16733">
                  <c:v>-5.8823529411764497E-3</c:v>
                </c:pt>
                <c:pt idx="16734">
                  <c:v>-5.0420168067226703E-3</c:v>
                </c:pt>
                <c:pt idx="16735">
                  <c:v>-5.0420168067226703E-3</c:v>
                </c:pt>
                <c:pt idx="16736">
                  <c:v>-5.0420168067226703E-3</c:v>
                </c:pt>
                <c:pt idx="16737">
                  <c:v>-5.0420168067226703E-3</c:v>
                </c:pt>
                <c:pt idx="16738">
                  <c:v>-5.0420168067226703E-3</c:v>
                </c:pt>
                <c:pt idx="16739">
                  <c:v>-5.0420168067226703E-3</c:v>
                </c:pt>
                <c:pt idx="16740">
                  <c:v>-5.0420168067226703E-3</c:v>
                </c:pt>
                <c:pt idx="16741">
                  <c:v>-5.0420168067226703E-3</c:v>
                </c:pt>
                <c:pt idx="16742">
                  <c:v>-5.0420168067226703E-3</c:v>
                </c:pt>
                <c:pt idx="16743">
                  <c:v>-5.0420168067226703E-3</c:v>
                </c:pt>
                <c:pt idx="16744">
                  <c:v>-5.0420168067226703E-3</c:v>
                </c:pt>
                <c:pt idx="16745">
                  <c:v>-5.0420168067226703E-3</c:v>
                </c:pt>
                <c:pt idx="16746">
                  <c:v>-5.0420168067226703E-3</c:v>
                </c:pt>
                <c:pt idx="16747">
                  <c:v>-5.0420168067226703E-3</c:v>
                </c:pt>
                <c:pt idx="16748">
                  <c:v>-5.0420168067226703E-3</c:v>
                </c:pt>
                <c:pt idx="16749">
                  <c:v>-5.0420168067226703E-3</c:v>
                </c:pt>
                <c:pt idx="16750">
                  <c:v>-5.0420168067226703E-3</c:v>
                </c:pt>
                <c:pt idx="16751">
                  <c:v>-5.0420168067226703E-3</c:v>
                </c:pt>
                <c:pt idx="16752">
                  <c:v>-5.0420168067226703E-3</c:v>
                </c:pt>
                <c:pt idx="16753">
                  <c:v>-5.0420168067226703E-3</c:v>
                </c:pt>
                <c:pt idx="16754">
                  <c:v>-5.0420168067226703E-3</c:v>
                </c:pt>
                <c:pt idx="16755">
                  <c:v>-5.0420168067226703E-3</c:v>
                </c:pt>
                <c:pt idx="16756">
                  <c:v>-4.20168067226889E-3</c:v>
                </c:pt>
                <c:pt idx="16757">
                  <c:v>-4.20168067226889E-3</c:v>
                </c:pt>
                <c:pt idx="16758">
                  <c:v>-4.20168067226889E-3</c:v>
                </c:pt>
                <c:pt idx="16759">
                  <c:v>-4.20168067226889E-3</c:v>
                </c:pt>
                <c:pt idx="16760">
                  <c:v>-4.20168067226889E-3</c:v>
                </c:pt>
                <c:pt idx="16761">
                  <c:v>-4.20168067226889E-3</c:v>
                </c:pt>
                <c:pt idx="16762">
                  <c:v>-4.20168067226889E-3</c:v>
                </c:pt>
                <c:pt idx="16763">
                  <c:v>-4.20168067226889E-3</c:v>
                </c:pt>
                <c:pt idx="16764">
                  <c:v>-4.20168067226889E-3</c:v>
                </c:pt>
                <c:pt idx="16765">
                  <c:v>-4.20168067226889E-3</c:v>
                </c:pt>
                <c:pt idx="16766">
                  <c:v>-3.3613445378151102E-3</c:v>
                </c:pt>
                <c:pt idx="16767">
                  <c:v>-3.3613445378151102E-3</c:v>
                </c:pt>
                <c:pt idx="16768">
                  <c:v>-2.5210084033613299E-3</c:v>
                </c:pt>
                <c:pt idx="16769">
                  <c:v>-2.5210084033613299E-3</c:v>
                </c:pt>
                <c:pt idx="16770">
                  <c:v>-2.5210084033613299E-3</c:v>
                </c:pt>
                <c:pt idx="16771">
                  <c:v>-2.5210084033613299E-3</c:v>
                </c:pt>
                <c:pt idx="16772">
                  <c:v>-2.5210084033613299E-3</c:v>
                </c:pt>
                <c:pt idx="16773">
                  <c:v>-2.5210084033613299E-3</c:v>
                </c:pt>
                <c:pt idx="16774">
                  <c:v>-2.5210084033613299E-3</c:v>
                </c:pt>
                <c:pt idx="16775">
                  <c:v>-2.5210084033613299E-3</c:v>
                </c:pt>
                <c:pt idx="16776">
                  <c:v>-2.5210084033613299E-3</c:v>
                </c:pt>
                <c:pt idx="16777">
                  <c:v>-2.5210084033613299E-3</c:v>
                </c:pt>
                <c:pt idx="16778">
                  <c:v>-2.5210084033613299E-3</c:v>
                </c:pt>
                <c:pt idx="16779">
                  <c:v>-2.5210084033613299E-3</c:v>
                </c:pt>
                <c:pt idx="16780">
                  <c:v>-2.5210084033613299E-3</c:v>
                </c:pt>
                <c:pt idx="16781">
                  <c:v>-2.5210084033613299E-3</c:v>
                </c:pt>
                <c:pt idx="16782">
                  <c:v>-2.5210084033613299E-3</c:v>
                </c:pt>
                <c:pt idx="16783">
                  <c:v>-2.5210084033613299E-3</c:v>
                </c:pt>
                <c:pt idx="16784">
                  <c:v>-2.5210084033613299E-3</c:v>
                </c:pt>
                <c:pt idx="16785">
                  <c:v>-2.5210084033613299E-3</c:v>
                </c:pt>
                <c:pt idx="16786">
                  <c:v>-2.5210084033613299E-3</c:v>
                </c:pt>
                <c:pt idx="16787">
                  <c:v>-2.5210084033613299E-3</c:v>
                </c:pt>
                <c:pt idx="16788">
                  <c:v>-2.5210084033613299E-3</c:v>
                </c:pt>
                <c:pt idx="16789">
                  <c:v>-2.5210084033613299E-3</c:v>
                </c:pt>
                <c:pt idx="16790">
                  <c:v>-2.5210084033613299E-3</c:v>
                </c:pt>
                <c:pt idx="16791">
                  <c:v>-2.5210084033613299E-3</c:v>
                </c:pt>
                <c:pt idx="16792">
                  <c:v>-2.5210084033613299E-3</c:v>
                </c:pt>
                <c:pt idx="16793">
                  <c:v>-2.5210084033613299E-3</c:v>
                </c:pt>
                <c:pt idx="16794">
                  <c:v>-2.5210084033613299E-3</c:v>
                </c:pt>
                <c:pt idx="16795">
                  <c:v>-2.5210084033613299E-3</c:v>
                </c:pt>
                <c:pt idx="16796">
                  <c:v>-3.3613445378151102E-3</c:v>
                </c:pt>
                <c:pt idx="16797">
                  <c:v>-3.3613445378151102E-3</c:v>
                </c:pt>
                <c:pt idx="16798">
                  <c:v>-3.3613445378151102E-3</c:v>
                </c:pt>
                <c:pt idx="16799">
                  <c:v>-3.3613445378151102E-3</c:v>
                </c:pt>
                <c:pt idx="16800">
                  <c:v>-3.3613445378151102E-3</c:v>
                </c:pt>
                <c:pt idx="16801">
                  <c:v>-3.3613445378151102E-3</c:v>
                </c:pt>
                <c:pt idx="16802">
                  <c:v>-3.3613445378151102E-3</c:v>
                </c:pt>
                <c:pt idx="16803">
                  <c:v>-3.3613445378151102E-3</c:v>
                </c:pt>
                <c:pt idx="16804">
                  <c:v>-3.3613445378151102E-3</c:v>
                </c:pt>
                <c:pt idx="16805">
                  <c:v>-3.3613445378151102E-3</c:v>
                </c:pt>
                <c:pt idx="16806">
                  <c:v>-3.3613445378151102E-3</c:v>
                </c:pt>
                <c:pt idx="16807">
                  <c:v>-3.3613445378151102E-3</c:v>
                </c:pt>
                <c:pt idx="16808">
                  <c:v>-3.3613445378151102E-3</c:v>
                </c:pt>
                <c:pt idx="16809">
                  <c:v>-3.3613445378151102E-3</c:v>
                </c:pt>
                <c:pt idx="16810">
                  <c:v>-2.5210084033613299E-3</c:v>
                </c:pt>
                <c:pt idx="16811">
                  <c:v>-2.5210084033613299E-3</c:v>
                </c:pt>
                <c:pt idx="16812">
                  <c:v>-2.5210084033613299E-3</c:v>
                </c:pt>
                <c:pt idx="16813">
                  <c:v>-2.5210084033613299E-3</c:v>
                </c:pt>
                <c:pt idx="16814">
                  <c:v>-2.5210084033613299E-3</c:v>
                </c:pt>
                <c:pt idx="16815">
                  <c:v>-2.5210084033613299E-3</c:v>
                </c:pt>
                <c:pt idx="16816">
                  <c:v>-2.5210084033613299E-3</c:v>
                </c:pt>
                <c:pt idx="16817">
                  <c:v>-2.5210084033613299E-3</c:v>
                </c:pt>
                <c:pt idx="16818">
                  <c:v>-2.5210084033613299E-3</c:v>
                </c:pt>
                <c:pt idx="16819">
                  <c:v>-2.5210084033613299E-3</c:v>
                </c:pt>
                <c:pt idx="16820">
                  <c:v>-2.5210084033613299E-3</c:v>
                </c:pt>
                <c:pt idx="16821">
                  <c:v>-2.5210084033613299E-3</c:v>
                </c:pt>
                <c:pt idx="16822">
                  <c:v>-2.5210084033613299E-3</c:v>
                </c:pt>
                <c:pt idx="16823">
                  <c:v>-2.5210084033613299E-3</c:v>
                </c:pt>
                <c:pt idx="16824">
                  <c:v>-2.5210084033613299E-3</c:v>
                </c:pt>
                <c:pt idx="16825">
                  <c:v>-2.5210084033613299E-3</c:v>
                </c:pt>
                <c:pt idx="16826">
                  <c:v>-2.5210084033613299E-3</c:v>
                </c:pt>
                <c:pt idx="16827">
                  <c:v>-2.5210084033613299E-3</c:v>
                </c:pt>
                <c:pt idx="16828">
                  <c:v>-2.5210084033613299E-3</c:v>
                </c:pt>
                <c:pt idx="16829">
                  <c:v>-2.5210084033613299E-3</c:v>
                </c:pt>
                <c:pt idx="16830">
                  <c:v>-2.5210084033613299E-3</c:v>
                </c:pt>
                <c:pt idx="16831">
                  <c:v>-2.5210084033613299E-3</c:v>
                </c:pt>
                <c:pt idx="16832">
                  <c:v>-2.5210084033613299E-3</c:v>
                </c:pt>
                <c:pt idx="16833">
                  <c:v>-2.5210084033613299E-3</c:v>
                </c:pt>
                <c:pt idx="16834">
                  <c:v>-2.5210084033613299E-3</c:v>
                </c:pt>
                <c:pt idx="16835">
                  <c:v>-2.5210084033613299E-3</c:v>
                </c:pt>
                <c:pt idx="16836">
                  <c:v>-2.5210084033613299E-3</c:v>
                </c:pt>
                <c:pt idx="16837">
                  <c:v>-2.5210084033613299E-3</c:v>
                </c:pt>
                <c:pt idx="16838">
                  <c:v>-2.5210084033613299E-3</c:v>
                </c:pt>
                <c:pt idx="16839">
                  <c:v>-2.5210084033613299E-3</c:v>
                </c:pt>
                <c:pt idx="16840">
                  <c:v>-2.5210084033613299E-3</c:v>
                </c:pt>
                <c:pt idx="16841">
                  <c:v>-2.5210084033613299E-3</c:v>
                </c:pt>
                <c:pt idx="16842">
                  <c:v>-2.5210084033613299E-3</c:v>
                </c:pt>
                <c:pt idx="16843">
                  <c:v>-2.5210084033613299E-3</c:v>
                </c:pt>
                <c:pt idx="16844">
                  <c:v>-2.5210084033613299E-3</c:v>
                </c:pt>
                <c:pt idx="16845">
                  <c:v>-2.5210084033613299E-3</c:v>
                </c:pt>
                <c:pt idx="16846">
                  <c:v>-2.5210084033613299E-3</c:v>
                </c:pt>
                <c:pt idx="16847">
                  <c:v>-2.5210084033613299E-3</c:v>
                </c:pt>
                <c:pt idx="16848">
                  <c:v>-2.5210084033613299E-3</c:v>
                </c:pt>
                <c:pt idx="16849">
                  <c:v>-2.5210084033613299E-3</c:v>
                </c:pt>
                <c:pt idx="16850">
                  <c:v>-2.5210084033613299E-3</c:v>
                </c:pt>
                <c:pt idx="16851">
                  <c:v>-2.5210084033613299E-3</c:v>
                </c:pt>
                <c:pt idx="16852">
                  <c:v>-2.5210084033613299E-3</c:v>
                </c:pt>
                <c:pt idx="16853">
                  <c:v>-2.5210084033613299E-3</c:v>
                </c:pt>
                <c:pt idx="16854">
                  <c:v>-2.5210084033613299E-3</c:v>
                </c:pt>
                <c:pt idx="16855">
                  <c:v>-2.5210084033613299E-3</c:v>
                </c:pt>
                <c:pt idx="16856">
                  <c:v>-2.5210084033613299E-3</c:v>
                </c:pt>
                <c:pt idx="16857">
                  <c:v>-2.5210084033613299E-3</c:v>
                </c:pt>
                <c:pt idx="16858">
                  <c:v>-2.5210084033613299E-3</c:v>
                </c:pt>
                <c:pt idx="16859">
                  <c:v>-2.5210084033613299E-3</c:v>
                </c:pt>
                <c:pt idx="16860">
                  <c:v>-2.5210084033613299E-3</c:v>
                </c:pt>
                <c:pt idx="16861">
                  <c:v>-2.5210084033613299E-3</c:v>
                </c:pt>
                <c:pt idx="16862">
                  <c:v>-2.5210084033613299E-3</c:v>
                </c:pt>
                <c:pt idx="16863">
                  <c:v>-2.5210084033613299E-3</c:v>
                </c:pt>
                <c:pt idx="16864">
                  <c:v>-2.5210084033613299E-3</c:v>
                </c:pt>
                <c:pt idx="16865">
                  <c:v>-2.5210084033613299E-3</c:v>
                </c:pt>
                <c:pt idx="16866">
                  <c:v>-2.5210084033613299E-3</c:v>
                </c:pt>
                <c:pt idx="16867">
                  <c:v>-2.5210084033613299E-3</c:v>
                </c:pt>
                <c:pt idx="16868">
                  <c:v>-2.5210084033613299E-3</c:v>
                </c:pt>
                <c:pt idx="16869">
                  <c:v>-2.5210084033613299E-3</c:v>
                </c:pt>
                <c:pt idx="16870">
                  <c:v>-2.5210084033613299E-3</c:v>
                </c:pt>
                <c:pt idx="16871">
                  <c:v>-2.5210084033613299E-3</c:v>
                </c:pt>
                <c:pt idx="16872">
                  <c:v>-2.5210084033613299E-3</c:v>
                </c:pt>
                <c:pt idx="16873">
                  <c:v>-2.5210084033613299E-3</c:v>
                </c:pt>
                <c:pt idx="16874">
                  <c:v>-2.5210084033613299E-3</c:v>
                </c:pt>
                <c:pt idx="16875">
                  <c:v>-2.5210084033613299E-3</c:v>
                </c:pt>
                <c:pt idx="16876">
                  <c:v>-2.5210084033613299E-3</c:v>
                </c:pt>
                <c:pt idx="16877">
                  <c:v>-2.5210084033613299E-3</c:v>
                </c:pt>
                <c:pt idx="16878">
                  <c:v>-2.5210084033613299E-3</c:v>
                </c:pt>
                <c:pt idx="16879">
                  <c:v>-2.5210084033613299E-3</c:v>
                </c:pt>
                <c:pt idx="16880">
                  <c:v>-2.5210084033613299E-3</c:v>
                </c:pt>
                <c:pt idx="16881">
                  <c:v>-2.5210084033613299E-3</c:v>
                </c:pt>
                <c:pt idx="16882">
                  <c:v>-2.5210084033613299E-3</c:v>
                </c:pt>
                <c:pt idx="16883">
                  <c:v>-2.5210084033613299E-3</c:v>
                </c:pt>
                <c:pt idx="16884">
                  <c:v>-2.5210084033613299E-3</c:v>
                </c:pt>
                <c:pt idx="16885">
                  <c:v>-1.6806722689075499E-3</c:v>
                </c:pt>
                <c:pt idx="16886">
                  <c:v>-1.6806722689075499E-3</c:v>
                </c:pt>
                <c:pt idx="16887">
                  <c:v>-1.6806722689075499E-3</c:v>
                </c:pt>
                <c:pt idx="16888">
                  <c:v>-1.6806722689075499E-3</c:v>
                </c:pt>
                <c:pt idx="16889">
                  <c:v>-1.6806722689075499E-3</c:v>
                </c:pt>
                <c:pt idx="16890">
                  <c:v>-1.6806722689075499E-3</c:v>
                </c:pt>
                <c:pt idx="16891">
                  <c:v>-1.6806722689075499E-3</c:v>
                </c:pt>
                <c:pt idx="16892">
                  <c:v>-1.6806722689075499E-3</c:v>
                </c:pt>
                <c:pt idx="16893">
                  <c:v>-1.6806722689075499E-3</c:v>
                </c:pt>
                <c:pt idx="16894">
                  <c:v>-1.6806722689075499E-3</c:v>
                </c:pt>
                <c:pt idx="16895">
                  <c:v>-1.6806722689075499E-3</c:v>
                </c:pt>
                <c:pt idx="16896">
                  <c:v>-1.6806722689075499E-3</c:v>
                </c:pt>
                <c:pt idx="16897">
                  <c:v>-1.6806722689075499E-3</c:v>
                </c:pt>
                <c:pt idx="16898">
                  <c:v>-1.6806722689075499E-3</c:v>
                </c:pt>
                <c:pt idx="16899">
                  <c:v>-1.6806722689075499E-3</c:v>
                </c:pt>
                <c:pt idx="16900">
                  <c:v>-1.6806722689075499E-3</c:v>
                </c:pt>
                <c:pt idx="16901">
                  <c:v>-1.6806722689075499E-3</c:v>
                </c:pt>
                <c:pt idx="16902">
                  <c:v>-1.6806722689075499E-3</c:v>
                </c:pt>
                <c:pt idx="16903">
                  <c:v>-1.6806722689075499E-3</c:v>
                </c:pt>
                <c:pt idx="16904">
                  <c:v>-1.6806722689075499E-3</c:v>
                </c:pt>
                <c:pt idx="16905">
                  <c:v>-1.6806722689075499E-3</c:v>
                </c:pt>
                <c:pt idx="16906">
                  <c:v>-1.6806722689075499E-3</c:v>
                </c:pt>
                <c:pt idx="16907">
                  <c:v>-1.6806722689075499E-3</c:v>
                </c:pt>
                <c:pt idx="16908">
                  <c:v>-1.6806722689075499E-3</c:v>
                </c:pt>
                <c:pt idx="16909">
                  <c:v>-1.6806722689075499E-3</c:v>
                </c:pt>
                <c:pt idx="16910">
                  <c:v>-1.6806722689075499E-3</c:v>
                </c:pt>
                <c:pt idx="16911">
                  <c:v>-1.6806722689075499E-3</c:v>
                </c:pt>
                <c:pt idx="16912">
                  <c:v>-1.6806722689075499E-3</c:v>
                </c:pt>
                <c:pt idx="16913">
                  <c:v>-1.6806722689075499E-3</c:v>
                </c:pt>
                <c:pt idx="16914">
                  <c:v>-1.6806722689075499E-3</c:v>
                </c:pt>
                <c:pt idx="16915">
                  <c:v>-1.6806722689075499E-3</c:v>
                </c:pt>
                <c:pt idx="16916">
                  <c:v>-1.6806722689075499E-3</c:v>
                </c:pt>
                <c:pt idx="16917">
                  <c:v>-1.6806722689075499E-3</c:v>
                </c:pt>
                <c:pt idx="16918">
                  <c:v>-1.6806722689075499E-3</c:v>
                </c:pt>
                <c:pt idx="16919">
                  <c:v>-1.6806722689075499E-3</c:v>
                </c:pt>
                <c:pt idx="16920">
                  <c:v>-1.6806722689075499E-3</c:v>
                </c:pt>
                <c:pt idx="16921">
                  <c:v>-1.6806722689075499E-3</c:v>
                </c:pt>
                <c:pt idx="16922">
                  <c:v>-1.6806722689075499E-3</c:v>
                </c:pt>
                <c:pt idx="16923">
                  <c:v>-1.6806722689075499E-3</c:v>
                </c:pt>
                <c:pt idx="16924">
                  <c:v>-1.6806722689075499E-3</c:v>
                </c:pt>
                <c:pt idx="16925">
                  <c:v>-1.6806722689075499E-3</c:v>
                </c:pt>
                <c:pt idx="16926">
                  <c:v>-1.6806722689075499E-3</c:v>
                </c:pt>
                <c:pt idx="16927">
                  <c:v>-1.6806722689075499E-3</c:v>
                </c:pt>
                <c:pt idx="16928">
                  <c:v>-1.6806722689075499E-3</c:v>
                </c:pt>
                <c:pt idx="16929">
                  <c:v>-1.6806722689075499E-3</c:v>
                </c:pt>
                <c:pt idx="16930">
                  <c:v>-1.6806722689075499E-3</c:v>
                </c:pt>
                <c:pt idx="16931">
                  <c:v>-1.6806722689075499E-3</c:v>
                </c:pt>
                <c:pt idx="16932">
                  <c:v>-1.6806722689075499E-3</c:v>
                </c:pt>
                <c:pt idx="16933">
                  <c:v>-1.6806722689075499E-3</c:v>
                </c:pt>
                <c:pt idx="16934">
                  <c:v>-1.6806722689075499E-3</c:v>
                </c:pt>
                <c:pt idx="16935">
                  <c:v>-1.6806722689075499E-3</c:v>
                </c:pt>
                <c:pt idx="16936">
                  <c:v>-1.6806722689075499E-3</c:v>
                </c:pt>
                <c:pt idx="16937">
                  <c:v>-1.6806722689075499E-3</c:v>
                </c:pt>
                <c:pt idx="16938">
                  <c:v>-1.6806722689075499E-3</c:v>
                </c:pt>
                <c:pt idx="16939">
                  <c:v>-1.6806722689075499E-3</c:v>
                </c:pt>
                <c:pt idx="16940">
                  <c:v>-1.6806722689075499E-3</c:v>
                </c:pt>
                <c:pt idx="16941">
                  <c:v>-1.6806722689075499E-3</c:v>
                </c:pt>
                <c:pt idx="16942">
                  <c:v>-8.4033613445377799E-4</c:v>
                </c:pt>
                <c:pt idx="16943">
                  <c:v>-8.4033613445377799E-4</c:v>
                </c:pt>
                <c:pt idx="16944">
                  <c:v>-8.4033613445377799E-4</c:v>
                </c:pt>
                <c:pt idx="16945">
                  <c:v>-8.4033613445377799E-4</c:v>
                </c:pt>
                <c:pt idx="16946">
                  <c:v>-8.4033613445377799E-4</c:v>
                </c:pt>
                <c:pt idx="16947">
                  <c:v>-8.4033613445377799E-4</c:v>
                </c:pt>
                <c:pt idx="16948">
                  <c:v>-8.4033613445377799E-4</c:v>
                </c:pt>
                <c:pt idx="16949">
                  <c:v>-8.4033613445377799E-4</c:v>
                </c:pt>
                <c:pt idx="16950">
                  <c:v>-8.4033613445377799E-4</c:v>
                </c:pt>
                <c:pt idx="16951">
                  <c:v>0</c:v>
                </c:pt>
                <c:pt idx="16952">
                  <c:v>0</c:v>
                </c:pt>
                <c:pt idx="16953">
                  <c:v>0</c:v>
                </c:pt>
                <c:pt idx="16954">
                  <c:v>0</c:v>
                </c:pt>
                <c:pt idx="16955">
                  <c:v>0</c:v>
                </c:pt>
                <c:pt idx="16956">
                  <c:v>0</c:v>
                </c:pt>
                <c:pt idx="16957">
                  <c:v>0</c:v>
                </c:pt>
                <c:pt idx="16958">
                  <c:v>0</c:v>
                </c:pt>
                <c:pt idx="16959">
                  <c:v>0</c:v>
                </c:pt>
                <c:pt idx="16960">
                  <c:v>0</c:v>
                </c:pt>
                <c:pt idx="16961">
                  <c:v>0</c:v>
                </c:pt>
                <c:pt idx="16962">
                  <c:v>0</c:v>
                </c:pt>
                <c:pt idx="16963">
                  <c:v>0</c:v>
                </c:pt>
                <c:pt idx="16964">
                  <c:v>0</c:v>
                </c:pt>
                <c:pt idx="16965">
                  <c:v>0</c:v>
                </c:pt>
                <c:pt idx="16966">
                  <c:v>8.4033613445377799E-4</c:v>
                </c:pt>
                <c:pt idx="16967">
                  <c:v>8.4033613445377799E-4</c:v>
                </c:pt>
                <c:pt idx="16968">
                  <c:v>8.4033613445377799E-4</c:v>
                </c:pt>
                <c:pt idx="16969">
                  <c:v>8.4033613445377799E-4</c:v>
                </c:pt>
                <c:pt idx="16970">
                  <c:v>8.4033613445377799E-4</c:v>
                </c:pt>
                <c:pt idx="16971">
                  <c:v>8.4033613445377799E-4</c:v>
                </c:pt>
                <c:pt idx="16972">
                  <c:v>8.4033613445377799E-4</c:v>
                </c:pt>
                <c:pt idx="16973">
                  <c:v>8.4033613445377799E-4</c:v>
                </c:pt>
                <c:pt idx="16974">
                  <c:v>8.4033613445377799E-4</c:v>
                </c:pt>
                <c:pt idx="16975">
                  <c:v>8.4033613445377799E-4</c:v>
                </c:pt>
                <c:pt idx="16976">
                  <c:v>8.4033613445377799E-4</c:v>
                </c:pt>
                <c:pt idx="16977">
                  <c:v>8.4033613445377799E-4</c:v>
                </c:pt>
                <c:pt idx="16978">
                  <c:v>8.4033613445377799E-4</c:v>
                </c:pt>
                <c:pt idx="16979">
                  <c:v>8.4033613445377799E-4</c:v>
                </c:pt>
                <c:pt idx="16980">
                  <c:v>8.4033613445377799E-4</c:v>
                </c:pt>
                <c:pt idx="16981">
                  <c:v>8.4033613445377799E-4</c:v>
                </c:pt>
                <c:pt idx="16982">
                  <c:v>8.4033613445377799E-4</c:v>
                </c:pt>
                <c:pt idx="16983">
                  <c:v>8.4033613445377799E-4</c:v>
                </c:pt>
                <c:pt idx="16984">
                  <c:v>8.4033613445377799E-4</c:v>
                </c:pt>
                <c:pt idx="16985">
                  <c:v>8.4033613445377799E-4</c:v>
                </c:pt>
                <c:pt idx="16986">
                  <c:v>8.4033613445377799E-4</c:v>
                </c:pt>
                <c:pt idx="16987">
                  <c:v>8.4033613445377799E-4</c:v>
                </c:pt>
                <c:pt idx="16988">
                  <c:v>8.4033613445377799E-4</c:v>
                </c:pt>
                <c:pt idx="16989">
                  <c:v>8.4033613445377799E-4</c:v>
                </c:pt>
                <c:pt idx="16990">
                  <c:v>8.4033613445377799E-4</c:v>
                </c:pt>
                <c:pt idx="16991">
                  <c:v>8.4033613445377799E-4</c:v>
                </c:pt>
                <c:pt idx="16992">
                  <c:v>8.4033613445377799E-4</c:v>
                </c:pt>
                <c:pt idx="16993">
                  <c:v>8.4033613445377799E-4</c:v>
                </c:pt>
                <c:pt idx="16994">
                  <c:v>1.6806722689075499E-3</c:v>
                </c:pt>
                <c:pt idx="16995">
                  <c:v>1.6806722689075499E-3</c:v>
                </c:pt>
                <c:pt idx="16996">
                  <c:v>1.6806722689075499E-3</c:v>
                </c:pt>
                <c:pt idx="16997">
                  <c:v>1.6806722689075499E-3</c:v>
                </c:pt>
                <c:pt idx="16998">
                  <c:v>1.6806722689075499E-3</c:v>
                </c:pt>
                <c:pt idx="16999">
                  <c:v>1.6806722689075499E-3</c:v>
                </c:pt>
                <c:pt idx="17000">
                  <c:v>1.6806722689075499E-3</c:v>
                </c:pt>
                <c:pt idx="17001">
                  <c:v>1.6806722689075499E-3</c:v>
                </c:pt>
                <c:pt idx="17002">
                  <c:v>1.6806722689075499E-3</c:v>
                </c:pt>
                <c:pt idx="17003">
                  <c:v>1.6806722689075499E-3</c:v>
                </c:pt>
                <c:pt idx="17004">
                  <c:v>1.6806722689075499E-3</c:v>
                </c:pt>
                <c:pt idx="17005">
                  <c:v>1.6806722689075499E-3</c:v>
                </c:pt>
                <c:pt idx="17006">
                  <c:v>1.6806722689075499E-3</c:v>
                </c:pt>
                <c:pt idx="17007">
                  <c:v>1.6806722689075499E-3</c:v>
                </c:pt>
                <c:pt idx="17008">
                  <c:v>1.6806722689075499E-3</c:v>
                </c:pt>
                <c:pt idx="17009">
                  <c:v>1.6806722689075499E-3</c:v>
                </c:pt>
                <c:pt idx="17010">
                  <c:v>1.6806722689075499E-3</c:v>
                </c:pt>
                <c:pt idx="17011">
                  <c:v>1.6806722689075499E-3</c:v>
                </c:pt>
                <c:pt idx="17012">
                  <c:v>1.6806722689075499E-3</c:v>
                </c:pt>
                <c:pt idx="17013">
                  <c:v>1.6806722689075499E-3</c:v>
                </c:pt>
                <c:pt idx="17014">
                  <c:v>1.6806722689075499E-3</c:v>
                </c:pt>
                <c:pt idx="17015">
                  <c:v>1.6806722689075499E-3</c:v>
                </c:pt>
                <c:pt idx="17016">
                  <c:v>1.6806722689075499E-3</c:v>
                </c:pt>
                <c:pt idx="17017">
                  <c:v>1.6806722689075499E-3</c:v>
                </c:pt>
                <c:pt idx="17018">
                  <c:v>1.6806722689075499E-3</c:v>
                </c:pt>
                <c:pt idx="17019">
                  <c:v>1.6806722689075499E-3</c:v>
                </c:pt>
                <c:pt idx="17020">
                  <c:v>1.6806722689075499E-3</c:v>
                </c:pt>
                <c:pt idx="17021">
                  <c:v>1.6806722689075499E-3</c:v>
                </c:pt>
                <c:pt idx="17022">
                  <c:v>1.6806722689075499E-3</c:v>
                </c:pt>
                <c:pt idx="17023">
                  <c:v>1.6806722689075499E-3</c:v>
                </c:pt>
                <c:pt idx="17024">
                  <c:v>1.6806722689075499E-3</c:v>
                </c:pt>
                <c:pt idx="17025">
                  <c:v>1.6806722689075499E-3</c:v>
                </c:pt>
                <c:pt idx="17026">
                  <c:v>1.6806722689075499E-3</c:v>
                </c:pt>
                <c:pt idx="17027">
                  <c:v>1.6806722689075499E-3</c:v>
                </c:pt>
                <c:pt idx="17028">
                  <c:v>1.6806722689075499E-3</c:v>
                </c:pt>
                <c:pt idx="17029">
                  <c:v>1.6806722689075499E-3</c:v>
                </c:pt>
                <c:pt idx="17030">
                  <c:v>1.6806722689075499E-3</c:v>
                </c:pt>
                <c:pt idx="17031">
                  <c:v>1.6806722689075499E-3</c:v>
                </c:pt>
                <c:pt idx="17032">
                  <c:v>1.6806722689075499E-3</c:v>
                </c:pt>
                <c:pt idx="17033">
                  <c:v>1.6806722689075499E-3</c:v>
                </c:pt>
                <c:pt idx="17034">
                  <c:v>1.6806722689075499E-3</c:v>
                </c:pt>
                <c:pt idx="17035">
                  <c:v>1.6806722689075499E-3</c:v>
                </c:pt>
                <c:pt idx="17036">
                  <c:v>1.6806722689075499E-3</c:v>
                </c:pt>
                <c:pt idx="17037">
                  <c:v>1.6806722689075499E-3</c:v>
                </c:pt>
                <c:pt idx="17038">
                  <c:v>2.5210084033613299E-3</c:v>
                </c:pt>
                <c:pt idx="17039">
                  <c:v>2.5210084033613299E-3</c:v>
                </c:pt>
                <c:pt idx="17040">
                  <c:v>2.5210084033613299E-3</c:v>
                </c:pt>
                <c:pt idx="17041">
                  <c:v>2.5210084033613299E-3</c:v>
                </c:pt>
                <c:pt idx="17042">
                  <c:v>2.5210084033613299E-3</c:v>
                </c:pt>
                <c:pt idx="17043">
                  <c:v>2.5210084033613299E-3</c:v>
                </c:pt>
                <c:pt idx="17044">
                  <c:v>2.5210084033613299E-3</c:v>
                </c:pt>
                <c:pt idx="17045">
                  <c:v>2.5210084033613299E-3</c:v>
                </c:pt>
                <c:pt idx="17046">
                  <c:v>2.5210084033613299E-3</c:v>
                </c:pt>
                <c:pt idx="17047">
                  <c:v>2.5210084033613299E-3</c:v>
                </c:pt>
                <c:pt idx="17048">
                  <c:v>2.5210084033613299E-3</c:v>
                </c:pt>
                <c:pt idx="17049">
                  <c:v>2.5210084033613299E-3</c:v>
                </c:pt>
                <c:pt idx="17050">
                  <c:v>2.5210084033613299E-3</c:v>
                </c:pt>
                <c:pt idx="17051">
                  <c:v>2.5210084033613299E-3</c:v>
                </c:pt>
                <c:pt idx="17052">
                  <c:v>2.5210084033613299E-3</c:v>
                </c:pt>
                <c:pt idx="17053">
                  <c:v>2.5210084033613299E-3</c:v>
                </c:pt>
                <c:pt idx="17054">
                  <c:v>2.5210084033613299E-3</c:v>
                </c:pt>
                <c:pt idx="17055">
                  <c:v>2.5210084033613299E-3</c:v>
                </c:pt>
                <c:pt idx="17056">
                  <c:v>2.5210084033613299E-3</c:v>
                </c:pt>
                <c:pt idx="17057">
                  <c:v>2.5210084033613299E-3</c:v>
                </c:pt>
                <c:pt idx="17058">
                  <c:v>2.5210084033613299E-3</c:v>
                </c:pt>
                <c:pt idx="17059">
                  <c:v>2.5210084033613299E-3</c:v>
                </c:pt>
                <c:pt idx="17060">
                  <c:v>2.5210084033613299E-3</c:v>
                </c:pt>
                <c:pt idx="17061">
                  <c:v>2.5210084033613299E-3</c:v>
                </c:pt>
                <c:pt idx="17062">
                  <c:v>2.5210084033613299E-3</c:v>
                </c:pt>
                <c:pt idx="17063">
                  <c:v>2.5210084033613299E-3</c:v>
                </c:pt>
                <c:pt idx="17064">
                  <c:v>2.5210084033613299E-3</c:v>
                </c:pt>
                <c:pt idx="17065">
                  <c:v>2.5210084033613299E-3</c:v>
                </c:pt>
                <c:pt idx="17066">
                  <c:v>2.5210084033613299E-3</c:v>
                </c:pt>
                <c:pt idx="17067">
                  <c:v>2.5210084033613299E-3</c:v>
                </c:pt>
                <c:pt idx="17068">
                  <c:v>2.5210084033613299E-3</c:v>
                </c:pt>
                <c:pt idx="17069">
                  <c:v>2.5210084033613299E-3</c:v>
                </c:pt>
                <c:pt idx="17070">
                  <c:v>2.5210084033613299E-3</c:v>
                </c:pt>
                <c:pt idx="17071">
                  <c:v>2.5210084033613299E-3</c:v>
                </c:pt>
                <c:pt idx="17072">
                  <c:v>2.5210084033613299E-3</c:v>
                </c:pt>
                <c:pt idx="17073">
                  <c:v>2.5210084033613299E-3</c:v>
                </c:pt>
                <c:pt idx="17074">
                  <c:v>2.5210084033613299E-3</c:v>
                </c:pt>
                <c:pt idx="17075">
                  <c:v>2.5210084033613299E-3</c:v>
                </c:pt>
                <c:pt idx="17076">
                  <c:v>2.5210084033613299E-3</c:v>
                </c:pt>
                <c:pt idx="17077">
                  <c:v>2.5210084033613299E-3</c:v>
                </c:pt>
                <c:pt idx="17078">
                  <c:v>2.5210084033613299E-3</c:v>
                </c:pt>
                <c:pt idx="17079">
                  <c:v>2.5210084033613299E-3</c:v>
                </c:pt>
                <c:pt idx="17080">
                  <c:v>2.5210084033613299E-3</c:v>
                </c:pt>
                <c:pt idx="17081">
                  <c:v>2.5210084033613299E-3</c:v>
                </c:pt>
                <c:pt idx="17082">
                  <c:v>2.5210084033613299E-3</c:v>
                </c:pt>
                <c:pt idx="17083">
                  <c:v>2.5210084033613299E-3</c:v>
                </c:pt>
                <c:pt idx="17084">
                  <c:v>2.5210084033613299E-3</c:v>
                </c:pt>
                <c:pt idx="17085">
                  <c:v>2.5210084033613299E-3</c:v>
                </c:pt>
                <c:pt idx="17086">
                  <c:v>2.5210084033613299E-3</c:v>
                </c:pt>
                <c:pt idx="17087">
                  <c:v>2.5210084033613299E-3</c:v>
                </c:pt>
                <c:pt idx="17088">
                  <c:v>2.5210084033613299E-3</c:v>
                </c:pt>
                <c:pt idx="17089">
                  <c:v>2.5210084033613299E-3</c:v>
                </c:pt>
                <c:pt idx="17090">
                  <c:v>2.5210084033613299E-3</c:v>
                </c:pt>
                <c:pt idx="17091">
                  <c:v>2.5210084033613299E-3</c:v>
                </c:pt>
                <c:pt idx="17092">
                  <c:v>2.5210084033613299E-3</c:v>
                </c:pt>
                <c:pt idx="17093">
                  <c:v>3.3613445378151102E-3</c:v>
                </c:pt>
                <c:pt idx="17094">
                  <c:v>3.3613445378151102E-3</c:v>
                </c:pt>
                <c:pt idx="17095">
                  <c:v>3.3613445378151102E-3</c:v>
                </c:pt>
                <c:pt idx="17096">
                  <c:v>3.3613445378151102E-3</c:v>
                </c:pt>
                <c:pt idx="17097">
                  <c:v>3.3613445378151102E-3</c:v>
                </c:pt>
                <c:pt idx="17098">
                  <c:v>3.3613445378151102E-3</c:v>
                </c:pt>
                <c:pt idx="17099">
                  <c:v>3.3613445378151102E-3</c:v>
                </c:pt>
                <c:pt idx="17100">
                  <c:v>3.3613445378151102E-3</c:v>
                </c:pt>
                <c:pt idx="17101">
                  <c:v>3.3613445378151102E-3</c:v>
                </c:pt>
                <c:pt idx="17102">
                  <c:v>3.3613445378151102E-3</c:v>
                </c:pt>
                <c:pt idx="17103">
                  <c:v>3.3613445378151102E-3</c:v>
                </c:pt>
                <c:pt idx="17104">
                  <c:v>3.3613445378151102E-3</c:v>
                </c:pt>
                <c:pt idx="17105">
                  <c:v>3.3613445378151102E-3</c:v>
                </c:pt>
                <c:pt idx="17106">
                  <c:v>3.3613445378151102E-3</c:v>
                </c:pt>
                <c:pt idx="17107">
                  <c:v>3.3613445378151102E-3</c:v>
                </c:pt>
                <c:pt idx="17108">
                  <c:v>3.3613445378151102E-3</c:v>
                </c:pt>
                <c:pt idx="17109">
                  <c:v>3.3613445378151102E-3</c:v>
                </c:pt>
                <c:pt idx="17110">
                  <c:v>3.3613445378151102E-3</c:v>
                </c:pt>
                <c:pt idx="17111">
                  <c:v>3.3613445378151102E-3</c:v>
                </c:pt>
                <c:pt idx="17112">
                  <c:v>3.3613445378151102E-3</c:v>
                </c:pt>
                <c:pt idx="17113">
                  <c:v>4.20168067226889E-3</c:v>
                </c:pt>
                <c:pt idx="17114">
                  <c:v>4.20168067226889E-3</c:v>
                </c:pt>
                <c:pt idx="17115">
                  <c:v>4.20168067226889E-3</c:v>
                </c:pt>
                <c:pt idx="17116">
                  <c:v>4.20168067226889E-3</c:v>
                </c:pt>
                <c:pt idx="17117">
                  <c:v>4.20168067226889E-3</c:v>
                </c:pt>
                <c:pt idx="17118">
                  <c:v>4.20168067226889E-3</c:v>
                </c:pt>
                <c:pt idx="17119">
                  <c:v>4.20168067226889E-3</c:v>
                </c:pt>
                <c:pt idx="17120">
                  <c:v>4.20168067226889E-3</c:v>
                </c:pt>
                <c:pt idx="17121">
                  <c:v>4.20168067226889E-3</c:v>
                </c:pt>
                <c:pt idx="17122">
                  <c:v>4.20168067226889E-3</c:v>
                </c:pt>
                <c:pt idx="17123">
                  <c:v>4.20168067226889E-3</c:v>
                </c:pt>
                <c:pt idx="17124">
                  <c:v>4.20168067226889E-3</c:v>
                </c:pt>
                <c:pt idx="17125">
                  <c:v>4.20168067226889E-3</c:v>
                </c:pt>
                <c:pt idx="17126">
                  <c:v>4.20168067226889E-3</c:v>
                </c:pt>
                <c:pt idx="17127">
                  <c:v>4.20168067226889E-3</c:v>
                </c:pt>
                <c:pt idx="17128">
                  <c:v>4.20168067226889E-3</c:v>
                </c:pt>
                <c:pt idx="17129">
                  <c:v>4.20168067226889E-3</c:v>
                </c:pt>
                <c:pt idx="17130">
                  <c:v>4.20168067226889E-3</c:v>
                </c:pt>
                <c:pt idx="17131">
                  <c:v>4.20168067226889E-3</c:v>
                </c:pt>
                <c:pt idx="17132">
                  <c:v>4.20168067226889E-3</c:v>
                </c:pt>
                <c:pt idx="17133">
                  <c:v>4.20168067226889E-3</c:v>
                </c:pt>
                <c:pt idx="17134">
                  <c:v>4.20168067226889E-3</c:v>
                </c:pt>
                <c:pt idx="17135">
                  <c:v>4.20168067226889E-3</c:v>
                </c:pt>
                <c:pt idx="17136">
                  <c:v>4.20168067226889E-3</c:v>
                </c:pt>
                <c:pt idx="17137">
                  <c:v>4.20168067226889E-3</c:v>
                </c:pt>
                <c:pt idx="17138">
                  <c:v>4.20168067226889E-3</c:v>
                </c:pt>
                <c:pt idx="17139">
                  <c:v>4.20168067226889E-3</c:v>
                </c:pt>
                <c:pt idx="17140">
                  <c:v>4.20168067226889E-3</c:v>
                </c:pt>
                <c:pt idx="17141">
                  <c:v>4.20168067226889E-3</c:v>
                </c:pt>
                <c:pt idx="17142">
                  <c:v>4.20168067226889E-3</c:v>
                </c:pt>
                <c:pt idx="17143">
                  <c:v>4.20168067226889E-3</c:v>
                </c:pt>
                <c:pt idx="17144">
                  <c:v>3.3613445378151102E-3</c:v>
                </c:pt>
                <c:pt idx="17145">
                  <c:v>3.3613445378151102E-3</c:v>
                </c:pt>
                <c:pt idx="17146">
                  <c:v>3.3613445378151102E-3</c:v>
                </c:pt>
                <c:pt idx="17147">
                  <c:v>3.3613445378151102E-3</c:v>
                </c:pt>
                <c:pt idx="17148">
                  <c:v>3.3613445378151102E-3</c:v>
                </c:pt>
                <c:pt idx="17149">
                  <c:v>3.3613445378151102E-3</c:v>
                </c:pt>
                <c:pt idx="17150">
                  <c:v>3.3613445378151102E-3</c:v>
                </c:pt>
                <c:pt idx="17151">
                  <c:v>3.3613445378151102E-3</c:v>
                </c:pt>
                <c:pt idx="17152">
                  <c:v>3.3613445378151102E-3</c:v>
                </c:pt>
                <c:pt idx="17153">
                  <c:v>3.3613445378151102E-3</c:v>
                </c:pt>
                <c:pt idx="17154">
                  <c:v>3.3613445378151102E-3</c:v>
                </c:pt>
                <c:pt idx="17155">
                  <c:v>3.3613445378151102E-3</c:v>
                </c:pt>
                <c:pt idx="17156">
                  <c:v>3.3613445378151102E-3</c:v>
                </c:pt>
                <c:pt idx="17157">
                  <c:v>3.3613445378151102E-3</c:v>
                </c:pt>
                <c:pt idx="17158">
                  <c:v>3.3613445378151102E-3</c:v>
                </c:pt>
                <c:pt idx="17159">
                  <c:v>3.3613445378151102E-3</c:v>
                </c:pt>
                <c:pt idx="17160">
                  <c:v>3.3613445378151102E-3</c:v>
                </c:pt>
                <c:pt idx="17161">
                  <c:v>3.3613445378151102E-3</c:v>
                </c:pt>
                <c:pt idx="17162">
                  <c:v>3.3613445378151102E-3</c:v>
                </c:pt>
                <c:pt idx="17163">
                  <c:v>3.3613445378151102E-3</c:v>
                </c:pt>
                <c:pt idx="17164">
                  <c:v>3.3613445378151102E-3</c:v>
                </c:pt>
                <c:pt idx="17165">
                  <c:v>2.5210084033613299E-3</c:v>
                </c:pt>
                <c:pt idx="17166">
                  <c:v>2.5210084033613299E-3</c:v>
                </c:pt>
                <c:pt idx="17167">
                  <c:v>2.5210084033613299E-3</c:v>
                </c:pt>
                <c:pt idx="17168">
                  <c:v>2.5210084033613299E-3</c:v>
                </c:pt>
                <c:pt idx="17169">
                  <c:v>2.5210084033613299E-3</c:v>
                </c:pt>
                <c:pt idx="17170">
                  <c:v>2.5210084033613299E-3</c:v>
                </c:pt>
                <c:pt idx="17171">
                  <c:v>2.5210084033613299E-3</c:v>
                </c:pt>
                <c:pt idx="17172">
                  <c:v>2.5210084033613299E-3</c:v>
                </c:pt>
                <c:pt idx="17173">
                  <c:v>2.5210084033613299E-3</c:v>
                </c:pt>
                <c:pt idx="17174">
                  <c:v>2.5210084033613299E-3</c:v>
                </c:pt>
                <c:pt idx="17175">
                  <c:v>2.5210084033613299E-3</c:v>
                </c:pt>
                <c:pt idx="17176">
                  <c:v>2.5210084033613299E-3</c:v>
                </c:pt>
                <c:pt idx="17177">
                  <c:v>2.5210084033613299E-3</c:v>
                </c:pt>
                <c:pt idx="17178">
                  <c:v>2.5210084033613299E-3</c:v>
                </c:pt>
                <c:pt idx="17179">
                  <c:v>2.5210084033613299E-3</c:v>
                </c:pt>
                <c:pt idx="17180">
                  <c:v>2.5210084033613299E-3</c:v>
                </c:pt>
                <c:pt idx="17181">
                  <c:v>2.5210084033613299E-3</c:v>
                </c:pt>
                <c:pt idx="17182">
                  <c:v>2.5210084033613299E-3</c:v>
                </c:pt>
                <c:pt idx="17183">
                  <c:v>2.5210084033613299E-3</c:v>
                </c:pt>
                <c:pt idx="17184">
                  <c:v>2.5210084033613299E-3</c:v>
                </c:pt>
                <c:pt idx="17185">
                  <c:v>2.5210084033613299E-3</c:v>
                </c:pt>
                <c:pt idx="17186">
                  <c:v>2.5210084033613299E-3</c:v>
                </c:pt>
                <c:pt idx="17187">
                  <c:v>2.5210084033613299E-3</c:v>
                </c:pt>
                <c:pt idx="17188">
                  <c:v>2.5210084033613299E-3</c:v>
                </c:pt>
                <c:pt idx="17189">
                  <c:v>2.5210084033613299E-3</c:v>
                </c:pt>
                <c:pt idx="17190">
                  <c:v>2.5210084033613299E-3</c:v>
                </c:pt>
                <c:pt idx="17191">
                  <c:v>2.5210084033613299E-3</c:v>
                </c:pt>
                <c:pt idx="17192">
                  <c:v>2.5210084033613299E-3</c:v>
                </c:pt>
                <c:pt idx="17193">
                  <c:v>2.5210084033613299E-3</c:v>
                </c:pt>
                <c:pt idx="17194">
                  <c:v>2.5210084033613299E-3</c:v>
                </c:pt>
                <c:pt idx="17195">
                  <c:v>2.5210084033613299E-3</c:v>
                </c:pt>
                <c:pt idx="17196">
                  <c:v>2.5210084033613299E-3</c:v>
                </c:pt>
                <c:pt idx="17197">
                  <c:v>2.5210084033613299E-3</c:v>
                </c:pt>
                <c:pt idx="17198">
                  <c:v>2.5210084033613299E-3</c:v>
                </c:pt>
                <c:pt idx="17199">
                  <c:v>2.5210084033613299E-3</c:v>
                </c:pt>
                <c:pt idx="17200">
                  <c:v>2.5210084033613299E-3</c:v>
                </c:pt>
                <c:pt idx="17201">
                  <c:v>2.5210084033613299E-3</c:v>
                </c:pt>
                <c:pt idx="17202">
                  <c:v>2.5210084033613299E-3</c:v>
                </c:pt>
                <c:pt idx="17203">
                  <c:v>2.5210084033613299E-3</c:v>
                </c:pt>
                <c:pt idx="17204">
                  <c:v>2.5210084033613299E-3</c:v>
                </c:pt>
                <c:pt idx="17205">
                  <c:v>2.5210084033613299E-3</c:v>
                </c:pt>
                <c:pt idx="17206">
                  <c:v>2.5210084033613299E-3</c:v>
                </c:pt>
                <c:pt idx="17207">
                  <c:v>2.5210084033613299E-3</c:v>
                </c:pt>
                <c:pt idx="17208">
                  <c:v>2.5210084033613299E-3</c:v>
                </c:pt>
                <c:pt idx="17209">
                  <c:v>2.5210084033613299E-3</c:v>
                </c:pt>
                <c:pt idx="17210">
                  <c:v>2.5210084033613299E-3</c:v>
                </c:pt>
                <c:pt idx="17211">
                  <c:v>2.5210084033613299E-3</c:v>
                </c:pt>
                <c:pt idx="17212">
                  <c:v>2.5210084033613299E-3</c:v>
                </c:pt>
                <c:pt idx="17213">
                  <c:v>2.5210084033613299E-3</c:v>
                </c:pt>
                <c:pt idx="17214">
                  <c:v>2.5210084033613299E-3</c:v>
                </c:pt>
                <c:pt idx="17215">
                  <c:v>2.5210084033613299E-3</c:v>
                </c:pt>
                <c:pt idx="17216">
                  <c:v>2.5210084033613299E-3</c:v>
                </c:pt>
                <c:pt idx="17217">
                  <c:v>2.5210084033613299E-3</c:v>
                </c:pt>
                <c:pt idx="17218">
                  <c:v>3.3613445378151102E-3</c:v>
                </c:pt>
                <c:pt idx="17219">
                  <c:v>3.3613445378151102E-3</c:v>
                </c:pt>
                <c:pt idx="17220">
                  <c:v>3.3613445378151102E-3</c:v>
                </c:pt>
                <c:pt idx="17221">
                  <c:v>3.3613445378151102E-3</c:v>
                </c:pt>
                <c:pt idx="17222">
                  <c:v>3.3613445378151102E-3</c:v>
                </c:pt>
                <c:pt idx="17223">
                  <c:v>3.3613445378151102E-3</c:v>
                </c:pt>
                <c:pt idx="17224">
                  <c:v>3.3613445378151102E-3</c:v>
                </c:pt>
                <c:pt idx="17225">
                  <c:v>3.3613445378151102E-3</c:v>
                </c:pt>
                <c:pt idx="17226">
                  <c:v>3.3613445378151102E-3</c:v>
                </c:pt>
                <c:pt idx="17227">
                  <c:v>3.3613445378151102E-3</c:v>
                </c:pt>
                <c:pt idx="17228">
                  <c:v>3.3613445378151102E-3</c:v>
                </c:pt>
                <c:pt idx="17229">
                  <c:v>3.3613445378151102E-3</c:v>
                </c:pt>
                <c:pt idx="17230">
                  <c:v>3.3613445378151102E-3</c:v>
                </c:pt>
                <c:pt idx="17231">
                  <c:v>3.3613445378151102E-3</c:v>
                </c:pt>
                <c:pt idx="17232">
                  <c:v>3.3613445378151102E-3</c:v>
                </c:pt>
                <c:pt idx="17233">
                  <c:v>3.3613445378151102E-3</c:v>
                </c:pt>
                <c:pt idx="17234">
                  <c:v>3.3613445378151102E-3</c:v>
                </c:pt>
                <c:pt idx="17235">
                  <c:v>3.3613445378151102E-3</c:v>
                </c:pt>
                <c:pt idx="17236">
                  <c:v>3.3613445378151102E-3</c:v>
                </c:pt>
                <c:pt idx="17237">
                  <c:v>3.3613445378151102E-3</c:v>
                </c:pt>
                <c:pt idx="17238">
                  <c:v>3.3613445378151102E-3</c:v>
                </c:pt>
                <c:pt idx="17239">
                  <c:v>3.3613445378151102E-3</c:v>
                </c:pt>
                <c:pt idx="17240">
                  <c:v>3.3613445378151102E-3</c:v>
                </c:pt>
                <c:pt idx="17241">
                  <c:v>2.5210084033613299E-3</c:v>
                </c:pt>
                <c:pt idx="17242">
                  <c:v>2.5210084033613299E-3</c:v>
                </c:pt>
                <c:pt idx="17243">
                  <c:v>2.5210084033613299E-3</c:v>
                </c:pt>
                <c:pt idx="17244">
                  <c:v>2.5210084033613299E-3</c:v>
                </c:pt>
                <c:pt idx="17245">
                  <c:v>1.6806722689075499E-3</c:v>
                </c:pt>
                <c:pt idx="17246">
                  <c:v>1.6806722689075499E-3</c:v>
                </c:pt>
                <c:pt idx="17247">
                  <c:v>1.6806722689075499E-3</c:v>
                </c:pt>
                <c:pt idx="17248">
                  <c:v>1.6806722689075499E-3</c:v>
                </c:pt>
                <c:pt idx="17249">
                  <c:v>1.6806722689075499E-3</c:v>
                </c:pt>
                <c:pt idx="17250">
                  <c:v>1.6806722689075499E-3</c:v>
                </c:pt>
                <c:pt idx="17251">
                  <c:v>1.6806722689075499E-3</c:v>
                </c:pt>
                <c:pt idx="17252">
                  <c:v>1.6806722689075499E-3</c:v>
                </c:pt>
                <c:pt idx="17253">
                  <c:v>1.6806722689075499E-3</c:v>
                </c:pt>
                <c:pt idx="17254">
                  <c:v>1.6806722689075499E-3</c:v>
                </c:pt>
                <c:pt idx="17255">
                  <c:v>1.6806722689075499E-3</c:v>
                </c:pt>
                <c:pt idx="17256">
                  <c:v>1.6806722689075499E-3</c:v>
                </c:pt>
                <c:pt idx="17257">
                  <c:v>1.6806722689075499E-3</c:v>
                </c:pt>
                <c:pt idx="17258">
                  <c:v>1.6806722689075499E-3</c:v>
                </c:pt>
                <c:pt idx="17259">
                  <c:v>1.6806722689075499E-3</c:v>
                </c:pt>
                <c:pt idx="17260">
                  <c:v>1.6806722689075499E-3</c:v>
                </c:pt>
                <c:pt idx="17261">
                  <c:v>1.6806722689075499E-3</c:v>
                </c:pt>
                <c:pt idx="17262">
                  <c:v>1.6806722689075499E-3</c:v>
                </c:pt>
                <c:pt idx="17263">
                  <c:v>1.6806722689075499E-3</c:v>
                </c:pt>
                <c:pt idx="17264">
                  <c:v>1.6806722689075499E-3</c:v>
                </c:pt>
                <c:pt idx="17265">
                  <c:v>1.6806722689075499E-3</c:v>
                </c:pt>
                <c:pt idx="17266">
                  <c:v>1.6806722689075499E-3</c:v>
                </c:pt>
                <c:pt idx="17267">
                  <c:v>1.6806722689075499E-3</c:v>
                </c:pt>
                <c:pt idx="17268">
                  <c:v>1.6806722689075499E-3</c:v>
                </c:pt>
                <c:pt idx="17269">
                  <c:v>1.6806722689075499E-3</c:v>
                </c:pt>
                <c:pt idx="17270">
                  <c:v>1.6806722689075499E-3</c:v>
                </c:pt>
                <c:pt idx="17271">
                  <c:v>8.4033613445377799E-4</c:v>
                </c:pt>
                <c:pt idx="17272">
                  <c:v>8.4033613445377799E-4</c:v>
                </c:pt>
                <c:pt idx="17273">
                  <c:v>8.4033613445377799E-4</c:v>
                </c:pt>
                <c:pt idx="17274">
                  <c:v>8.4033613445377799E-4</c:v>
                </c:pt>
                <c:pt idx="17275">
                  <c:v>8.4033613445377799E-4</c:v>
                </c:pt>
                <c:pt idx="17276">
                  <c:v>8.4033613445377799E-4</c:v>
                </c:pt>
                <c:pt idx="17277">
                  <c:v>8.4033613445377799E-4</c:v>
                </c:pt>
                <c:pt idx="17278">
                  <c:v>8.4033613445377799E-4</c:v>
                </c:pt>
                <c:pt idx="17279">
                  <c:v>8.4033613445377799E-4</c:v>
                </c:pt>
                <c:pt idx="17280">
                  <c:v>8.4033613445377799E-4</c:v>
                </c:pt>
                <c:pt idx="17281">
                  <c:v>8.4033613445377799E-4</c:v>
                </c:pt>
                <c:pt idx="17282">
                  <c:v>8.4033613445377799E-4</c:v>
                </c:pt>
                <c:pt idx="17283">
                  <c:v>8.4033613445377799E-4</c:v>
                </c:pt>
                <c:pt idx="17284">
                  <c:v>8.4033613445377799E-4</c:v>
                </c:pt>
                <c:pt idx="17285">
                  <c:v>8.4033613445377799E-4</c:v>
                </c:pt>
                <c:pt idx="17286">
                  <c:v>8.4033613445377799E-4</c:v>
                </c:pt>
                <c:pt idx="17287">
                  <c:v>8.4033613445377799E-4</c:v>
                </c:pt>
                <c:pt idx="17288">
                  <c:v>8.4033613445377799E-4</c:v>
                </c:pt>
                <c:pt idx="17289">
                  <c:v>8.4033613445377799E-4</c:v>
                </c:pt>
                <c:pt idx="17290">
                  <c:v>8.4033613445377799E-4</c:v>
                </c:pt>
                <c:pt idx="17291">
                  <c:v>8.4033613445377799E-4</c:v>
                </c:pt>
                <c:pt idx="17292">
                  <c:v>8.4033613445377799E-4</c:v>
                </c:pt>
                <c:pt idx="17293">
                  <c:v>8.4033613445377799E-4</c:v>
                </c:pt>
                <c:pt idx="17294">
                  <c:v>8.4033613445377799E-4</c:v>
                </c:pt>
                <c:pt idx="17295">
                  <c:v>8.4033613445377799E-4</c:v>
                </c:pt>
                <c:pt idx="17296">
                  <c:v>0</c:v>
                </c:pt>
                <c:pt idx="17297">
                  <c:v>0</c:v>
                </c:pt>
                <c:pt idx="17298">
                  <c:v>0</c:v>
                </c:pt>
                <c:pt idx="17299">
                  <c:v>0</c:v>
                </c:pt>
                <c:pt idx="17300">
                  <c:v>0</c:v>
                </c:pt>
                <c:pt idx="17301">
                  <c:v>0</c:v>
                </c:pt>
                <c:pt idx="17302">
                  <c:v>0</c:v>
                </c:pt>
                <c:pt idx="17303">
                  <c:v>0</c:v>
                </c:pt>
                <c:pt idx="17304">
                  <c:v>0</c:v>
                </c:pt>
                <c:pt idx="17305">
                  <c:v>0</c:v>
                </c:pt>
                <c:pt idx="17306">
                  <c:v>0</c:v>
                </c:pt>
                <c:pt idx="17307">
                  <c:v>0</c:v>
                </c:pt>
                <c:pt idx="17308">
                  <c:v>0</c:v>
                </c:pt>
                <c:pt idx="17309">
                  <c:v>0</c:v>
                </c:pt>
                <c:pt idx="17310">
                  <c:v>-8.4033613445377799E-4</c:v>
                </c:pt>
                <c:pt idx="17311">
                  <c:v>-8.4033613445377799E-4</c:v>
                </c:pt>
                <c:pt idx="17312">
                  <c:v>-8.4033613445377799E-4</c:v>
                </c:pt>
                <c:pt idx="17313">
                  <c:v>-8.4033613445377799E-4</c:v>
                </c:pt>
                <c:pt idx="17314">
                  <c:v>-8.4033613445377799E-4</c:v>
                </c:pt>
                <c:pt idx="17315">
                  <c:v>-8.4033613445377799E-4</c:v>
                </c:pt>
                <c:pt idx="17316">
                  <c:v>-8.4033613445377799E-4</c:v>
                </c:pt>
                <c:pt idx="17317">
                  <c:v>-8.4033613445377799E-4</c:v>
                </c:pt>
                <c:pt idx="17318">
                  <c:v>-8.4033613445377799E-4</c:v>
                </c:pt>
                <c:pt idx="17319">
                  <c:v>-8.4033613445377799E-4</c:v>
                </c:pt>
                <c:pt idx="17320">
                  <c:v>-8.4033613445377799E-4</c:v>
                </c:pt>
                <c:pt idx="17321">
                  <c:v>-8.4033613445377799E-4</c:v>
                </c:pt>
                <c:pt idx="17322">
                  <c:v>-8.4033613445377799E-4</c:v>
                </c:pt>
                <c:pt idx="17323">
                  <c:v>-8.4033613445377799E-4</c:v>
                </c:pt>
                <c:pt idx="17324">
                  <c:v>-8.4033613445377799E-4</c:v>
                </c:pt>
                <c:pt idx="17325">
                  <c:v>-8.4033613445377799E-4</c:v>
                </c:pt>
                <c:pt idx="17326">
                  <c:v>-8.4033613445377799E-4</c:v>
                </c:pt>
                <c:pt idx="17327">
                  <c:v>-8.4033613445377799E-4</c:v>
                </c:pt>
                <c:pt idx="17328">
                  <c:v>-8.4033613445377799E-4</c:v>
                </c:pt>
                <c:pt idx="17329">
                  <c:v>-8.4033613445377799E-4</c:v>
                </c:pt>
                <c:pt idx="17330">
                  <c:v>-8.4033613445377799E-4</c:v>
                </c:pt>
                <c:pt idx="17331">
                  <c:v>-8.4033613445377799E-4</c:v>
                </c:pt>
                <c:pt idx="17332">
                  <c:v>-8.4033613445377799E-4</c:v>
                </c:pt>
                <c:pt idx="17333">
                  <c:v>-8.4033613445377799E-4</c:v>
                </c:pt>
                <c:pt idx="17334">
                  <c:v>-8.4033613445377799E-4</c:v>
                </c:pt>
                <c:pt idx="17335">
                  <c:v>-8.4033613445377799E-4</c:v>
                </c:pt>
                <c:pt idx="17336">
                  <c:v>-8.4033613445377799E-4</c:v>
                </c:pt>
                <c:pt idx="17337">
                  <c:v>-8.4033613445377799E-4</c:v>
                </c:pt>
                <c:pt idx="17338">
                  <c:v>-8.4033613445377799E-4</c:v>
                </c:pt>
                <c:pt idx="17339">
                  <c:v>-8.4033613445377799E-4</c:v>
                </c:pt>
                <c:pt idx="17340">
                  <c:v>-8.4033613445377799E-4</c:v>
                </c:pt>
                <c:pt idx="17341">
                  <c:v>-8.4033613445377799E-4</c:v>
                </c:pt>
                <c:pt idx="17342">
                  <c:v>-8.4033613445377799E-4</c:v>
                </c:pt>
                <c:pt idx="17343">
                  <c:v>-8.4033613445377799E-4</c:v>
                </c:pt>
                <c:pt idx="17344">
                  <c:v>-8.4033613445377799E-4</c:v>
                </c:pt>
                <c:pt idx="17345">
                  <c:v>-8.4033613445377799E-4</c:v>
                </c:pt>
                <c:pt idx="17346">
                  <c:v>0</c:v>
                </c:pt>
                <c:pt idx="17347">
                  <c:v>0</c:v>
                </c:pt>
                <c:pt idx="17348">
                  <c:v>0</c:v>
                </c:pt>
                <c:pt idx="17349">
                  <c:v>0</c:v>
                </c:pt>
                <c:pt idx="17350">
                  <c:v>0</c:v>
                </c:pt>
                <c:pt idx="17351">
                  <c:v>0</c:v>
                </c:pt>
                <c:pt idx="17352">
                  <c:v>0</c:v>
                </c:pt>
                <c:pt idx="17353">
                  <c:v>8.4033613445377799E-4</c:v>
                </c:pt>
                <c:pt idx="17354">
                  <c:v>8.4033613445377799E-4</c:v>
                </c:pt>
                <c:pt idx="17355">
                  <c:v>8.4033613445377799E-4</c:v>
                </c:pt>
                <c:pt idx="17356">
                  <c:v>8.4033613445377799E-4</c:v>
                </c:pt>
                <c:pt idx="17357">
                  <c:v>8.4033613445377799E-4</c:v>
                </c:pt>
                <c:pt idx="17358">
                  <c:v>8.4033613445377799E-4</c:v>
                </c:pt>
                <c:pt idx="17359">
                  <c:v>8.4033613445377799E-4</c:v>
                </c:pt>
                <c:pt idx="17360">
                  <c:v>8.4033613445377799E-4</c:v>
                </c:pt>
                <c:pt idx="17361">
                  <c:v>8.4033613445377799E-4</c:v>
                </c:pt>
                <c:pt idx="17362">
                  <c:v>8.4033613445377799E-4</c:v>
                </c:pt>
                <c:pt idx="17363">
                  <c:v>8.4033613445377799E-4</c:v>
                </c:pt>
                <c:pt idx="17364">
                  <c:v>8.4033613445377799E-4</c:v>
                </c:pt>
                <c:pt idx="17365">
                  <c:v>8.4033613445377799E-4</c:v>
                </c:pt>
                <c:pt idx="17366">
                  <c:v>8.4033613445377799E-4</c:v>
                </c:pt>
                <c:pt idx="17367">
                  <c:v>8.4033613445377799E-4</c:v>
                </c:pt>
                <c:pt idx="17368">
                  <c:v>8.4033613445377799E-4</c:v>
                </c:pt>
                <c:pt idx="17369">
                  <c:v>8.4033613445377799E-4</c:v>
                </c:pt>
                <c:pt idx="17370">
                  <c:v>8.4033613445377799E-4</c:v>
                </c:pt>
                <c:pt idx="17371">
                  <c:v>8.4033613445377799E-4</c:v>
                </c:pt>
                <c:pt idx="17372">
                  <c:v>8.4033613445377799E-4</c:v>
                </c:pt>
                <c:pt idx="17373">
                  <c:v>8.4033613445377799E-4</c:v>
                </c:pt>
                <c:pt idx="17374">
                  <c:v>8.4033613445377799E-4</c:v>
                </c:pt>
                <c:pt idx="17375">
                  <c:v>8.4033613445377799E-4</c:v>
                </c:pt>
                <c:pt idx="17376">
                  <c:v>8.4033613445377799E-4</c:v>
                </c:pt>
                <c:pt idx="17377">
                  <c:v>8.4033613445377799E-4</c:v>
                </c:pt>
                <c:pt idx="17378">
                  <c:v>8.4033613445377799E-4</c:v>
                </c:pt>
                <c:pt idx="17379">
                  <c:v>8.4033613445377799E-4</c:v>
                </c:pt>
                <c:pt idx="17380">
                  <c:v>8.4033613445377799E-4</c:v>
                </c:pt>
                <c:pt idx="17381">
                  <c:v>8.4033613445377799E-4</c:v>
                </c:pt>
                <c:pt idx="17382">
                  <c:v>8.4033613445377799E-4</c:v>
                </c:pt>
                <c:pt idx="17383">
                  <c:v>8.4033613445377799E-4</c:v>
                </c:pt>
                <c:pt idx="17384">
                  <c:v>8.4033613445377799E-4</c:v>
                </c:pt>
                <c:pt idx="17385">
                  <c:v>8.4033613445377799E-4</c:v>
                </c:pt>
                <c:pt idx="17386">
                  <c:v>8.4033613445377799E-4</c:v>
                </c:pt>
                <c:pt idx="17387">
                  <c:v>8.4033613445377799E-4</c:v>
                </c:pt>
                <c:pt idx="17388">
                  <c:v>8.4033613445377799E-4</c:v>
                </c:pt>
                <c:pt idx="17389">
                  <c:v>8.4033613445377799E-4</c:v>
                </c:pt>
                <c:pt idx="17390">
                  <c:v>8.4033613445377799E-4</c:v>
                </c:pt>
                <c:pt idx="17391">
                  <c:v>8.4033613445377799E-4</c:v>
                </c:pt>
                <c:pt idx="17392">
                  <c:v>8.4033613445377799E-4</c:v>
                </c:pt>
                <c:pt idx="17393">
                  <c:v>8.4033613445377799E-4</c:v>
                </c:pt>
                <c:pt idx="17394">
                  <c:v>1.6806722689075499E-3</c:v>
                </c:pt>
                <c:pt idx="17395">
                  <c:v>1.6806722689075499E-3</c:v>
                </c:pt>
                <c:pt idx="17396">
                  <c:v>1.6806722689075499E-3</c:v>
                </c:pt>
                <c:pt idx="17397">
                  <c:v>1.6806722689075499E-3</c:v>
                </c:pt>
                <c:pt idx="17398">
                  <c:v>1.6806722689075499E-3</c:v>
                </c:pt>
                <c:pt idx="17399">
                  <c:v>1.6806722689075499E-3</c:v>
                </c:pt>
                <c:pt idx="17400">
                  <c:v>1.6806722689075499E-3</c:v>
                </c:pt>
                <c:pt idx="17401">
                  <c:v>1.6806722689075499E-3</c:v>
                </c:pt>
                <c:pt idx="17402">
                  <c:v>1.6806722689075499E-3</c:v>
                </c:pt>
                <c:pt idx="17403">
                  <c:v>1.6806722689075499E-3</c:v>
                </c:pt>
                <c:pt idx="17404">
                  <c:v>1.6806722689075499E-3</c:v>
                </c:pt>
                <c:pt idx="17405">
                  <c:v>1.6806722689075499E-3</c:v>
                </c:pt>
                <c:pt idx="17406">
                  <c:v>1.6806722689075499E-3</c:v>
                </c:pt>
                <c:pt idx="17407">
                  <c:v>1.6806722689075499E-3</c:v>
                </c:pt>
                <c:pt idx="17408">
                  <c:v>1.6806722689075499E-3</c:v>
                </c:pt>
                <c:pt idx="17409">
                  <c:v>1.6806722689075499E-3</c:v>
                </c:pt>
                <c:pt idx="17410">
                  <c:v>1.6806722689075499E-3</c:v>
                </c:pt>
                <c:pt idx="17411">
                  <c:v>1.6806722689075499E-3</c:v>
                </c:pt>
                <c:pt idx="17412">
                  <c:v>1.6806722689075499E-3</c:v>
                </c:pt>
                <c:pt idx="17413">
                  <c:v>1.6806722689075499E-3</c:v>
                </c:pt>
                <c:pt idx="17414">
                  <c:v>1.6806722689075499E-3</c:v>
                </c:pt>
                <c:pt idx="17415">
                  <c:v>1.6806722689075499E-3</c:v>
                </c:pt>
                <c:pt idx="17416">
                  <c:v>1.6806722689075499E-3</c:v>
                </c:pt>
                <c:pt idx="17417">
                  <c:v>1.6806722689075499E-3</c:v>
                </c:pt>
                <c:pt idx="17418">
                  <c:v>1.6806722689075499E-3</c:v>
                </c:pt>
                <c:pt idx="17419">
                  <c:v>1.6806722689075499E-3</c:v>
                </c:pt>
                <c:pt idx="17420">
                  <c:v>1.6806722689075499E-3</c:v>
                </c:pt>
                <c:pt idx="17421">
                  <c:v>1.6806722689075499E-3</c:v>
                </c:pt>
                <c:pt idx="17422">
                  <c:v>1.6806722689075499E-3</c:v>
                </c:pt>
                <c:pt idx="17423">
                  <c:v>1.6806722689075499E-3</c:v>
                </c:pt>
                <c:pt idx="17424">
                  <c:v>1.6806722689075499E-3</c:v>
                </c:pt>
                <c:pt idx="17425">
                  <c:v>1.6806722689075499E-3</c:v>
                </c:pt>
                <c:pt idx="17426">
                  <c:v>1.6806722689075499E-3</c:v>
                </c:pt>
                <c:pt idx="17427">
                  <c:v>1.6806722689075499E-3</c:v>
                </c:pt>
                <c:pt idx="17428">
                  <c:v>1.6806722689075499E-3</c:v>
                </c:pt>
                <c:pt idx="17429">
                  <c:v>1.6806722689075499E-3</c:v>
                </c:pt>
                <c:pt idx="17430">
                  <c:v>1.6806722689075499E-3</c:v>
                </c:pt>
                <c:pt idx="17431">
                  <c:v>1.6806722689075499E-3</c:v>
                </c:pt>
                <c:pt idx="17432">
                  <c:v>1.6806722689075499E-3</c:v>
                </c:pt>
                <c:pt idx="17433">
                  <c:v>1.6806722689075499E-3</c:v>
                </c:pt>
                <c:pt idx="17434">
                  <c:v>1.6806722689075499E-3</c:v>
                </c:pt>
                <c:pt idx="17435">
                  <c:v>2.5210084033613299E-3</c:v>
                </c:pt>
                <c:pt idx="17436">
                  <c:v>2.5210084033613299E-3</c:v>
                </c:pt>
                <c:pt idx="17437">
                  <c:v>2.5210084033613299E-3</c:v>
                </c:pt>
                <c:pt idx="17438">
                  <c:v>2.5210084033613299E-3</c:v>
                </c:pt>
                <c:pt idx="17439">
                  <c:v>2.5210084033613299E-3</c:v>
                </c:pt>
                <c:pt idx="17440">
                  <c:v>2.5210084033613299E-3</c:v>
                </c:pt>
                <c:pt idx="17441">
                  <c:v>2.5210084033613299E-3</c:v>
                </c:pt>
                <c:pt idx="17442">
                  <c:v>2.5210084033613299E-3</c:v>
                </c:pt>
                <c:pt idx="17443">
                  <c:v>2.5210084033613299E-3</c:v>
                </c:pt>
                <c:pt idx="17444">
                  <c:v>2.5210084033613299E-3</c:v>
                </c:pt>
                <c:pt idx="17445">
                  <c:v>2.5210084033613299E-3</c:v>
                </c:pt>
                <c:pt idx="17446">
                  <c:v>2.5210084033613299E-3</c:v>
                </c:pt>
                <c:pt idx="17447">
                  <c:v>2.5210084033613299E-3</c:v>
                </c:pt>
                <c:pt idx="17448">
                  <c:v>2.5210084033613299E-3</c:v>
                </c:pt>
                <c:pt idx="17449">
                  <c:v>2.5210084033613299E-3</c:v>
                </c:pt>
                <c:pt idx="17450">
                  <c:v>2.5210084033613299E-3</c:v>
                </c:pt>
                <c:pt idx="17451">
                  <c:v>2.5210084033613299E-3</c:v>
                </c:pt>
                <c:pt idx="17452">
                  <c:v>2.5210084033613299E-3</c:v>
                </c:pt>
                <c:pt idx="17453">
                  <c:v>2.5210084033613299E-3</c:v>
                </c:pt>
                <c:pt idx="17454">
                  <c:v>2.5210084033613299E-3</c:v>
                </c:pt>
                <c:pt idx="17455">
                  <c:v>2.5210084033613299E-3</c:v>
                </c:pt>
                <c:pt idx="17456">
                  <c:v>2.5210084033613299E-3</c:v>
                </c:pt>
                <c:pt idx="17457">
                  <c:v>2.5210084033613299E-3</c:v>
                </c:pt>
                <c:pt idx="17458">
                  <c:v>2.5210084033613299E-3</c:v>
                </c:pt>
                <c:pt idx="17459">
                  <c:v>2.5210084033613299E-3</c:v>
                </c:pt>
                <c:pt idx="17460">
                  <c:v>2.5210084033613299E-3</c:v>
                </c:pt>
                <c:pt idx="17461">
                  <c:v>2.5210084033613299E-3</c:v>
                </c:pt>
                <c:pt idx="17462">
                  <c:v>2.5210084033613299E-3</c:v>
                </c:pt>
                <c:pt idx="17463">
                  <c:v>2.5210084033613299E-3</c:v>
                </c:pt>
                <c:pt idx="17464">
                  <c:v>2.5210084033613299E-3</c:v>
                </c:pt>
                <c:pt idx="17465">
                  <c:v>2.5210084033613299E-3</c:v>
                </c:pt>
                <c:pt idx="17466">
                  <c:v>2.5210084033613299E-3</c:v>
                </c:pt>
                <c:pt idx="17467">
                  <c:v>2.5210084033613299E-3</c:v>
                </c:pt>
                <c:pt idx="17468">
                  <c:v>2.5210084033613299E-3</c:v>
                </c:pt>
                <c:pt idx="17469">
                  <c:v>2.5210084033613299E-3</c:v>
                </c:pt>
                <c:pt idx="17470">
                  <c:v>2.5210084033613299E-3</c:v>
                </c:pt>
                <c:pt idx="17471">
                  <c:v>3.3613445378151102E-3</c:v>
                </c:pt>
                <c:pt idx="17472">
                  <c:v>3.3613445378151102E-3</c:v>
                </c:pt>
                <c:pt idx="17473">
                  <c:v>3.3613445378151102E-3</c:v>
                </c:pt>
                <c:pt idx="17474">
                  <c:v>3.3613445378151102E-3</c:v>
                </c:pt>
                <c:pt idx="17475">
                  <c:v>3.3613445378151102E-3</c:v>
                </c:pt>
                <c:pt idx="17476">
                  <c:v>3.3613445378151102E-3</c:v>
                </c:pt>
                <c:pt idx="17477">
                  <c:v>3.3613445378151102E-3</c:v>
                </c:pt>
                <c:pt idx="17478">
                  <c:v>3.3613445378151102E-3</c:v>
                </c:pt>
                <c:pt idx="17479">
                  <c:v>2.5210084033613299E-3</c:v>
                </c:pt>
                <c:pt idx="17480">
                  <c:v>2.5210084033613299E-3</c:v>
                </c:pt>
                <c:pt idx="17481">
                  <c:v>2.5210084033613299E-3</c:v>
                </c:pt>
                <c:pt idx="17482">
                  <c:v>2.5210084033613299E-3</c:v>
                </c:pt>
                <c:pt idx="17483">
                  <c:v>2.5210084033613299E-3</c:v>
                </c:pt>
                <c:pt idx="17484">
                  <c:v>2.5210084033613299E-3</c:v>
                </c:pt>
                <c:pt idx="17485">
                  <c:v>2.5210084033613299E-3</c:v>
                </c:pt>
                <c:pt idx="17486">
                  <c:v>2.5210084033613299E-3</c:v>
                </c:pt>
                <c:pt idx="17487">
                  <c:v>2.5210084033613299E-3</c:v>
                </c:pt>
                <c:pt idx="17488">
                  <c:v>2.5210084033613299E-3</c:v>
                </c:pt>
                <c:pt idx="17489">
                  <c:v>2.5210084033613299E-3</c:v>
                </c:pt>
                <c:pt idx="17490">
                  <c:v>2.5210084033613299E-3</c:v>
                </c:pt>
                <c:pt idx="17491">
                  <c:v>1.6806722689075499E-3</c:v>
                </c:pt>
                <c:pt idx="17492">
                  <c:v>1.6806722689075499E-3</c:v>
                </c:pt>
                <c:pt idx="17493">
                  <c:v>1.6806722689075499E-3</c:v>
                </c:pt>
                <c:pt idx="17494">
                  <c:v>1.6806722689075499E-3</c:v>
                </c:pt>
                <c:pt idx="17495">
                  <c:v>1.6806722689075499E-3</c:v>
                </c:pt>
                <c:pt idx="17496">
                  <c:v>1.6806722689075499E-3</c:v>
                </c:pt>
                <c:pt idx="17497">
                  <c:v>1.6806722689075499E-3</c:v>
                </c:pt>
                <c:pt idx="17498">
                  <c:v>1.6806722689075499E-3</c:v>
                </c:pt>
                <c:pt idx="17499">
                  <c:v>1.6806722689075499E-3</c:v>
                </c:pt>
                <c:pt idx="17500">
                  <c:v>1.6806722689075499E-3</c:v>
                </c:pt>
                <c:pt idx="17501">
                  <c:v>1.6806722689075499E-3</c:v>
                </c:pt>
                <c:pt idx="17502">
                  <c:v>1.6806722689075499E-3</c:v>
                </c:pt>
                <c:pt idx="17503">
                  <c:v>1.6806722689075499E-3</c:v>
                </c:pt>
                <c:pt idx="17504">
                  <c:v>1.6806722689075499E-3</c:v>
                </c:pt>
                <c:pt idx="17505">
                  <c:v>1.6806722689075499E-3</c:v>
                </c:pt>
                <c:pt idx="17506">
                  <c:v>1.6806722689075499E-3</c:v>
                </c:pt>
                <c:pt idx="17507">
                  <c:v>1.6806722689075499E-3</c:v>
                </c:pt>
                <c:pt idx="17508">
                  <c:v>1.6806722689075499E-3</c:v>
                </c:pt>
                <c:pt idx="17509">
                  <c:v>1.6806722689075499E-3</c:v>
                </c:pt>
                <c:pt idx="17510">
                  <c:v>1.6806722689075499E-3</c:v>
                </c:pt>
                <c:pt idx="17511">
                  <c:v>1.6806722689075499E-3</c:v>
                </c:pt>
                <c:pt idx="17512">
                  <c:v>1.6806722689075499E-3</c:v>
                </c:pt>
                <c:pt idx="17513">
                  <c:v>8.4033613445377799E-4</c:v>
                </c:pt>
                <c:pt idx="17514">
                  <c:v>8.4033613445377799E-4</c:v>
                </c:pt>
                <c:pt idx="17515">
                  <c:v>8.4033613445377799E-4</c:v>
                </c:pt>
                <c:pt idx="17516">
                  <c:v>8.4033613445377799E-4</c:v>
                </c:pt>
                <c:pt idx="17517">
                  <c:v>8.4033613445377799E-4</c:v>
                </c:pt>
                <c:pt idx="17518">
                  <c:v>8.4033613445377799E-4</c:v>
                </c:pt>
                <c:pt idx="17519">
                  <c:v>8.4033613445377799E-4</c:v>
                </c:pt>
                <c:pt idx="17520">
                  <c:v>8.4033613445377799E-4</c:v>
                </c:pt>
                <c:pt idx="17521">
                  <c:v>8.4033613445377799E-4</c:v>
                </c:pt>
                <c:pt idx="17522">
                  <c:v>8.4033613445377799E-4</c:v>
                </c:pt>
                <c:pt idx="17523">
                  <c:v>8.4033613445377799E-4</c:v>
                </c:pt>
                <c:pt idx="17524">
                  <c:v>8.4033613445377799E-4</c:v>
                </c:pt>
                <c:pt idx="17525">
                  <c:v>8.4033613445377799E-4</c:v>
                </c:pt>
                <c:pt idx="17526">
                  <c:v>8.4033613445377799E-4</c:v>
                </c:pt>
                <c:pt idx="17527">
                  <c:v>8.4033613445377799E-4</c:v>
                </c:pt>
                <c:pt idx="17528">
                  <c:v>8.4033613445377799E-4</c:v>
                </c:pt>
                <c:pt idx="17529">
                  <c:v>8.4033613445377799E-4</c:v>
                </c:pt>
                <c:pt idx="17530">
                  <c:v>8.4033613445377799E-4</c:v>
                </c:pt>
                <c:pt idx="17531">
                  <c:v>8.4033613445377799E-4</c:v>
                </c:pt>
                <c:pt idx="17532">
                  <c:v>8.4033613445377799E-4</c:v>
                </c:pt>
                <c:pt idx="17533">
                  <c:v>8.4033613445377799E-4</c:v>
                </c:pt>
                <c:pt idx="17534">
                  <c:v>8.4033613445377799E-4</c:v>
                </c:pt>
                <c:pt idx="17535">
                  <c:v>8.4033613445377799E-4</c:v>
                </c:pt>
                <c:pt idx="17536">
                  <c:v>8.4033613445377799E-4</c:v>
                </c:pt>
                <c:pt idx="17537">
                  <c:v>8.4033613445377799E-4</c:v>
                </c:pt>
                <c:pt idx="17538">
                  <c:v>8.4033613445377799E-4</c:v>
                </c:pt>
                <c:pt idx="17539">
                  <c:v>8.4033613445377799E-4</c:v>
                </c:pt>
                <c:pt idx="17540">
                  <c:v>8.4033613445377799E-4</c:v>
                </c:pt>
                <c:pt idx="17541">
                  <c:v>8.4033613445377799E-4</c:v>
                </c:pt>
                <c:pt idx="17542">
                  <c:v>8.4033613445377799E-4</c:v>
                </c:pt>
                <c:pt idx="17543">
                  <c:v>8.4033613445377799E-4</c:v>
                </c:pt>
                <c:pt idx="17544">
                  <c:v>8.4033613445377799E-4</c:v>
                </c:pt>
                <c:pt idx="17545">
                  <c:v>8.4033613445377799E-4</c:v>
                </c:pt>
                <c:pt idx="17546">
                  <c:v>8.4033613445377799E-4</c:v>
                </c:pt>
                <c:pt idx="17547">
                  <c:v>8.4033613445377799E-4</c:v>
                </c:pt>
                <c:pt idx="17548">
                  <c:v>0</c:v>
                </c:pt>
                <c:pt idx="17549">
                  <c:v>0</c:v>
                </c:pt>
                <c:pt idx="17550">
                  <c:v>0</c:v>
                </c:pt>
                <c:pt idx="17551">
                  <c:v>0</c:v>
                </c:pt>
                <c:pt idx="17552">
                  <c:v>0</c:v>
                </c:pt>
                <c:pt idx="17553">
                  <c:v>0</c:v>
                </c:pt>
                <c:pt idx="17554">
                  <c:v>0</c:v>
                </c:pt>
                <c:pt idx="17555">
                  <c:v>0</c:v>
                </c:pt>
                <c:pt idx="17556">
                  <c:v>0</c:v>
                </c:pt>
                <c:pt idx="17557">
                  <c:v>0</c:v>
                </c:pt>
                <c:pt idx="17558">
                  <c:v>0</c:v>
                </c:pt>
                <c:pt idx="17559">
                  <c:v>0</c:v>
                </c:pt>
                <c:pt idx="17560">
                  <c:v>0</c:v>
                </c:pt>
                <c:pt idx="17561">
                  <c:v>0</c:v>
                </c:pt>
                <c:pt idx="17562">
                  <c:v>0</c:v>
                </c:pt>
                <c:pt idx="17563">
                  <c:v>0</c:v>
                </c:pt>
                <c:pt idx="17564">
                  <c:v>0</c:v>
                </c:pt>
                <c:pt idx="17565">
                  <c:v>0</c:v>
                </c:pt>
                <c:pt idx="17566">
                  <c:v>0</c:v>
                </c:pt>
                <c:pt idx="17567">
                  <c:v>0</c:v>
                </c:pt>
                <c:pt idx="17568">
                  <c:v>0</c:v>
                </c:pt>
                <c:pt idx="17569">
                  <c:v>0</c:v>
                </c:pt>
                <c:pt idx="17570">
                  <c:v>0</c:v>
                </c:pt>
                <c:pt idx="17571">
                  <c:v>0</c:v>
                </c:pt>
                <c:pt idx="17572">
                  <c:v>0</c:v>
                </c:pt>
                <c:pt idx="17573">
                  <c:v>0</c:v>
                </c:pt>
                <c:pt idx="17574">
                  <c:v>0</c:v>
                </c:pt>
                <c:pt idx="17575">
                  <c:v>0</c:v>
                </c:pt>
                <c:pt idx="17576">
                  <c:v>0</c:v>
                </c:pt>
                <c:pt idx="17577">
                  <c:v>0</c:v>
                </c:pt>
                <c:pt idx="17578">
                  <c:v>0</c:v>
                </c:pt>
                <c:pt idx="17579">
                  <c:v>0</c:v>
                </c:pt>
                <c:pt idx="17580">
                  <c:v>0</c:v>
                </c:pt>
                <c:pt idx="17581">
                  <c:v>0</c:v>
                </c:pt>
                <c:pt idx="17582">
                  <c:v>0</c:v>
                </c:pt>
                <c:pt idx="17583">
                  <c:v>0</c:v>
                </c:pt>
                <c:pt idx="17584">
                  <c:v>0</c:v>
                </c:pt>
                <c:pt idx="17585">
                  <c:v>0</c:v>
                </c:pt>
                <c:pt idx="17586">
                  <c:v>0</c:v>
                </c:pt>
                <c:pt idx="17587">
                  <c:v>0</c:v>
                </c:pt>
                <c:pt idx="17588">
                  <c:v>0</c:v>
                </c:pt>
                <c:pt idx="17589">
                  <c:v>0</c:v>
                </c:pt>
                <c:pt idx="17590">
                  <c:v>0</c:v>
                </c:pt>
                <c:pt idx="17591">
                  <c:v>0</c:v>
                </c:pt>
                <c:pt idx="17592">
                  <c:v>-8.4033613445388901E-4</c:v>
                </c:pt>
                <c:pt idx="17593">
                  <c:v>-8.4033613445388901E-4</c:v>
                </c:pt>
                <c:pt idx="17594">
                  <c:v>-8.4033613445388901E-4</c:v>
                </c:pt>
                <c:pt idx="17595">
                  <c:v>-8.4033613445388901E-4</c:v>
                </c:pt>
                <c:pt idx="17596">
                  <c:v>-8.4033613445388901E-4</c:v>
                </c:pt>
                <c:pt idx="17597">
                  <c:v>-8.4033613445388901E-4</c:v>
                </c:pt>
                <c:pt idx="17598">
                  <c:v>-8.4033613445388901E-4</c:v>
                </c:pt>
                <c:pt idx="17599">
                  <c:v>-8.4033613445388901E-4</c:v>
                </c:pt>
                <c:pt idx="17600">
                  <c:v>-8.4033613445388901E-4</c:v>
                </c:pt>
                <c:pt idx="17601">
                  <c:v>-8.4033613445388901E-4</c:v>
                </c:pt>
                <c:pt idx="17602">
                  <c:v>-8.4033613445388901E-4</c:v>
                </c:pt>
                <c:pt idx="17603">
                  <c:v>-8.4033613445388901E-4</c:v>
                </c:pt>
                <c:pt idx="17604">
                  <c:v>-8.4033613445388901E-4</c:v>
                </c:pt>
                <c:pt idx="17605">
                  <c:v>-8.4033613445388901E-4</c:v>
                </c:pt>
                <c:pt idx="17606">
                  <c:v>-8.4033613445388901E-4</c:v>
                </c:pt>
                <c:pt idx="17607">
                  <c:v>-8.4033613445388901E-4</c:v>
                </c:pt>
                <c:pt idx="17608">
                  <c:v>-8.4033613445388901E-4</c:v>
                </c:pt>
                <c:pt idx="17609">
                  <c:v>-8.4033613445388901E-4</c:v>
                </c:pt>
                <c:pt idx="17610">
                  <c:v>-8.4033613445388901E-4</c:v>
                </c:pt>
                <c:pt idx="17611">
                  <c:v>-8.4033613445388901E-4</c:v>
                </c:pt>
                <c:pt idx="17612">
                  <c:v>-8.4033613445388901E-4</c:v>
                </c:pt>
                <c:pt idx="17613">
                  <c:v>-8.4033613445388901E-4</c:v>
                </c:pt>
                <c:pt idx="17614">
                  <c:v>-8.4033613445388901E-4</c:v>
                </c:pt>
                <c:pt idx="17615">
                  <c:v>-8.4033613445388901E-4</c:v>
                </c:pt>
                <c:pt idx="17616">
                  <c:v>-8.4033613445388901E-4</c:v>
                </c:pt>
                <c:pt idx="17617">
                  <c:v>-8.4033613445388901E-4</c:v>
                </c:pt>
                <c:pt idx="17618">
                  <c:v>-8.4033613445388901E-4</c:v>
                </c:pt>
                <c:pt idx="17619">
                  <c:v>-8.4033613445388901E-4</c:v>
                </c:pt>
                <c:pt idx="17620">
                  <c:v>-8.4033613445388901E-4</c:v>
                </c:pt>
                <c:pt idx="17621">
                  <c:v>-8.4033613445388901E-4</c:v>
                </c:pt>
                <c:pt idx="17622">
                  <c:v>-8.4033613445388901E-4</c:v>
                </c:pt>
                <c:pt idx="17623">
                  <c:v>-8.4033613445388901E-4</c:v>
                </c:pt>
                <c:pt idx="17624">
                  <c:v>-8.4033613445388901E-4</c:v>
                </c:pt>
                <c:pt idx="17625">
                  <c:v>-8.4033613445388901E-4</c:v>
                </c:pt>
                <c:pt idx="17626">
                  <c:v>-8.4033613445388901E-4</c:v>
                </c:pt>
                <c:pt idx="17627">
                  <c:v>-1.6806722689076601E-3</c:v>
                </c:pt>
                <c:pt idx="17628">
                  <c:v>-1.6806722689076601E-3</c:v>
                </c:pt>
                <c:pt idx="17629">
                  <c:v>-8.4033613445377799E-4</c:v>
                </c:pt>
                <c:pt idx="17630">
                  <c:v>-8.4033613445377799E-4</c:v>
                </c:pt>
                <c:pt idx="17631">
                  <c:v>-8.4033613445377799E-4</c:v>
                </c:pt>
                <c:pt idx="17632">
                  <c:v>-8.4033613445377799E-4</c:v>
                </c:pt>
                <c:pt idx="17633">
                  <c:v>-8.4033613445377799E-4</c:v>
                </c:pt>
                <c:pt idx="17634">
                  <c:v>-8.4033613445377799E-4</c:v>
                </c:pt>
                <c:pt idx="17635">
                  <c:v>-8.4033613445377799E-4</c:v>
                </c:pt>
                <c:pt idx="17636">
                  <c:v>-8.4033613445377799E-4</c:v>
                </c:pt>
                <c:pt idx="17637">
                  <c:v>-8.4033613445377799E-4</c:v>
                </c:pt>
                <c:pt idx="17638">
                  <c:v>-8.4033613445377799E-4</c:v>
                </c:pt>
                <c:pt idx="17639">
                  <c:v>-8.4033613445377799E-4</c:v>
                </c:pt>
                <c:pt idx="17640">
                  <c:v>-8.4033613445377799E-4</c:v>
                </c:pt>
                <c:pt idx="17641">
                  <c:v>-8.4033613445377799E-4</c:v>
                </c:pt>
                <c:pt idx="17642">
                  <c:v>0</c:v>
                </c:pt>
                <c:pt idx="17643">
                  <c:v>0</c:v>
                </c:pt>
                <c:pt idx="17644">
                  <c:v>0</c:v>
                </c:pt>
                <c:pt idx="17645">
                  <c:v>0</c:v>
                </c:pt>
                <c:pt idx="17646">
                  <c:v>0</c:v>
                </c:pt>
                <c:pt idx="17647">
                  <c:v>0</c:v>
                </c:pt>
                <c:pt idx="17648">
                  <c:v>0</c:v>
                </c:pt>
                <c:pt idx="17649">
                  <c:v>0</c:v>
                </c:pt>
                <c:pt idx="17650">
                  <c:v>0</c:v>
                </c:pt>
                <c:pt idx="17651">
                  <c:v>0</c:v>
                </c:pt>
                <c:pt idx="17652">
                  <c:v>0</c:v>
                </c:pt>
                <c:pt idx="17653">
                  <c:v>0</c:v>
                </c:pt>
                <c:pt idx="17654">
                  <c:v>0</c:v>
                </c:pt>
                <c:pt idx="17655">
                  <c:v>0</c:v>
                </c:pt>
                <c:pt idx="17656">
                  <c:v>0</c:v>
                </c:pt>
                <c:pt idx="17657">
                  <c:v>0</c:v>
                </c:pt>
                <c:pt idx="17658">
                  <c:v>0</c:v>
                </c:pt>
                <c:pt idx="17659">
                  <c:v>8.4033613445377799E-4</c:v>
                </c:pt>
                <c:pt idx="17660">
                  <c:v>8.4033613445377799E-4</c:v>
                </c:pt>
                <c:pt idx="17661">
                  <c:v>8.4033613445377799E-4</c:v>
                </c:pt>
                <c:pt idx="17662">
                  <c:v>8.4033613445377799E-4</c:v>
                </c:pt>
                <c:pt idx="17663">
                  <c:v>8.4033613445377799E-4</c:v>
                </c:pt>
                <c:pt idx="17664">
                  <c:v>8.4033613445377799E-4</c:v>
                </c:pt>
                <c:pt idx="17665">
                  <c:v>8.4033613445377799E-4</c:v>
                </c:pt>
                <c:pt idx="17666">
                  <c:v>8.4033613445377799E-4</c:v>
                </c:pt>
                <c:pt idx="17667">
                  <c:v>8.4033613445377799E-4</c:v>
                </c:pt>
                <c:pt idx="17668">
                  <c:v>8.4033613445377799E-4</c:v>
                </c:pt>
                <c:pt idx="17669">
                  <c:v>8.4033613445377799E-4</c:v>
                </c:pt>
                <c:pt idx="17670">
                  <c:v>8.4033613445377799E-4</c:v>
                </c:pt>
                <c:pt idx="17671">
                  <c:v>8.4033613445377799E-4</c:v>
                </c:pt>
                <c:pt idx="17672">
                  <c:v>8.4033613445377799E-4</c:v>
                </c:pt>
                <c:pt idx="17673">
                  <c:v>8.4033613445377799E-4</c:v>
                </c:pt>
                <c:pt idx="17674">
                  <c:v>1.6806722689075499E-3</c:v>
                </c:pt>
                <c:pt idx="17675">
                  <c:v>2.5210084033613299E-3</c:v>
                </c:pt>
                <c:pt idx="17676">
                  <c:v>2.5210084033613299E-3</c:v>
                </c:pt>
                <c:pt idx="17677">
                  <c:v>2.5210084033613299E-3</c:v>
                </c:pt>
                <c:pt idx="17678">
                  <c:v>2.5210084033613299E-3</c:v>
                </c:pt>
                <c:pt idx="17679">
                  <c:v>2.5210084033613299E-3</c:v>
                </c:pt>
                <c:pt idx="17680">
                  <c:v>2.5210084033613299E-3</c:v>
                </c:pt>
                <c:pt idx="17681">
                  <c:v>2.5210084033613299E-3</c:v>
                </c:pt>
                <c:pt idx="17682">
                  <c:v>2.5210084033613299E-3</c:v>
                </c:pt>
                <c:pt idx="17683">
                  <c:v>2.5210084033613299E-3</c:v>
                </c:pt>
                <c:pt idx="17684">
                  <c:v>2.5210084033613299E-3</c:v>
                </c:pt>
                <c:pt idx="17685">
                  <c:v>2.5210084033613299E-3</c:v>
                </c:pt>
                <c:pt idx="17686">
                  <c:v>2.5210084033613299E-3</c:v>
                </c:pt>
                <c:pt idx="17687">
                  <c:v>2.5210084033613299E-3</c:v>
                </c:pt>
                <c:pt idx="17688">
                  <c:v>2.5210084033613299E-3</c:v>
                </c:pt>
                <c:pt idx="17689">
                  <c:v>2.5210084033613299E-3</c:v>
                </c:pt>
                <c:pt idx="17690">
                  <c:v>2.5210084033613299E-3</c:v>
                </c:pt>
                <c:pt idx="17691">
                  <c:v>2.5210084033613299E-3</c:v>
                </c:pt>
                <c:pt idx="17692">
                  <c:v>2.5210084033613299E-3</c:v>
                </c:pt>
                <c:pt idx="17693">
                  <c:v>2.5210084033613299E-3</c:v>
                </c:pt>
                <c:pt idx="17694">
                  <c:v>2.5210084033613299E-3</c:v>
                </c:pt>
                <c:pt idx="17695">
                  <c:v>2.5210084033613299E-3</c:v>
                </c:pt>
                <c:pt idx="17696">
                  <c:v>2.5210084033613299E-3</c:v>
                </c:pt>
                <c:pt idx="17697">
                  <c:v>2.5210084033613299E-3</c:v>
                </c:pt>
                <c:pt idx="17698">
                  <c:v>2.5210084033613299E-3</c:v>
                </c:pt>
                <c:pt idx="17699">
                  <c:v>2.5210084033613299E-3</c:v>
                </c:pt>
                <c:pt idx="17700">
                  <c:v>2.5210084033613299E-3</c:v>
                </c:pt>
                <c:pt idx="17701">
                  <c:v>2.5210084033613299E-3</c:v>
                </c:pt>
                <c:pt idx="17702">
                  <c:v>2.5210084033613299E-3</c:v>
                </c:pt>
                <c:pt idx="17703">
                  <c:v>2.5210084033613299E-3</c:v>
                </c:pt>
                <c:pt idx="17704">
                  <c:v>2.5210084033613299E-3</c:v>
                </c:pt>
                <c:pt idx="17705">
                  <c:v>2.5210084033613299E-3</c:v>
                </c:pt>
                <c:pt idx="17706">
                  <c:v>2.5210084033613299E-3</c:v>
                </c:pt>
                <c:pt idx="17707">
                  <c:v>2.5210084033613299E-3</c:v>
                </c:pt>
                <c:pt idx="17708">
                  <c:v>2.5210084033613299E-3</c:v>
                </c:pt>
                <c:pt idx="17709">
                  <c:v>1.6806722689075499E-3</c:v>
                </c:pt>
                <c:pt idx="17710">
                  <c:v>1.6806722689075499E-3</c:v>
                </c:pt>
                <c:pt idx="17711">
                  <c:v>1.6806722689075499E-3</c:v>
                </c:pt>
                <c:pt idx="17712">
                  <c:v>1.6806722689075499E-3</c:v>
                </c:pt>
                <c:pt idx="17713">
                  <c:v>1.6806722689075499E-3</c:v>
                </c:pt>
                <c:pt idx="17714">
                  <c:v>1.6806722689075499E-3</c:v>
                </c:pt>
                <c:pt idx="17715">
                  <c:v>1.6806722689075499E-3</c:v>
                </c:pt>
                <c:pt idx="17716">
                  <c:v>1.6806722689075499E-3</c:v>
                </c:pt>
                <c:pt idx="17717">
                  <c:v>1.6806722689075499E-3</c:v>
                </c:pt>
                <c:pt idx="17718">
                  <c:v>1.6806722689075499E-3</c:v>
                </c:pt>
                <c:pt idx="17719">
                  <c:v>1.6806722689075499E-3</c:v>
                </c:pt>
                <c:pt idx="17720">
                  <c:v>1.6806722689075499E-3</c:v>
                </c:pt>
                <c:pt idx="17721">
                  <c:v>1.6806722689075499E-3</c:v>
                </c:pt>
                <c:pt idx="17722">
                  <c:v>1.6806722689075499E-3</c:v>
                </c:pt>
                <c:pt idx="17723">
                  <c:v>1.6806722689075499E-3</c:v>
                </c:pt>
                <c:pt idx="17724">
                  <c:v>1.6806722689075499E-3</c:v>
                </c:pt>
                <c:pt idx="17725">
                  <c:v>1.6806722689075499E-3</c:v>
                </c:pt>
                <c:pt idx="17726">
                  <c:v>1.6806722689075499E-3</c:v>
                </c:pt>
                <c:pt idx="17727">
                  <c:v>1.6806722689075499E-3</c:v>
                </c:pt>
                <c:pt idx="17728">
                  <c:v>1.6806722689075499E-3</c:v>
                </c:pt>
                <c:pt idx="17729">
                  <c:v>1.6806722689075499E-3</c:v>
                </c:pt>
                <c:pt idx="17730">
                  <c:v>1.6806722689075499E-3</c:v>
                </c:pt>
                <c:pt idx="17731">
                  <c:v>1.6806722689075499E-3</c:v>
                </c:pt>
                <c:pt idx="17732">
                  <c:v>1.6806722689075499E-3</c:v>
                </c:pt>
                <c:pt idx="17733">
                  <c:v>1.6806722689075499E-3</c:v>
                </c:pt>
                <c:pt idx="17734">
                  <c:v>1.6806722689075499E-3</c:v>
                </c:pt>
                <c:pt idx="17735">
                  <c:v>1.6806722689075499E-3</c:v>
                </c:pt>
                <c:pt idx="17736">
                  <c:v>1.6806722689075499E-3</c:v>
                </c:pt>
                <c:pt idx="17737">
                  <c:v>1.6806722689075499E-3</c:v>
                </c:pt>
                <c:pt idx="17738">
                  <c:v>1.6806722689075499E-3</c:v>
                </c:pt>
                <c:pt idx="17739">
                  <c:v>1.6806722689075499E-3</c:v>
                </c:pt>
                <c:pt idx="17740">
                  <c:v>1.6806722689075499E-3</c:v>
                </c:pt>
                <c:pt idx="17741">
                  <c:v>1.6806722689075499E-3</c:v>
                </c:pt>
                <c:pt idx="17742">
                  <c:v>1.6806722689075499E-3</c:v>
                </c:pt>
                <c:pt idx="17743">
                  <c:v>1.6806722689075499E-3</c:v>
                </c:pt>
                <c:pt idx="17744">
                  <c:v>1.6806722689075499E-3</c:v>
                </c:pt>
                <c:pt idx="17745">
                  <c:v>1.6806722689075499E-3</c:v>
                </c:pt>
                <c:pt idx="17746">
                  <c:v>1.6806722689075499E-3</c:v>
                </c:pt>
                <c:pt idx="17747">
                  <c:v>1.6806722689075499E-3</c:v>
                </c:pt>
                <c:pt idx="17748">
                  <c:v>1.6806722689075499E-3</c:v>
                </c:pt>
                <c:pt idx="17749">
                  <c:v>1.6806722689075499E-3</c:v>
                </c:pt>
                <c:pt idx="17750">
                  <c:v>1.6806722689075499E-3</c:v>
                </c:pt>
                <c:pt idx="17751">
                  <c:v>1.6806722689075499E-3</c:v>
                </c:pt>
                <c:pt idx="17752">
                  <c:v>1.6806722689075499E-3</c:v>
                </c:pt>
                <c:pt idx="17753">
                  <c:v>1.6806722689075499E-3</c:v>
                </c:pt>
                <c:pt idx="17754">
                  <c:v>1.6806722689075499E-3</c:v>
                </c:pt>
                <c:pt idx="17755">
                  <c:v>1.6806722689075499E-3</c:v>
                </c:pt>
                <c:pt idx="17756">
                  <c:v>1.6806722689075499E-3</c:v>
                </c:pt>
                <c:pt idx="17757">
                  <c:v>1.6806722689075499E-3</c:v>
                </c:pt>
                <c:pt idx="17758">
                  <c:v>8.4033613445377799E-4</c:v>
                </c:pt>
                <c:pt idx="17759">
                  <c:v>8.4033613445377799E-4</c:v>
                </c:pt>
                <c:pt idx="17760">
                  <c:v>8.4033613445377799E-4</c:v>
                </c:pt>
                <c:pt idx="17761">
                  <c:v>8.4033613445377799E-4</c:v>
                </c:pt>
                <c:pt idx="17762">
                  <c:v>8.4033613445377799E-4</c:v>
                </c:pt>
                <c:pt idx="17763">
                  <c:v>8.4033613445377799E-4</c:v>
                </c:pt>
                <c:pt idx="17764">
                  <c:v>8.4033613445377799E-4</c:v>
                </c:pt>
                <c:pt idx="17765">
                  <c:v>8.4033613445377799E-4</c:v>
                </c:pt>
                <c:pt idx="17766">
                  <c:v>8.4033613445377799E-4</c:v>
                </c:pt>
                <c:pt idx="17767">
                  <c:v>8.4033613445377799E-4</c:v>
                </c:pt>
                <c:pt idx="17768">
                  <c:v>8.4033613445377799E-4</c:v>
                </c:pt>
                <c:pt idx="17769">
                  <c:v>8.4033613445377799E-4</c:v>
                </c:pt>
                <c:pt idx="17770">
                  <c:v>1.6806722689075499E-3</c:v>
                </c:pt>
                <c:pt idx="17771">
                  <c:v>1.6806722689075499E-3</c:v>
                </c:pt>
                <c:pt idx="17772">
                  <c:v>1.6806722689075499E-3</c:v>
                </c:pt>
                <c:pt idx="17773">
                  <c:v>2.5210084033613299E-3</c:v>
                </c:pt>
                <c:pt idx="17774">
                  <c:v>2.5210084033613299E-3</c:v>
                </c:pt>
                <c:pt idx="17775">
                  <c:v>2.5210084033613299E-3</c:v>
                </c:pt>
                <c:pt idx="17776">
                  <c:v>2.5210084033613299E-3</c:v>
                </c:pt>
                <c:pt idx="17777">
                  <c:v>2.5210084033613299E-3</c:v>
                </c:pt>
                <c:pt idx="17778">
                  <c:v>2.5210084033613299E-3</c:v>
                </c:pt>
                <c:pt idx="17779">
                  <c:v>2.5210084033613299E-3</c:v>
                </c:pt>
                <c:pt idx="17780">
                  <c:v>2.5210084033613299E-3</c:v>
                </c:pt>
                <c:pt idx="17781">
                  <c:v>2.5210084033613299E-3</c:v>
                </c:pt>
                <c:pt idx="17782">
                  <c:v>2.5210084033613299E-3</c:v>
                </c:pt>
                <c:pt idx="17783">
                  <c:v>2.5210084033613299E-3</c:v>
                </c:pt>
                <c:pt idx="17784">
                  <c:v>2.5210084033613299E-3</c:v>
                </c:pt>
                <c:pt idx="17785">
                  <c:v>2.5210084033613299E-3</c:v>
                </c:pt>
                <c:pt idx="17786">
                  <c:v>2.5210084033613299E-3</c:v>
                </c:pt>
                <c:pt idx="17787">
                  <c:v>2.5210084033613299E-3</c:v>
                </c:pt>
                <c:pt idx="17788">
                  <c:v>2.5210084033613299E-3</c:v>
                </c:pt>
                <c:pt idx="17789">
                  <c:v>2.5210084033613299E-3</c:v>
                </c:pt>
                <c:pt idx="17790">
                  <c:v>2.5210084033613299E-3</c:v>
                </c:pt>
                <c:pt idx="17791">
                  <c:v>2.5210084033613299E-3</c:v>
                </c:pt>
                <c:pt idx="17792">
                  <c:v>2.5210084033613299E-3</c:v>
                </c:pt>
                <c:pt idx="17793">
                  <c:v>2.5210084033613299E-3</c:v>
                </c:pt>
                <c:pt idx="17794">
                  <c:v>2.5210084033613299E-3</c:v>
                </c:pt>
                <c:pt idx="17795">
                  <c:v>2.5210084033613299E-3</c:v>
                </c:pt>
                <c:pt idx="17796">
                  <c:v>2.5210084033613299E-3</c:v>
                </c:pt>
                <c:pt idx="17797">
                  <c:v>2.5210084033613299E-3</c:v>
                </c:pt>
                <c:pt idx="17798">
                  <c:v>2.5210084033613299E-3</c:v>
                </c:pt>
                <c:pt idx="17799">
                  <c:v>2.5210084033613299E-3</c:v>
                </c:pt>
                <c:pt idx="17800">
                  <c:v>2.5210084033613299E-3</c:v>
                </c:pt>
                <c:pt idx="17801">
                  <c:v>2.5210084033613299E-3</c:v>
                </c:pt>
                <c:pt idx="17802">
                  <c:v>2.5210084033613299E-3</c:v>
                </c:pt>
                <c:pt idx="17803">
                  <c:v>2.5210084033613299E-3</c:v>
                </c:pt>
                <c:pt idx="17804">
                  <c:v>2.5210084033613299E-3</c:v>
                </c:pt>
                <c:pt idx="17805">
                  <c:v>2.5210084033613299E-3</c:v>
                </c:pt>
                <c:pt idx="17806">
                  <c:v>2.5210084033613299E-3</c:v>
                </c:pt>
                <c:pt idx="17807">
                  <c:v>2.5210084033613299E-3</c:v>
                </c:pt>
                <c:pt idx="17808">
                  <c:v>2.5210084033613299E-3</c:v>
                </c:pt>
                <c:pt idx="17809">
                  <c:v>2.5210084033613299E-3</c:v>
                </c:pt>
                <c:pt idx="17810">
                  <c:v>2.5210084033613299E-3</c:v>
                </c:pt>
                <c:pt idx="17811">
                  <c:v>2.5210084033613299E-3</c:v>
                </c:pt>
                <c:pt idx="17812">
                  <c:v>3.3613445378151102E-3</c:v>
                </c:pt>
                <c:pt idx="17813">
                  <c:v>3.3613445378151102E-3</c:v>
                </c:pt>
                <c:pt idx="17814">
                  <c:v>3.3613445378151102E-3</c:v>
                </c:pt>
                <c:pt idx="17815">
                  <c:v>3.3613445378151102E-3</c:v>
                </c:pt>
                <c:pt idx="17816">
                  <c:v>3.3613445378151102E-3</c:v>
                </c:pt>
                <c:pt idx="17817">
                  <c:v>3.3613445378151102E-3</c:v>
                </c:pt>
                <c:pt idx="17818">
                  <c:v>3.3613445378151102E-3</c:v>
                </c:pt>
                <c:pt idx="17819">
                  <c:v>3.3613445378151102E-3</c:v>
                </c:pt>
                <c:pt idx="17820">
                  <c:v>3.3613445378151102E-3</c:v>
                </c:pt>
                <c:pt idx="17821">
                  <c:v>3.3613445378151102E-3</c:v>
                </c:pt>
                <c:pt idx="17822">
                  <c:v>3.3613445378151102E-3</c:v>
                </c:pt>
                <c:pt idx="17823">
                  <c:v>3.3613445378151102E-3</c:v>
                </c:pt>
                <c:pt idx="17824">
                  <c:v>3.3613445378151102E-3</c:v>
                </c:pt>
                <c:pt idx="17825">
                  <c:v>3.3613445378151102E-3</c:v>
                </c:pt>
                <c:pt idx="17826">
                  <c:v>3.3613445378151102E-3</c:v>
                </c:pt>
                <c:pt idx="17827">
                  <c:v>3.3613445378151102E-3</c:v>
                </c:pt>
                <c:pt idx="17828">
                  <c:v>3.3613445378151102E-3</c:v>
                </c:pt>
                <c:pt idx="17829">
                  <c:v>3.3613445378151102E-3</c:v>
                </c:pt>
                <c:pt idx="17830">
                  <c:v>3.3613445378151102E-3</c:v>
                </c:pt>
                <c:pt idx="17831">
                  <c:v>3.3613445378151102E-3</c:v>
                </c:pt>
                <c:pt idx="17832">
                  <c:v>3.3613445378151102E-3</c:v>
                </c:pt>
                <c:pt idx="17833">
                  <c:v>3.3613445378151102E-3</c:v>
                </c:pt>
                <c:pt idx="17834">
                  <c:v>3.3613445378151102E-3</c:v>
                </c:pt>
                <c:pt idx="17835">
                  <c:v>3.3613445378151102E-3</c:v>
                </c:pt>
                <c:pt idx="17836">
                  <c:v>3.3613445378151102E-3</c:v>
                </c:pt>
                <c:pt idx="17837">
                  <c:v>3.3613445378151102E-3</c:v>
                </c:pt>
                <c:pt idx="17838">
                  <c:v>3.3613445378151102E-3</c:v>
                </c:pt>
                <c:pt idx="17839">
                  <c:v>3.3613445378151102E-3</c:v>
                </c:pt>
                <c:pt idx="17840">
                  <c:v>3.3613445378151102E-3</c:v>
                </c:pt>
                <c:pt idx="17841">
                  <c:v>3.3613445378151102E-3</c:v>
                </c:pt>
                <c:pt idx="17842">
                  <c:v>3.3613445378151102E-3</c:v>
                </c:pt>
                <c:pt idx="17843">
                  <c:v>3.3613445378151102E-3</c:v>
                </c:pt>
                <c:pt idx="17844">
                  <c:v>3.3613445378151102E-3</c:v>
                </c:pt>
                <c:pt idx="17845">
                  <c:v>3.3613445378151102E-3</c:v>
                </c:pt>
                <c:pt idx="17846">
                  <c:v>3.3613445378151102E-3</c:v>
                </c:pt>
                <c:pt idx="17847">
                  <c:v>3.3613445378151102E-3</c:v>
                </c:pt>
                <c:pt idx="17848">
                  <c:v>3.3613445378151102E-3</c:v>
                </c:pt>
                <c:pt idx="17849">
                  <c:v>3.3613445378151102E-3</c:v>
                </c:pt>
                <c:pt idx="17850">
                  <c:v>3.3613445378151102E-3</c:v>
                </c:pt>
                <c:pt idx="17851">
                  <c:v>3.3613445378151102E-3</c:v>
                </c:pt>
                <c:pt idx="17852">
                  <c:v>3.3613445378151102E-3</c:v>
                </c:pt>
                <c:pt idx="17853">
                  <c:v>3.3613445378151102E-3</c:v>
                </c:pt>
                <c:pt idx="17854">
                  <c:v>3.3613445378151102E-3</c:v>
                </c:pt>
                <c:pt idx="17855">
                  <c:v>3.3613445378151102E-3</c:v>
                </c:pt>
                <c:pt idx="17856">
                  <c:v>3.3613445378151102E-3</c:v>
                </c:pt>
                <c:pt idx="17857">
                  <c:v>3.3613445378151102E-3</c:v>
                </c:pt>
                <c:pt idx="17858">
                  <c:v>3.3613445378151102E-3</c:v>
                </c:pt>
                <c:pt idx="17859">
                  <c:v>3.3613445378151102E-3</c:v>
                </c:pt>
                <c:pt idx="17860">
                  <c:v>3.3613445378151102E-3</c:v>
                </c:pt>
                <c:pt idx="17861">
                  <c:v>3.3613445378151102E-3</c:v>
                </c:pt>
                <c:pt idx="17862">
                  <c:v>3.3613445378151102E-3</c:v>
                </c:pt>
                <c:pt idx="17863">
                  <c:v>3.3613445378151102E-3</c:v>
                </c:pt>
                <c:pt idx="17864">
                  <c:v>3.3613445378151102E-3</c:v>
                </c:pt>
                <c:pt idx="17865">
                  <c:v>3.3613445378151102E-3</c:v>
                </c:pt>
                <c:pt idx="17866">
                  <c:v>3.3613445378151102E-3</c:v>
                </c:pt>
                <c:pt idx="17867">
                  <c:v>3.3613445378151102E-3</c:v>
                </c:pt>
                <c:pt idx="17868">
                  <c:v>3.3613445378151102E-3</c:v>
                </c:pt>
                <c:pt idx="17869">
                  <c:v>3.3613445378151102E-3</c:v>
                </c:pt>
                <c:pt idx="17870">
                  <c:v>3.3613445378151102E-3</c:v>
                </c:pt>
                <c:pt idx="17871">
                  <c:v>3.3613445378151102E-3</c:v>
                </c:pt>
                <c:pt idx="17872">
                  <c:v>4.20168067226889E-3</c:v>
                </c:pt>
                <c:pt idx="17873">
                  <c:v>4.20168067226889E-3</c:v>
                </c:pt>
                <c:pt idx="17874">
                  <c:v>4.20168067226889E-3</c:v>
                </c:pt>
                <c:pt idx="17875">
                  <c:v>4.20168067226889E-3</c:v>
                </c:pt>
                <c:pt idx="17876">
                  <c:v>4.20168067226889E-3</c:v>
                </c:pt>
                <c:pt idx="17877">
                  <c:v>4.20168067226889E-3</c:v>
                </c:pt>
                <c:pt idx="17878">
                  <c:v>4.20168067226889E-3</c:v>
                </c:pt>
                <c:pt idx="17879">
                  <c:v>4.20168067226889E-3</c:v>
                </c:pt>
                <c:pt idx="17880">
                  <c:v>4.20168067226889E-3</c:v>
                </c:pt>
                <c:pt idx="17881">
                  <c:v>4.20168067226889E-3</c:v>
                </c:pt>
                <c:pt idx="17882">
                  <c:v>4.20168067226889E-3</c:v>
                </c:pt>
                <c:pt idx="17883">
                  <c:v>4.20168067226889E-3</c:v>
                </c:pt>
                <c:pt idx="17884">
                  <c:v>4.20168067226889E-3</c:v>
                </c:pt>
                <c:pt idx="17885">
                  <c:v>4.20168067226889E-3</c:v>
                </c:pt>
                <c:pt idx="17886">
                  <c:v>4.20168067226889E-3</c:v>
                </c:pt>
                <c:pt idx="17887">
                  <c:v>4.20168067226889E-3</c:v>
                </c:pt>
                <c:pt idx="17888">
                  <c:v>4.20168067226889E-3</c:v>
                </c:pt>
                <c:pt idx="17889">
                  <c:v>4.20168067226889E-3</c:v>
                </c:pt>
                <c:pt idx="17890">
                  <c:v>4.20168067226889E-3</c:v>
                </c:pt>
                <c:pt idx="17891">
                  <c:v>4.20168067226889E-3</c:v>
                </c:pt>
                <c:pt idx="17892">
                  <c:v>4.20168067226889E-3</c:v>
                </c:pt>
                <c:pt idx="17893">
                  <c:v>4.20168067226889E-3</c:v>
                </c:pt>
                <c:pt idx="17894">
                  <c:v>4.20168067226889E-3</c:v>
                </c:pt>
                <c:pt idx="17895">
                  <c:v>4.20168067226889E-3</c:v>
                </c:pt>
                <c:pt idx="17896">
                  <c:v>4.20168067226889E-3</c:v>
                </c:pt>
                <c:pt idx="17897">
                  <c:v>4.20168067226889E-3</c:v>
                </c:pt>
                <c:pt idx="17898">
                  <c:v>4.20168067226889E-3</c:v>
                </c:pt>
                <c:pt idx="17899">
                  <c:v>4.20168067226889E-3</c:v>
                </c:pt>
                <c:pt idx="17900">
                  <c:v>4.20168067226889E-3</c:v>
                </c:pt>
                <c:pt idx="17901">
                  <c:v>4.20168067226889E-3</c:v>
                </c:pt>
                <c:pt idx="17902">
                  <c:v>4.20168067226889E-3</c:v>
                </c:pt>
                <c:pt idx="17903">
                  <c:v>4.20168067226889E-3</c:v>
                </c:pt>
                <c:pt idx="17904">
                  <c:v>4.20168067226889E-3</c:v>
                </c:pt>
                <c:pt idx="17905">
                  <c:v>4.20168067226889E-3</c:v>
                </c:pt>
                <c:pt idx="17906">
                  <c:v>4.20168067226889E-3</c:v>
                </c:pt>
                <c:pt idx="17907">
                  <c:v>4.20168067226889E-3</c:v>
                </c:pt>
                <c:pt idx="17908">
                  <c:v>4.20168067226889E-3</c:v>
                </c:pt>
                <c:pt idx="17909">
                  <c:v>4.20168067226889E-3</c:v>
                </c:pt>
                <c:pt idx="17910">
                  <c:v>4.20168067226889E-3</c:v>
                </c:pt>
                <c:pt idx="17911">
                  <c:v>4.20168067226889E-3</c:v>
                </c:pt>
                <c:pt idx="17912">
                  <c:v>4.20168067226889E-3</c:v>
                </c:pt>
                <c:pt idx="17913">
                  <c:v>4.20168067226889E-3</c:v>
                </c:pt>
                <c:pt idx="17914">
                  <c:v>4.20168067226889E-3</c:v>
                </c:pt>
                <c:pt idx="17915">
                  <c:v>4.20168067226889E-3</c:v>
                </c:pt>
                <c:pt idx="17916">
                  <c:v>4.20168067226889E-3</c:v>
                </c:pt>
                <c:pt idx="17917">
                  <c:v>4.20168067226889E-3</c:v>
                </c:pt>
                <c:pt idx="17918">
                  <c:v>4.20168067226889E-3</c:v>
                </c:pt>
                <c:pt idx="17919">
                  <c:v>4.20168067226889E-3</c:v>
                </c:pt>
                <c:pt idx="17920">
                  <c:v>4.20168067226889E-3</c:v>
                </c:pt>
                <c:pt idx="17921">
                  <c:v>4.20168067226889E-3</c:v>
                </c:pt>
                <c:pt idx="17922">
                  <c:v>4.20168067226889E-3</c:v>
                </c:pt>
                <c:pt idx="17923">
                  <c:v>4.20168067226889E-3</c:v>
                </c:pt>
                <c:pt idx="17924">
                  <c:v>4.20168067226889E-3</c:v>
                </c:pt>
                <c:pt idx="17925">
                  <c:v>4.20168067226889E-3</c:v>
                </c:pt>
                <c:pt idx="17926">
                  <c:v>4.20168067226889E-3</c:v>
                </c:pt>
                <c:pt idx="17927">
                  <c:v>4.20168067226889E-3</c:v>
                </c:pt>
                <c:pt idx="17928">
                  <c:v>4.20168067226889E-3</c:v>
                </c:pt>
                <c:pt idx="17929">
                  <c:v>4.20168067226889E-3</c:v>
                </c:pt>
                <c:pt idx="17930">
                  <c:v>5.0420168067226703E-3</c:v>
                </c:pt>
                <c:pt idx="17931">
                  <c:v>5.0420168067226703E-3</c:v>
                </c:pt>
                <c:pt idx="17932">
                  <c:v>5.0420168067226703E-3</c:v>
                </c:pt>
                <c:pt idx="17933">
                  <c:v>5.0420168067226703E-3</c:v>
                </c:pt>
                <c:pt idx="17934">
                  <c:v>5.0420168067226703E-3</c:v>
                </c:pt>
                <c:pt idx="17935">
                  <c:v>5.0420168067226703E-3</c:v>
                </c:pt>
                <c:pt idx="17936">
                  <c:v>5.0420168067226703E-3</c:v>
                </c:pt>
                <c:pt idx="17937">
                  <c:v>5.0420168067226703E-3</c:v>
                </c:pt>
                <c:pt idx="17938">
                  <c:v>5.0420168067226703E-3</c:v>
                </c:pt>
                <c:pt idx="17939">
                  <c:v>5.0420168067226703E-3</c:v>
                </c:pt>
                <c:pt idx="17940">
                  <c:v>5.0420168067226703E-3</c:v>
                </c:pt>
                <c:pt idx="17941">
                  <c:v>5.0420168067226703E-3</c:v>
                </c:pt>
                <c:pt idx="17942">
                  <c:v>5.0420168067226703E-3</c:v>
                </c:pt>
                <c:pt idx="17943">
                  <c:v>5.0420168067226703E-3</c:v>
                </c:pt>
                <c:pt idx="17944">
                  <c:v>4.20168067226889E-3</c:v>
                </c:pt>
                <c:pt idx="17945">
                  <c:v>4.20168067226889E-3</c:v>
                </c:pt>
                <c:pt idx="17946">
                  <c:v>4.20168067226889E-3</c:v>
                </c:pt>
                <c:pt idx="17947">
                  <c:v>4.20168067226889E-3</c:v>
                </c:pt>
                <c:pt idx="17948">
                  <c:v>4.20168067226889E-3</c:v>
                </c:pt>
                <c:pt idx="17949">
                  <c:v>4.20168067226889E-3</c:v>
                </c:pt>
                <c:pt idx="17950">
                  <c:v>4.20168067226889E-3</c:v>
                </c:pt>
                <c:pt idx="17951">
                  <c:v>4.20168067226889E-3</c:v>
                </c:pt>
                <c:pt idx="17952">
                  <c:v>4.20168067226889E-3</c:v>
                </c:pt>
                <c:pt idx="17953">
                  <c:v>4.20168067226889E-3</c:v>
                </c:pt>
                <c:pt idx="17954">
                  <c:v>4.20168067226889E-3</c:v>
                </c:pt>
                <c:pt idx="17955">
                  <c:v>4.20168067226889E-3</c:v>
                </c:pt>
                <c:pt idx="17956">
                  <c:v>4.20168067226889E-3</c:v>
                </c:pt>
                <c:pt idx="17957">
                  <c:v>4.20168067226889E-3</c:v>
                </c:pt>
                <c:pt idx="17958">
                  <c:v>4.20168067226889E-3</c:v>
                </c:pt>
                <c:pt idx="17959">
                  <c:v>4.20168067226889E-3</c:v>
                </c:pt>
                <c:pt idx="17960">
                  <c:v>4.20168067226889E-3</c:v>
                </c:pt>
                <c:pt idx="17961">
                  <c:v>4.20168067226889E-3</c:v>
                </c:pt>
                <c:pt idx="17962">
                  <c:v>4.20168067226889E-3</c:v>
                </c:pt>
                <c:pt idx="17963">
                  <c:v>4.20168067226889E-3</c:v>
                </c:pt>
                <c:pt idx="17964">
                  <c:v>4.20168067226889E-3</c:v>
                </c:pt>
                <c:pt idx="17965">
                  <c:v>4.20168067226889E-3</c:v>
                </c:pt>
                <c:pt idx="17966">
                  <c:v>4.20168067226889E-3</c:v>
                </c:pt>
                <c:pt idx="17967">
                  <c:v>4.20168067226889E-3</c:v>
                </c:pt>
                <c:pt idx="17968">
                  <c:v>4.20168067226889E-3</c:v>
                </c:pt>
                <c:pt idx="17969">
                  <c:v>4.20168067226889E-3</c:v>
                </c:pt>
                <c:pt idx="17970">
                  <c:v>4.20168067226889E-3</c:v>
                </c:pt>
                <c:pt idx="17971">
                  <c:v>4.20168067226889E-3</c:v>
                </c:pt>
                <c:pt idx="17972">
                  <c:v>4.20168067226889E-3</c:v>
                </c:pt>
                <c:pt idx="17973">
                  <c:v>4.20168067226889E-3</c:v>
                </c:pt>
                <c:pt idx="17974">
                  <c:v>4.20168067226889E-3</c:v>
                </c:pt>
                <c:pt idx="17975">
                  <c:v>4.20168067226889E-3</c:v>
                </c:pt>
                <c:pt idx="17976">
                  <c:v>5.0420168067226703E-3</c:v>
                </c:pt>
                <c:pt idx="17977">
                  <c:v>5.0420168067226703E-3</c:v>
                </c:pt>
                <c:pt idx="17978">
                  <c:v>5.0420168067226703E-3</c:v>
                </c:pt>
                <c:pt idx="17979">
                  <c:v>5.0420168067226703E-3</c:v>
                </c:pt>
                <c:pt idx="17980">
                  <c:v>5.0420168067226703E-3</c:v>
                </c:pt>
                <c:pt idx="17981">
                  <c:v>5.0420168067226703E-3</c:v>
                </c:pt>
                <c:pt idx="17982">
                  <c:v>5.0420168067226703E-3</c:v>
                </c:pt>
                <c:pt idx="17983">
                  <c:v>5.0420168067226703E-3</c:v>
                </c:pt>
                <c:pt idx="17984">
                  <c:v>5.0420168067226703E-3</c:v>
                </c:pt>
                <c:pt idx="17985">
                  <c:v>5.0420168067226703E-3</c:v>
                </c:pt>
                <c:pt idx="17986">
                  <c:v>5.0420168067226703E-3</c:v>
                </c:pt>
                <c:pt idx="17987">
                  <c:v>5.0420168067226703E-3</c:v>
                </c:pt>
                <c:pt idx="17988">
                  <c:v>5.0420168067226703E-3</c:v>
                </c:pt>
                <c:pt idx="17989">
                  <c:v>5.0420168067226703E-3</c:v>
                </c:pt>
                <c:pt idx="17990">
                  <c:v>5.0420168067226703E-3</c:v>
                </c:pt>
                <c:pt idx="17991">
                  <c:v>5.0420168067226703E-3</c:v>
                </c:pt>
                <c:pt idx="17992">
                  <c:v>5.8823529411764497E-3</c:v>
                </c:pt>
                <c:pt idx="17993">
                  <c:v>5.8823529411764497E-3</c:v>
                </c:pt>
                <c:pt idx="17994">
                  <c:v>5.8823529411764497E-3</c:v>
                </c:pt>
                <c:pt idx="17995">
                  <c:v>5.8823529411764497E-3</c:v>
                </c:pt>
                <c:pt idx="17996">
                  <c:v>5.8823529411764497E-3</c:v>
                </c:pt>
                <c:pt idx="17997">
                  <c:v>5.8823529411764497E-3</c:v>
                </c:pt>
                <c:pt idx="17998">
                  <c:v>5.8823529411764497E-3</c:v>
                </c:pt>
                <c:pt idx="17999">
                  <c:v>5.8823529411764497E-3</c:v>
                </c:pt>
                <c:pt idx="18000">
                  <c:v>5.8823529411764497E-3</c:v>
                </c:pt>
                <c:pt idx="18001">
                  <c:v>5.8823529411764497E-3</c:v>
                </c:pt>
                <c:pt idx="18002">
                  <c:v>5.8823529411764497E-3</c:v>
                </c:pt>
                <c:pt idx="18003">
                  <c:v>5.8823529411764497E-3</c:v>
                </c:pt>
                <c:pt idx="18004">
                  <c:v>5.8823529411764497E-3</c:v>
                </c:pt>
                <c:pt idx="18005">
                  <c:v>5.8823529411764497E-3</c:v>
                </c:pt>
                <c:pt idx="18006">
                  <c:v>5.8823529411764497E-3</c:v>
                </c:pt>
                <c:pt idx="18007">
                  <c:v>5.8823529411764497E-3</c:v>
                </c:pt>
                <c:pt idx="18008">
                  <c:v>5.8823529411764497E-3</c:v>
                </c:pt>
                <c:pt idx="18009">
                  <c:v>5.8823529411764497E-3</c:v>
                </c:pt>
                <c:pt idx="18010">
                  <c:v>5.8823529411764497E-3</c:v>
                </c:pt>
                <c:pt idx="18011">
                  <c:v>5.8823529411764497E-3</c:v>
                </c:pt>
                <c:pt idx="18012">
                  <c:v>5.8823529411764497E-3</c:v>
                </c:pt>
                <c:pt idx="18013">
                  <c:v>5.8823529411764497E-3</c:v>
                </c:pt>
                <c:pt idx="18014">
                  <c:v>5.8823529411764497E-3</c:v>
                </c:pt>
                <c:pt idx="18015">
                  <c:v>5.8823529411764497E-3</c:v>
                </c:pt>
                <c:pt idx="18016">
                  <c:v>5.8823529411764497E-3</c:v>
                </c:pt>
                <c:pt idx="18017">
                  <c:v>5.8823529411764497E-3</c:v>
                </c:pt>
                <c:pt idx="18018">
                  <c:v>5.8823529411764497E-3</c:v>
                </c:pt>
                <c:pt idx="18019">
                  <c:v>5.8823529411764497E-3</c:v>
                </c:pt>
                <c:pt idx="18020">
                  <c:v>5.8823529411764497E-3</c:v>
                </c:pt>
                <c:pt idx="18021">
                  <c:v>5.8823529411764497E-3</c:v>
                </c:pt>
                <c:pt idx="18022">
                  <c:v>5.8823529411764497E-3</c:v>
                </c:pt>
                <c:pt idx="18023">
                  <c:v>5.8823529411764497E-3</c:v>
                </c:pt>
                <c:pt idx="18024">
                  <c:v>5.0420168067226703E-3</c:v>
                </c:pt>
                <c:pt idx="18025">
                  <c:v>5.0420168067226703E-3</c:v>
                </c:pt>
                <c:pt idx="18026">
                  <c:v>5.0420168067226703E-3</c:v>
                </c:pt>
                <c:pt idx="18027">
                  <c:v>5.0420168067226703E-3</c:v>
                </c:pt>
                <c:pt idx="18028">
                  <c:v>5.0420168067226703E-3</c:v>
                </c:pt>
                <c:pt idx="18029">
                  <c:v>5.0420168067226703E-3</c:v>
                </c:pt>
                <c:pt idx="18030">
                  <c:v>5.0420168067226703E-3</c:v>
                </c:pt>
                <c:pt idx="18031">
                  <c:v>5.0420168067226703E-3</c:v>
                </c:pt>
                <c:pt idx="18032">
                  <c:v>5.0420168067226703E-3</c:v>
                </c:pt>
                <c:pt idx="18033">
                  <c:v>5.0420168067226703E-3</c:v>
                </c:pt>
                <c:pt idx="18034">
                  <c:v>5.0420168067226703E-3</c:v>
                </c:pt>
                <c:pt idx="18035">
                  <c:v>5.0420168067226703E-3</c:v>
                </c:pt>
                <c:pt idx="18036">
                  <c:v>5.0420168067226703E-3</c:v>
                </c:pt>
                <c:pt idx="18037">
                  <c:v>5.0420168067226703E-3</c:v>
                </c:pt>
                <c:pt idx="18038">
                  <c:v>5.0420168067226703E-3</c:v>
                </c:pt>
                <c:pt idx="18039">
                  <c:v>5.0420168067226703E-3</c:v>
                </c:pt>
                <c:pt idx="18040">
                  <c:v>5.0420168067226703E-3</c:v>
                </c:pt>
                <c:pt idx="18041">
                  <c:v>5.0420168067226703E-3</c:v>
                </c:pt>
                <c:pt idx="18042">
                  <c:v>5.0420168067226703E-3</c:v>
                </c:pt>
                <c:pt idx="18043">
                  <c:v>5.0420168067226703E-3</c:v>
                </c:pt>
                <c:pt idx="18044">
                  <c:v>5.0420168067226703E-3</c:v>
                </c:pt>
                <c:pt idx="18045">
                  <c:v>5.0420168067226703E-3</c:v>
                </c:pt>
                <c:pt idx="18046">
                  <c:v>5.0420168067226703E-3</c:v>
                </c:pt>
                <c:pt idx="18047">
                  <c:v>5.0420168067226703E-3</c:v>
                </c:pt>
                <c:pt idx="18048">
                  <c:v>5.8823529411764497E-3</c:v>
                </c:pt>
                <c:pt idx="18049">
                  <c:v>6.7226890756302204E-3</c:v>
                </c:pt>
                <c:pt idx="18050">
                  <c:v>6.7226890756302204E-3</c:v>
                </c:pt>
                <c:pt idx="18051">
                  <c:v>6.7226890756302204E-3</c:v>
                </c:pt>
                <c:pt idx="18052">
                  <c:v>6.7226890756302204E-3</c:v>
                </c:pt>
                <c:pt idx="18053">
                  <c:v>6.7226890756302204E-3</c:v>
                </c:pt>
                <c:pt idx="18054">
                  <c:v>6.7226890756302204E-3</c:v>
                </c:pt>
                <c:pt idx="18055">
                  <c:v>6.7226890756302204E-3</c:v>
                </c:pt>
                <c:pt idx="18056">
                  <c:v>6.7226890756302204E-3</c:v>
                </c:pt>
                <c:pt idx="18057">
                  <c:v>6.7226890756302204E-3</c:v>
                </c:pt>
                <c:pt idx="18058">
                  <c:v>6.7226890756302204E-3</c:v>
                </c:pt>
                <c:pt idx="18059">
                  <c:v>6.7226890756302204E-3</c:v>
                </c:pt>
                <c:pt idx="18060">
                  <c:v>6.7226890756302204E-3</c:v>
                </c:pt>
                <c:pt idx="18061">
                  <c:v>6.7226890756302204E-3</c:v>
                </c:pt>
                <c:pt idx="18062">
                  <c:v>6.7226890756302204E-3</c:v>
                </c:pt>
                <c:pt idx="18063">
                  <c:v>6.7226890756302204E-3</c:v>
                </c:pt>
                <c:pt idx="18064">
                  <c:v>6.7226890756302204E-3</c:v>
                </c:pt>
                <c:pt idx="18065">
                  <c:v>6.7226890756302204E-3</c:v>
                </c:pt>
                <c:pt idx="18066">
                  <c:v>6.7226890756302204E-3</c:v>
                </c:pt>
                <c:pt idx="18067">
                  <c:v>6.7226890756302204E-3</c:v>
                </c:pt>
                <c:pt idx="18068">
                  <c:v>6.7226890756302204E-3</c:v>
                </c:pt>
                <c:pt idx="18069">
                  <c:v>6.7226890756302204E-3</c:v>
                </c:pt>
                <c:pt idx="18070">
                  <c:v>6.7226890756302204E-3</c:v>
                </c:pt>
                <c:pt idx="18071">
                  <c:v>6.7226890756302204E-3</c:v>
                </c:pt>
                <c:pt idx="18072">
                  <c:v>6.7226890756302204E-3</c:v>
                </c:pt>
                <c:pt idx="18073">
                  <c:v>6.7226890756302204E-3</c:v>
                </c:pt>
                <c:pt idx="18074">
                  <c:v>6.7226890756302204E-3</c:v>
                </c:pt>
                <c:pt idx="18075">
                  <c:v>5.8823529411764497E-3</c:v>
                </c:pt>
                <c:pt idx="18076">
                  <c:v>5.8823529411764497E-3</c:v>
                </c:pt>
                <c:pt idx="18077">
                  <c:v>5.8823529411764497E-3</c:v>
                </c:pt>
                <c:pt idx="18078">
                  <c:v>5.8823529411764497E-3</c:v>
                </c:pt>
                <c:pt idx="18079">
                  <c:v>5.8823529411764497E-3</c:v>
                </c:pt>
                <c:pt idx="18080">
                  <c:v>5.8823529411764497E-3</c:v>
                </c:pt>
                <c:pt idx="18081">
                  <c:v>5.8823529411764497E-3</c:v>
                </c:pt>
                <c:pt idx="18082">
                  <c:v>5.0420168067226703E-3</c:v>
                </c:pt>
                <c:pt idx="18083">
                  <c:v>5.0420168067226703E-3</c:v>
                </c:pt>
                <c:pt idx="18084">
                  <c:v>5.0420168067226703E-3</c:v>
                </c:pt>
                <c:pt idx="18085">
                  <c:v>5.0420168067226703E-3</c:v>
                </c:pt>
                <c:pt idx="18086">
                  <c:v>5.0420168067226703E-3</c:v>
                </c:pt>
                <c:pt idx="18087">
                  <c:v>5.0420168067226703E-3</c:v>
                </c:pt>
                <c:pt idx="18088">
                  <c:v>5.0420168067226703E-3</c:v>
                </c:pt>
                <c:pt idx="18089">
                  <c:v>5.0420168067226703E-3</c:v>
                </c:pt>
                <c:pt idx="18090">
                  <c:v>5.0420168067226703E-3</c:v>
                </c:pt>
                <c:pt idx="18091">
                  <c:v>5.0420168067226703E-3</c:v>
                </c:pt>
                <c:pt idx="18092">
                  <c:v>5.0420168067226703E-3</c:v>
                </c:pt>
                <c:pt idx="18093">
                  <c:v>5.0420168067226703E-3</c:v>
                </c:pt>
                <c:pt idx="18094">
                  <c:v>5.0420168067226703E-3</c:v>
                </c:pt>
                <c:pt idx="18095">
                  <c:v>5.0420168067226703E-3</c:v>
                </c:pt>
                <c:pt idx="18096">
                  <c:v>5.0420168067226703E-3</c:v>
                </c:pt>
                <c:pt idx="18097">
                  <c:v>5.0420168067226703E-3</c:v>
                </c:pt>
                <c:pt idx="18098">
                  <c:v>5.0420168067226703E-3</c:v>
                </c:pt>
                <c:pt idx="18099">
                  <c:v>5.0420168067226703E-3</c:v>
                </c:pt>
                <c:pt idx="18100">
                  <c:v>5.0420168067226703E-3</c:v>
                </c:pt>
                <c:pt idx="18101">
                  <c:v>5.0420168067226703E-3</c:v>
                </c:pt>
                <c:pt idx="18102">
                  <c:v>5.0420168067226703E-3</c:v>
                </c:pt>
                <c:pt idx="18103">
                  <c:v>5.0420168067226703E-3</c:v>
                </c:pt>
                <c:pt idx="18104">
                  <c:v>5.0420168067226703E-3</c:v>
                </c:pt>
                <c:pt idx="18105">
                  <c:v>5.0420168067226703E-3</c:v>
                </c:pt>
                <c:pt idx="18106">
                  <c:v>5.0420168067226703E-3</c:v>
                </c:pt>
                <c:pt idx="18107">
                  <c:v>5.0420168067226703E-3</c:v>
                </c:pt>
                <c:pt idx="18108">
                  <c:v>5.0420168067226703E-3</c:v>
                </c:pt>
                <c:pt idx="18109">
                  <c:v>5.0420168067226703E-3</c:v>
                </c:pt>
                <c:pt idx="18110">
                  <c:v>5.8823529411764497E-3</c:v>
                </c:pt>
                <c:pt idx="18111">
                  <c:v>5.8823529411764497E-3</c:v>
                </c:pt>
                <c:pt idx="18112">
                  <c:v>5.8823529411764497E-3</c:v>
                </c:pt>
                <c:pt idx="18113">
                  <c:v>5.8823529411764497E-3</c:v>
                </c:pt>
                <c:pt idx="18114">
                  <c:v>5.8823529411764497E-3</c:v>
                </c:pt>
                <c:pt idx="18115">
                  <c:v>5.8823529411764497E-3</c:v>
                </c:pt>
                <c:pt idx="18116">
                  <c:v>5.8823529411764497E-3</c:v>
                </c:pt>
                <c:pt idx="18117">
                  <c:v>5.8823529411764497E-3</c:v>
                </c:pt>
                <c:pt idx="18118">
                  <c:v>5.8823529411764497E-3</c:v>
                </c:pt>
                <c:pt idx="18119">
                  <c:v>5.8823529411764497E-3</c:v>
                </c:pt>
                <c:pt idx="18120">
                  <c:v>5.8823529411764497E-3</c:v>
                </c:pt>
                <c:pt idx="18121">
                  <c:v>5.8823529411764497E-3</c:v>
                </c:pt>
                <c:pt idx="18122">
                  <c:v>5.8823529411764497E-3</c:v>
                </c:pt>
                <c:pt idx="18123">
                  <c:v>5.8823529411764497E-3</c:v>
                </c:pt>
                <c:pt idx="18124">
                  <c:v>5.8823529411764497E-3</c:v>
                </c:pt>
                <c:pt idx="18125">
                  <c:v>5.8823529411764497E-3</c:v>
                </c:pt>
                <c:pt idx="18126">
                  <c:v>5.8823529411764497E-3</c:v>
                </c:pt>
                <c:pt idx="18127">
                  <c:v>5.8823529411764497E-3</c:v>
                </c:pt>
                <c:pt idx="18128">
                  <c:v>5.8823529411764497E-3</c:v>
                </c:pt>
                <c:pt idx="18129">
                  <c:v>5.8823529411764497E-3</c:v>
                </c:pt>
                <c:pt idx="18130">
                  <c:v>5.8823529411764497E-3</c:v>
                </c:pt>
                <c:pt idx="18131">
                  <c:v>5.8823529411764497E-3</c:v>
                </c:pt>
                <c:pt idx="18132">
                  <c:v>5.8823529411764497E-3</c:v>
                </c:pt>
                <c:pt idx="18133">
                  <c:v>5.8823529411764497E-3</c:v>
                </c:pt>
                <c:pt idx="18134">
                  <c:v>5.8823529411764497E-3</c:v>
                </c:pt>
                <c:pt idx="18135">
                  <c:v>5.8823529411764497E-3</c:v>
                </c:pt>
                <c:pt idx="18136">
                  <c:v>5.8823529411764497E-3</c:v>
                </c:pt>
                <c:pt idx="18137">
                  <c:v>5.8823529411764497E-3</c:v>
                </c:pt>
                <c:pt idx="18138">
                  <c:v>5.8823529411764497E-3</c:v>
                </c:pt>
                <c:pt idx="18139">
                  <c:v>5.8823529411764497E-3</c:v>
                </c:pt>
                <c:pt idx="18140">
                  <c:v>5.0420168067226703E-3</c:v>
                </c:pt>
                <c:pt idx="18141">
                  <c:v>5.8823529411764497E-3</c:v>
                </c:pt>
                <c:pt idx="18142">
                  <c:v>5.8823529411764497E-3</c:v>
                </c:pt>
                <c:pt idx="18143">
                  <c:v>5.8823529411764497E-3</c:v>
                </c:pt>
                <c:pt idx="18144">
                  <c:v>5.8823529411764497E-3</c:v>
                </c:pt>
                <c:pt idx="18145">
                  <c:v>5.8823529411764497E-3</c:v>
                </c:pt>
                <c:pt idx="18146">
                  <c:v>5.8823529411764497E-3</c:v>
                </c:pt>
                <c:pt idx="18147">
                  <c:v>5.8823529411764497E-3</c:v>
                </c:pt>
                <c:pt idx="18148">
                  <c:v>5.8823529411764497E-3</c:v>
                </c:pt>
                <c:pt idx="18149">
                  <c:v>6.7226890756302204E-3</c:v>
                </c:pt>
                <c:pt idx="18150">
                  <c:v>6.7226890756302204E-3</c:v>
                </c:pt>
                <c:pt idx="18151">
                  <c:v>6.7226890756302204E-3</c:v>
                </c:pt>
                <c:pt idx="18152">
                  <c:v>6.7226890756302204E-3</c:v>
                </c:pt>
                <c:pt idx="18153">
                  <c:v>6.7226890756302204E-3</c:v>
                </c:pt>
                <c:pt idx="18154">
                  <c:v>6.7226890756302204E-3</c:v>
                </c:pt>
                <c:pt idx="18155">
                  <c:v>6.7226890756302204E-3</c:v>
                </c:pt>
                <c:pt idx="18156">
                  <c:v>6.7226890756302204E-3</c:v>
                </c:pt>
                <c:pt idx="18157">
                  <c:v>6.7226890756302204E-3</c:v>
                </c:pt>
                <c:pt idx="18158">
                  <c:v>6.7226890756302204E-3</c:v>
                </c:pt>
                <c:pt idx="18159">
                  <c:v>6.7226890756302204E-3</c:v>
                </c:pt>
                <c:pt idx="18160">
                  <c:v>6.7226890756302204E-3</c:v>
                </c:pt>
                <c:pt idx="18161">
                  <c:v>6.7226890756302204E-3</c:v>
                </c:pt>
                <c:pt idx="18162">
                  <c:v>6.7226890756302204E-3</c:v>
                </c:pt>
                <c:pt idx="18163">
                  <c:v>6.7226890756302204E-3</c:v>
                </c:pt>
                <c:pt idx="18164">
                  <c:v>6.7226890756302204E-3</c:v>
                </c:pt>
                <c:pt idx="18165">
                  <c:v>6.7226890756302204E-3</c:v>
                </c:pt>
                <c:pt idx="18166">
                  <c:v>6.7226890756302204E-3</c:v>
                </c:pt>
                <c:pt idx="18167">
                  <c:v>6.7226890756302204E-3</c:v>
                </c:pt>
                <c:pt idx="18168">
                  <c:v>6.7226890756302204E-3</c:v>
                </c:pt>
                <c:pt idx="18169">
                  <c:v>6.7226890756302204E-3</c:v>
                </c:pt>
                <c:pt idx="18170">
                  <c:v>5.8823529411764497E-3</c:v>
                </c:pt>
                <c:pt idx="18171">
                  <c:v>5.8823529411764497E-3</c:v>
                </c:pt>
                <c:pt idx="18172">
                  <c:v>5.8823529411764497E-3</c:v>
                </c:pt>
                <c:pt idx="18173">
                  <c:v>5.8823529411764497E-3</c:v>
                </c:pt>
                <c:pt idx="18174">
                  <c:v>5.8823529411764497E-3</c:v>
                </c:pt>
                <c:pt idx="18175">
                  <c:v>5.8823529411764497E-3</c:v>
                </c:pt>
                <c:pt idx="18176">
                  <c:v>5.8823529411764497E-3</c:v>
                </c:pt>
                <c:pt idx="18177">
                  <c:v>5.8823529411764497E-3</c:v>
                </c:pt>
                <c:pt idx="18178">
                  <c:v>5.0420168067226703E-3</c:v>
                </c:pt>
                <c:pt idx="18179">
                  <c:v>5.0420168067226703E-3</c:v>
                </c:pt>
                <c:pt idx="18180">
                  <c:v>5.0420168067226703E-3</c:v>
                </c:pt>
                <c:pt idx="18181">
                  <c:v>5.0420168067226703E-3</c:v>
                </c:pt>
                <c:pt idx="18182">
                  <c:v>5.0420168067226703E-3</c:v>
                </c:pt>
                <c:pt idx="18183">
                  <c:v>5.0420168067226703E-3</c:v>
                </c:pt>
                <c:pt idx="18184">
                  <c:v>5.0420168067226703E-3</c:v>
                </c:pt>
                <c:pt idx="18185">
                  <c:v>5.0420168067226703E-3</c:v>
                </c:pt>
                <c:pt idx="18186">
                  <c:v>5.0420168067226703E-3</c:v>
                </c:pt>
                <c:pt idx="18187">
                  <c:v>4.20168067226889E-3</c:v>
                </c:pt>
                <c:pt idx="18188">
                  <c:v>4.20168067226889E-3</c:v>
                </c:pt>
                <c:pt idx="18189">
                  <c:v>4.20168067226889E-3</c:v>
                </c:pt>
                <c:pt idx="18190">
                  <c:v>4.20168067226889E-3</c:v>
                </c:pt>
                <c:pt idx="18191">
                  <c:v>4.20168067226889E-3</c:v>
                </c:pt>
                <c:pt idx="18192">
                  <c:v>4.20168067226889E-3</c:v>
                </c:pt>
                <c:pt idx="18193">
                  <c:v>4.20168067226889E-3</c:v>
                </c:pt>
                <c:pt idx="18194">
                  <c:v>4.20168067226889E-3</c:v>
                </c:pt>
                <c:pt idx="18195">
                  <c:v>4.20168067226889E-3</c:v>
                </c:pt>
                <c:pt idx="18196">
                  <c:v>4.20168067226889E-3</c:v>
                </c:pt>
                <c:pt idx="18197">
                  <c:v>4.20168067226889E-3</c:v>
                </c:pt>
                <c:pt idx="18198">
                  <c:v>4.20168067226889E-3</c:v>
                </c:pt>
                <c:pt idx="18199">
                  <c:v>4.20168067226889E-3</c:v>
                </c:pt>
                <c:pt idx="18200">
                  <c:v>4.20168067226889E-3</c:v>
                </c:pt>
                <c:pt idx="18201">
                  <c:v>4.20168067226889E-3</c:v>
                </c:pt>
                <c:pt idx="18202">
                  <c:v>4.20168067226889E-3</c:v>
                </c:pt>
                <c:pt idx="18203">
                  <c:v>4.20168067226889E-3</c:v>
                </c:pt>
                <c:pt idx="18204">
                  <c:v>4.20168067226889E-3</c:v>
                </c:pt>
                <c:pt idx="18205">
                  <c:v>4.20168067226889E-3</c:v>
                </c:pt>
                <c:pt idx="18206">
                  <c:v>4.20168067226889E-3</c:v>
                </c:pt>
                <c:pt idx="18207">
                  <c:v>4.20168067226889E-3</c:v>
                </c:pt>
                <c:pt idx="18208">
                  <c:v>4.20168067226889E-3</c:v>
                </c:pt>
                <c:pt idx="18209">
                  <c:v>4.20168067226889E-3</c:v>
                </c:pt>
                <c:pt idx="18210">
                  <c:v>4.20168067226889E-3</c:v>
                </c:pt>
                <c:pt idx="18211">
                  <c:v>4.20168067226889E-3</c:v>
                </c:pt>
                <c:pt idx="18212">
                  <c:v>4.20168067226889E-3</c:v>
                </c:pt>
                <c:pt idx="18213">
                  <c:v>4.20168067226889E-3</c:v>
                </c:pt>
                <c:pt idx="18214">
                  <c:v>4.20168067226889E-3</c:v>
                </c:pt>
                <c:pt idx="18215">
                  <c:v>4.20168067226889E-3</c:v>
                </c:pt>
                <c:pt idx="18216">
                  <c:v>4.20168067226889E-3</c:v>
                </c:pt>
                <c:pt idx="18217">
                  <c:v>4.20168067226889E-3</c:v>
                </c:pt>
                <c:pt idx="18218">
                  <c:v>4.20168067226889E-3</c:v>
                </c:pt>
                <c:pt idx="18219">
                  <c:v>4.20168067226889E-3</c:v>
                </c:pt>
                <c:pt idx="18220">
                  <c:v>4.20168067226889E-3</c:v>
                </c:pt>
                <c:pt idx="18221">
                  <c:v>4.20168067226889E-3</c:v>
                </c:pt>
                <c:pt idx="18222">
                  <c:v>4.20168067226889E-3</c:v>
                </c:pt>
                <c:pt idx="18223">
                  <c:v>4.20168067226889E-3</c:v>
                </c:pt>
                <c:pt idx="18224">
                  <c:v>4.20168067226889E-3</c:v>
                </c:pt>
                <c:pt idx="18225">
                  <c:v>4.20168067226889E-3</c:v>
                </c:pt>
                <c:pt idx="18226">
                  <c:v>3.3613445378151102E-3</c:v>
                </c:pt>
                <c:pt idx="18227">
                  <c:v>3.3613445378151102E-3</c:v>
                </c:pt>
                <c:pt idx="18228">
                  <c:v>3.3613445378151102E-3</c:v>
                </c:pt>
                <c:pt idx="18229">
                  <c:v>3.3613445378151102E-3</c:v>
                </c:pt>
                <c:pt idx="18230">
                  <c:v>3.3613445378151102E-3</c:v>
                </c:pt>
                <c:pt idx="18231">
                  <c:v>3.3613445378151102E-3</c:v>
                </c:pt>
                <c:pt idx="18232">
                  <c:v>3.3613445378151102E-3</c:v>
                </c:pt>
                <c:pt idx="18233">
                  <c:v>3.3613445378151102E-3</c:v>
                </c:pt>
                <c:pt idx="18234">
                  <c:v>3.3613445378151102E-3</c:v>
                </c:pt>
                <c:pt idx="18235">
                  <c:v>3.3613445378151102E-3</c:v>
                </c:pt>
                <c:pt idx="18236">
                  <c:v>3.3613445378151102E-3</c:v>
                </c:pt>
                <c:pt idx="18237">
                  <c:v>3.3613445378151102E-3</c:v>
                </c:pt>
                <c:pt idx="18238">
                  <c:v>3.3613445378151102E-3</c:v>
                </c:pt>
                <c:pt idx="18239">
                  <c:v>3.3613445378151102E-3</c:v>
                </c:pt>
                <c:pt idx="18240">
                  <c:v>3.3613445378151102E-3</c:v>
                </c:pt>
                <c:pt idx="18241">
                  <c:v>3.3613445378151102E-3</c:v>
                </c:pt>
                <c:pt idx="18242">
                  <c:v>3.3613445378151102E-3</c:v>
                </c:pt>
                <c:pt idx="18243">
                  <c:v>3.3613445378151102E-3</c:v>
                </c:pt>
                <c:pt idx="18244">
                  <c:v>3.3613445378151102E-3</c:v>
                </c:pt>
                <c:pt idx="18245">
                  <c:v>3.3613445378151102E-3</c:v>
                </c:pt>
                <c:pt idx="18246">
                  <c:v>3.3613445378151102E-3</c:v>
                </c:pt>
                <c:pt idx="18247">
                  <c:v>3.3613445378151102E-3</c:v>
                </c:pt>
                <c:pt idx="18248">
                  <c:v>3.3613445378151102E-3</c:v>
                </c:pt>
                <c:pt idx="18249">
                  <c:v>3.3613445378151102E-3</c:v>
                </c:pt>
                <c:pt idx="18250">
                  <c:v>3.3613445378151102E-3</c:v>
                </c:pt>
                <c:pt idx="18251">
                  <c:v>3.3613445378151102E-3</c:v>
                </c:pt>
                <c:pt idx="18252">
                  <c:v>3.3613445378151102E-3</c:v>
                </c:pt>
                <c:pt idx="18253">
                  <c:v>3.3613445378151102E-3</c:v>
                </c:pt>
                <c:pt idx="18254">
                  <c:v>3.3613445378151102E-3</c:v>
                </c:pt>
                <c:pt idx="18255">
                  <c:v>3.3613445378151102E-3</c:v>
                </c:pt>
                <c:pt idx="18256">
                  <c:v>3.3613445378151102E-3</c:v>
                </c:pt>
                <c:pt idx="18257">
                  <c:v>3.3613445378151102E-3</c:v>
                </c:pt>
                <c:pt idx="18258">
                  <c:v>3.3613445378151102E-3</c:v>
                </c:pt>
                <c:pt idx="18259">
                  <c:v>3.3613445378151102E-3</c:v>
                </c:pt>
                <c:pt idx="18260">
                  <c:v>3.3613445378151102E-3</c:v>
                </c:pt>
                <c:pt idx="18261">
                  <c:v>3.3613445378151102E-3</c:v>
                </c:pt>
                <c:pt idx="18262">
                  <c:v>3.3613445378151102E-3</c:v>
                </c:pt>
                <c:pt idx="18263">
                  <c:v>3.3613445378151102E-3</c:v>
                </c:pt>
                <c:pt idx="18264">
                  <c:v>3.3613445378151102E-3</c:v>
                </c:pt>
                <c:pt idx="18265">
                  <c:v>3.3613445378151102E-3</c:v>
                </c:pt>
                <c:pt idx="18266">
                  <c:v>3.3613445378151102E-3</c:v>
                </c:pt>
                <c:pt idx="18267">
                  <c:v>3.3613445378151102E-3</c:v>
                </c:pt>
                <c:pt idx="18268">
                  <c:v>3.3613445378151102E-3</c:v>
                </c:pt>
                <c:pt idx="18269">
                  <c:v>3.3613445378151102E-3</c:v>
                </c:pt>
                <c:pt idx="18270">
                  <c:v>3.3613445378151102E-3</c:v>
                </c:pt>
                <c:pt idx="18271">
                  <c:v>3.3613445378151102E-3</c:v>
                </c:pt>
                <c:pt idx="18272">
                  <c:v>3.3613445378151102E-3</c:v>
                </c:pt>
                <c:pt idx="18273">
                  <c:v>3.3613445378151102E-3</c:v>
                </c:pt>
                <c:pt idx="18274">
                  <c:v>3.3613445378151102E-3</c:v>
                </c:pt>
                <c:pt idx="18275">
                  <c:v>3.3613445378151102E-3</c:v>
                </c:pt>
                <c:pt idx="18276">
                  <c:v>3.3613445378151102E-3</c:v>
                </c:pt>
                <c:pt idx="18277">
                  <c:v>3.3613445378151102E-3</c:v>
                </c:pt>
                <c:pt idx="18278">
                  <c:v>3.3613445378151102E-3</c:v>
                </c:pt>
                <c:pt idx="18279">
                  <c:v>3.3613445378151102E-3</c:v>
                </c:pt>
                <c:pt idx="18280">
                  <c:v>3.3613445378151102E-3</c:v>
                </c:pt>
                <c:pt idx="18281">
                  <c:v>3.3613445378151102E-3</c:v>
                </c:pt>
                <c:pt idx="18282">
                  <c:v>3.3613445378151102E-3</c:v>
                </c:pt>
                <c:pt idx="18283">
                  <c:v>3.3613445378151102E-3</c:v>
                </c:pt>
                <c:pt idx="18284">
                  <c:v>3.3613445378151102E-3</c:v>
                </c:pt>
                <c:pt idx="18285">
                  <c:v>3.3613445378151102E-3</c:v>
                </c:pt>
                <c:pt idx="18286">
                  <c:v>3.3613445378151102E-3</c:v>
                </c:pt>
                <c:pt idx="18287">
                  <c:v>3.3613445378151102E-3</c:v>
                </c:pt>
                <c:pt idx="18288">
                  <c:v>3.3613445378151102E-3</c:v>
                </c:pt>
                <c:pt idx="18289">
                  <c:v>3.3613445378151102E-3</c:v>
                </c:pt>
                <c:pt idx="18290">
                  <c:v>3.3613445378151102E-3</c:v>
                </c:pt>
                <c:pt idx="18291">
                  <c:v>3.3613445378151102E-3</c:v>
                </c:pt>
                <c:pt idx="18292">
                  <c:v>3.3613445378151102E-3</c:v>
                </c:pt>
                <c:pt idx="18293">
                  <c:v>3.3613445378151102E-3</c:v>
                </c:pt>
                <c:pt idx="18294">
                  <c:v>3.3613445378151102E-3</c:v>
                </c:pt>
                <c:pt idx="18295">
                  <c:v>3.3613445378151102E-3</c:v>
                </c:pt>
                <c:pt idx="18296">
                  <c:v>3.3613445378151102E-3</c:v>
                </c:pt>
                <c:pt idx="18297">
                  <c:v>3.3613445378151102E-3</c:v>
                </c:pt>
                <c:pt idx="18298">
                  <c:v>3.3613445378151102E-3</c:v>
                </c:pt>
                <c:pt idx="18299">
                  <c:v>3.3613445378151102E-3</c:v>
                </c:pt>
                <c:pt idx="18300">
                  <c:v>3.3613445378151102E-3</c:v>
                </c:pt>
                <c:pt idx="18301">
                  <c:v>3.3613445378151102E-3</c:v>
                </c:pt>
                <c:pt idx="18302">
                  <c:v>3.3613445378151102E-3</c:v>
                </c:pt>
                <c:pt idx="18303">
                  <c:v>3.3613445378151102E-3</c:v>
                </c:pt>
                <c:pt idx="18304">
                  <c:v>3.3613445378151102E-3</c:v>
                </c:pt>
                <c:pt idx="18305">
                  <c:v>3.3613445378151102E-3</c:v>
                </c:pt>
                <c:pt idx="18306">
                  <c:v>3.3613445378151102E-3</c:v>
                </c:pt>
                <c:pt idx="18307">
                  <c:v>3.3613445378151102E-3</c:v>
                </c:pt>
                <c:pt idx="18308">
                  <c:v>3.3613445378151102E-3</c:v>
                </c:pt>
                <c:pt idx="18309">
                  <c:v>3.3613445378151102E-3</c:v>
                </c:pt>
                <c:pt idx="18310">
                  <c:v>3.3613445378151102E-3</c:v>
                </c:pt>
                <c:pt idx="18311">
                  <c:v>3.3613445378151102E-3</c:v>
                </c:pt>
                <c:pt idx="18312">
                  <c:v>3.3613445378151102E-3</c:v>
                </c:pt>
                <c:pt idx="18313">
                  <c:v>3.3613445378151102E-3</c:v>
                </c:pt>
                <c:pt idx="18314">
                  <c:v>3.3613445378151102E-3</c:v>
                </c:pt>
                <c:pt idx="18315">
                  <c:v>3.3613445378151102E-3</c:v>
                </c:pt>
                <c:pt idx="18316">
                  <c:v>3.3613445378151102E-3</c:v>
                </c:pt>
                <c:pt idx="18317">
                  <c:v>3.3613445378151102E-3</c:v>
                </c:pt>
                <c:pt idx="18318">
                  <c:v>3.3613445378151102E-3</c:v>
                </c:pt>
                <c:pt idx="18319">
                  <c:v>3.3613445378151102E-3</c:v>
                </c:pt>
                <c:pt idx="18320">
                  <c:v>3.3613445378151102E-3</c:v>
                </c:pt>
                <c:pt idx="18321">
                  <c:v>3.3613445378151102E-3</c:v>
                </c:pt>
                <c:pt idx="18322">
                  <c:v>3.3613445378151102E-3</c:v>
                </c:pt>
                <c:pt idx="18323">
                  <c:v>3.3613445378151102E-3</c:v>
                </c:pt>
                <c:pt idx="18324">
                  <c:v>3.3613445378151102E-3</c:v>
                </c:pt>
                <c:pt idx="18325">
                  <c:v>3.3613445378151102E-3</c:v>
                </c:pt>
                <c:pt idx="18326">
                  <c:v>3.3613445378151102E-3</c:v>
                </c:pt>
                <c:pt idx="18327">
                  <c:v>3.3613445378151102E-3</c:v>
                </c:pt>
                <c:pt idx="18328">
                  <c:v>3.3613445378151102E-3</c:v>
                </c:pt>
                <c:pt idx="18329">
                  <c:v>3.3613445378151102E-3</c:v>
                </c:pt>
                <c:pt idx="18330">
                  <c:v>3.3613445378151102E-3</c:v>
                </c:pt>
                <c:pt idx="18331">
                  <c:v>3.3613445378151102E-3</c:v>
                </c:pt>
                <c:pt idx="18332">
                  <c:v>3.3613445378151102E-3</c:v>
                </c:pt>
                <c:pt idx="18333">
                  <c:v>3.3613445378151102E-3</c:v>
                </c:pt>
                <c:pt idx="18334">
                  <c:v>3.3613445378151102E-3</c:v>
                </c:pt>
                <c:pt idx="18335">
                  <c:v>3.3613445378151102E-3</c:v>
                </c:pt>
                <c:pt idx="18336">
                  <c:v>3.3613445378151102E-3</c:v>
                </c:pt>
                <c:pt idx="18337">
                  <c:v>3.3613445378151102E-3</c:v>
                </c:pt>
                <c:pt idx="18338">
                  <c:v>2.5210084033613299E-3</c:v>
                </c:pt>
                <c:pt idx="18339">
                  <c:v>2.5210084033613299E-3</c:v>
                </c:pt>
                <c:pt idx="18340">
                  <c:v>2.5210084033613299E-3</c:v>
                </c:pt>
                <c:pt idx="18341">
                  <c:v>2.5210084033613299E-3</c:v>
                </c:pt>
                <c:pt idx="18342">
                  <c:v>2.5210084033613299E-3</c:v>
                </c:pt>
                <c:pt idx="18343">
                  <c:v>2.5210084033613299E-3</c:v>
                </c:pt>
                <c:pt idx="18344">
                  <c:v>2.5210084033613299E-3</c:v>
                </c:pt>
                <c:pt idx="18345">
                  <c:v>2.5210084033613299E-3</c:v>
                </c:pt>
                <c:pt idx="18346">
                  <c:v>1.6806722689075499E-3</c:v>
                </c:pt>
                <c:pt idx="18347">
                  <c:v>1.6806722689075499E-3</c:v>
                </c:pt>
                <c:pt idx="18348">
                  <c:v>1.6806722689075499E-3</c:v>
                </c:pt>
                <c:pt idx="18349">
                  <c:v>1.6806722689075499E-3</c:v>
                </c:pt>
                <c:pt idx="18350">
                  <c:v>1.6806722689075499E-3</c:v>
                </c:pt>
                <c:pt idx="18351">
                  <c:v>1.6806722689075499E-3</c:v>
                </c:pt>
                <c:pt idx="18352">
                  <c:v>1.6806722689075499E-3</c:v>
                </c:pt>
                <c:pt idx="18353">
                  <c:v>1.6806722689075499E-3</c:v>
                </c:pt>
                <c:pt idx="18354">
                  <c:v>1.6806722689075499E-3</c:v>
                </c:pt>
                <c:pt idx="18355">
                  <c:v>1.6806722689075499E-3</c:v>
                </c:pt>
                <c:pt idx="18356">
                  <c:v>1.6806722689075499E-3</c:v>
                </c:pt>
                <c:pt idx="18357">
                  <c:v>1.6806722689075499E-3</c:v>
                </c:pt>
                <c:pt idx="18358">
                  <c:v>1.6806722689075499E-3</c:v>
                </c:pt>
                <c:pt idx="18359">
                  <c:v>1.6806722689075499E-3</c:v>
                </c:pt>
                <c:pt idx="18360">
                  <c:v>1.6806722689075499E-3</c:v>
                </c:pt>
                <c:pt idx="18361">
                  <c:v>1.6806722689075499E-3</c:v>
                </c:pt>
                <c:pt idx="18362">
                  <c:v>1.6806722689075499E-3</c:v>
                </c:pt>
                <c:pt idx="18363">
                  <c:v>1.6806722689075499E-3</c:v>
                </c:pt>
                <c:pt idx="18364">
                  <c:v>1.6806722689075499E-3</c:v>
                </c:pt>
                <c:pt idx="18365">
                  <c:v>1.6806722689075499E-3</c:v>
                </c:pt>
                <c:pt idx="18366">
                  <c:v>2.5210084033613299E-3</c:v>
                </c:pt>
                <c:pt idx="18367">
                  <c:v>2.5210084033613299E-3</c:v>
                </c:pt>
                <c:pt idx="18368">
                  <c:v>2.5210084033613299E-3</c:v>
                </c:pt>
                <c:pt idx="18369">
                  <c:v>2.5210084033613299E-3</c:v>
                </c:pt>
                <c:pt idx="18370">
                  <c:v>2.5210084033613299E-3</c:v>
                </c:pt>
                <c:pt idx="18371">
                  <c:v>2.5210084033613299E-3</c:v>
                </c:pt>
                <c:pt idx="18372">
                  <c:v>2.5210084033613299E-3</c:v>
                </c:pt>
                <c:pt idx="18373">
                  <c:v>1.6806722689075499E-3</c:v>
                </c:pt>
                <c:pt idx="18374">
                  <c:v>1.6806722689075499E-3</c:v>
                </c:pt>
                <c:pt idx="18375">
                  <c:v>1.6806722689075499E-3</c:v>
                </c:pt>
                <c:pt idx="18376">
                  <c:v>1.6806722689075499E-3</c:v>
                </c:pt>
                <c:pt idx="18377">
                  <c:v>1.6806722689075499E-3</c:v>
                </c:pt>
                <c:pt idx="18378">
                  <c:v>1.6806722689075499E-3</c:v>
                </c:pt>
                <c:pt idx="18379">
                  <c:v>1.6806722689075499E-3</c:v>
                </c:pt>
                <c:pt idx="18380">
                  <c:v>1.6806722689075499E-3</c:v>
                </c:pt>
                <c:pt idx="18381">
                  <c:v>1.6806722689075499E-3</c:v>
                </c:pt>
                <c:pt idx="18382">
                  <c:v>1.6806722689075499E-3</c:v>
                </c:pt>
                <c:pt idx="18383">
                  <c:v>1.6806722689075499E-3</c:v>
                </c:pt>
                <c:pt idx="18384">
                  <c:v>1.6806722689075499E-3</c:v>
                </c:pt>
                <c:pt idx="18385">
                  <c:v>1.6806722689075499E-3</c:v>
                </c:pt>
                <c:pt idx="18386">
                  <c:v>1.6806722689075499E-3</c:v>
                </c:pt>
                <c:pt idx="18387">
                  <c:v>1.6806722689075499E-3</c:v>
                </c:pt>
                <c:pt idx="18388">
                  <c:v>1.6806722689075499E-3</c:v>
                </c:pt>
                <c:pt idx="18389">
                  <c:v>1.6806722689075499E-3</c:v>
                </c:pt>
                <c:pt idx="18390">
                  <c:v>1.6806722689075499E-3</c:v>
                </c:pt>
                <c:pt idx="18391">
                  <c:v>1.6806722689075499E-3</c:v>
                </c:pt>
                <c:pt idx="18392">
                  <c:v>1.6806722689075499E-3</c:v>
                </c:pt>
                <c:pt idx="18393">
                  <c:v>1.6806722689075499E-3</c:v>
                </c:pt>
                <c:pt idx="18394">
                  <c:v>1.6806722689075499E-3</c:v>
                </c:pt>
                <c:pt idx="18395">
                  <c:v>1.6806722689075499E-3</c:v>
                </c:pt>
                <c:pt idx="18396">
                  <c:v>1.6806722689075499E-3</c:v>
                </c:pt>
                <c:pt idx="18397">
                  <c:v>1.6806722689075499E-3</c:v>
                </c:pt>
                <c:pt idx="18398">
                  <c:v>1.6806722689075499E-3</c:v>
                </c:pt>
                <c:pt idx="18399">
                  <c:v>1.6806722689075499E-3</c:v>
                </c:pt>
                <c:pt idx="18400">
                  <c:v>2.5210084033613299E-3</c:v>
                </c:pt>
                <c:pt idx="18401">
                  <c:v>2.5210084033613299E-3</c:v>
                </c:pt>
                <c:pt idx="18402">
                  <c:v>3.3613445378151102E-3</c:v>
                </c:pt>
                <c:pt idx="18403">
                  <c:v>3.3613445378151102E-3</c:v>
                </c:pt>
                <c:pt idx="18404">
                  <c:v>3.3613445378151102E-3</c:v>
                </c:pt>
                <c:pt idx="18405">
                  <c:v>3.3613445378151102E-3</c:v>
                </c:pt>
                <c:pt idx="18406">
                  <c:v>3.3613445378151102E-3</c:v>
                </c:pt>
                <c:pt idx="18407">
                  <c:v>3.3613445378151102E-3</c:v>
                </c:pt>
                <c:pt idx="18408">
                  <c:v>3.3613445378151102E-3</c:v>
                </c:pt>
                <c:pt idx="18409">
                  <c:v>4.20168067226889E-3</c:v>
                </c:pt>
                <c:pt idx="18410">
                  <c:v>5.0420168067226703E-3</c:v>
                </c:pt>
                <c:pt idx="18411">
                  <c:v>5.0420168067226703E-3</c:v>
                </c:pt>
                <c:pt idx="18412">
                  <c:v>5.0420168067226703E-3</c:v>
                </c:pt>
                <c:pt idx="18413">
                  <c:v>5.0420168067226703E-3</c:v>
                </c:pt>
                <c:pt idx="18414">
                  <c:v>5.0420168067226703E-3</c:v>
                </c:pt>
                <c:pt idx="18415">
                  <c:v>5.0420168067226703E-3</c:v>
                </c:pt>
                <c:pt idx="18416">
                  <c:v>5.0420168067226703E-3</c:v>
                </c:pt>
                <c:pt idx="18417">
                  <c:v>5.0420168067226703E-3</c:v>
                </c:pt>
                <c:pt idx="18418">
                  <c:v>5.0420168067226703E-3</c:v>
                </c:pt>
                <c:pt idx="18419">
                  <c:v>5.0420168067226703E-3</c:v>
                </c:pt>
                <c:pt idx="18420">
                  <c:v>5.0420168067226703E-3</c:v>
                </c:pt>
                <c:pt idx="18421">
                  <c:v>5.0420168067226703E-3</c:v>
                </c:pt>
                <c:pt idx="18422">
                  <c:v>5.0420168067226703E-3</c:v>
                </c:pt>
                <c:pt idx="18423">
                  <c:v>5.0420168067226703E-3</c:v>
                </c:pt>
                <c:pt idx="18424">
                  <c:v>5.0420168067226703E-3</c:v>
                </c:pt>
                <c:pt idx="18425">
                  <c:v>5.0420168067226703E-3</c:v>
                </c:pt>
                <c:pt idx="18426">
                  <c:v>5.0420168067226703E-3</c:v>
                </c:pt>
                <c:pt idx="18427">
                  <c:v>5.0420168067226703E-3</c:v>
                </c:pt>
                <c:pt idx="18428">
                  <c:v>5.0420168067226703E-3</c:v>
                </c:pt>
                <c:pt idx="18429">
                  <c:v>5.0420168067226703E-3</c:v>
                </c:pt>
                <c:pt idx="18430">
                  <c:v>5.0420168067226703E-3</c:v>
                </c:pt>
                <c:pt idx="18431">
                  <c:v>5.0420168067226703E-3</c:v>
                </c:pt>
                <c:pt idx="18432">
                  <c:v>5.0420168067226703E-3</c:v>
                </c:pt>
                <c:pt idx="18433">
                  <c:v>5.0420168067226703E-3</c:v>
                </c:pt>
                <c:pt idx="18434">
                  <c:v>5.0420168067226703E-3</c:v>
                </c:pt>
                <c:pt idx="18435">
                  <c:v>5.0420168067226703E-3</c:v>
                </c:pt>
                <c:pt idx="18436">
                  <c:v>5.0420168067226703E-3</c:v>
                </c:pt>
                <c:pt idx="18437">
                  <c:v>5.0420168067226703E-3</c:v>
                </c:pt>
                <c:pt idx="18438">
                  <c:v>5.0420168067226703E-3</c:v>
                </c:pt>
                <c:pt idx="18439">
                  <c:v>5.0420168067226703E-3</c:v>
                </c:pt>
                <c:pt idx="18440">
                  <c:v>5.0420168067226703E-3</c:v>
                </c:pt>
                <c:pt idx="18441">
                  <c:v>5.0420168067226703E-3</c:v>
                </c:pt>
                <c:pt idx="18442">
                  <c:v>5.0420168067226703E-3</c:v>
                </c:pt>
                <c:pt idx="18443">
                  <c:v>5.0420168067226703E-3</c:v>
                </c:pt>
                <c:pt idx="18444">
                  <c:v>5.0420168067226703E-3</c:v>
                </c:pt>
                <c:pt idx="18445">
                  <c:v>5.8823529411764497E-3</c:v>
                </c:pt>
                <c:pt idx="18446">
                  <c:v>5.8823529411764497E-3</c:v>
                </c:pt>
                <c:pt idx="18447">
                  <c:v>5.8823529411764497E-3</c:v>
                </c:pt>
                <c:pt idx="18448">
                  <c:v>5.8823529411764497E-3</c:v>
                </c:pt>
                <c:pt idx="18449">
                  <c:v>5.8823529411764497E-3</c:v>
                </c:pt>
                <c:pt idx="18450">
                  <c:v>5.8823529411764497E-3</c:v>
                </c:pt>
                <c:pt idx="18451">
                  <c:v>5.8823529411764497E-3</c:v>
                </c:pt>
                <c:pt idx="18452">
                  <c:v>5.8823529411764497E-3</c:v>
                </c:pt>
                <c:pt idx="18453">
                  <c:v>5.8823529411764497E-3</c:v>
                </c:pt>
                <c:pt idx="18454">
                  <c:v>5.8823529411764497E-3</c:v>
                </c:pt>
                <c:pt idx="18455">
                  <c:v>5.8823529411764497E-3</c:v>
                </c:pt>
                <c:pt idx="18456">
                  <c:v>5.8823529411764497E-3</c:v>
                </c:pt>
                <c:pt idx="18457">
                  <c:v>5.8823529411764497E-3</c:v>
                </c:pt>
                <c:pt idx="18458">
                  <c:v>5.8823529411764497E-3</c:v>
                </c:pt>
                <c:pt idx="18459">
                  <c:v>5.8823529411764497E-3</c:v>
                </c:pt>
                <c:pt idx="18460">
                  <c:v>5.8823529411764497E-3</c:v>
                </c:pt>
                <c:pt idx="18461">
                  <c:v>5.8823529411764497E-3</c:v>
                </c:pt>
                <c:pt idx="18462">
                  <c:v>5.8823529411764497E-3</c:v>
                </c:pt>
                <c:pt idx="18463">
                  <c:v>5.8823529411764497E-3</c:v>
                </c:pt>
                <c:pt idx="18464">
                  <c:v>5.8823529411764497E-3</c:v>
                </c:pt>
                <c:pt idx="18465">
                  <c:v>5.8823529411764497E-3</c:v>
                </c:pt>
                <c:pt idx="18466">
                  <c:v>5.8823529411764497E-3</c:v>
                </c:pt>
                <c:pt idx="18467">
                  <c:v>5.8823529411764497E-3</c:v>
                </c:pt>
                <c:pt idx="18468">
                  <c:v>5.8823529411764497E-3</c:v>
                </c:pt>
                <c:pt idx="18469">
                  <c:v>5.8823529411764497E-3</c:v>
                </c:pt>
                <c:pt idx="18470">
                  <c:v>5.8823529411764497E-3</c:v>
                </c:pt>
                <c:pt idx="18471">
                  <c:v>5.8823529411764497E-3</c:v>
                </c:pt>
                <c:pt idx="18472">
                  <c:v>5.8823529411764497E-3</c:v>
                </c:pt>
                <c:pt idx="18473">
                  <c:v>5.8823529411764497E-3</c:v>
                </c:pt>
                <c:pt idx="18474">
                  <c:v>5.8823529411764497E-3</c:v>
                </c:pt>
                <c:pt idx="18475">
                  <c:v>5.8823529411764497E-3</c:v>
                </c:pt>
                <c:pt idx="18476">
                  <c:v>5.8823529411764497E-3</c:v>
                </c:pt>
                <c:pt idx="18477">
                  <c:v>5.8823529411764497E-3</c:v>
                </c:pt>
                <c:pt idx="18478">
                  <c:v>5.0420168067226703E-3</c:v>
                </c:pt>
                <c:pt idx="18479">
                  <c:v>5.0420168067226703E-3</c:v>
                </c:pt>
                <c:pt idx="18480">
                  <c:v>5.0420168067226703E-3</c:v>
                </c:pt>
                <c:pt idx="18481">
                  <c:v>5.0420168067226703E-3</c:v>
                </c:pt>
                <c:pt idx="18482">
                  <c:v>5.0420168067226703E-3</c:v>
                </c:pt>
                <c:pt idx="18483">
                  <c:v>5.0420168067226703E-3</c:v>
                </c:pt>
                <c:pt idx="18484">
                  <c:v>5.0420168067226703E-3</c:v>
                </c:pt>
                <c:pt idx="18485">
                  <c:v>5.0420168067226703E-3</c:v>
                </c:pt>
                <c:pt idx="18486">
                  <c:v>5.0420168067226703E-3</c:v>
                </c:pt>
                <c:pt idx="18487">
                  <c:v>5.0420168067226703E-3</c:v>
                </c:pt>
                <c:pt idx="18488">
                  <c:v>5.0420168067226703E-3</c:v>
                </c:pt>
                <c:pt idx="18489">
                  <c:v>5.0420168067226703E-3</c:v>
                </c:pt>
                <c:pt idx="18490">
                  <c:v>5.0420168067226703E-3</c:v>
                </c:pt>
                <c:pt idx="18491">
                  <c:v>5.0420168067226703E-3</c:v>
                </c:pt>
                <c:pt idx="18492">
                  <c:v>5.0420168067226703E-3</c:v>
                </c:pt>
                <c:pt idx="18493">
                  <c:v>5.0420168067226703E-3</c:v>
                </c:pt>
                <c:pt idx="18494">
                  <c:v>5.8823529411764497E-3</c:v>
                </c:pt>
                <c:pt idx="18495">
                  <c:v>5.8823529411764497E-3</c:v>
                </c:pt>
                <c:pt idx="18496">
                  <c:v>5.8823529411764497E-3</c:v>
                </c:pt>
                <c:pt idx="18497">
                  <c:v>5.8823529411764497E-3</c:v>
                </c:pt>
                <c:pt idx="18498">
                  <c:v>5.8823529411764497E-3</c:v>
                </c:pt>
                <c:pt idx="18499">
                  <c:v>5.8823529411764497E-3</c:v>
                </c:pt>
                <c:pt idx="18500">
                  <c:v>5.8823529411764497E-3</c:v>
                </c:pt>
                <c:pt idx="18501">
                  <c:v>5.8823529411764497E-3</c:v>
                </c:pt>
                <c:pt idx="18502">
                  <c:v>5.8823529411764497E-3</c:v>
                </c:pt>
                <c:pt idx="18503">
                  <c:v>5.8823529411764497E-3</c:v>
                </c:pt>
                <c:pt idx="18504">
                  <c:v>5.8823529411764497E-3</c:v>
                </c:pt>
                <c:pt idx="18505">
                  <c:v>5.8823529411764497E-3</c:v>
                </c:pt>
                <c:pt idx="18506">
                  <c:v>5.8823529411764497E-3</c:v>
                </c:pt>
                <c:pt idx="18507">
                  <c:v>5.8823529411764497E-3</c:v>
                </c:pt>
                <c:pt idx="18508">
                  <c:v>5.8823529411764497E-3</c:v>
                </c:pt>
                <c:pt idx="18509">
                  <c:v>5.8823529411764497E-3</c:v>
                </c:pt>
                <c:pt idx="18510">
                  <c:v>5.8823529411764497E-3</c:v>
                </c:pt>
                <c:pt idx="18511">
                  <c:v>5.8823529411764497E-3</c:v>
                </c:pt>
                <c:pt idx="18512">
                  <c:v>5.8823529411764497E-3</c:v>
                </c:pt>
                <c:pt idx="18513">
                  <c:v>5.8823529411764497E-3</c:v>
                </c:pt>
                <c:pt idx="18514">
                  <c:v>5.8823529411764497E-3</c:v>
                </c:pt>
                <c:pt idx="18515">
                  <c:v>5.8823529411764497E-3</c:v>
                </c:pt>
                <c:pt idx="18516">
                  <c:v>5.8823529411764497E-3</c:v>
                </c:pt>
                <c:pt idx="18517">
                  <c:v>5.8823529411764497E-3</c:v>
                </c:pt>
                <c:pt idx="18518">
                  <c:v>5.8823529411764497E-3</c:v>
                </c:pt>
                <c:pt idx="18519">
                  <c:v>5.8823529411764497E-3</c:v>
                </c:pt>
                <c:pt idx="18520">
                  <c:v>5.8823529411764497E-3</c:v>
                </c:pt>
                <c:pt idx="18521">
                  <c:v>5.8823529411764497E-3</c:v>
                </c:pt>
                <c:pt idx="18522">
                  <c:v>5.8823529411764497E-3</c:v>
                </c:pt>
                <c:pt idx="18523">
                  <c:v>6.7226890756302204E-3</c:v>
                </c:pt>
                <c:pt idx="18524">
                  <c:v>6.7226890756302204E-3</c:v>
                </c:pt>
                <c:pt idx="18525">
                  <c:v>6.7226890756302204E-3</c:v>
                </c:pt>
                <c:pt idx="18526">
                  <c:v>6.7226890756302204E-3</c:v>
                </c:pt>
                <c:pt idx="18527">
                  <c:v>6.7226890756302204E-3</c:v>
                </c:pt>
                <c:pt idx="18528">
                  <c:v>6.7226890756302204E-3</c:v>
                </c:pt>
                <c:pt idx="18529">
                  <c:v>6.7226890756302204E-3</c:v>
                </c:pt>
                <c:pt idx="18530">
                  <c:v>6.7226890756302204E-3</c:v>
                </c:pt>
                <c:pt idx="18531">
                  <c:v>6.7226890756302204E-3</c:v>
                </c:pt>
                <c:pt idx="18532">
                  <c:v>6.7226890756302204E-3</c:v>
                </c:pt>
                <c:pt idx="18533">
                  <c:v>6.7226890756302204E-3</c:v>
                </c:pt>
                <c:pt idx="18534">
                  <c:v>6.7226890756302204E-3</c:v>
                </c:pt>
                <c:pt idx="18535">
                  <c:v>6.7226890756302204E-3</c:v>
                </c:pt>
                <c:pt idx="18536">
                  <c:v>6.7226890756302204E-3</c:v>
                </c:pt>
                <c:pt idx="18537">
                  <c:v>6.7226890756302204E-3</c:v>
                </c:pt>
                <c:pt idx="18538">
                  <c:v>6.7226890756302204E-3</c:v>
                </c:pt>
                <c:pt idx="18539">
                  <c:v>6.7226890756302204E-3</c:v>
                </c:pt>
                <c:pt idx="18540">
                  <c:v>6.7226890756302204E-3</c:v>
                </c:pt>
                <c:pt idx="18541">
                  <c:v>6.7226890756302204E-3</c:v>
                </c:pt>
                <c:pt idx="18542">
                  <c:v>6.7226890756302204E-3</c:v>
                </c:pt>
                <c:pt idx="18543">
                  <c:v>6.7226890756302204E-3</c:v>
                </c:pt>
                <c:pt idx="18544">
                  <c:v>6.7226890756302204E-3</c:v>
                </c:pt>
                <c:pt idx="18545">
                  <c:v>6.7226890756302204E-3</c:v>
                </c:pt>
                <c:pt idx="18546">
                  <c:v>6.7226890756302204E-3</c:v>
                </c:pt>
                <c:pt idx="18547">
                  <c:v>5.8823529411764497E-3</c:v>
                </c:pt>
                <c:pt idx="18548">
                  <c:v>5.8823529411764497E-3</c:v>
                </c:pt>
                <c:pt idx="18549">
                  <c:v>5.8823529411764497E-3</c:v>
                </c:pt>
                <c:pt idx="18550">
                  <c:v>5.8823529411764497E-3</c:v>
                </c:pt>
                <c:pt idx="18551">
                  <c:v>5.8823529411764497E-3</c:v>
                </c:pt>
                <c:pt idx="18552">
                  <c:v>5.8823529411764497E-3</c:v>
                </c:pt>
                <c:pt idx="18553">
                  <c:v>5.0420168067226703E-3</c:v>
                </c:pt>
                <c:pt idx="18554">
                  <c:v>5.8823529411764497E-3</c:v>
                </c:pt>
                <c:pt idx="18555">
                  <c:v>5.8823529411764497E-3</c:v>
                </c:pt>
                <c:pt idx="18556">
                  <c:v>5.8823529411764497E-3</c:v>
                </c:pt>
                <c:pt idx="18557">
                  <c:v>5.8823529411764497E-3</c:v>
                </c:pt>
                <c:pt idx="18558">
                  <c:v>5.8823529411764497E-3</c:v>
                </c:pt>
                <c:pt idx="18559">
                  <c:v>5.8823529411764497E-3</c:v>
                </c:pt>
                <c:pt idx="18560">
                  <c:v>5.0420168067226703E-3</c:v>
                </c:pt>
                <c:pt idx="18561">
                  <c:v>5.0420168067226703E-3</c:v>
                </c:pt>
                <c:pt idx="18562">
                  <c:v>5.0420168067226703E-3</c:v>
                </c:pt>
                <c:pt idx="18563">
                  <c:v>5.0420168067226703E-3</c:v>
                </c:pt>
                <c:pt idx="18564">
                  <c:v>5.0420168067226703E-3</c:v>
                </c:pt>
                <c:pt idx="18565">
                  <c:v>4.20168067226889E-3</c:v>
                </c:pt>
                <c:pt idx="18566">
                  <c:v>4.20168067226889E-3</c:v>
                </c:pt>
                <c:pt idx="18567">
                  <c:v>4.20168067226889E-3</c:v>
                </c:pt>
                <c:pt idx="18568">
                  <c:v>4.20168067226889E-3</c:v>
                </c:pt>
                <c:pt idx="18569">
                  <c:v>4.20168067226889E-3</c:v>
                </c:pt>
                <c:pt idx="18570">
                  <c:v>4.20168067226889E-3</c:v>
                </c:pt>
                <c:pt idx="18571">
                  <c:v>4.20168067226889E-3</c:v>
                </c:pt>
                <c:pt idx="18572">
                  <c:v>4.20168067226889E-3</c:v>
                </c:pt>
                <c:pt idx="18573">
                  <c:v>4.20168067226889E-3</c:v>
                </c:pt>
                <c:pt idx="18574">
                  <c:v>4.20168067226889E-3</c:v>
                </c:pt>
                <c:pt idx="18575">
                  <c:v>4.20168067226889E-3</c:v>
                </c:pt>
                <c:pt idx="18576">
                  <c:v>4.20168067226889E-3</c:v>
                </c:pt>
                <c:pt idx="18577">
                  <c:v>4.20168067226889E-3</c:v>
                </c:pt>
                <c:pt idx="18578">
                  <c:v>4.20168067226889E-3</c:v>
                </c:pt>
                <c:pt idx="18579">
                  <c:v>5.0420168067226703E-3</c:v>
                </c:pt>
                <c:pt idx="18580">
                  <c:v>5.0420168067226703E-3</c:v>
                </c:pt>
                <c:pt idx="18581">
                  <c:v>5.0420168067226703E-3</c:v>
                </c:pt>
                <c:pt idx="18582">
                  <c:v>5.0420168067226703E-3</c:v>
                </c:pt>
                <c:pt idx="18583">
                  <c:v>5.0420168067226703E-3</c:v>
                </c:pt>
                <c:pt idx="18584">
                  <c:v>5.8823529411764497E-3</c:v>
                </c:pt>
                <c:pt idx="18585">
                  <c:v>5.8823529411764497E-3</c:v>
                </c:pt>
                <c:pt idx="18586">
                  <c:v>5.8823529411764497E-3</c:v>
                </c:pt>
                <c:pt idx="18587">
                  <c:v>5.8823529411764497E-3</c:v>
                </c:pt>
                <c:pt idx="18588">
                  <c:v>5.8823529411764497E-3</c:v>
                </c:pt>
                <c:pt idx="18589">
                  <c:v>5.8823529411764497E-3</c:v>
                </c:pt>
                <c:pt idx="18590">
                  <c:v>5.8823529411764497E-3</c:v>
                </c:pt>
                <c:pt idx="18591">
                  <c:v>5.8823529411764497E-3</c:v>
                </c:pt>
                <c:pt idx="18592">
                  <c:v>5.8823529411764497E-3</c:v>
                </c:pt>
                <c:pt idx="18593">
                  <c:v>5.8823529411764497E-3</c:v>
                </c:pt>
                <c:pt idx="18594">
                  <c:v>5.8823529411764497E-3</c:v>
                </c:pt>
                <c:pt idx="18595">
                  <c:v>5.8823529411764497E-3</c:v>
                </c:pt>
                <c:pt idx="18596">
                  <c:v>5.8823529411764497E-3</c:v>
                </c:pt>
                <c:pt idx="18597">
                  <c:v>5.8823529411764497E-3</c:v>
                </c:pt>
                <c:pt idx="18598">
                  <c:v>5.8823529411764497E-3</c:v>
                </c:pt>
                <c:pt idx="18599">
                  <c:v>5.8823529411764497E-3</c:v>
                </c:pt>
                <c:pt idx="18600">
                  <c:v>5.8823529411764497E-3</c:v>
                </c:pt>
                <c:pt idx="18601">
                  <c:v>5.8823529411764497E-3</c:v>
                </c:pt>
                <c:pt idx="18602">
                  <c:v>5.8823529411764497E-3</c:v>
                </c:pt>
                <c:pt idx="18603">
                  <c:v>5.8823529411764497E-3</c:v>
                </c:pt>
                <c:pt idx="18604">
                  <c:v>5.8823529411764497E-3</c:v>
                </c:pt>
                <c:pt idx="18605">
                  <c:v>5.0420168067226703E-3</c:v>
                </c:pt>
                <c:pt idx="18606">
                  <c:v>5.0420168067226703E-3</c:v>
                </c:pt>
                <c:pt idx="18607">
                  <c:v>5.0420168067226703E-3</c:v>
                </c:pt>
                <c:pt idx="18608">
                  <c:v>5.0420168067226703E-3</c:v>
                </c:pt>
                <c:pt idx="18609">
                  <c:v>5.0420168067226703E-3</c:v>
                </c:pt>
                <c:pt idx="18610">
                  <c:v>5.0420168067226703E-3</c:v>
                </c:pt>
                <c:pt idx="18611">
                  <c:v>5.0420168067226703E-3</c:v>
                </c:pt>
                <c:pt idx="18612">
                  <c:v>5.0420168067226703E-3</c:v>
                </c:pt>
                <c:pt idx="18613">
                  <c:v>5.0420168067226703E-3</c:v>
                </c:pt>
                <c:pt idx="18614">
                  <c:v>5.0420168067226703E-3</c:v>
                </c:pt>
                <c:pt idx="18615">
                  <c:v>4.20168067226889E-3</c:v>
                </c:pt>
                <c:pt idx="18616">
                  <c:v>4.20168067226889E-3</c:v>
                </c:pt>
                <c:pt idx="18617">
                  <c:v>4.20168067226889E-3</c:v>
                </c:pt>
                <c:pt idx="18618">
                  <c:v>4.20168067226889E-3</c:v>
                </c:pt>
                <c:pt idx="18619">
                  <c:v>4.20168067226889E-3</c:v>
                </c:pt>
                <c:pt idx="18620">
                  <c:v>4.20168067226889E-3</c:v>
                </c:pt>
                <c:pt idx="18621">
                  <c:v>4.20168067226889E-3</c:v>
                </c:pt>
                <c:pt idx="18622">
                  <c:v>4.20168067226889E-3</c:v>
                </c:pt>
                <c:pt idx="18623">
                  <c:v>4.20168067226889E-3</c:v>
                </c:pt>
                <c:pt idx="18624">
                  <c:v>4.20168067226889E-3</c:v>
                </c:pt>
                <c:pt idx="18625">
                  <c:v>4.20168067226889E-3</c:v>
                </c:pt>
                <c:pt idx="18626">
                  <c:v>4.20168067226889E-3</c:v>
                </c:pt>
                <c:pt idx="18627">
                  <c:v>4.20168067226889E-3</c:v>
                </c:pt>
                <c:pt idx="18628">
                  <c:v>4.20168067226889E-3</c:v>
                </c:pt>
                <c:pt idx="18629">
                  <c:v>4.20168067226889E-3</c:v>
                </c:pt>
                <c:pt idx="18630">
                  <c:v>4.20168067226889E-3</c:v>
                </c:pt>
                <c:pt idx="18631">
                  <c:v>4.20168067226889E-3</c:v>
                </c:pt>
                <c:pt idx="18632">
                  <c:v>4.20168067226889E-3</c:v>
                </c:pt>
                <c:pt idx="18633">
                  <c:v>4.20168067226889E-3</c:v>
                </c:pt>
                <c:pt idx="18634">
                  <c:v>4.20168067226889E-3</c:v>
                </c:pt>
                <c:pt idx="18635">
                  <c:v>4.20168067226889E-3</c:v>
                </c:pt>
                <c:pt idx="18636">
                  <c:v>4.20168067226889E-3</c:v>
                </c:pt>
                <c:pt idx="18637">
                  <c:v>4.20168067226889E-3</c:v>
                </c:pt>
                <c:pt idx="18638">
                  <c:v>4.20168067226889E-3</c:v>
                </c:pt>
                <c:pt idx="18639">
                  <c:v>4.20168067226889E-3</c:v>
                </c:pt>
                <c:pt idx="18640">
                  <c:v>4.20168067226889E-3</c:v>
                </c:pt>
                <c:pt idx="18641">
                  <c:v>4.20168067226889E-3</c:v>
                </c:pt>
                <c:pt idx="18642">
                  <c:v>4.20168067226889E-3</c:v>
                </c:pt>
                <c:pt idx="18643">
                  <c:v>5.0420168067226703E-3</c:v>
                </c:pt>
                <c:pt idx="18644">
                  <c:v>5.0420168067226703E-3</c:v>
                </c:pt>
                <c:pt idx="18645">
                  <c:v>5.0420168067226703E-3</c:v>
                </c:pt>
                <c:pt idx="18646">
                  <c:v>5.0420168067226703E-3</c:v>
                </c:pt>
                <c:pt idx="18647">
                  <c:v>5.0420168067226703E-3</c:v>
                </c:pt>
                <c:pt idx="18648">
                  <c:v>5.0420168067226703E-3</c:v>
                </c:pt>
                <c:pt idx="18649">
                  <c:v>5.0420168067226703E-3</c:v>
                </c:pt>
                <c:pt idx="18650">
                  <c:v>5.0420168067226703E-3</c:v>
                </c:pt>
                <c:pt idx="18651">
                  <c:v>5.0420168067226703E-3</c:v>
                </c:pt>
                <c:pt idx="18652">
                  <c:v>5.0420168067226703E-3</c:v>
                </c:pt>
                <c:pt idx="18653">
                  <c:v>5.0420168067226703E-3</c:v>
                </c:pt>
                <c:pt idx="18654">
                  <c:v>5.0420168067226703E-3</c:v>
                </c:pt>
                <c:pt idx="18655">
                  <c:v>5.0420168067226703E-3</c:v>
                </c:pt>
                <c:pt idx="18656">
                  <c:v>5.0420168067226703E-3</c:v>
                </c:pt>
                <c:pt idx="18657">
                  <c:v>5.0420168067226703E-3</c:v>
                </c:pt>
                <c:pt idx="18658">
                  <c:v>5.0420168067226703E-3</c:v>
                </c:pt>
                <c:pt idx="18659">
                  <c:v>5.8823529411764497E-3</c:v>
                </c:pt>
                <c:pt idx="18660">
                  <c:v>5.8823529411764497E-3</c:v>
                </c:pt>
                <c:pt idx="18661">
                  <c:v>5.8823529411764497E-3</c:v>
                </c:pt>
                <c:pt idx="18662">
                  <c:v>5.8823529411764497E-3</c:v>
                </c:pt>
                <c:pt idx="18663">
                  <c:v>5.8823529411764497E-3</c:v>
                </c:pt>
                <c:pt idx="18664">
                  <c:v>5.8823529411764497E-3</c:v>
                </c:pt>
                <c:pt idx="18665">
                  <c:v>5.8823529411764497E-3</c:v>
                </c:pt>
                <c:pt idx="18666">
                  <c:v>5.8823529411764497E-3</c:v>
                </c:pt>
                <c:pt idx="18667">
                  <c:v>5.8823529411764497E-3</c:v>
                </c:pt>
                <c:pt idx="18668">
                  <c:v>5.8823529411764497E-3</c:v>
                </c:pt>
                <c:pt idx="18669">
                  <c:v>5.8823529411764497E-3</c:v>
                </c:pt>
                <c:pt idx="18670">
                  <c:v>5.8823529411764497E-3</c:v>
                </c:pt>
                <c:pt idx="18671">
                  <c:v>5.8823529411764497E-3</c:v>
                </c:pt>
                <c:pt idx="18672">
                  <c:v>5.8823529411764497E-3</c:v>
                </c:pt>
                <c:pt idx="18673">
                  <c:v>5.8823529411764497E-3</c:v>
                </c:pt>
                <c:pt idx="18674">
                  <c:v>5.8823529411764497E-3</c:v>
                </c:pt>
                <c:pt idx="18675">
                  <c:v>5.8823529411764497E-3</c:v>
                </c:pt>
                <c:pt idx="18676">
                  <c:v>5.8823529411764497E-3</c:v>
                </c:pt>
                <c:pt idx="18677">
                  <c:v>5.8823529411764497E-3</c:v>
                </c:pt>
                <c:pt idx="18678">
                  <c:v>5.8823529411764497E-3</c:v>
                </c:pt>
                <c:pt idx="18679">
                  <c:v>5.8823529411764497E-3</c:v>
                </c:pt>
                <c:pt idx="18680">
                  <c:v>5.8823529411764497E-3</c:v>
                </c:pt>
                <c:pt idx="18681">
                  <c:v>5.8823529411764497E-3</c:v>
                </c:pt>
                <c:pt idx="18682">
                  <c:v>5.8823529411764497E-3</c:v>
                </c:pt>
                <c:pt idx="18683">
                  <c:v>5.8823529411764497E-3</c:v>
                </c:pt>
                <c:pt idx="18684">
                  <c:v>5.8823529411764497E-3</c:v>
                </c:pt>
                <c:pt idx="18685">
                  <c:v>5.8823529411764497E-3</c:v>
                </c:pt>
                <c:pt idx="18686">
                  <c:v>5.8823529411764497E-3</c:v>
                </c:pt>
                <c:pt idx="18687">
                  <c:v>5.8823529411764497E-3</c:v>
                </c:pt>
                <c:pt idx="18688">
                  <c:v>5.8823529411764497E-3</c:v>
                </c:pt>
                <c:pt idx="18689">
                  <c:v>5.8823529411764497E-3</c:v>
                </c:pt>
                <c:pt idx="18690">
                  <c:v>5.8823529411764497E-3</c:v>
                </c:pt>
                <c:pt idx="18691">
                  <c:v>5.8823529411764497E-3</c:v>
                </c:pt>
                <c:pt idx="18692">
                  <c:v>5.8823529411764497E-3</c:v>
                </c:pt>
                <c:pt idx="18693">
                  <c:v>5.8823529411764497E-3</c:v>
                </c:pt>
                <c:pt idx="18694">
                  <c:v>5.8823529411764497E-3</c:v>
                </c:pt>
                <c:pt idx="18695">
                  <c:v>5.0420168067226703E-3</c:v>
                </c:pt>
                <c:pt idx="18696">
                  <c:v>5.0420168067226703E-3</c:v>
                </c:pt>
                <c:pt idx="18697">
                  <c:v>5.0420168067226703E-3</c:v>
                </c:pt>
                <c:pt idx="18698">
                  <c:v>5.0420168067226703E-3</c:v>
                </c:pt>
                <c:pt idx="18699">
                  <c:v>5.0420168067226703E-3</c:v>
                </c:pt>
                <c:pt idx="18700">
                  <c:v>5.8823529411764497E-3</c:v>
                </c:pt>
                <c:pt idx="18701">
                  <c:v>5.8823529411764497E-3</c:v>
                </c:pt>
                <c:pt idx="18702">
                  <c:v>5.8823529411764497E-3</c:v>
                </c:pt>
                <c:pt idx="18703">
                  <c:v>5.8823529411764497E-3</c:v>
                </c:pt>
                <c:pt idx="18704">
                  <c:v>5.8823529411764497E-3</c:v>
                </c:pt>
                <c:pt idx="18705">
                  <c:v>5.8823529411764497E-3</c:v>
                </c:pt>
                <c:pt idx="18706">
                  <c:v>5.8823529411764497E-3</c:v>
                </c:pt>
                <c:pt idx="18707">
                  <c:v>5.8823529411764497E-3</c:v>
                </c:pt>
                <c:pt idx="18708">
                  <c:v>5.8823529411764497E-3</c:v>
                </c:pt>
                <c:pt idx="18709">
                  <c:v>6.7226890756302204E-3</c:v>
                </c:pt>
                <c:pt idx="18710">
                  <c:v>6.7226890756302204E-3</c:v>
                </c:pt>
                <c:pt idx="18711">
                  <c:v>6.7226890756302204E-3</c:v>
                </c:pt>
                <c:pt idx="18712">
                  <c:v>6.7226890756302204E-3</c:v>
                </c:pt>
                <c:pt idx="18713">
                  <c:v>6.7226890756302204E-3</c:v>
                </c:pt>
                <c:pt idx="18714">
                  <c:v>6.7226890756302204E-3</c:v>
                </c:pt>
                <c:pt idx="18715">
                  <c:v>6.7226890756302204E-3</c:v>
                </c:pt>
                <c:pt idx="18716">
                  <c:v>6.7226890756302204E-3</c:v>
                </c:pt>
                <c:pt idx="18717">
                  <c:v>6.7226890756302204E-3</c:v>
                </c:pt>
                <c:pt idx="18718">
                  <c:v>6.7226890756302204E-3</c:v>
                </c:pt>
                <c:pt idx="18719">
                  <c:v>6.7226890756302204E-3</c:v>
                </c:pt>
                <c:pt idx="18720">
                  <c:v>6.7226890756302204E-3</c:v>
                </c:pt>
                <c:pt idx="18721">
                  <c:v>6.7226890756302204E-3</c:v>
                </c:pt>
                <c:pt idx="18722">
                  <c:v>6.7226890756302204E-3</c:v>
                </c:pt>
                <c:pt idx="18723">
                  <c:v>6.7226890756302204E-3</c:v>
                </c:pt>
                <c:pt idx="18724">
                  <c:v>6.7226890756302204E-3</c:v>
                </c:pt>
                <c:pt idx="18725">
                  <c:v>5.8823529411764497E-3</c:v>
                </c:pt>
                <c:pt idx="18726">
                  <c:v>5.8823529411764497E-3</c:v>
                </c:pt>
                <c:pt idx="18727">
                  <c:v>5.8823529411764497E-3</c:v>
                </c:pt>
                <c:pt idx="18728">
                  <c:v>5.8823529411764497E-3</c:v>
                </c:pt>
                <c:pt idx="18729">
                  <c:v>5.8823529411764497E-3</c:v>
                </c:pt>
                <c:pt idx="18730">
                  <c:v>5.8823529411764497E-3</c:v>
                </c:pt>
                <c:pt idx="18731">
                  <c:v>5.8823529411764497E-3</c:v>
                </c:pt>
                <c:pt idx="18732">
                  <c:v>5.8823529411764497E-3</c:v>
                </c:pt>
                <c:pt idx="18733">
                  <c:v>5.0420168067226703E-3</c:v>
                </c:pt>
                <c:pt idx="18734">
                  <c:v>5.0420168067226703E-3</c:v>
                </c:pt>
                <c:pt idx="18735">
                  <c:v>5.0420168067226703E-3</c:v>
                </c:pt>
                <c:pt idx="18736">
                  <c:v>5.0420168067226703E-3</c:v>
                </c:pt>
                <c:pt idx="18737">
                  <c:v>5.0420168067226703E-3</c:v>
                </c:pt>
                <c:pt idx="18738">
                  <c:v>5.0420168067226703E-3</c:v>
                </c:pt>
                <c:pt idx="18739">
                  <c:v>5.0420168067226703E-3</c:v>
                </c:pt>
                <c:pt idx="18740">
                  <c:v>5.0420168067226703E-3</c:v>
                </c:pt>
                <c:pt idx="18741">
                  <c:v>5.0420168067226703E-3</c:v>
                </c:pt>
                <c:pt idx="18742">
                  <c:v>5.0420168067226703E-3</c:v>
                </c:pt>
                <c:pt idx="18743">
                  <c:v>5.0420168067226703E-3</c:v>
                </c:pt>
                <c:pt idx="18744">
                  <c:v>5.0420168067226703E-3</c:v>
                </c:pt>
                <c:pt idx="18745">
                  <c:v>5.0420168067226703E-3</c:v>
                </c:pt>
                <c:pt idx="18746">
                  <c:v>5.0420168067226703E-3</c:v>
                </c:pt>
                <c:pt idx="18747">
                  <c:v>5.0420168067226703E-3</c:v>
                </c:pt>
                <c:pt idx="18748">
                  <c:v>5.0420168067226703E-3</c:v>
                </c:pt>
                <c:pt idx="18749">
                  <c:v>5.0420168067226703E-3</c:v>
                </c:pt>
                <c:pt idx="18750">
                  <c:v>5.0420168067226703E-3</c:v>
                </c:pt>
                <c:pt idx="18751">
                  <c:v>5.0420168067226703E-3</c:v>
                </c:pt>
                <c:pt idx="18752">
                  <c:v>5.0420168067226703E-3</c:v>
                </c:pt>
                <c:pt idx="18753">
                  <c:v>5.0420168067226703E-3</c:v>
                </c:pt>
                <c:pt idx="18754">
                  <c:v>5.0420168067226703E-3</c:v>
                </c:pt>
                <c:pt idx="18755">
                  <c:v>5.0420168067226703E-3</c:v>
                </c:pt>
                <c:pt idx="18756">
                  <c:v>5.0420168067226703E-3</c:v>
                </c:pt>
                <c:pt idx="18757">
                  <c:v>5.0420168067226703E-3</c:v>
                </c:pt>
                <c:pt idx="18758">
                  <c:v>5.0420168067226703E-3</c:v>
                </c:pt>
                <c:pt idx="18759">
                  <c:v>5.0420168067226703E-3</c:v>
                </c:pt>
                <c:pt idx="18760">
                  <c:v>5.0420168067226703E-3</c:v>
                </c:pt>
                <c:pt idx="18761">
                  <c:v>5.0420168067226703E-3</c:v>
                </c:pt>
                <c:pt idx="18762">
                  <c:v>5.0420168067226703E-3</c:v>
                </c:pt>
                <c:pt idx="18763">
                  <c:v>5.0420168067226703E-3</c:v>
                </c:pt>
                <c:pt idx="18764">
                  <c:v>5.0420168067226703E-3</c:v>
                </c:pt>
                <c:pt idx="18765">
                  <c:v>5.0420168067226703E-3</c:v>
                </c:pt>
                <c:pt idx="18766">
                  <c:v>5.0420168067226703E-3</c:v>
                </c:pt>
                <c:pt idx="18767">
                  <c:v>5.0420168067226703E-3</c:v>
                </c:pt>
                <c:pt idx="18768">
                  <c:v>5.0420168067226703E-3</c:v>
                </c:pt>
                <c:pt idx="18769">
                  <c:v>5.0420168067226703E-3</c:v>
                </c:pt>
                <c:pt idx="18770">
                  <c:v>5.0420168067226703E-3</c:v>
                </c:pt>
                <c:pt idx="18771">
                  <c:v>5.0420168067226703E-3</c:v>
                </c:pt>
                <c:pt idx="18772">
                  <c:v>5.0420168067226703E-3</c:v>
                </c:pt>
                <c:pt idx="18773">
                  <c:v>5.0420168067226703E-3</c:v>
                </c:pt>
                <c:pt idx="18774">
                  <c:v>5.0420168067226703E-3</c:v>
                </c:pt>
                <c:pt idx="18775">
                  <c:v>5.0420168067226703E-3</c:v>
                </c:pt>
                <c:pt idx="18776">
                  <c:v>5.0420168067226703E-3</c:v>
                </c:pt>
                <c:pt idx="18777">
                  <c:v>5.0420168067226703E-3</c:v>
                </c:pt>
                <c:pt idx="18778">
                  <c:v>5.0420168067226703E-3</c:v>
                </c:pt>
                <c:pt idx="18779">
                  <c:v>5.0420168067226703E-3</c:v>
                </c:pt>
                <c:pt idx="18780">
                  <c:v>4.20168067226889E-3</c:v>
                </c:pt>
                <c:pt idx="18781">
                  <c:v>4.20168067226889E-3</c:v>
                </c:pt>
                <c:pt idx="18782">
                  <c:v>4.20168067226889E-3</c:v>
                </c:pt>
                <c:pt idx="18783">
                  <c:v>4.20168067226889E-3</c:v>
                </c:pt>
                <c:pt idx="18784">
                  <c:v>4.20168067226889E-3</c:v>
                </c:pt>
                <c:pt idx="18785">
                  <c:v>4.20168067226889E-3</c:v>
                </c:pt>
                <c:pt idx="18786">
                  <c:v>4.20168067226889E-3</c:v>
                </c:pt>
                <c:pt idx="18787">
                  <c:v>4.20168067226889E-3</c:v>
                </c:pt>
                <c:pt idx="18788">
                  <c:v>4.20168067226889E-3</c:v>
                </c:pt>
                <c:pt idx="18789">
                  <c:v>4.20168067226889E-3</c:v>
                </c:pt>
                <c:pt idx="18790">
                  <c:v>4.20168067226889E-3</c:v>
                </c:pt>
                <c:pt idx="18791">
                  <c:v>4.20168067226889E-3</c:v>
                </c:pt>
                <c:pt idx="18792">
                  <c:v>4.20168067226889E-3</c:v>
                </c:pt>
                <c:pt idx="18793">
                  <c:v>4.20168067226889E-3</c:v>
                </c:pt>
                <c:pt idx="18794">
                  <c:v>4.20168067226889E-3</c:v>
                </c:pt>
                <c:pt idx="18795">
                  <c:v>4.20168067226889E-3</c:v>
                </c:pt>
                <c:pt idx="18796">
                  <c:v>4.20168067226889E-3</c:v>
                </c:pt>
                <c:pt idx="18797">
                  <c:v>4.20168067226889E-3</c:v>
                </c:pt>
                <c:pt idx="18798">
                  <c:v>4.20168067226889E-3</c:v>
                </c:pt>
                <c:pt idx="18799">
                  <c:v>4.20168067226889E-3</c:v>
                </c:pt>
                <c:pt idx="18800">
                  <c:v>4.20168067226889E-3</c:v>
                </c:pt>
                <c:pt idx="18801">
                  <c:v>4.20168067226889E-3</c:v>
                </c:pt>
                <c:pt idx="18802">
                  <c:v>4.20168067226889E-3</c:v>
                </c:pt>
                <c:pt idx="18803">
                  <c:v>4.20168067226889E-3</c:v>
                </c:pt>
                <c:pt idx="18804">
                  <c:v>4.20168067226889E-3</c:v>
                </c:pt>
                <c:pt idx="18805">
                  <c:v>4.20168067226889E-3</c:v>
                </c:pt>
                <c:pt idx="18806">
                  <c:v>4.20168067226889E-3</c:v>
                </c:pt>
                <c:pt idx="18807">
                  <c:v>4.20168067226889E-3</c:v>
                </c:pt>
                <c:pt idx="18808">
                  <c:v>4.20168067226889E-3</c:v>
                </c:pt>
                <c:pt idx="18809">
                  <c:v>4.20168067226889E-3</c:v>
                </c:pt>
                <c:pt idx="18810">
                  <c:v>4.20168067226889E-3</c:v>
                </c:pt>
                <c:pt idx="18811">
                  <c:v>4.20168067226889E-3</c:v>
                </c:pt>
                <c:pt idx="18812">
                  <c:v>4.20168067226889E-3</c:v>
                </c:pt>
                <c:pt idx="18813">
                  <c:v>4.20168067226889E-3</c:v>
                </c:pt>
                <c:pt idx="18814">
                  <c:v>4.20168067226889E-3</c:v>
                </c:pt>
                <c:pt idx="18815">
                  <c:v>4.20168067226889E-3</c:v>
                </c:pt>
                <c:pt idx="18816">
                  <c:v>4.20168067226889E-3</c:v>
                </c:pt>
                <c:pt idx="18817">
                  <c:v>4.20168067226889E-3</c:v>
                </c:pt>
                <c:pt idx="18818">
                  <c:v>4.20168067226889E-3</c:v>
                </c:pt>
                <c:pt idx="18819">
                  <c:v>4.20168067226889E-3</c:v>
                </c:pt>
                <c:pt idx="18820">
                  <c:v>4.20168067226889E-3</c:v>
                </c:pt>
                <c:pt idx="18821">
                  <c:v>4.20168067226889E-3</c:v>
                </c:pt>
                <c:pt idx="18822">
                  <c:v>4.20168067226889E-3</c:v>
                </c:pt>
                <c:pt idx="18823">
                  <c:v>4.20168067226889E-3</c:v>
                </c:pt>
                <c:pt idx="18824">
                  <c:v>4.20168067226889E-3</c:v>
                </c:pt>
                <c:pt idx="18825">
                  <c:v>4.20168067226889E-3</c:v>
                </c:pt>
                <c:pt idx="18826">
                  <c:v>4.20168067226889E-3</c:v>
                </c:pt>
                <c:pt idx="18827">
                  <c:v>3.3613445378151102E-3</c:v>
                </c:pt>
                <c:pt idx="18828">
                  <c:v>3.3613445378151102E-3</c:v>
                </c:pt>
                <c:pt idx="18829">
                  <c:v>2.5210084033613299E-3</c:v>
                </c:pt>
                <c:pt idx="18830">
                  <c:v>2.5210084033613299E-3</c:v>
                </c:pt>
                <c:pt idx="18831">
                  <c:v>2.5210084033613299E-3</c:v>
                </c:pt>
                <c:pt idx="18832">
                  <c:v>3.3613445378151102E-3</c:v>
                </c:pt>
                <c:pt idx="18833">
                  <c:v>3.3613445378151102E-3</c:v>
                </c:pt>
                <c:pt idx="18834">
                  <c:v>3.3613445378151102E-3</c:v>
                </c:pt>
                <c:pt idx="18835">
                  <c:v>3.3613445378151102E-3</c:v>
                </c:pt>
                <c:pt idx="18836">
                  <c:v>3.3613445378151102E-3</c:v>
                </c:pt>
                <c:pt idx="18837">
                  <c:v>3.3613445378151102E-3</c:v>
                </c:pt>
                <c:pt idx="18838">
                  <c:v>3.3613445378151102E-3</c:v>
                </c:pt>
                <c:pt idx="18839">
                  <c:v>3.3613445378151102E-3</c:v>
                </c:pt>
                <c:pt idx="18840">
                  <c:v>3.3613445378151102E-3</c:v>
                </c:pt>
                <c:pt idx="18841">
                  <c:v>3.3613445378151102E-3</c:v>
                </c:pt>
                <c:pt idx="18842">
                  <c:v>3.3613445378151102E-3</c:v>
                </c:pt>
                <c:pt idx="18843">
                  <c:v>3.3613445378151102E-3</c:v>
                </c:pt>
                <c:pt idx="18844">
                  <c:v>3.3613445378151102E-3</c:v>
                </c:pt>
                <c:pt idx="18845">
                  <c:v>3.3613445378151102E-3</c:v>
                </c:pt>
                <c:pt idx="18846">
                  <c:v>3.3613445378151102E-3</c:v>
                </c:pt>
                <c:pt idx="18847">
                  <c:v>3.3613445378151102E-3</c:v>
                </c:pt>
                <c:pt idx="18848">
                  <c:v>3.3613445378151102E-3</c:v>
                </c:pt>
                <c:pt idx="18849">
                  <c:v>3.3613445378151102E-3</c:v>
                </c:pt>
                <c:pt idx="18850">
                  <c:v>3.3613445378151102E-3</c:v>
                </c:pt>
                <c:pt idx="18851">
                  <c:v>3.3613445378151102E-3</c:v>
                </c:pt>
                <c:pt idx="18852">
                  <c:v>3.3613445378151102E-3</c:v>
                </c:pt>
                <c:pt idx="18853">
                  <c:v>3.3613445378151102E-3</c:v>
                </c:pt>
                <c:pt idx="18854">
                  <c:v>3.3613445378151102E-3</c:v>
                </c:pt>
                <c:pt idx="18855">
                  <c:v>3.3613445378151102E-3</c:v>
                </c:pt>
                <c:pt idx="18856">
                  <c:v>3.3613445378151102E-3</c:v>
                </c:pt>
                <c:pt idx="18857">
                  <c:v>3.3613445378151102E-3</c:v>
                </c:pt>
                <c:pt idx="18858">
                  <c:v>3.3613445378151102E-3</c:v>
                </c:pt>
                <c:pt idx="18859">
                  <c:v>3.3613445378151102E-3</c:v>
                </c:pt>
                <c:pt idx="18860">
                  <c:v>4.20168067226889E-3</c:v>
                </c:pt>
                <c:pt idx="18861">
                  <c:v>4.20168067226889E-3</c:v>
                </c:pt>
                <c:pt idx="18862">
                  <c:v>4.20168067226889E-3</c:v>
                </c:pt>
                <c:pt idx="18863">
                  <c:v>4.20168067226889E-3</c:v>
                </c:pt>
                <c:pt idx="18864">
                  <c:v>4.20168067226889E-3</c:v>
                </c:pt>
                <c:pt idx="18865">
                  <c:v>4.20168067226889E-3</c:v>
                </c:pt>
                <c:pt idx="18866">
                  <c:v>4.20168067226889E-3</c:v>
                </c:pt>
                <c:pt idx="18867">
                  <c:v>4.20168067226889E-3</c:v>
                </c:pt>
                <c:pt idx="18868">
                  <c:v>4.20168067226889E-3</c:v>
                </c:pt>
                <c:pt idx="18869">
                  <c:v>4.20168067226889E-3</c:v>
                </c:pt>
                <c:pt idx="18870">
                  <c:v>4.20168067226889E-3</c:v>
                </c:pt>
                <c:pt idx="18871">
                  <c:v>4.20168067226889E-3</c:v>
                </c:pt>
                <c:pt idx="18872">
                  <c:v>4.20168067226889E-3</c:v>
                </c:pt>
                <c:pt idx="18873">
                  <c:v>4.20168067226889E-3</c:v>
                </c:pt>
                <c:pt idx="18874">
                  <c:v>4.20168067226889E-3</c:v>
                </c:pt>
                <c:pt idx="18875">
                  <c:v>4.20168067226889E-3</c:v>
                </c:pt>
                <c:pt idx="18876">
                  <c:v>4.20168067226889E-3</c:v>
                </c:pt>
                <c:pt idx="18877">
                  <c:v>4.20168067226889E-3</c:v>
                </c:pt>
                <c:pt idx="18878">
                  <c:v>4.20168067226889E-3</c:v>
                </c:pt>
                <c:pt idx="18879">
                  <c:v>4.20168067226889E-3</c:v>
                </c:pt>
                <c:pt idx="18880">
                  <c:v>4.20168067226889E-3</c:v>
                </c:pt>
                <c:pt idx="18881">
                  <c:v>4.20168067226889E-3</c:v>
                </c:pt>
                <c:pt idx="18882">
                  <c:v>4.20168067226889E-3</c:v>
                </c:pt>
                <c:pt idx="18883">
                  <c:v>4.20168067226889E-3</c:v>
                </c:pt>
                <c:pt idx="18884">
                  <c:v>4.20168067226889E-3</c:v>
                </c:pt>
                <c:pt idx="18885">
                  <c:v>4.20168067226889E-3</c:v>
                </c:pt>
                <c:pt idx="18886">
                  <c:v>4.20168067226889E-3</c:v>
                </c:pt>
                <c:pt idx="18887">
                  <c:v>4.20168067226889E-3</c:v>
                </c:pt>
                <c:pt idx="18888">
                  <c:v>5.0420168067226703E-3</c:v>
                </c:pt>
                <c:pt idx="18889">
                  <c:v>4.20168067226889E-3</c:v>
                </c:pt>
                <c:pt idx="18890">
                  <c:v>4.20168067226889E-3</c:v>
                </c:pt>
                <c:pt idx="18891">
                  <c:v>4.20168067226889E-3</c:v>
                </c:pt>
                <c:pt idx="18892">
                  <c:v>4.20168067226889E-3</c:v>
                </c:pt>
                <c:pt idx="18893">
                  <c:v>4.20168067226889E-3</c:v>
                </c:pt>
                <c:pt idx="18894">
                  <c:v>4.20168067226889E-3</c:v>
                </c:pt>
                <c:pt idx="18895">
                  <c:v>5.0420168067226703E-3</c:v>
                </c:pt>
                <c:pt idx="18896">
                  <c:v>5.0420168067226703E-3</c:v>
                </c:pt>
                <c:pt idx="18897">
                  <c:v>5.0420168067226703E-3</c:v>
                </c:pt>
                <c:pt idx="18898">
                  <c:v>5.0420168067226703E-3</c:v>
                </c:pt>
                <c:pt idx="18899">
                  <c:v>5.0420168067226703E-3</c:v>
                </c:pt>
                <c:pt idx="18900">
                  <c:v>5.0420168067226703E-3</c:v>
                </c:pt>
                <c:pt idx="18901">
                  <c:v>5.0420168067226703E-3</c:v>
                </c:pt>
                <c:pt idx="18902">
                  <c:v>5.0420168067226703E-3</c:v>
                </c:pt>
                <c:pt idx="18903">
                  <c:v>5.0420168067226703E-3</c:v>
                </c:pt>
                <c:pt idx="18904">
                  <c:v>5.0420168067226703E-3</c:v>
                </c:pt>
                <c:pt idx="18905">
                  <c:v>5.0420168067226703E-3</c:v>
                </c:pt>
                <c:pt idx="18906">
                  <c:v>5.0420168067226703E-3</c:v>
                </c:pt>
                <c:pt idx="18907">
                  <c:v>5.0420168067226703E-3</c:v>
                </c:pt>
                <c:pt idx="18908">
                  <c:v>5.0420168067226703E-3</c:v>
                </c:pt>
                <c:pt idx="18909">
                  <c:v>5.0420168067226703E-3</c:v>
                </c:pt>
                <c:pt idx="18910">
                  <c:v>5.0420168067226703E-3</c:v>
                </c:pt>
                <c:pt idx="18911">
                  <c:v>5.0420168067226703E-3</c:v>
                </c:pt>
                <c:pt idx="18912">
                  <c:v>5.0420168067226703E-3</c:v>
                </c:pt>
                <c:pt idx="18913">
                  <c:v>5.0420168067226703E-3</c:v>
                </c:pt>
                <c:pt idx="18914">
                  <c:v>5.0420168067226703E-3</c:v>
                </c:pt>
                <c:pt idx="18915">
                  <c:v>5.0420168067226703E-3</c:v>
                </c:pt>
                <c:pt idx="18916">
                  <c:v>5.0420168067226703E-3</c:v>
                </c:pt>
                <c:pt idx="18917">
                  <c:v>5.0420168067226703E-3</c:v>
                </c:pt>
                <c:pt idx="18918">
                  <c:v>5.0420168067226703E-3</c:v>
                </c:pt>
                <c:pt idx="18919">
                  <c:v>5.0420168067226703E-3</c:v>
                </c:pt>
                <c:pt idx="18920">
                  <c:v>5.0420168067226703E-3</c:v>
                </c:pt>
                <c:pt idx="18921">
                  <c:v>5.0420168067226703E-3</c:v>
                </c:pt>
                <c:pt idx="18922">
                  <c:v>5.0420168067226703E-3</c:v>
                </c:pt>
                <c:pt idx="18923">
                  <c:v>5.0420168067226703E-3</c:v>
                </c:pt>
                <c:pt idx="18924">
                  <c:v>5.0420168067226703E-3</c:v>
                </c:pt>
                <c:pt idx="18925">
                  <c:v>5.0420168067226703E-3</c:v>
                </c:pt>
                <c:pt idx="18926">
                  <c:v>5.0420168067226703E-3</c:v>
                </c:pt>
                <c:pt idx="18927">
                  <c:v>5.0420168067226703E-3</c:v>
                </c:pt>
                <c:pt idx="18928">
                  <c:v>5.0420168067226703E-3</c:v>
                </c:pt>
                <c:pt idx="18929">
                  <c:v>5.0420168067226703E-3</c:v>
                </c:pt>
                <c:pt idx="18930">
                  <c:v>5.0420168067226703E-3</c:v>
                </c:pt>
                <c:pt idx="18931">
                  <c:v>5.0420168067226703E-3</c:v>
                </c:pt>
                <c:pt idx="18932">
                  <c:v>5.0420168067226703E-3</c:v>
                </c:pt>
                <c:pt idx="18933">
                  <c:v>5.0420168067226703E-3</c:v>
                </c:pt>
                <c:pt idx="18934">
                  <c:v>5.0420168067226703E-3</c:v>
                </c:pt>
                <c:pt idx="18935">
                  <c:v>5.0420168067226703E-3</c:v>
                </c:pt>
                <c:pt idx="18936">
                  <c:v>5.0420168067226703E-3</c:v>
                </c:pt>
                <c:pt idx="18937">
                  <c:v>5.0420168067226703E-3</c:v>
                </c:pt>
                <c:pt idx="18938">
                  <c:v>5.0420168067226703E-3</c:v>
                </c:pt>
                <c:pt idx="18939">
                  <c:v>5.0420168067226703E-3</c:v>
                </c:pt>
                <c:pt idx="18940">
                  <c:v>5.0420168067226703E-3</c:v>
                </c:pt>
                <c:pt idx="18941">
                  <c:v>5.0420168067226703E-3</c:v>
                </c:pt>
                <c:pt idx="18942">
                  <c:v>5.0420168067226703E-3</c:v>
                </c:pt>
                <c:pt idx="18943">
                  <c:v>5.0420168067226703E-3</c:v>
                </c:pt>
                <c:pt idx="18944">
                  <c:v>5.0420168067226703E-3</c:v>
                </c:pt>
                <c:pt idx="18945">
                  <c:v>5.0420168067226703E-3</c:v>
                </c:pt>
                <c:pt idx="18946">
                  <c:v>5.0420168067226703E-3</c:v>
                </c:pt>
                <c:pt idx="18947">
                  <c:v>5.0420168067226703E-3</c:v>
                </c:pt>
                <c:pt idx="18948">
                  <c:v>5.0420168067226703E-3</c:v>
                </c:pt>
                <c:pt idx="18949">
                  <c:v>5.0420168067226703E-3</c:v>
                </c:pt>
                <c:pt idx="18950">
                  <c:v>5.0420168067226703E-3</c:v>
                </c:pt>
                <c:pt idx="18951">
                  <c:v>5.0420168067226703E-3</c:v>
                </c:pt>
                <c:pt idx="18952">
                  <c:v>5.0420168067226703E-3</c:v>
                </c:pt>
                <c:pt idx="18953">
                  <c:v>5.0420168067226703E-3</c:v>
                </c:pt>
                <c:pt idx="18954">
                  <c:v>5.0420168067226703E-3</c:v>
                </c:pt>
                <c:pt idx="18955">
                  <c:v>5.0420168067226703E-3</c:v>
                </c:pt>
                <c:pt idx="18956">
                  <c:v>5.0420168067226703E-3</c:v>
                </c:pt>
                <c:pt idx="18957">
                  <c:v>5.0420168067226703E-3</c:v>
                </c:pt>
                <c:pt idx="18958">
                  <c:v>5.0420168067226703E-3</c:v>
                </c:pt>
                <c:pt idx="18959">
                  <c:v>5.0420168067226703E-3</c:v>
                </c:pt>
                <c:pt idx="18960">
                  <c:v>5.0420168067226703E-3</c:v>
                </c:pt>
                <c:pt idx="18961">
                  <c:v>5.0420168067226703E-3</c:v>
                </c:pt>
                <c:pt idx="18962">
                  <c:v>5.0420168067226703E-3</c:v>
                </c:pt>
                <c:pt idx="18963">
                  <c:v>5.0420168067226703E-3</c:v>
                </c:pt>
                <c:pt idx="18964">
                  <c:v>5.0420168067226703E-3</c:v>
                </c:pt>
                <c:pt idx="18965">
                  <c:v>5.0420168067226703E-3</c:v>
                </c:pt>
                <c:pt idx="18966">
                  <c:v>5.0420168067226703E-3</c:v>
                </c:pt>
                <c:pt idx="18967">
                  <c:v>5.0420168067226703E-3</c:v>
                </c:pt>
                <c:pt idx="18968">
                  <c:v>5.0420168067226703E-3</c:v>
                </c:pt>
                <c:pt idx="18969">
                  <c:v>5.0420168067226703E-3</c:v>
                </c:pt>
                <c:pt idx="18970">
                  <c:v>5.0420168067226703E-3</c:v>
                </c:pt>
                <c:pt idx="18971">
                  <c:v>5.0420168067226703E-3</c:v>
                </c:pt>
                <c:pt idx="18972">
                  <c:v>5.0420168067226703E-3</c:v>
                </c:pt>
                <c:pt idx="18973">
                  <c:v>5.0420168067226703E-3</c:v>
                </c:pt>
                <c:pt idx="18974">
                  <c:v>5.0420168067226703E-3</c:v>
                </c:pt>
                <c:pt idx="18975">
                  <c:v>5.0420168067226703E-3</c:v>
                </c:pt>
                <c:pt idx="18976">
                  <c:v>5.0420168067226703E-3</c:v>
                </c:pt>
                <c:pt idx="18977">
                  <c:v>5.0420168067226703E-3</c:v>
                </c:pt>
                <c:pt idx="18978">
                  <c:v>5.0420168067226703E-3</c:v>
                </c:pt>
                <c:pt idx="18979">
                  <c:v>5.8823529411765598E-3</c:v>
                </c:pt>
                <c:pt idx="18980">
                  <c:v>5.8823529411765598E-3</c:v>
                </c:pt>
                <c:pt idx="18981">
                  <c:v>5.8823529411765598E-3</c:v>
                </c:pt>
                <c:pt idx="18982">
                  <c:v>5.8823529411765598E-3</c:v>
                </c:pt>
                <c:pt idx="18983">
                  <c:v>5.8823529411765598E-3</c:v>
                </c:pt>
                <c:pt idx="18984">
                  <c:v>5.8823529411765598E-3</c:v>
                </c:pt>
                <c:pt idx="18985">
                  <c:v>5.8823529411765598E-3</c:v>
                </c:pt>
                <c:pt idx="18986">
                  <c:v>5.8823529411765598E-3</c:v>
                </c:pt>
                <c:pt idx="18987">
                  <c:v>5.8823529411765598E-3</c:v>
                </c:pt>
                <c:pt idx="18988">
                  <c:v>5.8823529411765598E-3</c:v>
                </c:pt>
                <c:pt idx="18989">
                  <c:v>5.8823529411765598E-3</c:v>
                </c:pt>
                <c:pt idx="18990">
                  <c:v>5.8823529411765598E-3</c:v>
                </c:pt>
                <c:pt idx="18991">
                  <c:v>5.8823529411765598E-3</c:v>
                </c:pt>
                <c:pt idx="18992">
                  <c:v>5.8823529411765598E-3</c:v>
                </c:pt>
                <c:pt idx="18993">
                  <c:v>5.8823529411765598E-3</c:v>
                </c:pt>
                <c:pt idx="18994">
                  <c:v>5.8823529411765598E-3</c:v>
                </c:pt>
                <c:pt idx="18995">
                  <c:v>5.8823529411765598E-3</c:v>
                </c:pt>
                <c:pt idx="18996">
                  <c:v>5.8823529411765598E-3</c:v>
                </c:pt>
                <c:pt idx="18997">
                  <c:v>5.8823529411765598E-3</c:v>
                </c:pt>
                <c:pt idx="18998">
                  <c:v>5.8823529411765598E-3</c:v>
                </c:pt>
                <c:pt idx="18999">
                  <c:v>5.8823529411765598E-3</c:v>
                </c:pt>
                <c:pt idx="19000">
                  <c:v>5.8823529411765598E-3</c:v>
                </c:pt>
                <c:pt idx="19001">
                  <c:v>5.8823529411765598E-3</c:v>
                </c:pt>
                <c:pt idx="19002">
                  <c:v>5.8823529411765598E-3</c:v>
                </c:pt>
                <c:pt idx="19003">
                  <c:v>5.8823529411765598E-3</c:v>
                </c:pt>
                <c:pt idx="19004">
                  <c:v>5.8823529411765598E-3</c:v>
                </c:pt>
                <c:pt idx="19005">
                  <c:v>5.8823529411765598E-3</c:v>
                </c:pt>
                <c:pt idx="19006">
                  <c:v>5.8823529411765598E-3</c:v>
                </c:pt>
                <c:pt idx="19007">
                  <c:v>5.8823529411765598E-3</c:v>
                </c:pt>
                <c:pt idx="19008">
                  <c:v>5.8823529411765598E-3</c:v>
                </c:pt>
                <c:pt idx="19009">
                  <c:v>5.8823529411765598E-3</c:v>
                </c:pt>
                <c:pt idx="19010">
                  <c:v>5.8823529411765598E-3</c:v>
                </c:pt>
                <c:pt idx="19011">
                  <c:v>5.8823529411765598E-3</c:v>
                </c:pt>
                <c:pt idx="19012">
                  <c:v>5.8823529411765598E-3</c:v>
                </c:pt>
                <c:pt idx="19013">
                  <c:v>5.8823529411765598E-3</c:v>
                </c:pt>
                <c:pt idx="19014">
                  <c:v>5.8823529411765598E-3</c:v>
                </c:pt>
                <c:pt idx="19015">
                  <c:v>5.8823529411765598E-3</c:v>
                </c:pt>
                <c:pt idx="19016">
                  <c:v>6.7226890756303297E-3</c:v>
                </c:pt>
                <c:pt idx="19017">
                  <c:v>6.7226890756303297E-3</c:v>
                </c:pt>
                <c:pt idx="19018">
                  <c:v>5.8823529411765598E-3</c:v>
                </c:pt>
                <c:pt idx="19019">
                  <c:v>5.8823529411765598E-3</c:v>
                </c:pt>
                <c:pt idx="19020">
                  <c:v>5.8823529411765598E-3</c:v>
                </c:pt>
                <c:pt idx="19021">
                  <c:v>5.8823529411765598E-3</c:v>
                </c:pt>
                <c:pt idx="19022">
                  <c:v>5.8823529411765598E-3</c:v>
                </c:pt>
                <c:pt idx="19023">
                  <c:v>5.8823529411765598E-3</c:v>
                </c:pt>
                <c:pt idx="19024">
                  <c:v>5.8823529411765598E-3</c:v>
                </c:pt>
                <c:pt idx="19025">
                  <c:v>5.8823529411765598E-3</c:v>
                </c:pt>
                <c:pt idx="19026">
                  <c:v>5.8823529411765598E-3</c:v>
                </c:pt>
                <c:pt idx="19027">
                  <c:v>5.8823529411765598E-3</c:v>
                </c:pt>
                <c:pt idx="19028">
                  <c:v>5.8823529411765598E-3</c:v>
                </c:pt>
                <c:pt idx="19029">
                  <c:v>5.0420168067227796E-3</c:v>
                </c:pt>
                <c:pt idx="19030">
                  <c:v>5.0420168067227796E-3</c:v>
                </c:pt>
                <c:pt idx="19031">
                  <c:v>5.0420168067227796E-3</c:v>
                </c:pt>
                <c:pt idx="19032">
                  <c:v>5.0420168067227796E-3</c:v>
                </c:pt>
                <c:pt idx="19033">
                  <c:v>4.2016806722690002E-3</c:v>
                </c:pt>
                <c:pt idx="19034">
                  <c:v>4.2016806722690002E-3</c:v>
                </c:pt>
                <c:pt idx="19035">
                  <c:v>4.2016806722690002E-3</c:v>
                </c:pt>
                <c:pt idx="19036">
                  <c:v>4.2016806722690002E-3</c:v>
                </c:pt>
                <c:pt idx="19037">
                  <c:v>4.2016806722690002E-3</c:v>
                </c:pt>
                <c:pt idx="19038">
                  <c:v>4.2016806722690002E-3</c:v>
                </c:pt>
                <c:pt idx="19039">
                  <c:v>4.2016806722690002E-3</c:v>
                </c:pt>
                <c:pt idx="19040">
                  <c:v>4.2016806722690002E-3</c:v>
                </c:pt>
                <c:pt idx="19041">
                  <c:v>4.2016806722690002E-3</c:v>
                </c:pt>
                <c:pt idx="19042">
                  <c:v>4.2016806722690002E-3</c:v>
                </c:pt>
                <c:pt idx="19043">
                  <c:v>4.2016806722690002E-3</c:v>
                </c:pt>
                <c:pt idx="19044">
                  <c:v>4.2016806722690002E-3</c:v>
                </c:pt>
                <c:pt idx="19045">
                  <c:v>4.2016806722690002E-3</c:v>
                </c:pt>
                <c:pt idx="19046">
                  <c:v>4.2016806722690002E-3</c:v>
                </c:pt>
                <c:pt idx="19047">
                  <c:v>4.2016806722690002E-3</c:v>
                </c:pt>
                <c:pt idx="19048">
                  <c:v>4.2016806722690002E-3</c:v>
                </c:pt>
                <c:pt idx="19049">
                  <c:v>4.2016806722690002E-3</c:v>
                </c:pt>
                <c:pt idx="19050">
                  <c:v>4.2016806722690002E-3</c:v>
                </c:pt>
                <c:pt idx="19051">
                  <c:v>4.2016806722690002E-3</c:v>
                </c:pt>
                <c:pt idx="19052">
                  <c:v>4.2016806722690002E-3</c:v>
                </c:pt>
                <c:pt idx="19053">
                  <c:v>4.2016806722690002E-3</c:v>
                </c:pt>
                <c:pt idx="19054">
                  <c:v>4.2016806722690002E-3</c:v>
                </c:pt>
                <c:pt idx="19055">
                  <c:v>4.2016806722690002E-3</c:v>
                </c:pt>
                <c:pt idx="19056">
                  <c:v>4.2016806722690002E-3</c:v>
                </c:pt>
                <c:pt idx="19057">
                  <c:v>4.2016806722690002E-3</c:v>
                </c:pt>
                <c:pt idx="19058">
                  <c:v>4.2016806722690002E-3</c:v>
                </c:pt>
                <c:pt idx="19059">
                  <c:v>4.2016806722690002E-3</c:v>
                </c:pt>
                <c:pt idx="19060">
                  <c:v>4.2016806722690002E-3</c:v>
                </c:pt>
                <c:pt idx="19061">
                  <c:v>4.2016806722690002E-3</c:v>
                </c:pt>
                <c:pt idx="19062">
                  <c:v>4.2016806722690002E-3</c:v>
                </c:pt>
                <c:pt idx="19063">
                  <c:v>4.2016806722690002E-3</c:v>
                </c:pt>
                <c:pt idx="19064">
                  <c:v>4.2016806722690002E-3</c:v>
                </c:pt>
                <c:pt idx="19065">
                  <c:v>4.2016806722690002E-3</c:v>
                </c:pt>
                <c:pt idx="19066">
                  <c:v>4.2016806722690002E-3</c:v>
                </c:pt>
                <c:pt idx="19067">
                  <c:v>4.2016806722690002E-3</c:v>
                </c:pt>
                <c:pt idx="19068">
                  <c:v>4.2016806722690002E-3</c:v>
                </c:pt>
                <c:pt idx="19069">
                  <c:v>4.2016806722690002E-3</c:v>
                </c:pt>
                <c:pt idx="19070">
                  <c:v>5.0420168067227796E-3</c:v>
                </c:pt>
                <c:pt idx="19071">
                  <c:v>5.0420168067227796E-3</c:v>
                </c:pt>
                <c:pt idx="19072">
                  <c:v>5.0420168067227796E-3</c:v>
                </c:pt>
                <c:pt idx="19073">
                  <c:v>5.0420168067227796E-3</c:v>
                </c:pt>
                <c:pt idx="19074">
                  <c:v>5.0420168067227796E-3</c:v>
                </c:pt>
                <c:pt idx="19075">
                  <c:v>5.0420168067227796E-3</c:v>
                </c:pt>
                <c:pt idx="19076">
                  <c:v>5.0420168067227796E-3</c:v>
                </c:pt>
                <c:pt idx="19077">
                  <c:v>5.0420168067227796E-3</c:v>
                </c:pt>
                <c:pt idx="19078">
                  <c:v>5.0420168067227796E-3</c:v>
                </c:pt>
                <c:pt idx="19079">
                  <c:v>5.0420168067227796E-3</c:v>
                </c:pt>
                <c:pt idx="19080">
                  <c:v>5.0420168067227796E-3</c:v>
                </c:pt>
                <c:pt idx="19081">
                  <c:v>5.0420168067227796E-3</c:v>
                </c:pt>
                <c:pt idx="19082">
                  <c:v>5.0420168067227796E-3</c:v>
                </c:pt>
                <c:pt idx="19083">
                  <c:v>5.0420168067227796E-3</c:v>
                </c:pt>
                <c:pt idx="19084">
                  <c:v>5.0420168067227796E-3</c:v>
                </c:pt>
                <c:pt idx="19085">
                  <c:v>5.0420168067227796E-3</c:v>
                </c:pt>
                <c:pt idx="19086">
                  <c:v>5.0420168067227796E-3</c:v>
                </c:pt>
                <c:pt idx="19087">
                  <c:v>5.0420168067227796E-3</c:v>
                </c:pt>
                <c:pt idx="19088">
                  <c:v>5.0420168067227796E-3</c:v>
                </c:pt>
                <c:pt idx="19089">
                  <c:v>5.0420168067227796E-3</c:v>
                </c:pt>
                <c:pt idx="19090">
                  <c:v>5.0420168067227796E-3</c:v>
                </c:pt>
                <c:pt idx="19091">
                  <c:v>5.0420168067227796E-3</c:v>
                </c:pt>
                <c:pt idx="19092">
                  <c:v>5.0420168067227796E-3</c:v>
                </c:pt>
                <c:pt idx="19093">
                  <c:v>5.0420168067227796E-3</c:v>
                </c:pt>
                <c:pt idx="19094">
                  <c:v>5.0420168067227796E-3</c:v>
                </c:pt>
                <c:pt idx="19095">
                  <c:v>5.0420168067227796E-3</c:v>
                </c:pt>
                <c:pt idx="19096">
                  <c:v>5.0420168067227796E-3</c:v>
                </c:pt>
                <c:pt idx="19097">
                  <c:v>5.0420168067227796E-3</c:v>
                </c:pt>
                <c:pt idx="19098">
                  <c:v>5.0420168067227796E-3</c:v>
                </c:pt>
                <c:pt idx="19099">
                  <c:v>5.0420168067227796E-3</c:v>
                </c:pt>
                <c:pt idx="19100">
                  <c:v>5.0420168067227796E-3</c:v>
                </c:pt>
                <c:pt idx="19101">
                  <c:v>5.0420168067227796E-3</c:v>
                </c:pt>
                <c:pt idx="19102">
                  <c:v>5.0420168067227796E-3</c:v>
                </c:pt>
                <c:pt idx="19103">
                  <c:v>5.0420168067227796E-3</c:v>
                </c:pt>
                <c:pt idx="19104">
                  <c:v>5.0420168067227796E-3</c:v>
                </c:pt>
                <c:pt idx="19105">
                  <c:v>5.0420168067227796E-3</c:v>
                </c:pt>
                <c:pt idx="19106">
                  <c:v>5.0420168067227796E-3</c:v>
                </c:pt>
                <c:pt idx="19107">
                  <c:v>5.0420168067227796E-3</c:v>
                </c:pt>
                <c:pt idx="19108">
                  <c:v>5.0420168067227796E-3</c:v>
                </c:pt>
                <c:pt idx="19109">
                  <c:v>5.0420168067227796E-3</c:v>
                </c:pt>
                <c:pt idx="19110">
                  <c:v>5.0420168067227796E-3</c:v>
                </c:pt>
                <c:pt idx="19111">
                  <c:v>5.0420168067227796E-3</c:v>
                </c:pt>
                <c:pt idx="19112">
                  <c:v>5.0420168067227796E-3</c:v>
                </c:pt>
                <c:pt idx="19113">
                  <c:v>5.0420168067227796E-3</c:v>
                </c:pt>
                <c:pt idx="19114">
                  <c:v>5.0420168067227796E-3</c:v>
                </c:pt>
                <c:pt idx="19115">
                  <c:v>5.0420168067227796E-3</c:v>
                </c:pt>
                <c:pt idx="19116">
                  <c:v>5.0420168067227796E-3</c:v>
                </c:pt>
                <c:pt idx="19117">
                  <c:v>5.0420168067227796E-3</c:v>
                </c:pt>
                <c:pt idx="19118">
                  <c:v>5.0420168067227796E-3</c:v>
                </c:pt>
                <c:pt idx="19119">
                  <c:v>5.0420168067227796E-3</c:v>
                </c:pt>
                <c:pt idx="19120">
                  <c:v>5.0420168067227796E-3</c:v>
                </c:pt>
                <c:pt idx="19121">
                  <c:v>5.0420168067227796E-3</c:v>
                </c:pt>
                <c:pt idx="19122">
                  <c:v>5.0420168067227796E-3</c:v>
                </c:pt>
                <c:pt idx="19123">
                  <c:v>5.0420168067227796E-3</c:v>
                </c:pt>
                <c:pt idx="19124">
                  <c:v>5.0420168067227796E-3</c:v>
                </c:pt>
                <c:pt idx="19125">
                  <c:v>5.0420168067227796E-3</c:v>
                </c:pt>
                <c:pt idx="19126">
                  <c:v>5.0420168067227796E-3</c:v>
                </c:pt>
                <c:pt idx="19127">
                  <c:v>5.0420168067227796E-3</c:v>
                </c:pt>
                <c:pt idx="19128">
                  <c:v>5.0420168067227796E-3</c:v>
                </c:pt>
                <c:pt idx="19129">
                  <c:v>5.0420168067227796E-3</c:v>
                </c:pt>
                <c:pt idx="19130">
                  <c:v>5.0420168067227796E-3</c:v>
                </c:pt>
                <c:pt idx="19131">
                  <c:v>5.0420168067227796E-3</c:v>
                </c:pt>
                <c:pt idx="19132">
                  <c:v>5.0420168067227796E-3</c:v>
                </c:pt>
                <c:pt idx="19133">
                  <c:v>5.0420168067227796E-3</c:v>
                </c:pt>
                <c:pt idx="19134">
                  <c:v>5.0420168067227796E-3</c:v>
                </c:pt>
                <c:pt idx="19135">
                  <c:v>5.0420168067227796E-3</c:v>
                </c:pt>
                <c:pt idx="19136">
                  <c:v>5.0420168067227796E-3</c:v>
                </c:pt>
                <c:pt idx="19137">
                  <c:v>5.0420168067227796E-3</c:v>
                </c:pt>
                <c:pt idx="19138">
                  <c:v>5.0420168067227796E-3</c:v>
                </c:pt>
                <c:pt idx="19139">
                  <c:v>5.0420168067227796E-3</c:v>
                </c:pt>
                <c:pt idx="19140">
                  <c:v>5.0420168067227796E-3</c:v>
                </c:pt>
                <c:pt idx="19141">
                  <c:v>5.0420168067227796E-3</c:v>
                </c:pt>
                <c:pt idx="19142">
                  <c:v>5.0420168067227796E-3</c:v>
                </c:pt>
                <c:pt idx="19143">
                  <c:v>5.0420168067227796E-3</c:v>
                </c:pt>
                <c:pt idx="19144">
                  <c:v>5.0420168067227796E-3</c:v>
                </c:pt>
                <c:pt idx="19145">
                  <c:v>5.0420168067227796E-3</c:v>
                </c:pt>
                <c:pt idx="19146">
                  <c:v>5.0420168067227796E-3</c:v>
                </c:pt>
                <c:pt idx="19147">
                  <c:v>5.0420168067227796E-3</c:v>
                </c:pt>
                <c:pt idx="19148">
                  <c:v>5.0420168067227796E-3</c:v>
                </c:pt>
                <c:pt idx="19149">
                  <c:v>5.0420168067227796E-3</c:v>
                </c:pt>
                <c:pt idx="19150">
                  <c:v>5.0420168067227796E-3</c:v>
                </c:pt>
                <c:pt idx="19151">
                  <c:v>5.0420168067227796E-3</c:v>
                </c:pt>
                <c:pt idx="19152">
                  <c:v>5.0420168067227796E-3</c:v>
                </c:pt>
                <c:pt idx="19153">
                  <c:v>5.0420168067227796E-3</c:v>
                </c:pt>
                <c:pt idx="19154">
                  <c:v>5.0420168067227796E-3</c:v>
                </c:pt>
                <c:pt idx="19155">
                  <c:v>5.0420168067227796E-3</c:v>
                </c:pt>
                <c:pt idx="19156">
                  <c:v>5.0420168067227796E-3</c:v>
                </c:pt>
                <c:pt idx="19157">
                  <c:v>5.0420168067227796E-3</c:v>
                </c:pt>
                <c:pt idx="19158">
                  <c:v>5.0420168067227796E-3</c:v>
                </c:pt>
                <c:pt idx="19159">
                  <c:v>5.0420168067227796E-3</c:v>
                </c:pt>
                <c:pt idx="19160">
                  <c:v>5.0420168067227796E-3</c:v>
                </c:pt>
                <c:pt idx="19161">
                  <c:v>5.0420168067227796E-3</c:v>
                </c:pt>
                <c:pt idx="19162">
                  <c:v>5.0420168067227796E-3</c:v>
                </c:pt>
                <c:pt idx="19163">
                  <c:v>5.0420168067227796E-3</c:v>
                </c:pt>
                <c:pt idx="19164">
                  <c:v>5.0420168067227796E-3</c:v>
                </c:pt>
                <c:pt idx="19165">
                  <c:v>5.0420168067227796E-3</c:v>
                </c:pt>
                <c:pt idx="19166">
                  <c:v>5.0420168067227796E-3</c:v>
                </c:pt>
                <c:pt idx="19167">
                  <c:v>5.0420168067227796E-3</c:v>
                </c:pt>
                <c:pt idx="19168">
                  <c:v>5.0420168067227796E-3</c:v>
                </c:pt>
                <c:pt idx="19169">
                  <c:v>5.0420168067227796E-3</c:v>
                </c:pt>
                <c:pt idx="19170">
                  <c:v>5.0420168067227796E-3</c:v>
                </c:pt>
                <c:pt idx="19171">
                  <c:v>5.0420168067227796E-3</c:v>
                </c:pt>
                <c:pt idx="19172">
                  <c:v>5.0420168067227796E-3</c:v>
                </c:pt>
                <c:pt idx="19173">
                  <c:v>5.0420168067227796E-3</c:v>
                </c:pt>
                <c:pt idx="19174">
                  <c:v>5.0420168067227796E-3</c:v>
                </c:pt>
                <c:pt idx="19175">
                  <c:v>5.0420168067227796E-3</c:v>
                </c:pt>
                <c:pt idx="19176">
                  <c:v>5.0420168067227796E-3</c:v>
                </c:pt>
                <c:pt idx="19177">
                  <c:v>5.0420168067227796E-3</c:v>
                </c:pt>
                <c:pt idx="19178">
                  <c:v>5.0420168067227796E-3</c:v>
                </c:pt>
                <c:pt idx="19179">
                  <c:v>5.0420168067227796E-3</c:v>
                </c:pt>
                <c:pt idx="19180">
                  <c:v>5.0420168067227796E-3</c:v>
                </c:pt>
                <c:pt idx="19181">
                  <c:v>5.0420168067227796E-3</c:v>
                </c:pt>
                <c:pt idx="19182">
                  <c:v>5.0420168067227796E-3</c:v>
                </c:pt>
                <c:pt idx="19183">
                  <c:v>5.0420168067227796E-3</c:v>
                </c:pt>
                <c:pt idx="19184">
                  <c:v>5.8823529411765598E-3</c:v>
                </c:pt>
                <c:pt idx="19185">
                  <c:v>5.8823529411765598E-3</c:v>
                </c:pt>
                <c:pt idx="19186">
                  <c:v>5.8823529411765598E-3</c:v>
                </c:pt>
                <c:pt idx="19187">
                  <c:v>5.8823529411765598E-3</c:v>
                </c:pt>
                <c:pt idx="19188">
                  <c:v>5.8823529411765598E-3</c:v>
                </c:pt>
                <c:pt idx="19189">
                  <c:v>5.8823529411765598E-3</c:v>
                </c:pt>
                <c:pt idx="19190">
                  <c:v>5.8823529411765598E-3</c:v>
                </c:pt>
                <c:pt idx="19191">
                  <c:v>6.7226890756303297E-3</c:v>
                </c:pt>
                <c:pt idx="19192">
                  <c:v>6.7226890756303297E-3</c:v>
                </c:pt>
                <c:pt idx="19193">
                  <c:v>6.7226890756303297E-3</c:v>
                </c:pt>
                <c:pt idx="19194">
                  <c:v>6.7226890756303297E-3</c:v>
                </c:pt>
                <c:pt idx="19195">
                  <c:v>6.7226890756303297E-3</c:v>
                </c:pt>
                <c:pt idx="19196">
                  <c:v>6.7226890756303297E-3</c:v>
                </c:pt>
                <c:pt idx="19197">
                  <c:v>6.7226890756303297E-3</c:v>
                </c:pt>
                <c:pt idx="19198">
                  <c:v>6.7226890756303297E-3</c:v>
                </c:pt>
                <c:pt idx="19199">
                  <c:v>6.7226890756303297E-3</c:v>
                </c:pt>
                <c:pt idx="19200">
                  <c:v>6.7226890756303297E-3</c:v>
                </c:pt>
                <c:pt idx="19201">
                  <c:v>6.7226890756303297E-3</c:v>
                </c:pt>
                <c:pt idx="19202">
                  <c:v>6.7226890756303297E-3</c:v>
                </c:pt>
                <c:pt idx="19203">
                  <c:v>6.7226890756303297E-3</c:v>
                </c:pt>
                <c:pt idx="19204">
                  <c:v>6.7226890756303297E-3</c:v>
                </c:pt>
                <c:pt idx="19205">
                  <c:v>6.7226890756303297E-3</c:v>
                </c:pt>
                <c:pt idx="19206">
                  <c:v>6.7226890756303297E-3</c:v>
                </c:pt>
                <c:pt idx="19207">
                  <c:v>6.7226890756303297E-3</c:v>
                </c:pt>
                <c:pt idx="19208">
                  <c:v>6.7226890756303297E-3</c:v>
                </c:pt>
                <c:pt idx="19209">
                  <c:v>6.7226890756303297E-3</c:v>
                </c:pt>
                <c:pt idx="19210">
                  <c:v>6.7226890756303297E-3</c:v>
                </c:pt>
                <c:pt idx="19211">
                  <c:v>6.7226890756303297E-3</c:v>
                </c:pt>
                <c:pt idx="19212">
                  <c:v>6.7226890756303297E-3</c:v>
                </c:pt>
                <c:pt idx="19213">
                  <c:v>6.7226890756303297E-3</c:v>
                </c:pt>
                <c:pt idx="19214">
                  <c:v>6.7226890756303297E-3</c:v>
                </c:pt>
                <c:pt idx="19215">
                  <c:v>6.7226890756303297E-3</c:v>
                </c:pt>
                <c:pt idx="19216">
                  <c:v>6.7226890756303297E-3</c:v>
                </c:pt>
                <c:pt idx="19217">
                  <c:v>6.7226890756303297E-3</c:v>
                </c:pt>
                <c:pt idx="19218">
                  <c:v>6.7226890756303297E-3</c:v>
                </c:pt>
                <c:pt idx="19219">
                  <c:v>6.7226890756303297E-3</c:v>
                </c:pt>
                <c:pt idx="19220">
                  <c:v>6.7226890756303297E-3</c:v>
                </c:pt>
                <c:pt idx="19221">
                  <c:v>6.7226890756303297E-3</c:v>
                </c:pt>
                <c:pt idx="19222">
                  <c:v>6.7226890756303297E-3</c:v>
                </c:pt>
                <c:pt idx="19223">
                  <c:v>6.7226890756303297E-3</c:v>
                </c:pt>
                <c:pt idx="19224">
                  <c:v>6.7226890756303297E-3</c:v>
                </c:pt>
                <c:pt idx="19225">
                  <c:v>6.7226890756303297E-3</c:v>
                </c:pt>
                <c:pt idx="19226">
                  <c:v>6.7226890756303297E-3</c:v>
                </c:pt>
                <c:pt idx="19227">
                  <c:v>6.7226890756303297E-3</c:v>
                </c:pt>
                <c:pt idx="19228">
                  <c:v>6.7226890756303297E-3</c:v>
                </c:pt>
                <c:pt idx="19229">
                  <c:v>6.7226890756303297E-3</c:v>
                </c:pt>
                <c:pt idx="19230">
                  <c:v>6.7226890756303297E-3</c:v>
                </c:pt>
                <c:pt idx="19231">
                  <c:v>6.7226890756303297E-3</c:v>
                </c:pt>
                <c:pt idx="19232">
                  <c:v>6.7226890756303297E-3</c:v>
                </c:pt>
                <c:pt idx="19233">
                  <c:v>6.7226890756303297E-3</c:v>
                </c:pt>
                <c:pt idx="19234">
                  <c:v>6.7226890756303297E-3</c:v>
                </c:pt>
                <c:pt idx="19235">
                  <c:v>6.7226890756303297E-3</c:v>
                </c:pt>
                <c:pt idx="19236">
                  <c:v>6.7226890756303297E-3</c:v>
                </c:pt>
                <c:pt idx="19237">
                  <c:v>6.7226890756303297E-3</c:v>
                </c:pt>
                <c:pt idx="19238">
                  <c:v>6.7226890756303297E-3</c:v>
                </c:pt>
                <c:pt idx="19239">
                  <c:v>6.7226890756303297E-3</c:v>
                </c:pt>
                <c:pt idx="19240">
                  <c:v>6.7226890756303297E-3</c:v>
                </c:pt>
                <c:pt idx="19241">
                  <c:v>6.7226890756303297E-3</c:v>
                </c:pt>
                <c:pt idx="19242">
                  <c:v>6.7226890756303297E-3</c:v>
                </c:pt>
                <c:pt idx="19243">
                  <c:v>6.7226890756303297E-3</c:v>
                </c:pt>
                <c:pt idx="19244">
                  <c:v>6.7226890756303297E-3</c:v>
                </c:pt>
                <c:pt idx="19245">
                  <c:v>6.7226890756303297E-3</c:v>
                </c:pt>
                <c:pt idx="19246">
                  <c:v>6.7226890756303297E-3</c:v>
                </c:pt>
                <c:pt idx="19247">
                  <c:v>6.7226890756303297E-3</c:v>
                </c:pt>
                <c:pt idx="19248">
                  <c:v>6.7226890756303297E-3</c:v>
                </c:pt>
                <c:pt idx="19249">
                  <c:v>6.7226890756303297E-3</c:v>
                </c:pt>
                <c:pt idx="19250">
                  <c:v>6.7226890756303297E-3</c:v>
                </c:pt>
                <c:pt idx="19251">
                  <c:v>6.7226890756303297E-3</c:v>
                </c:pt>
                <c:pt idx="19252">
                  <c:v>6.7226890756303297E-3</c:v>
                </c:pt>
                <c:pt idx="19253">
                  <c:v>6.7226890756303297E-3</c:v>
                </c:pt>
                <c:pt idx="19254">
                  <c:v>6.7226890756303297E-3</c:v>
                </c:pt>
                <c:pt idx="19255">
                  <c:v>6.7226890756303297E-3</c:v>
                </c:pt>
                <c:pt idx="19256">
                  <c:v>6.7226890756303297E-3</c:v>
                </c:pt>
                <c:pt idx="19257">
                  <c:v>6.7226890756303297E-3</c:v>
                </c:pt>
                <c:pt idx="19258">
                  <c:v>6.7226890756303297E-3</c:v>
                </c:pt>
                <c:pt idx="19259">
                  <c:v>6.7226890756303297E-3</c:v>
                </c:pt>
                <c:pt idx="19260">
                  <c:v>6.7226890756303297E-3</c:v>
                </c:pt>
                <c:pt idx="19261">
                  <c:v>6.7226890756303297E-3</c:v>
                </c:pt>
                <c:pt idx="19262">
                  <c:v>6.7226890756303297E-3</c:v>
                </c:pt>
                <c:pt idx="19263">
                  <c:v>6.7226890756303297E-3</c:v>
                </c:pt>
                <c:pt idx="19264">
                  <c:v>6.7226890756303297E-3</c:v>
                </c:pt>
                <c:pt idx="19265">
                  <c:v>6.7226890756303297E-3</c:v>
                </c:pt>
                <c:pt idx="19266">
                  <c:v>6.7226890756303297E-3</c:v>
                </c:pt>
                <c:pt idx="19267">
                  <c:v>6.7226890756303297E-3</c:v>
                </c:pt>
                <c:pt idx="19268">
                  <c:v>6.7226890756303297E-3</c:v>
                </c:pt>
                <c:pt idx="19269">
                  <c:v>6.7226890756303297E-3</c:v>
                </c:pt>
                <c:pt idx="19270">
                  <c:v>6.7226890756303297E-3</c:v>
                </c:pt>
                <c:pt idx="19271">
                  <c:v>6.7226890756303297E-3</c:v>
                </c:pt>
                <c:pt idx="19272">
                  <c:v>6.7226890756303297E-3</c:v>
                </c:pt>
                <c:pt idx="19273">
                  <c:v>6.7226890756303297E-3</c:v>
                </c:pt>
                <c:pt idx="19274">
                  <c:v>6.7226890756303297E-3</c:v>
                </c:pt>
                <c:pt idx="19275">
                  <c:v>6.7226890756303297E-3</c:v>
                </c:pt>
                <c:pt idx="19276">
                  <c:v>7.56302521008411E-3</c:v>
                </c:pt>
                <c:pt idx="19277">
                  <c:v>7.56302521008411E-3</c:v>
                </c:pt>
                <c:pt idx="19278">
                  <c:v>7.56302521008411E-3</c:v>
                </c:pt>
                <c:pt idx="19279">
                  <c:v>7.56302521008411E-3</c:v>
                </c:pt>
                <c:pt idx="19280">
                  <c:v>7.56302521008411E-3</c:v>
                </c:pt>
                <c:pt idx="19281">
                  <c:v>7.56302521008411E-3</c:v>
                </c:pt>
                <c:pt idx="19282">
                  <c:v>7.56302521008411E-3</c:v>
                </c:pt>
                <c:pt idx="19283">
                  <c:v>7.56302521008411E-3</c:v>
                </c:pt>
                <c:pt idx="19284">
                  <c:v>7.56302521008411E-3</c:v>
                </c:pt>
                <c:pt idx="19285">
                  <c:v>7.56302521008411E-3</c:v>
                </c:pt>
                <c:pt idx="19286">
                  <c:v>7.56302521008411E-3</c:v>
                </c:pt>
                <c:pt idx="19287">
                  <c:v>7.56302521008411E-3</c:v>
                </c:pt>
                <c:pt idx="19288">
                  <c:v>7.56302521008411E-3</c:v>
                </c:pt>
                <c:pt idx="19289">
                  <c:v>7.56302521008411E-3</c:v>
                </c:pt>
                <c:pt idx="19290">
                  <c:v>7.56302521008411E-3</c:v>
                </c:pt>
                <c:pt idx="19291">
                  <c:v>7.56302521008411E-3</c:v>
                </c:pt>
                <c:pt idx="19292">
                  <c:v>7.56302521008411E-3</c:v>
                </c:pt>
                <c:pt idx="19293">
                  <c:v>7.56302521008411E-3</c:v>
                </c:pt>
                <c:pt idx="19294">
                  <c:v>7.56302521008411E-3</c:v>
                </c:pt>
                <c:pt idx="19295">
                  <c:v>7.56302521008411E-3</c:v>
                </c:pt>
                <c:pt idx="19296">
                  <c:v>7.56302521008411E-3</c:v>
                </c:pt>
                <c:pt idx="19297">
                  <c:v>7.56302521008411E-3</c:v>
                </c:pt>
                <c:pt idx="19298">
                  <c:v>8.4033613445378894E-3</c:v>
                </c:pt>
                <c:pt idx="19299">
                  <c:v>8.4033613445378894E-3</c:v>
                </c:pt>
                <c:pt idx="19300">
                  <c:v>8.4033613445378894E-3</c:v>
                </c:pt>
                <c:pt idx="19301">
                  <c:v>8.4033613445378894E-3</c:v>
                </c:pt>
                <c:pt idx="19302">
                  <c:v>8.4033613445378894E-3</c:v>
                </c:pt>
                <c:pt idx="19303">
                  <c:v>8.4033613445378894E-3</c:v>
                </c:pt>
                <c:pt idx="19304">
                  <c:v>8.4033613445378894E-3</c:v>
                </c:pt>
                <c:pt idx="19305">
                  <c:v>8.4033613445378894E-3</c:v>
                </c:pt>
                <c:pt idx="19306">
                  <c:v>8.4033613445378894E-3</c:v>
                </c:pt>
                <c:pt idx="19307">
                  <c:v>8.4033613445378894E-3</c:v>
                </c:pt>
                <c:pt idx="19308">
                  <c:v>8.4033613445378894E-3</c:v>
                </c:pt>
                <c:pt idx="19309">
                  <c:v>8.4033613445378894E-3</c:v>
                </c:pt>
                <c:pt idx="19310">
                  <c:v>8.4033613445378894E-3</c:v>
                </c:pt>
                <c:pt idx="19311">
                  <c:v>8.4033613445378894E-3</c:v>
                </c:pt>
                <c:pt idx="19312">
                  <c:v>8.4033613445378894E-3</c:v>
                </c:pt>
                <c:pt idx="19313">
                  <c:v>8.4033613445378894E-3</c:v>
                </c:pt>
                <c:pt idx="19314">
                  <c:v>8.4033613445378894E-3</c:v>
                </c:pt>
                <c:pt idx="19315">
                  <c:v>8.4033613445378894E-3</c:v>
                </c:pt>
                <c:pt idx="19316">
                  <c:v>8.4033613445378894E-3</c:v>
                </c:pt>
                <c:pt idx="19317">
                  <c:v>8.4033613445378894E-3</c:v>
                </c:pt>
                <c:pt idx="19318">
                  <c:v>8.4033613445378894E-3</c:v>
                </c:pt>
                <c:pt idx="19319">
                  <c:v>8.4033613445378894E-3</c:v>
                </c:pt>
                <c:pt idx="19320">
                  <c:v>8.4033613445378894E-3</c:v>
                </c:pt>
                <c:pt idx="19321">
                  <c:v>8.4033613445378894E-3</c:v>
                </c:pt>
                <c:pt idx="19322">
                  <c:v>8.4033613445378894E-3</c:v>
                </c:pt>
                <c:pt idx="19323">
                  <c:v>8.4033613445378894E-3</c:v>
                </c:pt>
                <c:pt idx="19324">
                  <c:v>8.4033613445378894E-3</c:v>
                </c:pt>
                <c:pt idx="19325">
                  <c:v>8.4033613445378894E-3</c:v>
                </c:pt>
                <c:pt idx="19326">
                  <c:v>8.4033613445378894E-3</c:v>
                </c:pt>
                <c:pt idx="19327">
                  <c:v>8.4033613445378894E-3</c:v>
                </c:pt>
                <c:pt idx="19328">
                  <c:v>8.4033613445378894E-3</c:v>
                </c:pt>
                <c:pt idx="19329">
                  <c:v>8.4033613445378894E-3</c:v>
                </c:pt>
                <c:pt idx="19330">
                  <c:v>8.4033613445378894E-3</c:v>
                </c:pt>
                <c:pt idx="19331">
                  <c:v>8.4033613445378894E-3</c:v>
                </c:pt>
                <c:pt idx="19332">
                  <c:v>8.4033613445378894E-3</c:v>
                </c:pt>
                <c:pt idx="19333">
                  <c:v>8.4033613445378894E-3</c:v>
                </c:pt>
                <c:pt idx="19334">
                  <c:v>8.4033613445378894E-3</c:v>
                </c:pt>
                <c:pt idx="19335">
                  <c:v>8.4033613445378894E-3</c:v>
                </c:pt>
                <c:pt idx="19336">
                  <c:v>8.4033613445378894E-3</c:v>
                </c:pt>
                <c:pt idx="19337">
                  <c:v>8.4033613445378894E-3</c:v>
                </c:pt>
                <c:pt idx="19338">
                  <c:v>8.4033613445378894E-3</c:v>
                </c:pt>
                <c:pt idx="19339">
                  <c:v>8.4033613445378894E-3</c:v>
                </c:pt>
                <c:pt idx="19340">
                  <c:v>8.4033613445378894E-3</c:v>
                </c:pt>
                <c:pt idx="19341">
                  <c:v>8.4033613445378894E-3</c:v>
                </c:pt>
                <c:pt idx="19342">
                  <c:v>8.4033613445378894E-3</c:v>
                </c:pt>
                <c:pt idx="19343">
                  <c:v>8.4033613445378894E-3</c:v>
                </c:pt>
                <c:pt idx="19344">
                  <c:v>8.4033613445378894E-3</c:v>
                </c:pt>
                <c:pt idx="19345">
                  <c:v>8.4033613445378894E-3</c:v>
                </c:pt>
                <c:pt idx="19346">
                  <c:v>8.4033613445378894E-3</c:v>
                </c:pt>
                <c:pt idx="19347">
                  <c:v>8.4033613445378894E-3</c:v>
                </c:pt>
                <c:pt idx="19348">
                  <c:v>9.2436974789916696E-3</c:v>
                </c:pt>
                <c:pt idx="19349">
                  <c:v>1.00840336134454E-2</c:v>
                </c:pt>
                <c:pt idx="19350">
                  <c:v>1.00840336134454E-2</c:v>
                </c:pt>
                <c:pt idx="19351">
                  <c:v>1.00840336134454E-2</c:v>
                </c:pt>
                <c:pt idx="19352">
                  <c:v>1.00840336134454E-2</c:v>
                </c:pt>
                <c:pt idx="19353">
                  <c:v>1.00840336134454E-2</c:v>
                </c:pt>
                <c:pt idx="19354">
                  <c:v>1.00840336134454E-2</c:v>
                </c:pt>
                <c:pt idx="19355">
                  <c:v>1.00840336134454E-2</c:v>
                </c:pt>
                <c:pt idx="19356">
                  <c:v>1.00840336134454E-2</c:v>
                </c:pt>
                <c:pt idx="19357">
                  <c:v>1.00840336134454E-2</c:v>
                </c:pt>
                <c:pt idx="19358">
                  <c:v>1.00840336134454E-2</c:v>
                </c:pt>
                <c:pt idx="19359">
                  <c:v>1.00840336134454E-2</c:v>
                </c:pt>
                <c:pt idx="19360">
                  <c:v>1.00840336134454E-2</c:v>
                </c:pt>
                <c:pt idx="19361">
                  <c:v>1.00840336134454E-2</c:v>
                </c:pt>
                <c:pt idx="19362">
                  <c:v>1.0924369747899201E-2</c:v>
                </c:pt>
                <c:pt idx="19363">
                  <c:v>1.1764705882353E-2</c:v>
                </c:pt>
                <c:pt idx="19364">
                  <c:v>1.1764705882353E-2</c:v>
                </c:pt>
                <c:pt idx="19365">
                  <c:v>1.1764705882353E-2</c:v>
                </c:pt>
                <c:pt idx="19366">
                  <c:v>1.1764705882353E-2</c:v>
                </c:pt>
                <c:pt idx="19367">
                  <c:v>1.1764705882353E-2</c:v>
                </c:pt>
                <c:pt idx="19368">
                  <c:v>1.1764705882353E-2</c:v>
                </c:pt>
                <c:pt idx="19369">
                  <c:v>1.1764705882353E-2</c:v>
                </c:pt>
                <c:pt idx="19370">
                  <c:v>1.0924369747899201E-2</c:v>
                </c:pt>
                <c:pt idx="19371">
                  <c:v>1.0924369747899201E-2</c:v>
                </c:pt>
                <c:pt idx="19372">
                  <c:v>1.0924369747899201E-2</c:v>
                </c:pt>
                <c:pt idx="19373">
                  <c:v>1.0924369747899201E-2</c:v>
                </c:pt>
                <c:pt idx="19374">
                  <c:v>1.0924369747899201E-2</c:v>
                </c:pt>
                <c:pt idx="19375">
                  <c:v>1.0924369747899201E-2</c:v>
                </c:pt>
                <c:pt idx="19376">
                  <c:v>1.0924369747899201E-2</c:v>
                </c:pt>
                <c:pt idx="19377">
                  <c:v>1.0924369747899201E-2</c:v>
                </c:pt>
                <c:pt idx="19378">
                  <c:v>1.0924369747899201E-2</c:v>
                </c:pt>
                <c:pt idx="19379">
                  <c:v>1.0924369747899201E-2</c:v>
                </c:pt>
                <c:pt idx="19380">
                  <c:v>1.0924369747899201E-2</c:v>
                </c:pt>
                <c:pt idx="19381">
                  <c:v>1.0924369747899201E-2</c:v>
                </c:pt>
                <c:pt idx="19382">
                  <c:v>1.0924369747899201E-2</c:v>
                </c:pt>
                <c:pt idx="19383">
                  <c:v>1.0924369747899201E-2</c:v>
                </c:pt>
                <c:pt idx="19384">
                  <c:v>1.0924369747899201E-2</c:v>
                </c:pt>
                <c:pt idx="19385">
                  <c:v>1.0924369747899201E-2</c:v>
                </c:pt>
                <c:pt idx="19386">
                  <c:v>1.0924369747899201E-2</c:v>
                </c:pt>
                <c:pt idx="19387">
                  <c:v>1.0924369747899201E-2</c:v>
                </c:pt>
                <c:pt idx="19388">
                  <c:v>1.0924369747899201E-2</c:v>
                </c:pt>
                <c:pt idx="19389">
                  <c:v>1.0924369747899201E-2</c:v>
                </c:pt>
                <c:pt idx="19390">
                  <c:v>1.0924369747899201E-2</c:v>
                </c:pt>
                <c:pt idx="19391">
                  <c:v>1.0924369747899201E-2</c:v>
                </c:pt>
                <c:pt idx="19392">
                  <c:v>1.0924369747899201E-2</c:v>
                </c:pt>
                <c:pt idx="19393">
                  <c:v>1.0924369747899201E-2</c:v>
                </c:pt>
                <c:pt idx="19394">
                  <c:v>1.0924369747899201E-2</c:v>
                </c:pt>
                <c:pt idx="19395">
                  <c:v>1.0924369747899201E-2</c:v>
                </c:pt>
                <c:pt idx="19396">
                  <c:v>1.0924369747899201E-2</c:v>
                </c:pt>
                <c:pt idx="19397">
                  <c:v>1.0924369747899201E-2</c:v>
                </c:pt>
                <c:pt idx="19398">
                  <c:v>1.0924369747899201E-2</c:v>
                </c:pt>
                <c:pt idx="19399">
                  <c:v>1.0924369747899201E-2</c:v>
                </c:pt>
                <c:pt idx="19400">
                  <c:v>1.0924369747899201E-2</c:v>
                </c:pt>
                <c:pt idx="19401">
                  <c:v>1.0924369747899201E-2</c:v>
                </c:pt>
                <c:pt idx="19402">
                  <c:v>1.0924369747899201E-2</c:v>
                </c:pt>
                <c:pt idx="19403">
                  <c:v>1.0924369747899201E-2</c:v>
                </c:pt>
                <c:pt idx="19404">
                  <c:v>1.0924369747899201E-2</c:v>
                </c:pt>
                <c:pt idx="19405">
                  <c:v>1.1764705882353E-2</c:v>
                </c:pt>
                <c:pt idx="19406">
                  <c:v>1.1764705882353E-2</c:v>
                </c:pt>
                <c:pt idx="19407">
                  <c:v>1.1764705882353E-2</c:v>
                </c:pt>
                <c:pt idx="19408">
                  <c:v>1.1764705882353E-2</c:v>
                </c:pt>
                <c:pt idx="19409">
                  <c:v>1.1764705882353E-2</c:v>
                </c:pt>
                <c:pt idx="19410">
                  <c:v>1.1764705882353E-2</c:v>
                </c:pt>
                <c:pt idx="19411">
                  <c:v>1.1764705882353E-2</c:v>
                </c:pt>
                <c:pt idx="19412">
                  <c:v>1.1764705882353E-2</c:v>
                </c:pt>
                <c:pt idx="19413">
                  <c:v>1.1764705882353E-2</c:v>
                </c:pt>
                <c:pt idx="19414">
                  <c:v>1.1764705882353E-2</c:v>
                </c:pt>
                <c:pt idx="19415">
                  <c:v>1.1764705882353E-2</c:v>
                </c:pt>
                <c:pt idx="19416">
                  <c:v>1.1764705882353E-2</c:v>
                </c:pt>
                <c:pt idx="19417">
                  <c:v>1.1764705882353E-2</c:v>
                </c:pt>
                <c:pt idx="19418">
                  <c:v>1.1764705882353E-2</c:v>
                </c:pt>
                <c:pt idx="19419">
                  <c:v>1.1764705882353E-2</c:v>
                </c:pt>
                <c:pt idx="19420">
                  <c:v>1.0924369747899201E-2</c:v>
                </c:pt>
                <c:pt idx="19421">
                  <c:v>1.0924369747899201E-2</c:v>
                </c:pt>
                <c:pt idx="19422">
                  <c:v>1.0924369747899201E-2</c:v>
                </c:pt>
                <c:pt idx="19423">
                  <c:v>1.0924369747899201E-2</c:v>
                </c:pt>
                <c:pt idx="19424">
                  <c:v>1.0924369747899201E-2</c:v>
                </c:pt>
                <c:pt idx="19425">
                  <c:v>1.0924369747899201E-2</c:v>
                </c:pt>
                <c:pt idx="19426">
                  <c:v>1.0924369747899201E-2</c:v>
                </c:pt>
                <c:pt idx="19427">
                  <c:v>1.0924369747899201E-2</c:v>
                </c:pt>
                <c:pt idx="19428">
                  <c:v>1.0924369747899201E-2</c:v>
                </c:pt>
                <c:pt idx="19429">
                  <c:v>1.0924369747899201E-2</c:v>
                </c:pt>
                <c:pt idx="19430">
                  <c:v>1.0924369747899201E-2</c:v>
                </c:pt>
                <c:pt idx="19431">
                  <c:v>1.0924369747899201E-2</c:v>
                </c:pt>
                <c:pt idx="19432">
                  <c:v>1.0924369747899201E-2</c:v>
                </c:pt>
                <c:pt idx="19433">
                  <c:v>1.0924369747899201E-2</c:v>
                </c:pt>
                <c:pt idx="19434">
                  <c:v>1.0924369747899201E-2</c:v>
                </c:pt>
                <c:pt idx="19435">
                  <c:v>1.0924369747899201E-2</c:v>
                </c:pt>
                <c:pt idx="19436">
                  <c:v>1.0924369747899201E-2</c:v>
                </c:pt>
                <c:pt idx="19437">
                  <c:v>1.0924369747899201E-2</c:v>
                </c:pt>
                <c:pt idx="19438">
                  <c:v>1.0924369747899201E-2</c:v>
                </c:pt>
                <c:pt idx="19439">
                  <c:v>1.0924369747899201E-2</c:v>
                </c:pt>
                <c:pt idx="19440">
                  <c:v>1.0924369747899201E-2</c:v>
                </c:pt>
                <c:pt idx="19441">
                  <c:v>1.0924369747899201E-2</c:v>
                </c:pt>
                <c:pt idx="19442">
                  <c:v>1.00840336134454E-2</c:v>
                </c:pt>
                <c:pt idx="19443">
                  <c:v>1.00840336134454E-2</c:v>
                </c:pt>
                <c:pt idx="19444">
                  <c:v>1.00840336134454E-2</c:v>
                </c:pt>
                <c:pt idx="19445">
                  <c:v>1.00840336134454E-2</c:v>
                </c:pt>
                <c:pt idx="19446">
                  <c:v>1.00840336134454E-2</c:v>
                </c:pt>
                <c:pt idx="19447">
                  <c:v>1.00840336134454E-2</c:v>
                </c:pt>
                <c:pt idx="19448">
                  <c:v>1.0924369747899201E-2</c:v>
                </c:pt>
                <c:pt idx="19449">
                  <c:v>1.1764705882353E-2</c:v>
                </c:pt>
                <c:pt idx="19450">
                  <c:v>1.1764705882353E-2</c:v>
                </c:pt>
                <c:pt idx="19451">
                  <c:v>1.1764705882353E-2</c:v>
                </c:pt>
                <c:pt idx="19452">
                  <c:v>1.1764705882353E-2</c:v>
                </c:pt>
                <c:pt idx="19453">
                  <c:v>1.1764705882353E-2</c:v>
                </c:pt>
                <c:pt idx="19454">
                  <c:v>1.1764705882353E-2</c:v>
                </c:pt>
                <c:pt idx="19455">
                  <c:v>1.1764705882353E-2</c:v>
                </c:pt>
                <c:pt idx="19456">
                  <c:v>1.1764705882353E-2</c:v>
                </c:pt>
                <c:pt idx="19457">
                  <c:v>1.1764705882353E-2</c:v>
                </c:pt>
                <c:pt idx="19458">
                  <c:v>1.1764705882353E-2</c:v>
                </c:pt>
                <c:pt idx="19459">
                  <c:v>1.1764705882353E-2</c:v>
                </c:pt>
                <c:pt idx="19460">
                  <c:v>1.26050420168067E-2</c:v>
                </c:pt>
                <c:pt idx="19461">
                  <c:v>1.26050420168067E-2</c:v>
                </c:pt>
                <c:pt idx="19462">
                  <c:v>1.26050420168067E-2</c:v>
                </c:pt>
                <c:pt idx="19463">
                  <c:v>1.26050420168067E-2</c:v>
                </c:pt>
                <c:pt idx="19464">
                  <c:v>1.26050420168067E-2</c:v>
                </c:pt>
                <c:pt idx="19465">
                  <c:v>1.26050420168067E-2</c:v>
                </c:pt>
                <c:pt idx="19466">
                  <c:v>1.26050420168067E-2</c:v>
                </c:pt>
                <c:pt idx="19467">
                  <c:v>1.26050420168067E-2</c:v>
                </c:pt>
                <c:pt idx="19468">
                  <c:v>1.26050420168067E-2</c:v>
                </c:pt>
                <c:pt idx="19469">
                  <c:v>1.26050420168067E-2</c:v>
                </c:pt>
                <c:pt idx="19470">
                  <c:v>1.26050420168067E-2</c:v>
                </c:pt>
                <c:pt idx="19471">
                  <c:v>1.26050420168067E-2</c:v>
                </c:pt>
                <c:pt idx="19472">
                  <c:v>1.26050420168067E-2</c:v>
                </c:pt>
                <c:pt idx="19473">
                  <c:v>1.26050420168067E-2</c:v>
                </c:pt>
                <c:pt idx="19474">
                  <c:v>1.26050420168067E-2</c:v>
                </c:pt>
                <c:pt idx="19475">
                  <c:v>1.26050420168067E-2</c:v>
                </c:pt>
                <c:pt idx="19476">
                  <c:v>1.34453781512605E-2</c:v>
                </c:pt>
                <c:pt idx="19477">
                  <c:v>1.34453781512605E-2</c:v>
                </c:pt>
                <c:pt idx="19478">
                  <c:v>1.34453781512605E-2</c:v>
                </c:pt>
                <c:pt idx="19479">
                  <c:v>1.34453781512605E-2</c:v>
                </c:pt>
                <c:pt idx="19480">
                  <c:v>1.34453781512605E-2</c:v>
                </c:pt>
                <c:pt idx="19481">
                  <c:v>1.34453781512605E-2</c:v>
                </c:pt>
                <c:pt idx="19482">
                  <c:v>1.34453781512605E-2</c:v>
                </c:pt>
                <c:pt idx="19483">
                  <c:v>1.34453781512605E-2</c:v>
                </c:pt>
                <c:pt idx="19484">
                  <c:v>1.34453781512605E-2</c:v>
                </c:pt>
                <c:pt idx="19485">
                  <c:v>1.34453781512605E-2</c:v>
                </c:pt>
                <c:pt idx="19486">
                  <c:v>1.34453781512605E-2</c:v>
                </c:pt>
                <c:pt idx="19487">
                  <c:v>1.34453781512605E-2</c:v>
                </c:pt>
                <c:pt idx="19488">
                  <c:v>1.34453781512605E-2</c:v>
                </c:pt>
                <c:pt idx="19489">
                  <c:v>1.34453781512605E-2</c:v>
                </c:pt>
                <c:pt idx="19490">
                  <c:v>1.34453781512605E-2</c:v>
                </c:pt>
                <c:pt idx="19491">
                  <c:v>1.34453781512605E-2</c:v>
                </c:pt>
                <c:pt idx="19492">
                  <c:v>1.34453781512605E-2</c:v>
                </c:pt>
                <c:pt idx="19493">
                  <c:v>1.34453781512605E-2</c:v>
                </c:pt>
                <c:pt idx="19494">
                  <c:v>1.34453781512605E-2</c:v>
                </c:pt>
                <c:pt idx="19495">
                  <c:v>1.34453781512605E-2</c:v>
                </c:pt>
                <c:pt idx="19496">
                  <c:v>1.34453781512605E-2</c:v>
                </c:pt>
                <c:pt idx="19497">
                  <c:v>1.34453781512605E-2</c:v>
                </c:pt>
                <c:pt idx="19498">
                  <c:v>1.34453781512605E-2</c:v>
                </c:pt>
                <c:pt idx="19499">
                  <c:v>1.34453781512605E-2</c:v>
                </c:pt>
                <c:pt idx="19500">
                  <c:v>1.34453781512605E-2</c:v>
                </c:pt>
                <c:pt idx="19501">
                  <c:v>1.34453781512605E-2</c:v>
                </c:pt>
                <c:pt idx="19502">
                  <c:v>1.34453781512605E-2</c:v>
                </c:pt>
                <c:pt idx="19503">
                  <c:v>1.34453781512605E-2</c:v>
                </c:pt>
                <c:pt idx="19504">
                  <c:v>1.34453781512605E-2</c:v>
                </c:pt>
                <c:pt idx="19505">
                  <c:v>1.34453781512605E-2</c:v>
                </c:pt>
                <c:pt idx="19506">
                  <c:v>1.34453781512605E-2</c:v>
                </c:pt>
                <c:pt idx="19507">
                  <c:v>1.34453781512605E-2</c:v>
                </c:pt>
                <c:pt idx="19508">
                  <c:v>1.34453781512605E-2</c:v>
                </c:pt>
                <c:pt idx="19509">
                  <c:v>1.34453781512605E-2</c:v>
                </c:pt>
                <c:pt idx="19510">
                  <c:v>1.34453781512605E-2</c:v>
                </c:pt>
                <c:pt idx="19511">
                  <c:v>1.34453781512605E-2</c:v>
                </c:pt>
                <c:pt idx="19512">
                  <c:v>1.34453781512605E-2</c:v>
                </c:pt>
                <c:pt idx="19513">
                  <c:v>1.34453781512605E-2</c:v>
                </c:pt>
                <c:pt idx="19514">
                  <c:v>1.34453781512605E-2</c:v>
                </c:pt>
                <c:pt idx="19515">
                  <c:v>1.34453781512605E-2</c:v>
                </c:pt>
                <c:pt idx="19516">
                  <c:v>1.34453781512605E-2</c:v>
                </c:pt>
                <c:pt idx="19517">
                  <c:v>1.34453781512605E-2</c:v>
                </c:pt>
                <c:pt idx="19518">
                  <c:v>1.34453781512605E-2</c:v>
                </c:pt>
                <c:pt idx="19519">
                  <c:v>1.34453781512605E-2</c:v>
                </c:pt>
                <c:pt idx="19520">
                  <c:v>1.34453781512605E-2</c:v>
                </c:pt>
                <c:pt idx="19521">
                  <c:v>1.34453781512605E-2</c:v>
                </c:pt>
                <c:pt idx="19522">
                  <c:v>1.34453781512605E-2</c:v>
                </c:pt>
                <c:pt idx="19523">
                  <c:v>1.34453781512605E-2</c:v>
                </c:pt>
                <c:pt idx="19524">
                  <c:v>1.34453781512605E-2</c:v>
                </c:pt>
                <c:pt idx="19525">
                  <c:v>1.34453781512605E-2</c:v>
                </c:pt>
                <c:pt idx="19526">
                  <c:v>1.34453781512605E-2</c:v>
                </c:pt>
                <c:pt idx="19527">
                  <c:v>1.34453781512605E-2</c:v>
                </c:pt>
                <c:pt idx="19528">
                  <c:v>1.34453781512605E-2</c:v>
                </c:pt>
                <c:pt idx="19529">
                  <c:v>1.34453781512605E-2</c:v>
                </c:pt>
                <c:pt idx="19530">
                  <c:v>1.34453781512605E-2</c:v>
                </c:pt>
                <c:pt idx="19531">
                  <c:v>1.34453781512605E-2</c:v>
                </c:pt>
                <c:pt idx="19532">
                  <c:v>1.34453781512605E-2</c:v>
                </c:pt>
                <c:pt idx="19533">
                  <c:v>1.34453781512605E-2</c:v>
                </c:pt>
                <c:pt idx="19534">
                  <c:v>1.34453781512605E-2</c:v>
                </c:pt>
                <c:pt idx="19535">
                  <c:v>1.34453781512605E-2</c:v>
                </c:pt>
                <c:pt idx="19536">
                  <c:v>1.34453781512605E-2</c:v>
                </c:pt>
                <c:pt idx="19537">
                  <c:v>1.34453781512605E-2</c:v>
                </c:pt>
                <c:pt idx="19538">
                  <c:v>1.34453781512605E-2</c:v>
                </c:pt>
                <c:pt idx="19539">
                  <c:v>1.26050420168066E-2</c:v>
                </c:pt>
                <c:pt idx="19540">
                  <c:v>1.26050420168066E-2</c:v>
                </c:pt>
                <c:pt idx="19541">
                  <c:v>1.26050420168066E-2</c:v>
                </c:pt>
                <c:pt idx="19542">
                  <c:v>1.26050420168066E-2</c:v>
                </c:pt>
                <c:pt idx="19543">
                  <c:v>1.26050420168066E-2</c:v>
                </c:pt>
                <c:pt idx="19544">
                  <c:v>1.26050420168066E-2</c:v>
                </c:pt>
                <c:pt idx="19545">
                  <c:v>1.26050420168066E-2</c:v>
                </c:pt>
                <c:pt idx="19546">
                  <c:v>1.26050420168066E-2</c:v>
                </c:pt>
                <c:pt idx="19547">
                  <c:v>1.26050420168066E-2</c:v>
                </c:pt>
                <c:pt idx="19548">
                  <c:v>1.26050420168066E-2</c:v>
                </c:pt>
                <c:pt idx="19549">
                  <c:v>1.26050420168066E-2</c:v>
                </c:pt>
                <c:pt idx="19550">
                  <c:v>1.26050420168066E-2</c:v>
                </c:pt>
                <c:pt idx="19551">
                  <c:v>1.26050420168066E-2</c:v>
                </c:pt>
                <c:pt idx="19552">
                  <c:v>1.26050420168066E-2</c:v>
                </c:pt>
                <c:pt idx="19553">
                  <c:v>1.26050420168066E-2</c:v>
                </c:pt>
                <c:pt idx="19554">
                  <c:v>1.26050420168066E-2</c:v>
                </c:pt>
                <c:pt idx="19555">
                  <c:v>1.26050420168066E-2</c:v>
                </c:pt>
                <c:pt idx="19556">
                  <c:v>1.26050420168066E-2</c:v>
                </c:pt>
                <c:pt idx="19557">
                  <c:v>1.26050420168066E-2</c:v>
                </c:pt>
                <c:pt idx="19558">
                  <c:v>1.26050420168066E-2</c:v>
                </c:pt>
                <c:pt idx="19559">
                  <c:v>1.26050420168066E-2</c:v>
                </c:pt>
                <c:pt idx="19560">
                  <c:v>1.26050420168066E-2</c:v>
                </c:pt>
                <c:pt idx="19561">
                  <c:v>1.26050420168066E-2</c:v>
                </c:pt>
                <c:pt idx="19562">
                  <c:v>1.26050420168066E-2</c:v>
                </c:pt>
                <c:pt idx="19563">
                  <c:v>1.26050420168066E-2</c:v>
                </c:pt>
                <c:pt idx="19564">
                  <c:v>1.1764705882352899E-2</c:v>
                </c:pt>
                <c:pt idx="19565">
                  <c:v>1.1764705882352899E-2</c:v>
                </c:pt>
                <c:pt idx="19566">
                  <c:v>1.1764705882352899E-2</c:v>
                </c:pt>
                <c:pt idx="19567">
                  <c:v>1.1764705882352899E-2</c:v>
                </c:pt>
                <c:pt idx="19568">
                  <c:v>1.1764705882352899E-2</c:v>
                </c:pt>
                <c:pt idx="19569">
                  <c:v>1.1764705882352899E-2</c:v>
                </c:pt>
                <c:pt idx="19570">
                  <c:v>1.1764705882352899E-2</c:v>
                </c:pt>
                <c:pt idx="19571">
                  <c:v>1.1764705882352899E-2</c:v>
                </c:pt>
                <c:pt idx="19572">
                  <c:v>1.1764705882352899E-2</c:v>
                </c:pt>
                <c:pt idx="19573">
                  <c:v>1.1764705882352899E-2</c:v>
                </c:pt>
                <c:pt idx="19574">
                  <c:v>1.1764705882352899E-2</c:v>
                </c:pt>
                <c:pt idx="19575">
                  <c:v>1.1764705882352899E-2</c:v>
                </c:pt>
                <c:pt idx="19576">
                  <c:v>1.1764705882352899E-2</c:v>
                </c:pt>
                <c:pt idx="19577">
                  <c:v>1.1764705882352899E-2</c:v>
                </c:pt>
                <c:pt idx="19578">
                  <c:v>1.1764705882352899E-2</c:v>
                </c:pt>
                <c:pt idx="19579">
                  <c:v>1.1764705882352899E-2</c:v>
                </c:pt>
                <c:pt idx="19580">
                  <c:v>1.1764705882352899E-2</c:v>
                </c:pt>
                <c:pt idx="19581">
                  <c:v>1.1764705882352899E-2</c:v>
                </c:pt>
                <c:pt idx="19582">
                  <c:v>1.1764705882352899E-2</c:v>
                </c:pt>
                <c:pt idx="19583">
                  <c:v>1.1764705882352899E-2</c:v>
                </c:pt>
                <c:pt idx="19584">
                  <c:v>1.1764705882352899E-2</c:v>
                </c:pt>
                <c:pt idx="19585">
                  <c:v>1.1764705882352899E-2</c:v>
                </c:pt>
                <c:pt idx="19586">
                  <c:v>1.1764705882352899E-2</c:v>
                </c:pt>
                <c:pt idx="19587">
                  <c:v>1.1764705882352899E-2</c:v>
                </c:pt>
                <c:pt idx="19588">
                  <c:v>1.1764705882352899E-2</c:v>
                </c:pt>
                <c:pt idx="19589">
                  <c:v>1.09243697478991E-2</c:v>
                </c:pt>
                <c:pt idx="19590">
                  <c:v>1.09243697478991E-2</c:v>
                </c:pt>
                <c:pt idx="19591">
                  <c:v>1.09243697478991E-2</c:v>
                </c:pt>
                <c:pt idx="19592">
                  <c:v>1.09243697478991E-2</c:v>
                </c:pt>
                <c:pt idx="19593">
                  <c:v>1.09243697478991E-2</c:v>
                </c:pt>
                <c:pt idx="19594">
                  <c:v>1.09243697478991E-2</c:v>
                </c:pt>
                <c:pt idx="19595">
                  <c:v>1.09243697478991E-2</c:v>
                </c:pt>
                <c:pt idx="19596">
                  <c:v>1.09243697478991E-2</c:v>
                </c:pt>
                <c:pt idx="19597">
                  <c:v>1.09243697478991E-2</c:v>
                </c:pt>
                <c:pt idx="19598">
                  <c:v>1.1764705882352899E-2</c:v>
                </c:pt>
                <c:pt idx="19599">
                  <c:v>1.1764705882352899E-2</c:v>
                </c:pt>
                <c:pt idx="19600">
                  <c:v>1.1764705882352899E-2</c:v>
                </c:pt>
                <c:pt idx="19601">
                  <c:v>1.1764705882352899E-2</c:v>
                </c:pt>
                <c:pt idx="19602">
                  <c:v>1.26050420168066E-2</c:v>
                </c:pt>
                <c:pt idx="19603">
                  <c:v>1.26050420168066E-2</c:v>
                </c:pt>
                <c:pt idx="19604">
                  <c:v>1.26050420168066E-2</c:v>
                </c:pt>
                <c:pt idx="19605">
                  <c:v>1.26050420168066E-2</c:v>
                </c:pt>
                <c:pt idx="19606">
                  <c:v>1.26050420168066E-2</c:v>
                </c:pt>
                <c:pt idx="19607">
                  <c:v>1.3445378151260399E-2</c:v>
                </c:pt>
                <c:pt idx="19608">
                  <c:v>1.3445378151260399E-2</c:v>
                </c:pt>
                <c:pt idx="19609">
                  <c:v>1.3445378151260399E-2</c:v>
                </c:pt>
                <c:pt idx="19610">
                  <c:v>1.3445378151260399E-2</c:v>
                </c:pt>
                <c:pt idx="19611">
                  <c:v>1.3445378151260399E-2</c:v>
                </c:pt>
                <c:pt idx="19612">
                  <c:v>1.3445378151260399E-2</c:v>
                </c:pt>
                <c:pt idx="19613">
                  <c:v>1.42857142857142E-2</c:v>
                </c:pt>
                <c:pt idx="19614">
                  <c:v>1.42857142857142E-2</c:v>
                </c:pt>
                <c:pt idx="19615">
                  <c:v>1.42857142857142E-2</c:v>
                </c:pt>
                <c:pt idx="19616">
                  <c:v>1.42857142857142E-2</c:v>
                </c:pt>
                <c:pt idx="19617">
                  <c:v>1.42857142857142E-2</c:v>
                </c:pt>
                <c:pt idx="19618">
                  <c:v>1.42857142857142E-2</c:v>
                </c:pt>
                <c:pt idx="19619">
                  <c:v>1.42857142857142E-2</c:v>
                </c:pt>
                <c:pt idx="19620">
                  <c:v>1.5126050420168E-2</c:v>
                </c:pt>
                <c:pt idx="19621">
                  <c:v>1.5126050420168E-2</c:v>
                </c:pt>
                <c:pt idx="19622">
                  <c:v>1.5126050420168E-2</c:v>
                </c:pt>
                <c:pt idx="19623">
                  <c:v>1.5126050420168E-2</c:v>
                </c:pt>
                <c:pt idx="19624">
                  <c:v>1.5126050420168E-2</c:v>
                </c:pt>
                <c:pt idx="19625">
                  <c:v>1.5126050420168E-2</c:v>
                </c:pt>
                <c:pt idx="19626">
                  <c:v>1.5126050420168E-2</c:v>
                </c:pt>
                <c:pt idx="19627">
                  <c:v>1.5126050420168E-2</c:v>
                </c:pt>
                <c:pt idx="19628">
                  <c:v>1.5126050420168E-2</c:v>
                </c:pt>
                <c:pt idx="19629">
                  <c:v>1.5126050420168E-2</c:v>
                </c:pt>
                <c:pt idx="19630">
                  <c:v>1.5966386554621698E-2</c:v>
                </c:pt>
                <c:pt idx="19631">
                  <c:v>1.5966386554621698E-2</c:v>
                </c:pt>
                <c:pt idx="19632">
                  <c:v>1.5966386554621698E-2</c:v>
                </c:pt>
                <c:pt idx="19633">
                  <c:v>1.5966386554621698E-2</c:v>
                </c:pt>
                <c:pt idx="19634">
                  <c:v>1.5966386554621698E-2</c:v>
                </c:pt>
                <c:pt idx="19635">
                  <c:v>1.5966386554621698E-2</c:v>
                </c:pt>
                <c:pt idx="19636">
                  <c:v>1.5966386554621698E-2</c:v>
                </c:pt>
                <c:pt idx="19637">
                  <c:v>1.5966386554621698E-2</c:v>
                </c:pt>
                <c:pt idx="19638">
                  <c:v>1.5966386554621698E-2</c:v>
                </c:pt>
                <c:pt idx="19639">
                  <c:v>1.5966386554621698E-2</c:v>
                </c:pt>
                <c:pt idx="19640">
                  <c:v>1.5966386554621698E-2</c:v>
                </c:pt>
                <c:pt idx="19641">
                  <c:v>1.5966386554621698E-2</c:v>
                </c:pt>
                <c:pt idx="19642">
                  <c:v>1.5966386554621698E-2</c:v>
                </c:pt>
                <c:pt idx="19643">
                  <c:v>1.5966386554621698E-2</c:v>
                </c:pt>
                <c:pt idx="19644">
                  <c:v>1.5966386554621698E-2</c:v>
                </c:pt>
                <c:pt idx="19645">
                  <c:v>1.5966386554621698E-2</c:v>
                </c:pt>
                <c:pt idx="19646">
                  <c:v>1.5966386554621698E-2</c:v>
                </c:pt>
                <c:pt idx="19647">
                  <c:v>1.5966386554621698E-2</c:v>
                </c:pt>
                <c:pt idx="19648">
                  <c:v>1.5966386554621698E-2</c:v>
                </c:pt>
                <c:pt idx="19649">
                  <c:v>1.5966386554621698E-2</c:v>
                </c:pt>
                <c:pt idx="19650">
                  <c:v>1.5966386554621698E-2</c:v>
                </c:pt>
                <c:pt idx="19651">
                  <c:v>1.5966386554621698E-2</c:v>
                </c:pt>
                <c:pt idx="19652">
                  <c:v>1.5966386554621698E-2</c:v>
                </c:pt>
                <c:pt idx="19653">
                  <c:v>1.5966386554621698E-2</c:v>
                </c:pt>
                <c:pt idx="19654">
                  <c:v>1.5966386554621698E-2</c:v>
                </c:pt>
                <c:pt idx="19655">
                  <c:v>1.5966386554621698E-2</c:v>
                </c:pt>
                <c:pt idx="19656">
                  <c:v>1.5966386554621698E-2</c:v>
                </c:pt>
                <c:pt idx="19657">
                  <c:v>1.5966386554621698E-2</c:v>
                </c:pt>
                <c:pt idx="19658">
                  <c:v>1.5966386554621698E-2</c:v>
                </c:pt>
                <c:pt idx="19659">
                  <c:v>1.5966386554621698E-2</c:v>
                </c:pt>
                <c:pt idx="19660">
                  <c:v>1.5966386554621698E-2</c:v>
                </c:pt>
                <c:pt idx="19661">
                  <c:v>1.5966386554621698E-2</c:v>
                </c:pt>
                <c:pt idx="19662">
                  <c:v>1.5966386554621698E-2</c:v>
                </c:pt>
                <c:pt idx="19663">
                  <c:v>1.5966386554621698E-2</c:v>
                </c:pt>
                <c:pt idx="19664">
                  <c:v>1.5966386554621698E-2</c:v>
                </c:pt>
                <c:pt idx="19665">
                  <c:v>1.5966386554621698E-2</c:v>
                </c:pt>
                <c:pt idx="19666">
                  <c:v>1.5966386554621698E-2</c:v>
                </c:pt>
                <c:pt idx="19667">
                  <c:v>1.5966386554621698E-2</c:v>
                </c:pt>
                <c:pt idx="19668">
                  <c:v>1.5966386554621698E-2</c:v>
                </c:pt>
                <c:pt idx="19669">
                  <c:v>1.5966386554621698E-2</c:v>
                </c:pt>
                <c:pt idx="19670">
                  <c:v>1.5966386554621698E-2</c:v>
                </c:pt>
                <c:pt idx="19671">
                  <c:v>1.5966386554621698E-2</c:v>
                </c:pt>
                <c:pt idx="19672">
                  <c:v>1.5966386554621698E-2</c:v>
                </c:pt>
                <c:pt idx="19673">
                  <c:v>1.5966386554621698E-2</c:v>
                </c:pt>
                <c:pt idx="19674">
                  <c:v>1.5966386554621698E-2</c:v>
                </c:pt>
                <c:pt idx="19675">
                  <c:v>1.5966386554621698E-2</c:v>
                </c:pt>
                <c:pt idx="19676">
                  <c:v>1.5966386554621698E-2</c:v>
                </c:pt>
                <c:pt idx="19677">
                  <c:v>1.5966386554621698E-2</c:v>
                </c:pt>
                <c:pt idx="19678">
                  <c:v>1.5966386554621698E-2</c:v>
                </c:pt>
                <c:pt idx="19679">
                  <c:v>1.5966386554621698E-2</c:v>
                </c:pt>
                <c:pt idx="19680">
                  <c:v>1.6806722689075501E-2</c:v>
                </c:pt>
                <c:pt idx="19681">
                  <c:v>1.6806722689075501E-2</c:v>
                </c:pt>
                <c:pt idx="19682">
                  <c:v>1.76470588235293E-2</c:v>
                </c:pt>
                <c:pt idx="19683">
                  <c:v>1.76470588235293E-2</c:v>
                </c:pt>
                <c:pt idx="19684">
                  <c:v>1.76470588235293E-2</c:v>
                </c:pt>
                <c:pt idx="19685">
                  <c:v>1.76470588235293E-2</c:v>
                </c:pt>
                <c:pt idx="19686">
                  <c:v>1.76470588235293E-2</c:v>
                </c:pt>
                <c:pt idx="19687">
                  <c:v>1.76470588235293E-2</c:v>
                </c:pt>
                <c:pt idx="19688">
                  <c:v>1.76470588235293E-2</c:v>
                </c:pt>
                <c:pt idx="19689">
                  <c:v>1.76470588235293E-2</c:v>
                </c:pt>
                <c:pt idx="19690">
                  <c:v>1.76470588235293E-2</c:v>
                </c:pt>
                <c:pt idx="19691">
                  <c:v>1.76470588235293E-2</c:v>
                </c:pt>
                <c:pt idx="19692">
                  <c:v>1.76470588235293E-2</c:v>
                </c:pt>
                <c:pt idx="19693">
                  <c:v>1.76470588235293E-2</c:v>
                </c:pt>
                <c:pt idx="19694">
                  <c:v>1.76470588235293E-2</c:v>
                </c:pt>
                <c:pt idx="19695">
                  <c:v>1.76470588235293E-2</c:v>
                </c:pt>
                <c:pt idx="19696">
                  <c:v>1.76470588235293E-2</c:v>
                </c:pt>
                <c:pt idx="19697">
                  <c:v>1.76470588235293E-2</c:v>
                </c:pt>
                <c:pt idx="19698">
                  <c:v>1.76470588235293E-2</c:v>
                </c:pt>
                <c:pt idx="19699">
                  <c:v>1.76470588235293E-2</c:v>
                </c:pt>
                <c:pt idx="19700">
                  <c:v>1.76470588235293E-2</c:v>
                </c:pt>
                <c:pt idx="19701">
                  <c:v>1.76470588235293E-2</c:v>
                </c:pt>
                <c:pt idx="19702">
                  <c:v>1.76470588235293E-2</c:v>
                </c:pt>
                <c:pt idx="19703">
                  <c:v>1.76470588235293E-2</c:v>
                </c:pt>
                <c:pt idx="19704">
                  <c:v>1.76470588235293E-2</c:v>
                </c:pt>
                <c:pt idx="19705">
                  <c:v>1.76470588235293E-2</c:v>
                </c:pt>
                <c:pt idx="19706">
                  <c:v>1.76470588235293E-2</c:v>
                </c:pt>
                <c:pt idx="19707">
                  <c:v>1.76470588235293E-2</c:v>
                </c:pt>
                <c:pt idx="19708">
                  <c:v>1.76470588235293E-2</c:v>
                </c:pt>
                <c:pt idx="19709">
                  <c:v>1.76470588235293E-2</c:v>
                </c:pt>
                <c:pt idx="19710">
                  <c:v>1.76470588235293E-2</c:v>
                </c:pt>
                <c:pt idx="19711">
                  <c:v>1.76470588235293E-2</c:v>
                </c:pt>
                <c:pt idx="19712">
                  <c:v>1.76470588235293E-2</c:v>
                </c:pt>
                <c:pt idx="19713">
                  <c:v>1.76470588235293E-2</c:v>
                </c:pt>
                <c:pt idx="19714">
                  <c:v>1.76470588235293E-2</c:v>
                </c:pt>
                <c:pt idx="19715">
                  <c:v>1.76470588235293E-2</c:v>
                </c:pt>
                <c:pt idx="19716">
                  <c:v>1.76470588235293E-2</c:v>
                </c:pt>
                <c:pt idx="19717">
                  <c:v>1.76470588235293E-2</c:v>
                </c:pt>
                <c:pt idx="19718">
                  <c:v>1.76470588235293E-2</c:v>
                </c:pt>
                <c:pt idx="19719">
                  <c:v>1.84873949579831E-2</c:v>
                </c:pt>
                <c:pt idx="19720">
                  <c:v>1.84873949579831E-2</c:v>
                </c:pt>
                <c:pt idx="19721">
                  <c:v>1.84873949579831E-2</c:v>
                </c:pt>
                <c:pt idx="19722">
                  <c:v>1.84873949579831E-2</c:v>
                </c:pt>
                <c:pt idx="19723">
                  <c:v>1.84873949579831E-2</c:v>
                </c:pt>
                <c:pt idx="19724">
                  <c:v>1.76470588235293E-2</c:v>
                </c:pt>
                <c:pt idx="19725">
                  <c:v>1.76470588235293E-2</c:v>
                </c:pt>
                <c:pt idx="19726">
                  <c:v>1.76470588235293E-2</c:v>
                </c:pt>
                <c:pt idx="19727">
                  <c:v>1.84873949579831E-2</c:v>
                </c:pt>
                <c:pt idx="19728">
                  <c:v>1.84873949579831E-2</c:v>
                </c:pt>
                <c:pt idx="19729">
                  <c:v>1.84873949579831E-2</c:v>
                </c:pt>
                <c:pt idx="19730">
                  <c:v>1.84873949579831E-2</c:v>
                </c:pt>
                <c:pt idx="19731">
                  <c:v>1.84873949579831E-2</c:v>
                </c:pt>
                <c:pt idx="19732">
                  <c:v>1.84873949579831E-2</c:v>
                </c:pt>
                <c:pt idx="19733">
                  <c:v>1.84873949579831E-2</c:v>
                </c:pt>
                <c:pt idx="19734">
                  <c:v>1.84873949579831E-2</c:v>
                </c:pt>
                <c:pt idx="19735">
                  <c:v>1.84873949579831E-2</c:v>
                </c:pt>
                <c:pt idx="19736">
                  <c:v>1.84873949579831E-2</c:v>
                </c:pt>
                <c:pt idx="19737">
                  <c:v>1.84873949579831E-2</c:v>
                </c:pt>
                <c:pt idx="19738">
                  <c:v>1.84873949579831E-2</c:v>
                </c:pt>
                <c:pt idx="19739">
                  <c:v>1.84873949579831E-2</c:v>
                </c:pt>
                <c:pt idx="19740">
                  <c:v>1.84873949579831E-2</c:v>
                </c:pt>
                <c:pt idx="19741">
                  <c:v>1.84873949579831E-2</c:v>
                </c:pt>
                <c:pt idx="19742">
                  <c:v>1.76470588235293E-2</c:v>
                </c:pt>
                <c:pt idx="19743">
                  <c:v>1.76470588235293E-2</c:v>
                </c:pt>
                <c:pt idx="19744">
                  <c:v>1.76470588235293E-2</c:v>
                </c:pt>
                <c:pt idx="19745">
                  <c:v>1.84873949579831E-2</c:v>
                </c:pt>
                <c:pt idx="19746">
                  <c:v>1.84873949579831E-2</c:v>
                </c:pt>
                <c:pt idx="19747">
                  <c:v>1.84873949579831E-2</c:v>
                </c:pt>
                <c:pt idx="19748">
                  <c:v>1.84873949579831E-2</c:v>
                </c:pt>
                <c:pt idx="19749">
                  <c:v>1.84873949579831E-2</c:v>
                </c:pt>
                <c:pt idx="19750">
                  <c:v>1.84873949579831E-2</c:v>
                </c:pt>
                <c:pt idx="19751">
                  <c:v>1.84873949579831E-2</c:v>
                </c:pt>
                <c:pt idx="19752">
                  <c:v>1.84873949579831E-2</c:v>
                </c:pt>
                <c:pt idx="19753">
                  <c:v>1.84873949579831E-2</c:v>
                </c:pt>
                <c:pt idx="19754">
                  <c:v>1.84873949579831E-2</c:v>
                </c:pt>
                <c:pt idx="19755">
                  <c:v>1.84873949579831E-2</c:v>
                </c:pt>
                <c:pt idx="19756">
                  <c:v>1.84873949579831E-2</c:v>
                </c:pt>
                <c:pt idx="19757">
                  <c:v>1.84873949579831E-2</c:v>
                </c:pt>
                <c:pt idx="19758">
                  <c:v>1.84873949579831E-2</c:v>
                </c:pt>
                <c:pt idx="19759">
                  <c:v>1.84873949579831E-2</c:v>
                </c:pt>
                <c:pt idx="19760">
                  <c:v>1.84873949579831E-2</c:v>
                </c:pt>
                <c:pt idx="19761">
                  <c:v>1.84873949579831E-2</c:v>
                </c:pt>
                <c:pt idx="19762">
                  <c:v>1.84873949579831E-2</c:v>
                </c:pt>
                <c:pt idx="19763">
                  <c:v>1.84873949579831E-2</c:v>
                </c:pt>
                <c:pt idx="19764">
                  <c:v>1.84873949579831E-2</c:v>
                </c:pt>
                <c:pt idx="19765">
                  <c:v>1.84873949579831E-2</c:v>
                </c:pt>
                <c:pt idx="19766">
                  <c:v>1.84873949579831E-2</c:v>
                </c:pt>
                <c:pt idx="19767">
                  <c:v>1.84873949579831E-2</c:v>
                </c:pt>
                <c:pt idx="19768">
                  <c:v>1.84873949579831E-2</c:v>
                </c:pt>
                <c:pt idx="19769">
                  <c:v>1.84873949579831E-2</c:v>
                </c:pt>
                <c:pt idx="19770">
                  <c:v>1.84873949579831E-2</c:v>
                </c:pt>
                <c:pt idx="19771">
                  <c:v>1.84873949579831E-2</c:v>
                </c:pt>
                <c:pt idx="19772">
                  <c:v>1.84873949579831E-2</c:v>
                </c:pt>
                <c:pt idx="19773">
                  <c:v>1.84873949579831E-2</c:v>
                </c:pt>
                <c:pt idx="19774">
                  <c:v>1.84873949579831E-2</c:v>
                </c:pt>
                <c:pt idx="19775">
                  <c:v>1.84873949579831E-2</c:v>
                </c:pt>
                <c:pt idx="19776">
                  <c:v>1.84873949579831E-2</c:v>
                </c:pt>
                <c:pt idx="19777">
                  <c:v>1.76470588235293E-2</c:v>
                </c:pt>
                <c:pt idx="19778">
                  <c:v>1.76470588235293E-2</c:v>
                </c:pt>
                <c:pt idx="19779">
                  <c:v>1.76470588235293E-2</c:v>
                </c:pt>
                <c:pt idx="19780">
                  <c:v>1.76470588235293E-2</c:v>
                </c:pt>
                <c:pt idx="19781">
                  <c:v>1.76470588235293E-2</c:v>
                </c:pt>
                <c:pt idx="19782">
                  <c:v>1.76470588235293E-2</c:v>
                </c:pt>
                <c:pt idx="19783">
                  <c:v>1.76470588235293E-2</c:v>
                </c:pt>
                <c:pt idx="19784">
                  <c:v>1.76470588235293E-2</c:v>
                </c:pt>
                <c:pt idx="19785">
                  <c:v>1.76470588235293E-2</c:v>
                </c:pt>
                <c:pt idx="19786">
                  <c:v>1.76470588235293E-2</c:v>
                </c:pt>
                <c:pt idx="19787">
                  <c:v>1.76470588235293E-2</c:v>
                </c:pt>
                <c:pt idx="19788">
                  <c:v>1.76470588235293E-2</c:v>
                </c:pt>
                <c:pt idx="19789">
                  <c:v>1.76470588235293E-2</c:v>
                </c:pt>
                <c:pt idx="19790">
                  <c:v>1.76470588235293E-2</c:v>
                </c:pt>
                <c:pt idx="19791">
                  <c:v>1.76470588235293E-2</c:v>
                </c:pt>
                <c:pt idx="19792">
                  <c:v>1.76470588235293E-2</c:v>
                </c:pt>
                <c:pt idx="19793">
                  <c:v>1.76470588235293E-2</c:v>
                </c:pt>
                <c:pt idx="19794">
                  <c:v>1.76470588235293E-2</c:v>
                </c:pt>
                <c:pt idx="19795">
                  <c:v>1.76470588235293E-2</c:v>
                </c:pt>
                <c:pt idx="19796">
                  <c:v>1.76470588235293E-2</c:v>
                </c:pt>
                <c:pt idx="19797">
                  <c:v>1.76470588235293E-2</c:v>
                </c:pt>
                <c:pt idx="19798">
                  <c:v>1.76470588235293E-2</c:v>
                </c:pt>
                <c:pt idx="19799">
                  <c:v>1.76470588235293E-2</c:v>
                </c:pt>
                <c:pt idx="19800">
                  <c:v>1.76470588235293E-2</c:v>
                </c:pt>
                <c:pt idx="19801">
                  <c:v>1.76470588235293E-2</c:v>
                </c:pt>
                <c:pt idx="19802">
                  <c:v>1.76470588235293E-2</c:v>
                </c:pt>
                <c:pt idx="19803">
                  <c:v>1.76470588235293E-2</c:v>
                </c:pt>
                <c:pt idx="19804">
                  <c:v>1.76470588235293E-2</c:v>
                </c:pt>
                <c:pt idx="19805">
                  <c:v>1.76470588235293E-2</c:v>
                </c:pt>
                <c:pt idx="19806">
                  <c:v>1.76470588235293E-2</c:v>
                </c:pt>
                <c:pt idx="19807">
                  <c:v>1.76470588235293E-2</c:v>
                </c:pt>
                <c:pt idx="19808">
                  <c:v>1.76470588235293E-2</c:v>
                </c:pt>
                <c:pt idx="19809">
                  <c:v>1.76470588235293E-2</c:v>
                </c:pt>
                <c:pt idx="19810">
                  <c:v>1.76470588235293E-2</c:v>
                </c:pt>
                <c:pt idx="19811">
                  <c:v>1.76470588235293E-2</c:v>
                </c:pt>
                <c:pt idx="19812">
                  <c:v>1.76470588235293E-2</c:v>
                </c:pt>
                <c:pt idx="19813">
                  <c:v>1.76470588235293E-2</c:v>
                </c:pt>
                <c:pt idx="19814">
                  <c:v>1.76470588235293E-2</c:v>
                </c:pt>
                <c:pt idx="19815">
                  <c:v>1.76470588235293E-2</c:v>
                </c:pt>
                <c:pt idx="19816">
                  <c:v>1.6806722689075501E-2</c:v>
                </c:pt>
                <c:pt idx="19817">
                  <c:v>1.6806722689075501E-2</c:v>
                </c:pt>
                <c:pt idx="19818">
                  <c:v>1.6806722689075501E-2</c:v>
                </c:pt>
                <c:pt idx="19819">
                  <c:v>1.6806722689075501E-2</c:v>
                </c:pt>
                <c:pt idx="19820">
                  <c:v>1.6806722689075501E-2</c:v>
                </c:pt>
                <c:pt idx="19821">
                  <c:v>1.6806722689075501E-2</c:v>
                </c:pt>
                <c:pt idx="19822">
                  <c:v>1.6806722689075501E-2</c:v>
                </c:pt>
                <c:pt idx="19823">
                  <c:v>1.6806722689075501E-2</c:v>
                </c:pt>
                <c:pt idx="19824">
                  <c:v>1.6806722689075501E-2</c:v>
                </c:pt>
                <c:pt idx="19825">
                  <c:v>1.6806722689075501E-2</c:v>
                </c:pt>
                <c:pt idx="19826">
                  <c:v>1.6806722689075501E-2</c:v>
                </c:pt>
                <c:pt idx="19827">
                  <c:v>1.6806722689075501E-2</c:v>
                </c:pt>
                <c:pt idx="19828">
                  <c:v>1.6806722689075501E-2</c:v>
                </c:pt>
                <c:pt idx="19829">
                  <c:v>1.6806722689075501E-2</c:v>
                </c:pt>
                <c:pt idx="19830">
                  <c:v>1.6806722689075501E-2</c:v>
                </c:pt>
                <c:pt idx="19831">
                  <c:v>1.6806722689075501E-2</c:v>
                </c:pt>
                <c:pt idx="19832">
                  <c:v>1.6806722689075501E-2</c:v>
                </c:pt>
                <c:pt idx="19833">
                  <c:v>1.5966386554621698E-2</c:v>
                </c:pt>
                <c:pt idx="19834">
                  <c:v>1.5966386554621698E-2</c:v>
                </c:pt>
                <c:pt idx="19835">
                  <c:v>1.5966386554621698E-2</c:v>
                </c:pt>
                <c:pt idx="19836">
                  <c:v>1.6806722689075501E-2</c:v>
                </c:pt>
                <c:pt idx="19837">
                  <c:v>1.76470588235293E-2</c:v>
                </c:pt>
                <c:pt idx="19838">
                  <c:v>1.76470588235293E-2</c:v>
                </c:pt>
                <c:pt idx="19839">
                  <c:v>1.84873949579831E-2</c:v>
                </c:pt>
                <c:pt idx="19840">
                  <c:v>1.84873949579831E-2</c:v>
                </c:pt>
                <c:pt idx="19841">
                  <c:v>1.84873949579831E-2</c:v>
                </c:pt>
                <c:pt idx="19842">
                  <c:v>1.84873949579831E-2</c:v>
                </c:pt>
                <c:pt idx="19843">
                  <c:v>1.84873949579831E-2</c:v>
                </c:pt>
                <c:pt idx="19844">
                  <c:v>1.84873949579831E-2</c:v>
                </c:pt>
                <c:pt idx="19845">
                  <c:v>1.84873949579831E-2</c:v>
                </c:pt>
                <c:pt idx="19846">
                  <c:v>1.84873949579831E-2</c:v>
                </c:pt>
                <c:pt idx="19847">
                  <c:v>1.84873949579831E-2</c:v>
                </c:pt>
                <c:pt idx="19848">
                  <c:v>1.84873949579831E-2</c:v>
                </c:pt>
                <c:pt idx="19849">
                  <c:v>1.84873949579831E-2</c:v>
                </c:pt>
                <c:pt idx="19850">
                  <c:v>1.84873949579831E-2</c:v>
                </c:pt>
                <c:pt idx="19851">
                  <c:v>1.84873949579831E-2</c:v>
                </c:pt>
                <c:pt idx="19852">
                  <c:v>1.84873949579831E-2</c:v>
                </c:pt>
                <c:pt idx="19853">
                  <c:v>1.84873949579831E-2</c:v>
                </c:pt>
                <c:pt idx="19854">
                  <c:v>1.84873949579831E-2</c:v>
                </c:pt>
                <c:pt idx="19855">
                  <c:v>1.84873949579831E-2</c:v>
                </c:pt>
                <c:pt idx="19856">
                  <c:v>1.84873949579831E-2</c:v>
                </c:pt>
                <c:pt idx="19857">
                  <c:v>1.84873949579831E-2</c:v>
                </c:pt>
                <c:pt idx="19858">
                  <c:v>1.84873949579831E-2</c:v>
                </c:pt>
                <c:pt idx="19859">
                  <c:v>1.84873949579831E-2</c:v>
                </c:pt>
                <c:pt idx="19860">
                  <c:v>1.84873949579831E-2</c:v>
                </c:pt>
                <c:pt idx="19861">
                  <c:v>1.84873949579831E-2</c:v>
                </c:pt>
                <c:pt idx="19862">
                  <c:v>1.84873949579831E-2</c:v>
                </c:pt>
                <c:pt idx="19863">
                  <c:v>1.84873949579831E-2</c:v>
                </c:pt>
                <c:pt idx="19864">
                  <c:v>1.84873949579831E-2</c:v>
                </c:pt>
                <c:pt idx="19865">
                  <c:v>1.84873949579831E-2</c:v>
                </c:pt>
                <c:pt idx="19866">
                  <c:v>1.84873949579831E-2</c:v>
                </c:pt>
                <c:pt idx="19867">
                  <c:v>1.84873949579831E-2</c:v>
                </c:pt>
                <c:pt idx="19868">
                  <c:v>1.84873949579831E-2</c:v>
                </c:pt>
                <c:pt idx="19869">
                  <c:v>1.84873949579831E-2</c:v>
                </c:pt>
                <c:pt idx="19870">
                  <c:v>1.84873949579831E-2</c:v>
                </c:pt>
                <c:pt idx="19871">
                  <c:v>1.84873949579831E-2</c:v>
                </c:pt>
                <c:pt idx="19872">
                  <c:v>1.84873949579831E-2</c:v>
                </c:pt>
                <c:pt idx="19873">
                  <c:v>1.84873949579831E-2</c:v>
                </c:pt>
                <c:pt idx="19874">
                  <c:v>1.84873949579831E-2</c:v>
                </c:pt>
                <c:pt idx="19875">
                  <c:v>1.84873949579831E-2</c:v>
                </c:pt>
                <c:pt idx="19876">
                  <c:v>1.84873949579831E-2</c:v>
                </c:pt>
                <c:pt idx="19877">
                  <c:v>1.84873949579831E-2</c:v>
                </c:pt>
                <c:pt idx="19878">
                  <c:v>1.84873949579831E-2</c:v>
                </c:pt>
                <c:pt idx="19879">
                  <c:v>1.84873949579831E-2</c:v>
                </c:pt>
                <c:pt idx="19880">
                  <c:v>1.84873949579831E-2</c:v>
                </c:pt>
                <c:pt idx="19881">
                  <c:v>1.84873949579831E-2</c:v>
                </c:pt>
                <c:pt idx="19882">
                  <c:v>1.84873949579831E-2</c:v>
                </c:pt>
                <c:pt idx="19883">
                  <c:v>1.84873949579831E-2</c:v>
                </c:pt>
                <c:pt idx="19884">
                  <c:v>1.84873949579831E-2</c:v>
                </c:pt>
                <c:pt idx="19885">
                  <c:v>1.84873949579831E-2</c:v>
                </c:pt>
                <c:pt idx="19886">
                  <c:v>1.84873949579831E-2</c:v>
                </c:pt>
                <c:pt idx="19887">
                  <c:v>1.84873949579831E-2</c:v>
                </c:pt>
                <c:pt idx="19888">
                  <c:v>1.84873949579831E-2</c:v>
                </c:pt>
                <c:pt idx="19889">
                  <c:v>1.84873949579831E-2</c:v>
                </c:pt>
                <c:pt idx="19890">
                  <c:v>1.84873949579831E-2</c:v>
                </c:pt>
                <c:pt idx="19891">
                  <c:v>1.84873949579831E-2</c:v>
                </c:pt>
                <c:pt idx="19892">
                  <c:v>1.84873949579831E-2</c:v>
                </c:pt>
                <c:pt idx="19893">
                  <c:v>1.84873949579831E-2</c:v>
                </c:pt>
                <c:pt idx="19894">
                  <c:v>1.84873949579831E-2</c:v>
                </c:pt>
                <c:pt idx="19895">
                  <c:v>1.9327731092436899E-2</c:v>
                </c:pt>
                <c:pt idx="19896">
                  <c:v>1.9327731092436899E-2</c:v>
                </c:pt>
                <c:pt idx="19897">
                  <c:v>1.9327731092436899E-2</c:v>
                </c:pt>
                <c:pt idx="19898">
                  <c:v>1.9327731092436899E-2</c:v>
                </c:pt>
                <c:pt idx="19899">
                  <c:v>1.9327731092436899E-2</c:v>
                </c:pt>
                <c:pt idx="19900">
                  <c:v>1.9327731092436899E-2</c:v>
                </c:pt>
                <c:pt idx="19901">
                  <c:v>1.9327731092436899E-2</c:v>
                </c:pt>
                <c:pt idx="19902">
                  <c:v>1.9327731092436899E-2</c:v>
                </c:pt>
                <c:pt idx="19903">
                  <c:v>1.9327731092436899E-2</c:v>
                </c:pt>
                <c:pt idx="19904">
                  <c:v>1.9327731092436899E-2</c:v>
                </c:pt>
                <c:pt idx="19905">
                  <c:v>1.9327731092436899E-2</c:v>
                </c:pt>
                <c:pt idx="19906">
                  <c:v>1.9327731092436899E-2</c:v>
                </c:pt>
                <c:pt idx="19907">
                  <c:v>1.9327731092436899E-2</c:v>
                </c:pt>
                <c:pt idx="19908">
                  <c:v>1.9327731092436899E-2</c:v>
                </c:pt>
                <c:pt idx="19909">
                  <c:v>1.9327731092436899E-2</c:v>
                </c:pt>
                <c:pt idx="19910">
                  <c:v>1.9327731092436899E-2</c:v>
                </c:pt>
                <c:pt idx="19911">
                  <c:v>1.9327731092436899E-2</c:v>
                </c:pt>
                <c:pt idx="19912">
                  <c:v>1.9327731092436899E-2</c:v>
                </c:pt>
                <c:pt idx="19913">
                  <c:v>1.9327731092436899E-2</c:v>
                </c:pt>
                <c:pt idx="19914">
                  <c:v>1.9327731092436899E-2</c:v>
                </c:pt>
                <c:pt idx="19915">
                  <c:v>1.9327731092436899E-2</c:v>
                </c:pt>
                <c:pt idx="19916">
                  <c:v>1.9327731092436899E-2</c:v>
                </c:pt>
                <c:pt idx="19917">
                  <c:v>1.9327731092436899E-2</c:v>
                </c:pt>
                <c:pt idx="19918">
                  <c:v>1.84873949579831E-2</c:v>
                </c:pt>
                <c:pt idx="19919">
                  <c:v>1.84873949579831E-2</c:v>
                </c:pt>
                <c:pt idx="19920">
                  <c:v>1.84873949579831E-2</c:v>
                </c:pt>
                <c:pt idx="19921">
                  <c:v>1.84873949579831E-2</c:v>
                </c:pt>
                <c:pt idx="19922">
                  <c:v>1.84873949579831E-2</c:v>
                </c:pt>
                <c:pt idx="19923">
                  <c:v>1.84873949579831E-2</c:v>
                </c:pt>
                <c:pt idx="19924">
                  <c:v>1.84873949579831E-2</c:v>
                </c:pt>
                <c:pt idx="19925">
                  <c:v>1.84873949579831E-2</c:v>
                </c:pt>
                <c:pt idx="19926">
                  <c:v>1.84873949579831E-2</c:v>
                </c:pt>
                <c:pt idx="19927">
                  <c:v>1.84873949579831E-2</c:v>
                </c:pt>
                <c:pt idx="19928">
                  <c:v>1.84873949579831E-2</c:v>
                </c:pt>
                <c:pt idx="19929">
                  <c:v>1.84873949579831E-2</c:v>
                </c:pt>
                <c:pt idx="19930">
                  <c:v>1.84873949579831E-2</c:v>
                </c:pt>
                <c:pt idx="19931">
                  <c:v>1.84873949579831E-2</c:v>
                </c:pt>
                <c:pt idx="19932">
                  <c:v>1.84873949579831E-2</c:v>
                </c:pt>
                <c:pt idx="19933">
                  <c:v>1.84873949579831E-2</c:v>
                </c:pt>
                <c:pt idx="19934">
                  <c:v>1.9327731092436899E-2</c:v>
                </c:pt>
                <c:pt idx="19935">
                  <c:v>1.9327731092436899E-2</c:v>
                </c:pt>
                <c:pt idx="19936">
                  <c:v>1.9327731092436899E-2</c:v>
                </c:pt>
                <c:pt idx="19937">
                  <c:v>1.9327731092436899E-2</c:v>
                </c:pt>
                <c:pt idx="19938">
                  <c:v>1.9327731092436899E-2</c:v>
                </c:pt>
                <c:pt idx="19939">
                  <c:v>1.9327731092436899E-2</c:v>
                </c:pt>
                <c:pt idx="19940">
                  <c:v>1.9327731092436899E-2</c:v>
                </c:pt>
                <c:pt idx="19941">
                  <c:v>1.9327731092436899E-2</c:v>
                </c:pt>
                <c:pt idx="19942">
                  <c:v>1.9327731092436899E-2</c:v>
                </c:pt>
                <c:pt idx="19943">
                  <c:v>1.9327731092436899E-2</c:v>
                </c:pt>
                <c:pt idx="19944">
                  <c:v>1.9327731092436899E-2</c:v>
                </c:pt>
                <c:pt idx="19945">
                  <c:v>1.9327731092436899E-2</c:v>
                </c:pt>
                <c:pt idx="19946">
                  <c:v>1.9327731092436899E-2</c:v>
                </c:pt>
                <c:pt idx="19947">
                  <c:v>1.9327731092436899E-2</c:v>
                </c:pt>
                <c:pt idx="19948">
                  <c:v>1.9327731092436899E-2</c:v>
                </c:pt>
                <c:pt idx="19949">
                  <c:v>1.9327731092436899E-2</c:v>
                </c:pt>
                <c:pt idx="19950">
                  <c:v>1.9327731092436899E-2</c:v>
                </c:pt>
                <c:pt idx="19951">
                  <c:v>1.9327731092436899E-2</c:v>
                </c:pt>
                <c:pt idx="19952">
                  <c:v>1.9327731092436899E-2</c:v>
                </c:pt>
                <c:pt idx="19953">
                  <c:v>1.9327731092436899E-2</c:v>
                </c:pt>
                <c:pt idx="19954">
                  <c:v>1.9327731092436899E-2</c:v>
                </c:pt>
                <c:pt idx="19955">
                  <c:v>1.9327731092436899E-2</c:v>
                </c:pt>
                <c:pt idx="19956">
                  <c:v>1.9327731092436899E-2</c:v>
                </c:pt>
                <c:pt idx="19957">
                  <c:v>1.9327731092436899E-2</c:v>
                </c:pt>
                <c:pt idx="19958">
                  <c:v>1.9327731092436899E-2</c:v>
                </c:pt>
                <c:pt idx="19959">
                  <c:v>1.84873949579831E-2</c:v>
                </c:pt>
                <c:pt idx="19960">
                  <c:v>1.84873949579831E-2</c:v>
                </c:pt>
                <c:pt idx="19961">
                  <c:v>1.84873949579831E-2</c:v>
                </c:pt>
                <c:pt idx="19962">
                  <c:v>1.84873949579831E-2</c:v>
                </c:pt>
                <c:pt idx="19963">
                  <c:v>1.84873949579831E-2</c:v>
                </c:pt>
                <c:pt idx="19964">
                  <c:v>1.84873949579831E-2</c:v>
                </c:pt>
                <c:pt idx="19965">
                  <c:v>1.84873949579831E-2</c:v>
                </c:pt>
                <c:pt idx="19966">
                  <c:v>1.84873949579831E-2</c:v>
                </c:pt>
                <c:pt idx="19967">
                  <c:v>1.84873949579831E-2</c:v>
                </c:pt>
                <c:pt idx="19968">
                  <c:v>1.84873949579831E-2</c:v>
                </c:pt>
                <c:pt idx="19969">
                  <c:v>1.84873949579831E-2</c:v>
                </c:pt>
                <c:pt idx="19970">
                  <c:v>1.84873949579831E-2</c:v>
                </c:pt>
                <c:pt idx="19971">
                  <c:v>1.84873949579831E-2</c:v>
                </c:pt>
                <c:pt idx="19972">
                  <c:v>1.84873949579831E-2</c:v>
                </c:pt>
                <c:pt idx="19973">
                  <c:v>1.84873949579831E-2</c:v>
                </c:pt>
                <c:pt idx="19974">
                  <c:v>1.84873949579831E-2</c:v>
                </c:pt>
                <c:pt idx="19975">
                  <c:v>1.84873949579831E-2</c:v>
                </c:pt>
                <c:pt idx="19976">
                  <c:v>1.84873949579831E-2</c:v>
                </c:pt>
                <c:pt idx="19977">
                  <c:v>1.84873949579831E-2</c:v>
                </c:pt>
                <c:pt idx="19978">
                  <c:v>1.84873949579831E-2</c:v>
                </c:pt>
                <c:pt idx="19979">
                  <c:v>1.84873949579831E-2</c:v>
                </c:pt>
                <c:pt idx="19980">
                  <c:v>1.84873949579831E-2</c:v>
                </c:pt>
                <c:pt idx="19981">
                  <c:v>1.84873949579831E-2</c:v>
                </c:pt>
                <c:pt idx="19982">
                  <c:v>1.84873949579831E-2</c:v>
                </c:pt>
                <c:pt idx="19983">
                  <c:v>1.84873949579831E-2</c:v>
                </c:pt>
                <c:pt idx="19984">
                  <c:v>1.84873949579831E-2</c:v>
                </c:pt>
                <c:pt idx="19985">
                  <c:v>1.84873949579831E-2</c:v>
                </c:pt>
                <c:pt idx="19986">
                  <c:v>1.84873949579831E-2</c:v>
                </c:pt>
                <c:pt idx="19987">
                  <c:v>1.84873949579831E-2</c:v>
                </c:pt>
                <c:pt idx="19988">
                  <c:v>1.84873949579831E-2</c:v>
                </c:pt>
                <c:pt idx="19989">
                  <c:v>1.84873949579831E-2</c:v>
                </c:pt>
                <c:pt idx="19990">
                  <c:v>1.84873949579831E-2</c:v>
                </c:pt>
                <c:pt idx="19991">
                  <c:v>1.84873949579831E-2</c:v>
                </c:pt>
                <c:pt idx="19992">
                  <c:v>1.84873949579831E-2</c:v>
                </c:pt>
                <c:pt idx="19993">
                  <c:v>1.84873949579831E-2</c:v>
                </c:pt>
                <c:pt idx="19994">
                  <c:v>1.84873949579831E-2</c:v>
                </c:pt>
                <c:pt idx="19995">
                  <c:v>1.84873949579831E-2</c:v>
                </c:pt>
                <c:pt idx="19996">
                  <c:v>1.84873949579831E-2</c:v>
                </c:pt>
                <c:pt idx="19997">
                  <c:v>1.84873949579831E-2</c:v>
                </c:pt>
                <c:pt idx="19998">
                  <c:v>1.84873949579831E-2</c:v>
                </c:pt>
                <c:pt idx="19999">
                  <c:v>1.84873949579831E-2</c:v>
                </c:pt>
                <c:pt idx="20000">
                  <c:v>1.84873949579831E-2</c:v>
                </c:pt>
                <c:pt idx="20001">
                  <c:v>1.84873949579831E-2</c:v>
                </c:pt>
                <c:pt idx="20002">
                  <c:v>1.84873949579831E-2</c:v>
                </c:pt>
                <c:pt idx="20003">
                  <c:v>1.84873949579831E-2</c:v>
                </c:pt>
                <c:pt idx="20004">
                  <c:v>1.84873949579831E-2</c:v>
                </c:pt>
                <c:pt idx="20005">
                  <c:v>1.84873949579831E-2</c:v>
                </c:pt>
                <c:pt idx="20006">
                  <c:v>1.84873949579831E-2</c:v>
                </c:pt>
                <c:pt idx="20007">
                  <c:v>1.84873949579831E-2</c:v>
                </c:pt>
                <c:pt idx="20008">
                  <c:v>1.84873949579831E-2</c:v>
                </c:pt>
                <c:pt idx="20009">
                  <c:v>1.84873949579831E-2</c:v>
                </c:pt>
                <c:pt idx="20010">
                  <c:v>1.84873949579831E-2</c:v>
                </c:pt>
                <c:pt idx="20011">
                  <c:v>1.84873949579831E-2</c:v>
                </c:pt>
                <c:pt idx="20012">
                  <c:v>1.84873949579831E-2</c:v>
                </c:pt>
                <c:pt idx="20013">
                  <c:v>1.84873949579831E-2</c:v>
                </c:pt>
                <c:pt idx="20014">
                  <c:v>1.84873949579831E-2</c:v>
                </c:pt>
                <c:pt idx="20015">
                  <c:v>1.84873949579831E-2</c:v>
                </c:pt>
                <c:pt idx="20016">
                  <c:v>1.84873949579831E-2</c:v>
                </c:pt>
                <c:pt idx="20017">
                  <c:v>1.84873949579831E-2</c:v>
                </c:pt>
                <c:pt idx="20018">
                  <c:v>1.84873949579831E-2</c:v>
                </c:pt>
                <c:pt idx="20019">
                  <c:v>1.84873949579831E-2</c:v>
                </c:pt>
                <c:pt idx="20020">
                  <c:v>1.84873949579831E-2</c:v>
                </c:pt>
                <c:pt idx="20021">
                  <c:v>1.84873949579831E-2</c:v>
                </c:pt>
                <c:pt idx="20022">
                  <c:v>1.84873949579831E-2</c:v>
                </c:pt>
                <c:pt idx="20023">
                  <c:v>1.84873949579831E-2</c:v>
                </c:pt>
                <c:pt idx="20024">
                  <c:v>1.84873949579831E-2</c:v>
                </c:pt>
                <c:pt idx="20025">
                  <c:v>1.84873949579831E-2</c:v>
                </c:pt>
                <c:pt idx="20026">
                  <c:v>1.84873949579831E-2</c:v>
                </c:pt>
                <c:pt idx="20027">
                  <c:v>1.84873949579831E-2</c:v>
                </c:pt>
                <c:pt idx="20028">
                  <c:v>1.84873949579831E-2</c:v>
                </c:pt>
                <c:pt idx="20029">
                  <c:v>1.84873949579831E-2</c:v>
                </c:pt>
                <c:pt idx="20030">
                  <c:v>1.84873949579831E-2</c:v>
                </c:pt>
                <c:pt idx="20031">
                  <c:v>1.84873949579831E-2</c:v>
                </c:pt>
                <c:pt idx="20032">
                  <c:v>1.84873949579831E-2</c:v>
                </c:pt>
                <c:pt idx="20033">
                  <c:v>1.84873949579831E-2</c:v>
                </c:pt>
                <c:pt idx="20034">
                  <c:v>1.84873949579831E-2</c:v>
                </c:pt>
                <c:pt idx="20035">
                  <c:v>1.84873949579831E-2</c:v>
                </c:pt>
                <c:pt idx="20036">
                  <c:v>1.84873949579831E-2</c:v>
                </c:pt>
                <c:pt idx="20037">
                  <c:v>1.84873949579831E-2</c:v>
                </c:pt>
                <c:pt idx="20038">
                  <c:v>1.84873949579831E-2</c:v>
                </c:pt>
                <c:pt idx="20039">
                  <c:v>1.84873949579831E-2</c:v>
                </c:pt>
                <c:pt idx="20040">
                  <c:v>1.84873949579831E-2</c:v>
                </c:pt>
                <c:pt idx="20041">
                  <c:v>1.84873949579831E-2</c:v>
                </c:pt>
                <c:pt idx="20042">
                  <c:v>1.84873949579831E-2</c:v>
                </c:pt>
                <c:pt idx="20043">
                  <c:v>1.84873949579831E-2</c:v>
                </c:pt>
                <c:pt idx="20044">
                  <c:v>1.84873949579831E-2</c:v>
                </c:pt>
                <c:pt idx="20045">
                  <c:v>1.84873949579831E-2</c:v>
                </c:pt>
                <c:pt idx="20046">
                  <c:v>1.84873949579831E-2</c:v>
                </c:pt>
                <c:pt idx="20047">
                  <c:v>1.84873949579831E-2</c:v>
                </c:pt>
                <c:pt idx="20048">
                  <c:v>1.84873949579831E-2</c:v>
                </c:pt>
                <c:pt idx="20049">
                  <c:v>1.84873949579831E-2</c:v>
                </c:pt>
                <c:pt idx="20050">
                  <c:v>1.84873949579831E-2</c:v>
                </c:pt>
                <c:pt idx="20051">
                  <c:v>1.84873949579831E-2</c:v>
                </c:pt>
                <c:pt idx="20052">
                  <c:v>1.84873949579831E-2</c:v>
                </c:pt>
                <c:pt idx="20053">
                  <c:v>1.84873949579831E-2</c:v>
                </c:pt>
                <c:pt idx="20054">
                  <c:v>1.84873949579831E-2</c:v>
                </c:pt>
                <c:pt idx="20055">
                  <c:v>1.84873949579831E-2</c:v>
                </c:pt>
                <c:pt idx="20056">
                  <c:v>1.84873949579831E-2</c:v>
                </c:pt>
                <c:pt idx="20057">
                  <c:v>1.84873949579831E-2</c:v>
                </c:pt>
                <c:pt idx="20058">
                  <c:v>1.84873949579831E-2</c:v>
                </c:pt>
                <c:pt idx="20059">
                  <c:v>1.84873949579831E-2</c:v>
                </c:pt>
                <c:pt idx="20060">
                  <c:v>1.84873949579831E-2</c:v>
                </c:pt>
                <c:pt idx="20061">
                  <c:v>1.84873949579831E-2</c:v>
                </c:pt>
                <c:pt idx="20062">
                  <c:v>1.84873949579831E-2</c:v>
                </c:pt>
                <c:pt idx="20063">
                  <c:v>1.84873949579831E-2</c:v>
                </c:pt>
                <c:pt idx="20064">
                  <c:v>1.84873949579831E-2</c:v>
                </c:pt>
                <c:pt idx="20065">
                  <c:v>1.84873949579831E-2</c:v>
                </c:pt>
                <c:pt idx="20066">
                  <c:v>1.84873949579831E-2</c:v>
                </c:pt>
                <c:pt idx="20067">
                  <c:v>1.84873949579831E-2</c:v>
                </c:pt>
                <c:pt idx="20068">
                  <c:v>1.84873949579831E-2</c:v>
                </c:pt>
                <c:pt idx="20069">
                  <c:v>1.84873949579831E-2</c:v>
                </c:pt>
                <c:pt idx="20070">
                  <c:v>1.84873949579831E-2</c:v>
                </c:pt>
                <c:pt idx="20071">
                  <c:v>1.84873949579831E-2</c:v>
                </c:pt>
                <c:pt idx="20072">
                  <c:v>1.84873949579831E-2</c:v>
                </c:pt>
                <c:pt idx="20073">
                  <c:v>1.84873949579831E-2</c:v>
                </c:pt>
                <c:pt idx="20074">
                  <c:v>1.84873949579831E-2</c:v>
                </c:pt>
                <c:pt idx="20075">
                  <c:v>1.84873949579831E-2</c:v>
                </c:pt>
                <c:pt idx="20076">
                  <c:v>1.84873949579831E-2</c:v>
                </c:pt>
                <c:pt idx="20077">
                  <c:v>1.84873949579831E-2</c:v>
                </c:pt>
                <c:pt idx="20078">
                  <c:v>1.84873949579831E-2</c:v>
                </c:pt>
                <c:pt idx="20079">
                  <c:v>1.84873949579831E-2</c:v>
                </c:pt>
                <c:pt idx="20080">
                  <c:v>1.84873949579831E-2</c:v>
                </c:pt>
                <c:pt idx="20081">
                  <c:v>1.84873949579831E-2</c:v>
                </c:pt>
                <c:pt idx="20082">
                  <c:v>1.84873949579831E-2</c:v>
                </c:pt>
                <c:pt idx="20083">
                  <c:v>1.84873949579831E-2</c:v>
                </c:pt>
                <c:pt idx="20084">
                  <c:v>1.84873949579831E-2</c:v>
                </c:pt>
                <c:pt idx="20085">
                  <c:v>1.84873949579831E-2</c:v>
                </c:pt>
                <c:pt idx="20086">
                  <c:v>1.84873949579831E-2</c:v>
                </c:pt>
                <c:pt idx="20087">
                  <c:v>1.84873949579831E-2</c:v>
                </c:pt>
                <c:pt idx="20088">
                  <c:v>1.84873949579831E-2</c:v>
                </c:pt>
                <c:pt idx="20089">
                  <c:v>1.84873949579831E-2</c:v>
                </c:pt>
                <c:pt idx="20090">
                  <c:v>1.84873949579831E-2</c:v>
                </c:pt>
                <c:pt idx="20091">
                  <c:v>1.84873949579831E-2</c:v>
                </c:pt>
                <c:pt idx="20092">
                  <c:v>1.84873949579831E-2</c:v>
                </c:pt>
                <c:pt idx="20093">
                  <c:v>1.84873949579831E-2</c:v>
                </c:pt>
                <c:pt idx="20094">
                  <c:v>1.84873949579831E-2</c:v>
                </c:pt>
                <c:pt idx="20095">
                  <c:v>1.84873949579831E-2</c:v>
                </c:pt>
                <c:pt idx="20096">
                  <c:v>1.84873949579831E-2</c:v>
                </c:pt>
                <c:pt idx="20097">
                  <c:v>1.84873949579831E-2</c:v>
                </c:pt>
                <c:pt idx="20098">
                  <c:v>1.84873949579831E-2</c:v>
                </c:pt>
                <c:pt idx="20099">
                  <c:v>1.84873949579831E-2</c:v>
                </c:pt>
                <c:pt idx="20100">
                  <c:v>1.84873949579831E-2</c:v>
                </c:pt>
                <c:pt idx="20101">
                  <c:v>1.84873949579831E-2</c:v>
                </c:pt>
                <c:pt idx="20102">
                  <c:v>1.84873949579831E-2</c:v>
                </c:pt>
                <c:pt idx="20103">
                  <c:v>1.84873949579831E-2</c:v>
                </c:pt>
                <c:pt idx="20104">
                  <c:v>1.9327731092436899E-2</c:v>
                </c:pt>
                <c:pt idx="20105">
                  <c:v>1.9327731092436899E-2</c:v>
                </c:pt>
                <c:pt idx="20106">
                  <c:v>1.9327731092436899E-2</c:v>
                </c:pt>
                <c:pt idx="20107">
                  <c:v>1.9327731092436899E-2</c:v>
                </c:pt>
                <c:pt idx="20108">
                  <c:v>1.9327731092436899E-2</c:v>
                </c:pt>
                <c:pt idx="20109">
                  <c:v>1.9327731092436899E-2</c:v>
                </c:pt>
                <c:pt idx="20110">
                  <c:v>1.9327731092436899E-2</c:v>
                </c:pt>
                <c:pt idx="20111">
                  <c:v>1.9327731092436899E-2</c:v>
                </c:pt>
                <c:pt idx="20112">
                  <c:v>1.9327731092436899E-2</c:v>
                </c:pt>
                <c:pt idx="20113">
                  <c:v>1.9327731092436899E-2</c:v>
                </c:pt>
                <c:pt idx="20114">
                  <c:v>1.9327731092436899E-2</c:v>
                </c:pt>
                <c:pt idx="20115">
                  <c:v>2.0168067226890601E-2</c:v>
                </c:pt>
                <c:pt idx="20116">
                  <c:v>2.0168067226890601E-2</c:v>
                </c:pt>
                <c:pt idx="20117">
                  <c:v>2.0168067226890601E-2</c:v>
                </c:pt>
                <c:pt idx="20118">
                  <c:v>2.0168067226890601E-2</c:v>
                </c:pt>
                <c:pt idx="20119">
                  <c:v>2.0168067226890601E-2</c:v>
                </c:pt>
                <c:pt idx="20120">
                  <c:v>2.0168067226890601E-2</c:v>
                </c:pt>
                <c:pt idx="20121">
                  <c:v>2.0168067226890601E-2</c:v>
                </c:pt>
                <c:pt idx="20122">
                  <c:v>2.0168067226890601E-2</c:v>
                </c:pt>
                <c:pt idx="20123">
                  <c:v>2.0168067226890601E-2</c:v>
                </c:pt>
                <c:pt idx="20124">
                  <c:v>2.0168067226890601E-2</c:v>
                </c:pt>
                <c:pt idx="20125">
                  <c:v>2.0168067226890601E-2</c:v>
                </c:pt>
                <c:pt idx="20126">
                  <c:v>2.0168067226890601E-2</c:v>
                </c:pt>
                <c:pt idx="20127">
                  <c:v>2.0168067226890601E-2</c:v>
                </c:pt>
                <c:pt idx="20128">
                  <c:v>2.0168067226890601E-2</c:v>
                </c:pt>
                <c:pt idx="20129">
                  <c:v>2.0168067226890601E-2</c:v>
                </c:pt>
                <c:pt idx="20130">
                  <c:v>2.0168067226890601E-2</c:v>
                </c:pt>
                <c:pt idx="20131">
                  <c:v>2.0168067226890601E-2</c:v>
                </c:pt>
                <c:pt idx="20132">
                  <c:v>2.0168067226890601E-2</c:v>
                </c:pt>
                <c:pt idx="20133">
                  <c:v>2.0168067226890601E-2</c:v>
                </c:pt>
                <c:pt idx="20134">
                  <c:v>2.0168067226890601E-2</c:v>
                </c:pt>
                <c:pt idx="20135">
                  <c:v>2.0168067226890601E-2</c:v>
                </c:pt>
                <c:pt idx="20136">
                  <c:v>1.9327731092436899E-2</c:v>
                </c:pt>
                <c:pt idx="20137">
                  <c:v>1.9327731092436899E-2</c:v>
                </c:pt>
                <c:pt idx="20138">
                  <c:v>1.9327731092436899E-2</c:v>
                </c:pt>
                <c:pt idx="20139">
                  <c:v>1.9327731092436899E-2</c:v>
                </c:pt>
                <c:pt idx="20140">
                  <c:v>1.9327731092436899E-2</c:v>
                </c:pt>
                <c:pt idx="20141">
                  <c:v>1.9327731092436899E-2</c:v>
                </c:pt>
                <c:pt idx="20142">
                  <c:v>1.9327731092436899E-2</c:v>
                </c:pt>
                <c:pt idx="20143">
                  <c:v>1.9327731092436899E-2</c:v>
                </c:pt>
                <c:pt idx="20144">
                  <c:v>1.9327731092436899E-2</c:v>
                </c:pt>
                <c:pt idx="20145">
                  <c:v>1.9327731092436899E-2</c:v>
                </c:pt>
                <c:pt idx="20146">
                  <c:v>1.9327731092436899E-2</c:v>
                </c:pt>
                <c:pt idx="20147">
                  <c:v>2.0168067226890601E-2</c:v>
                </c:pt>
                <c:pt idx="20148">
                  <c:v>2.0168067226890601E-2</c:v>
                </c:pt>
                <c:pt idx="20149">
                  <c:v>2.0168067226890601E-2</c:v>
                </c:pt>
                <c:pt idx="20150">
                  <c:v>2.0168067226890601E-2</c:v>
                </c:pt>
                <c:pt idx="20151">
                  <c:v>2.0168067226890601E-2</c:v>
                </c:pt>
                <c:pt idx="20152">
                  <c:v>2.0168067226890601E-2</c:v>
                </c:pt>
                <c:pt idx="20153">
                  <c:v>2.0168067226890601E-2</c:v>
                </c:pt>
                <c:pt idx="20154">
                  <c:v>2.0168067226890601E-2</c:v>
                </c:pt>
                <c:pt idx="20155">
                  <c:v>2.0168067226890601E-2</c:v>
                </c:pt>
                <c:pt idx="20156">
                  <c:v>2.0168067226890601E-2</c:v>
                </c:pt>
                <c:pt idx="20157">
                  <c:v>2.0168067226890601E-2</c:v>
                </c:pt>
                <c:pt idx="20158">
                  <c:v>2.0168067226890601E-2</c:v>
                </c:pt>
                <c:pt idx="20159">
                  <c:v>2.0168067226890601E-2</c:v>
                </c:pt>
                <c:pt idx="20160">
                  <c:v>2.0168067226890601E-2</c:v>
                </c:pt>
                <c:pt idx="20161">
                  <c:v>2.0168067226890601E-2</c:v>
                </c:pt>
                <c:pt idx="20162">
                  <c:v>2.0168067226890601E-2</c:v>
                </c:pt>
                <c:pt idx="20163">
                  <c:v>2.0168067226890601E-2</c:v>
                </c:pt>
                <c:pt idx="20164">
                  <c:v>2.0168067226890601E-2</c:v>
                </c:pt>
                <c:pt idx="20165">
                  <c:v>2.0168067226890601E-2</c:v>
                </c:pt>
                <c:pt idx="20166">
                  <c:v>2.0168067226890601E-2</c:v>
                </c:pt>
                <c:pt idx="20167">
                  <c:v>2.0168067226890601E-2</c:v>
                </c:pt>
                <c:pt idx="20168">
                  <c:v>2.0168067226890601E-2</c:v>
                </c:pt>
                <c:pt idx="20169">
                  <c:v>2.0168067226890601E-2</c:v>
                </c:pt>
                <c:pt idx="20170">
                  <c:v>2.0168067226890601E-2</c:v>
                </c:pt>
                <c:pt idx="20171">
                  <c:v>2.0168067226890601E-2</c:v>
                </c:pt>
                <c:pt idx="20172">
                  <c:v>1.9327731092436899E-2</c:v>
                </c:pt>
                <c:pt idx="20173">
                  <c:v>1.9327731092436899E-2</c:v>
                </c:pt>
                <c:pt idx="20174">
                  <c:v>1.9327731092436899E-2</c:v>
                </c:pt>
                <c:pt idx="20175">
                  <c:v>1.9327731092436899E-2</c:v>
                </c:pt>
                <c:pt idx="20176">
                  <c:v>1.9327731092436899E-2</c:v>
                </c:pt>
                <c:pt idx="20177">
                  <c:v>1.9327731092436899E-2</c:v>
                </c:pt>
                <c:pt idx="20178">
                  <c:v>1.9327731092436899E-2</c:v>
                </c:pt>
                <c:pt idx="20179">
                  <c:v>1.9327731092436899E-2</c:v>
                </c:pt>
                <c:pt idx="20180">
                  <c:v>1.9327731092436899E-2</c:v>
                </c:pt>
                <c:pt idx="20181">
                  <c:v>1.9327731092436899E-2</c:v>
                </c:pt>
                <c:pt idx="20182">
                  <c:v>1.84873949579831E-2</c:v>
                </c:pt>
                <c:pt idx="20183">
                  <c:v>1.84873949579831E-2</c:v>
                </c:pt>
                <c:pt idx="20184">
                  <c:v>1.84873949579831E-2</c:v>
                </c:pt>
                <c:pt idx="20185">
                  <c:v>1.84873949579831E-2</c:v>
                </c:pt>
                <c:pt idx="20186">
                  <c:v>1.84873949579831E-2</c:v>
                </c:pt>
                <c:pt idx="20187">
                  <c:v>1.84873949579831E-2</c:v>
                </c:pt>
                <c:pt idx="20188">
                  <c:v>1.84873949579831E-2</c:v>
                </c:pt>
                <c:pt idx="20189">
                  <c:v>1.84873949579831E-2</c:v>
                </c:pt>
                <c:pt idx="20190">
                  <c:v>1.84873949579831E-2</c:v>
                </c:pt>
                <c:pt idx="20191">
                  <c:v>1.84873949579831E-2</c:v>
                </c:pt>
                <c:pt idx="20192">
                  <c:v>1.84873949579831E-2</c:v>
                </c:pt>
                <c:pt idx="20193">
                  <c:v>1.84873949579831E-2</c:v>
                </c:pt>
                <c:pt idx="20194">
                  <c:v>1.84873949579831E-2</c:v>
                </c:pt>
                <c:pt idx="20195">
                  <c:v>1.84873949579831E-2</c:v>
                </c:pt>
                <c:pt idx="20196">
                  <c:v>1.84873949579831E-2</c:v>
                </c:pt>
                <c:pt idx="20197">
                  <c:v>1.84873949579831E-2</c:v>
                </c:pt>
                <c:pt idx="20198">
                  <c:v>1.84873949579831E-2</c:v>
                </c:pt>
                <c:pt idx="20199">
                  <c:v>1.84873949579831E-2</c:v>
                </c:pt>
                <c:pt idx="20200">
                  <c:v>1.84873949579831E-2</c:v>
                </c:pt>
                <c:pt idx="20201">
                  <c:v>1.84873949579831E-2</c:v>
                </c:pt>
                <c:pt idx="20202">
                  <c:v>1.84873949579831E-2</c:v>
                </c:pt>
                <c:pt idx="20203">
                  <c:v>1.84873949579831E-2</c:v>
                </c:pt>
                <c:pt idx="20204">
                  <c:v>1.84873949579831E-2</c:v>
                </c:pt>
                <c:pt idx="20205">
                  <c:v>1.84873949579831E-2</c:v>
                </c:pt>
                <c:pt idx="20206">
                  <c:v>1.84873949579831E-2</c:v>
                </c:pt>
                <c:pt idx="20207">
                  <c:v>1.84873949579831E-2</c:v>
                </c:pt>
                <c:pt idx="20208">
                  <c:v>1.84873949579831E-2</c:v>
                </c:pt>
                <c:pt idx="20209">
                  <c:v>1.84873949579831E-2</c:v>
                </c:pt>
                <c:pt idx="20210">
                  <c:v>1.84873949579831E-2</c:v>
                </c:pt>
                <c:pt idx="20211">
                  <c:v>1.84873949579831E-2</c:v>
                </c:pt>
                <c:pt idx="20212">
                  <c:v>1.84873949579831E-2</c:v>
                </c:pt>
                <c:pt idx="20213">
                  <c:v>1.84873949579831E-2</c:v>
                </c:pt>
                <c:pt idx="20214">
                  <c:v>1.9327731092436899E-2</c:v>
                </c:pt>
                <c:pt idx="20215">
                  <c:v>1.9327731092436899E-2</c:v>
                </c:pt>
                <c:pt idx="20216">
                  <c:v>1.9327731092436899E-2</c:v>
                </c:pt>
                <c:pt idx="20217">
                  <c:v>1.9327731092436899E-2</c:v>
                </c:pt>
                <c:pt idx="20218">
                  <c:v>1.9327731092436899E-2</c:v>
                </c:pt>
                <c:pt idx="20219">
                  <c:v>2.0168067226890601E-2</c:v>
                </c:pt>
                <c:pt idx="20220">
                  <c:v>2.0168067226890601E-2</c:v>
                </c:pt>
                <c:pt idx="20221">
                  <c:v>2.0168067226890601E-2</c:v>
                </c:pt>
                <c:pt idx="20222">
                  <c:v>2.0168067226890601E-2</c:v>
                </c:pt>
                <c:pt idx="20223">
                  <c:v>2.0168067226890601E-2</c:v>
                </c:pt>
                <c:pt idx="20224">
                  <c:v>2.0168067226890601E-2</c:v>
                </c:pt>
                <c:pt idx="20225">
                  <c:v>2.0168067226890601E-2</c:v>
                </c:pt>
                <c:pt idx="20226">
                  <c:v>2.0168067226890601E-2</c:v>
                </c:pt>
                <c:pt idx="20227">
                  <c:v>2.0168067226890601E-2</c:v>
                </c:pt>
                <c:pt idx="20228">
                  <c:v>1.9327731092436899E-2</c:v>
                </c:pt>
                <c:pt idx="20229">
                  <c:v>1.9327731092436899E-2</c:v>
                </c:pt>
                <c:pt idx="20230">
                  <c:v>1.9327731092436899E-2</c:v>
                </c:pt>
                <c:pt idx="20231">
                  <c:v>1.9327731092436899E-2</c:v>
                </c:pt>
                <c:pt idx="20232">
                  <c:v>1.9327731092436899E-2</c:v>
                </c:pt>
                <c:pt idx="20233">
                  <c:v>1.9327731092436899E-2</c:v>
                </c:pt>
                <c:pt idx="20234">
                  <c:v>1.9327731092436899E-2</c:v>
                </c:pt>
                <c:pt idx="20235">
                  <c:v>1.9327731092436899E-2</c:v>
                </c:pt>
                <c:pt idx="20236">
                  <c:v>1.9327731092436899E-2</c:v>
                </c:pt>
                <c:pt idx="20237">
                  <c:v>1.9327731092436899E-2</c:v>
                </c:pt>
                <c:pt idx="20238">
                  <c:v>1.9327731092436899E-2</c:v>
                </c:pt>
                <c:pt idx="20239">
                  <c:v>1.9327731092436899E-2</c:v>
                </c:pt>
                <c:pt idx="20240">
                  <c:v>1.9327731092436899E-2</c:v>
                </c:pt>
                <c:pt idx="20241">
                  <c:v>1.9327731092436899E-2</c:v>
                </c:pt>
                <c:pt idx="20242">
                  <c:v>1.9327731092436899E-2</c:v>
                </c:pt>
                <c:pt idx="20243">
                  <c:v>1.9327731092436899E-2</c:v>
                </c:pt>
                <c:pt idx="20244">
                  <c:v>1.9327731092436899E-2</c:v>
                </c:pt>
                <c:pt idx="20245">
                  <c:v>1.9327731092436899E-2</c:v>
                </c:pt>
                <c:pt idx="20246">
                  <c:v>1.9327731092436899E-2</c:v>
                </c:pt>
                <c:pt idx="20247">
                  <c:v>1.9327731092436899E-2</c:v>
                </c:pt>
                <c:pt idx="20248">
                  <c:v>1.9327731092436899E-2</c:v>
                </c:pt>
                <c:pt idx="20249">
                  <c:v>1.9327731092436899E-2</c:v>
                </c:pt>
                <c:pt idx="20250">
                  <c:v>1.9327731092436899E-2</c:v>
                </c:pt>
                <c:pt idx="20251">
                  <c:v>1.9327731092436899E-2</c:v>
                </c:pt>
                <c:pt idx="20252">
                  <c:v>1.9327731092436899E-2</c:v>
                </c:pt>
                <c:pt idx="20253">
                  <c:v>1.9327731092436899E-2</c:v>
                </c:pt>
                <c:pt idx="20254">
                  <c:v>1.9327731092436899E-2</c:v>
                </c:pt>
                <c:pt idx="20255">
                  <c:v>1.9327731092436899E-2</c:v>
                </c:pt>
                <c:pt idx="20256">
                  <c:v>1.9327731092436899E-2</c:v>
                </c:pt>
                <c:pt idx="20257">
                  <c:v>1.9327731092436899E-2</c:v>
                </c:pt>
                <c:pt idx="20258">
                  <c:v>1.9327731092436899E-2</c:v>
                </c:pt>
                <c:pt idx="20259">
                  <c:v>1.9327731092436899E-2</c:v>
                </c:pt>
                <c:pt idx="20260">
                  <c:v>1.9327731092436899E-2</c:v>
                </c:pt>
                <c:pt idx="20261">
                  <c:v>1.9327731092436899E-2</c:v>
                </c:pt>
                <c:pt idx="20262">
                  <c:v>1.9327731092436899E-2</c:v>
                </c:pt>
                <c:pt idx="20263">
                  <c:v>1.9327731092436899E-2</c:v>
                </c:pt>
                <c:pt idx="20264">
                  <c:v>1.9327731092436899E-2</c:v>
                </c:pt>
                <c:pt idx="20265">
                  <c:v>1.9327731092436899E-2</c:v>
                </c:pt>
                <c:pt idx="20266">
                  <c:v>1.9327731092436899E-2</c:v>
                </c:pt>
                <c:pt idx="20267">
                  <c:v>1.9327731092436899E-2</c:v>
                </c:pt>
                <c:pt idx="20268">
                  <c:v>1.9327731092436899E-2</c:v>
                </c:pt>
                <c:pt idx="20269">
                  <c:v>1.9327731092436899E-2</c:v>
                </c:pt>
                <c:pt idx="20270">
                  <c:v>1.9327731092436899E-2</c:v>
                </c:pt>
                <c:pt idx="20271">
                  <c:v>1.84873949579831E-2</c:v>
                </c:pt>
                <c:pt idx="20272">
                  <c:v>1.84873949579831E-2</c:v>
                </c:pt>
                <c:pt idx="20273">
                  <c:v>1.84873949579831E-2</c:v>
                </c:pt>
                <c:pt idx="20274">
                  <c:v>1.84873949579831E-2</c:v>
                </c:pt>
                <c:pt idx="20275">
                  <c:v>1.84873949579831E-2</c:v>
                </c:pt>
                <c:pt idx="20276">
                  <c:v>1.84873949579831E-2</c:v>
                </c:pt>
                <c:pt idx="20277">
                  <c:v>1.84873949579831E-2</c:v>
                </c:pt>
                <c:pt idx="20278">
                  <c:v>1.84873949579831E-2</c:v>
                </c:pt>
                <c:pt idx="20279">
                  <c:v>1.76470588235293E-2</c:v>
                </c:pt>
                <c:pt idx="20280">
                  <c:v>1.76470588235293E-2</c:v>
                </c:pt>
                <c:pt idx="20281">
                  <c:v>1.76470588235293E-2</c:v>
                </c:pt>
                <c:pt idx="20282">
                  <c:v>1.76470588235293E-2</c:v>
                </c:pt>
                <c:pt idx="20283">
                  <c:v>1.76470588235293E-2</c:v>
                </c:pt>
                <c:pt idx="20284">
                  <c:v>1.76470588235293E-2</c:v>
                </c:pt>
                <c:pt idx="20285">
                  <c:v>1.76470588235293E-2</c:v>
                </c:pt>
                <c:pt idx="20286">
                  <c:v>1.76470588235293E-2</c:v>
                </c:pt>
                <c:pt idx="20287">
                  <c:v>1.76470588235293E-2</c:v>
                </c:pt>
                <c:pt idx="20288">
                  <c:v>1.76470588235293E-2</c:v>
                </c:pt>
                <c:pt idx="20289">
                  <c:v>1.76470588235293E-2</c:v>
                </c:pt>
                <c:pt idx="20290">
                  <c:v>1.76470588235293E-2</c:v>
                </c:pt>
                <c:pt idx="20291">
                  <c:v>1.76470588235293E-2</c:v>
                </c:pt>
                <c:pt idx="20292">
                  <c:v>1.76470588235293E-2</c:v>
                </c:pt>
                <c:pt idx="20293">
                  <c:v>1.76470588235293E-2</c:v>
                </c:pt>
                <c:pt idx="20294">
                  <c:v>1.76470588235293E-2</c:v>
                </c:pt>
                <c:pt idx="20295">
                  <c:v>1.76470588235293E-2</c:v>
                </c:pt>
                <c:pt idx="20296">
                  <c:v>1.76470588235293E-2</c:v>
                </c:pt>
                <c:pt idx="20297">
                  <c:v>1.76470588235293E-2</c:v>
                </c:pt>
                <c:pt idx="20298">
                  <c:v>1.76470588235293E-2</c:v>
                </c:pt>
                <c:pt idx="20299">
                  <c:v>1.76470588235293E-2</c:v>
                </c:pt>
                <c:pt idx="20300">
                  <c:v>1.76470588235293E-2</c:v>
                </c:pt>
                <c:pt idx="20301">
                  <c:v>1.76470588235293E-2</c:v>
                </c:pt>
                <c:pt idx="20302">
                  <c:v>1.76470588235293E-2</c:v>
                </c:pt>
                <c:pt idx="20303">
                  <c:v>1.76470588235293E-2</c:v>
                </c:pt>
                <c:pt idx="20304">
                  <c:v>1.76470588235293E-2</c:v>
                </c:pt>
                <c:pt idx="20305">
                  <c:v>1.76470588235293E-2</c:v>
                </c:pt>
                <c:pt idx="20306">
                  <c:v>1.76470588235293E-2</c:v>
                </c:pt>
                <c:pt idx="20307">
                  <c:v>1.76470588235293E-2</c:v>
                </c:pt>
                <c:pt idx="20308">
                  <c:v>1.76470588235293E-2</c:v>
                </c:pt>
                <c:pt idx="20309">
                  <c:v>1.76470588235293E-2</c:v>
                </c:pt>
                <c:pt idx="20310">
                  <c:v>1.76470588235293E-2</c:v>
                </c:pt>
                <c:pt idx="20311">
                  <c:v>1.76470588235293E-2</c:v>
                </c:pt>
                <c:pt idx="20312">
                  <c:v>1.76470588235293E-2</c:v>
                </c:pt>
                <c:pt idx="20313">
                  <c:v>1.76470588235293E-2</c:v>
                </c:pt>
                <c:pt idx="20314">
                  <c:v>1.76470588235293E-2</c:v>
                </c:pt>
                <c:pt idx="20315">
                  <c:v>1.76470588235293E-2</c:v>
                </c:pt>
                <c:pt idx="20316">
                  <c:v>1.6806722689075501E-2</c:v>
                </c:pt>
                <c:pt idx="20317">
                  <c:v>1.6806722689075501E-2</c:v>
                </c:pt>
                <c:pt idx="20318">
                  <c:v>1.6806722689075501E-2</c:v>
                </c:pt>
                <c:pt idx="20319">
                  <c:v>1.6806722689075501E-2</c:v>
                </c:pt>
                <c:pt idx="20320">
                  <c:v>1.6806722689075501E-2</c:v>
                </c:pt>
                <c:pt idx="20321">
                  <c:v>1.6806722689075501E-2</c:v>
                </c:pt>
                <c:pt idx="20322">
                  <c:v>1.6806722689075501E-2</c:v>
                </c:pt>
                <c:pt idx="20323">
                  <c:v>1.6806722689075501E-2</c:v>
                </c:pt>
                <c:pt idx="20324">
                  <c:v>1.6806722689075501E-2</c:v>
                </c:pt>
                <c:pt idx="20325">
                  <c:v>1.6806722689075501E-2</c:v>
                </c:pt>
                <c:pt idx="20326">
                  <c:v>1.6806722689075501E-2</c:v>
                </c:pt>
                <c:pt idx="20327">
                  <c:v>1.6806722689075501E-2</c:v>
                </c:pt>
                <c:pt idx="20328">
                  <c:v>1.6806722689075501E-2</c:v>
                </c:pt>
                <c:pt idx="20329">
                  <c:v>1.6806722689075501E-2</c:v>
                </c:pt>
                <c:pt idx="20330">
                  <c:v>1.6806722689075501E-2</c:v>
                </c:pt>
                <c:pt idx="20331">
                  <c:v>1.6806722689075501E-2</c:v>
                </c:pt>
                <c:pt idx="20332">
                  <c:v>1.6806722689075501E-2</c:v>
                </c:pt>
                <c:pt idx="20333">
                  <c:v>1.6806722689075501E-2</c:v>
                </c:pt>
                <c:pt idx="20334">
                  <c:v>1.6806722689075501E-2</c:v>
                </c:pt>
                <c:pt idx="20335">
                  <c:v>1.6806722689075501E-2</c:v>
                </c:pt>
                <c:pt idx="20336">
                  <c:v>1.6806722689075501E-2</c:v>
                </c:pt>
                <c:pt idx="20337">
                  <c:v>1.6806722689075501E-2</c:v>
                </c:pt>
                <c:pt idx="20338">
                  <c:v>1.6806722689075501E-2</c:v>
                </c:pt>
                <c:pt idx="20339">
                  <c:v>1.6806722689075501E-2</c:v>
                </c:pt>
                <c:pt idx="20340">
                  <c:v>1.6806722689075501E-2</c:v>
                </c:pt>
                <c:pt idx="20341">
                  <c:v>1.7647058823529401E-2</c:v>
                </c:pt>
                <c:pt idx="20342">
                  <c:v>1.7647058823529401E-2</c:v>
                </c:pt>
                <c:pt idx="20343">
                  <c:v>1.7647058823529401E-2</c:v>
                </c:pt>
                <c:pt idx="20344">
                  <c:v>1.7647058823529401E-2</c:v>
                </c:pt>
                <c:pt idx="20345">
                  <c:v>1.7647058823529401E-2</c:v>
                </c:pt>
                <c:pt idx="20346">
                  <c:v>1.7647058823529401E-2</c:v>
                </c:pt>
                <c:pt idx="20347">
                  <c:v>1.7647058823529401E-2</c:v>
                </c:pt>
                <c:pt idx="20348">
                  <c:v>1.7647058823529401E-2</c:v>
                </c:pt>
                <c:pt idx="20349">
                  <c:v>1.7647058823529401E-2</c:v>
                </c:pt>
                <c:pt idx="20350">
                  <c:v>1.7647058823529401E-2</c:v>
                </c:pt>
                <c:pt idx="20351">
                  <c:v>1.7647058823529401E-2</c:v>
                </c:pt>
                <c:pt idx="20352">
                  <c:v>1.7647058823529401E-2</c:v>
                </c:pt>
                <c:pt idx="20353">
                  <c:v>1.7647058823529401E-2</c:v>
                </c:pt>
                <c:pt idx="20354">
                  <c:v>1.6806722689075598E-2</c:v>
                </c:pt>
                <c:pt idx="20355">
                  <c:v>1.6806722689075598E-2</c:v>
                </c:pt>
                <c:pt idx="20356">
                  <c:v>1.6806722689075598E-2</c:v>
                </c:pt>
                <c:pt idx="20357">
                  <c:v>1.6806722689075598E-2</c:v>
                </c:pt>
                <c:pt idx="20358">
                  <c:v>1.6806722689075598E-2</c:v>
                </c:pt>
                <c:pt idx="20359">
                  <c:v>1.6806722689075598E-2</c:v>
                </c:pt>
                <c:pt idx="20360">
                  <c:v>1.6806722689075598E-2</c:v>
                </c:pt>
                <c:pt idx="20361">
                  <c:v>1.6806722689075598E-2</c:v>
                </c:pt>
                <c:pt idx="20362">
                  <c:v>1.6806722689075598E-2</c:v>
                </c:pt>
                <c:pt idx="20363">
                  <c:v>1.6806722689075598E-2</c:v>
                </c:pt>
                <c:pt idx="20364">
                  <c:v>1.6806722689075598E-2</c:v>
                </c:pt>
                <c:pt idx="20365">
                  <c:v>1.6806722689075598E-2</c:v>
                </c:pt>
                <c:pt idx="20366">
                  <c:v>1.6806722689075598E-2</c:v>
                </c:pt>
                <c:pt idx="20367">
                  <c:v>1.6806722689075598E-2</c:v>
                </c:pt>
                <c:pt idx="20368">
                  <c:v>1.6806722689075598E-2</c:v>
                </c:pt>
                <c:pt idx="20369">
                  <c:v>1.6806722689075598E-2</c:v>
                </c:pt>
                <c:pt idx="20370">
                  <c:v>1.6806722689075598E-2</c:v>
                </c:pt>
                <c:pt idx="20371">
                  <c:v>1.59663865546219E-2</c:v>
                </c:pt>
                <c:pt idx="20372">
                  <c:v>1.59663865546219E-2</c:v>
                </c:pt>
                <c:pt idx="20373">
                  <c:v>1.59663865546219E-2</c:v>
                </c:pt>
                <c:pt idx="20374">
                  <c:v>1.59663865546219E-2</c:v>
                </c:pt>
                <c:pt idx="20375">
                  <c:v>1.59663865546219E-2</c:v>
                </c:pt>
                <c:pt idx="20376">
                  <c:v>1.6806722689075598E-2</c:v>
                </c:pt>
                <c:pt idx="20377">
                  <c:v>1.6806722689075598E-2</c:v>
                </c:pt>
                <c:pt idx="20378">
                  <c:v>1.6806722689075598E-2</c:v>
                </c:pt>
                <c:pt idx="20379">
                  <c:v>1.6806722689075598E-2</c:v>
                </c:pt>
                <c:pt idx="20380">
                  <c:v>1.59663865546219E-2</c:v>
                </c:pt>
                <c:pt idx="20381">
                  <c:v>1.59663865546219E-2</c:v>
                </c:pt>
                <c:pt idx="20382">
                  <c:v>1.59663865546219E-2</c:v>
                </c:pt>
                <c:pt idx="20383">
                  <c:v>1.59663865546219E-2</c:v>
                </c:pt>
                <c:pt idx="20384">
                  <c:v>1.59663865546219E-2</c:v>
                </c:pt>
                <c:pt idx="20385">
                  <c:v>1.59663865546219E-2</c:v>
                </c:pt>
                <c:pt idx="20386">
                  <c:v>1.59663865546219E-2</c:v>
                </c:pt>
                <c:pt idx="20387">
                  <c:v>1.59663865546219E-2</c:v>
                </c:pt>
                <c:pt idx="20388">
                  <c:v>1.59663865546219E-2</c:v>
                </c:pt>
                <c:pt idx="20389">
                  <c:v>1.59663865546219E-2</c:v>
                </c:pt>
                <c:pt idx="20390">
                  <c:v>1.59663865546219E-2</c:v>
                </c:pt>
                <c:pt idx="20391">
                  <c:v>1.59663865546219E-2</c:v>
                </c:pt>
                <c:pt idx="20392">
                  <c:v>1.59663865546219E-2</c:v>
                </c:pt>
                <c:pt idx="20393">
                  <c:v>1.59663865546219E-2</c:v>
                </c:pt>
                <c:pt idx="20394">
                  <c:v>1.59663865546219E-2</c:v>
                </c:pt>
                <c:pt idx="20395">
                  <c:v>1.59663865546219E-2</c:v>
                </c:pt>
                <c:pt idx="20396">
                  <c:v>1.59663865546219E-2</c:v>
                </c:pt>
                <c:pt idx="20397">
                  <c:v>1.59663865546219E-2</c:v>
                </c:pt>
                <c:pt idx="20398">
                  <c:v>1.59663865546219E-2</c:v>
                </c:pt>
                <c:pt idx="20399">
                  <c:v>1.51260504201681E-2</c:v>
                </c:pt>
                <c:pt idx="20400">
                  <c:v>1.59663865546219E-2</c:v>
                </c:pt>
                <c:pt idx="20401">
                  <c:v>1.59663865546219E-2</c:v>
                </c:pt>
                <c:pt idx="20402">
                  <c:v>1.59663865546219E-2</c:v>
                </c:pt>
                <c:pt idx="20403">
                  <c:v>1.6806722689075598E-2</c:v>
                </c:pt>
                <c:pt idx="20404">
                  <c:v>1.6806722689075598E-2</c:v>
                </c:pt>
                <c:pt idx="20405">
                  <c:v>1.6806722689075598E-2</c:v>
                </c:pt>
                <c:pt idx="20406">
                  <c:v>1.6806722689075598E-2</c:v>
                </c:pt>
                <c:pt idx="20407">
                  <c:v>1.59663865546219E-2</c:v>
                </c:pt>
                <c:pt idx="20408">
                  <c:v>1.59663865546219E-2</c:v>
                </c:pt>
                <c:pt idx="20409">
                  <c:v>1.59663865546219E-2</c:v>
                </c:pt>
                <c:pt idx="20410">
                  <c:v>1.59663865546219E-2</c:v>
                </c:pt>
                <c:pt idx="20411">
                  <c:v>1.59663865546219E-2</c:v>
                </c:pt>
                <c:pt idx="20412">
                  <c:v>1.59663865546219E-2</c:v>
                </c:pt>
                <c:pt idx="20413">
                  <c:v>1.59663865546219E-2</c:v>
                </c:pt>
                <c:pt idx="20414">
                  <c:v>1.59663865546219E-2</c:v>
                </c:pt>
                <c:pt idx="20415">
                  <c:v>1.59663865546219E-2</c:v>
                </c:pt>
                <c:pt idx="20416">
                  <c:v>1.59663865546219E-2</c:v>
                </c:pt>
                <c:pt idx="20417">
                  <c:v>1.59663865546219E-2</c:v>
                </c:pt>
                <c:pt idx="20418">
                  <c:v>1.59663865546219E-2</c:v>
                </c:pt>
                <c:pt idx="20419">
                  <c:v>1.59663865546219E-2</c:v>
                </c:pt>
                <c:pt idx="20420">
                  <c:v>1.59663865546219E-2</c:v>
                </c:pt>
                <c:pt idx="20421">
                  <c:v>1.59663865546219E-2</c:v>
                </c:pt>
                <c:pt idx="20422">
                  <c:v>1.59663865546219E-2</c:v>
                </c:pt>
                <c:pt idx="20423">
                  <c:v>1.59663865546219E-2</c:v>
                </c:pt>
                <c:pt idx="20424">
                  <c:v>1.59663865546219E-2</c:v>
                </c:pt>
                <c:pt idx="20425">
                  <c:v>1.59663865546219E-2</c:v>
                </c:pt>
                <c:pt idx="20426">
                  <c:v>1.59663865546219E-2</c:v>
                </c:pt>
                <c:pt idx="20427">
                  <c:v>1.59663865546219E-2</c:v>
                </c:pt>
                <c:pt idx="20428">
                  <c:v>1.59663865546219E-2</c:v>
                </c:pt>
                <c:pt idx="20429">
                  <c:v>1.59663865546219E-2</c:v>
                </c:pt>
                <c:pt idx="20430">
                  <c:v>1.51260504201681E-2</c:v>
                </c:pt>
                <c:pt idx="20431">
                  <c:v>1.4285714285714299E-2</c:v>
                </c:pt>
                <c:pt idx="20432">
                  <c:v>1.51260504201681E-2</c:v>
                </c:pt>
                <c:pt idx="20433">
                  <c:v>1.51260504201681E-2</c:v>
                </c:pt>
                <c:pt idx="20434">
                  <c:v>1.51260504201681E-2</c:v>
                </c:pt>
                <c:pt idx="20435">
                  <c:v>1.51260504201681E-2</c:v>
                </c:pt>
                <c:pt idx="20436">
                  <c:v>1.51260504201681E-2</c:v>
                </c:pt>
                <c:pt idx="20437">
                  <c:v>1.51260504201681E-2</c:v>
                </c:pt>
                <c:pt idx="20438">
                  <c:v>1.51260504201681E-2</c:v>
                </c:pt>
                <c:pt idx="20439">
                  <c:v>1.51260504201681E-2</c:v>
                </c:pt>
                <c:pt idx="20440">
                  <c:v>1.51260504201681E-2</c:v>
                </c:pt>
                <c:pt idx="20441">
                  <c:v>1.51260504201681E-2</c:v>
                </c:pt>
                <c:pt idx="20442">
                  <c:v>1.51260504201681E-2</c:v>
                </c:pt>
                <c:pt idx="20443">
                  <c:v>1.51260504201681E-2</c:v>
                </c:pt>
                <c:pt idx="20444">
                  <c:v>1.51260504201681E-2</c:v>
                </c:pt>
                <c:pt idx="20445">
                  <c:v>1.51260504201681E-2</c:v>
                </c:pt>
                <c:pt idx="20446">
                  <c:v>1.51260504201681E-2</c:v>
                </c:pt>
                <c:pt idx="20447">
                  <c:v>1.51260504201681E-2</c:v>
                </c:pt>
                <c:pt idx="20448">
                  <c:v>1.51260504201681E-2</c:v>
                </c:pt>
                <c:pt idx="20449">
                  <c:v>1.51260504201681E-2</c:v>
                </c:pt>
                <c:pt idx="20450">
                  <c:v>1.51260504201681E-2</c:v>
                </c:pt>
                <c:pt idx="20451">
                  <c:v>1.51260504201681E-2</c:v>
                </c:pt>
                <c:pt idx="20452">
                  <c:v>1.51260504201681E-2</c:v>
                </c:pt>
                <c:pt idx="20453">
                  <c:v>1.51260504201681E-2</c:v>
                </c:pt>
                <c:pt idx="20454">
                  <c:v>1.51260504201681E-2</c:v>
                </c:pt>
                <c:pt idx="20455">
                  <c:v>1.51260504201681E-2</c:v>
                </c:pt>
                <c:pt idx="20456">
                  <c:v>1.51260504201681E-2</c:v>
                </c:pt>
                <c:pt idx="20457">
                  <c:v>1.51260504201681E-2</c:v>
                </c:pt>
                <c:pt idx="20458">
                  <c:v>1.51260504201681E-2</c:v>
                </c:pt>
                <c:pt idx="20459">
                  <c:v>1.51260504201681E-2</c:v>
                </c:pt>
                <c:pt idx="20460">
                  <c:v>1.51260504201681E-2</c:v>
                </c:pt>
                <c:pt idx="20461">
                  <c:v>1.59663865546219E-2</c:v>
                </c:pt>
                <c:pt idx="20462">
                  <c:v>1.59663865546219E-2</c:v>
                </c:pt>
                <c:pt idx="20463">
                  <c:v>1.59663865546219E-2</c:v>
                </c:pt>
                <c:pt idx="20464">
                  <c:v>1.59663865546219E-2</c:v>
                </c:pt>
                <c:pt idx="20465">
                  <c:v>1.59663865546219E-2</c:v>
                </c:pt>
                <c:pt idx="20466">
                  <c:v>1.59663865546219E-2</c:v>
                </c:pt>
                <c:pt idx="20467">
                  <c:v>1.59663865546219E-2</c:v>
                </c:pt>
                <c:pt idx="20468">
                  <c:v>1.59663865546219E-2</c:v>
                </c:pt>
                <c:pt idx="20469">
                  <c:v>1.51260504201681E-2</c:v>
                </c:pt>
                <c:pt idx="20470">
                  <c:v>1.51260504201681E-2</c:v>
                </c:pt>
                <c:pt idx="20471">
                  <c:v>1.51260504201681E-2</c:v>
                </c:pt>
                <c:pt idx="20472">
                  <c:v>1.51260504201681E-2</c:v>
                </c:pt>
                <c:pt idx="20473">
                  <c:v>1.51260504201681E-2</c:v>
                </c:pt>
                <c:pt idx="20474">
                  <c:v>1.51260504201681E-2</c:v>
                </c:pt>
                <c:pt idx="20475">
                  <c:v>1.51260504201681E-2</c:v>
                </c:pt>
                <c:pt idx="20476">
                  <c:v>1.51260504201681E-2</c:v>
                </c:pt>
                <c:pt idx="20477">
                  <c:v>1.51260504201681E-2</c:v>
                </c:pt>
                <c:pt idx="20478">
                  <c:v>1.51260504201681E-2</c:v>
                </c:pt>
                <c:pt idx="20479">
                  <c:v>1.51260504201681E-2</c:v>
                </c:pt>
                <c:pt idx="20480">
                  <c:v>1.51260504201681E-2</c:v>
                </c:pt>
                <c:pt idx="20481">
                  <c:v>1.51260504201681E-2</c:v>
                </c:pt>
                <c:pt idx="20482">
                  <c:v>1.51260504201681E-2</c:v>
                </c:pt>
                <c:pt idx="20483">
                  <c:v>1.51260504201681E-2</c:v>
                </c:pt>
                <c:pt idx="20484">
                  <c:v>1.51260504201681E-2</c:v>
                </c:pt>
                <c:pt idx="20485">
                  <c:v>1.51260504201681E-2</c:v>
                </c:pt>
                <c:pt idx="20486">
                  <c:v>1.51260504201681E-2</c:v>
                </c:pt>
                <c:pt idx="20487">
                  <c:v>1.51260504201681E-2</c:v>
                </c:pt>
                <c:pt idx="20488">
                  <c:v>1.51260504201681E-2</c:v>
                </c:pt>
                <c:pt idx="20489">
                  <c:v>1.51260504201681E-2</c:v>
                </c:pt>
                <c:pt idx="20490">
                  <c:v>1.51260504201681E-2</c:v>
                </c:pt>
                <c:pt idx="20491">
                  <c:v>1.51260504201681E-2</c:v>
                </c:pt>
                <c:pt idx="20492">
                  <c:v>1.4285714285714299E-2</c:v>
                </c:pt>
                <c:pt idx="20493">
                  <c:v>1.51260504201681E-2</c:v>
                </c:pt>
                <c:pt idx="20494">
                  <c:v>1.51260504201681E-2</c:v>
                </c:pt>
                <c:pt idx="20495">
                  <c:v>1.51260504201681E-2</c:v>
                </c:pt>
                <c:pt idx="20496">
                  <c:v>1.51260504201681E-2</c:v>
                </c:pt>
                <c:pt idx="20497">
                  <c:v>1.51260504201681E-2</c:v>
                </c:pt>
                <c:pt idx="20498">
                  <c:v>1.51260504201681E-2</c:v>
                </c:pt>
                <c:pt idx="20499">
                  <c:v>1.51260504201681E-2</c:v>
                </c:pt>
                <c:pt idx="20500">
                  <c:v>1.51260504201681E-2</c:v>
                </c:pt>
                <c:pt idx="20501">
                  <c:v>1.51260504201681E-2</c:v>
                </c:pt>
                <c:pt idx="20502">
                  <c:v>1.51260504201681E-2</c:v>
                </c:pt>
                <c:pt idx="20503">
                  <c:v>1.51260504201681E-2</c:v>
                </c:pt>
                <c:pt idx="20504">
                  <c:v>1.51260504201681E-2</c:v>
                </c:pt>
                <c:pt idx="20505">
                  <c:v>1.51260504201681E-2</c:v>
                </c:pt>
                <c:pt idx="20506">
                  <c:v>1.51260504201681E-2</c:v>
                </c:pt>
                <c:pt idx="20507">
                  <c:v>1.51260504201681E-2</c:v>
                </c:pt>
                <c:pt idx="20508">
                  <c:v>1.51260504201681E-2</c:v>
                </c:pt>
                <c:pt idx="20509">
                  <c:v>1.51260504201681E-2</c:v>
                </c:pt>
                <c:pt idx="20510">
                  <c:v>1.51260504201681E-2</c:v>
                </c:pt>
                <c:pt idx="20511">
                  <c:v>1.51260504201681E-2</c:v>
                </c:pt>
                <c:pt idx="20512">
                  <c:v>1.51260504201681E-2</c:v>
                </c:pt>
                <c:pt idx="20513">
                  <c:v>1.51260504201681E-2</c:v>
                </c:pt>
                <c:pt idx="20514">
                  <c:v>1.51260504201681E-2</c:v>
                </c:pt>
                <c:pt idx="20515">
                  <c:v>1.51260504201681E-2</c:v>
                </c:pt>
                <c:pt idx="20516">
                  <c:v>1.51260504201681E-2</c:v>
                </c:pt>
                <c:pt idx="20517">
                  <c:v>1.51260504201681E-2</c:v>
                </c:pt>
                <c:pt idx="20518">
                  <c:v>1.51260504201681E-2</c:v>
                </c:pt>
                <c:pt idx="20519">
                  <c:v>1.51260504201681E-2</c:v>
                </c:pt>
                <c:pt idx="20520">
                  <c:v>1.51260504201681E-2</c:v>
                </c:pt>
                <c:pt idx="20521">
                  <c:v>1.51260504201681E-2</c:v>
                </c:pt>
                <c:pt idx="20522">
                  <c:v>1.51260504201681E-2</c:v>
                </c:pt>
                <c:pt idx="20523">
                  <c:v>1.51260504201681E-2</c:v>
                </c:pt>
                <c:pt idx="20524">
                  <c:v>1.51260504201681E-2</c:v>
                </c:pt>
                <c:pt idx="20525">
                  <c:v>1.51260504201681E-2</c:v>
                </c:pt>
                <c:pt idx="20526">
                  <c:v>1.51260504201681E-2</c:v>
                </c:pt>
                <c:pt idx="20527">
                  <c:v>1.51260504201681E-2</c:v>
                </c:pt>
                <c:pt idx="20528">
                  <c:v>1.51260504201681E-2</c:v>
                </c:pt>
                <c:pt idx="20529">
                  <c:v>1.51260504201681E-2</c:v>
                </c:pt>
                <c:pt idx="20530">
                  <c:v>1.51260504201681E-2</c:v>
                </c:pt>
                <c:pt idx="20531">
                  <c:v>1.51260504201681E-2</c:v>
                </c:pt>
                <c:pt idx="20532">
                  <c:v>1.51260504201681E-2</c:v>
                </c:pt>
                <c:pt idx="20533">
                  <c:v>1.51260504201681E-2</c:v>
                </c:pt>
                <c:pt idx="20534">
                  <c:v>1.59663865546219E-2</c:v>
                </c:pt>
                <c:pt idx="20535">
                  <c:v>1.59663865546219E-2</c:v>
                </c:pt>
                <c:pt idx="20536">
                  <c:v>1.59663865546219E-2</c:v>
                </c:pt>
                <c:pt idx="20537">
                  <c:v>1.59663865546219E-2</c:v>
                </c:pt>
                <c:pt idx="20538">
                  <c:v>1.6806722689075598E-2</c:v>
                </c:pt>
                <c:pt idx="20539">
                  <c:v>1.6806722689075598E-2</c:v>
                </c:pt>
                <c:pt idx="20540">
                  <c:v>1.6806722689075598E-2</c:v>
                </c:pt>
                <c:pt idx="20541">
                  <c:v>1.6806722689075598E-2</c:v>
                </c:pt>
                <c:pt idx="20542">
                  <c:v>1.6806722689075598E-2</c:v>
                </c:pt>
                <c:pt idx="20543">
                  <c:v>1.6806722689075598E-2</c:v>
                </c:pt>
                <c:pt idx="20544">
                  <c:v>1.6806722689075598E-2</c:v>
                </c:pt>
                <c:pt idx="20545">
                  <c:v>1.6806722689075598E-2</c:v>
                </c:pt>
                <c:pt idx="20546">
                  <c:v>1.6806722689075598E-2</c:v>
                </c:pt>
                <c:pt idx="20547">
                  <c:v>1.7647058823529401E-2</c:v>
                </c:pt>
                <c:pt idx="20548">
                  <c:v>1.7647058823529401E-2</c:v>
                </c:pt>
                <c:pt idx="20549">
                  <c:v>1.7647058823529401E-2</c:v>
                </c:pt>
                <c:pt idx="20550">
                  <c:v>1.7647058823529401E-2</c:v>
                </c:pt>
                <c:pt idx="20551">
                  <c:v>1.7647058823529401E-2</c:v>
                </c:pt>
                <c:pt idx="20552">
                  <c:v>1.7647058823529401E-2</c:v>
                </c:pt>
                <c:pt idx="20553">
                  <c:v>1.7647058823529401E-2</c:v>
                </c:pt>
                <c:pt idx="20554">
                  <c:v>1.84873949579832E-2</c:v>
                </c:pt>
                <c:pt idx="20555">
                  <c:v>1.84873949579832E-2</c:v>
                </c:pt>
                <c:pt idx="20556">
                  <c:v>1.84873949579832E-2</c:v>
                </c:pt>
                <c:pt idx="20557">
                  <c:v>1.84873949579832E-2</c:v>
                </c:pt>
                <c:pt idx="20558">
                  <c:v>1.84873949579832E-2</c:v>
                </c:pt>
                <c:pt idx="20559">
                  <c:v>1.84873949579832E-2</c:v>
                </c:pt>
                <c:pt idx="20560">
                  <c:v>1.84873949579832E-2</c:v>
                </c:pt>
                <c:pt idx="20561">
                  <c:v>1.84873949579832E-2</c:v>
                </c:pt>
                <c:pt idx="20562">
                  <c:v>1.84873949579832E-2</c:v>
                </c:pt>
                <c:pt idx="20563">
                  <c:v>1.84873949579832E-2</c:v>
                </c:pt>
                <c:pt idx="20564">
                  <c:v>1.84873949579832E-2</c:v>
                </c:pt>
                <c:pt idx="20565">
                  <c:v>1.84873949579832E-2</c:v>
                </c:pt>
                <c:pt idx="20566">
                  <c:v>1.84873949579832E-2</c:v>
                </c:pt>
                <c:pt idx="20567">
                  <c:v>1.9327731092437E-2</c:v>
                </c:pt>
                <c:pt idx="20568">
                  <c:v>1.9327731092437E-2</c:v>
                </c:pt>
                <c:pt idx="20569">
                  <c:v>1.9327731092437E-2</c:v>
                </c:pt>
                <c:pt idx="20570">
                  <c:v>1.84873949579832E-2</c:v>
                </c:pt>
                <c:pt idx="20571">
                  <c:v>1.84873949579832E-2</c:v>
                </c:pt>
                <c:pt idx="20572">
                  <c:v>1.84873949579832E-2</c:v>
                </c:pt>
                <c:pt idx="20573">
                  <c:v>1.84873949579832E-2</c:v>
                </c:pt>
                <c:pt idx="20574">
                  <c:v>1.84873949579832E-2</c:v>
                </c:pt>
                <c:pt idx="20575">
                  <c:v>1.84873949579832E-2</c:v>
                </c:pt>
                <c:pt idx="20576">
                  <c:v>1.84873949579832E-2</c:v>
                </c:pt>
                <c:pt idx="20577">
                  <c:v>1.84873949579832E-2</c:v>
                </c:pt>
                <c:pt idx="20578">
                  <c:v>1.84873949579832E-2</c:v>
                </c:pt>
                <c:pt idx="20579">
                  <c:v>1.84873949579832E-2</c:v>
                </c:pt>
                <c:pt idx="20580">
                  <c:v>1.84873949579832E-2</c:v>
                </c:pt>
                <c:pt idx="20581">
                  <c:v>1.84873949579832E-2</c:v>
                </c:pt>
                <c:pt idx="20582">
                  <c:v>1.84873949579832E-2</c:v>
                </c:pt>
                <c:pt idx="20583">
                  <c:v>1.84873949579832E-2</c:v>
                </c:pt>
                <c:pt idx="20584">
                  <c:v>1.84873949579832E-2</c:v>
                </c:pt>
                <c:pt idx="20585">
                  <c:v>1.7647058823529401E-2</c:v>
                </c:pt>
                <c:pt idx="20586">
                  <c:v>1.7647058823529401E-2</c:v>
                </c:pt>
                <c:pt idx="20587">
                  <c:v>1.7647058823529401E-2</c:v>
                </c:pt>
                <c:pt idx="20588">
                  <c:v>1.7647058823529401E-2</c:v>
                </c:pt>
                <c:pt idx="20589">
                  <c:v>1.7647058823529401E-2</c:v>
                </c:pt>
                <c:pt idx="20590">
                  <c:v>1.7647058823529401E-2</c:v>
                </c:pt>
                <c:pt idx="20591">
                  <c:v>1.7647058823529401E-2</c:v>
                </c:pt>
                <c:pt idx="20592">
                  <c:v>1.7647058823529401E-2</c:v>
                </c:pt>
                <c:pt idx="20593">
                  <c:v>1.7647058823529401E-2</c:v>
                </c:pt>
                <c:pt idx="20594">
                  <c:v>1.7647058823529401E-2</c:v>
                </c:pt>
                <c:pt idx="20595">
                  <c:v>1.7647058823529401E-2</c:v>
                </c:pt>
                <c:pt idx="20596">
                  <c:v>1.7647058823529401E-2</c:v>
                </c:pt>
                <c:pt idx="20597">
                  <c:v>1.7647058823529401E-2</c:v>
                </c:pt>
                <c:pt idx="20598">
                  <c:v>1.7647058823529401E-2</c:v>
                </c:pt>
                <c:pt idx="20599">
                  <c:v>1.7647058823529401E-2</c:v>
                </c:pt>
                <c:pt idx="20600">
                  <c:v>1.7647058823529401E-2</c:v>
                </c:pt>
                <c:pt idx="20601">
                  <c:v>1.7647058823529401E-2</c:v>
                </c:pt>
                <c:pt idx="20602">
                  <c:v>1.7647058823529401E-2</c:v>
                </c:pt>
                <c:pt idx="20603">
                  <c:v>1.7647058823529401E-2</c:v>
                </c:pt>
                <c:pt idx="20604">
                  <c:v>1.7647058823529401E-2</c:v>
                </c:pt>
                <c:pt idx="20605">
                  <c:v>1.7647058823529401E-2</c:v>
                </c:pt>
                <c:pt idx="20606">
                  <c:v>1.7647058823529401E-2</c:v>
                </c:pt>
                <c:pt idx="20607">
                  <c:v>1.7647058823529401E-2</c:v>
                </c:pt>
                <c:pt idx="20608">
                  <c:v>1.7647058823529401E-2</c:v>
                </c:pt>
                <c:pt idx="20609">
                  <c:v>1.7647058823529401E-2</c:v>
                </c:pt>
                <c:pt idx="20610">
                  <c:v>1.7647058823529401E-2</c:v>
                </c:pt>
                <c:pt idx="20611">
                  <c:v>1.7647058823529401E-2</c:v>
                </c:pt>
                <c:pt idx="20612">
                  <c:v>1.7647058823529401E-2</c:v>
                </c:pt>
                <c:pt idx="20613">
                  <c:v>1.7647058823529401E-2</c:v>
                </c:pt>
                <c:pt idx="20614">
                  <c:v>1.7647058823529401E-2</c:v>
                </c:pt>
                <c:pt idx="20615">
                  <c:v>1.7647058823529401E-2</c:v>
                </c:pt>
                <c:pt idx="20616">
                  <c:v>1.7647058823529401E-2</c:v>
                </c:pt>
                <c:pt idx="20617">
                  <c:v>1.84873949579832E-2</c:v>
                </c:pt>
                <c:pt idx="20618">
                  <c:v>1.84873949579832E-2</c:v>
                </c:pt>
                <c:pt idx="20619">
                  <c:v>1.84873949579832E-2</c:v>
                </c:pt>
                <c:pt idx="20620">
                  <c:v>1.84873949579832E-2</c:v>
                </c:pt>
                <c:pt idx="20621">
                  <c:v>1.84873949579832E-2</c:v>
                </c:pt>
                <c:pt idx="20622">
                  <c:v>1.84873949579832E-2</c:v>
                </c:pt>
                <c:pt idx="20623">
                  <c:v>1.84873949579832E-2</c:v>
                </c:pt>
                <c:pt idx="20624">
                  <c:v>1.84873949579832E-2</c:v>
                </c:pt>
                <c:pt idx="20625">
                  <c:v>1.84873949579832E-2</c:v>
                </c:pt>
                <c:pt idx="20626">
                  <c:v>1.84873949579832E-2</c:v>
                </c:pt>
                <c:pt idx="20627">
                  <c:v>1.84873949579832E-2</c:v>
                </c:pt>
                <c:pt idx="20628">
                  <c:v>1.84873949579832E-2</c:v>
                </c:pt>
                <c:pt idx="20629">
                  <c:v>1.84873949579832E-2</c:v>
                </c:pt>
                <c:pt idx="20630">
                  <c:v>1.84873949579832E-2</c:v>
                </c:pt>
                <c:pt idx="20631">
                  <c:v>1.84873949579832E-2</c:v>
                </c:pt>
                <c:pt idx="20632">
                  <c:v>1.84873949579832E-2</c:v>
                </c:pt>
                <c:pt idx="20633">
                  <c:v>1.84873949579832E-2</c:v>
                </c:pt>
                <c:pt idx="20634">
                  <c:v>1.84873949579832E-2</c:v>
                </c:pt>
                <c:pt idx="20635">
                  <c:v>1.84873949579832E-2</c:v>
                </c:pt>
                <c:pt idx="20636">
                  <c:v>1.84873949579832E-2</c:v>
                </c:pt>
                <c:pt idx="20637">
                  <c:v>1.84873949579832E-2</c:v>
                </c:pt>
                <c:pt idx="20638">
                  <c:v>1.84873949579832E-2</c:v>
                </c:pt>
                <c:pt idx="20639">
                  <c:v>1.84873949579832E-2</c:v>
                </c:pt>
                <c:pt idx="20640">
                  <c:v>1.84873949579832E-2</c:v>
                </c:pt>
                <c:pt idx="20641">
                  <c:v>1.84873949579832E-2</c:v>
                </c:pt>
                <c:pt idx="20642">
                  <c:v>1.84873949579832E-2</c:v>
                </c:pt>
                <c:pt idx="20643">
                  <c:v>1.84873949579832E-2</c:v>
                </c:pt>
                <c:pt idx="20644">
                  <c:v>1.84873949579832E-2</c:v>
                </c:pt>
                <c:pt idx="20645">
                  <c:v>1.84873949579832E-2</c:v>
                </c:pt>
                <c:pt idx="20646">
                  <c:v>1.84873949579832E-2</c:v>
                </c:pt>
                <c:pt idx="20647">
                  <c:v>1.84873949579832E-2</c:v>
                </c:pt>
                <c:pt idx="20648">
                  <c:v>1.84873949579832E-2</c:v>
                </c:pt>
                <c:pt idx="20649">
                  <c:v>1.84873949579832E-2</c:v>
                </c:pt>
                <c:pt idx="20650">
                  <c:v>1.84873949579832E-2</c:v>
                </c:pt>
                <c:pt idx="20651">
                  <c:v>1.84873949579832E-2</c:v>
                </c:pt>
                <c:pt idx="20652">
                  <c:v>1.84873949579832E-2</c:v>
                </c:pt>
                <c:pt idx="20653">
                  <c:v>1.84873949579832E-2</c:v>
                </c:pt>
                <c:pt idx="20654">
                  <c:v>1.84873949579832E-2</c:v>
                </c:pt>
                <c:pt idx="20655">
                  <c:v>1.84873949579832E-2</c:v>
                </c:pt>
                <c:pt idx="20656">
                  <c:v>1.84873949579832E-2</c:v>
                </c:pt>
                <c:pt idx="20657">
                  <c:v>1.84873949579832E-2</c:v>
                </c:pt>
                <c:pt idx="20658">
                  <c:v>1.84873949579832E-2</c:v>
                </c:pt>
                <c:pt idx="20659">
                  <c:v>1.84873949579832E-2</c:v>
                </c:pt>
                <c:pt idx="20660">
                  <c:v>1.84873949579832E-2</c:v>
                </c:pt>
                <c:pt idx="20661">
                  <c:v>1.84873949579832E-2</c:v>
                </c:pt>
                <c:pt idx="20662">
                  <c:v>1.84873949579832E-2</c:v>
                </c:pt>
                <c:pt idx="20663">
                  <c:v>1.84873949579832E-2</c:v>
                </c:pt>
                <c:pt idx="20664">
                  <c:v>1.84873949579832E-2</c:v>
                </c:pt>
                <c:pt idx="20665">
                  <c:v>1.84873949579832E-2</c:v>
                </c:pt>
                <c:pt idx="20666">
                  <c:v>1.84873949579832E-2</c:v>
                </c:pt>
                <c:pt idx="20667">
                  <c:v>1.84873949579832E-2</c:v>
                </c:pt>
                <c:pt idx="20668">
                  <c:v>1.84873949579832E-2</c:v>
                </c:pt>
                <c:pt idx="20669">
                  <c:v>1.84873949579832E-2</c:v>
                </c:pt>
                <c:pt idx="20670">
                  <c:v>1.84873949579832E-2</c:v>
                </c:pt>
                <c:pt idx="20671">
                  <c:v>1.84873949579832E-2</c:v>
                </c:pt>
                <c:pt idx="20672">
                  <c:v>1.84873949579832E-2</c:v>
                </c:pt>
                <c:pt idx="20673">
                  <c:v>1.84873949579832E-2</c:v>
                </c:pt>
                <c:pt idx="20674">
                  <c:v>1.84873949579832E-2</c:v>
                </c:pt>
                <c:pt idx="20675">
                  <c:v>1.84873949579832E-2</c:v>
                </c:pt>
                <c:pt idx="20676">
                  <c:v>1.84873949579832E-2</c:v>
                </c:pt>
                <c:pt idx="20677">
                  <c:v>1.84873949579832E-2</c:v>
                </c:pt>
                <c:pt idx="20678">
                  <c:v>1.84873949579832E-2</c:v>
                </c:pt>
                <c:pt idx="20679">
                  <c:v>1.84873949579832E-2</c:v>
                </c:pt>
                <c:pt idx="20680">
                  <c:v>1.84873949579832E-2</c:v>
                </c:pt>
                <c:pt idx="20681">
                  <c:v>1.7647058823529401E-2</c:v>
                </c:pt>
                <c:pt idx="20682">
                  <c:v>1.7647058823529401E-2</c:v>
                </c:pt>
                <c:pt idx="20683">
                  <c:v>1.7647058823529401E-2</c:v>
                </c:pt>
                <c:pt idx="20684">
                  <c:v>1.7647058823529401E-2</c:v>
                </c:pt>
                <c:pt idx="20685">
                  <c:v>1.7647058823529401E-2</c:v>
                </c:pt>
                <c:pt idx="20686">
                  <c:v>1.7647058823529401E-2</c:v>
                </c:pt>
                <c:pt idx="20687">
                  <c:v>1.7647058823529401E-2</c:v>
                </c:pt>
                <c:pt idx="20688">
                  <c:v>1.6806722689075598E-2</c:v>
                </c:pt>
                <c:pt idx="20689">
                  <c:v>1.6806722689075598E-2</c:v>
                </c:pt>
                <c:pt idx="20690">
                  <c:v>1.6806722689075598E-2</c:v>
                </c:pt>
                <c:pt idx="20691">
                  <c:v>1.6806722689075598E-2</c:v>
                </c:pt>
                <c:pt idx="20692">
                  <c:v>1.6806722689075598E-2</c:v>
                </c:pt>
                <c:pt idx="20693">
                  <c:v>1.6806722689075598E-2</c:v>
                </c:pt>
                <c:pt idx="20694">
                  <c:v>1.6806722689075598E-2</c:v>
                </c:pt>
                <c:pt idx="20695">
                  <c:v>1.6806722689075598E-2</c:v>
                </c:pt>
                <c:pt idx="20696">
                  <c:v>1.6806722689075598E-2</c:v>
                </c:pt>
                <c:pt idx="20697">
                  <c:v>1.6806722689075598E-2</c:v>
                </c:pt>
                <c:pt idx="20698">
                  <c:v>1.6806722689075598E-2</c:v>
                </c:pt>
                <c:pt idx="20699">
                  <c:v>1.6806722689075598E-2</c:v>
                </c:pt>
                <c:pt idx="20700">
                  <c:v>1.6806722689075598E-2</c:v>
                </c:pt>
                <c:pt idx="20701">
                  <c:v>1.6806722689075598E-2</c:v>
                </c:pt>
                <c:pt idx="20702">
                  <c:v>1.6806722689075598E-2</c:v>
                </c:pt>
                <c:pt idx="20703">
                  <c:v>1.6806722689075598E-2</c:v>
                </c:pt>
                <c:pt idx="20704">
                  <c:v>1.6806722689075598E-2</c:v>
                </c:pt>
                <c:pt idx="20705">
                  <c:v>1.6806722689075598E-2</c:v>
                </c:pt>
                <c:pt idx="20706">
                  <c:v>1.6806722689075598E-2</c:v>
                </c:pt>
                <c:pt idx="20707">
                  <c:v>1.6806722689075598E-2</c:v>
                </c:pt>
                <c:pt idx="20708">
                  <c:v>1.6806722689075598E-2</c:v>
                </c:pt>
                <c:pt idx="20709">
                  <c:v>1.6806722689075598E-2</c:v>
                </c:pt>
                <c:pt idx="20710">
                  <c:v>1.6806722689075598E-2</c:v>
                </c:pt>
                <c:pt idx="20711">
                  <c:v>1.6806722689075598E-2</c:v>
                </c:pt>
                <c:pt idx="20712">
                  <c:v>1.6806722689075598E-2</c:v>
                </c:pt>
                <c:pt idx="20713">
                  <c:v>1.6806722689075598E-2</c:v>
                </c:pt>
                <c:pt idx="20714">
                  <c:v>1.6806722689075598E-2</c:v>
                </c:pt>
                <c:pt idx="20715">
                  <c:v>1.6806722689075598E-2</c:v>
                </c:pt>
                <c:pt idx="20716">
                  <c:v>1.6806722689075598E-2</c:v>
                </c:pt>
                <c:pt idx="20717">
                  <c:v>1.6806722689075598E-2</c:v>
                </c:pt>
                <c:pt idx="20718">
                  <c:v>1.6806722689075598E-2</c:v>
                </c:pt>
                <c:pt idx="20719">
                  <c:v>1.6806722689075598E-2</c:v>
                </c:pt>
                <c:pt idx="20720">
                  <c:v>1.6806722689075598E-2</c:v>
                </c:pt>
                <c:pt idx="20721">
                  <c:v>1.6806722689075598E-2</c:v>
                </c:pt>
                <c:pt idx="20722">
                  <c:v>1.6806722689075598E-2</c:v>
                </c:pt>
                <c:pt idx="20723">
                  <c:v>1.6806722689075598E-2</c:v>
                </c:pt>
                <c:pt idx="20724">
                  <c:v>1.6806722689075598E-2</c:v>
                </c:pt>
                <c:pt idx="20725">
                  <c:v>1.6806722689075598E-2</c:v>
                </c:pt>
                <c:pt idx="20726">
                  <c:v>1.6806722689075598E-2</c:v>
                </c:pt>
                <c:pt idx="20727">
                  <c:v>1.6806722689075598E-2</c:v>
                </c:pt>
                <c:pt idx="20728">
                  <c:v>1.6806722689075598E-2</c:v>
                </c:pt>
                <c:pt idx="20729">
                  <c:v>1.6806722689075598E-2</c:v>
                </c:pt>
                <c:pt idx="20730">
                  <c:v>1.7647058823529401E-2</c:v>
                </c:pt>
                <c:pt idx="20731">
                  <c:v>1.7647058823529401E-2</c:v>
                </c:pt>
                <c:pt idx="20732">
                  <c:v>1.7647058823529401E-2</c:v>
                </c:pt>
                <c:pt idx="20733">
                  <c:v>1.7647058823529401E-2</c:v>
                </c:pt>
                <c:pt idx="20734">
                  <c:v>1.7647058823529401E-2</c:v>
                </c:pt>
                <c:pt idx="20735">
                  <c:v>1.7647058823529401E-2</c:v>
                </c:pt>
                <c:pt idx="20736">
                  <c:v>1.7647058823529401E-2</c:v>
                </c:pt>
                <c:pt idx="20737">
                  <c:v>1.7647058823529401E-2</c:v>
                </c:pt>
                <c:pt idx="20738">
                  <c:v>1.7647058823529401E-2</c:v>
                </c:pt>
                <c:pt idx="20739">
                  <c:v>1.7647058823529401E-2</c:v>
                </c:pt>
                <c:pt idx="20740">
                  <c:v>1.7647058823529401E-2</c:v>
                </c:pt>
                <c:pt idx="20741">
                  <c:v>1.7647058823529401E-2</c:v>
                </c:pt>
                <c:pt idx="20742">
                  <c:v>1.7647058823529401E-2</c:v>
                </c:pt>
                <c:pt idx="20743">
                  <c:v>1.7647058823529401E-2</c:v>
                </c:pt>
                <c:pt idx="20744">
                  <c:v>1.7647058823529401E-2</c:v>
                </c:pt>
                <c:pt idx="20745">
                  <c:v>1.7647058823529401E-2</c:v>
                </c:pt>
                <c:pt idx="20746">
                  <c:v>1.7647058823529401E-2</c:v>
                </c:pt>
                <c:pt idx="20747">
                  <c:v>1.7647058823529401E-2</c:v>
                </c:pt>
                <c:pt idx="20748">
                  <c:v>1.7647058823529401E-2</c:v>
                </c:pt>
                <c:pt idx="20749">
                  <c:v>1.7647058823529401E-2</c:v>
                </c:pt>
                <c:pt idx="20750">
                  <c:v>1.7647058823529401E-2</c:v>
                </c:pt>
                <c:pt idx="20751">
                  <c:v>1.7647058823529401E-2</c:v>
                </c:pt>
                <c:pt idx="20752">
                  <c:v>1.7647058823529401E-2</c:v>
                </c:pt>
                <c:pt idx="20753">
                  <c:v>1.7647058823529401E-2</c:v>
                </c:pt>
                <c:pt idx="20754">
                  <c:v>1.7647058823529401E-2</c:v>
                </c:pt>
                <c:pt idx="20755">
                  <c:v>1.7647058823529401E-2</c:v>
                </c:pt>
                <c:pt idx="20756">
                  <c:v>1.7647058823529401E-2</c:v>
                </c:pt>
                <c:pt idx="20757">
                  <c:v>1.7647058823529401E-2</c:v>
                </c:pt>
                <c:pt idx="20758">
                  <c:v>1.7647058823529401E-2</c:v>
                </c:pt>
                <c:pt idx="20759">
                  <c:v>1.7647058823529401E-2</c:v>
                </c:pt>
                <c:pt idx="20760">
                  <c:v>1.7647058823529401E-2</c:v>
                </c:pt>
                <c:pt idx="20761">
                  <c:v>1.7647058823529401E-2</c:v>
                </c:pt>
                <c:pt idx="20762">
                  <c:v>1.7647058823529401E-2</c:v>
                </c:pt>
                <c:pt idx="20763">
                  <c:v>1.7647058823529401E-2</c:v>
                </c:pt>
                <c:pt idx="20764">
                  <c:v>1.7647058823529401E-2</c:v>
                </c:pt>
                <c:pt idx="20765">
                  <c:v>1.7647058823529401E-2</c:v>
                </c:pt>
                <c:pt idx="20766">
                  <c:v>1.7647058823529401E-2</c:v>
                </c:pt>
                <c:pt idx="20767">
                  <c:v>1.7647058823529401E-2</c:v>
                </c:pt>
                <c:pt idx="20768">
                  <c:v>1.7647058823529401E-2</c:v>
                </c:pt>
                <c:pt idx="20769">
                  <c:v>1.7647058823529401E-2</c:v>
                </c:pt>
                <c:pt idx="20770">
                  <c:v>1.7647058823529401E-2</c:v>
                </c:pt>
                <c:pt idx="20771">
                  <c:v>1.84873949579832E-2</c:v>
                </c:pt>
                <c:pt idx="20772">
                  <c:v>1.84873949579832E-2</c:v>
                </c:pt>
                <c:pt idx="20773">
                  <c:v>1.84873949579832E-2</c:v>
                </c:pt>
                <c:pt idx="20774">
                  <c:v>1.84873949579832E-2</c:v>
                </c:pt>
                <c:pt idx="20775">
                  <c:v>1.84873949579832E-2</c:v>
                </c:pt>
                <c:pt idx="20776">
                  <c:v>1.84873949579832E-2</c:v>
                </c:pt>
                <c:pt idx="20777">
                  <c:v>1.84873949579832E-2</c:v>
                </c:pt>
                <c:pt idx="20778">
                  <c:v>1.84873949579832E-2</c:v>
                </c:pt>
                <c:pt idx="20779">
                  <c:v>1.84873949579832E-2</c:v>
                </c:pt>
                <c:pt idx="20780">
                  <c:v>1.84873949579832E-2</c:v>
                </c:pt>
                <c:pt idx="20781">
                  <c:v>1.7647058823529401E-2</c:v>
                </c:pt>
                <c:pt idx="20782">
                  <c:v>1.7647058823529401E-2</c:v>
                </c:pt>
                <c:pt idx="20783">
                  <c:v>1.7647058823529401E-2</c:v>
                </c:pt>
                <c:pt idx="20784">
                  <c:v>1.7647058823529401E-2</c:v>
                </c:pt>
                <c:pt idx="20785">
                  <c:v>1.7647058823529401E-2</c:v>
                </c:pt>
                <c:pt idx="20786">
                  <c:v>1.7647058823529401E-2</c:v>
                </c:pt>
                <c:pt idx="20787">
                  <c:v>1.7647058823529401E-2</c:v>
                </c:pt>
                <c:pt idx="20788">
                  <c:v>1.7647058823529401E-2</c:v>
                </c:pt>
                <c:pt idx="20789">
                  <c:v>1.7647058823529401E-2</c:v>
                </c:pt>
                <c:pt idx="20790">
                  <c:v>1.7647058823529401E-2</c:v>
                </c:pt>
                <c:pt idx="20791">
                  <c:v>1.7647058823529401E-2</c:v>
                </c:pt>
                <c:pt idx="20792">
                  <c:v>1.7647058823529401E-2</c:v>
                </c:pt>
                <c:pt idx="20793">
                  <c:v>1.7647058823529401E-2</c:v>
                </c:pt>
                <c:pt idx="20794">
                  <c:v>1.7647058823529401E-2</c:v>
                </c:pt>
                <c:pt idx="20795">
                  <c:v>1.7647058823529401E-2</c:v>
                </c:pt>
                <c:pt idx="20796">
                  <c:v>1.7647058823529401E-2</c:v>
                </c:pt>
                <c:pt idx="20797">
                  <c:v>1.7647058823529401E-2</c:v>
                </c:pt>
                <c:pt idx="20798">
                  <c:v>1.7647058823529401E-2</c:v>
                </c:pt>
                <c:pt idx="20799">
                  <c:v>1.7647058823529401E-2</c:v>
                </c:pt>
                <c:pt idx="20800">
                  <c:v>1.7647058823529401E-2</c:v>
                </c:pt>
                <c:pt idx="20801">
                  <c:v>1.7647058823529401E-2</c:v>
                </c:pt>
                <c:pt idx="20802">
                  <c:v>1.7647058823529401E-2</c:v>
                </c:pt>
                <c:pt idx="20803">
                  <c:v>1.7647058823529401E-2</c:v>
                </c:pt>
                <c:pt idx="20804">
                  <c:v>1.7647058823529401E-2</c:v>
                </c:pt>
                <c:pt idx="20805">
                  <c:v>1.7647058823529401E-2</c:v>
                </c:pt>
                <c:pt idx="20806">
                  <c:v>1.7647058823529401E-2</c:v>
                </c:pt>
                <c:pt idx="20807">
                  <c:v>1.7647058823529401E-2</c:v>
                </c:pt>
                <c:pt idx="20808">
                  <c:v>1.7647058823529401E-2</c:v>
                </c:pt>
                <c:pt idx="20809">
                  <c:v>1.7647058823529401E-2</c:v>
                </c:pt>
                <c:pt idx="20810">
                  <c:v>1.7647058823529401E-2</c:v>
                </c:pt>
                <c:pt idx="20811">
                  <c:v>1.7647058823529401E-2</c:v>
                </c:pt>
                <c:pt idx="20812">
                  <c:v>1.7647058823529401E-2</c:v>
                </c:pt>
                <c:pt idx="20813">
                  <c:v>1.7647058823529401E-2</c:v>
                </c:pt>
                <c:pt idx="20814">
                  <c:v>1.7647058823529401E-2</c:v>
                </c:pt>
                <c:pt idx="20815">
                  <c:v>1.7647058823529401E-2</c:v>
                </c:pt>
                <c:pt idx="20816">
                  <c:v>1.7647058823529401E-2</c:v>
                </c:pt>
                <c:pt idx="20817">
                  <c:v>1.7647058823529401E-2</c:v>
                </c:pt>
                <c:pt idx="20818">
                  <c:v>1.7647058823529401E-2</c:v>
                </c:pt>
                <c:pt idx="20819">
                  <c:v>1.7647058823529401E-2</c:v>
                </c:pt>
                <c:pt idx="20820">
                  <c:v>1.7647058823529401E-2</c:v>
                </c:pt>
                <c:pt idx="20821">
                  <c:v>1.7647058823529401E-2</c:v>
                </c:pt>
                <c:pt idx="20822">
                  <c:v>1.7647058823529401E-2</c:v>
                </c:pt>
                <c:pt idx="20823">
                  <c:v>1.7647058823529401E-2</c:v>
                </c:pt>
                <c:pt idx="20824">
                  <c:v>1.7647058823529401E-2</c:v>
                </c:pt>
                <c:pt idx="20825">
                  <c:v>1.7647058823529401E-2</c:v>
                </c:pt>
                <c:pt idx="20826">
                  <c:v>1.7647058823529401E-2</c:v>
                </c:pt>
                <c:pt idx="20827">
                  <c:v>1.7647058823529401E-2</c:v>
                </c:pt>
                <c:pt idx="20828">
                  <c:v>1.7647058823529401E-2</c:v>
                </c:pt>
                <c:pt idx="20829">
                  <c:v>1.7647058823529401E-2</c:v>
                </c:pt>
                <c:pt idx="20830">
                  <c:v>1.7647058823529401E-2</c:v>
                </c:pt>
                <c:pt idx="20831">
                  <c:v>1.6806722689075598E-2</c:v>
                </c:pt>
                <c:pt idx="20832">
                  <c:v>1.6806722689075598E-2</c:v>
                </c:pt>
                <c:pt idx="20833">
                  <c:v>1.6806722689075598E-2</c:v>
                </c:pt>
                <c:pt idx="20834">
                  <c:v>1.6806722689075598E-2</c:v>
                </c:pt>
                <c:pt idx="20835">
                  <c:v>1.6806722689075598E-2</c:v>
                </c:pt>
                <c:pt idx="20836">
                  <c:v>1.6806722689075598E-2</c:v>
                </c:pt>
                <c:pt idx="20837">
                  <c:v>1.6806722689075598E-2</c:v>
                </c:pt>
                <c:pt idx="20838">
                  <c:v>1.6806722689075598E-2</c:v>
                </c:pt>
                <c:pt idx="20839">
                  <c:v>1.6806722689075598E-2</c:v>
                </c:pt>
                <c:pt idx="20840">
                  <c:v>1.6806722689075598E-2</c:v>
                </c:pt>
                <c:pt idx="20841">
                  <c:v>1.6806722689075598E-2</c:v>
                </c:pt>
                <c:pt idx="20842">
                  <c:v>1.6806722689075598E-2</c:v>
                </c:pt>
                <c:pt idx="20843">
                  <c:v>1.6806722689075598E-2</c:v>
                </c:pt>
                <c:pt idx="20844">
                  <c:v>1.6806722689075598E-2</c:v>
                </c:pt>
                <c:pt idx="20845">
                  <c:v>1.6806722689075598E-2</c:v>
                </c:pt>
                <c:pt idx="20846">
                  <c:v>1.6806722689075598E-2</c:v>
                </c:pt>
                <c:pt idx="20847">
                  <c:v>1.6806722689075598E-2</c:v>
                </c:pt>
                <c:pt idx="20848">
                  <c:v>1.6806722689075598E-2</c:v>
                </c:pt>
                <c:pt idx="20849">
                  <c:v>1.6806722689075598E-2</c:v>
                </c:pt>
                <c:pt idx="20850">
                  <c:v>1.6806722689075598E-2</c:v>
                </c:pt>
                <c:pt idx="20851">
                  <c:v>1.6806722689075598E-2</c:v>
                </c:pt>
                <c:pt idx="20852">
                  <c:v>1.6806722689075598E-2</c:v>
                </c:pt>
                <c:pt idx="20853">
                  <c:v>1.6806722689075598E-2</c:v>
                </c:pt>
                <c:pt idx="20854">
                  <c:v>1.6806722689075598E-2</c:v>
                </c:pt>
                <c:pt idx="20855">
                  <c:v>1.6806722689075598E-2</c:v>
                </c:pt>
                <c:pt idx="20856">
                  <c:v>1.6806722689075598E-2</c:v>
                </c:pt>
                <c:pt idx="20857">
                  <c:v>1.6806722689075598E-2</c:v>
                </c:pt>
                <c:pt idx="20858">
                  <c:v>1.6806722689075598E-2</c:v>
                </c:pt>
                <c:pt idx="20859">
                  <c:v>1.6806722689075598E-2</c:v>
                </c:pt>
                <c:pt idx="20860">
                  <c:v>1.6806722689075598E-2</c:v>
                </c:pt>
                <c:pt idx="20861">
                  <c:v>1.6806722689075598E-2</c:v>
                </c:pt>
                <c:pt idx="20862">
                  <c:v>1.6806722689075598E-2</c:v>
                </c:pt>
                <c:pt idx="20863">
                  <c:v>1.6806722689075598E-2</c:v>
                </c:pt>
                <c:pt idx="20864">
                  <c:v>1.6806722689075598E-2</c:v>
                </c:pt>
                <c:pt idx="20865">
                  <c:v>1.6806722689075598E-2</c:v>
                </c:pt>
                <c:pt idx="20866">
                  <c:v>1.6806722689075598E-2</c:v>
                </c:pt>
                <c:pt idx="20867">
                  <c:v>1.6806722689075598E-2</c:v>
                </c:pt>
                <c:pt idx="20868">
                  <c:v>1.6806722689075598E-2</c:v>
                </c:pt>
                <c:pt idx="20869">
                  <c:v>1.6806722689075598E-2</c:v>
                </c:pt>
                <c:pt idx="20870">
                  <c:v>1.6806722689075598E-2</c:v>
                </c:pt>
                <c:pt idx="20871">
                  <c:v>1.6806722689075598E-2</c:v>
                </c:pt>
                <c:pt idx="20872">
                  <c:v>1.6806722689075598E-2</c:v>
                </c:pt>
                <c:pt idx="20873">
                  <c:v>1.6806722689075598E-2</c:v>
                </c:pt>
                <c:pt idx="20874">
                  <c:v>1.6806722689075598E-2</c:v>
                </c:pt>
                <c:pt idx="20875">
                  <c:v>1.6806722689075598E-2</c:v>
                </c:pt>
                <c:pt idx="20876">
                  <c:v>1.6806722689075598E-2</c:v>
                </c:pt>
                <c:pt idx="20877">
                  <c:v>1.6806722689075598E-2</c:v>
                </c:pt>
                <c:pt idx="20878">
                  <c:v>1.6806722689075598E-2</c:v>
                </c:pt>
                <c:pt idx="20879">
                  <c:v>1.6806722689075598E-2</c:v>
                </c:pt>
                <c:pt idx="20880">
                  <c:v>1.6806722689075598E-2</c:v>
                </c:pt>
                <c:pt idx="20881">
                  <c:v>1.6806722689075598E-2</c:v>
                </c:pt>
                <c:pt idx="20882">
                  <c:v>1.6806722689075598E-2</c:v>
                </c:pt>
                <c:pt idx="20883">
                  <c:v>1.6806722689075598E-2</c:v>
                </c:pt>
                <c:pt idx="20884">
                  <c:v>1.6806722689075598E-2</c:v>
                </c:pt>
                <c:pt idx="20885">
                  <c:v>1.6806722689075598E-2</c:v>
                </c:pt>
                <c:pt idx="20886">
                  <c:v>1.6806722689075598E-2</c:v>
                </c:pt>
                <c:pt idx="20887">
                  <c:v>1.6806722689075598E-2</c:v>
                </c:pt>
                <c:pt idx="20888">
                  <c:v>1.59663865546219E-2</c:v>
                </c:pt>
                <c:pt idx="20889">
                  <c:v>1.59663865546219E-2</c:v>
                </c:pt>
                <c:pt idx="20890">
                  <c:v>1.59663865546219E-2</c:v>
                </c:pt>
                <c:pt idx="20891">
                  <c:v>1.59663865546219E-2</c:v>
                </c:pt>
                <c:pt idx="20892">
                  <c:v>1.59663865546219E-2</c:v>
                </c:pt>
                <c:pt idx="20893">
                  <c:v>1.59663865546219E-2</c:v>
                </c:pt>
                <c:pt idx="20894">
                  <c:v>1.59663865546219E-2</c:v>
                </c:pt>
                <c:pt idx="20895">
                  <c:v>1.59663865546219E-2</c:v>
                </c:pt>
                <c:pt idx="20896">
                  <c:v>1.59663865546219E-2</c:v>
                </c:pt>
                <c:pt idx="20897">
                  <c:v>1.59663865546219E-2</c:v>
                </c:pt>
                <c:pt idx="20898">
                  <c:v>1.59663865546219E-2</c:v>
                </c:pt>
                <c:pt idx="20899">
                  <c:v>1.59663865546219E-2</c:v>
                </c:pt>
                <c:pt idx="20900">
                  <c:v>1.6806722689075598E-2</c:v>
                </c:pt>
                <c:pt idx="20901">
                  <c:v>1.6806722689075598E-2</c:v>
                </c:pt>
                <c:pt idx="20902">
                  <c:v>1.6806722689075598E-2</c:v>
                </c:pt>
                <c:pt idx="20903">
                  <c:v>1.6806722689075598E-2</c:v>
                </c:pt>
                <c:pt idx="20904">
                  <c:v>1.6806722689075598E-2</c:v>
                </c:pt>
                <c:pt idx="20905">
                  <c:v>1.6806722689075598E-2</c:v>
                </c:pt>
                <c:pt idx="20906">
                  <c:v>1.6806722689075598E-2</c:v>
                </c:pt>
                <c:pt idx="20907">
                  <c:v>1.6806722689075598E-2</c:v>
                </c:pt>
                <c:pt idx="20908">
                  <c:v>1.6806722689075598E-2</c:v>
                </c:pt>
                <c:pt idx="20909">
                  <c:v>1.6806722689075598E-2</c:v>
                </c:pt>
                <c:pt idx="20910">
                  <c:v>1.6806722689075598E-2</c:v>
                </c:pt>
                <c:pt idx="20911">
                  <c:v>1.6806722689075598E-2</c:v>
                </c:pt>
                <c:pt idx="20912">
                  <c:v>1.6806722689075598E-2</c:v>
                </c:pt>
                <c:pt idx="20913">
                  <c:v>1.59663865546219E-2</c:v>
                </c:pt>
                <c:pt idx="20914">
                  <c:v>1.59663865546219E-2</c:v>
                </c:pt>
                <c:pt idx="20915">
                  <c:v>1.59663865546219E-2</c:v>
                </c:pt>
                <c:pt idx="20916">
                  <c:v>1.59663865546219E-2</c:v>
                </c:pt>
                <c:pt idx="20917">
                  <c:v>1.59663865546219E-2</c:v>
                </c:pt>
                <c:pt idx="20918">
                  <c:v>1.59663865546219E-2</c:v>
                </c:pt>
                <c:pt idx="20919">
                  <c:v>1.59663865546219E-2</c:v>
                </c:pt>
                <c:pt idx="20920">
                  <c:v>1.51260504201681E-2</c:v>
                </c:pt>
                <c:pt idx="20921">
                  <c:v>1.51260504201681E-2</c:v>
                </c:pt>
                <c:pt idx="20922">
                  <c:v>1.51260504201681E-2</c:v>
                </c:pt>
                <c:pt idx="20923">
                  <c:v>1.51260504201681E-2</c:v>
                </c:pt>
                <c:pt idx="20924">
                  <c:v>1.51260504201681E-2</c:v>
                </c:pt>
                <c:pt idx="20925">
                  <c:v>1.51260504201681E-2</c:v>
                </c:pt>
                <c:pt idx="20926">
                  <c:v>1.51260504201681E-2</c:v>
                </c:pt>
                <c:pt idx="20927">
                  <c:v>1.51260504201681E-2</c:v>
                </c:pt>
                <c:pt idx="20928">
                  <c:v>1.51260504201681E-2</c:v>
                </c:pt>
                <c:pt idx="20929">
                  <c:v>1.51260504201681E-2</c:v>
                </c:pt>
                <c:pt idx="20930">
                  <c:v>1.51260504201681E-2</c:v>
                </c:pt>
                <c:pt idx="20931">
                  <c:v>1.51260504201681E-2</c:v>
                </c:pt>
                <c:pt idx="20932">
                  <c:v>1.51260504201681E-2</c:v>
                </c:pt>
                <c:pt idx="20933">
                  <c:v>1.51260504201681E-2</c:v>
                </c:pt>
                <c:pt idx="20934">
                  <c:v>1.59663865546219E-2</c:v>
                </c:pt>
                <c:pt idx="20935">
                  <c:v>1.51260504201681E-2</c:v>
                </c:pt>
                <c:pt idx="20936">
                  <c:v>1.51260504201681E-2</c:v>
                </c:pt>
                <c:pt idx="20937">
                  <c:v>1.51260504201681E-2</c:v>
                </c:pt>
                <c:pt idx="20938">
                  <c:v>1.51260504201681E-2</c:v>
                </c:pt>
                <c:pt idx="20939">
                  <c:v>1.51260504201681E-2</c:v>
                </c:pt>
                <c:pt idx="20940">
                  <c:v>1.59663865546219E-2</c:v>
                </c:pt>
                <c:pt idx="20941">
                  <c:v>1.59663865546219E-2</c:v>
                </c:pt>
                <c:pt idx="20942">
                  <c:v>1.59663865546219E-2</c:v>
                </c:pt>
                <c:pt idx="20943">
                  <c:v>1.59663865546219E-2</c:v>
                </c:pt>
                <c:pt idx="20944">
                  <c:v>1.59663865546219E-2</c:v>
                </c:pt>
                <c:pt idx="20945">
                  <c:v>1.59663865546219E-2</c:v>
                </c:pt>
                <c:pt idx="20946">
                  <c:v>1.59663865546219E-2</c:v>
                </c:pt>
                <c:pt idx="20947">
                  <c:v>1.59663865546219E-2</c:v>
                </c:pt>
                <c:pt idx="20948">
                  <c:v>1.59663865546219E-2</c:v>
                </c:pt>
                <c:pt idx="20949">
                  <c:v>1.59663865546219E-2</c:v>
                </c:pt>
                <c:pt idx="20950">
                  <c:v>1.59663865546219E-2</c:v>
                </c:pt>
                <c:pt idx="20951">
                  <c:v>1.59663865546219E-2</c:v>
                </c:pt>
                <c:pt idx="20952">
                  <c:v>1.59663865546219E-2</c:v>
                </c:pt>
                <c:pt idx="20953">
                  <c:v>1.59663865546219E-2</c:v>
                </c:pt>
                <c:pt idx="20954">
                  <c:v>1.59663865546219E-2</c:v>
                </c:pt>
                <c:pt idx="20955">
                  <c:v>1.59663865546219E-2</c:v>
                </c:pt>
                <c:pt idx="20956">
                  <c:v>1.6806722689075598E-2</c:v>
                </c:pt>
                <c:pt idx="20957">
                  <c:v>1.6806722689075598E-2</c:v>
                </c:pt>
                <c:pt idx="20958">
                  <c:v>1.6806722689075598E-2</c:v>
                </c:pt>
                <c:pt idx="20959">
                  <c:v>1.6806722689075598E-2</c:v>
                </c:pt>
                <c:pt idx="20960">
                  <c:v>1.6806722689075598E-2</c:v>
                </c:pt>
                <c:pt idx="20961">
                  <c:v>1.6806722689075598E-2</c:v>
                </c:pt>
                <c:pt idx="20962">
                  <c:v>1.6806722689075598E-2</c:v>
                </c:pt>
                <c:pt idx="20963">
                  <c:v>1.6806722689075598E-2</c:v>
                </c:pt>
                <c:pt idx="20964">
                  <c:v>1.6806722689075598E-2</c:v>
                </c:pt>
                <c:pt idx="20965">
                  <c:v>1.6806722689075598E-2</c:v>
                </c:pt>
                <c:pt idx="20966">
                  <c:v>1.6806722689075598E-2</c:v>
                </c:pt>
                <c:pt idx="20967">
                  <c:v>1.6806722689075598E-2</c:v>
                </c:pt>
                <c:pt idx="20968">
                  <c:v>1.6806722689075598E-2</c:v>
                </c:pt>
                <c:pt idx="20969">
                  <c:v>1.6806722689075598E-2</c:v>
                </c:pt>
                <c:pt idx="20970">
                  <c:v>1.6806722689075598E-2</c:v>
                </c:pt>
                <c:pt idx="20971">
                  <c:v>1.6806722689075598E-2</c:v>
                </c:pt>
                <c:pt idx="20972">
                  <c:v>1.6806722689075598E-2</c:v>
                </c:pt>
                <c:pt idx="20973">
                  <c:v>1.6806722689075598E-2</c:v>
                </c:pt>
                <c:pt idx="20974">
                  <c:v>1.6806722689075598E-2</c:v>
                </c:pt>
                <c:pt idx="20975">
                  <c:v>1.6806722689075598E-2</c:v>
                </c:pt>
                <c:pt idx="20976">
                  <c:v>1.6806722689075598E-2</c:v>
                </c:pt>
                <c:pt idx="20977">
                  <c:v>1.6806722689075598E-2</c:v>
                </c:pt>
                <c:pt idx="20978">
                  <c:v>1.6806722689075598E-2</c:v>
                </c:pt>
                <c:pt idx="20979">
                  <c:v>1.6806722689075598E-2</c:v>
                </c:pt>
                <c:pt idx="20980">
                  <c:v>1.6806722689075598E-2</c:v>
                </c:pt>
                <c:pt idx="20981">
                  <c:v>1.6806722689075598E-2</c:v>
                </c:pt>
                <c:pt idx="20982">
                  <c:v>1.6806722689075598E-2</c:v>
                </c:pt>
                <c:pt idx="20983">
                  <c:v>1.6806722689075598E-2</c:v>
                </c:pt>
                <c:pt idx="20984">
                  <c:v>1.6806722689075598E-2</c:v>
                </c:pt>
                <c:pt idx="20985">
                  <c:v>1.6806722689075598E-2</c:v>
                </c:pt>
                <c:pt idx="20986">
                  <c:v>1.6806722689075598E-2</c:v>
                </c:pt>
                <c:pt idx="20987">
                  <c:v>1.6806722689075598E-2</c:v>
                </c:pt>
                <c:pt idx="20988">
                  <c:v>1.6806722689075598E-2</c:v>
                </c:pt>
                <c:pt idx="20989">
                  <c:v>1.6806722689075598E-2</c:v>
                </c:pt>
                <c:pt idx="20990">
                  <c:v>1.6806722689075598E-2</c:v>
                </c:pt>
                <c:pt idx="20991">
                  <c:v>1.6806722689075598E-2</c:v>
                </c:pt>
                <c:pt idx="20992">
                  <c:v>1.6806722689075598E-2</c:v>
                </c:pt>
                <c:pt idx="20993">
                  <c:v>1.6806722689075598E-2</c:v>
                </c:pt>
                <c:pt idx="20994">
                  <c:v>1.6806722689075598E-2</c:v>
                </c:pt>
                <c:pt idx="20995">
                  <c:v>1.6806722689075598E-2</c:v>
                </c:pt>
                <c:pt idx="20996">
                  <c:v>1.6806722689075598E-2</c:v>
                </c:pt>
                <c:pt idx="20997">
                  <c:v>1.6806722689075598E-2</c:v>
                </c:pt>
                <c:pt idx="20998">
                  <c:v>1.6806722689075598E-2</c:v>
                </c:pt>
                <c:pt idx="20999">
                  <c:v>1.6806722689075598E-2</c:v>
                </c:pt>
                <c:pt idx="21000">
                  <c:v>1.6806722689075598E-2</c:v>
                </c:pt>
                <c:pt idx="21001">
                  <c:v>1.6806722689075598E-2</c:v>
                </c:pt>
                <c:pt idx="21002">
                  <c:v>1.6806722689075598E-2</c:v>
                </c:pt>
                <c:pt idx="21003">
                  <c:v>1.7647058823529401E-2</c:v>
                </c:pt>
                <c:pt idx="21004">
                  <c:v>1.7647058823529401E-2</c:v>
                </c:pt>
                <c:pt idx="21005">
                  <c:v>1.7647058823529401E-2</c:v>
                </c:pt>
                <c:pt idx="21006">
                  <c:v>1.7647058823529401E-2</c:v>
                </c:pt>
                <c:pt idx="21007">
                  <c:v>1.7647058823529401E-2</c:v>
                </c:pt>
                <c:pt idx="21008">
                  <c:v>1.7647058823529401E-2</c:v>
                </c:pt>
                <c:pt idx="21009">
                  <c:v>1.7647058823529401E-2</c:v>
                </c:pt>
                <c:pt idx="21010">
                  <c:v>1.7647058823529401E-2</c:v>
                </c:pt>
                <c:pt idx="21011">
                  <c:v>1.7647058823529401E-2</c:v>
                </c:pt>
                <c:pt idx="21012">
                  <c:v>1.7647058823529401E-2</c:v>
                </c:pt>
                <c:pt idx="21013">
                  <c:v>1.7647058823529401E-2</c:v>
                </c:pt>
                <c:pt idx="21014">
                  <c:v>1.7647058823529401E-2</c:v>
                </c:pt>
                <c:pt idx="21015">
                  <c:v>1.7647058823529401E-2</c:v>
                </c:pt>
                <c:pt idx="21016">
                  <c:v>1.7647058823529401E-2</c:v>
                </c:pt>
                <c:pt idx="21017">
                  <c:v>1.7647058823529401E-2</c:v>
                </c:pt>
                <c:pt idx="21018">
                  <c:v>1.7647058823529401E-2</c:v>
                </c:pt>
                <c:pt idx="21019">
                  <c:v>1.7647058823529401E-2</c:v>
                </c:pt>
                <c:pt idx="21020">
                  <c:v>1.7647058823529401E-2</c:v>
                </c:pt>
                <c:pt idx="21021">
                  <c:v>1.7647058823529401E-2</c:v>
                </c:pt>
                <c:pt idx="21022">
                  <c:v>1.6806722689075598E-2</c:v>
                </c:pt>
                <c:pt idx="21023">
                  <c:v>1.6806722689075598E-2</c:v>
                </c:pt>
                <c:pt idx="21024">
                  <c:v>1.6806722689075598E-2</c:v>
                </c:pt>
                <c:pt idx="21025">
                  <c:v>1.6806722689075598E-2</c:v>
                </c:pt>
                <c:pt idx="21026">
                  <c:v>1.6806722689075598E-2</c:v>
                </c:pt>
                <c:pt idx="21027">
                  <c:v>1.5966386554621698E-2</c:v>
                </c:pt>
                <c:pt idx="21028">
                  <c:v>1.5966386554621698E-2</c:v>
                </c:pt>
                <c:pt idx="21029">
                  <c:v>1.5966386554621698E-2</c:v>
                </c:pt>
                <c:pt idx="21030">
                  <c:v>1.5966386554621698E-2</c:v>
                </c:pt>
                <c:pt idx="21031">
                  <c:v>1.5966386554621698E-2</c:v>
                </c:pt>
                <c:pt idx="21032">
                  <c:v>1.5966386554621698E-2</c:v>
                </c:pt>
                <c:pt idx="21033">
                  <c:v>1.5966386554621698E-2</c:v>
                </c:pt>
                <c:pt idx="21034">
                  <c:v>1.5966386554621698E-2</c:v>
                </c:pt>
                <c:pt idx="21035">
                  <c:v>1.5126050420168E-2</c:v>
                </c:pt>
                <c:pt idx="21036">
                  <c:v>1.5126050420168E-2</c:v>
                </c:pt>
                <c:pt idx="21037">
                  <c:v>1.5126050420168E-2</c:v>
                </c:pt>
                <c:pt idx="21038">
                  <c:v>1.5126050420168E-2</c:v>
                </c:pt>
                <c:pt idx="21039">
                  <c:v>1.5126050420168E-2</c:v>
                </c:pt>
                <c:pt idx="21040">
                  <c:v>1.5126050420168E-2</c:v>
                </c:pt>
                <c:pt idx="21041">
                  <c:v>1.5126050420168E-2</c:v>
                </c:pt>
                <c:pt idx="21042">
                  <c:v>1.42857142857142E-2</c:v>
                </c:pt>
                <c:pt idx="21043">
                  <c:v>1.42857142857142E-2</c:v>
                </c:pt>
                <c:pt idx="21044">
                  <c:v>1.42857142857142E-2</c:v>
                </c:pt>
                <c:pt idx="21045">
                  <c:v>1.42857142857142E-2</c:v>
                </c:pt>
                <c:pt idx="21046">
                  <c:v>1.42857142857142E-2</c:v>
                </c:pt>
                <c:pt idx="21047">
                  <c:v>1.42857142857142E-2</c:v>
                </c:pt>
                <c:pt idx="21048">
                  <c:v>1.42857142857142E-2</c:v>
                </c:pt>
                <c:pt idx="21049">
                  <c:v>1.42857142857142E-2</c:v>
                </c:pt>
                <c:pt idx="21050">
                  <c:v>1.42857142857142E-2</c:v>
                </c:pt>
                <c:pt idx="21051">
                  <c:v>1.42857142857142E-2</c:v>
                </c:pt>
                <c:pt idx="21052">
                  <c:v>1.42857142857142E-2</c:v>
                </c:pt>
                <c:pt idx="21053">
                  <c:v>1.42857142857142E-2</c:v>
                </c:pt>
                <c:pt idx="21054">
                  <c:v>1.42857142857142E-2</c:v>
                </c:pt>
                <c:pt idx="21055">
                  <c:v>1.42857142857142E-2</c:v>
                </c:pt>
                <c:pt idx="21056">
                  <c:v>1.42857142857142E-2</c:v>
                </c:pt>
                <c:pt idx="21057">
                  <c:v>1.42857142857142E-2</c:v>
                </c:pt>
                <c:pt idx="21058">
                  <c:v>1.42857142857142E-2</c:v>
                </c:pt>
                <c:pt idx="21059">
                  <c:v>1.42857142857142E-2</c:v>
                </c:pt>
                <c:pt idx="21060">
                  <c:v>1.42857142857142E-2</c:v>
                </c:pt>
                <c:pt idx="21061">
                  <c:v>1.42857142857142E-2</c:v>
                </c:pt>
                <c:pt idx="21062">
                  <c:v>1.42857142857142E-2</c:v>
                </c:pt>
                <c:pt idx="21063">
                  <c:v>1.42857142857142E-2</c:v>
                </c:pt>
                <c:pt idx="21064">
                  <c:v>1.42857142857142E-2</c:v>
                </c:pt>
                <c:pt idx="21065">
                  <c:v>1.42857142857142E-2</c:v>
                </c:pt>
                <c:pt idx="21066">
                  <c:v>1.42857142857142E-2</c:v>
                </c:pt>
                <c:pt idx="21067">
                  <c:v>1.42857142857142E-2</c:v>
                </c:pt>
                <c:pt idx="21068">
                  <c:v>1.42857142857142E-2</c:v>
                </c:pt>
                <c:pt idx="21069">
                  <c:v>1.42857142857142E-2</c:v>
                </c:pt>
                <c:pt idx="21070">
                  <c:v>1.42857142857142E-2</c:v>
                </c:pt>
                <c:pt idx="21071">
                  <c:v>1.42857142857142E-2</c:v>
                </c:pt>
                <c:pt idx="21072">
                  <c:v>1.42857142857142E-2</c:v>
                </c:pt>
                <c:pt idx="21073">
                  <c:v>1.42857142857142E-2</c:v>
                </c:pt>
                <c:pt idx="21074">
                  <c:v>1.42857142857142E-2</c:v>
                </c:pt>
                <c:pt idx="21075">
                  <c:v>1.42857142857142E-2</c:v>
                </c:pt>
                <c:pt idx="21076">
                  <c:v>1.42857142857142E-2</c:v>
                </c:pt>
                <c:pt idx="21077">
                  <c:v>1.42857142857142E-2</c:v>
                </c:pt>
                <c:pt idx="21078">
                  <c:v>1.42857142857142E-2</c:v>
                </c:pt>
                <c:pt idx="21079">
                  <c:v>1.42857142857142E-2</c:v>
                </c:pt>
                <c:pt idx="21080">
                  <c:v>1.42857142857142E-2</c:v>
                </c:pt>
                <c:pt idx="21081">
                  <c:v>1.42857142857142E-2</c:v>
                </c:pt>
                <c:pt idx="21082">
                  <c:v>1.42857142857142E-2</c:v>
                </c:pt>
                <c:pt idx="21083">
                  <c:v>1.42857142857142E-2</c:v>
                </c:pt>
                <c:pt idx="21084">
                  <c:v>1.42857142857142E-2</c:v>
                </c:pt>
                <c:pt idx="21085">
                  <c:v>1.42857142857142E-2</c:v>
                </c:pt>
                <c:pt idx="21086">
                  <c:v>1.42857142857142E-2</c:v>
                </c:pt>
                <c:pt idx="21087">
                  <c:v>1.42857142857142E-2</c:v>
                </c:pt>
                <c:pt idx="21088">
                  <c:v>1.3445378151260399E-2</c:v>
                </c:pt>
                <c:pt idx="21089">
                  <c:v>1.3445378151260399E-2</c:v>
                </c:pt>
                <c:pt idx="21090">
                  <c:v>1.42857142857142E-2</c:v>
                </c:pt>
                <c:pt idx="21091">
                  <c:v>1.42857142857142E-2</c:v>
                </c:pt>
                <c:pt idx="21092">
                  <c:v>1.42857142857142E-2</c:v>
                </c:pt>
                <c:pt idx="21093">
                  <c:v>1.42857142857142E-2</c:v>
                </c:pt>
                <c:pt idx="21094">
                  <c:v>1.42857142857142E-2</c:v>
                </c:pt>
                <c:pt idx="21095">
                  <c:v>1.42857142857142E-2</c:v>
                </c:pt>
                <c:pt idx="21096">
                  <c:v>1.42857142857142E-2</c:v>
                </c:pt>
                <c:pt idx="21097">
                  <c:v>1.42857142857142E-2</c:v>
                </c:pt>
                <c:pt idx="21098">
                  <c:v>1.42857142857142E-2</c:v>
                </c:pt>
                <c:pt idx="21099">
                  <c:v>1.42857142857142E-2</c:v>
                </c:pt>
                <c:pt idx="21100">
                  <c:v>1.42857142857142E-2</c:v>
                </c:pt>
                <c:pt idx="21101">
                  <c:v>1.42857142857142E-2</c:v>
                </c:pt>
                <c:pt idx="21102">
                  <c:v>1.42857142857142E-2</c:v>
                </c:pt>
                <c:pt idx="21103">
                  <c:v>1.42857142857142E-2</c:v>
                </c:pt>
                <c:pt idx="21104">
                  <c:v>1.42857142857142E-2</c:v>
                </c:pt>
                <c:pt idx="21105">
                  <c:v>1.42857142857142E-2</c:v>
                </c:pt>
                <c:pt idx="21106">
                  <c:v>1.42857142857142E-2</c:v>
                </c:pt>
                <c:pt idx="21107">
                  <c:v>1.42857142857142E-2</c:v>
                </c:pt>
                <c:pt idx="21108">
                  <c:v>1.42857142857142E-2</c:v>
                </c:pt>
                <c:pt idx="21109">
                  <c:v>1.42857142857142E-2</c:v>
                </c:pt>
                <c:pt idx="21110">
                  <c:v>1.42857142857142E-2</c:v>
                </c:pt>
                <c:pt idx="21111">
                  <c:v>1.42857142857142E-2</c:v>
                </c:pt>
                <c:pt idx="21112">
                  <c:v>1.42857142857142E-2</c:v>
                </c:pt>
                <c:pt idx="21113">
                  <c:v>1.42857142857142E-2</c:v>
                </c:pt>
                <c:pt idx="21114">
                  <c:v>1.3445378151260399E-2</c:v>
                </c:pt>
                <c:pt idx="21115">
                  <c:v>1.3445378151260399E-2</c:v>
                </c:pt>
                <c:pt idx="21116">
                  <c:v>1.3445378151260399E-2</c:v>
                </c:pt>
                <c:pt idx="21117">
                  <c:v>1.42857142857142E-2</c:v>
                </c:pt>
                <c:pt idx="21118">
                  <c:v>1.42857142857142E-2</c:v>
                </c:pt>
                <c:pt idx="21119">
                  <c:v>1.42857142857142E-2</c:v>
                </c:pt>
                <c:pt idx="21120">
                  <c:v>1.3445378151260399E-2</c:v>
                </c:pt>
                <c:pt idx="21121">
                  <c:v>1.3445378151260399E-2</c:v>
                </c:pt>
                <c:pt idx="21122">
                  <c:v>1.3445378151260399E-2</c:v>
                </c:pt>
                <c:pt idx="21123">
                  <c:v>1.3445378151260399E-2</c:v>
                </c:pt>
                <c:pt idx="21124">
                  <c:v>1.3445378151260399E-2</c:v>
                </c:pt>
                <c:pt idx="21125">
                  <c:v>1.3445378151260399E-2</c:v>
                </c:pt>
                <c:pt idx="21126">
                  <c:v>1.3445378151260399E-2</c:v>
                </c:pt>
                <c:pt idx="21127">
                  <c:v>1.3445378151260399E-2</c:v>
                </c:pt>
                <c:pt idx="21128">
                  <c:v>1.3445378151260399E-2</c:v>
                </c:pt>
                <c:pt idx="21129">
                  <c:v>1.3445378151260399E-2</c:v>
                </c:pt>
                <c:pt idx="21130">
                  <c:v>1.3445378151260399E-2</c:v>
                </c:pt>
                <c:pt idx="21131">
                  <c:v>1.3445378151260399E-2</c:v>
                </c:pt>
                <c:pt idx="21132">
                  <c:v>1.3445378151260399E-2</c:v>
                </c:pt>
                <c:pt idx="21133">
                  <c:v>1.3445378151260399E-2</c:v>
                </c:pt>
                <c:pt idx="21134">
                  <c:v>1.26050420168066E-2</c:v>
                </c:pt>
                <c:pt idx="21135">
                  <c:v>1.26050420168066E-2</c:v>
                </c:pt>
                <c:pt idx="21136">
                  <c:v>1.26050420168066E-2</c:v>
                </c:pt>
                <c:pt idx="21137">
                  <c:v>1.26050420168066E-2</c:v>
                </c:pt>
                <c:pt idx="21138">
                  <c:v>1.26050420168066E-2</c:v>
                </c:pt>
                <c:pt idx="21139">
                  <c:v>1.26050420168066E-2</c:v>
                </c:pt>
                <c:pt idx="21140">
                  <c:v>1.26050420168066E-2</c:v>
                </c:pt>
                <c:pt idx="21141">
                  <c:v>1.26050420168066E-2</c:v>
                </c:pt>
                <c:pt idx="21142">
                  <c:v>1.26050420168066E-2</c:v>
                </c:pt>
                <c:pt idx="21143">
                  <c:v>1.26050420168066E-2</c:v>
                </c:pt>
                <c:pt idx="21144">
                  <c:v>1.26050420168066E-2</c:v>
                </c:pt>
                <c:pt idx="21145">
                  <c:v>1.26050420168066E-2</c:v>
                </c:pt>
                <c:pt idx="21146">
                  <c:v>1.26050420168066E-2</c:v>
                </c:pt>
                <c:pt idx="21147">
                  <c:v>1.26050420168066E-2</c:v>
                </c:pt>
                <c:pt idx="21148">
                  <c:v>1.26050420168066E-2</c:v>
                </c:pt>
                <c:pt idx="21149">
                  <c:v>1.26050420168066E-2</c:v>
                </c:pt>
                <c:pt idx="21150">
                  <c:v>1.26050420168066E-2</c:v>
                </c:pt>
                <c:pt idx="21151">
                  <c:v>1.26050420168066E-2</c:v>
                </c:pt>
                <c:pt idx="21152">
                  <c:v>1.26050420168066E-2</c:v>
                </c:pt>
                <c:pt idx="21153">
                  <c:v>1.26050420168066E-2</c:v>
                </c:pt>
                <c:pt idx="21154">
                  <c:v>1.26050420168066E-2</c:v>
                </c:pt>
                <c:pt idx="21155">
                  <c:v>1.26050420168066E-2</c:v>
                </c:pt>
                <c:pt idx="21156">
                  <c:v>1.26050420168066E-2</c:v>
                </c:pt>
                <c:pt idx="21157">
                  <c:v>1.26050420168066E-2</c:v>
                </c:pt>
                <c:pt idx="21158">
                  <c:v>1.26050420168066E-2</c:v>
                </c:pt>
                <c:pt idx="21159">
                  <c:v>1.26050420168066E-2</c:v>
                </c:pt>
                <c:pt idx="21160">
                  <c:v>1.26050420168066E-2</c:v>
                </c:pt>
                <c:pt idx="21161">
                  <c:v>1.26050420168066E-2</c:v>
                </c:pt>
                <c:pt idx="21162">
                  <c:v>1.26050420168066E-2</c:v>
                </c:pt>
                <c:pt idx="21163">
                  <c:v>1.26050420168066E-2</c:v>
                </c:pt>
                <c:pt idx="21164">
                  <c:v>1.26050420168066E-2</c:v>
                </c:pt>
                <c:pt idx="21165">
                  <c:v>1.26050420168066E-2</c:v>
                </c:pt>
                <c:pt idx="21166">
                  <c:v>1.26050420168066E-2</c:v>
                </c:pt>
                <c:pt idx="21167">
                  <c:v>1.26050420168066E-2</c:v>
                </c:pt>
                <c:pt idx="21168">
                  <c:v>1.26050420168066E-2</c:v>
                </c:pt>
                <c:pt idx="21169">
                  <c:v>1.26050420168066E-2</c:v>
                </c:pt>
                <c:pt idx="21170">
                  <c:v>1.26050420168066E-2</c:v>
                </c:pt>
                <c:pt idx="21171">
                  <c:v>1.26050420168066E-2</c:v>
                </c:pt>
                <c:pt idx="21172">
                  <c:v>1.26050420168066E-2</c:v>
                </c:pt>
                <c:pt idx="21173">
                  <c:v>1.26050420168066E-2</c:v>
                </c:pt>
                <c:pt idx="21174">
                  <c:v>1.26050420168066E-2</c:v>
                </c:pt>
                <c:pt idx="21175">
                  <c:v>1.26050420168066E-2</c:v>
                </c:pt>
                <c:pt idx="21176">
                  <c:v>1.26050420168066E-2</c:v>
                </c:pt>
                <c:pt idx="21177">
                  <c:v>1.26050420168066E-2</c:v>
                </c:pt>
                <c:pt idx="21178">
                  <c:v>1.26050420168066E-2</c:v>
                </c:pt>
                <c:pt idx="21179">
                  <c:v>1.26050420168066E-2</c:v>
                </c:pt>
                <c:pt idx="21180">
                  <c:v>1.26050420168066E-2</c:v>
                </c:pt>
                <c:pt idx="21181">
                  <c:v>1.26050420168066E-2</c:v>
                </c:pt>
                <c:pt idx="21182">
                  <c:v>1.26050420168066E-2</c:v>
                </c:pt>
                <c:pt idx="21183">
                  <c:v>1.26050420168066E-2</c:v>
                </c:pt>
                <c:pt idx="21184">
                  <c:v>1.1764705882352899E-2</c:v>
                </c:pt>
                <c:pt idx="21185">
                  <c:v>1.1764705882352899E-2</c:v>
                </c:pt>
                <c:pt idx="21186">
                  <c:v>1.1764705882352899E-2</c:v>
                </c:pt>
                <c:pt idx="21187">
                  <c:v>1.1764705882352899E-2</c:v>
                </c:pt>
                <c:pt idx="21188">
                  <c:v>1.1764705882352899E-2</c:v>
                </c:pt>
                <c:pt idx="21189">
                  <c:v>1.1764705882352899E-2</c:v>
                </c:pt>
                <c:pt idx="21190">
                  <c:v>1.1764705882352899E-2</c:v>
                </c:pt>
                <c:pt idx="21191">
                  <c:v>1.09243697478991E-2</c:v>
                </c:pt>
                <c:pt idx="21192">
                  <c:v>1.09243697478991E-2</c:v>
                </c:pt>
                <c:pt idx="21193">
                  <c:v>1.09243697478991E-2</c:v>
                </c:pt>
                <c:pt idx="21194">
                  <c:v>1.09243697478991E-2</c:v>
                </c:pt>
                <c:pt idx="21195">
                  <c:v>1.09243697478991E-2</c:v>
                </c:pt>
                <c:pt idx="21196">
                  <c:v>1.09243697478991E-2</c:v>
                </c:pt>
                <c:pt idx="21197">
                  <c:v>1.09243697478991E-2</c:v>
                </c:pt>
                <c:pt idx="21198">
                  <c:v>1.09243697478991E-2</c:v>
                </c:pt>
                <c:pt idx="21199">
                  <c:v>1.09243697478991E-2</c:v>
                </c:pt>
                <c:pt idx="21200">
                  <c:v>1.09243697478991E-2</c:v>
                </c:pt>
                <c:pt idx="21201">
                  <c:v>1.09243697478991E-2</c:v>
                </c:pt>
                <c:pt idx="21202">
                  <c:v>1.09243697478991E-2</c:v>
                </c:pt>
                <c:pt idx="21203">
                  <c:v>1.09243697478991E-2</c:v>
                </c:pt>
                <c:pt idx="21204">
                  <c:v>1.09243697478991E-2</c:v>
                </c:pt>
                <c:pt idx="21205">
                  <c:v>1.09243697478991E-2</c:v>
                </c:pt>
                <c:pt idx="21206">
                  <c:v>1.09243697478991E-2</c:v>
                </c:pt>
                <c:pt idx="21207">
                  <c:v>1.09243697478991E-2</c:v>
                </c:pt>
                <c:pt idx="21208">
                  <c:v>1.09243697478991E-2</c:v>
                </c:pt>
                <c:pt idx="21209">
                  <c:v>1.09243697478991E-2</c:v>
                </c:pt>
                <c:pt idx="21210">
                  <c:v>1.09243697478991E-2</c:v>
                </c:pt>
                <c:pt idx="21211">
                  <c:v>1.09243697478991E-2</c:v>
                </c:pt>
                <c:pt idx="21212">
                  <c:v>1.09243697478991E-2</c:v>
                </c:pt>
                <c:pt idx="21213">
                  <c:v>1.09243697478991E-2</c:v>
                </c:pt>
                <c:pt idx="21214">
                  <c:v>1.09243697478991E-2</c:v>
                </c:pt>
                <c:pt idx="21215">
                  <c:v>1.09243697478991E-2</c:v>
                </c:pt>
                <c:pt idx="21216">
                  <c:v>1.09243697478991E-2</c:v>
                </c:pt>
                <c:pt idx="21217">
                  <c:v>1.09243697478991E-2</c:v>
                </c:pt>
                <c:pt idx="21218">
                  <c:v>1.09243697478991E-2</c:v>
                </c:pt>
                <c:pt idx="21219">
                  <c:v>1.09243697478991E-2</c:v>
                </c:pt>
                <c:pt idx="21220">
                  <c:v>1.09243697478991E-2</c:v>
                </c:pt>
                <c:pt idx="21221">
                  <c:v>1.09243697478991E-2</c:v>
                </c:pt>
                <c:pt idx="21222">
                  <c:v>1.09243697478991E-2</c:v>
                </c:pt>
                <c:pt idx="21223">
                  <c:v>1.09243697478991E-2</c:v>
                </c:pt>
                <c:pt idx="21224">
                  <c:v>1.09243697478991E-2</c:v>
                </c:pt>
                <c:pt idx="21225">
                  <c:v>1.09243697478991E-2</c:v>
                </c:pt>
                <c:pt idx="21226">
                  <c:v>1.09243697478991E-2</c:v>
                </c:pt>
                <c:pt idx="21227">
                  <c:v>1.09243697478991E-2</c:v>
                </c:pt>
                <c:pt idx="21228">
                  <c:v>1.09243697478991E-2</c:v>
                </c:pt>
                <c:pt idx="21229">
                  <c:v>1.09243697478991E-2</c:v>
                </c:pt>
                <c:pt idx="21230">
                  <c:v>1.09243697478991E-2</c:v>
                </c:pt>
                <c:pt idx="21231">
                  <c:v>1.09243697478991E-2</c:v>
                </c:pt>
                <c:pt idx="21232">
                  <c:v>1.09243697478991E-2</c:v>
                </c:pt>
                <c:pt idx="21233">
                  <c:v>1.09243697478991E-2</c:v>
                </c:pt>
                <c:pt idx="21234">
                  <c:v>1.09243697478991E-2</c:v>
                </c:pt>
                <c:pt idx="21235">
                  <c:v>1.09243697478991E-2</c:v>
                </c:pt>
                <c:pt idx="21236">
                  <c:v>1.09243697478991E-2</c:v>
                </c:pt>
                <c:pt idx="21237">
                  <c:v>1.09243697478991E-2</c:v>
                </c:pt>
                <c:pt idx="21238">
                  <c:v>1.09243697478991E-2</c:v>
                </c:pt>
                <c:pt idx="21239">
                  <c:v>1.09243697478991E-2</c:v>
                </c:pt>
                <c:pt idx="21240">
                  <c:v>1.09243697478991E-2</c:v>
                </c:pt>
                <c:pt idx="21241">
                  <c:v>1.09243697478991E-2</c:v>
                </c:pt>
                <c:pt idx="21242">
                  <c:v>1.09243697478991E-2</c:v>
                </c:pt>
                <c:pt idx="21243">
                  <c:v>1.0084033613445301E-2</c:v>
                </c:pt>
                <c:pt idx="21244">
                  <c:v>1.0084033613445301E-2</c:v>
                </c:pt>
                <c:pt idx="21245">
                  <c:v>1.0084033613445301E-2</c:v>
                </c:pt>
                <c:pt idx="21246">
                  <c:v>9.2436974789915603E-3</c:v>
                </c:pt>
                <c:pt idx="21247">
                  <c:v>9.2436974789915603E-3</c:v>
                </c:pt>
                <c:pt idx="21248">
                  <c:v>9.2436974789915603E-3</c:v>
                </c:pt>
                <c:pt idx="21249">
                  <c:v>9.2436974789915603E-3</c:v>
                </c:pt>
                <c:pt idx="21250">
                  <c:v>9.2436974789915603E-3</c:v>
                </c:pt>
                <c:pt idx="21251">
                  <c:v>9.2436974789915603E-3</c:v>
                </c:pt>
                <c:pt idx="21252">
                  <c:v>9.2436974789915603E-3</c:v>
                </c:pt>
                <c:pt idx="21253">
                  <c:v>9.2436974789915603E-3</c:v>
                </c:pt>
                <c:pt idx="21254">
                  <c:v>9.2436974789915603E-3</c:v>
                </c:pt>
                <c:pt idx="21255">
                  <c:v>9.2436974789915603E-3</c:v>
                </c:pt>
                <c:pt idx="21256">
                  <c:v>9.2436974789915603E-3</c:v>
                </c:pt>
                <c:pt idx="21257">
                  <c:v>9.2436974789915603E-3</c:v>
                </c:pt>
                <c:pt idx="21258">
                  <c:v>9.2436974789915603E-3</c:v>
                </c:pt>
                <c:pt idx="21259">
                  <c:v>9.2436974789915603E-3</c:v>
                </c:pt>
                <c:pt idx="21260">
                  <c:v>9.2436974789915603E-3</c:v>
                </c:pt>
                <c:pt idx="21261">
                  <c:v>9.2436974789915603E-3</c:v>
                </c:pt>
                <c:pt idx="21262">
                  <c:v>9.2436974789915603E-3</c:v>
                </c:pt>
                <c:pt idx="21263">
                  <c:v>9.2436974789915603E-3</c:v>
                </c:pt>
                <c:pt idx="21264">
                  <c:v>9.2436974789915603E-3</c:v>
                </c:pt>
                <c:pt idx="21265">
                  <c:v>9.2436974789915603E-3</c:v>
                </c:pt>
                <c:pt idx="21266">
                  <c:v>9.2436974789915603E-3</c:v>
                </c:pt>
                <c:pt idx="21267">
                  <c:v>9.2436974789915603E-3</c:v>
                </c:pt>
                <c:pt idx="21268">
                  <c:v>9.2436974789915603E-3</c:v>
                </c:pt>
                <c:pt idx="21269">
                  <c:v>9.2436974789915603E-3</c:v>
                </c:pt>
                <c:pt idx="21270">
                  <c:v>9.2436974789915603E-3</c:v>
                </c:pt>
                <c:pt idx="21271">
                  <c:v>9.2436974789915603E-3</c:v>
                </c:pt>
                <c:pt idx="21272">
                  <c:v>9.2436974789915603E-3</c:v>
                </c:pt>
                <c:pt idx="21273">
                  <c:v>9.2436974789915603E-3</c:v>
                </c:pt>
                <c:pt idx="21274">
                  <c:v>9.2436974789915603E-3</c:v>
                </c:pt>
                <c:pt idx="21275">
                  <c:v>9.2436974789915603E-3</c:v>
                </c:pt>
                <c:pt idx="21276">
                  <c:v>9.2436974789915603E-3</c:v>
                </c:pt>
                <c:pt idx="21277">
                  <c:v>9.2436974789915603E-3</c:v>
                </c:pt>
                <c:pt idx="21278">
                  <c:v>9.2436974789915603E-3</c:v>
                </c:pt>
                <c:pt idx="21279">
                  <c:v>9.2436974789915603E-3</c:v>
                </c:pt>
                <c:pt idx="21280">
                  <c:v>9.2436974789915603E-3</c:v>
                </c:pt>
                <c:pt idx="21281">
                  <c:v>9.2436974789915603E-3</c:v>
                </c:pt>
                <c:pt idx="21282">
                  <c:v>9.2436974789915603E-3</c:v>
                </c:pt>
                <c:pt idx="21283">
                  <c:v>9.2436974789915603E-3</c:v>
                </c:pt>
                <c:pt idx="21284">
                  <c:v>9.2436974789915603E-3</c:v>
                </c:pt>
                <c:pt idx="21285">
                  <c:v>9.2436974789915603E-3</c:v>
                </c:pt>
                <c:pt idx="21286">
                  <c:v>9.2436974789915603E-3</c:v>
                </c:pt>
                <c:pt idx="21287">
                  <c:v>9.2436974789915603E-3</c:v>
                </c:pt>
                <c:pt idx="21288">
                  <c:v>9.2436974789915603E-3</c:v>
                </c:pt>
                <c:pt idx="21289">
                  <c:v>9.2436974789915603E-3</c:v>
                </c:pt>
                <c:pt idx="21290">
                  <c:v>9.2436974789915603E-3</c:v>
                </c:pt>
                <c:pt idx="21291">
                  <c:v>9.2436974789915603E-3</c:v>
                </c:pt>
                <c:pt idx="21292">
                  <c:v>9.2436974789915603E-3</c:v>
                </c:pt>
                <c:pt idx="21293">
                  <c:v>9.2436974789915603E-3</c:v>
                </c:pt>
                <c:pt idx="21294">
                  <c:v>9.2436974789915603E-3</c:v>
                </c:pt>
                <c:pt idx="21295">
                  <c:v>9.2436974789915603E-3</c:v>
                </c:pt>
                <c:pt idx="21296">
                  <c:v>9.2436974789915603E-3</c:v>
                </c:pt>
                <c:pt idx="21297">
                  <c:v>9.2436974789915603E-3</c:v>
                </c:pt>
                <c:pt idx="21298">
                  <c:v>9.2436974789915603E-3</c:v>
                </c:pt>
                <c:pt idx="21299">
                  <c:v>9.2436974789915603E-3</c:v>
                </c:pt>
                <c:pt idx="21300">
                  <c:v>9.2436974789915603E-3</c:v>
                </c:pt>
                <c:pt idx="21301">
                  <c:v>9.2436974789915603E-3</c:v>
                </c:pt>
                <c:pt idx="21302">
                  <c:v>9.2436974789915603E-3</c:v>
                </c:pt>
                <c:pt idx="21303">
                  <c:v>9.2436974789915603E-3</c:v>
                </c:pt>
                <c:pt idx="21304">
                  <c:v>9.2436974789915603E-3</c:v>
                </c:pt>
                <c:pt idx="21305">
                  <c:v>9.2436974789915603E-3</c:v>
                </c:pt>
                <c:pt idx="21306">
                  <c:v>1.0084033613445301E-2</c:v>
                </c:pt>
                <c:pt idx="21307">
                  <c:v>1.0084033613445301E-2</c:v>
                </c:pt>
                <c:pt idx="21308">
                  <c:v>1.0084033613445301E-2</c:v>
                </c:pt>
                <c:pt idx="21309">
                  <c:v>1.0084033613445301E-2</c:v>
                </c:pt>
                <c:pt idx="21310">
                  <c:v>1.0084033613445301E-2</c:v>
                </c:pt>
                <c:pt idx="21311">
                  <c:v>1.0084033613445301E-2</c:v>
                </c:pt>
                <c:pt idx="21312">
                  <c:v>1.0084033613445301E-2</c:v>
                </c:pt>
                <c:pt idx="21313">
                  <c:v>1.0084033613445301E-2</c:v>
                </c:pt>
                <c:pt idx="21314">
                  <c:v>1.0084033613445301E-2</c:v>
                </c:pt>
                <c:pt idx="21315">
                  <c:v>1.0084033613445301E-2</c:v>
                </c:pt>
                <c:pt idx="21316">
                  <c:v>9.2436974789915603E-3</c:v>
                </c:pt>
                <c:pt idx="21317">
                  <c:v>9.2436974789915603E-3</c:v>
                </c:pt>
                <c:pt idx="21318">
                  <c:v>9.2436974789915603E-3</c:v>
                </c:pt>
                <c:pt idx="21319">
                  <c:v>9.2436974789915603E-3</c:v>
                </c:pt>
                <c:pt idx="21320">
                  <c:v>9.2436974789915603E-3</c:v>
                </c:pt>
                <c:pt idx="21321">
                  <c:v>9.2436974789915603E-3</c:v>
                </c:pt>
                <c:pt idx="21322">
                  <c:v>9.2436974789915603E-3</c:v>
                </c:pt>
                <c:pt idx="21323">
                  <c:v>9.2436974789915603E-3</c:v>
                </c:pt>
                <c:pt idx="21324">
                  <c:v>9.2436974789915603E-3</c:v>
                </c:pt>
                <c:pt idx="21325">
                  <c:v>9.2436974789915603E-3</c:v>
                </c:pt>
                <c:pt idx="21326">
                  <c:v>9.2436974789915603E-3</c:v>
                </c:pt>
                <c:pt idx="21327">
                  <c:v>9.2436974789915603E-3</c:v>
                </c:pt>
                <c:pt idx="21328">
                  <c:v>9.2436974789915603E-3</c:v>
                </c:pt>
                <c:pt idx="21329">
                  <c:v>9.2436974789915603E-3</c:v>
                </c:pt>
                <c:pt idx="21330">
                  <c:v>9.2436974789915603E-3</c:v>
                </c:pt>
                <c:pt idx="21331">
                  <c:v>9.2436974789915603E-3</c:v>
                </c:pt>
                <c:pt idx="21332">
                  <c:v>9.2436974789915603E-3</c:v>
                </c:pt>
                <c:pt idx="21333">
                  <c:v>9.2436974789915603E-3</c:v>
                </c:pt>
                <c:pt idx="21334">
                  <c:v>9.2436974789915603E-3</c:v>
                </c:pt>
                <c:pt idx="21335">
                  <c:v>9.2436974789915603E-3</c:v>
                </c:pt>
                <c:pt idx="21336">
                  <c:v>9.2436974789915603E-3</c:v>
                </c:pt>
                <c:pt idx="21337">
                  <c:v>9.2436974789915603E-3</c:v>
                </c:pt>
                <c:pt idx="21338">
                  <c:v>9.2436974789915603E-3</c:v>
                </c:pt>
                <c:pt idx="21339">
                  <c:v>9.2436974789915603E-3</c:v>
                </c:pt>
                <c:pt idx="21340">
                  <c:v>9.2436974789915603E-3</c:v>
                </c:pt>
                <c:pt idx="21341">
                  <c:v>9.2436974789915603E-3</c:v>
                </c:pt>
                <c:pt idx="21342">
                  <c:v>9.2436974789915603E-3</c:v>
                </c:pt>
                <c:pt idx="21343">
                  <c:v>9.2436974789915603E-3</c:v>
                </c:pt>
                <c:pt idx="21344">
                  <c:v>9.2436974789915603E-3</c:v>
                </c:pt>
                <c:pt idx="21345">
                  <c:v>9.2436974789915603E-3</c:v>
                </c:pt>
                <c:pt idx="21346">
                  <c:v>1.0084033613445301E-2</c:v>
                </c:pt>
                <c:pt idx="21347">
                  <c:v>1.0084033613445301E-2</c:v>
                </c:pt>
                <c:pt idx="21348">
                  <c:v>1.0084033613445301E-2</c:v>
                </c:pt>
                <c:pt idx="21349">
                  <c:v>1.0084033613445301E-2</c:v>
                </c:pt>
                <c:pt idx="21350">
                  <c:v>1.0084033613445301E-2</c:v>
                </c:pt>
                <c:pt idx="21351">
                  <c:v>1.0084033613445301E-2</c:v>
                </c:pt>
                <c:pt idx="21352">
                  <c:v>1.0084033613445301E-2</c:v>
                </c:pt>
                <c:pt idx="21353">
                  <c:v>1.0084033613445301E-2</c:v>
                </c:pt>
                <c:pt idx="21354">
                  <c:v>1.0084033613445301E-2</c:v>
                </c:pt>
                <c:pt idx="21355">
                  <c:v>1.0084033613445301E-2</c:v>
                </c:pt>
                <c:pt idx="21356">
                  <c:v>1.0084033613445301E-2</c:v>
                </c:pt>
                <c:pt idx="21357">
                  <c:v>1.0084033613445301E-2</c:v>
                </c:pt>
                <c:pt idx="21358">
                  <c:v>1.0084033613445301E-2</c:v>
                </c:pt>
                <c:pt idx="21359">
                  <c:v>1.0084033613445301E-2</c:v>
                </c:pt>
                <c:pt idx="21360">
                  <c:v>1.0084033613445301E-2</c:v>
                </c:pt>
                <c:pt idx="21361">
                  <c:v>1.0084033613445301E-2</c:v>
                </c:pt>
                <c:pt idx="21362">
                  <c:v>1.0084033613445301E-2</c:v>
                </c:pt>
                <c:pt idx="21363">
                  <c:v>1.0084033613445301E-2</c:v>
                </c:pt>
                <c:pt idx="21364">
                  <c:v>1.0084033613445301E-2</c:v>
                </c:pt>
                <c:pt idx="21365">
                  <c:v>1.0084033613445301E-2</c:v>
                </c:pt>
                <c:pt idx="21366">
                  <c:v>1.0084033613445301E-2</c:v>
                </c:pt>
                <c:pt idx="21367">
                  <c:v>1.0084033613445301E-2</c:v>
                </c:pt>
                <c:pt idx="21368">
                  <c:v>1.0084033613445301E-2</c:v>
                </c:pt>
                <c:pt idx="21369">
                  <c:v>1.0084033613445301E-2</c:v>
                </c:pt>
                <c:pt idx="21370">
                  <c:v>1.0084033613445301E-2</c:v>
                </c:pt>
                <c:pt idx="21371">
                  <c:v>1.0084033613445301E-2</c:v>
                </c:pt>
                <c:pt idx="21372">
                  <c:v>1.0084033613445301E-2</c:v>
                </c:pt>
                <c:pt idx="21373">
                  <c:v>1.0084033613445301E-2</c:v>
                </c:pt>
                <c:pt idx="21374">
                  <c:v>1.0084033613445301E-2</c:v>
                </c:pt>
                <c:pt idx="21375">
                  <c:v>1.0084033613445301E-2</c:v>
                </c:pt>
                <c:pt idx="21376">
                  <c:v>1.0084033613445301E-2</c:v>
                </c:pt>
                <c:pt idx="21377">
                  <c:v>1.0084033613445301E-2</c:v>
                </c:pt>
                <c:pt idx="21378">
                  <c:v>1.0084033613445301E-2</c:v>
                </c:pt>
                <c:pt idx="21379">
                  <c:v>1.0084033613445301E-2</c:v>
                </c:pt>
                <c:pt idx="21380">
                  <c:v>1.0084033613445301E-2</c:v>
                </c:pt>
                <c:pt idx="21381">
                  <c:v>1.0084033613445301E-2</c:v>
                </c:pt>
                <c:pt idx="21382">
                  <c:v>1.0084033613445301E-2</c:v>
                </c:pt>
                <c:pt idx="21383">
                  <c:v>1.0084033613445301E-2</c:v>
                </c:pt>
                <c:pt idx="21384">
                  <c:v>1.0084033613445301E-2</c:v>
                </c:pt>
                <c:pt idx="21385">
                  <c:v>1.0084033613445301E-2</c:v>
                </c:pt>
                <c:pt idx="21386">
                  <c:v>1.0084033613445301E-2</c:v>
                </c:pt>
                <c:pt idx="21387">
                  <c:v>1.0084033613445301E-2</c:v>
                </c:pt>
                <c:pt idx="21388">
                  <c:v>1.0084033613445301E-2</c:v>
                </c:pt>
                <c:pt idx="21389">
                  <c:v>1.0084033613445301E-2</c:v>
                </c:pt>
                <c:pt idx="21390">
                  <c:v>1.0084033613445301E-2</c:v>
                </c:pt>
                <c:pt idx="21391">
                  <c:v>1.0084033613445301E-2</c:v>
                </c:pt>
                <c:pt idx="21392">
                  <c:v>1.0084033613445301E-2</c:v>
                </c:pt>
                <c:pt idx="21393">
                  <c:v>1.0084033613445301E-2</c:v>
                </c:pt>
                <c:pt idx="21394">
                  <c:v>1.0084033613445301E-2</c:v>
                </c:pt>
                <c:pt idx="21395">
                  <c:v>1.0084033613445301E-2</c:v>
                </c:pt>
                <c:pt idx="21396">
                  <c:v>1.0084033613445301E-2</c:v>
                </c:pt>
                <c:pt idx="21397">
                  <c:v>1.0084033613445301E-2</c:v>
                </c:pt>
                <c:pt idx="21398">
                  <c:v>1.0084033613445301E-2</c:v>
                </c:pt>
                <c:pt idx="21399">
                  <c:v>1.0084033613445301E-2</c:v>
                </c:pt>
                <c:pt idx="21400">
                  <c:v>1.0084033613445301E-2</c:v>
                </c:pt>
                <c:pt idx="21401">
                  <c:v>1.0084033613445301E-2</c:v>
                </c:pt>
                <c:pt idx="21402">
                  <c:v>1.0084033613445301E-2</c:v>
                </c:pt>
                <c:pt idx="21403">
                  <c:v>1.0084033613445301E-2</c:v>
                </c:pt>
                <c:pt idx="21404">
                  <c:v>1.0084033613445301E-2</c:v>
                </c:pt>
                <c:pt idx="21405">
                  <c:v>1.0084033613445301E-2</c:v>
                </c:pt>
                <c:pt idx="21406">
                  <c:v>1.0084033613445301E-2</c:v>
                </c:pt>
                <c:pt idx="21407">
                  <c:v>1.0084033613445301E-2</c:v>
                </c:pt>
                <c:pt idx="21408">
                  <c:v>1.0084033613445301E-2</c:v>
                </c:pt>
                <c:pt idx="21409">
                  <c:v>1.0084033613445301E-2</c:v>
                </c:pt>
                <c:pt idx="21410">
                  <c:v>1.0084033613445301E-2</c:v>
                </c:pt>
                <c:pt idx="21411">
                  <c:v>1.0084033613445301E-2</c:v>
                </c:pt>
                <c:pt idx="21412">
                  <c:v>1.0084033613445301E-2</c:v>
                </c:pt>
                <c:pt idx="21413">
                  <c:v>1.0084033613445301E-2</c:v>
                </c:pt>
                <c:pt idx="21414">
                  <c:v>1.0084033613445301E-2</c:v>
                </c:pt>
                <c:pt idx="21415">
                  <c:v>1.0084033613445301E-2</c:v>
                </c:pt>
                <c:pt idx="21416">
                  <c:v>1.0084033613445301E-2</c:v>
                </c:pt>
                <c:pt idx="21417">
                  <c:v>1.0084033613445301E-2</c:v>
                </c:pt>
                <c:pt idx="21418">
                  <c:v>1.0084033613445301E-2</c:v>
                </c:pt>
                <c:pt idx="21419">
                  <c:v>1.0084033613445301E-2</c:v>
                </c:pt>
                <c:pt idx="21420">
                  <c:v>1.0084033613445301E-2</c:v>
                </c:pt>
                <c:pt idx="21421">
                  <c:v>1.0084033613445301E-2</c:v>
                </c:pt>
                <c:pt idx="21422">
                  <c:v>1.0084033613445301E-2</c:v>
                </c:pt>
                <c:pt idx="21423">
                  <c:v>1.0084033613445301E-2</c:v>
                </c:pt>
                <c:pt idx="21424">
                  <c:v>1.0084033613445301E-2</c:v>
                </c:pt>
                <c:pt idx="21425">
                  <c:v>1.0084033613445301E-2</c:v>
                </c:pt>
                <c:pt idx="21426">
                  <c:v>1.0084033613445301E-2</c:v>
                </c:pt>
                <c:pt idx="21427">
                  <c:v>1.0084033613445301E-2</c:v>
                </c:pt>
                <c:pt idx="21428">
                  <c:v>1.0084033613445301E-2</c:v>
                </c:pt>
                <c:pt idx="21429">
                  <c:v>1.0084033613445301E-2</c:v>
                </c:pt>
                <c:pt idx="21430">
                  <c:v>1.0084033613445301E-2</c:v>
                </c:pt>
                <c:pt idx="21431">
                  <c:v>1.0084033613445301E-2</c:v>
                </c:pt>
                <c:pt idx="21432">
                  <c:v>1.0084033613445301E-2</c:v>
                </c:pt>
                <c:pt idx="21433">
                  <c:v>1.0084033613445301E-2</c:v>
                </c:pt>
                <c:pt idx="21434">
                  <c:v>1.0084033613445301E-2</c:v>
                </c:pt>
                <c:pt idx="21435">
                  <c:v>1.0084033613445301E-2</c:v>
                </c:pt>
                <c:pt idx="21436">
                  <c:v>1.0084033613445301E-2</c:v>
                </c:pt>
                <c:pt idx="21437">
                  <c:v>1.0084033613445301E-2</c:v>
                </c:pt>
                <c:pt idx="21438">
                  <c:v>1.0084033613445301E-2</c:v>
                </c:pt>
                <c:pt idx="21439">
                  <c:v>1.0084033613445301E-2</c:v>
                </c:pt>
                <c:pt idx="21440">
                  <c:v>1.0084033613445301E-2</c:v>
                </c:pt>
                <c:pt idx="21441">
                  <c:v>1.0084033613445301E-2</c:v>
                </c:pt>
                <c:pt idx="21442">
                  <c:v>1.0084033613445301E-2</c:v>
                </c:pt>
                <c:pt idx="21443">
                  <c:v>1.0084033613445301E-2</c:v>
                </c:pt>
                <c:pt idx="21444">
                  <c:v>1.0084033613445301E-2</c:v>
                </c:pt>
                <c:pt idx="21445">
                  <c:v>1.0084033613445301E-2</c:v>
                </c:pt>
                <c:pt idx="21446">
                  <c:v>1.0084033613445301E-2</c:v>
                </c:pt>
                <c:pt idx="21447">
                  <c:v>1.0084033613445301E-2</c:v>
                </c:pt>
                <c:pt idx="21448">
                  <c:v>1.0084033613445301E-2</c:v>
                </c:pt>
                <c:pt idx="21449">
                  <c:v>1.0084033613445301E-2</c:v>
                </c:pt>
                <c:pt idx="21450">
                  <c:v>1.0084033613445301E-2</c:v>
                </c:pt>
                <c:pt idx="21451">
                  <c:v>1.0084033613445301E-2</c:v>
                </c:pt>
                <c:pt idx="21452">
                  <c:v>1.0084033613445301E-2</c:v>
                </c:pt>
                <c:pt idx="21453">
                  <c:v>1.0084033613445301E-2</c:v>
                </c:pt>
                <c:pt idx="21454">
                  <c:v>1.0084033613445301E-2</c:v>
                </c:pt>
                <c:pt idx="21455">
                  <c:v>1.0084033613445301E-2</c:v>
                </c:pt>
                <c:pt idx="21456">
                  <c:v>1.0084033613445301E-2</c:v>
                </c:pt>
                <c:pt idx="21457">
                  <c:v>1.0084033613445301E-2</c:v>
                </c:pt>
                <c:pt idx="21458">
                  <c:v>1.0084033613445301E-2</c:v>
                </c:pt>
                <c:pt idx="21459">
                  <c:v>1.0084033613445301E-2</c:v>
                </c:pt>
                <c:pt idx="21460">
                  <c:v>1.0084033613445301E-2</c:v>
                </c:pt>
                <c:pt idx="21461">
                  <c:v>1.0084033613445301E-2</c:v>
                </c:pt>
                <c:pt idx="21462">
                  <c:v>1.0084033613445301E-2</c:v>
                </c:pt>
                <c:pt idx="21463">
                  <c:v>1.0084033613445301E-2</c:v>
                </c:pt>
                <c:pt idx="21464">
                  <c:v>1.0084033613445301E-2</c:v>
                </c:pt>
                <c:pt idx="21465">
                  <c:v>1.0084033613445301E-2</c:v>
                </c:pt>
                <c:pt idx="21466">
                  <c:v>1.0084033613445301E-2</c:v>
                </c:pt>
                <c:pt idx="21467">
                  <c:v>1.0084033613445301E-2</c:v>
                </c:pt>
                <c:pt idx="21468">
                  <c:v>1.09243697478991E-2</c:v>
                </c:pt>
                <c:pt idx="21469">
                  <c:v>1.09243697478991E-2</c:v>
                </c:pt>
                <c:pt idx="21470">
                  <c:v>1.09243697478991E-2</c:v>
                </c:pt>
                <c:pt idx="21471">
                  <c:v>1.09243697478991E-2</c:v>
                </c:pt>
                <c:pt idx="21472">
                  <c:v>1.09243697478991E-2</c:v>
                </c:pt>
                <c:pt idx="21473">
                  <c:v>1.09243697478991E-2</c:v>
                </c:pt>
                <c:pt idx="21474">
                  <c:v>1.09243697478991E-2</c:v>
                </c:pt>
                <c:pt idx="21475">
                  <c:v>1.09243697478991E-2</c:v>
                </c:pt>
                <c:pt idx="21476">
                  <c:v>1.09243697478991E-2</c:v>
                </c:pt>
                <c:pt idx="21477">
                  <c:v>1.0084033613445301E-2</c:v>
                </c:pt>
                <c:pt idx="21478">
                  <c:v>1.0084033613445301E-2</c:v>
                </c:pt>
                <c:pt idx="21479">
                  <c:v>1.0084033613445301E-2</c:v>
                </c:pt>
                <c:pt idx="21480">
                  <c:v>1.0084033613445301E-2</c:v>
                </c:pt>
                <c:pt idx="21481">
                  <c:v>9.2436974789915603E-3</c:v>
                </c:pt>
                <c:pt idx="21482">
                  <c:v>9.2436974789915603E-3</c:v>
                </c:pt>
                <c:pt idx="21483">
                  <c:v>9.2436974789915603E-3</c:v>
                </c:pt>
                <c:pt idx="21484">
                  <c:v>9.2436974789915603E-3</c:v>
                </c:pt>
                <c:pt idx="21485">
                  <c:v>9.2436974789915603E-3</c:v>
                </c:pt>
                <c:pt idx="21486">
                  <c:v>9.2436974789915603E-3</c:v>
                </c:pt>
                <c:pt idx="21487">
                  <c:v>9.2436974789915603E-3</c:v>
                </c:pt>
                <c:pt idx="21488">
                  <c:v>9.2436974789915603E-3</c:v>
                </c:pt>
                <c:pt idx="21489">
                  <c:v>9.2436974789915603E-3</c:v>
                </c:pt>
                <c:pt idx="21490">
                  <c:v>9.2436974789915603E-3</c:v>
                </c:pt>
                <c:pt idx="21491">
                  <c:v>9.2436974789915603E-3</c:v>
                </c:pt>
                <c:pt idx="21492">
                  <c:v>9.2436974789915603E-3</c:v>
                </c:pt>
                <c:pt idx="21493">
                  <c:v>9.2436974789915603E-3</c:v>
                </c:pt>
                <c:pt idx="21494">
                  <c:v>9.2436974789915603E-3</c:v>
                </c:pt>
                <c:pt idx="21495">
                  <c:v>9.2436974789915603E-3</c:v>
                </c:pt>
                <c:pt idx="21496">
                  <c:v>9.2436974789915603E-3</c:v>
                </c:pt>
                <c:pt idx="21497">
                  <c:v>9.2436974789915603E-3</c:v>
                </c:pt>
                <c:pt idx="21498">
                  <c:v>9.2436974789915603E-3</c:v>
                </c:pt>
                <c:pt idx="21499">
                  <c:v>9.2436974789915603E-3</c:v>
                </c:pt>
                <c:pt idx="21500">
                  <c:v>9.2436974789915603E-3</c:v>
                </c:pt>
                <c:pt idx="21501">
                  <c:v>9.2436974789915603E-3</c:v>
                </c:pt>
                <c:pt idx="21502">
                  <c:v>9.2436974789915603E-3</c:v>
                </c:pt>
                <c:pt idx="21503">
                  <c:v>9.2436974789915603E-3</c:v>
                </c:pt>
                <c:pt idx="21504">
                  <c:v>9.2436974789915603E-3</c:v>
                </c:pt>
                <c:pt idx="21505">
                  <c:v>9.2436974789915603E-3</c:v>
                </c:pt>
                <c:pt idx="21506">
                  <c:v>9.2436974789915603E-3</c:v>
                </c:pt>
                <c:pt idx="21507">
                  <c:v>9.2436974789915603E-3</c:v>
                </c:pt>
                <c:pt idx="21508">
                  <c:v>1.0084033613445301E-2</c:v>
                </c:pt>
                <c:pt idx="21509">
                  <c:v>1.0084033613445301E-2</c:v>
                </c:pt>
                <c:pt idx="21510">
                  <c:v>1.0084033613445301E-2</c:v>
                </c:pt>
                <c:pt idx="21511">
                  <c:v>9.2436974789915603E-3</c:v>
                </c:pt>
                <c:pt idx="21512">
                  <c:v>9.2436974789915603E-3</c:v>
                </c:pt>
                <c:pt idx="21513">
                  <c:v>9.2436974789915603E-3</c:v>
                </c:pt>
                <c:pt idx="21514">
                  <c:v>8.4033613445377801E-3</c:v>
                </c:pt>
                <c:pt idx="21515">
                  <c:v>8.4033613445377801E-3</c:v>
                </c:pt>
                <c:pt idx="21516">
                  <c:v>8.4033613445377801E-3</c:v>
                </c:pt>
                <c:pt idx="21517">
                  <c:v>8.4033613445377801E-3</c:v>
                </c:pt>
                <c:pt idx="21518">
                  <c:v>8.4033613445377801E-3</c:v>
                </c:pt>
                <c:pt idx="21519">
                  <c:v>8.4033613445377801E-3</c:v>
                </c:pt>
                <c:pt idx="21520">
                  <c:v>8.4033613445377801E-3</c:v>
                </c:pt>
                <c:pt idx="21521">
                  <c:v>8.4033613445377801E-3</c:v>
                </c:pt>
                <c:pt idx="21522">
                  <c:v>8.4033613445377801E-3</c:v>
                </c:pt>
                <c:pt idx="21523">
                  <c:v>8.4033613445377801E-3</c:v>
                </c:pt>
                <c:pt idx="21524">
                  <c:v>8.4033613445377801E-3</c:v>
                </c:pt>
                <c:pt idx="21525">
                  <c:v>8.4033613445377801E-3</c:v>
                </c:pt>
                <c:pt idx="21526">
                  <c:v>8.4033613445377801E-3</c:v>
                </c:pt>
                <c:pt idx="21527">
                  <c:v>8.4033613445377801E-3</c:v>
                </c:pt>
                <c:pt idx="21528">
                  <c:v>8.4033613445377801E-3</c:v>
                </c:pt>
                <c:pt idx="21529">
                  <c:v>8.4033613445377801E-3</c:v>
                </c:pt>
                <c:pt idx="21530">
                  <c:v>8.4033613445377801E-3</c:v>
                </c:pt>
                <c:pt idx="21531">
                  <c:v>8.4033613445377801E-3</c:v>
                </c:pt>
                <c:pt idx="21532">
                  <c:v>8.4033613445377801E-3</c:v>
                </c:pt>
                <c:pt idx="21533">
                  <c:v>8.4033613445377801E-3</c:v>
                </c:pt>
                <c:pt idx="21534">
                  <c:v>8.4033613445377801E-3</c:v>
                </c:pt>
                <c:pt idx="21535">
                  <c:v>8.4033613445377801E-3</c:v>
                </c:pt>
                <c:pt idx="21536">
                  <c:v>8.4033613445377801E-3</c:v>
                </c:pt>
                <c:pt idx="21537">
                  <c:v>8.4033613445377801E-3</c:v>
                </c:pt>
                <c:pt idx="21538">
                  <c:v>8.4033613445377801E-3</c:v>
                </c:pt>
                <c:pt idx="21539">
                  <c:v>8.4033613445377801E-3</c:v>
                </c:pt>
                <c:pt idx="21540">
                  <c:v>8.4033613445377801E-3</c:v>
                </c:pt>
                <c:pt idx="21541">
                  <c:v>8.4033613445377801E-3</c:v>
                </c:pt>
                <c:pt idx="21542">
                  <c:v>8.4033613445377801E-3</c:v>
                </c:pt>
                <c:pt idx="21543">
                  <c:v>8.4033613445377801E-3</c:v>
                </c:pt>
                <c:pt idx="21544">
                  <c:v>8.4033613445377801E-3</c:v>
                </c:pt>
                <c:pt idx="21545">
                  <c:v>8.4033613445377801E-3</c:v>
                </c:pt>
                <c:pt idx="21546">
                  <c:v>8.4033613445377801E-3</c:v>
                </c:pt>
                <c:pt idx="21547">
                  <c:v>8.4033613445377801E-3</c:v>
                </c:pt>
                <c:pt idx="21548">
                  <c:v>8.4033613445377801E-3</c:v>
                </c:pt>
                <c:pt idx="21549">
                  <c:v>8.4033613445377801E-3</c:v>
                </c:pt>
                <c:pt idx="21550">
                  <c:v>8.4033613445377801E-3</c:v>
                </c:pt>
                <c:pt idx="21551">
                  <c:v>8.4033613445377801E-3</c:v>
                </c:pt>
                <c:pt idx="21552">
                  <c:v>8.4033613445377801E-3</c:v>
                </c:pt>
                <c:pt idx="21553">
                  <c:v>8.4033613445377801E-3</c:v>
                </c:pt>
                <c:pt idx="21554">
                  <c:v>9.2436974789915603E-3</c:v>
                </c:pt>
                <c:pt idx="21555">
                  <c:v>9.2436974789915603E-3</c:v>
                </c:pt>
                <c:pt idx="21556">
                  <c:v>9.2436974789915603E-3</c:v>
                </c:pt>
                <c:pt idx="21557">
                  <c:v>9.2436974789915603E-3</c:v>
                </c:pt>
                <c:pt idx="21558">
                  <c:v>9.2436974789915603E-3</c:v>
                </c:pt>
                <c:pt idx="21559">
                  <c:v>9.2436974789915603E-3</c:v>
                </c:pt>
                <c:pt idx="21560">
                  <c:v>9.2436974789915603E-3</c:v>
                </c:pt>
                <c:pt idx="21561">
                  <c:v>9.2436974789915603E-3</c:v>
                </c:pt>
                <c:pt idx="21562">
                  <c:v>9.2436974789915603E-3</c:v>
                </c:pt>
                <c:pt idx="21563">
                  <c:v>9.2436974789915603E-3</c:v>
                </c:pt>
                <c:pt idx="21564">
                  <c:v>9.2436974789915603E-3</c:v>
                </c:pt>
                <c:pt idx="21565">
                  <c:v>9.2436974789915603E-3</c:v>
                </c:pt>
                <c:pt idx="21566">
                  <c:v>9.2436974789915603E-3</c:v>
                </c:pt>
                <c:pt idx="21567">
                  <c:v>9.2436974789915603E-3</c:v>
                </c:pt>
                <c:pt idx="21568">
                  <c:v>9.2436974789915603E-3</c:v>
                </c:pt>
                <c:pt idx="21569">
                  <c:v>9.2436974789915603E-3</c:v>
                </c:pt>
                <c:pt idx="21570">
                  <c:v>9.2436974789915603E-3</c:v>
                </c:pt>
                <c:pt idx="21571">
                  <c:v>9.2436974789915603E-3</c:v>
                </c:pt>
                <c:pt idx="21572">
                  <c:v>9.2436974789915603E-3</c:v>
                </c:pt>
                <c:pt idx="21573">
                  <c:v>9.2436974789915603E-3</c:v>
                </c:pt>
                <c:pt idx="21574">
                  <c:v>9.2436974789915603E-3</c:v>
                </c:pt>
                <c:pt idx="21575">
                  <c:v>9.2436974789915603E-3</c:v>
                </c:pt>
                <c:pt idx="21576">
                  <c:v>9.2436974789915603E-3</c:v>
                </c:pt>
                <c:pt idx="21577">
                  <c:v>9.2436974789915603E-3</c:v>
                </c:pt>
                <c:pt idx="21578">
                  <c:v>9.2436974789915603E-3</c:v>
                </c:pt>
                <c:pt idx="21579">
                  <c:v>9.2436974789915603E-3</c:v>
                </c:pt>
                <c:pt idx="21580">
                  <c:v>9.2436974789915603E-3</c:v>
                </c:pt>
                <c:pt idx="21581">
                  <c:v>9.2436974789915603E-3</c:v>
                </c:pt>
                <c:pt idx="21582">
                  <c:v>9.2436974789915603E-3</c:v>
                </c:pt>
                <c:pt idx="21583">
                  <c:v>9.2436974789915603E-3</c:v>
                </c:pt>
                <c:pt idx="21584">
                  <c:v>9.2436974789915603E-3</c:v>
                </c:pt>
                <c:pt idx="21585">
                  <c:v>9.2436974789915603E-3</c:v>
                </c:pt>
                <c:pt idx="21586">
                  <c:v>9.2436974789915603E-3</c:v>
                </c:pt>
                <c:pt idx="21587">
                  <c:v>9.2436974789915603E-3</c:v>
                </c:pt>
                <c:pt idx="21588">
                  <c:v>9.2436974789915603E-3</c:v>
                </c:pt>
                <c:pt idx="21589">
                  <c:v>9.2436974789915603E-3</c:v>
                </c:pt>
                <c:pt idx="21590">
                  <c:v>9.2436974789915603E-3</c:v>
                </c:pt>
                <c:pt idx="21591">
                  <c:v>9.2436974789915603E-3</c:v>
                </c:pt>
                <c:pt idx="21592">
                  <c:v>9.2436974789915603E-3</c:v>
                </c:pt>
                <c:pt idx="21593">
                  <c:v>9.2436974789915603E-3</c:v>
                </c:pt>
                <c:pt idx="21594">
                  <c:v>9.2436974789915603E-3</c:v>
                </c:pt>
                <c:pt idx="21595">
                  <c:v>9.2436974789915603E-3</c:v>
                </c:pt>
                <c:pt idx="21596">
                  <c:v>8.4033613445377801E-3</c:v>
                </c:pt>
                <c:pt idx="21597">
                  <c:v>8.4033613445377801E-3</c:v>
                </c:pt>
                <c:pt idx="21598">
                  <c:v>8.4033613445377801E-3</c:v>
                </c:pt>
                <c:pt idx="21599">
                  <c:v>8.4033613445377801E-3</c:v>
                </c:pt>
                <c:pt idx="21600">
                  <c:v>8.4033613445377801E-3</c:v>
                </c:pt>
                <c:pt idx="21601">
                  <c:v>8.4033613445377801E-3</c:v>
                </c:pt>
                <c:pt idx="21602">
                  <c:v>8.4033613445377801E-3</c:v>
                </c:pt>
                <c:pt idx="21603">
                  <c:v>8.4033613445377801E-3</c:v>
                </c:pt>
                <c:pt idx="21604">
                  <c:v>8.4033613445377801E-3</c:v>
                </c:pt>
                <c:pt idx="21605">
                  <c:v>8.4033613445377801E-3</c:v>
                </c:pt>
                <c:pt idx="21606">
                  <c:v>8.4033613445377801E-3</c:v>
                </c:pt>
                <c:pt idx="21607">
                  <c:v>8.4033613445377801E-3</c:v>
                </c:pt>
                <c:pt idx="21608">
                  <c:v>8.4033613445377801E-3</c:v>
                </c:pt>
                <c:pt idx="21609">
                  <c:v>8.4033613445377801E-3</c:v>
                </c:pt>
                <c:pt idx="21610">
                  <c:v>8.4033613445377801E-3</c:v>
                </c:pt>
                <c:pt idx="21611">
                  <c:v>8.4033613445377801E-3</c:v>
                </c:pt>
                <c:pt idx="21612">
                  <c:v>8.4033613445377801E-3</c:v>
                </c:pt>
                <c:pt idx="21613">
                  <c:v>8.4033613445377801E-3</c:v>
                </c:pt>
                <c:pt idx="21614">
                  <c:v>8.4033613445377801E-3</c:v>
                </c:pt>
                <c:pt idx="21615">
                  <c:v>8.4033613445377801E-3</c:v>
                </c:pt>
                <c:pt idx="21616">
                  <c:v>8.4033613445377801E-3</c:v>
                </c:pt>
                <c:pt idx="21617">
                  <c:v>8.4033613445377801E-3</c:v>
                </c:pt>
                <c:pt idx="21618">
                  <c:v>8.4033613445377801E-3</c:v>
                </c:pt>
                <c:pt idx="21619">
                  <c:v>8.4033613445377801E-3</c:v>
                </c:pt>
                <c:pt idx="21620">
                  <c:v>8.4033613445377801E-3</c:v>
                </c:pt>
                <c:pt idx="21621">
                  <c:v>8.4033613445377801E-3</c:v>
                </c:pt>
                <c:pt idx="21622">
                  <c:v>8.4033613445377801E-3</c:v>
                </c:pt>
                <c:pt idx="21623">
                  <c:v>8.4033613445377801E-3</c:v>
                </c:pt>
                <c:pt idx="21624">
                  <c:v>8.4033613445377801E-3</c:v>
                </c:pt>
                <c:pt idx="21625">
                  <c:v>8.4033613445377801E-3</c:v>
                </c:pt>
                <c:pt idx="21626">
                  <c:v>8.4033613445377801E-3</c:v>
                </c:pt>
                <c:pt idx="21627">
                  <c:v>8.4033613445377801E-3</c:v>
                </c:pt>
                <c:pt idx="21628">
                  <c:v>8.4033613445377801E-3</c:v>
                </c:pt>
                <c:pt idx="21629">
                  <c:v>8.4033613445377801E-3</c:v>
                </c:pt>
                <c:pt idx="21630">
                  <c:v>8.4033613445377801E-3</c:v>
                </c:pt>
                <c:pt idx="21631">
                  <c:v>8.4033613445377801E-3</c:v>
                </c:pt>
                <c:pt idx="21632">
                  <c:v>8.4033613445377801E-3</c:v>
                </c:pt>
                <c:pt idx="21633">
                  <c:v>8.4033613445377801E-3</c:v>
                </c:pt>
                <c:pt idx="21634">
                  <c:v>8.4033613445377801E-3</c:v>
                </c:pt>
                <c:pt idx="21635">
                  <c:v>8.4033613445377801E-3</c:v>
                </c:pt>
                <c:pt idx="21636">
                  <c:v>8.4033613445377801E-3</c:v>
                </c:pt>
                <c:pt idx="21637">
                  <c:v>8.4033613445377801E-3</c:v>
                </c:pt>
                <c:pt idx="21638">
                  <c:v>8.4033613445377801E-3</c:v>
                </c:pt>
                <c:pt idx="21639">
                  <c:v>8.4033613445377801E-3</c:v>
                </c:pt>
                <c:pt idx="21640">
                  <c:v>8.4033613445377801E-3</c:v>
                </c:pt>
                <c:pt idx="21641">
                  <c:v>8.4033613445377801E-3</c:v>
                </c:pt>
                <c:pt idx="21642">
                  <c:v>8.4033613445377801E-3</c:v>
                </c:pt>
                <c:pt idx="21643">
                  <c:v>8.4033613445377801E-3</c:v>
                </c:pt>
                <c:pt idx="21644">
                  <c:v>8.4033613445377801E-3</c:v>
                </c:pt>
                <c:pt idx="21645">
                  <c:v>8.4033613445377801E-3</c:v>
                </c:pt>
                <c:pt idx="21646">
                  <c:v>8.4033613445377801E-3</c:v>
                </c:pt>
                <c:pt idx="21647">
                  <c:v>8.4033613445377801E-3</c:v>
                </c:pt>
                <c:pt idx="21648">
                  <c:v>8.4033613445377801E-3</c:v>
                </c:pt>
                <c:pt idx="21649">
                  <c:v>8.4033613445377801E-3</c:v>
                </c:pt>
                <c:pt idx="21650">
                  <c:v>8.4033613445377801E-3</c:v>
                </c:pt>
                <c:pt idx="21651">
                  <c:v>8.4033613445377801E-3</c:v>
                </c:pt>
                <c:pt idx="21652">
                  <c:v>9.2436974789915603E-3</c:v>
                </c:pt>
                <c:pt idx="21653">
                  <c:v>1.0084033613445301E-2</c:v>
                </c:pt>
                <c:pt idx="21654">
                  <c:v>1.0084033613445301E-2</c:v>
                </c:pt>
                <c:pt idx="21655">
                  <c:v>1.0084033613445301E-2</c:v>
                </c:pt>
                <c:pt idx="21656">
                  <c:v>1.0084033613445301E-2</c:v>
                </c:pt>
                <c:pt idx="21657">
                  <c:v>1.0084033613445301E-2</c:v>
                </c:pt>
                <c:pt idx="21658">
                  <c:v>1.0084033613445301E-2</c:v>
                </c:pt>
                <c:pt idx="21659">
                  <c:v>1.0084033613445301E-2</c:v>
                </c:pt>
                <c:pt idx="21660">
                  <c:v>1.09243697478991E-2</c:v>
                </c:pt>
                <c:pt idx="21661">
                  <c:v>1.09243697478991E-2</c:v>
                </c:pt>
                <c:pt idx="21662">
                  <c:v>1.09243697478991E-2</c:v>
                </c:pt>
                <c:pt idx="21663">
                  <c:v>1.09243697478991E-2</c:v>
                </c:pt>
                <c:pt idx="21664">
                  <c:v>1.0084033613445301E-2</c:v>
                </c:pt>
                <c:pt idx="21665">
                  <c:v>1.0084033613445301E-2</c:v>
                </c:pt>
                <c:pt idx="21666">
                  <c:v>1.0084033613445301E-2</c:v>
                </c:pt>
                <c:pt idx="21667">
                  <c:v>1.0084033613445301E-2</c:v>
                </c:pt>
                <c:pt idx="21668">
                  <c:v>9.2436974789915603E-3</c:v>
                </c:pt>
                <c:pt idx="21669">
                  <c:v>9.2436974789915603E-3</c:v>
                </c:pt>
                <c:pt idx="21670">
                  <c:v>9.2436974789915603E-3</c:v>
                </c:pt>
                <c:pt idx="21671">
                  <c:v>9.2436974789915603E-3</c:v>
                </c:pt>
                <c:pt idx="21672">
                  <c:v>9.2436974789915603E-3</c:v>
                </c:pt>
                <c:pt idx="21673">
                  <c:v>9.2436974789915603E-3</c:v>
                </c:pt>
                <c:pt idx="21674">
                  <c:v>9.2436974789915603E-3</c:v>
                </c:pt>
                <c:pt idx="21675">
                  <c:v>9.2436974789915603E-3</c:v>
                </c:pt>
                <c:pt idx="21676">
                  <c:v>9.2436974789915603E-3</c:v>
                </c:pt>
                <c:pt idx="21677">
                  <c:v>9.2436974789915603E-3</c:v>
                </c:pt>
                <c:pt idx="21678">
                  <c:v>9.2436974789915603E-3</c:v>
                </c:pt>
                <c:pt idx="21679">
                  <c:v>9.2436974789915603E-3</c:v>
                </c:pt>
                <c:pt idx="21680">
                  <c:v>9.2436974789915603E-3</c:v>
                </c:pt>
                <c:pt idx="21681">
                  <c:v>9.2436974789915603E-3</c:v>
                </c:pt>
                <c:pt idx="21682">
                  <c:v>9.2436974789915603E-3</c:v>
                </c:pt>
                <c:pt idx="21683">
                  <c:v>9.2436974789915603E-3</c:v>
                </c:pt>
                <c:pt idx="21684">
                  <c:v>9.2436974789915603E-3</c:v>
                </c:pt>
                <c:pt idx="21685">
                  <c:v>9.2436974789915603E-3</c:v>
                </c:pt>
                <c:pt idx="21686">
                  <c:v>9.2436974789915603E-3</c:v>
                </c:pt>
                <c:pt idx="21687">
                  <c:v>8.4033613445377801E-3</c:v>
                </c:pt>
                <c:pt idx="21688">
                  <c:v>8.4033613445377801E-3</c:v>
                </c:pt>
                <c:pt idx="21689">
                  <c:v>8.4033613445377801E-3</c:v>
                </c:pt>
                <c:pt idx="21690">
                  <c:v>8.4033613445377801E-3</c:v>
                </c:pt>
                <c:pt idx="21691">
                  <c:v>8.4033613445377801E-3</c:v>
                </c:pt>
                <c:pt idx="21692">
                  <c:v>8.4033613445377801E-3</c:v>
                </c:pt>
                <c:pt idx="21693">
                  <c:v>8.4033613445377801E-3</c:v>
                </c:pt>
                <c:pt idx="21694">
                  <c:v>8.4033613445377801E-3</c:v>
                </c:pt>
                <c:pt idx="21695">
                  <c:v>8.4033613445377801E-3</c:v>
                </c:pt>
                <c:pt idx="21696">
                  <c:v>9.2436974789915603E-3</c:v>
                </c:pt>
                <c:pt idx="21697">
                  <c:v>9.2436974789915603E-3</c:v>
                </c:pt>
                <c:pt idx="21698">
                  <c:v>9.2436974789915603E-3</c:v>
                </c:pt>
                <c:pt idx="21699">
                  <c:v>9.2436974789915603E-3</c:v>
                </c:pt>
                <c:pt idx="21700">
                  <c:v>9.2436974789915603E-3</c:v>
                </c:pt>
                <c:pt idx="21701">
                  <c:v>9.2436974789915603E-3</c:v>
                </c:pt>
                <c:pt idx="21702">
                  <c:v>9.2436974789915603E-3</c:v>
                </c:pt>
                <c:pt idx="21703">
                  <c:v>9.2436974789915603E-3</c:v>
                </c:pt>
                <c:pt idx="21704">
                  <c:v>9.2436974789915603E-3</c:v>
                </c:pt>
                <c:pt idx="21705">
                  <c:v>9.2436974789915603E-3</c:v>
                </c:pt>
                <c:pt idx="21706">
                  <c:v>9.2436974789915603E-3</c:v>
                </c:pt>
                <c:pt idx="21707">
                  <c:v>9.2436974789915603E-3</c:v>
                </c:pt>
                <c:pt idx="21708">
                  <c:v>9.2436974789915603E-3</c:v>
                </c:pt>
                <c:pt idx="21709">
                  <c:v>9.2436974789915603E-3</c:v>
                </c:pt>
                <c:pt idx="21710">
                  <c:v>9.2436974789915603E-3</c:v>
                </c:pt>
                <c:pt idx="21711">
                  <c:v>9.2436974789915603E-3</c:v>
                </c:pt>
                <c:pt idx="21712">
                  <c:v>9.2436974789915603E-3</c:v>
                </c:pt>
                <c:pt idx="21713">
                  <c:v>9.2436974789915603E-3</c:v>
                </c:pt>
                <c:pt idx="21714">
                  <c:v>9.2436974789915603E-3</c:v>
                </c:pt>
                <c:pt idx="21715">
                  <c:v>9.2436974789915603E-3</c:v>
                </c:pt>
                <c:pt idx="21716">
                  <c:v>9.2436974789915603E-3</c:v>
                </c:pt>
                <c:pt idx="21717">
                  <c:v>9.2436974789915603E-3</c:v>
                </c:pt>
                <c:pt idx="21718">
                  <c:v>8.4033613445377801E-3</c:v>
                </c:pt>
                <c:pt idx="21719">
                  <c:v>8.4033613445377801E-3</c:v>
                </c:pt>
                <c:pt idx="21720">
                  <c:v>8.4033613445377801E-3</c:v>
                </c:pt>
                <c:pt idx="21721">
                  <c:v>8.4033613445377801E-3</c:v>
                </c:pt>
                <c:pt idx="21722">
                  <c:v>8.4033613445377801E-3</c:v>
                </c:pt>
                <c:pt idx="21723">
                  <c:v>8.4033613445377801E-3</c:v>
                </c:pt>
                <c:pt idx="21724">
                  <c:v>8.4033613445377801E-3</c:v>
                </c:pt>
                <c:pt idx="21725">
                  <c:v>8.4033613445377801E-3</c:v>
                </c:pt>
                <c:pt idx="21726">
                  <c:v>8.4033613445377801E-3</c:v>
                </c:pt>
                <c:pt idx="21727">
                  <c:v>8.4033613445377801E-3</c:v>
                </c:pt>
                <c:pt idx="21728">
                  <c:v>8.4033613445377801E-3</c:v>
                </c:pt>
                <c:pt idx="21729">
                  <c:v>8.4033613445377801E-3</c:v>
                </c:pt>
                <c:pt idx="21730">
                  <c:v>8.4033613445377801E-3</c:v>
                </c:pt>
                <c:pt idx="21731">
                  <c:v>8.4033613445377801E-3</c:v>
                </c:pt>
                <c:pt idx="21732">
                  <c:v>8.4033613445377801E-3</c:v>
                </c:pt>
                <c:pt idx="21733">
                  <c:v>8.4033613445377801E-3</c:v>
                </c:pt>
                <c:pt idx="21734">
                  <c:v>8.4033613445377801E-3</c:v>
                </c:pt>
                <c:pt idx="21735">
                  <c:v>8.4033613445377801E-3</c:v>
                </c:pt>
                <c:pt idx="21736">
                  <c:v>8.4033613445377801E-3</c:v>
                </c:pt>
                <c:pt idx="21737">
                  <c:v>8.4033613445377801E-3</c:v>
                </c:pt>
                <c:pt idx="21738">
                  <c:v>8.4033613445377801E-3</c:v>
                </c:pt>
                <c:pt idx="21739">
                  <c:v>8.4033613445377801E-3</c:v>
                </c:pt>
                <c:pt idx="21740">
                  <c:v>8.4033613445377801E-3</c:v>
                </c:pt>
                <c:pt idx="21741">
                  <c:v>8.4033613445377801E-3</c:v>
                </c:pt>
                <c:pt idx="21742">
                  <c:v>8.4033613445377801E-3</c:v>
                </c:pt>
                <c:pt idx="21743">
                  <c:v>8.4033613445377801E-3</c:v>
                </c:pt>
                <c:pt idx="21744">
                  <c:v>8.4033613445377801E-3</c:v>
                </c:pt>
                <c:pt idx="21745">
                  <c:v>8.4033613445377801E-3</c:v>
                </c:pt>
                <c:pt idx="21746">
                  <c:v>8.4033613445377801E-3</c:v>
                </c:pt>
                <c:pt idx="21747">
                  <c:v>8.4033613445377801E-3</c:v>
                </c:pt>
                <c:pt idx="21748">
                  <c:v>8.4033613445377801E-3</c:v>
                </c:pt>
                <c:pt idx="21749">
                  <c:v>8.4033613445377801E-3</c:v>
                </c:pt>
                <c:pt idx="21750">
                  <c:v>8.4033613445377801E-3</c:v>
                </c:pt>
                <c:pt idx="21751">
                  <c:v>8.4033613445377801E-3</c:v>
                </c:pt>
                <c:pt idx="21752">
                  <c:v>8.4033613445377801E-3</c:v>
                </c:pt>
                <c:pt idx="21753">
                  <c:v>8.4033613445377801E-3</c:v>
                </c:pt>
                <c:pt idx="21754">
                  <c:v>9.2436974789915603E-3</c:v>
                </c:pt>
                <c:pt idx="21755">
                  <c:v>9.2436974789915603E-3</c:v>
                </c:pt>
                <c:pt idx="21756">
                  <c:v>9.2436974789915603E-3</c:v>
                </c:pt>
                <c:pt idx="21757">
                  <c:v>9.2436974789915603E-3</c:v>
                </c:pt>
                <c:pt idx="21758">
                  <c:v>9.2436974789915603E-3</c:v>
                </c:pt>
                <c:pt idx="21759">
                  <c:v>9.2436974789915603E-3</c:v>
                </c:pt>
                <c:pt idx="21760">
                  <c:v>9.2436974789915603E-3</c:v>
                </c:pt>
                <c:pt idx="21761">
                  <c:v>9.2436974789915603E-3</c:v>
                </c:pt>
                <c:pt idx="21762">
                  <c:v>9.2436974789915603E-3</c:v>
                </c:pt>
                <c:pt idx="21763">
                  <c:v>9.2436974789915603E-3</c:v>
                </c:pt>
                <c:pt idx="21764">
                  <c:v>9.2436974789915603E-3</c:v>
                </c:pt>
                <c:pt idx="21765">
                  <c:v>8.4033613445377801E-3</c:v>
                </c:pt>
                <c:pt idx="21766">
                  <c:v>8.4033613445377801E-3</c:v>
                </c:pt>
                <c:pt idx="21767">
                  <c:v>8.4033613445377801E-3</c:v>
                </c:pt>
                <c:pt idx="21768">
                  <c:v>8.4033613445377801E-3</c:v>
                </c:pt>
                <c:pt idx="21769">
                  <c:v>8.4033613445377801E-3</c:v>
                </c:pt>
                <c:pt idx="21770">
                  <c:v>7.5630252100839998E-3</c:v>
                </c:pt>
                <c:pt idx="21771">
                  <c:v>7.5630252100839998E-3</c:v>
                </c:pt>
                <c:pt idx="21772">
                  <c:v>7.5630252100839998E-3</c:v>
                </c:pt>
                <c:pt idx="21773">
                  <c:v>7.5630252100839998E-3</c:v>
                </c:pt>
                <c:pt idx="21774">
                  <c:v>7.5630252100839998E-3</c:v>
                </c:pt>
                <c:pt idx="21775">
                  <c:v>7.5630252100839998E-3</c:v>
                </c:pt>
                <c:pt idx="21776">
                  <c:v>7.5630252100839998E-3</c:v>
                </c:pt>
                <c:pt idx="21777">
                  <c:v>7.5630252100839998E-3</c:v>
                </c:pt>
                <c:pt idx="21778">
                  <c:v>7.5630252100839998E-3</c:v>
                </c:pt>
                <c:pt idx="21779">
                  <c:v>7.5630252100839998E-3</c:v>
                </c:pt>
                <c:pt idx="21780">
                  <c:v>7.5630252100839998E-3</c:v>
                </c:pt>
                <c:pt idx="21781">
                  <c:v>7.5630252100839998E-3</c:v>
                </c:pt>
                <c:pt idx="21782">
                  <c:v>7.5630252100839998E-3</c:v>
                </c:pt>
                <c:pt idx="21783">
                  <c:v>6.7226890756302204E-3</c:v>
                </c:pt>
                <c:pt idx="21784">
                  <c:v>6.7226890756302204E-3</c:v>
                </c:pt>
                <c:pt idx="21785">
                  <c:v>6.7226890756302204E-3</c:v>
                </c:pt>
                <c:pt idx="21786">
                  <c:v>6.7226890756302204E-3</c:v>
                </c:pt>
                <c:pt idx="21787">
                  <c:v>6.7226890756302204E-3</c:v>
                </c:pt>
                <c:pt idx="21788">
                  <c:v>6.7226890756302204E-3</c:v>
                </c:pt>
                <c:pt idx="21789">
                  <c:v>6.7226890756302204E-3</c:v>
                </c:pt>
                <c:pt idx="21790">
                  <c:v>6.7226890756302204E-3</c:v>
                </c:pt>
                <c:pt idx="21791">
                  <c:v>6.7226890756302204E-3</c:v>
                </c:pt>
                <c:pt idx="21792">
                  <c:v>6.7226890756302204E-3</c:v>
                </c:pt>
                <c:pt idx="21793">
                  <c:v>6.7226890756302204E-3</c:v>
                </c:pt>
                <c:pt idx="21794">
                  <c:v>5.8823529411764497E-3</c:v>
                </c:pt>
                <c:pt idx="21795">
                  <c:v>5.8823529411764497E-3</c:v>
                </c:pt>
                <c:pt idx="21796">
                  <c:v>5.8823529411764497E-3</c:v>
                </c:pt>
                <c:pt idx="21797">
                  <c:v>5.8823529411764497E-3</c:v>
                </c:pt>
                <c:pt idx="21798">
                  <c:v>5.8823529411764497E-3</c:v>
                </c:pt>
                <c:pt idx="21799">
                  <c:v>5.8823529411764497E-3</c:v>
                </c:pt>
                <c:pt idx="21800">
                  <c:v>5.8823529411764497E-3</c:v>
                </c:pt>
                <c:pt idx="21801">
                  <c:v>5.8823529411764497E-3</c:v>
                </c:pt>
                <c:pt idx="21802">
                  <c:v>5.8823529411764497E-3</c:v>
                </c:pt>
                <c:pt idx="21803">
                  <c:v>5.8823529411764497E-3</c:v>
                </c:pt>
                <c:pt idx="21804">
                  <c:v>5.8823529411764497E-3</c:v>
                </c:pt>
                <c:pt idx="21805">
                  <c:v>5.8823529411764497E-3</c:v>
                </c:pt>
                <c:pt idx="21806">
                  <c:v>6.7226890756302204E-3</c:v>
                </c:pt>
                <c:pt idx="21807">
                  <c:v>6.7226890756302204E-3</c:v>
                </c:pt>
                <c:pt idx="21808">
                  <c:v>6.7226890756302204E-3</c:v>
                </c:pt>
                <c:pt idx="21809">
                  <c:v>6.7226890756302204E-3</c:v>
                </c:pt>
                <c:pt idx="21810">
                  <c:v>6.7226890756302204E-3</c:v>
                </c:pt>
                <c:pt idx="21811">
                  <c:v>5.8823529411764497E-3</c:v>
                </c:pt>
                <c:pt idx="21812">
                  <c:v>5.8823529411764497E-3</c:v>
                </c:pt>
                <c:pt idx="21813">
                  <c:v>5.8823529411764497E-3</c:v>
                </c:pt>
                <c:pt idx="21814">
                  <c:v>5.8823529411764497E-3</c:v>
                </c:pt>
                <c:pt idx="21815">
                  <c:v>5.8823529411764497E-3</c:v>
                </c:pt>
                <c:pt idx="21816">
                  <c:v>5.8823529411764497E-3</c:v>
                </c:pt>
                <c:pt idx="21817">
                  <c:v>5.8823529411764497E-3</c:v>
                </c:pt>
                <c:pt idx="21818">
                  <c:v>5.8823529411764497E-3</c:v>
                </c:pt>
                <c:pt idx="21819">
                  <c:v>5.8823529411764497E-3</c:v>
                </c:pt>
                <c:pt idx="21820">
                  <c:v>5.8823529411764497E-3</c:v>
                </c:pt>
                <c:pt idx="21821">
                  <c:v>5.8823529411764497E-3</c:v>
                </c:pt>
                <c:pt idx="21822">
                  <c:v>5.8823529411764497E-3</c:v>
                </c:pt>
                <c:pt idx="21823">
                  <c:v>5.8823529411764497E-3</c:v>
                </c:pt>
                <c:pt idx="21824">
                  <c:v>5.8823529411764497E-3</c:v>
                </c:pt>
                <c:pt idx="21825">
                  <c:v>5.8823529411764497E-3</c:v>
                </c:pt>
                <c:pt idx="21826">
                  <c:v>5.8823529411764497E-3</c:v>
                </c:pt>
                <c:pt idx="21827">
                  <c:v>5.8823529411764497E-3</c:v>
                </c:pt>
                <c:pt idx="21828">
                  <c:v>5.0420168067226703E-3</c:v>
                </c:pt>
                <c:pt idx="21829">
                  <c:v>5.0420168067226703E-3</c:v>
                </c:pt>
                <c:pt idx="21830">
                  <c:v>5.0420168067226703E-3</c:v>
                </c:pt>
                <c:pt idx="21831">
                  <c:v>5.0420168067226703E-3</c:v>
                </c:pt>
                <c:pt idx="21832">
                  <c:v>5.0420168067226703E-3</c:v>
                </c:pt>
                <c:pt idx="21833">
                  <c:v>5.0420168067226703E-3</c:v>
                </c:pt>
                <c:pt idx="21834">
                  <c:v>5.0420168067226703E-3</c:v>
                </c:pt>
                <c:pt idx="21835">
                  <c:v>5.0420168067226703E-3</c:v>
                </c:pt>
                <c:pt idx="21836">
                  <c:v>5.0420168067226703E-3</c:v>
                </c:pt>
                <c:pt idx="21837">
                  <c:v>5.0420168067226703E-3</c:v>
                </c:pt>
                <c:pt idx="21838">
                  <c:v>5.0420168067226703E-3</c:v>
                </c:pt>
                <c:pt idx="21839">
                  <c:v>5.0420168067226703E-3</c:v>
                </c:pt>
                <c:pt idx="21840">
                  <c:v>5.0420168067226703E-3</c:v>
                </c:pt>
                <c:pt idx="21841">
                  <c:v>5.0420168067226703E-3</c:v>
                </c:pt>
                <c:pt idx="21842">
                  <c:v>5.0420168067226703E-3</c:v>
                </c:pt>
                <c:pt idx="21843">
                  <c:v>5.0420168067226703E-3</c:v>
                </c:pt>
                <c:pt idx="21844">
                  <c:v>5.0420168067226703E-3</c:v>
                </c:pt>
                <c:pt idx="21845">
                  <c:v>5.0420168067226703E-3</c:v>
                </c:pt>
                <c:pt idx="21846">
                  <c:v>5.0420168067226703E-3</c:v>
                </c:pt>
                <c:pt idx="21847">
                  <c:v>5.0420168067226703E-3</c:v>
                </c:pt>
                <c:pt idx="21848">
                  <c:v>5.0420168067226703E-3</c:v>
                </c:pt>
                <c:pt idx="21849">
                  <c:v>5.0420168067226703E-3</c:v>
                </c:pt>
                <c:pt idx="21850">
                  <c:v>5.0420168067226703E-3</c:v>
                </c:pt>
                <c:pt idx="21851">
                  <c:v>5.0420168067226703E-3</c:v>
                </c:pt>
                <c:pt idx="21852">
                  <c:v>5.0420168067226703E-3</c:v>
                </c:pt>
                <c:pt idx="21853">
                  <c:v>5.0420168067226703E-3</c:v>
                </c:pt>
                <c:pt idx="21854">
                  <c:v>5.0420168067226703E-3</c:v>
                </c:pt>
                <c:pt idx="21855">
                  <c:v>5.0420168067226703E-3</c:v>
                </c:pt>
                <c:pt idx="21856">
                  <c:v>5.0420168067226703E-3</c:v>
                </c:pt>
                <c:pt idx="21857">
                  <c:v>5.0420168067226703E-3</c:v>
                </c:pt>
                <c:pt idx="21858">
                  <c:v>5.0420168067226703E-3</c:v>
                </c:pt>
                <c:pt idx="21859">
                  <c:v>5.0420168067226703E-3</c:v>
                </c:pt>
                <c:pt idx="21860">
                  <c:v>5.0420168067226703E-3</c:v>
                </c:pt>
                <c:pt idx="21861">
                  <c:v>5.0420168067226703E-3</c:v>
                </c:pt>
                <c:pt idx="21862">
                  <c:v>5.0420168067226703E-3</c:v>
                </c:pt>
                <c:pt idx="21863">
                  <c:v>5.0420168067226703E-3</c:v>
                </c:pt>
                <c:pt idx="21864">
                  <c:v>5.0420168067226703E-3</c:v>
                </c:pt>
                <c:pt idx="21865">
                  <c:v>5.0420168067226703E-3</c:v>
                </c:pt>
                <c:pt idx="21866">
                  <c:v>5.0420168067226703E-3</c:v>
                </c:pt>
                <c:pt idx="21867">
                  <c:v>5.0420168067226703E-3</c:v>
                </c:pt>
                <c:pt idx="21868">
                  <c:v>5.0420168067226703E-3</c:v>
                </c:pt>
                <c:pt idx="21869">
                  <c:v>5.0420168067226703E-3</c:v>
                </c:pt>
                <c:pt idx="21870">
                  <c:v>5.0420168067226703E-3</c:v>
                </c:pt>
                <c:pt idx="21871">
                  <c:v>5.0420168067226703E-3</c:v>
                </c:pt>
                <c:pt idx="21872">
                  <c:v>5.0420168067226703E-3</c:v>
                </c:pt>
                <c:pt idx="21873">
                  <c:v>5.0420168067226703E-3</c:v>
                </c:pt>
                <c:pt idx="21874">
                  <c:v>5.8823529411764497E-3</c:v>
                </c:pt>
                <c:pt idx="21875">
                  <c:v>5.8823529411764497E-3</c:v>
                </c:pt>
                <c:pt idx="21876">
                  <c:v>5.8823529411764497E-3</c:v>
                </c:pt>
                <c:pt idx="21877">
                  <c:v>5.8823529411764497E-3</c:v>
                </c:pt>
                <c:pt idx="21878">
                  <c:v>5.8823529411764497E-3</c:v>
                </c:pt>
                <c:pt idx="21879">
                  <c:v>5.8823529411764497E-3</c:v>
                </c:pt>
                <c:pt idx="21880">
                  <c:v>5.8823529411764497E-3</c:v>
                </c:pt>
                <c:pt idx="21881">
                  <c:v>5.8823529411764497E-3</c:v>
                </c:pt>
                <c:pt idx="21882">
                  <c:v>5.0420168067226703E-3</c:v>
                </c:pt>
                <c:pt idx="21883">
                  <c:v>5.0420168067226703E-3</c:v>
                </c:pt>
                <c:pt idx="21884">
                  <c:v>5.0420168067226703E-3</c:v>
                </c:pt>
                <c:pt idx="21885">
                  <c:v>5.0420168067226703E-3</c:v>
                </c:pt>
                <c:pt idx="21886">
                  <c:v>5.0420168067226703E-3</c:v>
                </c:pt>
                <c:pt idx="21887">
                  <c:v>5.0420168067226703E-3</c:v>
                </c:pt>
                <c:pt idx="21888">
                  <c:v>5.0420168067226703E-3</c:v>
                </c:pt>
                <c:pt idx="21889">
                  <c:v>5.0420168067226703E-3</c:v>
                </c:pt>
                <c:pt idx="21890">
                  <c:v>5.0420168067226703E-3</c:v>
                </c:pt>
                <c:pt idx="21891">
                  <c:v>5.0420168067226703E-3</c:v>
                </c:pt>
                <c:pt idx="21892">
                  <c:v>5.0420168067226703E-3</c:v>
                </c:pt>
                <c:pt idx="21893">
                  <c:v>5.0420168067226703E-3</c:v>
                </c:pt>
                <c:pt idx="21894">
                  <c:v>5.0420168067226703E-3</c:v>
                </c:pt>
                <c:pt idx="21895">
                  <c:v>5.0420168067226703E-3</c:v>
                </c:pt>
                <c:pt idx="21896">
                  <c:v>5.0420168067226703E-3</c:v>
                </c:pt>
                <c:pt idx="21897">
                  <c:v>5.0420168067226703E-3</c:v>
                </c:pt>
                <c:pt idx="21898">
                  <c:v>5.0420168067226703E-3</c:v>
                </c:pt>
                <c:pt idx="21899">
                  <c:v>5.0420168067226703E-3</c:v>
                </c:pt>
                <c:pt idx="21900">
                  <c:v>5.0420168067226703E-3</c:v>
                </c:pt>
                <c:pt idx="21901">
                  <c:v>5.0420168067226703E-3</c:v>
                </c:pt>
                <c:pt idx="21902">
                  <c:v>5.0420168067226703E-3</c:v>
                </c:pt>
                <c:pt idx="21903">
                  <c:v>5.0420168067226703E-3</c:v>
                </c:pt>
                <c:pt idx="21904">
                  <c:v>5.0420168067226703E-3</c:v>
                </c:pt>
                <c:pt idx="21905">
                  <c:v>5.0420168067226703E-3</c:v>
                </c:pt>
                <c:pt idx="21906">
                  <c:v>5.0420168067226703E-3</c:v>
                </c:pt>
                <c:pt idx="21907">
                  <c:v>5.0420168067226703E-3</c:v>
                </c:pt>
                <c:pt idx="21908">
                  <c:v>5.0420168067226703E-3</c:v>
                </c:pt>
                <c:pt idx="21909">
                  <c:v>5.0420168067226703E-3</c:v>
                </c:pt>
                <c:pt idx="21910">
                  <c:v>5.0420168067226703E-3</c:v>
                </c:pt>
                <c:pt idx="21911">
                  <c:v>5.0420168067226703E-3</c:v>
                </c:pt>
                <c:pt idx="21912">
                  <c:v>5.0420168067226703E-3</c:v>
                </c:pt>
                <c:pt idx="21913">
                  <c:v>5.0420168067226703E-3</c:v>
                </c:pt>
                <c:pt idx="21914">
                  <c:v>5.0420168067226703E-3</c:v>
                </c:pt>
                <c:pt idx="21915">
                  <c:v>4.20168067226889E-3</c:v>
                </c:pt>
                <c:pt idx="21916">
                  <c:v>4.20168067226889E-3</c:v>
                </c:pt>
                <c:pt idx="21917">
                  <c:v>4.20168067226889E-3</c:v>
                </c:pt>
                <c:pt idx="21918">
                  <c:v>4.20168067226889E-3</c:v>
                </c:pt>
                <c:pt idx="21919">
                  <c:v>4.20168067226889E-3</c:v>
                </c:pt>
                <c:pt idx="21920">
                  <c:v>4.20168067226889E-3</c:v>
                </c:pt>
                <c:pt idx="21921">
                  <c:v>4.20168067226889E-3</c:v>
                </c:pt>
                <c:pt idx="21922">
                  <c:v>4.20168067226889E-3</c:v>
                </c:pt>
                <c:pt idx="21923">
                  <c:v>4.20168067226889E-3</c:v>
                </c:pt>
                <c:pt idx="21924">
                  <c:v>4.20168067226889E-3</c:v>
                </c:pt>
                <c:pt idx="21925">
                  <c:v>4.20168067226889E-3</c:v>
                </c:pt>
                <c:pt idx="21926">
                  <c:v>4.20168067226889E-3</c:v>
                </c:pt>
                <c:pt idx="21927">
                  <c:v>4.20168067226889E-3</c:v>
                </c:pt>
                <c:pt idx="21928">
                  <c:v>4.20168067226889E-3</c:v>
                </c:pt>
                <c:pt idx="21929">
                  <c:v>4.20168067226889E-3</c:v>
                </c:pt>
                <c:pt idx="21930">
                  <c:v>4.20168067226889E-3</c:v>
                </c:pt>
                <c:pt idx="21931">
                  <c:v>4.20168067226889E-3</c:v>
                </c:pt>
                <c:pt idx="21932">
                  <c:v>4.20168067226889E-3</c:v>
                </c:pt>
                <c:pt idx="21933">
                  <c:v>4.20168067226889E-3</c:v>
                </c:pt>
                <c:pt idx="21934">
                  <c:v>4.20168067226889E-3</c:v>
                </c:pt>
                <c:pt idx="21935">
                  <c:v>4.20168067226889E-3</c:v>
                </c:pt>
                <c:pt idx="21936">
                  <c:v>4.20168067226889E-3</c:v>
                </c:pt>
                <c:pt idx="21937">
                  <c:v>3.3613445378151102E-3</c:v>
                </c:pt>
                <c:pt idx="21938">
                  <c:v>3.3613445378151102E-3</c:v>
                </c:pt>
                <c:pt idx="21939">
                  <c:v>3.3613445378151102E-3</c:v>
                </c:pt>
                <c:pt idx="21940">
                  <c:v>3.3613445378151102E-3</c:v>
                </c:pt>
                <c:pt idx="21941">
                  <c:v>3.3613445378151102E-3</c:v>
                </c:pt>
                <c:pt idx="21942">
                  <c:v>3.3613445378151102E-3</c:v>
                </c:pt>
                <c:pt idx="21943">
                  <c:v>3.3613445378151102E-3</c:v>
                </c:pt>
                <c:pt idx="21944">
                  <c:v>3.3613445378151102E-3</c:v>
                </c:pt>
                <c:pt idx="21945">
                  <c:v>3.3613445378151102E-3</c:v>
                </c:pt>
                <c:pt idx="21946">
                  <c:v>3.3613445378151102E-3</c:v>
                </c:pt>
                <c:pt idx="21947">
                  <c:v>3.3613445378151102E-3</c:v>
                </c:pt>
                <c:pt idx="21948">
                  <c:v>3.3613445378151102E-3</c:v>
                </c:pt>
                <c:pt idx="21949">
                  <c:v>3.3613445378151102E-3</c:v>
                </c:pt>
                <c:pt idx="21950">
                  <c:v>3.3613445378151102E-3</c:v>
                </c:pt>
                <c:pt idx="21951">
                  <c:v>3.3613445378151102E-3</c:v>
                </c:pt>
                <c:pt idx="21952">
                  <c:v>3.3613445378151102E-3</c:v>
                </c:pt>
                <c:pt idx="21953">
                  <c:v>3.3613445378151102E-3</c:v>
                </c:pt>
                <c:pt idx="21954">
                  <c:v>3.3613445378151102E-3</c:v>
                </c:pt>
                <c:pt idx="21955">
                  <c:v>3.3613445378151102E-3</c:v>
                </c:pt>
                <c:pt idx="21956">
                  <c:v>3.3613445378151102E-3</c:v>
                </c:pt>
                <c:pt idx="21957">
                  <c:v>3.3613445378151102E-3</c:v>
                </c:pt>
                <c:pt idx="21958">
                  <c:v>3.3613445378151102E-3</c:v>
                </c:pt>
                <c:pt idx="21959">
                  <c:v>3.3613445378151102E-3</c:v>
                </c:pt>
                <c:pt idx="21960">
                  <c:v>3.3613445378151102E-3</c:v>
                </c:pt>
                <c:pt idx="21961">
                  <c:v>3.3613445378151102E-3</c:v>
                </c:pt>
                <c:pt idx="21962">
                  <c:v>3.3613445378151102E-3</c:v>
                </c:pt>
                <c:pt idx="21963">
                  <c:v>3.3613445378151102E-3</c:v>
                </c:pt>
                <c:pt idx="21964">
                  <c:v>3.3613445378151102E-3</c:v>
                </c:pt>
                <c:pt idx="21965">
                  <c:v>3.3613445378151102E-3</c:v>
                </c:pt>
                <c:pt idx="21966">
                  <c:v>3.3613445378151102E-3</c:v>
                </c:pt>
                <c:pt idx="21967">
                  <c:v>3.3613445378151102E-3</c:v>
                </c:pt>
                <c:pt idx="21968">
                  <c:v>3.3613445378151102E-3</c:v>
                </c:pt>
                <c:pt idx="21969">
                  <c:v>3.3613445378151102E-3</c:v>
                </c:pt>
                <c:pt idx="21970">
                  <c:v>3.3613445378151102E-3</c:v>
                </c:pt>
                <c:pt idx="21971">
                  <c:v>4.20168067226889E-3</c:v>
                </c:pt>
                <c:pt idx="21972">
                  <c:v>4.20168067226889E-3</c:v>
                </c:pt>
                <c:pt idx="21973">
                  <c:v>4.20168067226889E-3</c:v>
                </c:pt>
                <c:pt idx="21974">
                  <c:v>4.20168067226889E-3</c:v>
                </c:pt>
                <c:pt idx="21975">
                  <c:v>4.20168067226889E-3</c:v>
                </c:pt>
                <c:pt idx="21976">
                  <c:v>4.20168067226889E-3</c:v>
                </c:pt>
                <c:pt idx="21977">
                  <c:v>4.20168067226889E-3</c:v>
                </c:pt>
                <c:pt idx="21978">
                  <c:v>4.20168067226889E-3</c:v>
                </c:pt>
                <c:pt idx="21979">
                  <c:v>4.20168067226889E-3</c:v>
                </c:pt>
                <c:pt idx="21980">
                  <c:v>4.20168067226889E-3</c:v>
                </c:pt>
                <c:pt idx="21981">
                  <c:v>4.20168067226889E-3</c:v>
                </c:pt>
                <c:pt idx="21982">
                  <c:v>4.20168067226889E-3</c:v>
                </c:pt>
                <c:pt idx="21983">
                  <c:v>4.20168067226889E-3</c:v>
                </c:pt>
                <c:pt idx="21984">
                  <c:v>4.20168067226889E-3</c:v>
                </c:pt>
                <c:pt idx="21985">
                  <c:v>4.20168067226889E-3</c:v>
                </c:pt>
                <c:pt idx="21986">
                  <c:v>4.20168067226889E-3</c:v>
                </c:pt>
                <c:pt idx="21987">
                  <c:v>4.20168067226889E-3</c:v>
                </c:pt>
                <c:pt idx="21988">
                  <c:v>4.20168067226889E-3</c:v>
                </c:pt>
                <c:pt idx="21989">
                  <c:v>4.20168067226889E-3</c:v>
                </c:pt>
                <c:pt idx="21990">
                  <c:v>4.20168067226889E-3</c:v>
                </c:pt>
                <c:pt idx="21991">
                  <c:v>4.20168067226889E-3</c:v>
                </c:pt>
                <c:pt idx="21992">
                  <c:v>4.20168067226889E-3</c:v>
                </c:pt>
                <c:pt idx="21993">
                  <c:v>4.20168067226889E-3</c:v>
                </c:pt>
                <c:pt idx="21994">
                  <c:v>4.20168067226889E-3</c:v>
                </c:pt>
                <c:pt idx="21995">
                  <c:v>4.20168067226889E-3</c:v>
                </c:pt>
                <c:pt idx="21996">
                  <c:v>4.20168067226889E-3</c:v>
                </c:pt>
                <c:pt idx="21997">
                  <c:v>4.20168067226889E-3</c:v>
                </c:pt>
                <c:pt idx="21998">
                  <c:v>4.20168067226889E-3</c:v>
                </c:pt>
                <c:pt idx="21999">
                  <c:v>4.20168067226889E-3</c:v>
                </c:pt>
                <c:pt idx="22000">
                  <c:v>4.20168067226889E-3</c:v>
                </c:pt>
                <c:pt idx="22001">
                  <c:v>4.20168067226889E-3</c:v>
                </c:pt>
                <c:pt idx="22002">
                  <c:v>4.20168067226889E-3</c:v>
                </c:pt>
                <c:pt idx="22003">
                  <c:v>4.20168067226889E-3</c:v>
                </c:pt>
                <c:pt idx="22004">
                  <c:v>4.20168067226889E-3</c:v>
                </c:pt>
                <c:pt idx="22005">
                  <c:v>4.20168067226889E-3</c:v>
                </c:pt>
                <c:pt idx="22006">
                  <c:v>4.20168067226889E-3</c:v>
                </c:pt>
                <c:pt idx="22007">
                  <c:v>3.3613445378151102E-3</c:v>
                </c:pt>
                <c:pt idx="22008">
                  <c:v>3.3613445378151102E-3</c:v>
                </c:pt>
                <c:pt idx="22009">
                  <c:v>3.3613445378151102E-3</c:v>
                </c:pt>
                <c:pt idx="22010">
                  <c:v>3.3613445378151102E-3</c:v>
                </c:pt>
                <c:pt idx="22011">
                  <c:v>3.3613445378151102E-3</c:v>
                </c:pt>
                <c:pt idx="22012">
                  <c:v>3.3613445378151102E-3</c:v>
                </c:pt>
                <c:pt idx="22013">
                  <c:v>3.3613445378151102E-3</c:v>
                </c:pt>
                <c:pt idx="22014">
                  <c:v>3.3613445378151102E-3</c:v>
                </c:pt>
                <c:pt idx="22015">
                  <c:v>3.3613445378151102E-3</c:v>
                </c:pt>
                <c:pt idx="22016">
                  <c:v>3.3613445378151102E-3</c:v>
                </c:pt>
                <c:pt idx="22017">
                  <c:v>3.3613445378151102E-3</c:v>
                </c:pt>
                <c:pt idx="22018">
                  <c:v>3.3613445378151102E-3</c:v>
                </c:pt>
                <c:pt idx="22019">
                  <c:v>3.3613445378151102E-3</c:v>
                </c:pt>
                <c:pt idx="22020">
                  <c:v>3.3613445378151102E-3</c:v>
                </c:pt>
                <c:pt idx="22021">
                  <c:v>3.3613445378151102E-3</c:v>
                </c:pt>
                <c:pt idx="22022">
                  <c:v>3.3613445378151102E-3</c:v>
                </c:pt>
                <c:pt idx="22023">
                  <c:v>3.3613445378151102E-3</c:v>
                </c:pt>
                <c:pt idx="22024">
                  <c:v>3.3613445378151102E-3</c:v>
                </c:pt>
                <c:pt idx="22025">
                  <c:v>3.3613445378151102E-3</c:v>
                </c:pt>
                <c:pt idx="22026">
                  <c:v>2.5210084033613299E-3</c:v>
                </c:pt>
                <c:pt idx="22027">
                  <c:v>2.5210084033613299E-3</c:v>
                </c:pt>
                <c:pt idx="22028">
                  <c:v>2.5210084033613299E-3</c:v>
                </c:pt>
                <c:pt idx="22029">
                  <c:v>2.5210084033613299E-3</c:v>
                </c:pt>
                <c:pt idx="22030">
                  <c:v>2.5210084033613299E-3</c:v>
                </c:pt>
                <c:pt idx="22031">
                  <c:v>2.5210084033613299E-3</c:v>
                </c:pt>
                <c:pt idx="22032">
                  <c:v>2.5210084033613299E-3</c:v>
                </c:pt>
                <c:pt idx="22033">
                  <c:v>2.5210084033613299E-3</c:v>
                </c:pt>
                <c:pt idx="22034">
                  <c:v>2.5210084033613299E-3</c:v>
                </c:pt>
                <c:pt idx="22035">
                  <c:v>2.5210084033613299E-3</c:v>
                </c:pt>
                <c:pt idx="22036">
                  <c:v>2.5210084033613299E-3</c:v>
                </c:pt>
                <c:pt idx="22037">
                  <c:v>2.5210084033613299E-3</c:v>
                </c:pt>
                <c:pt idx="22038">
                  <c:v>2.5210084033613299E-3</c:v>
                </c:pt>
                <c:pt idx="22039">
                  <c:v>2.5210084033613299E-3</c:v>
                </c:pt>
                <c:pt idx="22040">
                  <c:v>2.5210084033613299E-3</c:v>
                </c:pt>
                <c:pt idx="22041">
                  <c:v>2.5210084033613299E-3</c:v>
                </c:pt>
                <c:pt idx="22042">
                  <c:v>2.5210084033613299E-3</c:v>
                </c:pt>
                <c:pt idx="22043">
                  <c:v>2.5210084033613299E-3</c:v>
                </c:pt>
                <c:pt idx="22044">
                  <c:v>2.5210084033613299E-3</c:v>
                </c:pt>
                <c:pt idx="22045">
                  <c:v>2.5210084033613299E-3</c:v>
                </c:pt>
                <c:pt idx="22046">
                  <c:v>2.5210084033613299E-3</c:v>
                </c:pt>
                <c:pt idx="22047">
                  <c:v>2.5210084033613299E-3</c:v>
                </c:pt>
                <c:pt idx="22048">
                  <c:v>2.5210084033613299E-3</c:v>
                </c:pt>
                <c:pt idx="22049">
                  <c:v>2.5210084033613299E-3</c:v>
                </c:pt>
                <c:pt idx="22050">
                  <c:v>2.5210084033613299E-3</c:v>
                </c:pt>
                <c:pt idx="22051">
                  <c:v>1.6806722689075499E-3</c:v>
                </c:pt>
                <c:pt idx="22052">
                  <c:v>1.6806722689075499E-3</c:v>
                </c:pt>
                <c:pt idx="22053">
                  <c:v>1.6806722689075499E-3</c:v>
                </c:pt>
                <c:pt idx="22054">
                  <c:v>1.6806722689075499E-3</c:v>
                </c:pt>
                <c:pt idx="22055">
                  <c:v>1.6806722689075499E-3</c:v>
                </c:pt>
                <c:pt idx="22056">
                  <c:v>1.6806722689075499E-3</c:v>
                </c:pt>
                <c:pt idx="22057">
                  <c:v>1.6806722689075499E-3</c:v>
                </c:pt>
                <c:pt idx="22058">
                  <c:v>1.6806722689075499E-3</c:v>
                </c:pt>
                <c:pt idx="22059">
                  <c:v>1.6806722689075499E-3</c:v>
                </c:pt>
                <c:pt idx="22060">
                  <c:v>1.6806722689075499E-3</c:v>
                </c:pt>
                <c:pt idx="22061">
                  <c:v>1.6806722689075499E-3</c:v>
                </c:pt>
                <c:pt idx="22062">
                  <c:v>1.6806722689075499E-3</c:v>
                </c:pt>
                <c:pt idx="22063">
                  <c:v>1.6806722689075499E-3</c:v>
                </c:pt>
                <c:pt idx="22064">
                  <c:v>1.6806722689075499E-3</c:v>
                </c:pt>
                <c:pt idx="22065">
                  <c:v>1.6806722689075499E-3</c:v>
                </c:pt>
                <c:pt idx="22066">
                  <c:v>1.6806722689075499E-3</c:v>
                </c:pt>
                <c:pt idx="22067">
                  <c:v>1.6806722689075499E-3</c:v>
                </c:pt>
                <c:pt idx="22068">
                  <c:v>1.6806722689075499E-3</c:v>
                </c:pt>
                <c:pt idx="22069">
                  <c:v>1.6806722689075499E-3</c:v>
                </c:pt>
                <c:pt idx="22070">
                  <c:v>1.6806722689075499E-3</c:v>
                </c:pt>
                <c:pt idx="22071">
                  <c:v>1.6806722689075499E-3</c:v>
                </c:pt>
                <c:pt idx="22072">
                  <c:v>1.6806722689075499E-3</c:v>
                </c:pt>
                <c:pt idx="22073">
                  <c:v>1.6806722689075499E-3</c:v>
                </c:pt>
                <c:pt idx="22074">
                  <c:v>1.6806722689075499E-3</c:v>
                </c:pt>
                <c:pt idx="22075">
                  <c:v>1.6806722689075499E-3</c:v>
                </c:pt>
                <c:pt idx="22076">
                  <c:v>1.6806722689075499E-3</c:v>
                </c:pt>
                <c:pt idx="22077">
                  <c:v>1.6806722689075499E-3</c:v>
                </c:pt>
                <c:pt idx="22078">
                  <c:v>1.6806722689075499E-3</c:v>
                </c:pt>
                <c:pt idx="22079">
                  <c:v>1.6806722689075499E-3</c:v>
                </c:pt>
                <c:pt idx="22080">
                  <c:v>1.6806722689075499E-3</c:v>
                </c:pt>
                <c:pt idx="22081">
                  <c:v>1.6806722689075499E-3</c:v>
                </c:pt>
                <c:pt idx="22082">
                  <c:v>1.6806722689075499E-3</c:v>
                </c:pt>
                <c:pt idx="22083">
                  <c:v>1.6806722689075499E-3</c:v>
                </c:pt>
                <c:pt idx="22084">
                  <c:v>1.6806722689075499E-3</c:v>
                </c:pt>
                <c:pt idx="22085">
                  <c:v>1.6806722689075499E-3</c:v>
                </c:pt>
                <c:pt idx="22086">
                  <c:v>1.6806722689075499E-3</c:v>
                </c:pt>
                <c:pt idx="22087">
                  <c:v>1.6806722689075499E-3</c:v>
                </c:pt>
                <c:pt idx="22088">
                  <c:v>1.6806722689075499E-3</c:v>
                </c:pt>
                <c:pt idx="22089">
                  <c:v>1.6806722689075499E-3</c:v>
                </c:pt>
                <c:pt idx="22090">
                  <c:v>1.6806722689075499E-3</c:v>
                </c:pt>
                <c:pt idx="22091">
                  <c:v>1.6806722689075499E-3</c:v>
                </c:pt>
                <c:pt idx="22092">
                  <c:v>1.6806722689075499E-3</c:v>
                </c:pt>
                <c:pt idx="22093">
                  <c:v>1.6806722689075499E-3</c:v>
                </c:pt>
                <c:pt idx="22094">
                  <c:v>1.6806722689075499E-3</c:v>
                </c:pt>
                <c:pt idx="22095">
                  <c:v>1.6806722689075499E-3</c:v>
                </c:pt>
                <c:pt idx="22096">
                  <c:v>1.6806722689075499E-3</c:v>
                </c:pt>
                <c:pt idx="22097">
                  <c:v>1.6806722689075499E-3</c:v>
                </c:pt>
                <c:pt idx="22098">
                  <c:v>1.6806722689075499E-3</c:v>
                </c:pt>
                <c:pt idx="22099">
                  <c:v>2.5210084033613299E-3</c:v>
                </c:pt>
                <c:pt idx="22100">
                  <c:v>2.5210084033613299E-3</c:v>
                </c:pt>
                <c:pt idx="22101">
                  <c:v>2.5210084033613299E-3</c:v>
                </c:pt>
                <c:pt idx="22102">
                  <c:v>2.5210084033613299E-3</c:v>
                </c:pt>
                <c:pt idx="22103">
                  <c:v>2.5210084033613299E-3</c:v>
                </c:pt>
                <c:pt idx="22104">
                  <c:v>2.5210084033613299E-3</c:v>
                </c:pt>
                <c:pt idx="22105">
                  <c:v>2.5210084033613299E-3</c:v>
                </c:pt>
                <c:pt idx="22106">
                  <c:v>2.5210084033613299E-3</c:v>
                </c:pt>
                <c:pt idx="22107">
                  <c:v>2.5210084033613299E-3</c:v>
                </c:pt>
                <c:pt idx="22108">
                  <c:v>2.5210084033613299E-3</c:v>
                </c:pt>
                <c:pt idx="22109">
                  <c:v>2.5210084033613299E-3</c:v>
                </c:pt>
                <c:pt idx="22110">
                  <c:v>2.5210084033613299E-3</c:v>
                </c:pt>
                <c:pt idx="22111">
                  <c:v>2.5210084033613299E-3</c:v>
                </c:pt>
                <c:pt idx="22112">
                  <c:v>2.5210084033613299E-3</c:v>
                </c:pt>
                <c:pt idx="22113">
                  <c:v>2.5210084033613299E-3</c:v>
                </c:pt>
                <c:pt idx="22114">
                  <c:v>2.5210084033613299E-3</c:v>
                </c:pt>
                <c:pt idx="22115">
                  <c:v>2.5210084033613299E-3</c:v>
                </c:pt>
                <c:pt idx="22116">
                  <c:v>2.5210084033613299E-3</c:v>
                </c:pt>
                <c:pt idx="22117">
                  <c:v>2.5210084033613299E-3</c:v>
                </c:pt>
                <c:pt idx="22118">
                  <c:v>2.5210084033613299E-3</c:v>
                </c:pt>
                <c:pt idx="22119">
                  <c:v>2.5210084033613299E-3</c:v>
                </c:pt>
                <c:pt idx="22120">
                  <c:v>2.5210084033613299E-3</c:v>
                </c:pt>
                <c:pt idx="22121">
                  <c:v>2.5210084033613299E-3</c:v>
                </c:pt>
                <c:pt idx="22122">
                  <c:v>2.5210084033613299E-3</c:v>
                </c:pt>
                <c:pt idx="22123">
                  <c:v>2.5210084033613299E-3</c:v>
                </c:pt>
                <c:pt idx="22124">
                  <c:v>2.5210084033613299E-3</c:v>
                </c:pt>
                <c:pt idx="22125">
                  <c:v>1.6806722689075499E-3</c:v>
                </c:pt>
                <c:pt idx="22126">
                  <c:v>1.6806722689075499E-3</c:v>
                </c:pt>
                <c:pt idx="22127">
                  <c:v>1.6806722689075499E-3</c:v>
                </c:pt>
                <c:pt idx="22128">
                  <c:v>1.6806722689075499E-3</c:v>
                </c:pt>
                <c:pt idx="22129">
                  <c:v>1.6806722689075499E-3</c:v>
                </c:pt>
                <c:pt idx="22130">
                  <c:v>1.6806722689075499E-3</c:v>
                </c:pt>
                <c:pt idx="22131">
                  <c:v>8.4033613445377799E-4</c:v>
                </c:pt>
                <c:pt idx="22132">
                  <c:v>8.4033613445377799E-4</c:v>
                </c:pt>
                <c:pt idx="22133">
                  <c:v>8.4033613445377799E-4</c:v>
                </c:pt>
                <c:pt idx="22134">
                  <c:v>8.4033613445377799E-4</c:v>
                </c:pt>
                <c:pt idx="22135">
                  <c:v>8.4033613445377799E-4</c:v>
                </c:pt>
                <c:pt idx="22136">
                  <c:v>8.4033613445377799E-4</c:v>
                </c:pt>
                <c:pt idx="22137">
                  <c:v>8.4033613445377799E-4</c:v>
                </c:pt>
                <c:pt idx="22138">
                  <c:v>0</c:v>
                </c:pt>
                <c:pt idx="22139">
                  <c:v>0</c:v>
                </c:pt>
                <c:pt idx="22140">
                  <c:v>0</c:v>
                </c:pt>
                <c:pt idx="22141">
                  <c:v>0</c:v>
                </c:pt>
                <c:pt idx="22142">
                  <c:v>0</c:v>
                </c:pt>
                <c:pt idx="22143">
                  <c:v>0</c:v>
                </c:pt>
                <c:pt idx="22144">
                  <c:v>0</c:v>
                </c:pt>
                <c:pt idx="22145">
                  <c:v>0</c:v>
                </c:pt>
                <c:pt idx="22146">
                  <c:v>0</c:v>
                </c:pt>
                <c:pt idx="22147">
                  <c:v>0</c:v>
                </c:pt>
                <c:pt idx="22148">
                  <c:v>0</c:v>
                </c:pt>
                <c:pt idx="22149">
                  <c:v>0</c:v>
                </c:pt>
                <c:pt idx="22150">
                  <c:v>0</c:v>
                </c:pt>
                <c:pt idx="22151">
                  <c:v>0</c:v>
                </c:pt>
                <c:pt idx="22152">
                  <c:v>0</c:v>
                </c:pt>
                <c:pt idx="22153">
                  <c:v>0</c:v>
                </c:pt>
                <c:pt idx="22154">
                  <c:v>0</c:v>
                </c:pt>
                <c:pt idx="22155">
                  <c:v>0</c:v>
                </c:pt>
                <c:pt idx="22156">
                  <c:v>0</c:v>
                </c:pt>
                <c:pt idx="22157">
                  <c:v>0</c:v>
                </c:pt>
                <c:pt idx="22158">
                  <c:v>0</c:v>
                </c:pt>
                <c:pt idx="22159">
                  <c:v>0</c:v>
                </c:pt>
                <c:pt idx="22160">
                  <c:v>0</c:v>
                </c:pt>
                <c:pt idx="22161">
                  <c:v>0</c:v>
                </c:pt>
                <c:pt idx="22162">
                  <c:v>0</c:v>
                </c:pt>
                <c:pt idx="22163">
                  <c:v>0</c:v>
                </c:pt>
                <c:pt idx="22164">
                  <c:v>0</c:v>
                </c:pt>
                <c:pt idx="22165">
                  <c:v>0</c:v>
                </c:pt>
                <c:pt idx="22166">
                  <c:v>0</c:v>
                </c:pt>
                <c:pt idx="22167">
                  <c:v>0</c:v>
                </c:pt>
                <c:pt idx="22168">
                  <c:v>0</c:v>
                </c:pt>
                <c:pt idx="22169">
                  <c:v>0</c:v>
                </c:pt>
                <c:pt idx="22170">
                  <c:v>0</c:v>
                </c:pt>
                <c:pt idx="22171">
                  <c:v>0</c:v>
                </c:pt>
                <c:pt idx="22172">
                  <c:v>0</c:v>
                </c:pt>
                <c:pt idx="22173">
                  <c:v>0</c:v>
                </c:pt>
                <c:pt idx="22174">
                  <c:v>0</c:v>
                </c:pt>
                <c:pt idx="22175">
                  <c:v>0</c:v>
                </c:pt>
                <c:pt idx="22176">
                  <c:v>0</c:v>
                </c:pt>
                <c:pt idx="22177">
                  <c:v>0</c:v>
                </c:pt>
                <c:pt idx="22178">
                  <c:v>0</c:v>
                </c:pt>
                <c:pt idx="22179">
                  <c:v>0</c:v>
                </c:pt>
                <c:pt idx="22180">
                  <c:v>0</c:v>
                </c:pt>
                <c:pt idx="22181">
                  <c:v>0</c:v>
                </c:pt>
                <c:pt idx="22182">
                  <c:v>0</c:v>
                </c:pt>
                <c:pt idx="22183">
                  <c:v>0</c:v>
                </c:pt>
                <c:pt idx="22184">
                  <c:v>0</c:v>
                </c:pt>
                <c:pt idx="22185">
                  <c:v>0</c:v>
                </c:pt>
                <c:pt idx="22186">
                  <c:v>0</c:v>
                </c:pt>
                <c:pt idx="22187">
                  <c:v>0</c:v>
                </c:pt>
                <c:pt idx="22188">
                  <c:v>0</c:v>
                </c:pt>
                <c:pt idx="22189">
                  <c:v>0</c:v>
                </c:pt>
                <c:pt idx="22190">
                  <c:v>0</c:v>
                </c:pt>
                <c:pt idx="22191">
                  <c:v>0</c:v>
                </c:pt>
                <c:pt idx="22192">
                  <c:v>0</c:v>
                </c:pt>
                <c:pt idx="22193">
                  <c:v>0</c:v>
                </c:pt>
                <c:pt idx="22194">
                  <c:v>0</c:v>
                </c:pt>
                <c:pt idx="22195">
                  <c:v>0</c:v>
                </c:pt>
                <c:pt idx="22196">
                  <c:v>0</c:v>
                </c:pt>
                <c:pt idx="22197">
                  <c:v>0</c:v>
                </c:pt>
                <c:pt idx="22198">
                  <c:v>0</c:v>
                </c:pt>
                <c:pt idx="22199">
                  <c:v>0</c:v>
                </c:pt>
                <c:pt idx="22200">
                  <c:v>0</c:v>
                </c:pt>
                <c:pt idx="22201">
                  <c:v>0</c:v>
                </c:pt>
                <c:pt idx="22202">
                  <c:v>0</c:v>
                </c:pt>
                <c:pt idx="22203">
                  <c:v>0</c:v>
                </c:pt>
                <c:pt idx="22204">
                  <c:v>0</c:v>
                </c:pt>
                <c:pt idx="22205">
                  <c:v>0</c:v>
                </c:pt>
                <c:pt idx="22206">
                  <c:v>0</c:v>
                </c:pt>
                <c:pt idx="22207">
                  <c:v>0</c:v>
                </c:pt>
                <c:pt idx="22208">
                  <c:v>0</c:v>
                </c:pt>
                <c:pt idx="22209">
                  <c:v>0</c:v>
                </c:pt>
                <c:pt idx="22210">
                  <c:v>0</c:v>
                </c:pt>
                <c:pt idx="22211">
                  <c:v>0</c:v>
                </c:pt>
                <c:pt idx="22212">
                  <c:v>0</c:v>
                </c:pt>
                <c:pt idx="22213">
                  <c:v>0</c:v>
                </c:pt>
                <c:pt idx="22214">
                  <c:v>0</c:v>
                </c:pt>
                <c:pt idx="22215">
                  <c:v>0</c:v>
                </c:pt>
                <c:pt idx="22216">
                  <c:v>0</c:v>
                </c:pt>
                <c:pt idx="22217">
                  <c:v>0</c:v>
                </c:pt>
                <c:pt idx="22218">
                  <c:v>0</c:v>
                </c:pt>
                <c:pt idx="22219">
                  <c:v>8.4033613445388901E-4</c:v>
                </c:pt>
                <c:pt idx="22220">
                  <c:v>8.4033613445388901E-4</c:v>
                </c:pt>
                <c:pt idx="22221">
                  <c:v>8.4033613445388901E-4</c:v>
                </c:pt>
                <c:pt idx="22222">
                  <c:v>8.4033613445388901E-4</c:v>
                </c:pt>
                <c:pt idx="22223">
                  <c:v>8.4033613445388901E-4</c:v>
                </c:pt>
                <c:pt idx="22224">
                  <c:v>8.4033613445388901E-4</c:v>
                </c:pt>
                <c:pt idx="22225">
                  <c:v>8.4033613445388901E-4</c:v>
                </c:pt>
                <c:pt idx="22226">
                  <c:v>8.4033613445388901E-4</c:v>
                </c:pt>
                <c:pt idx="22227">
                  <c:v>8.4033613445388901E-4</c:v>
                </c:pt>
                <c:pt idx="22228">
                  <c:v>8.4033613445388901E-4</c:v>
                </c:pt>
                <c:pt idx="22229">
                  <c:v>8.4033613445388901E-4</c:v>
                </c:pt>
                <c:pt idx="22230">
                  <c:v>8.4033613445388901E-4</c:v>
                </c:pt>
                <c:pt idx="22231">
                  <c:v>8.4033613445388901E-4</c:v>
                </c:pt>
                <c:pt idx="22232">
                  <c:v>8.4033613445388901E-4</c:v>
                </c:pt>
                <c:pt idx="22233">
                  <c:v>8.4033613445388901E-4</c:v>
                </c:pt>
                <c:pt idx="22234">
                  <c:v>1.6806722689076601E-3</c:v>
                </c:pt>
                <c:pt idx="22235">
                  <c:v>1.6806722689076601E-3</c:v>
                </c:pt>
                <c:pt idx="22236">
                  <c:v>1.6806722689076601E-3</c:v>
                </c:pt>
                <c:pt idx="22237">
                  <c:v>1.6806722689076601E-3</c:v>
                </c:pt>
                <c:pt idx="22238">
                  <c:v>1.6806722689076601E-3</c:v>
                </c:pt>
                <c:pt idx="22239">
                  <c:v>1.6806722689076601E-3</c:v>
                </c:pt>
                <c:pt idx="22240">
                  <c:v>1.6806722689076601E-3</c:v>
                </c:pt>
                <c:pt idx="22241">
                  <c:v>8.4033613445377799E-4</c:v>
                </c:pt>
                <c:pt idx="22242">
                  <c:v>8.4033613445377799E-4</c:v>
                </c:pt>
                <c:pt idx="22243">
                  <c:v>0</c:v>
                </c:pt>
                <c:pt idx="22244">
                  <c:v>0</c:v>
                </c:pt>
                <c:pt idx="22245">
                  <c:v>0</c:v>
                </c:pt>
                <c:pt idx="22246">
                  <c:v>0</c:v>
                </c:pt>
                <c:pt idx="22247">
                  <c:v>0</c:v>
                </c:pt>
                <c:pt idx="22248">
                  <c:v>0</c:v>
                </c:pt>
                <c:pt idx="22249">
                  <c:v>0</c:v>
                </c:pt>
                <c:pt idx="22250">
                  <c:v>0</c:v>
                </c:pt>
                <c:pt idx="22251">
                  <c:v>0</c:v>
                </c:pt>
                <c:pt idx="22252">
                  <c:v>0</c:v>
                </c:pt>
                <c:pt idx="22253">
                  <c:v>0</c:v>
                </c:pt>
                <c:pt idx="22254">
                  <c:v>0</c:v>
                </c:pt>
                <c:pt idx="22255">
                  <c:v>0</c:v>
                </c:pt>
                <c:pt idx="22256">
                  <c:v>0</c:v>
                </c:pt>
                <c:pt idx="22257">
                  <c:v>0</c:v>
                </c:pt>
                <c:pt idx="22258">
                  <c:v>0</c:v>
                </c:pt>
                <c:pt idx="22259">
                  <c:v>0</c:v>
                </c:pt>
                <c:pt idx="22260">
                  <c:v>0</c:v>
                </c:pt>
                <c:pt idx="22261">
                  <c:v>0</c:v>
                </c:pt>
                <c:pt idx="22262">
                  <c:v>0</c:v>
                </c:pt>
                <c:pt idx="22263">
                  <c:v>0</c:v>
                </c:pt>
                <c:pt idx="22264">
                  <c:v>0</c:v>
                </c:pt>
                <c:pt idx="22265">
                  <c:v>0</c:v>
                </c:pt>
                <c:pt idx="22266">
                  <c:v>0</c:v>
                </c:pt>
                <c:pt idx="22267">
                  <c:v>0</c:v>
                </c:pt>
                <c:pt idx="22268">
                  <c:v>0</c:v>
                </c:pt>
                <c:pt idx="22269">
                  <c:v>0</c:v>
                </c:pt>
                <c:pt idx="22270">
                  <c:v>0</c:v>
                </c:pt>
                <c:pt idx="22271">
                  <c:v>0</c:v>
                </c:pt>
                <c:pt idx="22272">
                  <c:v>0</c:v>
                </c:pt>
                <c:pt idx="22273">
                  <c:v>0</c:v>
                </c:pt>
                <c:pt idx="22274">
                  <c:v>0</c:v>
                </c:pt>
                <c:pt idx="22275">
                  <c:v>0</c:v>
                </c:pt>
                <c:pt idx="22276">
                  <c:v>-8.4033613445377799E-4</c:v>
                </c:pt>
                <c:pt idx="22277">
                  <c:v>-8.4033613445377799E-4</c:v>
                </c:pt>
                <c:pt idx="22278">
                  <c:v>-8.4033613445377799E-4</c:v>
                </c:pt>
                <c:pt idx="22279">
                  <c:v>-8.4033613445377799E-4</c:v>
                </c:pt>
                <c:pt idx="22280">
                  <c:v>-8.4033613445377799E-4</c:v>
                </c:pt>
                <c:pt idx="22281">
                  <c:v>-8.4033613445377799E-4</c:v>
                </c:pt>
                <c:pt idx="22282">
                  <c:v>-8.4033613445377799E-4</c:v>
                </c:pt>
                <c:pt idx="22283">
                  <c:v>-8.4033613445377799E-4</c:v>
                </c:pt>
                <c:pt idx="22284">
                  <c:v>-8.4033613445377799E-4</c:v>
                </c:pt>
                <c:pt idx="22285">
                  <c:v>-1.6806722689075499E-3</c:v>
                </c:pt>
                <c:pt idx="22286">
                  <c:v>-1.6806722689075499E-3</c:v>
                </c:pt>
                <c:pt idx="22287">
                  <c:v>-1.6806722689075499E-3</c:v>
                </c:pt>
                <c:pt idx="22288">
                  <c:v>-1.6806722689075499E-3</c:v>
                </c:pt>
                <c:pt idx="22289">
                  <c:v>-1.6806722689075499E-3</c:v>
                </c:pt>
                <c:pt idx="22290">
                  <c:v>-1.6806722689075499E-3</c:v>
                </c:pt>
                <c:pt idx="22291">
                  <c:v>-1.6806722689075499E-3</c:v>
                </c:pt>
                <c:pt idx="22292">
                  <c:v>-1.6806722689075499E-3</c:v>
                </c:pt>
                <c:pt idx="22293">
                  <c:v>-1.6806722689075499E-3</c:v>
                </c:pt>
                <c:pt idx="22294">
                  <c:v>-1.6806722689075499E-3</c:v>
                </c:pt>
                <c:pt idx="22295">
                  <c:v>-1.6806722689075499E-3</c:v>
                </c:pt>
                <c:pt idx="22296">
                  <c:v>-8.4033613445377799E-4</c:v>
                </c:pt>
                <c:pt idx="22297">
                  <c:v>-8.4033613445377799E-4</c:v>
                </c:pt>
                <c:pt idx="22298">
                  <c:v>-8.4033613445377799E-4</c:v>
                </c:pt>
                <c:pt idx="22299">
                  <c:v>-8.4033613445377799E-4</c:v>
                </c:pt>
                <c:pt idx="22300">
                  <c:v>-8.4033613445377799E-4</c:v>
                </c:pt>
                <c:pt idx="22301">
                  <c:v>-8.4033613445377799E-4</c:v>
                </c:pt>
                <c:pt idx="22302">
                  <c:v>-8.4033613445377799E-4</c:v>
                </c:pt>
                <c:pt idx="22303">
                  <c:v>-8.4033613445377799E-4</c:v>
                </c:pt>
                <c:pt idx="22304">
                  <c:v>-8.4033613445377799E-4</c:v>
                </c:pt>
                <c:pt idx="22305">
                  <c:v>-8.4033613445377799E-4</c:v>
                </c:pt>
                <c:pt idx="22306">
                  <c:v>-8.4033613445377799E-4</c:v>
                </c:pt>
                <c:pt idx="22307">
                  <c:v>-8.4033613445377799E-4</c:v>
                </c:pt>
                <c:pt idx="22308">
                  <c:v>-8.4033613445377799E-4</c:v>
                </c:pt>
                <c:pt idx="22309">
                  <c:v>-8.4033613445377799E-4</c:v>
                </c:pt>
                <c:pt idx="22310">
                  <c:v>-8.4033613445377799E-4</c:v>
                </c:pt>
                <c:pt idx="22311">
                  <c:v>-8.4033613445377799E-4</c:v>
                </c:pt>
                <c:pt idx="22312">
                  <c:v>-8.4033613445377799E-4</c:v>
                </c:pt>
                <c:pt idx="22313">
                  <c:v>-8.4033613445377799E-4</c:v>
                </c:pt>
                <c:pt idx="22314">
                  <c:v>-8.4033613445377799E-4</c:v>
                </c:pt>
                <c:pt idx="22315">
                  <c:v>-8.4033613445377799E-4</c:v>
                </c:pt>
                <c:pt idx="22316">
                  <c:v>-8.4033613445377799E-4</c:v>
                </c:pt>
                <c:pt idx="22317">
                  <c:v>-8.4033613445377799E-4</c:v>
                </c:pt>
                <c:pt idx="22318">
                  <c:v>-8.4033613445377799E-4</c:v>
                </c:pt>
                <c:pt idx="22319">
                  <c:v>-8.4033613445377799E-4</c:v>
                </c:pt>
                <c:pt idx="22320">
                  <c:v>-8.4033613445377799E-4</c:v>
                </c:pt>
                <c:pt idx="22321">
                  <c:v>-8.4033613445377799E-4</c:v>
                </c:pt>
                <c:pt idx="22322">
                  <c:v>-8.4033613445377799E-4</c:v>
                </c:pt>
                <c:pt idx="22323">
                  <c:v>-1.6806722689075499E-3</c:v>
                </c:pt>
                <c:pt idx="22324">
                  <c:v>-1.6806722689075499E-3</c:v>
                </c:pt>
                <c:pt idx="22325">
                  <c:v>-1.6806722689075499E-3</c:v>
                </c:pt>
                <c:pt idx="22326">
                  <c:v>-1.6806722689075499E-3</c:v>
                </c:pt>
                <c:pt idx="22327">
                  <c:v>-1.6806722689075499E-3</c:v>
                </c:pt>
                <c:pt idx="22328">
                  <c:v>-2.5210084033613299E-3</c:v>
                </c:pt>
                <c:pt idx="22329">
                  <c:v>-2.5210084033613299E-3</c:v>
                </c:pt>
                <c:pt idx="22330">
                  <c:v>-2.5210084033613299E-3</c:v>
                </c:pt>
                <c:pt idx="22331">
                  <c:v>-2.5210084033613299E-3</c:v>
                </c:pt>
                <c:pt idx="22332">
                  <c:v>-2.5210084033613299E-3</c:v>
                </c:pt>
                <c:pt idx="22333">
                  <c:v>-2.5210084033613299E-3</c:v>
                </c:pt>
                <c:pt idx="22334">
                  <c:v>-2.5210084033613299E-3</c:v>
                </c:pt>
                <c:pt idx="22335">
                  <c:v>-2.5210084033613299E-3</c:v>
                </c:pt>
                <c:pt idx="22336">
                  <c:v>-2.5210084033613299E-3</c:v>
                </c:pt>
                <c:pt idx="22337">
                  <c:v>-2.5210084033613299E-3</c:v>
                </c:pt>
                <c:pt idx="22338">
                  <c:v>-2.5210084033613299E-3</c:v>
                </c:pt>
                <c:pt idx="22339">
                  <c:v>-2.5210084033613299E-3</c:v>
                </c:pt>
                <c:pt idx="22340">
                  <c:v>-2.5210084033613299E-3</c:v>
                </c:pt>
                <c:pt idx="22341">
                  <c:v>-2.5210084033613299E-3</c:v>
                </c:pt>
                <c:pt idx="22342">
                  <c:v>-2.5210084033613299E-3</c:v>
                </c:pt>
                <c:pt idx="22343">
                  <c:v>-2.5210084033613299E-3</c:v>
                </c:pt>
                <c:pt idx="22344">
                  <c:v>-2.5210084033613299E-3</c:v>
                </c:pt>
                <c:pt idx="22345">
                  <c:v>-2.5210084033613299E-3</c:v>
                </c:pt>
                <c:pt idx="22346">
                  <c:v>-2.5210084033613299E-3</c:v>
                </c:pt>
                <c:pt idx="22347">
                  <c:v>-2.5210084033613299E-3</c:v>
                </c:pt>
                <c:pt idx="22348">
                  <c:v>-2.5210084033613299E-3</c:v>
                </c:pt>
                <c:pt idx="22349">
                  <c:v>-2.5210084033613299E-3</c:v>
                </c:pt>
                <c:pt idx="22350">
                  <c:v>-2.5210084033613299E-3</c:v>
                </c:pt>
                <c:pt idx="22351">
                  <c:v>-2.5210084033613299E-3</c:v>
                </c:pt>
                <c:pt idx="22352">
                  <c:v>-2.5210084033613299E-3</c:v>
                </c:pt>
                <c:pt idx="22353">
                  <c:v>-2.5210084033613299E-3</c:v>
                </c:pt>
                <c:pt idx="22354">
                  <c:v>-2.5210084033613299E-3</c:v>
                </c:pt>
                <c:pt idx="22355">
                  <c:v>-2.5210084033613299E-3</c:v>
                </c:pt>
                <c:pt idx="22356">
                  <c:v>-2.5210084033613299E-3</c:v>
                </c:pt>
                <c:pt idx="22357">
                  <c:v>-2.5210084033613299E-3</c:v>
                </c:pt>
                <c:pt idx="22358">
                  <c:v>-2.5210084033613299E-3</c:v>
                </c:pt>
                <c:pt idx="22359">
                  <c:v>-2.5210084033613299E-3</c:v>
                </c:pt>
                <c:pt idx="22360">
                  <c:v>-2.5210084033613299E-3</c:v>
                </c:pt>
                <c:pt idx="22361">
                  <c:v>-2.5210084033613299E-3</c:v>
                </c:pt>
                <c:pt idx="22362">
                  <c:v>-2.5210084033613299E-3</c:v>
                </c:pt>
                <c:pt idx="22363">
                  <c:v>-2.5210084033613299E-3</c:v>
                </c:pt>
                <c:pt idx="22364">
                  <c:v>-2.5210084033613299E-3</c:v>
                </c:pt>
                <c:pt idx="22365">
                  <c:v>-2.5210084033613299E-3</c:v>
                </c:pt>
                <c:pt idx="22366">
                  <c:v>-2.5210084033613299E-3</c:v>
                </c:pt>
                <c:pt idx="22367">
                  <c:v>-2.5210084033613299E-3</c:v>
                </c:pt>
                <c:pt idx="22368">
                  <c:v>-2.5210084033613299E-3</c:v>
                </c:pt>
                <c:pt idx="22369">
                  <c:v>-2.5210084033613299E-3</c:v>
                </c:pt>
                <c:pt idx="22370">
                  <c:v>-2.5210084033613299E-3</c:v>
                </c:pt>
                <c:pt idx="22371">
                  <c:v>-2.5210084033613299E-3</c:v>
                </c:pt>
                <c:pt idx="22372">
                  <c:v>-2.5210084033613299E-3</c:v>
                </c:pt>
                <c:pt idx="22373">
                  <c:v>-2.5210084033613299E-3</c:v>
                </c:pt>
                <c:pt idx="22374">
                  <c:v>-2.5210084033613299E-3</c:v>
                </c:pt>
                <c:pt idx="22375">
                  <c:v>-2.5210084033613299E-3</c:v>
                </c:pt>
                <c:pt idx="22376">
                  <c:v>-2.5210084033613299E-3</c:v>
                </c:pt>
                <c:pt idx="22377">
                  <c:v>-2.5210084033613299E-3</c:v>
                </c:pt>
                <c:pt idx="22378">
                  <c:v>-2.5210084033613299E-3</c:v>
                </c:pt>
                <c:pt idx="22379">
                  <c:v>-2.5210084033613299E-3</c:v>
                </c:pt>
                <c:pt idx="22380">
                  <c:v>-2.5210084033613299E-3</c:v>
                </c:pt>
                <c:pt idx="22381">
                  <c:v>-2.5210084033613299E-3</c:v>
                </c:pt>
                <c:pt idx="22382">
                  <c:v>-2.5210084033613299E-3</c:v>
                </c:pt>
                <c:pt idx="22383">
                  <c:v>-2.5210084033613299E-3</c:v>
                </c:pt>
                <c:pt idx="22384">
                  <c:v>-2.5210084033613299E-3</c:v>
                </c:pt>
                <c:pt idx="22385">
                  <c:v>-2.5210084033613299E-3</c:v>
                </c:pt>
                <c:pt idx="22386">
                  <c:v>-2.5210084033613299E-3</c:v>
                </c:pt>
                <c:pt idx="22387">
                  <c:v>-2.5210084033613299E-3</c:v>
                </c:pt>
                <c:pt idx="22388">
                  <c:v>-2.5210084033613299E-3</c:v>
                </c:pt>
                <c:pt idx="22389">
                  <c:v>-2.5210084033613299E-3</c:v>
                </c:pt>
                <c:pt idx="22390">
                  <c:v>-2.5210084033613299E-3</c:v>
                </c:pt>
                <c:pt idx="22391">
                  <c:v>-2.5210084033613299E-3</c:v>
                </c:pt>
                <c:pt idx="22392">
                  <c:v>-2.5210084033613299E-3</c:v>
                </c:pt>
                <c:pt idx="22393">
                  <c:v>-2.5210084033613299E-3</c:v>
                </c:pt>
                <c:pt idx="22394">
                  <c:v>-2.5210084033613299E-3</c:v>
                </c:pt>
                <c:pt idx="22395">
                  <c:v>-2.5210084033613299E-3</c:v>
                </c:pt>
                <c:pt idx="22396">
                  <c:v>-2.5210084033613299E-3</c:v>
                </c:pt>
                <c:pt idx="22397">
                  <c:v>-2.5210084033613299E-3</c:v>
                </c:pt>
                <c:pt idx="22398">
                  <c:v>-2.5210084033613299E-3</c:v>
                </c:pt>
                <c:pt idx="22399">
                  <c:v>-2.5210084033613299E-3</c:v>
                </c:pt>
                <c:pt idx="22400">
                  <c:v>-2.5210084033613299E-3</c:v>
                </c:pt>
                <c:pt idx="22401">
                  <c:v>-2.5210084033613299E-3</c:v>
                </c:pt>
                <c:pt idx="22402">
                  <c:v>-2.5210084033613299E-3</c:v>
                </c:pt>
                <c:pt idx="22403">
                  <c:v>-2.5210084033613299E-3</c:v>
                </c:pt>
                <c:pt idx="22404">
                  <c:v>-2.5210084033613299E-3</c:v>
                </c:pt>
                <c:pt idx="22405">
                  <c:v>-2.5210084033613299E-3</c:v>
                </c:pt>
                <c:pt idx="22406">
                  <c:v>-2.5210084033613299E-3</c:v>
                </c:pt>
                <c:pt idx="22407">
                  <c:v>-2.5210084033613299E-3</c:v>
                </c:pt>
                <c:pt idx="22408">
                  <c:v>-2.5210084033613299E-3</c:v>
                </c:pt>
                <c:pt idx="22409">
                  <c:v>-2.5210084033613299E-3</c:v>
                </c:pt>
                <c:pt idx="22410">
                  <c:v>-2.5210084033613299E-3</c:v>
                </c:pt>
                <c:pt idx="22411">
                  <c:v>-2.5210084033613299E-3</c:v>
                </c:pt>
                <c:pt idx="22412">
                  <c:v>-2.5210084033613299E-3</c:v>
                </c:pt>
                <c:pt idx="22413">
                  <c:v>-2.5210084033613299E-3</c:v>
                </c:pt>
                <c:pt idx="22414">
                  <c:v>-2.5210084033613299E-3</c:v>
                </c:pt>
                <c:pt idx="22415">
                  <c:v>-2.5210084033613299E-3</c:v>
                </c:pt>
                <c:pt idx="22416">
                  <c:v>-3.3613445378151102E-3</c:v>
                </c:pt>
                <c:pt idx="22417">
                  <c:v>-3.3613445378151102E-3</c:v>
                </c:pt>
                <c:pt idx="22418">
                  <c:v>-3.3613445378151102E-3</c:v>
                </c:pt>
                <c:pt idx="22419">
                  <c:v>-3.3613445378151102E-3</c:v>
                </c:pt>
                <c:pt idx="22420">
                  <c:v>-3.3613445378151102E-3</c:v>
                </c:pt>
                <c:pt idx="22421">
                  <c:v>-3.3613445378151102E-3</c:v>
                </c:pt>
                <c:pt idx="22422">
                  <c:v>-3.3613445378151102E-3</c:v>
                </c:pt>
                <c:pt idx="22423">
                  <c:v>-3.3613445378151102E-3</c:v>
                </c:pt>
                <c:pt idx="22424">
                  <c:v>-3.3613445378151102E-3</c:v>
                </c:pt>
                <c:pt idx="22425">
                  <c:v>-3.3613445378151102E-3</c:v>
                </c:pt>
                <c:pt idx="22426">
                  <c:v>-3.3613445378151102E-3</c:v>
                </c:pt>
                <c:pt idx="22427">
                  <c:v>-3.3613445378151102E-3</c:v>
                </c:pt>
                <c:pt idx="22428">
                  <c:v>-3.3613445378151102E-3</c:v>
                </c:pt>
                <c:pt idx="22429">
                  <c:v>-3.3613445378151102E-3</c:v>
                </c:pt>
                <c:pt idx="22430">
                  <c:v>-3.3613445378151102E-3</c:v>
                </c:pt>
                <c:pt idx="22431">
                  <c:v>-3.3613445378151102E-3</c:v>
                </c:pt>
                <c:pt idx="22432">
                  <c:v>-3.3613445378151102E-3</c:v>
                </c:pt>
                <c:pt idx="22433">
                  <c:v>-3.3613445378151102E-3</c:v>
                </c:pt>
                <c:pt idx="22434">
                  <c:v>-3.3613445378151102E-3</c:v>
                </c:pt>
                <c:pt idx="22435">
                  <c:v>-3.3613445378151102E-3</c:v>
                </c:pt>
                <c:pt idx="22436">
                  <c:v>-3.3613445378151102E-3</c:v>
                </c:pt>
                <c:pt idx="22437">
                  <c:v>-3.3613445378151102E-3</c:v>
                </c:pt>
                <c:pt idx="22438">
                  <c:v>-3.3613445378151102E-3</c:v>
                </c:pt>
                <c:pt idx="22439">
                  <c:v>-3.3613445378151102E-3</c:v>
                </c:pt>
                <c:pt idx="22440">
                  <c:v>-3.3613445378151102E-3</c:v>
                </c:pt>
                <c:pt idx="22441">
                  <c:v>-3.3613445378151102E-3</c:v>
                </c:pt>
                <c:pt idx="22442">
                  <c:v>-3.3613445378151102E-3</c:v>
                </c:pt>
                <c:pt idx="22443">
                  <c:v>-3.3613445378151102E-3</c:v>
                </c:pt>
                <c:pt idx="22444">
                  <c:v>-3.3613445378151102E-3</c:v>
                </c:pt>
                <c:pt idx="22445">
                  <c:v>-3.3613445378151102E-3</c:v>
                </c:pt>
                <c:pt idx="22446">
                  <c:v>-3.3613445378151102E-3</c:v>
                </c:pt>
                <c:pt idx="22447">
                  <c:v>-3.3613445378151102E-3</c:v>
                </c:pt>
                <c:pt idx="22448">
                  <c:v>-3.3613445378151102E-3</c:v>
                </c:pt>
                <c:pt idx="22449">
                  <c:v>-3.3613445378151102E-3</c:v>
                </c:pt>
                <c:pt idx="22450">
                  <c:v>-3.3613445378151102E-3</c:v>
                </c:pt>
                <c:pt idx="22451">
                  <c:v>-3.3613445378151102E-3</c:v>
                </c:pt>
                <c:pt idx="22452">
                  <c:v>-3.3613445378151102E-3</c:v>
                </c:pt>
                <c:pt idx="22453">
                  <c:v>-3.3613445378151102E-3</c:v>
                </c:pt>
                <c:pt idx="22454">
                  <c:v>-3.3613445378151102E-3</c:v>
                </c:pt>
                <c:pt idx="22455">
                  <c:v>-3.3613445378151102E-3</c:v>
                </c:pt>
                <c:pt idx="22456">
                  <c:v>-3.3613445378151102E-3</c:v>
                </c:pt>
                <c:pt idx="22457">
                  <c:v>-3.3613445378151102E-3</c:v>
                </c:pt>
                <c:pt idx="22458">
                  <c:v>-3.3613445378151102E-3</c:v>
                </c:pt>
                <c:pt idx="22459">
                  <c:v>-3.3613445378151102E-3</c:v>
                </c:pt>
                <c:pt idx="22460">
                  <c:v>-3.3613445378151102E-3</c:v>
                </c:pt>
                <c:pt idx="22461">
                  <c:v>-3.3613445378151102E-3</c:v>
                </c:pt>
                <c:pt idx="22462">
                  <c:v>-3.3613445378151102E-3</c:v>
                </c:pt>
                <c:pt idx="22463">
                  <c:v>-3.3613445378151102E-3</c:v>
                </c:pt>
                <c:pt idx="22464">
                  <c:v>-3.3613445378151102E-3</c:v>
                </c:pt>
                <c:pt idx="22465">
                  <c:v>-3.3613445378151102E-3</c:v>
                </c:pt>
                <c:pt idx="22466">
                  <c:v>-3.3613445378151102E-3</c:v>
                </c:pt>
                <c:pt idx="22467">
                  <c:v>-3.3613445378151102E-3</c:v>
                </c:pt>
                <c:pt idx="22468">
                  <c:v>-3.3613445378151102E-3</c:v>
                </c:pt>
                <c:pt idx="22469">
                  <c:v>-3.3613445378151102E-3</c:v>
                </c:pt>
                <c:pt idx="22470">
                  <c:v>-3.3613445378151102E-3</c:v>
                </c:pt>
                <c:pt idx="22471">
                  <c:v>-3.3613445378151102E-3</c:v>
                </c:pt>
                <c:pt idx="22472">
                  <c:v>-3.3613445378151102E-3</c:v>
                </c:pt>
                <c:pt idx="22473">
                  <c:v>-3.3613445378151102E-3</c:v>
                </c:pt>
                <c:pt idx="22474">
                  <c:v>-3.3613445378151102E-3</c:v>
                </c:pt>
                <c:pt idx="22475">
                  <c:v>-3.3613445378151102E-3</c:v>
                </c:pt>
                <c:pt idx="22476">
                  <c:v>-3.3613445378151102E-3</c:v>
                </c:pt>
                <c:pt idx="22477">
                  <c:v>-3.3613445378151102E-3</c:v>
                </c:pt>
                <c:pt idx="22478">
                  <c:v>-3.3613445378151102E-3</c:v>
                </c:pt>
                <c:pt idx="22479">
                  <c:v>-3.3613445378151102E-3</c:v>
                </c:pt>
                <c:pt idx="22480">
                  <c:v>-3.3613445378151102E-3</c:v>
                </c:pt>
                <c:pt idx="22481">
                  <c:v>-3.3613445378151102E-3</c:v>
                </c:pt>
                <c:pt idx="22482">
                  <c:v>-3.3613445378151102E-3</c:v>
                </c:pt>
                <c:pt idx="22483">
                  <c:v>-3.3613445378151102E-3</c:v>
                </c:pt>
                <c:pt idx="22484">
                  <c:v>-3.3613445378151102E-3</c:v>
                </c:pt>
                <c:pt idx="22485">
                  <c:v>-3.3613445378151102E-3</c:v>
                </c:pt>
                <c:pt idx="22486">
                  <c:v>-3.3613445378151102E-3</c:v>
                </c:pt>
                <c:pt idx="22487">
                  <c:v>-3.3613445378151102E-3</c:v>
                </c:pt>
                <c:pt idx="22488">
                  <c:v>-3.3613445378151102E-3</c:v>
                </c:pt>
                <c:pt idx="22489">
                  <c:v>-3.3613445378151102E-3</c:v>
                </c:pt>
                <c:pt idx="22490">
                  <c:v>-3.3613445378151102E-3</c:v>
                </c:pt>
                <c:pt idx="22491">
                  <c:v>-2.5210084033613299E-3</c:v>
                </c:pt>
                <c:pt idx="22492">
                  <c:v>-2.5210084033613299E-3</c:v>
                </c:pt>
                <c:pt idx="22493">
                  <c:v>-2.5210084033613299E-3</c:v>
                </c:pt>
                <c:pt idx="22494">
                  <c:v>-2.5210084033613299E-3</c:v>
                </c:pt>
                <c:pt idx="22495">
                  <c:v>-2.5210084033613299E-3</c:v>
                </c:pt>
                <c:pt idx="22496">
                  <c:v>-2.5210084033613299E-3</c:v>
                </c:pt>
                <c:pt idx="22497">
                  <c:v>-2.5210084033613299E-3</c:v>
                </c:pt>
                <c:pt idx="22498">
                  <c:v>-2.5210084033613299E-3</c:v>
                </c:pt>
                <c:pt idx="22499">
                  <c:v>-2.5210084033613299E-3</c:v>
                </c:pt>
                <c:pt idx="22500">
                  <c:v>-2.5210084033613299E-3</c:v>
                </c:pt>
                <c:pt idx="22501">
                  <c:v>-2.5210084033613299E-3</c:v>
                </c:pt>
                <c:pt idx="22502">
                  <c:v>-2.5210084033613299E-3</c:v>
                </c:pt>
                <c:pt idx="22503">
                  <c:v>-2.5210084033613299E-3</c:v>
                </c:pt>
                <c:pt idx="22504">
                  <c:v>-2.5210084033613299E-3</c:v>
                </c:pt>
                <c:pt idx="22505">
                  <c:v>-2.5210084033613299E-3</c:v>
                </c:pt>
                <c:pt idx="22506">
                  <c:v>-2.5210084033613299E-3</c:v>
                </c:pt>
                <c:pt idx="22507">
                  <c:v>-2.5210084033613299E-3</c:v>
                </c:pt>
                <c:pt idx="22508">
                  <c:v>-2.5210084033613299E-3</c:v>
                </c:pt>
                <c:pt idx="22509">
                  <c:v>-2.5210084033613299E-3</c:v>
                </c:pt>
                <c:pt idx="22510">
                  <c:v>-2.5210084033613299E-3</c:v>
                </c:pt>
                <c:pt idx="22511">
                  <c:v>-2.5210084033613299E-3</c:v>
                </c:pt>
                <c:pt idx="22512">
                  <c:v>-2.5210084033613299E-3</c:v>
                </c:pt>
                <c:pt idx="22513">
                  <c:v>-2.5210084033613299E-3</c:v>
                </c:pt>
                <c:pt idx="22514">
                  <c:v>-2.5210084033613299E-3</c:v>
                </c:pt>
                <c:pt idx="22515">
                  <c:v>-2.5210084033613299E-3</c:v>
                </c:pt>
                <c:pt idx="22516">
                  <c:v>-2.5210084033613299E-3</c:v>
                </c:pt>
                <c:pt idx="22517">
                  <c:v>-2.5210084033613299E-3</c:v>
                </c:pt>
                <c:pt idx="22518">
                  <c:v>-2.5210084033613299E-3</c:v>
                </c:pt>
                <c:pt idx="22519">
                  <c:v>-2.5210084033613299E-3</c:v>
                </c:pt>
                <c:pt idx="22520">
                  <c:v>-2.5210084033613299E-3</c:v>
                </c:pt>
                <c:pt idx="22521">
                  <c:v>-2.5210084033613299E-3</c:v>
                </c:pt>
                <c:pt idx="22522">
                  <c:v>-2.5210084033613299E-3</c:v>
                </c:pt>
                <c:pt idx="22523">
                  <c:v>-2.5210084033613299E-3</c:v>
                </c:pt>
                <c:pt idx="22524">
                  <c:v>-2.5210084033613299E-3</c:v>
                </c:pt>
                <c:pt idx="22525">
                  <c:v>-2.5210084033613299E-3</c:v>
                </c:pt>
                <c:pt idx="22526">
                  <c:v>-2.5210084033613299E-3</c:v>
                </c:pt>
                <c:pt idx="22527">
                  <c:v>-2.5210084033613299E-3</c:v>
                </c:pt>
                <c:pt idx="22528">
                  <c:v>-2.5210084033613299E-3</c:v>
                </c:pt>
                <c:pt idx="22529">
                  <c:v>-2.5210084033613299E-3</c:v>
                </c:pt>
                <c:pt idx="22530">
                  <c:v>-2.5210084033613299E-3</c:v>
                </c:pt>
                <c:pt idx="22531">
                  <c:v>-2.5210084033613299E-3</c:v>
                </c:pt>
                <c:pt idx="22532">
                  <c:v>-2.5210084033613299E-3</c:v>
                </c:pt>
                <c:pt idx="22533">
                  <c:v>-2.5210084033613299E-3</c:v>
                </c:pt>
                <c:pt idx="22534">
                  <c:v>-2.5210084033613299E-3</c:v>
                </c:pt>
                <c:pt idx="22535">
                  <c:v>-2.5210084033613299E-3</c:v>
                </c:pt>
                <c:pt idx="22536">
                  <c:v>-2.5210084033613299E-3</c:v>
                </c:pt>
                <c:pt idx="22537">
                  <c:v>-2.5210084033613299E-3</c:v>
                </c:pt>
                <c:pt idx="22538">
                  <c:v>-2.5210084033613299E-3</c:v>
                </c:pt>
                <c:pt idx="22539">
                  <c:v>-2.5210084033613299E-3</c:v>
                </c:pt>
                <c:pt idx="22540">
                  <c:v>-2.5210084033613299E-3</c:v>
                </c:pt>
                <c:pt idx="22541">
                  <c:v>-2.5210084033613299E-3</c:v>
                </c:pt>
                <c:pt idx="22542">
                  <c:v>-2.5210084033613299E-3</c:v>
                </c:pt>
                <c:pt idx="22543">
                  <c:v>-2.5210084033613299E-3</c:v>
                </c:pt>
                <c:pt idx="22544">
                  <c:v>-2.5210084033613299E-3</c:v>
                </c:pt>
                <c:pt idx="22545">
                  <c:v>-2.5210084033613299E-3</c:v>
                </c:pt>
                <c:pt idx="22546">
                  <c:v>-2.5210084033613299E-3</c:v>
                </c:pt>
                <c:pt idx="22547">
                  <c:v>-2.5210084033613299E-3</c:v>
                </c:pt>
                <c:pt idx="22548">
                  <c:v>-3.3613445378151102E-3</c:v>
                </c:pt>
                <c:pt idx="22549">
                  <c:v>-3.3613445378151102E-3</c:v>
                </c:pt>
                <c:pt idx="22550">
                  <c:v>-3.3613445378151102E-3</c:v>
                </c:pt>
                <c:pt idx="22551">
                  <c:v>-3.3613445378151102E-3</c:v>
                </c:pt>
                <c:pt idx="22552">
                  <c:v>-3.3613445378151102E-3</c:v>
                </c:pt>
                <c:pt idx="22553">
                  <c:v>-3.3613445378151102E-3</c:v>
                </c:pt>
                <c:pt idx="22554">
                  <c:v>-3.3613445378151102E-3</c:v>
                </c:pt>
                <c:pt idx="22555">
                  <c:v>-3.3613445378151102E-3</c:v>
                </c:pt>
                <c:pt idx="22556">
                  <c:v>-3.3613445378151102E-3</c:v>
                </c:pt>
                <c:pt idx="22557">
                  <c:v>-3.3613445378151102E-3</c:v>
                </c:pt>
                <c:pt idx="22558">
                  <c:v>-3.3613445378151102E-3</c:v>
                </c:pt>
                <c:pt idx="22559">
                  <c:v>-3.3613445378151102E-3</c:v>
                </c:pt>
                <c:pt idx="22560">
                  <c:v>-3.3613445378151102E-3</c:v>
                </c:pt>
                <c:pt idx="22561">
                  <c:v>-3.3613445378151102E-3</c:v>
                </c:pt>
                <c:pt idx="22562">
                  <c:v>-3.3613445378151102E-3</c:v>
                </c:pt>
                <c:pt idx="22563">
                  <c:v>-3.3613445378151102E-3</c:v>
                </c:pt>
                <c:pt idx="22564">
                  <c:v>-3.3613445378151102E-3</c:v>
                </c:pt>
                <c:pt idx="22565">
                  <c:v>-3.3613445378151102E-3</c:v>
                </c:pt>
                <c:pt idx="22566">
                  <c:v>-3.3613445378151102E-3</c:v>
                </c:pt>
                <c:pt idx="22567">
                  <c:v>-3.3613445378151102E-3</c:v>
                </c:pt>
                <c:pt idx="22568">
                  <c:v>-3.3613445378151102E-3</c:v>
                </c:pt>
                <c:pt idx="22569">
                  <c:v>-3.3613445378151102E-3</c:v>
                </c:pt>
                <c:pt idx="22570">
                  <c:v>-3.3613445378151102E-3</c:v>
                </c:pt>
                <c:pt idx="22571">
                  <c:v>-3.3613445378151102E-3</c:v>
                </c:pt>
                <c:pt idx="22572">
                  <c:v>-3.3613445378151102E-3</c:v>
                </c:pt>
                <c:pt idx="22573">
                  <c:v>-3.3613445378151102E-3</c:v>
                </c:pt>
                <c:pt idx="22574">
                  <c:v>-3.3613445378151102E-3</c:v>
                </c:pt>
                <c:pt idx="22575">
                  <c:v>-3.3613445378151102E-3</c:v>
                </c:pt>
                <c:pt idx="22576">
                  <c:v>-3.3613445378151102E-3</c:v>
                </c:pt>
                <c:pt idx="22577">
                  <c:v>-3.3613445378151102E-3</c:v>
                </c:pt>
                <c:pt idx="22578">
                  <c:v>-3.3613445378151102E-3</c:v>
                </c:pt>
                <c:pt idx="22579">
                  <c:v>-2.5210084033613299E-3</c:v>
                </c:pt>
                <c:pt idx="22580">
                  <c:v>-2.5210084033613299E-3</c:v>
                </c:pt>
                <c:pt idx="22581">
                  <c:v>-2.5210084033613299E-3</c:v>
                </c:pt>
                <c:pt idx="22582">
                  <c:v>-2.5210084033613299E-3</c:v>
                </c:pt>
                <c:pt idx="22583">
                  <c:v>-2.5210084033613299E-3</c:v>
                </c:pt>
                <c:pt idx="22584">
                  <c:v>-3.3613445378151102E-3</c:v>
                </c:pt>
                <c:pt idx="22585">
                  <c:v>-3.3613445378151102E-3</c:v>
                </c:pt>
                <c:pt idx="22586">
                  <c:v>-3.3613445378151102E-3</c:v>
                </c:pt>
                <c:pt idx="22587">
                  <c:v>-3.3613445378151102E-3</c:v>
                </c:pt>
                <c:pt idx="22588">
                  <c:v>-3.3613445378151102E-3</c:v>
                </c:pt>
                <c:pt idx="22589">
                  <c:v>-3.3613445378151102E-3</c:v>
                </c:pt>
                <c:pt idx="22590">
                  <c:v>-3.3613445378151102E-3</c:v>
                </c:pt>
                <c:pt idx="22591">
                  <c:v>-3.3613445378151102E-3</c:v>
                </c:pt>
                <c:pt idx="22592">
                  <c:v>-3.3613445378151102E-3</c:v>
                </c:pt>
                <c:pt idx="22593">
                  <c:v>-3.3613445378151102E-3</c:v>
                </c:pt>
                <c:pt idx="22594">
                  <c:v>-3.3613445378151102E-3</c:v>
                </c:pt>
                <c:pt idx="22595">
                  <c:v>-3.3613445378151102E-3</c:v>
                </c:pt>
                <c:pt idx="22596">
                  <c:v>-3.3613445378151102E-3</c:v>
                </c:pt>
                <c:pt idx="22597">
                  <c:v>-3.3613445378151102E-3</c:v>
                </c:pt>
                <c:pt idx="22598">
                  <c:v>-3.3613445378151102E-3</c:v>
                </c:pt>
                <c:pt idx="22599">
                  <c:v>-3.3613445378151102E-3</c:v>
                </c:pt>
                <c:pt idx="22600">
                  <c:v>-3.3613445378151102E-3</c:v>
                </c:pt>
                <c:pt idx="22601">
                  <c:v>-3.3613445378151102E-3</c:v>
                </c:pt>
                <c:pt idx="22602">
                  <c:v>-3.3613445378151102E-3</c:v>
                </c:pt>
                <c:pt idx="22603">
                  <c:v>-3.3613445378151102E-3</c:v>
                </c:pt>
                <c:pt idx="22604">
                  <c:v>-3.3613445378151102E-3</c:v>
                </c:pt>
                <c:pt idx="22605">
                  <c:v>-3.3613445378151102E-3</c:v>
                </c:pt>
                <c:pt idx="22606">
                  <c:v>-3.3613445378151102E-3</c:v>
                </c:pt>
                <c:pt idx="22607">
                  <c:v>-3.3613445378151102E-3</c:v>
                </c:pt>
                <c:pt idx="22608">
                  <c:v>-3.3613445378151102E-3</c:v>
                </c:pt>
                <c:pt idx="22609">
                  <c:v>-3.3613445378151102E-3</c:v>
                </c:pt>
                <c:pt idx="22610">
                  <c:v>-3.3613445378151102E-3</c:v>
                </c:pt>
                <c:pt idx="22611">
                  <c:v>-3.3613445378151102E-3</c:v>
                </c:pt>
                <c:pt idx="22612">
                  <c:v>-3.3613445378151102E-3</c:v>
                </c:pt>
                <c:pt idx="22613">
                  <c:v>-3.3613445378151102E-3</c:v>
                </c:pt>
                <c:pt idx="22614">
                  <c:v>-3.3613445378151102E-3</c:v>
                </c:pt>
                <c:pt idx="22615">
                  <c:v>-3.3613445378151102E-3</c:v>
                </c:pt>
                <c:pt idx="22616">
                  <c:v>-3.3613445378151102E-3</c:v>
                </c:pt>
                <c:pt idx="22617">
                  <c:v>-3.3613445378151102E-3</c:v>
                </c:pt>
                <c:pt idx="22618">
                  <c:v>-3.3613445378151102E-3</c:v>
                </c:pt>
                <c:pt idx="22619">
                  <c:v>-3.3613445378151102E-3</c:v>
                </c:pt>
                <c:pt idx="22620">
                  <c:v>-3.3613445378151102E-3</c:v>
                </c:pt>
                <c:pt idx="22621">
                  <c:v>-3.3613445378151102E-3</c:v>
                </c:pt>
                <c:pt idx="22622">
                  <c:v>-3.3613445378151102E-3</c:v>
                </c:pt>
                <c:pt idx="22623">
                  <c:v>-3.3613445378151102E-3</c:v>
                </c:pt>
                <c:pt idx="22624">
                  <c:v>-3.3613445378151102E-3</c:v>
                </c:pt>
                <c:pt idx="22625">
                  <c:v>-3.3613445378151102E-3</c:v>
                </c:pt>
                <c:pt idx="22626">
                  <c:v>-3.3613445378151102E-3</c:v>
                </c:pt>
                <c:pt idx="22627">
                  <c:v>-3.3613445378151102E-3</c:v>
                </c:pt>
                <c:pt idx="22628">
                  <c:v>-3.3613445378151102E-3</c:v>
                </c:pt>
                <c:pt idx="22629">
                  <c:v>-3.3613445378151102E-3</c:v>
                </c:pt>
                <c:pt idx="22630">
                  <c:v>-3.3613445378151102E-3</c:v>
                </c:pt>
                <c:pt idx="22631">
                  <c:v>-3.3613445378151102E-3</c:v>
                </c:pt>
                <c:pt idx="22632">
                  <c:v>-3.3613445378151102E-3</c:v>
                </c:pt>
                <c:pt idx="22633">
                  <c:v>-3.3613445378151102E-3</c:v>
                </c:pt>
                <c:pt idx="22634">
                  <c:v>-3.3613445378151102E-3</c:v>
                </c:pt>
                <c:pt idx="22635">
                  <c:v>-3.3613445378151102E-3</c:v>
                </c:pt>
                <c:pt idx="22636">
                  <c:v>-3.3613445378151102E-3</c:v>
                </c:pt>
                <c:pt idx="22637">
                  <c:v>-3.3613445378151102E-3</c:v>
                </c:pt>
                <c:pt idx="22638">
                  <c:v>-3.3613445378151102E-3</c:v>
                </c:pt>
                <c:pt idx="22639">
                  <c:v>-3.3613445378151102E-3</c:v>
                </c:pt>
                <c:pt idx="22640">
                  <c:v>-3.3613445378151102E-3</c:v>
                </c:pt>
                <c:pt idx="22641">
                  <c:v>-3.3613445378151102E-3</c:v>
                </c:pt>
                <c:pt idx="22642">
                  <c:v>-3.3613445378151102E-3</c:v>
                </c:pt>
                <c:pt idx="22643">
                  <c:v>-3.3613445378151102E-3</c:v>
                </c:pt>
                <c:pt idx="22644">
                  <c:v>-3.3613445378151102E-3</c:v>
                </c:pt>
                <c:pt idx="22645">
                  <c:v>-3.3613445378151102E-3</c:v>
                </c:pt>
                <c:pt idx="22646">
                  <c:v>-3.3613445378151102E-3</c:v>
                </c:pt>
                <c:pt idx="22647">
                  <c:v>-3.3613445378151102E-3</c:v>
                </c:pt>
                <c:pt idx="22648">
                  <c:v>-3.3613445378151102E-3</c:v>
                </c:pt>
                <c:pt idx="22649">
                  <c:v>-3.3613445378151102E-3</c:v>
                </c:pt>
                <c:pt idx="22650">
                  <c:v>-3.3613445378151102E-3</c:v>
                </c:pt>
                <c:pt idx="22651">
                  <c:v>-3.3613445378151102E-3</c:v>
                </c:pt>
                <c:pt idx="22652">
                  <c:v>-3.3613445378151102E-3</c:v>
                </c:pt>
                <c:pt idx="22653">
                  <c:v>-3.3613445378151102E-3</c:v>
                </c:pt>
                <c:pt idx="22654">
                  <c:v>-3.3613445378151102E-3</c:v>
                </c:pt>
                <c:pt idx="22655">
                  <c:v>-3.3613445378151102E-3</c:v>
                </c:pt>
                <c:pt idx="22656">
                  <c:v>-3.3613445378151102E-3</c:v>
                </c:pt>
                <c:pt idx="22657">
                  <c:v>-3.3613445378151102E-3</c:v>
                </c:pt>
                <c:pt idx="22658">
                  <c:v>-3.3613445378151102E-3</c:v>
                </c:pt>
                <c:pt idx="22659">
                  <c:v>-3.3613445378151102E-3</c:v>
                </c:pt>
                <c:pt idx="22660">
                  <c:v>-3.3613445378151102E-3</c:v>
                </c:pt>
                <c:pt idx="22661">
                  <c:v>-3.3613445378151102E-3</c:v>
                </c:pt>
                <c:pt idx="22662">
                  <c:v>-3.3613445378151102E-3</c:v>
                </c:pt>
                <c:pt idx="22663">
                  <c:v>-3.3613445378151102E-3</c:v>
                </c:pt>
                <c:pt idx="22664">
                  <c:v>-3.3613445378151102E-3</c:v>
                </c:pt>
                <c:pt idx="22665">
                  <c:v>-3.3613445378151102E-3</c:v>
                </c:pt>
                <c:pt idx="22666">
                  <c:v>-3.3613445378151102E-3</c:v>
                </c:pt>
                <c:pt idx="22667">
                  <c:v>-3.3613445378151102E-3</c:v>
                </c:pt>
                <c:pt idx="22668">
                  <c:v>-3.3613445378151102E-3</c:v>
                </c:pt>
                <c:pt idx="22669">
                  <c:v>-3.3613445378151102E-3</c:v>
                </c:pt>
                <c:pt idx="22670">
                  <c:v>-3.3613445378151102E-3</c:v>
                </c:pt>
                <c:pt idx="22671">
                  <c:v>-3.3613445378151102E-3</c:v>
                </c:pt>
                <c:pt idx="22672">
                  <c:v>-3.3613445378151102E-3</c:v>
                </c:pt>
                <c:pt idx="22673">
                  <c:v>-3.3613445378151102E-3</c:v>
                </c:pt>
                <c:pt idx="22674">
                  <c:v>-3.3613445378151102E-3</c:v>
                </c:pt>
                <c:pt idx="22675">
                  <c:v>-3.3613445378151102E-3</c:v>
                </c:pt>
                <c:pt idx="22676">
                  <c:v>-3.3613445378151102E-3</c:v>
                </c:pt>
                <c:pt idx="22677">
                  <c:v>-3.3613445378151102E-3</c:v>
                </c:pt>
                <c:pt idx="22678">
                  <c:v>-3.3613445378151102E-3</c:v>
                </c:pt>
                <c:pt idx="22679">
                  <c:v>-3.3613445378151102E-3</c:v>
                </c:pt>
                <c:pt idx="22680">
                  <c:v>-3.3613445378151102E-3</c:v>
                </c:pt>
                <c:pt idx="22681">
                  <c:v>-3.3613445378151102E-3</c:v>
                </c:pt>
                <c:pt idx="22682">
                  <c:v>-3.3613445378151102E-3</c:v>
                </c:pt>
                <c:pt idx="22683">
                  <c:v>-3.3613445378151102E-3</c:v>
                </c:pt>
                <c:pt idx="22684">
                  <c:v>-3.3613445378151102E-3</c:v>
                </c:pt>
                <c:pt idx="22685">
                  <c:v>-3.3613445378151102E-3</c:v>
                </c:pt>
                <c:pt idx="22686">
                  <c:v>-3.3613445378151102E-3</c:v>
                </c:pt>
                <c:pt idx="22687">
                  <c:v>-3.3613445378151102E-3</c:v>
                </c:pt>
                <c:pt idx="22688">
                  <c:v>-3.3613445378151102E-3</c:v>
                </c:pt>
                <c:pt idx="22689">
                  <c:v>-3.3613445378151102E-3</c:v>
                </c:pt>
                <c:pt idx="22690">
                  <c:v>-3.3613445378151102E-3</c:v>
                </c:pt>
                <c:pt idx="22691">
                  <c:v>-3.3613445378151102E-3</c:v>
                </c:pt>
                <c:pt idx="22692">
                  <c:v>-3.3613445378151102E-3</c:v>
                </c:pt>
                <c:pt idx="22693">
                  <c:v>-3.3613445378151102E-3</c:v>
                </c:pt>
                <c:pt idx="22694">
                  <c:v>-3.3613445378151102E-3</c:v>
                </c:pt>
                <c:pt idx="22695">
                  <c:v>-3.3613445378151102E-3</c:v>
                </c:pt>
                <c:pt idx="22696">
                  <c:v>-3.3613445378151102E-3</c:v>
                </c:pt>
                <c:pt idx="22697">
                  <c:v>-3.3613445378151102E-3</c:v>
                </c:pt>
                <c:pt idx="22698">
                  <c:v>-3.3613445378151102E-3</c:v>
                </c:pt>
                <c:pt idx="22699">
                  <c:v>-3.3613445378151102E-3</c:v>
                </c:pt>
                <c:pt idx="22700">
                  <c:v>-3.3613445378151102E-3</c:v>
                </c:pt>
                <c:pt idx="22701">
                  <c:v>-3.3613445378151102E-3</c:v>
                </c:pt>
                <c:pt idx="22702">
                  <c:v>-3.3613445378151102E-3</c:v>
                </c:pt>
                <c:pt idx="22703">
                  <c:v>-3.3613445378151102E-3</c:v>
                </c:pt>
                <c:pt idx="22704">
                  <c:v>-3.3613445378151102E-3</c:v>
                </c:pt>
                <c:pt idx="22705">
                  <c:v>-3.3613445378151102E-3</c:v>
                </c:pt>
                <c:pt idx="22706">
                  <c:v>-3.3613445378151102E-3</c:v>
                </c:pt>
                <c:pt idx="22707">
                  <c:v>-4.20168067226889E-3</c:v>
                </c:pt>
                <c:pt idx="22708">
                  <c:v>-4.20168067226889E-3</c:v>
                </c:pt>
                <c:pt idx="22709">
                  <c:v>-4.20168067226889E-3</c:v>
                </c:pt>
                <c:pt idx="22710">
                  <c:v>-4.20168067226889E-3</c:v>
                </c:pt>
                <c:pt idx="22711">
                  <c:v>-4.20168067226889E-3</c:v>
                </c:pt>
                <c:pt idx="22712">
                  <c:v>-4.20168067226889E-3</c:v>
                </c:pt>
                <c:pt idx="22713">
                  <c:v>-4.20168067226889E-3</c:v>
                </c:pt>
                <c:pt idx="22714">
                  <c:v>-4.20168067226889E-3</c:v>
                </c:pt>
                <c:pt idx="22715">
                  <c:v>-4.20168067226889E-3</c:v>
                </c:pt>
                <c:pt idx="22716">
                  <c:v>-4.20168067226889E-3</c:v>
                </c:pt>
                <c:pt idx="22717">
                  <c:v>-4.20168067226889E-3</c:v>
                </c:pt>
                <c:pt idx="22718">
                  <c:v>-4.20168067226889E-3</c:v>
                </c:pt>
                <c:pt idx="22719">
                  <c:v>-4.20168067226889E-3</c:v>
                </c:pt>
                <c:pt idx="22720">
                  <c:v>-4.20168067226889E-3</c:v>
                </c:pt>
                <c:pt idx="22721">
                  <c:v>-5.0420168067226703E-3</c:v>
                </c:pt>
                <c:pt idx="22722">
                  <c:v>-5.8823529411764497E-3</c:v>
                </c:pt>
                <c:pt idx="22723">
                  <c:v>-5.8823529411764497E-3</c:v>
                </c:pt>
                <c:pt idx="22724">
                  <c:v>-5.8823529411764497E-3</c:v>
                </c:pt>
                <c:pt idx="22725">
                  <c:v>-5.8823529411764497E-3</c:v>
                </c:pt>
                <c:pt idx="22726">
                  <c:v>-5.8823529411764497E-3</c:v>
                </c:pt>
                <c:pt idx="22727">
                  <c:v>-5.8823529411764497E-3</c:v>
                </c:pt>
                <c:pt idx="22728">
                  <c:v>-5.8823529411764497E-3</c:v>
                </c:pt>
                <c:pt idx="22729">
                  <c:v>-5.8823529411764497E-3</c:v>
                </c:pt>
                <c:pt idx="22730">
                  <c:v>-5.8823529411764497E-3</c:v>
                </c:pt>
                <c:pt idx="22731">
                  <c:v>-5.8823529411764497E-3</c:v>
                </c:pt>
                <c:pt idx="22732">
                  <c:v>-5.8823529411764497E-3</c:v>
                </c:pt>
                <c:pt idx="22733">
                  <c:v>-5.8823529411764497E-3</c:v>
                </c:pt>
                <c:pt idx="22734">
                  <c:v>-5.8823529411764497E-3</c:v>
                </c:pt>
                <c:pt idx="22735">
                  <c:v>-5.8823529411764497E-3</c:v>
                </c:pt>
                <c:pt idx="22736">
                  <c:v>-5.8823529411764497E-3</c:v>
                </c:pt>
                <c:pt idx="22737">
                  <c:v>-5.8823529411764497E-3</c:v>
                </c:pt>
                <c:pt idx="22738">
                  <c:v>-5.8823529411764497E-3</c:v>
                </c:pt>
                <c:pt idx="22739">
                  <c:v>-5.8823529411764497E-3</c:v>
                </c:pt>
                <c:pt idx="22740">
                  <c:v>-5.8823529411764497E-3</c:v>
                </c:pt>
                <c:pt idx="22741">
                  <c:v>-5.8823529411764497E-3</c:v>
                </c:pt>
                <c:pt idx="22742">
                  <c:v>-5.8823529411764497E-3</c:v>
                </c:pt>
                <c:pt idx="22743">
                  <c:v>-5.8823529411764497E-3</c:v>
                </c:pt>
                <c:pt idx="22744">
                  <c:v>-5.8823529411764497E-3</c:v>
                </c:pt>
                <c:pt idx="22745">
                  <c:v>-5.8823529411764497E-3</c:v>
                </c:pt>
                <c:pt idx="22746">
                  <c:v>-5.8823529411764497E-3</c:v>
                </c:pt>
                <c:pt idx="22747">
                  <c:v>-5.8823529411764497E-3</c:v>
                </c:pt>
                <c:pt idx="22748">
                  <c:v>-5.8823529411764497E-3</c:v>
                </c:pt>
                <c:pt idx="22749">
                  <c:v>-5.8823529411764497E-3</c:v>
                </c:pt>
                <c:pt idx="22750">
                  <c:v>-5.8823529411764497E-3</c:v>
                </c:pt>
                <c:pt idx="22751">
                  <c:v>-5.8823529411764497E-3</c:v>
                </c:pt>
                <c:pt idx="22752">
                  <c:v>-5.8823529411764497E-3</c:v>
                </c:pt>
                <c:pt idx="22753">
                  <c:v>-5.8823529411764497E-3</c:v>
                </c:pt>
                <c:pt idx="22754">
                  <c:v>-5.8823529411764497E-3</c:v>
                </c:pt>
                <c:pt idx="22755">
                  <c:v>-5.8823529411764497E-3</c:v>
                </c:pt>
                <c:pt idx="22756">
                  <c:v>-5.8823529411764497E-3</c:v>
                </c:pt>
                <c:pt idx="22757">
                  <c:v>-5.8823529411764497E-3</c:v>
                </c:pt>
                <c:pt idx="22758">
                  <c:v>-5.8823529411764497E-3</c:v>
                </c:pt>
                <c:pt idx="22759">
                  <c:v>-5.8823529411764497E-3</c:v>
                </c:pt>
                <c:pt idx="22760">
                  <c:v>-5.8823529411764497E-3</c:v>
                </c:pt>
                <c:pt idx="22761">
                  <c:v>-5.8823529411764497E-3</c:v>
                </c:pt>
                <c:pt idx="22762">
                  <c:v>-6.7226890756302204E-3</c:v>
                </c:pt>
                <c:pt idx="22763">
                  <c:v>-6.7226890756302204E-3</c:v>
                </c:pt>
                <c:pt idx="22764">
                  <c:v>-6.7226890756302204E-3</c:v>
                </c:pt>
                <c:pt idx="22765">
                  <c:v>-6.7226890756302204E-3</c:v>
                </c:pt>
                <c:pt idx="22766">
                  <c:v>-6.7226890756302204E-3</c:v>
                </c:pt>
                <c:pt idx="22767">
                  <c:v>-6.7226890756302204E-3</c:v>
                </c:pt>
                <c:pt idx="22768">
                  <c:v>-6.7226890756302204E-3</c:v>
                </c:pt>
                <c:pt idx="22769">
                  <c:v>-6.7226890756302204E-3</c:v>
                </c:pt>
                <c:pt idx="22770">
                  <c:v>-5.8823529411764497E-3</c:v>
                </c:pt>
                <c:pt idx="22771">
                  <c:v>-5.8823529411764497E-3</c:v>
                </c:pt>
                <c:pt idx="22772">
                  <c:v>-5.8823529411764497E-3</c:v>
                </c:pt>
                <c:pt idx="22773">
                  <c:v>-5.8823529411764497E-3</c:v>
                </c:pt>
                <c:pt idx="22774">
                  <c:v>-5.8823529411764497E-3</c:v>
                </c:pt>
                <c:pt idx="22775">
                  <c:v>-5.8823529411764497E-3</c:v>
                </c:pt>
                <c:pt idx="22776">
                  <c:v>-5.8823529411764497E-3</c:v>
                </c:pt>
                <c:pt idx="22777">
                  <c:v>-5.8823529411764497E-3</c:v>
                </c:pt>
                <c:pt idx="22778">
                  <c:v>-5.8823529411764497E-3</c:v>
                </c:pt>
                <c:pt idx="22779">
                  <c:v>-6.7226890756302204E-3</c:v>
                </c:pt>
                <c:pt idx="22780">
                  <c:v>-6.7226890756302204E-3</c:v>
                </c:pt>
                <c:pt idx="22781">
                  <c:v>-6.7226890756302204E-3</c:v>
                </c:pt>
                <c:pt idx="22782">
                  <c:v>-6.7226890756302204E-3</c:v>
                </c:pt>
                <c:pt idx="22783">
                  <c:v>-6.7226890756302204E-3</c:v>
                </c:pt>
                <c:pt idx="22784">
                  <c:v>-6.7226890756302204E-3</c:v>
                </c:pt>
                <c:pt idx="22785">
                  <c:v>-6.7226890756302204E-3</c:v>
                </c:pt>
                <c:pt idx="22786">
                  <c:v>-6.7226890756302204E-3</c:v>
                </c:pt>
                <c:pt idx="22787">
                  <c:v>-6.7226890756302204E-3</c:v>
                </c:pt>
                <c:pt idx="22788">
                  <c:v>-6.7226890756302204E-3</c:v>
                </c:pt>
                <c:pt idx="22789">
                  <c:v>-6.7226890756302204E-3</c:v>
                </c:pt>
                <c:pt idx="22790">
                  <c:v>-6.7226890756302204E-3</c:v>
                </c:pt>
                <c:pt idx="22791">
                  <c:v>-6.7226890756302204E-3</c:v>
                </c:pt>
                <c:pt idx="22792">
                  <c:v>-6.7226890756302204E-3</c:v>
                </c:pt>
                <c:pt idx="22793">
                  <c:v>-6.7226890756302204E-3</c:v>
                </c:pt>
                <c:pt idx="22794">
                  <c:v>-6.7226890756302204E-3</c:v>
                </c:pt>
                <c:pt idx="22795">
                  <c:v>-6.7226890756302204E-3</c:v>
                </c:pt>
                <c:pt idx="22796">
                  <c:v>-6.7226890756302204E-3</c:v>
                </c:pt>
                <c:pt idx="22797">
                  <c:v>-6.7226890756302204E-3</c:v>
                </c:pt>
                <c:pt idx="22798">
                  <c:v>-6.7226890756302204E-3</c:v>
                </c:pt>
                <c:pt idx="22799">
                  <c:v>-6.7226890756302204E-3</c:v>
                </c:pt>
                <c:pt idx="22800">
                  <c:v>-6.7226890756302204E-3</c:v>
                </c:pt>
                <c:pt idx="22801">
                  <c:v>-6.7226890756302204E-3</c:v>
                </c:pt>
                <c:pt idx="22802">
                  <c:v>-6.7226890756302204E-3</c:v>
                </c:pt>
                <c:pt idx="22803">
                  <c:v>-6.7226890756302204E-3</c:v>
                </c:pt>
                <c:pt idx="22804">
                  <c:v>-6.7226890756302204E-3</c:v>
                </c:pt>
                <c:pt idx="22805">
                  <c:v>-6.7226890756302204E-3</c:v>
                </c:pt>
                <c:pt idx="22806">
                  <c:v>-6.7226890756302204E-3</c:v>
                </c:pt>
                <c:pt idx="22807">
                  <c:v>-6.7226890756302204E-3</c:v>
                </c:pt>
                <c:pt idx="22808">
                  <c:v>-6.7226890756302204E-3</c:v>
                </c:pt>
                <c:pt idx="22809">
                  <c:v>-6.7226890756302204E-3</c:v>
                </c:pt>
                <c:pt idx="22810">
                  <c:v>-6.7226890756302204E-3</c:v>
                </c:pt>
                <c:pt idx="22811">
                  <c:v>-6.7226890756302204E-3</c:v>
                </c:pt>
                <c:pt idx="22812">
                  <c:v>-6.7226890756302204E-3</c:v>
                </c:pt>
                <c:pt idx="22813">
                  <c:v>-6.7226890756302204E-3</c:v>
                </c:pt>
                <c:pt idx="22814">
                  <c:v>-6.7226890756302204E-3</c:v>
                </c:pt>
                <c:pt idx="22815">
                  <c:v>-6.7226890756302204E-3</c:v>
                </c:pt>
                <c:pt idx="22816">
                  <c:v>-6.7226890756302204E-3</c:v>
                </c:pt>
                <c:pt idx="22817">
                  <c:v>-6.7226890756302204E-3</c:v>
                </c:pt>
                <c:pt idx="22818">
                  <c:v>-6.7226890756302204E-3</c:v>
                </c:pt>
                <c:pt idx="22819">
                  <c:v>-6.7226890756302204E-3</c:v>
                </c:pt>
                <c:pt idx="22820">
                  <c:v>-6.7226890756302204E-3</c:v>
                </c:pt>
                <c:pt idx="22821">
                  <c:v>-6.7226890756302204E-3</c:v>
                </c:pt>
                <c:pt idx="22822">
                  <c:v>-6.7226890756302204E-3</c:v>
                </c:pt>
                <c:pt idx="22823">
                  <c:v>-6.7226890756302204E-3</c:v>
                </c:pt>
                <c:pt idx="22824">
                  <c:v>-6.7226890756302204E-3</c:v>
                </c:pt>
                <c:pt idx="22825">
                  <c:v>-6.7226890756302204E-3</c:v>
                </c:pt>
                <c:pt idx="22826">
                  <c:v>-6.7226890756302204E-3</c:v>
                </c:pt>
                <c:pt idx="22827">
                  <c:v>-6.7226890756302204E-3</c:v>
                </c:pt>
                <c:pt idx="22828">
                  <c:v>-6.7226890756302204E-3</c:v>
                </c:pt>
                <c:pt idx="22829">
                  <c:v>-6.7226890756302204E-3</c:v>
                </c:pt>
                <c:pt idx="22830">
                  <c:v>-6.7226890756302204E-3</c:v>
                </c:pt>
                <c:pt idx="22831">
                  <c:v>-6.7226890756302204E-3</c:v>
                </c:pt>
                <c:pt idx="22832">
                  <c:v>-6.7226890756302204E-3</c:v>
                </c:pt>
                <c:pt idx="22833">
                  <c:v>-6.7226890756302204E-3</c:v>
                </c:pt>
                <c:pt idx="22834">
                  <c:v>-6.7226890756302204E-3</c:v>
                </c:pt>
                <c:pt idx="22835">
                  <c:v>-6.7226890756302204E-3</c:v>
                </c:pt>
                <c:pt idx="22836">
                  <c:v>-6.7226890756302204E-3</c:v>
                </c:pt>
                <c:pt idx="22837">
                  <c:v>-6.7226890756302204E-3</c:v>
                </c:pt>
                <c:pt idx="22838">
                  <c:v>-6.7226890756302204E-3</c:v>
                </c:pt>
                <c:pt idx="22839">
                  <c:v>-6.7226890756302204E-3</c:v>
                </c:pt>
                <c:pt idx="22840">
                  <c:v>-6.7226890756302204E-3</c:v>
                </c:pt>
                <c:pt idx="22841">
                  <c:v>-6.7226890756302204E-3</c:v>
                </c:pt>
                <c:pt idx="22842">
                  <c:v>-6.7226890756302204E-3</c:v>
                </c:pt>
                <c:pt idx="22843">
                  <c:v>-6.7226890756302204E-3</c:v>
                </c:pt>
                <c:pt idx="22844">
                  <c:v>-6.7226890756302204E-3</c:v>
                </c:pt>
                <c:pt idx="22845">
                  <c:v>-6.7226890756302204E-3</c:v>
                </c:pt>
                <c:pt idx="22846">
                  <c:v>-6.7226890756302204E-3</c:v>
                </c:pt>
                <c:pt idx="22847">
                  <c:v>-6.7226890756302204E-3</c:v>
                </c:pt>
                <c:pt idx="22848">
                  <c:v>-6.7226890756302204E-3</c:v>
                </c:pt>
                <c:pt idx="22849">
                  <c:v>-6.7226890756302204E-3</c:v>
                </c:pt>
                <c:pt idx="22850">
                  <c:v>-6.7226890756302204E-3</c:v>
                </c:pt>
                <c:pt idx="22851">
                  <c:v>-6.7226890756302204E-3</c:v>
                </c:pt>
                <c:pt idx="22852">
                  <c:v>-6.7226890756302204E-3</c:v>
                </c:pt>
                <c:pt idx="22853">
                  <c:v>-6.7226890756302204E-3</c:v>
                </c:pt>
                <c:pt idx="22854">
                  <c:v>-6.7226890756302204E-3</c:v>
                </c:pt>
                <c:pt idx="22855">
                  <c:v>-6.7226890756302204E-3</c:v>
                </c:pt>
                <c:pt idx="22856">
                  <c:v>-6.7226890756302204E-3</c:v>
                </c:pt>
                <c:pt idx="22857">
                  <c:v>-6.7226890756302204E-3</c:v>
                </c:pt>
                <c:pt idx="22858">
                  <c:v>-6.7226890756302204E-3</c:v>
                </c:pt>
                <c:pt idx="22859">
                  <c:v>-6.7226890756302204E-3</c:v>
                </c:pt>
                <c:pt idx="22860">
                  <c:v>-6.7226890756302204E-3</c:v>
                </c:pt>
                <c:pt idx="22861">
                  <c:v>-6.7226890756302204E-3</c:v>
                </c:pt>
                <c:pt idx="22862">
                  <c:v>-6.7226890756302204E-3</c:v>
                </c:pt>
                <c:pt idx="22863">
                  <c:v>-6.7226890756302204E-3</c:v>
                </c:pt>
                <c:pt idx="22864">
                  <c:v>-6.7226890756302204E-3</c:v>
                </c:pt>
                <c:pt idx="22865">
                  <c:v>-6.7226890756302204E-3</c:v>
                </c:pt>
                <c:pt idx="22866">
                  <c:v>-6.7226890756302204E-3</c:v>
                </c:pt>
                <c:pt idx="22867">
                  <c:v>-6.7226890756302204E-3</c:v>
                </c:pt>
                <c:pt idx="22868">
                  <c:v>-6.7226890756302204E-3</c:v>
                </c:pt>
                <c:pt idx="22869">
                  <c:v>-6.7226890756302204E-3</c:v>
                </c:pt>
                <c:pt idx="22870">
                  <c:v>-6.7226890756302204E-3</c:v>
                </c:pt>
                <c:pt idx="22871">
                  <c:v>-6.7226890756302204E-3</c:v>
                </c:pt>
                <c:pt idx="22872">
                  <c:v>-6.7226890756302204E-3</c:v>
                </c:pt>
                <c:pt idx="22873">
                  <c:v>-6.7226890756302204E-3</c:v>
                </c:pt>
                <c:pt idx="22874">
                  <c:v>-6.7226890756302204E-3</c:v>
                </c:pt>
                <c:pt idx="22875">
                  <c:v>-6.7226890756302204E-3</c:v>
                </c:pt>
                <c:pt idx="22876">
                  <c:v>-6.7226890756302204E-3</c:v>
                </c:pt>
                <c:pt idx="22877">
                  <c:v>-6.7226890756302204E-3</c:v>
                </c:pt>
                <c:pt idx="22878">
                  <c:v>-6.7226890756302204E-3</c:v>
                </c:pt>
                <c:pt idx="22879">
                  <c:v>-6.7226890756302204E-3</c:v>
                </c:pt>
                <c:pt idx="22880">
                  <c:v>-6.7226890756302204E-3</c:v>
                </c:pt>
                <c:pt idx="22881">
                  <c:v>-6.7226890756302204E-3</c:v>
                </c:pt>
                <c:pt idx="22882">
                  <c:v>-6.7226890756302204E-3</c:v>
                </c:pt>
                <c:pt idx="22883">
                  <c:v>-6.7226890756302204E-3</c:v>
                </c:pt>
                <c:pt idx="22884">
                  <c:v>-6.7226890756302204E-3</c:v>
                </c:pt>
                <c:pt idx="22885">
                  <c:v>-6.7226890756302204E-3</c:v>
                </c:pt>
                <c:pt idx="22886">
                  <c:v>-6.7226890756302204E-3</c:v>
                </c:pt>
                <c:pt idx="22887">
                  <c:v>-6.7226890756302204E-3</c:v>
                </c:pt>
                <c:pt idx="22888">
                  <c:v>-6.7226890756302204E-3</c:v>
                </c:pt>
                <c:pt idx="22889">
                  <c:v>-6.7226890756302204E-3</c:v>
                </c:pt>
                <c:pt idx="22890">
                  <c:v>-6.7226890756302204E-3</c:v>
                </c:pt>
                <c:pt idx="22891">
                  <c:v>-6.7226890756302204E-3</c:v>
                </c:pt>
                <c:pt idx="22892">
                  <c:v>-6.7226890756302204E-3</c:v>
                </c:pt>
                <c:pt idx="22893">
                  <c:v>-5.8823529411764497E-3</c:v>
                </c:pt>
                <c:pt idx="22894">
                  <c:v>-5.8823529411764497E-3</c:v>
                </c:pt>
                <c:pt idx="22895">
                  <c:v>-5.8823529411764497E-3</c:v>
                </c:pt>
                <c:pt idx="22896">
                  <c:v>-5.8823529411764497E-3</c:v>
                </c:pt>
                <c:pt idx="22897">
                  <c:v>-5.8823529411764497E-3</c:v>
                </c:pt>
                <c:pt idx="22898">
                  <c:v>-5.8823529411764497E-3</c:v>
                </c:pt>
                <c:pt idx="22899">
                  <c:v>-5.8823529411764497E-3</c:v>
                </c:pt>
                <c:pt idx="22900">
                  <c:v>-5.8823529411764497E-3</c:v>
                </c:pt>
                <c:pt idx="22901">
                  <c:v>-5.8823529411764497E-3</c:v>
                </c:pt>
                <c:pt idx="22902">
                  <c:v>-5.8823529411764497E-3</c:v>
                </c:pt>
                <c:pt idx="22903">
                  <c:v>-5.8823529411764497E-3</c:v>
                </c:pt>
                <c:pt idx="22904">
                  <c:v>-5.8823529411764497E-3</c:v>
                </c:pt>
                <c:pt idx="22905">
                  <c:v>-5.8823529411764497E-3</c:v>
                </c:pt>
                <c:pt idx="22906">
                  <c:v>-5.8823529411764497E-3</c:v>
                </c:pt>
                <c:pt idx="22907">
                  <c:v>-5.8823529411764497E-3</c:v>
                </c:pt>
                <c:pt idx="22908">
                  <c:v>-5.8823529411764497E-3</c:v>
                </c:pt>
                <c:pt idx="22909">
                  <c:v>-5.8823529411764497E-3</c:v>
                </c:pt>
                <c:pt idx="22910">
                  <c:v>-5.8823529411764497E-3</c:v>
                </c:pt>
                <c:pt idx="22911">
                  <c:v>-5.8823529411764497E-3</c:v>
                </c:pt>
                <c:pt idx="22912">
                  <c:v>-5.8823529411764497E-3</c:v>
                </c:pt>
                <c:pt idx="22913">
                  <c:v>-5.8823529411764497E-3</c:v>
                </c:pt>
                <c:pt idx="22914">
                  <c:v>-5.8823529411764497E-3</c:v>
                </c:pt>
                <c:pt idx="22915">
                  <c:v>-5.8823529411764497E-3</c:v>
                </c:pt>
                <c:pt idx="22916">
                  <c:v>-5.8823529411764497E-3</c:v>
                </c:pt>
                <c:pt idx="22917">
                  <c:v>-5.8823529411764497E-3</c:v>
                </c:pt>
                <c:pt idx="22918">
                  <c:v>-5.8823529411764497E-3</c:v>
                </c:pt>
                <c:pt idx="22919">
                  <c:v>-5.8823529411764497E-3</c:v>
                </c:pt>
                <c:pt idx="22920">
                  <c:v>-5.8823529411764497E-3</c:v>
                </c:pt>
                <c:pt idx="22921">
                  <c:v>-5.8823529411764497E-3</c:v>
                </c:pt>
                <c:pt idx="22922">
                  <c:v>-5.8823529411764497E-3</c:v>
                </c:pt>
                <c:pt idx="22923">
                  <c:v>-5.8823529411764497E-3</c:v>
                </c:pt>
                <c:pt idx="22924">
                  <c:v>-5.8823529411764497E-3</c:v>
                </c:pt>
                <c:pt idx="22925">
                  <c:v>-5.8823529411764497E-3</c:v>
                </c:pt>
                <c:pt idx="22926">
                  <c:v>-5.8823529411764497E-3</c:v>
                </c:pt>
                <c:pt idx="22927">
                  <c:v>-5.8823529411764497E-3</c:v>
                </c:pt>
                <c:pt idx="22928">
                  <c:v>-5.8823529411764497E-3</c:v>
                </c:pt>
                <c:pt idx="22929">
                  <c:v>-5.8823529411764497E-3</c:v>
                </c:pt>
                <c:pt idx="22930">
                  <c:v>-5.8823529411764497E-3</c:v>
                </c:pt>
                <c:pt idx="22931">
                  <c:v>-5.8823529411764497E-3</c:v>
                </c:pt>
                <c:pt idx="22932">
                  <c:v>-5.8823529411764497E-3</c:v>
                </c:pt>
                <c:pt idx="22933">
                  <c:v>-5.8823529411764497E-3</c:v>
                </c:pt>
                <c:pt idx="22934">
                  <c:v>-5.8823529411764497E-3</c:v>
                </c:pt>
                <c:pt idx="22935">
                  <c:v>-5.8823529411764497E-3</c:v>
                </c:pt>
                <c:pt idx="22936">
                  <c:v>-5.8823529411764497E-3</c:v>
                </c:pt>
                <c:pt idx="22937">
                  <c:v>-5.8823529411764497E-3</c:v>
                </c:pt>
                <c:pt idx="22938">
                  <c:v>-5.8823529411764497E-3</c:v>
                </c:pt>
                <c:pt idx="22939">
                  <c:v>-5.8823529411764497E-3</c:v>
                </c:pt>
                <c:pt idx="22940">
                  <c:v>-5.8823529411764497E-3</c:v>
                </c:pt>
                <c:pt idx="22941">
                  <c:v>-5.8823529411764497E-3</c:v>
                </c:pt>
                <c:pt idx="22942">
                  <c:v>-5.8823529411764497E-3</c:v>
                </c:pt>
                <c:pt idx="22943">
                  <c:v>-5.8823529411764497E-3</c:v>
                </c:pt>
                <c:pt idx="22944">
                  <c:v>-5.8823529411764497E-3</c:v>
                </c:pt>
                <c:pt idx="22945">
                  <c:v>-5.8823529411764497E-3</c:v>
                </c:pt>
                <c:pt idx="22946">
                  <c:v>-5.8823529411764497E-3</c:v>
                </c:pt>
                <c:pt idx="22947">
                  <c:v>-5.8823529411764497E-3</c:v>
                </c:pt>
                <c:pt idx="22948">
                  <c:v>-5.8823529411764497E-3</c:v>
                </c:pt>
                <c:pt idx="22949">
                  <c:v>-5.8823529411764497E-3</c:v>
                </c:pt>
                <c:pt idx="22950">
                  <c:v>-5.8823529411764497E-3</c:v>
                </c:pt>
                <c:pt idx="22951">
                  <c:v>-5.8823529411764497E-3</c:v>
                </c:pt>
                <c:pt idx="22952">
                  <c:v>-5.8823529411764497E-3</c:v>
                </c:pt>
                <c:pt idx="22953">
                  <c:v>-5.8823529411764497E-3</c:v>
                </c:pt>
                <c:pt idx="22954">
                  <c:v>-5.8823529411764497E-3</c:v>
                </c:pt>
                <c:pt idx="22955">
                  <c:v>-5.8823529411764497E-3</c:v>
                </c:pt>
                <c:pt idx="22956">
                  <c:v>-5.8823529411764497E-3</c:v>
                </c:pt>
                <c:pt idx="22957">
                  <c:v>-5.8823529411764497E-3</c:v>
                </c:pt>
                <c:pt idx="22958">
                  <c:v>-5.8823529411764497E-3</c:v>
                </c:pt>
                <c:pt idx="22959">
                  <c:v>-5.8823529411764497E-3</c:v>
                </c:pt>
                <c:pt idx="22960">
                  <c:v>-5.8823529411764497E-3</c:v>
                </c:pt>
                <c:pt idx="22961">
                  <c:v>-5.8823529411764497E-3</c:v>
                </c:pt>
                <c:pt idx="22962">
                  <c:v>-5.8823529411764497E-3</c:v>
                </c:pt>
                <c:pt idx="22963">
                  <c:v>-5.8823529411764497E-3</c:v>
                </c:pt>
                <c:pt idx="22964">
                  <c:v>-5.8823529411764497E-3</c:v>
                </c:pt>
                <c:pt idx="22965">
                  <c:v>-5.8823529411764497E-3</c:v>
                </c:pt>
                <c:pt idx="22966">
                  <c:v>-5.8823529411764497E-3</c:v>
                </c:pt>
                <c:pt idx="22967">
                  <c:v>-5.8823529411764497E-3</c:v>
                </c:pt>
                <c:pt idx="22968">
                  <c:v>-5.8823529411764497E-3</c:v>
                </c:pt>
                <c:pt idx="22969">
                  <c:v>-5.8823529411764497E-3</c:v>
                </c:pt>
                <c:pt idx="22970">
                  <c:v>-5.8823529411764497E-3</c:v>
                </c:pt>
                <c:pt idx="22971">
                  <c:v>-5.8823529411764497E-3</c:v>
                </c:pt>
                <c:pt idx="22972">
                  <c:v>-5.8823529411764497E-3</c:v>
                </c:pt>
                <c:pt idx="22973">
                  <c:v>-5.8823529411764497E-3</c:v>
                </c:pt>
                <c:pt idx="22974">
                  <c:v>-5.8823529411764497E-3</c:v>
                </c:pt>
                <c:pt idx="22975">
                  <c:v>-5.8823529411764497E-3</c:v>
                </c:pt>
                <c:pt idx="22976">
                  <c:v>-5.8823529411764497E-3</c:v>
                </c:pt>
                <c:pt idx="22977">
                  <c:v>-5.8823529411764497E-3</c:v>
                </c:pt>
                <c:pt idx="22978">
                  <c:v>-5.8823529411764497E-3</c:v>
                </c:pt>
                <c:pt idx="22979">
                  <c:v>-5.8823529411764497E-3</c:v>
                </c:pt>
                <c:pt idx="22980">
                  <c:v>-5.8823529411764497E-3</c:v>
                </c:pt>
                <c:pt idx="22981">
                  <c:v>-5.8823529411764497E-3</c:v>
                </c:pt>
                <c:pt idx="22982">
                  <c:v>-5.8823529411764497E-3</c:v>
                </c:pt>
                <c:pt idx="22983">
                  <c:v>-5.8823529411764497E-3</c:v>
                </c:pt>
                <c:pt idx="22984">
                  <c:v>-5.8823529411764497E-3</c:v>
                </c:pt>
                <c:pt idx="22985">
                  <c:v>-5.8823529411764497E-3</c:v>
                </c:pt>
                <c:pt idx="22986">
                  <c:v>-5.8823529411764497E-3</c:v>
                </c:pt>
                <c:pt idx="22987">
                  <c:v>-5.8823529411764497E-3</c:v>
                </c:pt>
                <c:pt idx="22988">
                  <c:v>-5.8823529411764497E-3</c:v>
                </c:pt>
                <c:pt idx="22989">
                  <c:v>-5.8823529411764497E-3</c:v>
                </c:pt>
                <c:pt idx="22990">
                  <c:v>-6.7226890756302204E-3</c:v>
                </c:pt>
                <c:pt idx="22991">
                  <c:v>-6.7226890756302204E-3</c:v>
                </c:pt>
                <c:pt idx="22992">
                  <c:v>-6.7226890756302204E-3</c:v>
                </c:pt>
                <c:pt idx="22993">
                  <c:v>-6.7226890756302204E-3</c:v>
                </c:pt>
                <c:pt idx="22994">
                  <c:v>-6.7226890756302204E-3</c:v>
                </c:pt>
                <c:pt idx="22995">
                  <c:v>-6.7226890756302204E-3</c:v>
                </c:pt>
                <c:pt idx="22996">
                  <c:v>-6.7226890756302204E-3</c:v>
                </c:pt>
                <c:pt idx="22997">
                  <c:v>-6.7226890756302204E-3</c:v>
                </c:pt>
                <c:pt idx="22998">
                  <c:v>-6.7226890756302204E-3</c:v>
                </c:pt>
                <c:pt idx="22999">
                  <c:v>-6.7226890756302204E-3</c:v>
                </c:pt>
                <c:pt idx="23000">
                  <c:v>-6.7226890756302204E-3</c:v>
                </c:pt>
                <c:pt idx="23001">
                  <c:v>-6.7226890756302204E-3</c:v>
                </c:pt>
                <c:pt idx="23002">
                  <c:v>-6.7226890756302204E-3</c:v>
                </c:pt>
                <c:pt idx="23003">
                  <c:v>-6.7226890756302204E-3</c:v>
                </c:pt>
                <c:pt idx="23004">
                  <c:v>-6.7226890756302204E-3</c:v>
                </c:pt>
                <c:pt idx="23005">
                  <c:v>-6.7226890756302204E-3</c:v>
                </c:pt>
                <c:pt idx="23006">
                  <c:v>-6.7226890756302204E-3</c:v>
                </c:pt>
                <c:pt idx="23007">
                  <c:v>-6.7226890756302204E-3</c:v>
                </c:pt>
                <c:pt idx="23008">
                  <c:v>-6.7226890756302204E-3</c:v>
                </c:pt>
                <c:pt idx="23009">
                  <c:v>-6.7226890756302204E-3</c:v>
                </c:pt>
                <c:pt idx="23010">
                  <c:v>-7.5630252100839998E-3</c:v>
                </c:pt>
                <c:pt idx="23011">
                  <c:v>-7.5630252100839998E-3</c:v>
                </c:pt>
                <c:pt idx="23012">
                  <c:v>-7.5630252100839998E-3</c:v>
                </c:pt>
                <c:pt idx="23013">
                  <c:v>-7.5630252100839998E-3</c:v>
                </c:pt>
                <c:pt idx="23014">
                  <c:v>-7.5630252100839998E-3</c:v>
                </c:pt>
                <c:pt idx="23015">
                  <c:v>-7.5630252100839998E-3</c:v>
                </c:pt>
                <c:pt idx="23016">
                  <c:v>-7.5630252100839998E-3</c:v>
                </c:pt>
                <c:pt idx="23017">
                  <c:v>-7.5630252100839998E-3</c:v>
                </c:pt>
                <c:pt idx="23018">
                  <c:v>-7.5630252100839998E-3</c:v>
                </c:pt>
                <c:pt idx="23019">
                  <c:v>-7.5630252100839998E-3</c:v>
                </c:pt>
                <c:pt idx="23020">
                  <c:v>-7.5630252100839998E-3</c:v>
                </c:pt>
                <c:pt idx="23021">
                  <c:v>-7.5630252100839998E-3</c:v>
                </c:pt>
                <c:pt idx="23022">
                  <c:v>-7.5630252100839998E-3</c:v>
                </c:pt>
                <c:pt idx="23023">
                  <c:v>-7.5630252100839998E-3</c:v>
                </c:pt>
                <c:pt idx="23024">
                  <c:v>-7.5630252100839998E-3</c:v>
                </c:pt>
                <c:pt idx="23025">
                  <c:v>-7.5630252100839998E-3</c:v>
                </c:pt>
                <c:pt idx="23026">
                  <c:v>-7.5630252100839998E-3</c:v>
                </c:pt>
                <c:pt idx="23027">
                  <c:v>-7.5630252100839998E-3</c:v>
                </c:pt>
                <c:pt idx="23028">
                  <c:v>-7.5630252100839998E-3</c:v>
                </c:pt>
                <c:pt idx="23029">
                  <c:v>-7.5630252100839998E-3</c:v>
                </c:pt>
                <c:pt idx="23030">
                  <c:v>-7.5630252100839998E-3</c:v>
                </c:pt>
                <c:pt idx="23031">
                  <c:v>-7.5630252100839998E-3</c:v>
                </c:pt>
                <c:pt idx="23032">
                  <c:v>-7.5630252100839998E-3</c:v>
                </c:pt>
                <c:pt idx="23033">
                  <c:v>-7.5630252100839998E-3</c:v>
                </c:pt>
                <c:pt idx="23034">
                  <c:v>-7.5630252100839998E-3</c:v>
                </c:pt>
                <c:pt idx="23035">
                  <c:v>-7.5630252100839998E-3</c:v>
                </c:pt>
                <c:pt idx="23036">
                  <c:v>-7.5630252100839998E-3</c:v>
                </c:pt>
                <c:pt idx="23037">
                  <c:v>-7.5630252100839998E-3</c:v>
                </c:pt>
                <c:pt idx="23038">
                  <c:v>-7.5630252100839998E-3</c:v>
                </c:pt>
                <c:pt idx="23039">
                  <c:v>-7.5630252100839998E-3</c:v>
                </c:pt>
                <c:pt idx="23040">
                  <c:v>-7.5630252100839998E-3</c:v>
                </c:pt>
                <c:pt idx="23041">
                  <c:v>-7.5630252100839998E-3</c:v>
                </c:pt>
                <c:pt idx="23042">
                  <c:v>-7.5630252100839998E-3</c:v>
                </c:pt>
                <c:pt idx="23043">
                  <c:v>-7.5630252100839998E-3</c:v>
                </c:pt>
                <c:pt idx="23044">
                  <c:v>-7.5630252100839998E-3</c:v>
                </c:pt>
                <c:pt idx="23045">
                  <c:v>-7.5630252100839998E-3</c:v>
                </c:pt>
                <c:pt idx="23046">
                  <c:v>-7.5630252100839998E-3</c:v>
                </c:pt>
                <c:pt idx="23047">
                  <c:v>-7.5630252100839998E-3</c:v>
                </c:pt>
                <c:pt idx="23048">
                  <c:v>-7.5630252100839998E-3</c:v>
                </c:pt>
                <c:pt idx="23049">
                  <c:v>-7.5630252100839998E-3</c:v>
                </c:pt>
                <c:pt idx="23050">
                  <c:v>-7.5630252100839998E-3</c:v>
                </c:pt>
                <c:pt idx="23051">
                  <c:v>-7.5630252100839998E-3</c:v>
                </c:pt>
                <c:pt idx="23052">
                  <c:v>-7.5630252100839998E-3</c:v>
                </c:pt>
                <c:pt idx="23053">
                  <c:v>-7.5630252100839998E-3</c:v>
                </c:pt>
                <c:pt idx="23054">
                  <c:v>-7.5630252100839998E-3</c:v>
                </c:pt>
                <c:pt idx="23055">
                  <c:v>-7.5630252100839998E-3</c:v>
                </c:pt>
                <c:pt idx="23056">
                  <c:v>-7.5630252100839998E-3</c:v>
                </c:pt>
                <c:pt idx="23057">
                  <c:v>-7.5630252100839998E-3</c:v>
                </c:pt>
                <c:pt idx="23058">
                  <c:v>-7.5630252100839998E-3</c:v>
                </c:pt>
                <c:pt idx="23059">
                  <c:v>-7.5630252100839998E-3</c:v>
                </c:pt>
                <c:pt idx="23060">
                  <c:v>-7.5630252100839998E-3</c:v>
                </c:pt>
                <c:pt idx="23061">
                  <c:v>-7.5630252100839998E-3</c:v>
                </c:pt>
                <c:pt idx="23062">
                  <c:v>-7.5630252100839998E-3</c:v>
                </c:pt>
                <c:pt idx="23063">
                  <c:v>-7.5630252100839998E-3</c:v>
                </c:pt>
                <c:pt idx="23064">
                  <c:v>-7.5630252100839998E-3</c:v>
                </c:pt>
                <c:pt idx="23065">
                  <c:v>-7.5630252100839998E-3</c:v>
                </c:pt>
                <c:pt idx="23066">
                  <c:v>-7.5630252100839998E-3</c:v>
                </c:pt>
                <c:pt idx="23067">
                  <c:v>-7.5630252100839998E-3</c:v>
                </c:pt>
                <c:pt idx="23068">
                  <c:v>-7.5630252100839998E-3</c:v>
                </c:pt>
                <c:pt idx="23069">
                  <c:v>-7.5630252100839998E-3</c:v>
                </c:pt>
                <c:pt idx="23070">
                  <c:v>-8.4033613445377801E-3</c:v>
                </c:pt>
                <c:pt idx="23071">
                  <c:v>-8.4033613445377801E-3</c:v>
                </c:pt>
                <c:pt idx="23072">
                  <c:v>-8.4033613445377801E-3</c:v>
                </c:pt>
                <c:pt idx="23073">
                  <c:v>-8.4033613445377801E-3</c:v>
                </c:pt>
                <c:pt idx="23074">
                  <c:v>-8.4033613445377801E-3</c:v>
                </c:pt>
                <c:pt idx="23075">
                  <c:v>-8.4033613445377801E-3</c:v>
                </c:pt>
                <c:pt idx="23076">
                  <c:v>-8.4033613445377801E-3</c:v>
                </c:pt>
                <c:pt idx="23077">
                  <c:v>-8.4033613445377801E-3</c:v>
                </c:pt>
                <c:pt idx="23078">
                  <c:v>-8.4033613445377801E-3</c:v>
                </c:pt>
                <c:pt idx="23079">
                  <c:v>-8.4033613445377801E-3</c:v>
                </c:pt>
                <c:pt idx="23080">
                  <c:v>-8.4033613445377801E-3</c:v>
                </c:pt>
                <c:pt idx="23081">
                  <c:v>-8.4033613445377801E-3</c:v>
                </c:pt>
                <c:pt idx="23082">
                  <c:v>-8.4033613445377801E-3</c:v>
                </c:pt>
                <c:pt idx="23083">
                  <c:v>-8.4033613445377801E-3</c:v>
                </c:pt>
                <c:pt idx="23084">
                  <c:v>-8.4033613445377801E-3</c:v>
                </c:pt>
                <c:pt idx="23085">
                  <c:v>-8.4033613445377801E-3</c:v>
                </c:pt>
                <c:pt idx="23086">
                  <c:v>-8.4033613445377801E-3</c:v>
                </c:pt>
                <c:pt idx="23087">
                  <c:v>-8.4033613445377801E-3</c:v>
                </c:pt>
                <c:pt idx="23088">
                  <c:v>-8.4033613445377801E-3</c:v>
                </c:pt>
                <c:pt idx="23089">
                  <c:v>-8.4033613445377801E-3</c:v>
                </c:pt>
                <c:pt idx="23090">
                  <c:v>-8.4033613445377801E-3</c:v>
                </c:pt>
                <c:pt idx="23091">
                  <c:v>-8.4033613445377801E-3</c:v>
                </c:pt>
                <c:pt idx="23092">
                  <c:v>-8.4033613445377801E-3</c:v>
                </c:pt>
                <c:pt idx="23093">
                  <c:v>-8.4033613445377801E-3</c:v>
                </c:pt>
                <c:pt idx="23094">
                  <c:v>-8.4033613445377801E-3</c:v>
                </c:pt>
                <c:pt idx="23095">
                  <c:v>-8.4033613445377801E-3</c:v>
                </c:pt>
                <c:pt idx="23096">
                  <c:v>-8.4033613445377801E-3</c:v>
                </c:pt>
                <c:pt idx="23097">
                  <c:v>-8.4033613445377801E-3</c:v>
                </c:pt>
                <c:pt idx="23098">
                  <c:v>-8.4033613445377801E-3</c:v>
                </c:pt>
                <c:pt idx="23099">
                  <c:v>-8.4033613445377801E-3</c:v>
                </c:pt>
                <c:pt idx="23100">
                  <c:v>-8.4033613445377801E-3</c:v>
                </c:pt>
                <c:pt idx="23101">
                  <c:v>-8.4033613445377801E-3</c:v>
                </c:pt>
                <c:pt idx="23102">
                  <c:v>-8.4033613445377801E-3</c:v>
                </c:pt>
                <c:pt idx="23103">
                  <c:v>-8.4033613445377801E-3</c:v>
                </c:pt>
                <c:pt idx="23104">
                  <c:v>-8.4033613445377801E-3</c:v>
                </c:pt>
                <c:pt idx="23105">
                  <c:v>-8.4033613445377801E-3</c:v>
                </c:pt>
                <c:pt idx="23106">
                  <c:v>-8.4033613445377801E-3</c:v>
                </c:pt>
                <c:pt idx="23107">
                  <c:v>-8.4033613445377801E-3</c:v>
                </c:pt>
                <c:pt idx="23108">
                  <c:v>-8.4033613445377801E-3</c:v>
                </c:pt>
                <c:pt idx="23109">
                  <c:v>-8.4033613445377801E-3</c:v>
                </c:pt>
                <c:pt idx="23110">
                  <c:v>-8.4033613445377801E-3</c:v>
                </c:pt>
                <c:pt idx="23111">
                  <c:v>-8.4033613445377801E-3</c:v>
                </c:pt>
                <c:pt idx="23112">
                  <c:v>-8.4033613445377801E-3</c:v>
                </c:pt>
                <c:pt idx="23113">
                  <c:v>-8.4033613445377801E-3</c:v>
                </c:pt>
                <c:pt idx="23114">
                  <c:v>-8.4033613445377801E-3</c:v>
                </c:pt>
                <c:pt idx="23115">
                  <c:v>-8.4033613445377801E-3</c:v>
                </c:pt>
                <c:pt idx="23116">
                  <c:v>-8.4033613445377801E-3</c:v>
                </c:pt>
                <c:pt idx="23117">
                  <c:v>-8.4033613445377801E-3</c:v>
                </c:pt>
                <c:pt idx="23118">
                  <c:v>-8.4033613445377801E-3</c:v>
                </c:pt>
                <c:pt idx="23119">
                  <c:v>-8.4033613445377801E-3</c:v>
                </c:pt>
                <c:pt idx="23120">
                  <c:v>-8.4033613445377801E-3</c:v>
                </c:pt>
                <c:pt idx="23121">
                  <c:v>-8.4033613445377801E-3</c:v>
                </c:pt>
                <c:pt idx="23122">
                  <c:v>-8.4033613445377801E-3</c:v>
                </c:pt>
                <c:pt idx="23123">
                  <c:v>-8.4033613445377801E-3</c:v>
                </c:pt>
                <c:pt idx="23124">
                  <c:v>-8.4033613445377801E-3</c:v>
                </c:pt>
                <c:pt idx="23125">
                  <c:v>-8.4033613445377801E-3</c:v>
                </c:pt>
                <c:pt idx="23126">
                  <c:v>-8.4033613445377801E-3</c:v>
                </c:pt>
                <c:pt idx="23127">
                  <c:v>-8.4033613445377801E-3</c:v>
                </c:pt>
                <c:pt idx="23128">
                  <c:v>-8.4033613445377801E-3</c:v>
                </c:pt>
                <c:pt idx="23129">
                  <c:v>-8.4033613445377801E-3</c:v>
                </c:pt>
                <c:pt idx="23130">
                  <c:v>-8.4033613445377801E-3</c:v>
                </c:pt>
                <c:pt idx="23131">
                  <c:v>-8.4033613445377801E-3</c:v>
                </c:pt>
                <c:pt idx="23132">
                  <c:v>-8.4033613445377801E-3</c:v>
                </c:pt>
                <c:pt idx="23133">
                  <c:v>-8.4033613445377801E-3</c:v>
                </c:pt>
                <c:pt idx="23134">
                  <c:v>-8.4033613445377801E-3</c:v>
                </c:pt>
                <c:pt idx="23135">
                  <c:v>-8.4033613445377801E-3</c:v>
                </c:pt>
                <c:pt idx="23136">
                  <c:v>-8.4033613445377801E-3</c:v>
                </c:pt>
                <c:pt idx="23137">
                  <c:v>-8.4033613445377801E-3</c:v>
                </c:pt>
                <c:pt idx="23138">
                  <c:v>-8.4033613445377801E-3</c:v>
                </c:pt>
                <c:pt idx="23139">
                  <c:v>-8.4033613445377801E-3</c:v>
                </c:pt>
                <c:pt idx="23140">
                  <c:v>-9.2436974789915603E-3</c:v>
                </c:pt>
                <c:pt idx="23141">
                  <c:v>-9.2436974789915603E-3</c:v>
                </c:pt>
                <c:pt idx="23142">
                  <c:v>-9.2436974789915603E-3</c:v>
                </c:pt>
                <c:pt idx="23143">
                  <c:v>-9.2436974789915603E-3</c:v>
                </c:pt>
                <c:pt idx="23144">
                  <c:v>-9.2436974789915603E-3</c:v>
                </c:pt>
                <c:pt idx="23145">
                  <c:v>-9.2436974789915603E-3</c:v>
                </c:pt>
                <c:pt idx="23146">
                  <c:v>-9.2436974789915603E-3</c:v>
                </c:pt>
                <c:pt idx="23147">
                  <c:v>-9.2436974789915603E-3</c:v>
                </c:pt>
                <c:pt idx="23148">
                  <c:v>-9.2436974789915603E-3</c:v>
                </c:pt>
                <c:pt idx="23149">
                  <c:v>-9.2436974789915603E-3</c:v>
                </c:pt>
                <c:pt idx="23150">
                  <c:v>-9.2436974789915603E-3</c:v>
                </c:pt>
                <c:pt idx="23151">
                  <c:v>-9.2436974789915603E-3</c:v>
                </c:pt>
                <c:pt idx="23152">
                  <c:v>-9.2436974789915603E-3</c:v>
                </c:pt>
                <c:pt idx="23153">
                  <c:v>-9.2436974789915603E-3</c:v>
                </c:pt>
                <c:pt idx="23154">
                  <c:v>-9.2436974789915603E-3</c:v>
                </c:pt>
                <c:pt idx="23155">
                  <c:v>-9.2436974789915603E-3</c:v>
                </c:pt>
                <c:pt idx="23156">
                  <c:v>-9.2436974789915603E-3</c:v>
                </c:pt>
                <c:pt idx="23157">
                  <c:v>-9.2436974789915603E-3</c:v>
                </c:pt>
                <c:pt idx="23158">
                  <c:v>-9.2436974789915603E-3</c:v>
                </c:pt>
                <c:pt idx="23159">
                  <c:v>-9.2436974789915603E-3</c:v>
                </c:pt>
                <c:pt idx="23160">
                  <c:v>-9.2436974789915603E-3</c:v>
                </c:pt>
                <c:pt idx="23161">
                  <c:v>-9.2436974789915603E-3</c:v>
                </c:pt>
                <c:pt idx="23162">
                  <c:v>-9.2436974789915603E-3</c:v>
                </c:pt>
                <c:pt idx="23163">
                  <c:v>-9.2436974789915603E-3</c:v>
                </c:pt>
                <c:pt idx="23164">
                  <c:v>-9.2436974789915603E-3</c:v>
                </c:pt>
                <c:pt idx="23165">
                  <c:v>-9.2436974789915603E-3</c:v>
                </c:pt>
                <c:pt idx="23166">
                  <c:v>-9.2436974789915603E-3</c:v>
                </c:pt>
                <c:pt idx="23167">
                  <c:v>-9.2436974789915603E-3</c:v>
                </c:pt>
                <c:pt idx="23168">
                  <c:v>-9.2436974789915603E-3</c:v>
                </c:pt>
                <c:pt idx="23169">
                  <c:v>-9.2436974789915603E-3</c:v>
                </c:pt>
                <c:pt idx="23170">
                  <c:v>-9.2436974789915603E-3</c:v>
                </c:pt>
                <c:pt idx="23171">
                  <c:v>-9.2436974789915603E-3</c:v>
                </c:pt>
                <c:pt idx="23172">
                  <c:v>-9.2436974789915603E-3</c:v>
                </c:pt>
                <c:pt idx="23173">
                  <c:v>-9.2436974789915603E-3</c:v>
                </c:pt>
                <c:pt idx="23174">
                  <c:v>-9.2436974789915603E-3</c:v>
                </c:pt>
                <c:pt idx="23175">
                  <c:v>-9.2436974789915603E-3</c:v>
                </c:pt>
                <c:pt idx="23176">
                  <c:v>-9.2436974789915603E-3</c:v>
                </c:pt>
                <c:pt idx="23177">
                  <c:v>-9.2436974789915603E-3</c:v>
                </c:pt>
                <c:pt idx="23178">
                  <c:v>-9.2436974789915603E-3</c:v>
                </c:pt>
                <c:pt idx="23179">
                  <c:v>-8.4033613445377801E-3</c:v>
                </c:pt>
                <c:pt idx="23180">
                  <c:v>-8.4033613445377801E-3</c:v>
                </c:pt>
                <c:pt idx="23181">
                  <c:v>-8.4033613445377801E-3</c:v>
                </c:pt>
                <c:pt idx="23182">
                  <c:v>-8.4033613445377801E-3</c:v>
                </c:pt>
                <c:pt idx="23183">
                  <c:v>-8.4033613445377801E-3</c:v>
                </c:pt>
                <c:pt idx="23184">
                  <c:v>-8.4033613445377801E-3</c:v>
                </c:pt>
                <c:pt idx="23185">
                  <c:v>-8.4033613445377801E-3</c:v>
                </c:pt>
                <c:pt idx="23186">
                  <c:v>-8.4033613445377801E-3</c:v>
                </c:pt>
                <c:pt idx="23187">
                  <c:v>-8.4033613445377801E-3</c:v>
                </c:pt>
                <c:pt idx="23188">
                  <c:v>-8.4033613445377801E-3</c:v>
                </c:pt>
                <c:pt idx="23189">
                  <c:v>-8.4033613445377801E-3</c:v>
                </c:pt>
                <c:pt idx="23190">
                  <c:v>-8.4033613445377801E-3</c:v>
                </c:pt>
                <c:pt idx="23191">
                  <c:v>-8.4033613445377801E-3</c:v>
                </c:pt>
                <c:pt idx="23192">
                  <c:v>-8.4033613445377801E-3</c:v>
                </c:pt>
                <c:pt idx="23193">
                  <c:v>-8.4033613445377801E-3</c:v>
                </c:pt>
                <c:pt idx="23194">
                  <c:v>-8.4033613445377801E-3</c:v>
                </c:pt>
                <c:pt idx="23195">
                  <c:v>-8.4033613445377801E-3</c:v>
                </c:pt>
                <c:pt idx="23196">
                  <c:v>-8.4033613445377801E-3</c:v>
                </c:pt>
                <c:pt idx="23197">
                  <c:v>-8.4033613445377801E-3</c:v>
                </c:pt>
                <c:pt idx="23198">
                  <c:v>-8.4033613445377801E-3</c:v>
                </c:pt>
                <c:pt idx="23199">
                  <c:v>-8.4033613445377801E-3</c:v>
                </c:pt>
                <c:pt idx="23200">
                  <c:v>-8.4033613445377801E-3</c:v>
                </c:pt>
                <c:pt idx="23201">
                  <c:v>-8.4033613445377801E-3</c:v>
                </c:pt>
                <c:pt idx="23202">
                  <c:v>-8.4033613445377801E-3</c:v>
                </c:pt>
                <c:pt idx="23203">
                  <c:v>-8.4033613445377801E-3</c:v>
                </c:pt>
                <c:pt idx="23204">
                  <c:v>-8.4033613445377801E-3</c:v>
                </c:pt>
                <c:pt idx="23205">
                  <c:v>-8.4033613445377801E-3</c:v>
                </c:pt>
                <c:pt idx="23206">
                  <c:v>-8.4033613445377801E-3</c:v>
                </c:pt>
                <c:pt idx="23207">
                  <c:v>-8.4033613445377801E-3</c:v>
                </c:pt>
                <c:pt idx="23208">
                  <c:v>-8.4033613445377801E-3</c:v>
                </c:pt>
                <c:pt idx="23209">
                  <c:v>-8.4033613445377801E-3</c:v>
                </c:pt>
                <c:pt idx="23210">
                  <c:v>-8.4033613445377801E-3</c:v>
                </c:pt>
                <c:pt idx="23211">
                  <c:v>-8.4033613445377801E-3</c:v>
                </c:pt>
                <c:pt idx="23212">
                  <c:v>-8.4033613445377801E-3</c:v>
                </c:pt>
                <c:pt idx="23213">
                  <c:v>-8.4033613445377801E-3</c:v>
                </c:pt>
                <c:pt idx="23214">
                  <c:v>-8.4033613445377801E-3</c:v>
                </c:pt>
                <c:pt idx="23215">
                  <c:v>-8.4033613445377801E-3</c:v>
                </c:pt>
                <c:pt idx="23216">
                  <c:v>-8.4033613445377801E-3</c:v>
                </c:pt>
                <c:pt idx="23217">
                  <c:v>-8.4033613445377801E-3</c:v>
                </c:pt>
                <c:pt idx="23218">
                  <c:v>-8.4033613445377801E-3</c:v>
                </c:pt>
                <c:pt idx="23219">
                  <c:v>-8.4033613445377801E-3</c:v>
                </c:pt>
                <c:pt idx="23220">
                  <c:v>-8.4033613445377801E-3</c:v>
                </c:pt>
                <c:pt idx="23221">
                  <c:v>-8.4033613445377801E-3</c:v>
                </c:pt>
                <c:pt idx="23222">
                  <c:v>-8.4033613445377801E-3</c:v>
                </c:pt>
                <c:pt idx="23223">
                  <c:v>-8.4033613445377801E-3</c:v>
                </c:pt>
                <c:pt idx="23224">
                  <c:v>-8.4033613445377801E-3</c:v>
                </c:pt>
                <c:pt idx="23225">
                  <c:v>-8.4033613445377801E-3</c:v>
                </c:pt>
                <c:pt idx="23226">
                  <c:v>-8.4033613445377801E-3</c:v>
                </c:pt>
                <c:pt idx="23227">
                  <c:v>-8.4033613445377801E-3</c:v>
                </c:pt>
                <c:pt idx="23228">
                  <c:v>-8.4033613445377801E-3</c:v>
                </c:pt>
                <c:pt idx="23229">
                  <c:v>-8.4033613445377801E-3</c:v>
                </c:pt>
                <c:pt idx="23230">
                  <c:v>-8.4033613445377801E-3</c:v>
                </c:pt>
                <c:pt idx="23231">
                  <c:v>-8.4033613445377801E-3</c:v>
                </c:pt>
                <c:pt idx="23232">
                  <c:v>-9.2436974789915603E-3</c:v>
                </c:pt>
                <c:pt idx="23233">
                  <c:v>-9.2436974789915603E-3</c:v>
                </c:pt>
                <c:pt idx="23234">
                  <c:v>-9.2436974789915603E-3</c:v>
                </c:pt>
                <c:pt idx="23235">
                  <c:v>-9.2436974789915603E-3</c:v>
                </c:pt>
                <c:pt idx="23236">
                  <c:v>-9.2436974789915603E-3</c:v>
                </c:pt>
                <c:pt idx="23237">
                  <c:v>-9.2436974789915603E-3</c:v>
                </c:pt>
                <c:pt idx="23238">
                  <c:v>-9.2436974789915603E-3</c:v>
                </c:pt>
                <c:pt idx="23239">
                  <c:v>-9.2436974789915603E-3</c:v>
                </c:pt>
                <c:pt idx="23240">
                  <c:v>-9.2436974789915603E-3</c:v>
                </c:pt>
                <c:pt idx="23241">
                  <c:v>-9.2436974789915603E-3</c:v>
                </c:pt>
                <c:pt idx="23242">
                  <c:v>-9.2436974789915603E-3</c:v>
                </c:pt>
                <c:pt idx="23243">
                  <c:v>-9.2436974789915603E-3</c:v>
                </c:pt>
                <c:pt idx="23244">
                  <c:v>-9.2436974789915603E-3</c:v>
                </c:pt>
                <c:pt idx="23245">
                  <c:v>-9.2436974789915603E-3</c:v>
                </c:pt>
                <c:pt idx="23246">
                  <c:v>-9.2436974789915603E-3</c:v>
                </c:pt>
                <c:pt idx="23247">
                  <c:v>-9.2436974789915603E-3</c:v>
                </c:pt>
                <c:pt idx="23248">
                  <c:v>-9.2436974789915603E-3</c:v>
                </c:pt>
                <c:pt idx="23249">
                  <c:v>-9.2436974789915603E-3</c:v>
                </c:pt>
                <c:pt idx="23250">
                  <c:v>-9.2436974789915603E-3</c:v>
                </c:pt>
                <c:pt idx="23251">
                  <c:v>-9.2436974789915603E-3</c:v>
                </c:pt>
                <c:pt idx="23252">
                  <c:v>-9.2436974789915603E-3</c:v>
                </c:pt>
                <c:pt idx="23253">
                  <c:v>-9.2436974789915603E-3</c:v>
                </c:pt>
                <c:pt idx="23254">
                  <c:v>-9.2436974789915603E-3</c:v>
                </c:pt>
                <c:pt idx="23255">
                  <c:v>-9.2436974789915603E-3</c:v>
                </c:pt>
                <c:pt idx="23256">
                  <c:v>-9.2436974789915603E-3</c:v>
                </c:pt>
                <c:pt idx="23257">
                  <c:v>-9.2436974789915603E-3</c:v>
                </c:pt>
                <c:pt idx="23258">
                  <c:v>-9.2436974789915603E-3</c:v>
                </c:pt>
                <c:pt idx="23259">
                  <c:v>-9.2436974789915603E-3</c:v>
                </c:pt>
                <c:pt idx="23260">
                  <c:v>-9.2436974789915603E-3</c:v>
                </c:pt>
                <c:pt idx="23261">
                  <c:v>-9.2436974789915603E-3</c:v>
                </c:pt>
                <c:pt idx="23262">
                  <c:v>-9.2436974789915603E-3</c:v>
                </c:pt>
                <c:pt idx="23263">
                  <c:v>-9.2436974789915603E-3</c:v>
                </c:pt>
                <c:pt idx="23264">
                  <c:v>-1.0084033613445301E-2</c:v>
                </c:pt>
                <c:pt idx="23265">
                  <c:v>-1.0084033613445301E-2</c:v>
                </c:pt>
                <c:pt idx="23266">
                  <c:v>-1.0084033613445301E-2</c:v>
                </c:pt>
                <c:pt idx="23267">
                  <c:v>-1.0084033613445301E-2</c:v>
                </c:pt>
                <c:pt idx="23268">
                  <c:v>-1.0084033613445301E-2</c:v>
                </c:pt>
                <c:pt idx="23269">
                  <c:v>-1.0084033613445301E-2</c:v>
                </c:pt>
                <c:pt idx="23270">
                  <c:v>-1.0084033613445301E-2</c:v>
                </c:pt>
                <c:pt idx="23271">
                  <c:v>-1.0084033613445301E-2</c:v>
                </c:pt>
                <c:pt idx="23272">
                  <c:v>-1.0084033613445301E-2</c:v>
                </c:pt>
                <c:pt idx="23273">
                  <c:v>-1.0084033613445301E-2</c:v>
                </c:pt>
                <c:pt idx="23274">
                  <c:v>-1.0084033613445301E-2</c:v>
                </c:pt>
                <c:pt idx="23275">
                  <c:v>-1.09243697478991E-2</c:v>
                </c:pt>
                <c:pt idx="23276">
                  <c:v>-1.09243697478991E-2</c:v>
                </c:pt>
                <c:pt idx="23277">
                  <c:v>-1.09243697478991E-2</c:v>
                </c:pt>
                <c:pt idx="23278">
                  <c:v>-1.09243697478991E-2</c:v>
                </c:pt>
                <c:pt idx="23279">
                  <c:v>-1.09243697478991E-2</c:v>
                </c:pt>
                <c:pt idx="23280">
                  <c:v>-1.09243697478991E-2</c:v>
                </c:pt>
                <c:pt idx="23281">
                  <c:v>-1.09243697478991E-2</c:v>
                </c:pt>
                <c:pt idx="23282">
                  <c:v>-1.09243697478991E-2</c:v>
                </c:pt>
                <c:pt idx="23283">
                  <c:v>-1.09243697478991E-2</c:v>
                </c:pt>
                <c:pt idx="23284">
                  <c:v>-1.09243697478991E-2</c:v>
                </c:pt>
                <c:pt idx="23285">
                  <c:v>-1.09243697478991E-2</c:v>
                </c:pt>
                <c:pt idx="23286">
                  <c:v>-1.09243697478991E-2</c:v>
                </c:pt>
                <c:pt idx="23287">
                  <c:v>-1.09243697478991E-2</c:v>
                </c:pt>
                <c:pt idx="23288">
                  <c:v>-1.09243697478991E-2</c:v>
                </c:pt>
                <c:pt idx="23289">
                  <c:v>-1.09243697478991E-2</c:v>
                </c:pt>
                <c:pt idx="23290">
                  <c:v>-1.09243697478991E-2</c:v>
                </c:pt>
                <c:pt idx="23291">
                  <c:v>-1.09243697478991E-2</c:v>
                </c:pt>
                <c:pt idx="23292">
                  <c:v>-1.09243697478991E-2</c:v>
                </c:pt>
                <c:pt idx="23293">
                  <c:v>-1.09243697478991E-2</c:v>
                </c:pt>
                <c:pt idx="23294">
                  <c:v>-1.09243697478991E-2</c:v>
                </c:pt>
                <c:pt idx="23295">
                  <c:v>-1.1764705882352899E-2</c:v>
                </c:pt>
                <c:pt idx="23296">
                  <c:v>-1.1764705882352899E-2</c:v>
                </c:pt>
                <c:pt idx="23297">
                  <c:v>-1.1764705882352899E-2</c:v>
                </c:pt>
                <c:pt idx="23298">
                  <c:v>-1.1764705882352899E-2</c:v>
                </c:pt>
                <c:pt idx="23299">
                  <c:v>-1.1764705882352899E-2</c:v>
                </c:pt>
                <c:pt idx="23300">
                  <c:v>-1.1764705882352899E-2</c:v>
                </c:pt>
                <c:pt idx="23301">
                  <c:v>-1.1764705882352899E-2</c:v>
                </c:pt>
                <c:pt idx="23302">
                  <c:v>-1.1764705882352899E-2</c:v>
                </c:pt>
                <c:pt idx="23303">
                  <c:v>-1.26050420168066E-2</c:v>
                </c:pt>
                <c:pt idx="23304">
                  <c:v>-1.26050420168066E-2</c:v>
                </c:pt>
                <c:pt idx="23305">
                  <c:v>-1.26050420168066E-2</c:v>
                </c:pt>
                <c:pt idx="23306">
                  <c:v>-1.3445378151260399E-2</c:v>
                </c:pt>
                <c:pt idx="23307">
                  <c:v>-1.3445378151260399E-2</c:v>
                </c:pt>
                <c:pt idx="23308">
                  <c:v>-1.3445378151260399E-2</c:v>
                </c:pt>
                <c:pt idx="23309">
                  <c:v>-1.3445378151260399E-2</c:v>
                </c:pt>
                <c:pt idx="23310">
                  <c:v>-1.3445378151260399E-2</c:v>
                </c:pt>
                <c:pt idx="23311">
                  <c:v>-1.3445378151260399E-2</c:v>
                </c:pt>
                <c:pt idx="23312">
                  <c:v>-1.3445378151260399E-2</c:v>
                </c:pt>
                <c:pt idx="23313">
                  <c:v>-1.3445378151260399E-2</c:v>
                </c:pt>
                <c:pt idx="23314">
                  <c:v>-1.3445378151260399E-2</c:v>
                </c:pt>
                <c:pt idx="23315">
                  <c:v>-1.3445378151260399E-2</c:v>
                </c:pt>
                <c:pt idx="23316">
                  <c:v>-1.3445378151260399E-2</c:v>
                </c:pt>
                <c:pt idx="23317">
                  <c:v>-1.3445378151260399E-2</c:v>
                </c:pt>
                <c:pt idx="23318">
                  <c:v>-1.3445378151260399E-2</c:v>
                </c:pt>
                <c:pt idx="23319">
                  <c:v>-1.3445378151260399E-2</c:v>
                </c:pt>
                <c:pt idx="23320">
                  <c:v>-1.26050420168066E-2</c:v>
                </c:pt>
                <c:pt idx="23321">
                  <c:v>-1.26050420168066E-2</c:v>
                </c:pt>
                <c:pt idx="23322">
                  <c:v>-1.26050420168066E-2</c:v>
                </c:pt>
                <c:pt idx="23323">
                  <c:v>-1.26050420168066E-2</c:v>
                </c:pt>
                <c:pt idx="23324">
                  <c:v>-1.26050420168066E-2</c:v>
                </c:pt>
                <c:pt idx="23325">
                  <c:v>-1.26050420168066E-2</c:v>
                </c:pt>
                <c:pt idx="23326">
                  <c:v>-1.26050420168066E-2</c:v>
                </c:pt>
                <c:pt idx="23327">
                  <c:v>-1.26050420168066E-2</c:v>
                </c:pt>
                <c:pt idx="23328">
                  <c:v>-1.26050420168066E-2</c:v>
                </c:pt>
                <c:pt idx="23329">
                  <c:v>-1.26050420168066E-2</c:v>
                </c:pt>
                <c:pt idx="23330">
                  <c:v>-1.26050420168066E-2</c:v>
                </c:pt>
                <c:pt idx="23331">
                  <c:v>-1.26050420168066E-2</c:v>
                </c:pt>
                <c:pt idx="23332">
                  <c:v>-1.26050420168066E-2</c:v>
                </c:pt>
                <c:pt idx="23333">
                  <c:v>-1.26050420168066E-2</c:v>
                </c:pt>
                <c:pt idx="23334">
                  <c:v>-1.26050420168066E-2</c:v>
                </c:pt>
                <c:pt idx="23335">
                  <c:v>-1.26050420168066E-2</c:v>
                </c:pt>
                <c:pt idx="23336">
                  <c:v>-1.26050420168066E-2</c:v>
                </c:pt>
                <c:pt idx="23337">
                  <c:v>-1.26050420168066E-2</c:v>
                </c:pt>
                <c:pt idx="23338">
                  <c:v>-1.26050420168066E-2</c:v>
                </c:pt>
                <c:pt idx="23339">
                  <c:v>-1.26050420168066E-2</c:v>
                </c:pt>
                <c:pt idx="23340">
                  <c:v>-1.26050420168066E-2</c:v>
                </c:pt>
                <c:pt idx="23341">
                  <c:v>-1.26050420168066E-2</c:v>
                </c:pt>
                <c:pt idx="23342">
                  <c:v>-1.26050420168066E-2</c:v>
                </c:pt>
                <c:pt idx="23343">
                  <c:v>-1.26050420168066E-2</c:v>
                </c:pt>
                <c:pt idx="23344">
                  <c:v>-1.26050420168066E-2</c:v>
                </c:pt>
                <c:pt idx="23345">
                  <c:v>-1.26050420168066E-2</c:v>
                </c:pt>
                <c:pt idx="23346">
                  <c:v>-1.26050420168066E-2</c:v>
                </c:pt>
                <c:pt idx="23347">
                  <c:v>-1.26050420168066E-2</c:v>
                </c:pt>
                <c:pt idx="23348">
                  <c:v>-1.26050420168066E-2</c:v>
                </c:pt>
                <c:pt idx="23349">
                  <c:v>-1.26050420168066E-2</c:v>
                </c:pt>
                <c:pt idx="23350">
                  <c:v>-1.26050420168066E-2</c:v>
                </c:pt>
                <c:pt idx="23351">
                  <c:v>-1.26050420168066E-2</c:v>
                </c:pt>
                <c:pt idx="23352">
                  <c:v>-1.26050420168066E-2</c:v>
                </c:pt>
                <c:pt idx="23353">
                  <c:v>-1.26050420168066E-2</c:v>
                </c:pt>
                <c:pt idx="23354">
                  <c:v>-1.26050420168066E-2</c:v>
                </c:pt>
                <c:pt idx="23355">
                  <c:v>-1.26050420168066E-2</c:v>
                </c:pt>
                <c:pt idx="23356">
                  <c:v>-1.26050420168066E-2</c:v>
                </c:pt>
                <c:pt idx="23357">
                  <c:v>-1.26050420168066E-2</c:v>
                </c:pt>
                <c:pt idx="23358">
                  <c:v>-1.26050420168066E-2</c:v>
                </c:pt>
                <c:pt idx="23359">
                  <c:v>-1.26050420168066E-2</c:v>
                </c:pt>
                <c:pt idx="23360">
                  <c:v>-1.26050420168066E-2</c:v>
                </c:pt>
                <c:pt idx="23361">
                  <c:v>-1.26050420168066E-2</c:v>
                </c:pt>
                <c:pt idx="23362">
                  <c:v>-1.26050420168066E-2</c:v>
                </c:pt>
                <c:pt idx="23363">
                  <c:v>-1.26050420168066E-2</c:v>
                </c:pt>
                <c:pt idx="23364">
                  <c:v>-1.26050420168066E-2</c:v>
                </c:pt>
                <c:pt idx="23365">
                  <c:v>-1.26050420168066E-2</c:v>
                </c:pt>
                <c:pt idx="23366">
                  <c:v>-1.26050420168066E-2</c:v>
                </c:pt>
                <c:pt idx="23367">
                  <c:v>-1.26050420168066E-2</c:v>
                </c:pt>
                <c:pt idx="23368">
                  <c:v>-1.26050420168066E-2</c:v>
                </c:pt>
                <c:pt idx="23369">
                  <c:v>-1.26050420168066E-2</c:v>
                </c:pt>
                <c:pt idx="23370">
                  <c:v>-1.26050420168066E-2</c:v>
                </c:pt>
                <c:pt idx="23371">
                  <c:v>-1.26050420168066E-2</c:v>
                </c:pt>
                <c:pt idx="23372">
                  <c:v>-1.26050420168066E-2</c:v>
                </c:pt>
                <c:pt idx="23373">
                  <c:v>-1.26050420168066E-2</c:v>
                </c:pt>
                <c:pt idx="23374">
                  <c:v>-1.26050420168066E-2</c:v>
                </c:pt>
                <c:pt idx="23375">
                  <c:v>-1.26050420168066E-2</c:v>
                </c:pt>
                <c:pt idx="23376">
                  <c:v>-1.26050420168066E-2</c:v>
                </c:pt>
                <c:pt idx="23377">
                  <c:v>-1.26050420168066E-2</c:v>
                </c:pt>
                <c:pt idx="23378">
                  <c:v>-1.26050420168066E-2</c:v>
                </c:pt>
                <c:pt idx="23379">
                  <c:v>-1.26050420168066E-2</c:v>
                </c:pt>
                <c:pt idx="23380">
                  <c:v>-1.26050420168066E-2</c:v>
                </c:pt>
                <c:pt idx="23381">
                  <c:v>-1.26050420168066E-2</c:v>
                </c:pt>
                <c:pt idx="23382">
                  <c:v>-1.26050420168066E-2</c:v>
                </c:pt>
                <c:pt idx="23383">
                  <c:v>-1.26050420168066E-2</c:v>
                </c:pt>
                <c:pt idx="23384">
                  <c:v>-1.26050420168066E-2</c:v>
                </c:pt>
                <c:pt idx="23385">
                  <c:v>-1.26050420168066E-2</c:v>
                </c:pt>
                <c:pt idx="23386">
                  <c:v>-1.26050420168066E-2</c:v>
                </c:pt>
                <c:pt idx="23387">
                  <c:v>-1.26050420168066E-2</c:v>
                </c:pt>
                <c:pt idx="23388">
                  <c:v>-1.26050420168066E-2</c:v>
                </c:pt>
                <c:pt idx="23389">
                  <c:v>-1.26050420168066E-2</c:v>
                </c:pt>
                <c:pt idx="23390">
                  <c:v>-1.26050420168066E-2</c:v>
                </c:pt>
                <c:pt idx="23391">
                  <c:v>-1.26050420168066E-2</c:v>
                </c:pt>
                <c:pt idx="23392">
                  <c:v>-1.26050420168066E-2</c:v>
                </c:pt>
                <c:pt idx="23393">
                  <c:v>-1.26050420168066E-2</c:v>
                </c:pt>
                <c:pt idx="23394">
                  <c:v>-1.26050420168066E-2</c:v>
                </c:pt>
                <c:pt idx="23395">
                  <c:v>-1.26050420168066E-2</c:v>
                </c:pt>
                <c:pt idx="23396">
                  <c:v>-1.1764705882352899E-2</c:v>
                </c:pt>
                <c:pt idx="23397">
                  <c:v>-1.1764705882352899E-2</c:v>
                </c:pt>
                <c:pt idx="23398">
                  <c:v>-1.1764705882352899E-2</c:v>
                </c:pt>
                <c:pt idx="23399">
                  <c:v>-1.1764705882352899E-2</c:v>
                </c:pt>
                <c:pt idx="23400">
                  <c:v>-1.1764705882352899E-2</c:v>
                </c:pt>
                <c:pt idx="23401">
                  <c:v>-1.1764705882352899E-2</c:v>
                </c:pt>
                <c:pt idx="23402">
                  <c:v>-1.1764705882352899E-2</c:v>
                </c:pt>
                <c:pt idx="23403">
                  <c:v>-1.1764705882352899E-2</c:v>
                </c:pt>
                <c:pt idx="23404">
                  <c:v>-1.1764705882352899E-2</c:v>
                </c:pt>
                <c:pt idx="23405">
                  <c:v>-1.1764705882352899E-2</c:v>
                </c:pt>
                <c:pt idx="23406">
                  <c:v>-1.1764705882352899E-2</c:v>
                </c:pt>
                <c:pt idx="23407">
                  <c:v>-1.1764705882352899E-2</c:v>
                </c:pt>
                <c:pt idx="23408">
                  <c:v>-1.1764705882352899E-2</c:v>
                </c:pt>
                <c:pt idx="23409">
                  <c:v>-1.1764705882352899E-2</c:v>
                </c:pt>
                <c:pt idx="23410">
                  <c:v>-1.1764705882352899E-2</c:v>
                </c:pt>
                <c:pt idx="23411">
                  <c:v>-1.1764705882352899E-2</c:v>
                </c:pt>
                <c:pt idx="23412">
                  <c:v>-1.1764705882352899E-2</c:v>
                </c:pt>
                <c:pt idx="23413">
                  <c:v>-1.1764705882352899E-2</c:v>
                </c:pt>
                <c:pt idx="23414">
                  <c:v>-1.1764705882352899E-2</c:v>
                </c:pt>
                <c:pt idx="23415">
                  <c:v>-1.1764705882352899E-2</c:v>
                </c:pt>
                <c:pt idx="23416">
                  <c:v>-1.1764705882352899E-2</c:v>
                </c:pt>
                <c:pt idx="23417">
                  <c:v>-1.1764705882352899E-2</c:v>
                </c:pt>
                <c:pt idx="23418">
                  <c:v>-1.1764705882352899E-2</c:v>
                </c:pt>
                <c:pt idx="23419">
                  <c:v>-1.1764705882352899E-2</c:v>
                </c:pt>
                <c:pt idx="23420">
                  <c:v>-1.1764705882352899E-2</c:v>
                </c:pt>
                <c:pt idx="23421">
                  <c:v>-1.1764705882352899E-2</c:v>
                </c:pt>
                <c:pt idx="23422">
                  <c:v>-1.1764705882352899E-2</c:v>
                </c:pt>
                <c:pt idx="23423">
                  <c:v>-1.1764705882352899E-2</c:v>
                </c:pt>
                <c:pt idx="23424">
                  <c:v>-1.1764705882352899E-2</c:v>
                </c:pt>
                <c:pt idx="23425">
                  <c:v>-1.1764705882352899E-2</c:v>
                </c:pt>
                <c:pt idx="23426">
                  <c:v>-1.1764705882352899E-2</c:v>
                </c:pt>
                <c:pt idx="23427">
                  <c:v>-1.1764705882352899E-2</c:v>
                </c:pt>
                <c:pt idx="23428">
                  <c:v>-1.1764705882352899E-2</c:v>
                </c:pt>
                <c:pt idx="23429">
                  <c:v>-1.1764705882352899E-2</c:v>
                </c:pt>
                <c:pt idx="23430">
                  <c:v>-1.1764705882352899E-2</c:v>
                </c:pt>
                <c:pt idx="23431">
                  <c:v>-1.1764705882352899E-2</c:v>
                </c:pt>
                <c:pt idx="23432">
                  <c:v>-1.1764705882352899E-2</c:v>
                </c:pt>
                <c:pt idx="23433">
                  <c:v>-1.1764705882352899E-2</c:v>
                </c:pt>
                <c:pt idx="23434">
                  <c:v>-1.1764705882352899E-2</c:v>
                </c:pt>
                <c:pt idx="23435">
                  <c:v>-1.1764705882352899E-2</c:v>
                </c:pt>
                <c:pt idx="23436">
                  <c:v>-1.1764705882352899E-2</c:v>
                </c:pt>
                <c:pt idx="23437">
                  <c:v>-1.1764705882352899E-2</c:v>
                </c:pt>
                <c:pt idx="23438">
                  <c:v>-1.1764705882352899E-2</c:v>
                </c:pt>
                <c:pt idx="23439">
                  <c:v>-1.1764705882352899E-2</c:v>
                </c:pt>
                <c:pt idx="23440">
                  <c:v>-1.1764705882352899E-2</c:v>
                </c:pt>
                <c:pt idx="23441">
                  <c:v>-1.1764705882352899E-2</c:v>
                </c:pt>
                <c:pt idx="23442">
                  <c:v>-1.1764705882352899E-2</c:v>
                </c:pt>
                <c:pt idx="23443">
                  <c:v>-1.1764705882352899E-2</c:v>
                </c:pt>
                <c:pt idx="23444">
                  <c:v>-1.1764705882352899E-2</c:v>
                </c:pt>
                <c:pt idx="23445">
                  <c:v>-1.1764705882352899E-2</c:v>
                </c:pt>
                <c:pt idx="23446">
                  <c:v>-1.1764705882352899E-2</c:v>
                </c:pt>
                <c:pt idx="23447">
                  <c:v>-1.1764705882352899E-2</c:v>
                </c:pt>
                <c:pt idx="23448">
                  <c:v>-1.1764705882352899E-2</c:v>
                </c:pt>
                <c:pt idx="23449">
                  <c:v>-1.1764705882352899E-2</c:v>
                </c:pt>
                <c:pt idx="23450">
                  <c:v>-1.1764705882352899E-2</c:v>
                </c:pt>
                <c:pt idx="23451">
                  <c:v>-1.1764705882352899E-2</c:v>
                </c:pt>
                <c:pt idx="23452">
                  <c:v>-1.1764705882352899E-2</c:v>
                </c:pt>
                <c:pt idx="23453">
                  <c:v>-1.1764705882352899E-2</c:v>
                </c:pt>
                <c:pt idx="23454">
                  <c:v>-1.1764705882352899E-2</c:v>
                </c:pt>
                <c:pt idx="23455">
                  <c:v>-1.1764705882352899E-2</c:v>
                </c:pt>
                <c:pt idx="23456">
                  <c:v>-1.1764705882352899E-2</c:v>
                </c:pt>
                <c:pt idx="23457">
                  <c:v>-1.1764705882352899E-2</c:v>
                </c:pt>
                <c:pt idx="23458">
                  <c:v>-1.1764705882352899E-2</c:v>
                </c:pt>
                <c:pt idx="23459">
                  <c:v>-1.1764705882352899E-2</c:v>
                </c:pt>
                <c:pt idx="23460">
                  <c:v>-1.1764705882352899E-2</c:v>
                </c:pt>
                <c:pt idx="23461">
                  <c:v>-1.1764705882352899E-2</c:v>
                </c:pt>
                <c:pt idx="23462">
                  <c:v>-1.1764705882352899E-2</c:v>
                </c:pt>
                <c:pt idx="23463">
                  <c:v>-1.1764705882352899E-2</c:v>
                </c:pt>
                <c:pt idx="23464">
                  <c:v>-1.1764705882352899E-2</c:v>
                </c:pt>
                <c:pt idx="23465">
                  <c:v>-1.1764705882352899E-2</c:v>
                </c:pt>
                <c:pt idx="23466">
                  <c:v>-1.1764705882352899E-2</c:v>
                </c:pt>
                <c:pt idx="23467">
                  <c:v>-1.1764705882352899E-2</c:v>
                </c:pt>
                <c:pt idx="23468">
                  <c:v>-1.09243697478991E-2</c:v>
                </c:pt>
                <c:pt idx="23469">
                  <c:v>-1.09243697478991E-2</c:v>
                </c:pt>
                <c:pt idx="23470">
                  <c:v>-1.09243697478991E-2</c:v>
                </c:pt>
                <c:pt idx="23471">
                  <c:v>-1.09243697478991E-2</c:v>
                </c:pt>
                <c:pt idx="23472">
                  <c:v>-1.09243697478991E-2</c:v>
                </c:pt>
                <c:pt idx="23473">
                  <c:v>-1.09243697478991E-2</c:v>
                </c:pt>
                <c:pt idx="23474">
                  <c:v>-1.09243697478991E-2</c:v>
                </c:pt>
                <c:pt idx="23475">
                  <c:v>-1.09243697478991E-2</c:v>
                </c:pt>
                <c:pt idx="23476">
                  <c:v>-1.09243697478991E-2</c:v>
                </c:pt>
                <c:pt idx="23477">
                  <c:v>-1.09243697478991E-2</c:v>
                </c:pt>
                <c:pt idx="23478">
                  <c:v>-1.09243697478991E-2</c:v>
                </c:pt>
                <c:pt idx="23479">
                  <c:v>-1.09243697478991E-2</c:v>
                </c:pt>
                <c:pt idx="23480">
                  <c:v>-1.09243697478991E-2</c:v>
                </c:pt>
                <c:pt idx="23481">
                  <c:v>-1.09243697478991E-2</c:v>
                </c:pt>
                <c:pt idx="23482">
                  <c:v>-1.09243697478991E-2</c:v>
                </c:pt>
                <c:pt idx="23483">
                  <c:v>-1.09243697478991E-2</c:v>
                </c:pt>
                <c:pt idx="23484">
                  <c:v>-1.09243697478991E-2</c:v>
                </c:pt>
                <c:pt idx="23485">
                  <c:v>-1.09243697478991E-2</c:v>
                </c:pt>
                <c:pt idx="23486">
                  <c:v>-1.09243697478991E-2</c:v>
                </c:pt>
                <c:pt idx="23487">
                  <c:v>-1.09243697478991E-2</c:v>
                </c:pt>
                <c:pt idx="23488">
                  <c:v>-1.09243697478991E-2</c:v>
                </c:pt>
                <c:pt idx="23489">
                  <c:v>-1.09243697478991E-2</c:v>
                </c:pt>
                <c:pt idx="23490">
                  <c:v>-1.09243697478991E-2</c:v>
                </c:pt>
                <c:pt idx="23491">
                  <c:v>-1.09243697478991E-2</c:v>
                </c:pt>
                <c:pt idx="23492">
                  <c:v>-1.09243697478991E-2</c:v>
                </c:pt>
                <c:pt idx="23493">
                  <c:v>-1.09243697478991E-2</c:v>
                </c:pt>
                <c:pt idx="23494">
                  <c:v>-1.09243697478991E-2</c:v>
                </c:pt>
                <c:pt idx="23495">
                  <c:v>-1.09243697478991E-2</c:v>
                </c:pt>
                <c:pt idx="23496">
                  <c:v>-1.09243697478991E-2</c:v>
                </c:pt>
                <c:pt idx="23497">
                  <c:v>-1.09243697478991E-2</c:v>
                </c:pt>
                <c:pt idx="23498">
                  <c:v>-1.09243697478991E-2</c:v>
                </c:pt>
                <c:pt idx="23499">
                  <c:v>-1.09243697478991E-2</c:v>
                </c:pt>
                <c:pt idx="23500">
                  <c:v>-1.09243697478991E-2</c:v>
                </c:pt>
                <c:pt idx="23501">
                  <c:v>-1.09243697478991E-2</c:v>
                </c:pt>
                <c:pt idx="23502">
                  <c:v>-1.09243697478991E-2</c:v>
                </c:pt>
                <c:pt idx="23503">
                  <c:v>-1.09243697478991E-2</c:v>
                </c:pt>
                <c:pt idx="23504">
                  <c:v>-1.09243697478991E-2</c:v>
                </c:pt>
                <c:pt idx="23505">
                  <c:v>-1.09243697478991E-2</c:v>
                </c:pt>
                <c:pt idx="23506">
                  <c:v>-1.09243697478991E-2</c:v>
                </c:pt>
                <c:pt idx="23507">
                  <c:v>-1.09243697478991E-2</c:v>
                </c:pt>
                <c:pt idx="23508">
                  <c:v>-1.09243697478991E-2</c:v>
                </c:pt>
                <c:pt idx="23509">
                  <c:v>-1.09243697478991E-2</c:v>
                </c:pt>
                <c:pt idx="23510">
                  <c:v>-1.09243697478991E-2</c:v>
                </c:pt>
                <c:pt idx="23511">
                  <c:v>-1.09243697478991E-2</c:v>
                </c:pt>
                <c:pt idx="23512">
                  <c:v>-1.09243697478991E-2</c:v>
                </c:pt>
                <c:pt idx="23513">
                  <c:v>-1.09243697478991E-2</c:v>
                </c:pt>
                <c:pt idx="23514">
                  <c:v>-1.09243697478991E-2</c:v>
                </c:pt>
                <c:pt idx="23515">
                  <c:v>-1.09243697478991E-2</c:v>
                </c:pt>
                <c:pt idx="23516">
                  <c:v>-1.09243697478991E-2</c:v>
                </c:pt>
                <c:pt idx="23517">
                  <c:v>-1.09243697478991E-2</c:v>
                </c:pt>
                <c:pt idx="23518">
                  <c:v>-1.09243697478991E-2</c:v>
                </c:pt>
                <c:pt idx="23519">
                  <c:v>-1.09243697478991E-2</c:v>
                </c:pt>
                <c:pt idx="23520">
                  <c:v>-1.09243697478991E-2</c:v>
                </c:pt>
                <c:pt idx="23521">
                  <c:v>-1.09243697478991E-2</c:v>
                </c:pt>
                <c:pt idx="23522">
                  <c:v>-1.09243697478991E-2</c:v>
                </c:pt>
                <c:pt idx="23523">
                  <c:v>-1.09243697478991E-2</c:v>
                </c:pt>
                <c:pt idx="23524">
                  <c:v>-1.09243697478991E-2</c:v>
                </c:pt>
                <c:pt idx="23525">
                  <c:v>-1.09243697478991E-2</c:v>
                </c:pt>
                <c:pt idx="23526">
                  <c:v>-1.09243697478991E-2</c:v>
                </c:pt>
                <c:pt idx="23527">
                  <c:v>-1.09243697478991E-2</c:v>
                </c:pt>
                <c:pt idx="23528">
                  <c:v>-1.09243697478991E-2</c:v>
                </c:pt>
                <c:pt idx="23529">
                  <c:v>-1.09243697478991E-2</c:v>
                </c:pt>
                <c:pt idx="23530">
                  <c:v>-1.09243697478991E-2</c:v>
                </c:pt>
                <c:pt idx="23531">
                  <c:v>-1.09243697478991E-2</c:v>
                </c:pt>
                <c:pt idx="23532">
                  <c:v>-1.09243697478991E-2</c:v>
                </c:pt>
                <c:pt idx="23533">
                  <c:v>-1.09243697478991E-2</c:v>
                </c:pt>
                <c:pt idx="23534">
                  <c:v>-1.09243697478991E-2</c:v>
                </c:pt>
                <c:pt idx="23535">
                  <c:v>-1.09243697478991E-2</c:v>
                </c:pt>
                <c:pt idx="23536">
                  <c:v>-1.09243697478991E-2</c:v>
                </c:pt>
                <c:pt idx="23537">
                  <c:v>-1.09243697478991E-2</c:v>
                </c:pt>
                <c:pt idx="23538">
                  <c:v>-1.09243697478991E-2</c:v>
                </c:pt>
                <c:pt idx="23539">
                  <c:v>-1.09243697478991E-2</c:v>
                </c:pt>
                <c:pt idx="23540">
                  <c:v>-1.09243697478991E-2</c:v>
                </c:pt>
                <c:pt idx="23541">
                  <c:v>-1.09243697478991E-2</c:v>
                </c:pt>
                <c:pt idx="23542">
                  <c:v>-1.09243697478991E-2</c:v>
                </c:pt>
                <c:pt idx="23543">
                  <c:v>-1.09243697478991E-2</c:v>
                </c:pt>
                <c:pt idx="23544">
                  <c:v>-1.1764705882352899E-2</c:v>
                </c:pt>
                <c:pt idx="23545">
                  <c:v>-1.1764705882352899E-2</c:v>
                </c:pt>
                <c:pt idx="23546">
                  <c:v>-1.1764705882352899E-2</c:v>
                </c:pt>
                <c:pt idx="23547">
                  <c:v>-1.1764705882352899E-2</c:v>
                </c:pt>
                <c:pt idx="23548">
                  <c:v>-1.1764705882352899E-2</c:v>
                </c:pt>
                <c:pt idx="23549">
                  <c:v>-1.1764705882352899E-2</c:v>
                </c:pt>
                <c:pt idx="23550">
                  <c:v>-1.1764705882352899E-2</c:v>
                </c:pt>
                <c:pt idx="23551">
                  <c:v>-1.1764705882352899E-2</c:v>
                </c:pt>
                <c:pt idx="23552">
                  <c:v>-1.1764705882352899E-2</c:v>
                </c:pt>
                <c:pt idx="23553">
                  <c:v>-1.1764705882352899E-2</c:v>
                </c:pt>
                <c:pt idx="23554">
                  <c:v>-1.1764705882352899E-2</c:v>
                </c:pt>
                <c:pt idx="23555">
                  <c:v>-1.1764705882352899E-2</c:v>
                </c:pt>
                <c:pt idx="23556">
                  <c:v>-1.1764705882352899E-2</c:v>
                </c:pt>
                <c:pt idx="23557">
                  <c:v>-1.1764705882352899E-2</c:v>
                </c:pt>
                <c:pt idx="23558">
                  <c:v>-1.1764705882352899E-2</c:v>
                </c:pt>
                <c:pt idx="23559">
                  <c:v>-1.1764705882352899E-2</c:v>
                </c:pt>
                <c:pt idx="23560">
                  <c:v>-1.1764705882352899E-2</c:v>
                </c:pt>
                <c:pt idx="23561">
                  <c:v>-1.1764705882352899E-2</c:v>
                </c:pt>
                <c:pt idx="23562">
                  <c:v>-1.09243697478991E-2</c:v>
                </c:pt>
                <c:pt idx="23563">
                  <c:v>-1.09243697478991E-2</c:v>
                </c:pt>
                <c:pt idx="23564">
                  <c:v>-1.09243697478991E-2</c:v>
                </c:pt>
                <c:pt idx="23565">
                  <c:v>-1.09243697478991E-2</c:v>
                </c:pt>
                <c:pt idx="23566">
                  <c:v>-1.09243697478991E-2</c:v>
                </c:pt>
                <c:pt idx="23567">
                  <c:v>-1.09243697478991E-2</c:v>
                </c:pt>
                <c:pt idx="23568">
                  <c:v>-1.09243697478991E-2</c:v>
                </c:pt>
                <c:pt idx="23569">
                  <c:v>-1.09243697478991E-2</c:v>
                </c:pt>
                <c:pt idx="23570">
                  <c:v>-1.09243697478991E-2</c:v>
                </c:pt>
                <c:pt idx="23571">
                  <c:v>-1.09243697478991E-2</c:v>
                </c:pt>
                <c:pt idx="23572">
                  <c:v>-1.09243697478991E-2</c:v>
                </c:pt>
                <c:pt idx="23573">
                  <c:v>-1.09243697478991E-2</c:v>
                </c:pt>
                <c:pt idx="23574">
                  <c:v>-1.09243697478991E-2</c:v>
                </c:pt>
                <c:pt idx="23575">
                  <c:v>-1.09243697478991E-2</c:v>
                </c:pt>
                <c:pt idx="23576">
                  <c:v>-1.09243697478991E-2</c:v>
                </c:pt>
                <c:pt idx="23577">
                  <c:v>-1.09243697478991E-2</c:v>
                </c:pt>
                <c:pt idx="23578">
                  <c:v>-1.09243697478991E-2</c:v>
                </c:pt>
                <c:pt idx="23579">
                  <c:v>-1.09243697478991E-2</c:v>
                </c:pt>
                <c:pt idx="23580">
                  <c:v>-1.09243697478991E-2</c:v>
                </c:pt>
                <c:pt idx="23581">
                  <c:v>-1.09243697478991E-2</c:v>
                </c:pt>
                <c:pt idx="23582">
                  <c:v>-1.09243697478991E-2</c:v>
                </c:pt>
                <c:pt idx="23583">
                  <c:v>-1.09243697478991E-2</c:v>
                </c:pt>
                <c:pt idx="23584">
                  <c:v>-1.09243697478991E-2</c:v>
                </c:pt>
                <c:pt idx="23585">
                  <c:v>-1.09243697478991E-2</c:v>
                </c:pt>
                <c:pt idx="23586">
                  <c:v>-1.09243697478991E-2</c:v>
                </c:pt>
                <c:pt idx="23587">
                  <c:v>-1.09243697478991E-2</c:v>
                </c:pt>
                <c:pt idx="23588">
                  <c:v>-1.09243697478991E-2</c:v>
                </c:pt>
                <c:pt idx="23589">
                  <c:v>-1.09243697478991E-2</c:v>
                </c:pt>
                <c:pt idx="23590">
                  <c:v>-1.09243697478991E-2</c:v>
                </c:pt>
                <c:pt idx="23591">
                  <c:v>-1.09243697478991E-2</c:v>
                </c:pt>
                <c:pt idx="23592">
                  <c:v>-1.09243697478991E-2</c:v>
                </c:pt>
                <c:pt idx="23593">
                  <c:v>-1.09243697478991E-2</c:v>
                </c:pt>
                <c:pt idx="23594">
                  <c:v>-1.09243697478991E-2</c:v>
                </c:pt>
                <c:pt idx="23595">
                  <c:v>-1.09243697478991E-2</c:v>
                </c:pt>
                <c:pt idx="23596">
                  <c:v>-1.09243697478991E-2</c:v>
                </c:pt>
                <c:pt idx="23597">
                  <c:v>-1.09243697478991E-2</c:v>
                </c:pt>
                <c:pt idx="23598">
                  <c:v>-1.09243697478991E-2</c:v>
                </c:pt>
                <c:pt idx="23599">
                  <c:v>-1.09243697478991E-2</c:v>
                </c:pt>
                <c:pt idx="23600">
                  <c:v>-1.09243697478991E-2</c:v>
                </c:pt>
                <c:pt idx="23601">
                  <c:v>-1.09243697478991E-2</c:v>
                </c:pt>
                <c:pt idx="23602">
                  <c:v>-1.09243697478991E-2</c:v>
                </c:pt>
                <c:pt idx="23603">
                  <c:v>-1.09243697478991E-2</c:v>
                </c:pt>
                <c:pt idx="23604">
                  <c:v>-1.09243697478991E-2</c:v>
                </c:pt>
                <c:pt idx="23605">
                  <c:v>-1.09243697478991E-2</c:v>
                </c:pt>
                <c:pt idx="23606">
                  <c:v>-1.09243697478991E-2</c:v>
                </c:pt>
                <c:pt idx="23607">
                  <c:v>-1.09243697478991E-2</c:v>
                </c:pt>
                <c:pt idx="23608">
                  <c:v>-1.09243697478991E-2</c:v>
                </c:pt>
                <c:pt idx="23609">
                  <c:v>-1.09243697478991E-2</c:v>
                </c:pt>
                <c:pt idx="23610">
                  <c:v>-1.09243697478991E-2</c:v>
                </c:pt>
                <c:pt idx="23611">
                  <c:v>-1.09243697478991E-2</c:v>
                </c:pt>
                <c:pt idx="23612">
                  <c:v>-1.09243697478991E-2</c:v>
                </c:pt>
                <c:pt idx="23613">
                  <c:v>-1.09243697478991E-2</c:v>
                </c:pt>
                <c:pt idx="23614">
                  <c:v>-1.09243697478991E-2</c:v>
                </c:pt>
                <c:pt idx="23615">
                  <c:v>-1.09243697478991E-2</c:v>
                </c:pt>
                <c:pt idx="23616">
                  <c:v>-1.09243697478991E-2</c:v>
                </c:pt>
                <c:pt idx="23617">
                  <c:v>-1.09243697478991E-2</c:v>
                </c:pt>
                <c:pt idx="23618">
                  <c:v>-1.09243697478991E-2</c:v>
                </c:pt>
                <c:pt idx="23619">
                  <c:v>-1.09243697478991E-2</c:v>
                </c:pt>
                <c:pt idx="23620">
                  <c:v>-1.09243697478991E-2</c:v>
                </c:pt>
                <c:pt idx="23621">
                  <c:v>-1.09243697478991E-2</c:v>
                </c:pt>
                <c:pt idx="23622">
                  <c:v>-1.09243697478991E-2</c:v>
                </c:pt>
                <c:pt idx="23623">
                  <c:v>-1.09243697478991E-2</c:v>
                </c:pt>
                <c:pt idx="23624">
                  <c:v>-1.09243697478991E-2</c:v>
                </c:pt>
                <c:pt idx="23625">
                  <c:v>-1.09243697478991E-2</c:v>
                </c:pt>
                <c:pt idx="23626">
                  <c:v>-1.09243697478991E-2</c:v>
                </c:pt>
                <c:pt idx="23627">
                  <c:v>-1.09243697478991E-2</c:v>
                </c:pt>
                <c:pt idx="23628">
                  <c:v>-1.09243697478991E-2</c:v>
                </c:pt>
                <c:pt idx="23629">
                  <c:v>-1.09243697478991E-2</c:v>
                </c:pt>
                <c:pt idx="23630">
                  <c:v>-1.09243697478991E-2</c:v>
                </c:pt>
                <c:pt idx="23631">
                  <c:v>-1.09243697478991E-2</c:v>
                </c:pt>
                <c:pt idx="23632">
                  <c:v>-1.09243697478991E-2</c:v>
                </c:pt>
                <c:pt idx="23633">
                  <c:v>-1.09243697478991E-2</c:v>
                </c:pt>
                <c:pt idx="23634">
                  <c:v>-1.09243697478991E-2</c:v>
                </c:pt>
                <c:pt idx="23635">
                  <c:v>-1.09243697478991E-2</c:v>
                </c:pt>
                <c:pt idx="23636">
                  <c:v>-1.09243697478991E-2</c:v>
                </c:pt>
                <c:pt idx="23637">
                  <c:v>-1.09243697478991E-2</c:v>
                </c:pt>
                <c:pt idx="23638">
                  <c:v>-1.09243697478991E-2</c:v>
                </c:pt>
                <c:pt idx="23639">
                  <c:v>-1.09243697478991E-2</c:v>
                </c:pt>
                <c:pt idx="23640">
                  <c:v>-1.09243697478991E-2</c:v>
                </c:pt>
                <c:pt idx="23641">
                  <c:v>-1.09243697478991E-2</c:v>
                </c:pt>
                <c:pt idx="23642">
                  <c:v>-1.09243697478991E-2</c:v>
                </c:pt>
                <c:pt idx="23643">
                  <c:v>-1.09243697478991E-2</c:v>
                </c:pt>
                <c:pt idx="23644">
                  <c:v>-1.09243697478991E-2</c:v>
                </c:pt>
                <c:pt idx="23645">
                  <c:v>-1.09243697478991E-2</c:v>
                </c:pt>
                <c:pt idx="23646">
                  <c:v>-1.09243697478991E-2</c:v>
                </c:pt>
                <c:pt idx="23647">
                  <c:v>-1.09243697478991E-2</c:v>
                </c:pt>
                <c:pt idx="23648">
                  <c:v>-1.09243697478991E-2</c:v>
                </c:pt>
                <c:pt idx="23649">
                  <c:v>-1.09243697478991E-2</c:v>
                </c:pt>
                <c:pt idx="23650">
                  <c:v>-1.09243697478991E-2</c:v>
                </c:pt>
                <c:pt idx="23651">
                  <c:v>-1.09243697478991E-2</c:v>
                </c:pt>
                <c:pt idx="23652">
                  <c:v>-1.09243697478991E-2</c:v>
                </c:pt>
                <c:pt idx="23653">
                  <c:v>-1.09243697478991E-2</c:v>
                </c:pt>
                <c:pt idx="23654">
                  <c:v>-1.09243697478991E-2</c:v>
                </c:pt>
                <c:pt idx="23655">
                  <c:v>-1.09243697478991E-2</c:v>
                </c:pt>
                <c:pt idx="23656">
                  <c:v>-1.09243697478991E-2</c:v>
                </c:pt>
                <c:pt idx="23657">
                  <c:v>-1.09243697478991E-2</c:v>
                </c:pt>
                <c:pt idx="23658">
                  <c:v>-1.09243697478991E-2</c:v>
                </c:pt>
                <c:pt idx="23659">
                  <c:v>-1.09243697478991E-2</c:v>
                </c:pt>
                <c:pt idx="23660">
                  <c:v>-1.09243697478991E-2</c:v>
                </c:pt>
                <c:pt idx="23661">
                  <c:v>-1.09243697478991E-2</c:v>
                </c:pt>
                <c:pt idx="23662">
                  <c:v>-1.09243697478991E-2</c:v>
                </c:pt>
                <c:pt idx="23663">
                  <c:v>-1.09243697478991E-2</c:v>
                </c:pt>
                <c:pt idx="23664">
                  <c:v>-1.09243697478991E-2</c:v>
                </c:pt>
                <c:pt idx="23665">
                  <c:v>-1.09243697478991E-2</c:v>
                </c:pt>
                <c:pt idx="23666">
                  <c:v>-1.09243697478991E-2</c:v>
                </c:pt>
                <c:pt idx="23667">
                  <c:v>-1.09243697478991E-2</c:v>
                </c:pt>
                <c:pt idx="23668">
                  <c:v>-1.09243697478991E-2</c:v>
                </c:pt>
                <c:pt idx="23669">
                  <c:v>-1.09243697478991E-2</c:v>
                </c:pt>
                <c:pt idx="23670">
                  <c:v>-1.09243697478991E-2</c:v>
                </c:pt>
                <c:pt idx="23671">
                  <c:v>-1.09243697478991E-2</c:v>
                </c:pt>
                <c:pt idx="23672">
                  <c:v>-1.09243697478991E-2</c:v>
                </c:pt>
                <c:pt idx="23673">
                  <c:v>-1.09243697478991E-2</c:v>
                </c:pt>
                <c:pt idx="23674">
                  <c:v>-1.09243697478991E-2</c:v>
                </c:pt>
                <c:pt idx="23675">
                  <c:v>-1.09243697478991E-2</c:v>
                </c:pt>
                <c:pt idx="23676">
                  <c:v>-1.09243697478991E-2</c:v>
                </c:pt>
                <c:pt idx="23677">
                  <c:v>-1.09243697478991E-2</c:v>
                </c:pt>
                <c:pt idx="23678">
                  <c:v>-1.09243697478991E-2</c:v>
                </c:pt>
                <c:pt idx="23679">
                  <c:v>-1.09243697478991E-2</c:v>
                </c:pt>
                <c:pt idx="23680">
                  <c:v>-1.09243697478991E-2</c:v>
                </c:pt>
                <c:pt idx="23681">
                  <c:v>-1.09243697478991E-2</c:v>
                </c:pt>
                <c:pt idx="23682">
                  <c:v>-1.09243697478991E-2</c:v>
                </c:pt>
                <c:pt idx="23683">
                  <c:v>-1.09243697478991E-2</c:v>
                </c:pt>
                <c:pt idx="23684">
                  <c:v>-1.09243697478991E-2</c:v>
                </c:pt>
                <c:pt idx="23685">
                  <c:v>-1.09243697478991E-2</c:v>
                </c:pt>
                <c:pt idx="23686">
                  <c:v>-1.09243697478991E-2</c:v>
                </c:pt>
                <c:pt idx="23687">
                  <c:v>-1.09243697478991E-2</c:v>
                </c:pt>
                <c:pt idx="23688">
                  <c:v>-1.09243697478991E-2</c:v>
                </c:pt>
                <c:pt idx="23689">
                  <c:v>-1.09243697478991E-2</c:v>
                </c:pt>
                <c:pt idx="23690">
                  <c:v>-1.09243697478991E-2</c:v>
                </c:pt>
                <c:pt idx="23691">
                  <c:v>-1.09243697478991E-2</c:v>
                </c:pt>
                <c:pt idx="23692">
                  <c:v>-1.09243697478991E-2</c:v>
                </c:pt>
                <c:pt idx="23693">
                  <c:v>-1.09243697478991E-2</c:v>
                </c:pt>
                <c:pt idx="23694">
                  <c:v>-1.09243697478991E-2</c:v>
                </c:pt>
                <c:pt idx="23695">
                  <c:v>-1.09243697478991E-2</c:v>
                </c:pt>
                <c:pt idx="23696">
                  <c:v>-1.09243697478991E-2</c:v>
                </c:pt>
                <c:pt idx="23697">
                  <c:v>-1.1764705882352899E-2</c:v>
                </c:pt>
                <c:pt idx="23698">
                  <c:v>-1.1764705882352899E-2</c:v>
                </c:pt>
                <c:pt idx="23699">
                  <c:v>-1.1764705882352899E-2</c:v>
                </c:pt>
                <c:pt idx="23700">
                  <c:v>-1.1764705882352899E-2</c:v>
                </c:pt>
                <c:pt idx="23701">
                  <c:v>-1.1764705882352899E-2</c:v>
                </c:pt>
                <c:pt idx="23702">
                  <c:v>-1.1764705882352899E-2</c:v>
                </c:pt>
                <c:pt idx="23703">
                  <c:v>-1.1764705882352899E-2</c:v>
                </c:pt>
                <c:pt idx="23704">
                  <c:v>-1.09243697478991E-2</c:v>
                </c:pt>
                <c:pt idx="23705">
                  <c:v>-1.09243697478991E-2</c:v>
                </c:pt>
                <c:pt idx="23706">
                  <c:v>-1.09243697478991E-2</c:v>
                </c:pt>
                <c:pt idx="23707">
                  <c:v>-1.09243697478991E-2</c:v>
                </c:pt>
                <c:pt idx="23708">
                  <c:v>-1.09243697478991E-2</c:v>
                </c:pt>
                <c:pt idx="23709">
                  <c:v>-1.09243697478991E-2</c:v>
                </c:pt>
                <c:pt idx="23710">
                  <c:v>-1.09243697478991E-2</c:v>
                </c:pt>
                <c:pt idx="23711">
                  <c:v>-1.09243697478991E-2</c:v>
                </c:pt>
                <c:pt idx="23712">
                  <c:v>-1.09243697478991E-2</c:v>
                </c:pt>
                <c:pt idx="23713">
                  <c:v>-1.09243697478991E-2</c:v>
                </c:pt>
                <c:pt idx="23714">
                  <c:v>-1.09243697478991E-2</c:v>
                </c:pt>
                <c:pt idx="23715">
                  <c:v>-1.09243697478991E-2</c:v>
                </c:pt>
                <c:pt idx="23716">
                  <c:v>-1.09243697478991E-2</c:v>
                </c:pt>
                <c:pt idx="23717">
                  <c:v>-1.09243697478991E-2</c:v>
                </c:pt>
                <c:pt idx="23718">
                  <c:v>-1.09243697478991E-2</c:v>
                </c:pt>
                <c:pt idx="23719">
                  <c:v>-1.09243697478991E-2</c:v>
                </c:pt>
                <c:pt idx="23720">
                  <c:v>-1.09243697478991E-2</c:v>
                </c:pt>
                <c:pt idx="23721">
                  <c:v>-1.09243697478991E-2</c:v>
                </c:pt>
                <c:pt idx="23722">
                  <c:v>-1.09243697478991E-2</c:v>
                </c:pt>
                <c:pt idx="23723">
                  <c:v>-1.09243697478991E-2</c:v>
                </c:pt>
                <c:pt idx="23724">
                  <c:v>-1.09243697478991E-2</c:v>
                </c:pt>
                <c:pt idx="23725">
                  <c:v>-1.09243697478991E-2</c:v>
                </c:pt>
                <c:pt idx="23726">
                  <c:v>-1.09243697478991E-2</c:v>
                </c:pt>
                <c:pt idx="23727">
                  <c:v>-1.09243697478991E-2</c:v>
                </c:pt>
                <c:pt idx="23728">
                  <c:v>-1.09243697478991E-2</c:v>
                </c:pt>
                <c:pt idx="23729">
                  <c:v>-1.09243697478991E-2</c:v>
                </c:pt>
                <c:pt idx="23730">
                  <c:v>-1.09243697478991E-2</c:v>
                </c:pt>
                <c:pt idx="23731">
                  <c:v>-1.09243697478991E-2</c:v>
                </c:pt>
                <c:pt idx="23732">
                  <c:v>-1.09243697478991E-2</c:v>
                </c:pt>
                <c:pt idx="23733">
                  <c:v>-1.09243697478991E-2</c:v>
                </c:pt>
                <c:pt idx="23734">
                  <c:v>-1.09243697478991E-2</c:v>
                </c:pt>
                <c:pt idx="23735">
                  <c:v>-1.09243697478991E-2</c:v>
                </c:pt>
                <c:pt idx="23736">
                  <c:v>-1.09243697478991E-2</c:v>
                </c:pt>
                <c:pt idx="23737">
                  <c:v>-1.09243697478991E-2</c:v>
                </c:pt>
                <c:pt idx="23738">
                  <c:v>-1.09243697478991E-2</c:v>
                </c:pt>
                <c:pt idx="23739">
                  <c:v>-1.0084033613445301E-2</c:v>
                </c:pt>
                <c:pt idx="23740">
                  <c:v>-1.0084033613445301E-2</c:v>
                </c:pt>
                <c:pt idx="23741">
                  <c:v>-1.0084033613445301E-2</c:v>
                </c:pt>
                <c:pt idx="23742">
                  <c:v>-1.0084033613445301E-2</c:v>
                </c:pt>
                <c:pt idx="23743">
                  <c:v>-1.0084033613445301E-2</c:v>
                </c:pt>
                <c:pt idx="23744">
                  <c:v>-1.0084033613445301E-2</c:v>
                </c:pt>
                <c:pt idx="23745">
                  <c:v>-1.0084033613445301E-2</c:v>
                </c:pt>
                <c:pt idx="23746">
                  <c:v>-1.0084033613445301E-2</c:v>
                </c:pt>
                <c:pt idx="23747">
                  <c:v>-1.0084033613445301E-2</c:v>
                </c:pt>
                <c:pt idx="23748">
                  <c:v>-1.0084033613445301E-2</c:v>
                </c:pt>
                <c:pt idx="23749">
                  <c:v>-1.0084033613445301E-2</c:v>
                </c:pt>
                <c:pt idx="23750">
                  <c:v>-1.0084033613445301E-2</c:v>
                </c:pt>
                <c:pt idx="23751">
                  <c:v>-1.0084033613445301E-2</c:v>
                </c:pt>
                <c:pt idx="23752">
                  <c:v>-1.0084033613445301E-2</c:v>
                </c:pt>
                <c:pt idx="23753">
                  <c:v>-1.0084033613445301E-2</c:v>
                </c:pt>
                <c:pt idx="23754">
                  <c:v>-1.0084033613445301E-2</c:v>
                </c:pt>
                <c:pt idx="23755">
                  <c:v>-1.0084033613445301E-2</c:v>
                </c:pt>
                <c:pt idx="23756">
                  <c:v>-1.0084033613445301E-2</c:v>
                </c:pt>
                <c:pt idx="23757">
                  <c:v>-1.0084033613445301E-2</c:v>
                </c:pt>
                <c:pt idx="23758">
                  <c:v>-1.0084033613445301E-2</c:v>
                </c:pt>
                <c:pt idx="23759">
                  <c:v>-1.0084033613445301E-2</c:v>
                </c:pt>
                <c:pt idx="23760">
                  <c:v>-1.0084033613445301E-2</c:v>
                </c:pt>
                <c:pt idx="23761">
                  <c:v>-1.0084033613445301E-2</c:v>
                </c:pt>
                <c:pt idx="23762">
                  <c:v>-1.0084033613445301E-2</c:v>
                </c:pt>
                <c:pt idx="23763">
                  <c:v>-9.2436974789915603E-3</c:v>
                </c:pt>
                <c:pt idx="23764">
                  <c:v>-1.0084033613445301E-2</c:v>
                </c:pt>
                <c:pt idx="23765">
                  <c:v>-1.0084033613445301E-2</c:v>
                </c:pt>
                <c:pt idx="23766">
                  <c:v>-1.0084033613445301E-2</c:v>
                </c:pt>
                <c:pt idx="23767">
                  <c:v>-1.0084033613445301E-2</c:v>
                </c:pt>
                <c:pt idx="23768">
                  <c:v>-1.09243697478991E-2</c:v>
                </c:pt>
                <c:pt idx="23769">
                  <c:v>-1.09243697478991E-2</c:v>
                </c:pt>
                <c:pt idx="23770">
                  <c:v>-1.09243697478991E-2</c:v>
                </c:pt>
                <c:pt idx="23771">
                  <c:v>-1.09243697478991E-2</c:v>
                </c:pt>
                <c:pt idx="23772">
                  <c:v>-1.09243697478991E-2</c:v>
                </c:pt>
                <c:pt idx="23773">
                  <c:v>-1.09243697478991E-2</c:v>
                </c:pt>
                <c:pt idx="23774">
                  <c:v>-1.09243697478991E-2</c:v>
                </c:pt>
                <c:pt idx="23775">
                  <c:v>-1.09243697478991E-2</c:v>
                </c:pt>
                <c:pt idx="23776">
                  <c:v>-1.09243697478991E-2</c:v>
                </c:pt>
                <c:pt idx="23777">
                  <c:v>-1.09243697478991E-2</c:v>
                </c:pt>
                <c:pt idx="23778">
                  <c:v>-1.09243697478991E-2</c:v>
                </c:pt>
                <c:pt idx="23779">
                  <c:v>-1.09243697478991E-2</c:v>
                </c:pt>
                <c:pt idx="23780">
                  <c:v>-1.09243697478991E-2</c:v>
                </c:pt>
                <c:pt idx="23781">
                  <c:v>-1.09243697478991E-2</c:v>
                </c:pt>
                <c:pt idx="23782">
                  <c:v>-1.09243697478991E-2</c:v>
                </c:pt>
                <c:pt idx="23783">
                  <c:v>-1.09243697478991E-2</c:v>
                </c:pt>
                <c:pt idx="23784">
                  <c:v>-1.09243697478991E-2</c:v>
                </c:pt>
                <c:pt idx="23785">
                  <c:v>-1.09243697478991E-2</c:v>
                </c:pt>
                <c:pt idx="23786">
                  <c:v>-1.09243697478991E-2</c:v>
                </c:pt>
                <c:pt idx="23787">
                  <c:v>-1.09243697478991E-2</c:v>
                </c:pt>
                <c:pt idx="23788">
                  <c:v>-1.09243697478991E-2</c:v>
                </c:pt>
                <c:pt idx="23789">
                  <c:v>-1.09243697478991E-2</c:v>
                </c:pt>
                <c:pt idx="23790">
                  <c:v>-1.09243697478991E-2</c:v>
                </c:pt>
                <c:pt idx="23791">
                  <c:v>-1.09243697478991E-2</c:v>
                </c:pt>
                <c:pt idx="23792">
                  <c:v>-1.09243697478991E-2</c:v>
                </c:pt>
                <c:pt idx="23793">
                  <c:v>-1.09243697478991E-2</c:v>
                </c:pt>
                <c:pt idx="23794">
                  <c:v>-1.09243697478991E-2</c:v>
                </c:pt>
                <c:pt idx="23795">
                  <c:v>-1.09243697478991E-2</c:v>
                </c:pt>
                <c:pt idx="23796">
                  <c:v>-1.09243697478991E-2</c:v>
                </c:pt>
                <c:pt idx="23797">
                  <c:v>-1.09243697478991E-2</c:v>
                </c:pt>
                <c:pt idx="23798">
                  <c:v>-1.09243697478991E-2</c:v>
                </c:pt>
                <c:pt idx="23799">
                  <c:v>-1.09243697478991E-2</c:v>
                </c:pt>
                <c:pt idx="23800">
                  <c:v>-1.09243697478991E-2</c:v>
                </c:pt>
                <c:pt idx="23801">
                  <c:v>-1.09243697478991E-2</c:v>
                </c:pt>
                <c:pt idx="23802">
                  <c:v>-1.09243697478991E-2</c:v>
                </c:pt>
                <c:pt idx="23803">
                  <c:v>-1.09243697478991E-2</c:v>
                </c:pt>
                <c:pt idx="23804">
                  <c:v>-1.09243697478991E-2</c:v>
                </c:pt>
                <c:pt idx="23805">
                  <c:v>-1.09243697478991E-2</c:v>
                </c:pt>
                <c:pt idx="23806">
                  <c:v>-1.1764705882352899E-2</c:v>
                </c:pt>
                <c:pt idx="23807">
                  <c:v>-1.1764705882352899E-2</c:v>
                </c:pt>
                <c:pt idx="23808">
                  <c:v>-1.1764705882352899E-2</c:v>
                </c:pt>
                <c:pt idx="23809">
                  <c:v>-1.1764705882352899E-2</c:v>
                </c:pt>
                <c:pt idx="23810">
                  <c:v>-1.1764705882352899E-2</c:v>
                </c:pt>
                <c:pt idx="23811">
                  <c:v>-1.1764705882352899E-2</c:v>
                </c:pt>
                <c:pt idx="23812">
                  <c:v>-1.1764705882352899E-2</c:v>
                </c:pt>
                <c:pt idx="23813">
                  <c:v>-1.1764705882352899E-2</c:v>
                </c:pt>
                <c:pt idx="23814">
                  <c:v>-1.1764705882352899E-2</c:v>
                </c:pt>
                <c:pt idx="23815">
                  <c:v>-1.1764705882352899E-2</c:v>
                </c:pt>
                <c:pt idx="23816">
                  <c:v>-1.1764705882352899E-2</c:v>
                </c:pt>
                <c:pt idx="23817">
                  <c:v>-1.1764705882352899E-2</c:v>
                </c:pt>
                <c:pt idx="23818">
                  <c:v>-1.1764705882352899E-2</c:v>
                </c:pt>
                <c:pt idx="23819">
                  <c:v>-1.1764705882352899E-2</c:v>
                </c:pt>
                <c:pt idx="23820">
                  <c:v>-1.1764705882352899E-2</c:v>
                </c:pt>
                <c:pt idx="23821">
                  <c:v>-1.1764705882352899E-2</c:v>
                </c:pt>
                <c:pt idx="23822">
                  <c:v>-1.1764705882352899E-2</c:v>
                </c:pt>
                <c:pt idx="23823">
                  <c:v>-1.1764705882352899E-2</c:v>
                </c:pt>
                <c:pt idx="23824">
                  <c:v>-1.09243697478991E-2</c:v>
                </c:pt>
                <c:pt idx="23825">
                  <c:v>-1.09243697478991E-2</c:v>
                </c:pt>
                <c:pt idx="23826">
                  <c:v>-1.09243697478991E-2</c:v>
                </c:pt>
                <c:pt idx="23827">
                  <c:v>-1.09243697478991E-2</c:v>
                </c:pt>
                <c:pt idx="23828">
                  <c:v>-1.09243697478991E-2</c:v>
                </c:pt>
                <c:pt idx="23829">
                  <c:v>-1.0084033613445301E-2</c:v>
                </c:pt>
                <c:pt idx="23830">
                  <c:v>-1.0084033613445301E-2</c:v>
                </c:pt>
                <c:pt idx="23831">
                  <c:v>-1.0084033613445301E-2</c:v>
                </c:pt>
                <c:pt idx="23832">
                  <c:v>-1.0084033613445301E-2</c:v>
                </c:pt>
                <c:pt idx="23833">
                  <c:v>-1.0084033613445301E-2</c:v>
                </c:pt>
                <c:pt idx="23834">
                  <c:v>-1.0084033613445301E-2</c:v>
                </c:pt>
                <c:pt idx="23835">
                  <c:v>-1.0084033613445301E-2</c:v>
                </c:pt>
                <c:pt idx="23836">
                  <c:v>-1.0084033613445301E-2</c:v>
                </c:pt>
                <c:pt idx="23837">
                  <c:v>-1.0084033613445301E-2</c:v>
                </c:pt>
                <c:pt idx="23838">
                  <c:v>-1.0084033613445301E-2</c:v>
                </c:pt>
                <c:pt idx="23839">
                  <c:v>-1.0084033613445301E-2</c:v>
                </c:pt>
                <c:pt idx="23840">
                  <c:v>-1.0084033613445301E-2</c:v>
                </c:pt>
                <c:pt idx="23841">
                  <c:v>-1.0084033613445301E-2</c:v>
                </c:pt>
                <c:pt idx="23842">
                  <c:v>-1.0084033613445301E-2</c:v>
                </c:pt>
                <c:pt idx="23843">
                  <c:v>-1.0084033613445301E-2</c:v>
                </c:pt>
                <c:pt idx="23844">
                  <c:v>-1.0084033613445301E-2</c:v>
                </c:pt>
                <c:pt idx="23845">
                  <c:v>-1.0084033613445301E-2</c:v>
                </c:pt>
                <c:pt idx="23846">
                  <c:v>-1.0084033613445301E-2</c:v>
                </c:pt>
                <c:pt idx="23847">
                  <c:v>-1.0084033613445301E-2</c:v>
                </c:pt>
                <c:pt idx="23848">
                  <c:v>-1.0084033613445301E-2</c:v>
                </c:pt>
                <c:pt idx="23849">
                  <c:v>-1.0084033613445301E-2</c:v>
                </c:pt>
                <c:pt idx="23850">
                  <c:v>-1.0084033613445301E-2</c:v>
                </c:pt>
                <c:pt idx="23851">
                  <c:v>-1.0084033613445301E-2</c:v>
                </c:pt>
                <c:pt idx="23852">
                  <c:v>-1.0084033613445301E-2</c:v>
                </c:pt>
                <c:pt idx="23853">
                  <c:v>-1.0084033613445301E-2</c:v>
                </c:pt>
                <c:pt idx="23854">
                  <c:v>-1.0084033613445301E-2</c:v>
                </c:pt>
                <c:pt idx="23855">
                  <c:v>-1.0084033613445301E-2</c:v>
                </c:pt>
                <c:pt idx="23856">
                  <c:v>-1.0084033613445301E-2</c:v>
                </c:pt>
                <c:pt idx="23857">
                  <c:v>-1.0084033613445301E-2</c:v>
                </c:pt>
                <c:pt idx="23858">
                  <c:v>-1.0084033613445301E-2</c:v>
                </c:pt>
                <c:pt idx="23859">
                  <c:v>-1.0084033613445301E-2</c:v>
                </c:pt>
                <c:pt idx="23860">
                  <c:v>-1.0084033613445301E-2</c:v>
                </c:pt>
                <c:pt idx="23861">
                  <c:v>-1.0084033613445301E-2</c:v>
                </c:pt>
                <c:pt idx="23862">
                  <c:v>-1.0084033613445301E-2</c:v>
                </c:pt>
                <c:pt idx="23863">
                  <c:v>-1.0084033613445301E-2</c:v>
                </c:pt>
                <c:pt idx="23864">
                  <c:v>-1.0084033613445301E-2</c:v>
                </c:pt>
                <c:pt idx="23865">
                  <c:v>-1.0084033613445301E-2</c:v>
                </c:pt>
                <c:pt idx="23866">
                  <c:v>-1.0084033613445301E-2</c:v>
                </c:pt>
                <c:pt idx="23867">
                  <c:v>-1.0084033613445301E-2</c:v>
                </c:pt>
                <c:pt idx="23868">
                  <c:v>-1.0084033613445301E-2</c:v>
                </c:pt>
                <c:pt idx="23869">
                  <c:v>-1.0084033613445301E-2</c:v>
                </c:pt>
                <c:pt idx="23870">
                  <c:v>-1.0084033613445301E-2</c:v>
                </c:pt>
                <c:pt idx="23871">
                  <c:v>-1.0084033613445301E-2</c:v>
                </c:pt>
                <c:pt idx="23872">
                  <c:v>-1.0084033613445301E-2</c:v>
                </c:pt>
                <c:pt idx="23873">
                  <c:v>-1.0084033613445301E-2</c:v>
                </c:pt>
                <c:pt idx="23874">
                  <c:v>-1.0084033613445301E-2</c:v>
                </c:pt>
                <c:pt idx="23875">
                  <c:v>-1.0084033613445301E-2</c:v>
                </c:pt>
                <c:pt idx="23876">
                  <c:v>-1.0084033613445301E-2</c:v>
                </c:pt>
                <c:pt idx="23877">
                  <c:v>-1.0084033613445301E-2</c:v>
                </c:pt>
                <c:pt idx="23878">
                  <c:v>-1.0084033613445301E-2</c:v>
                </c:pt>
                <c:pt idx="23879">
                  <c:v>-1.09243697478991E-2</c:v>
                </c:pt>
                <c:pt idx="23880">
                  <c:v>-1.09243697478991E-2</c:v>
                </c:pt>
                <c:pt idx="23881">
                  <c:v>-1.09243697478991E-2</c:v>
                </c:pt>
                <c:pt idx="23882">
                  <c:v>-1.09243697478991E-2</c:v>
                </c:pt>
                <c:pt idx="23883">
                  <c:v>-1.09243697478991E-2</c:v>
                </c:pt>
                <c:pt idx="23884">
                  <c:v>-1.09243697478991E-2</c:v>
                </c:pt>
                <c:pt idx="23885">
                  <c:v>-1.09243697478991E-2</c:v>
                </c:pt>
                <c:pt idx="23886">
                  <c:v>-1.09243697478991E-2</c:v>
                </c:pt>
                <c:pt idx="23887">
                  <c:v>-1.09243697478991E-2</c:v>
                </c:pt>
                <c:pt idx="23888">
                  <c:v>-1.09243697478991E-2</c:v>
                </c:pt>
                <c:pt idx="23889">
                  <c:v>-1.09243697478991E-2</c:v>
                </c:pt>
                <c:pt idx="23890">
                  <c:v>-1.09243697478991E-2</c:v>
                </c:pt>
                <c:pt idx="23891">
                  <c:v>-1.09243697478991E-2</c:v>
                </c:pt>
                <c:pt idx="23892">
                  <c:v>-1.09243697478991E-2</c:v>
                </c:pt>
                <c:pt idx="23893">
                  <c:v>-1.09243697478991E-2</c:v>
                </c:pt>
                <c:pt idx="23894">
                  <c:v>-1.09243697478991E-2</c:v>
                </c:pt>
                <c:pt idx="23895">
                  <c:v>-1.09243697478991E-2</c:v>
                </c:pt>
                <c:pt idx="23896">
                  <c:v>-1.09243697478991E-2</c:v>
                </c:pt>
                <c:pt idx="23897">
                  <c:v>-1.09243697478991E-2</c:v>
                </c:pt>
                <c:pt idx="23898">
                  <c:v>-1.09243697478991E-2</c:v>
                </c:pt>
                <c:pt idx="23899">
                  <c:v>-1.1764705882352899E-2</c:v>
                </c:pt>
                <c:pt idx="23900">
                  <c:v>-1.1764705882352899E-2</c:v>
                </c:pt>
                <c:pt idx="23901">
                  <c:v>-1.1764705882352899E-2</c:v>
                </c:pt>
                <c:pt idx="23902">
                  <c:v>-1.1764705882352899E-2</c:v>
                </c:pt>
                <c:pt idx="23903">
                  <c:v>-1.1764705882352899E-2</c:v>
                </c:pt>
                <c:pt idx="23904">
                  <c:v>-1.1764705882352899E-2</c:v>
                </c:pt>
                <c:pt idx="23905">
                  <c:v>-1.1764705882352899E-2</c:v>
                </c:pt>
                <c:pt idx="23906">
                  <c:v>-1.1764705882352899E-2</c:v>
                </c:pt>
                <c:pt idx="23907">
                  <c:v>-1.1764705882352899E-2</c:v>
                </c:pt>
                <c:pt idx="23908">
                  <c:v>-1.1764705882352899E-2</c:v>
                </c:pt>
                <c:pt idx="23909">
                  <c:v>-1.1764705882352899E-2</c:v>
                </c:pt>
                <c:pt idx="23910">
                  <c:v>-1.1764705882352899E-2</c:v>
                </c:pt>
                <c:pt idx="23911">
                  <c:v>-1.1764705882352899E-2</c:v>
                </c:pt>
                <c:pt idx="23912">
                  <c:v>-1.1764705882352899E-2</c:v>
                </c:pt>
                <c:pt idx="23913">
                  <c:v>-1.1764705882352899E-2</c:v>
                </c:pt>
                <c:pt idx="23914">
                  <c:v>-1.1764705882352899E-2</c:v>
                </c:pt>
                <c:pt idx="23915">
                  <c:v>-1.1764705882352899E-2</c:v>
                </c:pt>
                <c:pt idx="23916">
                  <c:v>-1.1764705882352899E-2</c:v>
                </c:pt>
                <c:pt idx="23917">
                  <c:v>-1.1764705882352899E-2</c:v>
                </c:pt>
                <c:pt idx="23918">
                  <c:v>-1.1764705882352899E-2</c:v>
                </c:pt>
                <c:pt idx="23919">
                  <c:v>-1.09243697478991E-2</c:v>
                </c:pt>
                <c:pt idx="23920">
                  <c:v>-1.09243697478991E-2</c:v>
                </c:pt>
                <c:pt idx="23921">
                  <c:v>-1.09243697478991E-2</c:v>
                </c:pt>
                <c:pt idx="23922">
                  <c:v>-1.09243697478991E-2</c:v>
                </c:pt>
                <c:pt idx="23923">
                  <c:v>-1.09243697478991E-2</c:v>
                </c:pt>
                <c:pt idx="23924">
                  <c:v>-1.09243697478991E-2</c:v>
                </c:pt>
                <c:pt idx="23925">
                  <c:v>-1.09243697478991E-2</c:v>
                </c:pt>
                <c:pt idx="23926">
                  <c:v>-1.09243697478991E-2</c:v>
                </c:pt>
                <c:pt idx="23927">
                  <c:v>-1.09243697478991E-2</c:v>
                </c:pt>
                <c:pt idx="23928">
                  <c:v>-1.09243697478991E-2</c:v>
                </c:pt>
                <c:pt idx="23929">
                  <c:v>-1.09243697478991E-2</c:v>
                </c:pt>
                <c:pt idx="23930">
                  <c:v>-1.09243697478991E-2</c:v>
                </c:pt>
                <c:pt idx="23931">
                  <c:v>-1.09243697478991E-2</c:v>
                </c:pt>
                <c:pt idx="23932">
                  <c:v>-1.09243697478991E-2</c:v>
                </c:pt>
                <c:pt idx="23933">
                  <c:v>-1.09243697478991E-2</c:v>
                </c:pt>
                <c:pt idx="23934">
                  <c:v>-1.09243697478991E-2</c:v>
                </c:pt>
                <c:pt idx="23935">
                  <c:v>-1.09243697478991E-2</c:v>
                </c:pt>
                <c:pt idx="23936">
                  <c:v>-1.09243697478991E-2</c:v>
                </c:pt>
                <c:pt idx="23937">
                  <c:v>-1.09243697478991E-2</c:v>
                </c:pt>
                <c:pt idx="23938">
                  <c:v>-1.09243697478991E-2</c:v>
                </c:pt>
                <c:pt idx="23939">
                  <c:v>-1.09243697478991E-2</c:v>
                </c:pt>
                <c:pt idx="23940">
                  <c:v>-1.09243697478991E-2</c:v>
                </c:pt>
                <c:pt idx="23941">
                  <c:v>-1.09243697478991E-2</c:v>
                </c:pt>
                <c:pt idx="23942">
                  <c:v>-1.09243697478991E-2</c:v>
                </c:pt>
                <c:pt idx="23943">
                  <c:v>-1.0084033613445301E-2</c:v>
                </c:pt>
                <c:pt idx="23944">
                  <c:v>-1.0084033613445301E-2</c:v>
                </c:pt>
                <c:pt idx="23945">
                  <c:v>-1.0084033613445301E-2</c:v>
                </c:pt>
                <c:pt idx="23946">
                  <c:v>-1.0084033613445301E-2</c:v>
                </c:pt>
                <c:pt idx="23947">
                  <c:v>-1.0084033613445301E-2</c:v>
                </c:pt>
                <c:pt idx="23948">
                  <c:v>-1.0084033613445301E-2</c:v>
                </c:pt>
                <c:pt idx="23949">
                  <c:v>-9.2436974789915603E-3</c:v>
                </c:pt>
                <c:pt idx="23950">
                  <c:v>-9.2436974789915603E-3</c:v>
                </c:pt>
                <c:pt idx="23951">
                  <c:v>-9.2436974789915603E-3</c:v>
                </c:pt>
                <c:pt idx="23952">
                  <c:v>-9.2436974789915603E-3</c:v>
                </c:pt>
                <c:pt idx="23953">
                  <c:v>-9.2436974789915603E-3</c:v>
                </c:pt>
                <c:pt idx="23954">
                  <c:v>-9.2436974789915603E-3</c:v>
                </c:pt>
                <c:pt idx="23955">
                  <c:v>-9.2436974789915603E-3</c:v>
                </c:pt>
                <c:pt idx="23956">
                  <c:v>-9.2436974789915603E-3</c:v>
                </c:pt>
                <c:pt idx="23957">
                  <c:v>-9.2436974789915603E-3</c:v>
                </c:pt>
                <c:pt idx="23958">
                  <c:v>-9.2436974789915603E-3</c:v>
                </c:pt>
                <c:pt idx="23959">
                  <c:v>-1.0084033613445301E-2</c:v>
                </c:pt>
                <c:pt idx="23960">
                  <c:v>-1.0084033613445301E-2</c:v>
                </c:pt>
                <c:pt idx="23961">
                  <c:v>-1.0084033613445301E-2</c:v>
                </c:pt>
                <c:pt idx="23962">
                  <c:v>-1.0084033613445301E-2</c:v>
                </c:pt>
                <c:pt idx="23963">
                  <c:v>-1.0084033613445301E-2</c:v>
                </c:pt>
                <c:pt idx="23964">
                  <c:v>-1.0084033613445301E-2</c:v>
                </c:pt>
                <c:pt idx="23965">
                  <c:v>-1.0084033613445301E-2</c:v>
                </c:pt>
                <c:pt idx="23966">
                  <c:v>-1.0084033613445301E-2</c:v>
                </c:pt>
                <c:pt idx="23967">
                  <c:v>-1.0084033613445301E-2</c:v>
                </c:pt>
                <c:pt idx="23968">
                  <c:v>-1.0084033613445301E-2</c:v>
                </c:pt>
                <c:pt idx="23969">
                  <c:v>-1.0084033613445301E-2</c:v>
                </c:pt>
                <c:pt idx="23970">
                  <c:v>-1.0084033613445301E-2</c:v>
                </c:pt>
                <c:pt idx="23971">
                  <c:v>-1.0084033613445301E-2</c:v>
                </c:pt>
                <c:pt idx="23972">
                  <c:v>-1.0084033613445301E-2</c:v>
                </c:pt>
                <c:pt idx="23973">
                  <c:v>-1.0084033613445301E-2</c:v>
                </c:pt>
                <c:pt idx="23974">
                  <c:v>-1.0084033613445301E-2</c:v>
                </c:pt>
                <c:pt idx="23975">
                  <c:v>-1.0084033613445301E-2</c:v>
                </c:pt>
                <c:pt idx="23976">
                  <c:v>-1.0084033613445301E-2</c:v>
                </c:pt>
                <c:pt idx="23977">
                  <c:v>-1.0084033613445301E-2</c:v>
                </c:pt>
                <c:pt idx="23978">
                  <c:v>-9.2436974789915603E-3</c:v>
                </c:pt>
                <c:pt idx="23979">
                  <c:v>-9.2436974789915603E-3</c:v>
                </c:pt>
                <c:pt idx="23980">
                  <c:v>-9.2436974789915603E-3</c:v>
                </c:pt>
                <c:pt idx="23981">
                  <c:v>-1.0084033613445301E-2</c:v>
                </c:pt>
                <c:pt idx="23982">
                  <c:v>-1.0084033613445301E-2</c:v>
                </c:pt>
                <c:pt idx="23983">
                  <c:v>-1.0084033613445301E-2</c:v>
                </c:pt>
                <c:pt idx="23984">
                  <c:v>-1.0084033613445301E-2</c:v>
                </c:pt>
                <c:pt idx="23985">
                  <c:v>-1.09243697478991E-2</c:v>
                </c:pt>
                <c:pt idx="23986">
                  <c:v>-1.09243697478991E-2</c:v>
                </c:pt>
                <c:pt idx="23987">
                  <c:v>-1.09243697478991E-2</c:v>
                </c:pt>
                <c:pt idx="23988">
                  <c:v>-1.09243697478991E-2</c:v>
                </c:pt>
                <c:pt idx="23989">
                  <c:v>-1.09243697478991E-2</c:v>
                </c:pt>
                <c:pt idx="23990">
                  <c:v>-1.09243697478991E-2</c:v>
                </c:pt>
                <c:pt idx="23991">
                  <c:v>-1.09243697478991E-2</c:v>
                </c:pt>
                <c:pt idx="23992">
                  <c:v>-1.1764705882352899E-2</c:v>
                </c:pt>
                <c:pt idx="23993">
                  <c:v>-1.1764705882352899E-2</c:v>
                </c:pt>
                <c:pt idx="23994">
                  <c:v>-1.1764705882352899E-2</c:v>
                </c:pt>
                <c:pt idx="23995">
                  <c:v>-1.1764705882352899E-2</c:v>
                </c:pt>
                <c:pt idx="23996">
                  <c:v>-1.1764705882352899E-2</c:v>
                </c:pt>
                <c:pt idx="23997">
                  <c:v>-1.1764705882352899E-2</c:v>
                </c:pt>
                <c:pt idx="23998">
                  <c:v>-1.1764705882352899E-2</c:v>
                </c:pt>
                <c:pt idx="23999">
                  <c:v>-1.1764705882352899E-2</c:v>
                </c:pt>
                <c:pt idx="24000">
                  <c:v>-1.1764705882352899E-2</c:v>
                </c:pt>
                <c:pt idx="24001">
                  <c:v>-1.1764705882352899E-2</c:v>
                </c:pt>
                <c:pt idx="24002">
                  <c:v>-1.1764705882352899E-2</c:v>
                </c:pt>
                <c:pt idx="24003">
                  <c:v>-1.1764705882352899E-2</c:v>
                </c:pt>
                <c:pt idx="24004">
                  <c:v>-1.1764705882352899E-2</c:v>
                </c:pt>
                <c:pt idx="24005">
                  <c:v>-1.1764705882352899E-2</c:v>
                </c:pt>
                <c:pt idx="24006">
                  <c:v>-1.1764705882352899E-2</c:v>
                </c:pt>
                <c:pt idx="24007">
                  <c:v>-1.1764705882352899E-2</c:v>
                </c:pt>
                <c:pt idx="24008">
                  <c:v>-1.1764705882352899E-2</c:v>
                </c:pt>
                <c:pt idx="24009">
                  <c:v>-1.09243697478991E-2</c:v>
                </c:pt>
                <c:pt idx="24010">
                  <c:v>-1.09243697478991E-2</c:v>
                </c:pt>
                <c:pt idx="24011">
                  <c:v>-1.09243697478991E-2</c:v>
                </c:pt>
                <c:pt idx="24012">
                  <c:v>-1.09243697478991E-2</c:v>
                </c:pt>
                <c:pt idx="24013">
                  <c:v>-1.09243697478991E-2</c:v>
                </c:pt>
                <c:pt idx="24014">
                  <c:v>-1.09243697478991E-2</c:v>
                </c:pt>
                <c:pt idx="24015">
                  <c:v>-1.09243697478991E-2</c:v>
                </c:pt>
                <c:pt idx="24016">
                  <c:v>-1.09243697478991E-2</c:v>
                </c:pt>
                <c:pt idx="24017">
                  <c:v>-1.09243697478991E-2</c:v>
                </c:pt>
                <c:pt idx="24018">
                  <c:v>-1.09243697478991E-2</c:v>
                </c:pt>
                <c:pt idx="24019">
                  <c:v>-1.09243697478991E-2</c:v>
                </c:pt>
                <c:pt idx="24020">
                  <c:v>-1.09243697478991E-2</c:v>
                </c:pt>
                <c:pt idx="24021">
                  <c:v>-1.09243697478991E-2</c:v>
                </c:pt>
                <c:pt idx="24022">
                  <c:v>-1.09243697478991E-2</c:v>
                </c:pt>
                <c:pt idx="24023">
                  <c:v>-1.09243697478991E-2</c:v>
                </c:pt>
                <c:pt idx="24024">
                  <c:v>-1.09243697478991E-2</c:v>
                </c:pt>
                <c:pt idx="24025">
                  <c:v>-1.09243697478991E-2</c:v>
                </c:pt>
                <c:pt idx="24026">
                  <c:v>-1.09243697478991E-2</c:v>
                </c:pt>
                <c:pt idx="24027">
                  <c:v>-1.09243697478991E-2</c:v>
                </c:pt>
                <c:pt idx="24028">
                  <c:v>-1.09243697478991E-2</c:v>
                </c:pt>
                <c:pt idx="24029">
                  <c:v>-1.0084033613445301E-2</c:v>
                </c:pt>
                <c:pt idx="24030">
                  <c:v>-1.0084033613445301E-2</c:v>
                </c:pt>
                <c:pt idx="24031">
                  <c:v>-1.0084033613445301E-2</c:v>
                </c:pt>
                <c:pt idx="24032">
                  <c:v>-1.0084033613445301E-2</c:v>
                </c:pt>
                <c:pt idx="24033">
                  <c:v>-1.0084033613445301E-2</c:v>
                </c:pt>
                <c:pt idx="24034">
                  <c:v>-1.0084033613445301E-2</c:v>
                </c:pt>
                <c:pt idx="24035">
                  <c:v>-1.0084033613445301E-2</c:v>
                </c:pt>
                <c:pt idx="24036">
                  <c:v>-1.0084033613445301E-2</c:v>
                </c:pt>
                <c:pt idx="24037">
                  <c:v>-1.0084033613445301E-2</c:v>
                </c:pt>
                <c:pt idx="24038">
                  <c:v>-1.0084033613445301E-2</c:v>
                </c:pt>
                <c:pt idx="24039">
                  <c:v>-1.0084033613445301E-2</c:v>
                </c:pt>
                <c:pt idx="24040">
                  <c:v>-1.0084033613445301E-2</c:v>
                </c:pt>
                <c:pt idx="24041">
                  <c:v>-1.0084033613445301E-2</c:v>
                </c:pt>
                <c:pt idx="24042">
                  <c:v>-1.0084033613445301E-2</c:v>
                </c:pt>
                <c:pt idx="24043">
                  <c:v>-1.0084033613445301E-2</c:v>
                </c:pt>
                <c:pt idx="24044">
                  <c:v>-1.0084033613445301E-2</c:v>
                </c:pt>
                <c:pt idx="24045">
                  <c:v>-1.0084033613445301E-2</c:v>
                </c:pt>
                <c:pt idx="24046">
                  <c:v>-1.0084033613445301E-2</c:v>
                </c:pt>
                <c:pt idx="24047">
                  <c:v>-1.0084033613445301E-2</c:v>
                </c:pt>
                <c:pt idx="24048">
                  <c:v>-1.0084033613445301E-2</c:v>
                </c:pt>
                <c:pt idx="24049">
                  <c:v>-1.0084033613445301E-2</c:v>
                </c:pt>
                <c:pt idx="24050">
                  <c:v>-1.0084033613445301E-2</c:v>
                </c:pt>
                <c:pt idx="24051">
                  <c:v>-1.0084033613445301E-2</c:v>
                </c:pt>
                <c:pt idx="24052">
                  <c:v>-1.0084033613445301E-2</c:v>
                </c:pt>
                <c:pt idx="24053">
                  <c:v>-1.0084033613445301E-2</c:v>
                </c:pt>
                <c:pt idx="24054">
                  <c:v>-1.0084033613445301E-2</c:v>
                </c:pt>
                <c:pt idx="24055">
                  <c:v>-1.0084033613445301E-2</c:v>
                </c:pt>
                <c:pt idx="24056">
                  <c:v>-1.0084033613445301E-2</c:v>
                </c:pt>
                <c:pt idx="24057">
                  <c:v>-1.0084033613445301E-2</c:v>
                </c:pt>
                <c:pt idx="24058">
                  <c:v>-1.0084033613445301E-2</c:v>
                </c:pt>
                <c:pt idx="24059">
                  <c:v>-1.0084033613445301E-2</c:v>
                </c:pt>
                <c:pt idx="24060">
                  <c:v>-1.0084033613445301E-2</c:v>
                </c:pt>
                <c:pt idx="24061">
                  <c:v>-1.0084033613445301E-2</c:v>
                </c:pt>
                <c:pt idx="24062">
                  <c:v>-1.0084033613445301E-2</c:v>
                </c:pt>
                <c:pt idx="24063">
                  <c:v>-1.0084033613445301E-2</c:v>
                </c:pt>
                <c:pt idx="24064">
                  <c:v>-1.0084033613445301E-2</c:v>
                </c:pt>
                <c:pt idx="24065">
                  <c:v>-1.0084033613445301E-2</c:v>
                </c:pt>
                <c:pt idx="24066">
                  <c:v>-1.0084033613445301E-2</c:v>
                </c:pt>
                <c:pt idx="24067">
                  <c:v>-1.0084033613445301E-2</c:v>
                </c:pt>
                <c:pt idx="24068">
                  <c:v>-1.0084033613445301E-2</c:v>
                </c:pt>
                <c:pt idx="24069">
                  <c:v>-1.0084033613445301E-2</c:v>
                </c:pt>
                <c:pt idx="24070">
                  <c:v>-1.0084033613445301E-2</c:v>
                </c:pt>
                <c:pt idx="24071">
                  <c:v>-1.0084033613445301E-2</c:v>
                </c:pt>
                <c:pt idx="24072">
                  <c:v>-1.0084033613445301E-2</c:v>
                </c:pt>
                <c:pt idx="24073">
                  <c:v>-1.0084033613445301E-2</c:v>
                </c:pt>
                <c:pt idx="24074">
                  <c:v>-1.0084033613445301E-2</c:v>
                </c:pt>
                <c:pt idx="24075">
                  <c:v>-1.0084033613445301E-2</c:v>
                </c:pt>
                <c:pt idx="24076">
                  <c:v>-1.0084033613445301E-2</c:v>
                </c:pt>
                <c:pt idx="24077">
                  <c:v>-1.0084033613445301E-2</c:v>
                </c:pt>
                <c:pt idx="24078">
                  <c:v>-1.0084033613445301E-2</c:v>
                </c:pt>
                <c:pt idx="24079">
                  <c:v>-1.0084033613445301E-2</c:v>
                </c:pt>
                <c:pt idx="24080">
                  <c:v>-1.0084033613445301E-2</c:v>
                </c:pt>
                <c:pt idx="24081">
                  <c:v>-1.0084033613445301E-2</c:v>
                </c:pt>
                <c:pt idx="24082">
                  <c:v>-1.0084033613445301E-2</c:v>
                </c:pt>
                <c:pt idx="24083">
                  <c:v>-1.0084033613445301E-2</c:v>
                </c:pt>
                <c:pt idx="24084">
                  <c:v>-1.0084033613445301E-2</c:v>
                </c:pt>
                <c:pt idx="24085">
                  <c:v>-1.0084033613445301E-2</c:v>
                </c:pt>
                <c:pt idx="24086">
                  <c:v>-1.0084033613445301E-2</c:v>
                </c:pt>
                <c:pt idx="24087">
                  <c:v>-1.0084033613445301E-2</c:v>
                </c:pt>
                <c:pt idx="24088">
                  <c:v>-1.0084033613445301E-2</c:v>
                </c:pt>
                <c:pt idx="24089">
                  <c:v>-1.0084033613445301E-2</c:v>
                </c:pt>
                <c:pt idx="24090">
                  <c:v>-1.0084033613445301E-2</c:v>
                </c:pt>
                <c:pt idx="24091">
                  <c:v>-1.0084033613445301E-2</c:v>
                </c:pt>
                <c:pt idx="24092">
                  <c:v>-1.0084033613445301E-2</c:v>
                </c:pt>
                <c:pt idx="24093">
                  <c:v>-1.0084033613445301E-2</c:v>
                </c:pt>
                <c:pt idx="24094">
                  <c:v>-1.0084033613445301E-2</c:v>
                </c:pt>
                <c:pt idx="24095">
                  <c:v>-1.0084033613445301E-2</c:v>
                </c:pt>
                <c:pt idx="24096">
                  <c:v>-1.0084033613445301E-2</c:v>
                </c:pt>
                <c:pt idx="24097">
                  <c:v>-1.0084033613445301E-2</c:v>
                </c:pt>
                <c:pt idx="24098">
                  <c:v>-1.0084033613445301E-2</c:v>
                </c:pt>
                <c:pt idx="24099">
                  <c:v>-1.0084033613445301E-2</c:v>
                </c:pt>
                <c:pt idx="24100">
                  <c:v>-1.0084033613445301E-2</c:v>
                </c:pt>
                <c:pt idx="24101">
                  <c:v>-1.0084033613445301E-2</c:v>
                </c:pt>
                <c:pt idx="24102">
                  <c:v>-1.0084033613445301E-2</c:v>
                </c:pt>
                <c:pt idx="24103">
                  <c:v>-1.0084033613445301E-2</c:v>
                </c:pt>
                <c:pt idx="24104">
                  <c:v>-1.0084033613445301E-2</c:v>
                </c:pt>
                <c:pt idx="24105">
                  <c:v>-1.0084033613445301E-2</c:v>
                </c:pt>
                <c:pt idx="24106">
                  <c:v>-1.0084033613445301E-2</c:v>
                </c:pt>
                <c:pt idx="24107">
                  <c:v>-1.0084033613445301E-2</c:v>
                </c:pt>
                <c:pt idx="24108">
                  <c:v>-1.0084033613445301E-2</c:v>
                </c:pt>
                <c:pt idx="24109">
                  <c:v>-1.0084033613445301E-2</c:v>
                </c:pt>
                <c:pt idx="24110">
                  <c:v>-1.0084033613445301E-2</c:v>
                </c:pt>
                <c:pt idx="24111">
                  <c:v>-1.0084033613445301E-2</c:v>
                </c:pt>
                <c:pt idx="24112">
                  <c:v>-1.0084033613445301E-2</c:v>
                </c:pt>
                <c:pt idx="24113">
                  <c:v>-1.0084033613445301E-2</c:v>
                </c:pt>
                <c:pt idx="24114">
                  <c:v>-1.0084033613445301E-2</c:v>
                </c:pt>
                <c:pt idx="24115">
                  <c:v>-1.0084033613445301E-2</c:v>
                </c:pt>
                <c:pt idx="24116">
                  <c:v>-1.0084033613445301E-2</c:v>
                </c:pt>
                <c:pt idx="24117">
                  <c:v>-1.0084033613445301E-2</c:v>
                </c:pt>
                <c:pt idx="24118">
                  <c:v>-1.0084033613445301E-2</c:v>
                </c:pt>
                <c:pt idx="24119">
                  <c:v>-1.0084033613445301E-2</c:v>
                </c:pt>
                <c:pt idx="24120">
                  <c:v>-1.0084033613445301E-2</c:v>
                </c:pt>
                <c:pt idx="24121">
                  <c:v>-1.0084033613445301E-2</c:v>
                </c:pt>
                <c:pt idx="24122">
                  <c:v>-1.0084033613445301E-2</c:v>
                </c:pt>
                <c:pt idx="24123">
                  <c:v>-1.0084033613445301E-2</c:v>
                </c:pt>
                <c:pt idx="24124">
                  <c:v>-1.0084033613445301E-2</c:v>
                </c:pt>
                <c:pt idx="24125">
                  <c:v>-1.0084033613445301E-2</c:v>
                </c:pt>
                <c:pt idx="24126">
                  <c:v>-1.0084033613445301E-2</c:v>
                </c:pt>
                <c:pt idx="24127">
                  <c:v>-1.0084033613445301E-2</c:v>
                </c:pt>
                <c:pt idx="24128">
                  <c:v>-1.0084033613445301E-2</c:v>
                </c:pt>
                <c:pt idx="24129">
                  <c:v>-1.0084033613445301E-2</c:v>
                </c:pt>
                <c:pt idx="24130">
                  <c:v>-1.0084033613445301E-2</c:v>
                </c:pt>
                <c:pt idx="24131">
                  <c:v>-1.0084033613445301E-2</c:v>
                </c:pt>
                <c:pt idx="24132">
                  <c:v>-1.09243697478991E-2</c:v>
                </c:pt>
                <c:pt idx="24133">
                  <c:v>-1.09243697478991E-2</c:v>
                </c:pt>
                <c:pt idx="24134">
                  <c:v>-1.09243697478991E-2</c:v>
                </c:pt>
                <c:pt idx="24135">
                  <c:v>-1.09243697478991E-2</c:v>
                </c:pt>
                <c:pt idx="24136">
                  <c:v>-1.09243697478991E-2</c:v>
                </c:pt>
                <c:pt idx="24137">
                  <c:v>-1.09243697478991E-2</c:v>
                </c:pt>
                <c:pt idx="24138">
                  <c:v>-1.09243697478991E-2</c:v>
                </c:pt>
                <c:pt idx="24139">
                  <c:v>-1.09243697478991E-2</c:v>
                </c:pt>
                <c:pt idx="24140">
                  <c:v>-1.09243697478991E-2</c:v>
                </c:pt>
                <c:pt idx="24141">
                  <c:v>-1.09243697478991E-2</c:v>
                </c:pt>
                <c:pt idx="24142">
                  <c:v>-1.09243697478991E-2</c:v>
                </c:pt>
                <c:pt idx="24143">
                  <c:v>-1.09243697478991E-2</c:v>
                </c:pt>
                <c:pt idx="24144">
                  <c:v>-1.09243697478991E-2</c:v>
                </c:pt>
                <c:pt idx="24145">
                  <c:v>-1.09243697478991E-2</c:v>
                </c:pt>
                <c:pt idx="24146">
                  <c:v>-1.09243697478991E-2</c:v>
                </c:pt>
                <c:pt idx="24147">
                  <c:v>-1.09243697478991E-2</c:v>
                </c:pt>
                <c:pt idx="24148">
                  <c:v>-1.09243697478991E-2</c:v>
                </c:pt>
                <c:pt idx="24149">
                  <c:v>-1.09243697478991E-2</c:v>
                </c:pt>
                <c:pt idx="24150">
                  <c:v>-1.09243697478991E-2</c:v>
                </c:pt>
                <c:pt idx="24151">
                  <c:v>-1.09243697478991E-2</c:v>
                </c:pt>
                <c:pt idx="24152">
                  <c:v>-1.09243697478991E-2</c:v>
                </c:pt>
                <c:pt idx="24153">
                  <c:v>-1.09243697478991E-2</c:v>
                </c:pt>
                <c:pt idx="24154">
                  <c:v>-1.09243697478991E-2</c:v>
                </c:pt>
                <c:pt idx="24155">
                  <c:v>-1.09243697478991E-2</c:v>
                </c:pt>
                <c:pt idx="24156">
                  <c:v>-1.09243697478991E-2</c:v>
                </c:pt>
                <c:pt idx="24157">
                  <c:v>-1.09243697478991E-2</c:v>
                </c:pt>
                <c:pt idx="24158">
                  <c:v>-1.09243697478991E-2</c:v>
                </c:pt>
                <c:pt idx="24159">
                  <c:v>-1.09243697478991E-2</c:v>
                </c:pt>
                <c:pt idx="24160">
                  <c:v>-1.09243697478991E-2</c:v>
                </c:pt>
                <c:pt idx="24161">
                  <c:v>-1.09243697478991E-2</c:v>
                </c:pt>
                <c:pt idx="24162">
                  <c:v>-1.09243697478991E-2</c:v>
                </c:pt>
                <c:pt idx="24163">
                  <c:v>-1.09243697478991E-2</c:v>
                </c:pt>
                <c:pt idx="24164">
                  <c:v>-1.09243697478991E-2</c:v>
                </c:pt>
                <c:pt idx="24165">
                  <c:v>-1.09243697478991E-2</c:v>
                </c:pt>
                <c:pt idx="24166">
                  <c:v>-1.09243697478991E-2</c:v>
                </c:pt>
                <c:pt idx="24167">
                  <c:v>-1.09243697478991E-2</c:v>
                </c:pt>
                <c:pt idx="24168">
                  <c:v>-1.09243697478991E-2</c:v>
                </c:pt>
                <c:pt idx="24169">
                  <c:v>-1.09243697478991E-2</c:v>
                </c:pt>
                <c:pt idx="24170">
                  <c:v>-1.09243697478991E-2</c:v>
                </c:pt>
                <c:pt idx="24171">
                  <c:v>-1.09243697478991E-2</c:v>
                </c:pt>
                <c:pt idx="24172">
                  <c:v>-1.09243697478991E-2</c:v>
                </c:pt>
                <c:pt idx="24173">
                  <c:v>-1.09243697478991E-2</c:v>
                </c:pt>
                <c:pt idx="24174">
                  <c:v>-1.09243697478991E-2</c:v>
                </c:pt>
                <c:pt idx="24175">
                  <c:v>-1.09243697478991E-2</c:v>
                </c:pt>
                <c:pt idx="24176">
                  <c:v>-1.09243697478991E-2</c:v>
                </c:pt>
                <c:pt idx="24177">
                  <c:v>-1.09243697478991E-2</c:v>
                </c:pt>
                <c:pt idx="24178">
                  <c:v>-1.09243697478991E-2</c:v>
                </c:pt>
                <c:pt idx="24179">
                  <c:v>-1.09243697478991E-2</c:v>
                </c:pt>
                <c:pt idx="24180">
                  <c:v>-1.09243697478991E-2</c:v>
                </c:pt>
                <c:pt idx="24181">
                  <c:v>-1.09243697478991E-2</c:v>
                </c:pt>
                <c:pt idx="24182">
                  <c:v>-1.09243697478991E-2</c:v>
                </c:pt>
                <c:pt idx="24183">
                  <c:v>-1.09243697478991E-2</c:v>
                </c:pt>
                <c:pt idx="24184">
                  <c:v>-1.09243697478991E-2</c:v>
                </c:pt>
                <c:pt idx="24185">
                  <c:v>-1.09243697478991E-2</c:v>
                </c:pt>
                <c:pt idx="24186">
                  <c:v>-1.09243697478991E-2</c:v>
                </c:pt>
                <c:pt idx="24187">
                  <c:v>-1.09243697478991E-2</c:v>
                </c:pt>
                <c:pt idx="24188">
                  <c:v>-1.09243697478991E-2</c:v>
                </c:pt>
                <c:pt idx="24189">
                  <c:v>-1.09243697478991E-2</c:v>
                </c:pt>
                <c:pt idx="24190">
                  <c:v>-1.09243697478991E-2</c:v>
                </c:pt>
                <c:pt idx="24191">
                  <c:v>-1.09243697478991E-2</c:v>
                </c:pt>
                <c:pt idx="24192">
                  <c:v>-1.09243697478991E-2</c:v>
                </c:pt>
                <c:pt idx="24193">
                  <c:v>-1.0084033613445301E-2</c:v>
                </c:pt>
                <c:pt idx="24194">
                  <c:v>-1.0084033613445301E-2</c:v>
                </c:pt>
                <c:pt idx="24195">
                  <c:v>-1.0084033613445301E-2</c:v>
                </c:pt>
                <c:pt idx="24196">
                  <c:v>-1.0084033613445301E-2</c:v>
                </c:pt>
                <c:pt idx="24197">
                  <c:v>-1.0084033613445301E-2</c:v>
                </c:pt>
                <c:pt idx="24198">
                  <c:v>-1.0084033613445301E-2</c:v>
                </c:pt>
                <c:pt idx="24199">
                  <c:v>-1.0084033613445301E-2</c:v>
                </c:pt>
                <c:pt idx="24200">
                  <c:v>-1.0084033613445301E-2</c:v>
                </c:pt>
                <c:pt idx="24201">
                  <c:v>-1.0084033613445301E-2</c:v>
                </c:pt>
                <c:pt idx="24202">
                  <c:v>-1.0084033613445301E-2</c:v>
                </c:pt>
                <c:pt idx="24203">
                  <c:v>-1.0084033613445301E-2</c:v>
                </c:pt>
                <c:pt idx="24204">
                  <c:v>-1.0084033613445301E-2</c:v>
                </c:pt>
                <c:pt idx="24205">
                  <c:v>-1.0084033613445301E-2</c:v>
                </c:pt>
                <c:pt idx="24206">
                  <c:v>-1.0084033613445301E-2</c:v>
                </c:pt>
                <c:pt idx="24207">
                  <c:v>-1.0084033613445301E-2</c:v>
                </c:pt>
                <c:pt idx="24208">
                  <c:v>-1.0084033613445301E-2</c:v>
                </c:pt>
                <c:pt idx="24209">
                  <c:v>-1.0084033613445301E-2</c:v>
                </c:pt>
                <c:pt idx="24210">
                  <c:v>-1.0084033613445301E-2</c:v>
                </c:pt>
                <c:pt idx="24211">
                  <c:v>-1.0084033613445301E-2</c:v>
                </c:pt>
                <c:pt idx="24212">
                  <c:v>-1.0084033613445301E-2</c:v>
                </c:pt>
                <c:pt idx="24213">
                  <c:v>-1.0084033613445301E-2</c:v>
                </c:pt>
                <c:pt idx="24214">
                  <c:v>-1.0084033613445301E-2</c:v>
                </c:pt>
                <c:pt idx="24215">
                  <c:v>-1.0084033613445301E-2</c:v>
                </c:pt>
                <c:pt idx="24216">
                  <c:v>-1.0084033613445301E-2</c:v>
                </c:pt>
                <c:pt idx="24217">
                  <c:v>-1.0084033613445301E-2</c:v>
                </c:pt>
                <c:pt idx="24218">
                  <c:v>-1.0084033613445301E-2</c:v>
                </c:pt>
                <c:pt idx="24219">
                  <c:v>-1.0084033613445301E-2</c:v>
                </c:pt>
                <c:pt idx="24220">
                  <c:v>-1.0084033613445301E-2</c:v>
                </c:pt>
                <c:pt idx="24221">
                  <c:v>-1.0084033613445301E-2</c:v>
                </c:pt>
                <c:pt idx="24222">
                  <c:v>-1.0084033613445301E-2</c:v>
                </c:pt>
                <c:pt idx="24223">
                  <c:v>-1.0084033613445301E-2</c:v>
                </c:pt>
                <c:pt idx="24224">
                  <c:v>-1.0084033613445301E-2</c:v>
                </c:pt>
                <c:pt idx="24225">
                  <c:v>-1.0084033613445301E-2</c:v>
                </c:pt>
                <c:pt idx="24226">
                  <c:v>-1.0084033613445301E-2</c:v>
                </c:pt>
                <c:pt idx="24227">
                  <c:v>-1.0084033613445301E-2</c:v>
                </c:pt>
                <c:pt idx="24228">
                  <c:v>-1.0084033613445301E-2</c:v>
                </c:pt>
                <c:pt idx="24229">
                  <c:v>-1.0084033613445301E-2</c:v>
                </c:pt>
                <c:pt idx="24230">
                  <c:v>-1.0084033613445301E-2</c:v>
                </c:pt>
                <c:pt idx="24231">
                  <c:v>-1.0084033613445301E-2</c:v>
                </c:pt>
                <c:pt idx="24232">
                  <c:v>-1.0084033613445301E-2</c:v>
                </c:pt>
                <c:pt idx="24233">
                  <c:v>-1.0084033613445301E-2</c:v>
                </c:pt>
                <c:pt idx="24234">
                  <c:v>-1.0084033613445301E-2</c:v>
                </c:pt>
                <c:pt idx="24235">
                  <c:v>-1.0084033613445301E-2</c:v>
                </c:pt>
                <c:pt idx="24236">
                  <c:v>-1.0084033613445301E-2</c:v>
                </c:pt>
                <c:pt idx="24237">
                  <c:v>-1.0084033613445301E-2</c:v>
                </c:pt>
                <c:pt idx="24238">
                  <c:v>-1.0084033613445301E-2</c:v>
                </c:pt>
                <c:pt idx="24239">
                  <c:v>-1.0084033613445301E-2</c:v>
                </c:pt>
                <c:pt idx="24240">
                  <c:v>-1.0084033613445301E-2</c:v>
                </c:pt>
                <c:pt idx="24241">
                  <c:v>-1.0084033613445301E-2</c:v>
                </c:pt>
                <c:pt idx="24242">
                  <c:v>-1.0084033613445301E-2</c:v>
                </c:pt>
                <c:pt idx="24243">
                  <c:v>-1.0084033613445301E-2</c:v>
                </c:pt>
                <c:pt idx="24244">
                  <c:v>-1.0084033613445301E-2</c:v>
                </c:pt>
                <c:pt idx="24245">
                  <c:v>-1.0084033613445301E-2</c:v>
                </c:pt>
                <c:pt idx="24246">
                  <c:v>-1.0924369747899201E-2</c:v>
                </c:pt>
                <c:pt idx="24247">
                  <c:v>-1.0924369747899201E-2</c:v>
                </c:pt>
                <c:pt idx="24248">
                  <c:v>-1.0924369747899201E-2</c:v>
                </c:pt>
                <c:pt idx="24249">
                  <c:v>-1.0924369747899201E-2</c:v>
                </c:pt>
                <c:pt idx="24250">
                  <c:v>-1.0924369747899201E-2</c:v>
                </c:pt>
                <c:pt idx="24251">
                  <c:v>-1.0924369747899201E-2</c:v>
                </c:pt>
                <c:pt idx="24252">
                  <c:v>-1.0924369747899201E-2</c:v>
                </c:pt>
                <c:pt idx="24253">
                  <c:v>-1.0924369747899201E-2</c:v>
                </c:pt>
                <c:pt idx="24254">
                  <c:v>-1.0924369747899201E-2</c:v>
                </c:pt>
                <c:pt idx="24255">
                  <c:v>-1.0924369747899201E-2</c:v>
                </c:pt>
                <c:pt idx="24256">
                  <c:v>-1.0924369747899201E-2</c:v>
                </c:pt>
                <c:pt idx="24257">
                  <c:v>-1.0924369747899201E-2</c:v>
                </c:pt>
                <c:pt idx="24258">
                  <c:v>-1.0924369747899201E-2</c:v>
                </c:pt>
                <c:pt idx="24259">
                  <c:v>-1.0924369747899201E-2</c:v>
                </c:pt>
                <c:pt idx="24260">
                  <c:v>-1.0924369747899201E-2</c:v>
                </c:pt>
                <c:pt idx="24261">
                  <c:v>-1.0924369747899201E-2</c:v>
                </c:pt>
                <c:pt idx="24262">
                  <c:v>-1.0924369747899201E-2</c:v>
                </c:pt>
                <c:pt idx="24263">
                  <c:v>-1.0924369747899201E-2</c:v>
                </c:pt>
                <c:pt idx="24264">
                  <c:v>-1.0924369747899201E-2</c:v>
                </c:pt>
                <c:pt idx="24265">
                  <c:v>-1.0924369747899201E-2</c:v>
                </c:pt>
                <c:pt idx="24266">
                  <c:v>-1.0924369747899201E-2</c:v>
                </c:pt>
                <c:pt idx="24267">
                  <c:v>-1.0924369747899201E-2</c:v>
                </c:pt>
                <c:pt idx="24268">
                  <c:v>-1.0924369747899201E-2</c:v>
                </c:pt>
                <c:pt idx="24269">
                  <c:v>-1.0924369747899201E-2</c:v>
                </c:pt>
                <c:pt idx="24270">
                  <c:v>-1.0924369747899201E-2</c:v>
                </c:pt>
                <c:pt idx="24271">
                  <c:v>-1.0924369747899201E-2</c:v>
                </c:pt>
                <c:pt idx="24272">
                  <c:v>-1.0924369747899201E-2</c:v>
                </c:pt>
                <c:pt idx="24273">
                  <c:v>-1.0924369747899201E-2</c:v>
                </c:pt>
                <c:pt idx="24274">
                  <c:v>-1.0924369747899201E-2</c:v>
                </c:pt>
                <c:pt idx="24275">
                  <c:v>-1.0924369747899201E-2</c:v>
                </c:pt>
                <c:pt idx="24276">
                  <c:v>-1.0924369747899201E-2</c:v>
                </c:pt>
                <c:pt idx="24277">
                  <c:v>-1.0924369747899201E-2</c:v>
                </c:pt>
                <c:pt idx="24278">
                  <c:v>-1.0924369747899201E-2</c:v>
                </c:pt>
                <c:pt idx="24279">
                  <c:v>-1.0924369747899201E-2</c:v>
                </c:pt>
                <c:pt idx="24280">
                  <c:v>-1.0924369747899201E-2</c:v>
                </c:pt>
                <c:pt idx="24281">
                  <c:v>-1.0924369747899201E-2</c:v>
                </c:pt>
                <c:pt idx="24282">
                  <c:v>-1.0924369747899201E-2</c:v>
                </c:pt>
                <c:pt idx="24283">
                  <c:v>-1.0924369747899201E-2</c:v>
                </c:pt>
                <c:pt idx="24284">
                  <c:v>-1.0924369747899201E-2</c:v>
                </c:pt>
                <c:pt idx="24285">
                  <c:v>-1.0924369747899201E-2</c:v>
                </c:pt>
                <c:pt idx="24286">
                  <c:v>-1.0924369747899201E-2</c:v>
                </c:pt>
                <c:pt idx="24287">
                  <c:v>-1.0924369747899201E-2</c:v>
                </c:pt>
                <c:pt idx="24288">
                  <c:v>-1.0924369747899201E-2</c:v>
                </c:pt>
                <c:pt idx="24289">
                  <c:v>-1.0924369747899201E-2</c:v>
                </c:pt>
                <c:pt idx="24290">
                  <c:v>-1.0924369747899201E-2</c:v>
                </c:pt>
                <c:pt idx="24291">
                  <c:v>-1.0924369747899201E-2</c:v>
                </c:pt>
                <c:pt idx="24292">
                  <c:v>-1.0924369747899201E-2</c:v>
                </c:pt>
                <c:pt idx="24293">
                  <c:v>-1.0924369747899201E-2</c:v>
                </c:pt>
                <c:pt idx="24294">
                  <c:v>-1.0924369747899201E-2</c:v>
                </c:pt>
                <c:pt idx="24295">
                  <c:v>-1.0924369747899201E-2</c:v>
                </c:pt>
                <c:pt idx="24296">
                  <c:v>-1.0924369747899201E-2</c:v>
                </c:pt>
                <c:pt idx="24297">
                  <c:v>-1.0924369747899201E-2</c:v>
                </c:pt>
                <c:pt idx="24298">
                  <c:v>-1.0924369747899201E-2</c:v>
                </c:pt>
                <c:pt idx="24299">
                  <c:v>-1.0924369747899201E-2</c:v>
                </c:pt>
                <c:pt idx="24300">
                  <c:v>-1.0924369747899201E-2</c:v>
                </c:pt>
                <c:pt idx="24301">
                  <c:v>-1.0924369747899201E-2</c:v>
                </c:pt>
                <c:pt idx="24302">
                  <c:v>-1.0924369747899201E-2</c:v>
                </c:pt>
                <c:pt idx="24303">
                  <c:v>-1.0924369747899201E-2</c:v>
                </c:pt>
                <c:pt idx="24304">
                  <c:v>-1.0924369747899201E-2</c:v>
                </c:pt>
                <c:pt idx="24305">
                  <c:v>-1.0924369747899201E-2</c:v>
                </c:pt>
                <c:pt idx="24306">
                  <c:v>-1.0924369747899201E-2</c:v>
                </c:pt>
                <c:pt idx="24307">
                  <c:v>-1.00840336134454E-2</c:v>
                </c:pt>
                <c:pt idx="24308">
                  <c:v>-1.00840336134454E-2</c:v>
                </c:pt>
                <c:pt idx="24309">
                  <c:v>-1.00840336134454E-2</c:v>
                </c:pt>
                <c:pt idx="24310">
                  <c:v>-1.00840336134454E-2</c:v>
                </c:pt>
                <c:pt idx="24311">
                  <c:v>-1.00840336134454E-2</c:v>
                </c:pt>
                <c:pt idx="24312">
                  <c:v>-1.00840336134454E-2</c:v>
                </c:pt>
                <c:pt idx="24313">
                  <c:v>-1.00840336134454E-2</c:v>
                </c:pt>
                <c:pt idx="24314">
                  <c:v>-1.00840336134454E-2</c:v>
                </c:pt>
                <c:pt idx="24315">
                  <c:v>-1.00840336134454E-2</c:v>
                </c:pt>
                <c:pt idx="24316">
                  <c:v>-1.00840336134454E-2</c:v>
                </c:pt>
                <c:pt idx="24317">
                  <c:v>-1.00840336134454E-2</c:v>
                </c:pt>
                <c:pt idx="24318">
                  <c:v>-1.00840336134454E-2</c:v>
                </c:pt>
                <c:pt idx="24319">
                  <c:v>-1.00840336134454E-2</c:v>
                </c:pt>
                <c:pt idx="24320">
                  <c:v>-1.00840336134454E-2</c:v>
                </c:pt>
                <c:pt idx="24321">
                  <c:v>-1.00840336134454E-2</c:v>
                </c:pt>
                <c:pt idx="24322">
                  <c:v>-1.00840336134454E-2</c:v>
                </c:pt>
                <c:pt idx="24323">
                  <c:v>-1.00840336134454E-2</c:v>
                </c:pt>
                <c:pt idx="24324">
                  <c:v>-1.00840336134454E-2</c:v>
                </c:pt>
                <c:pt idx="24325">
                  <c:v>-1.00840336134454E-2</c:v>
                </c:pt>
                <c:pt idx="24326">
                  <c:v>-1.00840336134454E-2</c:v>
                </c:pt>
                <c:pt idx="24327">
                  <c:v>-1.00840336134454E-2</c:v>
                </c:pt>
                <c:pt idx="24328">
                  <c:v>-1.00840336134454E-2</c:v>
                </c:pt>
                <c:pt idx="24329">
                  <c:v>-1.00840336134454E-2</c:v>
                </c:pt>
                <c:pt idx="24330">
                  <c:v>-1.00840336134454E-2</c:v>
                </c:pt>
                <c:pt idx="24331">
                  <c:v>-1.00840336134454E-2</c:v>
                </c:pt>
                <c:pt idx="24332">
                  <c:v>-1.00840336134454E-2</c:v>
                </c:pt>
                <c:pt idx="24333">
                  <c:v>-1.00840336134454E-2</c:v>
                </c:pt>
                <c:pt idx="24334">
                  <c:v>-1.00840336134454E-2</c:v>
                </c:pt>
                <c:pt idx="24335">
                  <c:v>-1.00840336134454E-2</c:v>
                </c:pt>
                <c:pt idx="24336">
                  <c:v>-1.00840336134454E-2</c:v>
                </c:pt>
                <c:pt idx="24337">
                  <c:v>-1.00840336134454E-2</c:v>
                </c:pt>
                <c:pt idx="24338">
                  <c:v>-1.00840336134454E-2</c:v>
                </c:pt>
                <c:pt idx="24339">
                  <c:v>-1.00840336134454E-2</c:v>
                </c:pt>
                <c:pt idx="24340">
                  <c:v>-1.00840336134454E-2</c:v>
                </c:pt>
                <c:pt idx="24341">
                  <c:v>-1.00840336134454E-2</c:v>
                </c:pt>
                <c:pt idx="24342">
                  <c:v>-1.00840336134454E-2</c:v>
                </c:pt>
                <c:pt idx="24343">
                  <c:v>-1.00840336134454E-2</c:v>
                </c:pt>
                <c:pt idx="24344">
                  <c:v>-1.00840336134454E-2</c:v>
                </c:pt>
                <c:pt idx="24345">
                  <c:v>-1.00840336134454E-2</c:v>
                </c:pt>
                <c:pt idx="24346">
                  <c:v>-1.00840336134454E-2</c:v>
                </c:pt>
                <c:pt idx="24347">
                  <c:v>-1.00840336134454E-2</c:v>
                </c:pt>
                <c:pt idx="24348">
                  <c:v>-1.00840336134454E-2</c:v>
                </c:pt>
                <c:pt idx="24349">
                  <c:v>-1.00840336134454E-2</c:v>
                </c:pt>
                <c:pt idx="24350">
                  <c:v>-1.00840336134454E-2</c:v>
                </c:pt>
                <c:pt idx="24351">
                  <c:v>-1.00840336134454E-2</c:v>
                </c:pt>
                <c:pt idx="24352">
                  <c:v>-1.00840336134454E-2</c:v>
                </c:pt>
                <c:pt idx="24353">
                  <c:v>-1.00840336134454E-2</c:v>
                </c:pt>
                <c:pt idx="24354">
                  <c:v>-1.00840336134454E-2</c:v>
                </c:pt>
                <c:pt idx="24355">
                  <c:v>-1.00840336134454E-2</c:v>
                </c:pt>
                <c:pt idx="24356">
                  <c:v>-1.00840336134454E-2</c:v>
                </c:pt>
                <c:pt idx="24357">
                  <c:v>-1.00840336134454E-2</c:v>
                </c:pt>
                <c:pt idx="24358">
                  <c:v>-1.00840336134454E-2</c:v>
                </c:pt>
                <c:pt idx="24359">
                  <c:v>-1.0924369747899201E-2</c:v>
                </c:pt>
                <c:pt idx="24360">
                  <c:v>-1.0924369747899201E-2</c:v>
                </c:pt>
                <c:pt idx="24361">
                  <c:v>-1.0924369747899201E-2</c:v>
                </c:pt>
                <c:pt idx="24362">
                  <c:v>-1.0924369747899201E-2</c:v>
                </c:pt>
                <c:pt idx="24363">
                  <c:v>-1.00840336134454E-2</c:v>
                </c:pt>
                <c:pt idx="24364">
                  <c:v>-9.2436974789916696E-3</c:v>
                </c:pt>
                <c:pt idx="24365">
                  <c:v>-9.2436974789916696E-3</c:v>
                </c:pt>
                <c:pt idx="24366">
                  <c:v>-9.2436974789916696E-3</c:v>
                </c:pt>
                <c:pt idx="24367">
                  <c:v>-9.2436974789916696E-3</c:v>
                </c:pt>
                <c:pt idx="24368">
                  <c:v>-9.2436974789916696E-3</c:v>
                </c:pt>
                <c:pt idx="24369">
                  <c:v>-9.2436974789916696E-3</c:v>
                </c:pt>
                <c:pt idx="24370">
                  <c:v>-9.2436974789916696E-3</c:v>
                </c:pt>
                <c:pt idx="24371">
                  <c:v>-9.2436974789916696E-3</c:v>
                </c:pt>
                <c:pt idx="24372">
                  <c:v>-9.2436974789916696E-3</c:v>
                </c:pt>
                <c:pt idx="24373">
                  <c:v>-8.4033613445378894E-3</c:v>
                </c:pt>
                <c:pt idx="24374">
                  <c:v>-8.4033613445378894E-3</c:v>
                </c:pt>
                <c:pt idx="24375">
                  <c:v>-8.4033613445378894E-3</c:v>
                </c:pt>
                <c:pt idx="24376">
                  <c:v>-8.4033613445378894E-3</c:v>
                </c:pt>
                <c:pt idx="24377">
                  <c:v>-8.4033613445378894E-3</c:v>
                </c:pt>
                <c:pt idx="24378">
                  <c:v>-8.4033613445378894E-3</c:v>
                </c:pt>
                <c:pt idx="24379">
                  <c:v>-8.4033613445378894E-3</c:v>
                </c:pt>
                <c:pt idx="24380">
                  <c:v>-8.4033613445378894E-3</c:v>
                </c:pt>
                <c:pt idx="24381">
                  <c:v>-8.4033613445378894E-3</c:v>
                </c:pt>
                <c:pt idx="24382">
                  <c:v>-8.4033613445378894E-3</c:v>
                </c:pt>
                <c:pt idx="24383">
                  <c:v>-8.4033613445378894E-3</c:v>
                </c:pt>
                <c:pt idx="24384">
                  <c:v>-8.4033613445378894E-3</c:v>
                </c:pt>
                <c:pt idx="24385">
                  <c:v>-8.4033613445378894E-3</c:v>
                </c:pt>
                <c:pt idx="24386">
                  <c:v>-8.4033613445378894E-3</c:v>
                </c:pt>
                <c:pt idx="24387">
                  <c:v>-8.4033613445378894E-3</c:v>
                </c:pt>
                <c:pt idx="24388">
                  <c:v>-8.4033613445378894E-3</c:v>
                </c:pt>
                <c:pt idx="24389">
                  <c:v>-8.4033613445378894E-3</c:v>
                </c:pt>
                <c:pt idx="24390">
                  <c:v>-8.4033613445378894E-3</c:v>
                </c:pt>
                <c:pt idx="24391">
                  <c:v>-8.4033613445378894E-3</c:v>
                </c:pt>
                <c:pt idx="24392">
                  <c:v>-8.4033613445378894E-3</c:v>
                </c:pt>
                <c:pt idx="24393">
                  <c:v>-8.4033613445378894E-3</c:v>
                </c:pt>
                <c:pt idx="24394">
                  <c:v>-8.4033613445378894E-3</c:v>
                </c:pt>
                <c:pt idx="24395">
                  <c:v>-8.4033613445378894E-3</c:v>
                </c:pt>
                <c:pt idx="24396">
                  <c:v>-8.4033613445378894E-3</c:v>
                </c:pt>
                <c:pt idx="24397">
                  <c:v>-8.4033613445378894E-3</c:v>
                </c:pt>
                <c:pt idx="24398">
                  <c:v>-8.4033613445378894E-3</c:v>
                </c:pt>
                <c:pt idx="24399">
                  <c:v>-8.4033613445378894E-3</c:v>
                </c:pt>
                <c:pt idx="24400">
                  <c:v>-8.4033613445378894E-3</c:v>
                </c:pt>
                <c:pt idx="24401">
                  <c:v>-8.4033613445378894E-3</c:v>
                </c:pt>
                <c:pt idx="24402">
                  <c:v>-8.4033613445378894E-3</c:v>
                </c:pt>
                <c:pt idx="24403">
                  <c:v>-8.4033613445378894E-3</c:v>
                </c:pt>
                <c:pt idx="24404">
                  <c:v>-8.4033613445378894E-3</c:v>
                </c:pt>
                <c:pt idx="24405">
                  <c:v>-8.4033613445378894E-3</c:v>
                </c:pt>
                <c:pt idx="24406">
                  <c:v>-8.4033613445378894E-3</c:v>
                </c:pt>
                <c:pt idx="24407">
                  <c:v>-8.4033613445378894E-3</c:v>
                </c:pt>
                <c:pt idx="24408">
                  <c:v>-8.4033613445378894E-3</c:v>
                </c:pt>
                <c:pt idx="24409">
                  <c:v>-8.4033613445378894E-3</c:v>
                </c:pt>
                <c:pt idx="24410">
                  <c:v>-8.4033613445378894E-3</c:v>
                </c:pt>
                <c:pt idx="24411">
                  <c:v>-8.4033613445378894E-3</c:v>
                </c:pt>
                <c:pt idx="24412">
                  <c:v>-8.4033613445378894E-3</c:v>
                </c:pt>
                <c:pt idx="24413">
                  <c:v>-8.4033613445378894E-3</c:v>
                </c:pt>
                <c:pt idx="24414">
                  <c:v>-9.2436974789916696E-3</c:v>
                </c:pt>
                <c:pt idx="24415">
                  <c:v>-9.2436974789916696E-3</c:v>
                </c:pt>
                <c:pt idx="24416">
                  <c:v>-9.2436974789916696E-3</c:v>
                </c:pt>
                <c:pt idx="24417">
                  <c:v>-9.2436974789916696E-3</c:v>
                </c:pt>
                <c:pt idx="24418">
                  <c:v>-9.2436974789916696E-3</c:v>
                </c:pt>
                <c:pt idx="24419">
                  <c:v>-9.2436974789916696E-3</c:v>
                </c:pt>
                <c:pt idx="24420">
                  <c:v>-9.2436974789916696E-3</c:v>
                </c:pt>
                <c:pt idx="24421">
                  <c:v>-9.2436974789916696E-3</c:v>
                </c:pt>
                <c:pt idx="24422">
                  <c:v>-9.2436974789916696E-3</c:v>
                </c:pt>
                <c:pt idx="24423">
                  <c:v>-9.2436974789916696E-3</c:v>
                </c:pt>
                <c:pt idx="24424">
                  <c:v>-9.2436974789916696E-3</c:v>
                </c:pt>
                <c:pt idx="24425">
                  <c:v>-9.2436974789916696E-3</c:v>
                </c:pt>
                <c:pt idx="24426">
                  <c:v>-9.2436974789916696E-3</c:v>
                </c:pt>
                <c:pt idx="24427">
                  <c:v>-9.2436974789916696E-3</c:v>
                </c:pt>
                <c:pt idx="24428">
                  <c:v>-9.2436974789916696E-3</c:v>
                </c:pt>
                <c:pt idx="24429">
                  <c:v>-9.2436974789916696E-3</c:v>
                </c:pt>
                <c:pt idx="24430">
                  <c:v>-9.2436974789916696E-3</c:v>
                </c:pt>
                <c:pt idx="24431">
                  <c:v>-9.2436974789916696E-3</c:v>
                </c:pt>
                <c:pt idx="24432">
                  <c:v>-9.2436974789916696E-3</c:v>
                </c:pt>
                <c:pt idx="24433">
                  <c:v>-1.00840336134454E-2</c:v>
                </c:pt>
                <c:pt idx="24434">
                  <c:v>-1.00840336134454E-2</c:v>
                </c:pt>
                <c:pt idx="24435">
                  <c:v>-1.00840336134454E-2</c:v>
                </c:pt>
                <c:pt idx="24436">
                  <c:v>-1.00840336134454E-2</c:v>
                </c:pt>
                <c:pt idx="24437">
                  <c:v>-1.00840336134454E-2</c:v>
                </c:pt>
                <c:pt idx="24438">
                  <c:v>-1.00840336134454E-2</c:v>
                </c:pt>
                <c:pt idx="24439">
                  <c:v>-1.00840336134454E-2</c:v>
                </c:pt>
                <c:pt idx="24440">
                  <c:v>-1.00840336134454E-2</c:v>
                </c:pt>
                <c:pt idx="24441">
                  <c:v>-1.00840336134454E-2</c:v>
                </c:pt>
                <c:pt idx="24442">
                  <c:v>-1.00840336134454E-2</c:v>
                </c:pt>
                <c:pt idx="24443">
                  <c:v>-1.00840336134454E-2</c:v>
                </c:pt>
                <c:pt idx="24444">
                  <c:v>-1.00840336134454E-2</c:v>
                </c:pt>
                <c:pt idx="24445">
                  <c:v>-1.00840336134454E-2</c:v>
                </c:pt>
                <c:pt idx="24446">
                  <c:v>-1.00840336134454E-2</c:v>
                </c:pt>
                <c:pt idx="24447">
                  <c:v>-1.00840336134454E-2</c:v>
                </c:pt>
                <c:pt idx="24448">
                  <c:v>-1.00840336134454E-2</c:v>
                </c:pt>
                <c:pt idx="24449">
                  <c:v>-1.0924369747899201E-2</c:v>
                </c:pt>
                <c:pt idx="24450">
                  <c:v>-1.0924369747899201E-2</c:v>
                </c:pt>
                <c:pt idx="24451">
                  <c:v>-1.0924369747899201E-2</c:v>
                </c:pt>
                <c:pt idx="24452">
                  <c:v>-1.0924369747899201E-2</c:v>
                </c:pt>
                <c:pt idx="24453">
                  <c:v>-1.0924369747899201E-2</c:v>
                </c:pt>
                <c:pt idx="24454">
                  <c:v>-1.00840336134454E-2</c:v>
                </c:pt>
                <c:pt idx="24455">
                  <c:v>-1.00840336134454E-2</c:v>
                </c:pt>
                <c:pt idx="24456">
                  <c:v>-1.00840336134454E-2</c:v>
                </c:pt>
                <c:pt idx="24457">
                  <c:v>-1.00840336134454E-2</c:v>
                </c:pt>
                <c:pt idx="24458">
                  <c:v>-1.00840336134454E-2</c:v>
                </c:pt>
                <c:pt idx="24459">
                  <c:v>-1.00840336134454E-2</c:v>
                </c:pt>
                <c:pt idx="24460">
                  <c:v>-1.00840336134454E-2</c:v>
                </c:pt>
                <c:pt idx="24461">
                  <c:v>-1.00840336134454E-2</c:v>
                </c:pt>
                <c:pt idx="24462">
                  <c:v>-1.00840336134454E-2</c:v>
                </c:pt>
                <c:pt idx="24463">
                  <c:v>-1.00840336134454E-2</c:v>
                </c:pt>
                <c:pt idx="24464">
                  <c:v>-9.2436974789916696E-3</c:v>
                </c:pt>
                <c:pt idx="24465">
                  <c:v>-9.2436974789916696E-3</c:v>
                </c:pt>
                <c:pt idx="24466">
                  <c:v>-9.2436974789916696E-3</c:v>
                </c:pt>
                <c:pt idx="24467">
                  <c:v>-9.2436974789916696E-3</c:v>
                </c:pt>
                <c:pt idx="24468">
                  <c:v>-9.2436974789916696E-3</c:v>
                </c:pt>
                <c:pt idx="24469">
                  <c:v>-9.2436974789916696E-3</c:v>
                </c:pt>
                <c:pt idx="24470">
                  <c:v>-9.2436974789916696E-3</c:v>
                </c:pt>
                <c:pt idx="24471">
                  <c:v>-9.2436974789916696E-3</c:v>
                </c:pt>
                <c:pt idx="24472">
                  <c:v>-9.2436974789916696E-3</c:v>
                </c:pt>
                <c:pt idx="24473">
                  <c:v>-9.2436974789916696E-3</c:v>
                </c:pt>
                <c:pt idx="24474">
                  <c:v>-9.2436974789916696E-3</c:v>
                </c:pt>
                <c:pt idx="24475">
                  <c:v>-9.2436974789916696E-3</c:v>
                </c:pt>
                <c:pt idx="24476">
                  <c:v>-9.2436974789916696E-3</c:v>
                </c:pt>
                <c:pt idx="24477">
                  <c:v>-9.2436974789916696E-3</c:v>
                </c:pt>
                <c:pt idx="24478">
                  <c:v>-9.2436974789916696E-3</c:v>
                </c:pt>
                <c:pt idx="24479">
                  <c:v>-9.2436974789916696E-3</c:v>
                </c:pt>
                <c:pt idx="24480">
                  <c:v>-9.2436974789916696E-3</c:v>
                </c:pt>
                <c:pt idx="24481">
                  <c:v>-9.2436974789916696E-3</c:v>
                </c:pt>
                <c:pt idx="24482">
                  <c:v>-9.2436974789916696E-3</c:v>
                </c:pt>
                <c:pt idx="24483">
                  <c:v>-9.2436974789916696E-3</c:v>
                </c:pt>
                <c:pt idx="24484">
                  <c:v>-9.2436974789916696E-3</c:v>
                </c:pt>
                <c:pt idx="24485">
                  <c:v>-9.2436974789916696E-3</c:v>
                </c:pt>
                <c:pt idx="24486">
                  <c:v>-9.2436974789916696E-3</c:v>
                </c:pt>
                <c:pt idx="24487">
                  <c:v>-9.2436974789916696E-3</c:v>
                </c:pt>
                <c:pt idx="24488">
                  <c:v>-9.2436974789916696E-3</c:v>
                </c:pt>
                <c:pt idx="24489">
                  <c:v>-9.2436974789916696E-3</c:v>
                </c:pt>
                <c:pt idx="24490">
                  <c:v>-9.2436974789916696E-3</c:v>
                </c:pt>
                <c:pt idx="24491">
                  <c:v>-9.2436974789916696E-3</c:v>
                </c:pt>
                <c:pt idx="24492">
                  <c:v>-9.2436974789916696E-3</c:v>
                </c:pt>
                <c:pt idx="24493">
                  <c:v>-9.2436974789916696E-3</c:v>
                </c:pt>
                <c:pt idx="24494">
                  <c:v>-9.2436974789916696E-3</c:v>
                </c:pt>
                <c:pt idx="24495">
                  <c:v>-9.2436974789916696E-3</c:v>
                </c:pt>
                <c:pt idx="24496">
                  <c:v>-9.2436974789916696E-3</c:v>
                </c:pt>
                <c:pt idx="24497">
                  <c:v>-9.2436974789916696E-3</c:v>
                </c:pt>
                <c:pt idx="24498">
                  <c:v>-9.2436974789916696E-3</c:v>
                </c:pt>
                <c:pt idx="24499">
                  <c:v>-9.2436974789916696E-3</c:v>
                </c:pt>
                <c:pt idx="24500">
                  <c:v>-1.00840336134454E-2</c:v>
                </c:pt>
                <c:pt idx="24501">
                  <c:v>-1.00840336134454E-2</c:v>
                </c:pt>
                <c:pt idx="24502">
                  <c:v>-1.00840336134454E-2</c:v>
                </c:pt>
                <c:pt idx="24503">
                  <c:v>-1.00840336134454E-2</c:v>
                </c:pt>
                <c:pt idx="24504">
                  <c:v>-1.00840336134454E-2</c:v>
                </c:pt>
                <c:pt idx="24505">
                  <c:v>-1.00840336134454E-2</c:v>
                </c:pt>
                <c:pt idx="24506">
                  <c:v>-1.00840336134454E-2</c:v>
                </c:pt>
                <c:pt idx="24507">
                  <c:v>-1.00840336134454E-2</c:v>
                </c:pt>
                <c:pt idx="24508">
                  <c:v>-1.00840336134454E-2</c:v>
                </c:pt>
                <c:pt idx="24509">
                  <c:v>-1.00840336134454E-2</c:v>
                </c:pt>
                <c:pt idx="24510">
                  <c:v>-1.00840336134454E-2</c:v>
                </c:pt>
                <c:pt idx="24511">
                  <c:v>-1.00840336134454E-2</c:v>
                </c:pt>
                <c:pt idx="24512">
                  <c:v>-1.0924369747899201E-2</c:v>
                </c:pt>
                <c:pt idx="24513">
                  <c:v>-1.0924369747899201E-2</c:v>
                </c:pt>
                <c:pt idx="24514">
                  <c:v>-1.0924369747899201E-2</c:v>
                </c:pt>
                <c:pt idx="24515">
                  <c:v>-1.0924369747899201E-2</c:v>
                </c:pt>
                <c:pt idx="24516">
                  <c:v>-1.0924369747899201E-2</c:v>
                </c:pt>
                <c:pt idx="24517">
                  <c:v>-1.0924369747899201E-2</c:v>
                </c:pt>
                <c:pt idx="24518">
                  <c:v>-1.0924369747899201E-2</c:v>
                </c:pt>
                <c:pt idx="24519">
                  <c:v>-1.0924369747899201E-2</c:v>
                </c:pt>
                <c:pt idx="24520">
                  <c:v>-1.0924369747899201E-2</c:v>
                </c:pt>
                <c:pt idx="24521">
                  <c:v>-1.0924369747899201E-2</c:v>
                </c:pt>
                <c:pt idx="24522">
                  <c:v>-1.0924369747899201E-2</c:v>
                </c:pt>
                <c:pt idx="24523">
                  <c:v>-1.0924369747899201E-2</c:v>
                </c:pt>
                <c:pt idx="24524">
                  <c:v>-1.0924369747899201E-2</c:v>
                </c:pt>
                <c:pt idx="24525">
                  <c:v>-1.0924369747899201E-2</c:v>
                </c:pt>
                <c:pt idx="24526">
                  <c:v>-1.0924369747899201E-2</c:v>
                </c:pt>
                <c:pt idx="24527">
                  <c:v>-1.1764705882353E-2</c:v>
                </c:pt>
                <c:pt idx="24528">
                  <c:v>-1.1764705882353E-2</c:v>
                </c:pt>
                <c:pt idx="24529">
                  <c:v>-1.1764705882353E-2</c:v>
                </c:pt>
                <c:pt idx="24530">
                  <c:v>-1.1764705882353E-2</c:v>
                </c:pt>
                <c:pt idx="24531">
                  <c:v>-1.1764705882353E-2</c:v>
                </c:pt>
                <c:pt idx="24532">
                  <c:v>-1.26050420168067E-2</c:v>
                </c:pt>
                <c:pt idx="24533">
                  <c:v>-1.26050420168067E-2</c:v>
                </c:pt>
                <c:pt idx="24534">
                  <c:v>-1.26050420168067E-2</c:v>
                </c:pt>
                <c:pt idx="24535">
                  <c:v>-1.26050420168067E-2</c:v>
                </c:pt>
                <c:pt idx="24536">
                  <c:v>-1.26050420168067E-2</c:v>
                </c:pt>
                <c:pt idx="24537">
                  <c:v>-1.26050420168067E-2</c:v>
                </c:pt>
                <c:pt idx="24538">
                  <c:v>-1.26050420168067E-2</c:v>
                </c:pt>
                <c:pt idx="24539">
                  <c:v>-1.1764705882353E-2</c:v>
                </c:pt>
                <c:pt idx="24540">
                  <c:v>-1.1764705882353E-2</c:v>
                </c:pt>
                <c:pt idx="24541">
                  <c:v>-1.1764705882353E-2</c:v>
                </c:pt>
                <c:pt idx="24542">
                  <c:v>-1.1764705882353E-2</c:v>
                </c:pt>
                <c:pt idx="24543">
                  <c:v>-1.1764705882353E-2</c:v>
                </c:pt>
                <c:pt idx="24544">
                  <c:v>-1.1764705882353E-2</c:v>
                </c:pt>
                <c:pt idx="24545">
                  <c:v>-1.1764705882353E-2</c:v>
                </c:pt>
                <c:pt idx="24546">
                  <c:v>-1.1764705882353E-2</c:v>
                </c:pt>
                <c:pt idx="24547">
                  <c:v>-1.1764705882353E-2</c:v>
                </c:pt>
                <c:pt idx="24548">
                  <c:v>-1.1764705882353E-2</c:v>
                </c:pt>
                <c:pt idx="24549">
                  <c:v>-1.1764705882353E-2</c:v>
                </c:pt>
                <c:pt idx="24550">
                  <c:v>-1.1764705882353E-2</c:v>
                </c:pt>
                <c:pt idx="24551">
                  <c:v>-1.1764705882353E-2</c:v>
                </c:pt>
                <c:pt idx="24552">
                  <c:v>-1.1764705882353E-2</c:v>
                </c:pt>
                <c:pt idx="24553">
                  <c:v>-1.1764705882353E-2</c:v>
                </c:pt>
                <c:pt idx="24554">
                  <c:v>-1.1764705882353E-2</c:v>
                </c:pt>
                <c:pt idx="24555">
                  <c:v>-1.1764705882353E-2</c:v>
                </c:pt>
                <c:pt idx="24556">
                  <c:v>-1.1764705882353E-2</c:v>
                </c:pt>
                <c:pt idx="24557">
                  <c:v>-1.1764705882353E-2</c:v>
                </c:pt>
                <c:pt idx="24558">
                  <c:v>-1.1764705882353E-2</c:v>
                </c:pt>
                <c:pt idx="24559">
                  <c:v>-1.1764705882353E-2</c:v>
                </c:pt>
                <c:pt idx="24560">
                  <c:v>-1.1764705882353E-2</c:v>
                </c:pt>
                <c:pt idx="24561">
                  <c:v>-1.1764705882353E-2</c:v>
                </c:pt>
                <c:pt idx="24562">
                  <c:v>-1.1764705882353E-2</c:v>
                </c:pt>
                <c:pt idx="24563">
                  <c:v>-1.1764705882353E-2</c:v>
                </c:pt>
                <c:pt idx="24564">
                  <c:v>-1.1764705882353E-2</c:v>
                </c:pt>
                <c:pt idx="24565">
                  <c:v>-1.26050420168067E-2</c:v>
                </c:pt>
                <c:pt idx="24566">
                  <c:v>-1.26050420168067E-2</c:v>
                </c:pt>
                <c:pt idx="24567">
                  <c:v>-1.26050420168067E-2</c:v>
                </c:pt>
                <c:pt idx="24568">
                  <c:v>-1.34453781512605E-2</c:v>
                </c:pt>
                <c:pt idx="24569">
                  <c:v>-1.34453781512605E-2</c:v>
                </c:pt>
                <c:pt idx="24570">
                  <c:v>-1.34453781512605E-2</c:v>
                </c:pt>
                <c:pt idx="24571">
                  <c:v>-1.34453781512605E-2</c:v>
                </c:pt>
                <c:pt idx="24572">
                  <c:v>-1.34453781512605E-2</c:v>
                </c:pt>
                <c:pt idx="24573">
                  <c:v>-1.34453781512605E-2</c:v>
                </c:pt>
                <c:pt idx="24574">
                  <c:v>-1.34453781512605E-2</c:v>
                </c:pt>
                <c:pt idx="24575">
                  <c:v>-1.34453781512605E-2</c:v>
                </c:pt>
                <c:pt idx="24576">
                  <c:v>-1.34453781512605E-2</c:v>
                </c:pt>
                <c:pt idx="24577">
                  <c:v>-1.34453781512605E-2</c:v>
                </c:pt>
                <c:pt idx="24578">
                  <c:v>-1.34453781512605E-2</c:v>
                </c:pt>
                <c:pt idx="24579">
                  <c:v>-1.34453781512605E-2</c:v>
                </c:pt>
                <c:pt idx="24580">
                  <c:v>-1.26050420168067E-2</c:v>
                </c:pt>
                <c:pt idx="24581">
                  <c:v>-1.26050420168067E-2</c:v>
                </c:pt>
                <c:pt idx="24582">
                  <c:v>-1.26050420168067E-2</c:v>
                </c:pt>
                <c:pt idx="24583">
                  <c:v>-1.26050420168067E-2</c:v>
                </c:pt>
                <c:pt idx="24584">
                  <c:v>-1.26050420168067E-2</c:v>
                </c:pt>
                <c:pt idx="24585">
                  <c:v>-1.26050420168067E-2</c:v>
                </c:pt>
                <c:pt idx="24586">
                  <c:v>-1.26050420168067E-2</c:v>
                </c:pt>
                <c:pt idx="24587">
                  <c:v>-1.26050420168067E-2</c:v>
                </c:pt>
                <c:pt idx="24588">
                  <c:v>-1.26050420168067E-2</c:v>
                </c:pt>
                <c:pt idx="24589">
                  <c:v>-1.26050420168067E-2</c:v>
                </c:pt>
                <c:pt idx="24590">
                  <c:v>-1.26050420168067E-2</c:v>
                </c:pt>
                <c:pt idx="24591">
                  <c:v>-1.26050420168067E-2</c:v>
                </c:pt>
                <c:pt idx="24592">
                  <c:v>-1.26050420168067E-2</c:v>
                </c:pt>
                <c:pt idx="24593">
                  <c:v>-1.26050420168067E-2</c:v>
                </c:pt>
                <c:pt idx="24594">
                  <c:v>-1.26050420168067E-2</c:v>
                </c:pt>
                <c:pt idx="24595">
                  <c:v>-1.26050420168067E-2</c:v>
                </c:pt>
                <c:pt idx="24596">
                  <c:v>-1.26050420168067E-2</c:v>
                </c:pt>
                <c:pt idx="24597">
                  <c:v>-1.34453781512605E-2</c:v>
                </c:pt>
                <c:pt idx="24598">
                  <c:v>-1.34453781512605E-2</c:v>
                </c:pt>
                <c:pt idx="24599">
                  <c:v>-1.34453781512605E-2</c:v>
                </c:pt>
                <c:pt idx="24600">
                  <c:v>-1.34453781512605E-2</c:v>
                </c:pt>
                <c:pt idx="24601">
                  <c:v>-1.34453781512605E-2</c:v>
                </c:pt>
                <c:pt idx="24602">
                  <c:v>-1.34453781512605E-2</c:v>
                </c:pt>
                <c:pt idx="24603">
                  <c:v>-1.34453781512605E-2</c:v>
                </c:pt>
                <c:pt idx="24604">
                  <c:v>-1.34453781512605E-2</c:v>
                </c:pt>
                <c:pt idx="24605">
                  <c:v>-1.34453781512605E-2</c:v>
                </c:pt>
                <c:pt idx="24606">
                  <c:v>-1.34453781512605E-2</c:v>
                </c:pt>
                <c:pt idx="24607">
                  <c:v>-1.34453781512605E-2</c:v>
                </c:pt>
                <c:pt idx="24608">
                  <c:v>-1.34453781512605E-2</c:v>
                </c:pt>
                <c:pt idx="24609">
                  <c:v>-1.34453781512605E-2</c:v>
                </c:pt>
                <c:pt idx="24610">
                  <c:v>-1.34453781512605E-2</c:v>
                </c:pt>
                <c:pt idx="24611">
                  <c:v>-1.34453781512605E-2</c:v>
                </c:pt>
                <c:pt idx="24612">
                  <c:v>-1.34453781512605E-2</c:v>
                </c:pt>
                <c:pt idx="24613">
                  <c:v>-1.26050420168067E-2</c:v>
                </c:pt>
                <c:pt idx="24614">
                  <c:v>-1.26050420168067E-2</c:v>
                </c:pt>
                <c:pt idx="24615">
                  <c:v>-1.26050420168067E-2</c:v>
                </c:pt>
                <c:pt idx="24616">
                  <c:v>-1.26050420168067E-2</c:v>
                </c:pt>
                <c:pt idx="24617">
                  <c:v>-1.26050420168067E-2</c:v>
                </c:pt>
                <c:pt idx="24618">
                  <c:v>-1.26050420168067E-2</c:v>
                </c:pt>
                <c:pt idx="24619">
                  <c:v>-1.26050420168067E-2</c:v>
                </c:pt>
                <c:pt idx="24620">
                  <c:v>-1.26050420168067E-2</c:v>
                </c:pt>
                <c:pt idx="24621">
                  <c:v>-1.26050420168067E-2</c:v>
                </c:pt>
                <c:pt idx="24622">
                  <c:v>-1.26050420168067E-2</c:v>
                </c:pt>
                <c:pt idx="24623">
                  <c:v>-1.26050420168067E-2</c:v>
                </c:pt>
                <c:pt idx="24624">
                  <c:v>-1.26050420168067E-2</c:v>
                </c:pt>
                <c:pt idx="24625">
                  <c:v>-1.26050420168067E-2</c:v>
                </c:pt>
                <c:pt idx="24626">
                  <c:v>-1.26050420168067E-2</c:v>
                </c:pt>
                <c:pt idx="24627">
                  <c:v>-1.26050420168067E-2</c:v>
                </c:pt>
                <c:pt idx="24628">
                  <c:v>-1.26050420168067E-2</c:v>
                </c:pt>
                <c:pt idx="24629">
                  <c:v>-1.26050420168067E-2</c:v>
                </c:pt>
                <c:pt idx="24630">
                  <c:v>-1.26050420168067E-2</c:v>
                </c:pt>
                <c:pt idx="24631">
                  <c:v>-1.26050420168067E-2</c:v>
                </c:pt>
                <c:pt idx="24632">
                  <c:v>-1.26050420168067E-2</c:v>
                </c:pt>
                <c:pt idx="24633">
                  <c:v>-1.26050420168067E-2</c:v>
                </c:pt>
                <c:pt idx="24634">
                  <c:v>-1.26050420168067E-2</c:v>
                </c:pt>
                <c:pt idx="24635">
                  <c:v>-1.26050420168067E-2</c:v>
                </c:pt>
                <c:pt idx="24636">
                  <c:v>-1.26050420168067E-2</c:v>
                </c:pt>
                <c:pt idx="24637">
                  <c:v>-1.26050420168067E-2</c:v>
                </c:pt>
                <c:pt idx="24638">
                  <c:v>-1.26050420168067E-2</c:v>
                </c:pt>
                <c:pt idx="24639">
                  <c:v>-1.26050420168067E-2</c:v>
                </c:pt>
                <c:pt idx="24640">
                  <c:v>-1.26050420168067E-2</c:v>
                </c:pt>
                <c:pt idx="24641">
                  <c:v>-1.26050420168067E-2</c:v>
                </c:pt>
                <c:pt idx="24642">
                  <c:v>-1.26050420168067E-2</c:v>
                </c:pt>
                <c:pt idx="24643">
                  <c:v>-1.26050420168067E-2</c:v>
                </c:pt>
                <c:pt idx="24644">
                  <c:v>-1.26050420168067E-2</c:v>
                </c:pt>
                <c:pt idx="24645">
                  <c:v>-1.26050420168067E-2</c:v>
                </c:pt>
                <c:pt idx="24646">
                  <c:v>-1.26050420168067E-2</c:v>
                </c:pt>
                <c:pt idx="24647">
                  <c:v>-1.26050420168067E-2</c:v>
                </c:pt>
                <c:pt idx="24648">
                  <c:v>-1.26050420168067E-2</c:v>
                </c:pt>
                <c:pt idx="24649">
                  <c:v>-1.26050420168067E-2</c:v>
                </c:pt>
                <c:pt idx="24650">
                  <c:v>-1.26050420168067E-2</c:v>
                </c:pt>
                <c:pt idx="24651">
                  <c:v>-1.26050420168067E-2</c:v>
                </c:pt>
                <c:pt idx="24652">
                  <c:v>-1.26050420168067E-2</c:v>
                </c:pt>
                <c:pt idx="24653">
                  <c:v>-1.26050420168067E-2</c:v>
                </c:pt>
                <c:pt idx="24654">
                  <c:v>-1.26050420168067E-2</c:v>
                </c:pt>
                <c:pt idx="24655">
                  <c:v>-1.26050420168067E-2</c:v>
                </c:pt>
                <c:pt idx="24656">
                  <c:v>-1.26050420168067E-2</c:v>
                </c:pt>
                <c:pt idx="24657">
                  <c:v>-1.26050420168067E-2</c:v>
                </c:pt>
                <c:pt idx="24658">
                  <c:v>-1.26050420168067E-2</c:v>
                </c:pt>
                <c:pt idx="24659">
                  <c:v>-1.26050420168067E-2</c:v>
                </c:pt>
                <c:pt idx="24660">
                  <c:v>-1.1764705882353E-2</c:v>
                </c:pt>
                <c:pt idx="24661">
                  <c:v>-1.1764705882353E-2</c:v>
                </c:pt>
                <c:pt idx="24662">
                  <c:v>-1.1764705882353E-2</c:v>
                </c:pt>
                <c:pt idx="24663">
                  <c:v>-1.1764705882353E-2</c:v>
                </c:pt>
                <c:pt idx="24664">
                  <c:v>-1.1764705882353E-2</c:v>
                </c:pt>
                <c:pt idx="24665">
                  <c:v>-1.1764705882353E-2</c:v>
                </c:pt>
                <c:pt idx="24666">
                  <c:v>-1.1764705882353E-2</c:v>
                </c:pt>
                <c:pt idx="24667">
                  <c:v>-1.1764705882353E-2</c:v>
                </c:pt>
                <c:pt idx="24668">
                  <c:v>-1.1764705882353E-2</c:v>
                </c:pt>
                <c:pt idx="24669">
                  <c:v>-1.1764705882353E-2</c:v>
                </c:pt>
                <c:pt idx="24670">
                  <c:v>-1.1764705882353E-2</c:v>
                </c:pt>
                <c:pt idx="24671">
                  <c:v>-1.1764705882353E-2</c:v>
                </c:pt>
                <c:pt idx="24672">
                  <c:v>-1.1764705882353E-2</c:v>
                </c:pt>
                <c:pt idx="24673">
                  <c:v>-1.1764705882353E-2</c:v>
                </c:pt>
                <c:pt idx="24674">
                  <c:v>-1.1764705882353E-2</c:v>
                </c:pt>
                <c:pt idx="24675">
                  <c:v>-1.1764705882353E-2</c:v>
                </c:pt>
                <c:pt idx="24676">
                  <c:v>-1.1764705882353E-2</c:v>
                </c:pt>
                <c:pt idx="24677">
                  <c:v>-1.1764705882353E-2</c:v>
                </c:pt>
                <c:pt idx="24678">
                  <c:v>-1.1764705882353E-2</c:v>
                </c:pt>
                <c:pt idx="24679">
                  <c:v>-1.1764705882353E-2</c:v>
                </c:pt>
                <c:pt idx="24680">
                  <c:v>-1.1764705882353E-2</c:v>
                </c:pt>
                <c:pt idx="24681">
                  <c:v>-1.1764705882353E-2</c:v>
                </c:pt>
                <c:pt idx="24682">
                  <c:v>-1.26050420168067E-2</c:v>
                </c:pt>
                <c:pt idx="24683">
                  <c:v>-1.26050420168067E-2</c:v>
                </c:pt>
                <c:pt idx="24684">
                  <c:v>-1.1764705882353E-2</c:v>
                </c:pt>
                <c:pt idx="24685">
                  <c:v>-1.1764705882353E-2</c:v>
                </c:pt>
                <c:pt idx="24686">
                  <c:v>-1.1764705882353E-2</c:v>
                </c:pt>
                <c:pt idx="24687">
                  <c:v>-1.1764705882353E-2</c:v>
                </c:pt>
                <c:pt idx="24688">
                  <c:v>-1.1764705882353E-2</c:v>
                </c:pt>
                <c:pt idx="24689">
                  <c:v>-1.1764705882353E-2</c:v>
                </c:pt>
                <c:pt idx="24690">
                  <c:v>-1.1764705882353E-2</c:v>
                </c:pt>
                <c:pt idx="24691">
                  <c:v>-1.1764705882353E-2</c:v>
                </c:pt>
                <c:pt idx="24692">
                  <c:v>-1.1764705882353E-2</c:v>
                </c:pt>
                <c:pt idx="24693">
                  <c:v>-1.1764705882353E-2</c:v>
                </c:pt>
                <c:pt idx="24694">
                  <c:v>-1.1764705882353E-2</c:v>
                </c:pt>
                <c:pt idx="24695">
                  <c:v>-1.1764705882353E-2</c:v>
                </c:pt>
                <c:pt idx="24696">
                  <c:v>-1.1764705882353E-2</c:v>
                </c:pt>
                <c:pt idx="24697">
                  <c:v>-1.1764705882353E-2</c:v>
                </c:pt>
                <c:pt idx="24698">
                  <c:v>-1.1764705882353E-2</c:v>
                </c:pt>
                <c:pt idx="24699">
                  <c:v>-1.1764705882353E-2</c:v>
                </c:pt>
                <c:pt idx="24700">
                  <c:v>-1.1764705882353E-2</c:v>
                </c:pt>
                <c:pt idx="24701">
                  <c:v>-1.1764705882353E-2</c:v>
                </c:pt>
                <c:pt idx="24702">
                  <c:v>-1.1764705882353E-2</c:v>
                </c:pt>
                <c:pt idx="24703">
                  <c:v>-1.1764705882353E-2</c:v>
                </c:pt>
                <c:pt idx="24704">
                  <c:v>-1.1764705882353E-2</c:v>
                </c:pt>
                <c:pt idx="24705">
                  <c:v>-1.1764705882353E-2</c:v>
                </c:pt>
                <c:pt idx="24706">
                  <c:v>-1.26050420168067E-2</c:v>
                </c:pt>
                <c:pt idx="24707">
                  <c:v>-1.26050420168067E-2</c:v>
                </c:pt>
                <c:pt idx="24708">
                  <c:v>-1.26050420168067E-2</c:v>
                </c:pt>
                <c:pt idx="24709">
                  <c:v>-1.34453781512605E-2</c:v>
                </c:pt>
                <c:pt idx="24710">
                  <c:v>-1.34453781512605E-2</c:v>
                </c:pt>
                <c:pt idx="24711">
                  <c:v>-1.34453781512605E-2</c:v>
                </c:pt>
                <c:pt idx="24712">
                  <c:v>-1.34453781512605E-2</c:v>
                </c:pt>
                <c:pt idx="24713">
                  <c:v>-1.34453781512605E-2</c:v>
                </c:pt>
                <c:pt idx="24714">
                  <c:v>-1.34453781512605E-2</c:v>
                </c:pt>
                <c:pt idx="24715">
                  <c:v>-1.4285714285714299E-2</c:v>
                </c:pt>
                <c:pt idx="24716">
                  <c:v>-1.34453781512605E-2</c:v>
                </c:pt>
                <c:pt idx="24717">
                  <c:v>-1.34453781512605E-2</c:v>
                </c:pt>
                <c:pt idx="24718">
                  <c:v>-1.34453781512605E-2</c:v>
                </c:pt>
                <c:pt idx="24719">
                  <c:v>-1.34453781512605E-2</c:v>
                </c:pt>
                <c:pt idx="24720">
                  <c:v>-1.34453781512605E-2</c:v>
                </c:pt>
                <c:pt idx="24721">
                  <c:v>-1.34453781512605E-2</c:v>
                </c:pt>
                <c:pt idx="24722">
                  <c:v>-1.34453781512605E-2</c:v>
                </c:pt>
                <c:pt idx="24723">
                  <c:v>-1.34453781512605E-2</c:v>
                </c:pt>
                <c:pt idx="24724">
                  <c:v>-1.34453781512605E-2</c:v>
                </c:pt>
                <c:pt idx="24725">
                  <c:v>-1.34453781512605E-2</c:v>
                </c:pt>
                <c:pt idx="24726">
                  <c:v>-1.34453781512605E-2</c:v>
                </c:pt>
                <c:pt idx="24727">
                  <c:v>-1.34453781512605E-2</c:v>
                </c:pt>
                <c:pt idx="24728">
                  <c:v>-1.34453781512605E-2</c:v>
                </c:pt>
                <c:pt idx="24729">
                  <c:v>-1.26050420168066E-2</c:v>
                </c:pt>
                <c:pt idx="24730">
                  <c:v>-1.26050420168066E-2</c:v>
                </c:pt>
                <c:pt idx="24731">
                  <c:v>-1.26050420168066E-2</c:v>
                </c:pt>
                <c:pt idx="24732">
                  <c:v>-1.26050420168066E-2</c:v>
                </c:pt>
                <c:pt idx="24733">
                  <c:v>-1.26050420168066E-2</c:v>
                </c:pt>
                <c:pt idx="24734">
                  <c:v>-1.26050420168066E-2</c:v>
                </c:pt>
                <c:pt idx="24735">
                  <c:v>-1.26050420168066E-2</c:v>
                </c:pt>
                <c:pt idx="24736">
                  <c:v>-1.26050420168066E-2</c:v>
                </c:pt>
                <c:pt idx="24737">
                  <c:v>-1.26050420168066E-2</c:v>
                </c:pt>
                <c:pt idx="24738">
                  <c:v>-1.3445378151260399E-2</c:v>
                </c:pt>
                <c:pt idx="24739">
                  <c:v>-1.3445378151260399E-2</c:v>
                </c:pt>
                <c:pt idx="24740">
                  <c:v>-1.3445378151260399E-2</c:v>
                </c:pt>
                <c:pt idx="24741">
                  <c:v>-1.3445378151260399E-2</c:v>
                </c:pt>
                <c:pt idx="24742">
                  <c:v>-1.26050420168066E-2</c:v>
                </c:pt>
                <c:pt idx="24743">
                  <c:v>-1.26050420168066E-2</c:v>
                </c:pt>
                <c:pt idx="24744">
                  <c:v>-1.26050420168066E-2</c:v>
                </c:pt>
                <c:pt idx="24745">
                  <c:v>-1.26050420168066E-2</c:v>
                </c:pt>
                <c:pt idx="24746">
                  <c:v>-1.26050420168066E-2</c:v>
                </c:pt>
                <c:pt idx="24747">
                  <c:v>-1.26050420168066E-2</c:v>
                </c:pt>
                <c:pt idx="24748">
                  <c:v>-1.26050420168066E-2</c:v>
                </c:pt>
                <c:pt idx="24749">
                  <c:v>-1.26050420168066E-2</c:v>
                </c:pt>
                <c:pt idx="24750">
                  <c:v>-1.26050420168066E-2</c:v>
                </c:pt>
                <c:pt idx="24751">
                  <c:v>-1.26050420168066E-2</c:v>
                </c:pt>
                <c:pt idx="24752">
                  <c:v>-1.26050420168066E-2</c:v>
                </c:pt>
                <c:pt idx="24753">
                  <c:v>-1.26050420168066E-2</c:v>
                </c:pt>
                <c:pt idx="24754">
                  <c:v>-1.26050420168066E-2</c:v>
                </c:pt>
                <c:pt idx="24755">
                  <c:v>-1.26050420168066E-2</c:v>
                </c:pt>
                <c:pt idx="24756">
                  <c:v>-1.26050420168066E-2</c:v>
                </c:pt>
                <c:pt idx="24757">
                  <c:v>-1.26050420168066E-2</c:v>
                </c:pt>
                <c:pt idx="24758">
                  <c:v>-1.26050420168066E-2</c:v>
                </c:pt>
                <c:pt idx="24759">
                  <c:v>-1.26050420168066E-2</c:v>
                </c:pt>
                <c:pt idx="24760">
                  <c:v>-1.26050420168066E-2</c:v>
                </c:pt>
                <c:pt idx="24761">
                  <c:v>-1.26050420168066E-2</c:v>
                </c:pt>
                <c:pt idx="24762">
                  <c:v>-1.26050420168066E-2</c:v>
                </c:pt>
                <c:pt idx="24763">
                  <c:v>-1.26050420168066E-2</c:v>
                </c:pt>
                <c:pt idx="24764">
                  <c:v>-1.26050420168066E-2</c:v>
                </c:pt>
                <c:pt idx="24765">
                  <c:v>-1.26050420168066E-2</c:v>
                </c:pt>
                <c:pt idx="24766">
                  <c:v>-1.26050420168066E-2</c:v>
                </c:pt>
                <c:pt idx="24767">
                  <c:v>-1.26050420168066E-2</c:v>
                </c:pt>
                <c:pt idx="24768">
                  <c:v>-1.26050420168066E-2</c:v>
                </c:pt>
                <c:pt idx="24769">
                  <c:v>-1.1764705882352899E-2</c:v>
                </c:pt>
                <c:pt idx="24770">
                  <c:v>-1.1764705882352899E-2</c:v>
                </c:pt>
                <c:pt idx="24771">
                  <c:v>-1.1764705882352899E-2</c:v>
                </c:pt>
                <c:pt idx="24772">
                  <c:v>-1.1764705882352899E-2</c:v>
                </c:pt>
                <c:pt idx="24773">
                  <c:v>-1.1764705882352899E-2</c:v>
                </c:pt>
                <c:pt idx="24774">
                  <c:v>-1.1764705882352899E-2</c:v>
                </c:pt>
                <c:pt idx="24775">
                  <c:v>-1.1764705882352899E-2</c:v>
                </c:pt>
                <c:pt idx="24776">
                  <c:v>-1.26050420168066E-2</c:v>
                </c:pt>
                <c:pt idx="24777">
                  <c:v>-1.26050420168066E-2</c:v>
                </c:pt>
                <c:pt idx="24778">
                  <c:v>-1.3445378151260399E-2</c:v>
                </c:pt>
                <c:pt idx="24779">
                  <c:v>-1.3445378151260399E-2</c:v>
                </c:pt>
                <c:pt idx="24780">
                  <c:v>-1.3445378151260399E-2</c:v>
                </c:pt>
                <c:pt idx="24781">
                  <c:v>-1.3445378151260399E-2</c:v>
                </c:pt>
                <c:pt idx="24782">
                  <c:v>-1.3445378151260399E-2</c:v>
                </c:pt>
                <c:pt idx="24783">
                  <c:v>-1.3445378151260399E-2</c:v>
                </c:pt>
                <c:pt idx="24784">
                  <c:v>-1.3445378151260399E-2</c:v>
                </c:pt>
                <c:pt idx="24785">
                  <c:v>-1.3445378151260399E-2</c:v>
                </c:pt>
                <c:pt idx="24786">
                  <c:v>-1.3445378151260399E-2</c:v>
                </c:pt>
                <c:pt idx="24787">
                  <c:v>-1.3445378151260399E-2</c:v>
                </c:pt>
                <c:pt idx="24788">
                  <c:v>-1.3445378151260399E-2</c:v>
                </c:pt>
                <c:pt idx="24789">
                  <c:v>-1.3445378151260399E-2</c:v>
                </c:pt>
                <c:pt idx="24790">
                  <c:v>-1.3445378151260399E-2</c:v>
                </c:pt>
                <c:pt idx="24791">
                  <c:v>-1.3445378151260399E-2</c:v>
                </c:pt>
                <c:pt idx="24792">
                  <c:v>-1.3445378151260399E-2</c:v>
                </c:pt>
                <c:pt idx="24793">
                  <c:v>-1.3445378151260399E-2</c:v>
                </c:pt>
                <c:pt idx="24794">
                  <c:v>-1.3445378151260399E-2</c:v>
                </c:pt>
                <c:pt idx="24795">
                  <c:v>-1.3445378151260399E-2</c:v>
                </c:pt>
                <c:pt idx="24796">
                  <c:v>-1.3445378151260399E-2</c:v>
                </c:pt>
                <c:pt idx="24797">
                  <c:v>-1.3445378151260399E-2</c:v>
                </c:pt>
                <c:pt idx="24798">
                  <c:v>-1.3445378151260399E-2</c:v>
                </c:pt>
                <c:pt idx="24799">
                  <c:v>-1.3445378151260399E-2</c:v>
                </c:pt>
                <c:pt idx="24800">
                  <c:v>-1.3445378151260399E-2</c:v>
                </c:pt>
                <c:pt idx="24801">
                  <c:v>-1.3445378151260399E-2</c:v>
                </c:pt>
                <c:pt idx="24802">
                  <c:v>-1.3445378151260399E-2</c:v>
                </c:pt>
                <c:pt idx="24803">
                  <c:v>-1.3445378151260399E-2</c:v>
                </c:pt>
                <c:pt idx="24804">
                  <c:v>-1.3445378151260399E-2</c:v>
                </c:pt>
                <c:pt idx="24805">
                  <c:v>-1.3445378151260399E-2</c:v>
                </c:pt>
                <c:pt idx="24806">
                  <c:v>-1.3445378151260399E-2</c:v>
                </c:pt>
                <c:pt idx="24807">
                  <c:v>-1.3445378151260399E-2</c:v>
                </c:pt>
                <c:pt idx="24808">
                  <c:v>-1.26050420168066E-2</c:v>
                </c:pt>
                <c:pt idx="24809">
                  <c:v>-1.26050420168066E-2</c:v>
                </c:pt>
                <c:pt idx="24810">
                  <c:v>-1.26050420168066E-2</c:v>
                </c:pt>
                <c:pt idx="24811">
                  <c:v>-1.26050420168066E-2</c:v>
                </c:pt>
                <c:pt idx="24812">
                  <c:v>-1.26050420168066E-2</c:v>
                </c:pt>
                <c:pt idx="24813">
                  <c:v>-1.26050420168066E-2</c:v>
                </c:pt>
                <c:pt idx="24814">
                  <c:v>-1.1764705882352899E-2</c:v>
                </c:pt>
                <c:pt idx="24815">
                  <c:v>-1.1764705882352899E-2</c:v>
                </c:pt>
                <c:pt idx="24816">
                  <c:v>-1.1764705882352899E-2</c:v>
                </c:pt>
                <c:pt idx="24817">
                  <c:v>-1.1764705882352899E-2</c:v>
                </c:pt>
                <c:pt idx="24818">
                  <c:v>-1.1764705882352899E-2</c:v>
                </c:pt>
                <c:pt idx="24819">
                  <c:v>-1.1764705882352899E-2</c:v>
                </c:pt>
                <c:pt idx="24820">
                  <c:v>-1.1764705882352899E-2</c:v>
                </c:pt>
                <c:pt idx="24821">
                  <c:v>-1.1764705882352899E-2</c:v>
                </c:pt>
                <c:pt idx="24822">
                  <c:v>-1.1764705882352899E-2</c:v>
                </c:pt>
                <c:pt idx="24823">
                  <c:v>-1.1764705882352899E-2</c:v>
                </c:pt>
                <c:pt idx="24824">
                  <c:v>-1.1764705882352899E-2</c:v>
                </c:pt>
                <c:pt idx="24825">
                  <c:v>-1.1764705882352899E-2</c:v>
                </c:pt>
                <c:pt idx="24826">
                  <c:v>-1.1764705882352899E-2</c:v>
                </c:pt>
                <c:pt idx="24827">
                  <c:v>-1.09243697478991E-2</c:v>
                </c:pt>
                <c:pt idx="24828">
                  <c:v>-1.09243697478991E-2</c:v>
                </c:pt>
                <c:pt idx="24829">
                  <c:v>-1.09243697478991E-2</c:v>
                </c:pt>
                <c:pt idx="24830">
                  <c:v>-1.09243697478991E-2</c:v>
                </c:pt>
                <c:pt idx="24831">
                  <c:v>-1.0084033613445301E-2</c:v>
                </c:pt>
                <c:pt idx="24832">
                  <c:v>-1.0084033613445301E-2</c:v>
                </c:pt>
                <c:pt idx="24833">
                  <c:v>-1.0084033613445301E-2</c:v>
                </c:pt>
                <c:pt idx="24834">
                  <c:v>-1.0084033613445301E-2</c:v>
                </c:pt>
                <c:pt idx="24835">
                  <c:v>-9.2436974789915603E-3</c:v>
                </c:pt>
                <c:pt idx="24836">
                  <c:v>-9.2436974789915603E-3</c:v>
                </c:pt>
                <c:pt idx="24837">
                  <c:v>-9.2436974789915603E-3</c:v>
                </c:pt>
                <c:pt idx="24838">
                  <c:v>-9.2436974789915603E-3</c:v>
                </c:pt>
                <c:pt idx="24839">
                  <c:v>-9.2436974789915603E-3</c:v>
                </c:pt>
                <c:pt idx="24840">
                  <c:v>-9.2436974789915603E-3</c:v>
                </c:pt>
                <c:pt idx="24841">
                  <c:v>-9.2436974789915603E-3</c:v>
                </c:pt>
                <c:pt idx="24842">
                  <c:v>-9.2436974789915603E-3</c:v>
                </c:pt>
                <c:pt idx="24843">
                  <c:v>-9.2436974789915603E-3</c:v>
                </c:pt>
                <c:pt idx="24844">
                  <c:v>-9.2436974789915603E-3</c:v>
                </c:pt>
                <c:pt idx="24845">
                  <c:v>-9.2436974789915603E-3</c:v>
                </c:pt>
                <c:pt idx="24846">
                  <c:v>-9.2436974789915603E-3</c:v>
                </c:pt>
                <c:pt idx="24847">
                  <c:v>-9.2436974789915603E-3</c:v>
                </c:pt>
                <c:pt idx="24848">
                  <c:v>-9.2436974789915603E-3</c:v>
                </c:pt>
                <c:pt idx="24849">
                  <c:v>-9.2436974789915603E-3</c:v>
                </c:pt>
                <c:pt idx="24850">
                  <c:v>-9.2436974789915603E-3</c:v>
                </c:pt>
                <c:pt idx="24851">
                  <c:v>-9.2436974789915603E-3</c:v>
                </c:pt>
                <c:pt idx="24852">
                  <c:v>-9.2436974789915603E-3</c:v>
                </c:pt>
                <c:pt idx="24853">
                  <c:v>-9.2436974789915603E-3</c:v>
                </c:pt>
                <c:pt idx="24854">
                  <c:v>-9.2436974789915603E-3</c:v>
                </c:pt>
                <c:pt idx="24855">
                  <c:v>-9.2436974789915603E-3</c:v>
                </c:pt>
                <c:pt idx="24856">
                  <c:v>-9.2436974789915603E-3</c:v>
                </c:pt>
                <c:pt idx="24857">
                  <c:v>-9.2436974789915603E-3</c:v>
                </c:pt>
                <c:pt idx="24858">
                  <c:v>-9.2436974789915603E-3</c:v>
                </c:pt>
                <c:pt idx="24859">
                  <c:v>-9.2436974789915603E-3</c:v>
                </c:pt>
                <c:pt idx="24860">
                  <c:v>-9.2436974789915603E-3</c:v>
                </c:pt>
                <c:pt idx="24861">
                  <c:v>-9.2436974789915603E-3</c:v>
                </c:pt>
                <c:pt idx="24862">
                  <c:v>-9.2436974789915603E-3</c:v>
                </c:pt>
                <c:pt idx="24863">
                  <c:v>-9.2436974789915603E-3</c:v>
                </c:pt>
                <c:pt idx="24864">
                  <c:v>-9.2436974789915603E-3</c:v>
                </c:pt>
                <c:pt idx="24865">
                  <c:v>-9.2436974789915603E-3</c:v>
                </c:pt>
                <c:pt idx="24866">
                  <c:v>-9.2436974789915603E-3</c:v>
                </c:pt>
                <c:pt idx="24867">
                  <c:v>-9.2436974789915603E-3</c:v>
                </c:pt>
                <c:pt idx="24868">
                  <c:v>-9.2436974789915603E-3</c:v>
                </c:pt>
                <c:pt idx="24869">
                  <c:v>-9.2436974789915603E-3</c:v>
                </c:pt>
                <c:pt idx="24870">
                  <c:v>-9.2436974789915603E-3</c:v>
                </c:pt>
                <c:pt idx="24871">
                  <c:v>-9.2436974789915603E-3</c:v>
                </c:pt>
                <c:pt idx="24872">
                  <c:v>-9.2436974789915603E-3</c:v>
                </c:pt>
                <c:pt idx="24873">
                  <c:v>-9.2436974789915603E-3</c:v>
                </c:pt>
                <c:pt idx="24874">
                  <c:v>-9.2436974789915603E-3</c:v>
                </c:pt>
                <c:pt idx="24875">
                  <c:v>-9.2436974789915603E-3</c:v>
                </c:pt>
                <c:pt idx="24876">
                  <c:v>-9.2436974789915603E-3</c:v>
                </c:pt>
                <c:pt idx="24877">
                  <c:v>-9.2436974789915603E-3</c:v>
                </c:pt>
                <c:pt idx="24878">
                  <c:v>-9.2436974789915603E-3</c:v>
                </c:pt>
                <c:pt idx="24879">
                  <c:v>-9.2436974789915603E-3</c:v>
                </c:pt>
                <c:pt idx="24880">
                  <c:v>-9.2436974789915603E-3</c:v>
                </c:pt>
                <c:pt idx="24881">
                  <c:v>-9.2436974789915603E-3</c:v>
                </c:pt>
                <c:pt idx="24882">
                  <c:v>-9.2436974789915603E-3</c:v>
                </c:pt>
                <c:pt idx="24883">
                  <c:v>-9.2436974789915603E-3</c:v>
                </c:pt>
                <c:pt idx="24884">
                  <c:v>-9.2436974789915603E-3</c:v>
                </c:pt>
                <c:pt idx="24885">
                  <c:v>-9.2436974789915603E-3</c:v>
                </c:pt>
                <c:pt idx="24886">
                  <c:v>-9.2436974789915603E-3</c:v>
                </c:pt>
                <c:pt idx="24887">
                  <c:v>-9.2436974789915603E-3</c:v>
                </c:pt>
                <c:pt idx="24888">
                  <c:v>-9.2436974789915603E-3</c:v>
                </c:pt>
                <c:pt idx="24889">
                  <c:v>-9.2436974789915603E-3</c:v>
                </c:pt>
                <c:pt idx="24890">
                  <c:v>-9.2436974789915603E-3</c:v>
                </c:pt>
                <c:pt idx="24891">
                  <c:v>-9.2436974789915603E-3</c:v>
                </c:pt>
                <c:pt idx="24892">
                  <c:v>-1.0084033613445301E-2</c:v>
                </c:pt>
                <c:pt idx="24893">
                  <c:v>-1.0084033613445301E-2</c:v>
                </c:pt>
                <c:pt idx="24894">
                  <c:v>-1.0084033613445301E-2</c:v>
                </c:pt>
                <c:pt idx="24895">
                  <c:v>-1.0084033613445301E-2</c:v>
                </c:pt>
                <c:pt idx="24896">
                  <c:v>-1.0084033613445301E-2</c:v>
                </c:pt>
                <c:pt idx="24897">
                  <c:v>-1.0084033613445301E-2</c:v>
                </c:pt>
                <c:pt idx="24898">
                  <c:v>-1.0084033613445301E-2</c:v>
                </c:pt>
                <c:pt idx="24899">
                  <c:v>-1.0084033613445301E-2</c:v>
                </c:pt>
                <c:pt idx="24900">
                  <c:v>-1.0084033613445301E-2</c:v>
                </c:pt>
                <c:pt idx="24901">
                  <c:v>-1.0084033613445301E-2</c:v>
                </c:pt>
                <c:pt idx="24902">
                  <c:v>-1.0084033613445301E-2</c:v>
                </c:pt>
                <c:pt idx="24903">
                  <c:v>-1.0084033613445301E-2</c:v>
                </c:pt>
                <c:pt idx="24904">
                  <c:v>-1.0084033613445301E-2</c:v>
                </c:pt>
                <c:pt idx="24905">
                  <c:v>-1.0084033613445301E-2</c:v>
                </c:pt>
                <c:pt idx="24906">
                  <c:v>-1.0084033613445301E-2</c:v>
                </c:pt>
                <c:pt idx="24907">
                  <c:v>-1.0084033613445301E-2</c:v>
                </c:pt>
                <c:pt idx="24908">
                  <c:v>-1.0084033613445301E-2</c:v>
                </c:pt>
                <c:pt idx="24909">
                  <c:v>-1.0084033613445301E-2</c:v>
                </c:pt>
                <c:pt idx="24910">
                  <c:v>-1.0084033613445301E-2</c:v>
                </c:pt>
                <c:pt idx="24911">
                  <c:v>-1.0084033613445301E-2</c:v>
                </c:pt>
                <c:pt idx="24912">
                  <c:v>-1.0084033613445301E-2</c:v>
                </c:pt>
                <c:pt idx="24913">
                  <c:v>-1.0084033613445301E-2</c:v>
                </c:pt>
                <c:pt idx="24914">
                  <c:v>-1.0084033613445301E-2</c:v>
                </c:pt>
                <c:pt idx="24915">
                  <c:v>-1.0084033613445301E-2</c:v>
                </c:pt>
                <c:pt idx="24916">
                  <c:v>-1.0084033613445301E-2</c:v>
                </c:pt>
                <c:pt idx="24917">
                  <c:v>-1.0084033613445301E-2</c:v>
                </c:pt>
                <c:pt idx="24918">
                  <c:v>-1.0084033613445301E-2</c:v>
                </c:pt>
                <c:pt idx="24919">
                  <c:v>-1.0084033613445301E-2</c:v>
                </c:pt>
                <c:pt idx="24920">
                  <c:v>-1.0084033613445301E-2</c:v>
                </c:pt>
                <c:pt idx="24921">
                  <c:v>-1.0084033613445301E-2</c:v>
                </c:pt>
                <c:pt idx="24922">
                  <c:v>-1.0084033613445301E-2</c:v>
                </c:pt>
                <c:pt idx="24923">
                  <c:v>-1.0084033613445301E-2</c:v>
                </c:pt>
                <c:pt idx="24924">
                  <c:v>-1.0084033613445301E-2</c:v>
                </c:pt>
                <c:pt idx="24925">
                  <c:v>-1.0084033613445301E-2</c:v>
                </c:pt>
                <c:pt idx="24926">
                  <c:v>-1.0084033613445301E-2</c:v>
                </c:pt>
                <c:pt idx="24927">
                  <c:v>-1.09243697478991E-2</c:v>
                </c:pt>
                <c:pt idx="24928">
                  <c:v>-1.09243697478991E-2</c:v>
                </c:pt>
                <c:pt idx="24929">
                  <c:v>-1.09243697478991E-2</c:v>
                </c:pt>
                <c:pt idx="24930">
                  <c:v>-1.09243697478991E-2</c:v>
                </c:pt>
                <c:pt idx="24931">
                  <c:v>-1.09243697478991E-2</c:v>
                </c:pt>
                <c:pt idx="24932">
                  <c:v>-1.09243697478991E-2</c:v>
                </c:pt>
                <c:pt idx="24933">
                  <c:v>-1.09243697478991E-2</c:v>
                </c:pt>
                <c:pt idx="24934">
                  <c:v>-1.09243697478991E-2</c:v>
                </c:pt>
                <c:pt idx="24935">
                  <c:v>-1.09243697478991E-2</c:v>
                </c:pt>
                <c:pt idx="24936">
                  <c:v>-1.09243697478991E-2</c:v>
                </c:pt>
                <c:pt idx="24937">
                  <c:v>-1.09243697478991E-2</c:v>
                </c:pt>
                <c:pt idx="24938">
                  <c:v>-1.09243697478991E-2</c:v>
                </c:pt>
                <c:pt idx="24939">
                  <c:v>-1.1764705882352899E-2</c:v>
                </c:pt>
                <c:pt idx="24940">
                  <c:v>-1.1764705882352899E-2</c:v>
                </c:pt>
                <c:pt idx="24941">
                  <c:v>-1.1764705882352899E-2</c:v>
                </c:pt>
                <c:pt idx="24942">
                  <c:v>-1.1764705882352899E-2</c:v>
                </c:pt>
                <c:pt idx="24943">
                  <c:v>-1.1764705882352899E-2</c:v>
                </c:pt>
                <c:pt idx="24944">
                  <c:v>-1.1764705882352899E-2</c:v>
                </c:pt>
                <c:pt idx="24945">
                  <c:v>-1.1764705882352899E-2</c:v>
                </c:pt>
                <c:pt idx="24946">
                  <c:v>-1.1764705882352899E-2</c:v>
                </c:pt>
                <c:pt idx="24947">
                  <c:v>-1.1764705882352899E-2</c:v>
                </c:pt>
                <c:pt idx="24948">
                  <c:v>-1.1764705882352899E-2</c:v>
                </c:pt>
                <c:pt idx="24949">
                  <c:v>-1.1764705882352899E-2</c:v>
                </c:pt>
                <c:pt idx="24950">
                  <c:v>-1.1764705882352899E-2</c:v>
                </c:pt>
                <c:pt idx="24951">
                  <c:v>-1.1764705882352899E-2</c:v>
                </c:pt>
                <c:pt idx="24952">
                  <c:v>-1.1764705882352899E-2</c:v>
                </c:pt>
                <c:pt idx="24953">
                  <c:v>-1.1764705882352899E-2</c:v>
                </c:pt>
                <c:pt idx="24954">
                  <c:v>-1.1764705882352899E-2</c:v>
                </c:pt>
                <c:pt idx="24955">
                  <c:v>-1.1764705882352899E-2</c:v>
                </c:pt>
                <c:pt idx="24956">
                  <c:v>-1.1764705882352899E-2</c:v>
                </c:pt>
                <c:pt idx="24957">
                  <c:v>-1.1764705882352899E-2</c:v>
                </c:pt>
                <c:pt idx="24958">
                  <c:v>-1.1764705882352899E-2</c:v>
                </c:pt>
                <c:pt idx="24959">
                  <c:v>-1.1764705882352899E-2</c:v>
                </c:pt>
                <c:pt idx="24960">
                  <c:v>-1.1764705882352899E-2</c:v>
                </c:pt>
                <c:pt idx="24961">
                  <c:v>-1.26050420168066E-2</c:v>
                </c:pt>
                <c:pt idx="24962">
                  <c:v>-1.26050420168066E-2</c:v>
                </c:pt>
                <c:pt idx="24963">
                  <c:v>-1.26050420168066E-2</c:v>
                </c:pt>
                <c:pt idx="24964">
                  <c:v>-1.26050420168066E-2</c:v>
                </c:pt>
                <c:pt idx="24965">
                  <c:v>-1.26050420168066E-2</c:v>
                </c:pt>
                <c:pt idx="24966">
                  <c:v>-1.26050420168066E-2</c:v>
                </c:pt>
                <c:pt idx="24967">
                  <c:v>-1.26050420168066E-2</c:v>
                </c:pt>
                <c:pt idx="24968">
                  <c:v>-1.26050420168066E-2</c:v>
                </c:pt>
                <c:pt idx="24969">
                  <c:v>-1.26050420168066E-2</c:v>
                </c:pt>
                <c:pt idx="24970">
                  <c:v>-1.26050420168066E-2</c:v>
                </c:pt>
                <c:pt idx="24971">
                  <c:v>-1.26050420168066E-2</c:v>
                </c:pt>
                <c:pt idx="24972">
                  <c:v>-1.26050420168066E-2</c:v>
                </c:pt>
                <c:pt idx="24973">
                  <c:v>-1.26050420168066E-2</c:v>
                </c:pt>
                <c:pt idx="24974">
                  <c:v>-1.26050420168066E-2</c:v>
                </c:pt>
                <c:pt idx="24975">
                  <c:v>-1.26050420168066E-2</c:v>
                </c:pt>
                <c:pt idx="24976">
                  <c:v>-1.26050420168066E-2</c:v>
                </c:pt>
                <c:pt idx="24977">
                  <c:v>-1.26050420168066E-2</c:v>
                </c:pt>
                <c:pt idx="24978">
                  <c:v>-1.1764705882352899E-2</c:v>
                </c:pt>
                <c:pt idx="24979">
                  <c:v>-1.1764705882352899E-2</c:v>
                </c:pt>
                <c:pt idx="24980">
                  <c:v>-1.1764705882352899E-2</c:v>
                </c:pt>
                <c:pt idx="24981">
                  <c:v>-1.1764705882352899E-2</c:v>
                </c:pt>
                <c:pt idx="24982">
                  <c:v>-1.1764705882352899E-2</c:v>
                </c:pt>
                <c:pt idx="24983">
                  <c:v>-1.1764705882352899E-2</c:v>
                </c:pt>
                <c:pt idx="24984">
                  <c:v>-1.1764705882352899E-2</c:v>
                </c:pt>
                <c:pt idx="24985">
                  <c:v>-1.1764705882352899E-2</c:v>
                </c:pt>
                <c:pt idx="24986">
                  <c:v>-1.1764705882352899E-2</c:v>
                </c:pt>
                <c:pt idx="24987">
                  <c:v>-1.1764705882352899E-2</c:v>
                </c:pt>
                <c:pt idx="24988">
                  <c:v>-1.1764705882352899E-2</c:v>
                </c:pt>
                <c:pt idx="24989">
                  <c:v>-1.1764705882352899E-2</c:v>
                </c:pt>
                <c:pt idx="24990">
                  <c:v>-1.1764705882352899E-2</c:v>
                </c:pt>
                <c:pt idx="24991">
                  <c:v>-1.1764705882352899E-2</c:v>
                </c:pt>
                <c:pt idx="24992">
                  <c:v>-1.1764705882352899E-2</c:v>
                </c:pt>
                <c:pt idx="24993">
                  <c:v>-1.1764705882352899E-2</c:v>
                </c:pt>
                <c:pt idx="24994">
                  <c:v>-1.1764705882352899E-2</c:v>
                </c:pt>
                <c:pt idx="24995">
                  <c:v>-1.1764705882352899E-2</c:v>
                </c:pt>
                <c:pt idx="24996">
                  <c:v>-1.1764705882352899E-2</c:v>
                </c:pt>
                <c:pt idx="24997">
                  <c:v>-1.1764705882352899E-2</c:v>
                </c:pt>
                <c:pt idx="24998">
                  <c:v>-1.1764705882352899E-2</c:v>
                </c:pt>
                <c:pt idx="24999">
                  <c:v>-1.1764705882352899E-2</c:v>
                </c:pt>
                <c:pt idx="25000">
                  <c:v>-1.1764705882352899E-2</c:v>
                </c:pt>
                <c:pt idx="25001">
                  <c:v>-1.1764705882352899E-2</c:v>
                </c:pt>
                <c:pt idx="25002">
                  <c:v>-1.1764705882352899E-2</c:v>
                </c:pt>
                <c:pt idx="25003">
                  <c:v>-1.1764705882352899E-2</c:v>
                </c:pt>
                <c:pt idx="25004">
                  <c:v>-1.1764705882352899E-2</c:v>
                </c:pt>
                <c:pt idx="25005">
                  <c:v>-1.1764705882352899E-2</c:v>
                </c:pt>
                <c:pt idx="25006">
                  <c:v>-1.1764705882352899E-2</c:v>
                </c:pt>
                <c:pt idx="25007">
                  <c:v>-1.1764705882352899E-2</c:v>
                </c:pt>
                <c:pt idx="25008">
                  <c:v>-1.1764705882352899E-2</c:v>
                </c:pt>
                <c:pt idx="25009">
                  <c:v>-1.1764705882352899E-2</c:v>
                </c:pt>
                <c:pt idx="25010">
                  <c:v>-1.1764705882352899E-2</c:v>
                </c:pt>
                <c:pt idx="25011">
                  <c:v>-1.1764705882352899E-2</c:v>
                </c:pt>
                <c:pt idx="25012">
                  <c:v>-1.1764705882352899E-2</c:v>
                </c:pt>
                <c:pt idx="25013">
                  <c:v>-1.1764705882352899E-2</c:v>
                </c:pt>
                <c:pt idx="25014">
                  <c:v>-1.1764705882352899E-2</c:v>
                </c:pt>
                <c:pt idx="25015">
                  <c:v>-1.1764705882352899E-2</c:v>
                </c:pt>
                <c:pt idx="25016">
                  <c:v>-1.1764705882352899E-2</c:v>
                </c:pt>
                <c:pt idx="25017">
                  <c:v>-1.1764705882352899E-2</c:v>
                </c:pt>
                <c:pt idx="25018">
                  <c:v>-1.1764705882352899E-2</c:v>
                </c:pt>
                <c:pt idx="25019">
                  <c:v>-1.1764705882352899E-2</c:v>
                </c:pt>
                <c:pt idx="25020">
                  <c:v>-1.1764705882352899E-2</c:v>
                </c:pt>
                <c:pt idx="25021">
                  <c:v>-1.1764705882352899E-2</c:v>
                </c:pt>
                <c:pt idx="25022">
                  <c:v>-1.1764705882352899E-2</c:v>
                </c:pt>
                <c:pt idx="25023">
                  <c:v>-1.1764705882352899E-2</c:v>
                </c:pt>
                <c:pt idx="25024">
                  <c:v>-1.1764705882352899E-2</c:v>
                </c:pt>
                <c:pt idx="25025">
                  <c:v>-1.1764705882352899E-2</c:v>
                </c:pt>
                <c:pt idx="25026">
                  <c:v>-1.1764705882352899E-2</c:v>
                </c:pt>
                <c:pt idx="25027">
                  <c:v>-1.1764705882352899E-2</c:v>
                </c:pt>
                <c:pt idx="25028">
                  <c:v>-1.1764705882352899E-2</c:v>
                </c:pt>
                <c:pt idx="25029">
                  <c:v>-1.1764705882352899E-2</c:v>
                </c:pt>
                <c:pt idx="25030">
                  <c:v>-1.1764705882352899E-2</c:v>
                </c:pt>
                <c:pt idx="25031">
                  <c:v>-1.1764705882352899E-2</c:v>
                </c:pt>
                <c:pt idx="25032">
                  <c:v>-1.1764705882352899E-2</c:v>
                </c:pt>
                <c:pt idx="25033">
                  <c:v>-1.1764705882352899E-2</c:v>
                </c:pt>
                <c:pt idx="25034">
                  <c:v>-1.1764705882352899E-2</c:v>
                </c:pt>
                <c:pt idx="25035">
                  <c:v>-1.1764705882352899E-2</c:v>
                </c:pt>
                <c:pt idx="25036">
                  <c:v>-1.1764705882352899E-2</c:v>
                </c:pt>
                <c:pt idx="25037">
                  <c:v>-1.1764705882352899E-2</c:v>
                </c:pt>
                <c:pt idx="25038">
                  <c:v>-1.26050420168066E-2</c:v>
                </c:pt>
                <c:pt idx="25039">
                  <c:v>-1.26050420168066E-2</c:v>
                </c:pt>
                <c:pt idx="25040">
                  <c:v>-1.26050420168066E-2</c:v>
                </c:pt>
                <c:pt idx="25041">
                  <c:v>-1.26050420168066E-2</c:v>
                </c:pt>
                <c:pt idx="25042">
                  <c:v>-1.26050420168066E-2</c:v>
                </c:pt>
                <c:pt idx="25043">
                  <c:v>-1.26050420168066E-2</c:v>
                </c:pt>
                <c:pt idx="25044">
                  <c:v>-1.26050420168066E-2</c:v>
                </c:pt>
                <c:pt idx="25045">
                  <c:v>-1.26050420168066E-2</c:v>
                </c:pt>
                <c:pt idx="25046">
                  <c:v>-1.26050420168066E-2</c:v>
                </c:pt>
                <c:pt idx="25047">
                  <c:v>-1.3445378151260399E-2</c:v>
                </c:pt>
                <c:pt idx="25048">
                  <c:v>-1.3445378151260399E-2</c:v>
                </c:pt>
                <c:pt idx="25049">
                  <c:v>-1.3445378151260399E-2</c:v>
                </c:pt>
                <c:pt idx="25050">
                  <c:v>-1.3445378151260399E-2</c:v>
                </c:pt>
                <c:pt idx="25051">
                  <c:v>-1.3445378151260399E-2</c:v>
                </c:pt>
                <c:pt idx="25052">
                  <c:v>-1.3445378151260399E-2</c:v>
                </c:pt>
                <c:pt idx="25053">
                  <c:v>-1.3445378151260399E-2</c:v>
                </c:pt>
                <c:pt idx="25054">
                  <c:v>-1.3445378151260399E-2</c:v>
                </c:pt>
                <c:pt idx="25055">
                  <c:v>-1.3445378151260399E-2</c:v>
                </c:pt>
                <c:pt idx="25056">
                  <c:v>-1.3445378151260399E-2</c:v>
                </c:pt>
                <c:pt idx="25057">
                  <c:v>-1.3445378151260399E-2</c:v>
                </c:pt>
                <c:pt idx="25058">
                  <c:v>-1.3445378151260399E-2</c:v>
                </c:pt>
                <c:pt idx="25059">
                  <c:v>-1.3445378151260399E-2</c:v>
                </c:pt>
                <c:pt idx="25060">
                  <c:v>-1.3445378151260399E-2</c:v>
                </c:pt>
                <c:pt idx="25061">
                  <c:v>-1.3445378151260399E-2</c:v>
                </c:pt>
                <c:pt idx="25062">
                  <c:v>-1.3445378151260399E-2</c:v>
                </c:pt>
                <c:pt idx="25063">
                  <c:v>-1.3445378151260399E-2</c:v>
                </c:pt>
                <c:pt idx="25064">
                  <c:v>-1.3445378151260399E-2</c:v>
                </c:pt>
                <c:pt idx="25065">
                  <c:v>-1.3445378151260399E-2</c:v>
                </c:pt>
                <c:pt idx="25066">
                  <c:v>-1.3445378151260399E-2</c:v>
                </c:pt>
                <c:pt idx="25067">
                  <c:v>-1.3445378151260399E-2</c:v>
                </c:pt>
                <c:pt idx="25068">
                  <c:v>-1.3445378151260399E-2</c:v>
                </c:pt>
                <c:pt idx="25069">
                  <c:v>-1.3445378151260399E-2</c:v>
                </c:pt>
                <c:pt idx="25070">
                  <c:v>-1.3445378151260399E-2</c:v>
                </c:pt>
                <c:pt idx="25071">
                  <c:v>-1.3445378151260399E-2</c:v>
                </c:pt>
                <c:pt idx="25072">
                  <c:v>-1.3445378151260399E-2</c:v>
                </c:pt>
                <c:pt idx="25073">
                  <c:v>-1.3445378151260399E-2</c:v>
                </c:pt>
                <c:pt idx="25074">
                  <c:v>-1.3445378151260399E-2</c:v>
                </c:pt>
                <c:pt idx="25075">
                  <c:v>-1.3445378151260399E-2</c:v>
                </c:pt>
                <c:pt idx="25076">
                  <c:v>-1.3445378151260399E-2</c:v>
                </c:pt>
                <c:pt idx="25077">
                  <c:v>-1.3445378151260399E-2</c:v>
                </c:pt>
                <c:pt idx="25078">
                  <c:v>-1.3445378151260399E-2</c:v>
                </c:pt>
                <c:pt idx="25079">
                  <c:v>-1.3445378151260399E-2</c:v>
                </c:pt>
                <c:pt idx="25080">
                  <c:v>-1.3445378151260399E-2</c:v>
                </c:pt>
                <c:pt idx="25081">
                  <c:v>-1.3445378151260399E-2</c:v>
                </c:pt>
                <c:pt idx="25082">
                  <c:v>-1.3445378151260399E-2</c:v>
                </c:pt>
                <c:pt idx="25083">
                  <c:v>-1.3445378151260399E-2</c:v>
                </c:pt>
                <c:pt idx="25084">
                  <c:v>-1.3445378151260399E-2</c:v>
                </c:pt>
                <c:pt idx="25085">
                  <c:v>-1.3445378151260399E-2</c:v>
                </c:pt>
                <c:pt idx="25086">
                  <c:v>-1.3445378151260399E-2</c:v>
                </c:pt>
                <c:pt idx="25087">
                  <c:v>-1.26050420168066E-2</c:v>
                </c:pt>
                <c:pt idx="25088">
                  <c:v>-1.26050420168066E-2</c:v>
                </c:pt>
                <c:pt idx="25089">
                  <c:v>-1.26050420168066E-2</c:v>
                </c:pt>
                <c:pt idx="25090">
                  <c:v>-1.26050420168066E-2</c:v>
                </c:pt>
                <c:pt idx="25091">
                  <c:v>-1.26050420168066E-2</c:v>
                </c:pt>
                <c:pt idx="25092">
                  <c:v>-1.26050420168066E-2</c:v>
                </c:pt>
                <c:pt idx="25093">
                  <c:v>-1.26050420168066E-2</c:v>
                </c:pt>
                <c:pt idx="25094">
                  <c:v>-1.26050420168066E-2</c:v>
                </c:pt>
                <c:pt idx="25095">
                  <c:v>-1.26050420168066E-2</c:v>
                </c:pt>
                <c:pt idx="25096">
                  <c:v>-1.26050420168066E-2</c:v>
                </c:pt>
                <c:pt idx="25097">
                  <c:v>-1.26050420168066E-2</c:v>
                </c:pt>
                <c:pt idx="25098">
                  <c:v>-1.26050420168066E-2</c:v>
                </c:pt>
                <c:pt idx="25099">
                  <c:v>-1.26050420168066E-2</c:v>
                </c:pt>
                <c:pt idx="25100">
                  <c:v>-1.1764705882352899E-2</c:v>
                </c:pt>
                <c:pt idx="25101">
                  <c:v>-1.1764705882352899E-2</c:v>
                </c:pt>
                <c:pt idx="25102">
                  <c:v>-1.1764705882352899E-2</c:v>
                </c:pt>
                <c:pt idx="25103">
                  <c:v>-1.1764705882352899E-2</c:v>
                </c:pt>
                <c:pt idx="25104">
                  <c:v>-1.1764705882352899E-2</c:v>
                </c:pt>
                <c:pt idx="25105">
                  <c:v>-1.1764705882352899E-2</c:v>
                </c:pt>
                <c:pt idx="25106">
                  <c:v>-1.1764705882352899E-2</c:v>
                </c:pt>
                <c:pt idx="25107">
                  <c:v>-1.1764705882352899E-2</c:v>
                </c:pt>
                <c:pt idx="25108">
                  <c:v>-1.1764705882352899E-2</c:v>
                </c:pt>
                <c:pt idx="25109">
                  <c:v>-1.1764705882352899E-2</c:v>
                </c:pt>
                <c:pt idx="25110">
                  <c:v>-1.1764705882352899E-2</c:v>
                </c:pt>
                <c:pt idx="25111">
                  <c:v>-1.1764705882352899E-2</c:v>
                </c:pt>
                <c:pt idx="25112">
                  <c:v>-1.1764705882352899E-2</c:v>
                </c:pt>
                <c:pt idx="25113">
                  <c:v>-1.1764705882352899E-2</c:v>
                </c:pt>
                <c:pt idx="25114">
                  <c:v>-1.1764705882352899E-2</c:v>
                </c:pt>
                <c:pt idx="25115">
                  <c:v>-1.1764705882352899E-2</c:v>
                </c:pt>
                <c:pt idx="25116">
                  <c:v>-1.1764705882352899E-2</c:v>
                </c:pt>
                <c:pt idx="25117">
                  <c:v>-1.1764705882352899E-2</c:v>
                </c:pt>
                <c:pt idx="25118">
                  <c:v>-1.1764705882352899E-2</c:v>
                </c:pt>
                <c:pt idx="25119">
                  <c:v>-1.1764705882352899E-2</c:v>
                </c:pt>
                <c:pt idx="25120">
                  <c:v>-1.1764705882352899E-2</c:v>
                </c:pt>
                <c:pt idx="25121">
                  <c:v>-1.1764705882352899E-2</c:v>
                </c:pt>
                <c:pt idx="25122">
                  <c:v>-1.1764705882352899E-2</c:v>
                </c:pt>
                <c:pt idx="25123">
                  <c:v>-1.1764705882352899E-2</c:v>
                </c:pt>
                <c:pt idx="25124">
                  <c:v>-1.1764705882352899E-2</c:v>
                </c:pt>
                <c:pt idx="25125">
                  <c:v>-1.1764705882352899E-2</c:v>
                </c:pt>
                <c:pt idx="25126">
                  <c:v>-1.1764705882352899E-2</c:v>
                </c:pt>
                <c:pt idx="25127">
                  <c:v>-1.1764705882352899E-2</c:v>
                </c:pt>
                <c:pt idx="25128">
                  <c:v>-1.1764705882352899E-2</c:v>
                </c:pt>
                <c:pt idx="25129">
                  <c:v>-1.1764705882352899E-2</c:v>
                </c:pt>
                <c:pt idx="25130">
                  <c:v>-1.1764705882352899E-2</c:v>
                </c:pt>
                <c:pt idx="25131">
                  <c:v>-1.1764705882352899E-2</c:v>
                </c:pt>
                <c:pt idx="25132">
                  <c:v>-1.1764705882352899E-2</c:v>
                </c:pt>
                <c:pt idx="25133">
                  <c:v>-1.1764705882352899E-2</c:v>
                </c:pt>
                <c:pt idx="25134">
                  <c:v>-1.1764705882352899E-2</c:v>
                </c:pt>
                <c:pt idx="25135">
                  <c:v>-1.1764705882352899E-2</c:v>
                </c:pt>
                <c:pt idx="25136">
                  <c:v>-1.1764705882352899E-2</c:v>
                </c:pt>
                <c:pt idx="25137">
                  <c:v>-1.1764705882352899E-2</c:v>
                </c:pt>
                <c:pt idx="25138">
                  <c:v>-1.1764705882352899E-2</c:v>
                </c:pt>
                <c:pt idx="25139">
                  <c:v>-1.1764705882352899E-2</c:v>
                </c:pt>
                <c:pt idx="25140">
                  <c:v>-1.1764705882352899E-2</c:v>
                </c:pt>
                <c:pt idx="25141">
                  <c:v>-1.1764705882352899E-2</c:v>
                </c:pt>
                <c:pt idx="25142">
                  <c:v>-1.1764705882352899E-2</c:v>
                </c:pt>
                <c:pt idx="25143">
                  <c:v>-1.1764705882352899E-2</c:v>
                </c:pt>
                <c:pt idx="25144">
                  <c:v>-1.1764705882352899E-2</c:v>
                </c:pt>
                <c:pt idx="25145">
                  <c:v>-1.1764705882352899E-2</c:v>
                </c:pt>
                <c:pt idx="25146">
                  <c:v>-1.1764705882352899E-2</c:v>
                </c:pt>
                <c:pt idx="25147">
                  <c:v>-1.1764705882352899E-2</c:v>
                </c:pt>
                <c:pt idx="25148">
                  <c:v>-1.1764705882352899E-2</c:v>
                </c:pt>
                <c:pt idx="25149">
                  <c:v>-1.1764705882352899E-2</c:v>
                </c:pt>
                <c:pt idx="25150">
                  <c:v>-1.1764705882352899E-2</c:v>
                </c:pt>
                <c:pt idx="25151">
                  <c:v>-1.1764705882352899E-2</c:v>
                </c:pt>
                <c:pt idx="25152">
                  <c:v>-1.1764705882352899E-2</c:v>
                </c:pt>
                <c:pt idx="25153">
                  <c:v>-1.1764705882352899E-2</c:v>
                </c:pt>
                <c:pt idx="25154">
                  <c:v>-1.1764705882352899E-2</c:v>
                </c:pt>
                <c:pt idx="25155">
                  <c:v>-1.1764705882352899E-2</c:v>
                </c:pt>
                <c:pt idx="25156">
                  <c:v>-1.1764705882352899E-2</c:v>
                </c:pt>
                <c:pt idx="25157">
                  <c:v>-1.1764705882352899E-2</c:v>
                </c:pt>
                <c:pt idx="25158">
                  <c:v>-1.1764705882352899E-2</c:v>
                </c:pt>
                <c:pt idx="25159">
                  <c:v>-1.1764705882352899E-2</c:v>
                </c:pt>
                <c:pt idx="25160">
                  <c:v>-1.1764705882352899E-2</c:v>
                </c:pt>
                <c:pt idx="25161">
                  <c:v>-1.1764705882352899E-2</c:v>
                </c:pt>
                <c:pt idx="25162">
                  <c:v>-1.1764705882352899E-2</c:v>
                </c:pt>
                <c:pt idx="25163">
                  <c:v>-1.1764705882352899E-2</c:v>
                </c:pt>
                <c:pt idx="25164">
                  <c:v>-1.1764705882352899E-2</c:v>
                </c:pt>
                <c:pt idx="25165">
                  <c:v>-1.1764705882352899E-2</c:v>
                </c:pt>
                <c:pt idx="25166">
                  <c:v>-1.1764705882352899E-2</c:v>
                </c:pt>
                <c:pt idx="25167">
                  <c:v>-1.1764705882352899E-2</c:v>
                </c:pt>
                <c:pt idx="25168">
                  <c:v>-1.1764705882352899E-2</c:v>
                </c:pt>
                <c:pt idx="25169">
                  <c:v>-1.1764705882352899E-2</c:v>
                </c:pt>
                <c:pt idx="25170">
                  <c:v>-1.1764705882352899E-2</c:v>
                </c:pt>
                <c:pt idx="25171">
                  <c:v>-1.1764705882352899E-2</c:v>
                </c:pt>
                <c:pt idx="25172">
                  <c:v>-1.1764705882352899E-2</c:v>
                </c:pt>
                <c:pt idx="25173">
                  <c:v>-1.1764705882352899E-2</c:v>
                </c:pt>
                <c:pt idx="25174">
                  <c:v>-1.1764705882352899E-2</c:v>
                </c:pt>
                <c:pt idx="25175">
                  <c:v>-1.1764705882352899E-2</c:v>
                </c:pt>
                <c:pt idx="25176">
                  <c:v>-1.1764705882352899E-2</c:v>
                </c:pt>
                <c:pt idx="25177">
                  <c:v>-1.1764705882352899E-2</c:v>
                </c:pt>
                <c:pt idx="25178">
                  <c:v>-1.1764705882352899E-2</c:v>
                </c:pt>
                <c:pt idx="25179">
                  <c:v>-1.1764705882352899E-2</c:v>
                </c:pt>
                <c:pt idx="25180">
                  <c:v>-1.1764705882352899E-2</c:v>
                </c:pt>
                <c:pt idx="25181">
                  <c:v>-1.1764705882352899E-2</c:v>
                </c:pt>
                <c:pt idx="25182">
                  <c:v>-1.1764705882352899E-2</c:v>
                </c:pt>
                <c:pt idx="25183">
                  <c:v>-1.1764705882352899E-2</c:v>
                </c:pt>
                <c:pt idx="25184">
                  <c:v>-1.1764705882352899E-2</c:v>
                </c:pt>
                <c:pt idx="25185">
                  <c:v>-1.1764705882352899E-2</c:v>
                </c:pt>
                <c:pt idx="25186">
                  <c:v>-1.1764705882352899E-2</c:v>
                </c:pt>
                <c:pt idx="25187">
                  <c:v>-1.1764705882352899E-2</c:v>
                </c:pt>
                <c:pt idx="25188">
                  <c:v>-1.1764705882352899E-2</c:v>
                </c:pt>
                <c:pt idx="25189">
                  <c:v>-1.1764705882352899E-2</c:v>
                </c:pt>
                <c:pt idx="25190">
                  <c:v>-1.1764705882352899E-2</c:v>
                </c:pt>
                <c:pt idx="25191">
                  <c:v>-1.1764705882352899E-2</c:v>
                </c:pt>
                <c:pt idx="25192">
                  <c:v>-1.1764705882352899E-2</c:v>
                </c:pt>
                <c:pt idx="25193">
                  <c:v>-1.26050420168066E-2</c:v>
                </c:pt>
                <c:pt idx="25194">
                  <c:v>-1.26050420168066E-2</c:v>
                </c:pt>
                <c:pt idx="25195">
                  <c:v>-1.26050420168066E-2</c:v>
                </c:pt>
                <c:pt idx="25196">
                  <c:v>-1.3445378151260399E-2</c:v>
                </c:pt>
                <c:pt idx="25197">
                  <c:v>-1.3445378151260399E-2</c:v>
                </c:pt>
                <c:pt idx="25198">
                  <c:v>-1.3445378151260399E-2</c:v>
                </c:pt>
                <c:pt idx="25199">
                  <c:v>-1.3445378151260399E-2</c:v>
                </c:pt>
                <c:pt idx="25200">
                  <c:v>-1.42857142857142E-2</c:v>
                </c:pt>
                <c:pt idx="25201">
                  <c:v>-1.42857142857142E-2</c:v>
                </c:pt>
                <c:pt idx="25202">
                  <c:v>-1.42857142857142E-2</c:v>
                </c:pt>
                <c:pt idx="25203">
                  <c:v>-1.42857142857142E-2</c:v>
                </c:pt>
                <c:pt idx="25204">
                  <c:v>-1.42857142857142E-2</c:v>
                </c:pt>
                <c:pt idx="25205">
                  <c:v>-1.42857142857142E-2</c:v>
                </c:pt>
                <c:pt idx="25206">
                  <c:v>-1.42857142857142E-2</c:v>
                </c:pt>
                <c:pt idx="25207">
                  <c:v>-1.42857142857142E-2</c:v>
                </c:pt>
                <c:pt idx="25208">
                  <c:v>-1.42857142857142E-2</c:v>
                </c:pt>
                <c:pt idx="25209">
                  <c:v>-1.42857142857142E-2</c:v>
                </c:pt>
                <c:pt idx="25210">
                  <c:v>-1.42857142857142E-2</c:v>
                </c:pt>
                <c:pt idx="25211">
                  <c:v>-1.42857142857142E-2</c:v>
                </c:pt>
                <c:pt idx="25212">
                  <c:v>-1.42857142857142E-2</c:v>
                </c:pt>
                <c:pt idx="25213">
                  <c:v>-1.42857142857142E-2</c:v>
                </c:pt>
                <c:pt idx="25214">
                  <c:v>-1.42857142857142E-2</c:v>
                </c:pt>
                <c:pt idx="25215">
                  <c:v>-1.42857142857142E-2</c:v>
                </c:pt>
                <c:pt idx="25216">
                  <c:v>-1.42857142857142E-2</c:v>
                </c:pt>
                <c:pt idx="25217">
                  <c:v>-1.42857142857142E-2</c:v>
                </c:pt>
                <c:pt idx="25218">
                  <c:v>-1.42857142857142E-2</c:v>
                </c:pt>
                <c:pt idx="25219">
                  <c:v>-1.42857142857142E-2</c:v>
                </c:pt>
                <c:pt idx="25220">
                  <c:v>-1.42857142857142E-2</c:v>
                </c:pt>
                <c:pt idx="25221">
                  <c:v>-1.42857142857142E-2</c:v>
                </c:pt>
                <c:pt idx="25222">
                  <c:v>-1.42857142857142E-2</c:v>
                </c:pt>
                <c:pt idx="25223">
                  <c:v>-1.42857142857142E-2</c:v>
                </c:pt>
                <c:pt idx="25224">
                  <c:v>-1.42857142857142E-2</c:v>
                </c:pt>
                <c:pt idx="25225">
                  <c:v>-1.42857142857142E-2</c:v>
                </c:pt>
                <c:pt idx="25226">
                  <c:v>-1.42857142857142E-2</c:v>
                </c:pt>
                <c:pt idx="25227">
                  <c:v>-1.42857142857142E-2</c:v>
                </c:pt>
                <c:pt idx="25228">
                  <c:v>-1.42857142857142E-2</c:v>
                </c:pt>
                <c:pt idx="25229">
                  <c:v>-1.42857142857142E-2</c:v>
                </c:pt>
                <c:pt idx="25230">
                  <c:v>-1.42857142857142E-2</c:v>
                </c:pt>
                <c:pt idx="25231">
                  <c:v>-1.42857142857142E-2</c:v>
                </c:pt>
                <c:pt idx="25232">
                  <c:v>-1.42857142857142E-2</c:v>
                </c:pt>
                <c:pt idx="25233">
                  <c:v>-1.42857142857142E-2</c:v>
                </c:pt>
                <c:pt idx="25234">
                  <c:v>-1.42857142857142E-2</c:v>
                </c:pt>
                <c:pt idx="25235">
                  <c:v>-1.42857142857142E-2</c:v>
                </c:pt>
                <c:pt idx="25236">
                  <c:v>-1.42857142857142E-2</c:v>
                </c:pt>
                <c:pt idx="25237">
                  <c:v>-1.42857142857142E-2</c:v>
                </c:pt>
                <c:pt idx="25238">
                  <c:v>-1.42857142857142E-2</c:v>
                </c:pt>
                <c:pt idx="25239">
                  <c:v>-1.42857142857142E-2</c:v>
                </c:pt>
                <c:pt idx="25240">
                  <c:v>-1.42857142857142E-2</c:v>
                </c:pt>
                <c:pt idx="25241">
                  <c:v>-1.42857142857142E-2</c:v>
                </c:pt>
                <c:pt idx="25242">
                  <c:v>-1.42857142857142E-2</c:v>
                </c:pt>
                <c:pt idx="25243">
                  <c:v>-1.42857142857142E-2</c:v>
                </c:pt>
                <c:pt idx="25244">
                  <c:v>-1.42857142857142E-2</c:v>
                </c:pt>
                <c:pt idx="25245">
                  <c:v>-1.42857142857142E-2</c:v>
                </c:pt>
                <c:pt idx="25246">
                  <c:v>-1.42857142857142E-2</c:v>
                </c:pt>
                <c:pt idx="25247">
                  <c:v>-1.42857142857142E-2</c:v>
                </c:pt>
                <c:pt idx="25248">
                  <c:v>-1.42857142857142E-2</c:v>
                </c:pt>
                <c:pt idx="25249">
                  <c:v>-1.42857142857142E-2</c:v>
                </c:pt>
                <c:pt idx="25250">
                  <c:v>-1.42857142857142E-2</c:v>
                </c:pt>
                <c:pt idx="25251">
                  <c:v>-1.42857142857142E-2</c:v>
                </c:pt>
                <c:pt idx="25252">
                  <c:v>-1.42857142857142E-2</c:v>
                </c:pt>
                <c:pt idx="25253">
                  <c:v>-1.42857142857142E-2</c:v>
                </c:pt>
                <c:pt idx="25254">
                  <c:v>-1.42857142857142E-2</c:v>
                </c:pt>
                <c:pt idx="25255">
                  <c:v>-1.42857142857142E-2</c:v>
                </c:pt>
                <c:pt idx="25256">
                  <c:v>-1.42857142857142E-2</c:v>
                </c:pt>
                <c:pt idx="25257">
                  <c:v>-1.42857142857142E-2</c:v>
                </c:pt>
                <c:pt idx="25258">
                  <c:v>-1.42857142857142E-2</c:v>
                </c:pt>
                <c:pt idx="25259">
                  <c:v>-1.42857142857142E-2</c:v>
                </c:pt>
                <c:pt idx="25260">
                  <c:v>-1.42857142857142E-2</c:v>
                </c:pt>
                <c:pt idx="25261">
                  <c:v>-1.42857142857142E-2</c:v>
                </c:pt>
                <c:pt idx="25262">
                  <c:v>-1.42857142857142E-2</c:v>
                </c:pt>
                <c:pt idx="25263">
                  <c:v>-1.42857142857142E-2</c:v>
                </c:pt>
                <c:pt idx="25264">
                  <c:v>-1.42857142857142E-2</c:v>
                </c:pt>
                <c:pt idx="25265">
                  <c:v>-1.42857142857142E-2</c:v>
                </c:pt>
                <c:pt idx="25266">
                  <c:v>-1.42857142857142E-2</c:v>
                </c:pt>
                <c:pt idx="25267">
                  <c:v>-1.42857142857142E-2</c:v>
                </c:pt>
                <c:pt idx="25268">
                  <c:v>-1.42857142857142E-2</c:v>
                </c:pt>
                <c:pt idx="25269">
                  <c:v>-1.42857142857142E-2</c:v>
                </c:pt>
                <c:pt idx="25270">
                  <c:v>-1.42857142857142E-2</c:v>
                </c:pt>
                <c:pt idx="25271">
                  <c:v>-1.42857142857142E-2</c:v>
                </c:pt>
                <c:pt idx="25272">
                  <c:v>-1.42857142857142E-2</c:v>
                </c:pt>
                <c:pt idx="25273">
                  <c:v>-1.42857142857142E-2</c:v>
                </c:pt>
                <c:pt idx="25274">
                  <c:v>-1.42857142857142E-2</c:v>
                </c:pt>
                <c:pt idx="25275">
                  <c:v>-1.42857142857142E-2</c:v>
                </c:pt>
                <c:pt idx="25276">
                  <c:v>-1.42857142857142E-2</c:v>
                </c:pt>
                <c:pt idx="25277">
                  <c:v>-1.42857142857142E-2</c:v>
                </c:pt>
                <c:pt idx="25278">
                  <c:v>-1.42857142857142E-2</c:v>
                </c:pt>
                <c:pt idx="25279">
                  <c:v>-1.42857142857142E-2</c:v>
                </c:pt>
                <c:pt idx="25280">
                  <c:v>-1.42857142857142E-2</c:v>
                </c:pt>
                <c:pt idx="25281">
                  <c:v>-1.42857142857142E-2</c:v>
                </c:pt>
                <c:pt idx="25282">
                  <c:v>-1.42857142857142E-2</c:v>
                </c:pt>
                <c:pt idx="25283">
                  <c:v>-1.42857142857142E-2</c:v>
                </c:pt>
                <c:pt idx="25284">
                  <c:v>-1.42857142857142E-2</c:v>
                </c:pt>
                <c:pt idx="25285">
                  <c:v>-1.42857142857142E-2</c:v>
                </c:pt>
                <c:pt idx="25286">
                  <c:v>-1.42857142857142E-2</c:v>
                </c:pt>
                <c:pt idx="25287">
                  <c:v>-1.42857142857142E-2</c:v>
                </c:pt>
                <c:pt idx="25288">
                  <c:v>-1.42857142857142E-2</c:v>
                </c:pt>
                <c:pt idx="25289">
                  <c:v>-1.42857142857142E-2</c:v>
                </c:pt>
                <c:pt idx="25290">
                  <c:v>-1.42857142857142E-2</c:v>
                </c:pt>
                <c:pt idx="25291">
                  <c:v>-1.42857142857142E-2</c:v>
                </c:pt>
                <c:pt idx="25292">
                  <c:v>-1.42857142857142E-2</c:v>
                </c:pt>
                <c:pt idx="25293">
                  <c:v>-1.42857142857142E-2</c:v>
                </c:pt>
                <c:pt idx="25294">
                  <c:v>-1.42857142857142E-2</c:v>
                </c:pt>
                <c:pt idx="25295">
                  <c:v>-1.42857142857142E-2</c:v>
                </c:pt>
                <c:pt idx="25296">
                  <c:v>-1.42857142857142E-2</c:v>
                </c:pt>
                <c:pt idx="25297">
                  <c:v>-1.42857142857142E-2</c:v>
                </c:pt>
                <c:pt idx="25298">
                  <c:v>-1.42857142857142E-2</c:v>
                </c:pt>
                <c:pt idx="25299">
                  <c:v>-1.42857142857142E-2</c:v>
                </c:pt>
                <c:pt idx="25300">
                  <c:v>-1.42857142857142E-2</c:v>
                </c:pt>
                <c:pt idx="25301">
                  <c:v>-1.5126050420168E-2</c:v>
                </c:pt>
                <c:pt idx="25302">
                  <c:v>-1.5126050420168E-2</c:v>
                </c:pt>
                <c:pt idx="25303">
                  <c:v>-1.5126050420168E-2</c:v>
                </c:pt>
                <c:pt idx="25304">
                  <c:v>-1.5126050420168E-2</c:v>
                </c:pt>
                <c:pt idx="25305">
                  <c:v>-1.5126050420168E-2</c:v>
                </c:pt>
                <c:pt idx="25306">
                  <c:v>-1.5126050420168E-2</c:v>
                </c:pt>
                <c:pt idx="25307">
                  <c:v>-1.5126050420168E-2</c:v>
                </c:pt>
                <c:pt idx="25308">
                  <c:v>-1.5126050420168E-2</c:v>
                </c:pt>
                <c:pt idx="25309">
                  <c:v>-1.5126050420168E-2</c:v>
                </c:pt>
                <c:pt idx="25310">
                  <c:v>-1.42857142857142E-2</c:v>
                </c:pt>
                <c:pt idx="25311">
                  <c:v>-1.42857142857142E-2</c:v>
                </c:pt>
                <c:pt idx="25312">
                  <c:v>-1.42857142857142E-2</c:v>
                </c:pt>
                <c:pt idx="25313">
                  <c:v>-1.42857142857142E-2</c:v>
                </c:pt>
                <c:pt idx="25314">
                  <c:v>-1.5126050420168E-2</c:v>
                </c:pt>
                <c:pt idx="25315">
                  <c:v>-1.5126050420168E-2</c:v>
                </c:pt>
                <c:pt idx="25316">
                  <c:v>-1.5126050420168E-2</c:v>
                </c:pt>
                <c:pt idx="25317">
                  <c:v>-1.5126050420168E-2</c:v>
                </c:pt>
                <c:pt idx="25318">
                  <c:v>-1.5126050420168E-2</c:v>
                </c:pt>
                <c:pt idx="25319">
                  <c:v>-1.5126050420168E-2</c:v>
                </c:pt>
                <c:pt idx="25320">
                  <c:v>-1.5126050420168E-2</c:v>
                </c:pt>
                <c:pt idx="25321">
                  <c:v>-1.5126050420168E-2</c:v>
                </c:pt>
                <c:pt idx="25322">
                  <c:v>-1.5126050420168E-2</c:v>
                </c:pt>
                <c:pt idx="25323">
                  <c:v>-1.5126050420168E-2</c:v>
                </c:pt>
                <c:pt idx="25324">
                  <c:v>-1.5126050420168E-2</c:v>
                </c:pt>
                <c:pt idx="25325">
                  <c:v>-1.5126050420168E-2</c:v>
                </c:pt>
                <c:pt idx="25326">
                  <c:v>-1.5126050420168E-2</c:v>
                </c:pt>
                <c:pt idx="25327">
                  <c:v>-1.5126050420168E-2</c:v>
                </c:pt>
                <c:pt idx="25328">
                  <c:v>-1.5126050420168E-2</c:v>
                </c:pt>
                <c:pt idx="25329">
                  <c:v>-1.5126050420168E-2</c:v>
                </c:pt>
                <c:pt idx="25330">
                  <c:v>-1.5126050420168E-2</c:v>
                </c:pt>
                <c:pt idx="25331">
                  <c:v>-1.5126050420168E-2</c:v>
                </c:pt>
                <c:pt idx="25332">
                  <c:v>-1.5126050420168E-2</c:v>
                </c:pt>
                <c:pt idx="25333">
                  <c:v>-1.5126050420168E-2</c:v>
                </c:pt>
                <c:pt idx="25334">
                  <c:v>-1.5126050420168E-2</c:v>
                </c:pt>
                <c:pt idx="25335">
                  <c:v>-1.5126050420168E-2</c:v>
                </c:pt>
                <c:pt idx="25336">
                  <c:v>-1.5126050420168E-2</c:v>
                </c:pt>
                <c:pt idx="25337">
                  <c:v>-1.5126050420168E-2</c:v>
                </c:pt>
                <c:pt idx="25338">
                  <c:v>-1.42857142857142E-2</c:v>
                </c:pt>
                <c:pt idx="25339">
                  <c:v>-1.42857142857142E-2</c:v>
                </c:pt>
                <c:pt idx="25340">
                  <c:v>-1.42857142857142E-2</c:v>
                </c:pt>
                <c:pt idx="25341">
                  <c:v>-1.42857142857142E-2</c:v>
                </c:pt>
                <c:pt idx="25342">
                  <c:v>-1.42857142857142E-2</c:v>
                </c:pt>
                <c:pt idx="25343">
                  <c:v>-1.42857142857142E-2</c:v>
                </c:pt>
                <c:pt idx="25344">
                  <c:v>-1.42857142857142E-2</c:v>
                </c:pt>
                <c:pt idx="25345">
                  <c:v>-1.42857142857142E-2</c:v>
                </c:pt>
                <c:pt idx="25346">
                  <c:v>-1.42857142857142E-2</c:v>
                </c:pt>
                <c:pt idx="25347">
                  <c:v>-1.42857142857142E-2</c:v>
                </c:pt>
                <c:pt idx="25348">
                  <c:v>-1.42857142857142E-2</c:v>
                </c:pt>
                <c:pt idx="25349">
                  <c:v>-1.42857142857142E-2</c:v>
                </c:pt>
                <c:pt idx="25350">
                  <c:v>-1.42857142857142E-2</c:v>
                </c:pt>
                <c:pt idx="25351">
                  <c:v>-1.42857142857142E-2</c:v>
                </c:pt>
                <c:pt idx="25352">
                  <c:v>-1.42857142857142E-2</c:v>
                </c:pt>
                <c:pt idx="25353">
                  <c:v>-1.42857142857142E-2</c:v>
                </c:pt>
                <c:pt idx="25354">
                  <c:v>-1.42857142857142E-2</c:v>
                </c:pt>
                <c:pt idx="25355">
                  <c:v>-1.42857142857142E-2</c:v>
                </c:pt>
                <c:pt idx="25356">
                  <c:v>-1.42857142857142E-2</c:v>
                </c:pt>
                <c:pt idx="25357">
                  <c:v>-1.5126050420168E-2</c:v>
                </c:pt>
                <c:pt idx="25358">
                  <c:v>-1.5126050420168E-2</c:v>
                </c:pt>
                <c:pt idx="25359">
                  <c:v>-1.5126050420168E-2</c:v>
                </c:pt>
                <c:pt idx="25360">
                  <c:v>-1.5126050420168E-2</c:v>
                </c:pt>
                <c:pt idx="25361">
                  <c:v>-1.5126050420168E-2</c:v>
                </c:pt>
                <c:pt idx="25362">
                  <c:v>-1.5126050420168E-2</c:v>
                </c:pt>
                <c:pt idx="25363">
                  <c:v>-1.5126050420168E-2</c:v>
                </c:pt>
                <c:pt idx="25364">
                  <c:v>-1.5126050420168E-2</c:v>
                </c:pt>
                <c:pt idx="25365">
                  <c:v>-1.5126050420168E-2</c:v>
                </c:pt>
                <c:pt idx="25366">
                  <c:v>-1.5126050420168E-2</c:v>
                </c:pt>
                <c:pt idx="25367">
                  <c:v>-1.5126050420168E-2</c:v>
                </c:pt>
                <c:pt idx="25368">
                  <c:v>-1.5126050420168E-2</c:v>
                </c:pt>
                <c:pt idx="25369">
                  <c:v>-1.5126050420168E-2</c:v>
                </c:pt>
                <c:pt idx="25370">
                  <c:v>-1.5126050420168E-2</c:v>
                </c:pt>
                <c:pt idx="25371">
                  <c:v>-1.5126050420168E-2</c:v>
                </c:pt>
                <c:pt idx="25372">
                  <c:v>-1.5126050420168E-2</c:v>
                </c:pt>
                <c:pt idx="25373">
                  <c:v>-1.5126050420168E-2</c:v>
                </c:pt>
                <c:pt idx="25374">
                  <c:v>-1.5126050420168E-2</c:v>
                </c:pt>
                <c:pt idx="25375">
                  <c:v>-1.5126050420168E-2</c:v>
                </c:pt>
                <c:pt idx="25376">
                  <c:v>-1.5126050420168E-2</c:v>
                </c:pt>
                <c:pt idx="25377">
                  <c:v>-1.5126050420168E-2</c:v>
                </c:pt>
                <c:pt idx="25378">
                  <c:v>-1.5126050420168E-2</c:v>
                </c:pt>
                <c:pt idx="25379">
                  <c:v>-1.42857142857142E-2</c:v>
                </c:pt>
                <c:pt idx="25380">
                  <c:v>-1.42857142857142E-2</c:v>
                </c:pt>
                <c:pt idx="25381">
                  <c:v>-1.42857142857142E-2</c:v>
                </c:pt>
                <c:pt idx="25382">
                  <c:v>-1.42857142857142E-2</c:v>
                </c:pt>
                <c:pt idx="25383">
                  <c:v>-1.42857142857142E-2</c:v>
                </c:pt>
                <c:pt idx="25384">
                  <c:v>-1.42857142857142E-2</c:v>
                </c:pt>
                <c:pt idx="25385">
                  <c:v>-1.42857142857142E-2</c:v>
                </c:pt>
                <c:pt idx="25386">
                  <c:v>-1.5126050420168E-2</c:v>
                </c:pt>
                <c:pt idx="25387">
                  <c:v>-1.5126050420168E-2</c:v>
                </c:pt>
                <c:pt idx="25388">
                  <c:v>-1.5126050420168E-2</c:v>
                </c:pt>
                <c:pt idx="25389">
                  <c:v>-1.5126050420168E-2</c:v>
                </c:pt>
                <c:pt idx="25390">
                  <c:v>-1.5126050420168E-2</c:v>
                </c:pt>
                <c:pt idx="25391">
                  <c:v>-1.5126050420168E-2</c:v>
                </c:pt>
                <c:pt idx="25392">
                  <c:v>-1.5126050420168E-2</c:v>
                </c:pt>
                <c:pt idx="25393">
                  <c:v>-1.5126050420168E-2</c:v>
                </c:pt>
                <c:pt idx="25394">
                  <c:v>-1.5126050420168E-2</c:v>
                </c:pt>
                <c:pt idx="25395">
                  <c:v>-1.5126050420168E-2</c:v>
                </c:pt>
                <c:pt idx="25396">
                  <c:v>-1.5126050420168E-2</c:v>
                </c:pt>
                <c:pt idx="25397">
                  <c:v>-1.5126050420168E-2</c:v>
                </c:pt>
                <c:pt idx="25398">
                  <c:v>-1.5126050420168E-2</c:v>
                </c:pt>
                <c:pt idx="25399">
                  <c:v>-1.5126050420168E-2</c:v>
                </c:pt>
                <c:pt idx="25400">
                  <c:v>-1.5126050420168E-2</c:v>
                </c:pt>
                <c:pt idx="25401">
                  <c:v>-1.5126050420168E-2</c:v>
                </c:pt>
                <c:pt idx="25402">
                  <c:v>-1.5126050420168E-2</c:v>
                </c:pt>
                <c:pt idx="25403">
                  <c:v>-1.5126050420168E-2</c:v>
                </c:pt>
                <c:pt idx="25404">
                  <c:v>-1.5126050420168E-2</c:v>
                </c:pt>
                <c:pt idx="25405">
                  <c:v>-1.5126050420168E-2</c:v>
                </c:pt>
                <c:pt idx="25406">
                  <c:v>-1.5126050420168E-2</c:v>
                </c:pt>
                <c:pt idx="25407">
                  <c:v>-1.5126050420168E-2</c:v>
                </c:pt>
                <c:pt idx="25408">
                  <c:v>-1.5126050420168E-2</c:v>
                </c:pt>
                <c:pt idx="25409">
                  <c:v>-1.5126050420168E-2</c:v>
                </c:pt>
                <c:pt idx="25410">
                  <c:v>-1.5126050420168E-2</c:v>
                </c:pt>
                <c:pt idx="25411">
                  <c:v>-1.5966386554621698E-2</c:v>
                </c:pt>
                <c:pt idx="25412">
                  <c:v>-1.5966386554621698E-2</c:v>
                </c:pt>
                <c:pt idx="25413">
                  <c:v>-1.5966386554621698E-2</c:v>
                </c:pt>
                <c:pt idx="25414">
                  <c:v>-1.5966386554621698E-2</c:v>
                </c:pt>
                <c:pt idx="25415">
                  <c:v>-1.5966386554621698E-2</c:v>
                </c:pt>
                <c:pt idx="25416">
                  <c:v>-1.5966386554621698E-2</c:v>
                </c:pt>
                <c:pt idx="25417">
                  <c:v>-1.5966386554621698E-2</c:v>
                </c:pt>
                <c:pt idx="25418">
                  <c:v>-1.5966386554621698E-2</c:v>
                </c:pt>
                <c:pt idx="25419">
                  <c:v>-1.5966386554621698E-2</c:v>
                </c:pt>
                <c:pt idx="25420">
                  <c:v>-1.5966386554621698E-2</c:v>
                </c:pt>
                <c:pt idx="25421">
                  <c:v>-1.5966386554621698E-2</c:v>
                </c:pt>
                <c:pt idx="25422">
                  <c:v>-1.5966386554621698E-2</c:v>
                </c:pt>
                <c:pt idx="25423">
                  <c:v>-1.5966386554621698E-2</c:v>
                </c:pt>
                <c:pt idx="25424">
                  <c:v>-1.5126050420168E-2</c:v>
                </c:pt>
                <c:pt idx="25425">
                  <c:v>-1.42857142857142E-2</c:v>
                </c:pt>
                <c:pt idx="25426">
                  <c:v>-1.42857142857142E-2</c:v>
                </c:pt>
                <c:pt idx="25427">
                  <c:v>-1.42857142857142E-2</c:v>
                </c:pt>
                <c:pt idx="25428">
                  <c:v>-1.42857142857142E-2</c:v>
                </c:pt>
                <c:pt idx="25429">
                  <c:v>-1.42857142857142E-2</c:v>
                </c:pt>
                <c:pt idx="25430">
                  <c:v>-1.42857142857142E-2</c:v>
                </c:pt>
                <c:pt idx="25431">
                  <c:v>-1.42857142857142E-2</c:v>
                </c:pt>
                <c:pt idx="25432">
                  <c:v>-1.42857142857142E-2</c:v>
                </c:pt>
                <c:pt idx="25433">
                  <c:v>-1.42857142857142E-2</c:v>
                </c:pt>
                <c:pt idx="25434">
                  <c:v>-1.42857142857142E-2</c:v>
                </c:pt>
                <c:pt idx="25435">
                  <c:v>-1.42857142857142E-2</c:v>
                </c:pt>
                <c:pt idx="25436">
                  <c:v>-1.42857142857142E-2</c:v>
                </c:pt>
                <c:pt idx="25437">
                  <c:v>-1.42857142857142E-2</c:v>
                </c:pt>
                <c:pt idx="25438">
                  <c:v>-1.42857142857142E-2</c:v>
                </c:pt>
                <c:pt idx="25439">
                  <c:v>-1.42857142857142E-2</c:v>
                </c:pt>
                <c:pt idx="25440">
                  <c:v>-1.42857142857142E-2</c:v>
                </c:pt>
                <c:pt idx="25441">
                  <c:v>-1.42857142857142E-2</c:v>
                </c:pt>
                <c:pt idx="25442">
                  <c:v>-1.42857142857142E-2</c:v>
                </c:pt>
                <c:pt idx="25443">
                  <c:v>-1.42857142857142E-2</c:v>
                </c:pt>
                <c:pt idx="25444">
                  <c:v>-1.5126050420168E-2</c:v>
                </c:pt>
                <c:pt idx="25445">
                  <c:v>-1.5126050420168E-2</c:v>
                </c:pt>
                <c:pt idx="25446">
                  <c:v>-1.5126050420168E-2</c:v>
                </c:pt>
                <c:pt idx="25447">
                  <c:v>-1.5126050420168E-2</c:v>
                </c:pt>
                <c:pt idx="25448">
                  <c:v>-1.5126050420168E-2</c:v>
                </c:pt>
                <c:pt idx="25449">
                  <c:v>-1.5126050420168E-2</c:v>
                </c:pt>
                <c:pt idx="25450">
                  <c:v>-1.5126050420168E-2</c:v>
                </c:pt>
                <c:pt idx="25451">
                  <c:v>-1.5126050420168E-2</c:v>
                </c:pt>
                <c:pt idx="25452">
                  <c:v>-1.5126050420168E-2</c:v>
                </c:pt>
                <c:pt idx="25453">
                  <c:v>-1.5126050420168E-2</c:v>
                </c:pt>
                <c:pt idx="25454">
                  <c:v>-1.5126050420168E-2</c:v>
                </c:pt>
                <c:pt idx="25455">
                  <c:v>-1.5126050420168E-2</c:v>
                </c:pt>
                <c:pt idx="25456">
                  <c:v>-1.5126050420168E-2</c:v>
                </c:pt>
                <c:pt idx="25457">
                  <c:v>-1.5126050420168E-2</c:v>
                </c:pt>
                <c:pt idx="25458">
                  <c:v>-1.5126050420168E-2</c:v>
                </c:pt>
                <c:pt idx="25459">
                  <c:v>-1.5126050420168E-2</c:v>
                </c:pt>
                <c:pt idx="25460">
                  <c:v>-1.5126050420168E-2</c:v>
                </c:pt>
                <c:pt idx="25461">
                  <c:v>-1.5126050420168E-2</c:v>
                </c:pt>
                <c:pt idx="25462">
                  <c:v>-1.5126050420168E-2</c:v>
                </c:pt>
                <c:pt idx="25463">
                  <c:v>-1.5126050420168E-2</c:v>
                </c:pt>
                <c:pt idx="25464">
                  <c:v>-1.5126050420168E-2</c:v>
                </c:pt>
                <c:pt idx="25465">
                  <c:v>-1.5126050420168E-2</c:v>
                </c:pt>
                <c:pt idx="25466">
                  <c:v>-1.5126050420168E-2</c:v>
                </c:pt>
                <c:pt idx="25467">
                  <c:v>-1.5126050420168E-2</c:v>
                </c:pt>
                <c:pt idx="25468">
                  <c:v>-1.5126050420168E-2</c:v>
                </c:pt>
                <c:pt idx="25469">
                  <c:v>-1.5126050420168E-2</c:v>
                </c:pt>
                <c:pt idx="25470">
                  <c:v>-1.5126050420168E-2</c:v>
                </c:pt>
                <c:pt idx="25471">
                  <c:v>-1.5126050420168E-2</c:v>
                </c:pt>
                <c:pt idx="25472">
                  <c:v>-1.5126050420168E-2</c:v>
                </c:pt>
                <c:pt idx="25473">
                  <c:v>-1.5126050420168E-2</c:v>
                </c:pt>
                <c:pt idx="25474">
                  <c:v>-1.42857142857142E-2</c:v>
                </c:pt>
                <c:pt idx="25475">
                  <c:v>-1.5126050420168E-2</c:v>
                </c:pt>
                <c:pt idx="25476">
                  <c:v>-1.5126050420168E-2</c:v>
                </c:pt>
                <c:pt idx="25477">
                  <c:v>-1.5126050420168E-2</c:v>
                </c:pt>
                <c:pt idx="25478">
                  <c:v>-1.5126050420168E-2</c:v>
                </c:pt>
                <c:pt idx="25479">
                  <c:v>-1.5126050420168E-2</c:v>
                </c:pt>
                <c:pt idx="25480">
                  <c:v>-1.5126050420168E-2</c:v>
                </c:pt>
                <c:pt idx="25481">
                  <c:v>-1.5126050420168E-2</c:v>
                </c:pt>
                <c:pt idx="25482">
                  <c:v>-1.5126050420168E-2</c:v>
                </c:pt>
                <c:pt idx="25483">
                  <c:v>-1.5126050420168E-2</c:v>
                </c:pt>
                <c:pt idx="25484">
                  <c:v>-1.5126050420168E-2</c:v>
                </c:pt>
                <c:pt idx="25485">
                  <c:v>-1.5126050420168E-2</c:v>
                </c:pt>
                <c:pt idx="25486">
                  <c:v>-1.5126050420168E-2</c:v>
                </c:pt>
                <c:pt idx="25487">
                  <c:v>-1.5126050420168E-2</c:v>
                </c:pt>
                <c:pt idx="25488">
                  <c:v>-1.5126050420168E-2</c:v>
                </c:pt>
                <c:pt idx="25489">
                  <c:v>-1.42857142857142E-2</c:v>
                </c:pt>
                <c:pt idx="25490">
                  <c:v>-1.42857142857142E-2</c:v>
                </c:pt>
                <c:pt idx="25491">
                  <c:v>-1.42857142857142E-2</c:v>
                </c:pt>
                <c:pt idx="25492">
                  <c:v>-1.42857142857142E-2</c:v>
                </c:pt>
                <c:pt idx="25493">
                  <c:v>-1.5126050420168E-2</c:v>
                </c:pt>
                <c:pt idx="25494">
                  <c:v>-1.5126050420168E-2</c:v>
                </c:pt>
                <c:pt idx="25495">
                  <c:v>-1.5126050420168E-2</c:v>
                </c:pt>
                <c:pt idx="25496">
                  <c:v>-1.5126050420168E-2</c:v>
                </c:pt>
                <c:pt idx="25497">
                  <c:v>-1.5126050420168E-2</c:v>
                </c:pt>
                <c:pt idx="25498">
                  <c:v>-1.5966386554621698E-2</c:v>
                </c:pt>
                <c:pt idx="25499">
                  <c:v>-1.5966386554621698E-2</c:v>
                </c:pt>
                <c:pt idx="25500">
                  <c:v>-1.5966386554621698E-2</c:v>
                </c:pt>
                <c:pt idx="25501">
                  <c:v>-1.5966386554621698E-2</c:v>
                </c:pt>
                <c:pt idx="25502">
                  <c:v>-1.5966386554621698E-2</c:v>
                </c:pt>
                <c:pt idx="25503">
                  <c:v>-1.5966386554621698E-2</c:v>
                </c:pt>
                <c:pt idx="25504">
                  <c:v>-1.5966386554621698E-2</c:v>
                </c:pt>
                <c:pt idx="25505">
                  <c:v>-1.5966386554621698E-2</c:v>
                </c:pt>
                <c:pt idx="25506">
                  <c:v>-1.5966386554621698E-2</c:v>
                </c:pt>
                <c:pt idx="25507">
                  <c:v>-1.5966386554621698E-2</c:v>
                </c:pt>
                <c:pt idx="25508">
                  <c:v>-1.5966386554621698E-2</c:v>
                </c:pt>
                <c:pt idx="25509">
                  <c:v>-1.5966386554621698E-2</c:v>
                </c:pt>
                <c:pt idx="25510">
                  <c:v>-1.6806722689075501E-2</c:v>
                </c:pt>
                <c:pt idx="25511">
                  <c:v>-1.6806722689075501E-2</c:v>
                </c:pt>
                <c:pt idx="25512">
                  <c:v>-1.6806722689075501E-2</c:v>
                </c:pt>
                <c:pt idx="25513">
                  <c:v>-1.6806722689075501E-2</c:v>
                </c:pt>
                <c:pt idx="25514">
                  <c:v>-1.6806722689075501E-2</c:v>
                </c:pt>
                <c:pt idx="25515">
                  <c:v>-1.6806722689075501E-2</c:v>
                </c:pt>
                <c:pt idx="25516">
                  <c:v>-1.6806722689075501E-2</c:v>
                </c:pt>
                <c:pt idx="25517">
                  <c:v>-1.6806722689075501E-2</c:v>
                </c:pt>
                <c:pt idx="25518">
                  <c:v>-1.6806722689075501E-2</c:v>
                </c:pt>
                <c:pt idx="25519">
                  <c:v>-1.6806722689075501E-2</c:v>
                </c:pt>
                <c:pt idx="25520">
                  <c:v>-1.6806722689075501E-2</c:v>
                </c:pt>
                <c:pt idx="25521">
                  <c:v>-1.6806722689075501E-2</c:v>
                </c:pt>
                <c:pt idx="25522">
                  <c:v>-1.6806722689075501E-2</c:v>
                </c:pt>
                <c:pt idx="25523">
                  <c:v>-1.6806722689075501E-2</c:v>
                </c:pt>
                <c:pt idx="25524">
                  <c:v>-1.6806722689075501E-2</c:v>
                </c:pt>
                <c:pt idx="25525">
                  <c:v>-1.6806722689075501E-2</c:v>
                </c:pt>
                <c:pt idx="25526">
                  <c:v>-1.6806722689075501E-2</c:v>
                </c:pt>
                <c:pt idx="25527">
                  <c:v>-1.6806722689075501E-2</c:v>
                </c:pt>
                <c:pt idx="25528">
                  <c:v>-1.6806722689075501E-2</c:v>
                </c:pt>
                <c:pt idx="25529">
                  <c:v>-1.6806722689075501E-2</c:v>
                </c:pt>
                <c:pt idx="25530">
                  <c:v>-1.6806722689075501E-2</c:v>
                </c:pt>
                <c:pt idx="25531">
                  <c:v>-1.6806722689075501E-2</c:v>
                </c:pt>
                <c:pt idx="25532">
                  <c:v>-1.6806722689075501E-2</c:v>
                </c:pt>
                <c:pt idx="25533">
                  <c:v>-1.6806722689075501E-2</c:v>
                </c:pt>
                <c:pt idx="25534">
                  <c:v>-1.6806722689075501E-2</c:v>
                </c:pt>
                <c:pt idx="25535">
                  <c:v>-1.6806722689075501E-2</c:v>
                </c:pt>
                <c:pt idx="25536">
                  <c:v>-1.6806722689075501E-2</c:v>
                </c:pt>
                <c:pt idx="25537">
                  <c:v>-1.6806722689075501E-2</c:v>
                </c:pt>
                <c:pt idx="25538">
                  <c:v>-1.6806722689075501E-2</c:v>
                </c:pt>
                <c:pt idx="25539">
                  <c:v>-1.6806722689075501E-2</c:v>
                </c:pt>
                <c:pt idx="25540">
                  <c:v>-1.6806722689075501E-2</c:v>
                </c:pt>
                <c:pt idx="25541">
                  <c:v>-1.6806722689075501E-2</c:v>
                </c:pt>
                <c:pt idx="25542">
                  <c:v>-1.6806722689075501E-2</c:v>
                </c:pt>
                <c:pt idx="25543">
                  <c:v>-1.6806722689075501E-2</c:v>
                </c:pt>
                <c:pt idx="25544">
                  <c:v>-1.6806722689075501E-2</c:v>
                </c:pt>
                <c:pt idx="25545">
                  <c:v>-1.6806722689075501E-2</c:v>
                </c:pt>
                <c:pt idx="25546">
                  <c:v>-1.6806722689075501E-2</c:v>
                </c:pt>
                <c:pt idx="25547">
                  <c:v>-1.6806722689075501E-2</c:v>
                </c:pt>
                <c:pt idx="25548">
                  <c:v>-1.6806722689075501E-2</c:v>
                </c:pt>
                <c:pt idx="25549">
                  <c:v>-1.6806722689075501E-2</c:v>
                </c:pt>
                <c:pt idx="25550">
                  <c:v>-1.6806722689075501E-2</c:v>
                </c:pt>
                <c:pt idx="25551">
                  <c:v>-1.6806722689075501E-2</c:v>
                </c:pt>
                <c:pt idx="25552">
                  <c:v>-1.6806722689075501E-2</c:v>
                </c:pt>
                <c:pt idx="25553">
                  <c:v>-1.6806722689075501E-2</c:v>
                </c:pt>
                <c:pt idx="25554">
                  <c:v>-1.6806722689075501E-2</c:v>
                </c:pt>
                <c:pt idx="25555">
                  <c:v>-1.6806722689075501E-2</c:v>
                </c:pt>
                <c:pt idx="25556">
                  <c:v>-1.6806722689075501E-2</c:v>
                </c:pt>
                <c:pt idx="25557">
                  <c:v>-1.6806722689075501E-2</c:v>
                </c:pt>
                <c:pt idx="25558">
                  <c:v>-1.6806722689075501E-2</c:v>
                </c:pt>
                <c:pt idx="25559">
                  <c:v>-1.7647058823529401E-2</c:v>
                </c:pt>
                <c:pt idx="25560">
                  <c:v>-1.7647058823529401E-2</c:v>
                </c:pt>
                <c:pt idx="25561">
                  <c:v>-1.7647058823529401E-2</c:v>
                </c:pt>
                <c:pt idx="25562">
                  <c:v>-1.7647058823529401E-2</c:v>
                </c:pt>
                <c:pt idx="25563">
                  <c:v>-1.7647058823529401E-2</c:v>
                </c:pt>
                <c:pt idx="25564">
                  <c:v>-1.7647058823529401E-2</c:v>
                </c:pt>
                <c:pt idx="25565">
                  <c:v>-1.7647058823529401E-2</c:v>
                </c:pt>
                <c:pt idx="25566">
                  <c:v>-1.7647058823529401E-2</c:v>
                </c:pt>
                <c:pt idx="25567">
                  <c:v>-1.7647058823529401E-2</c:v>
                </c:pt>
                <c:pt idx="25568">
                  <c:v>-1.7647058823529401E-2</c:v>
                </c:pt>
                <c:pt idx="25569">
                  <c:v>-1.7647058823529401E-2</c:v>
                </c:pt>
                <c:pt idx="25570">
                  <c:v>-1.7647058823529401E-2</c:v>
                </c:pt>
                <c:pt idx="25571">
                  <c:v>-1.7647058823529401E-2</c:v>
                </c:pt>
                <c:pt idx="25572">
                  <c:v>-1.7647058823529401E-2</c:v>
                </c:pt>
                <c:pt idx="25573">
                  <c:v>-1.7647058823529401E-2</c:v>
                </c:pt>
                <c:pt idx="25574">
                  <c:v>-1.7647058823529401E-2</c:v>
                </c:pt>
                <c:pt idx="25575">
                  <c:v>-1.7647058823529401E-2</c:v>
                </c:pt>
                <c:pt idx="25576">
                  <c:v>-1.7647058823529401E-2</c:v>
                </c:pt>
                <c:pt idx="25577">
                  <c:v>-1.7647058823529401E-2</c:v>
                </c:pt>
                <c:pt idx="25578">
                  <c:v>-1.7647058823529401E-2</c:v>
                </c:pt>
                <c:pt idx="25579">
                  <c:v>-1.7647058823529401E-2</c:v>
                </c:pt>
                <c:pt idx="25580">
                  <c:v>-1.7647058823529401E-2</c:v>
                </c:pt>
                <c:pt idx="25581">
                  <c:v>-1.7647058823529401E-2</c:v>
                </c:pt>
                <c:pt idx="25582">
                  <c:v>-1.7647058823529401E-2</c:v>
                </c:pt>
                <c:pt idx="25583">
                  <c:v>-1.7647058823529401E-2</c:v>
                </c:pt>
                <c:pt idx="25584">
                  <c:v>-1.7647058823529401E-2</c:v>
                </c:pt>
                <c:pt idx="25585">
                  <c:v>-1.7647058823529401E-2</c:v>
                </c:pt>
                <c:pt idx="25586">
                  <c:v>-1.7647058823529401E-2</c:v>
                </c:pt>
                <c:pt idx="25587">
                  <c:v>-1.7647058823529401E-2</c:v>
                </c:pt>
                <c:pt idx="25588">
                  <c:v>-1.7647058823529401E-2</c:v>
                </c:pt>
                <c:pt idx="25589">
                  <c:v>-1.7647058823529401E-2</c:v>
                </c:pt>
                <c:pt idx="25590">
                  <c:v>-1.7647058823529401E-2</c:v>
                </c:pt>
                <c:pt idx="25591">
                  <c:v>-1.7647058823529401E-2</c:v>
                </c:pt>
                <c:pt idx="25592">
                  <c:v>-1.84873949579832E-2</c:v>
                </c:pt>
                <c:pt idx="25593">
                  <c:v>-1.84873949579832E-2</c:v>
                </c:pt>
                <c:pt idx="25594">
                  <c:v>-1.84873949579832E-2</c:v>
                </c:pt>
                <c:pt idx="25595">
                  <c:v>-1.84873949579832E-2</c:v>
                </c:pt>
                <c:pt idx="25596">
                  <c:v>-1.84873949579832E-2</c:v>
                </c:pt>
                <c:pt idx="25597">
                  <c:v>-1.84873949579832E-2</c:v>
                </c:pt>
                <c:pt idx="25598">
                  <c:v>-1.84873949579832E-2</c:v>
                </c:pt>
                <c:pt idx="25599">
                  <c:v>-1.84873949579832E-2</c:v>
                </c:pt>
                <c:pt idx="25600">
                  <c:v>-1.84873949579832E-2</c:v>
                </c:pt>
                <c:pt idx="25601">
                  <c:v>-1.84873949579832E-2</c:v>
                </c:pt>
                <c:pt idx="25602">
                  <c:v>-1.84873949579832E-2</c:v>
                </c:pt>
                <c:pt idx="25603">
                  <c:v>-1.84873949579832E-2</c:v>
                </c:pt>
                <c:pt idx="25604">
                  <c:v>-1.84873949579832E-2</c:v>
                </c:pt>
                <c:pt idx="25605">
                  <c:v>-1.84873949579832E-2</c:v>
                </c:pt>
                <c:pt idx="25606">
                  <c:v>-1.84873949579832E-2</c:v>
                </c:pt>
                <c:pt idx="25607">
                  <c:v>-1.84873949579832E-2</c:v>
                </c:pt>
                <c:pt idx="25608">
                  <c:v>-1.84873949579832E-2</c:v>
                </c:pt>
                <c:pt idx="25609">
                  <c:v>-1.84873949579832E-2</c:v>
                </c:pt>
                <c:pt idx="25610">
                  <c:v>-1.84873949579832E-2</c:v>
                </c:pt>
                <c:pt idx="25611">
                  <c:v>-1.84873949579832E-2</c:v>
                </c:pt>
                <c:pt idx="25612">
                  <c:v>-1.84873949579832E-2</c:v>
                </c:pt>
                <c:pt idx="25613">
                  <c:v>-1.84873949579832E-2</c:v>
                </c:pt>
                <c:pt idx="25614">
                  <c:v>-1.84873949579832E-2</c:v>
                </c:pt>
                <c:pt idx="25615">
                  <c:v>-1.84873949579832E-2</c:v>
                </c:pt>
                <c:pt idx="25616">
                  <c:v>-1.84873949579832E-2</c:v>
                </c:pt>
                <c:pt idx="25617">
                  <c:v>-1.84873949579832E-2</c:v>
                </c:pt>
                <c:pt idx="25618">
                  <c:v>-1.84873949579832E-2</c:v>
                </c:pt>
                <c:pt idx="25619">
                  <c:v>-1.84873949579832E-2</c:v>
                </c:pt>
                <c:pt idx="25620">
                  <c:v>-1.84873949579832E-2</c:v>
                </c:pt>
                <c:pt idx="25621">
                  <c:v>-1.84873949579832E-2</c:v>
                </c:pt>
                <c:pt idx="25622">
                  <c:v>-1.84873949579832E-2</c:v>
                </c:pt>
                <c:pt idx="25623">
                  <c:v>-1.84873949579832E-2</c:v>
                </c:pt>
                <c:pt idx="25624">
                  <c:v>-1.84873949579832E-2</c:v>
                </c:pt>
                <c:pt idx="25625">
                  <c:v>-1.7647058823529401E-2</c:v>
                </c:pt>
                <c:pt idx="25626">
                  <c:v>-1.7647058823529401E-2</c:v>
                </c:pt>
                <c:pt idx="25627">
                  <c:v>-1.7647058823529401E-2</c:v>
                </c:pt>
                <c:pt idx="25628">
                  <c:v>-1.7647058823529401E-2</c:v>
                </c:pt>
                <c:pt idx="25629">
                  <c:v>-1.7647058823529401E-2</c:v>
                </c:pt>
                <c:pt idx="25630">
                  <c:v>-1.7647058823529401E-2</c:v>
                </c:pt>
                <c:pt idx="25631">
                  <c:v>-1.7647058823529401E-2</c:v>
                </c:pt>
                <c:pt idx="25632">
                  <c:v>-1.7647058823529401E-2</c:v>
                </c:pt>
                <c:pt idx="25633">
                  <c:v>-1.7647058823529401E-2</c:v>
                </c:pt>
                <c:pt idx="25634">
                  <c:v>-1.7647058823529401E-2</c:v>
                </c:pt>
                <c:pt idx="25635">
                  <c:v>-1.7647058823529401E-2</c:v>
                </c:pt>
                <c:pt idx="25636">
                  <c:v>-1.7647058823529401E-2</c:v>
                </c:pt>
                <c:pt idx="25637">
                  <c:v>-1.7647058823529401E-2</c:v>
                </c:pt>
                <c:pt idx="25638">
                  <c:v>-1.7647058823529401E-2</c:v>
                </c:pt>
                <c:pt idx="25639">
                  <c:v>-1.7647058823529401E-2</c:v>
                </c:pt>
                <c:pt idx="25640">
                  <c:v>-1.7647058823529401E-2</c:v>
                </c:pt>
                <c:pt idx="25641">
                  <c:v>-1.7647058823529401E-2</c:v>
                </c:pt>
                <c:pt idx="25642">
                  <c:v>-1.7647058823529401E-2</c:v>
                </c:pt>
                <c:pt idx="25643">
                  <c:v>-1.7647058823529401E-2</c:v>
                </c:pt>
                <c:pt idx="25644">
                  <c:v>-1.7647058823529401E-2</c:v>
                </c:pt>
                <c:pt idx="25645">
                  <c:v>-1.7647058823529401E-2</c:v>
                </c:pt>
                <c:pt idx="25646">
                  <c:v>-1.7647058823529401E-2</c:v>
                </c:pt>
                <c:pt idx="25647">
                  <c:v>-1.7647058823529401E-2</c:v>
                </c:pt>
                <c:pt idx="25648">
                  <c:v>-1.7647058823529401E-2</c:v>
                </c:pt>
                <c:pt idx="25649">
                  <c:v>-1.7647058823529401E-2</c:v>
                </c:pt>
                <c:pt idx="25650">
                  <c:v>-1.7647058823529401E-2</c:v>
                </c:pt>
                <c:pt idx="25651">
                  <c:v>-1.7647058823529401E-2</c:v>
                </c:pt>
                <c:pt idx="25652">
                  <c:v>-1.7647058823529401E-2</c:v>
                </c:pt>
                <c:pt idx="25653">
                  <c:v>-1.7647058823529401E-2</c:v>
                </c:pt>
                <c:pt idx="25654">
                  <c:v>-1.6806722689075598E-2</c:v>
                </c:pt>
                <c:pt idx="25655">
                  <c:v>-1.6806722689075598E-2</c:v>
                </c:pt>
                <c:pt idx="25656">
                  <c:v>-1.6806722689075598E-2</c:v>
                </c:pt>
                <c:pt idx="25657">
                  <c:v>-1.6806722689075598E-2</c:v>
                </c:pt>
                <c:pt idx="25658">
                  <c:v>-1.6806722689075598E-2</c:v>
                </c:pt>
                <c:pt idx="25659">
                  <c:v>-1.6806722689075598E-2</c:v>
                </c:pt>
                <c:pt idx="25660">
                  <c:v>-1.6806722689075598E-2</c:v>
                </c:pt>
                <c:pt idx="25661">
                  <c:v>-1.6806722689075598E-2</c:v>
                </c:pt>
                <c:pt idx="25662">
                  <c:v>-1.6806722689075598E-2</c:v>
                </c:pt>
                <c:pt idx="25663">
                  <c:v>-1.6806722689075598E-2</c:v>
                </c:pt>
                <c:pt idx="25664">
                  <c:v>-1.6806722689075598E-2</c:v>
                </c:pt>
                <c:pt idx="25665">
                  <c:v>-1.6806722689075598E-2</c:v>
                </c:pt>
                <c:pt idx="25666">
                  <c:v>-1.6806722689075598E-2</c:v>
                </c:pt>
                <c:pt idx="25667">
                  <c:v>-1.6806722689075598E-2</c:v>
                </c:pt>
                <c:pt idx="25668">
                  <c:v>-1.6806722689075598E-2</c:v>
                </c:pt>
                <c:pt idx="25669">
                  <c:v>-1.6806722689075598E-2</c:v>
                </c:pt>
                <c:pt idx="25670">
                  <c:v>-1.6806722689075598E-2</c:v>
                </c:pt>
                <c:pt idx="25671">
                  <c:v>-1.6806722689075598E-2</c:v>
                </c:pt>
                <c:pt idx="25672">
                  <c:v>-1.6806722689075598E-2</c:v>
                </c:pt>
                <c:pt idx="25673">
                  <c:v>-1.6806722689075598E-2</c:v>
                </c:pt>
                <c:pt idx="25674">
                  <c:v>-1.6806722689075598E-2</c:v>
                </c:pt>
                <c:pt idx="25675">
                  <c:v>-1.59663865546219E-2</c:v>
                </c:pt>
                <c:pt idx="25676">
                  <c:v>-1.59663865546219E-2</c:v>
                </c:pt>
                <c:pt idx="25677">
                  <c:v>-1.59663865546219E-2</c:v>
                </c:pt>
                <c:pt idx="25678">
                  <c:v>-1.59663865546219E-2</c:v>
                </c:pt>
                <c:pt idx="25679">
                  <c:v>-1.59663865546219E-2</c:v>
                </c:pt>
                <c:pt idx="25680">
                  <c:v>-1.59663865546219E-2</c:v>
                </c:pt>
                <c:pt idx="25681">
                  <c:v>-1.59663865546219E-2</c:v>
                </c:pt>
                <c:pt idx="25682">
                  <c:v>-1.59663865546219E-2</c:v>
                </c:pt>
                <c:pt idx="25683">
                  <c:v>-1.59663865546219E-2</c:v>
                </c:pt>
                <c:pt idx="25684">
                  <c:v>-1.59663865546219E-2</c:v>
                </c:pt>
                <c:pt idx="25685">
                  <c:v>-1.59663865546219E-2</c:v>
                </c:pt>
                <c:pt idx="25686">
                  <c:v>-1.59663865546219E-2</c:v>
                </c:pt>
                <c:pt idx="25687">
                  <c:v>-1.59663865546219E-2</c:v>
                </c:pt>
                <c:pt idx="25688">
                  <c:v>-1.59663865546219E-2</c:v>
                </c:pt>
                <c:pt idx="25689">
                  <c:v>-1.59663865546219E-2</c:v>
                </c:pt>
                <c:pt idx="25690">
                  <c:v>-1.59663865546219E-2</c:v>
                </c:pt>
                <c:pt idx="25691">
                  <c:v>-1.59663865546219E-2</c:v>
                </c:pt>
                <c:pt idx="25692">
                  <c:v>-1.59663865546219E-2</c:v>
                </c:pt>
                <c:pt idx="25693">
                  <c:v>-1.59663865546219E-2</c:v>
                </c:pt>
                <c:pt idx="25694">
                  <c:v>-1.59663865546219E-2</c:v>
                </c:pt>
                <c:pt idx="25695">
                  <c:v>-1.59663865546219E-2</c:v>
                </c:pt>
                <c:pt idx="25696">
                  <c:v>-1.59663865546219E-2</c:v>
                </c:pt>
                <c:pt idx="25697">
                  <c:v>-1.59663865546219E-2</c:v>
                </c:pt>
                <c:pt idx="25698">
                  <c:v>-1.59663865546219E-2</c:v>
                </c:pt>
                <c:pt idx="25699">
                  <c:v>-1.59663865546219E-2</c:v>
                </c:pt>
                <c:pt idx="25700">
                  <c:v>-1.6806722689075598E-2</c:v>
                </c:pt>
                <c:pt idx="25701">
                  <c:v>-1.6806722689075598E-2</c:v>
                </c:pt>
                <c:pt idx="25702">
                  <c:v>-1.6806722689075598E-2</c:v>
                </c:pt>
                <c:pt idx="25703">
                  <c:v>-1.6806722689075598E-2</c:v>
                </c:pt>
                <c:pt idx="25704">
                  <c:v>-1.6806722689075598E-2</c:v>
                </c:pt>
                <c:pt idx="25705">
                  <c:v>-1.6806722689075598E-2</c:v>
                </c:pt>
                <c:pt idx="25706">
                  <c:v>-1.6806722689075598E-2</c:v>
                </c:pt>
                <c:pt idx="25707">
                  <c:v>-1.6806722689075598E-2</c:v>
                </c:pt>
                <c:pt idx="25708">
                  <c:v>-1.6806722689075598E-2</c:v>
                </c:pt>
                <c:pt idx="25709">
                  <c:v>-1.6806722689075598E-2</c:v>
                </c:pt>
                <c:pt idx="25710">
                  <c:v>-1.6806722689075598E-2</c:v>
                </c:pt>
                <c:pt idx="25711">
                  <c:v>-1.6806722689075598E-2</c:v>
                </c:pt>
                <c:pt idx="25712">
                  <c:v>-1.6806722689075598E-2</c:v>
                </c:pt>
                <c:pt idx="25713">
                  <c:v>-1.6806722689075598E-2</c:v>
                </c:pt>
                <c:pt idx="25714">
                  <c:v>-1.6806722689075598E-2</c:v>
                </c:pt>
                <c:pt idx="25715">
                  <c:v>-1.6806722689075598E-2</c:v>
                </c:pt>
                <c:pt idx="25716">
                  <c:v>-1.6806722689075598E-2</c:v>
                </c:pt>
                <c:pt idx="25717">
                  <c:v>-1.6806722689075598E-2</c:v>
                </c:pt>
                <c:pt idx="25718">
                  <c:v>-1.6806722689075598E-2</c:v>
                </c:pt>
                <c:pt idx="25719">
                  <c:v>-1.6806722689075598E-2</c:v>
                </c:pt>
                <c:pt idx="25720">
                  <c:v>-1.6806722689075598E-2</c:v>
                </c:pt>
                <c:pt idx="25721">
                  <c:v>-1.6806722689075598E-2</c:v>
                </c:pt>
                <c:pt idx="25722">
                  <c:v>-1.6806722689075598E-2</c:v>
                </c:pt>
                <c:pt idx="25723">
                  <c:v>-1.6806722689075598E-2</c:v>
                </c:pt>
                <c:pt idx="25724">
                  <c:v>-1.6806722689075598E-2</c:v>
                </c:pt>
                <c:pt idx="25725">
                  <c:v>-1.6806722689075598E-2</c:v>
                </c:pt>
                <c:pt idx="25726">
                  <c:v>-1.6806722689075598E-2</c:v>
                </c:pt>
                <c:pt idx="25727">
                  <c:v>-1.6806722689075598E-2</c:v>
                </c:pt>
                <c:pt idx="25728">
                  <c:v>-1.6806722689075598E-2</c:v>
                </c:pt>
                <c:pt idx="25729">
                  <c:v>-1.6806722689075598E-2</c:v>
                </c:pt>
                <c:pt idx="25730">
                  <c:v>-1.6806722689075598E-2</c:v>
                </c:pt>
                <c:pt idx="25731">
                  <c:v>-1.6806722689075598E-2</c:v>
                </c:pt>
                <c:pt idx="25732">
                  <c:v>-1.6806722689075598E-2</c:v>
                </c:pt>
                <c:pt idx="25733">
                  <c:v>-1.6806722689075598E-2</c:v>
                </c:pt>
                <c:pt idx="25734">
                  <c:v>-1.6806722689075598E-2</c:v>
                </c:pt>
                <c:pt idx="25735">
                  <c:v>-1.6806722689075598E-2</c:v>
                </c:pt>
                <c:pt idx="25736">
                  <c:v>-1.6806722689075598E-2</c:v>
                </c:pt>
                <c:pt idx="25737">
                  <c:v>-1.6806722689075598E-2</c:v>
                </c:pt>
                <c:pt idx="25738">
                  <c:v>-1.6806722689075598E-2</c:v>
                </c:pt>
                <c:pt idx="25739">
                  <c:v>-1.6806722689075598E-2</c:v>
                </c:pt>
                <c:pt idx="25740">
                  <c:v>-1.6806722689075598E-2</c:v>
                </c:pt>
                <c:pt idx="25741">
                  <c:v>-1.6806722689075598E-2</c:v>
                </c:pt>
                <c:pt idx="25742">
                  <c:v>-1.6806722689075598E-2</c:v>
                </c:pt>
                <c:pt idx="25743">
                  <c:v>-1.6806722689075598E-2</c:v>
                </c:pt>
                <c:pt idx="25744">
                  <c:v>-1.6806722689075598E-2</c:v>
                </c:pt>
                <c:pt idx="25745">
                  <c:v>-1.6806722689075598E-2</c:v>
                </c:pt>
                <c:pt idx="25746">
                  <c:v>-1.6806722689075598E-2</c:v>
                </c:pt>
                <c:pt idx="25747">
                  <c:v>-1.6806722689075598E-2</c:v>
                </c:pt>
                <c:pt idx="25748">
                  <c:v>-1.6806722689075598E-2</c:v>
                </c:pt>
                <c:pt idx="25749">
                  <c:v>-1.6806722689075598E-2</c:v>
                </c:pt>
                <c:pt idx="25750">
                  <c:v>-1.6806722689075598E-2</c:v>
                </c:pt>
                <c:pt idx="25751">
                  <c:v>-1.6806722689075598E-2</c:v>
                </c:pt>
                <c:pt idx="25752">
                  <c:v>-1.6806722689075598E-2</c:v>
                </c:pt>
                <c:pt idx="25753">
                  <c:v>-1.6806722689075598E-2</c:v>
                </c:pt>
                <c:pt idx="25754">
                  <c:v>-1.6806722689075598E-2</c:v>
                </c:pt>
                <c:pt idx="25755">
                  <c:v>-1.6806722689075598E-2</c:v>
                </c:pt>
                <c:pt idx="25756">
                  <c:v>-1.6806722689075598E-2</c:v>
                </c:pt>
                <c:pt idx="25757">
                  <c:v>-1.59663865546219E-2</c:v>
                </c:pt>
                <c:pt idx="25758">
                  <c:v>-1.59663865546219E-2</c:v>
                </c:pt>
                <c:pt idx="25759">
                  <c:v>-1.51260504201681E-2</c:v>
                </c:pt>
                <c:pt idx="25760">
                  <c:v>-1.51260504201681E-2</c:v>
                </c:pt>
                <c:pt idx="25761">
                  <c:v>-1.51260504201681E-2</c:v>
                </c:pt>
                <c:pt idx="25762">
                  <c:v>-1.51260504201681E-2</c:v>
                </c:pt>
                <c:pt idx="25763">
                  <c:v>-1.51260504201681E-2</c:v>
                </c:pt>
                <c:pt idx="25764">
                  <c:v>-1.51260504201681E-2</c:v>
                </c:pt>
                <c:pt idx="25765">
                  <c:v>-1.51260504201681E-2</c:v>
                </c:pt>
                <c:pt idx="25766">
                  <c:v>-1.51260504201681E-2</c:v>
                </c:pt>
                <c:pt idx="25767">
                  <c:v>-1.51260504201681E-2</c:v>
                </c:pt>
                <c:pt idx="25768">
                  <c:v>-1.59663865546219E-2</c:v>
                </c:pt>
                <c:pt idx="25769">
                  <c:v>-1.59663865546219E-2</c:v>
                </c:pt>
                <c:pt idx="25770">
                  <c:v>-1.59663865546219E-2</c:v>
                </c:pt>
                <c:pt idx="25771">
                  <c:v>-1.59663865546219E-2</c:v>
                </c:pt>
                <c:pt idx="25772">
                  <c:v>-1.59663865546219E-2</c:v>
                </c:pt>
                <c:pt idx="25773">
                  <c:v>-1.59663865546219E-2</c:v>
                </c:pt>
                <c:pt idx="25774">
                  <c:v>-1.59663865546219E-2</c:v>
                </c:pt>
                <c:pt idx="25775">
                  <c:v>-1.59663865546219E-2</c:v>
                </c:pt>
                <c:pt idx="25776">
                  <c:v>-1.59663865546219E-2</c:v>
                </c:pt>
                <c:pt idx="25777">
                  <c:v>-1.59663865546219E-2</c:v>
                </c:pt>
                <c:pt idx="25778">
                  <c:v>-1.59663865546219E-2</c:v>
                </c:pt>
                <c:pt idx="25779">
                  <c:v>-1.59663865546219E-2</c:v>
                </c:pt>
                <c:pt idx="25780">
                  <c:v>-1.59663865546219E-2</c:v>
                </c:pt>
                <c:pt idx="25781">
                  <c:v>-1.59663865546219E-2</c:v>
                </c:pt>
                <c:pt idx="25782">
                  <c:v>-1.59663865546219E-2</c:v>
                </c:pt>
                <c:pt idx="25783">
                  <c:v>-1.59663865546219E-2</c:v>
                </c:pt>
                <c:pt idx="25784">
                  <c:v>-1.59663865546219E-2</c:v>
                </c:pt>
                <c:pt idx="25785">
                  <c:v>-1.59663865546219E-2</c:v>
                </c:pt>
                <c:pt idx="25786">
                  <c:v>-1.59663865546219E-2</c:v>
                </c:pt>
                <c:pt idx="25787">
                  <c:v>-1.59663865546219E-2</c:v>
                </c:pt>
                <c:pt idx="25788">
                  <c:v>-1.59663865546219E-2</c:v>
                </c:pt>
                <c:pt idx="25789">
                  <c:v>-1.59663865546219E-2</c:v>
                </c:pt>
                <c:pt idx="25790">
                  <c:v>-1.59663865546219E-2</c:v>
                </c:pt>
                <c:pt idx="25791">
                  <c:v>-1.59663865546219E-2</c:v>
                </c:pt>
                <c:pt idx="25792">
                  <c:v>-1.59663865546219E-2</c:v>
                </c:pt>
                <c:pt idx="25793">
                  <c:v>-1.59663865546219E-2</c:v>
                </c:pt>
                <c:pt idx="25794">
                  <c:v>-1.59663865546219E-2</c:v>
                </c:pt>
                <c:pt idx="25795">
                  <c:v>-1.59663865546219E-2</c:v>
                </c:pt>
                <c:pt idx="25796">
                  <c:v>-1.59663865546219E-2</c:v>
                </c:pt>
                <c:pt idx="25797">
                  <c:v>-1.59663865546219E-2</c:v>
                </c:pt>
                <c:pt idx="25798">
                  <c:v>-1.59663865546219E-2</c:v>
                </c:pt>
                <c:pt idx="25799">
                  <c:v>-1.59663865546219E-2</c:v>
                </c:pt>
                <c:pt idx="25800">
                  <c:v>-1.59663865546219E-2</c:v>
                </c:pt>
                <c:pt idx="25801">
                  <c:v>-1.59663865546219E-2</c:v>
                </c:pt>
                <c:pt idx="25802">
                  <c:v>-1.59663865546219E-2</c:v>
                </c:pt>
                <c:pt idx="25803">
                  <c:v>-1.59663865546219E-2</c:v>
                </c:pt>
                <c:pt idx="25804">
                  <c:v>-1.59663865546219E-2</c:v>
                </c:pt>
                <c:pt idx="25805">
                  <c:v>-1.59663865546219E-2</c:v>
                </c:pt>
                <c:pt idx="25806">
                  <c:v>-1.59663865546219E-2</c:v>
                </c:pt>
                <c:pt idx="25807">
                  <c:v>-1.59663865546219E-2</c:v>
                </c:pt>
                <c:pt idx="25808">
                  <c:v>-1.59663865546219E-2</c:v>
                </c:pt>
                <c:pt idx="25809">
                  <c:v>-1.59663865546219E-2</c:v>
                </c:pt>
                <c:pt idx="25810">
                  <c:v>-1.59663865546219E-2</c:v>
                </c:pt>
                <c:pt idx="25811">
                  <c:v>-1.59663865546219E-2</c:v>
                </c:pt>
                <c:pt idx="25812">
                  <c:v>-1.59663865546219E-2</c:v>
                </c:pt>
                <c:pt idx="25813">
                  <c:v>-1.59663865546219E-2</c:v>
                </c:pt>
                <c:pt idx="25814">
                  <c:v>-1.59663865546219E-2</c:v>
                </c:pt>
                <c:pt idx="25815">
                  <c:v>-1.59663865546219E-2</c:v>
                </c:pt>
                <c:pt idx="25816">
                  <c:v>-1.59663865546219E-2</c:v>
                </c:pt>
                <c:pt idx="25817">
                  <c:v>-1.59663865546219E-2</c:v>
                </c:pt>
                <c:pt idx="25818">
                  <c:v>-1.59663865546219E-2</c:v>
                </c:pt>
                <c:pt idx="25819">
                  <c:v>-1.59663865546219E-2</c:v>
                </c:pt>
                <c:pt idx="25820">
                  <c:v>-1.59663865546219E-2</c:v>
                </c:pt>
                <c:pt idx="25821">
                  <c:v>-1.59663865546219E-2</c:v>
                </c:pt>
                <c:pt idx="25822">
                  <c:v>-1.59663865546219E-2</c:v>
                </c:pt>
                <c:pt idx="25823">
                  <c:v>-1.59663865546219E-2</c:v>
                </c:pt>
                <c:pt idx="25824">
                  <c:v>-1.59663865546219E-2</c:v>
                </c:pt>
                <c:pt idx="25825">
                  <c:v>-1.59663865546219E-2</c:v>
                </c:pt>
                <c:pt idx="25826">
                  <c:v>-1.6806722689075598E-2</c:v>
                </c:pt>
                <c:pt idx="25827">
                  <c:v>-1.6806722689075598E-2</c:v>
                </c:pt>
                <c:pt idx="25828">
                  <c:v>-1.6806722689075598E-2</c:v>
                </c:pt>
                <c:pt idx="25829">
                  <c:v>-1.6806722689075598E-2</c:v>
                </c:pt>
                <c:pt idx="25830">
                  <c:v>-1.6806722689075598E-2</c:v>
                </c:pt>
                <c:pt idx="25831">
                  <c:v>-1.6806722689075598E-2</c:v>
                </c:pt>
                <c:pt idx="25832">
                  <c:v>-1.6806722689075598E-2</c:v>
                </c:pt>
                <c:pt idx="25833">
                  <c:v>-1.6806722689075598E-2</c:v>
                </c:pt>
                <c:pt idx="25834">
                  <c:v>-1.6806722689075598E-2</c:v>
                </c:pt>
                <c:pt idx="25835">
                  <c:v>-1.6806722689075598E-2</c:v>
                </c:pt>
                <c:pt idx="25836">
                  <c:v>-1.6806722689075598E-2</c:v>
                </c:pt>
                <c:pt idx="25837">
                  <c:v>-1.6806722689075598E-2</c:v>
                </c:pt>
                <c:pt idx="25838">
                  <c:v>-1.6806722689075598E-2</c:v>
                </c:pt>
                <c:pt idx="25839">
                  <c:v>-1.6806722689075598E-2</c:v>
                </c:pt>
                <c:pt idx="25840">
                  <c:v>-1.6806722689075598E-2</c:v>
                </c:pt>
                <c:pt idx="25841">
                  <c:v>-1.6806722689075598E-2</c:v>
                </c:pt>
                <c:pt idx="25842">
                  <c:v>-1.6806722689075598E-2</c:v>
                </c:pt>
                <c:pt idx="25843">
                  <c:v>-1.6806722689075598E-2</c:v>
                </c:pt>
                <c:pt idx="25844">
                  <c:v>-1.7647058823529401E-2</c:v>
                </c:pt>
                <c:pt idx="25845">
                  <c:v>-1.7647058823529401E-2</c:v>
                </c:pt>
                <c:pt idx="25846">
                  <c:v>-1.7647058823529401E-2</c:v>
                </c:pt>
                <c:pt idx="25847">
                  <c:v>-1.7647058823529401E-2</c:v>
                </c:pt>
                <c:pt idx="25848">
                  <c:v>-1.7647058823529401E-2</c:v>
                </c:pt>
                <c:pt idx="25849">
                  <c:v>-1.84873949579832E-2</c:v>
                </c:pt>
                <c:pt idx="25850">
                  <c:v>-1.84873949579832E-2</c:v>
                </c:pt>
                <c:pt idx="25851">
                  <c:v>-1.84873949579832E-2</c:v>
                </c:pt>
                <c:pt idx="25852">
                  <c:v>-1.84873949579832E-2</c:v>
                </c:pt>
                <c:pt idx="25853">
                  <c:v>-1.84873949579832E-2</c:v>
                </c:pt>
                <c:pt idx="25854">
                  <c:v>-1.84873949579832E-2</c:v>
                </c:pt>
                <c:pt idx="25855">
                  <c:v>-1.84873949579832E-2</c:v>
                </c:pt>
                <c:pt idx="25856">
                  <c:v>-1.84873949579832E-2</c:v>
                </c:pt>
                <c:pt idx="25857">
                  <c:v>-1.84873949579832E-2</c:v>
                </c:pt>
                <c:pt idx="25858">
                  <c:v>-1.84873949579832E-2</c:v>
                </c:pt>
                <c:pt idx="25859">
                  <c:v>-1.84873949579832E-2</c:v>
                </c:pt>
                <c:pt idx="25860">
                  <c:v>-1.84873949579832E-2</c:v>
                </c:pt>
                <c:pt idx="25861">
                  <c:v>-1.84873949579832E-2</c:v>
                </c:pt>
                <c:pt idx="25862">
                  <c:v>-1.84873949579832E-2</c:v>
                </c:pt>
                <c:pt idx="25863">
                  <c:v>-1.84873949579832E-2</c:v>
                </c:pt>
                <c:pt idx="25864">
                  <c:v>-1.84873949579832E-2</c:v>
                </c:pt>
                <c:pt idx="25865">
                  <c:v>-1.84873949579832E-2</c:v>
                </c:pt>
                <c:pt idx="25866">
                  <c:v>-1.84873949579832E-2</c:v>
                </c:pt>
                <c:pt idx="25867">
                  <c:v>-1.84873949579832E-2</c:v>
                </c:pt>
                <c:pt idx="25868">
                  <c:v>-1.84873949579832E-2</c:v>
                </c:pt>
                <c:pt idx="25869">
                  <c:v>-1.84873949579832E-2</c:v>
                </c:pt>
                <c:pt idx="25870">
                  <c:v>-1.84873949579832E-2</c:v>
                </c:pt>
                <c:pt idx="25871">
                  <c:v>-1.84873949579832E-2</c:v>
                </c:pt>
                <c:pt idx="25872">
                  <c:v>-1.84873949579832E-2</c:v>
                </c:pt>
                <c:pt idx="25873">
                  <c:v>-1.84873949579832E-2</c:v>
                </c:pt>
                <c:pt idx="25874">
                  <c:v>-1.84873949579832E-2</c:v>
                </c:pt>
                <c:pt idx="25875">
                  <c:v>-1.84873949579832E-2</c:v>
                </c:pt>
                <c:pt idx="25876">
                  <c:v>-1.84873949579832E-2</c:v>
                </c:pt>
                <c:pt idx="25877">
                  <c:v>-1.84873949579832E-2</c:v>
                </c:pt>
                <c:pt idx="25878">
                  <c:v>-1.84873949579832E-2</c:v>
                </c:pt>
                <c:pt idx="25879">
                  <c:v>-1.84873949579832E-2</c:v>
                </c:pt>
                <c:pt idx="25880">
                  <c:v>-1.84873949579832E-2</c:v>
                </c:pt>
                <c:pt idx="25881">
                  <c:v>-1.84873949579832E-2</c:v>
                </c:pt>
                <c:pt idx="25882">
                  <c:v>-1.84873949579832E-2</c:v>
                </c:pt>
                <c:pt idx="25883">
                  <c:v>-1.9327731092437E-2</c:v>
                </c:pt>
                <c:pt idx="25884">
                  <c:v>-1.9327731092437E-2</c:v>
                </c:pt>
                <c:pt idx="25885">
                  <c:v>-1.9327731092437E-2</c:v>
                </c:pt>
                <c:pt idx="25886">
                  <c:v>-1.9327731092437E-2</c:v>
                </c:pt>
                <c:pt idx="25887">
                  <c:v>-1.9327731092437E-2</c:v>
                </c:pt>
                <c:pt idx="25888">
                  <c:v>-1.9327731092437E-2</c:v>
                </c:pt>
                <c:pt idx="25889">
                  <c:v>-1.9327731092437E-2</c:v>
                </c:pt>
                <c:pt idx="25890">
                  <c:v>-1.9327731092437E-2</c:v>
                </c:pt>
                <c:pt idx="25891">
                  <c:v>-1.9327731092437E-2</c:v>
                </c:pt>
                <c:pt idx="25892">
                  <c:v>-1.9327731092437E-2</c:v>
                </c:pt>
                <c:pt idx="25893">
                  <c:v>-1.84873949579832E-2</c:v>
                </c:pt>
                <c:pt idx="25894">
                  <c:v>-1.84873949579832E-2</c:v>
                </c:pt>
                <c:pt idx="25895">
                  <c:v>-1.84873949579832E-2</c:v>
                </c:pt>
                <c:pt idx="25896">
                  <c:v>-1.84873949579832E-2</c:v>
                </c:pt>
                <c:pt idx="25897">
                  <c:v>-1.84873949579832E-2</c:v>
                </c:pt>
                <c:pt idx="25898">
                  <c:v>-1.84873949579832E-2</c:v>
                </c:pt>
                <c:pt idx="25899">
                  <c:v>-1.84873949579832E-2</c:v>
                </c:pt>
                <c:pt idx="25900">
                  <c:v>-1.84873949579832E-2</c:v>
                </c:pt>
                <c:pt idx="25901">
                  <c:v>-1.84873949579832E-2</c:v>
                </c:pt>
                <c:pt idx="25902">
                  <c:v>-1.84873949579832E-2</c:v>
                </c:pt>
                <c:pt idx="25903">
                  <c:v>-1.84873949579832E-2</c:v>
                </c:pt>
                <c:pt idx="25904">
                  <c:v>-1.84873949579832E-2</c:v>
                </c:pt>
                <c:pt idx="25905">
                  <c:v>-1.84873949579832E-2</c:v>
                </c:pt>
                <c:pt idx="25906">
                  <c:v>-1.84873949579832E-2</c:v>
                </c:pt>
                <c:pt idx="25907">
                  <c:v>-1.84873949579832E-2</c:v>
                </c:pt>
                <c:pt idx="25908">
                  <c:v>-1.84873949579832E-2</c:v>
                </c:pt>
                <c:pt idx="25909">
                  <c:v>-1.84873949579832E-2</c:v>
                </c:pt>
                <c:pt idx="25910">
                  <c:v>-1.84873949579832E-2</c:v>
                </c:pt>
                <c:pt idx="25911">
                  <c:v>-1.84873949579832E-2</c:v>
                </c:pt>
                <c:pt idx="25912">
                  <c:v>-1.84873949579832E-2</c:v>
                </c:pt>
                <c:pt idx="25913">
                  <c:v>-1.84873949579832E-2</c:v>
                </c:pt>
                <c:pt idx="25914">
                  <c:v>-1.84873949579832E-2</c:v>
                </c:pt>
                <c:pt idx="25915">
                  <c:v>-1.84873949579832E-2</c:v>
                </c:pt>
                <c:pt idx="25916">
                  <c:v>-1.84873949579832E-2</c:v>
                </c:pt>
                <c:pt idx="25917">
                  <c:v>-1.84873949579832E-2</c:v>
                </c:pt>
                <c:pt idx="25918">
                  <c:v>-1.84873949579832E-2</c:v>
                </c:pt>
                <c:pt idx="25919">
                  <c:v>-1.84873949579832E-2</c:v>
                </c:pt>
                <c:pt idx="25920">
                  <c:v>-1.84873949579832E-2</c:v>
                </c:pt>
                <c:pt idx="25921">
                  <c:v>-1.84873949579832E-2</c:v>
                </c:pt>
                <c:pt idx="25922">
                  <c:v>-1.84873949579832E-2</c:v>
                </c:pt>
                <c:pt idx="25923">
                  <c:v>-1.84873949579832E-2</c:v>
                </c:pt>
                <c:pt idx="25924">
                  <c:v>-1.84873949579832E-2</c:v>
                </c:pt>
                <c:pt idx="25925">
                  <c:v>-1.84873949579832E-2</c:v>
                </c:pt>
                <c:pt idx="25926">
                  <c:v>-1.84873949579832E-2</c:v>
                </c:pt>
                <c:pt idx="25927">
                  <c:v>-1.84873949579832E-2</c:v>
                </c:pt>
                <c:pt idx="25928">
                  <c:v>-1.84873949579832E-2</c:v>
                </c:pt>
                <c:pt idx="25929">
                  <c:v>-1.84873949579832E-2</c:v>
                </c:pt>
                <c:pt idx="25930">
                  <c:v>-1.84873949579832E-2</c:v>
                </c:pt>
                <c:pt idx="25931">
                  <c:v>-1.84873949579832E-2</c:v>
                </c:pt>
                <c:pt idx="25932">
                  <c:v>-1.9327731092437E-2</c:v>
                </c:pt>
                <c:pt idx="25933">
                  <c:v>-1.9327731092437E-2</c:v>
                </c:pt>
                <c:pt idx="25934">
                  <c:v>-1.84873949579832E-2</c:v>
                </c:pt>
                <c:pt idx="25935">
                  <c:v>-1.84873949579832E-2</c:v>
                </c:pt>
                <c:pt idx="25936">
                  <c:v>-1.84873949579832E-2</c:v>
                </c:pt>
                <c:pt idx="25937">
                  <c:v>-1.84873949579832E-2</c:v>
                </c:pt>
                <c:pt idx="25938">
                  <c:v>-1.84873949579832E-2</c:v>
                </c:pt>
                <c:pt idx="25939">
                  <c:v>-1.84873949579832E-2</c:v>
                </c:pt>
                <c:pt idx="25940">
                  <c:v>-1.84873949579832E-2</c:v>
                </c:pt>
                <c:pt idx="25941">
                  <c:v>-1.84873949579832E-2</c:v>
                </c:pt>
                <c:pt idx="25942">
                  <c:v>-1.84873949579832E-2</c:v>
                </c:pt>
                <c:pt idx="25943">
                  <c:v>-1.84873949579832E-2</c:v>
                </c:pt>
                <c:pt idx="25944">
                  <c:v>-1.84873949579832E-2</c:v>
                </c:pt>
                <c:pt idx="25945">
                  <c:v>-1.84873949579832E-2</c:v>
                </c:pt>
                <c:pt idx="25946">
                  <c:v>-1.84873949579832E-2</c:v>
                </c:pt>
                <c:pt idx="25947">
                  <c:v>-1.84873949579832E-2</c:v>
                </c:pt>
                <c:pt idx="25948">
                  <c:v>-1.84873949579832E-2</c:v>
                </c:pt>
                <c:pt idx="25949">
                  <c:v>-1.84873949579832E-2</c:v>
                </c:pt>
                <c:pt idx="25950">
                  <c:v>-1.84873949579832E-2</c:v>
                </c:pt>
                <c:pt idx="25951">
                  <c:v>-1.84873949579832E-2</c:v>
                </c:pt>
                <c:pt idx="25952">
                  <c:v>-1.84873949579832E-2</c:v>
                </c:pt>
                <c:pt idx="25953">
                  <c:v>-1.84873949579832E-2</c:v>
                </c:pt>
                <c:pt idx="25954">
                  <c:v>-1.84873949579832E-2</c:v>
                </c:pt>
                <c:pt idx="25955">
                  <c:v>-1.84873949579832E-2</c:v>
                </c:pt>
                <c:pt idx="25956">
                  <c:v>-1.84873949579832E-2</c:v>
                </c:pt>
                <c:pt idx="25957">
                  <c:v>-1.84873949579832E-2</c:v>
                </c:pt>
                <c:pt idx="25958">
                  <c:v>-1.84873949579832E-2</c:v>
                </c:pt>
                <c:pt idx="25959">
                  <c:v>-1.84873949579832E-2</c:v>
                </c:pt>
                <c:pt idx="25960">
                  <c:v>-1.84873949579832E-2</c:v>
                </c:pt>
                <c:pt idx="25961">
                  <c:v>-1.84873949579832E-2</c:v>
                </c:pt>
                <c:pt idx="25962">
                  <c:v>-1.84873949579832E-2</c:v>
                </c:pt>
                <c:pt idx="25963">
                  <c:v>-1.84873949579832E-2</c:v>
                </c:pt>
                <c:pt idx="25964">
                  <c:v>-1.84873949579832E-2</c:v>
                </c:pt>
                <c:pt idx="25965">
                  <c:v>-1.84873949579832E-2</c:v>
                </c:pt>
                <c:pt idx="25966">
                  <c:v>-1.7647058823529401E-2</c:v>
                </c:pt>
                <c:pt idx="25967">
                  <c:v>-1.7647058823529401E-2</c:v>
                </c:pt>
                <c:pt idx="25968">
                  <c:v>-1.7647058823529401E-2</c:v>
                </c:pt>
                <c:pt idx="25969">
                  <c:v>-1.7647058823529401E-2</c:v>
                </c:pt>
                <c:pt idx="25970">
                  <c:v>-1.7647058823529401E-2</c:v>
                </c:pt>
                <c:pt idx="25971">
                  <c:v>-1.7647058823529401E-2</c:v>
                </c:pt>
                <c:pt idx="25972">
                  <c:v>-1.7647058823529401E-2</c:v>
                </c:pt>
                <c:pt idx="25973">
                  <c:v>-1.7647058823529401E-2</c:v>
                </c:pt>
                <c:pt idx="25974">
                  <c:v>-1.7647058823529401E-2</c:v>
                </c:pt>
                <c:pt idx="25975">
                  <c:v>-1.7647058823529401E-2</c:v>
                </c:pt>
                <c:pt idx="25976">
                  <c:v>-1.7647058823529401E-2</c:v>
                </c:pt>
                <c:pt idx="25977">
                  <c:v>-1.7647058823529401E-2</c:v>
                </c:pt>
                <c:pt idx="25978">
                  <c:v>-1.7647058823529401E-2</c:v>
                </c:pt>
                <c:pt idx="25979">
                  <c:v>-1.7647058823529401E-2</c:v>
                </c:pt>
                <c:pt idx="25980">
                  <c:v>-1.7647058823529401E-2</c:v>
                </c:pt>
                <c:pt idx="25981">
                  <c:v>-1.7647058823529401E-2</c:v>
                </c:pt>
                <c:pt idx="25982">
                  <c:v>-1.7647058823529401E-2</c:v>
                </c:pt>
                <c:pt idx="25983">
                  <c:v>-1.7647058823529401E-2</c:v>
                </c:pt>
                <c:pt idx="25984">
                  <c:v>-1.7647058823529401E-2</c:v>
                </c:pt>
                <c:pt idx="25985">
                  <c:v>-1.7647058823529401E-2</c:v>
                </c:pt>
                <c:pt idx="25986">
                  <c:v>-1.7647058823529401E-2</c:v>
                </c:pt>
                <c:pt idx="25987">
                  <c:v>-1.7647058823529401E-2</c:v>
                </c:pt>
                <c:pt idx="25988">
                  <c:v>-1.7647058823529401E-2</c:v>
                </c:pt>
                <c:pt idx="25989">
                  <c:v>-1.7647058823529401E-2</c:v>
                </c:pt>
                <c:pt idx="25990">
                  <c:v>-1.7647058823529401E-2</c:v>
                </c:pt>
                <c:pt idx="25991">
                  <c:v>-1.7647058823529401E-2</c:v>
                </c:pt>
                <c:pt idx="25992">
                  <c:v>-1.7647058823529401E-2</c:v>
                </c:pt>
                <c:pt idx="25993">
                  <c:v>-1.7647058823529401E-2</c:v>
                </c:pt>
                <c:pt idx="25994">
                  <c:v>-1.7647058823529401E-2</c:v>
                </c:pt>
                <c:pt idx="25995">
                  <c:v>-1.7647058823529401E-2</c:v>
                </c:pt>
                <c:pt idx="25996">
                  <c:v>-1.7647058823529401E-2</c:v>
                </c:pt>
                <c:pt idx="25997">
                  <c:v>-1.7647058823529401E-2</c:v>
                </c:pt>
                <c:pt idx="25998">
                  <c:v>-1.7647058823529401E-2</c:v>
                </c:pt>
                <c:pt idx="25999">
                  <c:v>-1.7647058823529401E-2</c:v>
                </c:pt>
                <c:pt idx="26000">
                  <c:v>-1.7647058823529401E-2</c:v>
                </c:pt>
                <c:pt idx="26001">
                  <c:v>-1.7647058823529401E-2</c:v>
                </c:pt>
                <c:pt idx="26002">
                  <c:v>-1.7647058823529401E-2</c:v>
                </c:pt>
                <c:pt idx="26003">
                  <c:v>-1.7647058823529401E-2</c:v>
                </c:pt>
                <c:pt idx="26004">
                  <c:v>-1.7647058823529401E-2</c:v>
                </c:pt>
                <c:pt idx="26005">
                  <c:v>-1.7647058823529401E-2</c:v>
                </c:pt>
                <c:pt idx="26006">
                  <c:v>-1.7647058823529401E-2</c:v>
                </c:pt>
                <c:pt idx="26007">
                  <c:v>-1.7647058823529401E-2</c:v>
                </c:pt>
                <c:pt idx="26008">
                  <c:v>-1.6806722689075598E-2</c:v>
                </c:pt>
                <c:pt idx="26009">
                  <c:v>-1.6806722689075598E-2</c:v>
                </c:pt>
                <c:pt idx="26010">
                  <c:v>-1.6806722689075598E-2</c:v>
                </c:pt>
                <c:pt idx="26011">
                  <c:v>-1.6806722689075598E-2</c:v>
                </c:pt>
                <c:pt idx="26012">
                  <c:v>-1.6806722689075598E-2</c:v>
                </c:pt>
                <c:pt idx="26013">
                  <c:v>-1.6806722689075598E-2</c:v>
                </c:pt>
                <c:pt idx="26014">
                  <c:v>-1.6806722689075598E-2</c:v>
                </c:pt>
                <c:pt idx="26015">
                  <c:v>-1.6806722689075598E-2</c:v>
                </c:pt>
                <c:pt idx="26016">
                  <c:v>-1.6806722689075598E-2</c:v>
                </c:pt>
                <c:pt idx="26017">
                  <c:v>-1.6806722689075598E-2</c:v>
                </c:pt>
                <c:pt idx="26018">
                  <c:v>-1.6806722689075598E-2</c:v>
                </c:pt>
                <c:pt idx="26019">
                  <c:v>-1.6806722689075598E-2</c:v>
                </c:pt>
                <c:pt idx="26020">
                  <c:v>-1.6806722689075598E-2</c:v>
                </c:pt>
                <c:pt idx="26021">
                  <c:v>-1.6806722689075598E-2</c:v>
                </c:pt>
                <c:pt idx="26022">
                  <c:v>-1.6806722689075598E-2</c:v>
                </c:pt>
                <c:pt idx="26023">
                  <c:v>-1.6806722689075598E-2</c:v>
                </c:pt>
                <c:pt idx="26024">
                  <c:v>-1.6806722689075598E-2</c:v>
                </c:pt>
                <c:pt idx="26025">
                  <c:v>-1.6806722689075598E-2</c:v>
                </c:pt>
                <c:pt idx="26026">
                  <c:v>-1.6806722689075598E-2</c:v>
                </c:pt>
                <c:pt idx="26027">
                  <c:v>-1.6806722689075598E-2</c:v>
                </c:pt>
                <c:pt idx="26028">
                  <c:v>-1.6806722689075598E-2</c:v>
                </c:pt>
                <c:pt idx="26029">
                  <c:v>-1.6806722689075598E-2</c:v>
                </c:pt>
                <c:pt idx="26030">
                  <c:v>-1.6806722689075598E-2</c:v>
                </c:pt>
                <c:pt idx="26031">
                  <c:v>-1.6806722689075598E-2</c:v>
                </c:pt>
                <c:pt idx="26032">
                  <c:v>-1.6806722689075598E-2</c:v>
                </c:pt>
                <c:pt idx="26033">
                  <c:v>-1.6806722689075598E-2</c:v>
                </c:pt>
                <c:pt idx="26034">
                  <c:v>-1.6806722689075598E-2</c:v>
                </c:pt>
                <c:pt idx="26035">
                  <c:v>-1.6806722689075598E-2</c:v>
                </c:pt>
                <c:pt idx="26036">
                  <c:v>-1.6806722689075598E-2</c:v>
                </c:pt>
                <c:pt idx="26037">
                  <c:v>-1.6806722689075598E-2</c:v>
                </c:pt>
                <c:pt idx="26038">
                  <c:v>-1.6806722689075598E-2</c:v>
                </c:pt>
                <c:pt idx="26039">
                  <c:v>-1.59663865546219E-2</c:v>
                </c:pt>
                <c:pt idx="26040">
                  <c:v>-1.59663865546219E-2</c:v>
                </c:pt>
                <c:pt idx="26041">
                  <c:v>-1.59663865546219E-2</c:v>
                </c:pt>
                <c:pt idx="26042">
                  <c:v>-1.59663865546219E-2</c:v>
                </c:pt>
                <c:pt idx="26043">
                  <c:v>-1.59663865546219E-2</c:v>
                </c:pt>
                <c:pt idx="26044">
                  <c:v>-1.59663865546219E-2</c:v>
                </c:pt>
                <c:pt idx="26045">
                  <c:v>-1.59663865546219E-2</c:v>
                </c:pt>
                <c:pt idx="26046">
                  <c:v>-1.59663865546219E-2</c:v>
                </c:pt>
                <c:pt idx="26047">
                  <c:v>-1.51260504201681E-2</c:v>
                </c:pt>
                <c:pt idx="26048">
                  <c:v>-1.51260504201681E-2</c:v>
                </c:pt>
                <c:pt idx="26049">
                  <c:v>-1.4285714285714299E-2</c:v>
                </c:pt>
                <c:pt idx="26050">
                  <c:v>-1.4285714285714299E-2</c:v>
                </c:pt>
                <c:pt idx="26051">
                  <c:v>-1.4285714285714299E-2</c:v>
                </c:pt>
                <c:pt idx="26052">
                  <c:v>-1.4285714285714299E-2</c:v>
                </c:pt>
                <c:pt idx="26053">
                  <c:v>-1.4285714285714299E-2</c:v>
                </c:pt>
                <c:pt idx="26054">
                  <c:v>-1.4285714285714299E-2</c:v>
                </c:pt>
                <c:pt idx="26055">
                  <c:v>-1.4285714285714299E-2</c:v>
                </c:pt>
                <c:pt idx="26056">
                  <c:v>-1.4285714285714299E-2</c:v>
                </c:pt>
                <c:pt idx="26057">
                  <c:v>-1.4285714285714299E-2</c:v>
                </c:pt>
                <c:pt idx="26058">
                  <c:v>-1.4285714285714299E-2</c:v>
                </c:pt>
                <c:pt idx="26059">
                  <c:v>-1.4285714285714299E-2</c:v>
                </c:pt>
                <c:pt idx="26060">
                  <c:v>-1.4285714285714299E-2</c:v>
                </c:pt>
                <c:pt idx="26061">
                  <c:v>-1.51260504201681E-2</c:v>
                </c:pt>
                <c:pt idx="26062">
                  <c:v>-1.51260504201681E-2</c:v>
                </c:pt>
                <c:pt idx="26063">
                  <c:v>-1.51260504201681E-2</c:v>
                </c:pt>
                <c:pt idx="26064">
                  <c:v>-1.51260504201681E-2</c:v>
                </c:pt>
                <c:pt idx="26065">
                  <c:v>-1.51260504201681E-2</c:v>
                </c:pt>
                <c:pt idx="26066">
                  <c:v>-1.51260504201681E-2</c:v>
                </c:pt>
                <c:pt idx="26067">
                  <c:v>-1.51260504201681E-2</c:v>
                </c:pt>
                <c:pt idx="26068">
                  <c:v>-1.51260504201681E-2</c:v>
                </c:pt>
                <c:pt idx="26069">
                  <c:v>-1.51260504201681E-2</c:v>
                </c:pt>
                <c:pt idx="26070">
                  <c:v>-1.51260504201681E-2</c:v>
                </c:pt>
                <c:pt idx="26071">
                  <c:v>-1.51260504201681E-2</c:v>
                </c:pt>
                <c:pt idx="26072">
                  <c:v>-1.51260504201681E-2</c:v>
                </c:pt>
                <c:pt idx="26073">
                  <c:v>-1.51260504201681E-2</c:v>
                </c:pt>
                <c:pt idx="26074">
                  <c:v>-1.51260504201681E-2</c:v>
                </c:pt>
                <c:pt idx="26075">
                  <c:v>-1.51260504201681E-2</c:v>
                </c:pt>
                <c:pt idx="26076">
                  <c:v>-1.51260504201681E-2</c:v>
                </c:pt>
                <c:pt idx="26077">
                  <c:v>-1.51260504201681E-2</c:v>
                </c:pt>
                <c:pt idx="26078">
                  <c:v>-1.51260504201681E-2</c:v>
                </c:pt>
                <c:pt idx="26079">
                  <c:v>-1.51260504201681E-2</c:v>
                </c:pt>
                <c:pt idx="26080">
                  <c:v>-1.51260504201681E-2</c:v>
                </c:pt>
                <c:pt idx="26081">
                  <c:v>-1.51260504201681E-2</c:v>
                </c:pt>
                <c:pt idx="26082">
                  <c:v>-1.51260504201681E-2</c:v>
                </c:pt>
                <c:pt idx="26083">
                  <c:v>-1.51260504201681E-2</c:v>
                </c:pt>
                <c:pt idx="26084">
                  <c:v>-1.51260504201681E-2</c:v>
                </c:pt>
                <c:pt idx="26085">
                  <c:v>-1.51260504201681E-2</c:v>
                </c:pt>
                <c:pt idx="26086">
                  <c:v>-1.51260504201681E-2</c:v>
                </c:pt>
                <c:pt idx="26087">
                  <c:v>-1.51260504201681E-2</c:v>
                </c:pt>
                <c:pt idx="26088">
                  <c:v>-1.51260504201681E-2</c:v>
                </c:pt>
                <c:pt idx="26089">
                  <c:v>-1.51260504201681E-2</c:v>
                </c:pt>
                <c:pt idx="26090">
                  <c:v>-1.51260504201681E-2</c:v>
                </c:pt>
                <c:pt idx="26091">
                  <c:v>-1.51260504201681E-2</c:v>
                </c:pt>
                <c:pt idx="26092">
                  <c:v>-1.4285714285714299E-2</c:v>
                </c:pt>
                <c:pt idx="26093">
                  <c:v>-1.4285714285714299E-2</c:v>
                </c:pt>
                <c:pt idx="26094">
                  <c:v>-1.4285714285714299E-2</c:v>
                </c:pt>
                <c:pt idx="26095">
                  <c:v>-1.4285714285714299E-2</c:v>
                </c:pt>
                <c:pt idx="26096">
                  <c:v>-1.4285714285714299E-2</c:v>
                </c:pt>
                <c:pt idx="26097">
                  <c:v>-1.4285714285714299E-2</c:v>
                </c:pt>
                <c:pt idx="26098">
                  <c:v>-1.4285714285714299E-2</c:v>
                </c:pt>
                <c:pt idx="26099">
                  <c:v>-1.4285714285714299E-2</c:v>
                </c:pt>
                <c:pt idx="26100">
                  <c:v>-1.4285714285714299E-2</c:v>
                </c:pt>
                <c:pt idx="26101">
                  <c:v>-1.4285714285714299E-2</c:v>
                </c:pt>
                <c:pt idx="26102">
                  <c:v>-1.4285714285714299E-2</c:v>
                </c:pt>
                <c:pt idx="26103">
                  <c:v>-1.34453781512605E-2</c:v>
                </c:pt>
                <c:pt idx="26104">
                  <c:v>-1.34453781512605E-2</c:v>
                </c:pt>
                <c:pt idx="26105">
                  <c:v>-1.34453781512605E-2</c:v>
                </c:pt>
                <c:pt idx="26106">
                  <c:v>-1.34453781512605E-2</c:v>
                </c:pt>
                <c:pt idx="26107">
                  <c:v>-1.34453781512605E-2</c:v>
                </c:pt>
                <c:pt idx="26108">
                  <c:v>-1.34453781512605E-2</c:v>
                </c:pt>
                <c:pt idx="26109">
                  <c:v>-1.34453781512605E-2</c:v>
                </c:pt>
                <c:pt idx="26110">
                  <c:v>-1.34453781512605E-2</c:v>
                </c:pt>
                <c:pt idx="26111">
                  <c:v>-1.34453781512605E-2</c:v>
                </c:pt>
                <c:pt idx="26112">
                  <c:v>-1.34453781512605E-2</c:v>
                </c:pt>
                <c:pt idx="26113">
                  <c:v>-1.34453781512605E-2</c:v>
                </c:pt>
                <c:pt idx="26114">
                  <c:v>-1.34453781512605E-2</c:v>
                </c:pt>
                <c:pt idx="26115">
                  <c:v>-1.34453781512605E-2</c:v>
                </c:pt>
                <c:pt idx="26116">
                  <c:v>-1.34453781512605E-2</c:v>
                </c:pt>
                <c:pt idx="26117">
                  <c:v>-1.34453781512605E-2</c:v>
                </c:pt>
                <c:pt idx="26118">
                  <c:v>-1.34453781512605E-2</c:v>
                </c:pt>
                <c:pt idx="26119">
                  <c:v>-1.34453781512605E-2</c:v>
                </c:pt>
                <c:pt idx="26120">
                  <c:v>-1.34453781512605E-2</c:v>
                </c:pt>
                <c:pt idx="26121">
                  <c:v>-1.34453781512605E-2</c:v>
                </c:pt>
                <c:pt idx="26122">
                  <c:v>-1.34453781512605E-2</c:v>
                </c:pt>
                <c:pt idx="26123">
                  <c:v>-1.34453781512605E-2</c:v>
                </c:pt>
                <c:pt idx="26124">
                  <c:v>-1.34453781512605E-2</c:v>
                </c:pt>
                <c:pt idx="26125">
                  <c:v>-1.34453781512605E-2</c:v>
                </c:pt>
                <c:pt idx="26126">
                  <c:v>-1.34453781512605E-2</c:v>
                </c:pt>
                <c:pt idx="26127">
                  <c:v>-1.34453781512605E-2</c:v>
                </c:pt>
                <c:pt idx="26128">
                  <c:v>-1.34453781512605E-2</c:v>
                </c:pt>
                <c:pt idx="26129">
                  <c:v>-1.34453781512605E-2</c:v>
                </c:pt>
                <c:pt idx="26130">
                  <c:v>-1.34453781512605E-2</c:v>
                </c:pt>
                <c:pt idx="26131">
                  <c:v>-1.34453781512605E-2</c:v>
                </c:pt>
                <c:pt idx="26132">
                  <c:v>-1.34453781512605E-2</c:v>
                </c:pt>
                <c:pt idx="26133">
                  <c:v>-1.34453781512605E-2</c:v>
                </c:pt>
                <c:pt idx="26134">
                  <c:v>-1.34453781512605E-2</c:v>
                </c:pt>
                <c:pt idx="26135">
                  <c:v>-1.34453781512605E-2</c:v>
                </c:pt>
                <c:pt idx="26136">
                  <c:v>-1.34453781512605E-2</c:v>
                </c:pt>
                <c:pt idx="26137">
                  <c:v>-1.34453781512605E-2</c:v>
                </c:pt>
                <c:pt idx="26138">
                  <c:v>-1.34453781512605E-2</c:v>
                </c:pt>
                <c:pt idx="26139">
                  <c:v>-1.34453781512605E-2</c:v>
                </c:pt>
                <c:pt idx="26140">
                  <c:v>-1.34453781512605E-2</c:v>
                </c:pt>
                <c:pt idx="26141">
                  <c:v>-1.34453781512605E-2</c:v>
                </c:pt>
                <c:pt idx="26142">
                  <c:v>-1.34453781512605E-2</c:v>
                </c:pt>
                <c:pt idx="26143">
                  <c:v>-1.34453781512605E-2</c:v>
                </c:pt>
                <c:pt idx="26144">
                  <c:v>-1.34453781512605E-2</c:v>
                </c:pt>
                <c:pt idx="26145">
                  <c:v>-1.34453781512605E-2</c:v>
                </c:pt>
                <c:pt idx="26146">
                  <c:v>-1.34453781512605E-2</c:v>
                </c:pt>
                <c:pt idx="26147">
                  <c:v>-1.34453781512605E-2</c:v>
                </c:pt>
                <c:pt idx="26148">
                  <c:v>-1.34453781512605E-2</c:v>
                </c:pt>
                <c:pt idx="26149">
                  <c:v>-1.34453781512605E-2</c:v>
                </c:pt>
                <c:pt idx="26150">
                  <c:v>-1.34453781512605E-2</c:v>
                </c:pt>
                <c:pt idx="26151">
                  <c:v>-1.34453781512605E-2</c:v>
                </c:pt>
                <c:pt idx="26152">
                  <c:v>-1.34453781512605E-2</c:v>
                </c:pt>
                <c:pt idx="26153">
                  <c:v>-1.34453781512605E-2</c:v>
                </c:pt>
                <c:pt idx="26154">
                  <c:v>-1.34453781512605E-2</c:v>
                </c:pt>
                <c:pt idx="26155">
                  <c:v>-1.34453781512605E-2</c:v>
                </c:pt>
                <c:pt idx="26156">
                  <c:v>-1.34453781512605E-2</c:v>
                </c:pt>
                <c:pt idx="26157">
                  <c:v>-1.26050420168067E-2</c:v>
                </c:pt>
                <c:pt idx="26158">
                  <c:v>-1.26050420168067E-2</c:v>
                </c:pt>
                <c:pt idx="26159">
                  <c:v>-1.26050420168067E-2</c:v>
                </c:pt>
                <c:pt idx="26160">
                  <c:v>-1.26050420168067E-2</c:v>
                </c:pt>
                <c:pt idx="26161">
                  <c:v>-1.26050420168067E-2</c:v>
                </c:pt>
                <c:pt idx="26162">
                  <c:v>-1.26050420168067E-2</c:v>
                </c:pt>
                <c:pt idx="26163">
                  <c:v>-1.26050420168067E-2</c:v>
                </c:pt>
                <c:pt idx="26164">
                  <c:v>-1.26050420168067E-2</c:v>
                </c:pt>
                <c:pt idx="26165">
                  <c:v>-1.26050420168067E-2</c:v>
                </c:pt>
                <c:pt idx="26166">
                  <c:v>-1.26050420168067E-2</c:v>
                </c:pt>
                <c:pt idx="26167">
                  <c:v>-1.26050420168067E-2</c:v>
                </c:pt>
                <c:pt idx="26168">
                  <c:v>-1.1764705882353E-2</c:v>
                </c:pt>
                <c:pt idx="26169">
                  <c:v>-1.1764705882353E-2</c:v>
                </c:pt>
                <c:pt idx="26170">
                  <c:v>-1.1764705882353E-2</c:v>
                </c:pt>
                <c:pt idx="26171">
                  <c:v>-1.1764705882353E-2</c:v>
                </c:pt>
                <c:pt idx="26172">
                  <c:v>-1.1764705882353E-2</c:v>
                </c:pt>
                <c:pt idx="26173">
                  <c:v>-1.1764705882353E-2</c:v>
                </c:pt>
                <c:pt idx="26174">
                  <c:v>-1.1764705882353E-2</c:v>
                </c:pt>
                <c:pt idx="26175">
                  <c:v>-1.1764705882353E-2</c:v>
                </c:pt>
                <c:pt idx="26176">
                  <c:v>-1.1764705882353E-2</c:v>
                </c:pt>
                <c:pt idx="26177">
                  <c:v>-1.1764705882353E-2</c:v>
                </c:pt>
                <c:pt idx="26178">
                  <c:v>-1.1764705882353E-2</c:v>
                </c:pt>
                <c:pt idx="26179">
                  <c:v>-1.1764705882353E-2</c:v>
                </c:pt>
                <c:pt idx="26180">
                  <c:v>-1.1764705882353E-2</c:v>
                </c:pt>
                <c:pt idx="26181">
                  <c:v>-1.1764705882353E-2</c:v>
                </c:pt>
                <c:pt idx="26182">
                  <c:v>-1.1764705882353E-2</c:v>
                </c:pt>
                <c:pt idx="26183">
                  <c:v>-1.1764705882353E-2</c:v>
                </c:pt>
                <c:pt idx="26184">
                  <c:v>-1.1764705882353E-2</c:v>
                </c:pt>
                <c:pt idx="26185">
                  <c:v>-1.1764705882353E-2</c:v>
                </c:pt>
                <c:pt idx="26186">
                  <c:v>-1.1764705882353E-2</c:v>
                </c:pt>
                <c:pt idx="26187">
                  <c:v>-1.1764705882353E-2</c:v>
                </c:pt>
                <c:pt idx="26188">
                  <c:v>-1.1764705882353E-2</c:v>
                </c:pt>
                <c:pt idx="26189">
                  <c:v>-1.1764705882353E-2</c:v>
                </c:pt>
                <c:pt idx="26190">
                  <c:v>-1.1764705882353E-2</c:v>
                </c:pt>
                <c:pt idx="26191">
                  <c:v>-1.1764705882353E-2</c:v>
                </c:pt>
                <c:pt idx="26192">
                  <c:v>-1.1764705882353E-2</c:v>
                </c:pt>
                <c:pt idx="26193">
                  <c:v>-1.0924369747899201E-2</c:v>
                </c:pt>
                <c:pt idx="26194">
                  <c:v>-1.0924369747899201E-2</c:v>
                </c:pt>
                <c:pt idx="26195">
                  <c:v>-1.0924369747899201E-2</c:v>
                </c:pt>
                <c:pt idx="26196">
                  <c:v>-1.0924369747899201E-2</c:v>
                </c:pt>
                <c:pt idx="26197">
                  <c:v>-1.0924369747899201E-2</c:v>
                </c:pt>
                <c:pt idx="26198">
                  <c:v>-1.0924369747899201E-2</c:v>
                </c:pt>
                <c:pt idx="26199">
                  <c:v>-1.0924369747899201E-2</c:v>
                </c:pt>
                <c:pt idx="26200">
                  <c:v>-1.0924369747899201E-2</c:v>
                </c:pt>
                <c:pt idx="26201">
                  <c:v>-1.0924369747899201E-2</c:v>
                </c:pt>
                <c:pt idx="26202">
                  <c:v>-1.0924369747899201E-2</c:v>
                </c:pt>
                <c:pt idx="26203">
                  <c:v>-1.0924369747899201E-2</c:v>
                </c:pt>
                <c:pt idx="26204">
                  <c:v>-1.0924369747899201E-2</c:v>
                </c:pt>
                <c:pt idx="26205">
                  <c:v>-1.0924369747899201E-2</c:v>
                </c:pt>
                <c:pt idx="26206">
                  <c:v>-1.0924369747899201E-2</c:v>
                </c:pt>
                <c:pt idx="26207">
                  <c:v>-1.0924369747899201E-2</c:v>
                </c:pt>
                <c:pt idx="26208">
                  <c:v>-1.0924369747899201E-2</c:v>
                </c:pt>
                <c:pt idx="26209">
                  <c:v>-1.0924369747899201E-2</c:v>
                </c:pt>
                <c:pt idx="26210">
                  <c:v>-1.0924369747899201E-2</c:v>
                </c:pt>
                <c:pt idx="26211">
                  <c:v>-1.0924369747899201E-2</c:v>
                </c:pt>
                <c:pt idx="26212">
                  <c:v>-1.0924369747899201E-2</c:v>
                </c:pt>
                <c:pt idx="26213">
                  <c:v>-1.0924369747899201E-2</c:v>
                </c:pt>
                <c:pt idx="26214">
                  <c:v>-1.0924369747899201E-2</c:v>
                </c:pt>
                <c:pt idx="26215">
                  <c:v>-1.0924369747899201E-2</c:v>
                </c:pt>
                <c:pt idx="26216">
                  <c:v>-1.0924369747899201E-2</c:v>
                </c:pt>
                <c:pt idx="26217">
                  <c:v>-1.0924369747899201E-2</c:v>
                </c:pt>
                <c:pt idx="26218">
                  <c:v>-1.0924369747899201E-2</c:v>
                </c:pt>
                <c:pt idx="26219">
                  <c:v>-1.0924369747899201E-2</c:v>
                </c:pt>
                <c:pt idx="26220">
                  <c:v>-1.0924369747899201E-2</c:v>
                </c:pt>
                <c:pt idx="26221">
                  <c:v>-1.0924369747899201E-2</c:v>
                </c:pt>
                <c:pt idx="26222">
                  <c:v>-1.0924369747899201E-2</c:v>
                </c:pt>
                <c:pt idx="26223">
                  <c:v>-1.0924369747899201E-2</c:v>
                </c:pt>
                <c:pt idx="26224">
                  <c:v>-1.0924369747899201E-2</c:v>
                </c:pt>
                <c:pt idx="26225">
                  <c:v>-1.0924369747899201E-2</c:v>
                </c:pt>
                <c:pt idx="26226">
                  <c:v>-1.0924369747899201E-2</c:v>
                </c:pt>
                <c:pt idx="26227">
                  <c:v>-1.0924369747899201E-2</c:v>
                </c:pt>
                <c:pt idx="26228">
                  <c:v>-1.0924369747899201E-2</c:v>
                </c:pt>
                <c:pt idx="26229">
                  <c:v>-1.0924369747899201E-2</c:v>
                </c:pt>
                <c:pt idx="26230">
                  <c:v>-1.0924369747899201E-2</c:v>
                </c:pt>
                <c:pt idx="26231">
                  <c:v>-1.0924369747899201E-2</c:v>
                </c:pt>
                <c:pt idx="26232">
                  <c:v>-1.00840336134454E-2</c:v>
                </c:pt>
                <c:pt idx="26233">
                  <c:v>-1.00840336134454E-2</c:v>
                </c:pt>
                <c:pt idx="26234">
                  <c:v>-1.00840336134454E-2</c:v>
                </c:pt>
                <c:pt idx="26235">
                  <c:v>-1.00840336134454E-2</c:v>
                </c:pt>
                <c:pt idx="26236">
                  <c:v>-1.00840336134454E-2</c:v>
                </c:pt>
                <c:pt idx="26237">
                  <c:v>-1.00840336134454E-2</c:v>
                </c:pt>
                <c:pt idx="26238">
                  <c:v>-1.00840336134454E-2</c:v>
                </c:pt>
                <c:pt idx="26239">
                  <c:v>-1.0924369747899201E-2</c:v>
                </c:pt>
                <c:pt idx="26240">
                  <c:v>-1.0924369747899201E-2</c:v>
                </c:pt>
                <c:pt idx="26241">
                  <c:v>-1.0924369747899201E-2</c:v>
                </c:pt>
                <c:pt idx="26242">
                  <c:v>-1.0924369747899201E-2</c:v>
                </c:pt>
                <c:pt idx="26243">
                  <c:v>-1.0924369747899201E-2</c:v>
                </c:pt>
                <c:pt idx="26244">
                  <c:v>-1.0924369747899201E-2</c:v>
                </c:pt>
                <c:pt idx="26245">
                  <c:v>-1.0924369747899201E-2</c:v>
                </c:pt>
                <c:pt idx="26246">
                  <c:v>-1.0924369747899201E-2</c:v>
                </c:pt>
                <c:pt idx="26247">
                  <c:v>-1.0924369747899201E-2</c:v>
                </c:pt>
                <c:pt idx="26248">
                  <c:v>-1.0924369747899201E-2</c:v>
                </c:pt>
                <c:pt idx="26249">
                  <c:v>-1.0924369747899201E-2</c:v>
                </c:pt>
                <c:pt idx="26250">
                  <c:v>-1.0924369747899201E-2</c:v>
                </c:pt>
                <c:pt idx="26251">
                  <c:v>-1.0924369747899201E-2</c:v>
                </c:pt>
                <c:pt idx="26252">
                  <c:v>-1.0924369747899201E-2</c:v>
                </c:pt>
                <c:pt idx="26253">
                  <c:v>-1.0924369747899201E-2</c:v>
                </c:pt>
                <c:pt idx="26254">
                  <c:v>-1.0924369747899201E-2</c:v>
                </c:pt>
                <c:pt idx="26255">
                  <c:v>-1.0924369747899201E-2</c:v>
                </c:pt>
                <c:pt idx="26256">
                  <c:v>-1.0924369747899201E-2</c:v>
                </c:pt>
                <c:pt idx="26257">
                  <c:v>-1.0924369747899201E-2</c:v>
                </c:pt>
                <c:pt idx="26258">
                  <c:v>-1.0924369747899201E-2</c:v>
                </c:pt>
                <c:pt idx="26259">
                  <c:v>-1.0924369747899201E-2</c:v>
                </c:pt>
                <c:pt idx="26260">
                  <c:v>-1.0924369747899201E-2</c:v>
                </c:pt>
                <c:pt idx="26261">
                  <c:v>-1.0924369747899201E-2</c:v>
                </c:pt>
                <c:pt idx="26262">
                  <c:v>-1.0924369747899201E-2</c:v>
                </c:pt>
                <c:pt idx="26263">
                  <c:v>-1.0924369747899201E-2</c:v>
                </c:pt>
                <c:pt idx="26264">
                  <c:v>-1.0924369747899201E-2</c:v>
                </c:pt>
                <c:pt idx="26265">
                  <c:v>-1.0924369747899201E-2</c:v>
                </c:pt>
                <c:pt idx="26266">
                  <c:v>-1.0924369747899201E-2</c:v>
                </c:pt>
                <c:pt idx="26267">
                  <c:v>-1.0924369747899201E-2</c:v>
                </c:pt>
                <c:pt idx="26268">
                  <c:v>-1.0924369747899201E-2</c:v>
                </c:pt>
                <c:pt idx="26269">
                  <c:v>-1.0924369747899201E-2</c:v>
                </c:pt>
                <c:pt idx="26270">
                  <c:v>-1.0924369747899201E-2</c:v>
                </c:pt>
                <c:pt idx="26271">
                  <c:v>-1.0924369747899201E-2</c:v>
                </c:pt>
                <c:pt idx="26272">
                  <c:v>-1.0924369747899201E-2</c:v>
                </c:pt>
                <c:pt idx="26273">
                  <c:v>-1.0924369747899201E-2</c:v>
                </c:pt>
                <c:pt idx="26274">
                  <c:v>-1.0924369747899201E-2</c:v>
                </c:pt>
                <c:pt idx="26275">
                  <c:v>-1.0924369747899201E-2</c:v>
                </c:pt>
                <c:pt idx="26276">
                  <c:v>-1.0924369747899201E-2</c:v>
                </c:pt>
                <c:pt idx="26277">
                  <c:v>-1.0924369747899201E-2</c:v>
                </c:pt>
                <c:pt idx="26278">
                  <c:v>-1.0924369747899201E-2</c:v>
                </c:pt>
                <c:pt idx="26279">
                  <c:v>-1.0924369747899201E-2</c:v>
                </c:pt>
                <c:pt idx="26280">
                  <c:v>-1.0924369747899201E-2</c:v>
                </c:pt>
                <c:pt idx="26281">
                  <c:v>-1.0924369747899201E-2</c:v>
                </c:pt>
                <c:pt idx="26282">
                  <c:v>-1.0924369747899201E-2</c:v>
                </c:pt>
                <c:pt idx="26283">
                  <c:v>-1.0924369747899201E-2</c:v>
                </c:pt>
                <c:pt idx="26284">
                  <c:v>-1.0924369747899201E-2</c:v>
                </c:pt>
                <c:pt idx="26285">
                  <c:v>-1.0924369747899201E-2</c:v>
                </c:pt>
                <c:pt idx="26286">
                  <c:v>-1.0924369747899201E-2</c:v>
                </c:pt>
                <c:pt idx="26287">
                  <c:v>-1.0924369747899201E-2</c:v>
                </c:pt>
                <c:pt idx="26288">
                  <c:v>-1.0924369747899201E-2</c:v>
                </c:pt>
                <c:pt idx="26289">
                  <c:v>-1.0924369747899201E-2</c:v>
                </c:pt>
                <c:pt idx="26290">
                  <c:v>-1.0924369747899201E-2</c:v>
                </c:pt>
                <c:pt idx="26291">
                  <c:v>-1.0924369747899201E-2</c:v>
                </c:pt>
                <c:pt idx="26292">
                  <c:v>-1.0924369747899201E-2</c:v>
                </c:pt>
                <c:pt idx="26293">
                  <c:v>-1.0924369747899201E-2</c:v>
                </c:pt>
                <c:pt idx="26294">
                  <c:v>-1.0924369747899201E-2</c:v>
                </c:pt>
                <c:pt idx="26295">
                  <c:v>-1.0924369747899201E-2</c:v>
                </c:pt>
                <c:pt idx="26296">
                  <c:v>-1.0924369747899201E-2</c:v>
                </c:pt>
                <c:pt idx="26297">
                  <c:v>-1.0924369747899201E-2</c:v>
                </c:pt>
                <c:pt idx="26298">
                  <c:v>-1.0924369747899201E-2</c:v>
                </c:pt>
                <c:pt idx="26299">
                  <c:v>-1.0924369747899201E-2</c:v>
                </c:pt>
                <c:pt idx="26300">
                  <c:v>-1.0924369747899201E-2</c:v>
                </c:pt>
                <c:pt idx="26301">
                  <c:v>-1.0924369747899201E-2</c:v>
                </c:pt>
                <c:pt idx="26302">
                  <c:v>-1.0924369747899201E-2</c:v>
                </c:pt>
                <c:pt idx="26303">
                  <c:v>-1.0924369747899201E-2</c:v>
                </c:pt>
                <c:pt idx="26304">
                  <c:v>-1.0924369747899201E-2</c:v>
                </c:pt>
                <c:pt idx="26305">
                  <c:v>-1.0924369747899201E-2</c:v>
                </c:pt>
                <c:pt idx="26306">
                  <c:v>-1.0924369747899201E-2</c:v>
                </c:pt>
                <c:pt idx="26307">
                  <c:v>-1.0924369747899201E-2</c:v>
                </c:pt>
                <c:pt idx="26308">
                  <c:v>-1.0924369747899201E-2</c:v>
                </c:pt>
                <c:pt idx="26309">
                  <c:v>-1.0924369747899201E-2</c:v>
                </c:pt>
                <c:pt idx="26310">
                  <c:v>-1.0924369747899201E-2</c:v>
                </c:pt>
                <c:pt idx="26311">
                  <c:v>-1.0924369747899201E-2</c:v>
                </c:pt>
                <c:pt idx="26312">
                  <c:v>-1.0924369747899201E-2</c:v>
                </c:pt>
                <c:pt idx="26313">
                  <c:v>-1.0924369747899201E-2</c:v>
                </c:pt>
                <c:pt idx="26314">
                  <c:v>-1.0924369747899201E-2</c:v>
                </c:pt>
                <c:pt idx="26315">
                  <c:v>-1.0924369747899201E-2</c:v>
                </c:pt>
                <c:pt idx="26316">
                  <c:v>-1.0924369747899201E-2</c:v>
                </c:pt>
                <c:pt idx="26317">
                  <c:v>-1.0924369747899201E-2</c:v>
                </c:pt>
                <c:pt idx="26318">
                  <c:v>-1.0924369747899201E-2</c:v>
                </c:pt>
                <c:pt idx="26319">
                  <c:v>-1.0924369747899201E-2</c:v>
                </c:pt>
                <c:pt idx="26320">
                  <c:v>-1.0924369747899201E-2</c:v>
                </c:pt>
                <c:pt idx="26321">
                  <c:v>-1.0924369747899201E-2</c:v>
                </c:pt>
                <c:pt idx="26322">
                  <c:v>-1.0924369747899201E-2</c:v>
                </c:pt>
                <c:pt idx="26323">
                  <c:v>-1.0924369747899201E-2</c:v>
                </c:pt>
                <c:pt idx="26324">
                  <c:v>-1.0924369747899201E-2</c:v>
                </c:pt>
                <c:pt idx="26325">
                  <c:v>-1.0924369747899201E-2</c:v>
                </c:pt>
                <c:pt idx="26326">
                  <c:v>-1.0924369747899201E-2</c:v>
                </c:pt>
                <c:pt idx="26327">
                  <c:v>-1.0924369747899201E-2</c:v>
                </c:pt>
                <c:pt idx="26328">
                  <c:v>-1.0924369747899201E-2</c:v>
                </c:pt>
                <c:pt idx="26329">
                  <c:v>-1.0924369747899201E-2</c:v>
                </c:pt>
                <c:pt idx="26330">
                  <c:v>-1.0924369747899201E-2</c:v>
                </c:pt>
                <c:pt idx="26331">
                  <c:v>-1.0924369747899201E-2</c:v>
                </c:pt>
                <c:pt idx="26332">
                  <c:v>-1.0924369747899201E-2</c:v>
                </c:pt>
                <c:pt idx="26333">
                  <c:v>-1.0924369747899201E-2</c:v>
                </c:pt>
                <c:pt idx="26334">
                  <c:v>-1.0924369747899201E-2</c:v>
                </c:pt>
                <c:pt idx="26335">
                  <c:v>-1.00840336134454E-2</c:v>
                </c:pt>
                <c:pt idx="26336">
                  <c:v>-1.00840336134454E-2</c:v>
                </c:pt>
                <c:pt idx="26337">
                  <c:v>-1.00840336134454E-2</c:v>
                </c:pt>
                <c:pt idx="26338">
                  <c:v>-1.00840336134454E-2</c:v>
                </c:pt>
                <c:pt idx="26339">
                  <c:v>-1.00840336134454E-2</c:v>
                </c:pt>
                <c:pt idx="26340">
                  <c:v>-1.00840336134454E-2</c:v>
                </c:pt>
                <c:pt idx="26341">
                  <c:v>-1.00840336134454E-2</c:v>
                </c:pt>
                <c:pt idx="26342">
                  <c:v>-1.00840336134454E-2</c:v>
                </c:pt>
                <c:pt idx="26343">
                  <c:v>-1.00840336134454E-2</c:v>
                </c:pt>
                <c:pt idx="26344">
                  <c:v>-1.00840336134454E-2</c:v>
                </c:pt>
                <c:pt idx="26345">
                  <c:v>-1.00840336134454E-2</c:v>
                </c:pt>
                <c:pt idx="26346">
                  <c:v>-1.00840336134454E-2</c:v>
                </c:pt>
                <c:pt idx="26347">
                  <c:v>-1.00840336134454E-2</c:v>
                </c:pt>
                <c:pt idx="26348">
                  <c:v>-1.00840336134454E-2</c:v>
                </c:pt>
                <c:pt idx="26349">
                  <c:v>-1.00840336134454E-2</c:v>
                </c:pt>
                <c:pt idx="26350">
                  <c:v>-1.00840336134454E-2</c:v>
                </c:pt>
                <c:pt idx="26351">
                  <c:v>-1.00840336134454E-2</c:v>
                </c:pt>
                <c:pt idx="26352">
                  <c:v>-1.00840336134454E-2</c:v>
                </c:pt>
                <c:pt idx="26353">
                  <c:v>-1.00840336134454E-2</c:v>
                </c:pt>
                <c:pt idx="26354">
                  <c:v>-1.00840336134454E-2</c:v>
                </c:pt>
                <c:pt idx="26355">
                  <c:v>-1.00840336134454E-2</c:v>
                </c:pt>
                <c:pt idx="26356">
                  <c:v>-1.00840336134454E-2</c:v>
                </c:pt>
                <c:pt idx="26357">
                  <c:v>-1.00840336134454E-2</c:v>
                </c:pt>
                <c:pt idx="26358">
                  <c:v>-9.2436974789916696E-3</c:v>
                </c:pt>
                <c:pt idx="26359">
                  <c:v>-9.2436974789916696E-3</c:v>
                </c:pt>
                <c:pt idx="26360">
                  <c:v>-9.2436974789916696E-3</c:v>
                </c:pt>
                <c:pt idx="26361">
                  <c:v>-9.2436974789916696E-3</c:v>
                </c:pt>
                <c:pt idx="26362">
                  <c:v>-9.2436974789916696E-3</c:v>
                </c:pt>
                <c:pt idx="26363">
                  <c:v>-9.2436974789916696E-3</c:v>
                </c:pt>
                <c:pt idx="26364">
                  <c:v>-9.2436974789916696E-3</c:v>
                </c:pt>
                <c:pt idx="26365">
                  <c:v>-9.2436974789916696E-3</c:v>
                </c:pt>
                <c:pt idx="26366">
                  <c:v>-9.2436974789916696E-3</c:v>
                </c:pt>
                <c:pt idx="26367">
                  <c:v>-9.2436974789916696E-3</c:v>
                </c:pt>
                <c:pt idx="26368">
                  <c:v>-8.4033613445377801E-3</c:v>
                </c:pt>
                <c:pt idx="26369">
                  <c:v>-9.2436974789915603E-3</c:v>
                </c:pt>
                <c:pt idx="26370">
                  <c:v>-9.2436974789915603E-3</c:v>
                </c:pt>
                <c:pt idx="26371">
                  <c:v>-9.2436974789915603E-3</c:v>
                </c:pt>
                <c:pt idx="26372">
                  <c:v>-9.2436974789915603E-3</c:v>
                </c:pt>
                <c:pt idx="26373">
                  <c:v>-9.2436974789915603E-3</c:v>
                </c:pt>
                <c:pt idx="26374">
                  <c:v>-9.2436974789915603E-3</c:v>
                </c:pt>
                <c:pt idx="26375">
                  <c:v>-9.2436974789915603E-3</c:v>
                </c:pt>
                <c:pt idx="26376">
                  <c:v>-9.2436974789915603E-3</c:v>
                </c:pt>
                <c:pt idx="26377">
                  <c:v>-9.2436974789915603E-3</c:v>
                </c:pt>
                <c:pt idx="26378">
                  <c:v>-9.2436974789915603E-3</c:v>
                </c:pt>
                <c:pt idx="26379">
                  <c:v>-9.2436974789915603E-3</c:v>
                </c:pt>
                <c:pt idx="26380">
                  <c:v>-9.2436974789915603E-3</c:v>
                </c:pt>
                <c:pt idx="26381">
                  <c:v>-9.2436974789915603E-3</c:v>
                </c:pt>
                <c:pt idx="26382">
                  <c:v>-9.2436974789915603E-3</c:v>
                </c:pt>
                <c:pt idx="26383">
                  <c:v>-9.2436974789915603E-3</c:v>
                </c:pt>
                <c:pt idx="26384">
                  <c:v>-9.2436974789915603E-3</c:v>
                </c:pt>
                <c:pt idx="26385">
                  <c:v>-9.2436974789915603E-3</c:v>
                </c:pt>
                <c:pt idx="26386">
                  <c:v>-9.2436974789915603E-3</c:v>
                </c:pt>
                <c:pt idx="26387">
                  <c:v>-9.2436974789915603E-3</c:v>
                </c:pt>
                <c:pt idx="26388">
                  <c:v>-9.2436974789915603E-3</c:v>
                </c:pt>
                <c:pt idx="26389">
                  <c:v>-9.2436974789915603E-3</c:v>
                </c:pt>
                <c:pt idx="26390">
                  <c:v>-9.2436974789915603E-3</c:v>
                </c:pt>
                <c:pt idx="26391">
                  <c:v>-9.2436974789915603E-3</c:v>
                </c:pt>
                <c:pt idx="26392">
                  <c:v>-9.2436974789915603E-3</c:v>
                </c:pt>
                <c:pt idx="26393">
                  <c:v>-9.2436974789915603E-3</c:v>
                </c:pt>
                <c:pt idx="26394">
                  <c:v>-9.2436974789915603E-3</c:v>
                </c:pt>
                <c:pt idx="26395">
                  <c:v>-9.2436974789915603E-3</c:v>
                </c:pt>
                <c:pt idx="26396">
                  <c:v>-9.2436974789915603E-3</c:v>
                </c:pt>
                <c:pt idx="26397">
                  <c:v>-9.2436974789915603E-3</c:v>
                </c:pt>
                <c:pt idx="26398">
                  <c:v>-9.2436974789915603E-3</c:v>
                </c:pt>
                <c:pt idx="26399">
                  <c:v>-9.2436974789915603E-3</c:v>
                </c:pt>
                <c:pt idx="26400">
                  <c:v>-9.2436974789915603E-3</c:v>
                </c:pt>
                <c:pt idx="26401">
                  <c:v>-9.2436974789915603E-3</c:v>
                </c:pt>
                <c:pt idx="26402">
                  <c:v>-9.2436974789915603E-3</c:v>
                </c:pt>
                <c:pt idx="26403">
                  <c:v>-9.2436974789915603E-3</c:v>
                </c:pt>
                <c:pt idx="26404">
                  <c:v>-9.2436974789915603E-3</c:v>
                </c:pt>
                <c:pt idx="26405">
                  <c:v>-9.2436974789915603E-3</c:v>
                </c:pt>
                <c:pt idx="26406">
                  <c:v>-9.2436974789915603E-3</c:v>
                </c:pt>
                <c:pt idx="26407">
                  <c:v>-9.2436974789915603E-3</c:v>
                </c:pt>
                <c:pt idx="26408">
                  <c:v>-9.2436974789915603E-3</c:v>
                </c:pt>
                <c:pt idx="26409">
                  <c:v>-9.2436974789915603E-3</c:v>
                </c:pt>
                <c:pt idx="26410">
                  <c:v>-9.2436974789915603E-3</c:v>
                </c:pt>
                <c:pt idx="26411">
                  <c:v>-9.2436974789915603E-3</c:v>
                </c:pt>
                <c:pt idx="26412">
                  <c:v>-9.2436974789915603E-3</c:v>
                </c:pt>
                <c:pt idx="26413">
                  <c:v>-9.2436974789915603E-3</c:v>
                </c:pt>
                <c:pt idx="26414">
                  <c:v>-9.2436974789915603E-3</c:v>
                </c:pt>
                <c:pt idx="26415">
                  <c:v>-9.2436974789915603E-3</c:v>
                </c:pt>
                <c:pt idx="26416">
                  <c:v>-9.2436974789915603E-3</c:v>
                </c:pt>
                <c:pt idx="26417">
                  <c:v>-9.2436974789915603E-3</c:v>
                </c:pt>
                <c:pt idx="26418">
                  <c:v>-9.2436974789915603E-3</c:v>
                </c:pt>
                <c:pt idx="26419">
                  <c:v>-9.2436974789915603E-3</c:v>
                </c:pt>
                <c:pt idx="26420">
                  <c:v>-9.2436974789915603E-3</c:v>
                </c:pt>
                <c:pt idx="26421">
                  <c:v>-9.2436974789915603E-3</c:v>
                </c:pt>
                <c:pt idx="26422">
                  <c:v>-9.2436974789915603E-3</c:v>
                </c:pt>
                <c:pt idx="26423">
                  <c:v>-9.2436974789915603E-3</c:v>
                </c:pt>
                <c:pt idx="26424">
                  <c:v>-9.2436974789915603E-3</c:v>
                </c:pt>
                <c:pt idx="26425">
                  <c:v>-9.2436974789915603E-3</c:v>
                </c:pt>
                <c:pt idx="26426">
                  <c:v>-9.2436974789915603E-3</c:v>
                </c:pt>
                <c:pt idx="26427">
                  <c:v>-9.2436974789915603E-3</c:v>
                </c:pt>
                <c:pt idx="26428">
                  <c:v>-9.2436974789915603E-3</c:v>
                </c:pt>
                <c:pt idx="26429">
                  <c:v>-9.2436974789915603E-3</c:v>
                </c:pt>
                <c:pt idx="26430">
                  <c:v>-9.2436974789915603E-3</c:v>
                </c:pt>
                <c:pt idx="26431">
                  <c:v>-9.2436974789915603E-3</c:v>
                </c:pt>
                <c:pt idx="26432">
                  <c:v>-9.2436974789915603E-3</c:v>
                </c:pt>
                <c:pt idx="26433">
                  <c:v>-9.2436974789915603E-3</c:v>
                </c:pt>
                <c:pt idx="26434">
                  <c:v>-9.2436974789915603E-3</c:v>
                </c:pt>
                <c:pt idx="26435">
                  <c:v>-9.2436974789915603E-3</c:v>
                </c:pt>
                <c:pt idx="26436">
                  <c:v>-9.2436974789915603E-3</c:v>
                </c:pt>
                <c:pt idx="26437">
                  <c:v>-9.2436974789915603E-3</c:v>
                </c:pt>
                <c:pt idx="26438">
                  <c:v>-9.2436974789915603E-3</c:v>
                </c:pt>
                <c:pt idx="26439">
                  <c:v>-9.2436974789915603E-3</c:v>
                </c:pt>
                <c:pt idx="26440">
                  <c:v>-9.2436974789915603E-3</c:v>
                </c:pt>
                <c:pt idx="26441">
                  <c:v>-9.2436974789915603E-3</c:v>
                </c:pt>
                <c:pt idx="26442">
                  <c:v>-9.2436974789915603E-3</c:v>
                </c:pt>
                <c:pt idx="26443">
                  <c:v>-9.2436974789915603E-3</c:v>
                </c:pt>
                <c:pt idx="26444">
                  <c:v>-9.2436974789915603E-3</c:v>
                </c:pt>
                <c:pt idx="26445">
                  <c:v>-9.2436974789915603E-3</c:v>
                </c:pt>
                <c:pt idx="26446">
                  <c:v>-9.2436974789915603E-3</c:v>
                </c:pt>
                <c:pt idx="26447">
                  <c:v>-9.2436974789915603E-3</c:v>
                </c:pt>
                <c:pt idx="26448">
                  <c:v>-8.4033613445377801E-3</c:v>
                </c:pt>
                <c:pt idx="26449">
                  <c:v>-8.4033613445377801E-3</c:v>
                </c:pt>
                <c:pt idx="26450">
                  <c:v>-8.4033613445377801E-3</c:v>
                </c:pt>
                <c:pt idx="26451">
                  <c:v>-7.5630252100839998E-3</c:v>
                </c:pt>
                <c:pt idx="26452">
                  <c:v>-7.5630252100839998E-3</c:v>
                </c:pt>
                <c:pt idx="26453">
                  <c:v>-7.5630252100839998E-3</c:v>
                </c:pt>
                <c:pt idx="26454">
                  <c:v>-7.5630252100839998E-3</c:v>
                </c:pt>
                <c:pt idx="26455">
                  <c:v>-7.5630252100839998E-3</c:v>
                </c:pt>
                <c:pt idx="26456">
                  <c:v>-7.5630252100839998E-3</c:v>
                </c:pt>
                <c:pt idx="26457">
                  <c:v>-7.5630252100839998E-3</c:v>
                </c:pt>
                <c:pt idx="26458">
                  <c:v>-7.5630252100839998E-3</c:v>
                </c:pt>
                <c:pt idx="26459">
                  <c:v>-7.5630252100839998E-3</c:v>
                </c:pt>
                <c:pt idx="26460">
                  <c:v>-7.5630252100839998E-3</c:v>
                </c:pt>
                <c:pt idx="26461">
                  <c:v>-7.5630252100839998E-3</c:v>
                </c:pt>
                <c:pt idx="26462">
                  <c:v>-7.5630252100839998E-3</c:v>
                </c:pt>
                <c:pt idx="26463">
                  <c:v>-7.5630252100839998E-3</c:v>
                </c:pt>
                <c:pt idx="26464">
                  <c:v>-7.5630252100839998E-3</c:v>
                </c:pt>
                <c:pt idx="26465">
                  <c:v>-7.5630252100839998E-3</c:v>
                </c:pt>
                <c:pt idx="26466">
                  <c:v>-7.5630252100839998E-3</c:v>
                </c:pt>
                <c:pt idx="26467">
                  <c:v>-7.5630252100839998E-3</c:v>
                </c:pt>
                <c:pt idx="26468">
                  <c:v>-7.5630252100839998E-3</c:v>
                </c:pt>
                <c:pt idx="26469">
                  <c:v>-7.5630252100839998E-3</c:v>
                </c:pt>
                <c:pt idx="26470">
                  <c:v>-7.5630252100839998E-3</c:v>
                </c:pt>
                <c:pt idx="26471">
                  <c:v>-7.5630252100839998E-3</c:v>
                </c:pt>
                <c:pt idx="26472">
                  <c:v>-7.5630252100839998E-3</c:v>
                </c:pt>
                <c:pt idx="26473">
                  <c:v>-7.5630252100839998E-3</c:v>
                </c:pt>
                <c:pt idx="26474">
                  <c:v>-7.5630252100839998E-3</c:v>
                </c:pt>
                <c:pt idx="26475">
                  <c:v>-7.5630252100839998E-3</c:v>
                </c:pt>
                <c:pt idx="26476">
                  <c:v>-7.5630252100839998E-3</c:v>
                </c:pt>
                <c:pt idx="26477">
                  <c:v>-7.5630252100839998E-3</c:v>
                </c:pt>
                <c:pt idx="26478">
                  <c:v>-7.5630252100839998E-3</c:v>
                </c:pt>
                <c:pt idx="26479">
                  <c:v>-7.5630252100839998E-3</c:v>
                </c:pt>
                <c:pt idx="26480">
                  <c:v>-7.5630252100839998E-3</c:v>
                </c:pt>
                <c:pt idx="26481">
                  <c:v>-7.5630252100839998E-3</c:v>
                </c:pt>
                <c:pt idx="26482">
                  <c:v>-7.5630252100839998E-3</c:v>
                </c:pt>
                <c:pt idx="26483">
                  <c:v>-7.5630252100839998E-3</c:v>
                </c:pt>
                <c:pt idx="26484">
                  <c:v>-6.7226890756302204E-3</c:v>
                </c:pt>
                <c:pt idx="26485">
                  <c:v>-6.7226890756302204E-3</c:v>
                </c:pt>
                <c:pt idx="26486">
                  <c:v>-6.7226890756302204E-3</c:v>
                </c:pt>
                <c:pt idx="26487">
                  <c:v>-6.7226890756302204E-3</c:v>
                </c:pt>
                <c:pt idx="26488">
                  <c:v>-6.7226890756302204E-3</c:v>
                </c:pt>
                <c:pt idx="26489">
                  <c:v>-6.7226890756302204E-3</c:v>
                </c:pt>
                <c:pt idx="26490">
                  <c:v>-6.7226890756302204E-3</c:v>
                </c:pt>
                <c:pt idx="26491">
                  <c:v>-6.7226890756302204E-3</c:v>
                </c:pt>
                <c:pt idx="26492">
                  <c:v>-6.7226890756302204E-3</c:v>
                </c:pt>
                <c:pt idx="26493">
                  <c:v>-6.7226890756302204E-3</c:v>
                </c:pt>
                <c:pt idx="26494">
                  <c:v>-6.7226890756302204E-3</c:v>
                </c:pt>
                <c:pt idx="26495">
                  <c:v>-6.7226890756302204E-3</c:v>
                </c:pt>
                <c:pt idx="26496">
                  <c:v>-6.7226890756302204E-3</c:v>
                </c:pt>
                <c:pt idx="26497">
                  <c:v>-6.7226890756302204E-3</c:v>
                </c:pt>
                <c:pt idx="26498">
                  <c:v>-6.7226890756302204E-3</c:v>
                </c:pt>
                <c:pt idx="26499">
                  <c:v>-6.7226890756302204E-3</c:v>
                </c:pt>
                <c:pt idx="26500">
                  <c:v>-6.7226890756302204E-3</c:v>
                </c:pt>
                <c:pt idx="26501">
                  <c:v>-6.7226890756302204E-3</c:v>
                </c:pt>
                <c:pt idx="26502">
                  <c:v>-6.7226890756302204E-3</c:v>
                </c:pt>
                <c:pt idx="26503">
                  <c:v>-6.7226890756302204E-3</c:v>
                </c:pt>
                <c:pt idx="26504">
                  <c:v>-6.7226890756302204E-3</c:v>
                </c:pt>
                <c:pt idx="26505">
                  <c:v>-6.7226890756302204E-3</c:v>
                </c:pt>
                <c:pt idx="26506">
                  <c:v>-5.8823529411764497E-3</c:v>
                </c:pt>
                <c:pt idx="26507">
                  <c:v>-5.8823529411764497E-3</c:v>
                </c:pt>
                <c:pt idx="26508">
                  <c:v>-5.8823529411764497E-3</c:v>
                </c:pt>
                <c:pt idx="26509">
                  <c:v>-5.8823529411764497E-3</c:v>
                </c:pt>
                <c:pt idx="26510">
                  <c:v>-5.8823529411764497E-3</c:v>
                </c:pt>
                <c:pt idx="26511">
                  <c:v>-5.8823529411764497E-3</c:v>
                </c:pt>
                <c:pt idx="26512">
                  <c:v>-5.0420168067226703E-3</c:v>
                </c:pt>
                <c:pt idx="26513">
                  <c:v>-5.0420168067226703E-3</c:v>
                </c:pt>
                <c:pt idx="26514">
                  <c:v>-4.20168067226889E-3</c:v>
                </c:pt>
                <c:pt idx="26515">
                  <c:v>-4.20168067226889E-3</c:v>
                </c:pt>
                <c:pt idx="26516">
                  <c:v>-4.20168067226889E-3</c:v>
                </c:pt>
                <c:pt idx="26517">
                  <c:v>-4.20168067226889E-3</c:v>
                </c:pt>
                <c:pt idx="26518">
                  <c:v>-4.20168067226889E-3</c:v>
                </c:pt>
                <c:pt idx="26519">
                  <c:v>-4.20168067226889E-3</c:v>
                </c:pt>
                <c:pt idx="26520">
                  <c:v>-4.20168067226889E-3</c:v>
                </c:pt>
                <c:pt idx="26521">
                  <c:v>-4.20168067226889E-3</c:v>
                </c:pt>
                <c:pt idx="26522">
                  <c:v>-4.20168067226889E-3</c:v>
                </c:pt>
                <c:pt idx="26523">
                  <c:v>-4.20168067226889E-3</c:v>
                </c:pt>
                <c:pt idx="26524">
                  <c:v>-4.20168067226889E-3</c:v>
                </c:pt>
                <c:pt idx="26525">
                  <c:v>-4.20168067226889E-3</c:v>
                </c:pt>
                <c:pt idx="26526">
                  <c:v>-4.20168067226889E-3</c:v>
                </c:pt>
                <c:pt idx="26527">
                  <c:v>-4.20168067226889E-3</c:v>
                </c:pt>
                <c:pt idx="26528">
                  <c:v>-4.20168067226889E-3</c:v>
                </c:pt>
                <c:pt idx="26529">
                  <c:v>-4.20168067226889E-3</c:v>
                </c:pt>
                <c:pt idx="26530">
                  <c:v>-4.20168067226889E-3</c:v>
                </c:pt>
                <c:pt idx="26531">
                  <c:v>-4.20168067226889E-3</c:v>
                </c:pt>
                <c:pt idx="26532">
                  <c:v>-5.0420168067226703E-3</c:v>
                </c:pt>
                <c:pt idx="26533">
                  <c:v>-5.0420168067226703E-3</c:v>
                </c:pt>
                <c:pt idx="26534">
                  <c:v>-5.0420168067226703E-3</c:v>
                </c:pt>
                <c:pt idx="26535">
                  <c:v>-5.0420168067226703E-3</c:v>
                </c:pt>
                <c:pt idx="26536">
                  <c:v>-5.0420168067226703E-3</c:v>
                </c:pt>
                <c:pt idx="26537">
                  <c:v>-5.0420168067226703E-3</c:v>
                </c:pt>
                <c:pt idx="26538">
                  <c:v>-5.0420168067226703E-3</c:v>
                </c:pt>
                <c:pt idx="26539">
                  <c:v>-5.0420168067226703E-3</c:v>
                </c:pt>
                <c:pt idx="26540">
                  <c:v>-5.0420168067226703E-3</c:v>
                </c:pt>
                <c:pt idx="26541">
                  <c:v>-5.0420168067226703E-3</c:v>
                </c:pt>
                <c:pt idx="26542">
                  <c:v>-5.0420168067226703E-3</c:v>
                </c:pt>
                <c:pt idx="26543">
                  <c:v>-5.0420168067226703E-3</c:v>
                </c:pt>
                <c:pt idx="26544">
                  <c:v>-5.0420168067226703E-3</c:v>
                </c:pt>
                <c:pt idx="26545">
                  <c:v>-5.0420168067226703E-3</c:v>
                </c:pt>
                <c:pt idx="26546">
                  <c:v>-5.0420168067226703E-3</c:v>
                </c:pt>
                <c:pt idx="26547">
                  <c:v>-5.0420168067226703E-3</c:v>
                </c:pt>
                <c:pt idx="26548">
                  <c:v>-5.0420168067226703E-3</c:v>
                </c:pt>
                <c:pt idx="26549">
                  <c:v>-5.0420168067226703E-3</c:v>
                </c:pt>
                <c:pt idx="26550">
                  <c:v>-5.0420168067226703E-3</c:v>
                </c:pt>
                <c:pt idx="26551">
                  <c:v>-5.0420168067226703E-3</c:v>
                </c:pt>
                <c:pt idx="26552">
                  <c:v>-5.0420168067226703E-3</c:v>
                </c:pt>
                <c:pt idx="26553">
                  <c:v>-5.0420168067226703E-3</c:v>
                </c:pt>
                <c:pt idx="26554">
                  <c:v>-5.0420168067226703E-3</c:v>
                </c:pt>
                <c:pt idx="26555">
                  <c:v>-5.0420168067226703E-3</c:v>
                </c:pt>
                <c:pt idx="26556">
                  <c:v>-5.0420168067226703E-3</c:v>
                </c:pt>
                <c:pt idx="26557">
                  <c:v>-5.0420168067226703E-3</c:v>
                </c:pt>
                <c:pt idx="26558">
                  <c:v>-5.0420168067226703E-3</c:v>
                </c:pt>
                <c:pt idx="26559">
                  <c:v>-5.0420168067226703E-3</c:v>
                </c:pt>
                <c:pt idx="26560">
                  <c:v>-5.0420168067226703E-3</c:v>
                </c:pt>
                <c:pt idx="26561">
                  <c:v>-5.0420168067226703E-3</c:v>
                </c:pt>
                <c:pt idx="26562">
                  <c:v>-4.20168067226889E-3</c:v>
                </c:pt>
                <c:pt idx="26563">
                  <c:v>-4.20168067226889E-3</c:v>
                </c:pt>
                <c:pt idx="26564">
                  <c:v>-4.20168067226889E-3</c:v>
                </c:pt>
                <c:pt idx="26565">
                  <c:v>-4.20168067226889E-3</c:v>
                </c:pt>
                <c:pt idx="26566">
                  <c:v>-4.20168067226889E-3</c:v>
                </c:pt>
                <c:pt idx="26567">
                  <c:v>-4.20168067226889E-3</c:v>
                </c:pt>
                <c:pt idx="26568">
                  <c:v>-4.20168067226889E-3</c:v>
                </c:pt>
                <c:pt idx="26569">
                  <c:v>-4.20168067226889E-3</c:v>
                </c:pt>
                <c:pt idx="26570">
                  <c:v>-4.20168067226889E-3</c:v>
                </c:pt>
                <c:pt idx="26571">
                  <c:v>-4.20168067226889E-3</c:v>
                </c:pt>
                <c:pt idx="26572">
                  <c:v>-4.20168067226889E-3</c:v>
                </c:pt>
                <c:pt idx="26573">
                  <c:v>-4.20168067226889E-3</c:v>
                </c:pt>
                <c:pt idx="26574">
                  <c:v>-4.20168067226889E-3</c:v>
                </c:pt>
                <c:pt idx="26575">
                  <c:v>-4.20168067226889E-3</c:v>
                </c:pt>
                <c:pt idx="26576">
                  <c:v>-4.20168067226889E-3</c:v>
                </c:pt>
                <c:pt idx="26577">
                  <c:v>-4.20168067226889E-3</c:v>
                </c:pt>
                <c:pt idx="26578">
                  <c:v>-4.20168067226889E-3</c:v>
                </c:pt>
                <c:pt idx="26579">
                  <c:v>-4.20168067226889E-3</c:v>
                </c:pt>
                <c:pt idx="26580">
                  <c:v>-4.20168067226889E-3</c:v>
                </c:pt>
                <c:pt idx="26581">
                  <c:v>-4.20168067226889E-3</c:v>
                </c:pt>
                <c:pt idx="26582">
                  <c:v>-4.20168067226889E-3</c:v>
                </c:pt>
                <c:pt idx="26583">
                  <c:v>-4.20168067226889E-3</c:v>
                </c:pt>
                <c:pt idx="26584">
                  <c:v>-4.20168067226889E-3</c:v>
                </c:pt>
                <c:pt idx="26585">
                  <c:v>-4.20168067226889E-3</c:v>
                </c:pt>
                <c:pt idx="26586">
                  <c:v>-4.20168067226889E-3</c:v>
                </c:pt>
                <c:pt idx="26587">
                  <c:v>-4.20168067226889E-3</c:v>
                </c:pt>
                <c:pt idx="26588">
                  <c:v>-4.20168067226889E-3</c:v>
                </c:pt>
                <c:pt idx="26589">
                  <c:v>-4.20168067226889E-3</c:v>
                </c:pt>
                <c:pt idx="26590">
                  <c:v>-4.20168067226889E-3</c:v>
                </c:pt>
                <c:pt idx="26591">
                  <c:v>-4.20168067226889E-3</c:v>
                </c:pt>
                <c:pt idx="26592">
                  <c:v>-4.20168067226889E-3</c:v>
                </c:pt>
                <c:pt idx="26593">
                  <c:v>-4.20168067226889E-3</c:v>
                </c:pt>
                <c:pt idx="26594">
                  <c:v>-4.20168067226889E-3</c:v>
                </c:pt>
                <c:pt idx="26595">
                  <c:v>-4.20168067226889E-3</c:v>
                </c:pt>
                <c:pt idx="26596">
                  <c:v>-4.20168067226889E-3</c:v>
                </c:pt>
                <c:pt idx="26597">
                  <c:v>-4.20168067226889E-3</c:v>
                </c:pt>
                <c:pt idx="26598">
                  <c:v>-4.20168067226889E-3</c:v>
                </c:pt>
                <c:pt idx="26599">
                  <c:v>-4.20168067226889E-3</c:v>
                </c:pt>
                <c:pt idx="26600">
                  <c:v>-4.20168067226889E-3</c:v>
                </c:pt>
                <c:pt idx="26601">
                  <c:v>-4.20168067226889E-3</c:v>
                </c:pt>
                <c:pt idx="26602">
                  <c:v>-4.20168067226889E-3</c:v>
                </c:pt>
                <c:pt idx="26603">
                  <c:v>-4.20168067226889E-3</c:v>
                </c:pt>
                <c:pt idx="26604">
                  <c:v>-4.20168067226889E-3</c:v>
                </c:pt>
                <c:pt idx="26605">
                  <c:v>-4.20168067226889E-3</c:v>
                </c:pt>
                <c:pt idx="26606">
                  <c:v>-5.0420168067226703E-3</c:v>
                </c:pt>
                <c:pt idx="26607">
                  <c:v>-5.0420168067226703E-3</c:v>
                </c:pt>
                <c:pt idx="26608">
                  <c:v>-5.0420168067226703E-3</c:v>
                </c:pt>
                <c:pt idx="26609">
                  <c:v>-5.0420168067226703E-3</c:v>
                </c:pt>
                <c:pt idx="26610">
                  <c:v>-5.8823529411764497E-3</c:v>
                </c:pt>
                <c:pt idx="26611">
                  <c:v>-5.8823529411764497E-3</c:v>
                </c:pt>
                <c:pt idx="26612">
                  <c:v>-5.8823529411764497E-3</c:v>
                </c:pt>
                <c:pt idx="26613">
                  <c:v>-5.8823529411764497E-3</c:v>
                </c:pt>
                <c:pt idx="26614">
                  <c:v>-5.8823529411764497E-3</c:v>
                </c:pt>
                <c:pt idx="26615">
                  <c:v>-5.8823529411764497E-3</c:v>
                </c:pt>
                <c:pt idx="26616">
                  <c:v>-5.8823529411764497E-3</c:v>
                </c:pt>
                <c:pt idx="26617">
                  <c:v>-5.8823529411764497E-3</c:v>
                </c:pt>
                <c:pt idx="26618">
                  <c:v>-5.8823529411764497E-3</c:v>
                </c:pt>
                <c:pt idx="26619">
                  <c:v>-5.8823529411764497E-3</c:v>
                </c:pt>
                <c:pt idx="26620">
                  <c:v>-5.8823529411764497E-3</c:v>
                </c:pt>
                <c:pt idx="26621">
                  <c:v>-5.8823529411764497E-3</c:v>
                </c:pt>
                <c:pt idx="26622">
                  <c:v>-5.8823529411764497E-3</c:v>
                </c:pt>
                <c:pt idx="26623">
                  <c:v>-5.8823529411764497E-3</c:v>
                </c:pt>
                <c:pt idx="26624">
                  <c:v>-5.8823529411764497E-3</c:v>
                </c:pt>
                <c:pt idx="26625">
                  <c:v>-5.8823529411764497E-3</c:v>
                </c:pt>
                <c:pt idx="26626">
                  <c:v>-5.8823529411764497E-3</c:v>
                </c:pt>
                <c:pt idx="26627">
                  <c:v>-5.8823529411764497E-3</c:v>
                </c:pt>
                <c:pt idx="26628">
                  <c:v>-5.0420168067226703E-3</c:v>
                </c:pt>
                <c:pt idx="26629">
                  <c:v>-5.0420168067226703E-3</c:v>
                </c:pt>
                <c:pt idx="26630">
                  <c:v>-5.0420168067226703E-3</c:v>
                </c:pt>
                <c:pt idx="26631">
                  <c:v>-5.0420168067226703E-3</c:v>
                </c:pt>
                <c:pt idx="26632">
                  <c:v>-5.0420168067226703E-3</c:v>
                </c:pt>
                <c:pt idx="26633">
                  <c:v>-5.0420168067226703E-3</c:v>
                </c:pt>
                <c:pt idx="26634">
                  <c:v>-5.0420168067226703E-3</c:v>
                </c:pt>
                <c:pt idx="26635">
                  <c:v>-5.0420168067226703E-3</c:v>
                </c:pt>
                <c:pt idx="26636">
                  <c:v>-5.0420168067226703E-3</c:v>
                </c:pt>
                <c:pt idx="26637">
                  <c:v>-5.0420168067226703E-3</c:v>
                </c:pt>
                <c:pt idx="26638">
                  <c:v>-5.0420168067226703E-3</c:v>
                </c:pt>
                <c:pt idx="26639">
                  <c:v>-5.0420168067226703E-3</c:v>
                </c:pt>
                <c:pt idx="26640">
                  <c:v>-5.0420168067226703E-3</c:v>
                </c:pt>
                <c:pt idx="26641">
                  <c:v>-5.0420168067226703E-3</c:v>
                </c:pt>
                <c:pt idx="26642">
                  <c:v>-5.0420168067226703E-3</c:v>
                </c:pt>
                <c:pt idx="26643">
                  <c:v>-5.0420168067226703E-3</c:v>
                </c:pt>
                <c:pt idx="26644">
                  <c:v>-5.0420168067226703E-3</c:v>
                </c:pt>
                <c:pt idx="26645">
                  <c:v>-5.0420168067226703E-3</c:v>
                </c:pt>
                <c:pt idx="26646">
                  <c:v>-5.0420168067226703E-3</c:v>
                </c:pt>
                <c:pt idx="26647">
                  <c:v>-5.0420168067226703E-3</c:v>
                </c:pt>
                <c:pt idx="26648">
                  <c:v>-5.0420168067226703E-3</c:v>
                </c:pt>
                <c:pt idx="26649">
                  <c:v>-5.0420168067226703E-3</c:v>
                </c:pt>
                <c:pt idx="26650">
                  <c:v>-5.0420168067226703E-3</c:v>
                </c:pt>
                <c:pt idx="26651">
                  <c:v>-5.0420168067226703E-3</c:v>
                </c:pt>
                <c:pt idx="26652">
                  <c:v>-5.0420168067226703E-3</c:v>
                </c:pt>
                <c:pt idx="26653">
                  <c:v>-5.0420168067226703E-3</c:v>
                </c:pt>
                <c:pt idx="26654">
                  <c:v>-5.0420168067226703E-3</c:v>
                </c:pt>
                <c:pt idx="26655">
                  <c:v>-5.0420168067226703E-3</c:v>
                </c:pt>
                <c:pt idx="26656">
                  <c:v>-5.0420168067226703E-3</c:v>
                </c:pt>
                <c:pt idx="26657">
                  <c:v>-5.0420168067226703E-3</c:v>
                </c:pt>
                <c:pt idx="26658">
                  <c:v>-5.0420168067226703E-3</c:v>
                </c:pt>
                <c:pt idx="26659">
                  <c:v>-5.0420168067226703E-3</c:v>
                </c:pt>
                <c:pt idx="26660">
                  <c:v>-5.0420168067226703E-3</c:v>
                </c:pt>
                <c:pt idx="26661">
                  <c:v>-5.0420168067226703E-3</c:v>
                </c:pt>
                <c:pt idx="26662">
                  <c:v>-5.0420168067226703E-3</c:v>
                </c:pt>
                <c:pt idx="26663">
                  <c:v>-5.0420168067226703E-3</c:v>
                </c:pt>
                <c:pt idx="26664">
                  <c:v>-5.0420168067226703E-3</c:v>
                </c:pt>
                <c:pt idx="26665">
                  <c:v>-5.0420168067226703E-3</c:v>
                </c:pt>
                <c:pt idx="26666">
                  <c:v>-5.0420168067226703E-3</c:v>
                </c:pt>
                <c:pt idx="26667">
                  <c:v>-5.0420168067226703E-3</c:v>
                </c:pt>
                <c:pt idx="26668">
                  <c:v>-5.0420168067226703E-3</c:v>
                </c:pt>
                <c:pt idx="26669">
                  <c:v>-5.0420168067226703E-3</c:v>
                </c:pt>
                <c:pt idx="26670">
                  <c:v>-5.0420168067226703E-3</c:v>
                </c:pt>
                <c:pt idx="26671">
                  <c:v>-5.0420168067226703E-3</c:v>
                </c:pt>
                <c:pt idx="26672">
                  <c:v>-5.0420168067226703E-3</c:v>
                </c:pt>
                <c:pt idx="26673">
                  <c:v>-5.0420168067226703E-3</c:v>
                </c:pt>
                <c:pt idx="26674">
                  <c:v>-5.0420168067226703E-3</c:v>
                </c:pt>
                <c:pt idx="26675">
                  <c:v>-5.0420168067226703E-3</c:v>
                </c:pt>
                <c:pt idx="26676">
                  <c:v>-5.0420168067226703E-3</c:v>
                </c:pt>
                <c:pt idx="26677">
                  <c:v>-5.0420168067226703E-3</c:v>
                </c:pt>
                <c:pt idx="26678">
                  <c:v>-5.0420168067226703E-3</c:v>
                </c:pt>
                <c:pt idx="26679">
                  <c:v>-5.0420168067226703E-3</c:v>
                </c:pt>
                <c:pt idx="26680">
                  <c:v>-5.0420168067226703E-3</c:v>
                </c:pt>
                <c:pt idx="26681">
                  <c:v>-5.0420168067226703E-3</c:v>
                </c:pt>
                <c:pt idx="26682">
                  <c:v>-5.0420168067226703E-3</c:v>
                </c:pt>
                <c:pt idx="26683">
                  <c:v>-5.0420168067226703E-3</c:v>
                </c:pt>
                <c:pt idx="26684">
                  <c:v>-5.0420168067226703E-3</c:v>
                </c:pt>
                <c:pt idx="26685">
                  <c:v>-5.0420168067226703E-3</c:v>
                </c:pt>
                <c:pt idx="26686">
                  <c:v>-5.0420168067226703E-3</c:v>
                </c:pt>
                <c:pt idx="26687">
                  <c:v>-5.0420168067226703E-3</c:v>
                </c:pt>
                <c:pt idx="26688">
                  <c:v>-5.0420168067226703E-3</c:v>
                </c:pt>
                <c:pt idx="26689">
                  <c:v>-5.0420168067226703E-3</c:v>
                </c:pt>
                <c:pt idx="26690">
                  <c:v>-5.0420168067226703E-3</c:v>
                </c:pt>
                <c:pt idx="26691">
                  <c:v>-5.0420168067226703E-3</c:v>
                </c:pt>
                <c:pt idx="26692">
                  <c:v>-5.0420168067226703E-3</c:v>
                </c:pt>
                <c:pt idx="26693">
                  <c:v>-5.0420168067226703E-3</c:v>
                </c:pt>
                <c:pt idx="26694">
                  <c:v>-5.0420168067226703E-3</c:v>
                </c:pt>
                <c:pt idx="26695">
                  <c:v>-5.0420168067226703E-3</c:v>
                </c:pt>
                <c:pt idx="26696">
                  <c:v>-5.0420168067226703E-3</c:v>
                </c:pt>
                <c:pt idx="26697">
                  <c:v>-5.0420168067226703E-3</c:v>
                </c:pt>
                <c:pt idx="26698">
                  <c:v>-5.0420168067226703E-3</c:v>
                </c:pt>
                <c:pt idx="26699">
                  <c:v>-5.8823529411764497E-3</c:v>
                </c:pt>
                <c:pt idx="26700">
                  <c:v>-5.8823529411764497E-3</c:v>
                </c:pt>
                <c:pt idx="26701">
                  <c:v>-5.8823529411764497E-3</c:v>
                </c:pt>
                <c:pt idx="26702">
                  <c:v>-5.8823529411764497E-3</c:v>
                </c:pt>
                <c:pt idx="26703">
                  <c:v>-5.8823529411764497E-3</c:v>
                </c:pt>
                <c:pt idx="26704">
                  <c:v>-5.8823529411764497E-3</c:v>
                </c:pt>
                <c:pt idx="26705">
                  <c:v>-5.8823529411764497E-3</c:v>
                </c:pt>
                <c:pt idx="26706">
                  <c:v>-5.8823529411764497E-3</c:v>
                </c:pt>
                <c:pt idx="26707">
                  <c:v>-5.8823529411764497E-3</c:v>
                </c:pt>
                <c:pt idx="26708">
                  <c:v>-5.8823529411764497E-3</c:v>
                </c:pt>
                <c:pt idx="26709">
                  <c:v>-5.8823529411764497E-3</c:v>
                </c:pt>
                <c:pt idx="26710">
                  <c:v>-5.8823529411764497E-3</c:v>
                </c:pt>
                <c:pt idx="26711">
                  <c:v>-5.8823529411764497E-3</c:v>
                </c:pt>
                <c:pt idx="26712">
                  <c:v>-5.8823529411764497E-3</c:v>
                </c:pt>
                <c:pt idx="26713">
                  <c:v>-5.8823529411764497E-3</c:v>
                </c:pt>
                <c:pt idx="26714">
                  <c:v>-5.8823529411764497E-3</c:v>
                </c:pt>
                <c:pt idx="26715">
                  <c:v>-5.8823529411764497E-3</c:v>
                </c:pt>
                <c:pt idx="26716">
                  <c:v>-5.8823529411764497E-3</c:v>
                </c:pt>
                <c:pt idx="26717">
                  <c:v>-5.8823529411764497E-3</c:v>
                </c:pt>
                <c:pt idx="26718">
                  <c:v>-5.8823529411764497E-3</c:v>
                </c:pt>
                <c:pt idx="26719">
                  <c:v>-5.8823529411764497E-3</c:v>
                </c:pt>
                <c:pt idx="26720">
                  <c:v>-5.8823529411764497E-3</c:v>
                </c:pt>
                <c:pt idx="26721">
                  <c:v>-5.8823529411764497E-3</c:v>
                </c:pt>
                <c:pt idx="26722">
                  <c:v>-5.8823529411764497E-3</c:v>
                </c:pt>
                <c:pt idx="26723">
                  <c:v>-5.8823529411764497E-3</c:v>
                </c:pt>
                <c:pt idx="26724">
                  <c:v>-5.8823529411764497E-3</c:v>
                </c:pt>
                <c:pt idx="26725">
                  <c:v>-5.8823529411764497E-3</c:v>
                </c:pt>
                <c:pt idx="26726">
                  <c:v>-5.8823529411764497E-3</c:v>
                </c:pt>
                <c:pt idx="26727">
                  <c:v>-5.8823529411764497E-3</c:v>
                </c:pt>
                <c:pt idx="26728">
                  <c:v>-5.8823529411764497E-3</c:v>
                </c:pt>
                <c:pt idx="26729">
                  <c:v>-5.8823529411764497E-3</c:v>
                </c:pt>
                <c:pt idx="26730">
                  <c:v>-5.8823529411764497E-3</c:v>
                </c:pt>
                <c:pt idx="26731">
                  <c:v>-5.8823529411764497E-3</c:v>
                </c:pt>
                <c:pt idx="26732">
                  <c:v>-5.8823529411764497E-3</c:v>
                </c:pt>
                <c:pt idx="26733">
                  <c:v>-5.8823529411764497E-3</c:v>
                </c:pt>
                <c:pt idx="26734">
                  <c:v>-5.8823529411764497E-3</c:v>
                </c:pt>
                <c:pt idx="26735">
                  <c:v>-5.8823529411764497E-3</c:v>
                </c:pt>
                <c:pt idx="26736">
                  <c:v>-5.8823529411764497E-3</c:v>
                </c:pt>
                <c:pt idx="26737">
                  <c:v>-5.8823529411764497E-3</c:v>
                </c:pt>
                <c:pt idx="26738">
                  <c:v>-5.8823529411764497E-3</c:v>
                </c:pt>
                <c:pt idx="26739">
                  <c:v>-5.8823529411764497E-3</c:v>
                </c:pt>
                <c:pt idx="26740">
                  <c:v>-5.8823529411764497E-3</c:v>
                </c:pt>
                <c:pt idx="26741">
                  <c:v>-5.8823529411764497E-3</c:v>
                </c:pt>
                <c:pt idx="26742">
                  <c:v>-5.8823529411764497E-3</c:v>
                </c:pt>
                <c:pt idx="26743">
                  <c:v>-5.8823529411764497E-3</c:v>
                </c:pt>
                <c:pt idx="26744">
                  <c:v>-5.8823529411764497E-3</c:v>
                </c:pt>
                <c:pt idx="26745">
                  <c:v>-5.8823529411764497E-3</c:v>
                </c:pt>
                <c:pt idx="26746">
                  <c:v>-5.8823529411764497E-3</c:v>
                </c:pt>
                <c:pt idx="26747">
                  <c:v>-5.8823529411764497E-3</c:v>
                </c:pt>
                <c:pt idx="26748">
                  <c:v>-5.8823529411764497E-3</c:v>
                </c:pt>
                <c:pt idx="26749">
                  <c:v>-5.8823529411764497E-3</c:v>
                </c:pt>
                <c:pt idx="26750">
                  <c:v>-5.8823529411764497E-3</c:v>
                </c:pt>
                <c:pt idx="26751">
                  <c:v>-5.8823529411764497E-3</c:v>
                </c:pt>
                <c:pt idx="26752">
                  <c:v>-5.8823529411764497E-3</c:v>
                </c:pt>
                <c:pt idx="26753">
                  <c:v>-5.8823529411764497E-3</c:v>
                </c:pt>
                <c:pt idx="26754">
                  <c:v>-5.8823529411764497E-3</c:v>
                </c:pt>
                <c:pt idx="26755">
                  <c:v>-5.8823529411764497E-3</c:v>
                </c:pt>
                <c:pt idx="26756">
                  <c:v>-5.8823529411764497E-3</c:v>
                </c:pt>
                <c:pt idx="26757">
                  <c:v>-5.8823529411764497E-3</c:v>
                </c:pt>
                <c:pt idx="26758">
                  <c:v>-5.8823529411764497E-3</c:v>
                </c:pt>
                <c:pt idx="26759">
                  <c:v>-5.8823529411764497E-3</c:v>
                </c:pt>
                <c:pt idx="26760">
                  <c:v>-5.8823529411764497E-3</c:v>
                </c:pt>
                <c:pt idx="26761">
                  <c:v>-5.8823529411764497E-3</c:v>
                </c:pt>
                <c:pt idx="26762">
                  <c:v>-5.8823529411764497E-3</c:v>
                </c:pt>
                <c:pt idx="26763">
                  <c:v>-5.8823529411764497E-3</c:v>
                </c:pt>
                <c:pt idx="26764">
                  <c:v>-5.8823529411764497E-3</c:v>
                </c:pt>
                <c:pt idx="26765">
                  <c:v>-6.7226890756302204E-3</c:v>
                </c:pt>
                <c:pt idx="26766">
                  <c:v>-6.7226890756302204E-3</c:v>
                </c:pt>
                <c:pt idx="26767">
                  <c:v>-6.7226890756302204E-3</c:v>
                </c:pt>
                <c:pt idx="26768">
                  <c:v>-6.7226890756302204E-3</c:v>
                </c:pt>
                <c:pt idx="26769">
                  <c:v>-6.7226890756302204E-3</c:v>
                </c:pt>
                <c:pt idx="26770">
                  <c:v>-6.7226890756302204E-3</c:v>
                </c:pt>
                <c:pt idx="26771">
                  <c:v>-6.7226890756302204E-3</c:v>
                </c:pt>
                <c:pt idx="26772">
                  <c:v>-6.7226890756302204E-3</c:v>
                </c:pt>
                <c:pt idx="26773">
                  <c:v>-5.8823529411764497E-3</c:v>
                </c:pt>
                <c:pt idx="26774">
                  <c:v>-5.8823529411764497E-3</c:v>
                </c:pt>
                <c:pt idx="26775">
                  <c:v>-5.8823529411764497E-3</c:v>
                </c:pt>
                <c:pt idx="26776">
                  <c:v>-5.8823529411764497E-3</c:v>
                </c:pt>
                <c:pt idx="26777">
                  <c:v>-5.8823529411764497E-3</c:v>
                </c:pt>
                <c:pt idx="26778">
                  <c:v>-5.8823529411764497E-3</c:v>
                </c:pt>
                <c:pt idx="26779">
                  <c:v>-5.8823529411764497E-3</c:v>
                </c:pt>
                <c:pt idx="26780">
                  <c:v>-5.8823529411764497E-3</c:v>
                </c:pt>
                <c:pt idx="26781">
                  <c:v>-5.8823529411764497E-3</c:v>
                </c:pt>
                <c:pt idx="26782">
                  <c:v>-5.8823529411764497E-3</c:v>
                </c:pt>
                <c:pt idx="26783">
                  <c:v>-5.8823529411764497E-3</c:v>
                </c:pt>
                <c:pt idx="26784">
                  <c:v>-5.8823529411764497E-3</c:v>
                </c:pt>
                <c:pt idx="26785">
                  <c:v>-5.8823529411764497E-3</c:v>
                </c:pt>
                <c:pt idx="26786">
                  <c:v>-5.8823529411764497E-3</c:v>
                </c:pt>
                <c:pt idx="26787">
                  <c:v>-5.8823529411764497E-3</c:v>
                </c:pt>
                <c:pt idx="26788">
                  <c:v>-5.8823529411764497E-3</c:v>
                </c:pt>
                <c:pt idx="26789">
                  <c:v>-5.8823529411764497E-3</c:v>
                </c:pt>
                <c:pt idx="26790">
                  <c:v>-5.8823529411764497E-3</c:v>
                </c:pt>
                <c:pt idx="26791">
                  <c:v>-5.8823529411764497E-3</c:v>
                </c:pt>
                <c:pt idx="26792">
                  <c:v>-5.8823529411764497E-3</c:v>
                </c:pt>
                <c:pt idx="26793">
                  <c:v>-5.8823529411764497E-3</c:v>
                </c:pt>
                <c:pt idx="26794">
                  <c:v>-5.8823529411764497E-3</c:v>
                </c:pt>
                <c:pt idx="26795">
                  <c:v>-5.8823529411764497E-3</c:v>
                </c:pt>
                <c:pt idx="26796">
                  <c:v>-5.8823529411764497E-3</c:v>
                </c:pt>
                <c:pt idx="26797">
                  <c:v>-5.8823529411764497E-3</c:v>
                </c:pt>
                <c:pt idx="26798">
                  <c:v>-5.8823529411764497E-3</c:v>
                </c:pt>
                <c:pt idx="26799">
                  <c:v>-5.8823529411764497E-3</c:v>
                </c:pt>
                <c:pt idx="26800">
                  <c:v>-5.8823529411764497E-3</c:v>
                </c:pt>
                <c:pt idx="26801">
                  <c:v>-5.8823529411764497E-3</c:v>
                </c:pt>
                <c:pt idx="26802">
                  <c:v>-5.8823529411764497E-3</c:v>
                </c:pt>
                <c:pt idx="26803">
                  <c:v>-5.8823529411764497E-3</c:v>
                </c:pt>
                <c:pt idx="26804">
                  <c:v>-5.8823529411764497E-3</c:v>
                </c:pt>
                <c:pt idx="26805">
                  <c:v>-5.8823529411764497E-3</c:v>
                </c:pt>
                <c:pt idx="26806">
                  <c:v>-5.8823529411764497E-3</c:v>
                </c:pt>
                <c:pt idx="26807">
                  <c:v>-5.8823529411764497E-3</c:v>
                </c:pt>
                <c:pt idx="26808">
                  <c:v>-5.8823529411764497E-3</c:v>
                </c:pt>
                <c:pt idx="26809">
                  <c:v>-5.8823529411764497E-3</c:v>
                </c:pt>
                <c:pt idx="26810">
                  <c:v>-5.8823529411764497E-3</c:v>
                </c:pt>
                <c:pt idx="26811">
                  <c:v>-5.8823529411764497E-3</c:v>
                </c:pt>
                <c:pt idx="26812">
                  <c:v>-5.8823529411764497E-3</c:v>
                </c:pt>
                <c:pt idx="26813">
                  <c:v>-5.8823529411764497E-3</c:v>
                </c:pt>
                <c:pt idx="26814">
                  <c:v>-5.8823529411764497E-3</c:v>
                </c:pt>
                <c:pt idx="26815">
                  <c:v>-5.8823529411764497E-3</c:v>
                </c:pt>
                <c:pt idx="26816">
                  <c:v>-5.8823529411764497E-3</c:v>
                </c:pt>
                <c:pt idx="26817">
                  <c:v>-5.8823529411764497E-3</c:v>
                </c:pt>
                <c:pt idx="26818">
                  <c:v>-5.8823529411764497E-3</c:v>
                </c:pt>
                <c:pt idx="26819">
                  <c:v>-5.8823529411764497E-3</c:v>
                </c:pt>
                <c:pt idx="26820">
                  <c:v>-6.7226890756302204E-3</c:v>
                </c:pt>
                <c:pt idx="26821">
                  <c:v>-6.7226890756302204E-3</c:v>
                </c:pt>
                <c:pt idx="26822">
                  <c:v>-6.7226890756302204E-3</c:v>
                </c:pt>
                <c:pt idx="26823">
                  <c:v>-6.7226890756302204E-3</c:v>
                </c:pt>
                <c:pt idx="26824">
                  <c:v>-6.7226890756302204E-3</c:v>
                </c:pt>
                <c:pt idx="26825">
                  <c:v>-6.7226890756302204E-3</c:v>
                </c:pt>
                <c:pt idx="26826">
                  <c:v>-6.7226890756302204E-3</c:v>
                </c:pt>
                <c:pt idx="26827">
                  <c:v>-6.7226890756302204E-3</c:v>
                </c:pt>
                <c:pt idx="26828">
                  <c:v>-6.7226890756302204E-3</c:v>
                </c:pt>
                <c:pt idx="26829">
                  <c:v>-6.7226890756302204E-3</c:v>
                </c:pt>
                <c:pt idx="26830">
                  <c:v>-6.7226890756302204E-3</c:v>
                </c:pt>
                <c:pt idx="26831">
                  <c:v>-6.7226890756302204E-3</c:v>
                </c:pt>
                <c:pt idx="26832">
                  <c:v>-6.7226890756302204E-3</c:v>
                </c:pt>
                <c:pt idx="26833">
                  <c:v>-6.7226890756302204E-3</c:v>
                </c:pt>
                <c:pt idx="26834">
                  <c:v>-6.7226890756302204E-3</c:v>
                </c:pt>
                <c:pt idx="26835">
                  <c:v>-6.7226890756302204E-3</c:v>
                </c:pt>
                <c:pt idx="26836">
                  <c:v>-6.7226890756302204E-3</c:v>
                </c:pt>
                <c:pt idx="26837">
                  <c:v>-6.7226890756302204E-3</c:v>
                </c:pt>
                <c:pt idx="26838">
                  <c:v>-6.7226890756302204E-3</c:v>
                </c:pt>
                <c:pt idx="26839">
                  <c:v>-6.7226890756302204E-3</c:v>
                </c:pt>
                <c:pt idx="26840">
                  <c:v>-6.7226890756302204E-3</c:v>
                </c:pt>
                <c:pt idx="26841">
                  <c:v>-6.7226890756302204E-3</c:v>
                </c:pt>
                <c:pt idx="26842">
                  <c:v>-6.7226890756302204E-3</c:v>
                </c:pt>
                <c:pt idx="26843">
                  <c:v>-6.7226890756302204E-3</c:v>
                </c:pt>
                <c:pt idx="26844">
                  <c:v>-6.7226890756302204E-3</c:v>
                </c:pt>
                <c:pt idx="26845">
                  <c:v>-6.7226890756302204E-3</c:v>
                </c:pt>
                <c:pt idx="26846">
                  <c:v>-6.7226890756302204E-3</c:v>
                </c:pt>
                <c:pt idx="26847">
                  <c:v>-6.7226890756302204E-3</c:v>
                </c:pt>
                <c:pt idx="26848">
                  <c:v>-6.7226890756302204E-3</c:v>
                </c:pt>
                <c:pt idx="26849">
                  <c:v>-6.7226890756302204E-3</c:v>
                </c:pt>
                <c:pt idx="26850">
                  <c:v>-6.7226890756302204E-3</c:v>
                </c:pt>
                <c:pt idx="26851">
                  <c:v>-6.7226890756302204E-3</c:v>
                </c:pt>
                <c:pt idx="26852">
                  <c:v>-6.7226890756302204E-3</c:v>
                </c:pt>
                <c:pt idx="26853">
                  <c:v>-6.7226890756302204E-3</c:v>
                </c:pt>
                <c:pt idx="26854">
                  <c:v>-7.5630252100839998E-3</c:v>
                </c:pt>
                <c:pt idx="26855">
                  <c:v>-7.5630252100839998E-3</c:v>
                </c:pt>
                <c:pt idx="26856">
                  <c:v>-7.5630252100839998E-3</c:v>
                </c:pt>
                <c:pt idx="26857">
                  <c:v>-7.5630252100839998E-3</c:v>
                </c:pt>
                <c:pt idx="26858">
                  <c:v>-7.5630252100839998E-3</c:v>
                </c:pt>
                <c:pt idx="26859">
                  <c:v>-7.5630252100839998E-3</c:v>
                </c:pt>
                <c:pt idx="26860">
                  <c:v>-7.5630252100839998E-3</c:v>
                </c:pt>
                <c:pt idx="26861">
                  <c:v>-7.5630252100839998E-3</c:v>
                </c:pt>
                <c:pt idx="26862">
                  <c:v>-7.5630252100839998E-3</c:v>
                </c:pt>
                <c:pt idx="26863">
                  <c:v>-7.5630252100839998E-3</c:v>
                </c:pt>
                <c:pt idx="26864">
                  <c:v>-7.5630252100839998E-3</c:v>
                </c:pt>
                <c:pt idx="26865">
                  <c:v>-7.5630252100839998E-3</c:v>
                </c:pt>
                <c:pt idx="26866">
                  <c:v>-7.5630252100839998E-3</c:v>
                </c:pt>
                <c:pt idx="26867">
                  <c:v>-7.5630252100839998E-3</c:v>
                </c:pt>
                <c:pt idx="26868">
                  <c:v>-8.4033613445377801E-3</c:v>
                </c:pt>
                <c:pt idx="26869">
                  <c:v>-8.4033613445377801E-3</c:v>
                </c:pt>
                <c:pt idx="26870">
                  <c:v>-8.4033613445377801E-3</c:v>
                </c:pt>
                <c:pt idx="26871">
                  <c:v>-8.4033613445377801E-3</c:v>
                </c:pt>
                <c:pt idx="26872">
                  <c:v>-8.4033613445377801E-3</c:v>
                </c:pt>
                <c:pt idx="26873">
                  <c:v>-8.4033613445377801E-3</c:v>
                </c:pt>
                <c:pt idx="26874">
                  <c:v>-8.4033613445377801E-3</c:v>
                </c:pt>
                <c:pt idx="26875">
                  <c:v>-8.4033613445377801E-3</c:v>
                </c:pt>
                <c:pt idx="26876">
                  <c:v>-8.4033613445377801E-3</c:v>
                </c:pt>
                <c:pt idx="26877">
                  <c:v>-8.4033613445377801E-3</c:v>
                </c:pt>
                <c:pt idx="26878">
                  <c:v>-8.4033613445377801E-3</c:v>
                </c:pt>
                <c:pt idx="26879">
                  <c:v>-8.4033613445377801E-3</c:v>
                </c:pt>
                <c:pt idx="26880">
                  <c:v>-8.4033613445377801E-3</c:v>
                </c:pt>
                <c:pt idx="26881">
                  <c:v>-9.2436974789915603E-3</c:v>
                </c:pt>
                <c:pt idx="26882">
                  <c:v>-8.4033613445377801E-3</c:v>
                </c:pt>
                <c:pt idx="26883">
                  <c:v>-8.4033613445377801E-3</c:v>
                </c:pt>
                <c:pt idx="26884">
                  <c:v>-8.4033613445377801E-3</c:v>
                </c:pt>
                <c:pt idx="26885">
                  <c:v>-8.4033613445377801E-3</c:v>
                </c:pt>
                <c:pt idx="26886">
                  <c:v>-8.4033613445377801E-3</c:v>
                </c:pt>
                <c:pt idx="26887">
                  <c:v>-8.4033613445377801E-3</c:v>
                </c:pt>
                <c:pt idx="26888">
                  <c:v>-8.4033613445377801E-3</c:v>
                </c:pt>
                <c:pt idx="26889">
                  <c:v>-8.4033613445377801E-3</c:v>
                </c:pt>
                <c:pt idx="26890">
                  <c:v>-8.4033613445377801E-3</c:v>
                </c:pt>
                <c:pt idx="26891">
                  <c:v>-7.5630252100839998E-3</c:v>
                </c:pt>
                <c:pt idx="26892">
                  <c:v>-7.5630252100839998E-3</c:v>
                </c:pt>
                <c:pt idx="26893">
                  <c:v>-7.5630252100839998E-3</c:v>
                </c:pt>
                <c:pt idx="26894">
                  <c:v>-7.5630252100839998E-3</c:v>
                </c:pt>
                <c:pt idx="26895">
                  <c:v>-7.5630252100839998E-3</c:v>
                </c:pt>
                <c:pt idx="26896">
                  <c:v>-7.5630252100839998E-3</c:v>
                </c:pt>
                <c:pt idx="26897">
                  <c:v>-7.5630252100839998E-3</c:v>
                </c:pt>
                <c:pt idx="26898">
                  <c:v>-7.5630252100839998E-3</c:v>
                </c:pt>
                <c:pt idx="26899">
                  <c:v>-7.5630252100839998E-3</c:v>
                </c:pt>
                <c:pt idx="26900">
                  <c:v>-7.5630252100839998E-3</c:v>
                </c:pt>
                <c:pt idx="26901">
                  <c:v>-6.7226890756302204E-3</c:v>
                </c:pt>
                <c:pt idx="26902">
                  <c:v>-6.7226890756302204E-3</c:v>
                </c:pt>
                <c:pt idx="26903">
                  <c:v>-6.7226890756302204E-3</c:v>
                </c:pt>
                <c:pt idx="26904">
                  <c:v>-6.7226890756302204E-3</c:v>
                </c:pt>
                <c:pt idx="26905">
                  <c:v>-6.7226890756302204E-3</c:v>
                </c:pt>
                <c:pt idx="26906">
                  <c:v>-6.7226890756302204E-3</c:v>
                </c:pt>
                <c:pt idx="26907">
                  <c:v>-6.7226890756302204E-3</c:v>
                </c:pt>
                <c:pt idx="26908">
                  <c:v>-6.7226890756302204E-3</c:v>
                </c:pt>
                <c:pt idx="26909">
                  <c:v>-6.7226890756302204E-3</c:v>
                </c:pt>
                <c:pt idx="26910">
                  <c:v>-6.7226890756302204E-3</c:v>
                </c:pt>
                <c:pt idx="26911">
                  <c:v>-6.7226890756302204E-3</c:v>
                </c:pt>
                <c:pt idx="26912">
                  <c:v>-6.7226890756302204E-3</c:v>
                </c:pt>
                <c:pt idx="26913">
                  <c:v>-6.7226890756302204E-3</c:v>
                </c:pt>
                <c:pt idx="26914">
                  <c:v>-6.7226890756302204E-3</c:v>
                </c:pt>
                <c:pt idx="26915">
                  <c:v>-6.7226890756302204E-3</c:v>
                </c:pt>
                <c:pt idx="26916">
                  <c:v>-6.7226890756302204E-3</c:v>
                </c:pt>
                <c:pt idx="26917">
                  <c:v>-6.7226890756302204E-3</c:v>
                </c:pt>
                <c:pt idx="26918">
                  <c:v>-6.7226890756302204E-3</c:v>
                </c:pt>
                <c:pt idx="26919">
                  <c:v>-6.7226890756302204E-3</c:v>
                </c:pt>
                <c:pt idx="26920">
                  <c:v>-6.7226890756302204E-3</c:v>
                </c:pt>
                <c:pt idx="26921">
                  <c:v>-6.7226890756302204E-3</c:v>
                </c:pt>
                <c:pt idx="26922">
                  <c:v>-6.7226890756302204E-3</c:v>
                </c:pt>
                <c:pt idx="26923">
                  <c:v>-6.7226890756302204E-3</c:v>
                </c:pt>
                <c:pt idx="26924">
                  <c:v>-6.7226890756302204E-3</c:v>
                </c:pt>
                <c:pt idx="26925">
                  <c:v>-6.7226890756302204E-3</c:v>
                </c:pt>
                <c:pt idx="26926">
                  <c:v>-6.7226890756302204E-3</c:v>
                </c:pt>
                <c:pt idx="26927">
                  <c:v>-6.7226890756302204E-3</c:v>
                </c:pt>
                <c:pt idx="26928">
                  <c:v>-6.7226890756302204E-3</c:v>
                </c:pt>
                <c:pt idx="26929">
                  <c:v>-6.7226890756302204E-3</c:v>
                </c:pt>
                <c:pt idx="26930">
                  <c:v>-6.7226890756302204E-3</c:v>
                </c:pt>
                <c:pt idx="26931">
                  <c:v>-6.7226890756302204E-3</c:v>
                </c:pt>
                <c:pt idx="26932">
                  <c:v>-6.7226890756302204E-3</c:v>
                </c:pt>
                <c:pt idx="26933">
                  <c:v>-6.7226890756302204E-3</c:v>
                </c:pt>
                <c:pt idx="26934">
                  <c:v>-5.8823529411764497E-3</c:v>
                </c:pt>
                <c:pt idx="26935">
                  <c:v>-5.8823529411764497E-3</c:v>
                </c:pt>
                <c:pt idx="26936">
                  <c:v>-5.8823529411764497E-3</c:v>
                </c:pt>
                <c:pt idx="26937">
                  <c:v>-5.8823529411764497E-3</c:v>
                </c:pt>
                <c:pt idx="26938">
                  <c:v>-5.8823529411764497E-3</c:v>
                </c:pt>
                <c:pt idx="26939">
                  <c:v>-5.8823529411764497E-3</c:v>
                </c:pt>
                <c:pt idx="26940">
                  <c:v>-5.8823529411764497E-3</c:v>
                </c:pt>
                <c:pt idx="26941">
                  <c:v>-5.8823529411764497E-3</c:v>
                </c:pt>
                <c:pt idx="26942">
                  <c:v>-5.8823529411764497E-3</c:v>
                </c:pt>
                <c:pt idx="26943">
                  <c:v>-5.8823529411764497E-3</c:v>
                </c:pt>
                <c:pt idx="26944">
                  <c:v>-5.8823529411764497E-3</c:v>
                </c:pt>
                <c:pt idx="26945">
                  <c:v>-5.8823529411764497E-3</c:v>
                </c:pt>
                <c:pt idx="26946">
                  <c:v>-5.8823529411764497E-3</c:v>
                </c:pt>
                <c:pt idx="26947">
                  <c:v>-5.8823529411764497E-3</c:v>
                </c:pt>
                <c:pt idx="26948">
                  <c:v>-5.8823529411764497E-3</c:v>
                </c:pt>
                <c:pt idx="26949">
                  <c:v>-5.8823529411764497E-3</c:v>
                </c:pt>
                <c:pt idx="26950">
                  <c:v>-5.8823529411764497E-3</c:v>
                </c:pt>
                <c:pt idx="26951">
                  <c:v>-5.8823529411764497E-3</c:v>
                </c:pt>
                <c:pt idx="26952">
                  <c:v>-5.8823529411764497E-3</c:v>
                </c:pt>
                <c:pt idx="26953">
                  <c:v>-5.8823529411764497E-3</c:v>
                </c:pt>
                <c:pt idx="26954">
                  <c:v>-5.8823529411764497E-3</c:v>
                </c:pt>
                <c:pt idx="26955">
                  <c:v>-5.8823529411764497E-3</c:v>
                </c:pt>
                <c:pt idx="26956">
                  <c:v>-5.8823529411764497E-3</c:v>
                </c:pt>
                <c:pt idx="26957">
                  <c:v>-5.8823529411764497E-3</c:v>
                </c:pt>
                <c:pt idx="26958">
                  <c:v>-5.8823529411764497E-3</c:v>
                </c:pt>
                <c:pt idx="26959">
                  <c:v>-5.8823529411764497E-3</c:v>
                </c:pt>
                <c:pt idx="26960">
                  <c:v>-5.8823529411764497E-3</c:v>
                </c:pt>
                <c:pt idx="26961">
                  <c:v>-5.8823529411764497E-3</c:v>
                </c:pt>
                <c:pt idx="26962">
                  <c:v>-5.8823529411764497E-3</c:v>
                </c:pt>
                <c:pt idx="26963">
                  <c:v>-5.8823529411764497E-3</c:v>
                </c:pt>
                <c:pt idx="26964">
                  <c:v>-5.8823529411764497E-3</c:v>
                </c:pt>
                <c:pt idx="26965">
                  <c:v>-5.8823529411764497E-3</c:v>
                </c:pt>
                <c:pt idx="26966">
                  <c:v>-5.8823529411764497E-3</c:v>
                </c:pt>
                <c:pt idx="26967">
                  <c:v>-5.8823529411764497E-3</c:v>
                </c:pt>
                <c:pt idx="26968">
                  <c:v>-5.8823529411764497E-3</c:v>
                </c:pt>
                <c:pt idx="26969">
                  <c:v>-5.8823529411764497E-3</c:v>
                </c:pt>
                <c:pt idx="26970">
                  <c:v>-5.8823529411764497E-3</c:v>
                </c:pt>
                <c:pt idx="26971">
                  <c:v>-5.8823529411764497E-3</c:v>
                </c:pt>
                <c:pt idx="26972">
                  <c:v>-5.8823529411764497E-3</c:v>
                </c:pt>
                <c:pt idx="26973">
                  <c:v>-6.7226890756302204E-3</c:v>
                </c:pt>
                <c:pt idx="26974">
                  <c:v>-6.7226890756302204E-3</c:v>
                </c:pt>
                <c:pt idx="26975">
                  <c:v>-6.7226890756302204E-3</c:v>
                </c:pt>
                <c:pt idx="26976">
                  <c:v>-6.7226890756302204E-3</c:v>
                </c:pt>
                <c:pt idx="26977">
                  <c:v>-6.7226890756302204E-3</c:v>
                </c:pt>
                <c:pt idx="26978">
                  <c:v>-6.7226890756302204E-3</c:v>
                </c:pt>
                <c:pt idx="26979">
                  <c:v>-6.7226890756302204E-3</c:v>
                </c:pt>
                <c:pt idx="26980">
                  <c:v>-6.7226890756302204E-3</c:v>
                </c:pt>
                <c:pt idx="26981">
                  <c:v>-6.7226890756302204E-3</c:v>
                </c:pt>
                <c:pt idx="26982">
                  <c:v>-6.7226890756302204E-3</c:v>
                </c:pt>
                <c:pt idx="26983">
                  <c:v>-6.7226890756302204E-3</c:v>
                </c:pt>
                <c:pt idx="26984">
                  <c:v>-6.7226890756302204E-3</c:v>
                </c:pt>
                <c:pt idx="26985">
                  <c:v>-6.7226890756302204E-3</c:v>
                </c:pt>
                <c:pt idx="26986">
                  <c:v>-6.7226890756302204E-3</c:v>
                </c:pt>
                <c:pt idx="26987">
                  <c:v>-6.7226890756302204E-3</c:v>
                </c:pt>
                <c:pt idx="26988">
                  <c:v>-6.7226890756302204E-3</c:v>
                </c:pt>
                <c:pt idx="26989">
                  <c:v>-6.7226890756302204E-3</c:v>
                </c:pt>
                <c:pt idx="26990">
                  <c:v>-6.7226890756302204E-3</c:v>
                </c:pt>
                <c:pt idx="26991">
                  <c:v>-7.5630252100839998E-3</c:v>
                </c:pt>
                <c:pt idx="26992">
                  <c:v>-7.5630252100839998E-3</c:v>
                </c:pt>
                <c:pt idx="26993">
                  <c:v>-7.5630252100839998E-3</c:v>
                </c:pt>
                <c:pt idx="26994">
                  <c:v>-7.5630252100839998E-3</c:v>
                </c:pt>
                <c:pt idx="26995">
                  <c:v>-7.5630252100839998E-3</c:v>
                </c:pt>
                <c:pt idx="26996">
                  <c:v>-7.5630252100839998E-3</c:v>
                </c:pt>
                <c:pt idx="26997">
                  <c:v>-7.5630252100839998E-3</c:v>
                </c:pt>
                <c:pt idx="26998">
                  <c:v>-7.5630252100839998E-3</c:v>
                </c:pt>
                <c:pt idx="26999">
                  <c:v>-7.5630252100839998E-3</c:v>
                </c:pt>
                <c:pt idx="27000">
                  <c:v>-7.5630252100839998E-3</c:v>
                </c:pt>
                <c:pt idx="27001">
                  <c:v>-7.5630252100839998E-3</c:v>
                </c:pt>
                <c:pt idx="27002">
                  <c:v>-7.5630252100839998E-3</c:v>
                </c:pt>
                <c:pt idx="27003">
                  <c:v>-7.5630252100839998E-3</c:v>
                </c:pt>
                <c:pt idx="27004">
                  <c:v>-7.5630252100839998E-3</c:v>
                </c:pt>
                <c:pt idx="27005">
                  <c:v>-7.5630252100839998E-3</c:v>
                </c:pt>
                <c:pt idx="27006">
                  <c:v>-7.5630252100839998E-3</c:v>
                </c:pt>
                <c:pt idx="27007">
                  <c:v>-7.5630252100839998E-3</c:v>
                </c:pt>
                <c:pt idx="27008">
                  <c:v>-7.5630252100839998E-3</c:v>
                </c:pt>
                <c:pt idx="27009">
                  <c:v>-7.5630252100839998E-3</c:v>
                </c:pt>
                <c:pt idx="27010">
                  <c:v>-7.5630252100839998E-3</c:v>
                </c:pt>
                <c:pt idx="27011">
                  <c:v>-7.5630252100839998E-3</c:v>
                </c:pt>
                <c:pt idx="27012">
                  <c:v>-7.5630252100839998E-3</c:v>
                </c:pt>
                <c:pt idx="27013">
                  <c:v>-7.5630252100839998E-3</c:v>
                </c:pt>
                <c:pt idx="27014">
                  <c:v>-7.5630252100839998E-3</c:v>
                </c:pt>
                <c:pt idx="27015">
                  <c:v>-7.5630252100839998E-3</c:v>
                </c:pt>
                <c:pt idx="27016">
                  <c:v>-7.5630252100839998E-3</c:v>
                </c:pt>
                <c:pt idx="27017">
                  <c:v>-7.5630252100839998E-3</c:v>
                </c:pt>
                <c:pt idx="27018">
                  <c:v>-7.5630252100839998E-3</c:v>
                </c:pt>
                <c:pt idx="27019">
                  <c:v>-7.5630252100839998E-3</c:v>
                </c:pt>
                <c:pt idx="27020">
                  <c:v>-7.5630252100839998E-3</c:v>
                </c:pt>
                <c:pt idx="27021">
                  <c:v>-7.5630252100839998E-3</c:v>
                </c:pt>
                <c:pt idx="27022">
                  <c:v>-6.7226890756302204E-3</c:v>
                </c:pt>
                <c:pt idx="27023">
                  <c:v>-6.7226890756302204E-3</c:v>
                </c:pt>
                <c:pt idx="27024">
                  <c:v>-6.7226890756302204E-3</c:v>
                </c:pt>
                <c:pt idx="27025">
                  <c:v>-6.7226890756302204E-3</c:v>
                </c:pt>
                <c:pt idx="27026">
                  <c:v>-5.8823529411764497E-3</c:v>
                </c:pt>
                <c:pt idx="27027">
                  <c:v>-5.8823529411764497E-3</c:v>
                </c:pt>
                <c:pt idx="27028">
                  <c:v>-5.8823529411764497E-3</c:v>
                </c:pt>
                <c:pt idx="27029">
                  <c:v>-5.8823529411764497E-3</c:v>
                </c:pt>
                <c:pt idx="27030">
                  <c:v>-5.8823529411764497E-3</c:v>
                </c:pt>
                <c:pt idx="27031">
                  <c:v>-5.8823529411764497E-3</c:v>
                </c:pt>
                <c:pt idx="27032">
                  <c:v>-5.8823529411764497E-3</c:v>
                </c:pt>
                <c:pt idx="27033">
                  <c:v>-5.8823529411764497E-3</c:v>
                </c:pt>
                <c:pt idx="27034">
                  <c:v>-5.8823529411764497E-3</c:v>
                </c:pt>
                <c:pt idx="27035">
                  <c:v>-5.8823529411764497E-3</c:v>
                </c:pt>
                <c:pt idx="27036">
                  <c:v>-5.8823529411764497E-3</c:v>
                </c:pt>
                <c:pt idx="27037">
                  <c:v>-5.8823529411764497E-3</c:v>
                </c:pt>
                <c:pt idx="27038">
                  <c:v>-5.8823529411764497E-3</c:v>
                </c:pt>
                <c:pt idx="27039">
                  <c:v>-5.8823529411764497E-3</c:v>
                </c:pt>
                <c:pt idx="27040">
                  <c:v>-5.8823529411764497E-3</c:v>
                </c:pt>
                <c:pt idx="27041">
                  <c:v>-5.8823529411764497E-3</c:v>
                </c:pt>
                <c:pt idx="27042">
                  <c:v>-5.8823529411764497E-3</c:v>
                </c:pt>
                <c:pt idx="27043">
                  <c:v>-5.8823529411764497E-3</c:v>
                </c:pt>
                <c:pt idx="27044">
                  <c:v>-5.8823529411764497E-3</c:v>
                </c:pt>
                <c:pt idx="27045">
                  <c:v>-5.8823529411764497E-3</c:v>
                </c:pt>
                <c:pt idx="27046">
                  <c:v>-5.8823529411764497E-3</c:v>
                </c:pt>
                <c:pt idx="27047">
                  <c:v>-5.8823529411764497E-3</c:v>
                </c:pt>
                <c:pt idx="27048">
                  <c:v>-5.8823529411764497E-3</c:v>
                </c:pt>
                <c:pt idx="27049">
                  <c:v>-5.8823529411764497E-3</c:v>
                </c:pt>
                <c:pt idx="27050">
                  <c:v>-5.8823529411764497E-3</c:v>
                </c:pt>
                <c:pt idx="27051">
                  <c:v>-5.8823529411764497E-3</c:v>
                </c:pt>
                <c:pt idx="27052">
                  <c:v>-5.8823529411764497E-3</c:v>
                </c:pt>
                <c:pt idx="27053">
                  <c:v>-5.8823529411764497E-3</c:v>
                </c:pt>
                <c:pt idx="27054">
                  <c:v>-5.8823529411764497E-3</c:v>
                </c:pt>
                <c:pt idx="27055">
                  <c:v>-5.8823529411764497E-3</c:v>
                </c:pt>
                <c:pt idx="27056">
                  <c:v>-5.8823529411764497E-3</c:v>
                </c:pt>
                <c:pt idx="27057">
                  <c:v>-5.8823529411764497E-3</c:v>
                </c:pt>
                <c:pt idx="27058">
                  <c:v>-5.8823529411764497E-3</c:v>
                </c:pt>
                <c:pt idx="27059">
                  <c:v>-5.8823529411764497E-3</c:v>
                </c:pt>
                <c:pt idx="27060">
                  <c:v>-5.8823529411764497E-3</c:v>
                </c:pt>
                <c:pt idx="27061">
                  <c:v>-5.8823529411764497E-3</c:v>
                </c:pt>
                <c:pt idx="27062">
                  <c:v>-5.8823529411764497E-3</c:v>
                </c:pt>
                <c:pt idx="27063">
                  <c:v>-5.8823529411764497E-3</c:v>
                </c:pt>
                <c:pt idx="27064">
                  <c:v>-5.8823529411764497E-3</c:v>
                </c:pt>
                <c:pt idx="27065">
                  <c:v>-5.8823529411764497E-3</c:v>
                </c:pt>
                <c:pt idx="27066">
                  <c:v>-5.8823529411764497E-3</c:v>
                </c:pt>
                <c:pt idx="27067">
                  <c:v>-5.8823529411764497E-3</c:v>
                </c:pt>
                <c:pt idx="27068">
                  <c:v>-5.8823529411764497E-3</c:v>
                </c:pt>
                <c:pt idx="27069">
                  <c:v>-5.8823529411764497E-3</c:v>
                </c:pt>
                <c:pt idx="27070">
                  <c:v>-5.8823529411764497E-3</c:v>
                </c:pt>
                <c:pt idx="27071">
                  <c:v>-5.8823529411764497E-3</c:v>
                </c:pt>
                <c:pt idx="27072">
                  <c:v>-5.8823529411764497E-3</c:v>
                </c:pt>
                <c:pt idx="27073">
                  <c:v>-5.8823529411764497E-3</c:v>
                </c:pt>
                <c:pt idx="27074">
                  <c:v>-5.8823529411764497E-3</c:v>
                </c:pt>
                <c:pt idx="27075">
                  <c:v>-5.8823529411764497E-3</c:v>
                </c:pt>
                <c:pt idx="27076">
                  <c:v>-5.8823529411764497E-3</c:v>
                </c:pt>
                <c:pt idx="27077">
                  <c:v>-5.8823529411764497E-3</c:v>
                </c:pt>
                <c:pt idx="27078">
                  <c:v>-5.8823529411764497E-3</c:v>
                </c:pt>
                <c:pt idx="27079">
                  <c:v>-5.8823529411764497E-3</c:v>
                </c:pt>
                <c:pt idx="27080">
                  <c:v>-5.8823529411764497E-3</c:v>
                </c:pt>
                <c:pt idx="27081">
                  <c:v>-5.8823529411764497E-3</c:v>
                </c:pt>
                <c:pt idx="27082">
                  <c:v>-5.8823529411764497E-3</c:v>
                </c:pt>
                <c:pt idx="27083">
                  <c:v>-5.8823529411764497E-3</c:v>
                </c:pt>
                <c:pt idx="27084">
                  <c:v>-5.8823529411764497E-3</c:v>
                </c:pt>
                <c:pt idx="27085">
                  <c:v>-5.8823529411764497E-3</c:v>
                </c:pt>
                <c:pt idx="27086">
                  <c:v>-5.8823529411764497E-3</c:v>
                </c:pt>
                <c:pt idx="27087">
                  <c:v>-5.8823529411764497E-3</c:v>
                </c:pt>
                <c:pt idx="27088">
                  <c:v>-5.8823529411764497E-3</c:v>
                </c:pt>
                <c:pt idx="27089">
                  <c:v>-5.8823529411764497E-3</c:v>
                </c:pt>
                <c:pt idx="27090">
                  <c:v>-5.8823529411764497E-3</c:v>
                </c:pt>
                <c:pt idx="27091">
                  <c:v>-5.8823529411764497E-3</c:v>
                </c:pt>
                <c:pt idx="27092">
                  <c:v>-5.8823529411764497E-3</c:v>
                </c:pt>
                <c:pt idx="27093">
                  <c:v>-5.8823529411764497E-3</c:v>
                </c:pt>
                <c:pt idx="27094">
                  <c:v>-5.8823529411764497E-3</c:v>
                </c:pt>
                <c:pt idx="27095">
                  <c:v>-5.8823529411764497E-3</c:v>
                </c:pt>
                <c:pt idx="27096">
                  <c:v>-5.8823529411764497E-3</c:v>
                </c:pt>
                <c:pt idx="27097">
                  <c:v>-5.8823529411764497E-3</c:v>
                </c:pt>
                <c:pt idx="27098">
                  <c:v>-5.8823529411764497E-3</c:v>
                </c:pt>
                <c:pt idx="27099">
                  <c:v>-5.8823529411764497E-3</c:v>
                </c:pt>
                <c:pt idx="27100">
                  <c:v>-5.8823529411764497E-3</c:v>
                </c:pt>
                <c:pt idx="27101">
                  <c:v>-5.8823529411764497E-3</c:v>
                </c:pt>
                <c:pt idx="27102">
                  <c:v>-5.8823529411764497E-3</c:v>
                </c:pt>
                <c:pt idx="27103">
                  <c:v>-5.8823529411764497E-3</c:v>
                </c:pt>
                <c:pt idx="27104">
                  <c:v>-5.8823529411764497E-3</c:v>
                </c:pt>
                <c:pt idx="27105">
                  <c:v>-5.8823529411764497E-3</c:v>
                </c:pt>
                <c:pt idx="27106">
                  <c:v>-5.8823529411764497E-3</c:v>
                </c:pt>
                <c:pt idx="27107">
                  <c:v>-6.7226890756302204E-3</c:v>
                </c:pt>
                <c:pt idx="27108">
                  <c:v>-6.7226890756302204E-3</c:v>
                </c:pt>
                <c:pt idx="27109">
                  <c:v>-6.7226890756302204E-3</c:v>
                </c:pt>
                <c:pt idx="27110">
                  <c:v>-6.7226890756302204E-3</c:v>
                </c:pt>
                <c:pt idx="27111">
                  <c:v>-6.7226890756302204E-3</c:v>
                </c:pt>
                <c:pt idx="27112">
                  <c:v>-6.7226890756302204E-3</c:v>
                </c:pt>
                <c:pt idx="27113">
                  <c:v>-6.7226890756302204E-3</c:v>
                </c:pt>
                <c:pt idx="27114">
                  <c:v>-6.7226890756302204E-3</c:v>
                </c:pt>
                <c:pt idx="27115">
                  <c:v>-6.7226890756302204E-3</c:v>
                </c:pt>
                <c:pt idx="27116">
                  <c:v>-6.7226890756302204E-3</c:v>
                </c:pt>
                <c:pt idx="27117">
                  <c:v>-5.8823529411764497E-3</c:v>
                </c:pt>
                <c:pt idx="27118">
                  <c:v>-5.8823529411764497E-3</c:v>
                </c:pt>
                <c:pt idx="27119">
                  <c:v>-5.8823529411764497E-3</c:v>
                </c:pt>
                <c:pt idx="27120">
                  <c:v>-5.8823529411764497E-3</c:v>
                </c:pt>
                <c:pt idx="27121">
                  <c:v>-5.8823529411764497E-3</c:v>
                </c:pt>
                <c:pt idx="27122">
                  <c:v>-5.8823529411764497E-3</c:v>
                </c:pt>
                <c:pt idx="27123">
                  <c:v>-5.8823529411764497E-3</c:v>
                </c:pt>
                <c:pt idx="27124">
                  <c:v>-5.8823529411764497E-3</c:v>
                </c:pt>
                <c:pt idx="27125">
                  <c:v>-5.8823529411764497E-3</c:v>
                </c:pt>
                <c:pt idx="27126">
                  <c:v>-5.8823529411764497E-3</c:v>
                </c:pt>
                <c:pt idx="27127">
                  <c:v>-5.8823529411764497E-3</c:v>
                </c:pt>
                <c:pt idx="27128">
                  <c:v>-5.8823529411764497E-3</c:v>
                </c:pt>
                <c:pt idx="27129">
                  <c:v>-5.8823529411764497E-3</c:v>
                </c:pt>
                <c:pt idx="27130">
                  <c:v>-5.8823529411764497E-3</c:v>
                </c:pt>
                <c:pt idx="27131">
                  <c:v>-5.0420168067226703E-3</c:v>
                </c:pt>
                <c:pt idx="27132">
                  <c:v>-5.0420168067226703E-3</c:v>
                </c:pt>
                <c:pt idx="27133">
                  <c:v>-5.0420168067226703E-3</c:v>
                </c:pt>
                <c:pt idx="27134">
                  <c:v>-5.0420168067226703E-3</c:v>
                </c:pt>
                <c:pt idx="27135">
                  <c:v>-5.0420168067226703E-3</c:v>
                </c:pt>
                <c:pt idx="27136">
                  <c:v>-5.0420168067226703E-3</c:v>
                </c:pt>
                <c:pt idx="27137">
                  <c:v>-5.0420168067226703E-3</c:v>
                </c:pt>
                <c:pt idx="27138">
                  <c:v>-5.0420168067226703E-3</c:v>
                </c:pt>
                <c:pt idx="27139">
                  <c:v>-5.0420168067226703E-3</c:v>
                </c:pt>
                <c:pt idx="27140">
                  <c:v>-5.0420168067226703E-3</c:v>
                </c:pt>
                <c:pt idx="27141">
                  <c:v>-5.0420168067226703E-3</c:v>
                </c:pt>
                <c:pt idx="27142">
                  <c:v>-5.0420168067226703E-3</c:v>
                </c:pt>
                <c:pt idx="27143">
                  <c:v>-5.0420168067226703E-3</c:v>
                </c:pt>
                <c:pt idx="27144">
                  <c:v>-5.0420168067226703E-3</c:v>
                </c:pt>
                <c:pt idx="27145">
                  <c:v>-5.0420168067226703E-3</c:v>
                </c:pt>
                <c:pt idx="27146">
                  <c:v>-5.0420168067226703E-3</c:v>
                </c:pt>
                <c:pt idx="27147">
                  <c:v>-5.0420168067226703E-3</c:v>
                </c:pt>
                <c:pt idx="27148">
                  <c:v>-5.0420168067226703E-3</c:v>
                </c:pt>
                <c:pt idx="27149">
                  <c:v>-5.0420168067226703E-3</c:v>
                </c:pt>
                <c:pt idx="27150">
                  <c:v>-5.0420168067226703E-3</c:v>
                </c:pt>
                <c:pt idx="27151">
                  <c:v>-5.0420168067226703E-3</c:v>
                </c:pt>
                <c:pt idx="27152">
                  <c:v>-5.0420168067226703E-3</c:v>
                </c:pt>
                <c:pt idx="27153">
                  <c:v>-5.0420168067226703E-3</c:v>
                </c:pt>
                <c:pt idx="27154">
                  <c:v>-5.0420168067226703E-3</c:v>
                </c:pt>
                <c:pt idx="27155">
                  <c:v>-5.0420168067226703E-3</c:v>
                </c:pt>
                <c:pt idx="27156">
                  <c:v>-5.0420168067226703E-3</c:v>
                </c:pt>
                <c:pt idx="27157">
                  <c:v>-5.0420168067226703E-3</c:v>
                </c:pt>
                <c:pt idx="27158">
                  <c:v>-5.0420168067226703E-3</c:v>
                </c:pt>
                <c:pt idx="27159">
                  <c:v>-5.0420168067226703E-3</c:v>
                </c:pt>
                <c:pt idx="27160">
                  <c:v>-5.0420168067226703E-3</c:v>
                </c:pt>
                <c:pt idx="27161">
                  <c:v>-5.0420168067226703E-3</c:v>
                </c:pt>
                <c:pt idx="27162">
                  <c:v>-5.0420168067226703E-3</c:v>
                </c:pt>
                <c:pt idx="27163">
                  <c:v>-5.0420168067226703E-3</c:v>
                </c:pt>
                <c:pt idx="27164">
                  <c:v>-5.0420168067226703E-3</c:v>
                </c:pt>
                <c:pt idx="27165">
                  <c:v>-4.20168067226889E-3</c:v>
                </c:pt>
                <c:pt idx="27166">
                  <c:v>-4.20168067226889E-3</c:v>
                </c:pt>
                <c:pt idx="27167">
                  <c:v>-4.20168067226889E-3</c:v>
                </c:pt>
                <c:pt idx="27168">
                  <c:v>-4.20168067226889E-3</c:v>
                </c:pt>
                <c:pt idx="27169">
                  <c:v>-4.20168067226889E-3</c:v>
                </c:pt>
                <c:pt idx="27170">
                  <c:v>-4.20168067226889E-3</c:v>
                </c:pt>
                <c:pt idx="27171">
                  <c:v>-4.20168067226889E-3</c:v>
                </c:pt>
                <c:pt idx="27172">
                  <c:v>-4.20168067226889E-3</c:v>
                </c:pt>
                <c:pt idx="27173">
                  <c:v>-4.20168067226889E-3</c:v>
                </c:pt>
                <c:pt idx="27174">
                  <c:v>-5.0420168067226703E-3</c:v>
                </c:pt>
                <c:pt idx="27175">
                  <c:v>-4.20168067226889E-3</c:v>
                </c:pt>
                <c:pt idx="27176">
                  <c:v>-4.20168067226889E-3</c:v>
                </c:pt>
                <c:pt idx="27177">
                  <c:v>-4.20168067226889E-3</c:v>
                </c:pt>
                <c:pt idx="27178">
                  <c:v>-3.3613445378151102E-3</c:v>
                </c:pt>
                <c:pt idx="27179">
                  <c:v>-3.3613445378151102E-3</c:v>
                </c:pt>
                <c:pt idx="27180">
                  <c:v>-3.3613445378151102E-3</c:v>
                </c:pt>
                <c:pt idx="27181">
                  <c:v>-3.3613445378151102E-3</c:v>
                </c:pt>
                <c:pt idx="27182">
                  <c:v>-3.3613445378151102E-3</c:v>
                </c:pt>
                <c:pt idx="27183">
                  <c:v>-3.3613445378151102E-3</c:v>
                </c:pt>
                <c:pt idx="27184">
                  <c:v>-3.3613445378151102E-3</c:v>
                </c:pt>
                <c:pt idx="27185">
                  <c:v>-3.3613445378151102E-3</c:v>
                </c:pt>
                <c:pt idx="27186">
                  <c:v>-3.3613445378151102E-3</c:v>
                </c:pt>
                <c:pt idx="27187">
                  <c:v>-3.3613445378151102E-3</c:v>
                </c:pt>
                <c:pt idx="27188">
                  <c:v>-3.3613445378151102E-3</c:v>
                </c:pt>
                <c:pt idx="27189">
                  <c:v>-3.3613445378151102E-3</c:v>
                </c:pt>
                <c:pt idx="27190">
                  <c:v>-3.3613445378151102E-3</c:v>
                </c:pt>
                <c:pt idx="27191">
                  <c:v>-3.3613445378151102E-3</c:v>
                </c:pt>
                <c:pt idx="27192">
                  <c:v>-3.3613445378151102E-3</c:v>
                </c:pt>
                <c:pt idx="27193">
                  <c:v>-3.3613445378151102E-3</c:v>
                </c:pt>
                <c:pt idx="27194">
                  <c:v>-3.3613445378151102E-3</c:v>
                </c:pt>
                <c:pt idx="27195">
                  <c:v>-3.3613445378151102E-3</c:v>
                </c:pt>
                <c:pt idx="27196">
                  <c:v>-3.3613445378151102E-3</c:v>
                </c:pt>
                <c:pt idx="27197">
                  <c:v>-3.3613445378151102E-3</c:v>
                </c:pt>
                <c:pt idx="27198">
                  <c:v>-3.3613445378151102E-3</c:v>
                </c:pt>
                <c:pt idx="27199">
                  <c:v>-3.3613445378151102E-3</c:v>
                </c:pt>
                <c:pt idx="27200">
                  <c:v>-2.5210084033613299E-3</c:v>
                </c:pt>
                <c:pt idx="27201">
                  <c:v>-2.5210084033613299E-3</c:v>
                </c:pt>
                <c:pt idx="27202">
                  <c:v>-2.5210084033613299E-3</c:v>
                </c:pt>
                <c:pt idx="27203">
                  <c:v>-2.5210084033613299E-3</c:v>
                </c:pt>
                <c:pt idx="27204">
                  <c:v>-3.3613445378151102E-3</c:v>
                </c:pt>
                <c:pt idx="27205">
                  <c:v>-3.3613445378151102E-3</c:v>
                </c:pt>
                <c:pt idx="27206">
                  <c:v>-3.3613445378151102E-3</c:v>
                </c:pt>
                <c:pt idx="27207">
                  <c:v>-3.3613445378151102E-3</c:v>
                </c:pt>
                <c:pt idx="27208">
                  <c:v>-3.3613445378151102E-3</c:v>
                </c:pt>
                <c:pt idx="27209">
                  <c:v>-3.3613445378151102E-3</c:v>
                </c:pt>
                <c:pt idx="27210">
                  <c:v>-3.3613445378151102E-3</c:v>
                </c:pt>
                <c:pt idx="27211">
                  <c:v>-3.3613445378151102E-3</c:v>
                </c:pt>
                <c:pt idx="27212">
                  <c:v>-3.3613445378151102E-3</c:v>
                </c:pt>
                <c:pt idx="27213">
                  <c:v>-3.3613445378151102E-3</c:v>
                </c:pt>
                <c:pt idx="27214">
                  <c:v>-3.3613445378151102E-3</c:v>
                </c:pt>
                <c:pt idx="27215">
                  <c:v>-3.3613445378151102E-3</c:v>
                </c:pt>
                <c:pt idx="27216">
                  <c:v>-2.5210084033613299E-3</c:v>
                </c:pt>
                <c:pt idx="27217">
                  <c:v>-2.5210084033613299E-3</c:v>
                </c:pt>
                <c:pt idx="27218">
                  <c:v>-2.5210084033613299E-3</c:v>
                </c:pt>
                <c:pt idx="27219">
                  <c:v>-2.5210084033613299E-3</c:v>
                </c:pt>
                <c:pt idx="27220">
                  <c:v>-2.5210084033613299E-3</c:v>
                </c:pt>
                <c:pt idx="27221">
                  <c:v>-2.5210084033613299E-3</c:v>
                </c:pt>
                <c:pt idx="27222">
                  <c:v>-1.6806722689075499E-3</c:v>
                </c:pt>
                <c:pt idx="27223">
                  <c:v>-1.6806722689075499E-3</c:v>
                </c:pt>
                <c:pt idx="27224">
                  <c:v>-1.6806722689075499E-3</c:v>
                </c:pt>
                <c:pt idx="27225">
                  <c:v>-1.6806722689075499E-3</c:v>
                </c:pt>
                <c:pt idx="27226">
                  <c:v>-1.6806722689075499E-3</c:v>
                </c:pt>
                <c:pt idx="27227">
                  <c:v>-1.6806722689075499E-3</c:v>
                </c:pt>
                <c:pt idx="27228">
                  <c:v>-1.6806722689075499E-3</c:v>
                </c:pt>
                <c:pt idx="27229">
                  <c:v>-1.6806722689075499E-3</c:v>
                </c:pt>
                <c:pt idx="27230">
                  <c:v>-1.6806722689075499E-3</c:v>
                </c:pt>
                <c:pt idx="27231">
                  <c:v>-1.6806722689075499E-3</c:v>
                </c:pt>
                <c:pt idx="27232">
                  <c:v>-1.6806722689075499E-3</c:v>
                </c:pt>
                <c:pt idx="27233">
                  <c:v>-1.6806722689075499E-3</c:v>
                </c:pt>
                <c:pt idx="27234">
                  <c:v>-1.6806722689075499E-3</c:v>
                </c:pt>
                <c:pt idx="27235">
                  <c:v>-1.6806722689075499E-3</c:v>
                </c:pt>
                <c:pt idx="27236">
                  <c:v>-1.6806722689075499E-3</c:v>
                </c:pt>
                <c:pt idx="27237">
                  <c:v>-1.6806722689075499E-3</c:v>
                </c:pt>
                <c:pt idx="27238">
                  <c:v>-1.6806722689075499E-3</c:v>
                </c:pt>
                <c:pt idx="27239">
                  <c:v>-1.6806722689075499E-3</c:v>
                </c:pt>
                <c:pt idx="27240">
                  <c:v>-1.6806722689075499E-3</c:v>
                </c:pt>
                <c:pt idx="27241">
                  <c:v>-1.6806722689075499E-3</c:v>
                </c:pt>
                <c:pt idx="27242">
                  <c:v>-1.6806722689075499E-3</c:v>
                </c:pt>
                <c:pt idx="27243">
                  <c:v>-1.6806722689075499E-3</c:v>
                </c:pt>
                <c:pt idx="27244">
                  <c:v>-1.6806722689075499E-3</c:v>
                </c:pt>
                <c:pt idx="27245">
                  <c:v>-1.6806722689075499E-3</c:v>
                </c:pt>
                <c:pt idx="27246">
                  <c:v>-1.6806722689075499E-3</c:v>
                </c:pt>
                <c:pt idx="27247">
                  <c:v>-1.6806722689075499E-3</c:v>
                </c:pt>
                <c:pt idx="27248">
                  <c:v>-1.6806722689075499E-3</c:v>
                </c:pt>
                <c:pt idx="27249">
                  <c:v>-1.6806722689075499E-3</c:v>
                </c:pt>
                <c:pt idx="27250">
                  <c:v>-1.6806722689075499E-3</c:v>
                </c:pt>
                <c:pt idx="27251">
                  <c:v>-1.6806722689075499E-3</c:v>
                </c:pt>
                <c:pt idx="27252">
                  <c:v>-1.6806722689075499E-3</c:v>
                </c:pt>
                <c:pt idx="27253">
                  <c:v>-1.6806722689075499E-3</c:v>
                </c:pt>
                <c:pt idx="27254">
                  <c:v>-1.6806722689075499E-3</c:v>
                </c:pt>
                <c:pt idx="27255">
                  <c:v>-2.5210084033613299E-3</c:v>
                </c:pt>
                <c:pt idx="27256">
                  <c:v>-2.5210084033613299E-3</c:v>
                </c:pt>
                <c:pt idx="27257">
                  <c:v>-2.5210084033613299E-3</c:v>
                </c:pt>
                <c:pt idx="27258">
                  <c:v>-2.5210084033613299E-3</c:v>
                </c:pt>
                <c:pt idx="27259">
                  <c:v>-2.5210084033613299E-3</c:v>
                </c:pt>
                <c:pt idx="27260">
                  <c:v>-2.5210084033613299E-3</c:v>
                </c:pt>
                <c:pt idx="27261">
                  <c:v>-2.5210084033613299E-3</c:v>
                </c:pt>
                <c:pt idx="27262">
                  <c:v>-2.5210084033613299E-3</c:v>
                </c:pt>
                <c:pt idx="27263">
                  <c:v>-2.5210084033613299E-3</c:v>
                </c:pt>
                <c:pt idx="27264">
                  <c:v>-2.5210084033613299E-3</c:v>
                </c:pt>
                <c:pt idx="27265">
                  <c:v>-2.5210084033613299E-3</c:v>
                </c:pt>
                <c:pt idx="27266">
                  <c:v>-2.5210084033613299E-3</c:v>
                </c:pt>
                <c:pt idx="27267">
                  <c:v>-2.5210084033613299E-3</c:v>
                </c:pt>
                <c:pt idx="27268">
                  <c:v>-3.3613445378151102E-3</c:v>
                </c:pt>
                <c:pt idx="27269">
                  <c:v>-3.3613445378151102E-3</c:v>
                </c:pt>
                <c:pt idx="27270">
                  <c:v>-3.3613445378151102E-3</c:v>
                </c:pt>
                <c:pt idx="27271">
                  <c:v>-3.3613445378151102E-3</c:v>
                </c:pt>
                <c:pt idx="27272">
                  <c:v>-3.3613445378151102E-3</c:v>
                </c:pt>
                <c:pt idx="27273">
                  <c:v>-3.3613445378151102E-3</c:v>
                </c:pt>
                <c:pt idx="27274">
                  <c:v>-3.3613445378151102E-3</c:v>
                </c:pt>
                <c:pt idx="27275">
                  <c:v>-3.3613445378151102E-3</c:v>
                </c:pt>
                <c:pt idx="27276">
                  <c:v>-3.3613445378151102E-3</c:v>
                </c:pt>
                <c:pt idx="27277">
                  <c:v>-3.3613445378151102E-3</c:v>
                </c:pt>
                <c:pt idx="27278">
                  <c:v>-3.3613445378151102E-3</c:v>
                </c:pt>
                <c:pt idx="27279">
                  <c:v>-3.3613445378151102E-3</c:v>
                </c:pt>
                <c:pt idx="27280">
                  <c:v>-3.3613445378151102E-3</c:v>
                </c:pt>
                <c:pt idx="27281">
                  <c:v>-3.3613445378151102E-3</c:v>
                </c:pt>
                <c:pt idx="27282">
                  <c:v>-3.3613445378151102E-3</c:v>
                </c:pt>
                <c:pt idx="27283">
                  <c:v>-3.3613445378151102E-3</c:v>
                </c:pt>
                <c:pt idx="27284">
                  <c:v>-3.3613445378151102E-3</c:v>
                </c:pt>
                <c:pt idx="27285">
                  <c:v>-3.3613445378151102E-3</c:v>
                </c:pt>
                <c:pt idx="27286">
                  <c:v>-3.3613445378151102E-3</c:v>
                </c:pt>
                <c:pt idx="27287">
                  <c:v>-3.3613445378151102E-3</c:v>
                </c:pt>
                <c:pt idx="27288">
                  <c:v>-3.3613445378151102E-3</c:v>
                </c:pt>
                <c:pt idx="27289">
                  <c:v>-3.3613445378151102E-3</c:v>
                </c:pt>
                <c:pt idx="27290">
                  <c:v>-3.3613445378151102E-3</c:v>
                </c:pt>
                <c:pt idx="27291">
                  <c:v>-3.3613445378151102E-3</c:v>
                </c:pt>
                <c:pt idx="27292">
                  <c:v>-3.3613445378151102E-3</c:v>
                </c:pt>
                <c:pt idx="27293">
                  <c:v>-3.3613445378151102E-3</c:v>
                </c:pt>
                <c:pt idx="27294">
                  <c:v>-3.3613445378151102E-3</c:v>
                </c:pt>
                <c:pt idx="27295">
                  <c:v>-3.3613445378151102E-3</c:v>
                </c:pt>
                <c:pt idx="27296">
                  <c:v>-3.3613445378151102E-3</c:v>
                </c:pt>
                <c:pt idx="27297">
                  <c:v>-3.3613445378151102E-3</c:v>
                </c:pt>
                <c:pt idx="27298">
                  <c:v>-3.3613445378151102E-3</c:v>
                </c:pt>
                <c:pt idx="27299">
                  <c:v>-3.3613445378151102E-3</c:v>
                </c:pt>
                <c:pt idx="27300">
                  <c:v>-3.3613445378151102E-3</c:v>
                </c:pt>
                <c:pt idx="27301">
                  <c:v>-3.3613445378151102E-3</c:v>
                </c:pt>
                <c:pt idx="27302">
                  <c:v>-3.3613445378151102E-3</c:v>
                </c:pt>
                <c:pt idx="27303">
                  <c:v>-3.3613445378151102E-3</c:v>
                </c:pt>
                <c:pt idx="27304">
                  <c:v>-3.3613445378151102E-3</c:v>
                </c:pt>
                <c:pt idx="27305">
                  <c:v>-3.3613445378151102E-3</c:v>
                </c:pt>
                <c:pt idx="27306">
                  <c:v>-3.3613445378151102E-3</c:v>
                </c:pt>
                <c:pt idx="27307">
                  <c:v>-3.3613445378151102E-3</c:v>
                </c:pt>
                <c:pt idx="27308">
                  <c:v>-3.3613445378151102E-3</c:v>
                </c:pt>
                <c:pt idx="27309">
                  <c:v>-3.3613445378151102E-3</c:v>
                </c:pt>
                <c:pt idx="27310">
                  <c:v>-3.3613445378151102E-3</c:v>
                </c:pt>
                <c:pt idx="27311">
                  <c:v>-3.3613445378151102E-3</c:v>
                </c:pt>
                <c:pt idx="27312">
                  <c:v>-3.3613445378151102E-3</c:v>
                </c:pt>
                <c:pt idx="27313">
                  <c:v>-3.3613445378151102E-3</c:v>
                </c:pt>
                <c:pt idx="27314">
                  <c:v>-3.3613445378151102E-3</c:v>
                </c:pt>
                <c:pt idx="27315">
                  <c:v>-3.3613445378151102E-3</c:v>
                </c:pt>
                <c:pt idx="27316">
                  <c:v>-3.3613445378151102E-3</c:v>
                </c:pt>
                <c:pt idx="27317">
                  <c:v>-3.3613445378151102E-3</c:v>
                </c:pt>
                <c:pt idx="27318">
                  <c:v>-3.3613445378151102E-3</c:v>
                </c:pt>
                <c:pt idx="27319">
                  <c:v>-3.3613445378151102E-3</c:v>
                </c:pt>
                <c:pt idx="27320">
                  <c:v>-3.3613445378151102E-3</c:v>
                </c:pt>
                <c:pt idx="27321">
                  <c:v>-4.20168067226889E-3</c:v>
                </c:pt>
                <c:pt idx="27322">
                  <c:v>-4.20168067226889E-3</c:v>
                </c:pt>
                <c:pt idx="27323">
                  <c:v>-4.20168067226889E-3</c:v>
                </c:pt>
                <c:pt idx="27324">
                  <c:v>-4.20168067226889E-3</c:v>
                </c:pt>
                <c:pt idx="27325">
                  <c:v>-4.20168067226889E-3</c:v>
                </c:pt>
                <c:pt idx="27326">
                  <c:v>-4.20168067226889E-3</c:v>
                </c:pt>
                <c:pt idx="27327">
                  <c:v>-4.20168067226889E-3</c:v>
                </c:pt>
                <c:pt idx="27328">
                  <c:v>-4.20168067226889E-3</c:v>
                </c:pt>
                <c:pt idx="27329">
                  <c:v>-4.20168067226889E-3</c:v>
                </c:pt>
                <c:pt idx="27330">
                  <c:v>-4.20168067226889E-3</c:v>
                </c:pt>
                <c:pt idx="27331">
                  <c:v>-4.20168067226889E-3</c:v>
                </c:pt>
                <c:pt idx="27332">
                  <c:v>-4.20168067226889E-3</c:v>
                </c:pt>
                <c:pt idx="27333">
                  <c:v>-4.20168067226889E-3</c:v>
                </c:pt>
                <c:pt idx="27334">
                  <c:v>-4.20168067226889E-3</c:v>
                </c:pt>
                <c:pt idx="27335">
                  <c:v>-4.20168067226889E-3</c:v>
                </c:pt>
                <c:pt idx="27336">
                  <c:v>-4.20168067226889E-3</c:v>
                </c:pt>
                <c:pt idx="27337">
                  <c:v>-4.20168067226889E-3</c:v>
                </c:pt>
                <c:pt idx="27338">
                  <c:v>-4.20168067226889E-3</c:v>
                </c:pt>
                <c:pt idx="27339">
                  <c:v>-4.20168067226889E-3</c:v>
                </c:pt>
                <c:pt idx="27340">
                  <c:v>-4.20168067226889E-3</c:v>
                </c:pt>
                <c:pt idx="27341">
                  <c:v>-4.20168067226889E-3</c:v>
                </c:pt>
                <c:pt idx="27342">
                  <c:v>-4.20168067226889E-3</c:v>
                </c:pt>
                <c:pt idx="27343">
                  <c:v>-4.20168067226889E-3</c:v>
                </c:pt>
                <c:pt idx="27344">
                  <c:v>-4.20168067226889E-3</c:v>
                </c:pt>
                <c:pt idx="27345">
                  <c:v>-4.20168067226889E-3</c:v>
                </c:pt>
                <c:pt idx="27346">
                  <c:v>-4.20168067226889E-3</c:v>
                </c:pt>
                <c:pt idx="27347">
                  <c:v>-4.20168067226889E-3</c:v>
                </c:pt>
                <c:pt idx="27348">
                  <c:v>-4.20168067226889E-3</c:v>
                </c:pt>
                <c:pt idx="27349">
                  <c:v>-3.3613445378151102E-3</c:v>
                </c:pt>
                <c:pt idx="27350">
                  <c:v>-3.3613445378151102E-3</c:v>
                </c:pt>
                <c:pt idx="27351">
                  <c:v>-3.3613445378151102E-3</c:v>
                </c:pt>
                <c:pt idx="27352">
                  <c:v>-3.3613445378151102E-3</c:v>
                </c:pt>
                <c:pt idx="27353">
                  <c:v>-3.3613445378151102E-3</c:v>
                </c:pt>
                <c:pt idx="27354">
                  <c:v>-3.3613445378151102E-3</c:v>
                </c:pt>
                <c:pt idx="27355">
                  <c:v>-3.3613445378151102E-3</c:v>
                </c:pt>
                <c:pt idx="27356">
                  <c:v>-3.3613445378151102E-3</c:v>
                </c:pt>
                <c:pt idx="27357">
                  <c:v>-3.3613445378151102E-3</c:v>
                </c:pt>
                <c:pt idx="27358">
                  <c:v>-3.3613445378151102E-3</c:v>
                </c:pt>
                <c:pt idx="27359">
                  <c:v>-4.20168067226889E-3</c:v>
                </c:pt>
                <c:pt idx="27360">
                  <c:v>-4.20168067226889E-3</c:v>
                </c:pt>
                <c:pt idx="27361">
                  <c:v>-4.20168067226889E-3</c:v>
                </c:pt>
                <c:pt idx="27362">
                  <c:v>-4.20168067226889E-3</c:v>
                </c:pt>
                <c:pt idx="27363">
                  <c:v>-4.20168067226889E-3</c:v>
                </c:pt>
                <c:pt idx="27364">
                  <c:v>-4.20168067226889E-3</c:v>
                </c:pt>
                <c:pt idx="27365">
                  <c:v>-4.20168067226889E-3</c:v>
                </c:pt>
                <c:pt idx="27366">
                  <c:v>-4.20168067226889E-3</c:v>
                </c:pt>
                <c:pt idx="27367">
                  <c:v>-4.20168067226889E-3</c:v>
                </c:pt>
                <c:pt idx="27368">
                  <c:v>-4.20168067226889E-3</c:v>
                </c:pt>
                <c:pt idx="27369">
                  <c:v>-4.20168067226889E-3</c:v>
                </c:pt>
                <c:pt idx="27370">
                  <c:v>-4.20168067226889E-3</c:v>
                </c:pt>
                <c:pt idx="27371">
                  <c:v>-4.20168067226889E-3</c:v>
                </c:pt>
                <c:pt idx="27372">
                  <c:v>-4.20168067226889E-3</c:v>
                </c:pt>
                <c:pt idx="27373">
                  <c:v>-4.20168067226889E-3</c:v>
                </c:pt>
                <c:pt idx="27374">
                  <c:v>-4.20168067226889E-3</c:v>
                </c:pt>
                <c:pt idx="27375">
                  <c:v>-4.20168067226889E-3</c:v>
                </c:pt>
                <c:pt idx="27376">
                  <c:v>-4.20168067226889E-3</c:v>
                </c:pt>
                <c:pt idx="27377">
                  <c:v>-4.20168067226889E-3</c:v>
                </c:pt>
                <c:pt idx="27378">
                  <c:v>-4.20168067226889E-3</c:v>
                </c:pt>
                <c:pt idx="27379">
                  <c:v>-4.20168067226889E-3</c:v>
                </c:pt>
                <c:pt idx="27380">
                  <c:v>-4.20168067226889E-3</c:v>
                </c:pt>
                <c:pt idx="27381">
                  <c:v>-4.20168067226889E-3</c:v>
                </c:pt>
                <c:pt idx="27382">
                  <c:v>-4.20168067226889E-3</c:v>
                </c:pt>
                <c:pt idx="27383">
                  <c:v>-4.20168067226889E-3</c:v>
                </c:pt>
                <c:pt idx="27384">
                  <c:v>-4.20168067226889E-3</c:v>
                </c:pt>
                <c:pt idx="27385">
                  <c:v>-4.20168067226889E-3</c:v>
                </c:pt>
                <c:pt idx="27386">
                  <c:v>-4.20168067226889E-3</c:v>
                </c:pt>
                <c:pt idx="27387">
                  <c:v>-4.20168067226889E-3</c:v>
                </c:pt>
                <c:pt idx="27388">
                  <c:v>-4.20168067226889E-3</c:v>
                </c:pt>
                <c:pt idx="27389">
                  <c:v>-4.20168067226889E-3</c:v>
                </c:pt>
                <c:pt idx="27390">
                  <c:v>-4.20168067226889E-3</c:v>
                </c:pt>
                <c:pt idx="27391">
                  <c:v>-4.20168067226889E-3</c:v>
                </c:pt>
                <c:pt idx="27392">
                  <c:v>-4.20168067226889E-3</c:v>
                </c:pt>
                <c:pt idx="27393">
                  <c:v>-4.20168067226889E-3</c:v>
                </c:pt>
                <c:pt idx="27394">
                  <c:v>-4.20168067226889E-3</c:v>
                </c:pt>
                <c:pt idx="27395">
                  <c:v>-4.20168067226889E-3</c:v>
                </c:pt>
                <c:pt idx="27396">
                  <c:v>-4.20168067226889E-3</c:v>
                </c:pt>
                <c:pt idx="27397">
                  <c:v>-4.20168067226889E-3</c:v>
                </c:pt>
                <c:pt idx="27398">
                  <c:v>-4.20168067226889E-3</c:v>
                </c:pt>
                <c:pt idx="27399">
                  <c:v>-4.20168067226889E-3</c:v>
                </c:pt>
                <c:pt idx="27400">
                  <c:v>-4.20168067226889E-3</c:v>
                </c:pt>
                <c:pt idx="27401">
                  <c:v>-4.20168067226889E-3</c:v>
                </c:pt>
                <c:pt idx="27402">
                  <c:v>-4.20168067226889E-3</c:v>
                </c:pt>
                <c:pt idx="27403">
                  <c:v>-4.20168067226889E-3</c:v>
                </c:pt>
                <c:pt idx="27404">
                  <c:v>-4.20168067226889E-3</c:v>
                </c:pt>
                <c:pt idx="27405">
                  <c:v>-4.20168067226889E-3</c:v>
                </c:pt>
                <c:pt idx="27406">
                  <c:v>-4.20168067226889E-3</c:v>
                </c:pt>
                <c:pt idx="27407">
                  <c:v>-4.20168067226889E-3</c:v>
                </c:pt>
                <c:pt idx="27408">
                  <c:v>-4.20168067226889E-3</c:v>
                </c:pt>
                <c:pt idx="27409">
                  <c:v>-4.20168067226889E-3</c:v>
                </c:pt>
                <c:pt idx="27410">
                  <c:v>-4.20168067226889E-3</c:v>
                </c:pt>
                <c:pt idx="27411">
                  <c:v>-4.20168067226889E-3</c:v>
                </c:pt>
                <c:pt idx="27412">
                  <c:v>-4.20168067226889E-3</c:v>
                </c:pt>
                <c:pt idx="27413">
                  <c:v>-4.20168067226889E-3</c:v>
                </c:pt>
                <c:pt idx="27414">
                  <c:v>-4.20168067226889E-3</c:v>
                </c:pt>
                <c:pt idx="27415">
                  <c:v>-4.20168067226889E-3</c:v>
                </c:pt>
                <c:pt idx="27416">
                  <c:v>-4.20168067226889E-3</c:v>
                </c:pt>
                <c:pt idx="27417">
                  <c:v>-4.20168067226889E-3</c:v>
                </c:pt>
                <c:pt idx="27418">
                  <c:v>-4.20168067226889E-3</c:v>
                </c:pt>
                <c:pt idx="27419">
                  <c:v>-4.20168067226889E-3</c:v>
                </c:pt>
                <c:pt idx="27420">
                  <c:v>-4.20168067226889E-3</c:v>
                </c:pt>
                <c:pt idx="27421">
                  <c:v>-4.20168067226889E-3</c:v>
                </c:pt>
                <c:pt idx="27422">
                  <c:v>-4.20168067226889E-3</c:v>
                </c:pt>
                <c:pt idx="27423">
                  <c:v>-5.0420168067226703E-3</c:v>
                </c:pt>
                <c:pt idx="27424">
                  <c:v>-5.0420168067226703E-3</c:v>
                </c:pt>
                <c:pt idx="27425">
                  <c:v>-5.0420168067226703E-3</c:v>
                </c:pt>
                <c:pt idx="27426">
                  <c:v>-5.0420168067226703E-3</c:v>
                </c:pt>
                <c:pt idx="27427">
                  <c:v>-5.0420168067226703E-3</c:v>
                </c:pt>
                <c:pt idx="27428">
                  <c:v>-5.0420168067226703E-3</c:v>
                </c:pt>
                <c:pt idx="27429">
                  <c:v>-5.0420168067226703E-3</c:v>
                </c:pt>
                <c:pt idx="27430">
                  <c:v>-5.0420168067226703E-3</c:v>
                </c:pt>
                <c:pt idx="27431">
                  <c:v>-5.0420168067226703E-3</c:v>
                </c:pt>
                <c:pt idx="27432">
                  <c:v>-5.8823529411764497E-3</c:v>
                </c:pt>
                <c:pt idx="27433">
                  <c:v>-5.8823529411764497E-3</c:v>
                </c:pt>
                <c:pt idx="27434">
                  <c:v>-5.8823529411764497E-3</c:v>
                </c:pt>
                <c:pt idx="27435">
                  <c:v>-5.8823529411764497E-3</c:v>
                </c:pt>
                <c:pt idx="27436">
                  <c:v>-5.8823529411764497E-3</c:v>
                </c:pt>
                <c:pt idx="27437">
                  <c:v>-5.8823529411764497E-3</c:v>
                </c:pt>
                <c:pt idx="27438">
                  <c:v>-5.8823529411764497E-3</c:v>
                </c:pt>
                <c:pt idx="27439">
                  <c:v>-5.8823529411764497E-3</c:v>
                </c:pt>
                <c:pt idx="27440">
                  <c:v>-5.8823529411764497E-3</c:v>
                </c:pt>
                <c:pt idx="27441">
                  <c:v>-5.8823529411764497E-3</c:v>
                </c:pt>
                <c:pt idx="27442">
                  <c:v>-5.8823529411764497E-3</c:v>
                </c:pt>
                <c:pt idx="27443">
                  <c:v>-5.8823529411764497E-3</c:v>
                </c:pt>
                <c:pt idx="27444">
                  <c:v>-5.8823529411764497E-3</c:v>
                </c:pt>
                <c:pt idx="27445">
                  <c:v>-5.8823529411764497E-3</c:v>
                </c:pt>
                <c:pt idx="27446">
                  <c:v>-5.8823529411764497E-3</c:v>
                </c:pt>
                <c:pt idx="27447">
                  <c:v>-5.8823529411764497E-3</c:v>
                </c:pt>
                <c:pt idx="27448">
                  <c:v>-5.8823529411764497E-3</c:v>
                </c:pt>
                <c:pt idx="27449">
                  <c:v>-5.8823529411764497E-3</c:v>
                </c:pt>
                <c:pt idx="27450">
                  <c:v>-5.8823529411764497E-3</c:v>
                </c:pt>
                <c:pt idx="27451">
                  <c:v>-5.8823529411764497E-3</c:v>
                </c:pt>
                <c:pt idx="27452">
                  <c:v>-5.8823529411764497E-3</c:v>
                </c:pt>
                <c:pt idx="27453">
                  <c:v>-5.8823529411764497E-3</c:v>
                </c:pt>
                <c:pt idx="27454">
                  <c:v>-5.8823529411764497E-3</c:v>
                </c:pt>
                <c:pt idx="27455">
                  <c:v>-5.8823529411764497E-3</c:v>
                </c:pt>
                <c:pt idx="27456">
                  <c:v>-5.8823529411764497E-3</c:v>
                </c:pt>
                <c:pt idx="27457">
                  <c:v>-5.8823529411764497E-3</c:v>
                </c:pt>
                <c:pt idx="27458">
                  <c:v>-5.8823529411764497E-3</c:v>
                </c:pt>
                <c:pt idx="27459">
                  <c:v>-5.8823529411764497E-3</c:v>
                </c:pt>
                <c:pt idx="27460">
                  <c:v>-5.8823529411764497E-3</c:v>
                </c:pt>
                <c:pt idx="27461">
                  <c:v>-5.8823529411764497E-3</c:v>
                </c:pt>
                <c:pt idx="27462">
                  <c:v>-5.8823529411764497E-3</c:v>
                </c:pt>
                <c:pt idx="27463">
                  <c:v>-5.8823529411764497E-3</c:v>
                </c:pt>
                <c:pt idx="27464">
                  <c:v>-5.8823529411764497E-3</c:v>
                </c:pt>
                <c:pt idx="27465">
                  <c:v>-5.8823529411764497E-3</c:v>
                </c:pt>
                <c:pt idx="27466">
                  <c:v>-5.8823529411764497E-3</c:v>
                </c:pt>
                <c:pt idx="27467">
                  <c:v>-5.8823529411764497E-3</c:v>
                </c:pt>
                <c:pt idx="27468">
                  <c:v>-5.0420168067226703E-3</c:v>
                </c:pt>
                <c:pt idx="27469">
                  <c:v>-5.0420168067226703E-3</c:v>
                </c:pt>
                <c:pt idx="27470">
                  <c:v>-5.0420168067226703E-3</c:v>
                </c:pt>
                <c:pt idx="27471">
                  <c:v>-5.0420168067226703E-3</c:v>
                </c:pt>
                <c:pt idx="27472">
                  <c:v>-5.0420168067226703E-3</c:v>
                </c:pt>
                <c:pt idx="27473">
                  <c:v>-5.0420168067226703E-3</c:v>
                </c:pt>
                <c:pt idx="27474">
                  <c:v>-5.0420168067226703E-3</c:v>
                </c:pt>
                <c:pt idx="27475">
                  <c:v>-5.0420168067226703E-3</c:v>
                </c:pt>
                <c:pt idx="27476">
                  <c:v>-5.8823529411764497E-3</c:v>
                </c:pt>
                <c:pt idx="27477">
                  <c:v>-5.8823529411764497E-3</c:v>
                </c:pt>
                <c:pt idx="27478">
                  <c:v>-5.8823529411764497E-3</c:v>
                </c:pt>
                <c:pt idx="27479">
                  <c:v>-5.8823529411764497E-3</c:v>
                </c:pt>
                <c:pt idx="27480">
                  <c:v>-5.8823529411764497E-3</c:v>
                </c:pt>
                <c:pt idx="27481">
                  <c:v>-5.0420168067226703E-3</c:v>
                </c:pt>
                <c:pt idx="27482">
                  <c:v>-5.0420168067226703E-3</c:v>
                </c:pt>
                <c:pt idx="27483">
                  <c:v>-5.0420168067226703E-3</c:v>
                </c:pt>
                <c:pt idx="27484">
                  <c:v>-5.0420168067226703E-3</c:v>
                </c:pt>
                <c:pt idx="27485">
                  <c:v>-5.0420168067226703E-3</c:v>
                </c:pt>
                <c:pt idx="27486">
                  <c:v>-5.0420168067226703E-3</c:v>
                </c:pt>
                <c:pt idx="27487">
                  <c:v>-5.0420168067226703E-3</c:v>
                </c:pt>
                <c:pt idx="27488">
                  <c:v>-5.0420168067226703E-3</c:v>
                </c:pt>
                <c:pt idx="27489">
                  <c:v>-5.0420168067226703E-3</c:v>
                </c:pt>
                <c:pt idx="27490">
                  <c:v>-5.0420168067226703E-3</c:v>
                </c:pt>
                <c:pt idx="27491">
                  <c:v>-5.0420168067226703E-3</c:v>
                </c:pt>
                <c:pt idx="27492">
                  <c:v>-5.0420168067226703E-3</c:v>
                </c:pt>
                <c:pt idx="27493">
                  <c:v>-5.0420168067226703E-3</c:v>
                </c:pt>
                <c:pt idx="27494">
                  <c:v>-5.0420168067226703E-3</c:v>
                </c:pt>
                <c:pt idx="27495">
                  <c:v>-5.0420168067226703E-3</c:v>
                </c:pt>
                <c:pt idx="27496">
                  <c:v>-5.0420168067226703E-3</c:v>
                </c:pt>
                <c:pt idx="27497">
                  <c:v>-5.0420168067226703E-3</c:v>
                </c:pt>
                <c:pt idx="27498">
                  <c:v>-5.0420168067226703E-3</c:v>
                </c:pt>
                <c:pt idx="27499">
                  <c:v>-5.0420168067226703E-3</c:v>
                </c:pt>
                <c:pt idx="27500">
                  <c:v>-5.0420168067226703E-3</c:v>
                </c:pt>
                <c:pt idx="27501">
                  <c:v>-5.0420168067226703E-3</c:v>
                </c:pt>
                <c:pt idx="27502">
                  <c:v>-5.0420168067226703E-3</c:v>
                </c:pt>
                <c:pt idx="27503">
                  <c:v>-5.0420168067226703E-3</c:v>
                </c:pt>
                <c:pt idx="27504">
                  <c:v>-5.0420168067226703E-3</c:v>
                </c:pt>
                <c:pt idx="27505">
                  <c:v>-5.0420168067226703E-3</c:v>
                </c:pt>
                <c:pt idx="27506">
                  <c:v>-5.0420168067226703E-3</c:v>
                </c:pt>
                <c:pt idx="27507">
                  <c:v>-5.0420168067226703E-3</c:v>
                </c:pt>
                <c:pt idx="27508">
                  <c:v>-5.0420168067226703E-3</c:v>
                </c:pt>
                <c:pt idx="27509">
                  <c:v>-5.0420168067226703E-3</c:v>
                </c:pt>
                <c:pt idx="27510">
                  <c:v>-5.0420168067226703E-3</c:v>
                </c:pt>
                <c:pt idx="27511">
                  <c:v>-5.0420168067226703E-3</c:v>
                </c:pt>
                <c:pt idx="27512">
                  <c:v>-5.0420168067226703E-3</c:v>
                </c:pt>
                <c:pt idx="27513">
                  <c:v>-5.0420168067226703E-3</c:v>
                </c:pt>
                <c:pt idx="27514">
                  <c:v>-5.0420168067226703E-3</c:v>
                </c:pt>
                <c:pt idx="27515">
                  <c:v>-5.0420168067226703E-3</c:v>
                </c:pt>
                <c:pt idx="27516">
                  <c:v>-5.0420168067226703E-3</c:v>
                </c:pt>
                <c:pt idx="27517">
                  <c:v>-5.0420168067226703E-3</c:v>
                </c:pt>
                <c:pt idx="27518">
                  <c:v>-4.20168067226889E-3</c:v>
                </c:pt>
                <c:pt idx="27519">
                  <c:v>-4.20168067226889E-3</c:v>
                </c:pt>
                <c:pt idx="27520">
                  <c:v>-4.20168067226889E-3</c:v>
                </c:pt>
                <c:pt idx="27521">
                  <c:v>-4.20168067226889E-3</c:v>
                </c:pt>
                <c:pt idx="27522">
                  <c:v>-4.20168067226889E-3</c:v>
                </c:pt>
                <c:pt idx="27523">
                  <c:v>-4.20168067226889E-3</c:v>
                </c:pt>
                <c:pt idx="27524">
                  <c:v>-4.20168067226889E-3</c:v>
                </c:pt>
                <c:pt idx="27525">
                  <c:v>-4.20168067226889E-3</c:v>
                </c:pt>
                <c:pt idx="27526">
                  <c:v>-4.20168067226889E-3</c:v>
                </c:pt>
                <c:pt idx="27527">
                  <c:v>-4.20168067226889E-3</c:v>
                </c:pt>
                <c:pt idx="27528">
                  <c:v>-4.20168067226889E-3</c:v>
                </c:pt>
                <c:pt idx="27529">
                  <c:v>-4.20168067226889E-3</c:v>
                </c:pt>
                <c:pt idx="27530">
                  <c:v>-4.20168067226889E-3</c:v>
                </c:pt>
                <c:pt idx="27531">
                  <c:v>-5.0420168067226703E-3</c:v>
                </c:pt>
                <c:pt idx="27532">
                  <c:v>-5.0420168067226703E-3</c:v>
                </c:pt>
                <c:pt idx="27533">
                  <c:v>-5.0420168067226703E-3</c:v>
                </c:pt>
                <c:pt idx="27534">
                  <c:v>-5.0420168067226703E-3</c:v>
                </c:pt>
                <c:pt idx="27535">
                  <c:v>-5.0420168067226703E-3</c:v>
                </c:pt>
                <c:pt idx="27536">
                  <c:v>-5.0420168067226703E-3</c:v>
                </c:pt>
                <c:pt idx="27537">
                  <c:v>-5.0420168067226703E-3</c:v>
                </c:pt>
                <c:pt idx="27538">
                  <c:v>-5.0420168067226703E-3</c:v>
                </c:pt>
                <c:pt idx="27539">
                  <c:v>-5.0420168067226703E-3</c:v>
                </c:pt>
                <c:pt idx="27540">
                  <c:v>-5.0420168067226703E-3</c:v>
                </c:pt>
                <c:pt idx="27541">
                  <c:v>-5.0420168067226703E-3</c:v>
                </c:pt>
                <c:pt idx="27542">
                  <c:v>-5.0420168067226703E-3</c:v>
                </c:pt>
                <c:pt idx="27543">
                  <c:v>-5.0420168067226703E-3</c:v>
                </c:pt>
                <c:pt idx="27544">
                  <c:v>-5.0420168067226703E-3</c:v>
                </c:pt>
                <c:pt idx="27545">
                  <c:v>-5.0420168067226703E-3</c:v>
                </c:pt>
                <c:pt idx="27546">
                  <c:v>-5.0420168067226703E-3</c:v>
                </c:pt>
                <c:pt idx="27547">
                  <c:v>-5.0420168067226703E-3</c:v>
                </c:pt>
                <c:pt idx="27548">
                  <c:v>-5.0420168067226703E-3</c:v>
                </c:pt>
                <c:pt idx="27549">
                  <c:v>-5.0420168067226703E-3</c:v>
                </c:pt>
                <c:pt idx="27550">
                  <c:v>-5.0420168067226703E-3</c:v>
                </c:pt>
                <c:pt idx="27551">
                  <c:v>-5.8823529411764497E-3</c:v>
                </c:pt>
                <c:pt idx="27552">
                  <c:v>-5.8823529411764497E-3</c:v>
                </c:pt>
                <c:pt idx="27553">
                  <c:v>-5.8823529411764497E-3</c:v>
                </c:pt>
                <c:pt idx="27554">
                  <c:v>-5.8823529411764497E-3</c:v>
                </c:pt>
                <c:pt idx="27555">
                  <c:v>-5.8823529411764497E-3</c:v>
                </c:pt>
                <c:pt idx="27556">
                  <c:v>-5.8823529411764497E-3</c:v>
                </c:pt>
                <c:pt idx="27557">
                  <c:v>-5.8823529411764497E-3</c:v>
                </c:pt>
                <c:pt idx="27558">
                  <c:v>-5.8823529411764497E-3</c:v>
                </c:pt>
                <c:pt idx="27559">
                  <c:v>-5.8823529411764497E-3</c:v>
                </c:pt>
                <c:pt idx="27560">
                  <c:v>-5.8823529411764497E-3</c:v>
                </c:pt>
                <c:pt idx="27561">
                  <c:v>-5.8823529411764497E-3</c:v>
                </c:pt>
                <c:pt idx="27562">
                  <c:v>-5.8823529411764497E-3</c:v>
                </c:pt>
                <c:pt idx="27563">
                  <c:v>-5.8823529411764497E-3</c:v>
                </c:pt>
                <c:pt idx="27564">
                  <c:v>-5.8823529411764497E-3</c:v>
                </c:pt>
                <c:pt idx="27565">
                  <c:v>-5.8823529411764497E-3</c:v>
                </c:pt>
                <c:pt idx="27566">
                  <c:v>-5.8823529411764497E-3</c:v>
                </c:pt>
                <c:pt idx="27567">
                  <c:v>-5.8823529411764497E-3</c:v>
                </c:pt>
                <c:pt idx="27568">
                  <c:v>-5.8823529411764497E-3</c:v>
                </c:pt>
                <c:pt idx="27569">
                  <c:v>-5.8823529411764497E-3</c:v>
                </c:pt>
                <c:pt idx="27570">
                  <c:v>-5.8823529411764497E-3</c:v>
                </c:pt>
                <c:pt idx="27571">
                  <c:v>-5.8823529411764497E-3</c:v>
                </c:pt>
                <c:pt idx="27572">
                  <c:v>-5.8823529411764497E-3</c:v>
                </c:pt>
                <c:pt idx="27573">
                  <c:v>-5.8823529411764497E-3</c:v>
                </c:pt>
                <c:pt idx="27574">
                  <c:v>-5.8823529411764497E-3</c:v>
                </c:pt>
                <c:pt idx="27575">
                  <c:v>-5.8823529411764497E-3</c:v>
                </c:pt>
                <c:pt idx="27576">
                  <c:v>-5.8823529411764497E-3</c:v>
                </c:pt>
                <c:pt idx="27577">
                  <c:v>-5.8823529411764497E-3</c:v>
                </c:pt>
                <c:pt idx="27578">
                  <c:v>-5.8823529411764497E-3</c:v>
                </c:pt>
                <c:pt idx="27579">
                  <c:v>-5.8823529411764497E-3</c:v>
                </c:pt>
                <c:pt idx="27580">
                  <c:v>-5.8823529411764497E-3</c:v>
                </c:pt>
                <c:pt idx="27581">
                  <c:v>-5.8823529411764497E-3</c:v>
                </c:pt>
                <c:pt idx="27582">
                  <c:v>-5.8823529411764497E-3</c:v>
                </c:pt>
                <c:pt idx="27583">
                  <c:v>-5.8823529411764497E-3</c:v>
                </c:pt>
                <c:pt idx="27584">
                  <c:v>-5.8823529411764497E-3</c:v>
                </c:pt>
                <c:pt idx="27585">
                  <c:v>-5.8823529411764497E-3</c:v>
                </c:pt>
                <c:pt idx="27586">
                  <c:v>-5.8823529411764497E-3</c:v>
                </c:pt>
                <c:pt idx="27587">
                  <c:v>-5.8823529411764497E-3</c:v>
                </c:pt>
                <c:pt idx="27588">
                  <c:v>-5.8823529411764497E-3</c:v>
                </c:pt>
                <c:pt idx="27589">
                  <c:v>-5.8823529411764497E-3</c:v>
                </c:pt>
                <c:pt idx="27590">
                  <c:v>-5.8823529411764497E-3</c:v>
                </c:pt>
                <c:pt idx="27591">
                  <c:v>-5.8823529411764497E-3</c:v>
                </c:pt>
                <c:pt idx="27592">
                  <c:v>-5.8823529411764497E-3</c:v>
                </c:pt>
                <c:pt idx="27593">
                  <c:v>-5.8823529411764497E-3</c:v>
                </c:pt>
                <c:pt idx="27594">
                  <c:v>-5.8823529411764497E-3</c:v>
                </c:pt>
                <c:pt idx="27595">
                  <c:v>-5.8823529411764497E-3</c:v>
                </c:pt>
                <c:pt idx="27596">
                  <c:v>-5.8823529411764497E-3</c:v>
                </c:pt>
                <c:pt idx="27597">
                  <c:v>-5.8823529411764497E-3</c:v>
                </c:pt>
                <c:pt idx="27598">
                  <c:v>-5.8823529411764497E-3</c:v>
                </c:pt>
                <c:pt idx="27599">
                  <c:v>-5.8823529411764497E-3</c:v>
                </c:pt>
                <c:pt idx="27600">
                  <c:v>-5.8823529411764497E-3</c:v>
                </c:pt>
                <c:pt idx="27601">
                  <c:v>-5.8823529411764497E-3</c:v>
                </c:pt>
                <c:pt idx="27602">
                  <c:v>-5.8823529411764497E-3</c:v>
                </c:pt>
                <c:pt idx="27603">
                  <c:v>-5.8823529411764497E-3</c:v>
                </c:pt>
                <c:pt idx="27604">
                  <c:v>-5.8823529411764497E-3</c:v>
                </c:pt>
                <c:pt idx="27605">
                  <c:v>-5.8823529411764497E-3</c:v>
                </c:pt>
                <c:pt idx="27606">
                  <c:v>-6.7226890756303297E-3</c:v>
                </c:pt>
                <c:pt idx="27607">
                  <c:v>-6.7226890756303297E-3</c:v>
                </c:pt>
                <c:pt idx="27608">
                  <c:v>-5.8823529411765598E-3</c:v>
                </c:pt>
                <c:pt idx="27609">
                  <c:v>-5.8823529411765598E-3</c:v>
                </c:pt>
                <c:pt idx="27610">
                  <c:v>-5.8823529411765598E-3</c:v>
                </c:pt>
                <c:pt idx="27611">
                  <c:v>-5.8823529411765598E-3</c:v>
                </c:pt>
                <c:pt idx="27612">
                  <c:v>-5.8823529411765598E-3</c:v>
                </c:pt>
                <c:pt idx="27613">
                  <c:v>-5.8823529411765598E-3</c:v>
                </c:pt>
                <c:pt idx="27614">
                  <c:v>-5.8823529411765598E-3</c:v>
                </c:pt>
                <c:pt idx="27615">
                  <c:v>-5.8823529411765598E-3</c:v>
                </c:pt>
                <c:pt idx="27616">
                  <c:v>-5.8823529411765598E-3</c:v>
                </c:pt>
                <c:pt idx="27617">
                  <c:v>-5.8823529411765598E-3</c:v>
                </c:pt>
                <c:pt idx="27618">
                  <c:v>-5.8823529411765598E-3</c:v>
                </c:pt>
                <c:pt idx="27619">
                  <c:v>-5.8823529411765598E-3</c:v>
                </c:pt>
                <c:pt idx="27620">
                  <c:v>-5.8823529411765598E-3</c:v>
                </c:pt>
                <c:pt idx="27621">
                  <c:v>-5.8823529411765598E-3</c:v>
                </c:pt>
                <c:pt idx="27622">
                  <c:v>-5.8823529411765598E-3</c:v>
                </c:pt>
                <c:pt idx="27623">
                  <c:v>-5.8823529411765598E-3</c:v>
                </c:pt>
                <c:pt idx="27624">
                  <c:v>-5.8823529411765598E-3</c:v>
                </c:pt>
                <c:pt idx="27625">
                  <c:v>-5.0420168067227796E-3</c:v>
                </c:pt>
                <c:pt idx="27626">
                  <c:v>-5.0420168067227796E-3</c:v>
                </c:pt>
                <c:pt idx="27627">
                  <c:v>-5.0420168067227796E-3</c:v>
                </c:pt>
                <c:pt idx="27628">
                  <c:v>-5.0420168067227796E-3</c:v>
                </c:pt>
                <c:pt idx="27629">
                  <c:v>-5.0420168067227796E-3</c:v>
                </c:pt>
                <c:pt idx="27630">
                  <c:v>-5.0420168067227796E-3</c:v>
                </c:pt>
                <c:pt idx="27631">
                  <c:v>-5.0420168067227796E-3</c:v>
                </c:pt>
                <c:pt idx="27632">
                  <c:v>-5.0420168067227796E-3</c:v>
                </c:pt>
                <c:pt idx="27633">
                  <c:v>-5.0420168067227796E-3</c:v>
                </c:pt>
                <c:pt idx="27634">
                  <c:v>-5.0420168067227796E-3</c:v>
                </c:pt>
                <c:pt idx="27635">
                  <c:v>-5.0420168067227796E-3</c:v>
                </c:pt>
                <c:pt idx="27636">
                  <c:v>-5.0420168067227796E-3</c:v>
                </c:pt>
                <c:pt idx="27637">
                  <c:v>-5.0420168067227796E-3</c:v>
                </c:pt>
                <c:pt idx="27638">
                  <c:v>-5.0420168067227796E-3</c:v>
                </c:pt>
                <c:pt idx="27639">
                  <c:v>-5.0420168067227796E-3</c:v>
                </c:pt>
                <c:pt idx="27640">
                  <c:v>-5.0420168067227796E-3</c:v>
                </c:pt>
                <c:pt idx="27641">
                  <c:v>-5.0420168067227796E-3</c:v>
                </c:pt>
                <c:pt idx="27642">
                  <c:v>-5.0420168067227796E-3</c:v>
                </c:pt>
                <c:pt idx="27643">
                  <c:v>-5.0420168067227796E-3</c:v>
                </c:pt>
                <c:pt idx="27644">
                  <c:v>-5.0420168067227796E-3</c:v>
                </c:pt>
                <c:pt idx="27645">
                  <c:v>-5.0420168067227796E-3</c:v>
                </c:pt>
                <c:pt idx="27646">
                  <c:v>-5.0420168067227796E-3</c:v>
                </c:pt>
                <c:pt idx="27647">
                  <c:v>-5.0420168067227796E-3</c:v>
                </c:pt>
                <c:pt idx="27648">
                  <c:v>-5.0420168067227796E-3</c:v>
                </c:pt>
                <c:pt idx="27649">
                  <c:v>-5.0420168067227796E-3</c:v>
                </c:pt>
                <c:pt idx="27650">
                  <c:v>-5.0420168067227796E-3</c:v>
                </c:pt>
                <c:pt idx="27651">
                  <c:v>-5.0420168067227796E-3</c:v>
                </c:pt>
                <c:pt idx="27652">
                  <c:v>-5.0420168067227796E-3</c:v>
                </c:pt>
                <c:pt idx="27653">
                  <c:v>-5.0420168067227796E-3</c:v>
                </c:pt>
                <c:pt idx="27654">
                  <c:v>-5.0420168067227796E-3</c:v>
                </c:pt>
                <c:pt idx="27655">
                  <c:v>-5.0420168067227796E-3</c:v>
                </c:pt>
                <c:pt idx="27656">
                  <c:v>-5.0420168067227796E-3</c:v>
                </c:pt>
                <c:pt idx="27657">
                  <c:v>-5.0420168067227796E-3</c:v>
                </c:pt>
                <c:pt idx="27658">
                  <c:v>-5.0420168067227796E-3</c:v>
                </c:pt>
                <c:pt idx="27659">
                  <c:v>-5.0420168067227796E-3</c:v>
                </c:pt>
                <c:pt idx="27660">
                  <c:v>-5.0420168067227796E-3</c:v>
                </c:pt>
                <c:pt idx="27661">
                  <c:v>-5.0420168067227796E-3</c:v>
                </c:pt>
                <c:pt idx="27662">
                  <c:v>-5.0420168067227796E-3</c:v>
                </c:pt>
                <c:pt idx="27663">
                  <c:v>-5.0420168067227796E-3</c:v>
                </c:pt>
                <c:pt idx="27664">
                  <c:v>-5.0420168067227796E-3</c:v>
                </c:pt>
                <c:pt idx="27665">
                  <c:v>-5.0420168067227796E-3</c:v>
                </c:pt>
                <c:pt idx="27666">
                  <c:v>-5.0420168067227796E-3</c:v>
                </c:pt>
                <c:pt idx="27667">
                  <c:v>-5.0420168067227796E-3</c:v>
                </c:pt>
                <c:pt idx="27668">
                  <c:v>-5.0420168067227796E-3</c:v>
                </c:pt>
                <c:pt idx="27669">
                  <c:v>-5.0420168067227796E-3</c:v>
                </c:pt>
                <c:pt idx="27670">
                  <c:v>-5.0420168067227796E-3</c:v>
                </c:pt>
                <c:pt idx="27671">
                  <c:v>-5.0420168067227796E-3</c:v>
                </c:pt>
                <c:pt idx="27672">
                  <c:v>-5.0420168067227796E-3</c:v>
                </c:pt>
                <c:pt idx="27673">
                  <c:v>-5.0420168067227796E-3</c:v>
                </c:pt>
                <c:pt idx="27674">
                  <c:v>-5.0420168067227796E-3</c:v>
                </c:pt>
                <c:pt idx="27675">
                  <c:v>-5.0420168067227796E-3</c:v>
                </c:pt>
                <c:pt idx="27676">
                  <c:v>-5.0420168067227796E-3</c:v>
                </c:pt>
                <c:pt idx="27677">
                  <c:v>-5.0420168067227796E-3</c:v>
                </c:pt>
                <c:pt idx="27678">
                  <c:v>-5.0420168067227796E-3</c:v>
                </c:pt>
                <c:pt idx="27679">
                  <c:v>-5.0420168067227796E-3</c:v>
                </c:pt>
                <c:pt idx="27680">
                  <c:v>-5.0420168067227796E-3</c:v>
                </c:pt>
                <c:pt idx="27681">
                  <c:v>-4.2016806722690002E-3</c:v>
                </c:pt>
                <c:pt idx="27682">
                  <c:v>-4.2016806722690002E-3</c:v>
                </c:pt>
                <c:pt idx="27683">
                  <c:v>-4.2016806722690002E-3</c:v>
                </c:pt>
                <c:pt idx="27684">
                  <c:v>-4.2016806722690002E-3</c:v>
                </c:pt>
                <c:pt idx="27685">
                  <c:v>-4.2016806722690002E-3</c:v>
                </c:pt>
                <c:pt idx="27686">
                  <c:v>-4.2016806722690002E-3</c:v>
                </c:pt>
                <c:pt idx="27687">
                  <c:v>-4.2016806722690002E-3</c:v>
                </c:pt>
                <c:pt idx="27688">
                  <c:v>-4.2016806722690002E-3</c:v>
                </c:pt>
                <c:pt idx="27689">
                  <c:v>-4.2016806722690002E-3</c:v>
                </c:pt>
                <c:pt idx="27690">
                  <c:v>-4.2016806722690002E-3</c:v>
                </c:pt>
                <c:pt idx="27691">
                  <c:v>-4.2016806722690002E-3</c:v>
                </c:pt>
                <c:pt idx="27692">
                  <c:v>-4.2016806722690002E-3</c:v>
                </c:pt>
                <c:pt idx="27693">
                  <c:v>-4.2016806722690002E-3</c:v>
                </c:pt>
                <c:pt idx="27694">
                  <c:v>-4.2016806722690002E-3</c:v>
                </c:pt>
                <c:pt idx="27695">
                  <c:v>-4.2016806722690002E-3</c:v>
                </c:pt>
                <c:pt idx="27696">
                  <c:v>-4.2016806722690002E-3</c:v>
                </c:pt>
                <c:pt idx="27697">
                  <c:v>-4.2016806722690002E-3</c:v>
                </c:pt>
                <c:pt idx="27698">
                  <c:v>-4.2016806722690002E-3</c:v>
                </c:pt>
                <c:pt idx="27699">
                  <c:v>-4.2016806722690002E-3</c:v>
                </c:pt>
                <c:pt idx="27700">
                  <c:v>-4.2016806722690002E-3</c:v>
                </c:pt>
                <c:pt idx="27701">
                  <c:v>-4.2016806722690002E-3</c:v>
                </c:pt>
                <c:pt idx="27702">
                  <c:v>-4.2016806722690002E-3</c:v>
                </c:pt>
                <c:pt idx="27703">
                  <c:v>-4.2016806722690002E-3</c:v>
                </c:pt>
                <c:pt idx="27704">
                  <c:v>-4.2016806722690002E-3</c:v>
                </c:pt>
                <c:pt idx="27705">
                  <c:v>-4.2016806722690002E-3</c:v>
                </c:pt>
                <c:pt idx="27706">
                  <c:v>-4.2016806722690002E-3</c:v>
                </c:pt>
                <c:pt idx="27707">
                  <c:v>-4.2016806722690002E-3</c:v>
                </c:pt>
                <c:pt idx="27708">
                  <c:v>-4.2016806722690002E-3</c:v>
                </c:pt>
                <c:pt idx="27709">
                  <c:v>-4.2016806722690002E-3</c:v>
                </c:pt>
                <c:pt idx="27710">
                  <c:v>-4.2016806722690002E-3</c:v>
                </c:pt>
                <c:pt idx="27711">
                  <c:v>-4.2016806722690002E-3</c:v>
                </c:pt>
                <c:pt idx="27712">
                  <c:v>-4.2016806722690002E-3</c:v>
                </c:pt>
                <c:pt idx="27713">
                  <c:v>-4.2016806722690002E-3</c:v>
                </c:pt>
                <c:pt idx="27714">
                  <c:v>-4.2016806722690002E-3</c:v>
                </c:pt>
                <c:pt idx="27715">
                  <c:v>-4.2016806722690002E-3</c:v>
                </c:pt>
                <c:pt idx="27716">
                  <c:v>-4.2016806722690002E-3</c:v>
                </c:pt>
                <c:pt idx="27717">
                  <c:v>-4.2016806722690002E-3</c:v>
                </c:pt>
                <c:pt idx="27718">
                  <c:v>-4.2016806722690002E-3</c:v>
                </c:pt>
                <c:pt idx="27719">
                  <c:v>-4.2016806722690002E-3</c:v>
                </c:pt>
                <c:pt idx="27720">
                  <c:v>-4.2016806722690002E-3</c:v>
                </c:pt>
                <c:pt idx="27721">
                  <c:v>-4.2016806722690002E-3</c:v>
                </c:pt>
                <c:pt idx="27722">
                  <c:v>-4.2016806722690002E-3</c:v>
                </c:pt>
                <c:pt idx="27723">
                  <c:v>-4.2016806722690002E-3</c:v>
                </c:pt>
                <c:pt idx="27724">
                  <c:v>-4.2016806722690002E-3</c:v>
                </c:pt>
                <c:pt idx="27725">
                  <c:v>-4.2016806722690002E-3</c:v>
                </c:pt>
                <c:pt idx="27726">
                  <c:v>-4.2016806722690002E-3</c:v>
                </c:pt>
                <c:pt idx="27727">
                  <c:v>-4.2016806722690002E-3</c:v>
                </c:pt>
                <c:pt idx="27728">
                  <c:v>-4.2016806722690002E-3</c:v>
                </c:pt>
                <c:pt idx="27729">
                  <c:v>-4.2016806722690002E-3</c:v>
                </c:pt>
                <c:pt idx="27730">
                  <c:v>-4.2016806722690002E-3</c:v>
                </c:pt>
                <c:pt idx="27731">
                  <c:v>-4.2016806722690002E-3</c:v>
                </c:pt>
                <c:pt idx="27732">
                  <c:v>-4.2016806722690002E-3</c:v>
                </c:pt>
                <c:pt idx="27733">
                  <c:v>-4.2016806722690002E-3</c:v>
                </c:pt>
                <c:pt idx="27734">
                  <c:v>-4.2016806722690002E-3</c:v>
                </c:pt>
                <c:pt idx="27735">
                  <c:v>-4.2016806722690002E-3</c:v>
                </c:pt>
                <c:pt idx="27736">
                  <c:v>-4.2016806722690002E-3</c:v>
                </c:pt>
                <c:pt idx="27737">
                  <c:v>-4.2016806722690002E-3</c:v>
                </c:pt>
                <c:pt idx="27738">
                  <c:v>-4.2016806722690002E-3</c:v>
                </c:pt>
                <c:pt idx="27739">
                  <c:v>-4.2016806722690002E-3</c:v>
                </c:pt>
                <c:pt idx="27740">
                  <c:v>-4.2016806722690002E-3</c:v>
                </c:pt>
                <c:pt idx="27741">
                  <c:v>-4.2016806722690002E-3</c:v>
                </c:pt>
                <c:pt idx="27742">
                  <c:v>-4.2016806722690002E-3</c:v>
                </c:pt>
                <c:pt idx="27743">
                  <c:v>-4.2016806722690002E-3</c:v>
                </c:pt>
                <c:pt idx="27744">
                  <c:v>-4.2016806722690002E-3</c:v>
                </c:pt>
                <c:pt idx="27745">
                  <c:v>-4.2016806722690002E-3</c:v>
                </c:pt>
                <c:pt idx="27746">
                  <c:v>-4.2016806722690002E-3</c:v>
                </c:pt>
                <c:pt idx="27747">
                  <c:v>-4.2016806722690002E-3</c:v>
                </c:pt>
                <c:pt idx="27748">
                  <c:v>-4.2016806722690002E-3</c:v>
                </c:pt>
                <c:pt idx="27749">
                  <c:v>-4.2016806722690002E-3</c:v>
                </c:pt>
                <c:pt idx="27750">
                  <c:v>-4.2016806722690002E-3</c:v>
                </c:pt>
                <c:pt idx="27751">
                  <c:v>-4.2016806722690002E-3</c:v>
                </c:pt>
                <c:pt idx="27752">
                  <c:v>-4.2016806722690002E-3</c:v>
                </c:pt>
                <c:pt idx="27753">
                  <c:v>-4.2016806722690002E-3</c:v>
                </c:pt>
                <c:pt idx="27754">
                  <c:v>-4.2016806722690002E-3</c:v>
                </c:pt>
                <c:pt idx="27755">
                  <c:v>-4.2016806722690002E-3</c:v>
                </c:pt>
                <c:pt idx="27756">
                  <c:v>-4.2016806722690002E-3</c:v>
                </c:pt>
                <c:pt idx="27757">
                  <c:v>-4.2016806722690002E-3</c:v>
                </c:pt>
                <c:pt idx="27758">
                  <c:v>-4.2016806722690002E-3</c:v>
                </c:pt>
                <c:pt idx="27759">
                  <c:v>-4.2016806722690002E-3</c:v>
                </c:pt>
                <c:pt idx="27760">
                  <c:v>-4.2016806722690002E-3</c:v>
                </c:pt>
                <c:pt idx="27761">
                  <c:v>-4.2016806722690002E-3</c:v>
                </c:pt>
                <c:pt idx="27762">
                  <c:v>-5.0420168067227796E-3</c:v>
                </c:pt>
                <c:pt idx="27763">
                  <c:v>-5.0420168067227796E-3</c:v>
                </c:pt>
                <c:pt idx="27764">
                  <c:v>-5.0420168067227796E-3</c:v>
                </c:pt>
                <c:pt idx="27765">
                  <c:v>-5.0420168067227796E-3</c:v>
                </c:pt>
                <c:pt idx="27766">
                  <c:v>-5.0420168067227796E-3</c:v>
                </c:pt>
                <c:pt idx="27767">
                  <c:v>-5.0420168067227796E-3</c:v>
                </c:pt>
                <c:pt idx="27768">
                  <c:v>-5.0420168067227796E-3</c:v>
                </c:pt>
                <c:pt idx="27769">
                  <c:v>-5.0420168067227796E-3</c:v>
                </c:pt>
                <c:pt idx="27770">
                  <c:v>-5.0420168067227796E-3</c:v>
                </c:pt>
                <c:pt idx="27771">
                  <c:v>-5.0420168067227796E-3</c:v>
                </c:pt>
                <c:pt idx="27772">
                  <c:v>-5.0420168067227796E-3</c:v>
                </c:pt>
                <c:pt idx="27773">
                  <c:v>-5.0420168067227796E-3</c:v>
                </c:pt>
                <c:pt idx="27774">
                  <c:v>-5.0420168067227796E-3</c:v>
                </c:pt>
                <c:pt idx="27775">
                  <c:v>-5.0420168067227796E-3</c:v>
                </c:pt>
                <c:pt idx="27776">
                  <c:v>-5.0420168067227796E-3</c:v>
                </c:pt>
                <c:pt idx="27777">
                  <c:v>-5.0420168067227796E-3</c:v>
                </c:pt>
                <c:pt idx="27778">
                  <c:v>-5.0420168067227796E-3</c:v>
                </c:pt>
                <c:pt idx="27779">
                  <c:v>-5.0420168067227796E-3</c:v>
                </c:pt>
                <c:pt idx="27780">
                  <c:v>-5.0420168067227796E-3</c:v>
                </c:pt>
                <c:pt idx="27781">
                  <c:v>-5.0420168067227796E-3</c:v>
                </c:pt>
                <c:pt idx="27782">
                  <c:v>-5.8823529411765598E-3</c:v>
                </c:pt>
                <c:pt idx="27783">
                  <c:v>-5.8823529411765598E-3</c:v>
                </c:pt>
                <c:pt idx="27784">
                  <c:v>-5.8823529411765598E-3</c:v>
                </c:pt>
                <c:pt idx="27785">
                  <c:v>-5.8823529411765598E-3</c:v>
                </c:pt>
                <c:pt idx="27786">
                  <c:v>-5.8823529411765598E-3</c:v>
                </c:pt>
                <c:pt idx="27787">
                  <c:v>-5.8823529411765598E-3</c:v>
                </c:pt>
                <c:pt idx="27788">
                  <c:v>-5.8823529411765598E-3</c:v>
                </c:pt>
                <c:pt idx="27789">
                  <c:v>-5.8823529411765598E-3</c:v>
                </c:pt>
                <c:pt idx="27790">
                  <c:v>-5.8823529411765598E-3</c:v>
                </c:pt>
                <c:pt idx="27791">
                  <c:v>-5.8823529411765598E-3</c:v>
                </c:pt>
                <c:pt idx="27792">
                  <c:v>-5.8823529411765598E-3</c:v>
                </c:pt>
                <c:pt idx="27793">
                  <c:v>-5.8823529411765598E-3</c:v>
                </c:pt>
                <c:pt idx="27794">
                  <c:v>-5.8823529411765598E-3</c:v>
                </c:pt>
                <c:pt idx="27795">
                  <c:v>-5.8823529411765598E-3</c:v>
                </c:pt>
                <c:pt idx="27796">
                  <c:v>-5.8823529411765598E-3</c:v>
                </c:pt>
                <c:pt idx="27797">
                  <c:v>-5.8823529411765598E-3</c:v>
                </c:pt>
                <c:pt idx="27798">
                  <c:v>-5.8823529411765598E-3</c:v>
                </c:pt>
                <c:pt idx="27799">
                  <c:v>-5.8823529411765598E-3</c:v>
                </c:pt>
                <c:pt idx="27800">
                  <c:v>-5.8823529411765598E-3</c:v>
                </c:pt>
                <c:pt idx="27801">
                  <c:v>-5.8823529411765598E-3</c:v>
                </c:pt>
                <c:pt idx="27802">
                  <c:v>-5.8823529411765598E-3</c:v>
                </c:pt>
                <c:pt idx="27803">
                  <c:v>-5.8823529411765598E-3</c:v>
                </c:pt>
                <c:pt idx="27804">
                  <c:v>-5.8823529411765598E-3</c:v>
                </c:pt>
                <c:pt idx="27805">
                  <c:v>-5.8823529411765598E-3</c:v>
                </c:pt>
                <c:pt idx="27806">
                  <c:v>-5.8823529411765598E-3</c:v>
                </c:pt>
                <c:pt idx="27807">
                  <c:v>-5.8823529411765598E-3</c:v>
                </c:pt>
                <c:pt idx="27808">
                  <c:v>-5.8823529411765598E-3</c:v>
                </c:pt>
                <c:pt idx="27809">
                  <c:v>-5.8823529411765598E-3</c:v>
                </c:pt>
                <c:pt idx="27810">
                  <c:v>-5.8823529411765598E-3</c:v>
                </c:pt>
                <c:pt idx="27811">
                  <c:v>-5.8823529411765598E-3</c:v>
                </c:pt>
                <c:pt idx="27812">
                  <c:v>-5.8823529411765598E-3</c:v>
                </c:pt>
                <c:pt idx="27813">
                  <c:v>-5.8823529411765598E-3</c:v>
                </c:pt>
                <c:pt idx="27814">
                  <c:v>-5.8823529411765598E-3</c:v>
                </c:pt>
                <c:pt idx="27815">
                  <c:v>-5.8823529411765598E-3</c:v>
                </c:pt>
                <c:pt idx="27816">
                  <c:v>-5.8823529411765598E-3</c:v>
                </c:pt>
                <c:pt idx="27817">
                  <c:v>-5.8823529411765598E-3</c:v>
                </c:pt>
                <c:pt idx="27818">
                  <c:v>-5.8823529411765598E-3</c:v>
                </c:pt>
                <c:pt idx="27819">
                  <c:v>-5.8823529411765598E-3</c:v>
                </c:pt>
                <c:pt idx="27820">
                  <c:v>-5.8823529411765598E-3</c:v>
                </c:pt>
                <c:pt idx="27821">
                  <c:v>-5.0420168067227796E-3</c:v>
                </c:pt>
                <c:pt idx="27822">
                  <c:v>-5.0420168067227796E-3</c:v>
                </c:pt>
                <c:pt idx="27823">
                  <c:v>-5.0420168067227796E-3</c:v>
                </c:pt>
                <c:pt idx="27824">
                  <c:v>-5.0420168067227796E-3</c:v>
                </c:pt>
                <c:pt idx="27825">
                  <c:v>-5.0420168067227796E-3</c:v>
                </c:pt>
                <c:pt idx="27826">
                  <c:v>-5.0420168067227796E-3</c:v>
                </c:pt>
                <c:pt idx="27827">
                  <c:v>-5.0420168067227796E-3</c:v>
                </c:pt>
                <c:pt idx="27828">
                  <c:v>-5.0420168067227796E-3</c:v>
                </c:pt>
                <c:pt idx="27829">
                  <c:v>-5.0420168067227796E-3</c:v>
                </c:pt>
                <c:pt idx="27830">
                  <c:v>-5.0420168067227796E-3</c:v>
                </c:pt>
                <c:pt idx="27831">
                  <c:v>-5.0420168067227796E-3</c:v>
                </c:pt>
                <c:pt idx="27832">
                  <c:v>-5.0420168067227796E-3</c:v>
                </c:pt>
                <c:pt idx="27833">
                  <c:v>-5.0420168067227796E-3</c:v>
                </c:pt>
                <c:pt idx="27834">
                  <c:v>-5.0420168067227796E-3</c:v>
                </c:pt>
                <c:pt idx="27835">
                  <c:v>-5.0420168067227796E-3</c:v>
                </c:pt>
                <c:pt idx="27836">
                  <c:v>-5.0420168067227796E-3</c:v>
                </c:pt>
                <c:pt idx="27837">
                  <c:v>-5.0420168067227796E-3</c:v>
                </c:pt>
                <c:pt idx="27838">
                  <c:v>-5.0420168067227796E-3</c:v>
                </c:pt>
                <c:pt idx="27839">
                  <c:v>-5.0420168067227796E-3</c:v>
                </c:pt>
                <c:pt idx="27840">
                  <c:v>-5.0420168067227796E-3</c:v>
                </c:pt>
                <c:pt idx="27841">
                  <c:v>-5.0420168067227796E-3</c:v>
                </c:pt>
                <c:pt idx="27842">
                  <c:v>-5.0420168067227796E-3</c:v>
                </c:pt>
                <c:pt idx="27843">
                  <c:v>-5.0420168067227796E-3</c:v>
                </c:pt>
                <c:pt idx="27844">
                  <c:v>-5.0420168067227796E-3</c:v>
                </c:pt>
                <c:pt idx="27845">
                  <c:v>-5.0420168067227796E-3</c:v>
                </c:pt>
                <c:pt idx="27846">
                  <c:v>-4.2016806722690002E-3</c:v>
                </c:pt>
                <c:pt idx="27847">
                  <c:v>-4.2016806722690002E-3</c:v>
                </c:pt>
                <c:pt idx="27848">
                  <c:v>-4.2016806722690002E-3</c:v>
                </c:pt>
                <c:pt idx="27849">
                  <c:v>-3.3613445378152199E-3</c:v>
                </c:pt>
                <c:pt idx="27850">
                  <c:v>-3.3613445378152199E-3</c:v>
                </c:pt>
                <c:pt idx="27851">
                  <c:v>-3.3613445378152199E-3</c:v>
                </c:pt>
                <c:pt idx="27852">
                  <c:v>-3.3613445378152199E-3</c:v>
                </c:pt>
                <c:pt idx="27853">
                  <c:v>-3.3613445378152199E-3</c:v>
                </c:pt>
                <c:pt idx="27854">
                  <c:v>-3.3613445378152199E-3</c:v>
                </c:pt>
                <c:pt idx="27855">
                  <c:v>-4.2016806722690002E-3</c:v>
                </c:pt>
                <c:pt idx="27856">
                  <c:v>-4.2016806722690002E-3</c:v>
                </c:pt>
                <c:pt idx="27857">
                  <c:v>-4.2016806722690002E-3</c:v>
                </c:pt>
                <c:pt idx="27858">
                  <c:v>-4.2016806722690002E-3</c:v>
                </c:pt>
                <c:pt idx="27859">
                  <c:v>-4.2016806722690002E-3</c:v>
                </c:pt>
                <c:pt idx="27860">
                  <c:v>-4.2016806722690002E-3</c:v>
                </c:pt>
                <c:pt idx="27861">
                  <c:v>-4.2016806722690002E-3</c:v>
                </c:pt>
                <c:pt idx="27862">
                  <c:v>-4.2016806722690002E-3</c:v>
                </c:pt>
                <c:pt idx="27863">
                  <c:v>-4.2016806722690002E-3</c:v>
                </c:pt>
                <c:pt idx="27864">
                  <c:v>-4.2016806722690002E-3</c:v>
                </c:pt>
                <c:pt idx="27865">
                  <c:v>-4.2016806722690002E-3</c:v>
                </c:pt>
                <c:pt idx="27866">
                  <c:v>-4.2016806722690002E-3</c:v>
                </c:pt>
                <c:pt idx="27867">
                  <c:v>-4.2016806722690002E-3</c:v>
                </c:pt>
                <c:pt idx="27868">
                  <c:v>-4.2016806722690002E-3</c:v>
                </c:pt>
                <c:pt idx="27869">
                  <c:v>-4.2016806722690002E-3</c:v>
                </c:pt>
                <c:pt idx="27870">
                  <c:v>-4.2016806722690002E-3</c:v>
                </c:pt>
                <c:pt idx="27871">
                  <c:v>-4.2016806722690002E-3</c:v>
                </c:pt>
                <c:pt idx="27872">
                  <c:v>-4.2016806722690002E-3</c:v>
                </c:pt>
                <c:pt idx="27873">
                  <c:v>-4.2016806722690002E-3</c:v>
                </c:pt>
                <c:pt idx="27874">
                  <c:v>-4.2016806722690002E-3</c:v>
                </c:pt>
                <c:pt idx="27875">
                  <c:v>-4.2016806722690002E-3</c:v>
                </c:pt>
                <c:pt idx="27876">
                  <c:v>-4.2016806722690002E-3</c:v>
                </c:pt>
                <c:pt idx="27877">
                  <c:v>-4.2016806722690002E-3</c:v>
                </c:pt>
                <c:pt idx="27878">
                  <c:v>-4.2016806722690002E-3</c:v>
                </c:pt>
                <c:pt idx="27879">
                  <c:v>-4.2016806722690002E-3</c:v>
                </c:pt>
                <c:pt idx="27880">
                  <c:v>-5.0420168067227796E-3</c:v>
                </c:pt>
                <c:pt idx="27881">
                  <c:v>-5.0420168067227796E-3</c:v>
                </c:pt>
                <c:pt idx="27882">
                  <c:v>-5.0420168067227796E-3</c:v>
                </c:pt>
                <c:pt idx="27883">
                  <c:v>-5.0420168067227796E-3</c:v>
                </c:pt>
                <c:pt idx="27884">
                  <c:v>-5.0420168067227796E-3</c:v>
                </c:pt>
                <c:pt idx="27885">
                  <c:v>-5.0420168067227796E-3</c:v>
                </c:pt>
                <c:pt idx="27886">
                  <c:v>-5.0420168067227796E-3</c:v>
                </c:pt>
                <c:pt idx="27887">
                  <c:v>-5.0420168067227796E-3</c:v>
                </c:pt>
                <c:pt idx="27888">
                  <c:v>-5.0420168067227796E-3</c:v>
                </c:pt>
                <c:pt idx="27889">
                  <c:v>-5.0420168067227796E-3</c:v>
                </c:pt>
                <c:pt idx="27890">
                  <c:v>-5.0420168067227796E-3</c:v>
                </c:pt>
                <c:pt idx="27891">
                  <c:v>-5.0420168067227796E-3</c:v>
                </c:pt>
                <c:pt idx="27892">
                  <c:v>-5.0420168067227796E-3</c:v>
                </c:pt>
                <c:pt idx="27893">
                  <c:v>-5.0420168067227796E-3</c:v>
                </c:pt>
                <c:pt idx="27894">
                  <c:v>-5.0420168067227796E-3</c:v>
                </c:pt>
                <c:pt idx="27895">
                  <c:v>-5.0420168067227796E-3</c:v>
                </c:pt>
                <c:pt idx="27896">
                  <c:v>-5.0420168067227796E-3</c:v>
                </c:pt>
                <c:pt idx="27897">
                  <c:v>-5.0420168067227796E-3</c:v>
                </c:pt>
                <c:pt idx="27898">
                  <c:v>-5.0420168067227796E-3</c:v>
                </c:pt>
                <c:pt idx="27899">
                  <c:v>-5.0420168067227796E-3</c:v>
                </c:pt>
                <c:pt idx="27900">
                  <c:v>-5.0420168067227796E-3</c:v>
                </c:pt>
                <c:pt idx="27901">
                  <c:v>-5.0420168067227796E-3</c:v>
                </c:pt>
                <c:pt idx="27902">
                  <c:v>-5.0420168067227796E-3</c:v>
                </c:pt>
                <c:pt idx="27903">
                  <c:v>-5.0420168067227796E-3</c:v>
                </c:pt>
                <c:pt idx="27904">
                  <c:v>-5.0420168067227796E-3</c:v>
                </c:pt>
                <c:pt idx="27905">
                  <c:v>-5.0420168067227796E-3</c:v>
                </c:pt>
                <c:pt idx="27906">
                  <c:v>-5.0420168067227796E-3</c:v>
                </c:pt>
                <c:pt idx="27907">
                  <c:v>-5.0420168067227796E-3</c:v>
                </c:pt>
                <c:pt idx="27908">
                  <c:v>-5.0420168067227796E-3</c:v>
                </c:pt>
                <c:pt idx="27909">
                  <c:v>-5.0420168067227796E-3</c:v>
                </c:pt>
                <c:pt idx="27910">
                  <c:v>-5.0420168067227796E-3</c:v>
                </c:pt>
                <c:pt idx="27911">
                  <c:v>-5.0420168067227796E-3</c:v>
                </c:pt>
                <c:pt idx="27912">
                  <c:v>-5.0420168067227796E-3</c:v>
                </c:pt>
                <c:pt idx="27913">
                  <c:v>-5.0420168067227796E-3</c:v>
                </c:pt>
                <c:pt idx="27914">
                  <c:v>-5.0420168067227796E-3</c:v>
                </c:pt>
                <c:pt idx="27915">
                  <c:v>-5.0420168067227796E-3</c:v>
                </c:pt>
                <c:pt idx="27916">
                  <c:v>-4.2016806722690002E-3</c:v>
                </c:pt>
                <c:pt idx="27917">
                  <c:v>-4.2016806722690002E-3</c:v>
                </c:pt>
                <c:pt idx="27918">
                  <c:v>-4.2016806722690002E-3</c:v>
                </c:pt>
                <c:pt idx="27919">
                  <c:v>-3.3613445378151102E-3</c:v>
                </c:pt>
                <c:pt idx="27920">
                  <c:v>-3.3613445378151102E-3</c:v>
                </c:pt>
                <c:pt idx="27921">
                  <c:v>-3.3613445378151102E-3</c:v>
                </c:pt>
                <c:pt idx="27922">
                  <c:v>-3.3613445378151102E-3</c:v>
                </c:pt>
                <c:pt idx="27923">
                  <c:v>-3.3613445378151102E-3</c:v>
                </c:pt>
                <c:pt idx="27924">
                  <c:v>-3.3613445378151102E-3</c:v>
                </c:pt>
                <c:pt idx="27925">
                  <c:v>-3.3613445378151102E-3</c:v>
                </c:pt>
                <c:pt idx="27926">
                  <c:v>-2.5210084033613299E-3</c:v>
                </c:pt>
                <c:pt idx="27927">
                  <c:v>-2.5210084033613299E-3</c:v>
                </c:pt>
                <c:pt idx="27928">
                  <c:v>-2.5210084033613299E-3</c:v>
                </c:pt>
                <c:pt idx="27929">
                  <c:v>-2.5210084033613299E-3</c:v>
                </c:pt>
                <c:pt idx="27930">
                  <c:v>-2.5210084033613299E-3</c:v>
                </c:pt>
                <c:pt idx="27931">
                  <c:v>-2.5210084033613299E-3</c:v>
                </c:pt>
                <c:pt idx="27932">
                  <c:v>-2.5210084033613299E-3</c:v>
                </c:pt>
                <c:pt idx="27933">
                  <c:v>-2.5210084033613299E-3</c:v>
                </c:pt>
                <c:pt idx="27934">
                  <c:v>-2.5210084033613299E-3</c:v>
                </c:pt>
                <c:pt idx="27935">
                  <c:v>-2.5210084033613299E-3</c:v>
                </c:pt>
                <c:pt idx="27936">
                  <c:v>-2.5210084033613299E-3</c:v>
                </c:pt>
                <c:pt idx="27937">
                  <c:v>-2.5210084033613299E-3</c:v>
                </c:pt>
                <c:pt idx="27938">
                  <c:v>-2.5210084033613299E-3</c:v>
                </c:pt>
                <c:pt idx="27939">
                  <c:v>-1.6806722689075499E-3</c:v>
                </c:pt>
                <c:pt idx="27940">
                  <c:v>-1.6806722689075499E-3</c:v>
                </c:pt>
                <c:pt idx="27941">
                  <c:v>-1.6806722689075499E-3</c:v>
                </c:pt>
                <c:pt idx="27942">
                  <c:v>-1.6806722689075499E-3</c:v>
                </c:pt>
                <c:pt idx="27943">
                  <c:v>-1.6806722689075499E-3</c:v>
                </c:pt>
                <c:pt idx="27944">
                  <c:v>-1.6806722689075499E-3</c:v>
                </c:pt>
                <c:pt idx="27945">
                  <c:v>-1.6806722689075499E-3</c:v>
                </c:pt>
                <c:pt idx="27946">
                  <c:v>-2.5210084033613299E-3</c:v>
                </c:pt>
                <c:pt idx="27947">
                  <c:v>-2.5210084033613299E-3</c:v>
                </c:pt>
                <c:pt idx="27948">
                  <c:v>-2.5210084033613299E-3</c:v>
                </c:pt>
                <c:pt idx="27949">
                  <c:v>-2.5210084033613299E-3</c:v>
                </c:pt>
                <c:pt idx="27950">
                  <c:v>-2.5210084033613299E-3</c:v>
                </c:pt>
                <c:pt idx="27951">
                  <c:v>-2.5210084033613299E-3</c:v>
                </c:pt>
                <c:pt idx="27952">
                  <c:v>-2.5210084033613299E-3</c:v>
                </c:pt>
                <c:pt idx="27953">
                  <c:v>-2.5210084033613299E-3</c:v>
                </c:pt>
                <c:pt idx="27954">
                  <c:v>-2.5210084033613299E-3</c:v>
                </c:pt>
                <c:pt idx="27955">
                  <c:v>-2.5210084033613299E-3</c:v>
                </c:pt>
                <c:pt idx="27956">
                  <c:v>-2.5210084033613299E-3</c:v>
                </c:pt>
                <c:pt idx="27957">
                  <c:v>-2.5210084033613299E-3</c:v>
                </c:pt>
                <c:pt idx="27958">
                  <c:v>-2.5210084033613299E-3</c:v>
                </c:pt>
                <c:pt idx="27959">
                  <c:v>-2.5210084033613299E-3</c:v>
                </c:pt>
                <c:pt idx="27960">
                  <c:v>-2.5210084033613299E-3</c:v>
                </c:pt>
                <c:pt idx="27961">
                  <c:v>-2.5210084033613299E-3</c:v>
                </c:pt>
                <c:pt idx="27962">
                  <c:v>-2.5210084033613299E-3</c:v>
                </c:pt>
                <c:pt idx="27963">
                  <c:v>-2.5210084033613299E-3</c:v>
                </c:pt>
                <c:pt idx="27964">
                  <c:v>-2.5210084033613299E-3</c:v>
                </c:pt>
                <c:pt idx="27965">
                  <c:v>-2.5210084033613299E-3</c:v>
                </c:pt>
                <c:pt idx="27966">
                  <c:v>-2.5210084033613299E-3</c:v>
                </c:pt>
                <c:pt idx="27967">
                  <c:v>-2.5210084033613299E-3</c:v>
                </c:pt>
                <c:pt idx="27968">
                  <c:v>-2.5210084033613299E-3</c:v>
                </c:pt>
                <c:pt idx="27969">
                  <c:v>-2.5210084033613299E-3</c:v>
                </c:pt>
                <c:pt idx="27970">
                  <c:v>-2.5210084033613299E-3</c:v>
                </c:pt>
                <c:pt idx="27971">
                  <c:v>-2.5210084033613299E-3</c:v>
                </c:pt>
                <c:pt idx="27972">
                  <c:v>-2.5210084033613299E-3</c:v>
                </c:pt>
                <c:pt idx="27973">
                  <c:v>-2.5210084033613299E-3</c:v>
                </c:pt>
                <c:pt idx="27974">
                  <c:v>-2.5210084033613299E-3</c:v>
                </c:pt>
                <c:pt idx="27975">
                  <c:v>-2.5210084033613299E-3</c:v>
                </c:pt>
                <c:pt idx="27976">
                  <c:v>-2.5210084033613299E-3</c:v>
                </c:pt>
                <c:pt idx="27977">
                  <c:v>-2.5210084033613299E-3</c:v>
                </c:pt>
                <c:pt idx="27978">
                  <c:v>-2.5210084033613299E-3</c:v>
                </c:pt>
                <c:pt idx="27979">
                  <c:v>-2.5210084033613299E-3</c:v>
                </c:pt>
                <c:pt idx="27980">
                  <c:v>-2.5210084033613299E-3</c:v>
                </c:pt>
                <c:pt idx="27981">
                  <c:v>-2.5210084033613299E-3</c:v>
                </c:pt>
                <c:pt idx="27982">
                  <c:v>-2.5210084033613299E-3</c:v>
                </c:pt>
                <c:pt idx="27983">
                  <c:v>-2.5210084033613299E-3</c:v>
                </c:pt>
                <c:pt idx="27984">
                  <c:v>-2.5210084033613299E-3</c:v>
                </c:pt>
                <c:pt idx="27985">
                  <c:v>-2.5210084033613299E-3</c:v>
                </c:pt>
                <c:pt idx="27986">
                  <c:v>-2.5210084033613299E-3</c:v>
                </c:pt>
                <c:pt idx="27987">
                  <c:v>-2.5210084033613299E-3</c:v>
                </c:pt>
                <c:pt idx="27988">
                  <c:v>-2.5210084033613299E-3</c:v>
                </c:pt>
                <c:pt idx="27989">
                  <c:v>-2.5210084033613299E-3</c:v>
                </c:pt>
                <c:pt idx="27990">
                  <c:v>-2.5210084033613299E-3</c:v>
                </c:pt>
                <c:pt idx="27991">
                  <c:v>-2.5210084033613299E-3</c:v>
                </c:pt>
                <c:pt idx="27992">
                  <c:v>-2.5210084033613299E-3</c:v>
                </c:pt>
                <c:pt idx="27993">
                  <c:v>-2.5210084033613299E-3</c:v>
                </c:pt>
                <c:pt idx="27994">
                  <c:v>-2.5210084033613299E-3</c:v>
                </c:pt>
                <c:pt idx="27995">
                  <c:v>-2.5210084033613299E-3</c:v>
                </c:pt>
                <c:pt idx="27996">
                  <c:v>-2.5210084033613299E-3</c:v>
                </c:pt>
                <c:pt idx="27997">
                  <c:v>-2.5210084033613299E-3</c:v>
                </c:pt>
                <c:pt idx="27998">
                  <c:v>-2.5210084033613299E-3</c:v>
                </c:pt>
                <c:pt idx="27999">
                  <c:v>-2.5210084033613299E-3</c:v>
                </c:pt>
                <c:pt idx="28000">
                  <c:v>-2.5210084033613299E-3</c:v>
                </c:pt>
                <c:pt idx="28001">
                  <c:v>-2.5210084033613299E-3</c:v>
                </c:pt>
                <c:pt idx="28002">
                  <c:v>-2.5210084033613299E-3</c:v>
                </c:pt>
                <c:pt idx="28003">
                  <c:v>-2.5210084033613299E-3</c:v>
                </c:pt>
                <c:pt idx="28004">
                  <c:v>-2.5210084033613299E-3</c:v>
                </c:pt>
                <c:pt idx="28005">
                  <c:v>-2.5210084033613299E-3</c:v>
                </c:pt>
                <c:pt idx="28006">
                  <c:v>-2.5210084033613299E-3</c:v>
                </c:pt>
                <c:pt idx="28007">
                  <c:v>-2.5210084033613299E-3</c:v>
                </c:pt>
                <c:pt idx="28008">
                  <c:v>-2.5210084033613299E-3</c:v>
                </c:pt>
                <c:pt idx="28009">
                  <c:v>-2.5210084033613299E-3</c:v>
                </c:pt>
                <c:pt idx="28010">
                  <c:v>-2.5210084033613299E-3</c:v>
                </c:pt>
                <c:pt idx="28011">
                  <c:v>-2.5210084033613299E-3</c:v>
                </c:pt>
                <c:pt idx="28012">
                  <c:v>-2.5210084033613299E-3</c:v>
                </c:pt>
                <c:pt idx="28013">
                  <c:v>-2.5210084033613299E-3</c:v>
                </c:pt>
                <c:pt idx="28014">
                  <c:v>-2.5210084033613299E-3</c:v>
                </c:pt>
                <c:pt idx="28015">
                  <c:v>-2.5210084033613299E-3</c:v>
                </c:pt>
                <c:pt idx="28016">
                  <c:v>-2.5210084033613299E-3</c:v>
                </c:pt>
                <c:pt idx="28017">
                  <c:v>-2.5210084033613299E-3</c:v>
                </c:pt>
                <c:pt idx="28018">
                  <c:v>-2.5210084033613299E-3</c:v>
                </c:pt>
                <c:pt idx="28019">
                  <c:v>-2.5210084033613299E-3</c:v>
                </c:pt>
                <c:pt idx="28020">
                  <c:v>-2.5210084033613299E-3</c:v>
                </c:pt>
                <c:pt idx="28021">
                  <c:v>-2.5210084033613299E-3</c:v>
                </c:pt>
                <c:pt idx="28022">
                  <c:v>-2.5210084033613299E-3</c:v>
                </c:pt>
                <c:pt idx="28023">
                  <c:v>-2.5210084033613299E-3</c:v>
                </c:pt>
                <c:pt idx="28024">
                  <c:v>-2.5210084033613299E-3</c:v>
                </c:pt>
                <c:pt idx="28025">
                  <c:v>-2.5210084033613299E-3</c:v>
                </c:pt>
                <c:pt idx="28026">
                  <c:v>-2.5210084033613299E-3</c:v>
                </c:pt>
                <c:pt idx="28027">
                  <c:v>-2.5210084033613299E-3</c:v>
                </c:pt>
                <c:pt idx="28028">
                  <c:v>-2.5210084033613299E-3</c:v>
                </c:pt>
                <c:pt idx="28029">
                  <c:v>-2.5210084033613299E-3</c:v>
                </c:pt>
                <c:pt idx="28030">
                  <c:v>-2.5210084033613299E-3</c:v>
                </c:pt>
                <c:pt idx="28031">
                  <c:v>-2.5210084033613299E-3</c:v>
                </c:pt>
                <c:pt idx="28032">
                  <c:v>-2.5210084033613299E-3</c:v>
                </c:pt>
                <c:pt idx="28033">
                  <c:v>-2.5210084033613299E-3</c:v>
                </c:pt>
                <c:pt idx="28034">
                  <c:v>-2.5210084033613299E-3</c:v>
                </c:pt>
                <c:pt idx="28035">
                  <c:v>-2.5210084033613299E-3</c:v>
                </c:pt>
                <c:pt idx="28036">
                  <c:v>-2.5210084033613299E-3</c:v>
                </c:pt>
                <c:pt idx="28037">
                  <c:v>-2.5210084033613299E-3</c:v>
                </c:pt>
                <c:pt idx="28038">
                  <c:v>-2.5210084033613299E-3</c:v>
                </c:pt>
                <c:pt idx="28039">
                  <c:v>-2.5210084033613299E-3</c:v>
                </c:pt>
                <c:pt idx="28040">
                  <c:v>-2.5210084033613299E-3</c:v>
                </c:pt>
                <c:pt idx="28041">
                  <c:v>-2.5210084033613299E-3</c:v>
                </c:pt>
                <c:pt idx="28042">
                  <c:v>-2.5210084033613299E-3</c:v>
                </c:pt>
                <c:pt idx="28043">
                  <c:v>-2.5210084033613299E-3</c:v>
                </c:pt>
                <c:pt idx="28044">
                  <c:v>-2.5210084033613299E-3</c:v>
                </c:pt>
                <c:pt idx="28045">
                  <c:v>-2.5210084033613299E-3</c:v>
                </c:pt>
                <c:pt idx="28046">
                  <c:v>-2.5210084033613299E-3</c:v>
                </c:pt>
                <c:pt idx="28047">
                  <c:v>-2.5210084033613299E-3</c:v>
                </c:pt>
                <c:pt idx="28048">
                  <c:v>-2.5210084033613299E-3</c:v>
                </c:pt>
                <c:pt idx="28049">
                  <c:v>-2.5210084033613299E-3</c:v>
                </c:pt>
                <c:pt idx="28050">
                  <c:v>-2.5210084033613299E-3</c:v>
                </c:pt>
                <c:pt idx="28051">
                  <c:v>-2.5210084033613299E-3</c:v>
                </c:pt>
                <c:pt idx="28052">
                  <c:v>-1.6806722689075499E-3</c:v>
                </c:pt>
                <c:pt idx="28053">
                  <c:v>-1.6806722689075499E-3</c:v>
                </c:pt>
                <c:pt idx="28054">
                  <c:v>-8.4033613445377799E-4</c:v>
                </c:pt>
                <c:pt idx="28055">
                  <c:v>-8.4033613445377799E-4</c:v>
                </c:pt>
                <c:pt idx="28056">
                  <c:v>-8.4033613445377799E-4</c:v>
                </c:pt>
                <c:pt idx="28057">
                  <c:v>-8.4033613445377799E-4</c:v>
                </c:pt>
                <c:pt idx="28058">
                  <c:v>-8.4033613445377799E-4</c:v>
                </c:pt>
                <c:pt idx="28059">
                  <c:v>-8.4033613445377799E-4</c:v>
                </c:pt>
                <c:pt idx="28060">
                  <c:v>-8.4033613445377799E-4</c:v>
                </c:pt>
                <c:pt idx="28061">
                  <c:v>-8.4033613445377799E-4</c:v>
                </c:pt>
                <c:pt idx="28062">
                  <c:v>-8.4033613445377799E-4</c:v>
                </c:pt>
                <c:pt idx="28063">
                  <c:v>-8.4033613445377799E-4</c:v>
                </c:pt>
                <c:pt idx="28064">
                  <c:v>-8.4033613445377799E-4</c:v>
                </c:pt>
                <c:pt idx="28065">
                  <c:v>-8.4033613445377799E-4</c:v>
                </c:pt>
                <c:pt idx="28066">
                  <c:v>-8.4033613445377799E-4</c:v>
                </c:pt>
                <c:pt idx="28067">
                  <c:v>-8.4033613445377799E-4</c:v>
                </c:pt>
                <c:pt idx="28068">
                  <c:v>-8.4033613445377799E-4</c:v>
                </c:pt>
                <c:pt idx="28069">
                  <c:v>-8.4033613445377799E-4</c:v>
                </c:pt>
                <c:pt idx="28070">
                  <c:v>-8.4033613445377799E-4</c:v>
                </c:pt>
                <c:pt idx="28071">
                  <c:v>-8.4033613445377799E-4</c:v>
                </c:pt>
                <c:pt idx="28072">
                  <c:v>-8.4033613445377799E-4</c:v>
                </c:pt>
                <c:pt idx="28073">
                  <c:v>-8.4033613445377799E-4</c:v>
                </c:pt>
                <c:pt idx="28074">
                  <c:v>-8.4033613445377799E-4</c:v>
                </c:pt>
                <c:pt idx="28075">
                  <c:v>-8.4033613445377799E-4</c:v>
                </c:pt>
                <c:pt idx="28076">
                  <c:v>-8.4033613445377799E-4</c:v>
                </c:pt>
                <c:pt idx="28077">
                  <c:v>-8.4033613445377799E-4</c:v>
                </c:pt>
                <c:pt idx="28078">
                  <c:v>-8.4033613445377799E-4</c:v>
                </c:pt>
                <c:pt idx="28079">
                  <c:v>-8.4033613445377799E-4</c:v>
                </c:pt>
                <c:pt idx="28080">
                  <c:v>-8.4033613445377799E-4</c:v>
                </c:pt>
                <c:pt idx="28081">
                  <c:v>-8.4033613445377799E-4</c:v>
                </c:pt>
                <c:pt idx="28082">
                  <c:v>-8.4033613445377799E-4</c:v>
                </c:pt>
                <c:pt idx="28083">
                  <c:v>-8.4033613445377799E-4</c:v>
                </c:pt>
                <c:pt idx="28084">
                  <c:v>-8.4033613445377799E-4</c:v>
                </c:pt>
                <c:pt idx="28085">
                  <c:v>-8.4033613445377799E-4</c:v>
                </c:pt>
                <c:pt idx="28086">
                  <c:v>-8.4033613445377799E-4</c:v>
                </c:pt>
                <c:pt idx="28087">
                  <c:v>-8.4033613445377799E-4</c:v>
                </c:pt>
                <c:pt idx="28088">
                  <c:v>-8.4033613445377799E-4</c:v>
                </c:pt>
                <c:pt idx="28089">
                  <c:v>-8.4033613445377799E-4</c:v>
                </c:pt>
                <c:pt idx="28090">
                  <c:v>-8.4033613445377799E-4</c:v>
                </c:pt>
                <c:pt idx="28091">
                  <c:v>-8.4033613445377799E-4</c:v>
                </c:pt>
                <c:pt idx="28092">
                  <c:v>-8.4033613445377799E-4</c:v>
                </c:pt>
                <c:pt idx="28093">
                  <c:v>-8.4033613445377799E-4</c:v>
                </c:pt>
                <c:pt idx="28094">
                  <c:v>-8.4033613445377799E-4</c:v>
                </c:pt>
                <c:pt idx="28095">
                  <c:v>-8.4033613445377799E-4</c:v>
                </c:pt>
                <c:pt idx="28096">
                  <c:v>-8.4033613445377799E-4</c:v>
                </c:pt>
                <c:pt idx="28097">
                  <c:v>-8.4033613445377799E-4</c:v>
                </c:pt>
                <c:pt idx="28098">
                  <c:v>-8.4033613445377799E-4</c:v>
                </c:pt>
                <c:pt idx="28099">
                  <c:v>-8.4033613445377799E-4</c:v>
                </c:pt>
                <c:pt idx="28100">
                  <c:v>-8.4033613445377799E-4</c:v>
                </c:pt>
                <c:pt idx="28101">
                  <c:v>-8.4033613445377799E-4</c:v>
                </c:pt>
                <c:pt idx="28102">
                  <c:v>-8.4033613445377799E-4</c:v>
                </c:pt>
                <c:pt idx="28103">
                  <c:v>-8.4033613445377799E-4</c:v>
                </c:pt>
                <c:pt idx="28104">
                  <c:v>-8.4033613445377799E-4</c:v>
                </c:pt>
                <c:pt idx="28105">
                  <c:v>-8.4033613445377799E-4</c:v>
                </c:pt>
                <c:pt idx="28106">
                  <c:v>-8.4033613445377799E-4</c:v>
                </c:pt>
                <c:pt idx="28107">
                  <c:v>-8.4033613445377799E-4</c:v>
                </c:pt>
                <c:pt idx="28108">
                  <c:v>-8.4033613445377799E-4</c:v>
                </c:pt>
                <c:pt idx="28109">
                  <c:v>-8.4033613445377799E-4</c:v>
                </c:pt>
                <c:pt idx="28110">
                  <c:v>-8.4033613445377799E-4</c:v>
                </c:pt>
                <c:pt idx="28111">
                  <c:v>-8.4033613445377799E-4</c:v>
                </c:pt>
                <c:pt idx="28112">
                  <c:v>-8.4033613445377799E-4</c:v>
                </c:pt>
                <c:pt idx="28113">
                  <c:v>-8.4033613445377799E-4</c:v>
                </c:pt>
                <c:pt idx="28114">
                  <c:v>-8.4033613445377799E-4</c:v>
                </c:pt>
                <c:pt idx="28115">
                  <c:v>-8.4033613445377799E-4</c:v>
                </c:pt>
                <c:pt idx="28116">
                  <c:v>-8.4033613445377799E-4</c:v>
                </c:pt>
                <c:pt idx="28117">
                  <c:v>-8.4033613445377799E-4</c:v>
                </c:pt>
                <c:pt idx="28118">
                  <c:v>-8.4033613445377799E-4</c:v>
                </c:pt>
                <c:pt idx="28119">
                  <c:v>-8.4033613445377799E-4</c:v>
                </c:pt>
                <c:pt idx="28120">
                  <c:v>-8.4033613445377799E-4</c:v>
                </c:pt>
                <c:pt idx="28121">
                  <c:v>-8.4033613445377799E-4</c:v>
                </c:pt>
                <c:pt idx="28122">
                  <c:v>-8.4033613445377799E-4</c:v>
                </c:pt>
                <c:pt idx="28123">
                  <c:v>-8.4033613445377799E-4</c:v>
                </c:pt>
                <c:pt idx="28124">
                  <c:v>-8.4033613445377799E-4</c:v>
                </c:pt>
                <c:pt idx="28125">
                  <c:v>-8.4033613445377799E-4</c:v>
                </c:pt>
                <c:pt idx="28126">
                  <c:v>-8.4033613445377799E-4</c:v>
                </c:pt>
                <c:pt idx="28127">
                  <c:v>-8.4033613445377799E-4</c:v>
                </c:pt>
                <c:pt idx="28128">
                  <c:v>-8.4033613445377799E-4</c:v>
                </c:pt>
                <c:pt idx="28129">
                  <c:v>-8.4033613445377799E-4</c:v>
                </c:pt>
                <c:pt idx="28130">
                  <c:v>-8.4033613445377799E-4</c:v>
                </c:pt>
                <c:pt idx="28131">
                  <c:v>-8.4033613445377799E-4</c:v>
                </c:pt>
                <c:pt idx="28132">
                  <c:v>-8.4033613445377799E-4</c:v>
                </c:pt>
                <c:pt idx="28133">
                  <c:v>-8.4033613445377799E-4</c:v>
                </c:pt>
                <c:pt idx="28134">
                  <c:v>-8.4033613445377799E-4</c:v>
                </c:pt>
                <c:pt idx="28135">
                  <c:v>-8.4033613445377799E-4</c:v>
                </c:pt>
                <c:pt idx="28136">
                  <c:v>-8.4033613445377799E-4</c:v>
                </c:pt>
                <c:pt idx="28137">
                  <c:v>-8.4033613445377799E-4</c:v>
                </c:pt>
                <c:pt idx="28138">
                  <c:v>-8.4033613445377799E-4</c:v>
                </c:pt>
                <c:pt idx="28139">
                  <c:v>-8.4033613445377799E-4</c:v>
                </c:pt>
                <c:pt idx="28140">
                  <c:v>-8.4033613445377799E-4</c:v>
                </c:pt>
                <c:pt idx="28141">
                  <c:v>-8.4033613445377799E-4</c:v>
                </c:pt>
                <c:pt idx="28142">
                  <c:v>-8.4033613445377799E-4</c:v>
                </c:pt>
                <c:pt idx="28143">
                  <c:v>-8.4033613445377799E-4</c:v>
                </c:pt>
                <c:pt idx="28144">
                  <c:v>-8.4033613445377799E-4</c:v>
                </c:pt>
                <c:pt idx="28145">
                  <c:v>-8.4033613445377799E-4</c:v>
                </c:pt>
                <c:pt idx="28146">
                  <c:v>-8.4033613445377799E-4</c:v>
                </c:pt>
                <c:pt idx="28147">
                  <c:v>-8.4033613445377799E-4</c:v>
                </c:pt>
                <c:pt idx="28148">
                  <c:v>-8.4033613445377799E-4</c:v>
                </c:pt>
                <c:pt idx="28149">
                  <c:v>-8.4033613445377799E-4</c:v>
                </c:pt>
                <c:pt idx="28150">
                  <c:v>-8.4033613445377799E-4</c:v>
                </c:pt>
                <c:pt idx="28151">
                  <c:v>-8.4033613445377799E-4</c:v>
                </c:pt>
                <c:pt idx="28152">
                  <c:v>-8.4033613445377799E-4</c:v>
                </c:pt>
                <c:pt idx="28153">
                  <c:v>-8.4033613445377799E-4</c:v>
                </c:pt>
                <c:pt idx="28154">
                  <c:v>-8.4033613445377799E-4</c:v>
                </c:pt>
                <c:pt idx="28155">
                  <c:v>-8.4033613445377799E-4</c:v>
                </c:pt>
                <c:pt idx="28156">
                  <c:v>-8.4033613445377799E-4</c:v>
                </c:pt>
                <c:pt idx="28157">
                  <c:v>-8.4033613445377799E-4</c:v>
                </c:pt>
                <c:pt idx="28158">
                  <c:v>-8.4033613445377799E-4</c:v>
                </c:pt>
                <c:pt idx="28159">
                  <c:v>-8.4033613445377799E-4</c:v>
                </c:pt>
                <c:pt idx="28160">
                  <c:v>-8.4033613445377799E-4</c:v>
                </c:pt>
                <c:pt idx="28161">
                  <c:v>-8.4033613445377799E-4</c:v>
                </c:pt>
                <c:pt idx="28162">
                  <c:v>-8.4033613445377799E-4</c:v>
                </c:pt>
                <c:pt idx="28163">
                  <c:v>-8.4033613445377799E-4</c:v>
                </c:pt>
                <c:pt idx="28164">
                  <c:v>-8.4033613445377799E-4</c:v>
                </c:pt>
                <c:pt idx="28165">
                  <c:v>-8.4033613445377799E-4</c:v>
                </c:pt>
                <c:pt idx="28166">
                  <c:v>-8.4033613445377799E-4</c:v>
                </c:pt>
                <c:pt idx="28167">
                  <c:v>-1.6806722689075499E-3</c:v>
                </c:pt>
                <c:pt idx="28168">
                  <c:v>-1.6806722689075499E-3</c:v>
                </c:pt>
                <c:pt idx="28169">
                  <c:v>-1.6806722689075499E-3</c:v>
                </c:pt>
                <c:pt idx="28170">
                  <c:v>-1.6806722689075499E-3</c:v>
                </c:pt>
                <c:pt idx="28171">
                  <c:v>-1.6806722689075499E-3</c:v>
                </c:pt>
                <c:pt idx="28172">
                  <c:v>-1.6806722689075499E-3</c:v>
                </c:pt>
                <c:pt idx="28173">
                  <c:v>-1.6806722689075499E-3</c:v>
                </c:pt>
                <c:pt idx="28174">
                  <c:v>-1.6806722689075499E-3</c:v>
                </c:pt>
                <c:pt idx="28175">
                  <c:v>-1.6806722689075499E-3</c:v>
                </c:pt>
                <c:pt idx="28176">
                  <c:v>-1.6806722689075499E-3</c:v>
                </c:pt>
                <c:pt idx="28177">
                  <c:v>-1.6806722689075499E-3</c:v>
                </c:pt>
                <c:pt idx="28178">
                  <c:v>-1.6806722689075499E-3</c:v>
                </c:pt>
                <c:pt idx="28179">
                  <c:v>-1.6806722689075499E-3</c:v>
                </c:pt>
                <c:pt idx="28180">
                  <c:v>-1.6806722689075499E-3</c:v>
                </c:pt>
                <c:pt idx="28181">
                  <c:v>-1.6806722689075499E-3</c:v>
                </c:pt>
                <c:pt idx="28182">
                  <c:v>-1.6806722689075499E-3</c:v>
                </c:pt>
                <c:pt idx="28183">
                  <c:v>-1.6806722689075499E-3</c:v>
                </c:pt>
                <c:pt idx="28184">
                  <c:v>-1.6806722689075499E-3</c:v>
                </c:pt>
                <c:pt idx="28185">
                  <c:v>-1.6806722689075499E-3</c:v>
                </c:pt>
                <c:pt idx="28186">
                  <c:v>-1.6806722689075499E-3</c:v>
                </c:pt>
                <c:pt idx="28187">
                  <c:v>-1.6806722689075499E-3</c:v>
                </c:pt>
                <c:pt idx="28188">
                  <c:v>-1.6806722689075499E-3</c:v>
                </c:pt>
                <c:pt idx="28189">
                  <c:v>-8.4033613445377799E-4</c:v>
                </c:pt>
                <c:pt idx="28190">
                  <c:v>-8.4033613445377799E-4</c:v>
                </c:pt>
                <c:pt idx="28191">
                  <c:v>-8.4033613445377799E-4</c:v>
                </c:pt>
                <c:pt idx="28192">
                  <c:v>-8.4033613445377799E-4</c:v>
                </c:pt>
                <c:pt idx="28193">
                  <c:v>-8.4033613445377799E-4</c:v>
                </c:pt>
                <c:pt idx="28194">
                  <c:v>-8.4033613445377799E-4</c:v>
                </c:pt>
                <c:pt idx="28195">
                  <c:v>-8.4033613445377799E-4</c:v>
                </c:pt>
                <c:pt idx="28196">
                  <c:v>-8.4033613445377799E-4</c:v>
                </c:pt>
                <c:pt idx="28197">
                  <c:v>-8.4033613445377799E-4</c:v>
                </c:pt>
                <c:pt idx="28198">
                  <c:v>-8.4033613445377799E-4</c:v>
                </c:pt>
                <c:pt idx="28199">
                  <c:v>-8.4033613445377799E-4</c:v>
                </c:pt>
                <c:pt idx="28200">
                  <c:v>-8.4033613445377799E-4</c:v>
                </c:pt>
                <c:pt idx="28201">
                  <c:v>-8.4033613445377799E-4</c:v>
                </c:pt>
                <c:pt idx="28202">
                  <c:v>-8.4033613445377799E-4</c:v>
                </c:pt>
                <c:pt idx="28203">
                  <c:v>-8.4033613445377799E-4</c:v>
                </c:pt>
                <c:pt idx="28204">
                  <c:v>-8.4033613445377799E-4</c:v>
                </c:pt>
                <c:pt idx="28205">
                  <c:v>-8.4033613445377799E-4</c:v>
                </c:pt>
                <c:pt idx="28206">
                  <c:v>-8.4033613445377799E-4</c:v>
                </c:pt>
                <c:pt idx="28207">
                  <c:v>0</c:v>
                </c:pt>
                <c:pt idx="28208">
                  <c:v>0</c:v>
                </c:pt>
                <c:pt idx="28209">
                  <c:v>0</c:v>
                </c:pt>
                <c:pt idx="28210">
                  <c:v>0</c:v>
                </c:pt>
                <c:pt idx="28211">
                  <c:v>0</c:v>
                </c:pt>
                <c:pt idx="28212">
                  <c:v>0</c:v>
                </c:pt>
                <c:pt idx="28213">
                  <c:v>0</c:v>
                </c:pt>
                <c:pt idx="28214">
                  <c:v>0</c:v>
                </c:pt>
                <c:pt idx="28215">
                  <c:v>0</c:v>
                </c:pt>
                <c:pt idx="28216">
                  <c:v>0</c:v>
                </c:pt>
                <c:pt idx="28217">
                  <c:v>0</c:v>
                </c:pt>
                <c:pt idx="28218">
                  <c:v>0</c:v>
                </c:pt>
                <c:pt idx="28219">
                  <c:v>0</c:v>
                </c:pt>
                <c:pt idx="28220">
                  <c:v>0</c:v>
                </c:pt>
                <c:pt idx="28221">
                  <c:v>0</c:v>
                </c:pt>
                <c:pt idx="28222">
                  <c:v>0</c:v>
                </c:pt>
                <c:pt idx="28223">
                  <c:v>0</c:v>
                </c:pt>
                <c:pt idx="28224">
                  <c:v>0</c:v>
                </c:pt>
                <c:pt idx="28225">
                  <c:v>0</c:v>
                </c:pt>
                <c:pt idx="28226">
                  <c:v>0</c:v>
                </c:pt>
                <c:pt idx="28227">
                  <c:v>0</c:v>
                </c:pt>
                <c:pt idx="28228">
                  <c:v>0</c:v>
                </c:pt>
                <c:pt idx="28229">
                  <c:v>0</c:v>
                </c:pt>
                <c:pt idx="28230">
                  <c:v>0</c:v>
                </c:pt>
                <c:pt idx="28231">
                  <c:v>0</c:v>
                </c:pt>
                <c:pt idx="28232">
                  <c:v>0</c:v>
                </c:pt>
                <c:pt idx="28233">
                  <c:v>0</c:v>
                </c:pt>
                <c:pt idx="28234">
                  <c:v>0</c:v>
                </c:pt>
                <c:pt idx="28235">
                  <c:v>-8.4033613445377799E-4</c:v>
                </c:pt>
                <c:pt idx="28236">
                  <c:v>-8.4033613445377799E-4</c:v>
                </c:pt>
                <c:pt idx="28237">
                  <c:v>-8.4033613445377799E-4</c:v>
                </c:pt>
                <c:pt idx="28238">
                  <c:v>-8.4033613445377799E-4</c:v>
                </c:pt>
                <c:pt idx="28239">
                  <c:v>-8.4033613445377799E-4</c:v>
                </c:pt>
                <c:pt idx="28240">
                  <c:v>-8.4033613445377799E-4</c:v>
                </c:pt>
                <c:pt idx="28241">
                  <c:v>-8.4033613445377799E-4</c:v>
                </c:pt>
                <c:pt idx="28242">
                  <c:v>-8.4033613445377799E-4</c:v>
                </c:pt>
                <c:pt idx="28243">
                  <c:v>-8.4033613445377799E-4</c:v>
                </c:pt>
                <c:pt idx="28244">
                  <c:v>-8.4033613445377799E-4</c:v>
                </c:pt>
                <c:pt idx="28245">
                  <c:v>-8.4033613445377799E-4</c:v>
                </c:pt>
                <c:pt idx="28246">
                  <c:v>-8.4033613445377799E-4</c:v>
                </c:pt>
                <c:pt idx="28247">
                  <c:v>-8.4033613445377799E-4</c:v>
                </c:pt>
                <c:pt idx="28248">
                  <c:v>-8.4033613445377799E-4</c:v>
                </c:pt>
                <c:pt idx="28249">
                  <c:v>-8.4033613445377799E-4</c:v>
                </c:pt>
                <c:pt idx="28250">
                  <c:v>-8.4033613445377799E-4</c:v>
                </c:pt>
                <c:pt idx="28251">
                  <c:v>-1.6806722689075499E-3</c:v>
                </c:pt>
                <c:pt idx="28252">
                  <c:v>-1.6806722689075499E-3</c:v>
                </c:pt>
                <c:pt idx="28253">
                  <c:v>-1.6806722689075499E-3</c:v>
                </c:pt>
                <c:pt idx="28254">
                  <c:v>-1.6806722689075499E-3</c:v>
                </c:pt>
                <c:pt idx="28255">
                  <c:v>-1.6806722689075499E-3</c:v>
                </c:pt>
                <c:pt idx="28256">
                  <c:v>-1.6806722689075499E-3</c:v>
                </c:pt>
                <c:pt idx="28257">
                  <c:v>-1.6806722689075499E-3</c:v>
                </c:pt>
                <c:pt idx="28258">
                  <c:v>-1.6806722689075499E-3</c:v>
                </c:pt>
                <c:pt idx="28259">
                  <c:v>-1.6806722689075499E-3</c:v>
                </c:pt>
                <c:pt idx="28260">
                  <c:v>-1.6806722689075499E-3</c:v>
                </c:pt>
                <c:pt idx="28261">
                  <c:v>-1.6806722689075499E-3</c:v>
                </c:pt>
                <c:pt idx="28262">
                  <c:v>-1.6806722689075499E-3</c:v>
                </c:pt>
                <c:pt idx="28263">
                  <c:v>-1.6806722689075499E-3</c:v>
                </c:pt>
                <c:pt idx="28264">
                  <c:v>-1.6806722689075499E-3</c:v>
                </c:pt>
                <c:pt idx="28265">
                  <c:v>-1.6806722689075499E-3</c:v>
                </c:pt>
                <c:pt idx="28266">
                  <c:v>-1.6806722689075499E-3</c:v>
                </c:pt>
                <c:pt idx="28267">
                  <c:v>-1.6806722689075499E-3</c:v>
                </c:pt>
                <c:pt idx="28268">
                  <c:v>-1.6806722689075499E-3</c:v>
                </c:pt>
                <c:pt idx="28269">
                  <c:v>-1.6806722689075499E-3</c:v>
                </c:pt>
                <c:pt idx="28270">
                  <c:v>-1.6806722689075499E-3</c:v>
                </c:pt>
                <c:pt idx="28271">
                  <c:v>-1.6806722689075499E-3</c:v>
                </c:pt>
                <c:pt idx="28272">
                  <c:v>-1.6806722689075499E-3</c:v>
                </c:pt>
                <c:pt idx="28273">
                  <c:v>-1.6806722689075499E-3</c:v>
                </c:pt>
                <c:pt idx="28274">
                  <c:v>-1.6806722689075499E-3</c:v>
                </c:pt>
                <c:pt idx="28275">
                  <c:v>-1.6806722689075499E-3</c:v>
                </c:pt>
                <c:pt idx="28276">
                  <c:v>-1.6806722689075499E-3</c:v>
                </c:pt>
                <c:pt idx="28277">
                  <c:v>-1.6806722689075499E-3</c:v>
                </c:pt>
                <c:pt idx="28278">
                  <c:v>-1.6806722689075499E-3</c:v>
                </c:pt>
                <c:pt idx="28279">
                  <c:v>-1.6806722689075499E-3</c:v>
                </c:pt>
                <c:pt idx="28280">
                  <c:v>-1.6806722689075499E-3</c:v>
                </c:pt>
                <c:pt idx="28281">
                  <c:v>-1.6806722689075499E-3</c:v>
                </c:pt>
                <c:pt idx="28282">
                  <c:v>-1.6806722689075499E-3</c:v>
                </c:pt>
                <c:pt idx="28283">
                  <c:v>-1.6806722689075499E-3</c:v>
                </c:pt>
                <c:pt idx="28284">
                  <c:v>-1.6806722689075499E-3</c:v>
                </c:pt>
                <c:pt idx="28285">
                  <c:v>-1.6806722689075499E-3</c:v>
                </c:pt>
                <c:pt idx="28286">
                  <c:v>-1.6806722689075499E-3</c:v>
                </c:pt>
                <c:pt idx="28287">
                  <c:v>-1.6806722689075499E-3</c:v>
                </c:pt>
                <c:pt idx="28288">
                  <c:v>-1.6806722689075499E-3</c:v>
                </c:pt>
                <c:pt idx="28289">
                  <c:v>-1.6806722689075499E-3</c:v>
                </c:pt>
                <c:pt idx="28290">
                  <c:v>-1.6806722689075499E-3</c:v>
                </c:pt>
                <c:pt idx="28291">
                  <c:v>-1.6806722689075499E-3</c:v>
                </c:pt>
                <c:pt idx="28292">
                  <c:v>-1.6806722689075499E-3</c:v>
                </c:pt>
                <c:pt idx="28293">
                  <c:v>-1.6806722689075499E-3</c:v>
                </c:pt>
                <c:pt idx="28294">
                  <c:v>-1.6806722689075499E-3</c:v>
                </c:pt>
                <c:pt idx="28295">
                  <c:v>-1.6806722689075499E-3</c:v>
                </c:pt>
                <c:pt idx="28296">
                  <c:v>-1.6806722689075499E-3</c:v>
                </c:pt>
                <c:pt idx="28297">
                  <c:v>-1.6806722689075499E-3</c:v>
                </c:pt>
                <c:pt idx="28298">
                  <c:v>-1.6806722689075499E-3</c:v>
                </c:pt>
                <c:pt idx="28299">
                  <c:v>-1.6806722689075499E-3</c:v>
                </c:pt>
                <c:pt idx="28300">
                  <c:v>-1.6806722689075499E-3</c:v>
                </c:pt>
                <c:pt idx="28301">
                  <c:v>-1.6806722689075499E-3</c:v>
                </c:pt>
                <c:pt idx="28302">
                  <c:v>-1.6806722689075499E-3</c:v>
                </c:pt>
                <c:pt idx="28303">
                  <c:v>-1.6806722689075499E-3</c:v>
                </c:pt>
                <c:pt idx="28304">
                  <c:v>-1.6806722689075499E-3</c:v>
                </c:pt>
                <c:pt idx="28305">
                  <c:v>-1.6806722689075499E-3</c:v>
                </c:pt>
                <c:pt idx="28306">
                  <c:v>-1.6806722689075499E-3</c:v>
                </c:pt>
                <c:pt idx="28307">
                  <c:v>-1.6806722689075499E-3</c:v>
                </c:pt>
                <c:pt idx="28308">
                  <c:v>-1.6806722689075499E-3</c:v>
                </c:pt>
                <c:pt idx="28309">
                  <c:v>-1.6806722689075499E-3</c:v>
                </c:pt>
                <c:pt idx="28310">
                  <c:v>-1.6806722689075499E-3</c:v>
                </c:pt>
                <c:pt idx="28311">
                  <c:v>-1.6806722689075499E-3</c:v>
                </c:pt>
                <c:pt idx="28312">
                  <c:v>-1.6806722689075499E-3</c:v>
                </c:pt>
                <c:pt idx="28313">
                  <c:v>-1.6806722689075499E-3</c:v>
                </c:pt>
                <c:pt idx="28314">
                  <c:v>-1.6806722689075499E-3</c:v>
                </c:pt>
                <c:pt idx="28315">
                  <c:v>-1.6806722689075499E-3</c:v>
                </c:pt>
                <c:pt idx="28316">
                  <c:v>-1.6806722689075499E-3</c:v>
                </c:pt>
                <c:pt idx="28317">
                  <c:v>-1.6806722689075499E-3</c:v>
                </c:pt>
                <c:pt idx="28318">
                  <c:v>-1.6806722689075499E-3</c:v>
                </c:pt>
                <c:pt idx="28319">
                  <c:v>-1.6806722689075499E-3</c:v>
                </c:pt>
                <c:pt idx="28320">
                  <c:v>-1.6806722689075499E-3</c:v>
                </c:pt>
                <c:pt idx="28321">
                  <c:v>-1.6806722689075499E-3</c:v>
                </c:pt>
                <c:pt idx="28322">
                  <c:v>-1.6806722689075499E-3</c:v>
                </c:pt>
                <c:pt idx="28323">
                  <c:v>-1.6806722689075499E-3</c:v>
                </c:pt>
                <c:pt idx="28324">
                  <c:v>-1.6806722689075499E-3</c:v>
                </c:pt>
                <c:pt idx="28325">
                  <c:v>-1.6806722689075499E-3</c:v>
                </c:pt>
                <c:pt idx="28326">
                  <c:v>-1.6806722689075499E-3</c:v>
                </c:pt>
                <c:pt idx="28327">
                  <c:v>-1.6806722689075499E-3</c:v>
                </c:pt>
                <c:pt idx="28328">
                  <c:v>-1.6806722689075499E-3</c:v>
                </c:pt>
                <c:pt idx="28329">
                  <c:v>-1.6806722689075499E-3</c:v>
                </c:pt>
                <c:pt idx="28330">
                  <c:v>-1.6806722689075499E-3</c:v>
                </c:pt>
                <c:pt idx="28331">
                  <c:v>-1.6806722689075499E-3</c:v>
                </c:pt>
                <c:pt idx="28332">
                  <c:v>-1.6806722689075499E-3</c:v>
                </c:pt>
                <c:pt idx="28333">
                  <c:v>-1.6806722689075499E-3</c:v>
                </c:pt>
                <c:pt idx="28334">
                  <c:v>-1.6806722689075499E-3</c:v>
                </c:pt>
                <c:pt idx="28335">
                  <c:v>-1.6806722689075499E-3</c:v>
                </c:pt>
                <c:pt idx="28336">
                  <c:v>-1.6806722689075499E-3</c:v>
                </c:pt>
                <c:pt idx="28337">
                  <c:v>-1.6806722689075499E-3</c:v>
                </c:pt>
                <c:pt idx="28338">
                  <c:v>-1.6806722689075499E-3</c:v>
                </c:pt>
                <c:pt idx="28339">
                  <c:v>-1.6806722689075499E-3</c:v>
                </c:pt>
                <c:pt idx="28340">
                  <c:v>-1.6806722689075499E-3</c:v>
                </c:pt>
                <c:pt idx="28341">
                  <c:v>-1.6806722689075499E-3</c:v>
                </c:pt>
                <c:pt idx="28342">
                  <c:v>-1.6806722689075499E-3</c:v>
                </c:pt>
                <c:pt idx="28343">
                  <c:v>-1.6806722689075499E-3</c:v>
                </c:pt>
                <c:pt idx="28344">
                  <c:v>-1.6806722689075499E-3</c:v>
                </c:pt>
                <c:pt idx="28345">
                  <c:v>-1.6806722689075499E-3</c:v>
                </c:pt>
                <c:pt idx="28346">
                  <c:v>-1.6806722689075499E-3</c:v>
                </c:pt>
                <c:pt idx="28347">
                  <c:v>-1.6806722689075499E-3</c:v>
                </c:pt>
                <c:pt idx="28348">
                  <c:v>-1.6806722689075499E-3</c:v>
                </c:pt>
                <c:pt idx="28349">
                  <c:v>-1.6806722689075499E-3</c:v>
                </c:pt>
                <c:pt idx="28350">
                  <c:v>-1.6806722689075499E-3</c:v>
                </c:pt>
                <c:pt idx="28351">
                  <c:v>-1.6806722689075499E-3</c:v>
                </c:pt>
                <c:pt idx="28352">
                  <c:v>-1.6806722689075499E-3</c:v>
                </c:pt>
                <c:pt idx="28353">
                  <c:v>-1.6806722689075499E-3</c:v>
                </c:pt>
                <c:pt idx="28354">
                  <c:v>-1.6806722689075499E-3</c:v>
                </c:pt>
                <c:pt idx="28355">
                  <c:v>-1.6806722689075499E-3</c:v>
                </c:pt>
                <c:pt idx="28356">
                  <c:v>-1.6806722689075499E-3</c:v>
                </c:pt>
                <c:pt idx="28357">
                  <c:v>-1.6806722689075499E-3</c:v>
                </c:pt>
                <c:pt idx="28358">
                  <c:v>-8.4033613445377799E-4</c:v>
                </c:pt>
                <c:pt idx="28359">
                  <c:v>-8.4033613445377799E-4</c:v>
                </c:pt>
                <c:pt idx="28360">
                  <c:v>-8.4033613445377799E-4</c:v>
                </c:pt>
                <c:pt idx="28361">
                  <c:v>-8.4033613445377799E-4</c:v>
                </c:pt>
                <c:pt idx="28362">
                  <c:v>-8.4033613445377799E-4</c:v>
                </c:pt>
                <c:pt idx="28363">
                  <c:v>-8.4033613445377799E-4</c:v>
                </c:pt>
                <c:pt idx="28364">
                  <c:v>-8.4033613445377799E-4</c:v>
                </c:pt>
                <c:pt idx="28365">
                  <c:v>-8.4033613445377799E-4</c:v>
                </c:pt>
                <c:pt idx="28366">
                  <c:v>-8.4033613445377799E-4</c:v>
                </c:pt>
                <c:pt idx="28367">
                  <c:v>-8.4033613445377799E-4</c:v>
                </c:pt>
                <c:pt idx="28368">
                  <c:v>-8.4033613445377799E-4</c:v>
                </c:pt>
                <c:pt idx="28369">
                  <c:v>-8.4033613445377799E-4</c:v>
                </c:pt>
                <c:pt idx="28370">
                  <c:v>-8.4033613445377799E-4</c:v>
                </c:pt>
                <c:pt idx="28371">
                  <c:v>-8.4033613445377799E-4</c:v>
                </c:pt>
                <c:pt idx="28372">
                  <c:v>-8.4033613445377799E-4</c:v>
                </c:pt>
                <c:pt idx="28373">
                  <c:v>-8.4033613445377799E-4</c:v>
                </c:pt>
                <c:pt idx="28374">
                  <c:v>-8.4033613445377799E-4</c:v>
                </c:pt>
                <c:pt idx="28375">
                  <c:v>-8.4033613445377799E-4</c:v>
                </c:pt>
                <c:pt idx="28376">
                  <c:v>-8.4033613445377799E-4</c:v>
                </c:pt>
                <c:pt idx="28377">
                  <c:v>-8.4033613445377799E-4</c:v>
                </c:pt>
                <c:pt idx="28378">
                  <c:v>-8.4033613445377799E-4</c:v>
                </c:pt>
                <c:pt idx="28379">
                  <c:v>-8.4033613445377799E-4</c:v>
                </c:pt>
                <c:pt idx="28380">
                  <c:v>-8.4033613445377799E-4</c:v>
                </c:pt>
                <c:pt idx="28381">
                  <c:v>-8.4033613445377799E-4</c:v>
                </c:pt>
                <c:pt idx="28382">
                  <c:v>-8.4033613445377799E-4</c:v>
                </c:pt>
                <c:pt idx="28383">
                  <c:v>-1.6806722689075499E-3</c:v>
                </c:pt>
                <c:pt idx="28384">
                  <c:v>-1.6806722689075499E-3</c:v>
                </c:pt>
                <c:pt idx="28385">
                  <c:v>-1.6806722689075499E-3</c:v>
                </c:pt>
                <c:pt idx="28386">
                  <c:v>-1.6806722689075499E-3</c:v>
                </c:pt>
                <c:pt idx="28387">
                  <c:v>-1.6806722689075499E-3</c:v>
                </c:pt>
                <c:pt idx="28388">
                  <c:v>-1.6806722689075499E-3</c:v>
                </c:pt>
                <c:pt idx="28389">
                  <c:v>-1.6806722689075499E-3</c:v>
                </c:pt>
                <c:pt idx="28390">
                  <c:v>-1.6806722689075499E-3</c:v>
                </c:pt>
                <c:pt idx="28391">
                  <c:v>-1.6806722689075499E-3</c:v>
                </c:pt>
                <c:pt idx="28392">
                  <c:v>-1.6806722689075499E-3</c:v>
                </c:pt>
                <c:pt idx="28393">
                  <c:v>-1.6806722689075499E-3</c:v>
                </c:pt>
                <c:pt idx="28394">
                  <c:v>-1.6806722689075499E-3</c:v>
                </c:pt>
                <c:pt idx="28395">
                  <c:v>-1.6806722689075499E-3</c:v>
                </c:pt>
                <c:pt idx="28396">
                  <c:v>-1.6806722689075499E-3</c:v>
                </c:pt>
                <c:pt idx="28397">
                  <c:v>-1.6806722689075499E-3</c:v>
                </c:pt>
                <c:pt idx="28398">
                  <c:v>-1.6806722689075499E-3</c:v>
                </c:pt>
                <c:pt idx="28399">
                  <c:v>-1.6806722689075499E-3</c:v>
                </c:pt>
                <c:pt idx="28400">
                  <c:v>-1.6806722689075499E-3</c:v>
                </c:pt>
                <c:pt idx="28401">
                  <c:v>-1.6806722689075499E-3</c:v>
                </c:pt>
                <c:pt idx="28402">
                  <c:v>-2.5210084033613299E-3</c:v>
                </c:pt>
                <c:pt idx="28403">
                  <c:v>-2.5210084033613299E-3</c:v>
                </c:pt>
                <c:pt idx="28404">
                  <c:v>-2.5210084033613299E-3</c:v>
                </c:pt>
                <c:pt idx="28405">
                  <c:v>-2.5210084033613299E-3</c:v>
                </c:pt>
                <c:pt idx="28406">
                  <c:v>-2.5210084033613299E-3</c:v>
                </c:pt>
                <c:pt idx="28407">
                  <c:v>-2.5210084033613299E-3</c:v>
                </c:pt>
                <c:pt idx="28408">
                  <c:v>-2.5210084033613299E-3</c:v>
                </c:pt>
                <c:pt idx="28409">
                  <c:v>-2.5210084033613299E-3</c:v>
                </c:pt>
                <c:pt idx="28410">
                  <c:v>-2.5210084033613299E-3</c:v>
                </c:pt>
                <c:pt idx="28411">
                  <c:v>-2.5210084033613299E-3</c:v>
                </c:pt>
                <c:pt idx="28412">
                  <c:v>-2.5210084033613299E-3</c:v>
                </c:pt>
                <c:pt idx="28413">
                  <c:v>-2.5210084033613299E-3</c:v>
                </c:pt>
                <c:pt idx="28414">
                  <c:v>-2.5210084033613299E-3</c:v>
                </c:pt>
                <c:pt idx="28415">
                  <c:v>-2.5210084033613299E-3</c:v>
                </c:pt>
                <c:pt idx="28416">
                  <c:v>-2.5210084033613299E-3</c:v>
                </c:pt>
                <c:pt idx="28417">
                  <c:v>-2.5210084033613299E-3</c:v>
                </c:pt>
                <c:pt idx="28418">
                  <c:v>-3.3613445378151102E-3</c:v>
                </c:pt>
                <c:pt idx="28419">
                  <c:v>-3.3613445378151102E-3</c:v>
                </c:pt>
                <c:pt idx="28420">
                  <c:v>-3.3613445378151102E-3</c:v>
                </c:pt>
                <c:pt idx="28421">
                  <c:v>-3.3613445378151102E-3</c:v>
                </c:pt>
                <c:pt idx="28422">
                  <c:v>-3.3613445378151102E-3</c:v>
                </c:pt>
                <c:pt idx="28423">
                  <c:v>-3.3613445378151102E-3</c:v>
                </c:pt>
                <c:pt idx="28424">
                  <c:v>-4.20168067226889E-3</c:v>
                </c:pt>
                <c:pt idx="28425">
                  <c:v>-4.20168067226889E-3</c:v>
                </c:pt>
                <c:pt idx="28426">
                  <c:v>-4.20168067226889E-3</c:v>
                </c:pt>
                <c:pt idx="28427">
                  <c:v>-4.20168067226889E-3</c:v>
                </c:pt>
                <c:pt idx="28428">
                  <c:v>-4.20168067226889E-3</c:v>
                </c:pt>
                <c:pt idx="28429">
                  <c:v>-4.20168067226889E-3</c:v>
                </c:pt>
                <c:pt idx="28430">
                  <c:v>-4.20168067226889E-3</c:v>
                </c:pt>
                <c:pt idx="28431">
                  <c:v>-4.20168067226889E-3</c:v>
                </c:pt>
                <c:pt idx="28432">
                  <c:v>-4.20168067226889E-3</c:v>
                </c:pt>
                <c:pt idx="28433">
                  <c:v>-4.20168067226889E-3</c:v>
                </c:pt>
                <c:pt idx="28434">
                  <c:v>-4.20168067226889E-3</c:v>
                </c:pt>
                <c:pt idx="28435">
                  <c:v>-4.20168067226889E-3</c:v>
                </c:pt>
                <c:pt idx="28436">
                  <c:v>-4.20168067226889E-3</c:v>
                </c:pt>
                <c:pt idx="28437">
                  <c:v>-4.20168067226889E-3</c:v>
                </c:pt>
                <c:pt idx="28438">
                  <c:v>-4.20168067226889E-3</c:v>
                </c:pt>
                <c:pt idx="28439">
                  <c:v>-4.20168067226889E-3</c:v>
                </c:pt>
                <c:pt idx="28440">
                  <c:v>-4.20168067226889E-3</c:v>
                </c:pt>
                <c:pt idx="28441">
                  <c:v>-4.20168067226889E-3</c:v>
                </c:pt>
                <c:pt idx="28442">
                  <c:v>-4.20168067226889E-3</c:v>
                </c:pt>
                <c:pt idx="28443">
                  <c:v>-4.20168067226889E-3</c:v>
                </c:pt>
                <c:pt idx="28444">
                  <c:v>-4.20168067226889E-3</c:v>
                </c:pt>
                <c:pt idx="28445">
                  <c:v>-4.20168067226889E-3</c:v>
                </c:pt>
                <c:pt idx="28446">
                  <c:v>-4.20168067226889E-3</c:v>
                </c:pt>
                <c:pt idx="28447">
                  <c:v>-4.20168067226889E-3</c:v>
                </c:pt>
                <c:pt idx="28448">
                  <c:v>-4.20168067226889E-3</c:v>
                </c:pt>
                <c:pt idx="28449">
                  <c:v>-4.20168067226889E-3</c:v>
                </c:pt>
                <c:pt idx="28450">
                  <c:v>-4.20168067226889E-3</c:v>
                </c:pt>
                <c:pt idx="28451">
                  <c:v>-4.20168067226889E-3</c:v>
                </c:pt>
                <c:pt idx="28452">
                  <c:v>-4.20168067226889E-3</c:v>
                </c:pt>
                <c:pt idx="28453">
                  <c:v>-4.20168067226889E-3</c:v>
                </c:pt>
                <c:pt idx="28454">
                  <c:v>-4.20168067226889E-3</c:v>
                </c:pt>
                <c:pt idx="28455">
                  <c:v>-4.20168067226889E-3</c:v>
                </c:pt>
                <c:pt idx="28456">
                  <c:v>-4.20168067226889E-3</c:v>
                </c:pt>
                <c:pt idx="28457">
                  <c:v>-4.20168067226889E-3</c:v>
                </c:pt>
                <c:pt idx="28458">
                  <c:v>-4.20168067226889E-3</c:v>
                </c:pt>
                <c:pt idx="28459">
                  <c:v>-4.20168067226889E-3</c:v>
                </c:pt>
                <c:pt idx="28460">
                  <c:v>-4.20168067226889E-3</c:v>
                </c:pt>
                <c:pt idx="28461">
                  <c:v>-4.20168067226889E-3</c:v>
                </c:pt>
                <c:pt idx="28462">
                  <c:v>-4.20168067226889E-3</c:v>
                </c:pt>
                <c:pt idx="28463">
                  <c:v>-4.20168067226889E-3</c:v>
                </c:pt>
                <c:pt idx="28464">
                  <c:v>-4.20168067226889E-3</c:v>
                </c:pt>
                <c:pt idx="28465">
                  <c:v>-4.20168067226889E-3</c:v>
                </c:pt>
                <c:pt idx="28466">
                  <c:v>-4.20168067226889E-3</c:v>
                </c:pt>
                <c:pt idx="28467">
                  <c:v>-3.3613445378151102E-3</c:v>
                </c:pt>
                <c:pt idx="28468">
                  <c:v>-4.20168067226889E-3</c:v>
                </c:pt>
                <c:pt idx="28469">
                  <c:v>-4.20168067226889E-3</c:v>
                </c:pt>
                <c:pt idx="28470">
                  <c:v>-4.20168067226889E-3</c:v>
                </c:pt>
                <c:pt idx="28471">
                  <c:v>-4.20168067226889E-3</c:v>
                </c:pt>
                <c:pt idx="28472">
                  <c:v>-4.20168067226889E-3</c:v>
                </c:pt>
                <c:pt idx="28473">
                  <c:v>-4.20168067226889E-3</c:v>
                </c:pt>
                <c:pt idx="28474">
                  <c:v>-4.20168067226889E-3</c:v>
                </c:pt>
                <c:pt idx="28475">
                  <c:v>-4.20168067226889E-3</c:v>
                </c:pt>
                <c:pt idx="28476">
                  <c:v>-4.20168067226889E-3</c:v>
                </c:pt>
                <c:pt idx="28477">
                  <c:v>-4.20168067226889E-3</c:v>
                </c:pt>
                <c:pt idx="28478">
                  <c:v>-4.20168067226889E-3</c:v>
                </c:pt>
                <c:pt idx="28479">
                  <c:v>-4.20168067226889E-3</c:v>
                </c:pt>
                <c:pt idx="28480">
                  <c:v>-4.20168067226889E-3</c:v>
                </c:pt>
                <c:pt idx="28481">
                  <c:v>-4.20168067226889E-3</c:v>
                </c:pt>
                <c:pt idx="28482">
                  <c:v>-4.20168067226889E-3</c:v>
                </c:pt>
                <c:pt idx="28483">
                  <c:v>-4.20168067226889E-3</c:v>
                </c:pt>
                <c:pt idx="28484">
                  <c:v>-4.20168067226889E-3</c:v>
                </c:pt>
                <c:pt idx="28485">
                  <c:v>-3.3613445378151102E-3</c:v>
                </c:pt>
                <c:pt idx="28486">
                  <c:v>-3.3613445378151102E-3</c:v>
                </c:pt>
                <c:pt idx="28487">
                  <c:v>-3.3613445378151102E-3</c:v>
                </c:pt>
                <c:pt idx="28488">
                  <c:v>-3.3613445378151102E-3</c:v>
                </c:pt>
                <c:pt idx="28489">
                  <c:v>-3.3613445378151102E-3</c:v>
                </c:pt>
                <c:pt idx="28490">
                  <c:v>-3.3613445378151102E-3</c:v>
                </c:pt>
                <c:pt idx="28491">
                  <c:v>-3.3613445378151102E-3</c:v>
                </c:pt>
                <c:pt idx="28492">
                  <c:v>-3.3613445378151102E-3</c:v>
                </c:pt>
                <c:pt idx="28493">
                  <c:v>-3.3613445378151102E-3</c:v>
                </c:pt>
                <c:pt idx="28494">
                  <c:v>-3.3613445378151102E-3</c:v>
                </c:pt>
                <c:pt idx="28495">
                  <c:v>-3.3613445378151102E-3</c:v>
                </c:pt>
                <c:pt idx="28496">
                  <c:v>-3.3613445378151102E-3</c:v>
                </c:pt>
                <c:pt idx="28497">
                  <c:v>-4.20168067226889E-3</c:v>
                </c:pt>
                <c:pt idx="28498">
                  <c:v>-4.20168067226889E-3</c:v>
                </c:pt>
                <c:pt idx="28499">
                  <c:v>-4.20168067226889E-3</c:v>
                </c:pt>
                <c:pt idx="28500">
                  <c:v>-4.20168067226889E-3</c:v>
                </c:pt>
                <c:pt idx="28501">
                  <c:v>-4.20168067226889E-3</c:v>
                </c:pt>
                <c:pt idx="28502">
                  <c:v>-4.20168067226889E-3</c:v>
                </c:pt>
                <c:pt idx="28503">
                  <c:v>-4.20168067226889E-3</c:v>
                </c:pt>
                <c:pt idx="28504">
                  <c:v>-4.20168067226889E-3</c:v>
                </c:pt>
                <c:pt idx="28505">
                  <c:v>-4.20168067226889E-3</c:v>
                </c:pt>
                <c:pt idx="28506">
                  <c:v>-4.20168067226889E-3</c:v>
                </c:pt>
                <c:pt idx="28507">
                  <c:v>-4.20168067226889E-3</c:v>
                </c:pt>
                <c:pt idx="28508">
                  <c:v>-4.20168067226889E-3</c:v>
                </c:pt>
                <c:pt idx="28509">
                  <c:v>-4.20168067226889E-3</c:v>
                </c:pt>
                <c:pt idx="28510">
                  <c:v>-4.20168067226889E-3</c:v>
                </c:pt>
                <c:pt idx="28511">
                  <c:v>-4.20168067226889E-3</c:v>
                </c:pt>
                <c:pt idx="28512">
                  <c:v>-4.20168067226889E-3</c:v>
                </c:pt>
                <c:pt idx="28513">
                  <c:v>-4.20168067226889E-3</c:v>
                </c:pt>
                <c:pt idx="28514">
                  <c:v>-4.20168067226889E-3</c:v>
                </c:pt>
                <c:pt idx="28515">
                  <c:v>-4.20168067226889E-3</c:v>
                </c:pt>
                <c:pt idx="28516">
                  <c:v>-4.20168067226889E-3</c:v>
                </c:pt>
                <c:pt idx="28517">
                  <c:v>-4.20168067226889E-3</c:v>
                </c:pt>
                <c:pt idx="28518">
                  <c:v>-4.20168067226889E-3</c:v>
                </c:pt>
                <c:pt idx="28519">
                  <c:v>-4.20168067226889E-3</c:v>
                </c:pt>
                <c:pt idx="28520">
                  <c:v>-4.20168067226889E-3</c:v>
                </c:pt>
                <c:pt idx="28521">
                  <c:v>-4.20168067226889E-3</c:v>
                </c:pt>
                <c:pt idx="28522">
                  <c:v>-4.20168067226889E-3</c:v>
                </c:pt>
                <c:pt idx="28523">
                  <c:v>-4.20168067226889E-3</c:v>
                </c:pt>
                <c:pt idx="28524">
                  <c:v>-4.20168067226889E-3</c:v>
                </c:pt>
                <c:pt idx="28525">
                  <c:v>-4.20168067226889E-3</c:v>
                </c:pt>
                <c:pt idx="28526">
                  <c:v>-4.20168067226889E-3</c:v>
                </c:pt>
                <c:pt idx="28527">
                  <c:v>-4.20168067226889E-3</c:v>
                </c:pt>
                <c:pt idx="28528">
                  <c:v>-4.20168067226889E-3</c:v>
                </c:pt>
                <c:pt idx="28529">
                  <c:v>-4.20168067226889E-3</c:v>
                </c:pt>
                <c:pt idx="28530">
                  <c:v>-4.20168067226889E-3</c:v>
                </c:pt>
                <c:pt idx="28531">
                  <c:v>-4.20168067226889E-3</c:v>
                </c:pt>
                <c:pt idx="28532">
                  <c:v>-4.20168067226889E-3</c:v>
                </c:pt>
                <c:pt idx="28533">
                  <c:v>-3.3613445378151102E-3</c:v>
                </c:pt>
                <c:pt idx="28534">
                  <c:v>-3.3613445378151102E-3</c:v>
                </c:pt>
                <c:pt idx="28535">
                  <c:v>-3.3613445378151102E-3</c:v>
                </c:pt>
                <c:pt idx="28536">
                  <c:v>-3.3613445378151102E-3</c:v>
                </c:pt>
                <c:pt idx="28537">
                  <c:v>-3.3613445378151102E-3</c:v>
                </c:pt>
                <c:pt idx="28538">
                  <c:v>-3.3613445378151102E-3</c:v>
                </c:pt>
                <c:pt idx="28539">
                  <c:v>-3.3613445378151102E-3</c:v>
                </c:pt>
                <c:pt idx="28540">
                  <c:v>-3.3613445378151102E-3</c:v>
                </c:pt>
                <c:pt idx="28541">
                  <c:v>-3.3613445378151102E-3</c:v>
                </c:pt>
                <c:pt idx="28542">
                  <c:v>-3.3613445378151102E-3</c:v>
                </c:pt>
                <c:pt idx="28543">
                  <c:v>-3.3613445378151102E-3</c:v>
                </c:pt>
                <c:pt idx="28544">
                  <c:v>-3.3613445378151102E-3</c:v>
                </c:pt>
                <c:pt idx="28545">
                  <c:v>-3.3613445378151102E-3</c:v>
                </c:pt>
                <c:pt idx="28546">
                  <c:v>-3.3613445378151102E-3</c:v>
                </c:pt>
                <c:pt idx="28547">
                  <c:v>-3.3613445378151102E-3</c:v>
                </c:pt>
                <c:pt idx="28548">
                  <c:v>-3.3613445378151102E-3</c:v>
                </c:pt>
                <c:pt idx="28549">
                  <c:v>-3.3613445378151102E-3</c:v>
                </c:pt>
                <c:pt idx="28550">
                  <c:v>-3.3613445378151102E-3</c:v>
                </c:pt>
                <c:pt idx="28551">
                  <c:v>-3.3613445378151102E-3</c:v>
                </c:pt>
                <c:pt idx="28552">
                  <c:v>-3.3613445378151102E-3</c:v>
                </c:pt>
                <c:pt idx="28553">
                  <c:v>-3.3613445378151102E-3</c:v>
                </c:pt>
                <c:pt idx="28554">
                  <c:v>-4.20168067226889E-3</c:v>
                </c:pt>
                <c:pt idx="28555">
                  <c:v>-4.20168067226889E-3</c:v>
                </c:pt>
                <c:pt idx="28556">
                  <c:v>-4.20168067226889E-3</c:v>
                </c:pt>
                <c:pt idx="28557">
                  <c:v>-4.20168067226889E-3</c:v>
                </c:pt>
                <c:pt idx="28558">
                  <c:v>-4.20168067226889E-3</c:v>
                </c:pt>
                <c:pt idx="28559">
                  <c:v>-4.20168067226889E-3</c:v>
                </c:pt>
                <c:pt idx="28560">
                  <c:v>-4.20168067226889E-3</c:v>
                </c:pt>
                <c:pt idx="28561">
                  <c:v>-4.20168067226889E-3</c:v>
                </c:pt>
                <c:pt idx="28562">
                  <c:v>-4.20168067226889E-3</c:v>
                </c:pt>
                <c:pt idx="28563">
                  <c:v>-4.20168067226889E-3</c:v>
                </c:pt>
                <c:pt idx="28564">
                  <c:v>-4.20168067226889E-3</c:v>
                </c:pt>
                <c:pt idx="28565">
                  <c:v>-4.20168067226889E-3</c:v>
                </c:pt>
                <c:pt idx="28566">
                  <c:v>-4.20168067226889E-3</c:v>
                </c:pt>
                <c:pt idx="28567">
                  <c:v>-4.20168067226889E-3</c:v>
                </c:pt>
                <c:pt idx="28568">
                  <c:v>-4.20168067226889E-3</c:v>
                </c:pt>
                <c:pt idx="28569">
                  <c:v>-4.20168067226889E-3</c:v>
                </c:pt>
                <c:pt idx="28570">
                  <c:v>-4.20168067226889E-3</c:v>
                </c:pt>
                <c:pt idx="28571">
                  <c:v>-4.20168067226889E-3</c:v>
                </c:pt>
                <c:pt idx="28572">
                  <c:v>-4.20168067226889E-3</c:v>
                </c:pt>
                <c:pt idx="28573">
                  <c:v>-4.20168067226889E-3</c:v>
                </c:pt>
                <c:pt idx="28574">
                  <c:v>-4.20168067226889E-3</c:v>
                </c:pt>
                <c:pt idx="28575">
                  <c:v>-5.0420168067226703E-3</c:v>
                </c:pt>
                <c:pt idx="28576">
                  <c:v>-5.0420168067226703E-3</c:v>
                </c:pt>
                <c:pt idx="28577">
                  <c:v>-5.0420168067226703E-3</c:v>
                </c:pt>
                <c:pt idx="28578">
                  <c:v>-5.8823529411764497E-3</c:v>
                </c:pt>
                <c:pt idx="28579">
                  <c:v>-5.8823529411764497E-3</c:v>
                </c:pt>
                <c:pt idx="28580">
                  <c:v>-5.8823529411764497E-3</c:v>
                </c:pt>
                <c:pt idx="28581">
                  <c:v>-5.8823529411764497E-3</c:v>
                </c:pt>
                <c:pt idx="28582">
                  <c:v>-5.8823529411764497E-3</c:v>
                </c:pt>
                <c:pt idx="28583">
                  <c:v>-5.8823529411764497E-3</c:v>
                </c:pt>
                <c:pt idx="28584">
                  <c:v>-5.8823529411764497E-3</c:v>
                </c:pt>
                <c:pt idx="28585">
                  <c:v>-5.8823529411764497E-3</c:v>
                </c:pt>
                <c:pt idx="28586">
                  <c:v>-5.8823529411764497E-3</c:v>
                </c:pt>
                <c:pt idx="28587">
                  <c:v>-5.8823529411764497E-3</c:v>
                </c:pt>
                <c:pt idx="28588">
                  <c:v>-5.8823529411764497E-3</c:v>
                </c:pt>
                <c:pt idx="28589">
                  <c:v>-5.8823529411764497E-3</c:v>
                </c:pt>
                <c:pt idx="28590">
                  <c:v>-5.8823529411764497E-3</c:v>
                </c:pt>
                <c:pt idx="28591">
                  <c:v>-5.8823529411764497E-3</c:v>
                </c:pt>
                <c:pt idx="28592">
                  <c:v>-5.8823529411764497E-3</c:v>
                </c:pt>
                <c:pt idx="28593">
                  <c:v>-5.8823529411764497E-3</c:v>
                </c:pt>
                <c:pt idx="28594">
                  <c:v>-5.8823529411764497E-3</c:v>
                </c:pt>
                <c:pt idx="28595">
                  <c:v>-5.0420168067226703E-3</c:v>
                </c:pt>
                <c:pt idx="28596">
                  <c:v>-5.0420168067226703E-3</c:v>
                </c:pt>
                <c:pt idx="28597">
                  <c:v>-5.0420168067226703E-3</c:v>
                </c:pt>
                <c:pt idx="28598">
                  <c:v>-5.0420168067226703E-3</c:v>
                </c:pt>
                <c:pt idx="28599">
                  <c:v>-5.0420168067226703E-3</c:v>
                </c:pt>
                <c:pt idx="28600">
                  <c:v>-5.0420168067226703E-3</c:v>
                </c:pt>
                <c:pt idx="28601">
                  <c:v>-5.0420168067226703E-3</c:v>
                </c:pt>
                <c:pt idx="28602">
                  <c:v>-5.0420168067226703E-3</c:v>
                </c:pt>
                <c:pt idx="28603">
                  <c:v>-5.0420168067226703E-3</c:v>
                </c:pt>
                <c:pt idx="28604">
                  <c:v>-5.0420168067226703E-3</c:v>
                </c:pt>
                <c:pt idx="28605">
                  <c:v>-5.0420168067226703E-3</c:v>
                </c:pt>
                <c:pt idx="28606">
                  <c:v>-5.0420168067226703E-3</c:v>
                </c:pt>
                <c:pt idx="28607">
                  <c:v>-5.0420168067226703E-3</c:v>
                </c:pt>
                <c:pt idx="28608">
                  <c:v>-5.0420168067226703E-3</c:v>
                </c:pt>
                <c:pt idx="28609">
                  <c:v>-5.0420168067226703E-3</c:v>
                </c:pt>
                <c:pt idx="28610">
                  <c:v>-5.0420168067226703E-3</c:v>
                </c:pt>
                <c:pt idx="28611">
                  <c:v>-5.0420168067226703E-3</c:v>
                </c:pt>
                <c:pt idx="28612">
                  <c:v>-5.0420168067226703E-3</c:v>
                </c:pt>
                <c:pt idx="28613">
                  <c:v>-5.0420168067226703E-3</c:v>
                </c:pt>
                <c:pt idx="28614">
                  <c:v>-5.0420168067226703E-3</c:v>
                </c:pt>
                <c:pt idx="28615">
                  <c:v>-5.0420168067226703E-3</c:v>
                </c:pt>
                <c:pt idx="28616">
                  <c:v>-5.0420168067226703E-3</c:v>
                </c:pt>
                <c:pt idx="28617">
                  <c:v>-5.0420168067226703E-3</c:v>
                </c:pt>
                <c:pt idx="28618">
                  <c:v>-5.0420168067226703E-3</c:v>
                </c:pt>
                <c:pt idx="28619">
                  <c:v>-5.0420168067226703E-3</c:v>
                </c:pt>
                <c:pt idx="28620">
                  <c:v>-5.0420168067226703E-3</c:v>
                </c:pt>
                <c:pt idx="28621">
                  <c:v>-5.0420168067226703E-3</c:v>
                </c:pt>
                <c:pt idx="28622">
                  <c:v>-5.0420168067226703E-3</c:v>
                </c:pt>
                <c:pt idx="28623">
                  <c:v>-5.0420168067226703E-3</c:v>
                </c:pt>
                <c:pt idx="28624">
                  <c:v>-5.0420168067226703E-3</c:v>
                </c:pt>
                <c:pt idx="28625">
                  <c:v>-5.0420168067226703E-3</c:v>
                </c:pt>
                <c:pt idx="28626">
                  <c:v>-5.0420168067226703E-3</c:v>
                </c:pt>
                <c:pt idx="28627">
                  <c:v>-5.0420168067226703E-3</c:v>
                </c:pt>
                <c:pt idx="28628">
                  <c:v>-5.0420168067226703E-3</c:v>
                </c:pt>
                <c:pt idx="28629">
                  <c:v>-5.0420168067226703E-3</c:v>
                </c:pt>
                <c:pt idx="28630">
                  <c:v>-5.0420168067226703E-3</c:v>
                </c:pt>
                <c:pt idx="28631">
                  <c:v>-5.0420168067226703E-3</c:v>
                </c:pt>
                <c:pt idx="28632">
                  <c:v>-5.0420168067226703E-3</c:v>
                </c:pt>
                <c:pt idx="28633">
                  <c:v>-5.0420168067226703E-3</c:v>
                </c:pt>
                <c:pt idx="28634">
                  <c:v>-5.0420168067226703E-3</c:v>
                </c:pt>
                <c:pt idx="28635">
                  <c:v>-5.0420168067226703E-3</c:v>
                </c:pt>
                <c:pt idx="28636">
                  <c:v>-5.0420168067226703E-3</c:v>
                </c:pt>
                <c:pt idx="28637">
                  <c:v>-5.0420168067226703E-3</c:v>
                </c:pt>
                <c:pt idx="28638">
                  <c:v>-5.0420168067226703E-3</c:v>
                </c:pt>
                <c:pt idx="28639">
                  <c:v>-5.0420168067226703E-3</c:v>
                </c:pt>
                <c:pt idx="28640">
                  <c:v>-5.0420168067226703E-3</c:v>
                </c:pt>
                <c:pt idx="28641">
                  <c:v>-5.0420168067226703E-3</c:v>
                </c:pt>
                <c:pt idx="28642">
                  <c:v>-5.0420168067226703E-3</c:v>
                </c:pt>
                <c:pt idx="28643">
                  <c:v>-5.0420168067226703E-3</c:v>
                </c:pt>
                <c:pt idx="28644">
                  <c:v>-5.0420168067226703E-3</c:v>
                </c:pt>
                <c:pt idx="28645">
                  <c:v>-5.0420168067226703E-3</c:v>
                </c:pt>
                <c:pt idx="28646">
                  <c:v>-5.0420168067226703E-3</c:v>
                </c:pt>
                <c:pt idx="28647">
                  <c:v>-5.0420168067226703E-3</c:v>
                </c:pt>
                <c:pt idx="28648">
                  <c:v>-5.0420168067226703E-3</c:v>
                </c:pt>
                <c:pt idx="28649">
                  <c:v>-5.0420168067226703E-3</c:v>
                </c:pt>
                <c:pt idx="28650">
                  <c:v>-5.0420168067226703E-3</c:v>
                </c:pt>
                <c:pt idx="28651">
                  <c:v>-5.0420168067226703E-3</c:v>
                </c:pt>
                <c:pt idx="28652">
                  <c:v>-5.0420168067226703E-3</c:v>
                </c:pt>
                <c:pt idx="28653">
                  <c:v>-5.0420168067226703E-3</c:v>
                </c:pt>
                <c:pt idx="28654">
                  <c:v>-5.0420168067226703E-3</c:v>
                </c:pt>
                <c:pt idx="28655">
                  <c:v>-5.0420168067226703E-3</c:v>
                </c:pt>
                <c:pt idx="28656">
                  <c:v>-5.0420168067226703E-3</c:v>
                </c:pt>
                <c:pt idx="28657">
                  <c:v>-5.0420168067226703E-3</c:v>
                </c:pt>
                <c:pt idx="28658">
                  <c:v>-5.0420168067226703E-3</c:v>
                </c:pt>
                <c:pt idx="28659">
                  <c:v>-5.0420168067226703E-3</c:v>
                </c:pt>
                <c:pt idx="28660">
                  <c:v>-5.0420168067226703E-3</c:v>
                </c:pt>
                <c:pt idx="28661">
                  <c:v>-5.0420168067226703E-3</c:v>
                </c:pt>
                <c:pt idx="28662">
                  <c:v>-5.0420168067226703E-3</c:v>
                </c:pt>
                <c:pt idx="28663">
                  <c:v>-5.0420168067226703E-3</c:v>
                </c:pt>
                <c:pt idx="28664">
                  <c:v>-5.0420168067226703E-3</c:v>
                </c:pt>
                <c:pt idx="28665">
                  <c:v>-5.0420168067226703E-3</c:v>
                </c:pt>
                <c:pt idx="28666">
                  <c:v>-5.0420168067226703E-3</c:v>
                </c:pt>
                <c:pt idx="28667">
                  <c:v>-5.0420168067226703E-3</c:v>
                </c:pt>
                <c:pt idx="28668">
                  <c:v>-5.0420168067226703E-3</c:v>
                </c:pt>
                <c:pt idx="28669">
                  <c:v>-5.0420168067226703E-3</c:v>
                </c:pt>
                <c:pt idx="28670">
                  <c:v>-5.0420168067226703E-3</c:v>
                </c:pt>
                <c:pt idx="28671">
                  <c:v>-5.0420168067226703E-3</c:v>
                </c:pt>
                <c:pt idx="28672">
                  <c:v>-5.0420168067226703E-3</c:v>
                </c:pt>
                <c:pt idx="28673">
                  <c:v>-5.0420168067226703E-3</c:v>
                </c:pt>
                <c:pt idx="28674">
                  <c:v>-5.0420168067226703E-3</c:v>
                </c:pt>
                <c:pt idx="28675">
                  <c:v>-5.0420168067226703E-3</c:v>
                </c:pt>
                <c:pt idx="28676">
                  <c:v>-5.0420168067226703E-3</c:v>
                </c:pt>
                <c:pt idx="28677">
                  <c:v>-5.0420168067226703E-3</c:v>
                </c:pt>
                <c:pt idx="28678">
                  <c:v>-5.0420168067226703E-3</c:v>
                </c:pt>
                <c:pt idx="28679">
                  <c:v>-5.0420168067226703E-3</c:v>
                </c:pt>
                <c:pt idx="28680">
                  <c:v>-5.0420168067226703E-3</c:v>
                </c:pt>
                <c:pt idx="28681">
                  <c:v>-5.0420168067226703E-3</c:v>
                </c:pt>
                <c:pt idx="28682">
                  <c:v>-5.0420168067226703E-3</c:v>
                </c:pt>
                <c:pt idx="28683">
                  <c:v>-5.0420168067226703E-3</c:v>
                </c:pt>
                <c:pt idx="28684">
                  <c:v>-5.0420168067226703E-3</c:v>
                </c:pt>
                <c:pt idx="28685">
                  <c:v>-5.0420168067226703E-3</c:v>
                </c:pt>
                <c:pt idx="28686">
                  <c:v>-5.0420168067226703E-3</c:v>
                </c:pt>
                <c:pt idx="28687">
                  <c:v>-4.20168067226889E-3</c:v>
                </c:pt>
                <c:pt idx="28688">
                  <c:v>-4.20168067226889E-3</c:v>
                </c:pt>
                <c:pt idx="28689">
                  <c:v>-4.20168067226889E-3</c:v>
                </c:pt>
                <c:pt idx="28690">
                  <c:v>-4.20168067226889E-3</c:v>
                </c:pt>
                <c:pt idx="28691">
                  <c:v>-4.20168067226889E-3</c:v>
                </c:pt>
                <c:pt idx="28692">
                  <c:v>-4.20168067226889E-3</c:v>
                </c:pt>
                <c:pt idx="28693">
                  <c:v>-4.20168067226889E-3</c:v>
                </c:pt>
                <c:pt idx="28694">
                  <c:v>-4.20168067226889E-3</c:v>
                </c:pt>
                <c:pt idx="28695">
                  <c:v>-4.20168067226889E-3</c:v>
                </c:pt>
                <c:pt idx="28696">
                  <c:v>-4.20168067226889E-3</c:v>
                </c:pt>
                <c:pt idx="28697">
                  <c:v>-4.20168067226889E-3</c:v>
                </c:pt>
                <c:pt idx="28698">
                  <c:v>-4.20168067226889E-3</c:v>
                </c:pt>
                <c:pt idx="28699">
                  <c:v>-4.20168067226889E-3</c:v>
                </c:pt>
                <c:pt idx="28700">
                  <c:v>-4.20168067226889E-3</c:v>
                </c:pt>
                <c:pt idx="28701">
                  <c:v>-4.20168067226889E-3</c:v>
                </c:pt>
                <c:pt idx="28702">
                  <c:v>-4.20168067226889E-3</c:v>
                </c:pt>
                <c:pt idx="28703">
                  <c:v>-4.20168067226889E-3</c:v>
                </c:pt>
                <c:pt idx="28704">
                  <c:v>-4.20168067226889E-3</c:v>
                </c:pt>
                <c:pt idx="28705">
                  <c:v>-4.20168067226889E-3</c:v>
                </c:pt>
                <c:pt idx="28706">
                  <c:v>-4.20168067226889E-3</c:v>
                </c:pt>
                <c:pt idx="28707">
                  <c:v>-4.20168067226889E-3</c:v>
                </c:pt>
                <c:pt idx="28708">
                  <c:v>-4.20168067226889E-3</c:v>
                </c:pt>
                <c:pt idx="28709">
                  <c:v>-4.20168067226889E-3</c:v>
                </c:pt>
                <c:pt idx="28710">
                  <c:v>-4.20168067226889E-3</c:v>
                </c:pt>
                <c:pt idx="28711">
                  <c:v>-4.20168067226889E-3</c:v>
                </c:pt>
                <c:pt idx="28712">
                  <c:v>-4.20168067226889E-3</c:v>
                </c:pt>
                <c:pt idx="28713">
                  <c:v>-4.20168067226889E-3</c:v>
                </c:pt>
                <c:pt idx="28714">
                  <c:v>-4.20168067226889E-3</c:v>
                </c:pt>
                <c:pt idx="28715">
                  <c:v>-4.20168067226889E-3</c:v>
                </c:pt>
                <c:pt idx="28716">
                  <c:v>-4.20168067226889E-3</c:v>
                </c:pt>
                <c:pt idx="28717">
                  <c:v>-4.20168067226889E-3</c:v>
                </c:pt>
                <c:pt idx="28718">
                  <c:v>-4.20168067226889E-3</c:v>
                </c:pt>
                <c:pt idx="28719">
                  <c:v>-4.20168067226889E-3</c:v>
                </c:pt>
                <c:pt idx="28720">
                  <c:v>-4.20168067226889E-3</c:v>
                </c:pt>
                <c:pt idx="28721">
                  <c:v>-4.20168067226889E-3</c:v>
                </c:pt>
                <c:pt idx="28722">
                  <c:v>-4.20168067226889E-3</c:v>
                </c:pt>
                <c:pt idx="28723">
                  <c:v>-4.20168067226889E-3</c:v>
                </c:pt>
                <c:pt idx="28724">
                  <c:v>-4.20168067226889E-3</c:v>
                </c:pt>
                <c:pt idx="28725">
                  <c:v>-4.20168067226889E-3</c:v>
                </c:pt>
                <c:pt idx="28726">
                  <c:v>-4.20168067226889E-3</c:v>
                </c:pt>
                <c:pt idx="28727">
                  <c:v>-4.20168067226889E-3</c:v>
                </c:pt>
                <c:pt idx="28728">
                  <c:v>-4.20168067226889E-3</c:v>
                </c:pt>
                <c:pt idx="28729">
                  <c:v>-4.20168067226889E-3</c:v>
                </c:pt>
                <c:pt idx="28730">
                  <c:v>-4.20168067226889E-3</c:v>
                </c:pt>
                <c:pt idx="28731">
                  <c:v>-4.20168067226889E-3</c:v>
                </c:pt>
                <c:pt idx="28732">
                  <c:v>-4.20168067226889E-3</c:v>
                </c:pt>
                <c:pt idx="28733">
                  <c:v>-4.20168067226889E-3</c:v>
                </c:pt>
                <c:pt idx="28734">
                  <c:v>-4.20168067226889E-3</c:v>
                </c:pt>
                <c:pt idx="28735">
                  <c:v>-4.20168067226889E-3</c:v>
                </c:pt>
                <c:pt idx="28736">
                  <c:v>-4.20168067226889E-3</c:v>
                </c:pt>
                <c:pt idx="28737">
                  <c:v>-4.20168067226889E-3</c:v>
                </c:pt>
                <c:pt idx="28738">
                  <c:v>-4.20168067226889E-3</c:v>
                </c:pt>
                <c:pt idx="28739">
                  <c:v>-4.20168067226889E-3</c:v>
                </c:pt>
                <c:pt idx="28740">
                  <c:v>-5.0420168067226703E-3</c:v>
                </c:pt>
                <c:pt idx="28741">
                  <c:v>-5.0420168067226703E-3</c:v>
                </c:pt>
                <c:pt idx="28742">
                  <c:v>-5.0420168067226703E-3</c:v>
                </c:pt>
                <c:pt idx="28743">
                  <c:v>-5.0420168067226703E-3</c:v>
                </c:pt>
                <c:pt idx="28744">
                  <c:v>-5.0420168067226703E-3</c:v>
                </c:pt>
                <c:pt idx="28745">
                  <c:v>-5.0420168067226703E-3</c:v>
                </c:pt>
                <c:pt idx="28746">
                  <c:v>-5.0420168067226703E-3</c:v>
                </c:pt>
                <c:pt idx="28747">
                  <c:v>-5.0420168067226703E-3</c:v>
                </c:pt>
                <c:pt idx="28748">
                  <c:v>-5.0420168067226703E-3</c:v>
                </c:pt>
                <c:pt idx="28749">
                  <c:v>-5.0420168067226703E-3</c:v>
                </c:pt>
                <c:pt idx="28750">
                  <c:v>-5.0420168067226703E-3</c:v>
                </c:pt>
                <c:pt idx="28751">
                  <c:v>-5.0420168067226703E-3</c:v>
                </c:pt>
                <c:pt idx="28752">
                  <c:v>-5.0420168067226703E-3</c:v>
                </c:pt>
                <c:pt idx="28753">
                  <c:v>-5.0420168067226703E-3</c:v>
                </c:pt>
                <c:pt idx="28754">
                  <c:v>-5.0420168067226703E-3</c:v>
                </c:pt>
                <c:pt idx="28755">
                  <c:v>-5.0420168067226703E-3</c:v>
                </c:pt>
                <c:pt idx="28756">
                  <c:v>-5.0420168067226703E-3</c:v>
                </c:pt>
                <c:pt idx="28757">
                  <c:v>-5.0420168067226703E-3</c:v>
                </c:pt>
                <c:pt idx="28758">
                  <c:v>-5.0420168067226703E-3</c:v>
                </c:pt>
                <c:pt idx="28759">
                  <c:v>-5.8823529411764497E-3</c:v>
                </c:pt>
                <c:pt idx="28760">
                  <c:v>-5.8823529411764497E-3</c:v>
                </c:pt>
                <c:pt idx="28761">
                  <c:v>-5.8823529411764497E-3</c:v>
                </c:pt>
                <c:pt idx="28762">
                  <c:v>-5.8823529411764497E-3</c:v>
                </c:pt>
                <c:pt idx="28763">
                  <c:v>-5.8823529411764497E-3</c:v>
                </c:pt>
                <c:pt idx="28764">
                  <c:v>-5.8823529411764497E-3</c:v>
                </c:pt>
                <c:pt idx="28765">
                  <c:v>-5.8823529411764497E-3</c:v>
                </c:pt>
                <c:pt idx="28766">
                  <c:v>-5.8823529411764497E-3</c:v>
                </c:pt>
                <c:pt idx="28767">
                  <c:v>-5.8823529411764497E-3</c:v>
                </c:pt>
                <c:pt idx="28768">
                  <c:v>-5.8823529411764497E-3</c:v>
                </c:pt>
                <c:pt idx="28769">
                  <c:v>-5.8823529411764497E-3</c:v>
                </c:pt>
                <c:pt idx="28770">
                  <c:v>-5.8823529411764497E-3</c:v>
                </c:pt>
                <c:pt idx="28771">
                  <c:v>-5.8823529411764497E-3</c:v>
                </c:pt>
                <c:pt idx="28772">
                  <c:v>-5.8823529411764497E-3</c:v>
                </c:pt>
                <c:pt idx="28773">
                  <c:v>-5.8823529411764497E-3</c:v>
                </c:pt>
                <c:pt idx="28774">
                  <c:v>-5.8823529411764497E-3</c:v>
                </c:pt>
                <c:pt idx="28775">
                  <c:v>-5.8823529411764497E-3</c:v>
                </c:pt>
                <c:pt idx="28776">
                  <c:v>-5.8823529411764497E-3</c:v>
                </c:pt>
                <c:pt idx="28777">
                  <c:v>-5.8823529411764497E-3</c:v>
                </c:pt>
                <c:pt idx="28778">
                  <c:v>-5.8823529411764497E-3</c:v>
                </c:pt>
                <c:pt idx="28779">
                  <c:v>-5.8823529411764497E-3</c:v>
                </c:pt>
                <c:pt idx="28780">
                  <c:v>-5.8823529411764497E-3</c:v>
                </c:pt>
                <c:pt idx="28781">
                  <c:v>-5.8823529411764497E-3</c:v>
                </c:pt>
                <c:pt idx="28782">
                  <c:v>-5.8823529411764497E-3</c:v>
                </c:pt>
                <c:pt idx="28783">
                  <c:v>-5.8823529411764497E-3</c:v>
                </c:pt>
                <c:pt idx="28784">
                  <c:v>-5.8823529411764497E-3</c:v>
                </c:pt>
                <c:pt idx="28785">
                  <c:v>-5.8823529411764497E-3</c:v>
                </c:pt>
                <c:pt idx="28786">
                  <c:v>-5.8823529411764497E-3</c:v>
                </c:pt>
                <c:pt idx="28787">
                  <c:v>-5.8823529411764497E-3</c:v>
                </c:pt>
                <c:pt idx="28788">
                  <c:v>-5.8823529411764497E-3</c:v>
                </c:pt>
                <c:pt idx="28789">
                  <c:v>-5.8823529411764497E-3</c:v>
                </c:pt>
                <c:pt idx="28790">
                  <c:v>-5.8823529411764497E-3</c:v>
                </c:pt>
                <c:pt idx="28791">
                  <c:v>-5.8823529411764497E-3</c:v>
                </c:pt>
                <c:pt idx="28792">
                  <c:v>-5.8823529411764497E-3</c:v>
                </c:pt>
                <c:pt idx="28793">
                  <c:v>-5.8823529411764497E-3</c:v>
                </c:pt>
                <c:pt idx="28794">
                  <c:v>-5.8823529411764497E-3</c:v>
                </c:pt>
                <c:pt idx="28795">
                  <c:v>-5.8823529411764497E-3</c:v>
                </c:pt>
                <c:pt idx="28796">
                  <c:v>-5.8823529411764497E-3</c:v>
                </c:pt>
                <c:pt idx="28797">
                  <c:v>-5.8823529411764497E-3</c:v>
                </c:pt>
                <c:pt idx="28798">
                  <c:v>-5.8823529411764497E-3</c:v>
                </c:pt>
                <c:pt idx="28799">
                  <c:v>-5.8823529411764497E-3</c:v>
                </c:pt>
                <c:pt idx="28800">
                  <c:v>-5.8823529411764497E-3</c:v>
                </c:pt>
                <c:pt idx="28801">
                  <c:v>-5.8823529411764497E-3</c:v>
                </c:pt>
                <c:pt idx="28802">
                  <c:v>-5.8823529411764497E-3</c:v>
                </c:pt>
                <c:pt idx="28803">
                  <c:v>-5.8823529411764497E-3</c:v>
                </c:pt>
                <c:pt idx="28804">
                  <c:v>-5.8823529411764497E-3</c:v>
                </c:pt>
                <c:pt idx="28805">
                  <c:v>-5.8823529411764497E-3</c:v>
                </c:pt>
                <c:pt idx="28806">
                  <c:v>-5.8823529411764497E-3</c:v>
                </c:pt>
                <c:pt idx="28807">
                  <c:v>-5.8823529411764497E-3</c:v>
                </c:pt>
                <c:pt idx="28808">
                  <c:v>-5.8823529411764497E-3</c:v>
                </c:pt>
                <c:pt idx="28809">
                  <c:v>-5.8823529411764497E-3</c:v>
                </c:pt>
                <c:pt idx="28810">
                  <c:v>-5.8823529411764497E-3</c:v>
                </c:pt>
                <c:pt idx="28811">
                  <c:v>-5.8823529411764497E-3</c:v>
                </c:pt>
                <c:pt idx="28812">
                  <c:v>-5.8823529411764497E-3</c:v>
                </c:pt>
                <c:pt idx="28813">
                  <c:v>-5.8823529411764497E-3</c:v>
                </c:pt>
                <c:pt idx="28814">
                  <c:v>-5.8823529411764497E-3</c:v>
                </c:pt>
                <c:pt idx="28815">
                  <c:v>-5.8823529411764497E-3</c:v>
                </c:pt>
                <c:pt idx="28816">
                  <c:v>-5.8823529411764497E-3</c:v>
                </c:pt>
                <c:pt idx="28817">
                  <c:v>-5.8823529411764497E-3</c:v>
                </c:pt>
                <c:pt idx="28818">
                  <c:v>-5.8823529411764497E-3</c:v>
                </c:pt>
                <c:pt idx="28819">
                  <c:v>-5.8823529411764497E-3</c:v>
                </c:pt>
                <c:pt idx="28820">
                  <c:v>-5.8823529411764497E-3</c:v>
                </c:pt>
                <c:pt idx="28821">
                  <c:v>-5.8823529411764497E-3</c:v>
                </c:pt>
                <c:pt idx="28822">
                  <c:v>-5.8823529411764497E-3</c:v>
                </c:pt>
                <c:pt idx="28823">
                  <c:v>-5.8823529411764497E-3</c:v>
                </c:pt>
                <c:pt idx="28824">
                  <c:v>-5.8823529411764497E-3</c:v>
                </c:pt>
                <c:pt idx="28825">
                  <c:v>-5.8823529411764497E-3</c:v>
                </c:pt>
                <c:pt idx="28826">
                  <c:v>-5.8823529411764497E-3</c:v>
                </c:pt>
                <c:pt idx="28827">
                  <c:v>-5.8823529411764497E-3</c:v>
                </c:pt>
                <c:pt idx="28828">
                  <c:v>-5.8823529411764497E-3</c:v>
                </c:pt>
                <c:pt idx="28829">
                  <c:v>-5.8823529411764497E-3</c:v>
                </c:pt>
                <c:pt idx="28830">
                  <c:v>-5.8823529411764497E-3</c:v>
                </c:pt>
                <c:pt idx="28831">
                  <c:v>-5.8823529411764497E-3</c:v>
                </c:pt>
                <c:pt idx="28832">
                  <c:v>-5.8823529411764497E-3</c:v>
                </c:pt>
                <c:pt idx="28833">
                  <c:v>-5.8823529411764497E-3</c:v>
                </c:pt>
                <c:pt idx="28834">
                  <c:v>-5.8823529411764497E-3</c:v>
                </c:pt>
                <c:pt idx="28835">
                  <c:v>-5.8823529411764497E-3</c:v>
                </c:pt>
                <c:pt idx="28836">
                  <c:v>-5.8823529411764497E-3</c:v>
                </c:pt>
                <c:pt idx="28837">
                  <c:v>-5.8823529411764497E-3</c:v>
                </c:pt>
                <c:pt idx="28838">
                  <c:v>-5.8823529411764497E-3</c:v>
                </c:pt>
                <c:pt idx="28839">
                  <c:v>-5.8823529411764497E-3</c:v>
                </c:pt>
                <c:pt idx="28840">
                  <c:v>-5.8823529411764497E-3</c:v>
                </c:pt>
                <c:pt idx="28841">
                  <c:v>-5.8823529411764497E-3</c:v>
                </c:pt>
                <c:pt idx="28842">
                  <c:v>-5.8823529411764497E-3</c:v>
                </c:pt>
                <c:pt idx="28843">
                  <c:v>-5.8823529411764497E-3</c:v>
                </c:pt>
                <c:pt idx="28844">
                  <c:v>-5.8823529411764497E-3</c:v>
                </c:pt>
                <c:pt idx="28845">
                  <c:v>-5.8823529411764497E-3</c:v>
                </c:pt>
                <c:pt idx="28846">
                  <c:v>-5.8823529411764497E-3</c:v>
                </c:pt>
                <c:pt idx="28847">
                  <c:v>-5.8823529411764497E-3</c:v>
                </c:pt>
                <c:pt idx="28848">
                  <c:v>-5.8823529411764497E-3</c:v>
                </c:pt>
                <c:pt idx="28849">
                  <c:v>-5.0420168067226703E-3</c:v>
                </c:pt>
                <c:pt idx="28850">
                  <c:v>-5.0420168067226703E-3</c:v>
                </c:pt>
                <c:pt idx="28851">
                  <c:v>-5.0420168067226703E-3</c:v>
                </c:pt>
                <c:pt idx="28852">
                  <c:v>-5.0420168067226703E-3</c:v>
                </c:pt>
                <c:pt idx="28853">
                  <c:v>-5.0420168067226703E-3</c:v>
                </c:pt>
                <c:pt idx="28854">
                  <c:v>-5.8823529411764497E-3</c:v>
                </c:pt>
                <c:pt idx="28855">
                  <c:v>-5.8823529411764497E-3</c:v>
                </c:pt>
                <c:pt idx="28856">
                  <c:v>-5.8823529411764497E-3</c:v>
                </c:pt>
                <c:pt idx="28857">
                  <c:v>-5.8823529411764497E-3</c:v>
                </c:pt>
                <c:pt idx="28858">
                  <c:v>-5.8823529411764497E-3</c:v>
                </c:pt>
                <c:pt idx="28859">
                  <c:v>-5.8823529411764497E-3</c:v>
                </c:pt>
                <c:pt idx="28860">
                  <c:v>-5.8823529411764497E-3</c:v>
                </c:pt>
                <c:pt idx="28861">
                  <c:v>-5.8823529411764497E-3</c:v>
                </c:pt>
                <c:pt idx="28862">
                  <c:v>-5.8823529411764497E-3</c:v>
                </c:pt>
                <c:pt idx="28863">
                  <c:v>-5.8823529411764497E-3</c:v>
                </c:pt>
                <c:pt idx="28864">
                  <c:v>-5.8823529411764497E-3</c:v>
                </c:pt>
                <c:pt idx="28865">
                  <c:v>-5.8823529411764497E-3</c:v>
                </c:pt>
                <c:pt idx="28866">
                  <c:v>-5.8823529411764497E-3</c:v>
                </c:pt>
                <c:pt idx="28867">
                  <c:v>-5.8823529411764497E-3</c:v>
                </c:pt>
                <c:pt idx="28868">
                  <c:v>-5.8823529411764497E-3</c:v>
                </c:pt>
                <c:pt idx="28869">
                  <c:v>-5.0420168067226703E-3</c:v>
                </c:pt>
                <c:pt idx="28870">
                  <c:v>-5.0420168067226703E-3</c:v>
                </c:pt>
                <c:pt idx="28871">
                  <c:v>-5.0420168067226703E-3</c:v>
                </c:pt>
                <c:pt idx="28872">
                  <c:v>-5.0420168067226703E-3</c:v>
                </c:pt>
                <c:pt idx="28873">
                  <c:v>-5.0420168067226703E-3</c:v>
                </c:pt>
                <c:pt idx="28874">
                  <c:v>-5.0420168067226703E-3</c:v>
                </c:pt>
                <c:pt idx="28875">
                  <c:v>-5.0420168067226703E-3</c:v>
                </c:pt>
                <c:pt idx="28876">
                  <c:v>-5.0420168067226703E-3</c:v>
                </c:pt>
                <c:pt idx="28877">
                  <c:v>-5.0420168067226703E-3</c:v>
                </c:pt>
                <c:pt idx="28878">
                  <c:v>-5.0420168067226703E-3</c:v>
                </c:pt>
                <c:pt idx="28879">
                  <c:v>-5.0420168067226703E-3</c:v>
                </c:pt>
                <c:pt idx="28880">
                  <c:v>-5.0420168067226703E-3</c:v>
                </c:pt>
                <c:pt idx="28881">
                  <c:v>-5.0420168067226703E-3</c:v>
                </c:pt>
                <c:pt idx="28882">
                  <c:v>-5.0420168067226703E-3</c:v>
                </c:pt>
                <c:pt idx="28883">
                  <c:v>-5.0420168067226703E-3</c:v>
                </c:pt>
                <c:pt idx="28884">
                  <c:v>-5.0420168067226703E-3</c:v>
                </c:pt>
                <c:pt idx="28885">
                  <c:v>-5.0420168067226703E-3</c:v>
                </c:pt>
                <c:pt idx="28886">
                  <c:v>-5.0420168067226703E-3</c:v>
                </c:pt>
                <c:pt idx="28887">
                  <c:v>-5.0420168067226703E-3</c:v>
                </c:pt>
                <c:pt idx="28888">
                  <c:v>-5.0420168067226703E-3</c:v>
                </c:pt>
                <c:pt idx="28889">
                  <c:v>-5.0420168067226703E-3</c:v>
                </c:pt>
                <c:pt idx="28890">
                  <c:v>-5.0420168067226703E-3</c:v>
                </c:pt>
                <c:pt idx="28891">
                  <c:v>-5.0420168067226703E-3</c:v>
                </c:pt>
                <c:pt idx="28892">
                  <c:v>-5.0420168067226703E-3</c:v>
                </c:pt>
                <c:pt idx="28893">
                  <c:v>-5.0420168067226703E-3</c:v>
                </c:pt>
                <c:pt idx="28894">
                  <c:v>-5.0420168067226703E-3</c:v>
                </c:pt>
                <c:pt idx="28895">
                  <c:v>-5.0420168067226703E-3</c:v>
                </c:pt>
                <c:pt idx="28896">
                  <c:v>-5.0420168067226703E-3</c:v>
                </c:pt>
                <c:pt idx="28897">
                  <c:v>-5.0420168067226703E-3</c:v>
                </c:pt>
                <c:pt idx="28898">
                  <c:v>-5.0420168067226703E-3</c:v>
                </c:pt>
                <c:pt idx="28899">
                  <c:v>-5.0420168067226703E-3</c:v>
                </c:pt>
                <c:pt idx="28900">
                  <c:v>-5.0420168067226703E-3</c:v>
                </c:pt>
                <c:pt idx="28901">
                  <c:v>-5.0420168067226703E-3</c:v>
                </c:pt>
                <c:pt idx="28902">
                  <c:v>-5.0420168067226703E-3</c:v>
                </c:pt>
                <c:pt idx="28903">
                  <c:v>-5.0420168067226703E-3</c:v>
                </c:pt>
                <c:pt idx="28904">
                  <c:v>-5.0420168067226703E-3</c:v>
                </c:pt>
                <c:pt idx="28905">
                  <c:v>-5.0420168067226703E-3</c:v>
                </c:pt>
                <c:pt idx="28906">
                  <c:v>-5.0420168067226703E-3</c:v>
                </c:pt>
                <c:pt idx="28907">
                  <c:v>-5.0420168067226703E-3</c:v>
                </c:pt>
                <c:pt idx="28908">
                  <c:v>-5.0420168067226703E-3</c:v>
                </c:pt>
                <c:pt idx="28909">
                  <c:v>-5.0420168067226703E-3</c:v>
                </c:pt>
                <c:pt idx="28910">
                  <c:v>-5.0420168067226703E-3</c:v>
                </c:pt>
                <c:pt idx="28911">
                  <c:v>-5.0420168067226703E-3</c:v>
                </c:pt>
                <c:pt idx="28912">
                  <c:v>-5.0420168067226703E-3</c:v>
                </c:pt>
                <c:pt idx="28913">
                  <c:v>-5.0420168067226703E-3</c:v>
                </c:pt>
                <c:pt idx="28914">
                  <c:v>-5.0420168067226703E-3</c:v>
                </c:pt>
                <c:pt idx="28915">
                  <c:v>-5.0420168067226703E-3</c:v>
                </c:pt>
                <c:pt idx="28916">
                  <c:v>-5.0420168067226703E-3</c:v>
                </c:pt>
                <c:pt idx="28917">
                  <c:v>-5.0420168067226703E-3</c:v>
                </c:pt>
                <c:pt idx="28918">
                  <c:v>-5.0420168067226703E-3</c:v>
                </c:pt>
                <c:pt idx="28919">
                  <c:v>-5.0420168067226703E-3</c:v>
                </c:pt>
                <c:pt idx="28920">
                  <c:v>-5.0420168067226703E-3</c:v>
                </c:pt>
                <c:pt idx="28921">
                  <c:v>-5.0420168067226703E-3</c:v>
                </c:pt>
                <c:pt idx="28922">
                  <c:v>-5.0420168067226703E-3</c:v>
                </c:pt>
                <c:pt idx="28923">
                  <c:v>-5.0420168067226703E-3</c:v>
                </c:pt>
                <c:pt idx="28924">
                  <c:v>-5.0420168067226703E-3</c:v>
                </c:pt>
                <c:pt idx="28925">
                  <c:v>-5.0420168067226703E-3</c:v>
                </c:pt>
                <c:pt idx="28926">
                  <c:v>-5.0420168067226703E-3</c:v>
                </c:pt>
                <c:pt idx="28927">
                  <c:v>-5.0420168067226703E-3</c:v>
                </c:pt>
                <c:pt idx="28928">
                  <c:v>-5.0420168067226703E-3</c:v>
                </c:pt>
                <c:pt idx="28929">
                  <c:v>-5.0420168067226703E-3</c:v>
                </c:pt>
                <c:pt idx="28930">
                  <c:v>-5.0420168067226703E-3</c:v>
                </c:pt>
                <c:pt idx="28931">
                  <c:v>-5.0420168067226703E-3</c:v>
                </c:pt>
                <c:pt idx="28932">
                  <c:v>-5.0420168067226703E-3</c:v>
                </c:pt>
                <c:pt idx="28933">
                  <c:v>-5.0420168067226703E-3</c:v>
                </c:pt>
                <c:pt idx="28934">
                  <c:v>-5.0420168067226703E-3</c:v>
                </c:pt>
                <c:pt idx="28935">
                  <c:v>-5.0420168067226703E-3</c:v>
                </c:pt>
                <c:pt idx="28936">
                  <c:v>-5.0420168067226703E-3</c:v>
                </c:pt>
                <c:pt idx="28937">
                  <c:v>-5.0420168067226703E-3</c:v>
                </c:pt>
                <c:pt idx="28938">
                  <c:v>-5.0420168067226703E-3</c:v>
                </c:pt>
                <c:pt idx="28939">
                  <c:v>-5.0420168067226703E-3</c:v>
                </c:pt>
                <c:pt idx="28940">
                  <c:v>-5.0420168067226703E-3</c:v>
                </c:pt>
                <c:pt idx="28941">
                  <c:v>-5.0420168067226703E-3</c:v>
                </c:pt>
                <c:pt idx="28942">
                  <c:v>-5.0420168067226703E-3</c:v>
                </c:pt>
                <c:pt idx="28943">
                  <c:v>-5.0420168067226703E-3</c:v>
                </c:pt>
                <c:pt idx="28944">
                  <c:v>-5.0420168067226703E-3</c:v>
                </c:pt>
                <c:pt idx="28945">
                  <c:v>-5.0420168067226703E-3</c:v>
                </c:pt>
                <c:pt idx="28946">
                  <c:v>-5.0420168067226703E-3</c:v>
                </c:pt>
                <c:pt idx="28947">
                  <c:v>-5.0420168067226703E-3</c:v>
                </c:pt>
                <c:pt idx="28948">
                  <c:v>-5.0420168067226703E-3</c:v>
                </c:pt>
                <c:pt idx="28949">
                  <c:v>-5.0420168067226703E-3</c:v>
                </c:pt>
                <c:pt idx="28950">
                  <c:v>-5.0420168067226703E-3</c:v>
                </c:pt>
                <c:pt idx="28951">
                  <c:v>-5.0420168067226703E-3</c:v>
                </c:pt>
                <c:pt idx="28952">
                  <c:v>-5.0420168067226703E-3</c:v>
                </c:pt>
                <c:pt idx="28953">
                  <c:v>-5.0420168067226703E-3</c:v>
                </c:pt>
                <c:pt idx="28954">
                  <c:v>-5.0420168067226703E-3</c:v>
                </c:pt>
                <c:pt idx="28955">
                  <c:v>-5.0420168067226703E-3</c:v>
                </c:pt>
                <c:pt idx="28956">
                  <c:v>-5.0420168067226703E-3</c:v>
                </c:pt>
                <c:pt idx="28957">
                  <c:v>-5.0420168067226703E-3</c:v>
                </c:pt>
                <c:pt idx="28958">
                  <c:v>-5.0420168067226703E-3</c:v>
                </c:pt>
                <c:pt idx="28959">
                  <c:v>-5.0420168067226703E-3</c:v>
                </c:pt>
                <c:pt idx="28960">
                  <c:v>-5.0420168067226703E-3</c:v>
                </c:pt>
                <c:pt idx="28961">
                  <c:v>-5.0420168067226703E-3</c:v>
                </c:pt>
                <c:pt idx="28962">
                  <c:v>-5.0420168067226703E-3</c:v>
                </c:pt>
                <c:pt idx="28963">
                  <c:v>-5.0420168067226703E-3</c:v>
                </c:pt>
                <c:pt idx="28964">
                  <c:v>-5.0420168067226703E-3</c:v>
                </c:pt>
                <c:pt idx="28965">
                  <c:v>-5.0420168067226703E-3</c:v>
                </c:pt>
                <c:pt idx="28966">
                  <c:v>-5.0420168067226703E-3</c:v>
                </c:pt>
                <c:pt idx="28967">
                  <c:v>-5.0420168067226703E-3</c:v>
                </c:pt>
                <c:pt idx="28968">
                  <c:v>-5.0420168067226703E-3</c:v>
                </c:pt>
                <c:pt idx="28969">
                  <c:v>-5.0420168067226703E-3</c:v>
                </c:pt>
                <c:pt idx="28970">
                  <c:v>-5.0420168067226703E-3</c:v>
                </c:pt>
                <c:pt idx="28971">
                  <c:v>-5.0420168067226703E-3</c:v>
                </c:pt>
                <c:pt idx="28972">
                  <c:v>-5.0420168067226703E-3</c:v>
                </c:pt>
                <c:pt idx="28973">
                  <c:v>-5.0420168067226703E-3</c:v>
                </c:pt>
                <c:pt idx="28974">
                  <c:v>-5.0420168067226703E-3</c:v>
                </c:pt>
                <c:pt idx="28975">
                  <c:v>-5.0420168067226703E-3</c:v>
                </c:pt>
                <c:pt idx="28976">
                  <c:v>-5.0420168067226703E-3</c:v>
                </c:pt>
                <c:pt idx="28977">
                  <c:v>-5.0420168067226703E-3</c:v>
                </c:pt>
                <c:pt idx="28978">
                  <c:v>-4.20168067226889E-3</c:v>
                </c:pt>
                <c:pt idx="28979">
                  <c:v>-4.20168067226889E-3</c:v>
                </c:pt>
                <c:pt idx="28980">
                  <c:v>-4.20168067226889E-3</c:v>
                </c:pt>
                <c:pt idx="28981">
                  <c:v>-4.20168067226889E-3</c:v>
                </c:pt>
                <c:pt idx="28982">
                  <c:v>-4.20168067226889E-3</c:v>
                </c:pt>
                <c:pt idx="28983">
                  <c:v>-4.20168067226889E-3</c:v>
                </c:pt>
                <c:pt idx="28984">
                  <c:v>-4.20168067226889E-3</c:v>
                </c:pt>
                <c:pt idx="28985">
                  <c:v>-4.20168067226889E-3</c:v>
                </c:pt>
                <c:pt idx="28986">
                  <c:v>-4.20168067226889E-3</c:v>
                </c:pt>
                <c:pt idx="28987">
                  <c:v>-4.20168067226889E-3</c:v>
                </c:pt>
                <c:pt idx="28988">
                  <c:v>-4.20168067226889E-3</c:v>
                </c:pt>
                <c:pt idx="28989">
                  <c:v>-4.20168067226889E-3</c:v>
                </c:pt>
                <c:pt idx="28990">
                  <c:v>-4.20168067226889E-3</c:v>
                </c:pt>
                <c:pt idx="28991">
                  <c:v>-4.20168067226889E-3</c:v>
                </c:pt>
                <c:pt idx="28992">
                  <c:v>-4.20168067226889E-3</c:v>
                </c:pt>
                <c:pt idx="28993">
                  <c:v>-4.20168067226889E-3</c:v>
                </c:pt>
                <c:pt idx="28994">
                  <c:v>-4.20168067226889E-3</c:v>
                </c:pt>
                <c:pt idx="28995">
                  <c:v>-4.20168067226889E-3</c:v>
                </c:pt>
                <c:pt idx="28996">
                  <c:v>-4.20168067226889E-3</c:v>
                </c:pt>
                <c:pt idx="28997">
                  <c:v>-4.20168067226889E-3</c:v>
                </c:pt>
                <c:pt idx="28998">
                  <c:v>-4.20168067226889E-3</c:v>
                </c:pt>
                <c:pt idx="28999">
                  <c:v>-4.20168067226889E-3</c:v>
                </c:pt>
                <c:pt idx="29000">
                  <c:v>-4.20168067226889E-3</c:v>
                </c:pt>
                <c:pt idx="29001">
                  <c:v>-4.20168067226889E-3</c:v>
                </c:pt>
                <c:pt idx="29002">
                  <c:v>-4.20168067226889E-3</c:v>
                </c:pt>
                <c:pt idx="29003">
                  <c:v>-4.20168067226889E-3</c:v>
                </c:pt>
                <c:pt idx="29004">
                  <c:v>-4.20168067226889E-3</c:v>
                </c:pt>
                <c:pt idx="29005">
                  <c:v>-4.20168067226889E-3</c:v>
                </c:pt>
                <c:pt idx="29006">
                  <c:v>-4.20168067226889E-3</c:v>
                </c:pt>
                <c:pt idx="29007">
                  <c:v>-4.20168067226889E-3</c:v>
                </c:pt>
                <c:pt idx="29008">
                  <c:v>-4.20168067226889E-3</c:v>
                </c:pt>
                <c:pt idx="29009">
                  <c:v>-4.20168067226889E-3</c:v>
                </c:pt>
                <c:pt idx="29010">
                  <c:v>-5.0420168067226703E-3</c:v>
                </c:pt>
                <c:pt idx="29011">
                  <c:v>-5.0420168067226703E-3</c:v>
                </c:pt>
                <c:pt idx="29012">
                  <c:v>-5.0420168067226703E-3</c:v>
                </c:pt>
                <c:pt idx="29013">
                  <c:v>-5.0420168067226703E-3</c:v>
                </c:pt>
                <c:pt idx="29014">
                  <c:v>-5.0420168067226703E-3</c:v>
                </c:pt>
                <c:pt idx="29015">
                  <c:v>-5.0420168067226703E-3</c:v>
                </c:pt>
                <c:pt idx="29016">
                  <c:v>-5.0420168067226703E-3</c:v>
                </c:pt>
                <c:pt idx="29017">
                  <c:v>-5.0420168067226703E-3</c:v>
                </c:pt>
                <c:pt idx="29018">
                  <c:v>-5.0420168067226703E-3</c:v>
                </c:pt>
                <c:pt idx="29019">
                  <c:v>-5.0420168067226703E-3</c:v>
                </c:pt>
                <c:pt idx="29020">
                  <c:v>-5.0420168067226703E-3</c:v>
                </c:pt>
                <c:pt idx="29021">
                  <c:v>-5.0420168067226703E-3</c:v>
                </c:pt>
                <c:pt idx="29022">
                  <c:v>-5.0420168067226703E-3</c:v>
                </c:pt>
                <c:pt idx="29023">
                  <c:v>-5.0420168067226703E-3</c:v>
                </c:pt>
                <c:pt idx="29024">
                  <c:v>-5.0420168067226703E-3</c:v>
                </c:pt>
                <c:pt idx="29025">
                  <c:v>-5.0420168067226703E-3</c:v>
                </c:pt>
                <c:pt idx="29026">
                  <c:v>-5.0420168067226703E-3</c:v>
                </c:pt>
                <c:pt idx="29027">
                  <c:v>-5.0420168067226703E-3</c:v>
                </c:pt>
                <c:pt idx="29028">
                  <c:v>-5.0420168067226703E-3</c:v>
                </c:pt>
                <c:pt idx="29029">
                  <c:v>-5.0420168067226703E-3</c:v>
                </c:pt>
                <c:pt idx="29030">
                  <c:v>-5.0420168067226703E-3</c:v>
                </c:pt>
                <c:pt idx="29031">
                  <c:v>-5.0420168067226703E-3</c:v>
                </c:pt>
                <c:pt idx="29032">
                  <c:v>-5.0420168067226703E-3</c:v>
                </c:pt>
                <c:pt idx="29033">
                  <c:v>-5.0420168067226703E-3</c:v>
                </c:pt>
                <c:pt idx="29034">
                  <c:v>-5.0420168067226703E-3</c:v>
                </c:pt>
                <c:pt idx="29035">
                  <c:v>-5.0420168067226703E-3</c:v>
                </c:pt>
                <c:pt idx="29036">
                  <c:v>-5.0420168067226703E-3</c:v>
                </c:pt>
                <c:pt idx="29037">
                  <c:v>-5.0420168067226703E-3</c:v>
                </c:pt>
                <c:pt idx="29038">
                  <c:v>-5.0420168067226703E-3</c:v>
                </c:pt>
                <c:pt idx="29039">
                  <c:v>-5.0420168067226703E-3</c:v>
                </c:pt>
                <c:pt idx="29040">
                  <c:v>-5.8823529411764497E-3</c:v>
                </c:pt>
                <c:pt idx="29041">
                  <c:v>-5.8823529411764497E-3</c:v>
                </c:pt>
                <c:pt idx="29042">
                  <c:v>-5.8823529411764497E-3</c:v>
                </c:pt>
                <c:pt idx="29043">
                  <c:v>-5.8823529411764497E-3</c:v>
                </c:pt>
                <c:pt idx="29044">
                  <c:v>-5.8823529411764497E-3</c:v>
                </c:pt>
                <c:pt idx="29045">
                  <c:v>-5.8823529411764497E-3</c:v>
                </c:pt>
                <c:pt idx="29046">
                  <c:v>-5.8823529411764497E-3</c:v>
                </c:pt>
                <c:pt idx="29047">
                  <c:v>-5.8823529411764497E-3</c:v>
                </c:pt>
                <c:pt idx="29048">
                  <c:v>-5.8823529411764497E-3</c:v>
                </c:pt>
                <c:pt idx="29049">
                  <c:v>-5.0420168067226703E-3</c:v>
                </c:pt>
                <c:pt idx="29050">
                  <c:v>-5.0420168067226703E-3</c:v>
                </c:pt>
                <c:pt idx="29051">
                  <c:v>-5.0420168067226703E-3</c:v>
                </c:pt>
                <c:pt idx="29052">
                  <c:v>-5.0420168067226703E-3</c:v>
                </c:pt>
                <c:pt idx="29053">
                  <c:v>-5.0420168067226703E-3</c:v>
                </c:pt>
                <c:pt idx="29054">
                  <c:v>-5.0420168067226703E-3</c:v>
                </c:pt>
                <c:pt idx="29055">
                  <c:v>-5.0420168067226703E-3</c:v>
                </c:pt>
                <c:pt idx="29056">
                  <c:v>-5.0420168067226703E-3</c:v>
                </c:pt>
                <c:pt idx="29057">
                  <c:v>-5.0420168067226703E-3</c:v>
                </c:pt>
                <c:pt idx="29058">
                  <c:v>-5.0420168067226703E-3</c:v>
                </c:pt>
                <c:pt idx="29059">
                  <c:v>-5.0420168067226703E-3</c:v>
                </c:pt>
                <c:pt idx="29060">
                  <c:v>-5.8823529411764497E-3</c:v>
                </c:pt>
                <c:pt idx="29061">
                  <c:v>-5.8823529411764497E-3</c:v>
                </c:pt>
                <c:pt idx="29062">
                  <c:v>-5.8823529411764497E-3</c:v>
                </c:pt>
                <c:pt idx="29063">
                  <c:v>-5.8823529411764497E-3</c:v>
                </c:pt>
                <c:pt idx="29064">
                  <c:v>-5.8823529411764497E-3</c:v>
                </c:pt>
                <c:pt idx="29065">
                  <c:v>-5.8823529411764497E-3</c:v>
                </c:pt>
                <c:pt idx="29066">
                  <c:v>-5.8823529411764497E-3</c:v>
                </c:pt>
                <c:pt idx="29067">
                  <c:v>-5.8823529411764497E-3</c:v>
                </c:pt>
                <c:pt idx="29068">
                  <c:v>-5.8823529411764497E-3</c:v>
                </c:pt>
                <c:pt idx="29069">
                  <c:v>-5.8823529411764497E-3</c:v>
                </c:pt>
                <c:pt idx="29070">
                  <c:v>-5.8823529411764497E-3</c:v>
                </c:pt>
                <c:pt idx="29071">
                  <c:v>-5.8823529411764497E-3</c:v>
                </c:pt>
                <c:pt idx="29072">
                  <c:v>-5.8823529411764497E-3</c:v>
                </c:pt>
                <c:pt idx="29073">
                  <c:v>-5.8823529411764497E-3</c:v>
                </c:pt>
                <c:pt idx="29074">
                  <c:v>-5.8823529411764497E-3</c:v>
                </c:pt>
                <c:pt idx="29075">
                  <c:v>-5.8823529411764497E-3</c:v>
                </c:pt>
                <c:pt idx="29076">
                  <c:v>-5.8823529411764497E-3</c:v>
                </c:pt>
                <c:pt idx="29077">
                  <c:v>-5.8823529411764497E-3</c:v>
                </c:pt>
                <c:pt idx="29078">
                  <c:v>-5.8823529411764497E-3</c:v>
                </c:pt>
                <c:pt idx="29079">
                  <c:v>-5.8823529411764497E-3</c:v>
                </c:pt>
                <c:pt idx="29080">
                  <c:v>-5.8823529411764497E-3</c:v>
                </c:pt>
                <c:pt idx="29081">
                  <c:v>-5.8823529411764497E-3</c:v>
                </c:pt>
                <c:pt idx="29082">
                  <c:v>-5.8823529411764497E-3</c:v>
                </c:pt>
                <c:pt idx="29083">
                  <c:v>-5.8823529411764497E-3</c:v>
                </c:pt>
                <c:pt idx="29084">
                  <c:v>-5.8823529411764497E-3</c:v>
                </c:pt>
                <c:pt idx="29085">
                  <c:v>-5.8823529411764497E-3</c:v>
                </c:pt>
                <c:pt idx="29086">
                  <c:v>-5.8823529411764497E-3</c:v>
                </c:pt>
                <c:pt idx="29087">
                  <c:v>-5.8823529411764497E-3</c:v>
                </c:pt>
                <c:pt idx="29088">
                  <c:v>-5.8823529411764497E-3</c:v>
                </c:pt>
                <c:pt idx="29089">
                  <c:v>-5.8823529411764497E-3</c:v>
                </c:pt>
                <c:pt idx="29090">
                  <c:v>-5.8823529411764497E-3</c:v>
                </c:pt>
                <c:pt idx="29091">
                  <c:v>-5.0420168067226703E-3</c:v>
                </c:pt>
                <c:pt idx="29092">
                  <c:v>-5.0420168067226703E-3</c:v>
                </c:pt>
                <c:pt idx="29093">
                  <c:v>-5.0420168067226703E-3</c:v>
                </c:pt>
                <c:pt idx="29094">
                  <c:v>-5.0420168067226703E-3</c:v>
                </c:pt>
                <c:pt idx="29095">
                  <c:v>-5.0420168067226703E-3</c:v>
                </c:pt>
                <c:pt idx="29096">
                  <c:v>-4.20168067226889E-3</c:v>
                </c:pt>
                <c:pt idx="29097">
                  <c:v>-4.20168067226889E-3</c:v>
                </c:pt>
                <c:pt idx="29098">
                  <c:v>-4.20168067226889E-3</c:v>
                </c:pt>
                <c:pt idx="29099">
                  <c:v>-4.20168067226889E-3</c:v>
                </c:pt>
                <c:pt idx="29100">
                  <c:v>-4.20168067226889E-3</c:v>
                </c:pt>
                <c:pt idx="29101">
                  <c:v>-4.20168067226889E-3</c:v>
                </c:pt>
                <c:pt idx="29102">
                  <c:v>-4.20168067226889E-3</c:v>
                </c:pt>
                <c:pt idx="29103">
                  <c:v>-4.20168067226889E-3</c:v>
                </c:pt>
                <c:pt idx="29104">
                  <c:v>-4.20168067226889E-3</c:v>
                </c:pt>
                <c:pt idx="29105">
                  <c:v>-3.3613445378151102E-3</c:v>
                </c:pt>
                <c:pt idx="29106">
                  <c:v>-3.3613445378151102E-3</c:v>
                </c:pt>
                <c:pt idx="29107">
                  <c:v>-3.3613445378151102E-3</c:v>
                </c:pt>
                <c:pt idx="29108">
                  <c:v>-3.3613445378151102E-3</c:v>
                </c:pt>
                <c:pt idx="29109">
                  <c:v>-3.3613445378151102E-3</c:v>
                </c:pt>
                <c:pt idx="29110">
                  <c:v>-3.3613445378151102E-3</c:v>
                </c:pt>
                <c:pt idx="29111">
                  <c:v>-3.3613445378151102E-3</c:v>
                </c:pt>
                <c:pt idx="29112">
                  <c:v>-3.3613445378151102E-3</c:v>
                </c:pt>
                <c:pt idx="29113">
                  <c:v>-3.3613445378151102E-3</c:v>
                </c:pt>
                <c:pt idx="29114">
                  <c:v>-3.3613445378151102E-3</c:v>
                </c:pt>
                <c:pt idx="29115">
                  <c:v>-3.3613445378151102E-3</c:v>
                </c:pt>
                <c:pt idx="29116">
                  <c:v>-3.3613445378151102E-3</c:v>
                </c:pt>
                <c:pt idx="29117">
                  <c:v>-3.3613445378151102E-3</c:v>
                </c:pt>
                <c:pt idx="29118">
                  <c:v>-3.3613445378151102E-3</c:v>
                </c:pt>
                <c:pt idx="29119">
                  <c:v>-3.3613445378151102E-3</c:v>
                </c:pt>
                <c:pt idx="29120">
                  <c:v>-3.3613445378151102E-3</c:v>
                </c:pt>
                <c:pt idx="29121">
                  <c:v>-4.20168067226889E-3</c:v>
                </c:pt>
                <c:pt idx="29122">
                  <c:v>-4.20168067226889E-3</c:v>
                </c:pt>
                <c:pt idx="29123">
                  <c:v>-4.20168067226889E-3</c:v>
                </c:pt>
                <c:pt idx="29124">
                  <c:v>-4.20168067226889E-3</c:v>
                </c:pt>
                <c:pt idx="29125">
                  <c:v>-4.20168067226889E-3</c:v>
                </c:pt>
                <c:pt idx="29126">
                  <c:v>-4.20168067226889E-3</c:v>
                </c:pt>
                <c:pt idx="29127">
                  <c:v>-4.20168067226889E-3</c:v>
                </c:pt>
                <c:pt idx="29128">
                  <c:v>-4.20168067226889E-3</c:v>
                </c:pt>
                <c:pt idx="29129">
                  <c:v>-4.20168067226889E-3</c:v>
                </c:pt>
                <c:pt idx="29130">
                  <c:v>-4.20168067226889E-3</c:v>
                </c:pt>
                <c:pt idx="29131">
                  <c:v>-4.20168067226889E-3</c:v>
                </c:pt>
                <c:pt idx="29132">
                  <c:v>-4.20168067226889E-3</c:v>
                </c:pt>
                <c:pt idx="29133">
                  <c:v>-4.20168067226889E-3</c:v>
                </c:pt>
                <c:pt idx="29134">
                  <c:v>-4.20168067226889E-3</c:v>
                </c:pt>
                <c:pt idx="29135">
                  <c:v>-4.20168067226889E-3</c:v>
                </c:pt>
                <c:pt idx="29136">
                  <c:v>-4.20168067226889E-3</c:v>
                </c:pt>
                <c:pt idx="29137">
                  <c:v>-4.20168067226889E-3</c:v>
                </c:pt>
                <c:pt idx="29138">
                  <c:v>-4.20168067226889E-3</c:v>
                </c:pt>
                <c:pt idx="29139">
                  <c:v>-4.20168067226889E-3</c:v>
                </c:pt>
                <c:pt idx="29140">
                  <c:v>-4.20168067226889E-3</c:v>
                </c:pt>
                <c:pt idx="29141">
                  <c:v>-4.20168067226889E-3</c:v>
                </c:pt>
                <c:pt idx="29142">
                  <c:v>-4.20168067226889E-3</c:v>
                </c:pt>
                <c:pt idx="29143">
                  <c:v>-4.20168067226889E-3</c:v>
                </c:pt>
                <c:pt idx="29144">
                  <c:v>-4.20168067226889E-3</c:v>
                </c:pt>
                <c:pt idx="29145">
                  <c:v>-4.20168067226889E-3</c:v>
                </c:pt>
                <c:pt idx="29146">
                  <c:v>-4.20168067226889E-3</c:v>
                </c:pt>
                <c:pt idx="29147">
                  <c:v>-4.20168067226889E-3</c:v>
                </c:pt>
                <c:pt idx="29148">
                  <c:v>-4.20168067226889E-3</c:v>
                </c:pt>
                <c:pt idx="29149">
                  <c:v>-4.20168067226889E-3</c:v>
                </c:pt>
                <c:pt idx="29150">
                  <c:v>-4.20168067226889E-3</c:v>
                </c:pt>
                <c:pt idx="29151">
                  <c:v>-4.20168067226889E-3</c:v>
                </c:pt>
                <c:pt idx="29152">
                  <c:v>-4.20168067226889E-3</c:v>
                </c:pt>
                <c:pt idx="29153">
                  <c:v>-4.20168067226889E-3</c:v>
                </c:pt>
                <c:pt idx="29154">
                  <c:v>-4.20168067226889E-3</c:v>
                </c:pt>
                <c:pt idx="29155">
                  <c:v>-4.20168067226889E-3</c:v>
                </c:pt>
                <c:pt idx="29156">
                  <c:v>-5.0420168067226703E-3</c:v>
                </c:pt>
                <c:pt idx="29157">
                  <c:v>-5.0420168067226703E-3</c:v>
                </c:pt>
                <c:pt idx="29158">
                  <c:v>-4.20168067226889E-3</c:v>
                </c:pt>
                <c:pt idx="29159">
                  <c:v>-4.20168067226889E-3</c:v>
                </c:pt>
                <c:pt idx="29160">
                  <c:v>-4.20168067226889E-3</c:v>
                </c:pt>
                <c:pt idx="29161">
                  <c:v>-4.20168067226889E-3</c:v>
                </c:pt>
                <c:pt idx="29162">
                  <c:v>-4.20168067226889E-3</c:v>
                </c:pt>
                <c:pt idx="29163">
                  <c:v>-4.20168067226889E-3</c:v>
                </c:pt>
                <c:pt idx="29164">
                  <c:v>-4.20168067226889E-3</c:v>
                </c:pt>
                <c:pt idx="29165">
                  <c:v>-4.20168067226889E-3</c:v>
                </c:pt>
                <c:pt idx="29166">
                  <c:v>-4.20168067226889E-3</c:v>
                </c:pt>
                <c:pt idx="29167">
                  <c:v>-5.0420168067226703E-3</c:v>
                </c:pt>
                <c:pt idx="29168">
                  <c:v>-5.0420168067226703E-3</c:v>
                </c:pt>
                <c:pt idx="29169">
                  <c:v>-5.0420168067226703E-3</c:v>
                </c:pt>
                <c:pt idx="29170">
                  <c:v>-5.0420168067226703E-3</c:v>
                </c:pt>
                <c:pt idx="29171">
                  <c:v>-5.0420168067226703E-3</c:v>
                </c:pt>
                <c:pt idx="29172">
                  <c:v>-5.0420168067226703E-3</c:v>
                </c:pt>
                <c:pt idx="29173">
                  <c:v>-5.0420168067226703E-3</c:v>
                </c:pt>
                <c:pt idx="29174">
                  <c:v>-5.0420168067226703E-3</c:v>
                </c:pt>
                <c:pt idx="29175">
                  <c:v>-5.0420168067226703E-3</c:v>
                </c:pt>
                <c:pt idx="29176">
                  <c:v>-5.0420168067226703E-3</c:v>
                </c:pt>
                <c:pt idx="29177">
                  <c:v>-5.0420168067226703E-3</c:v>
                </c:pt>
                <c:pt idx="29178">
                  <c:v>-5.0420168067226703E-3</c:v>
                </c:pt>
                <c:pt idx="29179">
                  <c:v>-5.0420168067226703E-3</c:v>
                </c:pt>
                <c:pt idx="29180">
                  <c:v>-5.0420168067226703E-3</c:v>
                </c:pt>
                <c:pt idx="29181">
                  <c:v>-5.0420168067226703E-3</c:v>
                </c:pt>
                <c:pt idx="29182">
                  <c:v>-5.8823529411764497E-3</c:v>
                </c:pt>
                <c:pt idx="29183">
                  <c:v>-6.7226890756302204E-3</c:v>
                </c:pt>
                <c:pt idx="29184">
                  <c:v>-6.7226890756302204E-3</c:v>
                </c:pt>
                <c:pt idx="29185">
                  <c:v>-6.7226890756302204E-3</c:v>
                </c:pt>
                <c:pt idx="29186">
                  <c:v>-6.7226890756302204E-3</c:v>
                </c:pt>
                <c:pt idx="29187">
                  <c:v>-6.7226890756302204E-3</c:v>
                </c:pt>
                <c:pt idx="29188">
                  <c:v>-6.7226890756302204E-3</c:v>
                </c:pt>
                <c:pt idx="29189">
                  <c:v>-6.7226890756302204E-3</c:v>
                </c:pt>
                <c:pt idx="29190">
                  <c:v>-6.7226890756302204E-3</c:v>
                </c:pt>
                <c:pt idx="29191">
                  <c:v>-6.7226890756302204E-3</c:v>
                </c:pt>
                <c:pt idx="29192">
                  <c:v>-6.7226890756302204E-3</c:v>
                </c:pt>
                <c:pt idx="29193">
                  <c:v>-6.7226890756302204E-3</c:v>
                </c:pt>
                <c:pt idx="29194">
                  <c:v>-6.7226890756302204E-3</c:v>
                </c:pt>
                <c:pt idx="29195">
                  <c:v>-6.7226890756302204E-3</c:v>
                </c:pt>
                <c:pt idx="29196">
                  <c:v>-6.7226890756302204E-3</c:v>
                </c:pt>
                <c:pt idx="29197">
                  <c:v>-6.7226890756302204E-3</c:v>
                </c:pt>
                <c:pt idx="29198">
                  <c:v>-6.7226890756302204E-3</c:v>
                </c:pt>
                <c:pt idx="29199">
                  <c:v>-6.7226890756302204E-3</c:v>
                </c:pt>
                <c:pt idx="29200">
                  <c:v>-6.7226890756302204E-3</c:v>
                </c:pt>
                <c:pt idx="29201">
                  <c:v>-6.7226890756302204E-3</c:v>
                </c:pt>
                <c:pt idx="29202">
                  <c:v>-6.7226890756302204E-3</c:v>
                </c:pt>
                <c:pt idx="29203">
                  <c:v>-6.7226890756302204E-3</c:v>
                </c:pt>
                <c:pt idx="29204">
                  <c:v>-6.7226890756302204E-3</c:v>
                </c:pt>
                <c:pt idx="29205">
                  <c:v>-6.7226890756302204E-3</c:v>
                </c:pt>
                <c:pt idx="29206">
                  <c:v>-6.7226890756302204E-3</c:v>
                </c:pt>
                <c:pt idx="29207">
                  <c:v>-6.7226890756302204E-3</c:v>
                </c:pt>
                <c:pt idx="29208">
                  <c:v>-7.5630252100839998E-3</c:v>
                </c:pt>
                <c:pt idx="29209">
                  <c:v>-7.5630252100839998E-3</c:v>
                </c:pt>
                <c:pt idx="29210">
                  <c:v>-7.5630252100839998E-3</c:v>
                </c:pt>
                <c:pt idx="29211">
                  <c:v>-7.5630252100839998E-3</c:v>
                </c:pt>
                <c:pt idx="29212">
                  <c:v>-7.5630252100839998E-3</c:v>
                </c:pt>
                <c:pt idx="29213">
                  <c:v>-7.5630252100839998E-3</c:v>
                </c:pt>
                <c:pt idx="29214">
                  <c:v>-7.5630252100839998E-3</c:v>
                </c:pt>
                <c:pt idx="29215">
                  <c:v>-7.5630252100839998E-3</c:v>
                </c:pt>
                <c:pt idx="29216">
                  <c:v>-7.5630252100839998E-3</c:v>
                </c:pt>
                <c:pt idx="29217">
                  <c:v>-7.5630252100839998E-3</c:v>
                </c:pt>
                <c:pt idx="29218">
                  <c:v>-7.5630252100839998E-3</c:v>
                </c:pt>
                <c:pt idx="29219">
                  <c:v>-7.5630252100839998E-3</c:v>
                </c:pt>
                <c:pt idx="29220">
                  <c:v>-7.5630252100839998E-3</c:v>
                </c:pt>
                <c:pt idx="29221">
                  <c:v>-7.5630252100839998E-3</c:v>
                </c:pt>
                <c:pt idx="29222">
                  <c:v>-7.5630252100839998E-3</c:v>
                </c:pt>
                <c:pt idx="29223">
                  <c:v>-7.5630252100839998E-3</c:v>
                </c:pt>
                <c:pt idx="29224">
                  <c:v>-7.5630252100839998E-3</c:v>
                </c:pt>
                <c:pt idx="29225">
                  <c:v>-7.5630252100839998E-3</c:v>
                </c:pt>
                <c:pt idx="29226">
                  <c:v>-7.5630252100839998E-3</c:v>
                </c:pt>
                <c:pt idx="29227">
                  <c:v>-7.5630252100839998E-3</c:v>
                </c:pt>
                <c:pt idx="29228">
                  <c:v>-7.5630252100839998E-3</c:v>
                </c:pt>
                <c:pt idx="29229">
                  <c:v>-7.5630252100839998E-3</c:v>
                </c:pt>
                <c:pt idx="29230">
                  <c:v>-7.5630252100839998E-3</c:v>
                </c:pt>
                <c:pt idx="29231">
                  <c:v>-7.5630252100839998E-3</c:v>
                </c:pt>
                <c:pt idx="29232">
                  <c:v>-7.5630252100839998E-3</c:v>
                </c:pt>
                <c:pt idx="29233">
                  <c:v>-7.5630252100839998E-3</c:v>
                </c:pt>
                <c:pt idx="29234">
                  <c:v>-7.5630252100839998E-3</c:v>
                </c:pt>
                <c:pt idx="29235">
                  <c:v>-7.5630252100839998E-3</c:v>
                </c:pt>
                <c:pt idx="29236">
                  <c:v>-7.5630252100839998E-3</c:v>
                </c:pt>
                <c:pt idx="29237">
                  <c:v>-7.5630252100839998E-3</c:v>
                </c:pt>
                <c:pt idx="29238">
                  <c:v>-7.5630252100839998E-3</c:v>
                </c:pt>
                <c:pt idx="29239">
                  <c:v>-7.5630252100839998E-3</c:v>
                </c:pt>
                <c:pt idx="29240">
                  <c:v>-7.5630252100839998E-3</c:v>
                </c:pt>
                <c:pt idx="29241">
                  <c:v>-7.5630252100839998E-3</c:v>
                </c:pt>
                <c:pt idx="29242">
                  <c:v>-7.5630252100839998E-3</c:v>
                </c:pt>
                <c:pt idx="29243">
                  <c:v>-7.5630252100839998E-3</c:v>
                </c:pt>
                <c:pt idx="29244">
                  <c:v>-7.5630252100839998E-3</c:v>
                </c:pt>
                <c:pt idx="29245">
                  <c:v>-7.5630252100839998E-3</c:v>
                </c:pt>
                <c:pt idx="29246">
                  <c:v>-7.5630252100839998E-3</c:v>
                </c:pt>
                <c:pt idx="29247">
                  <c:v>-7.5630252100839998E-3</c:v>
                </c:pt>
                <c:pt idx="29248">
                  <c:v>-7.5630252100839998E-3</c:v>
                </c:pt>
                <c:pt idx="29249">
                  <c:v>-7.5630252100839998E-3</c:v>
                </c:pt>
                <c:pt idx="29250">
                  <c:v>-7.5630252100839998E-3</c:v>
                </c:pt>
                <c:pt idx="29251">
                  <c:v>-7.5630252100839998E-3</c:v>
                </c:pt>
                <c:pt idx="29252">
                  <c:v>-6.7226890756302204E-3</c:v>
                </c:pt>
                <c:pt idx="29253">
                  <c:v>-7.5630252100839998E-3</c:v>
                </c:pt>
                <c:pt idx="29254">
                  <c:v>-7.5630252100839998E-3</c:v>
                </c:pt>
                <c:pt idx="29255">
                  <c:v>-7.5630252100839998E-3</c:v>
                </c:pt>
                <c:pt idx="29256">
                  <c:v>-7.5630252100839998E-3</c:v>
                </c:pt>
                <c:pt idx="29257">
                  <c:v>-7.5630252100839998E-3</c:v>
                </c:pt>
                <c:pt idx="29258">
                  <c:v>-7.5630252100839998E-3</c:v>
                </c:pt>
                <c:pt idx="29259">
                  <c:v>-7.5630252100839998E-3</c:v>
                </c:pt>
                <c:pt idx="29260">
                  <c:v>-7.5630252100839998E-3</c:v>
                </c:pt>
                <c:pt idx="29261">
                  <c:v>-7.5630252100839998E-3</c:v>
                </c:pt>
                <c:pt idx="29262">
                  <c:v>-7.5630252100839998E-3</c:v>
                </c:pt>
                <c:pt idx="29263">
                  <c:v>-7.5630252100839998E-3</c:v>
                </c:pt>
                <c:pt idx="29264">
                  <c:v>-7.5630252100839998E-3</c:v>
                </c:pt>
                <c:pt idx="29265">
                  <c:v>-7.5630252100839998E-3</c:v>
                </c:pt>
                <c:pt idx="29266">
                  <c:v>-7.5630252100839998E-3</c:v>
                </c:pt>
                <c:pt idx="29267">
                  <c:v>-7.5630252100839998E-3</c:v>
                </c:pt>
                <c:pt idx="29268">
                  <c:v>-7.5630252100839998E-3</c:v>
                </c:pt>
                <c:pt idx="29269">
                  <c:v>-7.5630252100839998E-3</c:v>
                </c:pt>
                <c:pt idx="29270">
                  <c:v>-7.5630252100839998E-3</c:v>
                </c:pt>
                <c:pt idx="29271">
                  <c:v>-7.5630252100839998E-3</c:v>
                </c:pt>
                <c:pt idx="29272">
                  <c:v>-6.7226890756302204E-3</c:v>
                </c:pt>
                <c:pt idx="29273">
                  <c:v>-6.7226890756302204E-3</c:v>
                </c:pt>
                <c:pt idx="29274">
                  <c:v>-6.7226890756302204E-3</c:v>
                </c:pt>
                <c:pt idx="29275">
                  <c:v>-6.7226890756302204E-3</c:v>
                </c:pt>
                <c:pt idx="29276">
                  <c:v>-6.7226890756302204E-3</c:v>
                </c:pt>
                <c:pt idx="29277">
                  <c:v>-6.7226890756302204E-3</c:v>
                </c:pt>
                <c:pt idx="29278">
                  <c:v>-6.7226890756302204E-3</c:v>
                </c:pt>
                <c:pt idx="29279">
                  <c:v>-6.7226890756302204E-3</c:v>
                </c:pt>
                <c:pt idx="29280">
                  <c:v>-6.7226890756302204E-3</c:v>
                </c:pt>
                <c:pt idx="29281">
                  <c:v>-6.7226890756302204E-3</c:v>
                </c:pt>
                <c:pt idx="29282">
                  <c:v>-6.7226890756302204E-3</c:v>
                </c:pt>
                <c:pt idx="29283">
                  <c:v>-6.7226890756302204E-3</c:v>
                </c:pt>
                <c:pt idx="29284">
                  <c:v>-6.7226890756302204E-3</c:v>
                </c:pt>
                <c:pt idx="29285">
                  <c:v>-6.7226890756302204E-3</c:v>
                </c:pt>
                <c:pt idx="29286">
                  <c:v>-6.7226890756302204E-3</c:v>
                </c:pt>
                <c:pt idx="29287">
                  <c:v>-6.7226890756302204E-3</c:v>
                </c:pt>
                <c:pt idx="29288">
                  <c:v>-6.7226890756302204E-3</c:v>
                </c:pt>
                <c:pt idx="29289">
                  <c:v>-6.7226890756302204E-3</c:v>
                </c:pt>
                <c:pt idx="29290">
                  <c:v>-6.7226890756302204E-3</c:v>
                </c:pt>
                <c:pt idx="29291">
                  <c:v>-6.7226890756302204E-3</c:v>
                </c:pt>
                <c:pt idx="29292">
                  <c:v>-6.7226890756302204E-3</c:v>
                </c:pt>
                <c:pt idx="29293">
                  <c:v>-6.7226890756302204E-3</c:v>
                </c:pt>
                <c:pt idx="29294">
                  <c:v>-6.7226890756302204E-3</c:v>
                </c:pt>
                <c:pt idx="29295">
                  <c:v>-6.7226890756302204E-3</c:v>
                </c:pt>
                <c:pt idx="29296">
                  <c:v>-6.7226890756302204E-3</c:v>
                </c:pt>
                <c:pt idx="29297">
                  <c:v>-6.7226890756302204E-3</c:v>
                </c:pt>
                <c:pt idx="29298">
                  <c:v>-6.7226890756302204E-3</c:v>
                </c:pt>
                <c:pt idx="29299">
                  <c:v>-6.7226890756302204E-3</c:v>
                </c:pt>
                <c:pt idx="29300">
                  <c:v>-6.7226890756302204E-3</c:v>
                </c:pt>
                <c:pt idx="29301">
                  <c:v>-6.7226890756302204E-3</c:v>
                </c:pt>
                <c:pt idx="29302">
                  <c:v>-6.7226890756302204E-3</c:v>
                </c:pt>
                <c:pt idx="29303">
                  <c:v>-6.7226890756302204E-3</c:v>
                </c:pt>
                <c:pt idx="29304">
                  <c:v>-6.7226890756302204E-3</c:v>
                </c:pt>
                <c:pt idx="29305">
                  <c:v>-6.7226890756302204E-3</c:v>
                </c:pt>
                <c:pt idx="29306">
                  <c:v>-6.7226890756302204E-3</c:v>
                </c:pt>
                <c:pt idx="29307">
                  <c:v>-6.7226890756302204E-3</c:v>
                </c:pt>
                <c:pt idx="29308">
                  <c:v>-6.7226890756302204E-3</c:v>
                </c:pt>
                <c:pt idx="29309">
                  <c:v>-6.7226890756302204E-3</c:v>
                </c:pt>
                <c:pt idx="29310">
                  <c:v>-6.7226890756302204E-3</c:v>
                </c:pt>
                <c:pt idx="29311">
                  <c:v>-6.7226890756302204E-3</c:v>
                </c:pt>
                <c:pt idx="29312">
                  <c:v>-6.7226890756302204E-3</c:v>
                </c:pt>
                <c:pt idx="29313">
                  <c:v>-6.7226890756302204E-3</c:v>
                </c:pt>
                <c:pt idx="29314">
                  <c:v>-6.7226890756302204E-3</c:v>
                </c:pt>
                <c:pt idx="29315">
                  <c:v>-6.7226890756302204E-3</c:v>
                </c:pt>
                <c:pt idx="29316">
                  <c:v>-6.7226890756302204E-3</c:v>
                </c:pt>
                <c:pt idx="29317">
                  <c:v>-6.7226890756302204E-3</c:v>
                </c:pt>
                <c:pt idx="29318">
                  <c:v>-6.7226890756302204E-3</c:v>
                </c:pt>
                <c:pt idx="29319">
                  <c:v>-6.7226890756302204E-3</c:v>
                </c:pt>
                <c:pt idx="29320">
                  <c:v>-6.7226890756302204E-3</c:v>
                </c:pt>
                <c:pt idx="29321">
                  <c:v>-6.7226890756302204E-3</c:v>
                </c:pt>
                <c:pt idx="29322">
                  <c:v>-6.7226890756302204E-3</c:v>
                </c:pt>
                <c:pt idx="29323">
                  <c:v>-6.7226890756302204E-3</c:v>
                </c:pt>
                <c:pt idx="29324">
                  <c:v>-6.7226890756302204E-3</c:v>
                </c:pt>
                <c:pt idx="29325">
                  <c:v>-6.7226890756302204E-3</c:v>
                </c:pt>
                <c:pt idx="29326">
                  <c:v>-6.7226890756302204E-3</c:v>
                </c:pt>
                <c:pt idx="29327">
                  <c:v>-6.7226890756302204E-3</c:v>
                </c:pt>
                <c:pt idx="29328">
                  <c:v>-6.7226890756302204E-3</c:v>
                </c:pt>
                <c:pt idx="29329">
                  <c:v>-6.7226890756302204E-3</c:v>
                </c:pt>
                <c:pt idx="29330">
                  <c:v>-6.7226890756302204E-3</c:v>
                </c:pt>
                <c:pt idx="29331">
                  <c:v>-6.7226890756302204E-3</c:v>
                </c:pt>
                <c:pt idx="29332">
                  <c:v>-6.7226890756302204E-3</c:v>
                </c:pt>
                <c:pt idx="29333">
                  <c:v>-6.7226890756302204E-3</c:v>
                </c:pt>
                <c:pt idx="29334">
                  <c:v>-6.7226890756302204E-3</c:v>
                </c:pt>
                <c:pt idx="29335">
                  <c:v>-6.7226890756302204E-3</c:v>
                </c:pt>
                <c:pt idx="29336">
                  <c:v>-6.7226890756302204E-3</c:v>
                </c:pt>
                <c:pt idx="29337">
                  <c:v>-6.7226890756302204E-3</c:v>
                </c:pt>
                <c:pt idx="29338">
                  <c:v>-6.7226890756302204E-3</c:v>
                </c:pt>
                <c:pt idx="29339">
                  <c:v>-6.7226890756302204E-3</c:v>
                </c:pt>
                <c:pt idx="29340">
                  <c:v>-6.7226890756302204E-3</c:v>
                </c:pt>
                <c:pt idx="29341">
                  <c:v>-6.7226890756302204E-3</c:v>
                </c:pt>
                <c:pt idx="29342">
                  <c:v>-6.7226890756302204E-3</c:v>
                </c:pt>
                <c:pt idx="29343">
                  <c:v>-6.7226890756302204E-3</c:v>
                </c:pt>
                <c:pt idx="29344">
                  <c:v>-6.7226890756302204E-3</c:v>
                </c:pt>
                <c:pt idx="29345">
                  <c:v>-6.7226890756302204E-3</c:v>
                </c:pt>
                <c:pt idx="29346">
                  <c:v>-6.7226890756302204E-3</c:v>
                </c:pt>
                <c:pt idx="29347">
                  <c:v>-6.7226890756302204E-3</c:v>
                </c:pt>
                <c:pt idx="29348">
                  <c:v>-6.7226890756302204E-3</c:v>
                </c:pt>
                <c:pt idx="29349">
                  <c:v>-6.7226890756302204E-3</c:v>
                </c:pt>
                <c:pt idx="29350">
                  <c:v>-6.7226890756302204E-3</c:v>
                </c:pt>
                <c:pt idx="29351">
                  <c:v>-6.7226890756302204E-3</c:v>
                </c:pt>
                <c:pt idx="29352">
                  <c:v>-6.7226890756302204E-3</c:v>
                </c:pt>
                <c:pt idx="29353">
                  <c:v>-6.7226890756302204E-3</c:v>
                </c:pt>
                <c:pt idx="29354">
                  <c:v>-6.7226890756302204E-3</c:v>
                </c:pt>
                <c:pt idx="29355">
                  <c:v>-6.7226890756302204E-3</c:v>
                </c:pt>
                <c:pt idx="29356">
                  <c:v>-6.7226890756302204E-3</c:v>
                </c:pt>
                <c:pt idx="29357">
                  <c:v>-6.7226890756302204E-3</c:v>
                </c:pt>
                <c:pt idx="29358">
                  <c:v>-6.7226890756302204E-3</c:v>
                </c:pt>
                <c:pt idx="29359">
                  <c:v>-6.7226890756302204E-3</c:v>
                </c:pt>
                <c:pt idx="29360">
                  <c:v>-6.7226890756302204E-3</c:v>
                </c:pt>
                <c:pt idx="29361">
                  <c:v>-6.7226890756302204E-3</c:v>
                </c:pt>
                <c:pt idx="29362">
                  <c:v>-6.7226890756302204E-3</c:v>
                </c:pt>
                <c:pt idx="29363">
                  <c:v>-6.7226890756302204E-3</c:v>
                </c:pt>
                <c:pt idx="29364">
                  <c:v>-6.7226890756302204E-3</c:v>
                </c:pt>
                <c:pt idx="29365">
                  <c:v>-6.7226890756302204E-3</c:v>
                </c:pt>
                <c:pt idx="29366">
                  <c:v>-6.7226890756302204E-3</c:v>
                </c:pt>
                <c:pt idx="29367">
                  <c:v>-6.7226890756302204E-3</c:v>
                </c:pt>
                <c:pt idx="29368">
                  <c:v>-6.7226890756302204E-3</c:v>
                </c:pt>
                <c:pt idx="29369">
                  <c:v>-6.7226890756302204E-3</c:v>
                </c:pt>
                <c:pt idx="29370">
                  <c:v>-6.7226890756302204E-3</c:v>
                </c:pt>
                <c:pt idx="29371">
                  <c:v>-6.7226890756302204E-3</c:v>
                </c:pt>
                <c:pt idx="29372">
                  <c:v>-6.7226890756302204E-3</c:v>
                </c:pt>
                <c:pt idx="29373">
                  <c:v>-6.7226890756302204E-3</c:v>
                </c:pt>
                <c:pt idx="29374">
                  <c:v>-6.7226890756302204E-3</c:v>
                </c:pt>
                <c:pt idx="29375">
                  <c:v>-6.7226890756302204E-3</c:v>
                </c:pt>
                <c:pt idx="29376">
                  <c:v>-6.7226890756302204E-3</c:v>
                </c:pt>
                <c:pt idx="29377">
                  <c:v>-6.7226890756302204E-3</c:v>
                </c:pt>
                <c:pt idx="29378">
                  <c:v>-6.7226890756302204E-3</c:v>
                </c:pt>
                <c:pt idx="29379">
                  <c:v>-6.7226890756302204E-3</c:v>
                </c:pt>
                <c:pt idx="29380">
                  <c:v>-6.7226890756302204E-3</c:v>
                </c:pt>
                <c:pt idx="29381">
                  <c:v>-6.7226890756302204E-3</c:v>
                </c:pt>
                <c:pt idx="29382">
                  <c:v>-6.7226890756302204E-3</c:v>
                </c:pt>
                <c:pt idx="29383">
                  <c:v>-6.7226890756302204E-3</c:v>
                </c:pt>
                <c:pt idx="29384">
                  <c:v>-6.7226890756302204E-3</c:v>
                </c:pt>
                <c:pt idx="29385">
                  <c:v>-7.5630252100839998E-3</c:v>
                </c:pt>
                <c:pt idx="29386">
                  <c:v>-7.5630252100839998E-3</c:v>
                </c:pt>
                <c:pt idx="29387">
                  <c:v>-7.5630252100839998E-3</c:v>
                </c:pt>
                <c:pt idx="29388">
                  <c:v>-7.5630252100839998E-3</c:v>
                </c:pt>
                <c:pt idx="29389">
                  <c:v>-7.5630252100839998E-3</c:v>
                </c:pt>
                <c:pt idx="29390">
                  <c:v>-7.5630252100839998E-3</c:v>
                </c:pt>
                <c:pt idx="29391">
                  <c:v>-7.5630252100839998E-3</c:v>
                </c:pt>
                <c:pt idx="29392">
                  <c:v>-7.5630252100839998E-3</c:v>
                </c:pt>
                <c:pt idx="29393">
                  <c:v>-7.5630252100839998E-3</c:v>
                </c:pt>
                <c:pt idx="29394">
                  <c:v>-7.5630252100839998E-3</c:v>
                </c:pt>
                <c:pt idx="29395">
                  <c:v>-7.5630252100839998E-3</c:v>
                </c:pt>
                <c:pt idx="29396">
                  <c:v>-7.5630252100839998E-3</c:v>
                </c:pt>
                <c:pt idx="29397">
                  <c:v>-7.5630252100839998E-3</c:v>
                </c:pt>
                <c:pt idx="29398">
                  <c:v>-7.5630252100839998E-3</c:v>
                </c:pt>
                <c:pt idx="29399">
                  <c:v>-7.5630252100839998E-3</c:v>
                </c:pt>
                <c:pt idx="29400">
                  <c:v>-7.5630252100839998E-3</c:v>
                </c:pt>
                <c:pt idx="29401">
                  <c:v>-7.5630252100839998E-3</c:v>
                </c:pt>
                <c:pt idx="29402">
                  <c:v>-7.5630252100839998E-3</c:v>
                </c:pt>
                <c:pt idx="29403">
                  <c:v>-7.5630252100839998E-3</c:v>
                </c:pt>
                <c:pt idx="29404">
                  <c:v>-7.5630252100839998E-3</c:v>
                </c:pt>
                <c:pt idx="29405">
                  <c:v>-7.5630252100839998E-3</c:v>
                </c:pt>
                <c:pt idx="29406">
                  <c:v>-7.5630252100839998E-3</c:v>
                </c:pt>
                <c:pt idx="29407">
                  <c:v>-7.5630252100839998E-3</c:v>
                </c:pt>
                <c:pt idx="29408">
                  <c:v>-7.5630252100839998E-3</c:v>
                </c:pt>
                <c:pt idx="29409">
                  <c:v>-7.5630252100839998E-3</c:v>
                </c:pt>
                <c:pt idx="29410">
                  <c:v>-7.5630252100839998E-3</c:v>
                </c:pt>
                <c:pt idx="29411">
                  <c:v>-7.5630252100839998E-3</c:v>
                </c:pt>
                <c:pt idx="29412">
                  <c:v>-7.5630252100839998E-3</c:v>
                </c:pt>
                <c:pt idx="29413">
                  <c:v>-7.5630252100839998E-3</c:v>
                </c:pt>
                <c:pt idx="29414">
                  <c:v>-7.5630252100839998E-3</c:v>
                </c:pt>
                <c:pt idx="29415">
                  <c:v>-7.5630252100839998E-3</c:v>
                </c:pt>
                <c:pt idx="29416">
                  <c:v>-7.5630252100839998E-3</c:v>
                </c:pt>
                <c:pt idx="29417">
                  <c:v>-7.5630252100839998E-3</c:v>
                </c:pt>
                <c:pt idx="29418">
                  <c:v>-7.5630252100839998E-3</c:v>
                </c:pt>
                <c:pt idx="29419">
                  <c:v>-7.5630252100839998E-3</c:v>
                </c:pt>
                <c:pt idx="29420">
                  <c:v>-7.5630252100839998E-3</c:v>
                </c:pt>
                <c:pt idx="29421">
                  <c:v>-7.5630252100839998E-3</c:v>
                </c:pt>
                <c:pt idx="29422">
                  <c:v>-7.5630252100839998E-3</c:v>
                </c:pt>
                <c:pt idx="29423">
                  <c:v>-7.5630252100839998E-3</c:v>
                </c:pt>
                <c:pt idx="29424">
                  <c:v>-7.5630252100839998E-3</c:v>
                </c:pt>
                <c:pt idx="29425">
                  <c:v>-7.5630252100839998E-3</c:v>
                </c:pt>
                <c:pt idx="29426">
                  <c:v>-7.5630252100839998E-3</c:v>
                </c:pt>
                <c:pt idx="29427">
                  <c:v>-7.5630252100839998E-3</c:v>
                </c:pt>
                <c:pt idx="29428">
                  <c:v>-7.5630252100839998E-3</c:v>
                </c:pt>
                <c:pt idx="29429">
                  <c:v>-7.5630252100839998E-3</c:v>
                </c:pt>
                <c:pt idx="29430">
                  <c:v>-7.5630252100839998E-3</c:v>
                </c:pt>
                <c:pt idx="29431">
                  <c:v>-7.5630252100839998E-3</c:v>
                </c:pt>
                <c:pt idx="29432">
                  <c:v>-7.5630252100839998E-3</c:v>
                </c:pt>
                <c:pt idx="29433">
                  <c:v>-7.5630252100839998E-3</c:v>
                </c:pt>
                <c:pt idx="29434">
                  <c:v>-7.5630252100839998E-3</c:v>
                </c:pt>
                <c:pt idx="29435">
                  <c:v>-7.5630252100839998E-3</c:v>
                </c:pt>
                <c:pt idx="29436">
                  <c:v>-7.5630252100839998E-3</c:v>
                </c:pt>
                <c:pt idx="29437">
                  <c:v>-7.5630252100839998E-3</c:v>
                </c:pt>
                <c:pt idx="29438">
                  <c:v>-7.5630252100839998E-3</c:v>
                </c:pt>
                <c:pt idx="29439">
                  <c:v>-7.5630252100839998E-3</c:v>
                </c:pt>
                <c:pt idx="29440">
                  <c:v>-7.5630252100839998E-3</c:v>
                </c:pt>
                <c:pt idx="29441">
                  <c:v>-7.5630252100839998E-3</c:v>
                </c:pt>
                <c:pt idx="29442">
                  <c:v>-7.5630252100839998E-3</c:v>
                </c:pt>
                <c:pt idx="29443">
                  <c:v>-7.5630252100839998E-3</c:v>
                </c:pt>
                <c:pt idx="29444">
                  <c:v>-7.5630252100839998E-3</c:v>
                </c:pt>
                <c:pt idx="29445">
                  <c:v>-7.5630252100839998E-3</c:v>
                </c:pt>
                <c:pt idx="29446">
                  <c:v>-7.5630252100839998E-3</c:v>
                </c:pt>
                <c:pt idx="29447">
                  <c:v>-7.5630252100839998E-3</c:v>
                </c:pt>
                <c:pt idx="29448">
                  <c:v>-7.5630252100839998E-3</c:v>
                </c:pt>
                <c:pt idx="29449">
                  <c:v>-7.5630252100839998E-3</c:v>
                </c:pt>
                <c:pt idx="29450">
                  <c:v>-7.5630252100839998E-3</c:v>
                </c:pt>
                <c:pt idx="29451">
                  <c:v>-7.5630252100839998E-3</c:v>
                </c:pt>
                <c:pt idx="29452">
                  <c:v>-7.5630252100839998E-3</c:v>
                </c:pt>
                <c:pt idx="29453">
                  <c:v>-7.5630252100839998E-3</c:v>
                </c:pt>
                <c:pt idx="29454">
                  <c:v>-7.5630252100839998E-3</c:v>
                </c:pt>
                <c:pt idx="29455">
                  <c:v>-7.5630252100839998E-3</c:v>
                </c:pt>
                <c:pt idx="29456">
                  <c:v>-8.4033613445377801E-3</c:v>
                </c:pt>
                <c:pt idx="29457">
                  <c:v>-8.4033613445377801E-3</c:v>
                </c:pt>
                <c:pt idx="29458">
                  <c:v>-8.4033613445377801E-3</c:v>
                </c:pt>
                <c:pt idx="29459">
                  <c:v>-8.4033613445377801E-3</c:v>
                </c:pt>
                <c:pt idx="29460">
                  <c:v>-8.4033613445377801E-3</c:v>
                </c:pt>
                <c:pt idx="29461">
                  <c:v>-8.4033613445377801E-3</c:v>
                </c:pt>
                <c:pt idx="29462">
                  <c:v>-8.4033613445377801E-3</c:v>
                </c:pt>
                <c:pt idx="29463">
                  <c:v>-8.4033613445377801E-3</c:v>
                </c:pt>
                <c:pt idx="29464">
                  <c:v>-8.4033613445377801E-3</c:v>
                </c:pt>
                <c:pt idx="29465">
                  <c:v>-8.4033613445377801E-3</c:v>
                </c:pt>
                <c:pt idx="29466">
                  <c:v>-7.5630252100839998E-3</c:v>
                </c:pt>
                <c:pt idx="29467">
                  <c:v>-7.5630252100839998E-3</c:v>
                </c:pt>
                <c:pt idx="29468">
                  <c:v>-7.5630252100839998E-3</c:v>
                </c:pt>
                <c:pt idx="29469">
                  <c:v>-7.5630252100839998E-3</c:v>
                </c:pt>
                <c:pt idx="29470">
                  <c:v>-7.5630252100839998E-3</c:v>
                </c:pt>
                <c:pt idx="29471">
                  <c:v>-7.5630252100839998E-3</c:v>
                </c:pt>
                <c:pt idx="29472">
                  <c:v>-7.5630252100839998E-3</c:v>
                </c:pt>
                <c:pt idx="29473">
                  <c:v>-6.7226890756302204E-3</c:v>
                </c:pt>
                <c:pt idx="29474">
                  <c:v>-6.7226890756302204E-3</c:v>
                </c:pt>
                <c:pt idx="29475">
                  <c:v>-6.7226890756302204E-3</c:v>
                </c:pt>
                <c:pt idx="29476">
                  <c:v>-6.7226890756302204E-3</c:v>
                </c:pt>
                <c:pt idx="29477">
                  <c:v>-6.7226890756302204E-3</c:v>
                </c:pt>
                <c:pt idx="29478">
                  <c:v>-6.7226890756302204E-3</c:v>
                </c:pt>
                <c:pt idx="29479">
                  <c:v>-6.7226890756302204E-3</c:v>
                </c:pt>
                <c:pt idx="29480">
                  <c:v>-6.7226890756302204E-3</c:v>
                </c:pt>
                <c:pt idx="29481">
                  <c:v>-6.7226890756302204E-3</c:v>
                </c:pt>
                <c:pt idx="29482">
                  <c:v>-6.7226890756302204E-3</c:v>
                </c:pt>
                <c:pt idx="29483">
                  <c:v>-6.7226890756302204E-3</c:v>
                </c:pt>
                <c:pt idx="29484">
                  <c:v>-6.7226890756302204E-3</c:v>
                </c:pt>
                <c:pt idx="29485">
                  <c:v>-6.7226890756302204E-3</c:v>
                </c:pt>
                <c:pt idx="29486">
                  <c:v>-6.7226890756302204E-3</c:v>
                </c:pt>
                <c:pt idx="29487">
                  <c:v>-6.7226890756302204E-3</c:v>
                </c:pt>
                <c:pt idx="29488">
                  <c:v>-6.7226890756302204E-3</c:v>
                </c:pt>
                <c:pt idx="29489">
                  <c:v>-6.7226890756302204E-3</c:v>
                </c:pt>
                <c:pt idx="29490">
                  <c:v>-6.7226890756302204E-3</c:v>
                </c:pt>
                <c:pt idx="29491">
                  <c:v>-6.7226890756302204E-3</c:v>
                </c:pt>
                <c:pt idx="29492">
                  <c:v>-6.7226890756302204E-3</c:v>
                </c:pt>
                <c:pt idx="29493">
                  <c:v>-6.7226890756302204E-3</c:v>
                </c:pt>
                <c:pt idx="29494">
                  <c:v>-6.7226890756302204E-3</c:v>
                </c:pt>
                <c:pt idx="29495">
                  <c:v>-6.7226890756302204E-3</c:v>
                </c:pt>
                <c:pt idx="29496">
                  <c:v>-6.7226890756302204E-3</c:v>
                </c:pt>
                <c:pt idx="29497">
                  <c:v>-6.7226890756302204E-3</c:v>
                </c:pt>
                <c:pt idx="29498">
                  <c:v>-6.7226890756302204E-3</c:v>
                </c:pt>
                <c:pt idx="29499">
                  <c:v>-6.7226890756302204E-3</c:v>
                </c:pt>
                <c:pt idx="29500">
                  <c:v>-6.7226890756302204E-3</c:v>
                </c:pt>
                <c:pt idx="29501">
                  <c:v>-6.7226890756302204E-3</c:v>
                </c:pt>
                <c:pt idx="29502">
                  <c:v>-6.7226890756302204E-3</c:v>
                </c:pt>
                <c:pt idx="29503">
                  <c:v>-6.7226890756302204E-3</c:v>
                </c:pt>
                <c:pt idx="29504">
                  <c:v>-6.7226890756302204E-3</c:v>
                </c:pt>
                <c:pt idx="29505">
                  <c:v>-6.7226890756302204E-3</c:v>
                </c:pt>
                <c:pt idx="29506">
                  <c:v>-6.7226890756302204E-3</c:v>
                </c:pt>
                <c:pt idx="29507">
                  <c:v>-6.7226890756302204E-3</c:v>
                </c:pt>
                <c:pt idx="29508">
                  <c:v>-6.7226890756302204E-3</c:v>
                </c:pt>
                <c:pt idx="29509">
                  <c:v>-6.7226890756302204E-3</c:v>
                </c:pt>
                <c:pt idx="29510">
                  <c:v>-6.7226890756302204E-3</c:v>
                </c:pt>
                <c:pt idx="29511">
                  <c:v>-6.7226890756302204E-3</c:v>
                </c:pt>
                <c:pt idx="29512">
                  <c:v>-6.7226890756302204E-3</c:v>
                </c:pt>
                <c:pt idx="29513">
                  <c:v>-6.7226890756302204E-3</c:v>
                </c:pt>
                <c:pt idx="29514">
                  <c:v>-6.7226890756302204E-3</c:v>
                </c:pt>
                <c:pt idx="29515">
                  <c:v>-6.7226890756302204E-3</c:v>
                </c:pt>
                <c:pt idx="29516">
                  <c:v>-6.7226890756302204E-3</c:v>
                </c:pt>
                <c:pt idx="29517">
                  <c:v>-6.7226890756302204E-3</c:v>
                </c:pt>
                <c:pt idx="29518">
                  <c:v>-6.7226890756302204E-3</c:v>
                </c:pt>
                <c:pt idx="29519">
                  <c:v>-6.7226890756302204E-3</c:v>
                </c:pt>
                <c:pt idx="29520">
                  <c:v>-6.7226890756302204E-3</c:v>
                </c:pt>
                <c:pt idx="29521">
                  <c:v>-6.7226890756302204E-3</c:v>
                </c:pt>
                <c:pt idx="29522">
                  <c:v>-6.7226890756302204E-3</c:v>
                </c:pt>
                <c:pt idx="29523">
                  <c:v>-6.7226890756302204E-3</c:v>
                </c:pt>
                <c:pt idx="29524">
                  <c:v>-6.7226890756302204E-3</c:v>
                </c:pt>
                <c:pt idx="29525">
                  <c:v>-6.7226890756302204E-3</c:v>
                </c:pt>
                <c:pt idx="29526">
                  <c:v>-6.7226890756302204E-3</c:v>
                </c:pt>
                <c:pt idx="29527">
                  <c:v>-6.7226890756302204E-3</c:v>
                </c:pt>
                <c:pt idx="29528">
                  <c:v>-6.7226890756302204E-3</c:v>
                </c:pt>
                <c:pt idx="29529">
                  <c:v>-6.7226890756302204E-3</c:v>
                </c:pt>
                <c:pt idx="29530">
                  <c:v>-6.7226890756302204E-3</c:v>
                </c:pt>
                <c:pt idx="29531">
                  <c:v>-6.7226890756302204E-3</c:v>
                </c:pt>
                <c:pt idx="29532">
                  <c:v>-6.7226890756302204E-3</c:v>
                </c:pt>
                <c:pt idx="29533">
                  <c:v>-6.7226890756302204E-3</c:v>
                </c:pt>
                <c:pt idx="29534">
                  <c:v>-6.7226890756302204E-3</c:v>
                </c:pt>
                <c:pt idx="29535">
                  <c:v>-6.7226890756302204E-3</c:v>
                </c:pt>
                <c:pt idx="29536">
                  <c:v>-6.7226890756302204E-3</c:v>
                </c:pt>
                <c:pt idx="29537">
                  <c:v>-6.7226890756302204E-3</c:v>
                </c:pt>
                <c:pt idx="29538">
                  <c:v>-6.7226890756302204E-3</c:v>
                </c:pt>
                <c:pt idx="29539">
                  <c:v>-6.7226890756302204E-3</c:v>
                </c:pt>
                <c:pt idx="29540">
                  <c:v>-6.7226890756302204E-3</c:v>
                </c:pt>
                <c:pt idx="29541">
                  <c:v>-6.7226890756302204E-3</c:v>
                </c:pt>
                <c:pt idx="29542">
                  <c:v>-6.7226890756302204E-3</c:v>
                </c:pt>
                <c:pt idx="29543">
                  <c:v>-5.8823529411764497E-3</c:v>
                </c:pt>
                <c:pt idx="29544">
                  <c:v>-5.8823529411764497E-3</c:v>
                </c:pt>
                <c:pt idx="29545">
                  <c:v>-5.8823529411764497E-3</c:v>
                </c:pt>
                <c:pt idx="29546">
                  <c:v>-5.8823529411764497E-3</c:v>
                </c:pt>
                <c:pt idx="29547">
                  <c:v>-5.8823529411764497E-3</c:v>
                </c:pt>
                <c:pt idx="29548">
                  <c:v>-5.8823529411764497E-3</c:v>
                </c:pt>
                <c:pt idx="29549">
                  <c:v>-5.8823529411764497E-3</c:v>
                </c:pt>
                <c:pt idx="29550">
                  <c:v>-5.8823529411764497E-3</c:v>
                </c:pt>
                <c:pt idx="29551">
                  <c:v>-5.8823529411764497E-3</c:v>
                </c:pt>
                <c:pt idx="29552">
                  <c:v>-5.8823529411764497E-3</c:v>
                </c:pt>
                <c:pt idx="29553">
                  <c:v>-5.8823529411764497E-3</c:v>
                </c:pt>
                <c:pt idx="29554">
                  <c:v>-5.8823529411764497E-3</c:v>
                </c:pt>
                <c:pt idx="29555">
                  <c:v>-5.8823529411764497E-3</c:v>
                </c:pt>
                <c:pt idx="29556">
                  <c:v>-5.8823529411764497E-3</c:v>
                </c:pt>
                <c:pt idx="29557">
                  <c:v>-5.8823529411764497E-3</c:v>
                </c:pt>
                <c:pt idx="29558">
                  <c:v>-5.8823529411764497E-3</c:v>
                </c:pt>
                <c:pt idx="29559">
                  <c:v>-5.8823529411764497E-3</c:v>
                </c:pt>
                <c:pt idx="29560">
                  <c:v>-5.8823529411764497E-3</c:v>
                </c:pt>
                <c:pt idx="29561">
                  <c:v>-5.8823529411764497E-3</c:v>
                </c:pt>
                <c:pt idx="29562">
                  <c:v>-5.8823529411764497E-3</c:v>
                </c:pt>
                <c:pt idx="29563">
                  <c:v>-5.8823529411764497E-3</c:v>
                </c:pt>
                <c:pt idx="29564">
                  <c:v>-5.8823529411764497E-3</c:v>
                </c:pt>
                <c:pt idx="29565">
                  <c:v>-5.8823529411764497E-3</c:v>
                </c:pt>
                <c:pt idx="29566">
                  <c:v>-5.8823529411764497E-3</c:v>
                </c:pt>
                <c:pt idx="29567">
                  <c:v>-5.8823529411764497E-3</c:v>
                </c:pt>
                <c:pt idx="29568">
                  <c:v>-5.8823529411764497E-3</c:v>
                </c:pt>
                <c:pt idx="29569">
                  <c:v>-5.8823529411764497E-3</c:v>
                </c:pt>
                <c:pt idx="29570">
                  <c:v>-5.8823529411764497E-3</c:v>
                </c:pt>
                <c:pt idx="29571">
                  <c:v>-5.8823529411764497E-3</c:v>
                </c:pt>
                <c:pt idx="29572">
                  <c:v>-5.8823529411764497E-3</c:v>
                </c:pt>
                <c:pt idx="29573">
                  <c:v>-5.8823529411764497E-3</c:v>
                </c:pt>
                <c:pt idx="29574">
                  <c:v>-5.8823529411764497E-3</c:v>
                </c:pt>
                <c:pt idx="29575">
                  <c:v>-5.8823529411764497E-3</c:v>
                </c:pt>
                <c:pt idx="29576">
                  <c:v>-5.8823529411764497E-3</c:v>
                </c:pt>
                <c:pt idx="29577">
                  <c:v>-5.8823529411764497E-3</c:v>
                </c:pt>
                <c:pt idx="29578">
                  <c:v>-5.8823529411764497E-3</c:v>
                </c:pt>
                <c:pt idx="29579">
                  <c:v>-5.8823529411764497E-3</c:v>
                </c:pt>
                <c:pt idx="29580">
                  <c:v>-5.8823529411764497E-3</c:v>
                </c:pt>
                <c:pt idx="29581">
                  <c:v>-5.8823529411764497E-3</c:v>
                </c:pt>
                <c:pt idx="29582">
                  <c:v>-5.8823529411764497E-3</c:v>
                </c:pt>
                <c:pt idx="29583">
                  <c:v>-5.8823529411764497E-3</c:v>
                </c:pt>
                <c:pt idx="29584">
                  <c:v>-5.8823529411764497E-3</c:v>
                </c:pt>
                <c:pt idx="29585">
                  <c:v>-5.8823529411764497E-3</c:v>
                </c:pt>
                <c:pt idx="29586">
                  <c:v>-5.8823529411764497E-3</c:v>
                </c:pt>
                <c:pt idx="29587">
                  <c:v>-5.8823529411764497E-3</c:v>
                </c:pt>
                <c:pt idx="29588">
                  <c:v>-5.8823529411764497E-3</c:v>
                </c:pt>
                <c:pt idx="29589">
                  <c:v>-5.8823529411764497E-3</c:v>
                </c:pt>
                <c:pt idx="29590">
                  <c:v>-5.8823529411764497E-3</c:v>
                </c:pt>
                <c:pt idx="29591">
                  <c:v>-5.8823529411764497E-3</c:v>
                </c:pt>
                <c:pt idx="29592">
                  <c:v>-5.8823529411764497E-3</c:v>
                </c:pt>
                <c:pt idx="29593">
                  <c:v>-5.8823529411764497E-3</c:v>
                </c:pt>
                <c:pt idx="29594">
                  <c:v>-5.8823529411764497E-3</c:v>
                </c:pt>
                <c:pt idx="29595">
                  <c:v>-5.8823529411764497E-3</c:v>
                </c:pt>
                <c:pt idx="29596">
                  <c:v>-5.8823529411764497E-3</c:v>
                </c:pt>
                <c:pt idx="29597">
                  <c:v>-5.8823529411764497E-3</c:v>
                </c:pt>
                <c:pt idx="29598">
                  <c:v>-5.8823529411764497E-3</c:v>
                </c:pt>
                <c:pt idx="29599">
                  <c:v>-5.8823529411764497E-3</c:v>
                </c:pt>
                <c:pt idx="29600">
                  <c:v>-5.8823529411764497E-3</c:v>
                </c:pt>
                <c:pt idx="29601">
                  <c:v>-5.8823529411764497E-3</c:v>
                </c:pt>
                <c:pt idx="29602">
                  <c:v>-5.8823529411764497E-3</c:v>
                </c:pt>
                <c:pt idx="29603">
                  <c:v>-5.8823529411764497E-3</c:v>
                </c:pt>
                <c:pt idx="29604">
                  <c:v>-5.8823529411764497E-3</c:v>
                </c:pt>
                <c:pt idx="29605">
                  <c:v>-5.8823529411764497E-3</c:v>
                </c:pt>
                <c:pt idx="29606">
                  <c:v>-5.8823529411764497E-3</c:v>
                </c:pt>
                <c:pt idx="29607">
                  <c:v>-5.8823529411764497E-3</c:v>
                </c:pt>
                <c:pt idx="29608">
                  <c:v>-5.8823529411764497E-3</c:v>
                </c:pt>
                <c:pt idx="29609">
                  <c:v>-5.8823529411764497E-3</c:v>
                </c:pt>
                <c:pt idx="29610">
                  <c:v>-5.8823529411764497E-3</c:v>
                </c:pt>
                <c:pt idx="29611">
                  <c:v>-5.8823529411764497E-3</c:v>
                </c:pt>
                <c:pt idx="29612">
                  <c:v>-5.8823529411764497E-3</c:v>
                </c:pt>
                <c:pt idx="29613">
                  <c:v>-5.8823529411764497E-3</c:v>
                </c:pt>
                <c:pt idx="29614">
                  <c:v>-5.8823529411764497E-3</c:v>
                </c:pt>
                <c:pt idx="29615">
                  <c:v>-6.7226890756302204E-3</c:v>
                </c:pt>
                <c:pt idx="29616">
                  <c:v>-6.7226890756302204E-3</c:v>
                </c:pt>
                <c:pt idx="29617">
                  <c:v>-6.7226890756302204E-3</c:v>
                </c:pt>
                <c:pt idx="29618">
                  <c:v>-6.7226890756302204E-3</c:v>
                </c:pt>
                <c:pt idx="29619">
                  <c:v>-6.7226890756302204E-3</c:v>
                </c:pt>
                <c:pt idx="29620">
                  <c:v>-6.7226890756302204E-3</c:v>
                </c:pt>
                <c:pt idx="29621">
                  <c:v>-6.7226890756302204E-3</c:v>
                </c:pt>
                <c:pt idx="29622">
                  <c:v>-6.7226890756302204E-3</c:v>
                </c:pt>
                <c:pt idx="29623">
                  <c:v>-6.7226890756302204E-3</c:v>
                </c:pt>
                <c:pt idx="29624">
                  <c:v>-6.7226890756302204E-3</c:v>
                </c:pt>
                <c:pt idx="29625">
                  <c:v>-6.7226890756302204E-3</c:v>
                </c:pt>
                <c:pt idx="29626">
                  <c:v>-6.7226890756302204E-3</c:v>
                </c:pt>
                <c:pt idx="29627">
                  <c:v>-6.7226890756302204E-3</c:v>
                </c:pt>
                <c:pt idx="29628">
                  <c:v>-6.7226890756302204E-3</c:v>
                </c:pt>
                <c:pt idx="29629">
                  <c:v>-6.7226890756302204E-3</c:v>
                </c:pt>
                <c:pt idx="29630">
                  <c:v>-6.7226890756302204E-3</c:v>
                </c:pt>
                <c:pt idx="29631">
                  <c:v>-6.7226890756302204E-3</c:v>
                </c:pt>
                <c:pt idx="29632">
                  <c:v>-6.7226890756302204E-3</c:v>
                </c:pt>
                <c:pt idx="29633">
                  <c:v>-6.7226890756302204E-3</c:v>
                </c:pt>
                <c:pt idx="29634">
                  <c:v>-6.7226890756302204E-3</c:v>
                </c:pt>
                <c:pt idx="29635">
                  <c:v>-6.7226890756302204E-3</c:v>
                </c:pt>
                <c:pt idx="29636">
                  <c:v>-6.7226890756302204E-3</c:v>
                </c:pt>
                <c:pt idx="29637">
                  <c:v>-6.7226890756302204E-3</c:v>
                </c:pt>
                <c:pt idx="29638">
                  <c:v>-6.7226890756302204E-3</c:v>
                </c:pt>
                <c:pt idx="29639">
                  <c:v>-6.7226890756302204E-3</c:v>
                </c:pt>
                <c:pt idx="29640">
                  <c:v>-6.7226890756302204E-3</c:v>
                </c:pt>
                <c:pt idx="29641">
                  <c:v>-6.7226890756302204E-3</c:v>
                </c:pt>
                <c:pt idx="29642">
                  <c:v>-6.7226890756302204E-3</c:v>
                </c:pt>
                <c:pt idx="29643">
                  <c:v>-6.7226890756302204E-3</c:v>
                </c:pt>
                <c:pt idx="29644">
                  <c:v>-6.7226890756302204E-3</c:v>
                </c:pt>
                <c:pt idx="29645">
                  <c:v>-6.7226890756302204E-3</c:v>
                </c:pt>
                <c:pt idx="29646">
                  <c:v>-6.7226890756302204E-3</c:v>
                </c:pt>
                <c:pt idx="29647">
                  <c:v>-7.5630252100839998E-3</c:v>
                </c:pt>
                <c:pt idx="29648">
                  <c:v>-7.5630252100839998E-3</c:v>
                </c:pt>
                <c:pt idx="29649">
                  <c:v>-7.5630252100839998E-3</c:v>
                </c:pt>
                <c:pt idx="29650">
                  <c:v>-7.5630252100839998E-3</c:v>
                </c:pt>
                <c:pt idx="29651">
                  <c:v>-7.5630252100839998E-3</c:v>
                </c:pt>
                <c:pt idx="29652">
                  <c:v>-7.5630252100839998E-3</c:v>
                </c:pt>
                <c:pt idx="29653">
                  <c:v>-7.5630252100839998E-3</c:v>
                </c:pt>
                <c:pt idx="29654">
                  <c:v>-7.5630252100839998E-3</c:v>
                </c:pt>
                <c:pt idx="29655">
                  <c:v>-8.4033613445377801E-3</c:v>
                </c:pt>
                <c:pt idx="29656">
                  <c:v>-9.2436974789915603E-3</c:v>
                </c:pt>
                <c:pt idx="29657">
                  <c:v>-9.2436974789915603E-3</c:v>
                </c:pt>
                <c:pt idx="29658">
                  <c:v>-9.2436974789915603E-3</c:v>
                </c:pt>
                <c:pt idx="29659">
                  <c:v>-9.2436974789915603E-3</c:v>
                </c:pt>
                <c:pt idx="29660">
                  <c:v>-9.2436974789915603E-3</c:v>
                </c:pt>
                <c:pt idx="29661">
                  <c:v>-9.2436974789915603E-3</c:v>
                </c:pt>
                <c:pt idx="29662">
                  <c:v>-9.2436974789915603E-3</c:v>
                </c:pt>
                <c:pt idx="29663">
                  <c:v>-9.2436974789915603E-3</c:v>
                </c:pt>
                <c:pt idx="29664">
                  <c:v>-9.2436974789915603E-3</c:v>
                </c:pt>
                <c:pt idx="29665">
                  <c:v>-9.2436974789915603E-3</c:v>
                </c:pt>
                <c:pt idx="29666">
                  <c:v>-9.2436974789915603E-3</c:v>
                </c:pt>
                <c:pt idx="29667">
                  <c:v>-9.2436974789915603E-3</c:v>
                </c:pt>
                <c:pt idx="29668">
                  <c:v>-9.2436974789915603E-3</c:v>
                </c:pt>
                <c:pt idx="29669">
                  <c:v>-9.2436974789915603E-3</c:v>
                </c:pt>
                <c:pt idx="29670">
                  <c:v>-9.2436974789915603E-3</c:v>
                </c:pt>
                <c:pt idx="29671">
                  <c:v>-9.2436974789915603E-3</c:v>
                </c:pt>
                <c:pt idx="29672">
                  <c:v>-9.2436974789915603E-3</c:v>
                </c:pt>
                <c:pt idx="29673">
                  <c:v>-9.2436974789915603E-3</c:v>
                </c:pt>
                <c:pt idx="29674">
                  <c:v>-9.2436974789915603E-3</c:v>
                </c:pt>
                <c:pt idx="29675">
                  <c:v>-9.2436974789915603E-3</c:v>
                </c:pt>
                <c:pt idx="29676">
                  <c:v>-8.4033613445377801E-3</c:v>
                </c:pt>
                <c:pt idx="29677">
                  <c:v>-8.4033613445377801E-3</c:v>
                </c:pt>
                <c:pt idx="29678">
                  <c:v>-8.4033613445377801E-3</c:v>
                </c:pt>
                <c:pt idx="29679">
                  <c:v>-8.4033613445377801E-3</c:v>
                </c:pt>
                <c:pt idx="29680">
                  <c:v>-8.4033613445377801E-3</c:v>
                </c:pt>
                <c:pt idx="29681">
                  <c:v>-9.2436974789916696E-3</c:v>
                </c:pt>
                <c:pt idx="29682">
                  <c:v>-9.2436974789916696E-3</c:v>
                </c:pt>
                <c:pt idx="29683">
                  <c:v>-9.2436974789916696E-3</c:v>
                </c:pt>
                <c:pt idx="29684">
                  <c:v>-9.2436974789916696E-3</c:v>
                </c:pt>
                <c:pt idx="29685">
                  <c:v>-9.2436974789916696E-3</c:v>
                </c:pt>
                <c:pt idx="29686">
                  <c:v>-9.2436974789916696E-3</c:v>
                </c:pt>
                <c:pt idx="29687">
                  <c:v>-9.2436974789916696E-3</c:v>
                </c:pt>
                <c:pt idx="29688">
                  <c:v>-9.2436974789916696E-3</c:v>
                </c:pt>
                <c:pt idx="29689">
                  <c:v>-9.2436974789916696E-3</c:v>
                </c:pt>
                <c:pt idx="29690">
                  <c:v>-9.2436974789916696E-3</c:v>
                </c:pt>
                <c:pt idx="29691">
                  <c:v>-9.2436974789916696E-3</c:v>
                </c:pt>
                <c:pt idx="29692">
                  <c:v>-9.2436974789916696E-3</c:v>
                </c:pt>
                <c:pt idx="29693">
                  <c:v>-9.2436974789916696E-3</c:v>
                </c:pt>
                <c:pt idx="29694">
                  <c:v>-9.2436974789916696E-3</c:v>
                </c:pt>
                <c:pt idx="29695">
                  <c:v>-9.2436974789916696E-3</c:v>
                </c:pt>
                <c:pt idx="29696">
                  <c:v>-9.2436974789916696E-3</c:v>
                </c:pt>
                <c:pt idx="29697">
                  <c:v>-9.2436974789916696E-3</c:v>
                </c:pt>
                <c:pt idx="29698">
                  <c:v>-9.2436974789916696E-3</c:v>
                </c:pt>
                <c:pt idx="29699">
                  <c:v>-9.2436974789916696E-3</c:v>
                </c:pt>
                <c:pt idx="29700">
                  <c:v>-9.2436974789916696E-3</c:v>
                </c:pt>
                <c:pt idx="29701">
                  <c:v>-9.2436974789916696E-3</c:v>
                </c:pt>
                <c:pt idx="29702">
                  <c:v>-9.2436974789916696E-3</c:v>
                </c:pt>
                <c:pt idx="29703">
                  <c:v>-8.4033613445378894E-3</c:v>
                </c:pt>
                <c:pt idx="29704">
                  <c:v>-8.4033613445378894E-3</c:v>
                </c:pt>
                <c:pt idx="29705">
                  <c:v>-8.4033613445378894E-3</c:v>
                </c:pt>
                <c:pt idx="29706">
                  <c:v>-8.4033613445378894E-3</c:v>
                </c:pt>
                <c:pt idx="29707">
                  <c:v>-8.4033613445378894E-3</c:v>
                </c:pt>
                <c:pt idx="29708">
                  <c:v>-8.4033613445378894E-3</c:v>
                </c:pt>
                <c:pt idx="29709">
                  <c:v>-8.4033613445378894E-3</c:v>
                </c:pt>
                <c:pt idx="29710">
                  <c:v>-8.4033613445378894E-3</c:v>
                </c:pt>
                <c:pt idx="29711">
                  <c:v>-8.4033613445378894E-3</c:v>
                </c:pt>
                <c:pt idx="29712">
                  <c:v>-8.4033613445378894E-3</c:v>
                </c:pt>
                <c:pt idx="29713">
                  <c:v>-8.4033613445378894E-3</c:v>
                </c:pt>
                <c:pt idx="29714">
                  <c:v>-8.4033613445378894E-3</c:v>
                </c:pt>
                <c:pt idx="29715">
                  <c:v>-8.4033613445378894E-3</c:v>
                </c:pt>
                <c:pt idx="29716">
                  <c:v>-8.4033613445378894E-3</c:v>
                </c:pt>
                <c:pt idx="29717">
                  <c:v>-8.4033613445378894E-3</c:v>
                </c:pt>
                <c:pt idx="29718">
                  <c:v>-8.4033613445378894E-3</c:v>
                </c:pt>
                <c:pt idx="29719">
                  <c:v>-8.4033613445378894E-3</c:v>
                </c:pt>
                <c:pt idx="29720">
                  <c:v>-8.4033613445378894E-3</c:v>
                </c:pt>
                <c:pt idx="29721">
                  <c:v>-8.4033613445378894E-3</c:v>
                </c:pt>
                <c:pt idx="29722">
                  <c:v>-8.4033613445378894E-3</c:v>
                </c:pt>
                <c:pt idx="29723">
                  <c:v>-8.4033613445378894E-3</c:v>
                </c:pt>
                <c:pt idx="29724">
                  <c:v>-8.4033613445378894E-3</c:v>
                </c:pt>
                <c:pt idx="29725">
                  <c:v>-8.4033613445378894E-3</c:v>
                </c:pt>
                <c:pt idx="29726">
                  <c:v>-8.4033613445378894E-3</c:v>
                </c:pt>
                <c:pt idx="29727">
                  <c:v>-8.4033613445378894E-3</c:v>
                </c:pt>
                <c:pt idx="29728">
                  <c:v>-8.4033613445378894E-3</c:v>
                </c:pt>
                <c:pt idx="29729">
                  <c:v>-8.4033613445378894E-3</c:v>
                </c:pt>
                <c:pt idx="29730">
                  <c:v>-8.4033613445378894E-3</c:v>
                </c:pt>
                <c:pt idx="29731">
                  <c:v>-8.4033613445378894E-3</c:v>
                </c:pt>
                <c:pt idx="29732">
                  <c:v>-8.4033613445378894E-3</c:v>
                </c:pt>
                <c:pt idx="29733">
                  <c:v>-8.4033613445378894E-3</c:v>
                </c:pt>
                <c:pt idx="29734">
                  <c:v>-8.4033613445378894E-3</c:v>
                </c:pt>
                <c:pt idx="29735">
                  <c:v>-8.4033613445378894E-3</c:v>
                </c:pt>
                <c:pt idx="29736">
                  <c:v>-8.4033613445378894E-3</c:v>
                </c:pt>
                <c:pt idx="29737">
                  <c:v>-8.4033613445378894E-3</c:v>
                </c:pt>
                <c:pt idx="29738">
                  <c:v>-8.4033613445378894E-3</c:v>
                </c:pt>
                <c:pt idx="29739">
                  <c:v>-8.4033613445378894E-3</c:v>
                </c:pt>
                <c:pt idx="29740">
                  <c:v>-8.4033613445378894E-3</c:v>
                </c:pt>
                <c:pt idx="29741">
                  <c:v>-8.4033613445378894E-3</c:v>
                </c:pt>
                <c:pt idx="29742">
                  <c:v>-8.4033613445378894E-3</c:v>
                </c:pt>
                <c:pt idx="29743">
                  <c:v>-8.4033613445378894E-3</c:v>
                </c:pt>
                <c:pt idx="29744">
                  <c:v>-8.4033613445378894E-3</c:v>
                </c:pt>
                <c:pt idx="29745">
                  <c:v>-8.4033613445378894E-3</c:v>
                </c:pt>
                <c:pt idx="29746">
                  <c:v>-8.4033613445378894E-3</c:v>
                </c:pt>
                <c:pt idx="29747">
                  <c:v>-8.4033613445378894E-3</c:v>
                </c:pt>
                <c:pt idx="29748">
                  <c:v>-9.2436974789916696E-3</c:v>
                </c:pt>
                <c:pt idx="29749">
                  <c:v>-9.2436974789916696E-3</c:v>
                </c:pt>
                <c:pt idx="29750">
                  <c:v>-9.2436974789916696E-3</c:v>
                </c:pt>
                <c:pt idx="29751">
                  <c:v>-9.2436974789916696E-3</c:v>
                </c:pt>
                <c:pt idx="29752">
                  <c:v>-9.2436974789916696E-3</c:v>
                </c:pt>
                <c:pt idx="29753">
                  <c:v>-9.2436974789916696E-3</c:v>
                </c:pt>
                <c:pt idx="29754">
                  <c:v>-9.2436974789916696E-3</c:v>
                </c:pt>
                <c:pt idx="29755">
                  <c:v>-9.2436974789916696E-3</c:v>
                </c:pt>
                <c:pt idx="29756">
                  <c:v>-9.2436974789916696E-3</c:v>
                </c:pt>
                <c:pt idx="29757">
                  <c:v>-9.2436974789916696E-3</c:v>
                </c:pt>
                <c:pt idx="29758">
                  <c:v>-9.2436974789916696E-3</c:v>
                </c:pt>
                <c:pt idx="29759">
                  <c:v>-9.2436974789916696E-3</c:v>
                </c:pt>
                <c:pt idx="29760">
                  <c:v>-9.2436974789916696E-3</c:v>
                </c:pt>
                <c:pt idx="29761">
                  <c:v>-9.2436974789916696E-3</c:v>
                </c:pt>
                <c:pt idx="29762">
                  <c:v>-9.2436974789916696E-3</c:v>
                </c:pt>
                <c:pt idx="29763">
                  <c:v>-9.2436974789916696E-3</c:v>
                </c:pt>
                <c:pt idx="29764">
                  <c:v>-9.2436974789916696E-3</c:v>
                </c:pt>
                <c:pt idx="29765">
                  <c:v>-9.2436974789916696E-3</c:v>
                </c:pt>
                <c:pt idx="29766">
                  <c:v>-9.2436974789916696E-3</c:v>
                </c:pt>
                <c:pt idx="29767">
                  <c:v>-1.00840336134454E-2</c:v>
                </c:pt>
                <c:pt idx="29768">
                  <c:v>-1.00840336134454E-2</c:v>
                </c:pt>
                <c:pt idx="29769">
                  <c:v>-1.00840336134454E-2</c:v>
                </c:pt>
                <c:pt idx="29770">
                  <c:v>-1.00840336134454E-2</c:v>
                </c:pt>
                <c:pt idx="29771">
                  <c:v>-1.00840336134454E-2</c:v>
                </c:pt>
                <c:pt idx="29772">
                  <c:v>-1.0924369747899201E-2</c:v>
                </c:pt>
                <c:pt idx="29773">
                  <c:v>-1.00840336134454E-2</c:v>
                </c:pt>
                <c:pt idx="29774">
                  <c:v>-1.00840336134454E-2</c:v>
                </c:pt>
                <c:pt idx="29775">
                  <c:v>-1.00840336134454E-2</c:v>
                </c:pt>
                <c:pt idx="29776">
                  <c:v>-1.00840336134454E-2</c:v>
                </c:pt>
                <c:pt idx="29777">
                  <c:v>-1.00840336134454E-2</c:v>
                </c:pt>
                <c:pt idx="29778">
                  <c:v>-1.00840336134454E-2</c:v>
                </c:pt>
                <c:pt idx="29779">
                  <c:v>-1.00840336134454E-2</c:v>
                </c:pt>
                <c:pt idx="29780">
                  <c:v>-1.00840336134454E-2</c:v>
                </c:pt>
                <c:pt idx="29781">
                  <c:v>-1.00840336134454E-2</c:v>
                </c:pt>
                <c:pt idx="29782">
                  <c:v>-1.00840336134454E-2</c:v>
                </c:pt>
                <c:pt idx="29783">
                  <c:v>-1.00840336134454E-2</c:v>
                </c:pt>
                <c:pt idx="29784">
                  <c:v>-1.00840336134454E-2</c:v>
                </c:pt>
                <c:pt idx="29785">
                  <c:v>-1.00840336134454E-2</c:v>
                </c:pt>
                <c:pt idx="29786">
                  <c:v>-1.00840336134454E-2</c:v>
                </c:pt>
                <c:pt idx="29787">
                  <c:v>-1.00840336134454E-2</c:v>
                </c:pt>
                <c:pt idx="29788">
                  <c:v>-1.00840336134454E-2</c:v>
                </c:pt>
                <c:pt idx="29789">
                  <c:v>-1.00840336134454E-2</c:v>
                </c:pt>
                <c:pt idx="29790">
                  <c:v>-1.00840336134454E-2</c:v>
                </c:pt>
                <c:pt idx="29791">
                  <c:v>-1.00840336134454E-2</c:v>
                </c:pt>
                <c:pt idx="29792">
                  <c:v>-1.00840336134454E-2</c:v>
                </c:pt>
                <c:pt idx="29793">
                  <c:v>-1.00840336134454E-2</c:v>
                </c:pt>
                <c:pt idx="29794">
                  <c:v>-1.00840336134454E-2</c:v>
                </c:pt>
                <c:pt idx="29795">
                  <c:v>-1.00840336134454E-2</c:v>
                </c:pt>
                <c:pt idx="29796">
                  <c:v>-1.00840336134454E-2</c:v>
                </c:pt>
                <c:pt idx="29797">
                  <c:v>-1.00840336134454E-2</c:v>
                </c:pt>
                <c:pt idx="29798">
                  <c:v>-1.00840336134454E-2</c:v>
                </c:pt>
                <c:pt idx="29799">
                  <c:v>-1.00840336134454E-2</c:v>
                </c:pt>
                <c:pt idx="29800">
                  <c:v>-1.00840336134454E-2</c:v>
                </c:pt>
                <c:pt idx="29801">
                  <c:v>-1.00840336134454E-2</c:v>
                </c:pt>
                <c:pt idx="29802">
                  <c:v>-1.00840336134454E-2</c:v>
                </c:pt>
                <c:pt idx="29803">
                  <c:v>-1.00840336134454E-2</c:v>
                </c:pt>
                <c:pt idx="29804">
                  <c:v>-1.00840336134454E-2</c:v>
                </c:pt>
                <c:pt idx="29805">
                  <c:v>-1.00840336134454E-2</c:v>
                </c:pt>
                <c:pt idx="29806">
                  <c:v>-1.00840336134454E-2</c:v>
                </c:pt>
                <c:pt idx="29807">
                  <c:v>-1.00840336134454E-2</c:v>
                </c:pt>
                <c:pt idx="29808">
                  <c:v>-1.00840336134454E-2</c:v>
                </c:pt>
                <c:pt idx="29809">
                  <c:v>-1.00840336134454E-2</c:v>
                </c:pt>
                <c:pt idx="29810">
                  <c:v>-1.0924369747899201E-2</c:v>
                </c:pt>
                <c:pt idx="29811">
                  <c:v>-1.0924369747899201E-2</c:v>
                </c:pt>
                <c:pt idx="29812">
                  <c:v>-1.0924369747899201E-2</c:v>
                </c:pt>
                <c:pt idx="29813">
                  <c:v>-1.0924369747899201E-2</c:v>
                </c:pt>
                <c:pt idx="29814">
                  <c:v>-1.0924369747899201E-2</c:v>
                </c:pt>
                <c:pt idx="29815">
                  <c:v>-1.0924369747899201E-2</c:v>
                </c:pt>
                <c:pt idx="29816">
                  <c:v>-1.0924369747899201E-2</c:v>
                </c:pt>
                <c:pt idx="29817">
                  <c:v>-1.0924369747899201E-2</c:v>
                </c:pt>
                <c:pt idx="29818">
                  <c:v>-1.0924369747899201E-2</c:v>
                </c:pt>
                <c:pt idx="29819">
                  <c:v>-1.0924369747899201E-2</c:v>
                </c:pt>
                <c:pt idx="29820">
                  <c:v>-1.0924369747899201E-2</c:v>
                </c:pt>
                <c:pt idx="29821">
                  <c:v>-1.0924369747899201E-2</c:v>
                </c:pt>
                <c:pt idx="29822">
                  <c:v>-1.0924369747899201E-2</c:v>
                </c:pt>
                <c:pt idx="29823">
                  <c:v>-1.0924369747899201E-2</c:v>
                </c:pt>
                <c:pt idx="29824">
                  <c:v>-1.0924369747899201E-2</c:v>
                </c:pt>
                <c:pt idx="29825">
                  <c:v>-1.0924369747899201E-2</c:v>
                </c:pt>
                <c:pt idx="29826">
                  <c:v>-1.0924369747899201E-2</c:v>
                </c:pt>
                <c:pt idx="29827">
                  <c:v>-1.0924369747899201E-2</c:v>
                </c:pt>
                <c:pt idx="29828">
                  <c:v>-1.0924369747899201E-2</c:v>
                </c:pt>
                <c:pt idx="29829">
                  <c:v>-1.0924369747899201E-2</c:v>
                </c:pt>
                <c:pt idx="29830">
                  <c:v>-1.0924369747899201E-2</c:v>
                </c:pt>
                <c:pt idx="29831">
                  <c:v>-1.0924369747899201E-2</c:v>
                </c:pt>
                <c:pt idx="29832">
                  <c:v>-1.1764705882353E-2</c:v>
                </c:pt>
                <c:pt idx="29833">
                  <c:v>-1.0924369747899201E-2</c:v>
                </c:pt>
                <c:pt idx="29834">
                  <c:v>-1.0924369747899201E-2</c:v>
                </c:pt>
                <c:pt idx="29835">
                  <c:v>-1.0924369747899201E-2</c:v>
                </c:pt>
                <c:pt idx="29836">
                  <c:v>-1.0924369747899201E-2</c:v>
                </c:pt>
                <c:pt idx="29837">
                  <c:v>-1.0924369747899201E-2</c:v>
                </c:pt>
                <c:pt idx="29838">
                  <c:v>-1.0924369747899201E-2</c:v>
                </c:pt>
                <c:pt idx="29839">
                  <c:v>-1.0924369747899201E-2</c:v>
                </c:pt>
                <c:pt idx="29840">
                  <c:v>-1.0924369747899201E-2</c:v>
                </c:pt>
                <c:pt idx="29841">
                  <c:v>-1.0924369747899201E-2</c:v>
                </c:pt>
                <c:pt idx="29842">
                  <c:v>-1.0924369747899201E-2</c:v>
                </c:pt>
                <c:pt idx="29843">
                  <c:v>-1.0924369747899201E-2</c:v>
                </c:pt>
                <c:pt idx="29844">
                  <c:v>-1.0924369747899201E-2</c:v>
                </c:pt>
                <c:pt idx="29845">
                  <c:v>-1.0924369747899201E-2</c:v>
                </c:pt>
                <c:pt idx="29846">
                  <c:v>-1.0924369747899201E-2</c:v>
                </c:pt>
                <c:pt idx="29847">
                  <c:v>-1.0924369747899201E-2</c:v>
                </c:pt>
                <c:pt idx="29848">
                  <c:v>-1.0924369747899201E-2</c:v>
                </c:pt>
                <c:pt idx="29849">
                  <c:v>-1.0924369747899201E-2</c:v>
                </c:pt>
                <c:pt idx="29850">
                  <c:v>-1.0924369747899201E-2</c:v>
                </c:pt>
                <c:pt idx="29851">
                  <c:v>-1.0924369747899201E-2</c:v>
                </c:pt>
                <c:pt idx="29852">
                  <c:v>-1.0924369747899201E-2</c:v>
                </c:pt>
                <c:pt idx="29853">
                  <c:v>-1.0924369747899201E-2</c:v>
                </c:pt>
                <c:pt idx="29854">
                  <c:v>-1.0924369747899201E-2</c:v>
                </c:pt>
                <c:pt idx="29855">
                  <c:v>-1.0924369747899201E-2</c:v>
                </c:pt>
                <c:pt idx="29856">
                  <c:v>-1.0924369747899201E-2</c:v>
                </c:pt>
                <c:pt idx="29857">
                  <c:v>-1.0924369747899201E-2</c:v>
                </c:pt>
                <c:pt idx="29858">
                  <c:v>-1.0924369747899201E-2</c:v>
                </c:pt>
                <c:pt idx="29859">
                  <c:v>-1.0924369747899201E-2</c:v>
                </c:pt>
                <c:pt idx="29860">
                  <c:v>-1.0924369747899201E-2</c:v>
                </c:pt>
                <c:pt idx="29861">
                  <c:v>-1.0924369747899201E-2</c:v>
                </c:pt>
                <c:pt idx="29862">
                  <c:v>-1.0924369747899201E-2</c:v>
                </c:pt>
                <c:pt idx="29863">
                  <c:v>-1.0924369747899201E-2</c:v>
                </c:pt>
                <c:pt idx="29864">
                  <c:v>-1.0924369747899201E-2</c:v>
                </c:pt>
                <c:pt idx="29865">
                  <c:v>-1.0924369747899201E-2</c:v>
                </c:pt>
                <c:pt idx="29866">
                  <c:v>-1.0924369747899201E-2</c:v>
                </c:pt>
                <c:pt idx="29867">
                  <c:v>-1.0924369747899201E-2</c:v>
                </c:pt>
                <c:pt idx="29868">
                  <c:v>-1.0924369747899201E-2</c:v>
                </c:pt>
                <c:pt idx="29869">
                  <c:v>-1.0924369747899201E-2</c:v>
                </c:pt>
                <c:pt idx="29870">
                  <c:v>-1.0924369747899201E-2</c:v>
                </c:pt>
                <c:pt idx="29871">
                  <c:v>-1.0924369747899201E-2</c:v>
                </c:pt>
                <c:pt idx="29872">
                  <c:v>-1.0924369747899201E-2</c:v>
                </c:pt>
                <c:pt idx="29873">
                  <c:v>-1.0924369747899201E-2</c:v>
                </c:pt>
                <c:pt idx="29874">
                  <c:v>-1.0924369747899201E-2</c:v>
                </c:pt>
                <c:pt idx="29875">
                  <c:v>-1.0924369747899201E-2</c:v>
                </c:pt>
                <c:pt idx="29876">
                  <c:v>-1.0924369747899201E-2</c:v>
                </c:pt>
                <c:pt idx="29877">
                  <c:v>-1.0924369747899201E-2</c:v>
                </c:pt>
                <c:pt idx="29878">
                  <c:v>-1.0924369747899201E-2</c:v>
                </c:pt>
                <c:pt idx="29879">
                  <c:v>-1.0924369747899201E-2</c:v>
                </c:pt>
                <c:pt idx="29880">
                  <c:v>-1.0924369747899201E-2</c:v>
                </c:pt>
                <c:pt idx="29881">
                  <c:v>-1.0924369747899201E-2</c:v>
                </c:pt>
                <c:pt idx="29882">
                  <c:v>-1.0924369747899201E-2</c:v>
                </c:pt>
                <c:pt idx="29883">
                  <c:v>-1.0924369747899201E-2</c:v>
                </c:pt>
                <c:pt idx="29884">
                  <c:v>-1.0924369747899201E-2</c:v>
                </c:pt>
                <c:pt idx="29885">
                  <c:v>-1.0924369747899201E-2</c:v>
                </c:pt>
                <c:pt idx="29886">
                  <c:v>-1.0924369747899201E-2</c:v>
                </c:pt>
                <c:pt idx="29887">
                  <c:v>-1.0924369747899201E-2</c:v>
                </c:pt>
                <c:pt idx="29888">
                  <c:v>-1.0924369747899201E-2</c:v>
                </c:pt>
                <c:pt idx="29889">
                  <c:v>-1.0924369747899201E-2</c:v>
                </c:pt>
                <c:pt idx="29890">
                  <c:v>-1.00840336134454E-2</c:v>
                </c:pt>
                <c:pt idx="29891">
                  <c:v>-1.00840336134454E-2</c:v>
                </c:pt>
                <c:pt idx="29892">
                  <c:v>-1.00840336134454E-2</c:v>
                </c:pt>
                <c:pt idx="29893">
                  <c:v>-1.00840336134454E-2</c:v>
                </c:pt>
                <c:pt idx="29894">
                  <c:v>-1.00840336134454E-2</c:v>
                </c:pt>
                <c:pt idx="29895">
                  <c:v>-1.00840336134454E-2</c:v>
                </c:pt>
                <c:pt idx="29896">
                  <c:v>-1.00840336134454E-2</c:v>
                </c:pt>
                <c:pt idx="29897">
                  <c:v>-1.00840336134454E-2</c:v>
                </c:pt>
                <c:pt idx="29898">
                  <c:v>-1.00840336134454E-2</c:v>
                </c:pt>
                <c:pt idx="29899">
                  <c:v>-1.00840336134454E-2</c:v>
                </c:pt>
                <c:pt idx="29900">
                  <c:v>-1.00840336134454E-2</c:v>
                </c:pt>
                <c:pt idx="29901">
                  <c:v>-1.00840336134454E-2</c:v>
                </c:pt>
                <c:pt idx="29902">
                  <c:v>-1.00840336134454E-2</c:v>
                </c:pt>
                <c:pt idx="29903">
                  <c:v>-1.00840336134454E-2</c:v>
                </c:pt>
                <c:pt idx="29904">
                  <c:v>-1.00840336134454E-2</c:v>
                </c:pt>
                <c:pt idx="29905">
                  <c:v>-1.00840336134454E-2</c:v>
                </c:pt>
                <c:pt idx="29906">
                  <c:v>-1.00840336134454E-2</c:v>
                </c:pt>
                <c:pt idx="29907">
                  <c:v>-1.00840336134454E-2</c:v>
                </c:pt>
                <c:pt idx="29908">
                  <c:v>-1.00840336134454E-2</c:v>
                </c:pt>
                <c:pt idx="29909">
                  <c:v>-1.00840336134454E-2</c:v>
                </c:pt>
                <c:pt idx="29910">
                  <c:v>-1.00840336134454E-2</c:v>
                </c:pt>
                <c:pt idx="29911">
                  <c:v>-1.00840336134454E-2</c:v>
                </c:pt>
                <c:pt idx="29912">
                  <c:v>-1.00840336134454E-2</c:v>
                </c:pt>
                <c:pt idx="29913">
                  <c:v>-1.00840336134454E-2</c:v>
                </c:pt>
                <c:pt idx="29914">
                  <c:v>-1.00840336134454E-2</c:v>
                </c:pt>
                <c:pt idx="29915">
                  <c:v>-1.00840336134454E-2</c:v>
                </c:pt>
                <c:pt idx="29916">
                  <c:v>-1.00840336134454E-2</c:v>
                </c:pt>
                <c:pt idx="29917">
                  <c:v>-1.00840336134454E-2</c:v>
                </c:pt>
                <c:pt idx="29918">
                  <c:v>-1.00840336134454E-2</c:v>
                </c:pt>
                <c:pt idx="29919">
                  <c:v>-1.00840336134454E-2</c:v>
                </c:pt>
                <c:pt idx="29920">
                  <c:v>-1.00840336134454E-2</c:v>
                </c:pt>
                <c:pt idx="29921">
                  <c:v>-1.00840336134454E-2</c:v>
                </c:pt>
                <c:pt idx="29922">
                  <c:v>-1.00840336134454E-2</c:v>
                </c:pt>
                <c:pt idx="29923">
                  <c:v>-1.00840336134454E-2</c:v>
                </c:pt>
                <c:pt idx="29924">
                  <c:v>-1.00840336134454E-2</c:v>
                </c:pt>
                <c:pt idx="29925">
                  <c:v>-1.00840336134454E-2</c:v>
                </c:pt>
                <c:pt idx="29926">
                  <c:v>-1.00840336134454E-2</c:v>
                </c:pt>
                <c:pt idx="29927">
                  <c:v>-1.00840336134454E-2</c:v>
                </c:pt>
                <c:pt idx="29928">
                  <c:v>-9.2436974789916696E-3</c:v>
                </c:pt>
                <c:pt idx="29929">
                  <c:v>-9.2436974789916696E-3</c:v>
                </c:pt>
                <c:pt idx="29930">
                  <c:v>-9.2436974789916696E-3</c:v>
                </c:pt>
                <c:pt idx="29931">
                  <c:v>-9.2436974789916696E-3</c:v>
                </c:pt>
                <c:pt idx="29932">
                  <c:v>-9.2436974789916696E-3</c:v>
                </c:pt>
                <c:pt idx="29933">
                  <c:v>-9.2436974789916696E-3</c:v>
                </c:pt>
                <c:pt idx="29934">
                  <c:v>-9.2436974789916696E-3</c:v>
                </c:pt>
                <c:pt idx="29935">
                  <c:v>-9.2436974789916696E-3</c:v>
                </c:pt>
                <c:pt idx="29936">
                  <c:v>-9.2436974789916696E-3</c:v>
                </c:pt>
                <c:pt idx="29937">
                  <c:v>-9.2436974789916696E-3</c:v>
                </c:pt>
                <c:pt idx="29938">
                  <c:v>-9.2436974789916696E-3</c:v>
                </c:pt>
                <c:pt idx="29939">
                  <c:v>-9.2436974789916696E-3</c:v>
                </c:pt>
                <c:pt idx="29940">
                  <c:v>-9.2436974789916696E-3</c:v>
                </c:pt>
                <c:pt idx="29941">
                  <c:v>-9.2436974789916696E-3</c:v>
                </c:pt>
                <c:pt idx="29942">
                  <c:v>-9.2436974789916696E-3</c:v>
                </c:pt>
                <c:pt idx="29943">
                  <c:v>-9.2436974789916696E-3</c:v>
                </c:pt>
                <c:pt idx="29944">
                  <c:v>-9.2436974789916696E-3</c:v>
                </c:pt>
                <c:pt idx="29945">
                  <c:v>-9.2436974789916696E-3</c:v>
                </c:pt>
                <c:pt idx="29946">
                  <c:v>-9.2436974789916696E-3</c:v>
                </c:pt>
                <c:pt idx="29947">
                  <c:v>-9.2436974789916696E-3</c:v>
                </c:pt>
                <c:pt idx="29948">
                  <c:v>-9.2436974789916696E-3</c:v>
                </c:pt>
                <c:pt idx="29949">
                  <c:v>-9.2436974789916696E-3</c:v>
                </c:pt>
                <c:pt idx="29950">
                  <c:v>-9.2436974789916696E-3</c:v>
                </c:pt>
                <c:pt idx="29951">
                  <c:v>-9.2436974789916696E-3</c:v>
                </c:pt>
                <c:pt idx="29952">
                  <c:v>-9.2436974789916696E-3</c:v>
                </c:pt>
                <c:pt idx="29953">
                  <c:v>-9.2436974789916696E-3</c:v>
                </c:pt>
                <c:pt idx="29954">
                  <c:v>-9.2436974789916696E-3</c:v>
                </c:pt>
                <c:pt idx="29955">
                  <c:v>-9.2436974789916696E-3</c:v>
                </c:pt>
                <c:pt idx="29956">
                  <c:v>-9.2436974789916696E-3</c:v>
                </c:pt>
                <c:pt idx="29957">
                  <c:v>-1.00840336134454E-2</c:v>
                </c:pt>
                <c:pt idx="29958">
                  <c:v>-1.00840336134454E-2</c:v>
                </c:pt>
                <c:pt idx="29959">
                  <c:v>-9.2436974789916696E-3</c:v>
                </c:pt>
                <c:pt idx="29960">
                  <c:v>-9.2436974789916696E-3</c:v>
                </c:pt>
                <c:pt idx="29961">
                  <c:v>-9.2436974789916696E-3</c:v>
                </c:pt>
                <c:pt idx="29962">
                  <c:v>-9.2436974789916696E-3</c:v>
                </c:pt>
                <c:pt idx="29963">
                  <c:v>-9.2436974789916696E-3</c:v>
                </c:pt>
                <c:pt idx="29964">
                  <c:v>-9.2436974789916696E-3</c:v>
                </c:pt>
                <c:pt idx="29965">
                  <c:v>-9.2436974789916696E-3</c:v>
                </c:pt>
                <c:pt idx="29966">
                  <c:v>-9.2436974789916696E-3</c:v>
                </c:pt>
                <c:pt idx="29967">
                  <c:v>-9.2436974789916696E-3</c:v>
                </c:pt>
                <c:pt idx="29968">
                  <c:v>-9.2436974789916696E-3</c:v>
                </c:pt>
                <c:pt idx="29969">
                  <c:v>-9.2436974789916696E-3</c:v>
                </c:pt>
                <c:pt idx="29970">
                  <c:v>-9.2436974789916696E-3</c:v>
                </c:pt>
                <c:pt idx="29971">
                  <c:v>-9.2436974789916696E-3</c:v>
                </c:pt>
                <c:pt idx="29972">
                  <c:v>-9.2436974789916696E-3</c:v>
                </c:pt>
                <c:pt idx="29973">
                  <c:v>-9.2436974789916696E-3</c:v>
                </c:pt>
                <c:pt idx="29974">
                  <c:v>-9.2436974789916696E-3</c:v>
                </c:pt>
                <c:pt idx="29975">
                  <c:v>-9.2436974789916696E-3</c:v>
                </c:pt>
                <c:pt idx="29976">
                  <c:v>-9.2436974789916696E-3</c:v>
                </c:pt>
                <c:pt idx="29977">
                  <c:v>-9.2436974789916696E-3</c:v>
                </c:pt>
                <c:pt idx="29978">
                  <c:v>-9.2436974789916696E-3</c:v>
                </c:pt>
                <c:pt idx="29979">
                  <c:v>-9.2436974789916696E-3</c:v>
                </c:pt>
                <c:pt idx="29980">
                  <c:v>-9.2436974789916696E-3</c:v>
                </c:pt>
                <c:pt idx="29981">
                  <c:v>-9.2436974789916696E-3</c:v>
                </c:pt>
                <c:pt idx="29982">
                  <c:v>-9.2436974789916696E-3</c:v>
                </c:pt>
                <c:pt idx="29983">
                  <c:v>-9.2436974789916696E-3</c:v>
                </c:pt>
                <c:pt idx="29984">
                  <c:v>-9.2436974789916696E-3</c:v>
                </c:pt>
                <c:pt idx="29985">
                  <c:v>-9.2436974789916696E-3</c:v>
                </c:pt>
                <c:pt idx="29986">
                  <c:v>-9.2436974789916696E-3</c:v>
                </c:pt>
                <c:pt idx="29987">
                  <c:v>-9.2436974789916696E-3</c:v>
                </c:pt>
                <c:pt idx="29988">
                  <c:v>-9.2436974789916696E-3</c:v>
                </c:pt>
                <c:pt idx="29989">
                  <c:v>-9.2436974789916696E-3</c:v>
                </c:pt>
                <c:pt idx="29990">
                  <c:v>-9.2436974789916696E-3</c:v>
                </c:pt>
                <c:pt idx="29991">
                  <c:v>-1.00840336134454E-2</c:v>
                </c:pt>
                <c:pt idx="29992">
                  <c:v>-1.0924369747899201E-2</c:v>
                </c:pt>
                <c:pt idx="29993">
                  <c:v>-1.0924369747899201E-2</c:v>
                </c:pt>
                <c:pt idx="29994">
                  <c:v>-1.0924369747899201E-2</c:v>
                </c:pt>
                <c:pt idx="29995">
                  <c:v>-1.0924369747899201E-2</c:v>
                </c:pt>
                <c:pt idx="29996">
                  <c:v>-1.0924369747899201E-2</c:v>
                </c:pt>
                <c:pt idx="29997">
                  <c:v>-1.0924369747899201E-2</c:v>
                </c:pt>
                <c:pt idx="29998">
                  <c:v>-1.0924369747899201E-2</c:v>
                </c:pt>
                <c:pt idx="29999">
                  <c:v>-1.00840336134454E-2</c:v>
                </c:pt>
                <c:pt idx="30000">
                  <c:v>-1.00840336134454E-2</c:v>
                </c:pt>
                <c:pt idx="30001">
                  <c:v>-1.0924369747899201E-2</c:v>
                </c:pt>
                <c:pt idx="30002">
                  <c:v>-1.0924369747899201E-2</c:v>
                </c:pt>
                <c:pt idx="30003">
                  <c:v>-1.0924369747899201E-2</c:v>
                </c:pt>
                <c:pt idx="30004">
                  <c:v>-1.0924369747899201E-2</c:v>
                </c:pt>
                <c:pt idx="30005">
                  <c:v>-1.0924369747899201E-2</c:v>
                </c:pt>
                <c:pt idx="30006">
                  <c:v>-1.0924369747899201E-2</c:v>
                </c:pt>
                <c:pt idx="30007">
                  <c:v>-1.0924369747899201E-2</c:v>
                </c:pt>
                <c:pt idx="30008">
                  <c:v>-1.0924369747899201E-2</c:v>
                </c:pt>
                <c:pt idx="30009">
                  <c:v>-1.0924369747899201E-2</c:v>
                </c:pt>
                <c:pt idx="30010">
                  <c:v>-1.0924369747899201E-2</c:v>
                </c:pt>
                <c:pt idx="30011">
                  <c:v>-1.0924369747899201E-2</c:v>
                </c:pt>
                <c:pt idx="30012">
                  <c:v>-1.0924369747899201E-2</c:v>
                </c:pt>
                <c:pt idx="30013">
                  <c:v>-1.0924369747899201E-2</c:v>
                </c:pt>
                <c:pt idx="30014">
                  <c:v>-1.0924369747899201E-2</c:v>
                </c:pt>
                <c:pt idx="30015">
                  <c:v>-1.0924369747899201E-2</c:v>
                </c:pt>
                <c:pt idx="30016">
                  <c:v>-1.0924369747899201E-2</c:v>
                </c:pt>
                <c:pt idx="30017">
                  <c:v>-1.0924369747899201E-2</c:v>
                </c:pt>
                <c:pt idx="30018">
                  <c:v>-1.0924369747899201E-2</c:v>
                </c:pt>
                <c:pt idx="30019">
                  <c:v>-1.0924369747899201E-2</c:v>
                </c:pt>
                <c:pt idx="30020">
                  <c:v>-1.0924369747899201E-2</c:v>
                </c:pt>
                <c:pt idx="30021">
                  <c:v>-1.0924369747899201E-2</c:v>
                </c:pt>
                <c:pt idx="30022">
                  <c:v>-1.0924369747899201E-2</c:v>
                </c:pt>
                <c:pt idx="30023">
                  <c:v>-1.0924369747899201E-2</c:v>
                </c:pt>
                <c:pt idx="30024">
                  <c:v>-1.0924369747899201E-2</c:v>
                </c:pt>
                <c:pt idx="30025">
                  <c:v>-1.0924369747899201E-2</c:v>
                </c:pt>
                <c:pt idx="30026">
                  <c:v>-1.0924369747899201E-2</c:v>
                </c:pt>
                <c:pt idx="30027">
                  <c:v>-1.0924369747899201E-2</c:v>
                </c:pt>
                <c:pt idx="30028">
                  <c:v>-1.0924369747899201E-2</c:v>
                </c:pt>
                <c:pt idx="30029">
                  <c:v>-1.0924369747899201E-2</c:v>
                </c:pt>
                <c:pt idx="30030">
                  <c:v>-1.0924369747899201E-2</c:v>
                </c:pt>
                <c:pt idx="30031">
                  <c:v>-1.0924369747899201E-2</c:v>
                </c:pt>
                <c:pt idx="30032">
                  <c:v>-1.0924369747899201E-2</c:v>
                </c:pt>
                <c:pt idx="30033">
                  <c:v>-1.0924369747899201E-2</c:v>
                </c:pt>
                <c:pt idx="30034">
                  <c:v>-1.0924369747899201E-2</c:v>
                </c:pt>
                <c:pt idx="30035">
                  <c:v>-1.0924369747899201E-2</c:v>
                </c:pt>
                <c:pt idx="30036">
                  <c:v>-1.0924369747899201E-2</c:v>
                </c:pt>
                <c:pt idx="30037">
                  <c:v>-1.0924369747899201E-2</c:v>
                </c:pt>
                <c:pt idx="30038">
                  <c:v>-1.0924369747899201E-2</c:v>
                </c:pt>
                <c:pt idx="30039">
                  <c:v>-1.0924369747899201E-2</c:v>
                </c:pt>
                <c:pt idx="30040">
                  <c:v>-1.0924369747899201E-2</c:v>
                </c:pt>
                <c:pt idx="30041">
                  <c:v>-1.0924369747899201E-2</c:v>
                </c:pt>
                <c:pt idx="30042">
                  <c:v>-1.0924369747899201E-2</c:v>
                </c:pt>
                <c:pt idx="30043">
                  <c:v>-1.0924369747899201E-2</c:v>
                </c:pt>
                <c:pt idx="30044">
                  <c:v>-1.0924369747899201E-2</c:v>
                </c:pt>
                <c:pt idx="30045">
                  <c:v>-1.0924369747899201E-2</c:v>
                </c:pt>
                <c:pt idx="30046">
                  <c:v>-1.0924369747899201E-2</c:v>
                </c:pt>
                <c:pt idx="30047">
                  <c:v>-1.0924369747899201E-2</c:v>
                </c:pt>
                <c:pt idx="30048">
                  <c:v>-1.0924369747899201E-2</c:v>
                </c:pt>
                <c:pt idx="30049">
                  <c:v>-1.0924369747899201E-2</c:v>
                </c:pt>
                <c:pt idx="30050">
                  <c:v>-1.0924369747899201E-2</c:v>
                </c:pt>
                <c:pt idx="30051">
                  <c:v>-1.0924369747899201E-2</c:v>
                </c:pt>
                <c:pt idx="30052">
                  <c:v>-1.0924369747899201E-2</c:v>
                </c:pt>
                <c:pt idx="30053">
                  <c:v>-1.0924369747899201E-2</c:v>
                </c:pt>
                <c:pt idx="30054">
                  <c:v>-1.0924369747899201E-2</c:v>
                </c:pt>
                <c:pt idx="30055">
                  <c:v>-1.0924369747899201E-2</c:v>
                </c:pt>
                <c:pt idx="30056">
                  <c:v>-1.0924369747899201E-2</c:v>
                </c:pt>
                <c:pt idx="30057">
                  <c:v>-1.0924369747899201E-2</c:v>
                </c:pt>
                <c:pt idx="30058">
                  <c:v>-1.0924369747899201E-2</c:v>
                </c:pt>
                <c:pt idx="30059">
                  <c:v>-1.0924369747899201E-2</c:v>
                </c:pt>
                <c:pt idx="30060">
                  <c:v>-1.0924369747899201E-2</c:v>
                </c:pt>
                <c:pt idx="30061">
                  <c:v>-1.0924369747899201E-2</c:v>
                </c:pt>
                <c:pt idx="30062">
                  <c:v>-1.0924369747899201E-2</c:v>
                </c:pt>
                <c:pt idx="30063">
                  <c:v>-1.0924369747899201E-2</c:v>
                </c:pt>
                <c:pt idx="30064">
                  <c:v>-1.0924369747899201E-2</c:v>
                </c:pt>
                <c:pt idx="30065">
                  <c:v>-1.0924369747899201E-2</c:v>
                </c:pt>
                <c:pt idx="30066">
                  <c:v>-1.0924369747899201E-2</c:v>
                </c:pt>
                <c:pt idx="30067">
                  <c:v>-1.0924369747899201E-2</c:v>
                </c:pt>
                <c:pt idx="30068">
                  <c:v>-1.0924369747899201E-2</c:v>
                </c:pt>
                <c:pt idx="30069">
                  <c:v>-1.0924369747899201E-2</c:v>
                </c:pt>
                <c:pt idx="30070">
                  <c:v>-1.0924369747899201E-2</c:v>
                </c:pt>
                <c:pt idx="30071">
                  <c:v>-1.0924369747899201E-2</c:v>
                </c:pt>
                <c:pt idx="30072">
                  <c:v>-1.00840336134454E-2</c:v>
                </c:pt>
                <c:pt idx="30073">
                  <c:v>-1.00840336134454E-2</c:v>
                </c:pt>
                <c:pt idx="30074">
                  <c:v>-1.00840336134454E-2</c:v>
                </c:pt>
                <c:pt idx="30075">
                  <c:v>-1.00840336134454E-2</c:v>
                </c:pt>
                <c:pt idx="30076">
                  <c:v>-1.00840336134454E-2</c:v>
                </c:pt>
                <c:pt idx="30077">
                  <c:v>-1.00840336134454E-2</c:v>
                </c:pt>
                <c:pt idx="30078">
                  <c:v>-1.00840336134454E-2</c:v>
                </c:pt>
                <c:pt idx="30079">
                  <c:v>-1.00840336134454E-2</c:v>
                </c:pt>
                <c:pt idx="30080">
                  <c:v>-1.00840336134454E-2</c:v>
                </c:pt>
                <c:pt idx="30081">
                  <c:v>-1.00840336134454E-2</c:v>
                </c:pt>
                <c:pt idx="30082">
                  <c:v>-1.00840336134454E-2</c:v>
                </c:pt>
                <c:pt idx="30083">
                  <c:v>-1.00840336134454E-2</c:v>
                </c:pt>
                <c:pt idx="30084">
                  <c:v>-1.00840336134454E-2</c:v>
                </c:pt>
                <c:pt idx="30085">
                  <c:v>-1.00840336134454E-2</c:v>
                </c:pt>
                <c:pt idx="30086">
                  <c:v>-1.00840336134454E-2</c:v>
                </c:pt>
                <c:pt idx="30087">
                  <c:v>-1.00840336134454E-2</c:v>
                </c:pt>
                <c:pt idx="30088">
                  <c:v>-1.00840336134454E-2</c:v>
                </c:pt>
                <c:pt idx="30089">
                  <c:v>-1.00840336134454E-2</c:v>
                </c:pt>
                <c:pt idx="30090">
                  <c:v>-1.00840336134454E-2</c:v>
                </c:pt>
                <c:pt idx="30091">
                  <c:v>-1.00840336134454E-2</c:v>
                </c:pt>
                <c:pt idx="30092">
                  <c:v>-1.00840336134454E-2</c:v>
                </c:pt>
                <c:pt idx="30093">
                  <c:v>-1.00840336134454E-2</c:v>
                </c:pt>
                <c:pt idx="30094">
                  <c:v>-1.00840336134454E-2</c:v>
                </c:pt>
                <c:pt idx="30095">
                  <c:v>-1.00840336134454E-2</c:v>
                </c:pt>
                <c:pt idx="30096">
                  <c:v>-1.00840336134454E-2</c:v>
                </c:pt>
                <c:pt idx="30097">
                  <c:v>-1.00840336134454E-2</c:v>
                </c:pt>
                <c:pt idx="30098">
                  <c:v>-1.00840336134454E-2</c:v>
                </c:pt>
                <c:pt idx="30099">
                  <c:v>-1.00840336134454E-2</c:v>
                </c:pt>
                <c:pt idx="30100">
                  <c:v>-1.00840336134454E-2</c:v>
                </c:pt>
                <c:pt idx="30101">
                  <c:v>-1.00840336134454E-2</c:v>
                </c:pt>
                <c:pt idx="30102">
                  <c:v>-1.00840336134454E-2</c:v>
                </c:pt>
                <c:pt idx="30103">
                  <c:v>-1.00840336134454E-2</c:v>
                </c:pt>
                <c:pt idx="30104">
                  <c:v>-1.00840336134454E-2</c:v>
                </c:pt>
                <c:pt idx="30105">
                  <c:v>-1.00840336134454E-2</c:v>
                </c:pt>
                <c:pt idx="30106">
                  <c:v>-1.00840336134454E-2</c:v>
                </c:pt>
                <c:pt idx="30107">
                  <c:v>-1.0924369747899201E-2</c:v>
                </c:pt>
                <c:pt idx="30108">
                  <c:v>-1.0924369747899201E-2</c:v>
                </c:pt>
                <c:pt idx="30109">
                  <c:v>-1.0924369747899201E-2</c:v>
                </c:pt>
                <c:pt idx="30110">
                  <c:v>-1.0924369747899201E-2</c:v>
                </c:pt>
                <c:pt idx="30111">
                  <c:v>-1.0924369747899201E-2</c:v>
                </c:pt>
                <c:pt idx="30112">
                  <c:v>-1.0924369747899201E-2</c:v>
                </c:pt>
                <c:pt idx="30113">
                  <c:v>-1.0924369747899201E-2</c:v>
                </c:pt>
                <c:pt idx="30114">
                  <c:v>-1.0924369747899201E-2</c:v>
                </c:pt>
                <c:pt idx="30115">
                  <c:v>-1.0924369747899201E-2</c:v>
                </c:pt>
                <c:pt idx="30116">
                  <c:v>-1.0924369747899201E-2</c:v>
                </c:pt>
                <c:pt idx="30117">
                  <c:v>-1.0924369747899201E-2</c:v>
                </c:pt>
                <c:pt idx="30118">
                  <c:v>-1.0924369747899201E-2</c:v>
                </c:pt>
                <c:pt idx="30119">
                  <c:v>-1.0924369747899201E-2</c:v>
                </c:pt>
                <c:pt idx="30120">
                  <c:v>-1.00840336134454E-2</c:v>
                </c:pt>
                <c:pt idx="30121">
                  <c:v>-1.00840336134454E-2</c:v>
                </c:pt>
                <c:pt idx="30122">
                  <c:v>-1.00840336134454E-2</c:v>
                </c:pt>
                <c:pt idx="30123">
                  <c:v>-1.00840336134454E-2</c:v>
                </c:pt>
                <c:pt idx="30124">
                  <c:v>-1.00840336134454E-2</c:v>
                </c:pt>
                <c:pt idx="30125">
                  <c:v>-1.00840336134454E-2</c:v>
                </c:pt>
                <c:pt idx="30126">
                  <c:v>-1.00840336134454E-2</c:v>
                </c:pt>
                <c:pt idx="30127">
                  <c:v>-1.00840336134454E-2</c:v>
                </c:pt>
                <c:pt idx="30128">
                  <c:v>-1.00840336134454E-2</c:v>
                </c:pt>
                <c:pt idx="30129">
                  <c:v>-1.00840336134454E-2</c:v>
                </c:pt>
                <c:pt idx="30130">
                  <c:v>-1.00840336134454E-2</c:v>
                </c:pt>
                <c:pt idx="30131">
                  <c:v>-1.00840336134454E-2</c:v>
                </c:pt>
                <c:pt idx="30132">
                  <c:v>-1.00840336134454E-2</c:v>
                </c:pt>
                <c:pt idx="30133">
                  <c:v>-1.00840336134454E-2</c:v>
                </c:pt>
                <c:pt idx="30134">
                  <c:v>-1.00840336134454E-2</c:v>
                </c:pt>
                <c:pt idx="30135">
                  <c:v>-1.00840336134454E-2</c:v>
                </c:pt>
                <c:pt idx="30136">
                  <c:v>-1.00840336134454E-2</c:v>
                </c:pt>
                <c:pt idx="30137">
                  <c:v>-1.00840336134454E-2</c:v>
                </c:pt>
                <c:pt idx="30138">
                  <c:v>-1.00840336134454E-2</c:v>
                </c:pt>
                <c:pt idx="30139">
                  <c:v>-1.00840336134454E-2</c:v>
                </c:pt>
                <c:pt idx="30140">
                  <c:v>-1.00840336134454E-2</c:v>
                </c:pt>
                <c:pt idx="30141">
                  <c:v>-1.00840336134454E-2</c:v>
                </c:pt>
                <c:pt idx="30142">
                  <c:v>-1.00840336134454E-2</c:v>
                </c:pt>
                <c:pt idx="30143">
                  <c:v>-1.00840336134454E-2</c:v>
                </c:pt>
                <c:pt idx="30144">
                  <c:v>-1.00840336134454E-2</c:v>
                </c:pt>
                <c:pt idx="30145">
                  <c:v>-1.00840336134454E-2</c:v>
                </c:pt>
                <c:pt idx="30146">
                  <c:v>-1.00840336134454E-2</c:v>
                </c:pt>
                <c:pt idx="30147">
                  <c:v>-1.00840336134454E-2</c:v>
                </c:pt>
                <c:pt idx="30148">
                  <c:v>-1.00840336134454E-2</c:v>
                </c:pt>
                <c:pt idx="30149">
                  <c:v>-1.00840336134454E-2</c:v>
                </c:pt>
                <c:pt idx="30150">
                  <c:v>-1.00840336134454E-2</c:v>
                </c:pt>
                <c:pt idx="30151">
                  <c:v>-1.00840336134454E-2</c:v>
                </c:pt>
                <c:pt idx="30152">
                  <c:v>-1.00840336134454E-2</c:v>
                </c:pt>
                <c:pt idx="30153">
                  <c:v>-1.00840336134454E-2</c:v>
                </c:pt>
                <c:pt idx="30154">
                  <c:v>-1.00840336134454E-2</c:v>
                </c:pt>
                <c:pt idx="30155">
                  <c:v>-1.00840336134454E-2</c:v>
                </c:pt>
                <c:pt idx="30156">
                  <c:v>-1.00840336134454E-2</c:v>
                </c:pt>
                <c:pt idx="30157">
                  <c:v>-1.00840336134454E-2</c:v>
                </c:pt>
                <c:pt idx="30158">
                  <c:v>-1.00840336134454E-2</c:v>
                </c:pt>
                <c:pt idx="30159">
                  <c:v>-1.00840336134454E-2</c:v>
                </c:pt>
                <c:pt idx="30160">
                  <c:v>-1.00840336134454E-2</c:v>
                </c:pt>
                <c:pt idx="30161">
                  <c:v>-1.00840336134454E-2</c:v>
                </c:pt>
                <c:pt idx="30162">
                  <c:v>-1.00840336134454E-2</c:v>
                </c:pt>
                <c:pt idx="30163">
                  <c:v>-1.00840336134454E-2</c:v>
                </c:pt>
                <c:pt idx="30164">
                  <c:v>-1.00840336134454E-2</c:v>
                </c:pt>
                <c:pt idx="30165">
                  <c:v>-1.00840336134454E-2</c:v>
                </c:pt>
                <c:pt idx="30166">
                  <c:v>-1.00840336134454E-2</c:v>
                </c:pt>
                <c:pt idx="30167">
                  <c:v>-1.00840336134454E-2</c:v>
                </c:pt>
                <c:pt idx="30168">
                  <c:v>-9.2436974789915603E-3</c:v>
                </c:pt>
                <c:pt idx="30169">
                  <c:v>-9.2436974789915603E-3</c:v>
                </c:pt>
                <c:pt idx="30170">
                  <c:v>-9.2436974789915603E-3</c:v>
                </c:pt>
                <c:pt idx="30171">
                  <c:v>-9.2436974789915603E-3</c:v>
                </c:pt>
                <c:pt idx="30172">
                  <c:v>-9.2436974789915603E-3</c:v>
                </c:pt>
                <c:pt idx="30173">
                  <c:v>-9.2436974789915603E-3</c:v>
                </c:pt>
                <c:pt idx="30174">
                  <c:v>-9.2436974789915603E-3</c:v>
                </c:pt>
                <c:pt idx="30175">
                  <c:v>-9.2436974789915603E-3</c:v>
                </c:pt>
                <c:pt idx="30176">
                  <c:v>-9.2436974789915603E-3</c:v>
                </c:pt>
                <c:pt idx="30177">
                  <c:v>-9.2436974789915603E-3</c:v>
                </c:pt>
                <c:pt idx="30178">
                  <c:v>-9.2436974789915603E-3</c:v>
                </c:pt>
                <c:pt idx="30179">
                  <c:v>-8.4033613445377801E-3</c:v>
                </c:pt>
                <c:pt idx="30180">
                  <c:v>-8.4033613445377801E-3</c:v>
                </c:pt>
                <c:pt idx="30181">
                  <c:v>-8.4033613445377801E-3</c:v>
                </c:pt>
                <c:pt idx="30182">
                  <c:v>-8.4033613445377801E-3</c:v>
                </c:pt>
                <c:pt idx="30183">
                  <c:v>-8.4033613445377801E-3</c:v>
                </c:pt>
                <c:pt idx="30184">
                  <c:v>-8.4033613445377801E-3</c:v>
                </c:pt>
                <c:pt idx="30185">
                  <c:v>-8.4033613445377801E-3</c:v>
                </c:pt>
                <c:pt idx="30186">
                  <c:v>-8.4033613445377801E-3</c:v>
                </c:pt>
                <c:pt idx="30187">
                  <c:v>-8.4033613445377801E-3</c:v>
                </c:pt>
                <c:pt idx="30188">
                  <c:v>-8.4033613445377801E-3</c:v>
                </c:pt>
                <c:pt idx="30189">
                  <c:v>-8.4033613445377801E-3</c:v>
                </c:pt>
                <c:pt idx="30190">
                  <c:v>-8.4033613445377801E-3</c:v>
                </c:pt>
                <c:pt idx="30191">
                  <c:v>-8.4033613445377801E-3</c:v>
                </c:pt>
                <c:pt idx="30192">
                  <c:v>-8.4033613445377801E-3</c:v>
                </c:pt>
                <c:pt idx="30193">
                  <c:v>-8.4033613445377801E-3</c:v>
                </c:pt>
                <c:pt idx="30194">
                  <c:v>-7.5630252100839998E-3</c:v>
                </c:pt>
                <c:pt idx="30195">
                  <c:v>-7.5630252100839998E-3</c:v>
                </c:pt>
                <c:pt idx="30196">
                  <c:v>-7.5630252100839998E-3</c:v>
                </c:pt>
                <c:pt idx="30197">
                  <c:v>-7.5630252100839998E-3</c:v>
                </c:pt>
                <c:pt idx="30198">
                  <c:v>-6.7226890756302204E-3</c:v>
                </c:pt>
                <c:pt idx="30199">
                  <c:v>-6.7226890756302204E-3</c:v>
                </c:pt>
                <c:pt idx="30200">
                  <c:v>-6.7226890756302204E-3</c:v>
                </c:pt>
                <c:pt idx="30201">
                  <c:v>-6.7226890756302204E-3</c:v>
                </c:pt>
                <c:pt idx="30202">
                  <c:v>-6.7226890756302204E-3</c:v>
                </c:pt>
                <c:pt idx="30203">
                  <c:v>-6.7226890756302204E-3</c:v>
                </c:pt>
                <c:pt idx="30204">
                  <c:v>-7.5630252100839998E-3</c:v>
                </c:pt>
                <c:pt idx="30205">
                  <c:v>-7.5630252100839998E-3</c:v>
                </c:pt>
                <c:pt idx="30206">
                  <c:v>-7.5630252100839998E-3</c:v>
                </c:pt>
                <c:pt idx="30207">
                  <c:v>-7.5630252100839998E-3</c:v>
                </c:pt>
                <c:pt idx="30208">
                  <c:v>-7.5630252100839998E-3</c:v>
                </c:pt>
                <c:pt idx="30209">
                  <c:v>-7.5630252100839998E-3</c:v>
                </c:pt>
                <c:pt idx="30210">
                  <c:v>-7.5630252100839998E-3</c:v>
                </c:pt>
                <c:pt idx="30211">
                  <c:v>-7.5630252100839998E-3</c:v>
                </c:pt>
                <c:pt idx="30212">
                  <c:v>-7.5630252100839998E-3</c:v>
                </c:pt>
                <c:pt idx="30213">
                  <c:v>-7.5630252100839998E-3</c:v>
                </c:pt>
                <c:pt idx="30214">
                  <c:v>-7.5630252100839998E-3</c:v>
                </c:pt>
                <c:pt idx="30215">
                  <c:v>-6.7226890756302204E-3</c:v>
                </c:pt>
                <c:pt idx="30216">
                  <c:v>-6.7226890756302204E-3</c:v>
                </c:pt>
                <c:pt idx="30217">
                  <c:v>-6.7226890756302204E-3</c:v>
                </c:pt>
                <c:pt idx="30218">
                  <c:v>-6.7226890756302204E-3</c:v>
                </c:pt>
                <c:pt idx="30219">
                  <c:v>-6.7226890756302204E-3</c:v>
                </c:pt>
                <c:pt idx="30220">
                  <c:v>-6.7226890756302204E-3</c:v>
                </c:pt>
                <c:pt idx="30221">
                  <c:v>-6.7226890756302204E-3</c:v>
                </c:pt>
                <c:pt idx="30222">
                  <c:v>-6.7226890756302204E-3</c:v>
                </c:pt>
                <c:pt idx="30223">
                  <c:v>-6.7226890756302204E-3</c:v>
                </c:pt>
                <c:pt idx="30224">
                  <c:v>-6.7226890756302204E-3</c:v>
                </c:pt>
                <c:pt idx="30225">
                  <c:v>-6.7226890756302204E-3</c:v>
                </c:pt>
                <c:pt idx="30226">
                  <c:v>-6.7226890756302204E-3</c:v>
                </c:pt>
                <c:pt idx="30227">
                  <c:v>-6.7226890756302204E-3</c:v>
                </c:pt>
                <c:pt idx="30228">
                  <c:v>-6.7226890756302204E-3</c:v>
                </c:pt>
                <c:pt idx="30229">
                  <c:v>-6.7226890756302204E-3</c:v>
                </c:pt>
                <c:pt idx="30230">
                  <c:v>-6.7226890756302204E-3</c:v>
                </c:pt>
                <c:pt idx="30231">
                  <c:v>-6.7226890756302204E-3</c:v>
                </c:pt>
                <c:pt idx="30232">
                  <c:v>-6.7226890756302204E-3</c:v>
                </c:pt>
                <c:pt idx="30233">
                  <c:v>-6.7226890756302204E-3</c:v>
                </c:pt>
                <c:pt idx="30234">
                  <c:v>-6.7226890756302204E-3</c:v>
                </c:pt>
                <c:pt idx="30235">
                  <c:v>-6.7226890756302204E-3</c:v>
                </c:pt>
                <c:pt idx="30236">
                  <c:v>-6.7226890756302204E-3</c:v>
                </c:pt>
                <c:pt idx="30237">
                  <c:v>-6.7226890756302204E-3</c:v>
                </c:pt>
                <c:pt idx="30238">
                  <c:v>-6.7226890756302204E-3</c:v>
                </c:pt>
                <c:pt idx="30239">
                  <c:v>-6.7226890756302204E-3</c:v>
                </c:pt>
                <c:pt idx="30240">
                  <c:v>-6.7226890756302204E-3</c:v>
                </c:pt>
                <c:pt idx="30241">
                  <c:v>-6.7226890756302204E-3</c:v>
                </c:pt>
                <c:pt idx="30242">
                  <c:v>-6.7226890756302204E-3</c:v>
                </c:pt>
                <c:pt idx="30243">
                  <c:v>-6.7226890756302204E-3</c:v>
                </c:pt>
                <c:pt idx="30244">
                  <c:v>-6.7226890756302204E-3</c:v>
                </c:pt>
                <c:pt idx="30245">
                  <c:v>-6.7226890756302204E-3</c:v>
                </c:pt>
                <c:pt idx="30246">
                  <c:v>-6.7226890756302204E-3</c:v>
                </c:pt>
                <c:pt idx="30247">
                  <c:v>-6.7226890756302204E-3</c:v>
                </c:pt>
                <c:pt idx="30248">
                  <c:v>-6.7226890756302204E-3</c:v>
                </c:pt>
                <c:pt idx="30249">
                  <c:v>-6.7226890756302204E-3</c:v>
                </c:pt>
                <c:pt idx="30250">
                  <c:v>-6.7226890756302204E-3</c:v>
                </c:pt>
                <c:pt idx="30251">
                  <c:v>-6.7226890756302204E-3</c:v>
                </c:pt>
                <c:pt idx="30252">
                  <c:v>-6.7226890756302204E-3</c:v>
                </c:pt>
                <c:pt idx="30253">
                  <c:v>-6.7226890756302204E-3</c:v>
                </c:pt>
                <c:pt idx="30254">
                  <c:v>-6.7226890756302204E-3</c:v>
                </c:pt>
                <c:pt idx="30255">
                  <c:v>-6.7226890756302204E-3</c:v>
                </c:pt>
                <c:pt idx="30256">
                  <c:v>-6.7226890756302204E-3</c:v>
                </c:pt>
                <c:pt idx="30257">
                  <c:v>-6.7226890756302204E-3</c:v>
                </c:pt>
                <c:pt idx="30258">
                  <c:v>-6.7226890756302204E-3</c:v>
                </c:pt>
                <c:pt idx="30259">
                  <c:v>-6.7226890756302204E-3</c:v>
                </c:pt>
                <c:pt idx="30260">
                  <c:v>-6.7226890756302204E-3</c:v>
                </c:pt>
                <c:pt idx="30261">
                  <c:v>-6.7226890756302204E-3</c:v>
                </c:pt>
                <c:pt idx="30262">
                  <c:v>-6.7226890756302204E-3</c:v>
                </c:pt>
                <c:pt idx="30263">
                  <c:v>-6.7226890756302204E-3</c:v>
                </c:pt>
                <c:pt idx="30264">
                  <c:v>-6.7226890756302204E-3</c:v>
                </c:pt>
                <c:pt idx="30265">
                  <c:v>-6.7226890756302204E-3</c:v>
                </c:pt>
                <c:pt idx="30266">
                  <c:v>-6.7226890756302204E-3</c:v>
                </c:pt>
                <c:pt idx="30267">
                  <c:v>-6.7226890756302204E-3</c:v>
                </c:pt>
                <c:pt idx="30268">
                  <c:v>-6.7226890756302204E-3</c:v>
                </c:pt>
                <c:pt idx="30269">
                  <c:v>-6.7226890756302204E-3</c:v>
                </c:pt>
                <c:pt idx="30270">
                  <c:v>-6.7226890756302204E-3</c:v>
                </c:pt>
                <c:pt idx="30271">
                  <c:v>-6.7226890756302204E-3</c:v>
                </c:pt>
                <c:pt idx="30272">
                  <c:v>-6.7226890756302204E-3</c:v>
                </c:pt>
                <c:pt idx="30273">
                  <c:v>-6.7226890756302204E-3</c:v>
                </c:pt>
                <c:pt idx="30274">
                  <c:v>-6.7226890756302204E-3</c:v>
                </c:pt>
                <c:pt idx="30275">
                  <c:v>-6.7226890756302204E-3</c:v>
                </c:pt>
                <c:pt idx="30276">
                  <c:v>-6.7226890756302204E-3</c:v>
                </c:pt>
                <c:pt idx="30277">
                  <c:v>-6.7226890756302204E-3</c:v>
                </c:pt>
                <c:pt idx="30278">
                  <c:v>-6.7226890756302204E-3</c:v>
                </c:pt>
                <c:pt idx="30279">
                  <c:v>-6.7226890756302204E-3</c:v>
                </c:pt>
                <c:pt idx="30280">
                  <c:v>-6.7226890756302204E-3</c:v>
                </c:pt>
                <c:pt idx="30281">
                  <c:v>-6.7226890756302204E-3</c:v>
                </c:pt>
                <c:pt idx="30282">
                  <c:v>-6.7226890756302204E-3</c:v>
                </c:pt>
                <c:pt idx="30283">
                  <c:v>-6.7226890756302204E-3</c:v>
                </c:pt>
                <c:pt idx="30284">
                  <c:v>-6.7226890756302204E-3</c:v>
                </c:pt>
                <c:pt idx="30285">
                  <c:v>-6.7226890756302204E-3</c:v>
                </c:pt>
                <c:pt idx="30286">
                  <c:v>-6.7226890756302204E-3</c:v>
                </c:pt>
                <c:pt idx="30287">
                  <c:v>-6.7226890756302204E-3</c:v>
                </c:pt>
                <c:pt idx="30288">
                  <c:v>-6.7226890756302204E-3</c:v>
                </c:pt>
                <c:pt idx="30289">
                  <c:v>-6.7226890756302204E-3</c:v>
                </c:pt>
                <c:pt idx="30290">
                  <c:v>-6.7226890756302204E-3</c:v>
                </c:pt>
                <c:pt idx="30291">
                  <c:v>-6.7226890756302204E-3</c:v>
                </c:pt>
                <c:pt idx="30292">
                  <c:v>-6.7226890756302204E-3</c:v>
                </c:pt>
                <c:pt idx="30293">
                  <c:v>-6.7226890756302204E-3</c:v>
                </c:pt>
                <c:pt idx="30294">
                  <c:v>-6.7226890756302204E-3</c:v>
                </c:pt>
                <c:pt idx="30295">
                  <c:v>-6.7226890756302204E-3</c:v>
                </c:pt>
                <c:pt idx="30296">
                  <c:v>-6.7226890756302204E-3</c:v>
                </c:pt>
                <c:pt idx="30297">
                  <c:v>-6.7226890756302204E-3</c:v>
                </c:pt>
                <c:pt idx="30298">
                  <c:v>-6.7226890756302204E-3</c:v>
                </c:pt>
                <c:pt idx="30299">
                  <c:v>-6.7226890756302204E-3</c:v>
                </c:pt>
                <c:pt idx="30300">
                  <c:v>-6.7226890756302204E-3</c:v>
                </c:pt>
                <c:pt idx="30301">
                  <c:v>-6.7226890756302204E-3</c:v>
                </c:pt>
                <c:pt idx="30302">
                  <c:v>-6.7226890756302204E-3</c:v>
                </c:pt>
                <c:pt idx="30303">
                  <c:v>-6.7226890756302204E-3</c:v>
                </c:pt>
                <c:pt idx="30304">
                  <c:v>-6.7226890756302204E-3</c:v>
                </c:pt>
                <c:pt idx="30305">
                  <c:v>-6.7226890756302204E-3</c:v>
                </c:pt>
                <c:pt idx="30306">
                  <c:v>-6.7226890756302204E-3</c:v>
                </c:pt>
                <c:pt idx="30307">
                  <c:v>-6.7226890756302204E-3</c:v>
                </c:pt>
                <c:pt idx="30308">
                  <c:v>-6.7226890756302204E-3</c:v>
                </c:pt>
                <c:pt idx="30309">
                  <c:v>-6.7226890756302204E-3</c:v>
                </c:pt>
                <c:pt idx="30310">
                  <c:v>-6.7226890756302204E-3</c:v>
                </c:pt>
                <c:pt idx="30311">
                  <c:v>-6.7226890756302204E-3</c:v>
                </c:pt>
                <c:pt idx="30312">
                  <c:v>-6.7226890756302204E-3</c:v>
                </c:pt>
                <c:pt idx="30313">
                  <c:v>-6.7226890756302204E-3</c:v>
                </c:pt>
                <c:pt idx="30314">
                  <c:v>-6.7226890756302204E-3</c:v>
                </c:pt>
                <c:pt idx="30315">
                  <c:v>-6.7226890756302204E-3</c:v>
                </c:pt>
                <c:pt idx="30316">
                  <c:v>-6.7226890756302204E-3</c:v>
                </c:pt>
                <c:pt idx="30317">
                  <c:v>-6.7226890756302204E-3</c:v>
                </c:pt>
                <c:pt idx="30318">
                  <c:v>-6.7226890756302204E-3</c:v>
                </c:pt>
                <c:pt idx="30319">
                  <c:v>-6.7226890756302204E-3</c:v>
                </c:pt>
                <c:pt idx="30320">
                  <c:v>-6.7226890756302204E-3</c:v>
                </c:pt>
                <c:pt idx="30321">
                  <c:v>-6.7226890756302204E-3</c:v>
                </c:pt>
                <c:pt idx="30322">
                  <c:v>-6.7226890756302204E-3</c:v>
                </c:pt>
                <c:pt idx="30323">
                  <c:v>-6.7226890756302204E-3</c:v>
                </c:pt>
                <c:pt idx="30324">
                  <c:v>-6.7226890756302204E-3</c:v>
                </c:pt>
                <c:pt idx="30325">
                  <c:v>-6.7226890756302204E-3</c:v>
                </c:pt>
                <c:pt idx="30326">
                  <c:v>-6.7226890756302204E-3</c:v>
                </c:pt>
                <c:pt idx="30327">
                  <c:v>-6.7226890756302204E-3</c:v>
                </c:pt>
                <c:pt idx="30328">
                  <c:v>-6.7226890756302204E-3</c:v>
                </c:pt>
                <c:pt idx="30329">
                  <c:v>-6.7226890756302204E-3</c:v>
                </c:pt>
                <c:pt idx="30330">
                  <c:v>-6.7226890756302204E-3</c:v>
                </c:pt>
                <c:pt idx="30331">
                  <c:v>-6.7226890756302204E-3</c:v>
                </c:pt>
                <c:pt idx="30332">
                  <c:v>-6.7226890756302204E-3</c:v>
                </c:pt>
                <c:pt idx="30333">
                  <c:v>-6.7226890756302204E-3</c:v>
                </c:pt>
                <c:pt idx="30334">
                  <c:v>-6.7226890756302204E-3</c:v>
                </c:pt>
                <c:pt idx="30335">
                  <c:v>-6.7226890756302204E-3</c:v>
                </c:pt>
                <c:pt idx="30336">
                  <c:v>-6.7226890756302204E-3</c:v>
                </c:pt>
                <c:pt idx="30337">
                  <c:v>-6.7226890756302204E-3</c:v>
                </c:pt>
                <c:pt idx="30338">
                  <c:v>-6.7226890756302204E-3</c:v>
                </c:pt>
                <c:pt idx="30339">
                  <c:v>-6.7226890756302204E-3</c:v>
                </c:pt>
                <c:pt idx="30340">
                  <c:v>-6.7226890756302204E-3</c:v>
                </c:pt>
                <c:pt idx="30341">
                  <c:v>-6.7226890756302204E-3</c:v>
                </c:pt>
                <c:pt idx="30342">
                  <c:v>-6.7226890756302204E-3</c:v>
                </c:pt>
                <c:pt idx="30343">
                  <c:v>-6.7226890756302204E-3</c:v>
                </c:pt>
                <c:pt idx="30344">
                  <c:v>-6.7226890756302204E-3</c:v>
                </c:pt>
                <c:pt idx="30345">
                  <c:v>-5.8823529411764497E-3</c:v>
                </c:pt>
                <c:pt idx="30346">
                  <c:v>-5.8823529411764497E-3</c:v>
                </c:pt>
                <c:pt idx="30347">
                  <c:v>-5.8823529411764497E-3</c:v>
                </c:pt>
                <c:pt idx="30348">
                  <c:v>-5.8823529411764497E-3</c:v>
                </c:pt>
                <c:pt idx="30349">
                  <c:v>-5.8823529411764497E-3</c:v>
                </c:pt>
                <c:pt idx="30350">
                  <c:v>-5.8823529411764497E-3</c:v>
                </c:pt>
                <c:pt idx="30351">
                  <c:v>-5.8823529411764497E-3</c:v>
                </c:pt>
                <c:pt idx="30352">
                  <c:v>-5.8823529411764497E-3</c:v>
                </c:pt>
                <c:pt idx="30353">
                  <c:v>-5.8823529411764497E-3</c:v>
                </c:pt>
                <c:pt idx="30354">
                  <c:v>-5.8823529411764497E-3</c:v>
                </c:pt>
                <c:pt idx="30355">
                  <c:v>-5.8823529411764497E-3</c:v>
                </c:pt>
                <c:pt idx="30356">
                  <c:v>-5.8823529411764497E-3</c:v>
                </c:pt>
                <c:pt idx="30357">
                  <c:v>-5.8823529411764497E-3</c:v>
                </c:pt>
                <c:pt idx="30358">
                  <c:v>-5.8823529411764497E-3</c:v>
                </c:pt>
                <c:pt idx="30359">
                  <c:v>-5.8823529411764497E-3</c:v>
                </c:pt>
                <c:pt idx="30360">
                  <c:v>-5.8823529411764497E-3</c:v>
                </c:pt>
                <c:pt idx="30361">
                  <c:v>-5.8823529411764497E-3</c:v>
                </c:pt>
                <c:pt idx="30362">
                  <c:v>-5.8823529411764497E-3</c:v>
                </c:pt>
                <c:pt idx="30363">
                  <c:v>-5.8823529411764497E-3</c:v>
                </c:pt>
                <c:pt idx="30364">
                  <c:v>-5.8823529411764497E-3</c:v>
                </c:pt>
                <c:pt idx="30365">
                  <c:v>-5.8823529411764497E-3</c:v>
                </c:pt>
                <c:pt idx="30366">
                  <c:v>-5.8823529411764497E-3</c:v>
                </c:pt>
                <c:pt idx="30367">
                  <c:v>-5.8823529411764497E-3</c:v>
                </c:pt>
                <c:pt idx="30368">
                  <c:v>-5.8823529411764497E-3</c:v>
                </c:pt>
                <c:pt idx="30369">
                  <c:v>-5.8823529411764497E-3</c:v>
                </c:pt>
                <c:pt idx="30370">
                  <c:v>-5.8823529411764497E-3</c:v>
                </c:pt>
                <c:pt idx="30371">
                  <c:v>-5.8823529411764497E-3</c:v>
                </c:pt>
                <c:pt idx="30372">
                  <c:v>-5.8823529411764497E-3</c:v>
                </c:pt>
                <c:pt idx="30373">
                  <c:v>-5.8823529411764497E-3</c:v>
                </c:pt>
                <c:pt idx="30374">
                  <c:v>-5.8823529411764497E-3</c:v>
                </c:pt>
                <c:pt idx="30375">
                  <c:v>-5.8823529411764497E-3</c:v>
                </c:pt>
                <c:pt idx="30376">
                  <c:v>-5.8823529411764497E-3</c:v>
                </c:pt>
                <c:pt idx="30377">
                  <c:v>-5.8823529411764497E-3</c:v>
                </c:pt>
                <c:pt idx="30378">
                  <c:v>-5.8823529411764497E-3</c:v>
                </c:pt>
                <c:pt idx="30379">
                  <c:v>-5.8823529411764497E-3</c:v>
                </c:pt>
                <c:pt idx="30380">
                  <c:v>-5.8823529411764497E-3</c:v>
                </c:pt>
                <c:pt idx="30381">
                  <c:v>-5.8823529411764497E-3</c:v>
                </c:pt>
                <c:pt idx="30382">
                  <c:v>-5.8823529411764497E-3</c:v>
                </c:pt>
                <c:pt idx="30383">
                  <c:v>-5.8823529411764497E-3</c:v>
                </c:pt>
                <c:pt idx="30384">
                  <c:v>-5.8823529411764497E-3</c:v>
                </c:pt>
                <c:pt idx="30385">
                  <c:v>-5.8823529411764497E-3</c:v>
                </c:pt>
                <c:pt idx="30386">
                  <c:v>-5.8823529411764497E-3</c:v>
                </c:pt>
                <c:pt idx="30387">
                  <c:v>-5.8823529411764497E-3</c:v>
                </c:pt>
                <c:pt idx="30388">
                  <c:v>-5.8823529411764497E-3</c:v>
                </c:pt>
                <c:pt idx="30389">
                  <c:v>-5.8823529411764497E-3</c:v>
                </c:pt>
                <c:pt idx="30390">
                  <c:v>-5.8823529411764497E-3</c:v>
                </c:pt>
                <c:pt idx="30391">
                  <c:v>-5.8823529411764497E-3</c:v>
                </c:pt>
                <c:pt idx="30392">
                  <c:v>-5.8823529411764497E-3</c:v>
                </c:pt>
                <c:pt idx="30393">
                  <c:v>-5.8823529411764497E-3</c:v>
                </c:pt>
                <c:pt idx="30394">
                  <c:v>-5.8823529411764497E-3</c:v>
                </c:pt>
                <c:pt idx="30395">
                  <c:v>-5.8823529411764497E-3</c:v>
                </c:pt>
                <c:pt idx="30396">
                  <c:v>-5.8823529411764497E-3</c:v>
                </c:pt>
                <c:pt idx="30397">
                  <c:v>-5.8823529411764497E-3</c:v>
                </c:pt>
                <c:pt idx="30398">
                  <c:v>-5.8823529411764497E-3</c:v>
                </c:pt>
                <c:pt idx="30399">
                  <c:v>-5.8823529411764497E-3</c:v>
                </c:pt>
                <c:pt idx="30400">
                  <c:v>-5.8823529411764497E-3</c:v>
                </c:pt>
                <c:pt idx="30401">
                  <c:v>-5.8823529411764497E-3</c:v>
                </c:pt>
                <c:pt idx="30402">
                  <c:v>-5.8823529411764497E-3</c:v>
                </c:pt>
                <c:pt idx="30403">
                  <c:v>-5.8823529411764497E-3</c:v>
                </c:pt>
                <c:pt idx="30404">
                  <c:v>-5.8823529411764497E-3</c:v>
                </c:pt>
                <c:pt idx="30405">
                  <c:v>-5.8823529411764497E-3</c:v>
                </c:pt>
                <c:pt idx="30406">
                  <c:v>-5.8823529411764497E-3</c:v>
                </c:pt>
                <c:pt idx="30407">
                  <c:v>-5.8823529411764497E-3</c:v>
                </c:pt>
                <c:pt idx="30408">
                  <c:v>-5.8823529411764497E-3</c:v>
                </c:pt>
                <c:pt idx="30409">
                  <c:v>-5.8823529411764497E-3</c:v>
                </c:pt>
                <c:pt idx="30410">
                  <c:v>-5.8823529411764497E-3</c:v>
                </c:pt>
                <c:pt idx="30411">
                  <c:v>-5.8823529411764497E-3</c:v>
                </c:pt>
                <c:pt idx="30412">
                  <c:v>-5.8823529411764497E-3</c:v>
                </c:pt>
                <c:pt idx="30413">
                  <c:v>-5.8823529411764497E-3</c:v>
                </c:pt>
                <c:pt idx="30414">
                  <c:v>-5.8823529411764497E-3</c:v>
                </c:pt>
                <c:pt idx="30415">
                  <c:v>-5.8823529411764497E-3</c:v>
                </c:pt>
                <c:pt idx="30416">
                  <c:v>-5.8823529411764497E-3</c:v>
                </c:pt>
                <c:pt idx="30417">
                  <c:v>-5.8823529411764497E-3</c:v>
                </c:pt>
                <c:pt idx="30418">
                  <c:v>-5.8823529411764497E-3</c:v>
                </c:pt>
                <c:pt idx="30419">
                  <c:v>-5.8823529411764497E-3</c:v>
                </c:pt>
                <c:pt idx="30420">
                  <c:v>-5.8823529411764497E-3</c:v>
                </c:pt>
                <c:pt idx="30421">
                  <c:v>-5.8823529411764497E-3</c:v>
                </c:pt>
                <c:pt idx="30422">
                  <c:v>-5.8823529411764497E-3</c:v>
                </c:pt>
                <c:pt idx="30423">
                  <c:v>-5.8823529411764497E-3</c:v>
                </c:pt>
                <c:pt idx="30424">
                  <c:v>-5.8823529411764497E-3</c:v>
                </c:pt>
                <c:pt idx="30425">
                  <c:v>-5.8823529411764497E-3</c:v>
                </c:pt>
                <c:pt idx="30426">
                  <c:v>-5.8823529411764497E-3</c:v>
                </c:pt>
                <c:pt idx="30427">
                  <c:v>-5.8823529411764497E-3</c:v>
                </c:pt>
                <c:pt idx="30428">
                  <c:v>-5.8823529411764497E-3</c:v>
                </c:pt>
                <c:pt idx="30429">
                  <c:v>-5.8823529411764497E-3</c:v>
                </c:pt>
                <c:pt idx="30430">
                  <c:v>-5.8823529411764497E-3</c:v>
                </c:pt>
                <c:pt idx="30431">
                  <c:v>-5.8823529411764497E-3</c:v>
                </c:pt>
                <c:pt idx="30432">
                  <c:v>-5.0420168067226703E-3</c:v>
                </c:pt>
                <c:pt idx="30433">
                  <c:v>-5.0420168067226703E-3</c:v>
                </c:pt>
                <c:pt idx="30434">
                  <c:v>-5.0420168067226703E-3</c:v>
                </c:pt>
                <c:pt idx="30435">
                  <c:v>-5.0420168067226703E-3</c:v>
                </c:pt>
                <c:pt idx="30436">
                  <c:v>-5.0420168067226703E-3</c:v>
                </c:pt>
                <c:pt idx="30437">
                  <c:v>-5.0420168067226703E-3</c:v>
                </c:pt>
                <c:pt idx="30438">
                  <c:v>-5.0420168067226703E-3</c:v>
                </c:pt>
                <c:pt idx="30439">
                  <c:v>-5.0420168067226703E-3</c:v>
                </c:pt>
                <c:pt idx="30440">
                  <c:v>-5.0420168067226703E-3</c:v>
                </c:pt>
                <c:pt idx="30441">
                  <c:v>-5.0420168067226703E-3</c:v>
                </c:pt>
                <c:pt idx="30442">
                  <c:v>-5.0420168067226703E-3</c:v>
                </c:pt>
                <c:pt idx="30443">
                  <c:v>-5.0420168067226703E-3</c:v>
                </c:pt>
                <c:pt idx="30444">
                  <c:v>-5.0420168067226703E-3</c:v>
                </c:pt>
                <c:pt idx="30445">
                  <c:v>-5.0420168067226703E-3</c:v>
                </c:pt>
                <c:pt idx="30446">
                  <c:v>-5.0420168067226703E-3</c:v>
                </c:pt>
                <c:pt idx="30447">
                  <c:v>-5.0420168067226703E-3</c:v>
                </c:pt>
                <c:pt idx="30448">
                  <c:v>-5.0420168067226703E-3</c:v>
                </c:pt>
                <c:pt idx="30449">
                  <c:v>-5.0420168067226703E-3</c:v>
                </c:pt>
                <c:pt idx="30450">
                  <c:v>-5.0420168067226703E-3</c:v>
                </c:pt>
                <c:pt idx="30451">
                  <c:v>-5.0420168067226703E-3</c:v>
                </c:pt>
                <c:pt idx="30452">
                  <c:v>-5.0420168067226703E-3</c:v>
                </c:pt>
                <c:pt idx="30453">
                  <c:v>-5.0420168067226703E-3</c:v>
                </c:pt>
                <c:pt idx="30454">
                  <c:v>-5.0420168067226703E-3</c:v>
                </c:pt>
                <c:pt idx="30455">
                  <c:v>-5.0420168067226703E-3</c:v>
                </c:pt>
                <c:pt idx="30456">
                  <c:v>-5.0420168067226703E-3</c:v>
                </c:pt>
                <c:pt idx="30457">
                  <c:v>-5.0420168067226703E-3</c:v>
                </c:pt>
                <c:pt idx="30458">
                  <c:v>-5.0420168067226703E-3</c:v>
                </c:pt>
                <c:pt idx="30459">
                  <c:v>-4.20168067226889E-3</c:v>
                </c:pt>
                <c:pt idx="30460">
                  <c:v>-4.20168067226889E-3</c:v>
                </c:pt>
                <c:pt idx="30461">
                  <c:v>-4.20168067226889E-3</c:v>
                </c:pt>
                <c:pt idx="30462">
                  <c:v>-4.20168067226889E-3</c:v>
                </c:pt>
                <c:pt idx="30463">
                  <c:v>-4.20168067226889E-3</c:v>
                </c:pt>
                <c:pt idx="30464">
                  <c:v>-4.20168067226889E-3</c:v>
                </c:pt>
                <c:pt idx="30465">
                  <c:v>-4.20168067226889E-3</c:v>
                </c:pt>
                <c:pt idx="30466">
                  <c:v>-4.20168067226889E-3</c:v>
                </c:pt>
                <c:pt idx="30467">
                  <c:v>-4.20168067226889E-3</c:v>
                </c:pt>
                <c:pt idx="30468">
                  <c:v>-4.20168067226889E-3</c:v>
                </c:pt>
                <c:pt idx="30469">
                  <c:v>-4.20168067226889E-3</c:v>
                </c:pt>
                <c:pt idx="30470">
                  <c:v>-4.20168067226889E-3</c:v>
                </c:pt>
                <c:pt idx="30471">
                  <c:v>-4.20168067226889E-3</c:v>
                </c:pt>
                <c:pt idx="30472">
                  <c:v>-4.20168067226889E-3</c:v>
                </c:pt>
                <c:pt idx="30473">
                  <c:v>-4.20168067226889E-3</c:v>
                </c:pt>
                <c:pt idx="30474">
                  <c:v>-4.20168067226889E-3</c:v>
                </c:pt>
                <c:pt idx="30475">
                  <c:v>-4.20168067226889E-3</c:v>
                </c:pt>
                <c:pt idx="30476">
                  <c:v>-4.20168067226889E-3</c:v>
                </c:pt>
                <c:pt idx="30477">
                  <c:v>-4.20168067226889E-3</c:v>
                </c:pt>
                <c:pt idx="30478">
                  <c:v>-4.20168067226889E-3</c:v>
                </c:pt>
                <c:pt idx="30479">
                  <c:v>-4.20168067226889E-3</c:v>
                </c:pt>
                <c:pt idx="30480">
                  <c:v>-4.20168067226889E-3</c:v>
                </c:pt>
                <c:pt idx="30481">
                  <c:v>-4.20168067226889E-3</c:v>
                </c:pt>
                <c:pt idx="30482">
                  <c:v>-4.20168067226889E-3</c:v>
                </c:pt>
                <c:pt idx="30483">
                  <c:v>-5.0420168067226703E-3</c:v>
                </c:pt>
                <c:pt idx="30484">
                  <c:v>-5.0420168067226703E-3</c:v>
                </c:pt>
                <c:pt idx="30485">
                  <c:v>-5.0420168067226703E-3</c:v>
                </c:pt>
                <c:pt idx="30486">
                  <c:v>-5.0420168067226703E-3</c:v>
                </c:pt>
                <c:pt idx="30487">
                  <c:v>-5.0420168067226703E-3</c:v>
                </c:pt>
                <c:pt idx="30488">
                  <c:v>-5.0420168067226703E-3</c:v>
                </c:pt>
                <c:pt idx="30489">
                  <c:v>-5.0420168067226703E-3</c:v>
                </c:pt>
                <c:pt idx="30490">
                  <c:v>-5.0420168067226703E-3</c:v>
                </c:pt>
                <c:pt idx="30491">
                  <c:v>-5.0420168067226703E-3</c:v>
                </c:pt>
                <c:pt idx="30492">
                  <c:v>-5.0420168067226703E-3</c:v>
                </c:pt>
                <c:pt idx="30493">
                  <c:v>-5.0420168067226703E-3</c:v>
                </c:pt>
                <c:pt idx="30494">
                  <c:v>-5.0420168067226703E-3</c:v>
                </c:pt>
                <c:pt idx="30495">
                  <c:v>-5.0420168067226703E-3</c:v>
                </c:pt>
                <c:pt idx="30496">
                  <c:v>-5.0420168067226703E-3</c:v>
                </c:pt>
                <c:pt idx="30497">
                  <c:v>-5.0420168067226703E-3</c:v>
                </c:pt>
                <c:pt idx="30498">
                  <c:v>-5.0420168067226703E-3</c:v>
                </c:pt>
                <c:pt idx="30499">
                  <c:v>-5.0420168067226703E-3</c:v>
                </c:pt>
                <c:pt idx="30500">
                  <c:v>-5.0420168067226703E-3</c:v>
                </c:pt>
                <c:pt idx="30501">
                  <c:v>-5.0420168067226703E-3</c:v>
                </c:pt>
                <c:pt idx="30502">
                  <c:v>-5.0420168067226703E-3</c:v>
                </c:pt>
                <c:pt idx="30503">
                  <c:v>-5.0420168067226703E-3</c:v>
                </c:pt>
                <c:pt idx="30504">
                  <c:v>-5.0420168067226703E-3</c:v>
                </c:pt>
                <c:pt idx="30505">
                  <c:v>-5.0420168067226703E-3</c:v>
                </c:pt>
                <c:pt idx="30506">
                  <c:v>-5.0420168067226703E-3</c:v>
                </c:pt>
                <c:pt idx="30507">
                  <c:v>-5.0420168067226703E-3</c:v>
                </c:pt>
                <c:pt idx="30508">
                  <c:v>-5.0420168067226703E-3</c:v>
                </c:pt>
                <c:pt idx="30509">
                  <c:v>-5.0420168067226703E-3</c:v>
                </c:pt>
                <c:pt idx="30510">
                  <c:v>-4.20168067226889E-3</c:v>
                </c:pt>
                <c:pt idx="30511">
                  <c:v>-4.20168067226889E-3</c:v>
                </c:pt>
                <c:pt idx="30512">
                  <c:v>-4.20168067226889E-3</c:v>
                </c:pt>
                <c:pt idx="30513">
                  <c:v>-4.20168067226889E-3</c:v>
                </c:pt>
                <c:pt idx="30514">
                  <c:v>-4.20168067226889E-3</c:v>
                </c:pt>
                <c:pt idx="30515">
                  <c:v>-4.20168067226889E-3</c:v>
                </c:pt>
                <c:pt idx="30516">
                  <c:v>-4.20168067226889E-3</c:v>
                </c:pt>
                <c:pt idx="30517">
                  <c:v>-4.20168067226889E-3</c:v>
                </c:pt>
                <c:pt idx="30518">
                  <c:v>-4.20168067226889E-3</c:v>
                </c:pt>
                <c:pt idx="30519">
                  <c:v>-4.20168067226889E-3</c:v>
                </c:pt>
                <c:pt idx="30520">
                  <c:v>-4.20168067226889E-3</c:v>
                </c:pt>
                <c:pt idx="30521">
                  <c:v>-4.20168067226889E-3</c:v>
                </c:pt>
                <c:pt idx="30522">
                  <c:v>-4.20168067226889E-3</c:v>
                </c:pt>
                <c:pt idx="30523">
                  <c:v>-4.20168067226889E-3</c:v>
                </c:pt>
                <c:pt idx="30524">
                  <c:v>-4.20168067226889E-3</c:v>
                </c:pt>
                <c:pt idx="30525">
                  <c:v>-4.20168067226889E-3</c:v>
                </c:pt>
                <c:pt idx="30526">
                  <c:v>-5.0420168067226703E-3</c:v>
                </c:pt>
                <c:pt idx="30527">
                  <c:v>-5.0420168067226703E-3</c:v>
                </c:pt>
                <c:pt idx="30528">
                  <c:v>-5.0420168067226703E-3</c:v>
                </c:pt>
                <c:pt idx="30529">
                  <c:v>-5.0420168067226703E-3</c:v>
                </c:pt>
                <c:pt idx="30530">
                  <c:v>-5.0420168067226703E-3</c:v>
                </c:pt>
                <c:pt idx="30531">
                  <c:v>-5.0420168067226703E-3</c:v>
                </c:pt>
                <c:pt idx="30532">
                  <c:v>-5.0420168067226703E-3</c:v>
                </c:pt>
                <c:pt idx="30533">
                  <c:v>-5.0420168067226703E-3</c:v>
                </c:pt>
                <c:pt idx="30534">
                  <c:v>-5.0420168067226703E-3</c:v>
                </c:pt>
                <c:pt idx="30535">
                  <c:v>-5.0420168067226703E-3</c:v>
                </c:pt>
                <c:pt idx="30536">
                  <c:v>-5.0420168067226703E-3</c:v>
                </c:pt>
                <c:pt idx="30537">
                  <c:v>-5.0420168067226703E-3</c:v>
                </c:pt>
                <c:pt idx="30538">
                  <c:v>-5.0420168067226703E-3</c:v>
                </c:pt>
                <c:pt idx="30539">
                  <c:v>-5.0420168067226703E-3</c:v>
                </c:pt>
                <c:pt idx="30540">
                  <c:v>-5.0420168067226703E-3</c:v>
                </c:pt>
                <c:pt idx="30541">
                  <c:v>-5.0420168067226703E-3</c:v>
                </c:pt>
                <c:pt idx="30542">
                  <c:v>-5.0420168067226703E-3</c:v>
                </c:pt>
                <c:pt idx="30543">
                  <c:v>-5.0420168067226703E-3</c:v>
                </c:pt>
                <c:pt idx="30544">
                  <c:v>-5.0420168067226703E-3</c:v>
                </c:pt>
                <c:pt idx="30545">
                  <c:v>-5.0420168067226703E-3</c:v>
                </c:pt>
                <c:pt idx="30546">
                  <c:v>-5.0420168067226703E-3</c:v>
                </c:pt>
                <c:pt idx="30547">
                  <c:v>-5.0420168067226703E-3</c:v>
                </c:pt>
                <c:pt idx="30548">
                  <c:v>-5.0420168067226703E-3</c:v>
                </c:pt>
                <c:pt idx="30549">
                  <c:v>-5.0420168067226703E-3</c:v>
                </c:pt>
                <c:pt idx="30550">
                  <c:v>-5.0420168067226703E-3</c:v>
                </c:pt>
                <c:pt idx="30551">
                  <c:v>-5.0420168067226703E-3</c:v>
                </c:pt>
                <c:pt idx="30552">
                  <c:v>-5.0420168067226703E-3</c:v>
                </c:pt>
                <c:pt idx="30553">
                  <c:v>-5.0420168067226703E-3</c:v>
                </c:pt>
                <c:pt idx="30554">
                  <c:v>-5.8823529411764497E-3</c:v>
                </c:pt>
                <c:pt idx="30555">
                  <c:v>-5.8823529411764497E-3</c:v>
                </c:pt>
                <c:pt idx="30556">
                  <c:v>-5.8823529411764497E-3</c:v>
                </c:pt>
                <c:pt idx="30557">
                  <c:v>-5.8823529411764497E-3</c:v>
                </c:pt>
                <c:pt idx="30558">
                  <c:v>-5.8823529411764497E-3</c:v>
                </c:pt>
                <c:pt idx="30559">
                  <c:v>-5.8823529411764497E-3</c:v>
                </c:pt>
                <c:pt idx="30560">
                  <c:v>-5.8823529411764497E-3</c:v>
                </c:pt>
                <c:pt idx="30561">
                  <c:v>-5.8823529411764497E-3</c:v>
                </c:pt>
                <c:pt idx="30562">
                  <c:v>-5.8823529411764497E-3</c:v>
                </c:pt>
                <c:pt idx="30563">
                  <c:v>-5.8823529411764497E-3</c:v>
                </c:pt>
                <c:pt idx="30564">
                  <c:v>-5.8823529411764497E-3</c:v>
                </c:pt>
                <c:pt idx="30565">
                  <c:v>-5.8823529411764497E-3</c:v>
                </c:pt>
                <c:pt idx="30566">
                  <c:v>-5.8823529411764497E-3</c:v>
                </c:pt>
                <c:pt idx="30567">
                  <c:v>-5.8823529411764497E-3</c:v>
                </c:pt>
                <c:pt idx="30568">
                  <c:v>-5.8823529411764497E-3</c:v>
                </c:pt>
                <c:pt idx="30569">
                  <c:v>-5.8823529411764497E-3</c:v>
                </c:pt>
                <c:pt idx="30570">
                  <c:v>-5.8823529411764497E-3</c:v>
                </c:pt>
                <c:pt idx="30571">
                  <c:v>-5.8823529411764497E-3</c:v>
                </c:pt>
                <c:pt idx="30572">
                  <c:v>-5.8823529411764497E-3</c:v>
                </c:pt>
                <c:pt idx="30573">
                  <c:v>-5.8823529411764497E-3</c:v>
                </c:pt>
                <c:pt idx="30574">
                  <c:v>-5.8823529411764497E-3</c:v>
                </c:pt>
                <c:pt idx="30575">
                  <c:v>-5.8823529411764497E-3</c:v>
                </c:pt>
                <c:pt idx="30576">
                  <c:v>-5.8823529411764497E-3</c:v>
                </c:pt>
                <c:pt idx="30577">
                  <c:v>-5.8823529411764497E-3</c:v>
                </c:pt>
                <c:pt idx="30578">
                  <c:v>-5.8823529411764497E-3</c:v>
                </c:pt>
                <c:pt idx="30579">
                  <c:v>-5.8823529411764497E-3</c:v>
                </c:pt>
                <c:pt idx="30580">
                  <c:v>-5.8823529411764497E-3</c:v>
                </c:pt>
                <c:pt idx="30581">
                  <c:v>-5.8823529411764497E-3</c:v>
                </c:pt>
                <c:pt idx="30582">
                  <c:v>-5.8823529411764497E-3</c:v>
                </c:pt>
                <c:pt idx="30583">
                  <c:v>-5.8823529411764497E-3</c:v>
                </c:pt>
                <c:pt idx="30584">
                  <c:v>-5.8823529411764497E-3</c:v>
                </c:pt>
                <c:pt idx="30585">
                  <c:v>-5.8823529411764497E-3</c:v>
                </c:pt>
                <c:pt idx="30586">
                  <c:v>-5.8823529411764497E-3</c:v>
                </c:pt>
                <c:pt idx="30587">
                  <c:v>-5.8823529411764497E-3</c:v>
                </c:pt>
                <c:pt idx="30588">
                  <c:v>-5.8823529411764497E-3</c:v>
                </c:pt>
                <c:pt idx="30589">
                  <c:v>-5.8823529411764497E-3</c:v>
                </c:pt>
                <c:pt idx="30590">
                  <c:v>-5.8823529411764497E-3</c:v>
                </c:pt>
                <c:pt idx="30591">
                  <c:v>-5.8823529411764497E-3</c:v>
                </c:pt>
                <c:pt idx="30592">
                  <c:v>-5.8823529411764497E-3</c:v>
                </c:pt>
                <c:pt idx="30593">
                  <c:v>-5.8823529411764497E-3</c:v>
                </c:pt>
                <c:pt idx="30594">
                  <c:v>-5.8823529411764497E-3</c:v>
                </c:pt>
                <c:pt idx="30595">
                  <c:v>-5.8823529411764497E-3</c:v>
                </c:pt>
                <c:pt idx="30596">
                  <c:v>-5.8823529411764497E-3</c:v>
                </c:pt>
                <c:pt idx="30597">
                  <c:v>-5.8823529411764497E-3</c:v>
                </c:pt>
                <c:pt idx="30598">
                  <c:v>-5.8823529411764497E-3</c:v>
                </c:pt>
                <c:pt idx="30599">
                  <c:v>-5.8823529411764497E-3</c:v>
                </c:pt>
                <c:pt idx="30600">
                  <c:v>-5.8823529411764497E-3</c:v>
                </c:pt>
                <c:pt idx="30601">
                  <c:v>-5.8823529411764497E-3</c:v>
                </c:pt>
                <c:pt idx="30602">
                  <c:v>-5.8823529411764497E-3</c:v>
                </c:pt>
                <c:pt idx="30603">
                  <c:v>-5.8823529411764497E-3</c:v>
                </c:pt>
                <c:pt idx="30604">
                  <c:v>-5.8823529411764497E-3</c:v>
                </c:pt>
                <c:pt idx="30605">
                  <c:v>-5.0420168067226703E-3</c:v>
                </c:pt>
                <c:pt idx="30606">
                  <c:v>-5.0420168067226703E-3</c:v>
                </c:pt>
                <c:pt idx="30607">
                  <c:v>-5.0420168067226703E-3</c:v>
                </c:pt>
                <c:pt idx="30608">
                  <c:v>-5.0420168067226703E-3</c:v>
                </c:pt>
                <c:pt idx="30609">
                  <c:v>-5.0420168067226703E-3</c:v>
                </c:pt>
                <c:pt idx="30610">
                  <c:v>-5.0420168067226703E-3</c:v>
                </c:pt>
                <c:pt idx="30611">
                  <c:v>-5.0420168067226703E-3</c:v>
                </c:pt>
                <c:pt idx="30612">
                  <c:v>-5.0420168067226703E-3</c:v>
                </c:pt>
                <c:pt idx="30613">
                  <c:v>-5.0420168067226703E-3</c:v>
                </c:pt>
                <c:pt idx="30614">
                  <c:v>-5.0420168067226703E-3</c:v>
                </c:pt>
                <c:pt idx="30615">
                  <c:v>-5.0420168067226703E-3</c:v>
                </c:pt>
                <c:pt idx="30616">
                  <c:v>-5.0420168067226703E-3</c:v>
                </c:pt>
                <c:pt idx="30617">
                  <c:v>-5.0420168067226703E-3</c:v>
                </c:pt>
                <c:pt idx="30618">
                  <c:v>-5.0420168067226703E-3</c:v>
                </c:pt>
                <c:pt idx="30619">
                  <c:v>-5.0420168067226703E-3</c:v>
                </c:pt>
                <c:pt idx="30620">
                  <c:v>-5.0420168067226703E-3</c:v>
                </c:pt>
                <c:pt idx="30621">
                  <c:v>-5.0420168067226703E-3</c:v>
                </c:pt>
                <c:pt idx="30622">
                  <c:v>-5.0420168067226703E-3</c:v>
                </c:pt>
                <c:pt idx="30623">
                  <c:v>-5.0420168067226703E-3</c:v>
                </c:pt>
                <c:pt idx="30624">
                  <c:v>-5.0420168067226703E-3</c:v>
                </c:pt>
                <c:pt idx="30625">
                  <c:v>-5.0420168067226703E-3</c:v>
                </c:pt>
                <c:pt idx="30626">
                  <c:v>-5.0420168067226703E-3</c:v>
                </c:pt>
                <c:pt idx="30627">
                  <c:v>-5.0420168067226703E-3</c:v>
                </c:pt>
                <c:pt idx="30628">
                  <c:v>-5.0420168067226703E-3</c:v>
                </c:pt>
                <c:pt idx="30629">
                  <c:v>-5.0420168067226703E-3</c:v>
                </c:pt>
                <c:pt idx="30630">
                  <c:v>-5.0420168067226703E-3</c:v>
                </c:pt>
                <c:pt idx="30631">
                  <c:v>-5.0420168067226703E-3</c:v>
                </c:pt>
                <c:pt idx="30632">
                  <c:v>-5.0420168067226703E-3</c:v>
                </c:pt>
                <c:pt idx="30633">
                  <c:v>-5.0420168067226703E-3</c:v>
                </c:pt>
                <c:pt idx="30634">
                  <c:v>-5.0420168067226703E-3</c:v>
                </c:pt>
                <c:pt idx="30635">
                  <c:v>-5.0420168067226703E-3</c:v>
                </c:pt>
                <c:pt idx="30636">
                  <c:v>-5.0420168067226703E-3</c:v>
                </c:pt>
                <c:pt idx="30637">
                  <c:v>-5.0420168067226703E-3</c:v>
                </c:pt>
                <c:pt idx="30638">
                  <c:v>-5.0420168067226703E-3</c:v>
                </c:pt>
                <c:pt idx="30639">
                  <c:v>-5.0420168067226703E-3</c:v>
                </c:pt>
                <c:pt idx="30640">
                  <c:v>-5.0420168067226703E-3</c:v>
                </c:pt>
                <c:pt idx="30641">
                  <c:v>-5.0420168067226703E-3</c:v>
                </c:pt>
                <c:pt idx="30642">
                  <c:v>-5.0420168067226703E-3</c:v>
                </c:pt>
                <c:pt idx="30643">
                  <c:v>-5.0420168067226703E-3</c:v>
                </c:pt>
                <c:pt idx="30644">
                  <c:v>-5.0420168067226703E-3</c:v>
                </c:pt>
                <c:pt idx="30645">
                  <c:v>-5.0420168067226703E-3</c:v>
                </c:pt>
                <c:pt idx="30646">
                  <c:v>-5.0420168067226703E-3</c:v>
                </c:pt>
                <c:pt idx="30647">
                  <c:v>-5.0420168067226703E-3</c:v>
                </c:pt>
                <c:pt idx="30648">
                  <c:v>-5.0420168067226703E-3</c:v>
                </c:pt>
                <c:pt idx="30649">
                  <c:v>-5.0420168067226703E-3</c:v>
                </c:pt>
                <c:pt idx="30650">
                  <c:v>-5.0420168067226703E-3</c:v>
                </c:pt>
                <c:pt idx="30651">
                  <c:v>-5.0420168067226703E-3</c:v>
                </c:pt>
                <c:pt idx="30652">
                  <c:v>-5.0420168067226703E-3</c:v>
                </c:pt>
                <c:pt idx="30653">
                  <c:v>-5.0420168067226703E-3</c:v>
                </c:pt>
                <c:pt idx="30654">
                  <c:v>-5.0420168067226703E-3</c:v>
                </c:pt>
                <c:pt idx="30655">
                  <c:v>-5.0420168067226703E-3</c:v>
                </c:pt>
                <c:pt idx="30656">
                  <c:v>-5.0420168067226703E-3</c:v>
                </c:pt>
                <c:pt idx="30657">
                  <c:v>-5.0420168067226703E-3</c:v>
                </c:pt>
                <c:pt idx="30658">
                  <c:v>-5.0420168067226703E-3</c:v>
                </c:pt>
                <c:pt idx="30659">
                  <c:v>-5.0420168067226703E-3</c:v>
                </c:pt>
                <c:pt idx="30660">
                  <c:v>-5.0420168067226703E-3</c:v>
                </c:pt>
                <c:pt idx="30661">
                  <c:v>-5.0420168067226703E-3</c:v>
                </c:pt>
                <c:pt idx="30662">
                  <c:v>-5.0420168067226703E-3</c:v>
                </c:pt>
                <c:pt idx="30663">
                  <c:v>-5.0420168067226703E-3</c:v>
                </c:pt>
                <c:pt idx="30664">
                  <c:v>-5.0420168067226703E-3</c:v>
                </c:pt>
                <c:pt idx="30665">
                  <c:v>-5.0420168067226703E-3</c:v>
                </c:pt>
                <c:pt idx="30666">
                  <c:v>-5.0420168067226703E-3</c:v>
                </c:pt>
                <c:pt idx="30667">
                  <c:v>-5.0420168067226703E-3</c:v>
                </c:pt>
                <c:pt idx="30668">
                  <c:v>-5.0420168067226703E-3</c:v>
                </c:pt>
                <c:pt idx="30669">
                  <c:v>-5.0420168067226703E-3</c:v>
                </c:pt>
                <c:pt idx="30670">
                  <c:v>-5.0420168067226703E-3</c:v>
                </c:pt>
                <c:pt idx="30671">
                  <c:v>-5.0420168067226703E-3</c:v>
                </c:pt>
                <c:pt idx="30672">
                  <c:v>-5.0420168067226703E-3</c:v>
                </c:pt>
                <c:pt idx="30673">
                  <c:v>-5.0420168067226703E-3</c:v>
                </c:pt>
                <c:pt idx="30674">
                  <c:v>-4.20168067226889E-3</c:v>
                </c:pt>
                <c:pt idx="30675">
                  <c:v>-4.20168067226889E-3</c:v>
                </c:pt>
                <c:pt idx="30676">
                  <c:v>-4.20168067226889E-3</c:v>
                </c:pt>
                <c:pt idx="30677">
                  <c:v>-4.20168067226889E-3</c:v>
                </c:pt>
                <c:pt idx="30678">
                  <c:v>-4.20168067226889E-3</c:v>
                </c:pt>
                <c:pt idx="30679">
                  <c:v>-4.20168067226889E-3</c:v>
                </c:pt>
                <c:pt idx="30680">
                  <c:v>-4.20168067226889E-3</c:v>
                </c:pt>
                <c:pt idx="30681">
                  <c:v>-4.20168067226889E-3</c:v>
                </c:pt>
                <c:pt idx="30682">
                  <c:v>-5.0420168067226703E-3</c:v>
                </c:pt>
                <c:pt idx="30683">
                  <c:v>-5.0420168067226703E-3</c:v>
                </c:pt>
                <c:pt idx="30684">
                  <c:v>-4.20168067226889E-3</c:v>
                </c:pt>
                <c:pt idx="30685">
                  <c:v>-4.20168067226889E-3</c:v>
                </c:pt>
                <c:pt idx="30686">
                  <c:v>-4.20168067226889E-3</c:v>
                </c:pt>
                <c:pt idx="30687">
                  <c:v>-4.20168067226889E-3</c:v>
                </c:pt>
                <c:pt idx="30688">
                  <c:v>-4.20168067226889E-3</c:v>
                </c:pt>
                <c:pt idx="30689">
                  <c:v>-4.20168067226889E-3</c:v>
                </c:pt>
                <c:pt idx="30690">
                  <c:v>-4.20168067226889E-3</c:v>
                </c:pt>
                <c:pt idx="30691">
                  <c:v>-4.20168067226889E-3</c:v>
                </c:pt>
                <c:pt idx="30692">
                  <c:v>-4.20168067226889E-3</c:v>
                </c:pt>
                <c:pt idx="30693">
                  <c:v>-4.20168067226889E-3</c:v>
                </c:pt>
                <c:pt idx="30694">
                  <c:v>-4.20168067226889E-3</c:v>
                </c:pt>
                <c:pt idx="30695">
                  <c:v>-4.20168067226889E-3</c:v>
                </c:pt>
                <c:pt idx="30696">
                  <c:v>-4.20168067226889E-3</c:v>
                </c:pt>
                <c:pt idx="30697">
                  <c:v>-4.20168067226889E-3</c:v>
                </c:pt>
                <c:pt idx="30698">
                  <c:v>-4.20168067226889E-3</c:v>
                </c:pt>
                <c:pt idx="30699">
                  <c:v>-4.20168067226889E-3</c:v>
                </c:pt>
                <c:pt idx="30700">
                  <c:v>-4.20168067226889E-3</c:v>
                </c:pt>
                <c:pt idx="30701">
                  <c:v>-4.20168067226889E-3</c:v>
                </c:pt>
                <c:pt idx="30702">
                  <c:v>-4.20168067226889E-3</c:v>
                </c:pt>
                <c:pt idx="30703">
                  <c:v>-4.20168067226889E-3</c:v>
                </c:pt>
                <c:pt idx="30704">
                  <c:v>-4.20168067226889E-3</c:v>
                </c:pt>
                <c:pt idx="30705">
                  <c:v>-4.20168067226889E-3</c:v>
                </c:pt>
                <c:pt idx="30706">
                  <c:v>-4.20168067226889E-3</c:v>
                </c:pt>
                <c:pt idx="30707">
                  <c:v>-4.20168067226889E-3</c:v>
                </c:pt>
                <c:pt idx="30708">
                  <c:v>-4.20168067226889E-3</c:v>
                </c:pt>
                <c:pt idx="30709">
                  <c:v>-4.20168067226889E-3</c:v>
                </c:pt>
                <c:pt idx="30710">
                  <c:v>-4.20168067226889E-3</c:v>
                </c:pt>
                <c:pt idx="30711">
                  <c:v>-4.20168067226889E-3</c:v>
                </c:pt>
                <c:pt idx="30712">
                  <c:v>-4.20168067226889E-3</c:v>
                </c:pt>
                <c:pt idx="30713">
                  <c:v>-4.20168067226889E-3</c:v>
                </c:pt>
                <c:pt idx="30714">
                  <c:v>-4.20168067226889E-3</c:v>
                </c:pt>
                <c:pt idx="30715">
                  <c:v>-4.20168067226889E-3</c:v>
                </c:pt>
                <c:pt idx="30716">
                  <c:v>-4.20168067226889E-3</c:v>
                </c:pt>
                <c:pt idx="30717">
                  <c:v>-4.20168067226889E-3</c:v>
                </c:pt>
                <c:pt idx="30718">
                  <c:v>-4.20168067226889E-3</c:v>
                </c:pt>
                <c:pt idx="30719">
                  <c:v>-4.20168067226889E-3</c:v>
                </c:pt>
                <c:pt idx="30720">
                  <c:v>-4.20168067226889E-3</c:v>
                </c:pt>
                <c:pt idx="30721">
                  <c:v>-4.20168067226889E-3</c:v>
                </c:pt>
                <c:pt idx="30722">
                  <c:v>-4.20168067226889E-3</c:v>
                </c:pt>
                <c:pt idx="30723">
                  <c:v>-4.20168067226889E-3</c:v>
                </c:pt>
                <c:pt idx="30724">
                  <c:v>-4.20168067226889E-3</c:v>
                </c:pt>
                <c:pt idx="30725">
                  <c:v>-4.20168067226889E-3</c:v>
                </c:pt>
                <c:pt idx="30726">
                  <c:v>-4.20168067226889E-3</c:v>
                </c:pt>
                <c:pt idx="30727">
                  <c:v>-4.20168067226889E-3</c:v>
                </c:pt>
                <c:pt idx="30728">
                  <c:v>-4.20168067226889E-3</c:v>
                </c:pt>
                <c:pt idx="30729">
                  <c:v>-4.20168067226889E-3</c:v>
                </c:pt>
                <c:pt idx="30730">
                  <c:v>-4.20168067226889E-3</c:v>
                </c:pt>
                <c:pt idx="30731">
                  <c:v>-4.20168067226889E-3</c:v>
                </c:pt>
                <c:pt idx="30732">
                  <c:v>-4.20168067226889E-3</c:v>
                </c:pt>
                <c:pt idx="30733">
                  <c:v>-4.20168067226889E-3</c:v>
                </c:pt>
                <c:pt idx="30734">
                  <c:v>-4.20168067226889E-3</c:v>
                </c:pt>
                <c:pt idx="30735">
                  <c:v>-4.20168067226889E-3</c:v>
                </c:pt>
                <c:pt idx="30736">
                  <c:v>-4.20168067226889E-3</c:v>
                </c:pt>
                <c:pt idx="30737">
                  <c:v>-4.20168067226889E-3</c:v>
                </c:pt>
                <c:pt idx="30738">
                  <c:v>-4.20168067226889E-3</c:v>
                </c:pt>
                <c:pt idx="30739">
                  <c:v>-4.20168067226889E-3</c:v>
                </c:pt>
                <c:pt idx="30740">
                  <c:v>-4.20168067226889E-3</c:v>
                </c:pt>
                <c:pt idx="30741">
                  <c:v>-4.20168067226889E-3</c:v>
                </c:pt>
                <c:pt idx="30742">
                  <c:v>-4.20168067226889E-3</c:v>
                </c:pt>
                <c:pt idx="30743">
                  <c:v>-4.20168067226889E-3</c:v>
                </c:pt>
                <c:pt idx="30744">
                  <c:v>-4.20168067226889E-3</c:v>
                </c:pt>
                <c:pt idx="30745">
                  <c:v>-4.20168067226889E-3</c:v>
                </c:pt>
                <c:pt idx="30746">
                  <c:v>-4.20168067226889E-3</c:v>
                </c:pt>
                <c:pt idx="30747">
                  <c:v>-4.20168067226889E-3</c:v>
                </c:pt>
                <c:pt idx="30748">
                  <c:v>-4.20168067226889E-3</c:v>
                </c:pt>
                <c:pt idx="30749">
                  <c:v>-4.20168067226889E-3</c:v>
                </c:pt>
                <c:pt idx="30750">
                  <c:v>-4.20168067226889E-3</c:v>
                </c:pt>
                <c:pt idx="30751">
                  <c:v>-3.3613445378151102E-3</c:v>
                </c:pt>
                <c:pt idx="30752">
                  <c:v>-3.3613445378151102E-3</c:v>
                </c:pt>
                <c:pt idx="30753">
                  <c:v>-3.3613445378151102E-3</c:v>
                </c:pt>
                <c:pt idx="30754">
                  <c:v>-3.3613445378151102E-3</c:v>
                </c:pt>
                <c:pt idx="30755">
                  <c:v>-3.3613445378151102E-3</c:v>
                </c:pt>
                <c:pt idx="30756">
                  <c:v>-4.20168067226889E-3</c:v>
                </c:pt>
                <c:pt idx="30757">
                  <c:v>-4.20168067226889E-3</c:v>
                </c:pt>
                <c:pt idx="30758">
                  <c:v>-4.20168067226889E-3</c:v>
                </c:pt>
                <c:pt idx="30759">
                  <c:v>-4.20168067226889E-3</c:v>
                </c:pt>
                <c:pt idx="30760">
                  <c:v>-4.20168067226889E-3</c:v>
                </c:pt>
                <c:pt idx="30761">
                  <c:v>-4.20168067226889E-3</c:v>
                </c:pt>
                <c:pt idx="30762">
                  <c:v>-4.20168067226889E-3</c:v>
                </c:pt>
                <c:pt idx="30763">
                  <c:v>-4.20168067226889E-3</c:v>
                </c:pt>
                <c:pt idx="30764">
                  <c:v>-4.20168067226889E-3</c:v>
                </c:pt>
                <c:pt idx="30765">
                  <c:v>-4.20168067226889E-3</c:v>
                </c:pt>
                <c:pt idx="30766">
                  <c:v>-5.0420168067226703E-3</c:v>
                </c:pt>
                <c:pt idx="30767">
                  <c:v>-5.0420168067226703E-3</c:v>
                </c:pt>
                <c:pt idx="30768">
                  <c:v>-5.0420168067226703E-3</c:v>
                </c:pt>
                <c:pt idx="30769">
                  <c:v>-5.0420168067226703E-3</c:v>
                </c:pt>
                <c:pt idx="30770">
                  <c:v>-5.0420168067226703E-3</c:v>
                </c:pt>
                <c:pt idx="30771">
                  <c:v>-5.0420168067226703E-3</c:v>
                </c:pt>
                <c:pt idx="30772">
                  <c:v>-5.0420168067226703E-3</c:v>
                </c:pt>
                <c:pt idx="30773">
                  <c:v>-5.0420168067226703E-3</c:v>
                </c:pt>
                <c:pt idx="30774">
                  <c:v>-5.0420168067226703E-3</c:v>
                </c:pt>
                <c:pt idx="30775">
                  <c:v>-5.0420168067226703E-3</c:v>
                </c:pt>
                <c:pt idx="30776">
                  <c:v>-5.0420168067226703E-3</c:v>
                </c:pt>
                <c:pt idx="30777">
                  <c:v>-5.0420168067226703E-3</c:v>
                </c:pt>
                <c:pt idx="30778">
                  <c:v>-5.0420168067226703E-3</c:v>
                </c:pt>
                <c:pt idx="30779">
                  <c:v>-5.0420168067226703E-3</c:v>
                </c:pt>
                <c:pt idx="30780">
                  <c:v>-5.0420168067226703E-3</c:v>
                </c:pt>
                <c:pt idx="30781">
                  <c:v>-5.0420168067226703E-3</c:v>
                </c:pt>
                <c:pt idx="30782">
                  <c:v>-5.0420168067226703E-3</c:v>
                </c:pt>
                <c:pt idx="30783">
                  <c:v>-5.0420168067226703E-3</c:v>
                </c:pt>
                <c:pt idx="30784">
                  <c:v>-5.0420168067226703E-3</c:v>
                </c:pt>
                <c:pt idx="30785">
                  <c:v>-5.0420168067226703E-3</c:v>
                </c:pt>
                <c:pt idx="30786">
                  <c:v>-5.0420168067226703E-3</c:v>
                </c:pt>
                <c:pt idx="30787">
                  <c:v>-5.0420168067226703E-3</c:v>
                </c:pt>
                <c:pt idx="30788">
                  <c:v>-4.20168067226889E-3</c:v>
                </c:pt>
                <c:pt idx="30789">
                  <c:v>-4.20168067226889E-3</c:v>
                </c:pt>
                <c:pt idx="30790">
                  <c:v>-4.20168067226889E-3</c:v>
                </c:pt>
                <c:pt idx="30791">
                  <c:v>-4.20168067226889E-3</c:v>
                </c:pt>
                <c:pt idx="30792">
                  <c:v>-4.20168067226889E-3</c:v>
                </c:pt>
                <c:pt idx="30793">
                  <c:v>-4.20168067226889E-3</c:v>
                </c:pt>
                <c:pt idx="30794">
                  <c:v>-4.20168067226889E-3</c:v>
                </c:pt>
                <c:pt idx="30795">
                  <c:v>-4.20168067226889E-3</c:v>
                </c:pt>
                <c:pt idx="30796">
                  <c:v>-4.20168067226889E-3</c:v>
                </c:pt>
                <c:pt idx="30797">
                  <c:v>-4.20168067226889E-3</c:v>
                </c:pt>
                <c:pt idx="30798">
                  <c:v>-4.20168067226889E-3</c:v>
                </c:pt>
                <c:pt idx="30799">
                  <c:v>-4.20168067226889E-3</c:v>
                </c:pt>
                <c:pt idx="30800">
                  <c:v>-4.20168067226889E-3</c:v>
                </c:pt>
                <c:pt idx="30801">
                  <c:v>-4.20168067226889E-3</c:v>
                </c:pt>
                <c:pt idx="30802">
                  <c:v>-4.20168067226889E-3</c:v>
                </c:pt>
                <c:pt idx="30803">
                  <c:v>-4.20168067226889E-3</c:v>
                </c:pt>
                <c:pt idx="30804">
                  <c:v>-4.20168067226889E-3</c:v>
                </c:pt>
                <c:pt idx="30805">
                  <c:v>-4.20168067226889E-3</c:v>
                </c:pt>
                <c:pt idx="30806">
                  <c:v>-4.20168067226889E-3</c:v>
                </c:pt>
                <c:pt idx="30807">
                  <c:v>-3.3613445378151102E-3</c:v>
                </c:pt>
                <c:pt idx="30808">
                  <c:v>-3.3613445378151102E-3</c:v>
                </c:pt>
                <c:pt idx="30809">
                  <c:v>-3.3613445378151102E-3</c:v>
                </c:pt>
                <c:pt idx="30810">
                  <c:v>-3.3613445378151102E-3</c:v>
                </c:pt>
                <c:pt idx="30811">
                  <c:v>-4.20168067226889E-3</c:v>
                </c:pt>
                <c:pt idx="30812">
                  <c:v>-4.20168067226889E-3</c:v>
                </c:pt>
                <c:pt idx="30813">
                  <c:v>-4.20168067226889E-3</c:v>
                </c:pt>
                <c:pt idx="30814">
                  <c:v>-4.20168067226889E-3</c:v>
                </c:pt>
                <c:pt idx="30815">
                  <c:v>-4.20168067226889E-3</c:v>
                </c:pt>
                <c:pt idx="30816">
                  <c:v>-4.20168067226889E-3</c:v>
                </c:pt>
                <c:pt idx="30817">
                  <c:v>-4.20168067226889E-3</c:v>
                </c:pt>
                <c:pt idx="30818">
                  <c:v>-4.20168067226889E-3</c:v>
                </c:pt>
                <c:pt idx="30819">
                  <c:v>-4.20168067226889E-3</c:v>
                </c:pt>
                <c:pt idx="30820">
                  <c:v>-4.20168067226889E-3</c:v>
                </c:pt>
                <c:pt idx="30821">
                  <c:v>-4.20168067226889E-3</c:v>
                </c:pt>
                <c:pt idx="30822">
                  <c:v>-4.20168067226889E-3</c:v>
                </c:pt>
                <c:pt idx="30823">
                  <c:v>-4.20168067226889E-3</c:v>
                </c:pt>
                <c:pt idx="30824">
                  <c:v>-4.20168067226889E-3</c:v>
                </c:pt>
                <c:pt idx="30825">
                  <c:v>-4.20168067226889E-3</c:v>
                </c:pt>
                <c:pt idx="30826">
                  <c:v>-4.20168067226889E-3</c:v>
                </c:pt>
                <c:pt idx="30827">
                  <c:v>-4.20168067226889E-3</c:v>
                </c:pt>
                <c:pt idx="30828">
                  <c:v>-4.20168067226889E-3</c:v>
                </c:pt>
                <c:pt idx="30829">
                  <c:v>-4.20168067226889E-3</c:v>
                </c:pt>
                <c:pt idx="30830">
                  <c:v>-4.20168067226889E-3</c:v>
                </c:pt>
                <c:pt idx="30831">
                  <c:v>-4.20168067226889E-3</c:v>
                </c:pt>
                <c:pt idx="30832">
                  <c:v>-4.20168067226889E-3</c:v>
                </c:pt>
                <c:pt idx="30833">
                  <c:v>-4.20168067226889E-3</c:v>
                </c:pt>
                <c:pt idx="30834">
                  <c:v>-4.20168067226889E-3</c:v>
                </c:pt>
                <c:pt idx="30835">
                  <c:v>-4.20168067226889E-3</c:v>
                </c:pt>
                <c:pt idx="30836">
                  <c:v>-4.20168067226889E-3</c:v>
                </c:pt>
                <c:pt idx="30837">
                  <c:v>-4.20168067226889E-3</c:v>
                </c:pt>
                <c:pt idx="30838">
                  <c:v>-4.20168067226889E-3</c:v>
                </c:pt>
                <c:pt idx="30839">
                  <c:v>-4.20168067226889E-3</c:v>
                </c:pt>
                <c:pt idx="30840">
                  <c:v>-4.20168067226889E-3</c:v>
                </c:pt>
                <c:pt idx="30841">
                  <c:v>-4.20168067226889E-3</c:v>
                </c:pt>
                <c:pt idx="30842">
                  <c:v>-4.20168067226889E-3</c:v>
                </c:pt>
                <c:pt idx="30843">
                  <c:v>-4.20168067226889E-3</c:v>
                </c:pt>
                <c:pt idx="30844">
                  <c:v>-4.20168067226889E-3</c:v>
                </c:pt>
                <c:pt idx="30845">
                  <c:v>-4.20168067226889E-3</c:v>
                </c:pt>
                <c:pt idx="30846">
                  <c:v>-4.20168067226889E-3</c:v>
                </c:pt>
                <c:pt idx="30847">
                  <c:v>-4.20168067226889E-3</c:v>
                </c:pt>
                <c:pt idx="30848">
                  <c:v>-4.20168067226889E-3</c:v>
                </c:pt>
                <c:pt idx="30849">
                  <c:v>-4.20168067226889E-3</c:v>
                </c:pt>
                <c:pt idx="30850">
                  <c:v>-4.20168067226889E-3</c:v>
                </c:pt>
                <c:pt idx="30851">
                  <c:v>-5.0420168067226703E-3</c:v>
                </c:pt>
                <c:pt idx="30852">
                  <c:v>-5.0420168067226703E-3</c:v>
                </c:pt>
                <c:pt idx="30853">
                  <c:v>-5.0420168067226703E-3</c:v>
                </c:pt>
                <c:pt idx="30854">
                  <c:v>-5.0420168067226703E-3</c:v>
                </c:pt>
                <c:pt idx="30855">
                  <c:v>-5.0420168067226703E-3</c:v>
                </c:pt>
                <c:pt idx="30856">
                  <c:v>-5.8823529411764497E-3</c:v>
                </c:pt>
                <c:pt idx="30857">
                  <c:v>-5.8823529411764497E-3</c:v>
                </c:pt>
                <c:pt idx="30858">
                  <c:v>-5.8823529411764497E-3</c:v>
                </c:pt>
                <c:pt idx="30859">
                  <c:v>-5.8823529411764497E-3</c:v>
                </c:pt>
                <c:pt idx="30860">
                  <c:v>-5.8823529411764497E-3</c:v>
                </c:pt>
                <c:pt idx="30861">
                  <c:v>-5.8823529411764497E-3</c:v>
                </c:pt>
                <c:pt idx="30862">
                  <c:v>-5.8823529411764497E-3</c:v>
                </c:pt>
                <c:pt idx="30863">
                  <c:v>-5.8823529411764497E-3</c:v>
                </c:pt>
                <c:pt idx="30864">
                  <c:v>-5.8823529411764497E-3</c:v>
                </c:pt>
                <c:pt idx="30865">
                  <c:v>-5.8823529411764497E-3</c:v>
                </c:pt>
                <c:pt idx="30866">
                  <c:v>-5.8823529411764497E-3</c:v>
                </c:pt>
                <c:pt idx="30867">
                  <c:v>-5.8823529411764497E-3</c:v>
                </c:pt>
                <c:pt idx="30868">
                  <c:v>-5.8823529411764497E-3</c:v>
                </c:pt>
                <c:pt idx="30869">
                  <c:v>-5.8823529411764497E-3</c:v>
                </c:pt>
                <c:pt idx="30870">
                  <c:v>-5.8823529411764497E-3</c:v>
                </c:pt>
                <c:pt idx="30871">
                  <c:v>-5.8823529411764497E-3</c:v>
                </c:pt>
                <c:pt idx="30872">
                  <c:v>-5.8823529411764497E-3</c:v>
                </c:pt>
                <c:pt idx="30873">
                  <c:v>-5.8823529411764497E-3</c:v>
                </c:pt>
                <c:pt idx="30874">
                  <c:v>-5.8823529411764497E-3</c:v>
                </c:pt>
                <c:pt idx="30875">
                  <c:v>-5.8823529411764497E-3</c:v>
                </c:pt>
                <c:pt idx="30876">
                  <c:v>-5.8823529411764497E-3</c:v>
                </c:pt>
                <c:pt idx="30877">
                  <c:v>-5.8823529411764497E-3</c:v>
                </c:pt>
                <c:pt idx="30878">
                  <c:v>-5.8823529411764497E-3</c:v>
                </c:pt>
                <c:pt idx="30879">
                  <c:v>-5.8823529411764497E-3</c:v>
                </c:pt>
                <c:pt idx="30880">
                  <c:v>-5.8823529411764497E-3</c:v>
                </c:pt>
                <c:pt idx="30881">
                  <c:v>-5.8823529411764497E-3</c:v>
                </c:pt>
                <c:pt idx="30882">
                  <c:v>-5.8823529411764497E-3</c:v>
                </c:pt>
                <c:pt idx="30883">
                  <c:v>-5.8823529411764497E-3</c:v>
                </c:pt>
                <c:pt idx="30884">
                  <c:v>-5.8823529411764497E-3</c:v>
                </c:pt>
                <c:pt idx="30885">
                  <c:v>-5.8823529411764497E-3</c:v>
                </c:pt>
                <c:pt idx="30886">
                  <c:v>-5.8823529411764497E-3</c:v>
                </c:pt>
                <c:pt idx="30887">
                  <c:v>-5.8823529411764497E-3</c:v>
                </c:pt>
                <c:pt idx="30888">
                  <c:v>-5.8823529411764497E-3</c:v>
                </c:pt>
                <c:pt idx="30889">
                  <c:v>-5.8823529411764497E-3</c:v>
                </c:pt>
                <c:pt idx="30890">
                  <c:v>-5.8823529411764497E-3</c:v>
                </c:pt>
                <c:pt idx="30891">
                  <c:v>-5.8823529411764497E-3</c:v>
                </c:pt>
                <c:pt idx="30892">
                  <c:v>-5.8823529411764497E-3</c:v>
                </c:pt>
                <c:pt idx="30893">
                  <c:v>-6.7226890756302204E-3</c:v>
                </c:pt>
                <c:pt idx="30894">
                  <c:v>-6.7226890756302204E-3</c:v>
                </c:pt>
                <c:pt idx="30895">
                  <c:v>-6.7226890756302204E-3</c:v>
                </c:pt>
                <c:pt idx="30896">
                  <c:v>-6.7226890756302204E-3</c:v>
                </c:pt>
                <c:pt idx="30897">
                  <c:v>-6.7226890756302204E-3</c:v>
                </c:pt>
                <c:pt idx="30898">
                  <c:v>-6.7226890756302204E-3</c:v>
                </c:pt>
                <c:pt idx="30899">
                  <c:v>-6.7226890756302204E-3</c:v>
                </c:pt>
                <c:pt idx="30900">
                  <c:v>-6.7226890756302204E-3</c:v>
                </c:pt>
                <c:pt idx="30901">
                  <c:v>-6.7226890756302204E-3</c:v>
                </c:pt>
                <c:pt idx="30902">
                  <c:v>-6.7226890756302204E-3</c:v>
                </c:pt>
                <c:pt idx="30903">
                  <c:v>-6.7226890756302204E-3</c:v>
                </c:pt>
                <c:pt idx="30904">
                  <c:v>-6.7226890756302204E-3</c:v>
                </c:pt>
                <c:pt idx="30905">
                  <c:v>-6.7226890756302204E-3</c:v>
                </c:pt>
                <c:pt idx="30906">
                  <c:v>-6.7226890756302204E-3</c:v>
                </c:pt>
                <c:pt idx="30907">
                  <c:v>-6.7226890756302204E-3</c:v>
                </c:pt>
                <c:pt idx="30908">
                  <c:v>-6.7226890756302204E-3</c:v>
                </c:pt>
                <c:pt idx="30909">
                  <c:v>-6.7226890756302204E-3</c:v>
                </c:pt>
                <c:pt idx="30910">
                  <c:v>-6.7226890756302204E-3</c:v>
                </c:pt>
                <c:pt idx="30911">
                  <c:v>-6.7226890756302204E-3</c:v>
                </c:pt>
                <c:pt idx="30912">
                  <c:v>-6.7226890756302204E-3</c:v>
                </c:pt>
                <c:pt idx="30913">
                  <c:v>-6.7226890756302204E-3</c:v>
                </c:pt>
                <c:pt idx="30914">
                  <c:v>-6.7226890756302204E-3</c:v>
                </c:pt>
                <c:pt idx="30915">
                  <c:v>-6.7226890756302204E-3</c:v>
                </c:pt>
                <c:pt idx="30916">
                  <c:v>-6.7226890756302204E-3</c:v>
                </c:pt>
                <c:pt idx="30917">
                  <c:v>-6.7226890756302204E-3</c:v>
                </c:pt>
                <c:pt idx="30918">
                  <c:v>-6.7226890756302204E-3</c:v>
                </c:pt>
                <c:pt idx="30919">
                  <c:v>-6.7226890756302204E-3</c:v>
                </c:pt>
                <c:pt idx="30920">
                  <c:v>-6.7226890756302204E-3</c:v>
                </c:pt>
                <c:pt idx="30921">
                  <c:v>-6.7226890756302204E-3</c:v>
                </c:pt>
                <c:pt idx="30922">
                  <c:v>-6.7226890756302204E-3</c:v>
                </c:pt>
                <c:pt idx="30923">
                  <c:v>-6.7226890756302204E-3</c:v>
                </c:pt>
                <c:pt idx="30924">
                  <c:v>-6.7226890756302204E-3</c:v>
                </c:pt>
                <c:pt idx="30925">
                  <c:v>-6.7226890756302204E-3</c:v>
                </c:pt>
                <c:pt idx="30926">
                  <c:v>-6.7226890756302204E-3</c:v>
                </c:pt>
                <c:pt idx="30927">
                  <c:v>-5.8823529411764497E-3</c:v>
                </c:pt>
                <c:pt idx="30928">
                  <c:v>-5.8823529411764497E-3</c:v>
                </c:pt>
                <c:pt idx="30929">
                  <c:v>-5.8823529411764497E-3</c:v>
                </c:pt>
                <c:pt idx="30930">
                  <c:v>-5.8823529411764497E-3</c:v>
                </c:pt>
                <c:pt idx="30931">
                  <c:v>-5.8823529411764497E-3</c:v>
                </c:pt>
                <c:pt idx="30932">
                  <c:v>-5.8823529411764497E-3</c:v>
                </c:pt>
                <c:pt idx="30933">
                  <c:v>-5.8823529411764497E-3</c:v>
                </c:pt>
                <c:pt idx="30934">
                  <c:v>-5.8823529411764497E-3</c:v>
                </c:pt>
                <c:pt idx="30935">
                  <c:v>-5.8823529411764497E-3</c:v>
                </c:pt>
                <c:pt idx="30936">
                  <c:v>-5.8823529411764497E-3</c:v>
                </c:pt>
                <c:pt idx="30937">
                  <c:v>-5.8823529411764497E-3</c:v>
                </c:pt>
                <c:pt idx="30938">
                  <c:v>-5.8823529411764497E-3</c:v>
                </c:pt>
                <c:pt idx="30939">
                  <c:v>-5.8823529411764497E-3</c:v>
                </c:pt>
                <c:pt idx="30940">
                  <c:v>-5.8823529411764497E-3</c:v>
                </c:pt>
                <c:pt idx="30941">
                  <c:v>-5.8823529411764497E-3</c:v>
                </c:pt>
                <c:pt idx="30942">
                  <c:v>-6.7226890756302204E-3</c:v>
                </c:pt>
                <c:pt idx="30943">
                  <c:v>-6.7226890756302204E-3</c:v>
                </c:pt>
                <c:pt idx="30944">
                  <c:v>-6.7226890756302204E-3</c:v>
                </c:pt>
                <c:pt idx="30945">
                  <c:v>-6.7226890756302204E-3</c:v>
                </c:pt>
                <c:pt idx="30946">
                  <c:v>-6.7226890756302204E-3</c:v>
                </c:pt>
                <c:pt idx="30947">
                  <c:v>-6.7226890756302204E-3</c:v>
                </c:pt>
                <c:pt idx="30948">
                  <c:v>-6.7226890756302204E-3</c:v>
                </c:pt>
                <c:pt idx="30949">
                  <c:v>-6.7226890756302204E-3</c:v>
                </c:pt>
                <c:pt idx="30950">
                  <c:v>-6.7226890756302204E-3</c:v>
                </c:pt>
                <c:pt idx="30951">
                  <c:v>-6.7226890756302204E-3</c:v>
                </c:pt>
                <c:pt idx="30952">
                  <c:v>-6.7226890756302204E-3</c:v>
                </c:pt>
                <c:pt idx="30953">
                  <c:v>-6.7226890756302204E-3</c:v>
                </c:pt>
                <c:pt idx="30954">
                  <c:v>-6.7226890756302204E-3</c:v>
                </c:pt>
                <c:pt idx="30955">
                  <c:v>-6.7226890756302204E-3</c:v>
                </c:pt>
                <c:pt idx="30956">
                  <c:v>-6.7226890756302204E-3</c:v>
                </c:pt>
                <c:pt idx="30957">
                  <c:v>-6.7226890756302204E-3</c:v>
                </c:pt>
                <c:pt idx="30958">
                  <c:v>-6.7226890756302204E-3</c:v>
                </c:pt>
                <c:pt idx="30959">
                  <c:v>-6.7226890756302204E-3</c:v>
                </c:pt>
                <c:pt idx="30960">
                  <c:v>-6.7226890756302204E-3</c:v>
                </c:pt>
                <c:pt idx="30961">
                  <c:v>-6.7226890756302204E-3</c:v>
                </c:pt>
                <c:pt idx="30962">
                  <c:v>-6.7226890756302204E-3</c:v>
                </c:pt>
                <c:pt idx="30963">
                  <c:v>-6.7226890756302204E-3</c:v>
                </c:pt>
                <c:pt idx="30964">
                  <c:v>-6.7226890756302204E-3</c:v>
                </c:pt>
                <c:pt idx="30965">
                  <c:v>-6.7226890756302204E-3</c:v>
                </c:pt>
                <c:pt idx="30966">
                  <c:v>-6.7226890756302204E-3</c:v>
                </c:pt>
                <c:pt idx="30967">
                  <c:v>-6.7226890756302204E-3</c:v>
                </c:pt>
                <c:pt idx="30968">
                  <c:v>-6.7226890756302204E-3</c:v>
                </c:pt>
                <c:pt idx="30969">
                  <c:v>-6.7226890756302204E-3</c:v>
                </c:pt>
                <c:pt idx="30970">
                  <c:v>-6.7226890756302204E-3</c:v>
                </c:pt>
                <c:pt idx="30971">
                  <c:v>-5.8823529411764497E-3</c:v>
                </c:pt>
                <c:pt idx="30972">
                  <c:v>-5.8823529411764497E-3</c:v>
                </c:pt>
                <c:pt idx="30973">
                  <c:v>-5.8823529411764497E-3</c:v>
                </c:pt>
                <c:pt idx="30974">
                  <c:v>-5.8823529411764497E-3</c:v>
                </c:pt>
                <c:pt idx="30975">
                  <c:v>-5.8823529411764497E-3</c:v>
                </c:pt>
                <c:pt idx="30976">
                  <c:v>-5.8823529411764497E-3</c:v>
                </c:pt>
                <c:pt idx="30977">
                  <c:v>-5.8823529411764497E-3</c:v>
                </c:pt>
                <c:pt idx="30978">
                  <c:v>-5.8823529411764497E-3</c:v>
                </c:pt>
                <c:pt idx="30979">
                  <c:v>-5.8823529411764497E-3</c:v>
                </c:pt>
                <c:pt idx="30980">
                  <c:v>-5.8823529411764497E-3</c:v>
                </c:pt>
                <c:pt idx="30981">
                  <c:v>-5.8823529411764497E-3</c:v>
                </c:pt>
                <c:pt idx="30982">
                  <c:v>-5.8823529411764497E-3</c:v>
                </c:pt>
                <c:pt idx="30983">
                  <c:v>-5.8823529411764497E-3</c:v>
                </c:pt>
                <c:pt idx="30984">
                  <c:v>-5.8823529411764497E-3</c:v>
                </c:pt>
                <c:pt idx="30985">
                  <c:v>-5.8823529411764497E-3</c:v>
                </c:pt>
                <c:pt idx="30986">
                  <c:v>-5.8823529411764497E-3</c:v>
                </c:pt>
                <c:pt idx="30987">
                  <c:v>-5.8823529411764497E-3</c:v>
                </c:pt>
                <c:pt idx="30988">
                  <c:v>-5.8823529411764497E-3</c:v>
                </c:pt>
                <c:pt idx="30989">
                  <c:v>-5.8823529411764497E-3</c:v>
                </c:pt>
                <c:pt idx="30990">
                  <c:v>-5.8823529411764497E-3</c:v>
                </c:pt>
                <c:pt idx="30991">
                  <c:v>-5.8823529411764497E-3</c:v>
                </c:pt>
                <c:pt idx="30992">
                  <c:v>-5.8823529411764497E-3</c:v>
                </c:pt>
                <c:pt idx="30993">
                  <c:v>-5.8823529411764497E-3</c:v>
                </c:pt>
                <c:pt idx="30994">
                  <c:v>-5.8823529411764497E-3</c:v>
                </c:pt>
                <c:pt idx="30995">
                  <c:v>-5.8823529411764497E-3</c:v>
                </c:pt>
                <c:pt idx="30996">
                  <c:v>-5.8823529411764497E-3</c:v>
                </c:pt>
                <c:pt idx="30997">
                  <c:v>-5.0420168067226703E-3</c:v>
                </c:pt>
                <c:pt idx="30998">
                  <c:v>-5.0420168067226703E-3</c:v>
                </c:pt>
                <c:pt idx="30999">
                  <c:v>-5.0420168067226703E-3</c:v>
                </c:pt>
                <c:pt idx="31000">
                  <c:v>-5.0420168067226703E-3</c:v>
                </c:pt>
                <c:pt idx="31001">
                  <c:v>-5.0420168067226703E-3</c:v>
                </c:pt>
                <c:pt idx="31002">
                  <c:v>-5.0420168067226703E-3</c:v>
                </c:pt>
                <c:pt idx="31003">
                  <c:v>-5.0420168067226703E-3</c:v>
                </c:pt>
                <c:pt idx="31004">
                  <c:v>-5.0420168067226703E-3</c:v>
                </c:pt>
                <c:pt idx="31005">
                  <c:v>-5.0420168067226703E-3</c:v>
                </c:pt>
                <c:pt idx="31006">
                  <c:v>-5.0420168067226703E-3</c:v>
                </c:pt>
                <c:pt idx="31007">
                  <c:v>-5.0420168067226703E-3</c:v>
                </c:pt>
                <c:pt idx="31008">
                  <c:v>-5.0420168067226703E-3</c:v>
                </c:pt>
                <c:pt idx="31009">
                  <c:v>-5.0420168067226703E-3</c:v>
                </c:pt>
                <c:pt idx="31010">
                  <c:v>-5.0420168067226703E-3</c:v>
                </c:pt>
                <c:pt idx="31011">
                  <c:v>-5.0420168067226703E-3</c:v>
                </c:pt>
                <c:pt idx="31012">
                  <c:v>-5.0420168067226703E-3</c:v>
                </c:pt>
                <c:pt idx="31013">
                  <c:v>-5.0420168067226703E-3</c:v>
                </c:pt>
                <c:pt idx="31014">
                  <c:v>-5.0420168067226703E-3</c:v>
                </c:pt>
                <c:pt idx="31015">
                  <c:v>-5.0420168067226703E-3</c:v>
                </c:pt>
                <c:pt idx="31016">
                  <c:v>-5.0420168067226703E-3</c:v>
                </c:pt>
                <c:pt idx="31017">
                  <c:v>-5.0420168067226703E-3</c:v>
                </c:pt>
                <c:pt idx="31018">
                  <c:v>-4.20168067226889E-3</c:v>
                </c:pt>
                <c:pt idx="31019">
                  <c:v>-4.20168067226889E-3</c:v>
                </c:pt>
                <c:pt idx="31020">
                  <c:v>-4.20168067226889E-3</c:v>
                </c:pt>
                <c:pt idx="31021">
                  <c:v>-4.20168067226889E-3</c:v>
                </c:pt>
                <c:pt idx="31022">
                  <c:v>-4.20168067226889E-3</c:v>
                </c:pt>
                <c:pt idx="31023">
                  <c:v>-4.20168067226889E-3</c:v>
                </c:pt>
                <c:pt idx="31024">
                  <c:v>-4.20168067226889E-3</c:v>
                </c:pt>
                <c:pt idx="31025">
                  <c:v>-4.20168067226889E-3</c:v>
                </c:pt>
                <c:pt idx="31026">
                  <c:v>-4.20168067226889E-3</c:v>
                </c:pt>
                <c:pt idx="31027">
                  <c:v>-4.20168067226889E-3</c:v>
                </c:pt>
                <c:pt idx="31028">
                  <c:v>-4.20168067226889E-3</c:v>
                </c:pt>
                <c:pt idx="31029">
                  <c:v>-4.20168067226889E-3</c:v>
                </c:pt>
                <c:pt idx="31030">
                  <c:v>-4.20168067226889E-3</c:v>
                </c:pt>
                <c:pt idx="31031">
                  <c:v>-4.20168067226889E-3</c:v>
                </c:pt>
                <c:pt idx="31032">
                  <c:v>-4.20168067226889E-3</c:v>
                </c:pt>
                <c:pt idx="31033">
                  <c:v>-4.20168067226889E-3</c:v>
                </c:pt>
                <c:pt idx="31034">
                  <c:v>-4.20168067226889E-3</c:v>
                </c:pt>
                <c:pt idx="31035">
                  <c:v>-4.20168067226889E-3</c:v>
                </c:pt>
                <c:pt idx="31036">
                  <c:v>-4.20168067226889E-3</c:v>
                </c:pt>
                <c:pt idx="31037">
                  <c:v>-4.20168067226889E-3</c:v>
                </c:pt>
                <c:pt idx="31038">
                  <c:v>-4.20168067226889E-3</c:v>
                </c:pt>
                <c:pt idx="31039">
                  <c:v>-4.20168067226889E-3</c:v>
                </c:pt>
                <c:pt idx="31040">
                  <c:v>-4.20168067226889E-3</c:v>
                </c:pt>
                <c:pt idx="31041">
                  <c:v>-4.20168067226889E-3</c:v>
                </c:pt>
                <c:pt idx="31042">
                  <c:v>-4.20168067226889E-3</c:v>
                </c:pt>
                <c:pt idx="31043">
                  <c:v>-4.20168067226889E-3</c:v>
                </c:pt>
                <c:pt idx="31044">
                  <c:v>-4.20168067226889E-3</c:v>
                </c:pt>
                <c:pt idx="31045">
                  <c:v>-4.20168067226889E-3</c:v>
                </c:pt>
                <c:pt idx="31046">
                  <c:v>-4.20168067226889E-3</c:v>
                </c:pt>
                <c:pt idx="31047">
                  <c:v>-4.20168067226889E-3</c:v>
                </c:pt>
                <c:pt idx="31048">
                  <c:v>-4.20168067226889E-3</c:v>
                </c:pt>
                <c:pt idx="31049">
                  <c:v>-4.20168067226889E-3</c:v>
                </c:pt>
                <c:pt idx="31050">
                  <c:v>-4.20168067226889E-3</c:v>
                </c:pt>
                <c:pt idx="31051">
                  <c:v>-4.20168067226889E-3</c:v>
                </c:pt>
                <c:pt idx="31052">
                  <c:v>-4.20168067226889E-3</c:v>
                </c:pt>
                <c:pt idx="31053">
                  <c:v>-4.20168067226889E-3</c:v>
                </c:pt>
                <c:pt idx="31054">
                  <c:v>-4.20168067226889E-3</c:v>
                </c:pt>
                <c:pt idx="31055">
                  <c:v>-4.20168067226889E-3</c:v>
                </c:pt>
                <c:pt idx="31056">
                  <c:v>-4.20168067226889E-3</c:v>
                </c:pt>
                <c:pt idx="31057">
                  <c:v>-4.20168067226889E-3</c:v>
                </c:pt>
                <c:pt idx="31058">
                  <c:v>-4.20168067226889E-3</c:v>
                </c:pt>
                <c:pt idx="31059">
                  <c:v>-4.20168067226889E-3</c:v>
                </c:pt>
                <c:pt idx="31060">
                  <c:v>-4.20168067226889E-3</c:v>
                </c:pt>
                <c:pt idx="31061">
                  <c:v>-4.20168067226889E-3</c:v>
                </c:pt>
                <c:pt idx="31062">
                  <c:v>-4.20168067226889E-3</c:v>
                </c:pt>
                <c:pt idx="31063">
                  <c:v>-3.3613445378151102E-3</c:v>
                </c:pt>
                <c:pt idx="31064">
                  <c:v>-3.3613445378151102E-3</c:v>
                </c:pt>
                <c:pt idx="31065">
                  <c:v>-3.3613445378151102E-3</c:v>
                </c:pt>
                <c:pt idx="31066">
                  <c:v>-3.3613445378151102E-3</c:v>
                </c:pt>
                <c:pt idx="31067">
                  <c:v>-3.3613445378151102E-3</c:v>
                </c:pt>
                <c:pt idx="31068">
                  <c:v>-3.3613445378151102E-3</c:v>
                </c:pt>
                <c:pt idx="31069">
                  <c:v>-3.3613445378151102E-3</c:v>
                </c:pt>
                <c:pt idx="31070">
                  <c:v>-3.3613445378151102E-3</c:v>
                </c:pt>
                <c:pt idx="31071">
                  <c:v>-3.3613445378151102E-3</c:v>
                </c:pt>
                <c:pt idx="31072">
                  <c:v>-3.3613445378151102E-3</c:v>
                </c:pt>
                <c:pt idx="31073">
                  <c:v>-3.3613445378151102E-3</c:v>
                </c:pt>
                <c:pt idx="31074">
                  <c:v>-3.3613445378151102E-3</c:v>
                </c:pt>
                <c:pt idx="31075">
                  <c:v>-3.3613445378151102E-3</c:v>
                </c:pt>
                <c:pt idx="31076">
                  <c:v>-3.3613445378151102E-3</c:v>
                </c:pt>
                <c:pt idx="31077">
                  <c:v>-3.3613445378151102E-3</c:v>
                </c:pt>
                <c:pt idx="31078">
                  <c:v>-3.3613445378151102E-3</c:v>
                </c:pt>
                <c:pt idx="31079">
                  <c:v>-3.3613445378151102E-3</c:v>
                </c:pt>
                <c:pt idx="31080">
                  <c:v>-2.5210084033613299E-3</c:v>
                </c:pt>
                <c:pt idx="31081">
                  <c:v>-2.5210084033613299E-3</c:v>
                </c:pt>
                <c:pt idx="31082">
                  <c:v>-2.5210084033613299E-3</c:v>
                </c:pt>
                <c:pt idx="31083">
                  <c:v>-2.5210084033613299E-3</c:v>
                </c:pt>
                <c:pt idx="31084">
                  <c:v>-2.5210084033613299E-3</c:v>
                </c:pt>
                <c:pt idx="31085">
                  <c:v>-2.5210084033613299E-3</c:v>
                </c:pt>
                <c:pt idx="31086">
                  <c:v>-2.5210084033613299E-3</c:v>
                </c:pt>
                <c:pt idx="31087">
                  <c:v>-2.5210084033613299E-3</c:v>
                </c:pt>
                <c:pt idx="31088">
                  <c:v>-2.5210084033613299E-3</c:v>
                </c:pt>
                <c:pt idx="31089">
                  <c:v>-2.5210084033613299E-3</c:v>
                </c:pt>
                <c:pt idx="31090">
                  <c:v>-2.5210084033613299E-3</c:v>
                </c:pt>
                <c:pt idx="31091">
                  <c:v>-2.5210084033613299E-3</c:v>
                </c:pt>
                <c:pt idx="31092">
                  <c:v>-2.5210084033613299E-3</c:v>
                </c:pt>
                <c:pt idx="31093">
                  <c:v>-2.5210084033613299E-3</c:v>
                </c:pt>
                <c:pt idx="31094">
                  <c:v>-2.5210084033613299E-3</c:v>
                </c:pt>
                <c:pt idx="31095">
                  <c:v>-2.5210084033613299E-3</c:v>
                </c:pt>
                <c:pt idx="31096">
                  <c:v>-2.5210084033613299E-3</c:v>
                </c:pt>
                <c:pt idx="31097">
                  <c:v>-2.5210084033613299E-3</c:v>
                </c:pt>
                <c:pt idx="31098">
                  <c:v>-2.5210084033613299E-3</c:v>
                </c:pt>
                <c:pt idx="31099">
                  <c:v>-2.5210084033613299E-3</c:v>
                </c:pt>
                <c:pt idx="31100">
                  <c:v>-2.5210084033613299E-3</c:v>
                </c:pt>
                <c:pt idx="31101">
                  <c:v>-2.5210084033613299E-3</c:v>
                </c:pt>
                <c:pt idx="31102">
                  <c:v>-2.5210084033613299E-3</c:v>
                </c:pt>
                <c:pt idx="31103">
                  <c:v>-2.5210084033613299E-3</c:v>
                </c:pt>
                <c:pt idx="31104">
                  <c:v>-2.5210084033613299E-3</c:v>
                </c:pt>
                <c:pt idx="31105">
                  <c:v>-2.5210084033613299E-3</c:v>
                </c:pt>
                <c:pt idx="31106">
                  <c:v>-2.5210084033613299E-3</c:v>
                </c:pt>
                <c:pt idx="31107">
                  <c:v>-2.5210084033613299E-3</c:v>
                </c:pt>
                <c:pt idx="31108">
                  <c:v>-2.5210084033613299E-3</c:v>
                </c:pt>
                <c:pt idx="31109">
                  <c:v>-2.5210084033613299E-3</c:v>
                </c:pt>
                <c:pt idx="31110">
                  <c:v>-2.5210084033613299E-3</c:v>
                </c:pt>
                <c:pt idx="31111">
                  <c:v>-2.5210084033613299E-3</c:v>
                </c:pt>
                <c:pt idx="31112">
                  <c:v>-2.5210084033613299E-3</c:v>
                </c:pt>
                <c:pt idx="31113">
                  <c:v>-2.5210084033613299E-3</c:v>
                </c:pt>
                <c:pt idx="31114">
                  <c:v>-2.5210084033613299E-3</c:v>
                </c:pt>
                <c:pt idx="31115">
                  <c:v>-2.5210084033613299E-3</c:v>
                </c:pt>
                <c:pt idx="31116">
                  <c:v>-2.5210084033613299E-3</c:v>
                </c:pt>
                <c:pt idx="31117">
                  <c:v>-2.5210084033613299E-3</c:v>
                </c:pt>
                <c:pt idx="31118">
                  <c:v>-2.5210084033613299E-3</c:v>
                </c:pt>
                <c:pt idx="31119">
                  <c:v>-2.5210084033613299E-3</c:v>
                </c:pt>
                <c:pt idx="31120">
                  <c:v>-2.5210084033613299E-3</c:v>
                </c:pt>
                <c:pt idx="31121">
                  <c:v>-2.5210084033613299E-3</c:v>
                </c:pt>
                <c:pt idx="31122">
                  <c:v>-2.5210084033613299E-3</c:v>
                </c:pt>
                <c:pt idx="31123">
                  <c:v>-2.5210084033613299E-3</c:v>
                </c:pt>
                <c:pt idx="31124">
                  <c:v>-2.5210084033613299E-3</c:v>
                </c:pt>
                <c:pt idx="31125">
                  <c:v>-2.5210084033613299E-3</c:v>
                </c:pt>
                <c:pt idx="31126">
                  <c:v>-2.5210084033613299E-3</c:v>
                </c:pt>
                <c:pt idx="31127">
                  <c:v>-2.5210084033613299E-3</c:v>
                </c:pt>
                <c:pt idx="31128">
                  <c:v>-2.5210084033613299E-3</c:v>
                </c:pt>
                <c:pt idx="31129">
                  <c:v>-2.5210084033613299E-3</c:v>
                </c:pt>
                <c:pt idx="31130">
                  <c:v>-2.5210084033613299E-3</c:v>
                </c:pt>
                <c:pt idx="31131">
                  <c:v>-2.5210084033613299E-3</c:v>
                </c:pt>
                <c:pt idx="31132">
                  <c:v>-2.5210084033613299E-3</c:v>
                </c:pt>
                <c:pt idx="31133">
                  <c:v>-2.5210084033613299E-3</c:v>
                </c:pt>
                <c:pt idx="31134">
                  <c:v>-2.5210084033613299E-3</c:v>
                </c:pt>
                <c:pt idx="31135">
                  <c:v>-2.5210084033613299E-3</c:v>
                </c:pt>
                <c:pt idx="31136">
                  <c:v>-2.5210084033613299E-3</c:v>
                </c:pt>
                <c:pt idx="31137">
                  <c:v>-2.5210084033613299E-3</c:v>
                </c:pt>
                <c:pt idx="31138">
                  <c:v>-2.5210084033613299E-3</c:v>
                </c:pt>
                <c:pt idx="31139">
                  <c:v>-2.5210084033613299E-3</c:v>
                </c:pt>
                <c:pt idx="31140">
                  <c:v>-2.5210084033613299E-3</c:v>
                </c:pt>
                <c:pt idx="31141">
                  <c:v>-2.5210084033613299E-3</c:v>
                </c:pt>
                <c:pt idx="31142">
                  <c:v>-2.5210084033613299E-3</c:v>
                </c:pt>
                <c:pt idx="31143">
                  <c:v>-2.5210084033613299E-3</c:v>
                </c:pt>
                <c:pt idx="31144">
                  <c:v>-2.5210084033613299E-3</c:v>
                </c:pt>
                <c:pt idx="31145">
                  <c:v>-2.5210084033613299E-3</c:v>
                </c:pt>
                <c:pt idx="31146">
                  <c:v>-2.5210084033613299E-3</c:v>
                </c:pt>
                <c:pt idx="31147">
                  <c:v>-2.5210084033613299E-3</c:v>
                </c:pt>
                <c:pt idx="31148">
                  <c:v>-2.5210084033613299E-3</c:v>
                </c:pt>
                <c:pt idx="31149">
                  <c:v>-2.5210084033613299E-3</c:v>
                </c:pt>
                <c:pt idx="31150">
                  <c:v>-2.5210084033613299E-3</c:v>
                </c:pt>
                <c:pt idx="31151">
                  <c:v>-2.5210084033613299E-3</c:v>
                </c:pt>
                <c:pt idx="31152">
                  <c:v>-2.5210084033613299E-3</c:v>
                </c:pt>
                <c:pt idx="31153">
                  <c:v>-2.5210084033613299E-3</c:v>
                </c:pt>
                <c:pt idx="31154">
                  <c:v>-2.5210084033613299E-3</c:v>
                </c:pt>
                <c:pt idx="31155">
                  <c:v>-2.5210084033613299E-3</c:v>
                </c:pt>
                <c:pt idx="31156">
                  <c:v>-2.5210084033613299E-3</c:v>
                </c:pt>
                <c:pt idx="31157">
                  <c:v>-2.5210084033613299E-3</c:v>
                </c:pt>
                <c:pt idx="31158">
                  <c:v>-2.5210084033613299E-3</c:v>
                </c:pt>
                <c:pt idx="31159">
                  <c:v>-2.5210084033613299E-3</c:v>
                </c:pt>
                <c:pt idx="31160">
                  <c:v>-2.5210084033613299E-3</c:v>
                </c:pt>
                <c:pt idx="31161">
                  <c:v>-2.5210084033613299E-3</c:v>
                </c:pt>
                <c:pt idx="31162">
                  <c:v>-2.5210084033613299E-3</c:v>
                </c:pt>
                <c:pt idx="31163">
                  <c:v>-2.5210084033613299E-3</c:v>
                </c:pt>
                <c:pt idx="31164">
                  <c:v>-2.5210084033613299E-3</c:v>
                </c:pt>
                <c:pt idx="31165">
                  <c:v>-2.5210084033613299E-3</c:v>
                </c:pt>
                <c:pt idx="31166">
                  <c:v>-2.5210084033613299E-3</c:v>
                </c:pt>
                <c:pt idx="31167">
                  <c:v>-2.5210084033613299E-3</c:v>
                </c:pt>
                <c:pt idx="31168">
                  <c:v>-2.5210084033613299E-3</c:v>
                </c:pt>
                <c:pt idx="31169">
                  <c:v>-2.5210084033613299E-3</c:v>
                </c:pt>
                <c:pt idx="31170">
                  <c:v>-2.5210084033613299E-3</c:v>
                </c:pt>
                <c:pt idx="31171">
                  <c:v>-2.5210084033613299E-3</c:v>
                </c:pt>
                <c:pt idx="31172">
                  <c:v>-2.5210084033613299E-3</c:v>
                </c:pt>
                <c:pt idx="31173">
                  <c:v>-2.5210084033613299E-3</c:v>
                </c:pt>
                <c:pt idx="31174">
                  <c:v>-2.5210084033613299E-3</c:v>
                </c:pt>
                <c:pt idx="31175">
                  <c:v>-2.5210084033613299E-3</c:v>
                </c:pt>
                <c:pt idx="31176">
                  <c:v>-2.5210084033613299E-3</c:v>
                </c:pt>
                <c:pt idx="31177">
                  <c:v>-2.5210084033613299E-3</c:v>
                </c:pt>
                <c:pt idx="31178">
                  <c:v>-2.5210084033613299E-3</c:v>
                </c:pt>
                <c:pt idx="31179">
                  <c:v>-2.5210084033613299E-3</c:v>
                </c:pt>
                <c:pt idx="31180">
                  <c:v>-2.5210084033613299E-3</c:v>
                </c:pt>
                <c:pt idx="31181">
                  <c:v>-1.6806722689075499E-3</c:v>
                </c:pt>
                <c:pt idx="31182">
                  <c:v>-1.6806722689075499E-3</c:v>
                </c:pt>
                <c:pt idx="31183">
                  <c:v>-1.6806722689075499E-3</c:v>
                </c:pt>
                <c:pt idx="31184">
                  <c:v>-1.6806722689075499E-3</c:v>
                </c:pt>
                <c:pt idx="31185">
                  <c:v>-1.6806722689075499E-3</c:v>
                </c:pt>
                <c:pt idx="31186">
                  <c:v>-1.6806722689075499E-3</c:v>
                </c:pt>
                <c:pt idx="31187">
                  <c:v>-1.6806722689075499E-3</c:v>
                </c:pt>
                <c:pt idx="31188">
                  <c:v>-1.6806722689075499E-3</c:v>
                </c:pt>
                <c:pt idx="31189">
                  <c:v>-1.6806722689075499E-3</c:v>
                </c:pt>
                <c:pt idx="31190">
                  <c:v>-1.6806722689075499E-3</c:v>
                </c:pt>
                <c:pt idx="31191">
                  <c:v>-1.6806722689075499E-3</c:v>
                </c:pt>
                <c:pt idx="31192">
                  <c:v>-1.6806722689075499E-3</c:v>
                </c:pt>
                <c:pt idx="31193">
                  <c:v>-1.6806722689075499E-3</c:v>
                </c:pt>
                <c:pt idx="31194">
                  <c:v>-1.6806722689075499E-3</c:v>
                </c:pt>
                <c:pt idx="31195">
                  <c:v>-1.6806722689075499E-3</c:v>
                </c:pt>
                <c:pt idx="31196">
                  <c:v>-1.6806722689075499E-3</c:v>
                </c:pt>
                <c:pt idx="31197">
                  <c:v>-1.6806722689075499E-3</c:v>
                </c:pt>
                <c:pt idx="31198">
                  <c:v>-1.6806722689075499E-3</c:v>
                </c:pt>
                <c:pt idx="31199">
                  <c:v>-1.6806722689075499E-3</c:v>
                </c:pt>
                <c:pt idx="31200">
                  <c:v>-1.6806722689075499E-3</c:v>
                </c:pt>
                <c:pt idx="31201">
                  <c:v>-1.6806722689075499E-3</c:v>
                </c:pt>
                <c:pt idx="31202">
                  <c:v>-1.6806722689075499E-3</c:v>
                </c:pt>
                <c:pt idx="31203">
                  <c:v>-1.6806722689075499E-3</c:v>
                </c:pt>
                <c:pt idx="31204">
                  <c:v>-1.6806722689075499E-3</c:v>
                </c:pt>
                <c:pt idx="31205">
                  <c:v>-1.6806722689075499E-3</c:v>
                </c:pt>
                <c:pt idx="31206">
                  <c:v>-1.6806722689075499E-3</c:v>
                </c:pt>
                <c:pt idx="31207">
                  <c:v>-1.6806722689075499E-3</c:v>
                </c:pt>
                <c:pt idx="31208">
                  <c:v>-1.6806722689075499E-3</c:v>
                </c:pt>
                <c:pt idx="31209">
                  <c:v>-1.6806722689075499E-3</c:v>
                </c:pt>
                <c:pt idx="31210">
                  <c:v>-1.6806722689075499E-3</c:v>
                </c:pt>
                <c:pt idx="31211">
                  <c:v>-1.6806722689075499E-3</c:v>
                </c:pt>
                <c:pt idx="31212">
                  <c:v>-1.6806722689075499E-3</c:v>
                </c:pt>
                <c:pt idx="31213">
                  <c:v>-1.6806722689075499E-3</c:v>
                </c:pt>
                <c:pt idx="31214">
                  <c:v>-1.6806722689075499E-3</c:v>
                </c:pt>
                <c:pt idx="31215">
                  <c:v>-1.6806722689075499E-3</c:v>
                </c:pt>
                <c:pt idx="31216">
                  <c:v>-1.6806722689075499E-3</c:v>
                </c:pt>
                <c:pt idx="31217">
                  <c:v>-1.6806722689075499E-3</c:v>
                </c:pt>
                <c:pt idx="31218">
                  <c:v>-1.6806722689075499E-3</c:v>
                </c:pt>
                <c:pt idx="31219">
                  <c:v>-1.6806722689075499E-3</c:v>
                </c:pt>
                <c:pt idx="31220">
                  <c:v>-1.6806722689075499E-3</c:v>
                </c:pt>
                <c:pt idx="31221">
                  <c:v>-1.6806722689075499E-3</c:v>
                </c:pt>
                <c:pt idx="31222">
                  <c:v>-1.6806722689075499E-3</c:v>
                </c:pt>
                <c:pt idx="31223">
                  <c:v>-1.6806722689075499E-3</c:v>
                </c:pt>
                <c:pt idx="31224">
                  <c:v>-1.6806722689075499E-3</c:v>
                </c:pt>
                <c:pt idx="31225">
                  <c:v>-1.6806722689075499E-3</c:v>
                </c:pt>
                <c:pt idx="31226">
                  <c:v>-1.6806722689075499E-3</c:v>
                </c:pt>
                <c:pt idx="31227">
                  <c:v>-1.6806722689075499E-3</c:v>
                </c:pt>
                <c:pt idx="31228">
                  <c:v>-1.6806722689075499E-3</c:v>
                </c:pt>
                <c:pt idx="31229">
                  <c:v>-1.6806722689075499E-3</c:v>
                </c:pt>
                <c:pt idx="31230">
                  <c:v>-1.6806722689075499E-3</c:v>
                </c:pt>
                <c:pt idx="31231">
                  <c:v>-1.6806722689075499E-3</c:v>
                </c:pt>
                <c:pt idx="31232">
                  <c:v>-1.6806722689075499E-3</c:v>
                </c:pt>
                <c:pt idx="31233">
                  <c:v>-1.6806722689075499E-3</c:v>
                </c:pt>
                <c:pt idx="31234">
                  <c:v>-1.6806722689075499E-3</c:v>
                </c:pt>
                <c:pt idx="31235">
                  <c:v>-1.6806722689075499E-3</c:v>
                </c:pt>
                <c:pt idx="31236">
                  <c:v>-1.6806722689075499E-3</c:v>
                </c:pt>
                <c:pt idx="31237">
                  <c:v>-1.6806722689075499E-3</c:v>
                </c:pt>
                <c:pt idx="31238">
                  <c:v>-1.6806722689075499E-3</c:v>
                </c:pt>
                <c:pt idx="31239">
                  <c:v>-1.6806722689075499E-3</c:v>
                </c:pt>
                <c:pt idx="31240">
                  <c:v>-1.6806722689075499E-3</c:v>
                </c:pt>
                <c:pt idx="31241">
                  <c:v>-1.6806722689075499E-3</c:v>
                </c:pt>
                <c:pt idx="31242">
                  <c:v>-1.6806722689075499E-3</c:v>
                </c:pt>
                <c:pt idx="31243">
                  <c:v>-1.6806722689075499E-3</c:v>
                </c:pt>
                <c:pt idx="31244">
                  <c:v>-1.6806722689075499E-3</c:v>
                </c:pt>
                <c:pt idx="31245">
                  <c:v>-1.6806722689075499E-3</c:v>
                </c:pt>
                <c:pt idx="31246">
                  <c:v>-1.6806722689075499E-3</c:v>
                </c:pt>
                <c:pt idx="31247">
                  <c:v>-1.6806722689075499E-3</c:v>
                </c:pt>
                <c:pt idx="31248">
                  <c:v>-1.6806722689075499E-3</c:v>
                </c:pt>
                <c:pt idx="31249">
                  <c:v>-1.6806722689075499E-3</c:v>
                </c:pt>
                <c:pt idx="31250">
                  <c:v>-1.6806722689075499E-3</c:v>
                </c:pt>
                <c:pt idx="31251">
                  <c:v>-1.6806722689075499E-3</c:v>
                </c:pt>
                <c:pt idx="31252">
                  <c:v>-1.6806722689075499E-3</c:v>
                </c:pt>
                <c:pt idx="31253">
                  <c:v>-1.6806722689075499E-3</c:v>
                </c:pt>
                <c:pt idx="31254">
                  <c:v>-1.6806722689075499E-3</c:v>
                </c:pt>
                <c:pt idx="31255">
                  <c:v>-1.6806722689075499E-3</c:v>
                </c:pt>
                <c:pt idx="31256">
                  <c:v>-1.6806722689075499E-3</c:v>
                </c:pt>
                <c:pt idx="31257">
                  <c:v>-1.6806722689075499E-3</c:v>
                </c:pt>
                <c:pt idx="31258">
                  <c:v>-1.6806722689075499E-3</c:v>
                </c:pt>
                <c:pt idx="31259">
                  <c:v>-1.6806722689075499E-3</c:v>
                </c:pt>
                <c:pt idx="31260">
                  <c:v>-1.6806722689075499E-3</c:v>
                </c:pt>
                <c:pt idx="31261">
                  <c:v>-1.6806722689075499E-3</c:v>
                </c:pt>
                <c:pt idx="31262">
                  <c:v>-1.6806722689075499E-3</c:v>
                </c:pt>
                <c:pt idx="31263">
                  <c:v>-1.6806722689075499E-3</c:v>
                </c:pt>
                <c:pt idx="31264">
                  <c:v>-1.6806722689075499E-3</c:v>
                </c:pt>
                <c:pt idx="31265">
                  <c:v>-1.6806722689075499E-3</c:v>
                </c:pt>
                <c:pt idx="31266">
                  <c:v>-1.6806722689075499E-3</c:v>
                </c:pt>
                <c:pt idx="31267">
                  <c:v>-1.6806722689075499E-3</c:v>
                </c:pt>
                <c:pt idx="31268">
                  <c:v>-1.6806722689075499E-3</c:v>
                </c:pt>
                <c:pt idx="31269">
                  <c:v>-1.6806722689075499E-3</c:v>
                </c:pt>
                <c:pt idx="31270">
                  <c:v>-1.6806722689075499E-3</c:v>
                </c:pt>
                <c:pt idx="31271">
                  <c:v>-1.6806722689075499E-3</c:v>
                </c:pt>
                <c:pt idx="31272">
                  <c:v>-1.6806722689075499E-3</c:v>
                </c:pt>
                <c:pt idx="31273">
                  <c:v>-1.6806722689075499E-3</c:v>
                </c:pt>
                <c:pt idx="31274">
                  <c:v>-1.6806722689075499E-3</c:v>
                </c:pt>
                <c:pt idx="31275">
                  <c:v>-1.6806722689075499E-3</c:v>
                </c:pt>
                <c:pt idx="31276">
                  <c:v>-1.6806722689075499E-3</c:v>
                </c:pt>
                <c:pt idx="31277">
                  <c:v>-1.6806722689075499E-3</c:v>
                </c:pt>
                <c:pt idx="31278">
                  <c:v>-2.5210084033613299E-3</c:v>
                </c:pt>
                <c:pt idx="31279">
                  <c:v>-2.5210084033613299E-3</c:v>
                </c:pt>
                <c:pt idx="31280">
                  <c:v>-2.5210084033613299E-3</c:v>
                </c:pt>
                <c:pt idx="31281">
                  <c:v>-2.5210084033613299E-3</c:v>
                </c:pt>
                <c:pt idx="31282">
                  <c:v>-2.5210084033613299E-3</c:v>
                </c:pt>
                <c:pt idx="31283">
                  <c:v>-2.5210084033613299E-3</c:v>
                </c:pt>
                <c:pt idx="31284">
                  <c:v>-2.5210084033613299E-3</c:v>
                </c:pt>
                <c:pt idx="31285">
                  <c:v>-2.5210084033613299E-3</c:v>
                </c:pt>
                <c:pt idx="31286">
                  <c:v>-2.5210084033613299E-3</c:v>
                </c:pt>
                <c:pt idx="31287">
                  <c:v>-2.5210084033613299E-3</c:v>
                </c:pt>
                <c:pt idx="31288">
                  <c:v>-2.5210084033613299E-3</c:v>
                </c:pt>
                <c:pt idx="31289">
                  <c:v>-2.5210084033613299E-3</c:v>
                </c:pt>
                <c:pt idx="31290">
                  <c:v>-2.5210084033613299E-3</c:v>
                </c:pt>
                <c:pt idx="31291">
                  <c:v>-2.5210084033613299E-3</c:v>
                </c:pt>
                <c:pt idx="31292">
                  <c:v>-2.5210084033613299E-3</c:v>
                </c:pt>
                <c:pt idx="31293">
                  <c:v>-2.5210084033613299E-3</c:v>
                </c:pt>
                <c:pt idx="31294">
                  <c:v>-2.5210084033613299E-3</c:v>
                </c:pt>
                <c:pt idx="31295">
                  <c:v>-2.5210084033613299E-3</c:v>
                </c:pt>
                <c:pt idx="31296">
                  <c:v>-2.5210084033613299E-3</c:v>
                </c:pt>
                <c:pt idx="31297">
                  <c:v>-2.5210084033613299E-3</c:v>
                </c:pt>
                <c:pt idx="31298">
                  <c:v>-2.5210084033613299E-3</c:v>
                </c:pt>
                <c:pt idx="31299">
                  <c:v>-2.5210084033613299E-3</c:v>
                </c:pt>
                <c:pt idx="31300">
                  <c:v>-2.5210084033613299E-3</c:v>
                </c:pt>
                <c:pt idx="31301">
                  <c:v>-2.5210084033613299E-3</c:v>
                </c:pt>
                <c:pt idx="31302">
                  <c:v>-2.5210084033613299E-3</c:v>
                </c:pt>
                <c:pt idx="31303">
                  <c:v>-2.5210084033613299E-3</c:v>
                </c:pt>
                <c:pt idx="31304">
                  <c:v>-2.5210084033613299E-3</c:v>
                </c:pt>
                <c:pt idx="31305">
                  <c:v>-2.5210084033613299E-3</c:v>
                </c:pt>
                <c:pt idx="31306">
                  <c:v>-2.5210084033613299E-3</c:v>
                </c:pt>
                <c:pt idx="31307">
                  <c:v>-2.5210084033613299E-3</c:v>
                </c:pt>
                <c:pt idx="31308">
                  <c:v>-2.5210084033613299E-3</c:v>
                </c:pt>
                <c:pt idx="31309">
                  <c:v>-2.5210084033613299E-3</c:v>
                </c:pt>
                <c:pt idx="31310">
                  <c:v>-2.5210084033613299E-3</c:v>
                </c:pt>
                <c:pt idx="31311">
                  <c:v>-2.5210084033613299E-3</c:v>
                </c:pt>
                <c:pt idx="31312">
                  <c:v>-2.5210084033613299E-3</c:v>
                </c:pt>
                <c:pt idx="31313">
                  <c:v>-2.5210084033613299E-3</c:v>
                </c:pt>
                <c:pt idx="31314">
                  <c:v>-2.5210084033613299E-3</c:v>
                </c:pt>
                <c:pt idx="31315">
                  <c:v>-2.5210084033613299E-3</c:v>
                </c:pt>
                <c:pt idx="31316">
                  <c:v>-2.5210084033613299E-3</c:v>
                </c:pt>
                <c:pt idx="31317">
                  <c:v>-2.5210084033613299E-3</c:v>
                </c:pt>
                <c:pt idx="31318">
                  <c:v>-2.5210084033613299E-3</c:v>
                </c:pt>
                <c:pt idx="31319">
                  <c:v>-2.5210084033613299E-3</c:v>
                </c:pt>
                <c:pt idx="31320">
                  <c:v>-2.5210084033613299E-3</c:v>
                </c:pt>
                <c:pt idx="31321">
                  <c:v>-2.5210084033613299E-3</c:v>
                </c:pt>
                <c:pt idx="31322">
                  <c:v>-2.5210084033613299E-3</c:v>
                </c:pt>
                <c:pt idx="31323">
                  <c:v>-2.5210084033613299E-3</c:v>
                </c:pt>
                <c:pt idx="31324">
                  <c:v>-2.5210084033613299E-3</c:v>
                </c:pt>
                <c:pt idx="31325">
                  <c:v>-2.5210084033613299E-3</c:v>
                </c:pt>
                <c:pt idx="31326">
                  <c:v>-2.5210084033613299E-3</c:v>
                </c:pt>
                <c:pt idx="31327">
                  <c:v>-2.5210084033613299E-3</c:v>
                </c:pt>
                <c:pt idx="31328">
                  <c:v>-2.5210084033613299E-3</c:v>
                </c:pt>
                <c:pt idx="31329">
                  <c:v>-2.5210084033613299E-3</c:v>
                </c:pt>
                <c:pt idx="31330">
                  <c:v>-2.5210084033613299E-3</c:v>
                </c:pt>
                <c:pt idx="31331">
                  <c:v>-2.5210084033613299E-3</c:v>
                </c:pt>
                <c:pt idx="31332">
                  <c:v>-2.5210084033613299E-3</c:v>
                </c:pt>
                <c:pt idx="31333">
                  <c:v>-2.5210084033613299E-3</c:v>
                </c:pt>
                <c:pt idx="31334">
                  <c:v>-2.5210084033613299E-3</c:v>
                </c:pt>
                <c:pt idx="31335">
                  <c:v>-2.5210084033613299E-3</c:v>
                </c:pt>
                <c:pt idx="31336">
                  <c:v>-2.5210084033613299E-3</c:v>
                </c:pt>
                <c:pt idx="31337">
                  <c:v>-2.5210084033613299E-3</c:v>
                </c:pt>
                <c:pt idx="31338">
                  <c:v>-2.5210084033613299E-3</c:v>
                </c:pt>
                <c:pt idx="31339">
                  <c:v>-2.5210084033613299E-3</c:v>
                </c:pt>
                <c:pt idx="31340">
                  <c:v>-2.5210084033613299E-3</c:v>
                </c:pt>
                <c:pt idx="31341">
                  <c:v>-2.5210084033613299E-3</c:v>
                </c:pt>
                <c:pt idx="31342">
                  <c:v>-2.5210084033613299E-3</c:v>
                </c:pt>
                <c:pt idx="31343">
                  <c:v>-2.5210084033613299E-3</c:v>
                </c:pt>
                <c:pt idx="31344">
                  <c:v>-2.5210084033613299E-3</c:v>
                </c:pt>
                <c:pt idx="31345">
                  <c:v>-2.5210084033613299E-3</c:v>
                </c:pt>
                <c:pt idx="31346">
                  <c:v>-2.5210084033613299E-3</c:v>
                </c:pt>
                <c:pt idx="31347">
                  <c:v>-2.5210084033613299E-3</c:v>
                </c:pt>
                <c:pt idx="31348">
                  <c:v>-2.5210084033613299E-3</c:v>
                </c:pt>
                <c:pt idx="31349">
                  <c:v>-2.5210084033613299E-3</c:v>
                </c:pt>
                <c:pt idx="31350">
                  <c:v>-2.5210084033613299E-3</c:v>
                </c:pt>
                <c:pt idx="31351">
                  <c:v>-2.5210084033613299E-3</c:v>
                </c:pt>
                <c:pt idx="31352">
                  <c:v>-2.5210084033613299E-3</c:v>
                </c:pt>
                <c:pt idx="31353">
                  <c:v>-2.5210084033613299E-3</c:v>
                </c:pt>
                <c:pt idx="31354">
                  <c:v>-2.5210084033613299E-3</c:v>
                </c:pt>
                <c:pt idx="31355">
                  <c:v>-2.5210084033613299E-3</c:v>
                </c:pt>
                <c:pt idx="31356">
                  <c:v>-2.5210084033613299E-3</c:v>
                </c:pt>
                <c:pt idx="31357">
                  <c:v>-2.5210084033613299E-3</c:v>
                </c:pt>
                <c:pt idx="31358">
                  <c:v>-2.5210084033613299E-3</c:v>
                </c:pt>
                <c:pt idx="31359">
                  <c:v>-2.5210084033613299E-3</c:v>
                </c:pt>
                <c:pt idx="31360">
                  <c:v>-2.5210084033613299E-3</c:v>
                </c:pt>
                <c:pt idx="31361">
                  <c:v>-2.5210084033613299E-3</c:v>
                </c:pt>
                <c:pt idx="31362">
                  <c:v>-2.5210084033613299E-3</c:v>
                </c:pt>
                <c:pt idx="31363">
                  <c:v>-2.5210084033613299E-3</c:v>
                </c:pt>
                <c:pt idx="31364">
                  <c:v>-2.5210084033613299E-3</c:v>
                </c:pt>
                <c:pt idx="31365">
                  <c:v>-2.5210084033613299E-3</c:v>
                </c:pt>
                <c:pt idx="31366">
                  <c:v>-2.5210084033613299E-3</c:v>
                </c:pt>
                <c:pt idx="31367">
                  <c:v>-2.5210084033613299E-3</c:v>
                </c:pt>
                <c:pt idx="31368">
                  <c:v>-2.5210084033613299E-3</c:v>
                </c:pt>
                <c:pt idx="31369">
                  <c:v>-2.5210084033613299E-3</c:v>
                </c:pt>
                <c:pt idx="31370">
                  <c:v>-2.5210084033613299E-3</c:v>
                </c:pt>
                <c:pt idx="31371">
                  <c:v>-2.5210084033613299E-3</c:v>
                </c:pt>
                <c:pt idx="31372">
                  <c:v>-2.5210084033613299E-3</c:v>
                </c:pt>
                <c:pt idx="31373">
                  <c:v>-2.5210084033613299E-3</c:v>
                </c:pt>
                <c:pt idx="31374">
                  <c:v>-2.5210084033613299E-3</c:v>
                </c:pt>
                <c:pt idx="31375">
                  <c:v>-2.5210084033613299E-3</c:v>
                </c:pt>
                <c:pt idx="31376">
                  <c:v>-2.5210084033613299E-3</c:v>
                </c:pt>
                <c:pt idx="31377">
                  <c:v>-2.5210084033613299E-3</c:v>
                </c:pt>
                <c:pt idx="31378">
                  <c:v>-2.5210084033613299E-3</c:v>
                </c:pt>
                <c:pt idx="31379">
                  <c:v>-2.5210084033613299E-3</c:v>
                </c:pt>
                <c:pt idx="31380">
                  <c:v>-2.5210084033613299E-3</c:v>
                </c:pt>
                <c:pt idx="31381">
                  <c:v>-2.5210084033613299E-3</c:v>
                </c:pt>
                <c:pt idx="31382">
                  <c:v>-2.5210084033613299E-3</c:v>
                </c:pt>
                <c:pt idx="31383">
                  <c:v>-2.5210084033613299E-3</c:v>
                </c:pt>
                <c:pt idx="31384">
                  <c:v>-2.5210084033613299E-3</c:v>
                </c:pt>
                <c:pt idx="31385">
                  <c:v>-2.5210084033613299E-3</c:v>
                </c:pt>
                <c:pt idx="31386">
                  <c:v>-2.5210084033613299E-3</c:v>
                </c:pt>
                <c:pt idx="31387">
                  <c:v>-2.5210084033613299E-3</c:v>
                </c:pt>
                <c:pt idx="31388">
                  <c:v>-2.5210084033613299E-3</c:v>
                </c:pt>
                <c:pt idx="31389">
                  <c:v>-2.5210084033613299E-3</c:v>
                </c:pt>
                <c:pt idx="31390">
                  <c:v>-2.5210084033613299E-3</c:v>
                </c:pt>
                <c:pt idx="31391">
                  <c:v>-2.5210084033613299E-3</c:v>
                </c:pt>
                <c:pt idx="31392">
                  <c:v>-2.5210084033613299E-3</c:v>
                </c:pt>
                <c:pt idx="31393">
                  <c:v>-2.5210084033613299E-3</c:v>
                </c:pt>
                <c:pt idx="31394">
                  <c:v>-2.5210084033613299E-3</c:v>
                </c:pt>
                <c:pt idx="31395">
                  <c:v>-2.5210084033613299E-3</c:v>
                </c:pt>
                <c:pt idx="31396">
                  <c:v>-2.5210084033613299E-3</c:v>
                </c:pt>
                <c:pt idx="31397">
                  <c:v>-2.5210084033613299E-3</c:v>
                </c:pt>
                <c:pt idx="31398">
                  <c:v>-2.5210084033613299E-3</c:v>
                </c:pt>
                <c:pt idx="31399">
                  <c:v>-2.5210084033613299E-3</c:v>
                </c:pt>
                <c:pt idx="31400">
                  <c:v>-2.5210084033613299E-3</c:v>
                </c:pt>
                <c:pt idx="31401">
                  <c:v>-2.5210084033613299E-3</c:v>
                </c:pt>
                <c:pt idx="31402">
                  <c:v>-2.5210084033613299E-3</c:v>
                </c:pt>
                <c:pt idx="31403">
                  <c:v>-2.5210084033613299E-3</c:v>
                </c:pt>
                <c:pt idx="31404">
                  <c:v>-2.5210084033613299E-3</c:v>
                </c:pt>
                <c:pt idx="31405">
                  <c:v>-2.5210084033613299E-3</c:v>
                </c:pt>
                <c:pt idx="31406">
                  <c:v>-2.5210084033613299E-3</c:v>
                </c:pt>
                <c:pt idx="31407">
                  <c:v>-2.5210084033613299E-3</c:v>
                </c:pt>
                <c:pt idx="31408">
                  <c:v>-2.5210084033613299E-3</c:v>
                </c:pt>
                <c:pt idx="31409">
                  <c:v>-2.5210084033613299E-3</c:v>
                </c:pt>
                <c:pt idx="31410">
                  <c:v>-2.5210084033613299E-3</c:v>
                </c:pt>
                <c:pt idx="31411">
                  <c:v>-2.5210084033613299E-3</c:v>
                </c:pt>
                <c:pt idx="31412">
                  <c:v>-2.5210084033613299E-3</c:v>
                </c:pt>
                <c:pt idx="31413">
                  <c:v>-2.5210084033613299E-3</c:v>
                </c:pt>
                <c:pt idx="31414">
                  <c:v>-2.5210084033613299E-3</c:v>
                </c:pt>
                <c:pt idx="31415">
                  <c:v>-3.3613445378151102E-3</c:v>
                </c:pt>
                <c:pt idx="31416">
                  <c:v>-3.3613445378151102E-3</c:v>
                </c:pt>
                <c:pt idx="31417">
                  <c:v>-3.3613445378151102E-3</c:v>
                </c:pt>
                <c:pt idx="31418">
                  <c:v>-3.3613445378151102E-3</c:v>
                </c:pt>
                <c:pt idx="31419">
                  <c:v>-3.3613445378151102E-3</c:v>
                </c:pt>
                <c:pt idx="31420">
                  <c:v>-3.3613445378151102E-3</c:v>
                </c:pt>
                <c:pt idx="31421">
                  <c:v>-3.3613445378151102E-3</c:v>
                </c:pt>
                <c:pt idx="31422">
                  <c:v>-3.3613445378151102E-3</c:v>
                </c:pt>
                <c:pt idx="31423">
                  <c:v>-3.3613445378151102E-3</c:v>
                </c:pt>
                <c:pt idx="31424">
                  <c:v>-3.3613445378151102E-3</c:v>
                </c:pt>
                <c:pt idx="31425">
                  <c:v>-3.3613445378151102E-3</c:v>
                </c:pt>
                <c:pt idx="31426">
                  <c:v>-3.3613445378151102E-3</c:v>
                </c:pt>
                <c:pt idx="31427">
                  <c:v>-3.3613445378151102E-3</c:v>
                </c:pt>
                <c:pt idx="31428">
                  <c:v>-3.3613445378151102E-3</c:v>
                </c:pt>
                <c:pt idx="31429">
                  <c:v>-3.3613445378151102E-3</c:v>
                </c:pt>
                <c:pt idx="31430">
                  <c:v>-3.3613445378151102E-3</c:v>
                </c:pt>
                <c:pt idx="31431">
                  <c:v>-3.3613445378151102E-3</c:v>
                </c:pt>
                <c:pt idx="31432">
                  <c:v>-3.3613445378151102E-3</c:v>
                </c:pt>
                <c:pt idx="31433">
                  <c:v>-3.3613445378151102E-3</c:v>
                </c:pt>
                <c:pt idx="31434">
                  <c:v>-3.3613445378151102E-3</c:v>
                </c:pt>
                <c:pt idx="31435">
                  <c:v>-3.3613445378151102E-3</c:v>
                </c:pt>
                <c:pt idx="31436">
                  <c:v>-3.3613445378151102E-3</c:v>
                </c:pt>
                <c:pt idx="31437">
                  <c:v>-3.3613445378151102E-3</c:v>
                </c:pt>
                <c:pt idx="31438">
                  <c:v>-3.3613445378151102E-3</c:v>
                </c:pt>
                <c:pt idx="31439">
                  <c:v>-3.3613445378151102E-3</c:v>
                </c:pt>
                <c:pt idx="31440">
                  <c:v>-3.3613445378151102E-3</c:v>
                </c:pt>
                <c:pt idx="31441">
                  <c:v>-3.3613445378151102E-3</c:v>
                </c:pt>
                <c:pt idx="31442">
                  <c:v>-3.3613445378151102E-3</c:v>
                </c:pt>
                <c:pt idx="31443">
                  <c:v>-3.3613445378151102E-3</c:v>
                </c:pt>
                <c:pt idx="31444">
                  <c:v>-3.3613445378151102E-3</c:v>
                </c:pt>
                <c:pt idx="31445">
                  <c:v>-3.3613445378151102E-3</c:v>
                </c:pt>
                <c:pt idx="31446">
                  <c:v>-3.3613445378151102E-3</c:v>
                </c:pt>
                <c:pt idx="31447">
                  <c:v>-3.3613445378151102E-3</c:v>
                </c:pt>
                <c:pt idx="31448">
                  <c:v>-3.3613445378151102E-3</c:v>
                </c:pt>
                <c:pt idx="31449">
                  <c:v>-3.3613445378151102E-3</c:v>
                </c:pt>
                <c:pt idx="31450">
                  <c:v>-3.3613445378151102E-3</c:v>
                </c:pt>
                <c:pt idx="31451">
                  <c:v>-3.3613445378151102E-3</c:v>
                </c:pt>
                <c:pt idx="31452">
                  <c:v>-3.3613445378151102E-3</c:v>
                </c:pt>
                <c:pt idx="31453">
                  <c:v>-3.3613445378151102E-3</c:v>
                </c:pt>
                <c:pt idx="31454">
                  <c:v>-3.3613445378151102E-3</c:v>
                </c:pt>
                <c:pt idx="31455">
                  <c:v>-3.3613445378151102E-3</c:v>
                </c:pt>
                <c:pt idx="31456">
                  <c:v>-3.3613445378151102E-3</c:v>
                </c:pt>
                <c:pt idx="31457">
                  <c:v>-3.3613445378151102E-3</c:v>
                </c:pt>
                <c:pt idx="31458">
                  <c:v>-3.3613445378151102E-3</c:v>
                </c:pt>
                <c:pt idx="31459">
                  <c:v>-3.3613445378151102E-3</c:v>
                </c:pt>
                <c:pt idx="31460">
                  <c:v>-3.3613445378151102E-3</c:v>
                </c:pt>
                <c:pt idx="31461">
                  <c:v>-3.3613445378151102E-3</c:v>
                </c:pt>
                <c:pt idx="31462">
                  <c:v>-3.3613445378151102E-3</c:v>
                </c:pt>
                <c:pt idx="31463">
                  <c:v>-3.3613445378151102E-3</c:v>
                </c:pt>
                <c:pt idx="31464">
                  <c:v>-3.3613445378151102E-3</c:v>
                </c:pt>
                <c:pt idx="31465">
                  <c:v>-3.3613445378151102E-3</c:v>
                </c:pt>
                <c:pt idx="31466">
                  <c:v>-3.3613445378151102E-3</c:v>
                </c:pt>
                <c:pt idx="31467">
                  <c:v>-2.5210084033613299E-3</c:v>
                </c:pt>
                <c:pt idx="31468">
                  <c:v>-2.5210084033613299E-3</c:v>
                </c:pt>
                <c:pt idx="31469">
                  <c:v>-2.5210084033613299E-3</c:v>
                </c:pt>
                <c:pt idx="31470">
                  <c:v>-2.5210084033613299E-3</c:v>
                </c:pt>
                <c:pt idx="31471">
                  <c:v>-2.5210084033613299E-3</c:v>
                </c:pt>
                <c:pt idx="31472">
                  <c:v>-2.5210084033613299E-3</c:v>
                </c:pt>
                <c:pt idx="31473">
                  <c:v>-2.5210084033613299E-3</c:v>
                </c:pt>
                <c:pt idx="31474">
                  <c:v>-2.5210084033613299E-3</c:v>
                </c:pt>
                <c:pt idx="31475">
                  <c:v>-2.5210084033613299E-3</c:v>
                </c:pt>
                <c:pt idx="31476">
                  <c:v>-2.5210084033613299E-3</c:v>
                </c:pt>
                <c:pt idx="31477">
                  <c:v>-2.5210084033613299E-3</c:v>
                </c:pt>
                <c:pt idx="31478">
                  <c:v>-2.5210084033613299E-3</c:v>
                </c:pt>
                <c:pt idx="31479">
                  <c:v>-2.5210084033613299E-3</c:v>
                </c:pt>
                <c:pt idx="31480">
                  <c:v>-2.5210084033613299E-3</c:v>
                </c:pt>
                <c:pt idx="31481">
                  <c:v>-2.5210084033613299E-3</c:v>
                </c:pt>
                <c:pt idx="31482">
                  <c:v>-2.5210084033613299E-3</c:v>
                </c:pt>
                <c:pt idx="31483">
                  <c:v>-2.5210084033613299E-3</c:v>
                </c:pt>
                <c:pt idx="31484">
                  <c:v>-2.5210084033613299E-3</c:v>
                </c:pt>
                <c:pt idx="31485">
                  <c:v>-2.5210084033613299E-3</c:v>
                </c:pt>
                <c:pt idx="31486">
                  <c:v>-2.5210084033613299E-3</c:v>
                </c:pt>
                <c:pt idx="31487">
                  <c:v>-2.5210084033613299E-3</c:v>
                </c:pt>
                <c:pt idx="31488">
                  <c:v>-2.5210084033613299E-3</c:v>
                </c:pt>
                <c:pt idx="31489">
                  <c:v>-2.5210084033613299E-3</c:v>
                </c:pt>
                <c:pt idx="31490">
                  <c:v>-2.5210084033613299E-3</c:v>
                </c:pt>
                <c:pt idx="31491">
                  <c:v>-2.5210084033613299E-3</c:v>
                </c:pt>
                <c:pt idx="31492">
                  <c:v>-2.5210084033613299E-3</c:v>
                </c:pt>
                <c:pt idx="31493">
                  <c:v>-2.5210084033613299E-3</c:v>
                </c:pt>
                <c:pt idx="31494">
                  <c:v>-2.5210084033613299E-3</c:v>
                </c:pt>
                <c:pt idx="31495">
                  <c:v>-2.5210084033613299E-3</c:v>
                </c:pt>
                <c:pt idx="31496">
                  <c:v>-2.5210084033613299E-3</c:v>
                </c:pt>
                <c:pt idx="31497">
                  <c:v>-2.5210084033613299E-3</c:v>
                </c:pt>
                <c:pt idx="31498">
                  <c:v>-2.5210084033613299E-3</c:v>
                </c:pt>
                <c:pt idx="31499">
                  <c:v>-2.5210084033613299E-3</c:v>
                </c:pt>
                <c:pt idx="31500">
                  <c:v>-2.5210084033613299E-3</c:v>
                </c:pt>
                <c:pt idx="31501">
                  <c:v>-2.5210084033613299E-3</c:v>
                </c:pt>
                <c:pt idx="31502">
                  <c:v>-2.5210084033613299E-3</c:v>
                </c:pt>
                <c:pt idx="31503">
                  <c:v>-2.5210084033613299E-3</c:v>
                </c:pt>
                <c:pt idx="31504">
                  <c:v>-2.5210084033613299E-3</c:v>
                </c:pt>
                <c:pt idx="31505">
                  <c:v>-2.5210084033613299E-3</c:v>
                </c:pt>
                <c:pt idx="31506">
                  <c:v>-2.5210084033613299E-3</c:v>
                </c:pt>
                <c:pt idx="31507">
                  <c:v>-2.5210084033613299E-3</c:v>
                </c:pt>
                <c:pt idx="31508">
                  <c:v>-2.5210084033613299E-3</c:v>
                </c:pt>
                <c:pt idx="31509">
                  <c:v>-2.5210084033613299E-3</c:v>
                </c:pt>
                <c:pt idx="31510">
                  <c:v>-2.5210084033613299E-3</c:v>
                </c:pt>
                <c:pt idx="31511">
                  <c:v>-2.5210084033613299E-3</c:v>
                </c:pt>
                <c:pt idx="31512">
                  <c:v>-2.5210084033613299E-3</c:v>
                </c:pt>
                <c:pt idx="31513">
                  <c:v>-2.5210084033613299E-3</c:v>
                </c:pt>
                <c:pt idx="31514">
                  <c:v>-2.5210084033613299E-3</c:v>
                </c:pt>
                <c:pt idx="31515">
                  <c:v>-2.5210084033613299E-3</c:v>
                </c:pt>
                <c:pt idx="31516">
                  <c:v>-2.5210084033613299E-3</c:v>
                </c:pt>
                <c:pt idx="31517">
                  <c:v>-2.5210084033613299E-3</c:v>
                </c:pt>
                <c:pt idx="31518">
                  <c:v>-2.5210084033613299E-3</c:v>
                </c:pt>
                <c:pt idx="31519">
                  <c:v>-2.5210084033613299E-3</c:v>
                </c:pt>
                <c:pt idx="31520">
                  <c:v>-2.5210084033613299E-3</c:v>
                </c:pt>
                <c:pt idx="31521">
                  <c:v>-2.5210084033613299E-3</c:v>
                </c:pt>
                <c:pt idx="31522">
                  <c:v>-2.5210084033613299E-3</c:v>
                </c:pt>
                <c:pt idx="31523">
                  <c:v>-2.5210084033613299E-3</c:v>
                </c:pt>
                <c:pt idx="31524">
                  <c:v>-2.5210084033613299E-3</c:v>
                </c:pt>
                <c:pt idx="31525">
                  <c:v>-2.5210084033613299E-3</c:v>
                </c:pt>
                <c:pt idx="31526">
                  <c:v>-2.5210084033613299E-3</c:v>
                </c:pt>
                <c:pt idx="31527">
                  <c:v>-2.5210084033613299E-3</c:v>
                </c:pt>
                <c:pt idx="31528">
                  <c:v>-2.5210084033613299E-3</c:v>
                </c:pt>
                <c:pt idx="31529">
                  <c:v>-2.5210084033613299E-3</c:v>
                </c:pt>
                <c:pt idx="31530">
                  <c:v>-2.5210084033613299E-3</c:v>
                </c:pt>
                <c:pt idx="31531">
                  <c:v>-2.5210084033613299E-3</c:v>
                </c:pt>
                <c:pt idx="31532">
                  <c:v>-2.5210084033613299E-3</c:v>
                </c:pt>
                <c:pt idx="31533">
                  <c:v>-2.5210084033613299E-3</c:v>
                </c:pt>
                <c:pt idx="31534">
                  <c:v>-2.5210084033613299E-3</c:v>
                </c:pt>
                <c:pt idx="31535">
                  <c:v>-2.5210084033613299E-3</c:v>
                </c:pt>
                <c:pt idx="31536">
                  <c:v>-2.5210084033613299E-3</c:v>
                </c:pt>
                <c:pt idx="31537">
                  <c:v>-2.5210084033613299E-3</c:v>
                </c:pt>
                <c:pt idx="31538">
                  <c:v>-2.5210084033613299E-3</c:v>
                </c:pt>
                <c:pt idx="31539">
                  <c:v>-2.5210084033613299E-3</c:v>
                </c:pt>
                <c:pt idx="31540">
                  <c:v>-2.5210084033613299E-3</c:v>
                </c:pt>
                <c:pt idx="31541">
                  <c:v>-2.5210084033613299E-3</c:v>
                </c:pt>
                <c:pt idx="31542">
                  <c:v>-2.5210084033613299E-3</c:v>
                </c:pt>
                <c:pt idx="31543">
                  <c:v>-2.5210084033613299E-3</c:v>
                </c:pt>
                <c:pt idx="31544">
                  <c:v>-1.6806722689075499E-3</c:v>
                </c:pt>
                <c:pt idx="31545">
                  <c:v>-1.6806722689075499E-3</c:v>
                </c:pt>
                <c:pt idx="31546">
                  <c:v>-1.6806722689075499E-3</c:v>
                </c:pt>
                <c:pt idx="31547">
                  <c:v>-1.6806722689075499E-3</c:v>
                </c:pt>
                <c:pt idx="31548">
                  <c:v>-1.6806722689075499E-3</c:v>
                </c:pt>
                <c:pt idx="31549">
                  <c:v>-1.6806722689075499E-3</c:v>
                </c:pt>
                <c:pt idx="31550">
                  <c:v>-1.6806722689075499E-3</c:v>
                </c:pt>
                <c:pt idx="31551">
                  <c:v>-1.6806722689075499E-3</c:v>
                </c:pt>
                <c:pt idx="31552">
                  <c:v>-1.6806722689075499E-3</c:v>
                </c:pt>
                <c:pt idx="31553">
                  <c:v>-1.6806722689075499E-3</c:v>
                </c:pt>
                <c:pt idx="31554">
                  <c:v>-1.6806722689075499E-3</c:v>
                </c:pt>
                <c:pt idx="31555">
                  <c:v>-1.6806722689075499E-3</c:v>
                </c:pt>
                <c:pt idx="31556">
                  <c:v>-1.6806722689075499E-3</c:v>
                </c:pt>
                <c:pt idx="31557">
                  <c:v>-1.6806722689075499E-3</c:v>
                </c:pt>
                <c:pt idx="31558">
                  <c:v>-1.6806722689075499E-3</c:v>
                </c:pt>
                <c:pt idx="31559">
                  <c:v>-1.6806722689075499E-3</c:v>
                </c:pt>
                <c:pt idx="31560">
                  <c:v>-1.6806722689075499E-3</c:v>
                </c:pt>
                <c:pt idx="31561">
                  <c:v>-1.6806722689075499E-3</c:v>
                </c:pt>
                <c:pt idx="31562">
                  <c:v>-1.6806722689075499E-3</c:v>
                </c:pt>
                <c:pt idx="31563">
                  <c:v>-1.6806722689075499E-3</c:v>
                </c:pt>
                <c:pt idx="31564">
                  <c:v>-1.6806722689075499E-3</c:v>
                </c:pt>
                <c:pt idx="31565">
                  <c:v>-1.6806722689075499E-3</c:v>
                </c:pt>
                <c:pt idx="31566">
                  <c:v>-1.6806722689075499E-3</c:v>
                </c:pt>
                <c:pt idx="31567">
                  <c:v>-1.6806722689075499E-3</c:v>
                </c:pt>
                <c:pt idx="31568">
                  <c:v>-1.6806722689075499E-3</c:v>
                </c:pt>
                <c:pt idx="31569">
                  <c:v>-1.6806722689075499E-3</c:v>
                </c:pt>
                <c:pt idx="31570">
                  <c:v>-1.6806722689075499E-3</c:v>
                </c:pt>
                <c:pt idx="31571">
                  <c:v>-1.6806722689075499E-3</c:v>
                </c:pt>
                <c:pt idx="31572">
                  <c:v>-1.6806722689075499E-3</c:v>
                </c:pt>
                <c:pt idx="31573">
                  <c:v>-1.6806722689075499E-3</c:v>
                </c:pt>
                <c:pt idx="31574">
                  <c:v>-1.6806722689075499E-3</c:v>
                </c:pt>
                <c:pt idx="31575">
                  <c:v>-8.4033613445377799E-4</c:v>
                </c:pt>
                <c:pt idx="31576">
                  <c:v>-8.4033613445377799E-4</c:v>
                </c:pt>
                <c:pt idx="31577">
                  <c:v>-8.4033613445377799E-4</c:v>
                </c:pt>
                <c:pt idx="31578">
                  <c:v>-8.4033613445377799E-4</c:v>
                </c:pt>
                <c:pt idx="31579">
                  <c:v>-8.4033613445377799E-4</c:v>
                </c:pt>
                <c:pt idx="31580">
                  <c:v>-8.4033613445377799E-4</c:v>
                </c:pt>
                <c:pt idx="31581">
                  <c:v>-8.4033613445377799E-4</c:v>
                </c:pt>
                <c:pt idx="31582">
                  <c:v>-8.4033613445377799E-4</c:v>
                </c:pt>
                <c:pt idx="31583">
                  <c:v>-8.4033613445377799E-4</c:v>
                </c:pt>
                <c:pt idx="31584">
                  <c:v>-8.4033613445377799E-4</c:v>
                </c:pt>
                <c:pt idx="31585">
                  <c:v>-8.4033613445377799E-4</c:v>
                </c:pt>
                <c:pt idx="31586">
                  <c:v>-8.4033613445377799E-4</c:v>
                </c:pt>
                <c:pt idx="31587">
                  <c:v>-8.4033613445377799E-4</c:v>
                </c:pt>
                <c:pt idx="31588">
                  <c:v>-1.6806722689075499E-3</c:v>
                </c:pt>
                <c:pt idx="31589">
                  <c:v>-1.6806722689075499E-3</c:v>
                </c:pt>
                <c:pt idx="31590">
                  <c:v>-1.6806722689075499E-3</c:v>
                </c:pt>
                <c:pt idx="31591">
                  <c:v>-1.6806722689075499E-3</c:v>
                </c:pt>
                <c:pt idx="31592">
                  <c:v>-1.6806722689075499E-3</c:v>
                </c:pt>
                <c:pt idx="31593">
                  <c:v>-1.6806722689075499E-3</c:v>
                </c:pt>
                <c:pt idx="31594">
                  <c:v>-1.6806722689075499E-3</c:v>
                </c:pt>
                <c:pt idx="31595">
                  <c:v>-1.6806722689075499E-3</c:v>
                </c:pt>
                <c:pt idx="31596">
                  <c:v>-1.6806722689075499E-3</c:v>
                </c:pt>
                <c:pt idx="31597">
                  <c:v>-1.6806722689075499E-3</c:v>
                </c:pt>
                <c:pt idx="31598">
                  <c:v>-1.6806722689075499E-3</c:v>
                </c:pt>
                <c:pt idx="31599">
                  <c:v>-1.6806722689075499E-3</c:v>
                </c:pt>
                <c:pt idx="31600">
                  <c:v>-1.6806722689075499E-3</c:v>
                </c:pt>
                <c:pt idx="31601">
                  <c:v>-1.6806722689075499E-3</c:v>
                </c:pt>
                <c:pt idx="31602">
                  <c:v>-1.6806722689075499E-3</c:v>
                </c:pt>
                <c:pt idx="31603">
                  <c:v>-1.6806722689075499E-3</c:v>
                </c:pt>
                <c:pt idx="31604">
                  <c:v>-1.6806722689075499E-3</c:v>
                </c:pt>
                <c:pt idx="31605">
                  <c:v>-1.6806722689075499E-3</c:v>
                </c:pt>
                <c:pt idx="31606">
                  <c:v>-1.6806722689075499E-3</c:v>
                </c:pt>
                <c:pt idx="31607">
                  <c:v>-1.6806722689075499E-3</c:v>
                </c:pt>
                <c:pt idx="31608">
                  <c:v>-1.6806722689075499E-3</c:v>
                </c:pt>
                <c:pt idx="31609">
                  <c:v>-1.6806722689075499E-3</c:v>
                </c:pt>
                <c:pt idx="31610">
                  <c:v>-1.6806722689075499E-3</c:v>
                </c:pt>
                <c:pt idx="31611">
                  <c:v>-2.5210084033613299E-3</c:v>
                </c:pt>
                <c:pt idx="31612">
                  <c:v>-2.5210084033613299E-3</c:v>
                </c:pt>
                <c:pt idx="31613">
                  <c:v>-2.5210084033613299E-3</c:v>
                </c:pt>
                <c:pt idx="31614">
                  <c:v>-2.5210084033613299E-3</c:v>
                </c:pt>
                <c:pt idx="31615">
                  <c:v>-2.5210084033613299E-3</c:v>
                </c:pt>
                <c:pt idx="31616">
                  <c:v>-2.5210084033613299E-3</c:v>
                </c:pt>
                <c:pt idx="31617">
                  <c:v>-2.5210084033613299E-3</c:v>
                </c:pt>
                <c:pt idx="31618">
                  <c:v>-2.5210084033613299E-3</c:v>
                </c:pt>
                <c:pt idx="31619">
                  <c:v>-2.5210084033613299E-3</c:v>
                </c:pt>
                <c:pt idx="31620">
                  <c:v>-2.5210084033613299E-3</c:v>
                </c:pt>
                <c:pt idx="31621">
                  <c:v>-2.5210084033613299E-3</c:v>
                </c:pt>
                <c:pt idx="31622">
                  <c:v>-2.5210084033613299E-3</c:v>
                </c:pt>
                <c:pt idx="31623">
                  <c:v>-2.5210084033613299E-3</c:v>
                </c:pt>
                <c:pt idx="31624">
                  <c:v>-1.6806722689075499E-3</c:v>
                </c:pt>
                <c:pt idx="31625">
                  <c:v>-1.6806722689075499E-3</c:v>
                </c:pt>
                <c:pt idx="31626">
                  <c:v>-1.6806722689075499E-3</c:v>
                </c:pt>
                <c:pt idx="31627">
                  <c:v>-1.6806722689075499E-3</c:v>
                </c:pt>
                <c:pt idx="31628">
                  <c:v>-1.6806722689075499E-3</c:v>
                </c:pt>
                <c:pt idx="31629">
                  <c:v>-1.6806722689075499E-3</c:v>
                </c:pt>
                <c:pt idx="31630">
                  <c:v>-1.6806722689075499E-3</c:v>
                </c:pt>
                <c:pt idx="31631">
                  <c:v>-1.6806722689075499E-3</c:v>
                </c:pt>
                <c:pt idx="31632">
                  <c:v>-1.6806722689075499E-3</c:v>
                </c:pt>
                <c:pt idx="31633">
                  <c:v>-1.6806722689075499E-3</c:v>
                </c:pt>
                <c:pt idx="31634">
                  <c:v>-1.6806722689075499E-3</c:v>
                </c:pt>
                <c:pt idx="31635">
                  <c:v>-1.6806722689075499E-3</c:v>
                </c:pt>
                <c:pt idx="31636">
                  <c:v>-1.6806722689075499E-3</c:v>
                </c:pt>
                <c:pt idx="31637">
                  <c:v>-1.6806722689075499E-3</c:v>
                </c:pt>
                <c:pt idx="31638">
                  <c:v>-1.6806722689075499E-3</c:v>
                </c:pt>
                <c:pt idx="31639">
                  <c:v>-1.6806722689075499E-3</c:v>
                </c:pt>
                <c:pt idx="31640">
                  <c:v>-1.6806722689075499E-3</c:v>
                </c:pt>
                <c:pt idx="31641">
                  <c:v>-1.6806722689075499E-3</c:v>
                </c:pt>
                <c:pt idx="31642">
                  <c:v>-1.6806722689075499E-3</c:v>
                </c:pt>
                <c:pt idx="31643">
                  <c:v>-1.6806722689075499E-3</c:v>
                </c:pt>
                <c:pt idx="31644">
                  <c:v>-1.6806722689075499E-3</c:v>
                </c:pt>
                <c:pt idx="31645">
                  <c:v>-1.6806722689075499E-3</c:v>
                </c:pt>
                <c:pt idx="31646">
                  <c:v>-1.6806722689075499E-3</c:v>
                </c:pt>
                <c:pt idx="31647">
                  <c:v>-1.6806722689075499E-3</c:v>
                </c:pt>
                <c:pt idx="31648">
                  <c:v>-1.6806722689075499E-3</c:v>
                </c:pt>
                <c:pt idx="31649">
                  <c:v>-1.6806722689075499E-3</c:v>
                </c:pt>
                <c:pt idx="31650">
                  <c:v>-1.6806722689075499E-3</c:v>
                </c:pt>
                <c:pt idx="31651">
                  <c:v>-1.6806722689075499E-3</c:v>
                </c:pt>
                <c:pt idx="31652">
                  <c:v>-1.6806722689075499E-3</c:v>
                </c:pt>
                <c:pt idx="31653">
                  <c:v>-1.6806722689075499E-3</c:v>
                </c:pt>
                <c:pt idx="31654">
                  <c:v>-1.6806722689075499E-3</c:v>
                </c:pt>
                <c:pt idx="31655">
                  <c:v>-1.6806722689075499E-3</c:v>
                </c:pt>
                <c:pt idx="31656">
                  <c:v>-1.6806722689075499E-3</c:v>
                </c:pt>
                <c:pt idx="31657">
                  <c:v>-1.6806722689075499E-3</c:v>
                </c:pt>
                <c:pt idx="31658">
                  <c:v>-1.6806722689075499E-3</c:v>
                </c:pt>
                <c:pt idx="31659">
                  <c:v>-2.5210084033613299E-3</c:v>
                </c:pt>
                <c:pt idx="31660">
                  <c:v>-2.5210084033613299E-3</c:v>
                </c:pt>
                <c:pt idx="31661">
                  <c:v>-2.5210084033613299E-3</c:v>
                </c:pt>
                <c:pt idx="31662">
                  <c:v>-2.5210084033613299E-3</c:v>
                </c:pt>
                <c:pt idx="31663">
                  <c:v>-2.5210084033613299E-3</c:v>
                </c:pt>
                <c:pt idx="31664">
                  <c:v>-2.5210084033613299E-3</c:v>
                </c:pt>
                <c:pt idx="31665">
                  <c:v>-2.5210084033613299E-3</c:v>
                </c:pt>
                <c:pt idx="31666">
                  <c:v>-2.5210084033613299E-3</c:v>
                </c:pt>
                <c:pt idx="31667">
                  <c:v>-2.5210084033613299E-3</c:v>
                </c:pt>
                <c:pt idx="31668">
                  <c:v>-2.5210084033613299E-3</c:v>
                </c:pt>
                <c:pt idx="31669">
                  <c:v>-2.5210084033613299E-3</c:v>
                </c:pt>
                <c:pt idx="31670">
                  <c:v>-2.5210084033613299E-3</c:v>
                </c:pt>
                <c:pt idx="31671">
                  <c:v>-2.5210084033613299E-3</c:v>
                </c:pt>
                <c:pt idx="31672">
                  <c:v>-2.5210084033613299E-3</c:v>
                </c:pt>
                <c:pt idx="31673">
                  <c:v>-2.5210084033613299E-3</c:v>
                </c:pt>
                <c:pt idx="31674">
                  <c:v>-2.5210084033613299E-3</c:v>
                </c:pt>
                <c:pt idx="31675">
                  <c:v>-2.5210084033613299E-3</c:v>
                </c:pt>
                <c:pt idx="31676">
                  <c:v>-2.5210084033613299E-3</c:v>
                </c:pt>
                <c:pt idx="31677">
                  <c:v>-2.5210084033613299E-3</c:v>
                </c:pt>
                <c:pt idx="31678">
                  <c:v>-2.5210084033613299E-3</c:v>
                </c:pt>
                <c:pt idx="31679">
                  <c:v>-2.5210084033613299E-3</c:v>
                </c:pt>
                <c:pt idx="31680">
                  <c:v>-2.5210084033613299E-3</c:v>
                </c:pt>
                <c:pt idx="31681">
                  <c:v>-2.5210084033613299E-3</c:v>
                </c:pt>
                <c:pt idx="31682">
                  <c:v>-2.5210084033613299E-3</c:v>
                </c:pt>
                <c:pt idx="31683">
                  <c:v>-2.5210084033613299E-3</c:v>
                </c:pt>
                <c:pt idx="31684">
                  <c:v>-2.5210084033613299E-3</c:v>
                </c:pt>
                <c:pt idx="31685">
                  <c:v>-2.5210084033613299E-3</c:v>
                </c:pt>
                <c:pt idx="31686">
                  <c:v>-2.5210084033613299E-3</c:v>
                </c:pt>
                <c:pt idx="31687">
                  <c:v>-2.5210084033613299E-3</c:v>
                </c:pt>
                <c:pt idx="31688">
                  <c:v>-2.5210084033613299E-3</c:v>
                </c:pt>
                <c:pt idx="31689">
                  <c:v>-2.5210084033613299E-3</c:v>
                </c:pt>
                <c:pt idx="31690">
                  <c:v>-2.5210084033613299E-3</c:v>
                </c:pt>
                <c:pt idx="31691">
                  <c:v>-2.5210084033613299E-3</c:v>
                </c:pt>
                <c:pt idx="31692">
                  <c:v>-2.5210084033613299E-3</c:v>
                </c:pt>
                <c:pt idx="31693">
                  <c:v>-2.5210084033613299E-3</c:v>
                </c:pt>
                <c:pt idx="31694">
                  <c:v>-2.5210084033613299E-3</c:v>
                </c:pt>
                <c:pt idx="31695">
                  <c:v>-2.5210084033613299E-3</c:v>
                </c:pt>
                <c:pt idx="31696">
                  <c:v>-2.5210084033613299E-3</c:v>
                </c:pt>
                <c:pt idx="31697">
                  <c:v>-2.5210084033613299E-3</c:v>
                </c:pt>
                <c:pt idx="31698">
                  <c:v>-2.5210084033613299E-3</c:v>
                </c:pt>
                <c:pt idx="31699">
                  <c:v>-2.5210084033613299E-3</c:v>
                </c:pt>
                <c:pt idx="31700">
                  <c:v>-2.5210084033613299E-3</c:v>
                </c:pt>
                <c:pt idx="31701">
                  <c:v>-2.5210084033613299E-3</c:v>
                </c:pt>
                <c:pt idx="31702">
                  <c:v>-2.5210084033613299E-3</c:v>
                </c:pt>
                <c:pt idx="31703">
                  <c:v>-2.5210084033613299E-3</c:v>
                </c:pt>
                <c:pt idx="31704">
                  <c:v>-2.5210084033613299E-3</c:v>
                </c:pt>
                <c:pt idx="31705">
                  <c:v>-2.5210084033613299E-3</c:v>
                </c:pt>
                <c:pt idx="31706">
                  <c:v>-2.5210084033613299E-3</c:v>
                </c:pt>
                <c:pt idx="31707">
                  <c:v>-2.5210084033613299E-3</c:v>
                </c:pt>
                <c:pt idx="31708">
                  <c:v>-2.5210084033613299E-3</c:v>
                </c:pt>
                <c:pt idx="31709">
                  <c:v>-2.5210084033613299E-3</c:v>
                </c:pt>
                <c:pt idx="31710">
                  <c:v>-2.5210084033613299E-3</c:v>
                </c:pt>
                <c:pt idx="31711">
                  <c:v>-2.5210084033613299E-3</c:v>
                </c:pt>
                <c:pt idx="31712">
                  <c:v>-2.5210084033613299E-3</c:v>
                </c:pt>
                <c:pt idx="31713">
                  <c:v>-2.5210084033613299E-3</c:v>
                </c:pt>
                <c:pt idx="31714">
                  <c:v>-2.5210084033613299E-3</c:v>
                </c:pt>
                <c:pt idx="31715">
                  <c:v>-2.5210084033613299E-3</c:v>
                </c:pt>
                <c:pt idx="31716">
                  <c:v>-2.5210084033613299E-3</c:v>
                </c:pt>
                <c:pt idx="31717">
                  <c:v>-2.5210084033613299E-3</c:v>
                </c:pt>
                <c:pt idx="31718">
                  <c:v>-2.5210084033613299E-3</c:v>
                </c:pt>
                <c:pt idx="31719">
                  <c:v>-2.5210084033613299E-3</c:v>
                </c:pt>
                <c:pt idx="31720">
                  <c:v>-2.5210084033613299E-3</c:v>
                </c:pt>
                <c:pt idx="31721">
                  <c:v>-2.5210084033613299E-3</c:v>
                </c:pt>
                <c:pt idx="31722">
                  <c:v>-2.5210084033613299E-3</c:v>
                </c:pt>
                <c:pt idx="31723">
                  <c:v>-2.5210084033613299E-3</c:v>
                </c:pt>
                <c:pt idx="31724">
                  <c:v>-2.5210084033613299E-3</c:v>
                </c:pt>
                <c:pt idx="31725">
                  <c:v>-2.5210084033613299E-3</c:v>
                </c:pt>
                <c:pt idx="31726">
                  <c:v>-2.5210084033613299E-3</c:v>
                </c:pt>
                <c:pt idx="31727">
                  <c:v>-2.5210084033613299E-3</c:v>
                </c:pt>
                <c:pt idx="31728">
                  <c:v>-2.5210084033613299E-3</c:v>
                </c:pt>
                <c:pt idx="31729">
                  <c:v>-2.5210084033613299E-3</c:v>
                </c:pt>
                <c:pt idx="31730">
                  <c:v>-2.5210084033613299E-3</c:v>
                </c:pt>
                <c:pt idx="31731">
                  <c:v>-2.5210084033613299E-3</c:v>
                </c:pt>
                <c:pt idx="31732">
                  <c:v>-2.5210084033613299E-3</c:v>
                </c:pt>
                <c:pt idx="31733">
                  <c:v>-2.5210084033613299E-3</c:v>
                </c:pt>
                <c:pt idx="31734">
                  <c:v>-2.5210084033613299E-3</c:v>
                </c:pt>
                <c:pt idx="31735">
                  <c:v>-2.5210084033613299E-3</c:v>
                </c:pt>
                <c:pt idx="31736">
                  <c:v>-2.5210084033613299E-3</c:v>
                </c:pt>
                <c:pt idx="31737">
                  <c:v>-2.5210084033613299E-3</c:v>
                </c:pt>
                <c:pt idx="31738">
                  <c:v>-2.5210084033613299E-3</c:v>
                </c:pt>
                <c:pt idx="31739">
                  <c:v>-2.5210084033613299E-3</c:v>
                </c:pt>
                <c:pt idx="31740">
                  <c:v>-2.5210084033613299E-3</c:v>
                </c:pt>
                <c:pt idx="31741">
                  <c:v>-1.6806722689075499E-3</c:v>
                </c:pt>
                <c:pt idx="31742">
                  <c:v>-1.6806722689075499E-3</c:v>
                </c:pt>
                <c:pt idx="31743">
                  <c:v>-1.6806722689075499E-3</c:v>
                </c:pt>
                <c:pt idx="31744">
                  <c:v>-1.6806722689075499E-3</c:v>
                </c:pt>
                <c:pt idx="31745">
                  <c:v>-1.6806722689075499E-3</c:v>
                </c:pt>
                <c:pt idx="31746">
                  <c:v>-1.6806722689075499E-3</c:v>
                </c:pt>
                <c:pt idx="31747">
                  <c:v>-8.4033613445377799E-4</c:v>
                </c:pt>
                <c:pt idx="31748">
                  <c:v>-8.4033613445377799E-4</c:v>
                </c:pt>
                <c:pt idx="31749">
                  <c:v>-8.4033613445377799E-4</c:v>
                </c:pt>
                <c:pt idx="31750">
                  <c:v>-8.4033613445377799E-4</c:v>
                </c:pt>
                <c:pt idx="31751">
                  <c:v>-8.4033613445377799E-4</c:v>
                </c:pt>
                <c:pt idx="31752">
                  <c:v>-8.4033613445377799E-4</c:v>
                </c:pt>
                <c:pt idx="31753">
                  <c:v>-8.4033613445377799E-4</c:v>
                </c:pt>
                <c:pt idx="31754">
                  <c:v>-8.4033613445377799E-4</c:v>
                </c:pt>
                <c:pt idx="31755">
                  <c:v>-8.4033613445377799E-4</c:v>
                </c:pt>
                <c:pt idx="31756">
                  <c:v>-8.4033613445377799E-4</c:v>
                </c:pt>
                <c:pt idx="31757">
                  <c:v>-8.4033613445377799E-4</c:v>
                </c:pt>
                <c:pt idx="31758">
                  <c:v>-8.4033613445377799E-4</c:v>
                </c:pt>
                <c:pt idx="31759">
                  <c:v>-8.4033613445377799E-4</c:v>
                </c:pt>
                <c:pt idx="31760">
                  <c:v>-8.4033613445377799E-4</c:v>
                </c:pt>
                <c:pt idx="31761">
                  <c:v>-8.4033613445377799E-4</c:v>
                </c:pt>
                <c:pt idx="31762">
                  <c:v>-8.4033613445377799E-4</c:v>
                </c:pt>
                <c:pt idx="31763">
                  <c:v>-8.4033613445377799E-4</c:v>
                </c:pt>
                <c:pt idx="31764">
                  <c:v>-8.4033613445377799E-4</c:v>
                </c:pt>
                <c:pt idx="31765">
                  <c:v>-8.4033613445377799E-4</c:v>
                </c:pt>
                <c:pt idx="31766">
                  <c:v>-8.4033613445377799E-4</c:v>
                </c:pt>
                <c:pt idx="31767">
                  <c:v>-8.4033613445377799E-4</c:v>
                </c:pt>
                <c:pt idx="31768">
                  <c:v>-8.4033613445377799E-4</c:v>
                </c:pt>
                <c:pt idx="31769">
                  <c:v>-8.4033613445377799E-4</c:v>
                </c:pt>
                <c:pt idx="31770">
                  <c:v>-8.4033613445377799E-4</c:v>
                </c:pt>
                <c:pt idx="31771">
                  <c:v>-8.4033613445377799E-4</c:v>
                </c:pt>
                <c:pt idx="31772">
                  <c:v>-8.4033613445377799E-4</c:v>
                </c:pt>
                <c:pt idx="31773">
                  <c:v>-8.4033613445377799E-4</c:v>
                </c:pt>
                <c:pt idx="31774">
                  <c:v>-8.4033613445377799E-4</c:v>
                </c:pt>
                <c:pt idx="31775">
                  <c:v>0</c:v>
                </c:pt>
                <c:pt idx="31776">
                  <c:v>0</c:v>
                </c:pt>
                <c:pt idx="31777">
                  <c:v>0</c:v>
                </c:pt>
                <c:pt idx="31778">
                  <c:v>0</c:v>
                </c:pt>
                <c:pt idx="31779">
                  <c:v>0</c:v>
                </c:pt>
                <c:pt idx="31780">
                  <c:v>0</c:v>
                </c:pt>
                <c:pt idx="31781">
                  <c:v>0</c:v>
                </c:pt>
                <c:pt idx="31782">
                  <c:v>0</c:v>
                </c:pt>
                <c:pt idx="31783">
                  <c:v>0</c:v>
                </c:pt>
                <c:pt idx="31784">
                  <c:v>0</c:v>
                </c:pt>
                <c:pt idx="31785">
                  <c:v>0</c:v>
                </c:pt>
                <c:pt idx="31786">
                  <c:v>0</c:v>
                </c:pt>
                <c:pt idx="31787">
                  <c:v>0</c:v>
                </c:pt>
                <c:pt idx="31788">
                  <c:v>0</c:v>
                </c:pt>
                <c:pt idx="31789">
                  <c:v>0</c:v>
                </c:pt>
                <c:pt idx="31790">
                  <c:v>0</c:v>
                </c:pt>
                <c:pt idx="31791">
                  <c:v>0</c:v>
                </c:pt>
                <c:pt idx="31792">
                  <c:v>0</c:v>
                </c:pt>
                <c:pt idx="31793">
                  <c:v>0</c:v>
                </c:pt>
                <c:pt idx="31794">
                  <c:v>0</c:v>
                </c:pt>
                <c:pt idx="31795">
                  <c:v>0</c:v>
                </c:pt>
                <c:pt idx="31796">
                  <c:v>0</c:v>
                </c:pt>
                <c:pt idx="31797">
                  <c:v>0</c:v>
                </c:pt>
                <c:pt idx="31798">
                  <c:v>0</c:v>
                </c:pt>
                <c:pt idx="31799">
                  <c:v>0</c:v>
                </c:pt>
                <c:pt idx="31800">
                  <c:v>0</c:v>
                </c:pt>
                <c:pt idx="31801">
                  <c:v>0</c:v>
                </c:pt>
                <c:pt idx="31802">
                  <c:v>-8.4033613445377799E-4</c:v>
                </c:pt>
                <c:pt idx="31803">
                  <c:v>-8.4033613445377799E-4</c:v>
                </c:pt>
                <c:pt idx="31804">
                  <c:v>-8.4033613445377799E-4</c:v>
                </c:pt>
                <c:pt idx="31805">
                  <c:v>-8.4033613445377799E-4</c:v>
                </c:pt>
                <c:pt idx="31806">
                  <c:v>0</c:v>
                </c:pt>
                <c:pt idx="31807">
                  <c:v>0</c:v>
                </c:pt>
                <c:pt idx="31808">
                  <c:v>0</c:v>
                </c:pt>
                <c:pt idx="31809">
                  <c:v>0</c:v>
                </c:pt>
                <c:pt idx="31810">
                  <c:v>0</c:v>
                </c:pt>
                <c:pt idx="31811">
                  <c:v>0</c:v>
                </c:pt>
                <c:pt idx="31812">
                  <c:v>0</c:v>
                </c:pt>
                <c:pt idx="31813">
                  <c:v>0</c:v>
                </c:pt>
                <c:pt idx="31814">
                  <c:v>0</c:v>
                </c:pt>
                <c:pt idx="31815">
                  <c:v>0</c:v>
                </c:pt>
                <c:pt idx="31816">
                  <c:v>0</c:v>
                </c:pt>
                <c:pt idx="31817">
                  <c:v>0</c:v>
                </c:pt>
                <c:pt idx="31818">
                  <c:v>0</c:v>
                </c:pt>
                <c:pt idx="31819">
                  <c:v>0</c:v>
                </c:pt>
                <c:pt idx="31820">
                  <c:v>0</c:v>
                </c:pt>
                <c:pt idx="31821">
                  <c:v>0</c:v>
                </c:pt>
                <c:pt idx="31822">
                  <c:v>0</c:v>
                </c:pt>
                <c:pt idx="31823">
                  <c:v>0</c:v>
                </c:pt>
                <c:pt idx="31824">
                  <c:v>0</c:v>
                </c:pt>
                <c:pt idx="31825">
                  <c:v>0</c:v>
                </c:pt>
                <c:pt idx="31826">
                  <c:v>0</c:v>
                </c:pt>
                <c:pt idx="31827">
                  <c:v>0</c:v>
                </c:pt>
                <c:pt idx="31828">
                  <c:v>0</c:v>
                </c:pt>
                <c:pt idx="31829">
                  <c:v>0</c:v>
                </c:pt>
                <c:pt idx="31830">
                  <c:v>0</c:v>
                </c:pt>
                <c:pt idx="31831">
                  <c:v>0</c:v>
                </c:pt>
                <c:pt idx="31832">
                  <c:v>0</c:v>
                </c:pt>
                <c:pt idx="31833">
                  <c:v>0</c:v>
                </c:pt>
                <c:pt idx="31834">
                  <c:v>0</c:v>
                </c:pt>
                <c:pt idx="31835">
                  <c:v>0</c:v>
                </c:pt>
                <c:pt idx="31836">
                  <c:v>0</c:v>
                </c:pt>
                <c:pt idx="31837">
                  <c:v>0</c:v>
                </c:pt>
                <c:pt idx="31838">
                  <c:v>0</c:v>
                </c:pt>
                <c:pt idx="31839">
                  <c:v>0</c:v>
                </c:pt>
                <c:pt idx="31840">
                  <c:v>0</c:v>
                </c:pt>
                <c:pt idx="31841">
                  <c:v>0</c:v>
                </c:pt>
                <c:pt idx="31842">
                  <c:v>0</c:v>
                </c:pt>
                <c:pt idx="31843">
                  <c:v>0</c:v>
                </c:pt>
                <c:pt idx="31844">
                  <c:v>0</c:v>
                </c:pt>
                <c:pt idx="31845">
                  <c:v>0</c:v>
                </c:pt>
                <c:pt idx="31846">
                  <c:v>0</c:v>
                </c:pt>
                <c:pt idx="31847">
                  <c:v>0</c:v>
                </c:pt>
                <c:pt idx="31848">
                  <c:v>0</c:v>
                </c:pt>
                <c:pt idx="31849">
                  <c:v>0</c:v>
                </c:pt>
                <c:pt idx="31850">
                  <c:v>0</c:v>
                </c:pt>
                <c:pt idx="31851">
                  <c:v>0</c:v>
                </c:pt>
                <c:pt idx="31852">
                  <c:v>0</c:v>
                </c:pt>
                <c:pt idx="31853">
                  <c:v>0</c:v>
                </c:pt>
                <c:pt idx="31854">
                  <c:v>0</c:v>
                </c:pt>
                <c:pt idx="31855">
                  <c:v>0</c:v>
                </c:pt>
                <c:pt idx="31856">
                  <c:v>0</c:v>
                </c:pt>
                <c:pt idx="31857">
                  <c:v>0</c:v>
                </c:pt>
                <c:pt idx="31858">
                  <c:v>0</c:v>
                </c:pt>
                <c:pt idx="31859">
                  <c:v>0</c:v>
                </c:pt>
                <c:pt idx="31860">
                  <c:v>0</c:v>
                </c:pt>
                <c:pt idx="31861">
                  <c:v>0</c:v>
                </c:pt>
                <c:pt idx="31862">
                  <c:v>0</c:v>
                </c:pt>
                <c:pt idx="31863">
                  <c:v>0</c:v>
                </c:pt>
                <c:pt idx="31864">
                  <c:v>0</c:v>
                </c:pt>
                <c:pt idx="31865">
                  <c:v>0</c:v>
                </c:pt>
                <c:pt idx="31866">
                  <c:v>0</c:v>
                </c:pt>
                <c:pt idx="31867">
                  <c:v>0</c:v>
                </c:pt>
                <c:pt idx="31868">
                  <c:v>0</c:v>
                </c:pt>
                <c:pt idx="31869">
                  <c:v>0</c:v>
                </c:pt>
                <c:pt idx="31870">
                  <c:v>0</c:v>
                </c:pt>
                <c:pt idx="31871">
                  <c:v>0</c:v>
                </c:pt>
                <c:pt idx="31872">
                  <c:v>0</c:v>
                </c:pt>
                <c:pt idx="31873">
                  <c:v>0</c:v>
                </c:pt>
                <c:pt idx="31874">
                  <c:v>0</c:v>
                </c:pt>
                <c:pt idx="31875">
                  <c:v>0</c:v>
                </c:pt>
                <c:pt idx="31876">
                  <c:v>0</c:v>
                </c:pt>
                <c:pt idx="31877">
                  <c:v>0</c:v>
                </c:pt>
                <c:pt idx="31878">
                  <c:v>0</c:v>
                </c:pt>
                <c:pt idx="31879">
                  <c:v>0</c:v>
                </c:pt>
                <c:pt idx="31880">
                  <c:v>0</c:v>
                </c:pt>
                <c:pt idx="31881">
                  <c:v>0</c:v>
                </c:pt>
                <c:pt idx="31882">
                  <c:v>0</c:v>
                </c:pt>
                <c:pt idx="31883">
                  <c:v>0</c:v>
                </c:pt>
                <c:pt idx="31884">
                  <c:v>0</c:v>
                </c:pt>
                <c:pt idx="31885">
                  <c:v>0</c:v>
                </c:pt>
                <c:pt idx="31886">
                  <c:v>0</c:v>
                </c:pt>
                <c:pt idx="31887">
                  <c:v>0</c:v>
                </c:pt>
                <c:pt idx="31888">
                  <c:v>0</c:v>
                </c:pt>
                <c:pt idx="31889">
                  <c:v>0</c:v>
                </c:pt>
                <c:pt idx="31890">
                  <c:v>0</c:v>
                </c:pt>
                <c:pt idx="31891">
                  <c:v>0</c:v>
                </c:pt>
                <c:pt idx="31892">
                  <c:v>0</c:v>
                </c:pt>
                <c:pt idx="31893">
                  <c:v>0</c:v>
                </c:pt>
                <c:pt idx="31894">
                  <c:v>8.4033613445377799E-4</c:v>
                </c:pt>
                <c:pt idx="31895">
                  <c:v>8.4033613445377799E-4</c:v>
                </c:pt>
                <c:pt idx="31896">
                  <c:v>8.4033613445377799E-4</c:v>
                </c:pt>
                <c:pt idx="31897">
                  <c:v>8.4033613445377799E-4</c:v>
                </c:pt>
                <c:pt idx="31898">
                  <c:v>8.4033613445377799E-4</c:v>
                </c:pt>
                <c:pt idx="31899">
                  <c:v>8.4033613445377799E-4</c:v>
                </c:pt>
                <c:pt idx="31900">
                  <c:v>8.4033613445377799E-4</c:v>
                </c:pt>
                <c:pt idx="31901">
                  <c:v>8.4033613445377799E-4</c:v>
                </c:pt>
                <c:pt idx="31902">
                  <c:v>8.4033613445377799E-4</c:v>
                </c:pt>
                <c:pt idx="31903">
                  <c:v>8.4033613445377799E-4</c:v>
                </c:pt>
                <c:pt idx="31904">
                  <c:v>8.4033613445377799E-4</c:v>
                </c:pt>
                <c:pt idx="31905">
                  <c:v>8.4033613445377799E-4</c:v>
                </c:pt>
                <c:pt idx="31906">
                  <c:v>8.4033613445377799E-4</c:v>
                </c:pt>
                <c:pt idx="31907">
                  <c:v>8.4033613445377799E-4</c:v>
                </c:pt>
                <c:pt idx="31908">
                  <c:v>8.4033613445377799E-4</c:v>
                </c:pt>
                <c:pt idx="31909">
                  <c:v>8.4033613445377799E-4</c:v>
                </c:pt>
                <c:pt idx="31910">
                  <c:v>8.4033613445377799E-4</c:v>
                </c:pt>
                <c:pt idx="31911">
                  <c:v>8.4033613445377799E-4</c:v>
                </c:pt>
                <c:pt idx="31912">
                  <c:v>8.4033613445377799E-4</c:v>
                </c:pt>
                <c:pt idx="31913">
                  <c:v>8.4033613445377799E-4</c:v>
                </c:pt>
                <c:pt idx="31914">
                  <c:v>8.4033613445377799E-4</c:v>
                </c:pt>
                <c:pt idx="31915">
                  <c:v>8.4033613445377799E-4</c:v>
                </c:pt>
                <c:pt idx="31916">
                  <c:v>8.4033613445377799E-4</c:v>
                </c:pt>
                <c:pt idx="31917">
                  <c:v>8.4033613445377799E-4</c:v>
                </c:pt>
                <c:pt idx="31918">
                  <c:v>8.4033613445377799E-4</c:v>
                </c:pt>
                <c:pt idx="31919">
                  <c:v>8.4033613445377799E-4</c:v>
                </c:pt>
                <c:pt idx="31920">
                  <c:v>8.4033613445377799E-4</c:v>
                </c:pt>
                <c:pt idx="31921">
                  <c:v>8.4033613445377799E-4</c:v>
                </c:pt>
                <c:pt idx="31922">
                  <c:v>8.4033613445377799E-4</c:v>
                </c:pt>
                <c:pt idx="31923">
                  <c:v>8.4033613445377799E-4</c:v>
                </c:pt>
                <c:pt idx="31924">
                  <c:v>1.6806722689075499E-3</c:v>
                </c:pt>
                <c:pt idx="31925">
                  <c:v>1.6806722689075499E-3</c:v>
                </c:pt>
                <c:pt idx="31926">
                  <c:v>1.6806722689075499E-3</c:v>
                </c:pt>
                <c:pt idx="31927">
                  <c:v>1.6806722689075499E-3</c:v>
                </c:pt>
                <c:pt idx="31928">
                  <c:v>1.6806722689075499E-3</c:v>
                </c:pt>
                <c:pt idx="31929">
                  <c:v>1.6806722689075499E-3</c:v>
                </c:pt>
                <c:pt idx="31930">
                  <c:v>1.6806722689075499E-3</c:v>
                </c:pt>
                <c:pt idx="31931">
                  <c:v>1.6806722689075499E-3</c:v>
                </c:pt>
                <c:pt idx="31932">
                  <c:v>1.6806722689075499E-3</c:v>
                </c:pt>
                <c:pt idx="31933">
                  <c:v>1.6806722689075499E-3</c:v>
                </c:pt>
                <c:pt idx="31934">
                  <c:v>1.6806722689075499E-3</c:v>
                </c:pt>
                <c:pt idx="31935">
                  <c:v>1.6806722689075499E-3</c:v>
                </c:pt>
                <c:pt idx="31936">
                  <c:v>1.6806722689075499E-3</c:v>
                </c:pt>
                <c:pt idx="31937">
                  <c:v>1.6806722689075499E-3</c:v>
                </c:pt>
                <c:pt idx="31938">
                  <c:v>1.6806722689075499E-3</c:v>
                </c:pt>
                <c:pt idx="31939">
                  <c:v>1.6806722689075499E-3</c:v>
                </c:pt>
                <c:pt idx="31940">
                  <c:v>1.6806722689075499E-3</c:v>
                </c:pt>
                <c:pt idx="31941">
                  <c:v>1.6806722689075499E-3</c:v>
                </c:pt>
                <c:pt idx="31942">
                  <c:v>1.6806722689075499E-3</c:v>
                </c:pt>
                <c:pt idx="31943">
                  <c:v>1.6806722689075499E-3</c:v>
                </c:pt>
                <c:pt idx="31944">
                  <c:v>1.6806722689075499E-3</c:v>
                </c:pt>
                <c:pt idx="31945">
                  <c:v>1.6806722689075499E-3</c:v>
                </c:pt>
                <c:pt idx="31946">
                  <c:v>1.6806722689075499E-3</c:v>
                </c:pt>
                <c:pt idx="31947">
                  <c:v>1.6806722689075499E-3</c:v>
                </c:pt>
                <c:pt idx="31948">
                  <c:v>1.6806722689075499E-3</c:v>
                </c:pt>
                <c:pt idx="31949">
                  <c:v>1.6806722689075499E-3</c:v>
                </c:pt>
                <c:pt idx="31950">
                  <c:v>1.6806722689075499E-3</c:v>
                </c:pt>
                <c:pt idx="31951">
                  <c:v>1.6806722689075499E-3</c:v>
                </c:pt>
                <c:pt idx="31952">
                  <c:v>1.6806722689075499E-3</c:v>
                </c:pt>
                <c:pt idx="31953">
                  <c:v>1.6806722689075499E-3</c:v>
                </c:pt>
                <c:pt idx="31954">
                  <c:v>1.6806722689075499E-3</c:v>
                </c:pt>
                <c:pt idx="31955">
                  <c:v>1.6806722689075499E-3</c:v>
                </c:pt>
                <c:pt idx="31956">
                  <c:v>1.6806722689075499E-3</c:v>
                </c:pt>
                <c:pt idx="31957">
                  <c:v>1.6806722689075499E-3</c:v>
                </c:pt>
                <c:pt idx="31958">
                  <c:v>1.6806722689075499E-3</c:v>
                </c:pt>
                <c:pt idx="31959">
                  <c:v>1.6806722689075499E-3</c:v>
                </c:pt>
                <c:pt idx="31960">
                  <c:v>1.6806722689075499E-3</c:v>
                </c:pt>
                <c:pt idx="31961">
                  <c:v>1.6806722689075499E-3</c:v>
                </c:pt>
                <c:pt idx="31962">
                  <c:v>1.6806722689075499E-3</c:v>
                </c:pt>
                <c:pt idx="31963">
                  <c:v>1.6806722689075499E-3</c:v>
                </c:pt>
                <c:pt idx="31964">
                  <c:v>1.6806722689075499E-3</c:v>
                </c:pt>
                <c:pt idx="31965">
                  <c:v>1.6806722689075499E-3</c:v>
                </c:pt>
                <c:pt idx="31966">
                  <c:v>1.6806722689075499E-3</c:v>
                </c:pt>
                <c:pt idx="31967">
                  <c:v>1.6806722689075499E-3</c:v>
                </c:pt>
                <c:pt idx="31968">
                  <c:v>1.6806722689075499E-3</c:v>
                </c:pt>
                <c:pt idx="31969">
                  <c:v>1.6806722689075499E-3</c:v>
                </c:pt>
                <c:pt idx="31970">
                  <c:v>1.6806722689075499E-3</c:v>
                </c:pt>
                <c:pt idx="31971">
                  <c:v>1.6806722689075499E-3</c:v>
                </c:pt>
                <c:pt idx="31972">
                  <c:v>1.6806722689075499E-3</c:v>
                </c:pt>
                <c:pt idx="31973">
                  <c:v>1.6806722689075499E-3</c:v>
                </c:pt>
                <c:pt idx="31974">
                  <c:v>1.6806722689075499E-3</c:v>
                </c:pt>
                <c:pt idx="31975">
                  <c:v>1.6806722689075499E-3</c:v>
                </c:pt>
                <c:pt idx="31976">
                  <c:v>1.6806722689075499E-3</c:v>
                </c:pt>
                <c:pt idx="31977">
                  <c:v>1.6806722689075499E-3</c:v>
                </c:pt>
                <c:pt idx="31978">
                  <c:v>1.6806722689075499E-3</c:v>
                </c:pt>
                <c:pt idx="31979">
                  <c:v>1.6806722689075499E-3</c:v>
                </c:pt>
                <c:pt idx="31980">
                  <c:v>1.6806722689075499E-3</c:v>
                </c:pt>
                <c:pt idx="31981">
                  <c:v>1.6806722689075499E-3</c:v>
                </c:pt>
                <c:pt idx="31982">
                  <c:v>1.6806722689075499E-3</c:v>
                </c:pt>
                <c:pt idx="31983">
                  <c:v>1.6806722689075499E-3</c:v>
                </c:pt>
                <c:pt idx="31984">
                  <c:v>1.6806722689075499E-3</c:v>
                </c:pt>
                <c:pt idx="31985">
                  <c:v>1.6806722689075499E-3</c:v>
                </c:pt>
                <c:pt idx="31986">
                  <c:v>1.6806722689075499E-3</c:v>
                </c:pt>
                <c:pt idx="31987">
                  <c:v>1.6806722689075499E-3</c:v>
                </c:pt>
                <c:pt idx="31988">
                  <c:v>1.6806722689075499E-3</c:v>
                </c:pt>
                <c:pt idx="31989">
                  <c:v>1.6806722689075499E-3</c:v>
                </c:pt>
                <c:pt idx="31990">
                  <c:v>1.6806722689075499E-3</c:v>
                </c:pt>
                <c:pt idx="31991">
                  <c:v>1.6806722689075499E-3</c:v>
                </c:pt>
                <c:pt idx="31992">
                  <c:v>1.6806722689075499E-3</c:v>
                </c:pt>
                <c:pt idx="31993">
                  <c:v>1.6806722689075499E-3</c:v>
                </c:pt>
                <c:pt idx="31994">
                  <c:v>1.6806722689075499E-3</c:v>
                </c:pt>
                <c:pt idx="31995">
                  <c:v>1.6806722689075499E-3</c:v>
                </c:pt>
                <c:pt idx="31996">
                  <c:v>1.6806722689075499E-3</c:v>
                </c:pt>
                <c:pt idx="31997">
                  <c:v>1.6806722689075499E-3</c:v>
                </c:pt>
                <c:pt idx="31998">
                  <c:v>1.6806722689075499E-3</c:v>
                </c:pt>
                <c:pt idx="31999">
                  <c:v>1.6806722689075499E-3</c:v>
                </c:pt>
                <c:pt idx="32000">
                  <c:v>1.6806722689075499E-3</c:v>
                </c:pt>
                <c:pt idx="32001">
                  <c:v>1.6806722689075499E-3</c:v>
                </c:pt>
                <c:pt idx="32002">
                  <c:v>1.6806722689075499E-3</c:v>
                </c:pt>
                <c:pt idx="32003">
                  <c:v>1.6806722689075499E-3</c:v>
                </c:pt>
                <c:pt idx="32004">
                  <c:v>1.6806722689075499E-3</c:v>
                </c:pt>
                <c:pt idx="32005">
                  <c:v>1.6806722689075499E-3</c:v>
                </c:pt>
                <c:pt idx="32006">
                  <c:v>1.6806722689075499E-3</c:v>
                </c:pt>
                <c:pt idx="32007">
                  <c:v>1.6806722689075499E-3</c:v>
                </c:pt>
                <c:pt idx="32008">
                  <c:v>1.6806722689075499E-3</c:v>
                </c:pt>
                <c:pt idx="32009">
                  <c:v>1.6806722689075499E-3</c:v>
                </c:pt>
                <c:pt idx="32010">
                  <c:v>1.6806722689075499E-3</c:v>
                </c:pt>
                <c:pt idx="32011">
                  <c:v>1.6806722689075499E-3</c:v>
                </c:pt>
                <c:pt idx="32012">
                  <c:v>1.6806722689075499E-3</c:v>
                </c:pt>
                <c:pt idx="32013">
                  <c:v>1.6806722689075499E-3</c:v>
                </c:pt>
                <c:pt idx="32014">
                  <c:v>1.6806722689075499E-3</c:v>
                </c:pt>
                <c:pt idx="32015">
                  <c:v>1.6806722689075499E-3</c:v>
                </c:pt>
                <c:pt idx="32016">
                  <c:v>1.6806722689075499E-3</c:v>
                </c:pt>
                <c:pt idx="32017">
                  <c:v>1.6806722689075499E-3</c:v>
                </c:pt>
                <c:pt idx="32018">
                  <c:v>1.6806722689075499E-3</c:v>
                </c:pt>
                <c:pt idx="32019">
                  <c:v>1.6806722689075499E-3</c:v>
                </c:pt>
                <c:pt idx="32020">
                  <c:v>1.6806722689075499E-3</c:v>
                </c:pt>
                <c:pt idx="32021">
                  <c:v>1.6806722689075499E-3</c:v>
                </c:pt>
                <c:pt idx="32022">
                  <c:v>1.6806722689075499E-3</c:v>
                </c:pt>
                <c:pt idx="32023">
                  <c:v>1.6806722689075499E-3</c:v>
                </c:pt>
                <c:pt idx="32024">
                  <c:v>1.6806722689075499E-3</c:v>
                </c:pt>
                <c:pt idx="32025">
                  <c:v>1.6806722689075499E-3</c:v>
                </c:pt>
                <c:pt idx="32026">
                  <c:v>8.4033613445377799E-4</c:v>
                </c:pt>
                <c:pt idx="32027">
                  <c:v>8.4033613445377799E-4</c:v>
                </c:pt>
                <c:pt idx="32028">
                  <c:v>8.4033613445377799E-4</c:v>
                </c:pt>
                <c:pt idx="32029">
                  <c:v>8.4033613445377799E-4</c:v>
                </c:pt>
                <c:pt idx="32030">
                  <c:v>8.4033613445377799E-4</c:v>
                </c:pt>
                <c:pt idx="32031">
                  <c:v>8.4033613445377799E-4</c:v>
                </c:pt>
                <c:pt idx="32032">
                  <c:v>8.4033613445377799E-4</c:v>
                </c:pt>
                <c:pt idx="32033">
                  <c:v>8.4033613445377799E-4</c:v>
                </c:pt>
                <c:pt idx="32034">
                  <c:v>8.4033613445377799E-4</c:v>
                </c:pt>
                <c:pt idx="32035">
                  <c:v>8.4033613445377799E-4</c:v>
                </c:pt>
                <c:pt idx="32036">
                  <c:v>8.4033613445377799E-4</c:v>
                </c:pt>
                <c:pt idx="32037">
                  <c:v>8.4033613445377799E-4</c:v>
                </c:pt>
                <c:pt idx="32038">
                  <c:v>8.4033613445377799E-4</c:v>
                </c:pt>
                <c:pt idx="32039">
                  <c:v>8.4033613445377799E-4</c:v>
                </c:pt>
                <c:pt idx="32040">
                  <c:v>8.4033613445377799E-4</c:v>
                </c:pt>
                <c:pt idx="32041">
                  <c:v>8.4033613445377799E-4</c:v>
                </c:pt>
                <c:pt idx="32042">
                  <c:v>8.4033613445377799E-4</c:v>
                </c:pt>
                <c:pt idx="32043">
                  <c:v>8.4033613445377799E-4</c:v>
                </c:pt>
                <c:pt idx="32044">
                  <c:v>8.4033613445377799E-4</c:v>
                </c:pt>
                <c:pt idx="32045">
                  <c:v>8.4033613445377799E-4</c:v>
                </c:pt>
                <c:pt idx="32046">
                  <c:v>8.4033613445377799E-4</c:v>
                </c:pt>
                <c:pt idx="32047">
                  <c:v>8.4033613445377799E-4</c:v>
                </c:pt>
                <c:pt idx="32048">
                  <c:v>8.4033613445377799E-4</c:v>
                </c:pt>
                <c:pt idx="32049">
                  <c:v>8.4033613445377799E-4</c:v>
                </c:pt>
                <c:pt idx="32050">
                  <c:v>8.4033613445377799E-4</c:v>
                </c:pt>
                <c:pt idx="32051">
                  <c:v>8.4033613445377799E-4</c:v>
                </c:pt>
                <c:pt idx="32052">
                  <c:v>8.4033613445377799E-4</c:v>
                </c:pt>
                <c:pt idx="32053">
                  <c:v>8.4033613445377799E-4</c:v>
                </c:pt>
                <c:pt idx="32054">
                  <c:v>8.4033613445377799E-4</c:v>
                </c:pt>
                <c:pt idx="32055">
                  <c:v>8.4033613445377799E-4</c:v>
                </c:pt>
                <c:pt idx="32056">
                  <c:v>8.4033613445377799E-4</c:v>
                </c:pt>
                <c:pt idx="32057">
                  <c:v>8.4033613445377799E-4</c:v>
                </c:pt>
                <c:pt idx="32058">
                  <c:v>8.4033613445377799E-4</c:v>
                </c:pt>
                <c:pt idx="32059">
                  <c:v>8.4033613445377799E-4</c:v>
                </c:pt>
                <c:pt idx="32060">
                  <c:v>8.4033613445377799E-4</c:v>
                </c:pt>
                <c:pt idx="32061">
                  <c:v>8.4033613445377799E-4</c:v>
                </c:pt>
                <c:pt idx="32062">
                  <c:v>8.4033613445377799E-4</c:v>
                </c:pt>
                <c:pt idx="32063">
                  <c:v>8.4033613445377799E-4</c:v>
                </c:pt>
                <c:pt idx="32064">
                  <c:v>8.4033613445377799E-4</c:v>
                </c:pt>
                <c:pt idx="32065">
                  <c:v>8.4033613445377799E-4</c:v>
                </c:pt>
                <c:pt idx="32066">
                  <c:v>8.4033613445377799E-4</c:v>
                </c:pt>
                <c:pt idx="32067">
                  <c:v>8.4033613445377799E-4</c:v>
                </c:pt>
                <c:pt idx="32068">
                  <c:v>8.4033613445377799E-4</c:v>
                </c:pt>
                <c:pt idx="32069">
                  <c:v>8.4033613445377799E-4</c:v>
                </c:pt>
                <c:pt idx="32070">
                  <c:v>8.4033613445377799E-4</c:v>
                </c:pt>
                <c:pt idx="32071">
                  <c:v>8.4033613445377799E-4</c:v>
                </c:pt>
                <c:pt idx="32072">
                  <c:v>8.4033613445377799E-4</c:v>
                </c:pt>
                <c:pt idx="32073">
                  <c:v>8.4033613445377799E-4</c:v>
                </c:pt>
                <c:pt idx="32074">
                  <c:v>8.4033613445377799E-4</c:v>
                </c:pt>
                <c:pt idx="32075">
                  <c:v>8.4033613445377799E-4</c:v>
                </c:pt>
                <c:pt idx="32076">
                  <c:v>8.4033613445377799E-4</c:v>
                </c:pt>
                <c:pt idx="32077">
                  <c:v>8.4033613445377799E-4</c:v>
                </c:pt>
                <c:pt idx="32078">
                  <c:v>8.4033613445377799E-4</c:v>
                </c:pt>
                <c:pt idx="32079">
                  <c:v>8.4033613445377799E-4</c:v>
                </c:pt>
                <c:pt idx="32080">
                  <c:v>8.4033613445377799E-4</c:v>
                </c:pt>
                <c:pt idx="32081">
                  <c:v>8.4033613445377799E-4</c:v>
                </c:pt>
                <c:pt idx="32082">
                  <c:v>8.4033613445377799E-4</c:v>
                </c:pt>
                <c:pt idx="32083">
                  <c:v>8.4033613445377799E-4</c:v>
                </c:pt>
                <c:pt idx="32084">
                  <c:v>8.4033613445377799E-4</c:v>
                </c:pt>
                <c:pt idx="32085">
                  <c:v>8.4033613445377799E-4</c:v>
                </c:pt>
                <c:pt idx="32086">
                  <c:v>8.4033613445377799E-4</c:v>
                </c:pt>
                <c:pt idx="32087">
                  <c:v>8.4033613445377799E-4</c:v>
                </c:pt>
                <c:pt idx="32088">
                  <c:v>8.4033613445377799E-4</c:v>
                </c:pt>
                <c:pt idx="32089">
                  <c:v>8.4033613445377799E-4</c:v>
                </c:pt>
                <c:pt idx="32090">
                  <c:v>8.4033613445377799E-4</c:v>
                </c:pt>
                <c:pt idx="32091">
                  <c:v>8.4033613445377799E-4</c:v>
                </c:pt>
                <c:pt idx="32092">
                  <c:v>8.4033613445377799E-4</c:v>
                </c:pt>
                <c:pt idx="32093">
                  <c:v>8.4033613445377799E-4</c:v>
                </c:pt>
                <c:pt idx="32094">
                  <c:v>8.4033613445377799E-4</c:v>
                </c:pt>
                <c:pt idx="32095">
                  <c:v>8.4033613445377799E-4</c:v>
                </c:pt>
                <c:pt idx="32096">
                  <c:v>8.4033613445377799E-4</c:v>
                </c:pt>
                <c:pt idx="32097">
                  <c:v>8.4033613445377799E-4</c:v>
                </c:pt>
                <c:pt idx="32098">
                  <c:v>8.4033613445377799E-4</c:v>
                </c:pt>
                <c:pt idx="32099">
                  <c:v>8.4033613445377799E-4</c:v>
                </c:pt>
                <c:pt idx="32100">
                  <c:v>8.4033613445377799E-4</c:v>
                </c:pt>
                <c:pt idx="32101">
                  <c:v>8.4033613445377799E-4</c:v>
                </c:pt>
                <c:pt idx="32102">
                  <c:v>8.4033613445377799E-4</c:v>
                </c:pt>
                <c:pt idx="32103">
                  <c:v>8.4033613445377799E-4</c:v>
                </c:pt>
                <c:pt idx="32104">
                  <c:v>8.4033613445377799E-4</c:v>
                </c:pt>
                <c:pt idx="32105">
                  <c:v>8.4033613445377799E-4</c:v>
                </c:pt>
                <c:pt idx="32106">
                  <c:v>8.4033613445377799E-4</c:v>
                </c:pt>
                <c:pt idx="32107">
                  <c:v>8.4033613445377799E-4</c:v>
                </c:pt>
                <c:pt idx="32108">
                  <c:v>8.4033613445377799E-4</c:v>
                </c:pt>
                <c:pt idx="32109">
                  <c:v>8.4033613445377799E-4</c:v>
                </c:pt>
                <c:pt idx="32110">
                  <c:v>8.4033613445377799E-4</c:v>
                </c:pt>
                <c:pt idx="32111">
                  <c:v>8.4033613445377799E-4</c:v>
                </c:pt>
                <c:pt idx="32112">
                  <c:v>8.4033613445377799E-4</c:v>
                </c:pt>
                <c:pt idx="32113">
                  <c:v>8.4033613445377799E-4</c:v>
                </c:pt>
                <c:pt idx="32114">
                  <c:v>8.4033613445377799E-4</c:v>
                </c:pt>
                <c:pt idx="32115">
                  <c:v>8.4033613445377799E-4</c:v>
                </c:pt>
                <c:pt idx="32116">
                  <c:v>8.4033613445377799E-4</c:v>
                </c:pt>
                <c:pt idx="32117">
                  <c:v>8.4033613445377799E-4</c:v>
                </c:pt>
                <c:pt idx="32118">
                  <c:v>8.4033613445377799E-4</c:v>
                </c:pt>
                <c:pt idx="32119">
                  <c:v>8.4033613445377799E-4</c:v>
                </c:pt>
                <c:pt idx="32120">
                  <c:v>8.4033613445377799E-4</c:v>
                </c:pt>
                <c:pt idx="32121">
                  <c:v>8.4033613445377799E-4</c:v>
                </c:pt>
                <c:pt idx="32122">
                  <c:v>8.4033613445377799E-4</c:v>
                </c:pt>
                <c:pt idx="32123">
                  <c:v>8.4033613445377799E-4</c:v>
                </c:pt>
                <c:pt idx="32124">
                  <c:v>8.4033613445377799E-4</c:v>
                </c:pt>
                <c:pt idx="32125">
                  <c:v>8.4033613445377799E-4</c:v>
                </c:pt>
                <c:pt idx="32126">
                  <c:v>8.4033613445377799E-4</c:v>
                </c:pt>
                <c:pt idx="32127">
                  <c:v>8.4033613445377799E-4</c:v>
                </c:pt>
                <c:pt idx="32128">
                  <c:v>8.4033613445377799E-4</c:v>
                </c:pt>
                <c:pt idx="32129">
                  <c:v>8.4033613445377799E-4</c:v>
                </c:pt>
                <c:pt idx="32130">
                  <c:v>8.4033613445377799E-4</c:v>
                </c:pt>
                <c:pt idx="32131">
                  <c:v>8.4033613445377799E-4</c:v>
                </c:pt>
                <c:pt idx="32132">
                  <c:v>8.4033613445377799E-4</c:v>
                </c:pt>
                <c:pt idx="32133">
                  <c:v>8.4033613445377799E-4</c:v>
                </c:pt>
                <c:pt idx="32134">
                  <c:v>8.4033613445377799E-4</c:v>
                </c:pt>
                <c:pt idx="32135">
                  <c:v>8.4033613445377799E-4</c:v>
                </c:pt>
                <c:pt idx="32136">
                  <c:v>8.4033613445377799E-4</c:v>
                </c:pt>
                <c:pt idx="32137">
                  <c:v>8.4033613445377799E-4</c:v>
                </c:pt>
                <c:pt idx="32138">
                  <c:v>8.4033613445377799E-4</c:v>
                </c:pt>
                <c:pt idx="32139">
                  <c:v>8.4033613445377799E-4</c:v>
                </c:pt>
                <c:pt idx="32140">
                  <c:v>8.4033613445377799E-4</c:v>
                </c:pt>
                <c:pt idx="32141">
                  <c:v>8.4033613445377799E-4</c:v>
                </c:pt>
                <c:pt idx="32142">
                  <c:v>8.4033613445377799E-4</c:v>
                </c:pt>
                <c:pt idx="32143">
                  <c:v>8.4033613445377799E-4</c:v>
                </c:pt>
                <c:pt idx="32144">
                  <c:v>8.4033613445377799E-4</c:v>
                </c:pt>
                <c:pt idx="32145">
                  <c:v>8.4033613445377799E-4</c:v>
                </c:pt>
                <c:pt idx="32146">
                  <c:v>8.4033613445377799E-4</c:v>
                </c:pt>
                <c:pt idx="32147">
                  <c:v>8.4033613445377799E-4</c:v>
                </c:pt>
                <c:pt idx="32148">
                  <c:v>8.4033613445377799E-4</c:v>
                </c:pt>
                <c:pt idx="32149">
                  <c:v>8.4033613445377799E-4</c:v>
                </c:pt>
                <c:pt idx="32150">
                  <c:v>8.4033613445377799E-4</c:v>
                </c:pt>
                <c:pt idx="32151">
                  <c:v>8.4033613445377799E-4</c:v>
                </c:pt>
                <c:pt idx="32152">
                  <c:v>8.4033613445377799E-4</c:v>
                </c:pt>
                <c:pt idx="32153">
                  <c:v>8.4033613445377799E-4</c:v>
                </c:pt>
                <c:pt idx="32154">
                  <c:v>8.4033613445377799E-4</c:v>
                </c:pt>
                <c:pt idx="32155">
                  <c:v>8.4033613445377799E-4</c:v>
                </c:pt>
                <c:pt idx="32156">
                  <c:v>8.4033613445377799E-4</c:v>
                </c:pt>
                <c:pt idx="32157">
                  <c:v>1.6806722689075499E-3</c:v>
                </c:pt>
                <c:pt idx="32158">
                  <c:v>1.6806722689075499E-3</c:v>
                </c:pt>
                <c:pt idx="32159">
                  <c:v>1.6806722689075499E-3</c:v>
                </c:pt>
                <c:pt idx="32160">
                  <c:v>1.6806722689075499E-3</c:v>
                </c:pt>
                <c:pt idx="32161">
                  <c:v>1.6806722689075499E-3</c:v>
                </c:pt>
                <c:pt idx="32162">
                  <c:v>1.6806722689075499E-3</c:v>
                </c:pt>
                <c:pt idx="32163">
                  <c:v>1.6806722689075499E-3</c:v>
                </c:pt>
                <c:pt idx="32164">
                  <c:v>1.6806722689075499E-3</c:v>
                </c:pt>
                <c:pt idx="32165">
                  <c:v>1.6806722689075499E-3</c:v>
                </c:pt>
                <c:pt idx="32166">
                  <c:v>1.6806722689075499E-3</c:v>
                </c:pt>
                <c:pt idx="32167">
                  <c:v>1.6806722689075499E-3</c:v>
                </c:pt>
                <c:pt idx="32168">
                  <c:v>1.6806722689075499E-3</c:v>
                </c:pt>
                <c:pt idx="32169">
                  <c:v>8.4033613445377799E-4</c:v>
                </c:pt>
                <c:pt idx="32170">
                  <c:v>8.4033613445377799E-4</c:v>
                </c:pt>
                <c:pt idx="32171">
                  <c:v>8.4033613445377799E-4</c:v>
                </c:pt>
                <c:pt idx="32172">
                  <c:v>8.4033613445377799E-4</c:v>
                </c:pt>
                <c:pt idx="32173">
                  <c:v>8.4033613445377799E-4</c:v>
                </c:pt>
                <c:pt idx="32174">
                  <c:v>8.4033613445377799E-4</c:v>
                </c:pt>
                <c:pt idx="32175">
                  <c:v>8.4033613445377799E-4</c:v>
                </c:pt>
                <c:pt idx="32176">
                  <c:v>8.4033613445377799E-4</c:v>
                </c:pt>
                <c:pt idx="32177">
                  <c:v>1.6806722689075499E-3</c:v>
                </c:pt>
                <c:pt idx="32178">
                  <c:v>1.6806722689075499E-3</c:v>
                </c:pt>
                <c:pt idx="32179">
                  <c:v>1.6806722689075499E-3</c:v>
                </c:pt>
                <c:pt idx="32180">
                  <c:v>1.6806722689075499E-3</c:v>
                </c:pt>
                <c:pt idx="32181">
                  <c:v>1.6806722689075499E-3</c:v>
                </c:pt>
                <c:pt idx="32182">
                  <c:v>1.6806722689075499E-3</c:v>
                </c:pt>
                <c:pt idx="32183">
                  <c:v>1.6806722689075499E-3</c:v>
                </c:pt>
                <c:pt idx="32184">
                  <c:v>1.6806722689075499E-3</c:v>
                </c:pt>
                <c:pt idx="32185">
                  <c:v>1.6806722689075499E-3</c:v>
                </c:pt>
                <c:pt idx="32186">
                  <c:v>1.6806722689075499E-3</c:v>
                </c:pt>
                <c:pt idx="32187">
                  <c:v>1.6806722689075499E-3</c:v>
                </c:pt>
                <c:pt idx="32188">
                  <c:v>1.6806722689075499E-3</c:v>
                </c:pt>
                <c:pt idx="32189">
                  <c:v>1.6806722689075499E-3</c:v>
                </c:pt>
                <c:pt idx="32190">
                  <c:v>1.6806722689075499E-3</c:v>
                </c:pt>
                <c:pt idx="32191">
                  <c:v>1.6806722689075499E-3</c:v>
                </c:pt>
                <c:pt idx="32192">
                  <c:v>1.6806722689075499E-3</c:v>
                </c:pt>
                <c:pt idx="32193">
                  <c:v>1.6806722689075499E-3</c:v>
                </c:pt>
                <c:pt idx="32194">
                  <c:v>1.6806722689075499E-3</c:v>
                </c:pt>
                <c:pt idx="32195">
                  <c:v>1.6806722689075499E-3</c:v>
                </c:pt>
                <c:pt idx="32196">
                  <c:v>1.6806722689075499E-3</c:v>
                </c:pt>
                <c:pt idx="32197">
                  <c:v>1.6806722689075499E-3</c:v>
                </c:pt>
                <c:pt idx="32198">
                  <c:v>1.6806722689075499E-3</c:v>
                </c:pt>
                <c:pt idx="32199">
                  <c:v>1.6806722689075499E-3</c:v>
                </c:pt>
                <c:pt idx="32200">
                  <c:v>1.6806722689075499E-3</c:v>
                </c:pt>
                <c:pt idx="32201">
                  <c:v>1.6806722689075499E-3</c:v>
                </c:pt>
                <c:pt idx="32202">
                  <c:v>1.6806722689075499E-3</c:v>
                </c:pt>
                <c:pt idx="32203">
                  <c:v>1.6806722689075499E-3</c:v>
                </c:pt>
                <c:pt idx="32204">
                  <c:v>1.6806722689075499E-3</c:v>
                </c:pt>
                <c:pt idx="32205">
                  <c:v>1.6806722689075499E-3</c:v>
                </c:pt>
                <c:pt idx="32206">
                  <c:v>1.6806722689075499E-3</c:v>
                </c:pt>
                <c:pt idx="32207">
                  <c:v>1.6806722689075499E-3</c:v>
                </c:pt>
                <c:pt idx="32208">
                  <c:v>1.6806722689075499E-3</c:v>
                </c:pt>
                <c:pt idx="32209">
                  <c:v>1.6806722689075499E-3</c:v>
                </c:pt>
                <c:pt idx="32210">
                  <c:v>1.6806722689075499E-3</c:v>
                </c:pt>
                <c:pt idx="32211">
                  <c:v>1.6806722689075499E-3</c:v>
                </c:pt>
                <c:pt idx="32212">
                  <c:v>1.6806722689075499E-3</c:v>
                </c:pt>
                <c:pt idx="32213">
                  <c:v>1.6806722689075499E-3</c:v>
                </c:pt>
                <c:pt idx="32214">
                  <c:v>1.6806722689075499E-3</c:v>
                </c:pt>
                <c:pt idx="32215">
                  <c:v>1.6806722689075499E-3</c:v>
                </c:pt>
                <c:pt idx="32216">
                  <c:v>2.5210084033613299E-3</c:v>
                </c:pt>
                <c:pt idx="32217">
                  <c:v>2.5210084033613299E-3</c:v>
                </c:pt>
                <c:pt idx="32218">
                  <c:v>2.5210084033613299E-3</c:v>
                </c:pt>
                <c:pt idx="32219">
                  <c:v>2.5210084033613299E-3</c:v>
                </c:pt>
                <c:pt idx="32220">
                  <c:v>2.5210084033613299E-3</c:v>
                </c:pt>
                <c:pt idx="32221">
                  <c:v>2.5210084033613299E-3</c:v>
                </c:pt>
                <c:pt idx="32222">
                  <c:v>2.5210084033613299E-3</c:v>
                </c:pt>
                <c:pt idx="32223">
                  <c:v>2.5210084033613299E-3</c:v>
                </c:pt>
                <c:pt idx="32224">
                  <c:v>2.5210084033613299E-3</c:v>
                </c:pt>
                <c:pt idx="32225">
                  <c:v>2.5210084033613299E-3</c:v>
                </c:pt>
                <c:pt idx="32226">
                  <c:v>2.5210084033613299E-3</c:v>
                </c:pt>
                <c:pt idx="32227">
                  <c:v>2.5210084033613299E-3</c:v>
                </c:pt>
                <c:pt idx="32228">
                  <c:v>2.5210084033613299E-3</c:v>
                </c:pt>
                <c:pt idx="32229">
                  <c:v>2.5210084033613299E-3</c:v>
                </c:pt>
                <c:pt idx="32230">
                  <c:v>2.5210084033613299E-3</c:v>
                </c:pt>
                <c:pt idx="32231">
                  <c:v>2.5210084033613299E-3</c:v>
                </c:pt>
                <c:pt idx="32232">
                  <c:v>2.5210084033613299E-3</c:v>
                </c:pt>
                <c:pt idx="32233">
                  <c:v>2.5210084033613299E-3</c:v>
                </c:pt>
                <c:pt idx="32234">
                  <c:v>2.5210084033613299E-3</c:v>
                </c:pt>
                <c:pt idx="32235">
                  <c:v>2.5210084033613299E-3</c:v>
                </c:pt>
                <c:pt idx="32236">
                  <c:v>2.5210084033613299E-3</c:v>
                </c:pt>
                <c:pt idx="32237">
                  <c:v>2.5210084033613299E-3</c:v>
                </c:pt>
                <c:pt idx="32238">
                  <c:v>2.5210084033613299E-3</c:v>
                </c:pt>
                <c:pt idx="32239">
                  <c:v>2.5210084033613299E-3</c:v>
                </c:pt>
                <c:pt idx="32240">
                  <c:v>2.5210084033613299E-3</c:v>
                </c:pt>
                <c:pt idx="32241">
                  <c:v>2.5210084033613299E-3</c:v>
                </c:pt>
                <c:pt idx="32242">
                  <c:v>2.5210084033613299E-3</c:v>
                </c:pt>
                <c:pt idx="32243">
                  <c:v>2.5210084033613299E-3</c:v>
                </c:pt>
                <c:pt idx="32244">
                  <c:v>2.5210084033613299E-3</c:v>
                </c:pt>
                <c:pt idx="32245">
                  <c:v>2.5210084033613299E-3</c:v>
                </c:pt>
                <c:pt idx="32246">
                  <c:v>2.5210084033613299E-3</c:v>
                </c:pt>
                <c:pt idx="32247">
                  <c:v>2.5210084033613299E-3</c:v>
                </c:pt>
                <c:pt idx="32248">
                  <c:v>2.5210084033613299E-3</c:v>
                </c:pt>
                <c:pt idx="32249">
                  <c:v>2.5210084033613299E-3</c:v>
                </c:pt>
                <c:pt idx="32250">
                  <c:v>2.5210084033613299E-3</c:v>
                </c:pt>
                <c:pt idx="32251">
                  <c:v>2.5210084033613299E-3</c:v>
                </c:pt>
                <c:pt idx="32252">
                  <c:v>2.5210084033613299E-3</c:v>
                </c:pt>
                <c:pt idx="32253">
                  <c:v>2.5210084033613299E-3</c:v>
                </c:pt>
                <c:pt idx="32254">
                  <c:v>1.6806722689075499E-3</c:v>
                </c:pt>
                <c:pt idx="32255">
                  <c:v>1.6806722689075499E-3</c:v>
                </c:pt>
                <c:pt idx="32256">
                  <c:v>1.6806722689075499E-3</c:v>
                </c:pt>
                <c:pt idx="32257">
                  <c:v>1.6806722689075499E-3</c:v>
                </c:pt>
                <c:pt idx="32258">
                  <c:v>1.6806722689075499E-3</c:v>
                </c:pt>
                <c:pt idx="32259">
                  <c:v>8.4033613445377799E-4</c:v>
                </c:pt>
                <c:pt idx="32260">
                  <c:v>8.4033613445377799E-4</c:v>
                </c:pt>
                <c:pt idx="32261">
                  <c:v>8.4033613445377799E-4</c:v>
                </c:pt>
                <c:pt idx="32262">
                  <c:v>8.4033613445377799E-4</c:v>
                </c:pt>
                <c:pt idx="32263">
                  <c:v>8.4033613445377799E-4</c:v>
                </c:pt>
                <c:pt idx="32264">
                  <c:v>8.4033613445377799E-4</c:v>
                </c:pt>
                <c:pt idx="32265">
                  <c:v>8.4033613445377799E-4</c:v>
                </c:pt>
                <c:pt idx="32266">
                  <c:v>8.4033613445377799E-4</c:v>
                </c:pt>
                <c:pt idx="32267">
                  <c:v>8.4033613445377799E-4</c:v>
                </c:pt>
                <c:pt idx="32268">
                  <c:v>8.4033613445377799E-4</c:v>
                </c:pt>
                <c:pt idx="32269">
                  <c:v>8.4033613445377799E-4</c:v>
                </c:pt>
                <c:pt idx="32270">
                  <c:v>8.4033613445377799E-4</c:v>
                </c:pt>
                <c:pt idx="32271">
                  <c:v>8.4033613445377799E-4</c:v>
                </c:pt>
                <c:pt idx="32272">
                  <c:v>8.4033613445377799E-4</c:v>
                </c:pt>
                <c:pt idx="32273">
                  <c:v>8.4033613445377799E-4</c:v>
                </c:pt>
                <c:pt idx="32274">
                  <c:v>8.4033613445377799E-4</c:v>
                </c:pt>
                <c:pt idx="32275">
                  <c:v>8.4033613445377799E-4</c:v>
                </c:pt>
                <c:pt idx="32276">
                  <c:v>8.4033613445377799E-4</c:v>
                </c:pt>
                <c:pt idx="32277">
                  <c:v>8.4033613445377799E-4</c:v>
                </c:pt>
                <c:pt idx="32278">
                  <c:v>8.4033613445377799E-4</c:v>
                </c:pt>
                <c:pt idx="32279">
                  <c:v>8.4033613445377799E-4</c:v>
                </c:pt>
                <c:pt idx="32280">
                  <c:v>8.4033613445377799E-4</c:v>
                </c:pt>
                <c:pt idx="32281">
                  <c:v>8.4033613445377799E-4</c:v>
                </c:pt>
                <c:pt idx="32282">
                  <c:v>8.4033613445377799E-4</c:v>
                </c:pt>
                <c:pt idx="32283">
                  <c:v>8.4033613445377799E-4</c:v>
                </c:pt>
                <c:pt idx="32284">
                  <c:v>8.4033613445377799E-4</c:v>
                </c:pt>
                <c:pt idx="32285">
                  <c:v>8.4033613445377799E-4</c:v>
                </c:pt>
                <c:pt idx="32286">
                  <c:v>8.4033613445377799E-4</c:v>
                </c:pt>
                <c:pt idx="32287">
                  <c:v>8.4033613445377799E-4</c:v>
                </c:pt>
                <c:pt idx="32288">
                  <c:v>8.4033613445377799E-4</c:v>
                </c:pt>
                <c:pt idx="32289">
                  <c:v>8.4033613445377799E-4</c:v>
                </c:pt>
                <c:pt idx="32290">
                  <c:v>8.4033613445377799E-4</c:v>
                </c:pt>
                <c:pt idx="32291">
                  <c:v>8.4033613445377799E-4</c:v>
                </c:pt>
                <c:pt idx="32292">
                  <c:v>8.4033613445377799E-4</c:v>
                </c:pt>
                <c:pt idx="32293">
                  <c:v>8.4033613445377799E-4</c:v>
                </c:pt>
                <c:pt idx="32294">
                  <c:v>8.4033613445377799E-4</c:v>
                </c:pt>
                <c:pt idx="32295">
                  <c:v>8.4033613445377799E-4</c:v>
                </c:pt>
                <c:pt idx="32296">
                  <c:v>8.4033613445377799E-4</c:v>
                </c:pt>
                <c:pt idx="32297">
                  <c:v>8.4033613445377799E-4</c:v>
                </c:pt>
                <c:pt idx="32298">
                  <c:v>8.4033613445377799E-4</c:v>
                </c:pt>
                <c:pt idx="32299">
                  <c:v>8.4033613445377799E-4</c:v>
                </c:pt>
                <c:pt idx="32300">
                  <c:v>8.4033613445377799E-4</c:v>
                </c:pt>
                <c:pt idx="32301">
                  <c:v>8.4033613445377799E-4</c:v>
                </c:pt>
                <c:pt idx="32302">
                  <c:v>8.4033613445377799E-4</c:v>
                </c:pt>
                <c:pt idx="32303">
                  <c:v>8.4033613445377799E-4</c:v>
                </c:pt>
                <c:pt idx="32304">
                  <c:v>8.4033613445377799E-4</c:v>
                </c:pt>
                <c:pt idx="32305">
                  <c:v>8.4033613445377799E-4</c:v>
                </c:pt>
                <c:pt idx="32306">
                  <c:v>8.4033613445377799E-4</c:v>
                </c:pt>
                <c:pt idx="32307">
                  <c:v>8.4033613445377799E-4</c:v>
                </c:pt>
                <c:pt idx="32308">
                  <c:v>8.4033613445377799E-4</c:v>
                </c:pt>
                <c:pt idx="32309">
                  <c:v>8.4033613445377799E-4</c:v>
                </c:pt>
                <c:pt idx="32310">
                  <c:v>8.4033613445377799E-4</c:v>
                </c:pt>
                <c:pt idx="32311">
                  <c:v>1.6806722689075499E-3</c:v>
                </c:pt>
                <c:pt idx="32312">
                  <c:v>1.6806722689075499E-3</c:v>
                </c:pt>
                <c:pt idx="32313">
                  <c:v>1.6806722689075499E-3</c:v>
                </c:pt>
                <c:pt idx="32314">
                  <c:v>1.6806722689075499E-3</c:v>
                </c:pt>
                <c:pt idx="32315">
                  <c:v>1.6806722689075499E-3</c:v>
                </c:pt>
                <c:pt idx="32316">
                  <c:v>1.6806722689075499E-3</c:v>
                </c:pt>
                <c:pt idx="32317">
                  <c:v>1.6806722689075499E-3</c:v>
                </c:pt>
                <c:pt idx="32318">
                  <c:v>1.6806722689075499E-3</c:v>
                </c:pt>
                <c:pt idx="32319">
                  <c:v>1.6806722689075499E-3</c:v>
                </c:pt>
                <c:pt idx="32320">
                  <c:v>1.6806722689075499E-3</c:v>
                </c:pt>
                <c:pt idx="32321">
                  <c:v>1.6806722689075499E-3</c:v>
                </c:pt>
                <c:pt idx="32322">
                  <c:v>1.6806722689075499E-3</c:v>
                </c:pt>
                <c:pt idx="32323">
                  <c:v>1.6806722689075499E-3</c:v>
                </c:pt>
                <c:pt idx="32324">
                  <c:v>1.6806722689075499E-3</c:v>
                </c:pt>
                <c:pt idx="32325">
                  <c:v>1.6806722689075499E-3</c:v>
                </c:pt>
                <c:pt idx="32326">
                  <c:v>1.6806722689075499E-3</c:v>
                </c:pt>
                <c:pt idx="32327">
                  <c:v>1.6806722689075499E-3</c:v>
                </c:pt>
                <c:pt idx="32328">
                  <c:v>1.6806722689075499E-3</c:v>
                </c:pt>
                <c:pt idx="32329">
                  <c:v>1.6806722689075499E-3</c:v>
                </c:pt>
                <c:pt idx="32330">
                  <c:v>1.6806722689075499E-3</c:v>
                </c:pt>
                <c:pt idx="32331">
                  <c:v>1.6806722689075499E-3</c:v>
                </c:pt>
                <c:pt idx="32332">
                  <c:v>1.6806722689075499E-3</c:v>
                </c:pt>
                <c:pt idx="32333">
                  <c:v>1.6806722689075499E-3</c:v>
                </c:pt>
                <c:pt idx="32334">
                  <c:v>1.6806722689075499E-3</c:v>
                </c:pt>
                <c:pt idx="32335">
                  <c:v>1.6806722689075499E-3</c:v>
                </c:pt>
                <c:pt idx="32336">
                  <c:v>1.6806722689075499E-3</c:v>
                </c:pt>
                <c:pt idx="32337">
                  <c:v>1.6806722689075499E-3</c:v>
                </c:pt>
                <c:pt idx="32338">
                  <c:v>1.6806722689075499E-3</c:v>
                </c:pt>
                <c:pt idx="32339">
                  <c:v>1.6806722689075499E-3</c:v>
                </c:pt>
                <c:pt idx="32340">
                  <c:v>1.6806722689075499E-3</c:v>
                </c:pt>
                <c:pt idx="32341">
                  <c:v>1.6806722689075499E-3</c:v>
                </c:pt>
                <c:pt idx="32342">
                  <c:v>1.6806722689075499E-3</c:v>
                </c:pt>
                <c:pt idx="32343">
                  <c:v>1.6806722689075499E-3</c:v>
                </c:pt>
                <c:pt idx="32344">
                  <c:v>1.6806722689075499E-3</c:v>
                </c:pt>
                <c:pt idx="32345">
                  <c:v>1.6806722689075499E-3</c:v>
                </c:pt>
                <c:pt idx="32346">
                  <c:v>1.6806722689075499E-3</c:v>
                </c:pt>
                <c:pt idx="32347">
                  <c:v>1.6806722689075499E-3</c:v>
                </c:pt>
                <c:pt idx="32348">
                  <c:v>1.6806722689075499E-3</c:v>
                </c:pt>
                <c:pt idx="32349">
                  <c:v>1.6806722689075499E-3</c:v>
                </c:pt>
                <c:pt idx="32350">
                  <c:v>1.6806722689075499E-3</c:v>
                </c:pt>
                <c:pt idx="32351">
                  <c:v>1.6806722689075499E-3</c:v>
                </c:pt>
                <c:pt idx="32352">
                  <c:v>1.6806722689075499E-3</c:v>
                </c:pt>
                <c:pt idx="32353">
                  <c:v>1.6806722689075499E-3</c:v>
                </c:pt>
                <c:pt idx="32354">
                  <c:v>1.6806722689075499E-3</c:v>
                </c:pt>
                <c:pt idx="32355">
                  <c:v>1.6806722689075499E-3</c:v>
                </c:pt>
                <c:pt idx="32356">
                  <c:v>1.6806722689075499E-3</c:v>
                </c:pt>
                <c:pt idx="32357">
                  <c:v>1.6806722689075499E-3</c:v>
                </c:pt>
                <c:pt idx="32358">
                  <c:v>1.6806722689075499E-3</c:v>
                </c:pt>
                <c:pt idx="32359">
                  <c:v>1.6806722689075499E-3</c:v>
                </c:pt>
                <c:pt idx="32360">
                  <c:v>1.6806722689075499E-3</c:v>
                </c:pt>
                <c:pt idx="32361">
                  <c:v>1.6806722689075499E-3</c:v>
                </c:pt>
                <c:pt idx="32362">
                  <c:v>1.6806722689075499E-3</c:v>
                </c:pt>
                <c:pt idx="32363">
                  <c:v>1.6806722689075499E-3</c:v>
                </c:pt>
                <c:pt idx="32364">
                  <c:v>1.6806722689075499E-3</c:v>
                </c:pt>
                <c:pt idx="32365">
                  <c:v>1.6806722689075499E-3</c:v>
                </c:pt>
                <c:pt idx="32366">
                  <c:v>1.6806722689075499E-3</c:v>
                </c:pt>
                <c:pt idx="32367">
                  <c:v>1.6806722689075499E-3</c:v>
                </c:pt>
                <c:pt idx="32368">
                  <c:v>1.6806722689075499E-3</c:v>
                </c:pt>
                <c:pt idx="32369">
                  <c:v>1.6806722689075499E-3</c:v>
                </c:pt>
                <c:pt idx="32370">
                  <c:v>1.6806722689075499E-3</c:v>
                </c:pt>
                <c:pt idx="32371">
                  <c:v>1.6806722689075499E-3</c:v>
                </c:pt>
                <c:pt idx="32372">
                  <c:v>1.6806722689075499E-3</c:v>
                </c:pt>
                <c:pt idx="32373">
                  <c:v>1.6806722689075499E-3</c:v>
                </c:pt>
                <c:pt idx="32374">
                  <c:v>1.6806722689075499E-3</c:v>
                </c:pt>
                <c:pt idx="32375">
                  <c:v>1.6806722689075499E-3</c:v>
                </c:pt>
                <c:pt idx="32376">
                  <c:v>1.6806722689075499E-3</c:v>
                </c:pt>
                <c:pt idx="32377">
                  <c:v>1.6806722689075499E-3</c:v>
                </c:pt>
                <c:pt idx="32378">
                  <c:v>1.6806722689075499E-3</c:v>
                </c:pt>
                <c:pt idx="32379">
                  <c:v>1.6806722689075499E-3</c:v>
                </c:pt>
                <c:pt idx="32380">
                  <c:v>1.6806722689075499E-3</c:v>
                </c:pt>
                <c:pt idx="32381">
                  <c:v>1.6806722689075499E-3</c:v>
                </c:pt>
                <c:pt idx="32382">
                  <c:v>1.6806722689075499E-3</c:v>
                </c:pt>
                <c:pt idx="32383">
                  <c:v>1.6806722689075499E-3</c:v>
                </c:pt>
                <c:pt idx="32384">
                  <c:v>1.6806722689075499E-3</c:v>
                </c:pt>
                <c:pt idx="32385">
                  <c:v>1.6806722689075499E-3</c:v>
                </c:pt>
                <c:pt idx="32386">
                  <c:v>1.6806722689075499E-3</c:v>
                </c:pt>
                <c:pt idx="32387">
                  <c:v>1.6806722689075499E-3</c:v>
                </c:pt>
                <c:pt idx="32388">
                  <c:v>1.6806722689075499E-3</c:v>
                </c:pt>
                <c:pt idx="32389">
                  <c:v>1.6806722689075499E-3</c:v>
                </c:pt>
                <c:pt idx="32390">
                  <c:v>1.6806722689075499E-3</c:v>
                </c:pt>
                <c:pt idx="32391">
                  <c:v>1.6806722689075499E-3</c:v>
                </c:pt>
                <c:pt idx="32392">
                  <c:v>1.6806722689075499E-3</c:v>
                </c:pt>
                <c:pt idx="32393">
                  <c:v>1.6806722689075499E-3</c:v>
                </c:pt>
                <c:pt idx="32394">
                  <c:v>1.6806722689075499E-3</c:v>
                </c:pt>
                <c:pt idx="32395">
                  <c:v>1.6806722689075499E-3</c:v>
                </c:pt>
                <c:pt idx="32396">
                  <c:v>1.6806722689075499E-3</c:v>
                </c:pt>
                <c:pt idx="32397">
                  <c:v>1.6806722689075499E-3</c:v>
                </c:pt>
                <c:pt idx="32398">
                  <c:v>1.6806722689075499E-3</c:v>
                </c:pt>
                <c:pt idx="32399">
                  <c:v>1.6806722689075499E-3</c:v>
                </c:pt>
                <c:pt idx="32400">
                  <c:v>1.6806722689075499E-3</c:v>
                </c:pt>
                <c:pt idx="32401">
                  <c:v>1.6806722689075499E-3</c:v>
                </c:pt>
                <c:pt idx="32402">
                  <c:v>1.6806722689075499E-3</c:v>
                </c:pt>
                <c:pt idx="32403">
                  <c:v>1.6806722689075499E-3</c:v>
                </c:pt>
                <c:pt idx="32404">
                  <c:v>1.6806722689075499E-3</c:v>
                </c:pt>
                <c:pt idx="32405">
                  <c:v>1.6806722689075499E-3</c:v>
                </c:pt>
                <c:pt idx="32406">
                  <c:v>1.6806722689075499E-3</c:v>
                </c:pt>
                <c:pt idx="32407">
                  <c:v>1.6806722689075499E-3</c:v>
                </c:pt>
                <c:pt idx="32408">
                  <c:v>1.6806722689075499E-3</c:v>
                </c:pt>
                <c:pt idx="32409">
                  <c:v>1.6806722689075499E-3</c:v>
                </c:pt>
                <c:pt idx="32410">
                  <c:v>1.6806722689075499E-3</c:v>
                </c:pt>
                <c:pt idx="32411">
                  <c:v>1.6806722689075499E-3</c:v>
                </c:pt>
                <c:pt idx="32412">
                  <c:v>1.6806722689075499E-3</c:v>
                </c:pt>
                <c:pt idx="32413">
                  <c:v>1.6806722689075499E-3</c:v>
                </c:pt>
                <c:pt idx="32414">
                  <c:v>1.6806722689075499E-3</c:v>
                </c:pt>
                <c:pt idx="32415">
                  <c:v>1.6806722689075499E-3</c:v>
                </c:pt>
                <c:pt idx="32416">
                  <c:v>1.6806722689075499E-3</c:v>
                </c:pt>
                <c:pt idx="32417">
                  <c:v>8.4033613445377799E-4</c:v>
                </c:pt>
                <c:pt idx="32418">
                  <c:v>8.4033613445377799E-4</c:v>
                </c:pt>
                <c:pt idx="32419">
                  <c:v>8.4033613445377799E-4</c:v>
                </c:pt>
                <c:pt idx="32420">
                  <c:v>8.4033613445377799E-4</c:v>
                </c:pt>
                <c:pt idx="32421">
                  <c:v>8.4033613445377799E-4</c:v>
                </c:pt>
                <c:pt idx="32422">
                  <c:v>8.4033613445377799E-4</c:v>
                </c:pt>
                <c:pt idx="32423">
                  <c:v>8.4033613445377799E-4</c:v>
                </c:pt>
                <c:pt idx="32424">
                  <c:v>8.4033613445377799E-4</c:v>
                </c:pt>
                <c:pt idx="32425">
                  <c:v>8.4033613445377799E-4</c:v>
                </c:pt>
                <c:pt idx="32426">
                  <c:v>8.4033613445377799E-4</c:v>
                </c:pt>
                <c:pt idx="32427">
                  <c:v>8.4033613445377799E-4</c:v>
                </c:pt>
                <c:pt idx="32428">
                  <c:v>8.4033613445377799E-4</c:v>
                </c:pt>
                <c:pt idx="32429">
                  <c:v>8.4033613445377799E-4</c:v>
                </c:pt>
                <c:pt idx="32430">
                  <c:v>8.4033613445377799E-4</c:v>
                </c:pt>
                <c:pt idx="32431">
                  <c:v>8.4033613445377799E-4</c:v>
                </c:pt>
                <c:pt idx="32432">
                  <c:v>8.4033613445377799E-4</c:v>
                </c:pt>
                <c:pt idx="32433">
                  <c:v>8.4033613445377799E-4</c:v>
                </c:pt>
                <c:pt idx="32434">
                  <c:v>8.4033613445377799E-4</c:v>
                </c:pt>
                <c:pt idx="32435">
                  <c:v>8.4033613445377799E-4</c:v>
                </c:pt>
                <c:pt idx="32436">
                  <c:v>8.4033613445377799E-4</c:v>
                </c:pt>
                <c:pt idx="32437">
                  <c:v>8.4033613445377799E-4</c:v>
                </c:pt>
                <c:pt idx="32438">
                  <c:v>0</c:v>
                </c:pt>
                <c:pt idx="32439">
                  <c:v>0</c:v>
                </c:pt>
                <c:pt idx="32440">
                  <c:v>0</c:v>
                </c:pt>
                <c:pt idx="32441">
                  <c:v>0</c:v>
                </c:pt>
                <c:pt idx="32442">
                  <c:v>0</c:v>
                </c:pt>
                <c:pt idx="32443">
                  <c:v>0</c:v>
                </c:pt>
                <c:pt idx="32444">
                  <c:v>0</c:v>
                </c:pt>
                <c:pt idx="32445">
                  <c:v>0</c:v>
                </c:pt>
                <c:pt idx="32446">
                  <c:v>0</c:v>
                </c:pt>
                <c:pt idx="32447">
                  <c:v>0</c:v>
                </c:pt>
                <c:pt idx="32448">
                  <c:v>-8.4033613445377799E-4</c:v>
                </c:pt>
                <c:pt idx="32449">
                  <c:v>-8.4033613445377799E-4</c:v>
                </c:pt>
                <c:pt idx="32450">
                  <c:v>-8.4033613445377799E-4</c:v>
                </c:pt>
                <c:pt idx="32451">
                  <c:v>-8.4033613445377799E-4</c:v>
                </c:pt>
                <c:pt idx="32452">
                  <c:v>-8.4033613445377799E-4</c:v>
                </c:pt>
                <c:pt idx="32453">
                  <c:v>0</c:v>
                </c:pt>
                <c:pt idx="32454">
                  <c:v>0</c:v>
                </c:pt>
                <c:pt idx="32455">
                  <c:v>0</c:v>
                </c:pt>
                <c:pt idx="32456">
                  <c:v>0</c:v>
                </c:pt>
                <c:pt idx="32457">
                  <c:v>0</c:v>
                </c:pt>
                <c:pt idx="32458">
                  <c:v>0</c:v>
                </c:pt>
                <c:pt idx="32459">
                  <c:v>0</c:v>
                </c:pt>
                <c:pt idx="32460">
                  <c:v>0</c:v>
                </c:pt>
                <c:pt idx="32461">
                  <c:v>0</c:v>
                </c:pt>
                <c:pt idx="32462">
                  <c:v>8.4033613445388901E-4</c:v>
                </c:pt>
                <c:pt idx="32463">
                  <c:v>8.4033613445388901E-4</c:v>
                </c:pt>
                <c:pt idx="32464">
                  <c:v>8.4033613445388901E-4</c:v>
                </c:pt>
                <c:pt idx="32465">
                  <c:v>8.4033613445388901E-4</c:v>
                </c:pt>
                <c:pt idx="32466">
                  <c:v>8.4033613445388901E-4</c:v>
                </c:pt>
                <c:pt idx="32467">
                  <c:v>8.4033613445388901E-4</c:v>
                </c:pt>
                <c:pt idx="32468">
                  <c:v>8.4033613445388901E-4</c:v>
                </c:pt>
                <c:pt idx="32469">
                  <c:v>8.4033613445388901E-4</c:v>
                </c:pt>
                <c:pt idx="32470">
                  <c:v>8.4033613445388901E-4</c:v>
                </c:pt>
                <c:pt idx="32471">
                  <c:v>8.4033613445388901E-4</c:v>
                </c:pt>
                <c:pt idx="32472">
                  <c:v>8.4033613445388901E-4</c:v>
                </c:pt>
                <c:pt idx="32473">
                  <c:v>8.4033613445388901E-4</c:v>
                </c:pt>
                <c:pt idx="32474">
                  <c:v>8.4033613445388901E-4</c:v>
                </c:pt>
                <c:pt idx="32475">
                  <c:v>8.4033613445388901E-4</c:v>
                </c:pt>
                <c:pt idx="32476">
                  <c:v>8.4033613445388901E-4</c:v>
                </c:pt>
                <c:pt idx="32477">
                  <c:v>8.4033613445388901E-4</c:v>
                </c:pt>
                <c:pt idx="32478">
                  <c:v>8.4033613445388901E-4</c:v>
                </c:pt>
                <c:pt idx="32479">
                  <c:v>8.4033613445388901E-4</c:v>
                </c:pt>
                <c:pt idx="32480">
                  <c:v>1.6806722689076601E-3</c:v>
                </c:pt>
                <c:pt idx="32481">
                  <c:v>1.6806722689076601E-3</c:v>
                </c:pt>
                <c:pt idx="32482">
                  <c:v>1.6806722689076601E-3</c:v>
                </c:pt>
                <c:pt idx="32483">
                  <c:v>1.6806722689076601E-3</c:v>
                </c:pt>
                <c:pt idx="32484">
                  <c:v>1.6806722689076601E-3</c:v>
                </c:pt>
                <c:pt idx="32485">
                  <c:v>1.6806722689076601E-3</c:v>
                </c:pt>
                <c:pt idx="32486">
                  <c:v>1.6806722689076601E-3</c:v>
                </c:pt>
                <c:pt idx="32487">
                  <c:v>1.6806722689076601E-3</c:v>
                </c:pt>
                <c:pt idx="32488">
                  <c:v>1.6806722689076601E-3</c:v>
                </c:pt>
                <c:pt idx="32489">
                  <c:v>1.6806722689076601E-3</c:v>
                </c:pt>
                <c:pt idx="32490">
                  <c:v>1.6806722689076601E-3</c:v>
                </c:pt>
                <c:pt idx="32491">
                  <c:v>1.6806722689076601E-3</c:v>
                </c:pt>
                <c:pt idx="32492">
                  <c:v>1.6806722689076601E-3</c:v>
                </c:pt>
                <c:pt idx="32493">
                  <c:v>1.6806722689076601E-3</c:v>
                </c:pt>
                <c:pt idx="32494">
                  <c:v>1.6806722689076601E-3</c:v>
                </c:pt>
                <c:pt idx="32495">
                  <c:v>1.6806722689076601E-3</c:v>
                </c:pt>
                <c:pt idx="32496">
                  <c:v>1.6806722689076601E-3</c:v>
                </c:pt>
                <c:pt idx="32497">
                  <c:v>1.6806722689076601E-3</c:v>
                </c:pt>
                <c:pt idx="32498">
                  <c:v>1.6806722689076601E-3</c:v>
                </c:pt>
                <c:pt idx="32499">
                  <c:v>1.6806722689076601E-3</c:v>
                </c:pt>
                <c:pt idx="32500">
                  <c:v>1.6806722689076601E-3</c:v>
                </c:pt>
                <c:pt idx="32501">
                  <c:v>1.6806722689076601E-3</c:v>
                </c:pt>
                <c:pt idx="32502">
                  <c:v>1.6806722689076601E-3</c:v>
                </c:pt>
                <c:pt idx="32503">
                  <c:v>1.6806722689076601E-3</c:v>
                </c:pt>
                <c:pt idx="32504">
                  <c:v>1.6806722689076601E-3</c:v>
                </c:pt>
                <c:pt idx="32505">
                  <c:v>1.6806722689076601E-3</c:v>
                </c:pt>
                <c:pt idx="32506">
                  <c:v>1.6806722689076601E-3</c:v>
                </c:pt>
                <c:pt idx="32507">
                  <c:v>1.6806722689076601E-3</c:v>
                </c:pt>
                <c:pt idx="32508">
                  <c:v>1.6806722689076601E-3</c:v>
                </c:pt>
                <c:pt idx="32509">
                  <c:v>1.6806722689076601E-3</c:v>
                </c:pt>
                <c:pt idx="32510">
                  <c:v>1.6806722689076601E-3</c:v>
                </c:pt>
                <c:pt idx="32511">
                  <c:v>1.6806722689076601E-3</c:v>
                </c:pt>
                <c:pt idx="32512">
                  <c:v>1.6806722689076601E-3</c:v>
                </c:pt>
                <c:pt idx="32513">
                  <c:v>1.6806722689076601E-3</c:v>
                </c:pt>
                <c:pt idx="32514">
                  <c:v>1.6806722689076601E-3</c:v>
                </c:pt>
                <c:pt idx="32515">
                  <c:v>1.6806722689076601E-3</c:v>
                </c:pt>
                <c:pt idx="32516">
                  <c:v>1.6806722689076601E-3</c:v>
                </c:pt>
                <c:pt idx="32517">
                  <c:v>1.6806722689076601E-3</c:v>
                </c:pt>
                <c:pt idx="32518">
                  <c:v>2.5210084033614401E-3</c:v>
                </c:pt>
                <c:pt idx="32519">
                  <c:v>2.5210084033614401E-3</c:v>
                </c:pt>
                <c:pt idx="32520">
                  <c:v>2.5210084033614401E-3</c:v>
                </c:pt>
                <c:pt idx="32521">
                  <c:v>2.5210084033614401E-3</c:v>
                </c:pt>
                <c:pt idx="32522">
                  <c:v>2.5210084033614401E-3</c:v>
                </c:pt>
                <c:pt idx="32523">
                  <c:v>2.5210084033614401E-3</c:v>
                </c:pt>
                <c:pt idx="32524">
                  <c:v>2.5210084033614401E-3</c:v>
                </c:pt>
                <c:pt idx="32525">
                  <c:v>2.5210084033614401E-3</c:v>
                </c:pt>
                <c:pt idx="32526">
                  <c:v>2.5210084033614401E-3</c:v>
                </c:pt>
                <c:pt idx="32527">
                  <c:v>2.5210084033614401E-3</c:v>
                </c:pt>
                <c:pt idx="32528">
                  <c:v>2.5210084033614401E-3</c:v>
                </c:pt>
                <c:pt idx="32529">
                  <c:v>2.5210084033614401E-3</c:v>
                </c:pt>
                <c:pt idx="32530">
                  <c:v>2.5210084033614401E-3</c:v>
                </c:pt>
                <c:pt idx="32531">
                  <c:v>2.5210084033614401E-3</c:v>
                </c:pt>
                <c:pt idx="32532">
                  <c:v>2.5210084033614401E-3</c:v>
                </c:pt>
                <c:pt idx="32533">
                  <c:v>2.5210084033614401E-3</c:v>
                </c:pt>
                <c:pt idx="32534">
                  <c:v>2.5210084033614401E-3</c:v>
                </c:pt>
                <c:pt idx="32535">
                  <c:v>2.5210084033614401E-3</c:v>
                </c:pt>
                <c:pt idx="32536">
                  <c:v>2.5210084033614401E-3</c:v>
                </c:pt>
                <c:pt idx="32537">
                  <c:v>2.5210084033614401E-3</c:v>
                </c:pt>
                <c:pt idx="32538">
                  <c:v>2.5210084033614401E-3</c:v>
                </c:pt>
                <c:pt idx="32539">
                  <c:v>2.5210084033614401E-3</c:v>
                </c:pt>
                <c:pt idx="32540">
                  <c:v>2.5210084033614401E-3</c:v>
                </c:pt>
                <c:pt idx="32541">
                  <c:v>2.5210084033614401E-3</c:v>
                </c:pt>
                <c:pt idx="32542">
                  <c:v>2.5210084033614401E-3</c:v>
                </c:pt>
                <c:pt idx="32543">
                  <c:v>2.5210084033614401E-3</c:v>
                </c:pt>
                <c:pt idx="32544">
                  <c:v>2.5210084033614401E-3</c:v>
                </c:pt>
                <c:pt idx="32545">
                  <c:v>2.5210084033614401E-3</c:v>
                </c:pt>
                <c:pt idx="32546">
                  <c:v>2.5210084033614401E-3</c:v>
                </c:pt>
                <c:pt idx="32547">
                  <c:v>2.5210084033614401E-3</c:v>
                </c:pt>
                <c:pt idx="32548">
                  <c:v>2.5210084033614401E-3</c:v>
                </c:pt>
                <c:pt idx="32549">
                  <c:v>2.5210084033614401E-3</c:v>
                </c:pt>
                <c:pt idx="32550">
                  <c:v>2.5210084033614401E-3</c:v>
                </c:pt>
                <c:pt idx="32551">
                  <c:v>2.5210084033614401E-3</c:v>
                </c:pt>
                <c:pt idx="32552">
                  <c:v>2.5210084033614401E-3</c:v>
                </c:pt>
                <c:pt idx="32553">
                  <c:v>2.5210084033614401E-3</c:v>
                </c:pt>
                <c:pt idx="32554">
                  <c:v>2.5210084033614401E-3</c:v>
                </c:pt>
                <c:pt idx="32555">
                  <c:v>2.5210084033614401E-3</c:v>
                </c:pt>
                <c:pt idx="32556">
                  <c:v>2.5210084033614401E-3</c:v>
                </c:pt>
                <c:pt idx="32557">
                  <c:v>2.5210084033614401E-3</c:v>
                </c:pt>
                <c:pt idx="32558">
                  <c:v>2.5210084033614401E-3</c:v>
                </c:pt>
                <c:pt idx="32559">
                  <c:v>2.5210084033614401E-3</c:v>
                </c:pt>
                <c:pt idx="32560">
                  <c:v>2.5210084033614401E-3</c:v>
                </c:pt>
                <c:pt idx="32561">
                  <c:v>2.5210084033614401E-3</c:v>
                </c:pt>
                <c:pt idx="32562">
                  <c:v>2.5210084033614401E-3</c:v>
                </c:pt>
                <c:pt idx="32563">
                  <c:v>2.5210084033614401E-3</c:v>
                </c:pt>
                <c:pt idx="32564">
                  <c:v>2.5210084033614401E-3</c:v>
                </c:pt>
                <c:pt idx="32565">
                  <c:v>2.5210084033614401E-3</c:v>
                </c:pt>
                <c:pt idx="32566">
                  <c:v>2.5210084033614401E-3</c:v>
                </c:pt>
                <c:pt idx="32567">
                  <c:v>2.5210084033614401E-3</c:v>
                </c:pt>
                <c:pt idx="32568">
                  <c:v>2.5210084033614401E-3</c:v>
                </c:pt>
                <c:pt idx="32569">
                  <c:v>2.5210084033614401E-3</c:v>
                </c:pt>
                <c:pt idx="32570">
                  <c:v>2.5210084033614401E-3</c:v>
                </c:pt>
                <c:pt idx="32571">
                  <c:v>2.5210084033614401E-3</c:v>
                </c:pt>
                <c:pt idx="32572">
                  <c:v>2.5210084033614401E-3</c:v>
                </c:pt>
                <c:pt idx="32573">
                  <c:v>2.5210084033614401E-3</c:v>
                </c:pt>
                <c:pt idx="32574">
                  <c:v>2.5210084033614401E-3</c:v>
                </c:pt>
                <c:pt idx="32575">
                  <c:v>2.5210084033614401E-3</c:v>
                </c:pt>
                <c:pt idx="32576">
                  <c:v>3.3613445378152199E-3</c:v>
                </c:pt>
                <c:pt idx="32577">
                  <c:v>3.3613445378152199E-3</c:v>
                </c:pt>
                <c:pt idx="32578">
                  <c:v>2.5210084033613299E-3</c:v>
                </c:pt>
                <c:pt idx="32579">
                  <c:v>2.5210084033613299E-3</c:v>
                </c:pt>
                <c:pt idx="32580">
                  <c:v>2.5210084033613299E-3</c:v>
                </c:pt>
                <c:pt idx="32581">
                  <c:v>2.5210084033613299E-3</c:v>
                </c:pt>
                <c:pt idx="32582">
                  <c:v>2.5210084033613299E-3</c:v>
                </c:pt>
                <c:pt idx="32583">
                  <c:v>2.5210084033613299E-3</c:v>
                </c:pt>
                <c:pt idx="32584">
                  <c:v>2.5210084033613299E-3</c:v>
                </c:pt>
                <c:pt idx="32585">
                  <c:v>2.5210084033613299E-3</c:v>
                </c:pt>
                <c:pt idx="32586">
                  <c:v>2.5210084033613299E-3</c:v>
                </c:pt>
                <c:pt idx="32587">
                  <c:v>2.5210084033613299E-3</c:v>
                </c:pt>
                <c:pt idx="32588">
                  <c:v>2.5210084033613299E-3</c:v>
                </c:pt>
                <c:pt idx="32589">
                  <c:v>2.5210084033613299E-3</c:v>
                </c:pt>
                <c:pt idx="32590">
                  <c:v>2.5210084033613299E-3</c:v>
                </c:pt>
                <c:pt idx="32591">
                  <c:v>2.5210084033613299E-3</c:v>
                </c:pt>
                <c:pt idx="32592">
                  <c:v>2.5210084033613299E-3</c:v>
                </c:pt>
                <c:pt idx="32593">
                  <c:v>2.5210084033613299E-3</c:v>
                </c:pt>
                <c:pt idx="32594">
                  <c:v>2.5210084033613299E-3</c:v>
                </c:pt>
                <c:pt idx="32595">
                  <c:v>2.5210084033613299E-3</c:v>
                </c:pt>
                <c:pt idx="32596">
                  <c:v>2.5210084033613299E-3</c:v>
                </c:pt>
                <c:pt idx="32597">
                  <c:v>2.5210084033613299E-3</c:v>
                </c:pt>
                <c:pt idx="32598">
                  <c:v>2.5210084033613299E-3</c:v>
                </c:pt>
                <c:pt idx="32599">
                  <c:v>3.3613445378151102E-3</c:v>
                </c:pt>
                <c:pt idx="32600">
                  <c:v>3.3613445378151102E-3</c:v>
                </c:pt>
                <c:pt idx="32601">
                  <c:v>3.3613445378151102E-3</c:v>
                </c:pt>
                <c:pt idx="32602">
                  <c:v>3.3613445378151102E-3</c:v>
                </c:pt>
                <c:pt idx="32603">
                  <c:v>3.3613445378151102E-3</c:v>
                </c:pt>
                <c:pt idx="32604">
                  <c:v>3.3613445378151102E-3</c:v>
                </c:pt>
                <c:pt idx="32605">
                  <c:v>3.3613445378151102E-3</c:v>
                </c:pt>
                <c:pt idx="32606">
                  <c:v>3.3613445378151102E-3</c:v>
                </c:pt>
                <c:pt idx="32607">
                  <c:v>3.3613445378151102E-3</c:v>
                </c:pt>
                <c:pt idx="32608">
                  <c:v>3.3613445378151102E-3</c:v>
                </c:pt>
                <c:pt idx="32609">
                  <c:v>3.3613445378151102E-3</c:v>
                </c:pt>
                <c:pt idx="32610">
                  <c:v>3.3613445378151102E-3</c:v>
                </c:pt>
                <c:pt idx="32611">
                  <c:v>3.3613445378151102E-3</c:v>
                </c:pt>
                <c:pt idx="32612">
                  <c:v>3.3613445378151102E-3</c:v>
                </c:pt>
                <c:pt idx="32613">
                  <c:v>3.3613445378151102E-3</c:v>
                </c:pt>
                <c:pt idx="32614">
                  <c:v>3.3613445378151102E-3</c:v>
                </c:pt>
                <c:pt idx="32615">
                  <c:v>3.3613445378151102E-3</c:v>
                </c:pt>
                <c:pt idx="32616">
                  <c:v>3.3613445378151102E-3</c:v>
                </c:pt>
                <c:pt idx="32617">
                  <c:v>3.3613445378151102E-3</c:v>
                </c:pt>
                <c:pt idx="32618">
                  <c:v>3.3613445378151102E-3</c:v>
                </c:pt>
                <c:pt idx="32619">
                  <c:v>3.3613445378151102E-3</c:v>
                </c:pt>
                <c:pt idx="32620">
                  <c:v>3.3613445378151102E-3</c:v>
                </c:pt>
                <c:pt idx="32621">
                  <c:v>3.3613445378151102E-3</c:v>
                </c:pt>
                <c:pt idx="32622">
                  <c:v>3.3613445378151102E-3</c:v>
                </c:pt>
                <c:pt idx="32623">
                  <c:v>3.3613445378151102E-3</c:v>
                </c:pt>
                <c:pt idx="32624">
                  <c:v>3.3613445378151102E-3</c:v>
                </c:pt>
                <c:pt idx="32625">
                  <c:v>3.3613445378151102E-3</c:v>
                </c:pt>
                <c:pt idx="32626">
                  <c:v>3.3613445378151102E-3</c:v>
                </c:pt>
                <c:pt idx="32627">
                  <c:v>3.3613445378151102E-3</c:v>
                </c:pt>
                <c:pt idx="32628">
                  <c:v>3.3613445378151102E-3</c:v>
                </c:pt>
                <c:pt idx="32629">
                  <c:v>3.3613445378151102E-3</c:v>
                </c:pt>
                <c:pt idx="32630">
                  <c:v>3.3613445378151102E-3</c:v>
                </c:pt>
                <c:pt idx="32631">
                  <c:v>3.3613445378151102E-3</c:v>
                </c:pt>
                <c:pt idx="32632">
                  <c:v>3.3613445378151102E-3</c:v>
                </c:pt>
                <c:pt idx="32633">
                  <c:v>3.3613445378151102E-3</c:v>
                </c:pt>
                <c:pt idx="32634">
                  <c:v>3.3613445378151102E-3</c:v>
                </c:pt>
                <c:pt idx="32635">
                  <c:v>3.3613445378151102E-3</c:v>
                </c:pt>
                <c:pt idx="32636">
                  <c:v>3.3613445378151102E-3</c:v>
                </c:pt>
                <c:pt idx="32637">
                  <c:v>3.3613445378151102E-3</c:v>
                </c:pt>
                <c:pt idx="32638">
                  <c:v>2.5210084033613299E-3</c:v>
                </c:pt>
                <c:pt idx="32639">
                  <c:v>2.5210084033613299E-3</c:v>
                </c:pt>
                <c:pt idx="32640">
                  <c:v>2.5210084033613299E-3</c:v>
                </c:pt>
                <c:pt idx="32641">
                  <c:v>2.5210084033613299E-3</c:v>
                </c:pt>
                <c:pt idx="32642">
                  <c:v>2.5210084033613299E-3</c:v>
                </c:pt>
                <c:pt idx="32643">
                  <c:v>2.5210084033613299E-3</c:v>
                </c:pt>
                <c:pt idx="32644">
                  <c:v>2.5210084033613299E-3</c:v>
                </c:pt>
                <c:pt idx="32645">
                  <c:v>2.5210084033613299E-3</c:v>
                </c:pt>
                <c:pt idx="32646">
                  <c:v>2.5210084033613299E-3</c:v>
                </c:pt>
                <c:pt idx="32647">
                  <c:v>2.5210084033613299E-3</c:v>
                </c:pt>
                <c:pt idx="32648">
                  <c:v>2.5210084033613299E-3</c:v>
                </c:pt>
                <c:pt idx="32649">
                  <c:v>2.5210084033613299E-3</c:v>
                </c:pt>
                <c:pt idx="32650">
                  <c:v>2.5210084033613299E-3</c:v>
                </c:pt>
                <c:pt idx="32651">
                  <c:v>2.5210084033613299E-3</c:v>
                </c:pt>
                <c:pt idx="32652">
                  <c:v>2.5210084033613299E-3</c:v>
                </c:pt>
                <c:pt idx="32653">
                  <c:v>2.5210084033613299E-3</c:v>
                </c:pt>
                <c:pt idx="32654">
                  <c:v>2.5210084033613299E-3</c:v>
                </c:pt>
                <c:pt idx="32655">
                  <c:v>2.5210084033613299E-3</c:v>
                </c:pt>
                <c:pt idx="32656">
                  <c:v>2.5210084033613299E-3</c:v>
                </c:pt>
                <c:pt idx="32657">
                  <c:v>2.5210084033613299E-3</c:v>
                </c:pt>
                <c:pt idx="32658">
                  <c:v>2.5210084033613299E-3</c:v>
                </c:pt>
                <c:pt idx="32659">
                  <c:v>2.5210084033613299E-3</c:v>
                </c:pt>
                <c:pt idx="32660">
                  <c:v>3.3613445378151102E-3</c:v>
                </c:pt>
                <c:pt idx="32661">
                  <c:v>3.3613445378151102E-3</c:v>
                </c:pt>
                <c:pt idx="32662">
                  <c:v>3.3613445378151102E-3</c:v>
                </c:pt>
                <c:pt idx="32663">
                  <c:v>3.3613445378151102E-3</c:v>
                </c:pt>
                <c:pt idx="32664">
                  <c:v>3.3613445378151102E-3</c:v>
                </c:pt>
                <c:pt idx="32665">
                  <c:v>3.3613445378151102E-3</c:v>
                </c:pt>
                <c:pt idx="32666">
                  <c:v>3.3613445378151102E-3</c:v>
                </c:pt>
                <c:pt idx="32667">
                  <c:v>3.3613445378151102E-3</c:v>
                </c:pt>
                <c:pt idx="32668">
                  <c:v>3.3613445378151102E-3</c:v>
                </c:pt>
                <c:pt idx="32669">
                  <c:v>3.3613445378151102E-3</c:v>
                </c:pt>
                <c:pt idx="32670">
                  <c:v>3.3613445378151102E-3</c:v>
                </c:pt>
                <c:pt idx="32671">
                  <c:v>3.3613445378151102E-3</c:v>
                </c:pt>
                <c:pt idx="32672">
                  <c:v>3.3613445378151102E-3</c:v>
                </c:pt>
                <c:pt idx="32673">
                  <c:v>3.3613445378151102E-3</c:v>
                </c:pt>
                <c:pt idx="32674">
                  <c:v>3.3613445378151102E-3</c:v>
                </c:pt>
                <c:pt idx="32675">
                  <c:v>3.3613445378151102E-3</c:v>
                </c:pt>
                <c:pt idx="32676">
                  <c:v>3.3613445378151102E-3</c:v>
                </c:pt>
                <c:pt idx="32677">
                  <c:v>3.3613445378151102E-3</c:v>
                </c:pt>
                <c:pt idx="32678">
                  <c:v>3.3613445378151102E-3</c:v>
                </c:pt>
                <c:pt idx="32679">
                  <c:v>3.3613445378151102E-3</c:v>
                </c:pt>
                <c:pt idx="32680">
                  <c:v>3.3613445378151102E-3</c:v>
                </c:pt>
                <c:pt idx="32681">
                  <c:v>3.3613445378151102E-3</c:v>
                </c:pt>
                <c:pt idx="32682">
                  <c:v>3.3613445378151102E-3</c:v>
                </c:pt>
                <c:pt idx="32683">
                  <c:v>4.20168067226889E-3</c:v>
                </c:pt>
                <c:pt idx="32684">
                  <c:v>4.20168067226889E-3</c:v>
                </c:pt>
                <c:pt idx="32685">
                  <c:v>4.20168067226889E-3</c:v>
                </c:pt>
                <c:pt idx="32686">
                  <c:v>4.20168067226889E-3</c:v>
                </c:pt>
                <c:pt idx="32687">
                  <c:v>4.20168067226889E-3</c:v>
                </c:pt>
                <c:pt idx="32688">
                  <c:v>4.20168067226889E-3</c:v>
                </c:pt>
                <c:pt idx="32689">
                  <c:v>4.20168067226889E-3</c:v>
                </c:pt>
                <c:pt idx="32690">
                  <c:v>4.20168067226889E-3</c:v>
                </c:pt>
                <c:pt idx="32691">
                  <c:v>4.20168067226889E-3</c:v>
                </c:pt>
                <c:pt idx="32692">
                  <c:v>4.20168067226889E-3</c:v>
                </c:pt>
                <c:pt idx="32693">
                  <c:v>4.20168067226889E-3</c:v>
                </c:pt>
                <c:pt idx="32694">
                  <c:v>4.20168067226889E-3</c:v>
                </c:pt>
                <c:pt idx="32695">
                  <c:v>4.20168067226889E-3</c:v>
                </c:pt>
                <c:pt idx="32696">
                  <c:v>4.20168067226889E-3</c:v>
                </c:pt>
                <c:pt idx="32697">
                  <c:v>4.20168067226889E-3</c:v>
                </c:pt>
                <c:pt idx="32698">
                  <c:v>4.20168067226889E-3</c:v>
                </c:pt>
                <c:pt idx="32699">
                  <c:v>4.20168067226889E-3</c:v>
                </c:pt>
                <c:pt idx="32700">
                  <c:v>4.20168067226889E-3</c:v>
                </c:pt>
                <c:pt idx="32701">
                  <c:v>4.20168067226889E-3</c:v>
                </c:pt>
                <c:pt idx="32702">
                  <c:v>4.20168067226889E-3</c:v>
                </c:pt>
                <c:pt idx="32703">
                  <c:v>4.20168067226889E-3</c:v>
                </c:pt>
                <c:pt idx="32704">
                  <c:v>4.20168067226889E-3</c:v>
                </c:pt>
                <c:pt idx="32705">
                  <c:v>5.0420168067226703E-3</c:v>
                </c:pt>
                <c:pt idx="32706">
                  <c:v>5.0420168067226703E-3</c:v>
                </c:pt>
                <c:pt idx="32707">
                  <c:v>5.0420168067226703E-3</c:v>
                </c:pt>
                <c:pt idx="32708">
                  <c:v>5.0420168067226703E-3</c:v>
                </c:pt>
                <c:pt idx="32709">
                  <c:v>5.0420168067226703E-3</c:v>
                </c:pt>
                <c:pt idx="32710">
                  <c:v>5.0420168067226703E-3</c:v>
                </c:pt>
                <c:pt idx="32711">
                  <c:v>5.0420168067226703E-3</c:v>
                </c:pt>
                <c:pt idx="32712">
                  <c:v>5.0420168067226703E-3</c:v>
                </c:pt>
                <c:pt idx="32713">
                  <c:v>5.0420168067226703E-3</c:v>
                </c:pt>
                <c:pt idx="32714">
                  <c:v>5.0420168067226703E-3</c:v>
                </c:pt>
                <c:pt idx="32715">
                  <c:v>5.0420168067226703E-3</c:v>
                </c:pt>
                <c:pt idx="32716">
                  <c:v>5.0420168067226703E-3</c:v>
                </c:pt>
                <c:pt idx="32717">
                  <c:v>5.0420168067226703E-3</c:v>
                </c:pt>
                <c:pt idx="32718">
                  <c:v>5.0420168067226703E-3</c:v>
                </c:pt>
                <c:pt idx="32719">
                  <c:v>5.0420168067226703E-3</c:v>
                </c:pt>
                <c:pt idx="32720">
                  <c:v>5.0420168067226703E-3</c:v>
                </c:pt>
                <c:pt idx="32721">
                  <c:v>5.0420168067226703E-3</c:v>
                </c:pt>
                <c:pt idx="32722">
                  <c:v>5.8823529411764497E-3</c:v>
                </c:pt>
                <c:pt idx="32723">
                  <c:v>5.8823529411764497E-3</c:v>
                </c:pt>
                <c:pt idx="32724">
                  <c:v>5.8823529411764497E-3</c:v>
                </c:pt>
                <c:pt idx="32725">
                  <c:v>5.8823529411764497E-3</c:v>
                </c:pt>
                <c:pt idx="32726">
                  <c:v>5.8823529411764497E-3</c:v>
                </c:pt>
                <c:pt idx="32727">
                  <c:v>5.8823529411764497E-3</c:v>
                </c:pt>
                <c:pt idx="32728">
                  <c:v>5.8823529411764497E-3</c:v>
                </c:pt>
                <c:pt idx="32729">
                  <c:v>5.8823529411764497E-3</c:v>
                </c:pt>
                <c:pt idx="32730">
                  <c:v>5.8823529411764497E-3</c:v>
                </c:pt>
                <c:pt idx="32731">
                  <c:v>5.8823529411764497E-3</c:v>
                </c:pt>
                <c:pt idx="32732">
                  <c:v>5.8823529411764497E-3</c:v>
                </c:pt>
                <c:pt idx="32733">
                  <c:v>5.8823529411764497E-3</c:v>
                </c:pt>
                <c:pt idx="32734">
                  <c:v>5.8823529411764497E-3</c:v>
                </c:pt>
                <c:pt idx="32735">
                  <c:v>5.8823529411764497E-3</c:v>
                </c:pt>
                <c:pt idx="32736">
                  <c:v>5.8823529411764497E-3</c:v>
                </c:pt>
                <c:pt idx="32737">
                  <c:v>5.8823529411764497E-3</c:v>
                </c:pt>
                <c:pt idx="32738">
                  <c:v>5.8823529411764497E-3</c:v>
                </c:pt>
                <c:pt idx="32739">
                  <c:v>5.8823529411764497E-3</c:v>
                </c:pt>
                <c:pt idx="32740">
                  <c:v>5.8823529411764497E-3</c:v>
                </c:pt>
                <c:pt idx="32741">
                  <c:v>5.8823529411764497E-3</c:v>
                </c:pt>
                <c:pt idx="32742">
                  <c:v>5.8823529411764497E-3</c:v>
                </c:pt>
                <c:pt idx="32743">
                  <c:v>5.8823529411764497E-3</c:v>
                </c:pt>
                <c:pt idx="32744">
                  <c:v>5.8823529411764497E-3</c:v>
                </c:pt>
                <c:pt idx="32745">
                  <c:v>5.8823529411764497E-3</c:v>
                </c:pt>
                <c:pt idx="32746">
                  <c:v>5.8823529411764497E-3</c:v>
                </c:pt>
                <c:pt idx="32747">
                  <c:v>5.8823529411764497E-3</c:v>
                </c:pt>
                <c:pt idx="32748">
                  <c:v>5.8823529411764497E-3</c:v>
                </c:pt>
                <c:pt idx="32749">
                  <c:v>5.8823529411764497E-3</c:v>
                </c:pt>
                <c:pt idx="32750">
                  <c:v>5.8823529411764497E-3</c:v>
                </c:pt>
                <c:pt idx="32751">
                  <c:v>5.8823529411764497E-3</c:v>
                </c:pt>
                <c:pt idx="32752">
                  <c:v>5.8823529411764497E-3</c:v>
                </c:pt>
                <c:pt idx="32753">
                  <c:v>5.8823529411764497E-3</c:v>
                </c:pt>
                <c:pt idx="32754">
                  <c:v>5.8823529411764497E-3</c:v>
                </c:pt>
                <c:pt idx="32755">
                  <c:v>5.8823529411764497E-3</c:v>
                </c:pt>
                <c:pt idx="32756">
                  <c:v>5.8823529411764497E-3</c:v>
                </c:pt>
                <c:pt idx="32757">
                  <c:v>5.8823529411764497E-3</c:v>
                </c:pt>
                <c:pt idx="32758">
                  <c:v>5.8823529411764497E-3</c:v>
                </c:pt>
                <c:pt idx="32759">
                  <c:v>5.0420168067226703E-3</c:v>
                </c:pt>
                <c:pt idx="32760">
                  <c:v>5.0420168067226703E-3</c:v>
                </c:pt>
                <c:pt idx="32761">
                  <c:v>5.0420168067226703E-3</c:v>
                </c:pt>
                <c:pt idx="32762">
                  <c:v>5.0420168067226703E-3</c:v>
                </c:pt>
                <c:pt idx="32763">
                  <c:v>5.0420168067226703E-3</c:v>
                </c:pt>
                <c:pt idx="32764">
                  <c:v>5.0420168067226703E-3</c:v>
                </c:pt>
                <c:pt idx="32765">
                  <c:v>5.0420168067226703E-3</c:v>
                </c:pt>
                <c:pt idx="32766">
                  <c:v>5.0420168067226703E-3</c:v>
                </c:pt>
                <c:pt idx="32767">
                  <c:v>5.0420168067226703E-3</c:v>
                </c:pt>
                <c:pt idx="32768">
                  <c:v>5.0420168067226703E-3</c:v>
                </c:pt>
                <c:pt idx="32769">
                  <c:v>5.0420168067226703E-3</c:v>
                </c:pt>
                <c:pt idx="32770">
                  <c:v>5.0420168067226703E-3</c:v>
                </c:pt>
                <c:pt idx="32771">
                  <c:v>5.0420168067226703E-3</c:v>
                </c:pt>
                <c:pt idx="32772">
                  <c:v>5.0420168067226703E-3</c:v>
                </c:pt>
                <c:pt idx="32773">
                  <c:v>5.0420168067226703E-3</c:v>
                </c:pt>
                <c:pt idx="32774">
                  <c:v>5.0420168067226703E-3</c:v>
                </c:pt>
                <c:pt idx="32775">
                  <c:v>5.0420168067226703E-3</c:v>
                </c:pt>
                <c:pt idx="32776">
                  <c:v>5.0420168067226703E-3</c:v>
                </c:pt>
                <c:pt idx="32777">
                  <c:v>5.0420168067226703E-3</c:v>
                </c:pt>
                <c:pt idx="32778">
                  <c:v>5.0420168067226703E-3</c:v>
                </c:pt>
                <c:pt idx="32779">
                  <c:v>5.0420168067226703E-3</c:v>
                </c:pt>
                <c:pt idx="32780">
                  <c:v>5.0420168067226703E-3</c:v>
                </c:pt>
                <c:pt idx="32781">
                  <c:v>5.0420168067226703E-3</c:v>
                </c:pt>
                <c:pt idx="32782">
                  <c:v>5.0420168067226703E-3</c:v>
                </c:pt>
                <c:pt idx="32783">
                  <c:v>5.0420168067226703E-3</c:v>
                </c:pt>
                <c:pt idx="32784">
                  <c:v>5.0420168067226703E-3</c:v>
                </c:pt>
                <c:pt idx="32785">
                  <c:v>5.0420168067226703E-3</c:v>
                </c:pt>
                <c:pt idx="32786">
                  <c:v>5.0420168067226703E-3</c:v>
                </c:pt>
                <c:pt idx="32787">
                  <c:v>5.0420168067226703E-3</c:v>
                </c:pt>
                <c:pt idx="32788">
                  <c:v>5.0420168067226703E-3</c:v>
                </c:pt>
                <c:pt idx="32789">
                  <c:v>5.0420168067226703E-3</c:v>
                </c:pt>
                <c:pt idx="32790">
                  <c:v>5.0420168067226703E-3</c:v>
                </c:pt>
                <c:pt idx="32791">
                  <c:v>5.0420168067226703E-3</c:v>
                </c:pt>
                <c:pt idx="32792">
                  <c:v>5.0420168067226703E-3</c:v>
                </c:pt>
                <c:pt idx="32793">
                  <c:v>5.0420168067226703E-3</c:v>
                </c:pt>
                <c:pt idx="32794">
                  <c:v>5.0420168067226703E-3</c:v>
                </c:pt>
                <c:pt idx="32795">
                  <c:v>5.0420168067226703E-3</c:v>
                </c:pt>
                <c:pt idx="32796">
                  <c:v>5.0420168067226703E-3</c:v>
                </c:pt>
                <c:pt idx="32797">
                  <c:v>5.0420168067226703E-3</c:v>
                </c:pt>
                <c:pt idx="32798">
                  <c:v>5.0420168067226703E-3</c:v>
                </c:pt>
                <c:pt idx="32799">
                  <c:v>5.0420168067226703E-3</c:v>
                </c:pt>
                <c:pt idx="32800">
                  <c:v>5.0420168067226703E-3</c:v>
                </c:pt>
                <c:pt idx="32801">
                  <c:v>5.0420168067226703E-3</c:v>
                </c:pt>
                <c:pt idx="32802">
                  <c:v>5.0420168067226703E-3</c:v>
                </c:pt>
                <c:pt idx="32803">
                  <c:v>4.20168067226889E-3</c:v>
                </c:pt>
                <c:pt idx="32804">
                  <c:v>4.20168067226889E-3</c:v>
                </c:pt>
                <c:pt idx="32805">
                  <c:v>4.20168067226889E-3</c:v>
                </c:pt>
                <c:pt idx="32806">
                  <c:v>5.0420168067226703E-3</c:v>
                </c:pt>
                <c:pt idx="32807">
                  <c:v>5.0420168067226703E-3</c:v>
                </c:pt>
                <c:pt idx="32808">
                  <c:v>5.0420168067226703E-3</c:v>
                </c:pt>
                <c:pt idx="32809">
                  <c:v>5.0420168067226703E-3</c:v>
                </c:pt>
                <c:pt idx="32810">
                  <c:v>5.0420168067226703E-3</c:v>
                </c:pt>
                <c:pt idx="32811">
                  <c:v>5.0420168067226703E-3</c:v>
                </c:pt>
                <c:pt idx="32812">
                  <c:v>5.0420168067226703E-3</c:v>
                </c:pt>
                <c:pt idx="32813">
                  <c:v>5.0420168067226703E-3</c:v>
                </c:pt>
                <c:pt idx="32814">
                  <c:v>5.0420168067226703E-3</c:v>
                </c:pt>
                <c:pt idx="32815">
                  <c:v>5.0420168067226703E-3</c:v>
                </c:pt>
                <c:pt idx="32816">
                  <c:v>5.0420168067226703E-3</c:v>
                </c:pt>
                <c:pt idx="32817">
                  <c:v>5.0420168067226703E-3</c:v>
                </c:pt>
                <c:pt idx="32818">
                  <c:v>5.0420168067226703E-3</c:v>
                </c:pt>
                <c:pt idx="32819">
                  <c:v>5.0420168067226703E-3</c:v>
                </c:pt>
                <c:pt idx="32820">
                  <c:v>5.0420168067226703E-3</c:v>
                </c:pt>
                <c:pt idx="32821">
                  <c:v>4.20168067226889E-3</c:v>
                </c:pt>
                <c:pt idx="32822">
                  <c:v>4.20168067226889E-3</c:v>
                </c:pt>
                <c:pt idx="32823">
                  <c:v>4.20168067226889E-3</c:v>
                </c:pt>
                <c:pt idx="32824">
                  <c:v>4.20168067226889E-3</c:v>
                </c:pt>
                <c:pt idx="32825">
                  <c:v>4.20168067226889E-3</c:v>
                </c:pt>
                <c:pt idx="32826">
                  <c:v>4.20168067226889E-3</c:v>
                </c:pt>
                <c:pt idx="32827">
                  <c:v>4.20168067226889E-3</c:v>
                </c:pt>
                <c:pt idx="32828">
                  <c:v>4.20168067226889E-3</c:v>
                </c:pt>
                <c:pt idx="32829">
                  <c:v>4.20168067226889E-3</c:v>
                </c:pt>
                <c:pt idx="32830">
                  <c:v>4.20168067226889E-3</c:v>
                </c:pt>
                <c:pt idx="32831">
                  <c:v>4.20168067226889E-3</c:v>
                </c:pt>
                <c:pt idx="32832">
                  <c:v>4.20168067226889E-3</c:v>
                </c:pt>
                <c:pt idx="32833">
                  <c:v>4.20168067226889E-3</c:v>
                </c:pt>
                <c:pt idx="32834">
                  <c:v>4.20168067226889E-3</c:v>
                </c:pt>
                <c:pt idx="32835">
                  <c:v>4.20168067226889E-3</c:v>
                </c:pt>
                <c:pt idx="32836">
                  <c:v>4.20168067226889E-3</c:v>
                </c:pt>
                <c:pt idx="32837">
                  <c:v>4.20168067226889E-3</c:v>
                </c:pt>
                <c:pt idx="32838">
                  <c:v>4.20168067226889E-3</c:v>
                </c:pt>
                <c:pt idx="32839">
                  <c:v>4.20168067226889E-3</c:v>
                </c:pt>
                <c:pt idx="32840">
                  <c:v>4.20168067226889E-3</c:v>
                </c:pt>
                <c:pt idx="32841">
                  <c:v>4.20168067226889E-3</c:v>
                </c:pt>
                <c:pt idx="32842">
                  <c:v>4.20168067226889E-3</c:v>
                </c:pt>
                <c:pt idx="32843">
                  <c:v>4.20168067226889E-3</c:v>
                </c:pt>
                <c:pt idx="32844">
                  <c:v>4.20168067226889E-3</c:v>
                </c:pt>
                <c:pt idx="32845">
                  <c:v>4.20168067226889E-3</c:v>
                </c:pt>
                <c:pt idx="32846">
                  <c:v>4.20168067226889E-3</c:v>
                </c:pt>
                <c:pt idx="32847">
                  <c:v>3.3613445378151102E-3</c:v>
                </c:pt>
                <c:pt idx="32848">
                  <c:v>3.3613445378151102E-3</c:v>
                </c:pt>
                <c:pt idx="32849">
                  <c:v>3.3613445378151102E-3</c:v>
                </c:pt>
                <c:pt idx="32850">
                  <c:v>3.3613445378151102E-3</c:v>
                </c:pt>
                <c:pt idx="32851">
                  <c:v>3.3613445378151102E-3</c:v>
                </c:pt>
                <c:pt idx="32852">
                  <c:v>3.3613445378151102E-3</c:v>
                </c:pt>
                <c:pt idx="32853">
                  <c:v>3.3613445378151102E-3</c:v>
                </c:pt>
                <c:pt idx="32854">
                  <c:v>3.3613445378151102E-3</c:v>
                </c:pt>
                <c:pt idx="32855">
                  <c:v>3.3613445378151102E-3</c:v>
                </c:pt>
                <c:pt idx="32856">
                  <c:v>3.3613445378151102E-3</c:v>
                </c:pt>
                <c:pt idx="32857">
                  <c:v>3.3613445378151102E-3</c:v>
                </c:pt>
                <c:pt idx="32858">
                  <c:v>3.3613445378151102E-3</c:v>
                </c:pt>
                <c:pt idx="32859">
                  <c:v>3.3613445378151102E-3</c:v>
                </c:pt>
                <c:pt idx="32860">
                  <c:v>3.3613445378151102E-3</c:v>
                </c:pt>
                <c:pt idx="32861">
                  <c:v>3.3613445378151102E-3</c:v>
                </c:pt>
                <c:pt idx="32862">
                  <c:v>3.3613445378151102E-3</c:v>
                </c:pt>
                <c:pt idx="32863">
                  <c:v>3.3613445378151102E-3</c:v>
                </c:pt>
                <c:pt idx="32864">
                  <c:v>3.3613445378151102E-3</c:v>
                </c:pt>
                <c:pt idx="32865">
                  <c:v>3.3613445378151102E-3</c:v>
                </c:pt>
                <c:pt idx="32866">
                  <c:v>3.3613445378151102E-3</c:v>
                </c:pt>
                <c:pt idx="32867">
                  <c:v>3.3613445378151102E-3</c:v>
                </c:pt>
                <c:pt idx="32868">
                  <c:v>3.3613445378151102E-3</c:v>
                </c:pt>
                <c:pt idx="32869">
                  <c:v>3.3613445378151102E-3</c:v>
                </c:pt>
                <c:pt idx="32870">
                  <c:v>3.3613445378151102E-3</c:v>
                </c:pt>
                <c:pt idx="32871">
                  <c:v>3.3613445378151102E-3</c:v>
                </c:pt>
                <c:pt idx="32872">
                  <c:v>3.3613445378151102E-3</c:v>
                </c:pt>
                <c:pt idx="32873">
                  <c:v>3.3613445378151102E-3</c:v>
                </c:pt>
                <c:pt idx="32874">
                  <c:v>3.3613445378151102E-3</c:v>
                </c:pt>
                <c:pt idx="32875">
                  <c:v>3.3613445378151102E-3</c:v>
                </c:pt>
                <c:pt idx="32876">
                  <c:v>3.3613445378151102E-3</c:v>
                </c:pt>
                <c:pt idx="32877">
                  <c:v>3.3613445378151102E-3</c:v>
                </c:pt>
                <c:pt idx="32878">
                  <c:v>3.3613445378151102E-3</c:v>
                </c:pt>
                <c:pt idx="32879">
                  <c:v>3.3613445378151102E-3</c:v>
                </c:pt>
                <c:pt idx="32880">
                  <c:v>3.3613445378151102E-3</c:v>
                </c:pt>
                <c:pt idx="32881">
                  <c:v>3.3613445378151102E-3</c:v>
                </c:pt>
                <c:pt idx="32882">
                  <c:v>3.3613445378151102E-3</c:v>
                </c:pt>
                <c:pt idx="32883">
                  <c:v>3.3613445378151102E-3</c:v>
                </c:pt>
                <c:pt idx="32884">
                  <c:v>3.3613445378151102E-3</c:v>
                </c:pt>
                <c:pt idx="32885">
                  <c:v>3.3613445378151102E-3</c:v>
                </c:pt>
                <c:pt idx="32886">
                  <c:v>3.3613445378151102E-3</c:v>
                </c:pt>
                <c:pt idx="32887">
                  <c:v>2.5210084033613299E-3</c:v>
                </c:pt>
                <c:pt idx="32888">
                  <c:v>2.5210084033613299E-3</c:v>
                </c:pt>
                <c:pt idx="32889">
                  <c:v>2.5210084033613299E-3</c:v>
                </c:pt>
                <c:pt idx="32890">
                  <c:v>2.5210084033613299E-3</c:v>
                </c:pt>
                <c:pt idx="32891">
                  <c:v>2.5210084033613299E-3</c:v>
                </c:pt>
                <c:pt idx="32892">
                  <c:v>2.5210084033613299E-3</c:v>
                </c:pt>
                <c:pt idx="32893">
                  <c:v>2.5210084033613299E-3</c:v>
                </c:pt>
                <c:pt idx="32894">
                  <c:v>2.5210084033613299E-3</c:v>
                </c:pt>
                <c:pt idx="32895">
                  <c:v>2.5210084033613299E-3</c:v>
                </c:pt>
                <c:pt idx="32896">
                  <c:v>2.5210084033613299E-3</c:v>
                </c:pt>
                <c:pt idx="32897">
                  <c:v>2.5210084033613299E-3</c:v>
                </c:pt>
                <c:pt idx="32898">
                  <c:v>2.5210084033613299E-3</c:v>
                </c:pt>
                <c:pt idx="32899">
                  <c:v>2.5210084033613299E-3</c:v>
                </c:pt>
                <c:pt idx="32900">
                  <c:v>2.5210084033613299E-3</c:v>
                </c:pt>
                <c:pt idx="32901">
                  <c:v>2.5210084033613299E-3</c:v>
                </c:pt>
                <c:pt idx="32902">
                  <c:v>2.5210084033613299E-3</c:v>
                </c:pt>
                <c:pt idx="32903">
                  <c:v>2.5210084033613299E-3</c:v>
                </c:pt>
                <c:pt idx="32904">
                  <c:v>2.5210084033613299E-3</c:v>
                </c:pt>
                <c:pt idx="32905">
                  <c:v>2.5210084033613299E-3</c:v>
                </c:pt>
                <c:pt idx="32906">
                  <c:v>2.5210084033613299E-3</c:v>
                </c:pt>
                <c:pt idx="32907">
                  <c:v>2.5210084033613299E-3</c:v>
                </c:pt>
                <c:pt idx="32908">
                  <c:v>2.5210084033613299E-3</c:v>
                </c:pt>
                <c:pt idx="32909">
                  <c:v>2.5210084033613299E-3</c:v>
                </c:pt>
                <c:pt idx="32910">
                  <c:v>2.5210084033613299E-3</c:v>
                </c:pt>
                <c:pt idx="32911">
                  <c:v>2.5210084033613299E-3</c:v>
                </c:pt>
                <c:pt idx="32912">
                  <c:v>2.5210084033613299E-3</c:v>
                </c:pt>
                <c:pt idx="32913">
                  <c:v>2.5210084033613299E-3</c:v>
                </c:pt>
                <c:pt idx="32914">
                  <c:v>2.5210084033613299E-3</c:v>
                </c:pt>
                <c:pt idx="32915">
                  <c:v>2.5210084033613299E-3</c:v>
                </c:pt>
                <c:pt idx="32916">
                  <c:v>2.5210084033613299E-3</c:v>
                </c:pt>
                <c:pt idx="32917">
                  <c:v>2.5210084033613299E-3</c:v>
                </c:pt>
                <c:pt idx="32918">
                  <c:v>2.5210084033613299E-3</c:v>
                </c:pt>
                <c:pt idx="32919">
                  <c:v>2.5210084033613299E-3</c:v>
                </c:pt>
                <c:pt idx="32920">
                  <c:v>2.5210084033613299E-3</c:v>
                </c:pt>
                <c:pt idx="32921">
                  <c:v>2.5210084033613299E-3</c:v>
                </c:pt>
                <c:pt idx="32922">
                  <c:v>2.5210084033613299E-3</c:v>
                </c:pt>
                <c:pt idx="32923">
                  <c:v>2.5210084033613299E-3</c:v>
                </c:pt>
                <c:pt idx="32924">
                  <c:v>2.5210084033613299E-3</c:v>
                </c:pt>
                <c:pt idx="32925">
                  <c:v>2.5210084033613299E-3</c:v>
                </c:pt>
                <c:pt idx="32926">
                  <c:v>2.5210084033613299E-3</c:v>
                </c:pt>
                <c:pt idx="32927">
                  <c:v>2.5210084033613299E-3</c:v>
                </c:pt>
                <c:pt idx="32928">
                  <c:v>2.5210084033613299E-3</c:v>
                </c:pt>
                <c:pt idx="32929">
                  <c:v>2.5210084033613299E-3</c:v>
                </c:pt>
                <c:pt idx="32930">
                  <c:v>2.5210084033613299E-3</c:v>
                </c:pt>
                <c:pt idx="32931">
                  <c:v>2.5210084033613299E-3</c:v>
                </c:pt>
                <c:pt idx="32932">
                  <c:v>2.5210084033613299E-3</c:v>
                </c:pt>
                <c:pt idx="32933">
                  <c:v>2.5210084033613299E-3</c:v>
                </c:pt>
                <c:pt idx="32934">
                  <c:v>2.5210084033613299E-3</c:v>
                </c:pt>
                <c:pt idx="32935">
                  <c:v>2.5210084033613299E-3</c:v>
                </c:pt>
                <c:pt idx="32936">
                  <c:v>2.5210084033613299E-3</c:v>
                </c:pt>
                <c:pt idx="32937">
                  <c:v>2.5210084033613299E-3</c:v>
                </c:pt>
                <c:pt idx="32938">
                  <c:v>3.3613445378151102E-3</c:v>
                </c:pt>
                <c:pt idx="32939">
                  <c:v>3.3613445378151102E-3</c:v>
                </c:pt>
                <c:pt idx="32940">
                  <c:v>3.3613445378151102E-3</c:v>
                </c:pt>
                <c:pt idx="32941">
                  <c:v>3.3613445378151102E-3</c:v>
                </c:pt>
                <c:pt idx="32942">
                  <c:v>3.3613445378151102E-3</c:v>
                </c:pt>
                <c:pt idx="32943">
                  <c:v>3.3613445378151102E-3</c:v>
                </c:pt>
                <c:pt idx="32944">
                  <c:v>3.3613445378151102E-3</c:v>
                </c:pt>
                <c:pt idx="32945">
                  <c:v>3.3613445378151102E-3</c:v>
                </c:pt>
                <c:pt idx="32946">
                  <c:v>3.3613445378151102E-3</c:v>
                </c:pt>
                <c:pt idx="32947">
                  <c:v>3.3613445378151102E-3</c:v>
                </c:pt>
                <c:pt idx="32948">
                  <c:v>3.3613445378151102E-3</c:v>
                </c:pt>
                <c:pt idx="32949">
                  <c:v>3.3613445378151102E-3</c:v>
                </c:pt>
                <c:pt idx="32950">
                  <c:v>3.3613445378151102E-3</c:v>
                </c:pt>
                <c:pt idx="32951">
                  <c:v>3.3613445378151102E-3</c:v>
                </c:pt>
                <c:pt idx="32952">
                  <c:v>3.3613445378151102E-3</c:v>
                </c:pt>
                <c:pt idx="32953">
                  <c:v>3.3613445378151102E-3</c:v>
                </c:pt>
                <c:pt idx="32954">
                  <c:v>3.3613445378151102E-3</c:v>
                </c:pt>
                <c:pt idx="32955">
                  <c:v>3.3613445378151102E-3</c:v>
                </c:pt>
                <c:pt idx="32956">
                  <c:v>3.3613445378151102E-3</c:v>
                </c:pt>
                <c:pt idx="32957">
                  <c:v>3.3613445378151102E-3</c:v>
                </c:pt>
                <c:pt idx="32958">
                  <c:v>3.3613445378151102E-3</c:v>
                </c:pt>
                <c:pt idx="32959">
                  <c:v>3.3613445378151102E-3</c:v>
                </c:pt>
                <c:pt idx="32960">
                  <c:v>3.3613445378151102E-3</c:v>
                </c:pt>
                <c:pt idx="32961">
                  <c:v>3.3613445378151102E-3</c:v>
                </c:pt>
                <c:pt idx="32962">
                  <c:v>3.3613445378151102E-3</c:v>
                </c:pt>
                <c:pt idx="32963">
                  <c:v>4.20168067226889E-3</c:v>
                </c:pt>
                <c:pt idx="32964">
                  <c:v>4.20168067226889E-3</c:v>
                </c:pt>
                <c:pt idx="32965">
                  <c:v>4.20168067226889E-3</c:v>
                </c:pt>
                <c:pt idx="32966">
                  <c:v>4.20168067226889E-3</c:v>
                </c:pt>
                <c:pt idx="32967">
                  <c:v>4.20168067226889E-3</c:v>
                </c:pt>
                <c:pt idx="32968">
                  <c:v>4.20168067226889E-3</c:v>
                </c:pt>
                <c:pt idx="32969">
                  <c:v>4.20168067226889E-3</c:v>
                </c:pt>
                <c:pt idx="32970">
                  <c:v>4.20168067226889E-3</c:v>
                </c:pt>
                <c:pt idx="32971">
                  <c:v>4.20168067226889E-3</c:v>
                </c:pt>
                <c:pt idx="32972">
                  <c:v>4.20168067226889E-3</c:v>
                </c:pt>
                <c:pt idx="32973">
                  <c:v>4.20168067226889E-3</c:v>
                </c:pt>
                <c:pt idx="32974">
                  <c:v>4.20168067226889E-3</c:v>
                </c:pt>
                <c:pt idx="32975">
                  <c:v>4.20168067226889E-3</c:v>
                </c:pt>
                <c:pt idx="32976">
                  <c:v>4.20168067226889E-3</c:v>
                </c:pt>
                <c:pt idx="32977">
                  <c:v>4.20168067226889E-3</c:v>
                </c:pt>
                <c:pt idx="32978">
                  <c:v>4.20168067226889E-3</c:v>
                </c:pt>
                <c:pt idx="32979">
                  <c:v>4.20168067226889E-3</c:v>
                </c:pt>
                <c:pt idx="32980">
                  <c:v>4.20168067226889E-3</c:v>
                </c:pt>
                <c:pt idx="32981">
                  <c:v>4.20168067226889E-3</c:v>
                </c:pt>
                <c:pt idx="32982">
                  <c:v>4.20168067226889E-3</c:v>
                </c:pt>
                <c:pt idx="32983">
                  <c:v>4.20168067226889E-3</c:v>
                </c:pt>
                <c:pt idx="32984">
                  <c:v>4.20168067226889E-3</c:v>
                </c:pt>
                <c:pt idx="32985">
                  <c:v>4.20168067226889E-3</c:v>
                </c:pt>
                <c:pt idx="32986">
                  <c:v>4.20168067226889E-3</c:v>
                </c:pt>
                <c:pt idx="32987">
                  <c:v>4.20168067226889E-3</c:v>
                </c:pt>
                <c:pt idx="32988">
                  <c:v>4.20168067226889E-3</c:v>
                </c:pt>
                <c:pt idx="32989">
                  <c:v>4.20168067226889E-3</c:v>
                </c:pt>
                <c:pt idx="32990">
                  <c:v>4.20168067226889E-3</c:v>
                </c:pt>
                <c:pt idx="32991">
                  <c:v>4.20168067226889E-3</c:v>
                </c:pt>
                <c:pt idx="32992">
                  <c:v>4.20168067226889E-3</c:v>
                </c:pt>
                <c:pt idx="32993">
                  <c:v>4.20168067226889E-3</c:v>
                </c:pt>
                <c:pt idx="32994">
                  <c:v>4.20168067226889E-3</c:v>
                </c:pt>
                <c:pt idx="32995">
                  <c:v>4.20168067226889E-3</c:v>
                </c:pt>
                <c:pt idx="32996">
                  <c:v>4.20168067226889E-3</c:v>
                </c:pt>
                <c:pt idx="32997">
                  <c:v>4.20168067226889E-3</c:v>
                </c:pt>
                <c:pt idx="32998">
                  <c:v>4.20168067226889E-3</c:v>
                </c:pt>
                <c:pt idx="32999">
                  <c:v>4.20168067226889E-3</c:v>
                </c:pt>
                <c:pt idx="33000">
                  <c:v>4.20168067226889E-3</c:v>
                </c:pt>
                <c:pt idx="33001">
                  <c:v>4.20168067226889E-3</c:v>
                </c:pt>
                <c:pt idx="33002">
                  <c:v>4.20168067226889E-3</c:v>
                </c:pt>
                <c:pt idx="33003">
                  <c:v>4.20168067226889E-3</c:v>
                </c:pt>
                <c:pt idx="33004">
                  <c:v>4.20168067226889E-3</c:v>
                </c:pt>
                <c:pt idx="33005">
                  <c:v>4.20168067226889E-3</c:v>
                </c:pt>
                <c:pt idx="33006">
                  <c:v>4.20168067226889E-3</c:v>
                </c:pt>
                <c:pt idx="33007">
                  <c:v>3.3613445378151102E-3</c:v>
                </c:pt>
                <c:pt idx="33008">
                  <c:v>3.3613445378151102E-3</c:v>
                </c:pt>
                <c:pt idx="33009">
                  <c:v>3.3613445378151102E-3</c:v>
                </c:pt>
                <c:pt idx="33010">
                  <c:v>3.3613445378151102E-3</c:v>
                </c:pt>
                <c:pt idx="33011">
                  <c:v>3.3613445378151102E-3</c:v>
                </c:pt>
                <c:pt idx="33012">
                  <c:v>3.3613445378151102E-3</c:v>
                </c:pt>
                <c:pt idx="33013">
                  <c:v>3.3613445378151102E-3</c:v>
                </c:pt>
                <c:pt idx="33014">
                  <c:v>3.3613445378151102E-3</c:v>
                </c:pt>
                <c:pt idx="33015">
                  <c:v>3.3613445378151102E-3</c:v>
                </c:pt>
                <c:pt idx="33016">
                  <c:v>3.3613445378151102E-3</c:v>
                </c:pt>
                <c:pt idx="33017">
                  <c:v>3.3613445378151102E-3</c:v>
                </c:pt>
                <c:pt idx="33018">
                  <c:v>3.3613445378151102E-3</c:v>
                </c:pt>
                <c:pt idx="33019">
                  <c:v>3.3613445378151102E-3</c:v>
                </c:pt>
                <c:pt idx="33020">
                  <c:v>3.3613445378151102E-3</c:v>
                </c:pt>
                <c:pt idx="33021">
                  <c:v>3.3613445378151102E-3</c:v>
                </c:pt>
                <c:pt idx="33022">
                  <c:v>4.20168067226889E-3</c:v>
                </c:pt>
                <c:pt idx="33023">
                  <c:v>4.20168067226889E-3</c:v>
                </c:pt>
                <c:pt idx="33024">
                  <c:v>4.20168067226889E-3</c:v>
                </c:pt>
                <c:pt idx="33025">
                  <c:v>4.20168067226889E-3</c:v>
                </c:pt>
                <c:pt idx="33026">
                  <c:v>4.20168067226889E-3</c:v>
                </c:pt>
                <c:pt idx="33027">
                  <c:v>4.20168067226889E-3</c:v>
                </c:pt>
                <c:pt idx="33028">
                  <c:v>4.20168067226889E-3</c:v>
                </c:pt>
                <c:pt idx="33029">
                  <c:v>4.20168067226889E-3</c:v>
                </c:pt>
                <c:pt idx="33030">
                  <c:v>4.20168067226889E-3</c:v>
                </c:pt>
                <c:pt idx="33031">
                  <c:v>4.20168067226889E-3</c:v>
                </c:pt>
                <c:pt idx="33032">
                  <c:v>4.20168067226889E-3</c:v>
                </c:pt>
                <c:pt idx="33033">
                  <c:v>4.20168067226889E-3</c:v>
                </c:pt>
                <c:pt idx="33034">
                  <c:v>4.20168067226889E-3</c:v>
                </c:pt>
                <c:pt idx="33035">
                  <c:v>4.20168067226889E-3</c:v>
                </c:pt>
                <c:pt idx="33036">
                  <c:v>4.20168067226889E-3</c:v>
                </c:pt>
                <c:pt idx="33037">
                  <c:v>4.20168067226889E-3</c:v>
                </c:pt>
                <c:pt idx="33038">
                  <c:v>4.20168067226889E-3</c:v>
                </c:pt>
                <c:pt idx="33039">
                  <c:v>4.20168067226889E-3</c:v>
                </c:pt>
                <c:pt idx="33040">
                  <c:v>4.20168067226889E-3</c:v>
                </c:pt>
                <c:pt idx="33041">
                  <c:v>4.20168067226889E-3</c:v>
                </c:pt>
                <c:pt idx="33042">
                  <c:v>4.20168067226889E-3</c:v>
                </c:pt>
                <c:pt idx="33043">
                  <c:v>4.20168067226889E-3</c:v>
                </c:pt>
                <c:pt idx="33044">
                  <c:v>4.20168067226889E-3</c:v>
                </c:pt>
                <c:pt idx="33045">
                  <c:v>4.20168067226889E-3</c:v>
                </c:pt>
                <c:pt idx="33046">
                  <c:v>4.20168067226889E-3</c:v>
                </c:pt>
                <c:pt idx="33047">
                  <c:v>4.20168067226889E-3</c:v>
                </c:pt>
                <c:pt idx="33048">
                  <c:v>4.20168067226889E-3</c:v>
                </c:pt>
                <c:pt idx="33049">
                  <c:v>4.20168067226889E-3</c:v>
                </c:pt>
                <c:pt idx="33050">
                  <c:v>4.20168067226889E-3</c:v>
                </c:pt>
                <c:pt idx="33051">
                  <c:v>4.20168067226889E-3</c:v>
                </c:pt>
                <c:pt idx="33052">
                  <c:v>4.20168067226889E-3</c:v>
                </c:pt>
                <c:pt idx="33053">
                  <c:v>4.20168067226889E-3</c:v>
                </c:pt>
                <c:pt idx="33054">
                  <c:v>4.20168067226889E-3</c:v>
                </c:pt>
                <c:pt idx="33055">
                  <c:v>4.20168067226889E-3</c:v>
                </c:pt>
                <c:pt idx="33056">
                  <c:v>4.20168067226889E-3</c:v>
                </c:pt>
                <c:pt idx="33057">
                  <c:v>4.20168067226889E-3</c:v>
                </c:pt>
                <c:pt idx="33058">
                  <c:v>4.20168067226889E-3</c:v>
                </c:pt>
                <c:pt idx="33059">
                  <c:v>4.20168067226889E-3</c:v>
                </c:pt>
                <c:pt idx="33060">
                  <c:v>4.20168067226889E-3</c:v>
                </c:pt>
                <c:pt idx="33061">
                  <c:v>4.20168067226889E-3</c:v>
                </c:pt>
                <c:pt idx="33062">
                  <c:v>4.20168067226889E-3</c:v>
                </c:pt>
                <c:pt idx="33063">
                  <c:v>5.0420168067226703E-3</c:v>
                </c:pt>
                <c:pt idx="33064">
                  <c:v>5.0420168067226703E-3</c:v>
                </c:pt>
                <c:pt idx="33065">
                  <c:v>5.0420168067226703E-3</c:v>
                </c:pt>
                <c:pt idx="33066">
                  <c:v>5.0420168067226703E-3</c:v>
                </c:pt>
                <c:pt idx="33067">
                  <c:v>5.0420168067226703E-3</c:v>
                </c:pt>
                <c:pt idx="33068">
                  <c:v>5.0420168067226703E-3</c:v>
                </c:pt>
                <c:pt idx="33069">
                  <c:v>5.0420168067226703E-3</c:v>
                </c:pt>
                <c:pt idx="33070">
                  <c:v>5.0420168067226703E-3</c:v>
                </c:pt>
                <c:pt idx="33071">
                  <c:v>5.0420168067226703E-3</c:v>
                </c:pt>
                <c:pt idx="33072">
                  <c:v>5.0420168067226703E-3</c:v>
                </c:pt>
                <c:pt idx="33073">
                  <c:v>5.0420168067226703E-3</c:v>
                </c:pt>
                <c:pt idx="33074">
                  <c:v>5.0420168067226703E-3</c:v>
                </c:pt>
                <c:pt idx="33075">
                  <c:v>5.0420168067226703E-3</c:v>
                </c:pt>
                <c:pt idx="33076">
                  <c:v>5.0420168067226703E-3</c:v>
                </c:pt>
                <c:pt idx="33077">
                  <c:v>5.0420168067226703E-3</c:v>
                </c:pt>
                <c:pt idx="33078">
                  <c:v>5.0420168067226703E-3</c:v>
                </c:pt>
                <c:pt idx="33079">
                  <c:v>5.0420168067226703E-3</c:v>
                </c:pt>
                <c:pt idx="33080">
                  <c:v>5.0420168067226703E-3</c:v>
                </c:pt>
                <c:pt idx="33081">
                  <c:v>5.0420168067226703E-3</c:v>
                </c:pt>
                <c:pt idx="33082">
                  <c:v>5.0420168067226703E-3</c:v>
                </c:pt>
                <c:pt idx="33083">
                  <c:v>5.0420168067226703E-3</c:v>
                </c:pt>
                <c:pt idx="33084">
                  <c:v>4.20168067226889E-3</c:v>
                </c:pt>
                <c:pt idx="33085">
                  <c:v>4.20168067226889E-3</c:v>
                </c:pt>
                <c:pt idx="33086">
                  <c:v>4.20168067226889E-3</c:v>
                </c:pt>
                <c:pt idx="33087">
                  <c:v>4.20168067226889E-3</c:v>
                </c:pt>
                <c:pt idx="33088">
                  <c:v>4.20168067226889E-3</c:v>
                </c:pt>
                <c:pt idx="33089">
                  <c:v>4.20168067226889E-3</c:v>
                </c:pt>
                <c:pt idx="33090">
                  <c:v>4.20168067226889E-3</c:v>
                </c:pt>
                <c:pt idx="33091">
                  <c:v>4.20168067226889E-3</c:v>
                </c:pt>
                <c:pt idx="33092">
                  <c:v>4.20168067226889E-3</c:v>
                </c:pt>
                <c:pt idx="33093">
                  <c:v>4.20168067226889E-3</c:v>
                </c:pt>
                <c:pt idx="33094">
                  <c:v>4.20168067226889E-3</c:v>
                </c:pt>
                <c:pt idx="33095">
                  <c:v>4.20168067226889E-3</c:v>
                </c:pt>
                <c:pt idx="33096">
                  <c:v>4.20168067226889E-3</c:v>
                </c:pt>
                <c:pt idx="33097">
                  <c:v>4.20168067226889E-3</c:v>
                </c:pt>
                <c:pt idx="33098">
                  <c:v>4.20168067226889E-3</c:v>
                </c:pt>
                <c:pt idx="33099">
                  <c:v>4.20168067226889E-3</c:v>
                </c:pt>
                <c:pt idx="33100">
                  <c:v>4.20168067226889E-3</c:v>
                </c:pt>
                <c:pt idx="33101">
                  <c:v>4.20168067226889E-3</c:v>
                </c:pt>
                <c:pt idx="33102">
                  <c:v>4.20168067226889E-3</c:v>
                </c:pt>
                <c:pt idx="33103">
                  <c:v>4.20168067226889E-3</c:v>
                </c:pt>
                <c:pt idx="33104">
                  <c:v>4.20168067226889E-3</c:v>
                </c:pt>
                <c:pt idx="33105">
                  <c:v>4.20168067226889E-3</c:v>
                </c:pt>
                <c:pt idx="33106">
                  <c:v>4.20168067226889E-3</c:v>
                </c:pt>
                <c:pt idx="33107">
                  <c:v>4.20168067226889E-3</c:v>
                </c:pt>
                <c:pt idx="33108">
                  <c:v>4.20168067226889E-3</c:v>
                </c:pt>
                <c:pt idx="33109">
                  <c:v>4.20168067226889E-3</c:v>
                </c:pt>
                <c:pt idx="33110">
                  <c:v>4.20168067226889E-3</c:v>
                </c:pt>
                <c:pt idx="33111">
                  <c:v>4.20168067226889E-3</c:v>
                </c:pt>
                <c:pt idx="33112">
                  <c:v>4.20168067226889E-3</c:v>
                </c:pt>
                <c:pt idx="33113">
                  <c:v>4.20168067226889E-3</c:v>
                </c:pt>
                <c:pt idx="33114">
                  <c:v>4.20168067226889E-3</c:v>
                </c:pt>
                <c:pt idx="33115">
                  <c:v>4.20168067226889E-3</c:v>
                </c:pt>
                <c:pt idx="33116">
                  <c:v>4.20168067226889E-3</c:v>
                </c:pt>
                <c:pt idx="33117">
                  <c:v>4.20168067226889E-3</c:v>
                </c:pt>
                <c:pt idx="33118">
                  <c:v>4.20168067226889E-3</c:v>
                </c:pt>
                <c:pt idx="33119">
                  <c:v>4.20168067226889E-3</c:v>
                </c:pt>
                <c:pt idx="33120">
                  <c:v>4.20168067226889E-3</c:v>
                </c:pt>
                <c:pt idx="33121">
                  <c:v>3.3613445378151102E-3</c:v>
                </c:pt>
                <c:pt idx="33122">
                  <c:v>3.3613445378151102E-3</c:v>
                </c:pt>
                <c:pt idx="33123">
                  <c:v>3.3613445378151102E-3</c:v>
                </c:pt>
                <c:pt idx="33124">
                  <c:v>3.3613445378151102E-3</c:v>
                </c:pt>
                <c:pt idx="33125">
                  <c:v>3.3613445378151102E-3</c:v>
                </c:pt>
                <c:pt idx="33126">
                  <c:v>3.3613445378151102E-3</c:v>
                </c:pt>
                <c:pt idx="33127">
                  <c:v>3.3613445378151102E-3</c:v>
                </c:pt>
                <c:pt idx="33128">
                  <c:v>3.3613445378151102E-3</c:v>
                </c:pt>
                <c:pt idx="33129">
                  <c:v>3.3613445378151102E-3</c:v>
                </c:pt>
                <c:pt idx="33130">
                  <c:v>3.3613445378151102E-3</c:v>
                </c:pt>
                <c:pt idx="33131">
                  <c:v>3.3613445378151102E-3</c:v>
                </c:pt>
                <c:pt idx="33132">
                  <c:v>3.3613445378151102E-3</c:v>
                </c:pt>
                <c:pt idx="33133">
                  <c:v>3.3613445378151102E-3</c:v>
                </c:pt>
                <c:pt idx="33134">
                  <c:v>3.3613445378151102E-3</c:v>
                </c:pt>
                <c:pt idx="33135">
                  <c:v>3.3613445378151102E-3</c:v>
                </c:pt>
                <c:pt idx="33136">
                  <c:v>3.3613445378151102E-3</c:v>
                </c:pt>
                <c:pt idx="33137">
                  <c:v>3.3613445378151102E-3</c:v>
                </c:pt>
                <c:pt idx="33138">
                  <c:v>3.3613445378151102E-3</c:v>
                </c:pt>
                <c:pt idx="33139">
                  <c:v>3.3613445378151102E-3</c:v>
                </c:pt>
                <c:pt idx="33140">
                  <c:v>3.3613445378151102E-3</c:v>
                </c:pt>
                <c:pt idx="33141">
                  <c:v>3.3613445378151102E-3</c:v>
                </c:pt>
                <c:pt idx="33142">
                  <c:v>3.3613445378151102E-3</c:v>
                </c:pt>
                <c:pt idx="33143">
                  <c:v>3.3613445378151102E-3</c:v>
                </c:pt>
                <c:pt idx="33144">
                  <c:v>3.3613445378151102E-3</c:v>
                </c:pt>
                <c:pt idx="33145">
                  <c:v>3.3613445378151102E-3</c:v>
                </c:pt>
                <c:pt idx="33146">
                  <c:v>3.3613445378151102E-3</c:v>
                </c:pt>
                <c:pt idx="33147">
                  <c:v>3.3613445378151102E-3</c:v>
                </c:pt>
                <c:pt idx="33148">
                  <c:v>3.3613445378151102E-3</c:v>
                </c:pt>
                <c:pt idx="33149">
                  <c:v>3.3613445378151102E-3</c:v>
                </c:pt>
                <c:pt idx="33150">
                  <c:v>3.3613445378151102E-3</c:v>
                </c:pt>
                <c:pt idx="33151">
                  <c:v>3.3613445378151102E-3</c:v>
                </c:pt>
                <c:pt idx="33152">
                  <c:v>3.3613445378151102E-3</c:v>
                </c:pt>
                <c:pt idx="33153">
                  <c:v>3.3613445378151102E-3</c:v>
                </c:pt>
                <c:pt idx="33154">
                  <c:v>3.3613445378151102E-3</c:v>
                </c:pt>
                <c:pt idx="33155">
                  <c:v>3.3613445378151102E-3</c:v>
                </c:pt>
                <c:pt idx="33156">
                  <c:v>3.3613445378151102E-3</c:v>
                </c:pt>
                <c:pt idx="33157">
                  <c:v>3.3613445378151102E-3</c:v>
                </c:pt>
                <c:pt idx="33158">
                  <c:v>3.3613445378151102E-3</c:v>
                </c:pt>
                <c:pt idx="33159">
                  <c:v>3.3613445378151102E-3</c:v>
                </c:pt>
                <c:pt idx="33160">
                  <c:v>3.3613445378151102E-3</c:v>
                </c:pt>
                <c:pt idx="33161">
                  <c:v>3.3613445378151102E-3</c:v>
                </c:pt>
                <c:pt idx="33162">
                  <c:v>3.3613445378151102E-3</c:v>
                </c:pt>
                <c:pt idx="33163">
                  <c:v>3.3613445378151102E-3</c:v>
                </c:pt>
                <c:pt idx="33164">
                  <c:v>3.3613445378151102E-3</c:v>
                </c:pt>
                <c:pt idx="33165">
                  <c:v>3.3613445378151102E-3</c:v>
                </c:pt>
                <c:pt idx="33166">
                  <c:v>3.3613445378151102E-3</c:v>
                </c:pt>
                <c:pt idx="33167">
                  <c:v>3.3613445378151102E-3</c:v>
                </c:pt>
                <c:pt idx="33168">
                  <c:v>3.3613445378151102E-3</c:v>
                </c:pt>
                <c:pt idx="33169">
                  <c:v>3.3613445378151102E-3</c:v>
                </c:pt>
                <c:pt idx="33170">
                  <c:v>3.3613445378151102E-3</c:v>
                </c:pt>
                <c:pt idx="33171">
                  <c:v>3.3613445378151102E-3</c:v>
                </c:pt>
                <c:pt idx="33172">
                  <c:v>3.3613445378151102E-3</c:v>
                </c:pt>
                <c:pt idx="33173">
                  <c:v>3.3613445378151102E-3</c:v>
                </c:pt>
                <c:pt idx="33174">
                  <c:v>3.3613445378151102E-3</c:v>
                </c:pt>
                <c:pt idx="33175">
                  <c:v>3.3613445378151102E-3</c:v>
                </c:pt>
                <c:pt idx="33176">
                  <c:v>3.3613445378151102E-3</c:v>
                </c:pt>
                <c:pt idx="33177">
                  <c:v>3.3613445378151102E-3</c:v>
                </c:pt>
                <c:pt idx="33178">
                  <c:v>3.3613445378151102E-3</c:v>
                </c:pt>
                <c:pt idx="33179">
                  <c:v>3.3613445378151102E-3</c:v>
                </c:pt>
                <c:pt idx="33180">
                  <c:v>3.3613445378151102E-3</c:v>
                </c:pt>
                <c:pt idx="33181">
                  <c:v>3.3613445378151102E-3</c:v>
                </c:pt>
                <c:pt idx="33182">
                  <c:v>3.3613445378151102E-3</c:v>
                </c:pt>
                <c:pt idx="33183">
                  <c:v>3.3613445378151102E-3</c:v>
                </c:pt>
                <c:pt idx="33184">
                  <c:v>3.3613445378151102E-3</c:v>
                </c:pt>
                <c:pt idx="33185">
                  <c:v>3.3613445378151102E-3</c:v>
                </c:pt>
                <c:pt idx="33186">
                  <c:v>3.3613445378151102E-3</c:v>
                </c:pt>
                <c:pt idx="33187">
                  <c:v>3.3613445378151102E-3</c:v>
                </c:pt>
                <c:pt idx="33188">
                  <c:v>3.3613445378151102E-3</c:v>
                </c:pt>
                <c:pt idx="33189">
                  <c:v>3.3613445378151102E-3</c:v>
                </c:pt>
                <c:pt idx="33190">
                  <c:v>3.3613445378151102E-3</c:v>
                </c:pt>
                <c:pt idx="33191">
                  <c:v>3.3613445378151102E-3</c:v>
                </c:pt>
                <c:pt idx="33192">
                  <c:v>3.3613445378151102E-3</c:v>
                </c:pt>
                <c:pt idx="33193">
                  <c:v>3.3613445378151102E-3</c:v>
                </c:pt>
                <c:pt idx="33194">
                  <c:v>3.3613445378151102E-3</c:v>
                </c:pt>
                <c:pt idx="33195">
                  <c:v>3.3613445378151102E-3</c:v>
                </c:pt>
                <c:pt idx="33196">
                  <c:v>3.3613445378151102E-3</c:v>
                </c:pt>
                <c:pt idx="33197">
                  <c:v>3.3613445378151102E-3</c:v>
                </c:pt>
                <c:pt idx="33198">
                  <c:v>3.3613445378151102E-3</c:v>
                </c:pt>
                <c:pt idx="33199">
                  <c:v>3.3613445378151102E-3</c:v>
                </c:pt>
                <c:pt idx="33200">
                  <c:v>3.3613445378151102E-3</c:v>
                </c:pt>
                <c:pt idx="33201">
                  <c:v>3.3613445378151102E-3</c:v>
                </c:pt>
                <c:pt idx="33202">
                  <c:v>3.3613445378151102E-3</c:v>
                </c:pt>
                <c:pt idx="33203">
                  <c:v>3.3613445378151102E-3</c:v>
                </c:pt>
                <c:pt idx="33204">
                  <c:v>3.3613445378151102E-3</c:v>
                </c:pt>
                <c:pt idx="33205">
                  <c:v>3.3613445378151102E-3</c:v>
                </c:pt>
                <c:pt idx="33206">
                  <c:v>3.3613445378151102E-3</c:v>
                </c:pt>
                <c:pt idx="33207">
                  <c:v>3.3613445378151102E-3</c:v>
                </c:pt>
                <c:pt idx="33208">
                  <c:v>3.3613445378151102E-3</c:v>
                </c:pt>
                <c:pt idx="33209">
                  <c:v>3.3613445378151102E-3</c:v>
                </c:pt>
                <c:pt idx="33210">
                  <c:v>3.3613445378151102E-3</c:v>
                </c:pt>
                <c:pt idx="33211">
                  <c:v>3.3613445378151102E-3</c:v>
                </c:pt>
                <c:pt idx="33212">
                  <c:v>3.3613445378151102E-3</c:v>
                </c:pt>
                <c:pt idx="33213">
                  <c:v>3.3613445378151102E-3</c:v>
                </c:pt>
                <c:pt idx="33214">
                  <c:v>3.3613445378151102E-3</c:v>
                </c:pt>
                <c:pt idx="33215">
                  <c:v>3.3613445378151102E-3</c:v>
                </c:pt>
                <c:pt idx="33216">
                  <c:v>3.3613445378151102E-3</c:v>
                </c:pt>
                <c:pt idx="33217">
                  <c:v>3.3613445378151102E-3</c:v>
                </c:pt>
                <c:pt idx="33218">
                  <c:v>3.3613445378151102E-3</c:v>
                </c:pt>
                <c:pt idx="33219">
                  <c:v>2.5210084033613299E-3</c:v>
                </c:pt>
                <c:pt idx="33220">
                  <c:v>2.5210084033613299E-3</c:v>
                </c:pt>
                <c:pt idx="33221">
                  <c:v>2.5210084033613299E-3</c:v>
                </c:pt>
                <c:pt idx="33222">
                  <c:v>2.5210084033613299E-3</c:v>
                </c:pt>
                <c:pt idx="33223">
                  <c:v>2.5210084033613299E-3</c:v>
                </c:pt>
                <c:pt idx="33224">
                  <c:v>2.5210084033613299E-3</c:v>
                </c:pt>
                <c:pt idx="33225">
                  <c:v>2.5210084033613299E-3</c:v>
                </c:pt>
                <c:pt idx="33226">
                  <c:v>2.5210084033613299E-3</c:v>
                </c:pt>
                <c:pt idx="33227">
                  <c:v>2.5210084033613299E-3</c:v>
                </c:pt>
                <c:pt idx="33228">
                  <c:v>2.5210084033613299E-3</c:v>
                </c:pt>
                <c:pt idx="33229">
                  <c:v>2.5210084033613299E-3</c:v>
                </c:pt>
                <c:pt idx="33230">
                  <c:v>2.5210084033613299E-3</c:v>
                </c:pt>
                <c:pt idx="33231">
                  <c:v>2.5210084033613299E-3</c:v>
                </c:pt>
                <c:pt idx="33232">
                  <c:v>2.5210084033613299E-3</c:v>
                </c:pt>
                <c:pt idx="33233">
                  <c:v>2.5210084033613299E-3</c:v>
                </c:pt>
                <c:pt idx="33234">
                  <c:v>2.5210084033613299E-3</c:v>
                </c:pt>
                <c:pt idx="33235">
                  <c:v>2.5210084033613299E-3</c:v>
                </c:pt>
                <c:pt idx="33236">
                  <c:v>2.5210084033613299E-3</c:v>
                </c:pt>
                <c:pt idx="33237">
                  <c:v>2.5210084033613299E-3</c:v>
                </c:pt>
                <c:pt idx="33238">
                  <c:v>2.5210084033613299E-3</c:v>
                </c:pt>
                <c:pt idx="33239">
                  <c:v>2.5210084033613299E-3</c:v>
                </c:pt>
                <c:pt idx="33240">
                  <c:v>2.5210084033613299E-3</c:v>
                </c:pt>
                <c:pt idx="33241">
                  <c:v>2.5210084033613299E-3</c:v>
                </c:pt>
                <c:pt idx="33242">
                  <c:v>2.5210084033613299E-3</c:v>
                </c:pt>
                <c:pt idx="33243">
                  <c:v>2.5210084033613299E-3</c:v>
                </c:pt>
                <c:pt idx="33244">
                  <c:v>2.5210084033613299E-3</c:v>
                </c:pt>
                <c:pt idx="33245">
                  <c:v>2.5210084033613299E-3</c:v>
                </c:pt>
                <c:pt idx="33246">
                  <c:v>2.5210084033613299E-3</c:v>
                </c:pt>
                <c:pt idx="33247">
                  <c:v>2.5210084033613299E-3</c:v>
                </c:pt>
                <c:pt idx="33248">
                  <c:v>2.5210084033613299E-3</c:v>
                </c:pt>
                <c:pt idx="33249">
                  <c:v>2.5210084033613299E-3</c:v>
                </c:pt>
                <c:pt idx="33250">
                  <c:v>2.5210084033613299E-3</c:v>
                </c:pt>
                <c:pt idx="33251">
                  <c:v>2.5210084033613299E-3</c:v>
                </c:pt>
                <c:pt idx="33252">
                  <c:v>2.5210084033613299E-3</c:v>
                </c:pt>
                <c:pt idx="33253">
                  <c:v>2.5210084033613299E-3</c:v>
                </c:pt>
                <c:pt idx="33254">
                  <c:v>2.5210084033613299E-3</c:v>
                </c:pt>
                <c:pt idx="33255">
                  <c:v>2.5210084033613299E-3</c:v>
                </c:pt>
                <c:pt idx="33256">
                  <c:v>2.5210084033613299E-3</c:v>
                </c:pt>
                <c:pt idx="33257">
                  <c:v>2.5210084033613299E-3</c:v>
                </c:pt>
                <c:pt idx="33258">
                  <c:v>1.6806722689075499E-3</c:v>
                </c:pt>
                <c:pt idx="33259">
                  <c:v>1.6806722689075499E-3</c:v>
                </c:pt>
                <c:pt idx="33260">
                  <c:v>1.6806722689075499E-3</c:v>
                </c:pt>
                <c:pt idx="33261">
                  <c:v>1.6806722689075499E-3</c:v>
                </c:pt>
                <c:pt idx="33262">
                  <c:v>1.6806722689075499E-3</c:v>
                </c:pt>
                <c:pt idx="33263">
                  <c:v>1.6806722689075499E-3</c:v>
                </c:pt>
                <c:pt idx="33264">
                  <c:v>1.6806722689075499E-3</c:v>
                </c:pt>
                <c:pt idx="33265">
                  <c:v>1.6806722689075499E-3</c:v>
                </c:pt>
                <c:pt idx="33266">
                  <c:v>1.6806722689075499E-3</c:v>
                </c:pt>
                <c:pt idx="33267">
                  <c:v>1.6806722689075499E-3</c:v>
                </c:pt>
                <c:pt idx="33268">
                  <c:v>1.6806722689075499E-3</c:v>
                </c:pt>
                <c:pt idx="33269">
                  <c:v>1.6806722689075499E-3</c:v>
                </c:pt>
                <c:pt idx="33270">
                  <c:v>8.4033613445377799E-4</c:v>
                </c:pt>
                <c:pt idx="33271">
                  <c:v>8.4033613445377799E-4</c:v>
                </c:pt>
                <c:pt idx="33272">
                  <c:v>8.4033613445377799E-4</c:v>
                </c:pt>
                <c:pt idx="33273">
                  <c:v>8.4033613445377799E-4</c:v>
                </c:pt>
                <c:pt idx="33274">
                  <c:v>0</c:v>
                </c:pt>
                <c:pt idx="33275">
                  <c:v>0</c:v>
                </c:pt>
                <c:pt idx="33276">
                  <c:v>8.4033613445377799E-4</c:v>
                </c:pt>
                <c:pt idx="33277">
                  <c:v>8.4033613445377799E-4</c:v>
                </c:pt>
                <c:pt idx="33278">
                  <c:v>8.4033613445377799E-4</c:v>
                </c:pt>
                <c:pt idx="33279">
                  <c:v>8.4033613445377799E-4</c:v>
                </c:pt>
                <c:pt idx="33280">
                  <c:v>8.4033613445377799E-4</c:v>
                </c:pt>
                <c:pt idx="33281">
                  <c:v>8.4033613445377799E-4</c:v>
                </c:pt>
                <c:pt idx="33282">
                  <c:v>8.4033613445377799E-4</c:v>
                </c:pt>
                <c:pt idx="33283">
                  <c:v>8.4033613445377799E-4</c:v>
                </c:pt>
                <c:pt idx="33284">
                  <c:v>8.4033613445377799E-4</c:v>
                </c:pt>
                <c:pt idx="33285">
                  <c:v>8.4033613445377799E-4</c:v>
                </c:pt>
                <c:pt idx="33286">
                  <c:v>8.4033613445377799E-4</c:v>
                </c:pt>
                <c:pt idx="33287">
                  <c:v>8.4033613445377799E-4</c:v>
                </c:pt>
                <c:pt idx="33288">
                  <c:v>8.4033613445377799E-4</c:v>
                </c:pt>
                <c:pt idx="33289">
                  <c:v>8.4033613445377799E-4</c:v>
                </c:pt>
                <c:pt idx="33290">
                  <c:v>8.4033613445377799E-4</c:v>
                </c:pt>
                <c:pt idx="33291">
                  <c:v>8.4033613445377799E-4</c:v>
                </c:pt>
                <c:pt idx="33292">
                  <c:v>8.4033613445377799E-4</c:v>
                </c:pt>
                <c:pt idx="33293">
                  <c:v>8.4033613445377799E-4</c:v>
                </c:pt>
                <c:pt idx="33294">
                  <c:v>8.4033613445377799E-4</c:v>
                </c:pt>
                <c:pt idx="33295">
                  <c:v>1.6806722689075499E-3</c:v>
                </c:pt>
                <c:pt idx="33296">
                  <c:v>1.6806722689075499E-3</c:v>
                </c:pt>
                <c:pt idx="33297">
                  <c:v>1.6806722689075499E-3</c:v>
                </c:pt>
                <c:pt idx="33298">
                  <c:v>1.6806722689075499E-3</c:v>
                </c:pt>
                <c:pt idx="33299">
                  <c:v>1.6806722689075499E-3</c:v>
                </c:pt>
                <c:pt idx="33300">
                  <c:v>1.6806722689075499E-3</c:v>
                </c:pt>
                <c:pt idx="33301">
                  <c:v>1.6806722689075499E-3</c:v>
                </c:pt>
                <c:pt idx="33302">
                  <c:v>1.6806722689075499E-3</c:v>
                </c:pt>
                <c:pt idx="33303">
                  <c:v>1.6806722689075499E-3</c:v>
                </c:pt>
                <c:pt idx="33304">
                  <c:v>1.6806722689075499E-3</c:v>
                </c:pt>
                <c:pt idx="33305">
                  <c:v>1.6806722689075499E-3</c:v>
                </c:pt>
                <c:pt idx="33306">
                  <c:v>1.6806722689075499E-3</c:v>
                </c:pt>
                <c:pt idx="33307">
                  <c:v>1.6806722689075499E-3</c:v>
                </c:pt>
                <c:pt idx="33308">
                  <c:v>1.6806722689075499E-3</c:v>
                </c:pt>
                <c:pt idx="33309">
                  <c:v>1.6806722689075499E-3</c:v>
                </c:pt>
                <c:pt idx="33310">
                  <c:v>1.6806722689075499E-3</c:v>
                </c:pt>
                <c:pt idx="33311">
                  <c:v>1.6806722689075499E-3</c:v>
                </c:pt>
                <c:pt idx="33312">
                  <c:v>1.6806722689075499E-3</c:v>
                </c:pt>
                <c:pt idx="33313">
                  <c:v>1.6806722689075499E-3</c:v>
                </c:pt>
                <c:pt idx="33314">
                  <c:v>1.6806722689075499E-3</c:v>
                </c:pt>
                <c:pt idx="33315">
                  <c:v>1.6806722689075499E-3</c:v>
                </c:pt>
                <c:pt idx="33316">
                  <c:v>1.6806722689075499E-3</c:v>
                </c:pt>
                <c:pt idx="33317">
                  <c:v>1.6806722689075499E-3</c:v>
                </c:pt>
                <c:pt idx="33318">
                  <c:v>1.6806722689075499E-3</c:v>
                </c:pt>
                <c:pt idx="33319">
                  <c:v>1.6806722689075499E-3</c:v>
                </c:pt>
                <c:pt idx="33320">
                  <c:v>1.6806722689075499E-3</c:v>
                </c:pt>
                <c:pt idx="33321">
                  <c:v>1.6806722689075499E-3</c:v>
                </c:pt>
                <c:pt idx="33322">
                  <c:v>1.6806722689075499E-3</c:v>
                </c:pt>
                <c:pt idx="33323">
                  <c:v>1.6806722689075499E-3</c:v>
                </c:pt>
                <c:pt idx="33324">
                  <c:v>1.6806722689075499E-3</c:v>
                </c:pt>
                <c:pt idx="33325">
                  <c:v>1.6806722689075499E-3</c:v>
                </c:pt>
                <c:pt idx="33326">
                  <c:v>1.6806722689075499E-3</c:v>
                </c:pt>
                <c:pt idx="33327">
                  <c:v>1.6806722689075499E-3</c:v>
                </c:pt>
                <c:pt idx="33328">
                  <c:v>1.6806722689075499E-3</c:v>
                </c:pt>
                <c:pt idx="33329">
                  <c:v>1.6806722689075499E-3</c:v>
                </c:pt>
                <c:pt idx="33330">
                  <c:v>1.6806722689075499E-3</c:v>
                </c:pt>
                <c:pt idx="33331">
                  <c:v>1.6806722689075499E-3</c:v>
                </c:pt>
                <c:pt idx="33332">
                  <c:v>1.6806722689075499E-3</c:v>
                </c:pt>
                <c:pt idx="33333">
                  <c:v>1.6806722689075499E-3</c:v>
                </c:pt>
                <c:pt idx="33334">
                  <c:v>8.4033613445377799E-4</c:v>
                </c:pt>
                <c:pt idx="33335">
                  <c:v>8.4033613445377799E-4</c:v>
                </c:pt>
                <c:pt idx="33336">
                  <c:v>8.4033613445377799E-4</c:v>
                </c:pt>
                <c:pt idx="33337">
                  <c:v>8.4033613445377799E-4</c:v>
                </c:pt>
                <c:pt idx="33338">
                  <c:v>8.4033613445377799E-4</c:v>
                </c:pt>
                <c:pt idx="33339">
                  <c:v>8.4033613445377799E-4</c:v>
                </c:pt>
                <c:pt idx="33340">
                  <c:v>8.4033613445377799E-4</c:v>
                </c:pt>
                <c:pt idx="33341">
                  <c:v>8.4033613445377799E-4</c:v>
                </c:pt>
                <c:pt idx="33342">
                  <c:v>8.4033613445377799E-4</c:v>
                </c:pt>
                <c:pt idx="33343">
                  <c:v>8.4033613445377799E-4</c:v>
                </c:pt>
                <c:pt idx="33344">
                  <c:v>8.4033613445377799E-4</c:v>
                </c:pt>
                <c:pt idx="33345">
                  <c:v>8.4033613445377799E-4</c:v>
                </c:pt>
                <c:pt idx="33346">
                  <c:v>8.4033613445377799E-4</c:v>
                </c:pt>
                <c:pt idx="33347">
                  <c:v>8.4033613445377799E-4</c:v>
                </c:pt>
                <c:pt idx="33348">
                  <c:v>8.4033613445377799E-4</c:v>
                </c:pt>
                <c:pt idx="33349">
                  <c:v>8.4033613445377799E-4</c:v>
                </c:pt>
                <c:pt idx="33350">
                  <c:v>8.4033613445377799E-4</c:v>
                </c:pt>
                <c:pt idx="33351">
                  <c:v>8.4033613445377799E-4</c:v>
                </c:pt>
                <c:pt idx="33352">
                  <c:v>8.4033613445377799E-4</c:v>
                </c:pt>
                <c:pt idx="33353">
                  <c:v>8.4033613445377799E-4</c:v>
                </c:pt>
                <c:pt idx="33354">
                  <c:v>8.4033613445377799E-4</c:v>
                </c:pt>
                <c:pt idx="33355">
                  <c:v>8.4033613445377799E-4</c:v>
                </c:pt>
                <c:pt idx="33356">
                  <c:v>8.4033613445377799E-4</c:v>
                </c:pt>
                <c:pt idx="33357">
                  <c:v>8.4033613445377799E-4</c:v>
                </c:pt>
                <c:pt idx="33358">
                  <c:v>8.4033613445377799E-4</c:v>
                </c:pt>
                <c:pt idx="33359">
                  <c:v>0</c:v>
                </c:pt>
                <c:pt idx="33360">
                  <c:v>0</c:v>
                </c:pt>
                <c:pt idx="33361">
                  <c:v>0</c:v>
                </c:pt>
                <c:pt idx="33362">
                  <c:v>0</c:v>
                </c:pt>
                <c:pt idx="33363">
                  <c:v>0</c:v>
                </c:pt>
                <c:pt idx="33364">
                  <c:v>0</c:v>
                </c:pt>
                <c:pt idx="33365">
                  <c:v>0</c:v>
                </c:pt>
                <c:pt idx="33366">
                  <c:v>0</c:v>
                </c:pt>
                <c:pt idx="33367">
                  <c:v>0</c:v>
                </c:pt>
                <c:pt idx="33368">
                  <c:v>0</c:v>
                </c:pt>
                <c:pt idx="33369">
                  <c:v>0</c:v>
                </c:pt>
                <c:pt idx="33370">
                  <c:v>0</c:v>
                </c:pt>
                <c:pt idx="33371">
                  <c:v>0</c:v>
                </c:pt>
                <c:pt idx="33372">
                  <c:v>0</c:v>
                </c:pt>
                <c:pt idx="33373">
                  <c:v>0</c:v>
                </c:pt>
                <c:pt idx="33374">
                  <c:v>0</c:v>
                </c:pt>
                <c:pt idx="33375">
                  <c:v>0</c:v>
                </c:pt>
                <c:pt idx="33376">
                  <c:v>0</c:v>
                </c:pt>
                <c:pt idx="33377">
                  <c:v>0</c:v>
                </c:pt>
                <c:pt idx="33378">
                  <c:v>0</c:v>
                </c:pt>
                <c:pt idx="33379">
                  <c:v>0</c:v>
                </c:pt>
                <c:pt idx="33380">
                  <c:v>0</c:v>
                </c:pt>
                <c:pt idx="33381">
                  <c:v>0</c:v>
                </c:pt>
                <c:pt idx="33382">
                  <c:v>0</c:v>
                </c:pt>
                <c:pt idx="33383">
                  <c:v>0</c:v>
                </c:pt>
                <c:pt idx="33384">
                  <c:v>0</c:v>
                </c:pt>
                <c:pt idx="33385">
                  <c:v>0</c:v>
                </c:pt>
                <c:pt idx="33386">
                  <c:v>0</c:v>
                </c:pt>
                <c:pt idx="33387">
                  <c:v>0</c:v>
                </c:pt>
                <c:pt idx="33388">
                  <c:v>0</c:v>
                </c:pt>
                <c:pt idx="33389">
                  <c:v>0</c:v>
                </c:pt>
                <c:pt idx="33390">
                  <c:v>0</c:v>
                </c:pt>
                <c:pt idx="33391">
                  <c:v>0</c:v>
                </c:pt>
                <c:pt idx="33392">
                  <c:v>0</c:v>
                </c:pt>
                <c:pt idx="33393">
                  <c:v>0</c:v>
                </c:pt>
                <c:pt idx="33394">
                  <c:v>0</c:v>
                </c:pt>
                <c:pt idx="33395">
                  <c:v>0</c:v>
                </c:pt>
                <c:pt idx="33396">
                  <c:v>0</c:v>
                </c:pt>
                <c:pt idx="33397">
                  <c:v>0</c:v>
                </c:pt>
                <c:pt idx="33398">
                  <c:v>0</c:v>
                </c:pt>
                <c:pt idx="33399">
                  <c:v>0</c:v>
                </c:pt>
                <c:pt idx="33400">
                  <c:v>0</c:v>
                </c:pt>
                <c:pt idx="33401">
                  <c:v>0</c:v>
                </c:pt>
                <c:pt idx="33402">
                  <c:v>0</c:v>
                </c:pt>
                <c:pt idx="33403">
                  <c:v>0</c:v>
                </c:pt>
                <c:pt idx="33404">
                  <c:v>0</c:v>
                </c:pt>
                <c:pt idx="33405">
                  <c:v>0</c:v>
                </c:pt>
                <c:pt idx="33406">
                  <c:v>0</c:v>
                </c:pt>
                <c:pt idx="33407">
                  <c:v>0</c:v>
                </c:pt>
                <c:pt idx="33408">
                  <c:v>0</c:v>
                </c:pt>
                <c:pt idx="33409">
                  <c:v>8.4033613445377799E-4</c:v>
                </c:pt>
                <c:pt idx="33410">
                  <c:v>8.4033613445377799E-4</c:v>
                </c:pt>
                <c:pt idx="33411">
                  <c:v>8.4033613445377799E-4</c:v>
                </c:pt>
                <c:pt idx="33412">
                  <c:v>8.4033613445377799E-4</c:v>
                </c:pt>
                <c:pt idx="33413">
                  <c:v>8.4033613445377799E-4</c:v>
                </c:pt>
                <c:pt idx="33414">
                  <c:v>8.4033613445377799E-4</c:v>
                </c:pt>
                <c:pt idx="33415">
                  <c:v>8.4033613445377799E-4</c:v>
                </c:pt>
                <c:pt idx="33416">
                  <c:v>8.4033613445377799E-4</c:v>
                </c:pt>
                <c:pt idx="33417">
                  <c:v>8.4033613445377799E-4</c:v>
                </c:pt>
                <c:pt idx="33418">
                  <c:v>8.4033613445377799E-4</c:v>
                </c:pt>
                <c:pt idx="33419">
                  <c:v>8.4033613445377799E-4</c:v>
                </c:pt>
                <c:pt idx="33420">
                  <c:v>8.4033613445377799E-4</c:v>
                </c:pt>
                <c:pt idx="33421">
                  <c:v>8.4033613445377799E-4</c:v>
                </c:pt>
                <c:pt idx="33422">
                  <c:v>8.4033613445377799E-4</c:v>
                </c:pt>
                <c:pt idx="33423">
                  <c:v>8.4033613445377799E-4</c:v>
                </c:pt>
                <c:pt idx="33424">
                  <c:v>8.4033613445377799E-4</c:v>
                </c:pt>
                <c:pt idx="33425">
                  <c:v>8.4033613445377799E-4</c:v>
                </c:pt>
                <c:pt idx="33426">
                  <c:v>8.4033613445377799E-4</c:v>
                </c:pt>
                <c:pt idx="33427">
                  <c:v>8.4033613445377799E-4</c:v>
                </c:pt>
                <c:pt idx="33428">
                  <c:v>8.4033613445377799E-4</c:v>
                </c:pt>
                <c:pt idx="33429">
                  <c:v>8.4033613445377799E-4</c:v>
                </c:pt>
                <c:pt idx="33430">
                  <c:v>8.4033613445377799E-4</c:v>
                </c:pt>
                <c:pt idx="33431">
                  <c:v>8.4033613445377799E-4</c:v>
                </c:pt>
                <c:pt idx="33432">
                  <c:v>8.4033613445377799E-4</c:v>
                </c:pt>
                <c:pt idx="33433">
                  <c:v>8.4033613445377799E-4</c:v>
                </c:pt>
                <c:pt idx="33434">
                  <c:v>8.4033613445377799E-4</c:v>
                </c:pt>
                <c:pt idx="33435">
                  <c:v>8.4033613445377799E-4</c:v>
                </c:pt>
                <c:pt idx="33436">
                  <c:v>8.4033613445377799E-4</c:v>
                </c:pt>
                <c:pt idx="33437">
                  <c:v>8.4033613445377799E-4</c:v>
                </c:pt>
                <c:pt idx="33438">
                  <c:v>8.4033613445377799E-4</c:v>
                </c:pt>
                <c:pt idx="33439">
                  <c:v>8.4033613445377799E-4</c:v>
                </c:pt>
                <c:pt idx="33440">
                  <c:v>8.4033613445377799E-4</c:v>
                </c:pt>
                <c:pt idx="33441">
                  <c:v>8.4033613445377799E-4</c:v>
                </c:pt>
                <c:pt idx="33442">
                  <c:v>8.4033613445377799E-4</c:v>
                </c:pt>
                <c:pt idx="33443">
                  <c:v>8.4033613445377799E-4</c:v>
                </c:pt>
                <c:pt idx="33444">
                  <c:v>8.4033613445377799E-4</c:v>
                </c:pt>
                <c:pt idx="33445">
                  <c:v>8.4033613445377799E-4</c:v>
                </c:pt>
                <c:pt idx="33446">
                  <c:v>8.4033613445377799E-4</c:v>
                </c:pt>
                <c:pt idx="33447">
                  <c:v>8.4033613445377799E-4</c:v>
                </c:pt>
                <c:pt idx="33448">
                  <c:v>8.4033613445377799E-4</c:v>
                </c:pt>
                <c:pt idx="33449">
                  <c:v>8.4033613445377799E-4</c:v>
                </c:pt>
                <c:pt idx="33450">
                  <c:v>8.4033613445377799E-4</c:v>
                </c:pt>
                <c:pt idx="33451">
                  <c:v>8.4033613445377799E-4</c:v>
                </c:pt>
                <c:pt idx="33452">
                  <c:v>8.4033613445377799E-4</c:v>
                </c:pt>
                <c:pt idx="33453">
                  <c:v>8.4033613445377799E-4</c:v>
                </c:pt>
                <c:pt idx="33454">
                  <c:v>8.4033613445377799E-4</c:v>
                </c:pt>
                <c:pt idx="33455">
                  <c:v>8.4033613445377799E-4</c:v>
                </c:pt>
                <c:pt idx="33456">
                  <c:v>8.4033613445377799E-4</c:v>
                </c:pt>
                <c:pt idx="33457">
                  <c:v>8.4033613445377799E-4</c:v>
                </c:pt>
                <c:pt idx="33458">
                  <c:v>8.4033613445377799E-4</c:v>
                </c:pt>
                <c:pt idx="33459">
                  <c:v>8.4033613445377799E-4</c:v>
                </c:pt>
                <c:pt idx="33460">
                  <c:v>8.4033613445377799E-4</c:v>
                </c:pt>
                <c:pt idx="33461">
                  <c:v>8.4033613445377799E-4</c:v>
                </c:pt>
                <c:pt idx="33462">
                  <c:v>8.4033613445377799E-4</c:v>
                </c:pt>
                <c:pt idx="33463">
                  <c:v>8.4033613445377799E-4</c:v>
                </c:pt>
                <c:pt idx="33464">
                  <c:v>8.4033613445377799E-4</c:v>
                </c:pt>
                <c:pt idx="33465">
                  <c:v>8.4033613445377799E-4</c:v>
                </c:pt>
                <c:pt idx="33466">
                  <c:v>8.4033613445377799E-4</c:v>
                </c:pt>
                <c:pt idx="33467">
                  <c:v>8.4033613445377799E-4</c:v>
                </c:pt>
                <c:pt idx="33468">
                  <c:v>8.4033613445377799E-4</c:v>
                </c:pt>
                <c:pt idx="33469">
                  <c:v>8.4033613445377799E-4</c:v>
                </c:pt>
                <c:pt idx="33470">
                  <c:v>8.4033613445377799E-4</c:v>
                </c:pt>
                <c:pt idx="33471">
                  <c:v>8.4033613445377799E-4</c:v>
                </c:pt>
                <c:pt idx="33472">
                  <c:v>8.4033613445377799E-4</c:v>
                </c:pt>
                <c:pt idx="33473">
                  <c:v>8.4033613445377799E-4</c:v>
                </c:pt>
                <c:pt idx="33474">
                  <c:v>8.4033613445377799E-4</c:v>
                </c:pt>
                <c:pt idx="33475">
                  <c:v>8.4033613445377799E-4</c:v>
                </c:pt>
                <c:pt idx="33476">
                  <c:v>8.4033613445377799E-4</c:v>
                </c:pt>
                <c:pt idx="33477">
                  <c:v>8.4033613445377799E-4</c:v>
                </c:pt>
                <c:pt idx="33478">
                  <c:v>8.4033613445377799E-4</c:v>
                </c:pt>
                <c:pt idx="33479">
                  <c:v>8.4033613445377799E-4</c:v>
                </c:pt>
                <c:pt idx="33480">
                  <c:v>8.4033613445377799E-4</c:v>
                </c:pt>
                <c:pt idx="33481">
                  <c:v>8.4033613445377799E-4</c:v>
                </c:pt>
                <c:pt idx="33482">
                  <c:v>8.4033613445377799E-4</c:v>
                </c:pt>
                <c:pt idx="33483">
                  <c:v>8.4033613445377799E-4</c:v>
                </c:pt>
                <c:pt idx="33484">
                  <c:v>8.4033613445377799E-4</c:v>
                </c:pt>
                <c:pt idx="33485">
                  <c:v>8.4033613445377799E-4</c:v>
                </c:pt>
                <c:pt idx="33486">
                  <c:v>8.4033613445377799E-4</c:v>
                </c:pt>
                <c:pt idx="33487">
                  <c:v>8.4033613445377799E-4</c:v>
                </c:pt>
                <c:pt idx="33488">
                  <c:v>8.4033613445377799E-4</c:v>
                </c:pt>
                <c:pt idx="33489">
                  <c:v>8.4033613445377799E-4</c:v>
                </c:pt>
                <c:pt idx="33490">
                  <c:v>8.4033613445377799E-4</c:v>
                </c:pt>
                <c:pt idx="33491">
                  <c:v>8.4033613445377799E-4</c:v>
                </c:pt>
                <c:pt idx="33492">
                  <c:v>8.4033613445377799E-4</c:v>
                </c:pt>
                <c:pt idx="33493">
                  <c:v>8.4033613445377799E-4</c:v>
                </c:pt>
                <c:pt idx="33494">
                  <c:v>8.4033613445377799E-4</c:v>
                </c:pt>
                <c:pt idx="33495">
                  <c:v>8.4033613445377799E-4</c:v>
                </c:pt>
                <c:pt idx="33496">
                  <c:v>8.4033613445377799E-4</c:v>
                </c:pt>
                <c:pt idx="33497">
                  <c:v>8.4033613445377799E-4</c:v>
                </c:pt>
                <c:pt idx="33498">
                  <c:v>8.4033613445377799E-4</c:v>
                </c:pt>
                <c:pt idx="33499">
                  <c:v>8.4033613445377799E-4</c:v>
                </c:pt>
                <c:pt idx="33500">
                  <c:v>8.4033613445377799E-4</c:v>
                </c:pt>
                <c:pt idx="33501">
                  <c:v>8.4033613445377799E-4</c:v>
                </c:pt>
                <c:pt idx="33502">
                  <c:v>8.4033613445377799E-4</c:v>
                </c:pt>
                <c:pt idx="33503">
                  <c:v>8.4033613445377799E-4</c:v>
                </c:pt>
                <c:pt idx="33504">
                  <c:v>8.4033613445377799E-4</c:v>
                </c:pt>
                <c:pt idx="33505">
                  <c:v>8.4033613445377799E-4</c:v>
                </c:pt>
                <c:pt idx="33506">
                  <c:v>8.4033613445377799E-4</c:v>
                </c:pt>
                <c:pt idx="33507">
                  <c:v>8.4033613445377799E-4</c:v>
                </c:pt>
                <c:pt idx="33508">
                  <c:v>8.4033613445377799E-4</c:v>
                </c:pt>
                <c:pt idx="33509">
                  <c:v>8.4033613445377799E-4</c:v>
                </c:pt>
                <c:pt idx="33510">
                  <c:v>8.4033613445377799E-4</c:v>
                </c:pt>
                <c:pt idx="33511">
                  <c:v>8.4033613445377799E-4</c:v>
                </c:pt>
                <c:pt idx="33512">
                  <c:v>8.4033613445377799E-4</c:v>
                </c:pt>
                <c:pt idx="33513">
                  <c:v>8.4033613445377799E-4</c:v>
                </c:pt>
                <c:pt idx="33514">
                  <c:v>8.4033613445377799E-4</c:v>
                </c:pt>
                <c:pt idx="33515">
                  <c:v>1.6806722689075499E-3</c:v>
                </c:pt>
                <c:pt idx="33516">
                  <c:v>1.6806722689075499E-3</c:v>
                </c:pt>
                <c:pt idx="33517">
                  <c:v>1.6806722689075499E-3</c:v>
                </c:pt>
                <c:pt idx="33518">
                  <c:v>1.6806722689075499E-3</c:v>
                </c:pt>
                <c:pt idx="33519">
                  <c:v>8.4033613445377799E-4</c:v>
                </c:pt>
                <c:pt idx="33520">
                  <c:v>8.4033613445377799E-4</c:v>
                </c:pt>
                <c:pt idx="33521">
                  <c:v>8.4033613445377799E-4</c:v>
                </c:pt>
                <c:pt idx="33522">
                  <c:v>8.4033613445377799E-4</c:v>
                </c:pt>
                <c:pt idx="33523">
                  <c:v>8.4033613445377799E-4</c:v>
                </c:pt>
                <c:pt idx="33524">
                  <c:v>8.4033613445377799E-4</c:v>
                </c:pt>
                <c:pt idx="33525">
                  <c:v>8.4033613445377799E-4</c:v>
                </c:pt>
                <c:pt idx="33526">
                  <c:v>8.4033613445377799E-4</c:v>
                </c:pt>
                <c:pt idx="33527">
                  <c:v>8.4033613445377799E-4</c:v>
                </c:pt>
                <c:pt idx="33528">
                  <c:v>8.4033613445377799E-4</c:v>
                </c:pt>
                <c:pt idx="33529">
                  <c:v>8.4033613445377799E-4</c:v>
                </c:pt>
                <c:pt idx="33530">
                  <c:v>8.4033613445377799E-4</c:v>
                </c:pt>
                <c:pt idx="33531">
                  <c:v>8.4033613445377799E-4</c:v>
                </c:pt>
                <c:pt idx="33532">
                  <c:v>8.4033613445377799E-4</c:v>
                </c:pt>
                <c:pt idx="33533">
                  <c:v>8.4033613445377799E-4</c:v>
                </c:pt>
                <c:pt idx="33534">
                  <c:v>8.4033613445377799E-4</c:v>
                </c:pt>
                <c:pt idx="33535">
                  <c:v>8.4033613445377799E-4</c:v>
                </c:pt>
                <c:pt idx="33536">
                  <c:v>8.4033613445377799E-4</c:v>
                </c:pt>
                <c:pt idx="33537">
                  <c:v>8.4033613445377799E-4</c:v>
                </c:pt>
                <c:pt idx="33538">
                  <c:v>8.4033613445377799E-4</c:v>
                </c:pt>
                <c:pt idx="33539">
                  <c:v>8.4033613445377799E-4</c:v>
                </c:pt>
                <c:pt idx="33540">
                  <c:v>8.4033613445377799E-4</c:v>
                </c:pt>
                <c:pt idx="33541">
                  <c:v>8.4033613445377799E-4</c:v>
                </c:pt>
                <c:pt idx="33542">
                  <c:v>8.4033613445377799E-4</c:v>
                </c:pt>
                <c:pt idx="33543">
                  <c:v>8.4033613445377799E-4</c:v>
                </c:pt>
                <c:pt idx="33544">
                  <c:v>8.4033613445377799E-4</c:v>
                </c:pt>
                <c:pt idx="33545">
                  <c:v>8.4033613445377799E-4</c:v>
                </c:pt>
                <c:pt idx="33546">
                  <c:v>8.4033613445377799E-4</c:v>
                </c:pt>
                <c:pt idx="33547">
                  <c:v>8.4033613445377799E-4</c:v>
                </c:pt>
                <c:pt idx="33548">
                  <c:v>8.4033613445377799E-4</c:v>
                </c:pt>
                <c:pt idx="33549">
                  <c:v>8.4033613445377799E-4</c:v>
                </c:pt>
                <c:pt idx="33550">
                  <c:v>8.4033613445377799E-4</c:v>
                </c:pt>
                <c:pt idx="33551">
                  <c:v>8.4033613445377799E-4</c:v>
                </c:pt>
                <c:pt idx="33552">
                  <c:v>8.4033613445377799E-4</c:v>
                </c:pt>
                <c:pt idx="33553">
                  <c:v>8.4033613445377799E-4</c:v>
                </c:pt>
                <c:pt idx="33554">
                  <c:v>8.4033613445377799E-4</c:v>
                </c:pt>
                <c:pt idx="33555">
                  <c:v>8.4033613445377799E-4</c:v>
                </c:pt>
                <c:pt idx="33556">
                  <c:v>8.4033613445377799E-4</c:v>
                </c:pt>
                <c:pt idx="33557">
                  <c:v>1.6806722689075499E-3</c:v>
                </c:pt>
                <c:pt idx="33558">
                  <c:v>1.6806722689075499E-3</c:v>
                </c:pt>
                <c:pt idx="33559">
                  <c:v>1.6806722689075499E-3</c:v>
                </c:pt>
                <c:pt idx="33560">
                  <c:v>1.6806722689075499E-3</c:v>
                </c:pt>
                <c:pt idx="33561">
                  <c:v>1.6806722689075499E-3</c:v>
                </c:pt>
                <c:pt idx="33562">
                  <c:v>1.6806722689075499E-3</c:v>
                </c:pt>
                <c:pt idx="33563">
                  <c:v>1.6806722689075499E-3</c:v>
                </c:pt>
                <c:pt idx="33564">
                  <c:v>1.6806722689075499E-3</c:v>
                </c:pt>
                <c:pt idx="33565">
                  <c:v>1.6806722689075499E-3</c:v>
                </c:pt>
                <c:pt idx="33566">
                  <c:v>1.6806722689075499E-3</c:v>
                </c:pt>
                <c:pt idx="33567">
                  <c:v>1.6806722689075499E-3</c:v>
                </c:pt>
                <c:pt idx="33568">
                  <c:v>1.6806722689075499E-3</c:v>
                </c:pt>
                <c:pt idx="33569">
                  <c:v>1.6806722689075499E-3</c:v>
                </c:pt>
                <c:pt idx="33570">
                  <c:v>1.6806722689075499E-3</c:v>
                </c:pt>
                <c:pt idx="33571">
                  <c:v>1.6806722689075499E-3</c:v>
                </c:pt>
                <c:pt idx="33572">
                  <c:v>1.6806722689075499E-3</c:v>
                </c:pt>
                <c:pt idx="33573">
                  <c:v>1.6806722689075499E-3</c:v>
                </c:pt>
                <c:pt idx="33574">
                  <c:v>1.6806722689075499E-3</c:v>
                </c:pt>
                <c:pt idx="33575">
                  <c:v>1.6806722689075499E-3</c:v>
                </c:pt>
                <c:pt idx="33576">
                  <c:v>1.6806722689075499E-3</c:v>
                </c:pt>
                <c:pt idx="33577">
                  <c:v>2.5210084033613299E-3</c:v>
                </c:pt>
                <c:pt idx="33578">
                  <c:v>2.5210084033613299E-3</c:v>
                </c:pt>
                <c:pt idx="33579">
                  <c:v>2.5210084033613299E-3</c:v>
                </c:pt>
                <c:pt idx="33580">
                  <c:v>2.5210084033613299E-3</c:v>
                </c:pt>
                <c:pt idx="33581">
                  <c:v>2.5210084033613299E-3</c:v>
                </c:pt>
                <c:pt idx="33582">
                  <c:v>2.5210084033613299E-3</c:v>
                </c:pt>
                <c:pt idx="33583">
                  <c:v>2.5210084033613299E-3</c:v>
                </c:pt>
                <c:pt idx="33584">
                  <c:v>2.5210084033613299E-3</c:v>
                </c:pt>
                <c:pt idx="33585">
                  <c:v>2.5210084033613299E-3</c:v>
                </c:pt>
                <c:pt idx="33586">
                  <c:v>2.5210084033613299E-3</c:v>
                </c:pt>
                <c:pt idx="33587">
                  <c:v>2.5210084033613299E-3</c:v>
                </c:pt>
                <c:pt idx="33588">
                  <c:v>2.5210084033613299E-3</c:v>
                </c:pt>
                <c:pt idx="33589">
                  <c:v>2.5210084033613299E-3</c:v>
                </c:pt>
                <c:pt idx="33590">
                  <c:v>2.5210084033613299E-3</c:v>
                </c:pt>
                <c:pt idx="33591">
                  <c:v>2.5210084033613299E-3</c:v>
                </c:pt>
                <c:pt idx="33592">
                  <c:v>2.5210084033613299E-3</c:v>
                </c:pt>
                <c:pt idx="33593">
                  <c:v>2.5210084033613299E-3</c:v>
                </c:pt>
                <c:pt idx="33594">
                  <c:v>2.5210084033613299E-3</c:v>
                </c:pt>
                <c:pt idx="33595">
                  <c:v>2.5210084033613299E-3</c:v>
                </c:pt>
                <c:pt idx="33596">
                  <c:v>2.5210084033613299E-3</c:v>
                </c:pt>
                <c:pt idx="33597">
                  <c:v>2.5210084033613299E-3</c:v>
                </c:pt>
                <c:pt idx="33598">
                  <c:v>2.5210084033613299E-3</c:v>
                </c:pt>
                <c:pt idx="33599">
                  <c:v>2.5210084033613299E-3</c:v>
                </c:pt>
                <c:pt idx="33600">
                  <c:v>2.5210084033613299E-3</c:v>
                </c:pt>
                <c:pt idx="33601">
                  <c:v>2.5210084033613299E-3</c:v>
                </c:pt>
                <c:pt idx="33602">
                  <c:v>2.5210084033613299E-3</c:v>
                </c:pt>
                <c:pt idx="33603">
                  <c:v>2.5210084033613299E-3</c:v>
                </c:pt>
                <c:pt idx="33604">
                  <c:v>2.5210084033613299E-3</c:v>
                </c:pt>
                <c:pt idx="33605">
                  <c:v>2.5210084033613299E-3</c:v>
                </c:pt>
                <c:pt idx="33606">
                  <c:v>2.5210084033613299E-3</c:v>
                </c:pt>
                <c:pt idx="33607">
                  <c:v>2.5210084033613299E-3</c:v>
                </c:pt>
                <c:pt idx="33608">
                  <c:v>2.5210084033613299E-3</c:v>
                </c:pt>
                <c:pt idx="33609">
                  <c:v>2.5210084033613299E-3</c:v>
                </c:pt>
                <c:pt idx="33610">
                  <c:v>2.5210084033613299E-3</c:v>
                </c:pt>
                <c:pt idx="33611">
                  <c:v>2.5210084033613299E-3</c:v>
                </c:pt>
                <c:pt idx="33612">
                  <c:v>2.5210084033613299E-3</c:v>
                </c:pt>
                <c:pt idx="33613">
                  <c:v>2.5210084033613299E-3</c:v>
                </c:pt>
                <c:pt idx="33614">
                  <c:v>2.5210084033613299E-3</c:v>
                </c:pt>
                <c:pt idx="33615">
                  <c:v>2.5210084033613299E-3</c:v>
                </c:pt>
                <c:pt idx="33616">
                  <c:v>3.3613445378151102E-3</c:v>
                </c:pt>
                <c:pt idx="33617">
                  <c:v>3.3613445378151102E-3</c:v>
                </c:pt>
                <c:pt idx="33618">
                  <c:v>3.3613445378151102E-3</c:v>
                </c:pt>
                <c:pt idx="33619">
                  <c:v>3.3613445378151102E-3</c:v>
                </c:pt>
                <c:pt idx="33620">
                  <c:v>3.3613445378151102E-3</c:v>
                </c:pt>
                <c:pt idx="33621">
                  <c:v>3.3613445378151102E-3</c:v>
                </c:pt>
                <c:pt idx="33622">
                  <c:v>3.3613445378151102E-3</c:v>
                </c:pt>
                <c:pt idx="33623">
                  <c:v>3.3613445378151102E-3</c:v>
                </c:pt>
                <c:pt idx="33624">
                  <c:v>3.3613445378151102E-3</c:v>
                </c:pt>
                <c:pt idx="33625">
                  <c:v>3.3613445378151102E-3</c:v>
                </c:pt>
                <c:pt idx="33626">
                  <c:v>3.3613445378151102E-3</c:v>
                </c:pt>
                <c:pt idx="33627">
                  <c:v>3.3613445378151102E-3</c:v>
                </c:pt>
                <c:pt idx="33628">
                  <c:v>3.3613445378151102E-3</c:v>
                </c:pt>
                <c:pt idx="33629">
                  <c:v>4.20168067226889E-3</c:v>
                </c:pt>
                <c:pt idx="33630">
                  <c:v>4.20168067226889E-3</c:v>
                </c:pt>
                <c:pt idx="33631">
                  <c:v>4.20168067226889E-3</c:v>
                </c:pt>
                <c:pt idx="33632">
                  <c:v>4.20168067226889E-3</c:v>
                </c:pt>
                <c:pt idx="33633">
                  <c:v>4.20168067226889E-3</c:v>
                </c:pt>
                <c:pt idx="33634">
                  <c:v>4.20168067226889E-3</c:v>
                </c:pt>
                <c:pt idx="33635">
                  <c:v>4.20168067226889E-3</c:v>
                </c:pt>
                <c:pt idx="33636">
                  <c:v>4.20168067226889E-3</c:v>
                </c:pt>
                <c:pt idx="33637">
                  <c:v>4.20168067226889E-3</c:v>
                </c:pt>
                <c:pt idx="33638">
                  <c:v>4.20168067226889E-3</c:v>
                </c:pt>
                <c:pt idx="33639">
                  <c:v>4.20168067226889E-3</c:v>
                </c:pt>
                <c:pt idx="33640">
                  <c:v>4.20168067226889E-3</c:v>
                </c:pt>
                <c:pt idx="33641">
                  <c:v>4.20168067226889E-3</c:v>
                </c:pt>
                <c:pt idx="33642">
                  <c:v>4.20168067226889E-3</c:v>
                </c:pt>
                <c:pt idx="33643">
                  <c:v>4.20168067226889E-3</c:v>
                </c:pt>
                <c:pt idx="33644">
                  <c:v>4.20168067226889E-3</c:v>
                </c:pt>
                <c:pt idx="33645">
                  <c:v>4.20168067226889E-3</c:v>
                </c:pt>
                <c:pt idx="33646">
                  <c:v>4.20168067226889E-3</c:v>
                </c:pt>
                <c:pt idx="33647">
                  <c:v>4.20168067226889E-3</c:v>
                </c:pt>
                <c:pt idx="33648">
                  <c:v>4.20168067226889E-3</c:v>
                </c:pt>
                <c:pt idx="33649">
                  <c:v>4.20168067226889E-3</c:v>
                </c:pt>
                <c:pt idx="33650">
                  <c:v>4.20168067226889E-3</c:v>
                </c:pt>
                <c:pt idx="33651">
                  <c:v>4.20168067226889E-3</c:v>
                </c:pt>
                <c:pt idx="33652">
                  <c:v>4.20168067226889E-3</c:v>
                </c:pt>
                <c:pt idx="33653">
                  <c:v>4.20168067226889E-3</c:v>
                </c:pt>
                <c:pt idx="33654">
                  <c:v>4.20168067226889E-3</c:v>
                </c:pt>
                <c:pt idx="33655">
                  <c:v>4.20168067226889E-3</c:v>
                </c:pt>
                <c:pt idx="33656">
                  <c:v>4.20168067226889E-3</c:v>
                </c:pt>
                <c:pt idx="33657">
                  <c:v>4.20168067226889E-3</c:v>
                </c:pt>
                <c:pt idx="33658">
                  <c:v>4.20168067226889E-3</c:v>
                </c:pt>
                <c:pt idx="33659">
                  <c:v>4.20168067226889E-3</c:v>
                </c:pt>
                <c:pt idx="33660">
                  <c:v>4.20168067226889E-3</c:v>
                </c:pt>
                <c:pt idx="33661">
                  <c:v>4.20168067226889E-3</c:v>
                </c:pt>
                <c:pt idx="33662">
                  <c:v>4.20168067226889E-3</c:v>
                </c:pt>
                <c:pt idx="33663">
                  <c:v>4.20168067226889E-3</c:v>
                </c:pt>
                <c:pt idx="33664">
                  <c:v>4.20168067226889E-3</c:v>
                </c:pt>
                <c:pt idx="33665">
                  <c:v>4.20168067226889E-3</c:v>
                </c:pt>
                <c:pt idx="33666">
                  <c:v>4.20168067226889E-3</c:v>
                </c:pt>
                <c:pt idx="33667">
                  <c:v>4.20168067226889E-3</c:v>
                </c:pt>
                <c:pt idx="33668">
                  <c:v>4.20168067226889E-3</c:v>
                </c:pt>
                <c:pt idx="33669">
                  <c:v>4.20168067226889E-3</c:v>
                </c:pt>
                <c:pt idx="33670">
                  <c:v>4.20168067226889E-3</c:v>
                </c:pt>
                <c:pt idx="33671">
                  <c:v>4.20168067226889E-3</c:v>
                </c:pt>
                <c:pt idx="33672">
                  <c:v>4.20168067226889E-3</c:v>
                </c:pt>
                <c:pt idx="33673">
                  <c:v>4.20168067226889E-3</c:v>
                </c:pt>
                <c:pt idx="33674">
                  <c:v>4.20168067226889E-3</c:v>
                </c:pt>
                <c:pt idx="33675">
                  <c:v>4.20168067226889E-3</c:v>
                </c:pt>
                <c:pt idx="33676">
                  <c:v>4.20168067226889E-3</c:v>
                </c:pt>
                <c:pt idx="33677">
                  <c:v>4.20168067226889E-3</c:v>
                </c:pt>
                <c:pt idx="33678">
                  <c:v>4.20168067226889E-3</c:v>
                </c:pt>
                <c:pt idx="33679">
                  <c:v>4.20168067226889E-3</c:v>
                </c:pt>
                <c:pt idx="33680">
                  <c:v>4.20168067226889E-3</c:v>
                </c:pt>
                <c:pt idx="33681">
                  <c:v>4.20168067226889E-3</c:v>
                </c:pt>
                <c:pt idx="33682">
                  <c:v>4.20168067226889E-3</c:v>
                </c:pt>
                <c:pt idx="33683">
                  <c:v>4.20168067226889E-3</c:v>
                </c:pt>
                <c:pt idx="33684">
                  <c:v>4.20168067226889E-3</c:v>
                </c:pt>
                <c:pt idx="33685">
                  <c:v>4.20168067226889E-3</c:v>
                </c:pt>
                <c:pt idx="33686">
                  <c:v>4.20168067226889E-3</c:v>
                </c:pt>
                <c:pt idx="33687">
                  <c:v>4.20168067226889E-3</c:v>
                </c:pt>
                <c:pt idx="33688">
                  <c:v>4.20168067226889E-3</c:v>
                </c:pt>
                <c:pt idx="33689">
                  <c:v>4.20168067226889E-3</c:v>
                </c:pt>
                <c:pt idx="33690">
                  <c:v>4.20168067226889E-3</c:v>
                </c:pt>
                <c:pt idx="33691">
                  <c:v>4.20168067226889E-3</c:v>
                </c:pt>
                <c:pt idx="33692">
                  <c:v>4.20168067226889E-3</c:v>
                </c:pt>
                <c:pt idx="33693">
                  <c:v>4.20168067226889E-3</c:v>
                </c:pt>
                <c:pt idx="33694">
                  <c:v>4.20168067226889E-3</c:v>
                </c:pt>
                <c:pt idx="33695">
                  <c:v>4.20168067226889E-3</c:v>
                </c:pt>
                <c:pt idx="33696">
                  <c:v>4.20168067226889E-3</c:v>
                </c:pt>
                <c:pt idx="33697">
                  <c:v>4.20168067226889E-3</c:v>
                </c:pt>
                <c:pt idx="33698">
                  <c:v>4.20168067226889E-3</c:v>
                </c:pt>
                <c:pt idx="33699">
                  <c:v>4.20168067226889E-3</c:v>
                </c:pt>
                <c:pt idx="33700">
                  <c:v>4.20168067226889E-3</c:v>
                </c:pt>
                <c:pt idx="33701">
                  <c:v>4.20168067226889E-3</c:v>
                </c:pt>
                <c:pt idx="33702">
                  <c:v>4.20168067226889E-3</c:v>
                </c:pt>
                <c:pt idx="33703">
                  <c:v>4.20168067226889E-3</c:v>
                </c:pt>
                <c:pt idx="33704">
                  <c:v>4.20168067226889E-3</c:v>
                </c:pt>
                <c:pt idx="33705">
                  <c:v>4.20168067226889E-3</c:v>
                </c:pt>
                <c:pt idx="33706">
                  <c:v>4.20168067226889E-3</c:v>
                </c:pt>
                <c:pt idx="33707">
                  <c:v>4.20168067226889E-3</c:v>
                </c:pt>
                <c:pt idx="33708">
                  <c:v>4.20168067226889E-3</c:v>
                </c:pt>
                <c:pt idx="33709">
                  <c:v>4.20168067226889E-3</c:v>
                </c:pt>
                <c:pt idx="33710">
                  <c:v>4.20168067226889E-3</c:v>
                </c:pt>
                <c:pt idx="33711">
                  <c:v>4.20168067226889E-3</c:v>
                </c:pt>
                <c:pt idx="33712">
                  <c:v>4.20168067226889E-3</c:v>
                </c:pt>
                <c:pt idx="33713">
                  <c:v>4.20168067226889E-3</c:v>
                </c:pt>
                <c:pt idx="33714">
                  <c:v>4.20168067226889E-3</c:v>
                </c:pt>
                <c:pt idx="33715">
                  <c:v>4.20168067226889E-3</c:v>
                </c:pt>
                <c:pt idx="33716">
                  <c:v>4.20168067226889E-3</c:v>
                </c:pt>
                <c:pt idx="33717">
                  <c:v>4.20168067226889E-3</c:v>
                </c:pt>
                <c:pt idx="33718">
                  <c:v>4.20168067226889E-3</c:v>
                </c:pt>
                <c:pt idx="33719">
                  <c:v>4.20168067226889E-3</c:v>
                </c:pt>
                <c:pt idx="33720">
                  <c:v>4.20168067226889E-3</c:v>
                </c:pt>
                <c:pt idx="33721">
                  <c:v>4.20168067226889E-3</c:v>
                </c:pt>
                <c:pt idx="33722">
                  <c:v>3.3613445378151102E-3</c:v>
                </c:pt>
                <c:pt idx="33723">
                  <c:v>3.3613445378151102E-3</c:v>
                </c:pt>
                <c:pt idx="33724">
                  <c:v>3.3613445378151102E-3</c:v>
                </c:pt>
                <c:pt idx="33725">
                  <c:v>3.3613445378151102E-3</c:v>
                </c:pt>
                <c:pt idx="33726">
                  <c:v>3.3613445378151102E-3</c:v>
                </c:pt>
                <c:pt idx="33727">
                  <c:v>3.3613445378151102E-3</c:v>
                </c:pt>
                <c:pt idx="33728">
                  <c:v>3.3613445378151102E-3</c:v>
                </c:pt>
                <c:pt idx="33729">
                  <c:v>3.3613445378151102E-3</c:v>
                </c:pt>
                <c:pt idx="33730">
                  <c:v>3.3613445378151102E-3</c:v>
                </c:pt>
                <c:pt idx="33731">
                  <c:v>3.3613445378151102E-3</c:v>
                </c:pt>
                <c:pt idx="33732">
                  <c:v>3.3613445378151102E-3</c:v>
                </c:pt>
                <c:pt idx="33733">
                  <c:v>3.3613445378151102E-3</c:v>
                </c:pt>
                <c:pt idx="33734">
                  <c:v>3.3613445378151102E-3</c:v>
                </c:pt>
                <c:pt idx="33735">
                  <c:v>3.3613445378151102E-3</c:v>
                </c:pt>
                <c:pt idx="33736">
                  <c:v>3.3613445378151102E-3</c:v>
                </c:pt>
                <c:pt idx="33737">
                  <c:v>3.3613445378151102E-3</c:v>
                </c:pt>
                <c:pt idx="33738">
                  <c:v>3.3613445378151102E-3</c:v>
                </c:pt>
                <c:pt idx="33739">
                  <c:v>3.3613445378151102E-3</c:v>
                </c:pt>
                <c:pt idx="33740">
                  <c:v>3.3613445378151102E-3</c:v>
                </c:pt>
                <c:pt idx="33741">
                  <c:v>3.3613445378151102E-3</c:v>
                </c:pt>
                <c:pt idx="33742">
                  <c:v>3.3613445378151102E-3</c:v>
                </c:pt>
                <c:pt idx="33743">
                  <c:v>3.3613445378151102E-3</c:v>
                </c:pt>
                <c:pt idx="33744">
                  <c:v>3.3613445378151102E-3</c:v>
                </c:pt>
                <c:pt idx="33745">
                  <c:v>3.3613445378151102E-3</c:v>
                </c:pt>
                <c:pt idx="33746">
                  <c:v>3.3613445378151102E-3</c:v>
                </c:pt>
                <c:pt idx="33747">
                  <c:v>3.3613445378151102E-3</c:v>
                </c:pt>
                <c:pt idx="33748">
                  <c:v>3.3613445378151102E-3</c:v>
                </c:pt>
                <c:pt idx="33749">
                  <c:v>3.3613445378151102E-3</c:v>
                </c:pt>
                <c:pt idx="33750">
                  <c:v>3.3613445378151102E-3</c:v>
                </c:pt>
                <c:pt idx="33751">
                  <c:v>2.5210084033613299E-3</c:v>
                </c:pt>
                <c:pt idx="33752">
                  <c:v>2.5210084033613299E-3</c:v>
                </c:pt>
                <c:pt idx="33753">
                  <c:v>2.5210084033613299E-3</c:v>
                </c:pt>
                <c:pt idx="33754">
                  <c:v>2.5210084033613299E-3</c:v>
                </c:pt>
                <c:pt idx="33755">
                  <c:v>2.5210084033613299E-3</c:v>
                </c:pt>
                <c:pt idx="33756">
                  <c:v>2.5210084033613299E-3</c:v>
                </c:pt>
                <c:pt idx="33757">
                  <c:v>2.5210084033613299E-3</c:v>
                </c:pt>
                <c:pt idx="33758">
                  <c:v>2.5210084033613299E-3</c:v>
                </c:pt>
                <c:pt idx="33759">
                  <c:v>2.5210084033613299E-3</c:v>
                </c:pt>
                <c:pt idx="33760">
                  <c:v>2.5210084033613299E-3</c:v>
                </c:pt>
                <c:pt idx="33761">
                  <c:v>2.5210084033613299E-3</c:v>
                </c:pt>
                <c:pt idx="33762">
                  <c:v>2.5210084033613299E-3</c:v>
                </c:pt>
                <c:pt idx="33763">
                  <c:v>2.5210084033613299E-3</c:v>
                </c:pt>
                <c:pt idx="33764">
                  <c:v>2.5210084033613299E-3</c:v>
                </c:pt>
                <c:pt idx="33765">
                  <c:v>2.5210084033613299E-3</c:v>
                </c:pt>
                <c:pt idx="33766">
                  <c:v>2.5210084033613299E-3</c:v>
                </c:pt>
                <c:pt idx="33767">
                  <c:v>2.5210084033613299E-3</c:v>
                </c:pt>
                <c:pt idx="33768">
                  <c:v>2.5210084033613299E-3</c:v>
                </c:pt>
                <c:pt idx="33769">
                  <c:v>2.5210084033613299E-3</c:v>
                </c:pt>
                <c:pt idx="33770">
                  <c:v>2.5210084033613299E-3</c:v>
                </c:pt>
                <c:pt idx="33771">
                  <c:v>2.5210084033613299E-3</c:v>
                </c:pt>
                <c:pt idx="33772">
                  <c:v>2.5210084033613299E-3</c:v>
                </c:pt>
                <c:pt idx="33773">
                  <c:v>2.5210084033613299E-3</c:v>
                </c:pt>
                <c:pt idx="33774">
                  <c:v>2.5210084033613299E-3</c:v>
                </c:pt>
                <c:pt idx="33775">
                  <c:v>2.5210084033613299E-3</c:v>
                </c:pt>
                <c:pt idx="33776">
                  <c:v>2.5210084033613299E-3</c:v>
                </c:pt>
                <c:pt idx="33777">
                  <c:v>2.5210084033613299E-3</c:v>
                </c:pt>
                <c:pt idx="33778">
                  <c:v>2.5210084033613299E-3</c:v>
                </c:pt>
                <c:pt idx="33779">
                  <c:v>2.5210084033613299E-3</c:v>
                </c:pt>
                <c:pt idx="33780">
                  <c:v>2.5210084033613299E-3</c:v>
                </c:pt>
                <c:pt idx="33781">
                  <c:v>2.5210084033613299E-3</c:v>
                </c:pt>
                <c:pt idx="33782">
                  <c:v>2.5210084033613299E-3</c:v>
                </c:pt>
                <c:pt idx="33783">
                  <c:v>2.5210084033613299E-3</c:v>
                </c:pt>
                <c:pt idx="33784">
                  <c:v>2.5210084033613299E-3</c:v>
                </c:pt>
                <c:pt idx="33785">
                  <c:v>2.5210084033613299E-3</c:v>
                </c:pt>
                <c:pt idx="33786">
                  <c:v>2.5210084033613299E-3</c:v>
                </c:pt>
                <c:pt idx="33787">
                  <c:v>2.5210084033613299E-3</c:v>
                </c:pt>
                <c:pt idx="33788">
                  <c:v>2.5210084033613299E-3</c:v>
                </c:pt>
                <c:pt idx="33789">
                  <c:v>2.5210084033613299E-3</c:v>
                </c:pt>
                <c:pt idx="33790">
                  <c:v>2.5210084033613299E-3</c:v>
                </c:pt>
                <c:pt idx="33791">
                  <c:v>2.5210084033613299E-3</c:v>
                </c:pt>
                <c:pt idx="33792">
                  <c:v>2.5210084033613299E-3</c:v>
                </c:pt>
                <c:pt idx="33793">
                  <c:v>2.5210084033613299E-3</c:v>
                </c:pt>
                <c:pt idx="33794">
                  <c:v>2.5210084033613299E-3</c:v>
                </c:pt>
                <c:pt idx="33795">
                  <c:v>2.5210084033613299E-3</c:v>
                </c:pt>
                <c:pt idx="33796">
                  <c:v>2.5210084033613299E-3</c:v>
                </c:pt>
                <c:pt idx="33797">
                  <c:v>1.6806722689075499E-3</c:v>
                </c:pt>
                <c:pt idx="33798">
                  <c:v>1.6806722689075499E-3</c:v>
                </c:pt>
                <c:pt idx="33799">
                  <c:v>1.6806722689075499E-3</c:v>
                </c:pt>
                <c:pt idx="33800">
                  <c:v>1.6806722689075499E-3</c:v>
                </c:pt>
                <c:pt idx="33801">
                  <c:v>1.6806722689075499E-3</c:v>
                </c:pt>
                <c:pt idx="33802">
                  <c:v>1.6806722689075499E-3</c:v>
                </c:pt>
                <c:pt idx="33803">
                  <c:v>1.6806722689075499E-3</c:v>
                </c:pt>
                <c:pt idx="33804">
                  <c:v>8.4033613445377799E-4</c:v>
                </c:pt>
                <c:pt idx="33805">
                  <c:v>1.6806722689075499E-3</c:v>
                </c:pt>
                <c:pt idx="33806">
                  <c:v>1.6806722689075499E-3</c:v>
                </c:pt>
                <c:pt idx="33807">
                  <c:v>1.6806722689075499E-3</c:v>
                </c:pt>
                <c:pt idx="33808">
                  <c:v>1.6806722689075499E-3</c:v>
                </c:pt>
                <c:pt idx="33809">
                  <c:v>1.6806722689075499E-3</c:v>
                </c:pt>
                <c:pt idx="33810">
                  <c:v>8.4033613445377799E-4</c:v>
                </c:pt>
                <c:pt idx="33811">
                  <c:v>8.4033613445377799E-4</c:v>
                </c:pt>
                <c:pt idx="33812">
                  <c:v>8.4033613445377799E-4</c:v>
                </c:pt>
                <c:pt idx="33813">
                  <c:v>8.4033613445377799E-4</c:v>
                </c:pt>
                <c:pt idx="33814">
                  <c:v>8.4033613445377799E-4</c:v>
                </c:pt>
                <c:pt idx="33815">
                  <c:v>8.4033613445377799E-4</c:v>
                </c:pt>
                <c:pt idx="33816">
                  <c:v>8.4033613445377799E-4</c:v>
                </c:pt>
                <c:pt idx="33817">
                  <c:v>8.4033613445377799E-4</c:v>
                </c:pt>
                <c:pt idx="33818">
                  <c:v>8.4033613445377799E-4</c:v>
                </c:pt>
                <c:pt idx="33819">
                  <c:v>8.4033613445377799E-4</c:v>
                </c:pt>
                <c:pt idx="33820">
                  <c:v>8.4033613445377799E-4</c:v>
                </c:pt>
                <c:pt idx="33821">
                  <c:v>8.4033613445377799E-4</c:v>
                </c:pt>
                <c:pt idx="33822">
                  <c:v>8.4033613445377799E-4</c:v>
                </c:pt>
                <c:pt idx="33823">
                  <c:v>8.4033613445377799E-4</c:v>
                </c:pt>
                <c:pt idx="33824">
                  <c:v>8.4033613445377799E-4</c:v>
                </c:pt>
                <c:pt idx="33825">
                  <c:v>8.4033613445377799E-4</c:v>
                </c:pt>
                <c:pt idx="33826">
                  <c:v>8.4033613445377799E-4</c:v>
                </c:pt>
                <c:pt idx="33827">
                  <c:v>8.4033613445377799E-4</c:v>
                </c:pt>
                <c:pt idx="33828">
                  <c:v>8.4033613445377799E-4</c:v>
                </c:pt>
                <c:pt idx="33829">
                  <c:v>8.4033613445377799E-4</c:v>
                </c:pt>
                <c:pt idx="33830">
                  <c:v>8.4033613445377799E-4</c:v>
                </c:pt>
                <c:pt idx="33831">
                  <c:v>8.4033613445377799E-4</c:v>
                </c:pt>
                <c:pt idx="33832">
                  <c:v>8.4033613445377799E-4</c:v>
                </c:pt>
                <c:pt idx="33833">
                  <c:v>8.4033613445377799E-4</c:v>
                </c:pt>
                <c:pt idx="33834">
                  <c:v>8.4033613445377799E-4</c:v>
                </c:pt>
                <c:pt idx="33835">
                  <c:v>8.4033613445377799E-4</c:v>
                </c:pt>
                <c:pt idx="33836">
                  <c:v>8.4033613445377799E-4</c:v>
                </c:pt>
                <c:pt idx="33837">
                  <c:v>8.4033613445377799E-4</c:v>
                </c:pt>
                <c:pt idx="33838">
                  <c:v>8.4033613445377799E-4</c:v>
                </c:pt>
                <c:pt idx="33839">
                  <c:v>8.4033613445377799E-4</c:v>
                </c:pt>
                <c:pt idx="33840">
                  <c:v>8.4033613445377799E-4</c:v>
                </c:pt>
                <c:pt idx="33841">
                  <c:v>8.4033613445377799E-4</c:v>
                </c:pt>
                <c:pt idx="33842">
                  <c:v>8.4033613445377799E-4</c:v>
                </c:pt>
                <c:pt idx="33843">
                  <c:v>8.4033613445377799E-4</c:v>
                </c:pt>
                <c:pt idx="33844">
                  <c:v>8.4033613445377799E-4</c:v>
                </c:pt>
                <c:pt idx="33845">
                  <c:v>1.6806722689075499E-3</c:v>
                </c:pt>
                <c:pt idx="33846">
                  <c:v>1.6806722689075499E-3</c:v>
                </c:pt>
                <c:pt idx="33847">
                  <c:v>1.6806722689075499E-3</c:v>
                </c:pt>
                <c:pt idx="33848">
                  <c:v>1.6806722689075499E-3</c:v>
                </c:pt>
                <c:pt idx="33849">
                  <c:v>1.6806722689075499E-3</c:v>
                </c:pt>
                <c:pt idx="33850">
                  <c:v>1.6806722689075499E-3</c:v>
                </c:pt>
                <c:pt idx="33851">
                  <c:v>1.6806722689075499E-3</c:v>
                </c:pt>
                <c:pt idx="33852">
                  <c:v>2.5210084033613299E-3</c:v>
                </c:pt>
                <c:pt idx="33853">
                  <c:v>2.5210084033613299E-3</c:v>
                </c:pt>
                <c:pt idx="33854">
                  <c:v>2.5210084033613299E-3</c:v>
                </c:pt>
                <c:pt idx="33855">
                  <c:v>2.5210084033613299E-3</c:v>
                </c:pt>
                <c:pt idx="33856">
                  <c:v>2.5210084033613299E-3</c:v>
                </c:pt>
                <c:pt idx="33857">
                  <c:v>2.5210084033613299E-3</c:v>
                </c:pt>
                <c:pt idx="33858">
                  <c:v>2.5210084033613299E-3</c:v>
                </c:pt>
                <c:pt idx="33859">
                  <c:v>2.5210084033613299E-3</c:v>
                </c:pt>
                <c:pt idx="33860">
                  <c:v>2.5210084033613299E-3</c:v>
                </c:pt>
                <c:pt idx="33861">
                  <c:v>2.5210084033613299E-3</c:v>
                </c:pt>
                <c:pt idx="33862">
                  <c:v>2.5210084033613299E-3</c:v>
                </c:pt>
                <c:pt idx="33863">
                  <c:v>2.5210084033613299E-3</c:v>
                </c:pt>
                <c:pt idx="33864">
                  <c:v>2.5210084033613299E-3</c:v>
                </c:pt>
                <c:pt idx="33865">
                  <c:v>2.5210084033613299E-3</c:v>
                </c:pt>
                <c:pt idx="33866">
                  <c:v>2.5210084033613299E-3</c:v>
                </c:pt>
                <c:pt idx="33867">
                  <c:v>2.5210084033613299E-3</c:v>
                </c:pt>
                <c:pt idx="33868">
                  <c:v>2.5210084033613299E-3</c:v>
                </c:pt>
                <c:pt idx="33869">
                  <c:v>2.5210084033613299E-3</c:v>
                </c:pt>
                <c:pt idx="33870">
                  <c:v>2.5210084033613299E-3</c:v>
                </c:pt>
                <c:pt idx="33871">
                  <c:v>2.5210084033613299E-3</c:v>
                </c:pt>
                <c:pt idx="33872">
                  <c:v>2.5210084033613299E-3</c:v>
                </c:pt>
                <c:pt idx="33873">
                  <c:v>2.5210084033613299E-3</c:v>
                </c:pt>
                <c:pt idx="33874">
                  <c:v>2.5210084033613299E-3</c:v>
                </c:pt>
                <c:pt idx="33875">
                  <c:v>2.5210084033613299E-3</c:v>
                </c:pt>
                <c:pt idx="33876">
                  <c:v>2.5210084033613299E-3</c:v>
                </c:pt>
                <c:pt idx="33877">
                  <c:v>2.5210084033613299E-3</c:v>
                </c:pt>
                <c:pt idx="33878">
                  <c:v>2.5210084033613299E-3</c:v>
                </c:pt>
                <c:pt idx="33879">
                  <c:v>2.5210084033613299E-3</c:v>
                </c:pt>
                <c:pt idx="33880">
                  <c:v>2.5210084033613299E-3</c:v>
                </c:pt>
                <c:pt idx="33881">
                  <c:v>2.5210084033613299E-3</c:v>
                </c:pt>
                <c:pt idx="33882">
                  <c:v>2.5210084033613299E-3</c:v>
                </c:pt>
                <c:pt idx="33883">
                  <c:v>2.5210084033613299E-3</c:v>
                </c:pt>
                <c:pt idx="33884">
                  <c:v>2.5210084033613299E-3</c:v>
                </c:pt>
                <c:pt idx="33885">
                  <c:v>2.5210084033613299E-3</c:v>
                </c:pt>
                <c:pt idx="33886">
                  <c:v>2.5210084033613299E-3</c:v>
                </c:pt>
                <c:pt idx="33887">
                  <c:v>2.5210084033613299E-3</c:v>
                </c:pt>
                <c:pt idx="33888">
                  <c:v>2.5210084033613299E-3</c:v>
                </c:pt>
                <c:pt idx="33889">
                  <c:v>2.5210084033613299E-3</c:v>
                </c:pt>
                <c:pt idx="33890">
                  <c:v>2.5210084033613299E-3</c:v>
                </c:pt>
                <c:pt idx="33891">
                  <c:v>2.5210084033613299E-3</c:v>
                </c:pt>
                <c:pt idx="33892">
                  <c:v>2.5210084033613299E-3</c:v>
                </c:pt>
                <c:pt idx="33893">
                  <c:v>2.5210084033613299E-3</c:v>
                </c:pt>
                <c:pt idx="33894">
                  <c:v>2.5210084033613299E-3</c:v>
                </c:pt>
                <c:pt idx="33895">
                  <c:v>2.5210084033613299E-3</c:v>
                </c:pt>
                <c:pt idx="33896">
                  <c:v>2.5210084033613299E-3</c:v>
                </c:pt>
                <c:pt idx="33897">
                  <c:v>2.5210084033613299E-3</c:v>
                </c:pt>
                <c:pt idx="33898">
                  <c:v>2.5210084033613299E-3</c:v>
                </c:pt>
                <c:pt idx="33899">
                  <c:v>2.5210084033613299E-3</c:v>
                </c:pt>
                <c:pt idx="33900">
                  <c:v>2.5210084033613299E-3</c:v>
                </c:pt>
                <c:pt idx="33901">
                  <c:v>2.5210084033613299E-3</c:v>
                </c:pt>
                <c:pt idx="33902">
                  <c:v>2.5210084033613299E-3</c:v>
                </c:pt>
                <c:pt idx="33903">
                  <c:v>2.5210084033613299E-3</c:v>
                </c:pt>
                <c:pt idx="33904">
                  <c:v>2.5210084033613299E-3</c:v>
                </c:pt>
                <c:pt idx="33905">
                  <c:v>2.5210084033613299E-3</c:v>
                </c:pt>
                <c:pt idx="33906">
                  <c:v>2.5210084033613299E-3</c:v>
                </c:pt>
                <c:pt idx="33907">
                  <c:v>2.5210084033613299E-3</c:v>
                </c:pt>
                <c:pt idx="33908">
                  <c:v>2.5210084033613299E-3</c:v>
                </c:pt>
                <c:pt idx="33909">
                  <c:v>2.5210084033613299E-3</c:v>
                </c:pt>
                <c:pt idx="33910">
                  <c:v>2.5210084033613299E-3</c:v>
                </c:pt>
                <c:pt idx="33911">
                  <c:v>2.5210084033613299E-3</c:v>
                </c:pt>
                <c:pt idx="33912">
                  <c:v>2.5210084033613299E-3</c:v>
                </c:pt>
                <c:pt idx="33913">
                  <c:v>2.5210084033613299E-3</c:v>
                </c:pt>
                <c:pt idx="33914">
                  <c:v>2.5210084033613299E-3</c:v>
                </c:pt>
                <c:pt idx="33915">
                  <c:v>2.5210084033613299E-3</c:v>
                </c:pt>
                <c:pt idx="33916">
                  <c:v>2.5210084033613299E-3</c:v>
                </c:pt>
                <c:pt idx="33917">
                  <c:v>2.5210084033613299E-3</c:v>
                </c:pt>
                <c:pt idx="33918">
                  <c:v>2.5210084033613299E-3</c:v>
                </c:pt>
                <c:pt idx="33919">
                  <c:v>2.5210084033613299E-3</c:v>
                </c:pt>
                <c:pt idx="33920">
                  <c:v>2.5210084033613299E-3</c:v>
                </c:pt>
                <c:pt idx="33921">
                  <c:v>2.5210084033613299E-3</c:v>
                </c:pt>
                <c:pt idx="33922">
                  <c:v>2.5210084033613299E-3</c:v>
                </c:pt>
                <c:pt idx="33923">
                  <c:v>2.5210084033613299E-3</c:v>
                </c:pt>
                <c:pt idx="33924">
                  <c:v>2.5210084033613299E-3</c:v>
                </c:pt>
                <c:pt idx="33925">
                  <c:v>2.5210084033613299E-3</c:v>
                </c:pt>
                <c:pt idx="33926">
                  <c:v>2.5210084033613299E-3</c:v>
                </c:pt>
                <c:pt idx="33927">
                  <c:v>2.5210084033613299E-3</c:v>
                </c:pt>
                <c:pt idx="33928">
                  <c:v>2.5210084033613299E-3</c:v>
                </c:pt>
                <c:pt idx="33929">
                  <c:v>2.5210084033613299E-3</c:v>
                </c:pt>
                <c:pt idx="33930">
                  <c:v>2.5210084033613299E-3</c:v>
                </c:pt>
                <c:pt idx="33931">
                  <c:v>2.5210084033613299E-3</c:v>
                </c:pt>
                <c:pt idx="33932">
                  <c:v>2.5210084033613299E-3</c:v>
                </c:pt>
                <c:pt idx="33933">
                  <c:v>2.5210084033613299E-3</c:v>
                </c:pt>
                <c:pt idx="33934">
                  <c:v>2.5210084033613299E-3</c:v>
                </c:pt>
                <c:pt idx="33935">
                  <c:v>2.5210084033613299E-3</c:v>
                </c:pt>
                <c:pt idx="33936">
                  <c:v>2.5210084033613299E-3</c:v>
                </c:pt>
                <c:pt idx="33937">
                  <c:v>2.5210084033613299E-3</c:v>
                </c:pt>
                <c:pt idx="33938">
                  <c:v>2.5210084033613299E-3</c:v>
                </c:pt>
                <c:pt idx="33939">
                  <c:v>2.5210084033613299E-3</c:v>
                </c:pt>
                <c:pt idx="33940">
                  <c:v>2.5210084033613299E-3</c:v>
                </c:pt>
                <c:pt idx="33941">
                  <c:v>2.5210084033613299E-3</c:v>
                </c:pt>
                <c:pt idx="33942">
                  <c:v>2.5210084033613299E-3</c:v>
                </c:pt>
                <c:pt idx="33943">
                  <c:v>2.5210084033613299E-3</c:v>
                </c:pt>
                <c:pt idx="33944">
                  <c:v>2.5210084033613299E-3</c:v>
                </c:pt>
                <c:pt idx="33945">
                  <c:v>2.5210084033613299E-3</c:v>
                </c:pt>
                <c:pt idx="33946">
                  <c:v>2.5210084033613299E-3</c:v>
                </c:pt>
                <c:pt idx="33947">
                  <c:v>2.5210084033613299E-3</c:v>
                </c:pt>
                <c:pt idx="33948">
                  <c:v>2.5210084033613299E-3</c:v>
                </c:pt>
                <c:pt idx="33949">
                  <c:v>2.5210084033613299E-3</c:v>
                </c:pt>
                <c:pt idx="33950">
                  <c:v>2.5210084033613299E-3</c:v>
                </c:pt>
                <c:pt idx="33951">
                  <c:v>2.5210084033613299E-3</c:v>
                </c:pt>
                <c:pt idx="33952">
                  <c:v>2.5210084033613299E-3</c:v>
                </c:pt>
                <c:pt idx="33953">
                  <c:v>2.5210084033613299E-3</c:v>
                </c:pt>
                <c:pt idx="33954">
                  <c:v>2.5210084033613299E-3</c:v>
                </c:pt>
                <c:pt idx="33955">
                  <c:v>2.5210084033613299E-3</c:v>
                </c:pt>
                <c:pt idx="33956">
                  <c:v>2.5210084033613299E-3</c:v>
                </c:pt>
                <c:pt idx="33957">
                  <c:v>2.5210084033613299E-3</c:v>
                </c:pt>
                <c:pt idx="33958">
                  <c:v>2.5210084033613299E-3</c:v>
                </c:pt>
                <c:pt idx="33959">
                  <c:v>2.5210084033613299E-3</c:v>
                </c:pt>
                <c:pt idx="33960">
                  <c:v>2.5210084033613299E-3</c:v>
                </c:pt>
                <c:pt idx="33961">
                  <c:v>2.5210084033613299E-3</c:v>
                </c:pt>
                <c:pt idx="33962">
                  <c:v>2.5210084033613299E-3</c:v>
                </c:pt>
                <c:pt idx="33963">
                  <c:v>2.5210084033613299E-3</c:v>
                </c:pt>
                <c:pt idx="33964">
                  <c:v>2.5210084033613299E-3</c:v>
                </c:pt>
                <c:pt idx="33965">
                  <c:v>2.5210084033613299E-3</c:v>
                </c:pt>
                <c:pt idx="33966">
                  <c:v>2.5210084033613299E-3</c:v>
                </c:pt>
                <c:pt idx="33967">
                  <c:v>2.5210084033613299E-3</c:v>
                </c:pt>
                <c:pt idx="33968">
                  <c:v>2.5210084033613299E-3</c:v>
                </c:pt>
                <c:pt idx="33969">
                  <c:v>2.5210084033613299E-3</c:v>
                </c:pt>
                <c:pt idx="33970">
                  <c:v>3.3613445378151102E-3</c:v>
                </c:pt>
                <c:pt idx="33971">
                  <c:v>3.3613445378151102E-3</c:v>
                </c:pt>
                <c:pt idx="33972">
                  <c:v>3.3613445378151102E-3</c:v>
                </c:pt>
                <c:pt idx="33973">
                  <c:v>3.3613445378151102E-3</c:v>
                </c:pt>
                <c:pt idx="33974">
                  <c:v>3.3613445378151102E-3</c:v>
                </c:pt>
                <c:pt idx="33975">
                  <c:v>4.20168067226889E-3</c:v>
                </c:pt>
                <c:pt idx="33976">
                  <c:v>5.0420168067226703E-3</c:v>
                </c:pt>
                <c:pt idx="33977">
                  <c:v>5.0420168067226703E-3</c:v>
                </c:pt>
                <c:pt idx="33978">
                  <c:v>4.20168067226889E-3</c:v>
                </c:pt>
                <c:pt idx="33979">
                  <c:v>4.20168067226889E-3</c:v>
                </c:pt>
                <c:pt idx="33980">
                  <c:v>4.20168067226889E-3</c:v>
                </c:pt>
                <c:pt idx="33981">
                  <c:v>4.20168067226889E-3</c:v>
                </c:pt>
                <c:pt idx="33982">
                  <c:v>4.20168067226889E-3</c:v>
                </c:pt>
                <c:pt idx="33983">
                  <c:v>4.20168067226889E-3</c:v>
                </c:pt>
                <c:pt idx="33984">
                  <c:v>4.20168067226889E-3</c:v>
                </c:pt>
                <c:pt idx="33985">
                  <c:v>4.20168067226889E-3</c:v>
                </c:pt>
                <c:pt idx="33986">
                  <c:v>4.20168067226889E-3</c:v>
                </c:pt>
                <c:pt idx="33987">
                  <c:v>4.20168067226889E-3</c:v>
                </c:pt>
                <c:pt idx="33988">
                  <c:v>4.20168067226889E-3</c:v>
                </c:pt>
                <c:pt idx="33989">
                  <c:v>4.20168067226889E-3</c:v>
                </c:pt>
                <c:pt idx="33990">
                  <c:v>4.20168067226889E-3</c:v>
                </c:pt>
                <c:pt idx="33991">
                  <c:v>4.20168067226889E-3</c:v>
                </c:pt>
                <c:pt idx="33992">
                  <c:v>4.20168067226889E-3</c:v>
                </c:pt>
                <c:pt idx="33993">
                  <c:v>4.20168067226889E-3</c:v>
                </c:pt>
                <c:pt idx="33994">
                  <c:v>4.20168067226889E-3</c:v>
                </c:pt>
                <c:pt idx="33995">
                  <c:v>4.20168067226889E-3</c:v>
                </c:pt>
                <c:pt idx="33996">
                  <c:v>4.20168067226889E-3</c:v>
                </c:pt>
                <c:pt idx="33997">
                  <c:v>4.20168067226889E-3</c:v>
                </c:pt>
                <c:pt idx="33998">
                  <c:v>4.20168067226889E-3</c:v>
                </c:pt>
                <c:pt idx="33999">
                  <c:v>4.20168067226889E-3</c:v>
                </c:pt>
                <c:pt idx="34000">
                  <c:v>4.20168067226889E-3</c:v>
                </c:pt>
                <c:pt idx="34001">
                  <c:v>4.20168067226889E-3</c:v>
                </c:pt>
                <c:pt idx="34002">
                  <c:v>4.20168067226889E-3</c:v>
                </c:pt>
                <c:pt idx="34003">
                  <c:v>4.20168067226889E-3</c:v>
                </c:pt>
                <c:pt idx="34004">
                  <c:v>4.20168067226889E-3</c:v>
                </c:pt>
                <c:pt idx="34005">
                  <c:v>4.20168067226889E-3</c:v>
                </c:pt>
                <c:pt idx="34006">
                  <c:v>4.20168067226889E-3</c:v>
                </c:pt>
                <c:pt idx="34007">
                  <c:v>4.20168067226889E-3</c:v>
                </c:pt>
                <c:pt idx="34008">
                  <c:v>3.3613445378151102E-3</c:v>
                </c:pt>
                <c:pt idx="34009">
                  <c:v>3.3613445378151102E-3</c:v>
                </c:pt>
                <c:pt idx="34010">
                  <c:v>3.3613445378151102E-3</c:v>
                </c:pt>
                <c:pt idx="34011">
                  <c:v>3.3613445378151102E-3</c:v>
                </c:pt>
                <c:pt idx="34012">
                  <c:v>3.3613445378151102E-3</c:v>
                </c:pt>
                <c:pt idx="34013">
                  <c:v>3.3613445378151102E-3</c:v>
                </c:pt>
                <c:pt idx="34014">
                  <c:v>3.3613445378151102E-3</c:v>
                </c:pt>
                <c:pt idx="34015">
                  <c:v>3.3613445378151102E-3</c:v>
                </c:pt>
                <c:pt idx="34016">
                  <c:v>3.3613445378151102E-3</c:v>
                </c:pt>
                <c:pt idx="34017">
                  <c:v>3.3613445378151102E-3</c:v>
                </c:pt>
                <c:pt idx="34018">
                  <c:v>3.3613445378151102E-3</c:v>
                </c:pt>
                <c:pt idx="34019">
                  <c:v>3.3613445378151102E-3</c:v>
                </c:pt>
                <c:pt idx="34020">
                  <c:v>4.20168067226889E-3</c:v>
                </c:pt>
                <c:pt idx="34021">
                  <c:v>4.20168067226889E-3</c:v>
                </c:pt>
                <c:pt idx="34022">
                  <c:v>4.20168067226889E-3</c:v>
                </c:pt>
                <c:pt idx="34023">
                  <c:v>4.20168067226889E-3</c:v>
                </c:pt>
                <c:pt idx="34024">
                  <c:v>4.20168067226889E-3</c:v>
                </c:pt>
                <c:pt idx="34025">
                  <c:v>4.20168067226889E-3</c:v>
                </c:pt>
                <c:pt idx="34026">
                  <c:v>4.20168067226889E-3</c:v>
                </c:pt>
                <c:pt idx="34027">
                  <c:v>4.20168067226889E-3</c:v>
                </c:pt>
                <c:pt idx="34028">
                  <c:v>4.20168067226889E-3</c:v>
                </c:pt>
                <c:pt idx="34029">
                  <c:v>4.20168067226889E-3</c:v>
                </c:pt>
                <c:pt idx="34030">
                  <c:v>4.20168067226889E-3</c:v>
                </c:pt>
                <c:pt idx="34031">
                  <c:v>4.20168067226889E-3</c:v>
                </c:pt>
                <c:pt idx="34032">
                  <c:v>4.20168067226889E-3</c:v>
                </c:pt>
                <c:pt idx="34033">
                  <c:v>4.20168067226889E-3</c:v>
                </c:pt>
                <c:pt idx="34034">
                  <c:v>4.20168067226889E-3</c:v>
                </c:pt>
                <c:pt idx="34035">
                  <c:v>4.20168067226889E-3</c:v>
                </c:pt>
                <c:pt idx="34036">
                  <c:v>4.20168067226889E-3</c:v>
                </c:pt>
                <c:pt idx="34037">
                  <c:v>4.20168067226889E-3</c:v>
                </c:pt>
                <c:pt idx="34038">
                  <c:v>4.20168067226889E-3</c:v>
                </c:pt>
                <c:pt idx="34039">
                  <c:v>4.20168067226889E-3</c:v>
                </c:pt>
                <c:pt idx="34040">
                  <c:v>4.20168067226889E-3</c:v>
                </c:pt>
                <c:pt idx="34041">
                  <c:v>4.20168067226889E-3</c:v>
                </c:pt>
                <c:pt idx="34042">
                  <c:v>4.20168067226889E-3</c:v>
                </c:pt>
                <c:pt idx="34043">
                  <c:v>4.20168067226889E-3</c:v>
                </c:pt>
                <c:pt idx="34044">
                  <c:v>4.20168067226889E-3</c:v>
                </c:pt>
                <c:pt idx="34045">
                  <c:v>4.20168067226889E-3</c:v>
                </c:pt>
                <c:pt idx="34046">
                  <c:v>4.20168067226889E-3</c:v>
                </c:pt>
                <c:pt idx="34047">
                  <c:v>4.20168067226889E-3</c:v>
                </c:pt>
                <c:pt idx="34048">
                  <c:v>4.20168067226889E-3</c:v>
                </c:pt>
                <c:pt idx="34049">
                  <c:v>4.20168067226889E-3</c:v>
                </c:pt>
                <c:pt idx="34050">
                  <c:v>4.20168067226889E-3</c:v>
                </c:pt>
                <c:pt idx="34051">
                  <c:v>4.20168067226889E-3</c:v>
                </c:pt>
                <c:pt idx="34052">
                  <c:v>4.20168067226889E-3</c:v>
                </c:pt>
                <c:pt idx="34053">
                  <c:v>4.20168067226889E-3</c:v>
                </c:pt>
                <c:pt idx="34054">
                  <c:v>4.20168067226889E-3</c:v>
                </c:pt>
                <c:pt idx="34055">
                  <c:v>4.20168067226889E-3</c:v>
                </c:pt>
                <c:pt idx="34056">
                  <c:v>4.20168067226889E-3</c:v>
                </c:pt>
                <c:pt idx="34057">
                  <c:v>5.0420168067226703E-3</c:v>
                </c:pt>
                <c:pt idx="34058">
                  <c:v>4.20168067226889E-3</c:v>
                </c:pt>
                <c:pt idx="34059">
                  <c:v>4.20168067226889E-3</c:v>
                </c:pt>
                <c:pt idx="34060">
                  <c:v>4.20168067226889E-3</c:v>
                </c:pt>
                <c:pt idx="34061">
                  <c:v>4.20168067226889E-3</c:v>
                </c:pt>
                <c:pt idx="34062">
                  <c:v>4.20168067226889E-3</c:v>
                </c:pt>
                <c:pt idx="34063">
                  <c:v>4.20168067226889E-3</c:v>
                </c:pt>
                <c:pt idx="34064">
                  <c:v>4.20168067226889E-3</c:v>
                </c:pt>
                <c:pt idx="34065">
                  <c:v>4.20168067226889E-3</c:v>
                </c:pt>
                <c:pt idx="34066">
                  <c:v>4.20168067226889E-3</c:v>
                </c:pt>
                <c:pt idx="34067">
                  <c:v>4.20168067226889E-3</c:v>
                </c:pt>
                <c:pt idx="34068">
                  <c:v>4.20168067226889E-3</c:v>
                </c:pt>
                <c:pt idx="34069">
                  <c:v>4.20168067226889E-3</c:v>
                </c:pt>
                <c:pt idx="34070">
                  <c:v>4.20168067226889E-3</c:v>
                </c:pt>
                <c:pt idx="34071">
                  <c:v>4.20168067226889E-3</c:v>
                </c:pt>
                <c:pt idx="34072">
                  <c:v>4.20168067226889E-3</c:v>
                </c:pt>
                <c:pt idx="34073">
                  <c:v>4.20168067226889E-3</c:v>
                </c:pt>
                <c:pt idx="34074">
                  <c:v>4.20168067226889E-3</c:v>
                </c:pt>
                <c:pt idx="34075">
                  <c:v>4.20168067226889E-3</c:v>
                </c:pt>
                <c:pt idx="34076">
                  <c:v>4.20168067226889E-3</c:v>
                </c:pt>
                <c:pt idx="34077">
                  <c:v>4.20168067226889E-3</c:v>
                </c:pt>
                <c:pt idx="34078">
                  <c:v>4.20168067226889E-3</c:v>
                </c:pt>
                <c:pt idx="34079">
                  <c:v>4.20168067226889E-3</c:v>
                </c:pt>
                <c:pt idx="34080">
                  <c:v>4.20168067226889E-3</c:v>
                </c:pt>
                <c:pt idx="34081">
                  <c:v>4.20168067226889E-3</c:v>
                </c:pt>
                <c:pt idx="34082">
                  <c:v>4.20168067226889E-3</c:v>
                </c:pt>
                <c:pt idx="34083">
                  <c:v>4.20168067226889E-3</c:v>
                </c:pt>
                <c:pt idx="34084">
                  <c:v>4.20168067226889E-3</c:v>
                </c:pt>
                <c:pt idx="34085">
                  <c:v>4.20168067226889E-3</c:v>
                </c:pt>
                <c:pt idx="34086">
                  <c:v>4.20168067226889E-3</c:v>
                </c:pt>
                <c:pt idx="34087">
                  <c:v>4.20168067226889E-3</c:v>
                </c:pt>
                <c:pt idx="34088">
                  <c:v>4.20168067226889E-3</c:v>
                </c:pt>
                <c:pt idx="34089">
                  <c:v>4.20168067226889E-3</c:v>
                </c:pt>
                <c:pt idx="34090">
                  <c:v>4.20168067226889E-3</c:v>
                </c:pt>
                <c:pt idx="34091">
                  <c:v>4.20168067226889E-3</c:v>
                </c:pt>
                <c:pt idx="34092">
                  <c:v>4.20168067226889E-3</c:v>
                </c:pt>
                <c:pt idx="34093">
                  <c:v>4.20168067226889E-3</c:v>
                </c:pt>
                <c:pt idx="34094">
                  <c:v>4.20168067226889E-3</c:v>
                </c:pt>
                <c:pt idx="34095">
                  <c:v>4.20168067226889E-3</c:v>
                </c:pt>
                <c:pt idx="34096">
                  <c:v>4.20168067226889E-3</c:v>
                </c:pt>
                <c:pt idx="34097">
                  <c:v>3.3613445378151102E-3</c:v>
                </c:pt>
                <c:pt idx="34098">
                  <c:v>4.20168067226889E-3</c:v>
                </c:pt>
                <c:pt idx="34099">
                  <c:v>4.20168067226889E-3</c:v>
                </c:pt>
                <c:pt idx="34100">
                  <c:v>4.20168067226889E-3</c:v>
                </c:pt>
                <c:pt idx="34101">
                  <c:v>4.20168067226889E-3</c:v>
                </c:pt>
                <c:pt idx="34102">
                  <c:v>4.20168067226889E-3</c:v>
                </c:pt>
                <c:pt idx="34103">
                  <c:v>4.20168067226889E-3</c:v>
                </c:pt>
                <c:pt idx="34104">
                  <c:v>4.20168067226889E-3</c:v>
                </c:pt>
                <c:pt idx="34105">
                  <c:v>4.20168067226889E-3</c:v>
                </c:pt>
                <c:pt idx="34106">
                  <c:v>4.20168067226889E-3</c:v>
                </c:pt>
                <c:pt idx="34107">
                  <c:v>4.20168067226889E-3</c:v>
                </c:pt>
                <c:pt idx="34108">
                  <c:v>4.20168067226889E-3</c:v>
                </c:pt>
                <c:pt idx="34109">
                  <c:v>4.20168067226889E-3</c:v>
                </c:pt>
                <c:pt idx="34110">
                  <c:v>4.20168067226889E-3</c:v>
                </c:pt>
                <c:pt idx="34111">
                  <c:v>4.20168067226889E-3</c:v>
                </c:pt>
                <c:pt idx="34112">
                  <c:v>4.20168067226889E-3</c:v>
                </c:pt>
                <c:pt idx="34113">
                  <c:v>4.20168067226889E-3</c:v>
                </c:pt>
                <c:pt idx="34114">
                  <c:v>4.20168067226889E-3</c:v>
                </c:pt>
                <c:pt idx="34115">
                  <c:v>4.20168067226889E-3</c:v>
                </c:pt>
                <c:pt idx="34116">
                  <c:v>4.20168067226889E-3</c:v>
                </c:pt>
                <c:pt idx="34117">
                  <c:v>4.20168067226889E-3</c:v>
                </c:pt>
                <c:pt idx="34118">
                  <c:v>4.20168067226889E-3</c:v>
                </c:pt>
                <c:pt idx="34119">
                  <c:v>4.20168067226889E-3</c:v>
                </c:pt>
                <c:pt idx="34120">
                  <c:v>4.20168067226889E-3</c:v>
                </c:pt>
                <c:pt idx="34121">
                  <c:v>4.20168067226889E-3</c:v>
                </c:pt>
                <c:pt idx="34122">
                  <c:v>4.20168067226889E-3</c:v>
                </c:pt>
                <c:pt idx="34123">
                  <c:v>4.20168067226889E-3</c:v>
                </c:pt>
                <c:pt idx="34124">
                  <c:v>4.20168067226889E-3</c:v>
                </c:pt>
                <c:pt idx="34125">
                  <c:v>4.20168067226889E-3</c:v>
                </c:pt>
                <c:pt idx="34126">
                  <c:v>4.20168067226889E-3</c:v>
                </c:pt>
                <c:pt idx="34127">
                  <c:v>4.20168067226889E-3</c:v>
                </c:pt>
                <c:pt idx="34128">
                  <c:v>4.20168067226889E-3</c:v>
                </c:pt>
                <c:pt idx="34129">
                  <c:v>4.20168067226889E-3</c:v>
                </c:pt>
                <c:pt idx="34130">
                  <c:v>4.20168067226889E-3</c:v>
                </c:pt>
                <c:pt idx="34131">
                  <c:v>4.20168067226889E-3</c:v>
                </c:pt>
                <c:pt idx="34132">
                  <c:v>4.20168067226889E-3</c:v>
                </c:pt>
                <c:pt idx="34133">
                  <c:v>4.20168067226889E-3</c:v>
                </c:pt>
                <c:pt idx="34134">
                  <c:v>4.20168067226889E-3</c:v>
                </c:pt>
                <c:pt idx="34135">
                  <c:v>4.20168067226889E-3</c:v>
                </c:pt>
                <c:pt idx="34136">
                  <c:v>4.20168067226889E-3</c:v>
                </c:pt>
                <c:pt idx="34137">
                  <c:v>4.20168067226889E-3</c:v>
                </c:pt>
                <c:pt idx="34138">
                  <c:v>4.20168067226889E-3</c:v>
                </c:pt>
                <c:pt idx="34139">
                  <c:v>4.20168067226889E-3</c:v>
                </c:pt>
                <c:pt idx="34140">
                  <c:v>4.20168067226889E-3</c:v>
                </c:pt>
                <c:pt idx="34141">
                  <c:v>4.20168067226889E-3</c:v>
                </c:pt>
                <c:pt idx="34142">
                  <c:v>4.20168067226889E-3</c:v>
                </c:pt>
                <c:pt idx="34143">
                  <c:v>4.20168067226889E-3</c:v>
                </c:pt>
                <c:pt idx="34144">
                  <c:v>4.20168067226889E-3</c:v>
                </c:pt>
                <c:pt idx="34145">
                  <c:v>5.0420168067226703E-3</c:v>
                </c:pt>
                <c:pt idx="34146">
                  <c:v>5.0420168067226703E-3</c:v>
                </c:pt>
                <c:pt idx="34147">
                  <c:v>5.0420168067226703E-3</c:v>
                </c:pt>
                <c:pt idx="34148">
                  <c:v>5.0420168067226703E-3</c:v>
                </c:pt>
                <c:pt idx="34149">
                  <c:v>5.0420168067226703E-3</c:v>
                </c:pt>
                <c:pt idx="34150">
                  <c:v>5.0420168067226703E-3</c:v>
                </c:pt>
                <c:pt idx="34151">
                  <c:v>5.0420168067226703E-3</c:v>
                </c:pt>
                <c:pt idx="34152">
                  <c:v>5.8823529411764497E-3</c:v>
                </c:pt>
                <c:pt idx="34153">
                  <c:v>5.8823529411764497E-3</c:v>
                </c:pt>
                <c:pt idx="34154">
                  <c:v>5.8823529411764497E-3</c:v>
                </c:pt>
                <c:pt idx="34155">
                  <c:v>5.8823529411764497E-3</c:v>
                </c:pt>
                <c:pt idx="34156">
                  <c:v>5.8823529411764497E-3</c:v>
                </c:pt>
                <c:pt idx="34157">
                  <c:v>5.8823529411764497E-3</c:v>
                </c:pt>
                <c:pt idx="34158">
                  <c:v>5.8823529411764497E-3</c:v>
                </c:pt>
                <c:pt idx="34159">
                  <c:v>5.8823529411764497E-3</c:v>
                </c:pt>
                <c:pt idx="34160">
                  <c:v>5.8823529411764497E-3</c:v>
                </c:pt>
                <c:pt idx="34161">
                  <c:v>5.8823529411764497E-3</c:v>
                </c:pt>
                <c:pt idx="34162">
                  <c:v>5.8823529411764497E-3</c:v>
                </c:pt>
                <c:pt idx="34163">
                  <c:v>5.8823529411764497E-3</c:v>
                </c:pt>
                <c:pt idx="34164">
                  <c:v>5.8823529411764497E-3</c:v>
                </c:pt>
                <c:pt idx="34165">
                  <c:v>5.8823529411764497E-3</c:v>
                </c:pt>
                <c:pt idx="34166">
                  <c:v>5.8823529411764497E-3</c:v>
                </c:pt>
                <c:pt idx="34167">
                  <c:v>5.8823529411764497E-3</c:v>
                </c:pt>
                <c:pt idx="34168">
                  <c:v>5.8823529411764497E-3</c:v>
                </c:pt>
                <c:pt idx="34169">
                  <c:v>5.8823529411764497E-3</c:v>
                </c:pt>
                <c:pt idx="34170">
                  <c:v>5.8823529411764497E-3</c:v>
                </c:pt>
                <c:pt idx="34171">
                  <c:v>5.8823529411764497E-3</c:v>
                </c:pt>
                <c:pt idx="34172">
                  <c:v>5.8823529411764497E-3</c:v>
                </c:pt>
                <c:pt idx="34173">
                  <c:v>5.8823529411764497E-3</c:v>
                </c:pt>
                <c:pt idx="34174">
                  <c:v>5.8823529411764497E-3</c:v>
                </c:pt>
                <c:pt idx="34175">
                  <c:v>5.8823529411764497E-3</c:v>
                </c:pt>
                <c:pt idx="34176">
                  <c:v>5.8823529411764497E-3</c:v>
                </c:pt>
                <c:pt idx="34177">
                  <c:v>5.8823529411764497E-3</c:v>
                </c:pt>
                <c:pt idx="34178">
                  <c:v>5.8823529411764497E-3</c:v>
                </c:pt>
                <c:pt idx="34179">
                  <c:v>5.8823529411764497E-3</c:v>
                </c:pt>
                <c:pt idx="34180">
                  <c:v>5.8823529411764497E-3</c:v>
                </c:pt>
                <c:pt idx="34181">
                  <c:v>5.8823529411764497E-3</c:v>
                </c:pt>
                <c:pt idx="34182">
                  <c:v>5.8823529411764497E-3</c:v>
                </c:pt>
                <c:pt idx="34183">
                  <c:v>5.8823529411764497E-3</c:v>
                </c:pt>
                <c:pt idx="34184">
                  <c:v>5.8823529411764497E-3</c:v>
                </c:pt>
                <c:pt idx="34185">
                  <c:v>5.8823529411764497E-3</c:v>
                </c:pt>
                <c:pt idx="34186">
                  <c:v>5.8823529411764497E-3</c:v>
                </c:pt>
                <c:pt idx="34187">
                  <c:v>5.8823529411764497E-3</c:v>
                </c:pt>
                <c:pt idx="34188">
                  <c:v>5.8823529411764497E-3</c:v>
                </c:pt>
                <c:pt idx="34189">
                  <c:v>5.8823529411764497E-3</c:v>
                </c:pt>
                <c:pt idx="34190">
                  <c:v>5.8823529411764497E-3</c:v>
                </c:pt>
                <c:pt idx="34191">
                  <c:v>5.8823529411764497E-3</c:v>
                </c:pt>
                <c:pt idx="34192">
                  <c:v>5.8823529411764497E-3</c:v>
                </c:pt>
                <c:pt idx="34193">
                  <c:v>5.8823529411764497E-3</c:v>
                </c:pt>
                <c:pt idx="34194">
                  <c:v>5.8823529411764497E-3</c:v>
                </c:pt>
                <c:pt idx="34195">
                  <c:v>5.8823529411764497E-3</c:v>
                </c:pt>
                <c:pt idx="34196">
                  <c:v>5.8823529411764497E-3</c:v>
                </c:pt>
                <c:pt idx="34197">
                  <c:v>5.8823529411764497E-3</c:v>
                </c:pt>
                <c:pt idx="34198">
                  <c:v>5.8823529411764497E-3</c:v>
                </c:pt>
                <c:pt idx="34199">
                  <c:v>5.8823529411764497E-3</c:v>
                </c:pt>
                <c:pt idx="34200">
                  <c:v>5.8823529411764497E-3</c:v>
                </c:pt>
                <c:pt idx="34201">
                  <c:v>5.8823529411764497E-3</c:v>
                </c:pt>
                <c:pt idx="34202">
                  <c:v>5.8823529411764497E-3</c:v>
                </c:pt>
                <c:pt idx="34203">
                  <c:v>5.8823529411764497E-3</c:v>
                </c:pt>
                <c:pt idx="34204">
                  <c:v>5.8823529411764497E-3</c:v>
                </c:pt>
                <c:pt idx="34205">
                  <c:v>5.8823529411764497E-3</c:v>
                </c:pt>
                <c:pt idx="34206">
                  <c:v>5.8823529411764497E-3</c:v>
                </c:pt>
                <c:pt idx="34207">
                  <c:v>5.8823529411764497E-3</c:v>
                </c:pt>
                <c:pt idx="34208">
                  <c:v>5.8823529411764497E-3</c:v>
                </c:pt>
                <c:pt idx="34209">
                  <c:v>5.8823529411764497E-3</c:v>
                </c:pt>
                <c:pt idx="34210">
                  <c:v>5.8823529411764497E-3</c:v>
                </c:pt>
                <c:pt idx="34211">
                  <c:v>5.8823529411764497E-3</c:v>
                </c:pt>
                <c:pt idx="34212">
                  <c:v>5.8823529411764497E-3</c:v>
                </c:pt>
                <c:pt idx="34213">
                  <c:v>5.8823529411764497E-3</c:v>
                </c:pt>
                <c:pt idx="34214">
                  <c:v>5.8823529411764497E-3</c:v>
                </c:pt>
                <c:pt idx="34215">
                  <c:v>5.8823529411764497E-3</c:v>
                </c:pt>
                <c:pt idx="34216">
                  <c:v>5.8823529411764497E-3</c:v>
                </c:pt>
                <c:pt idx="34217">
                  <c:v>5.8823529411764497E-3</c:v>
                </c:pt>
                <c:pt idx="34218">
                  <c:v>5.8823529411764497E-3</c:v>
                </c:pt>
                <c:pt idx="34219">
                  <c:v>5.8823529411764497E-3</c:v>
                </c:pt>
                <c:pt idx="34220">
                  <c:v>5.8823529411764497E-3</c:v>
                </c:pt>
                <c:pt idx="34221">
                  <c:v>5.8823529411764497E-3</c:v>
                </c:pt>
                <c:pt idx="34222">
                  <c:v>5.8823529411764497E-3</c:v>
                </c:pt>
                <c:pt idx="34223">
                  <c:v>5.8823529411764497E-3</c:v>
                </c:pt>
                <c:pt idx="34224">
                  <c:v>5.8823529411764497E-3</c:v>
                </c:pt>
                <c:pt idx="34225">
                  <c:v>5.8823529411764497E-3</c:v>
                </c:pt>
                <c:pt idx="34226">
                  <c:v>5.8823529411764497E-3</c:v>
                </c:pt>
                <c:pt idx="34227">
                  <c:v>5.8823529411764497E-3</c:v>
                </c:pt>
                <c:pt idx="34228">
                  <c:v>5.8823529411764497E-3</c:v>
                </c:pt>
                <c:pt idx="34229">
                  <c:v>5.8823529411764497E-3</c:v>
                </c:pt>
                <c:pt idx="34230">
                  <c:v>5.8823529411764497E-3</c:v>
                </c:pt>
                <c:pt idx="34231">
                  <c:v>5.8823529411764497E-3</c:v>
                </c:pt>
                <c:pt idx="34232">
                  <c:v>5.8823529411764497E-3</c:v>
                </c:pt>
                <c:pt idx="34233">
                  <c:v>5.8823529411764497E-3</c:v>
                </c:pt>
                <c:pt idx="34234">
                  <c:v>5.8823529411764497E-3</c:v>
                </c:pt>
                <c:pt idx="34235">
                  <c:v>5.8823529411764497E-3</c:v>
                </c:pt>
                <c:pt idx="34236">
                  <c:v>5.8823529411764497E-3</c:v>
                </c:pt>
                <c:pt idx="34237">
                  <c:v>5.8823529411764497E-3</c:v>
                </c:pt>
                <c:pt idx="34238">
                  <c:v>5.8823529411764497E-3</c:v>
                </c:pt>
                <c:pt idx="34239">
                  <c:v>5.8823529411764497E-3</c:v>
                </c:pt>
                <c:pt idx="34240">
                  <c:v>5.8823529411764497E-3</c:v>
                </c:pt>
                <c:pt idx="34241">
                  <c:v>5.8823529411764497E-3</c:v>
                </c:pt>
                <c:pt idx="34242">
                  <c:v>5.8823529411764497E-3</c:v>
                </c:pt>
                <c:pt idx="34243">
                  <c:v>5.8823529411764497E-3</c:v>
                </c:pt>
                <c:pt idx="34244">
                  <c:v>5.8823529411764497E-3</c:v>
                </c:pt>
                <c:pt idx="34245">
                  <c:v>5.8823529411764497E-3</c:v>
                </c:pt>
                <c:pt idx="34246">
                  <c:v>5.8823529411764497E-3</c:v>
                </c:pt>
                <c:pt idx="34247">
                  <c:v>5.8823529411764497E-3</c:v>
                </c:pt>
                <c:pt idx="34248">
                  <c:v>5.8823529411764497E-3</c:v>
                </c:pt>
                <c:pt idx="34249">
                  <c:v>5.8823529411764497E-3</c:v>
                </c:pt>
                <c:pt idx="34250">
                  <c:v>5.8823529411764497E-3</c:v>
                </c:pt>
                <c:pt idx="34251">
                  <c:v>5.8823529411764497E-3</c:v>
                </c:pt>
                <c:pt idx="34252">
                  <c:v>5.8823529411764497E-3</c:v>
                </c:pt>
                <c:pt idx="34253">
                  <c:v>5.8823529411764497E-3</c:v>
                </c:pt>
                <c:pt idx="34254">
                  <c:v>5.8823529411764497E-3</c:v>
                </c:pt>
                <c:pt idx="34255">
                  <c:v>5.8823529411764497E-3</c:v>
                </c:pt>
                <c:pt idx="34256">
                  <c:v>5.8823529411764497E-3</c:v>
                </c:pt>
                <c:pt idx="34257">
                  <c:v>5.8823529411764497E-3</c:v>
                </c:pt>
                <c:pt idx="34258">
                  <c:v>5.8823529411764497E-3</c:v>
                </c:pt>
                <c:pt idx="34259">
                  <c:v>5.8823529411764497E-3</c:v>
                </c:pt>
                <c:pt idx="34260">
                  <c:v>5.8823529411764497E-3</c:v>
                </c:pt>
                <c:pt idx="34261">
                  <c:v>5.8823529411764497E-3</c:v>
                </c:pt>
                <c:pt idx="34262">
                  <c:v>5.8823529411764497E-3</c:v>
                </c:pt>
                <c:pt idx="34263">
                  <c:v>5.8823529411764497E-3</c:v>
                </c:pt>
                <c:pt idx="34264">
                  <c:v>5.8823529411764497E-3</c:v>
                </c:pt>
                <c:pt idx="34265">
                  <c:v>5.8823529411764497E-3</c:v>
                </c:pt>
                <c:pt idx="34266">
                  <c:v>5.8823529411764497E-3</c:v>
                </c:pt>
                <c:pt idx="34267">
                  <c:v>5.8823529411764497E-3</c:v>
                </c:pt>
                <c:pt idx="34268">
                  <c:v>5.8823529411764497E-3</c:v>
                </c:pt>
                <c:pt idx="34269">
                  <c:v>5.8823529411764497E-3</c:v>
                </c:pt>
                <c:pt idx="34270">
                  <c:v>5.8823529411764497E-3</c:v>
                </c:pt>
                <c:pt idx="34271">
                  <c:v>5.8823529411764497E-3</c:v>
                </c:pt>
                <c:pt idx="34272">
                  <c:v>5.8823529411764497E-3</c:v>
                </c:pt>
                <c:pt idx="34273">
                  <c:v>5.8823529411764497E-3</c:v>
                </c:pt>
                <c:pt idx="34274">
                  <c:v>5.8823529411764497E-3</c:v>
                </c:pt>
                <c:pt idx="34275">
                  <c:v>5.8823529411764497E-3</c:v>
                </c:pt>
                <c:pt idx="34276">
                  <c:v>5.8823529411764497E-3</c:v>
                </c:pt>
                <c:pt idx="34277">
                  <c:v>5.8823529411764497E-3</c:v>
                </c:pt>
                <c:pt idx="34278">
                  <c:v>5.8823529411764497E-3</c:v>
                </c:pt>
                <c:pt idx="34279">
                  <c:v>5.8823529411764497E-3</c:v>
                </c:pt>
                <c:pt idx="34280">
                  <c:v>5.8823529411764497E-3</c:v>
                </c:pt>
                <c:pt idx="34281">
                  <c:v>6.7226890756302204E-3</c:v>
                </c:pt>
                <c:pt idx="34282">
                  <c:v>6.7226890756302204E-3</c:v>
                </c:pt>
                <c:pt idx="34283">
                  <c:v>6.7226890756302204E-3</c:v>
                </c:pt>
                <c:pt idx="34284">
                  <c:v>7.5630252100839998E-3</c:v>
                </c:pt>
                <c:pt idx="34285">
                  <c:v>7.5630252100839998E-3</c:v>
                </c:pt>
                <c:pt idx="34286">
                  <c:v>7.5630252100839998E-3</c:v>
                </c:pt>
                <c:pt idx="34287">
                  <c:v>7.5630252100839998E-3</c:v>
                </c:pt>
                <c:pt idx="34288">
                  <c:v>7.5630252100839998E-3</c:v>
                </c:pt>
                <c:pt idx="34289">
                  <c:v>7.5630252100839998E-3</c:v>
                </c:pt>
                <c:pt idx="34290">
                  <c:v>7.5630252100839998E-3</c:v>
                </c:pt>
                <c:pt idx="34291">
                  <c:v>7.5630252100839998E-3</c:v>
                </c:pt>
                <c:pt idx="34292">
                  <c:v>7.5630252100839998E-3</c:v>
                </c:pt>
                <c:pt idx="34293">
                  <c:v>7.5630252100839998E-3</c:v>
                </c:pt>
                <c:pt idx="34294">
                  <c:v>7.5630252100839998E-3</c:v>
                </c:pt>
                <c:pt idx="34295">
                  <c:v>7.5630252100839998E-3</c:v>
                </c:pt>
                <c:pt idx="34296">
                  <c:v>7.5630252100839998E-3</c:v>
                </c:pt>
                <c:pt idx="34297">
                  <c:v>7.5630252100839998E-3</c:v>
                </c:pt>
                <c:pt idx="34298">
                  <c:v>7.5630252100839998E-3</c:v>
                </c:pt>
                <c:pt idx="34299">
                  <c:v>7.5630252100839998E-3</c:v>
                </c:pt>
                <c:pt idx="34300">
                  <c:v>7.5630252100839998E-3</c:v>
                </c:pt>
                <c:pt idx="34301">
                  <c:v>7.5630252100839998E-3</c:v>
                </c:pt>
                <c:pt idx="34302">
                  <c:v>7.5630252100839998E-3</c:v>
                </c:pt>
                <c:pt idx="34303">
                  <c:v>7.5630252100839998E-3</c:v>
                </c:pt>
                <c:pt idx="34304">
                  <c:v>7.5630252100839998E-3</c:v>
                </c:pt>
                <c:pt idx="34305">
                  <c:v>7.5630252100839998E-3</c:v>
                </c:pt>
                <c:pt idx="34306">
                  <c:v>7.5630252100839998E-3</c:v>
                </c:pt>
                <c:pt idx="34307">
                  <c:v>7.5630252100839998E-3</c:v>
                </c:pt>
                <c:pt idx="34308">
                  <c:v>7.5630252100839998E-3</c:v>
                </c:pt>
                <c:pt idx="34309">
                  <c:v>7.5630252100839998E-3</c:v>
                </c:pt>
                <c:pt idx="34310">
                  <c:v>7.5630252100839998E-3</c:v>
                </c:pt>
                <c:pt idx="34311">
                  <c:v>7.5630252100839998E-3</c:v>
                </c:pt>
                <c:pt idx="34312">
                  <c:v>7.5630252100839998E-3</c:v>
                </c:pt>
                <c:pt idx="34313">
                  <c:v>7.5630252100839998E-3</c:v>
                </c:pt>
                <c:pt idx="34314">
                  <c:v>7.5630252100839998E-3</c:v>
                </c:pt>
                <c:pt idx="34315">
                  <c:v>7.5630252100839998E-3</c:v>
                </c:pt>
                <c:pt idx="34316">
                  <c:v>7.5630252100839998E-3</c:v>
                </c:pt>
                <c:pt idx="34317">
                  <c:v>7.5630252100839998E-3</c:v>
                </c:pt>
                <c:pt idx="34318">
                  <c:v>7.5630252100839998E-3</c:v>
                </c:pt>
                <c:pt idx="34319">
                  <c:v>7.5630252100839998E-3</c:v>
                </c:pt>
                <c:pt idx="34320">
                  <c:v>7.5630252100839998E-3</c:v>
                </c:pt>
                <c:pt idx="34321">
                  <c:v>7.5630252100839998E-3</c:v>
                </c:pt>
                <c:pt idx="34322">
                  <c:v>7.5630252100839998E-3</c:v>
                </c:pt>
                <c:pt idx="34323">
                  <c:v>7.5630252100839998E-3</c:v>
                </c:pt>
                <c:pt idx="34324">
                  <c:v>7.5630252100839998E-3</c:v>
                </c:pt>
                <c:pt idx="34325">
                  <c:v>7.5630252100839998E-3</c:v>
                </c:pt>
                <c:pt idx="34326">
                  <c:v>7.5630252100839998E-3</c:v>
                </c:pt>
                <c:pt idx="34327">
                  <c:v>7.5630252100839998E-3</c:v>
                </c:pt>
                <c:pt idx="34328">
                  <c:v>7.5630252100839998E-3</c:v>
                </c:pt>
                <c:pt idx="34329">
                  <c:v>7.5630252100839998E-3</c:v>
                </c:pt>
                <c:pt idx="34330">
                  <c:v>8.4033613445377801E-3</c:v>
                </c:pt>
                <c:pt idx="34331">
                  <c:v>8.4033613445377801E-3</c:v>
                </c:pt>
                <c:pt idx="34332">
                  <c:v>8.4033613445377801E-3</c:v>
                </c:pt>
                <c:pt idx="34333">
                  <c:v>8.4033613445377801E-3</c:v>
                </c:pt>
                <c:pt idx="34334">
                  <c:v>8.4033613445377801E-3</c:v>
                </c:pt>
                <c:pt idx="34335">
                  <c:v>8.4033613445377801E-3</c:v>
                </c:pt>
                <c:pt idx="34336">
                  <c:v>8.4033613445377801E-3</c:v>
                </c:pt>
                <c:pt idx="34337">
                  <c:v>8.4033613445377801E-3</c:v>
                </c:pt>
                <c:pt idx="34338">
                  <c:v>8.4033613445377801E-3</c:v>
                </c:pt>
                <c:pt idx="34339">
                  <c:v>8.4033613445377801E-3</c:v>
                </c:pt>
                <c:pt idx="34340">
                  <c:v>8.4033613445377801E-3</c:v>
                </c:pt>
                <c:pt idx="34341">
                  <c:v>8.4033613445377801E-3</c:v>
                </c:pt>
                <c:pt idx="34342">
                  <c:v>8.4033613445377801E-3</c:v>
                </c:pt>
                <c:pt idx="34343">
                  <c:v>8.4033613445377801E-3</c:v>
                </c:pt>
                <c:pt idx="34344">
                  <c:v>8.4033613445377801E-3</c:v>
                </c:pt>
                <c:pt idx="34345">
                  <c:v>8.4033613445377801E-3</c:v>
                </c:pt>
                <c:pt idx="34346">
                  <c:v>8.4033613445377801E-3</c:v>
                </c:pt>
                <c:pt idx="34347">
                  <c:v>8.4033613445377801E-3</c:v>
                </c:pt>
                <c:pt idx="34348">
                  <c:v>8.4033613445377801E-3</c:v>
                </c:pt>
                <c:pt idx="34349">
                  <c:v>8.4033613445377801E-3</c:v>
                </c:pt>
                <c:pt idx="34350">
                  <c:v>8.4033613445377801E-3</c:v>
                </c:pt>
                <c:pt idx="34351">
                  <c:v>8.4033613445377801E-3</c:v>
                </c:pt>
                <c:pt idx="34352">
                  <c:v>8.4033613445377801E-3</c:v>
                </c:pt>
                <c:pt idx="34353">
                  <c:v>8.4033613445377801E-3</c:v>
                </c:pt>
                <c:pt idx="34354">
                  <c:v>8.4033613445377801E-3</c:v>
                </c:pt>
                <c:pt idx="34355">
                  <c:v>8.4033613445377801E-3</c:v>
                </c:pt>
                <c:pt idx="34356">
                  <c:v>8.4033613445377801E-3</c:v>
                </c:pt>
                <c:pt idx="34357">
                  <c:v>8.4033613445377801E-3</c:v>
                </c:pt>
                <c:pt idx="34358">
                  <c:v>8.4033613445377801E-3</c:v>
                </c:pt>
                <c:pt idx="34359">
                  <c:v>8.4033613445377801E-3</c:v>
                </c:pt>
                <c:pt idx="34360">
                  <c:v>8.4033613445377801E-3</c:v>
                </c:pt>
                <c:pt idx="34361">
                  <c:v>8.4033613445377801E-3</c:v>
                </c:pt>
                <c:pt idx="34362">
                  <c:v>8.4033613445377801E-3</c:v>
                </c:pt>
                <c:pt idx="34363">
                  <c:v>8.4033613445377801E-3</c:v>
                </c:pt>
                <c:pt idx="34364">
                  <c:v>8.4033613445377801E-3</c:v>
                </c:pt>
                <c:pt idx="34365">
                  <c:v>8.4033613445377801E-3</c:v>
                </c:pt>
                <c:pt idx="34366">
                  <c:v>8.4033613445377801E-3</c:v>
                </c:pt>
                <c:pt idx="34367">
                  <c:v>8.4033613445377801E-3</c:v>
                </c:pt>
                <c:pt idx="34368">
                  <c:v>8.4033613445377801E-3</c:v>
                </c:pt>
                <c:pt idx="34369">
                  <c:v>8.4033613445377801E-3</c:v>
                </c:pt>
                <c:pt idx="34370">
                  <c:v>8.4033613445377801E-3</c:v>
                </c:pt>
                <c:pt idx="34371">
                  <c:v>7.5630252100839998E-3</c:v>
                </c:pt>
                <c:pt idx="34372">
                  <c:v>7.5630252100839998E-3</c:v>
                </c:pt>
                <c:pt idx="34373">
                  <c:v>7.5630252100839998E-3</c:v>
                </c:pt>
                <c:pt idx="34374">
                  <c:v>7.5630252100839998E-3</c:v>
                </c:pt>
                <c:pt idx="34375">
                  <c:v>7.5630252100839998E-3</c:v>
                </c:pt>
                <c:pt idx="34376">
                  <c:v>7.5630252100839998E-3</c:v>
                </c:pt>
                <c:pt idx="34377">
                  <c:v>7.5630252100839998E-3</c:v>
                </c:pt>
                <c:pt idx="34378">
                  <c:v>7.5630252100839998E-3</c:v>
                </c:pt>
                <c:pt idx="34379">
                  <c:v>7.5630252100839998E-3</c:v>
                </c:pt>
                <c:pt idx="34380">
                  <c:v>7.5630252100839998E-3</c:v>
                </c:pt>
                <c:pt idx="34381">
                  <c:v>7.5630252100839998E-3</c:v>
                </c:pt>
                <c:pt idx="34382">
                  <c:v>7.5630252100839998E-3</c:v>
                </c:pt>
                <c:pt idx="34383">
                  <c:v>7.5630252100839998E-3</c:v>
                </c:pt>
                <c:pt idx="34384">
                  <c:v>7.5630252100839998E-3</c:v>
                </c:pt>
                <c:pt idx="34385">
                  <c:v>7.5630252100839998E-3</c:v>
                </c:pt>
                <c:pt idx="34386">
                  <c:v>7.5630252100839998E-3</c:v>
                </c:pt>
                <c:pt idx="34387">
                  <c:v>7.5630252100839998E-3</c:v>
                </c:pt>
                <c:pt idx="34388">
                  <c:v>7.5630252100839998E-3</c:v>
                </c:pt>
                <c:pt idx="34389">
                  <c:v>7.5630252100839998E-3</c:v>
                </c:pt>
                <c:pt idx="34390">
                  <c:v>7.5630252100839998E-3</c:v>
                </c:pt>
                <c:pt idx="34391">
                  <c:v>7.5630252100839998E-3</c:v>
                </c:pt>
                <c:pt idx="34392">
                  <c:v>7.5630252100839998E-3</c:v>
                </c:pt>
                <c:pt idx="34393">
                  <c:v>7.5630252100839998E-3</c:v>
                </c:pt>
                <c:pt idx="34394">
                  <c:v>7.5630252100839998E-3</c:v>
                </c:pt>
                <c:pt idx="34395">
                  <c:v>7.5630252100839998E-3</c:v>
                </c:pt>
                <c:pt idx="34396">
                  <c:v>7.5630252100839998E-3</c:v>
                </c:pt>
                <c:pt idx="34397">
                  <c:v>7.5630252100839998E-3</c:v>
                </c:pt>
                <c:pt idx="34398">
                  <c:v>7.5630252100839998E-3</c:v>
                </c:pt>
                <c:pt idx="34399">
                  <c:v>7.5630252100839998E-3</c:v>
                </c:pt>
                <c:pt idx="34400">
                  <c:v>7.5630252100839998E-3</c:v>
                </c:pt>
                <c:pt idx="34401">
                  <c:v>7.5630252100839998E-3</c:v>
                </c:pt>
                <c:pt idx="34402">
                  <c:v>7.5630252100839998E-3</c:v>
                </c:pt>
                <c:pt idx="34403">
                  <c:v>7.5630252100839998E-3</c:v>
                </c:pt>
                <c:pt idx="34404">
                  <c:v>7.5630252100839998E-3</c:v>
                </c:pt>
                <c:pt idx="34405">
                  <c:v>7.5630252100839998E-3</c:v>
                </c:pt>
                <c:pt idx="34406">
                  <c:v>7.5630252100839998E-3</c:v>
                </c:pt>
                <c:pt idx="34407">
                  <c:v>7.5630252100839998E-3</c:v>
                </c:pt>
                <c:pt idx="34408">
                  <c:v>7.5630252100839998E-3</c:v>
                </c:pt>
                <c:pt idx="34409">
                  <c:v>7.5630252100839998E-3</c:v>
                </c:pt>
                <c:pt idx="34410">
                  <c:v>7.5630252100839998E-3</c:v>
                </c:pt>
                <c:pt idx="34411">
                  <c:v>7.5630252100839998E-3</c:v>
                </c:pt>
                <c:pt idx="34412">
                  <c:v>7.5630252100839998E-3</c:v>
                </c:pt>
                <c:pt idx="34413">
                  <c:v>7.5630252100839998E-3</c:v>
                </c:pt>
                <c:pt idx="34414">
                  <c:v>7.5630252100839998E-3</c:v>
                </c:pt>
                <c:pt idx="34415">
                  <c:v>7.5630252100839998E-3</c:v>
                </c:pt>
                <c:pt idx="34416">
                  <c:v>7.5630252100839998E-3</c:v>
                </c:pt>
                <c:pt idx="34417">
                  <c:v>7.5630252100839998E-3</c:v>
                </c:pt>
                <c:pt idx="34418">
                  <c:v>7.5630252100839998E-3</c:v>
                </c:pt>
                <c:pt idx="34419">
                  <c:v>7.5630252100839998E-3</c:v>
                </c:pt>
                <c:pt idx="34420">
                  <c:v>7.5630252100839998E-3</c:v>
                </c:pt>
                <c:pt idx="34421">
                  <c:v>7.5630252100839998E-3</c:v>
                </c:pt>
                <c:pt idx="34422">
                  <c:v>7.5630252100839998E-3</c:v>
                </c:pt>
                <c:pt idx="34423">
                  <c:v>7.5630252100839998E-3</c:v>
                </c:pt>
                <c:pt idx="34424">
                  <c:v>7.5630252100839998E-3</c:v>
                </c:pt>
                <c:pt idx="34425">
                  <c:v>7.5630252100839998E-3</c:v>
                </c:pt>
                <c:pt idx="34426">
                  <c:v>7.5630252100839998E-3</c:v>
                </c:pt>
                <c:pt idx="34427">
                  <c:v>7.5630252100839998E-3</c:v>
                </c:pt>
                <c:pt idx="34428">
                  <c:v>7.5630252100839998E-3</c:v>
                </c:pt>
                <c:pt idx="34429">
                  <c:v>7.5630252100839998E-3</c:v>
                </c:pt>
                <c:pt idx="34430">
                  <c:v>7.5630252100839998E-3</c:v>
                </c:pt>
                <c:pt idx="34431">
                  <c:v>7.5630252100839998E-3</c:v>
                </c:pt>
                <c:pt idx="34432">
                  <c:v>7.5630252100839998E-3</c:v>
                </c:pt>
                <c:pt idx="34433">
                  <c:v>7.5630252100839998E-3</c:v>
                </c:pt>
                <c:pt idx="34434">
                  <c:v>7.5630252100839998E-3</c:v>
                </c:pt>
                <c:pt idx="34435">
                  <c:v>7.5630252100839998E-3</c:v>
                </c:pt>
                <c:pt idx="34436">
                  <c:v>7.5630252100839998E-3</c:v>
                </c:pt>
                <c:pt idx="34437">
                  <c:v>7.5630252100839998E-3</c:v>
                </c:pt>
                <c:pt idx="34438">
                  <c:v>7.5630252100839998E-3</c:v>
                </c:pt>
                <c:pt idx="34439">
                  <c:v>7.5630252100839998E-3</c:v>
                </c:pt>
                <c:pt idx="34440">
                  <c:v>7.5630252100839998E-3</c:v>
                </c:pt>
                <c:pt idx="34441">
                  <c:v>7.5630252100839998E-3</c:v>
                </c:pt>
                <c:pt idx="34442">
                  <c:v>7.5630252100839998E-3</c:v>
                </c:pt>
                <c:pt idx="34443">
                  <c:v>7.5630252100839998E-3</c:v>
                </c:pt>
                <c:pt idx="34444">
                  <c:v>7.5630252100839998E-3</c:v>
                </c:pt>
                <c:pt idx="34445">
                  <c:v>7.5630252100839998E-3</c:v>
                </c:pt>
                <c:pt idx="34446">
                  <c:v>7.5630252100839998E-3</c:v>
                </c:pt>
                <c:pt idx="34447">
                  <c:v>7.5630252100839998E-3</c:v>
                </c:pt>
                <c:pt idx="34448">
                  <c:v>7.5630252100839998E-3</c:v>
                </c:pt>
                <c:pt idx="34449">
                  <c:v>7.5630252100839998E-3</c:v>
                </c:pt>
                <c:pt idx="34450">
                  <c:v>7.5630252100839998E-3</c:v>
                </c:pt>
                <c:pt idx="34451">
                  <c:v>7.5630252100839998E-3</c:v>
                </c:pt>
                <c:pt idx="34452">
                  <c:v>7.5630252100839998E-3</c:v>
                </c:pt>
                <c:pt idx="34453">
                  <c:v>7.5630252100839998E-3</c:v>
                </c:pt>
                <c:pt idx="34454">
                  <c:v>7.5630252100839998E-3</c:v>
                </c:pt>
                <c:pt idx="34455">
                  <c:v>7.5630252100839998E-3</c:v>
                </c:pt>
                <c:pt idx="34456">
                  <c:v>7.5630252100839998E-3</c:v>
                </c:pt>
                <c:pt idx="34457">
                  <c:v>7.5630252100839998E-3</c:v>
                </c:pt>
                <c:pt idx="34458">
                  <c:v>7.5630252100839998E-3</c:v>
                </c:pt>
                <c:pt idx="34459">
                  <c:v>7.5630252100839998E-3</c:v>
                </c:pt>
                <c:pt idx="34460">
                  <c:v>7.5630252100839998E-3</c:v>
                </c:pt>
                <c:pt idx="34461">
                  <c:v>7.5630252100839998E-3</c:v>
                </c:pt>
                <c:pt idx="34462">
                  <c:v>7.5630252100839998E-3</c:v>
                </c:pt>
                <c:pt idx="34463">
                  <c:v>6.7226890756302204E-3</c:v>
                </c:pt>
                <c:pt idx="34464">
                  <c:v>6.7226890756302204E-3</c:v>
                </c:pt>
                <c:pt idx="34465">
                  <c:v>6.7226890756302204E-3</c:v>
                </c:pt>
                <c:pt idx="34466">
                  <c:v>6.7226890756302204E-3</c:v>
                </c:pt>
                <c:pt idx="34467">
                  <c:v>6.7226890756302204E-3</c:v>
                </c:pt>
                <c:pt idx="34468">
                  <c:v>6.7226890756302204E-3</c:v>
                </c:pt>
                <c:pt idx="34469">
                  <c:v>6.7226890756302204E-3</c:v>
                </c:pt>
                <c:pt idx="34470">
                  <c:v>6.7226890756302204E-3</c:v>
                </c:pt>
                <c:pt idx="34471">
                  <c:v>6.7226890756302204E-3</c:v>
                </c:pt>
                <c:pt idx="34472">
                  <c:v>6.7226890756302204E-3</c:v>
                </c:pt>
                <c:pt idx="34473">
                  <c:v>6.7226890756302204E-3</c:v>
                </c:pt>
                <c:pt idx="34474">
                  <c:v>6.7226890756302204E-3</c:v>
                </c:pt>
                <c:pt idx="34475">
                  <c:v>6.7226890756302204E-3</c:v>
                </c:pt>
                <c:pt idx="34476">
                  <c:v>6.7226890756302204E-3</c:v>
                </c:pt>
                <c:pt idx="34477">
                  <c:v>6.7226890756302204E-3</c:v>
                </c:pt>
                <c:pt idx="34478">
                  <c:v>6.7226890756302204E-3</c:v>
                </c:pt>
                <c:pt idx="34479">
                  <c:v>6.7226890756302204E-3</c:v>
                </c:pt>
                <c:pt idx="34480">
                  <c:v>6.7226890756302204E-3</c:v>
                </c:pt>
                <c:pt idx="34481">
                  <c:v>6.7226890756302204E-3</c:v>
                </c:pt>
                <c:pt idx="34482">
                  <c:v>6.7226890756302204E-3</c:v>
                </c:pt>
                <c:pt idx="34483">
                  <c:v>6.7226890756302204E-3</c:v>
                </c:pt>
                <c:pt idx="34484">
                  <c:v>6.7226890756302204E-3</c:v>
                </c:pt>
                <c:pt idx="34485">
                  <c:v>6.7226890756302204E-3</c:v>
                </c:pt>
                <c:pt idx="34486">
                  <c:v>6.7226890756302204E-3</c:v>
                </c:pt>
                <c:pt idx="34487">
                  <c:v>6.7226890756302204E-3</c:v>
                </c:pt>
                <c:pt idx="34488">
                  <c:v>6.7226890756302204E-3</c:v>
                </c:pt>
                <c:pt idx="34489">
                  <c:v>6.7226890756302204E-3</c:v>
                </c:pt>
                <c:pt idx="34490">
                  <c:v>6.7226890756302204E-3</c:v>
                </c:pt>
                <c:pt idx="34491">
                  <c:v>6.7226890756302204E-3</c:v>
                </c:pt>
                <c:pt idx="34492">
                  <c:v>6.7226890756302204E-3</c:v>
                </c:pt>
                <c:pt idx="34493">
                  <c:v>6.7226890756302204E-3</c:v>
                </c:pt>
                <c:pt idx="34494">
                  <c:v>6.7226890756302204E-3</c:v>
                </c:pt>
                <c:pt idx="34495">
                  <c:v>6.7226890756302204E-3</c:v>
                </c:pt>
                <c:pt idx="34496">
                  <c:v>6.7226890756302204E-3</c:v>
                </c:pt>
                <c:pt idx="34497">
                  <c:v>6.7226890756302204E-3</c:v>
                </c:pt>
                <c:pt idx="34498">
                  <c:v>6.7226890756302204E-3</c:v>
                </c:pt>
                <c:pt idx="34499">
                  <c:v>6.7226890756302204E-3</c:v>
                </c:pt>
                <c:pt idx="34500">
                  <c:v>6.7226890756302204E-3</c:v>
                </c:pt>
                <c:pt idx="34501">
                  <c:v>6.7226890756302204E-3</c:v>
                </c:pt>
                <c:pt idx="34502">
                  <c:v>6.7226890756302204E-3</c:v>
                </c:pt>
                <c:pt idx="34503">
                  <c:v>6.7226890756302204E-3</c:v>
                </c:pt>
                <c:pt idx="34504">
                  <c:v>6.7226890756302204E-3</c:v>
                </c:pt>
                <c:pt idx="34505">
                  <c:v>6.7226890756302204E-3</c:v>
                </c:pt>
                <c:pt idx="34506">
                  <c:v>6.7226890756302204E-3</c:v>
                </c:pt>
                <c:pt idx="34507">
                  <c:v>6.7226890756302204E-3</c:v>
                </c:pt>
                <c:pt idx="34508">
                  <c:v>7.5630252100839998E-3</c:v>
                </c:pt>
                <c:pt idx="34509">
                  <c:v>7.5630252100839998E-3</c:v>
                </c:pt>
                <c:pt idx="34510">
                  <c:v>7.5630252100839998E-3</c:v>
                </c:pt>
                <c:pt idx="34511">
                  <c:v>7.5630252100839998E-3</c:v>
                </c:pt>
                <c:pt idx="34512">
                  <c:v>7.5630252100839998E-3</c:v>
                </c:pt>
                <c:pt idx="34513">
                  <c:v>7.5630252100839998E-3</c:v>
                </c:pt>
                <c:pt idx="34514">
                  <c:v>7.5630252100839998E-3</c:v>
                </c:pt>
                <c:pt idx="34515">
                  <c:v>7.5630252100839998E-3</c:v>
                </c:pt>
                <c:pt idx="34516">
                  <c:v>7.5630252100839998E-3</c:v>
                </c:pt>
                <c:pt idx="34517">
                  <c:v>7.5630252100839998E-3</c:v>
                </c:pt>
                <c:pt idx="34518">
                  <c:v>7.5630252100839998E-3</c:v>
                </c:pt>
                <c:pt idx="34519">
                  <c:v>7.5630252100839998E-3</c:v>
                </c:pt>
                <c:pt idx="34520">
                  <c:v>7.5630252100839998E-3</c:v>
                </c:pt>
                <c:pt idx="34521">
                  <c:v>7.5630252100839998E-3</c:v>
                </c:pt>
                <c:pt idx="34522">
                  <c:v>7.5630252100839998E-3</c:v>
                </c:pt>
                <c:pt idx="34523">
                  <c:v>7.5630252100839998E-3</c:v>
                </c:pt>
                <c:pt idx="34524">
                  <c:v>7.5630252100839998E-3</c:v>
                </c:pt>
                <c:pt idx="34525">
                  <c:v>7.5630252100839998E-3</c:v>
                </c:pt>
                <c:pt idx="34526">
                  <c:v>7.5630252100839998E-3</c:v>
                </c:pt>
                <c:pt idx="34527">
                  <c:v>7.5630252100839998E-3</c:v>
                </c:pt>
                <c:pt idx="34528">
                  <c:v>7.5630252100839998E-3</c:v>
                </c:pt>
                <c:pt idx="34529">
                  <c:v>7.5630252100839998E-3</c:v>
                </c:pt>
                <c:pt idx="34530">
                  <c:v>7.5630252100839998E-3</c:v>
                </c:pt>
                <c:pt idx="34531">
                  <c:v>7.5630252100839998E-3</c:v>
                </c:pt>
                <c:pt idx="34532">
                  <c:v>7.5630252100839998E-3</c:v>
                </c:pt>
                <c:pt idx="34533">
                  <c:v>7.5630252100839998E-3</c:v>
                </c:pt>
                <c:pt idx="34534">
                  <c:v>7.5630252100839998E-3</c:v>
                </c:pt>
                <c:pt idx="34535">
                  <c:v>7.5630252100839998E-3</c:v>
                </c:pt>
                <c:pt idx="34536">
                  <c:v>7.5630252100839998E-3</c:v>
                </c:pt>
                <c:pt idx="34537">
                  <c:v>7.5630252100839998E-3</c:v>
                </c:pt>
                <c:pt idx="34538">
                  <c:v>7.5630252100839998E-3</c:v>
                </c:pt>
                <c:pt idx="34539">
                  <c:v>7.5630252100839998E-3</c:v>
                </c:pt>
                <c:pt idx="34540">
                  <c:v>7.5630252100839998E-3</c:v>
                </c:pt>
                <c:pt idx="34541">
                  <c:v>7.5630252100839998E-3</c:v>
                </c:pt>
                <c:pt idx="34542">
                  <c:v>7.5630252100839998E-3</c:v>
                </c:pt>
                <c:pt idx="34543">
                  <c:v>7.5630252100839998E-3</c:v>
                </c:pt>
                <c:pt idx="34544">
                  <c:v>7.5630252100839998E-3</c:v>
                </c:pt>
                <c:pt idx="34545">
                  <c:v>7.5630252100839998E-3</c:v>
                </c:pt>
                <c:pt idx="34546">
                  <c:v>7.5630252100839998E-3</c:v>
                </c:pt>
                <c:pt idx="34547">
                  <c:v>7.5630252100839998E-3</c:v>
                </c:pt>
                <c:pt idx="34548">
                  <c:v>7.5630252100839998E-3</c:v>
                </c:pt>
                <c:pt idx="34549">
                  <c:v>7.5630252100839998E-3</c:v>
                </c:pt>
                <c:pt idx="34550">
                  <c:v>7.5630252100839998E-3</c:v>
                </c:pt>
                <c:pt idx="34551">
                  <c:v>7.5630252100839998E-3</c:v>
                </c:pt>
                <c:pt idx="34552">
                  <c:v>7.5630252100839998E-3</c:v>
                </c:pt>
                <c:pt idx="34553">
                  <c:v>7.5630252100839998E-3</c:v>
                </c:pt>
                <c:pt idx="34554">
                  <c:v>7.5630252100839998E-3</c:v>
                </c:pt>
                <c:pt idx="34555">
                  <c:v>7.5630252100839998E-3</c:v>
                </c:pt>
                <c:pt idx="34556">
                  <c:v>8.4033613445378894E-3</c:v>
                </c:pt>
                <c:pt idx="34557">
                  <c:v>8.4033613445378894E-3</c:v>
                </c:pt>
                <c:pt idx="34558">
                  <c:v>8.4033613445378894E-3</c:v>
                </c:pt>
                <c:pt idx="34559">
                  <c:v>8.4033613445378894E-3</c:v>
                </c:pt>
                <c:pt idx="34560">
                  <c:v>8.4033613445378894E-3</c:v>
                </c:pt>
                <c:pt idx="34561">
                  <c:v>8.4033613445378894E-3</c:v>
                </c:pt>
                <c:pt idx="34562">
                  <c:v>8.4033613445378894E-3</c:v>
                </c:pt>
                <c:pt idx="34563">
                  <c:v>8.4033613445378894E-3</c:v>
                </c:pt>
                <c:pt idx="34564">
                  <c:v>8.4033613445378894E-3</c:v>
                </c:pt>
                <c:pt idx="34565">
                  <c:v>8.4033613445378894E-3</c:v>
                </c:pt>
                <c:pt idx="34566">
                  <c:v>8.4033613445378894E-3</c:v>
                </c:pt>
                <c:pt idx="34567">
                  <c:v>9.2436974789916696E-3</c:v>
                </c:pt>
                <c:pt idx="34568">
                  <c:v>9.2436974789916696E-3</c:v>
                </c:pt>
                <c:pt idx="34569">
                  <c:v>9.2436974789916696E-3</c:v>
                </c:pt>
                <c:pt idx="34570">
                  <c:v>9.2436974789916696E-3</c:v>
                </c:pt>
                <c:pt idx="34571">
                  <c:v>9.2436974789916696E-3</c:v>
                </c:pt>
                <c:pt idx="34572">
                  <c:v>9.2436974789916696E-3</c:v>
                </c:pt>
                <c:pt idx="34573">
                  <c:v>9.2436974789916696E-3</c:v>
                </c:pt>
                <c:pt idx="34574">
                  <c:v>9.2436974789916696E-3</c:v>
                </c:pt>
                <c:pt idx="34575">
                  <c:v>9.2436974789916696E-3</c:v>
                </c:pt>
                <c:pt idx="34576">
                  <c:v>9.2436974789916696E-3</c:v>
                </c:pt>
                <c:pt idx="34577">
                  <c:v>9.2436974789916696E-3</c:v>
                </c:pt>
                <c:pt idx="34578">
                  <c:v>9.2436974789916696E-3</c:v>
                </c:pt>
                <c:pt idx="34579">
                  <c:v>9.2436974789916696E-3</c:v>
                </c:pt>
                <c:pt idx="34580">
                  <c:v>9.2436974789916696E-3</c:v>
                </c:pt>
                <c:pt idx="34581">
                  <c:v>9.2436974789916696E-3</c:v>
                </c:pt>
                <c:pt idx="34582">
                  <c:v>9.2436974789916696E-3</c:v>
                </c:pt>
                <c:pt idx="34583">
                  <c:v>9.2436974789916696E-3</c:v>
                </c:pt>
                <c:pt idx="34584">
                  <c:v>9.2436974789916696E-3</c:v>
                </c:pt>
                <c:pt idx="34585">
                  <c:v>9.2436974789916696E-3</c:v>
                </c:pt>
                <c:pt idx="34586">
                  <c:v>9.2436974789916696E-3</c:v>
                </c:pt>
                <c:pt idx="34587">
                  <c:v>9.2436974789916696E-3</c:v>
                </c:pt>
                <c:pt idx="34588">
                  <c:v>9.2436974789916696E-3</c:v>
                </c:pt>
                <c:pt idx="34589">
                  <c:v>9.2436974789916696E-3</c:v>
                </c:pt>
                <c:pt idx="34590">
                  <c:v>9.2436974789916696E-3</c:v>
                </c:pt>
                <c:pt idx="34591">
                  <c:v>9.2436974789916696E-3</c:v>
                </c:pt>
                <c:pt idx="34592">
                  <c:v>9.2436974789916696E-3</c:v>
                </c:pt>
                <c:pt idx="34593">
                  <c:v>9.2436974789916696E-3</c:v>
                </c:pt>
                <c:pt idx="34594">
                  <c:v>9.2436974789916696E-3</c:v>
                </c:pt>
                <c:pt idx="34595">
                  <c:v>9.2436974789916696E-3</c:v>
                </c:pt>
                <c:pt idx="34596">
                  <c:v>9.2436974789916696E-3</c:v>
                </c:pt>
                <c:pt idx="34597">
                  <c:v>9.2436974789916696E-3</c:v>
                </c:pt>
                <c:pt idx="34598">
                  <c:v>9.2436974789916696E-3</c:v>
                </c:pt>
                <c:pt idx="34599">
                  <c:v>9.2436974789916696E-3</c:v>
                </c:pt>
                <c:pt idx="34600">
                  <c:v>9.2436974789916696E-3</c:v>
                </c:pt>
                <c:pt idx="34601">
                  <c:v>9.2436974789916696E-3</c:v>
                </c:pt>
                <c:pt idx="34602">
                  <c:v>9.2436974789916696E-3</c:v>
                </c:pt>
                <c:pt idx="34603">
                  <c:v>9.2436974789916696E-3</c:v>
                </c:pt>
                <c:pt idx="34604">
                  <c:v>9.2436974789916696E-3</c:v>
                </c:pt>
                <c:pt idx="34605">
                  <c:v>9.2436974789916696E-3</c:v>
                </c:pt>
                <c:pt idx="34606">
                  <c:v>9.2436974789916696E-3</c:v>
                </c:pt>
                <c:pt idx="34607">
                  <c:v>9.2436974789916696E-3</c:v>
                </c:pt>
                <c:pt idx="34608">
                  <c:v>9.2436974789916696E-3</c:v>
                </c:pt>
                <c:pt idx="34609">
                  <c:v>9.2436974789916696E-3</c:v>
                </c:pt>
                <c:pt idx="34610">
                  <c:v>9.2436974789916696E-3</c:v>
                </c:pt>
                <c:pt idx="34611">
                  <c:v>9.2436974789916696E-3</c:v>
                </c:pt>
                <c:pt idx="34612">
                  <c:v>9.2436974789916696E-3</c:v>
                </c:pt>
                <c:pt idx="34613">
                  <c:v>9.2436974789916696E-3</c:v>
                </c:pt>
                <c:pt idx="34614">
                  <c:v>9.2436974789916696E-3</c:v>
                </c:pt>
                <c:pt idx="34615">
                  <c:v>9.2436974789916696E-3</c:v>
                </c:pt>
                <c:pt idx="34616">
                  <c:v>9.2436974789916696E-3</c:v>
                </c:pt>
                <c:pt idx="34617">
                  <c:v>9.2436974789916696E-3</c:v>
                </c:pt>
                <c:pt idx="34618">
                  <c:v>9.2436974789916696E-3</c:v>
                </c:pt>
                <c:pt idx="34619">
                  <c:v>9.2436974789916696E-3</c:v>
                </c:pt>
                <c:pt idx="34620">
                  <c:v>9.2436974789916696E-3</c:v>
                </c:pt>
                <c:pt idx="34621">
                  <c:v>9.2436974789916696E-3</c:v>
                </c:pt>
                <c:pt idx="34622">
                  <c:v>9.2436974789916696E-3</c:v>
                </c:pt>
                <c:pt idx="34623">
                  <c:v>9.2436974789916696E-3</c:v>
                </c:pt>
                <c:pt idx="34624">
                  <c:v>9.2436974789916696E-3</c:v>
                </c:pt>
                <c:pt idx="34625">
                  <c:v>9.2436974789916696E-3</c:v>
                </c:pt>
                <c:pt idx="34626">
                  <c:v>9.2436974789916696E-3</c:v>
                </c:pt>
                <c:pt idx="34627">
                  <c:v>9.2436974789916696E-3</c:v>
                </c:pt>
                <c:pt idx="34628">
                  <c:v>9.2436974789916696E-3</c:v>
                </c:pt>
                <c:pt idx="34629">
                  <c:v>9.2436974789916696E-3</c:v>
                </c:pt>
                <c:pt idx="34630">
                  <c:v>9.2436974789916696E-3</c:v>
                </c:pt>
                <c:pt idx="34631">
                  <c:v>9.2436974789916696E-3</c:v>
                </c:pt>
                <c:pt idx="34632">
                  <c:v>9.2436974789916696E-3</c:v>
                </c:pt>
                <c:pt idx="34633">
                  <c:v>9.2436974789916696E-3</c:v>
                </c:pt>
                <c:pt idx="34634">
                  <c:v>1.00840336134454E-2</c:v>
                </c:pt>
                <c:pt idx="34635">
                  <c:v>1.00840336134454E-2</c:v>
                </c:pt>
                <c:pt idx="34636">
                  <c:v>1.00840336134454E-2</c:v>
                </c:pt>
                <c:pt idx="34637">
                  <c:v>1.00840336134454E-2</c:v>
                </c:pt>
                <c:pt idx="34638">
                  <c:v>1.00840336134454E-2</c:v>
                </c:pt>
                <c:pt idx="34639">
                  <c:v>1.00840336134454E-2</c:v>
                </c:pt>
                <c:pt idx="34640">
                  <c:v>1.00840336134454E-2</c:v>
                </c:pt>
                <c:pt idx="34641">
                  <c:v>1.00840336134454E-2</c:v>
                </c:pt>
                <c:pt idx="34642">
                  <c:v>1.00840336134454E-2</c:v>
                </c:pt>
                <c:pt idx="34643">
                  <c:v>1.00840336134454E-2</c:v>
                </c:pt>
                <c:pt idx="34644">
                  <c:v>1.00840336134454E-2</c:v>
                </c:pt>
                <c:pt idx="34645">
                  <c:v>1.00840336134454E-2</c:v>
                </c:pt>
                <c:pt idx="34646">
                  <c:v>1.00840336134454E-2</c:v>
                </c:pt>
                <c:pt idx="34647">
                  <c:v>1.00840336134454E-2</c:v>
                </c:pt>
                <c:pt idx="34648">
                  <c:v>1.00840336134454E-2</c:v>
                </c:pt>
                <c:pt idx="34649">
                  <c:v>1.00840336134454E-2</c:v>
                </c:pt>
                <c:pt idx="34650">
                  <c:v>1.00840336134454E-2</c:v>
                </c:pt>
                <c:pt idx="34651">
                  <c:v>1.00840336134454E-2</c:v>
                </c:pt>
                <c:pt idx="34652">
                  <c:v>1.00840336134454E-2</c:v>
                </c:pt>
                <c:pt idx="34653">
                  <c:v>1.00840336134454E-2</c:v>
                </c:pt>
                <c:pt idx="34654">
                  <c:v>1.00840336134454E-2</c:v>
                </c:pt>
                <c:pt idx="34655">
                  <c:v>1.00840336134454E-2</c:v>
                </c:pt>
                <c:pt idx="34656">
                  <c:v>1.00840336134454E-2</c:v>
                </c:pt>
                <c:pt idx="34657">
                  <c:v>1.00840336134454E-2</c:v>
                </c:pt>
                <c:pt idx="34658">
                  <c:v>1.00840336134454E-2</c:v>
                </c:pt>
                <c:pt idx="34659">
                  <c:v>1.00840336134454E-2</c:v>
                </c:pt>
                <c:pt idx="34660">
                  <c:v>9.2436974789916696E-3</c:v>
                </c:pt>
                <c:pt idx="34661">
                  <c:v>9.2436974789916696E-3</c:v>
                </c:pt>
                <c:pt idx="34662">
                  <c:v>9.2436974789916696E-3</c:v>
                </c:pt>
                <c:pt idx="34663">
                  <c:v>9.2436974789916696E-3</c:v>
                </c:pt>
                <c:pt idx="34664">
                  <c:v>9.2436974789916696E-3</c:v>
                </c:pt>
                <c:pt idx="34665">
                  <c:v>9.2436974789916696E-3</c:v>
                </c:pt>
                <c:pt idx="34666">
                  <c:v>9.2436974789916696E-3</c:v>
                </c:pt>
                <c:pt idx="34667">
                  <c:v>9.2436974789916696E-3</c:v>
                </c:pt>
                <c:pt idx="34668">
                  <c:v>9.2436974789916696E-3</c:v>
                </c:pt>
                <c:pt idx="34669">
                  <c:v>9.2436974789916696E-3</c:v>
                </c:pt>
                <c:pt idx="34670">
                  <c:v>9.2436974789916696E-3</c:v>
                </c:pt>
                <c:pt idx="34671">
                  <c:v>9.2436974789916696E-3</c:v>
                </c:pt>
                <c:pt idx="34672">
                  <c:v>9.2436974789916696E-3</c:v>
                </c:pt>
                <c:pt idx="34673">
                  <c:v>9.2436974789916696E-3</c:v>
                </c:pt>
                <c:pt idx="34674">
                  <c:v>9.2436974789916696E-3</c:v>
                </c:pt>
                <c:pt idx="34675">
                  <c:v>9.2436974789916696E-3</c:v>
                </c:pt>
                <c:pt idx="34676">
                  <c:v>9.2436974789916696E-3</c:v>
                </c:pt>
                <c:pt idx="34677">
                  <c:v>9.2436974789916696E-3</c:v>
                </c:pt>
                <c:pt idx="34678">
                  <c:v>9.2436974789916696E-3</c:v>
                </c:pt>
                <c:pt idx="34679">
                  <c:v>9.2436974789916696E-3</c:v>
                </c:pt>
                <c:pt idx="34680">
                  <c:v>9.2436974789916696E-3</c:v>
                </c:pt>
                <c:pt idx="34681">
                  <c:v>9.2436974789916696E-3</c:v>
                </c:pt>
                <c:pt idx="34682">
                  <c:v>9.2436974789916696E-3</c:v>
                </c:pt>
                <c:pt idx="34683">
                  <c:v>9.2436974789916696E-3</c:v>
                </c:pt>
                <c:pt idx="34684">
                  <c:v>9.2436974789916696E-3</c:v>
                </c:pt>
                <c:pt idx="34685">
                  <c:v>9.2436974789916696E-3</c:v>
                </c:pt>
                <c:pt idx="34686">
                  <c:v>1.00840336134454E-2</c:v>
                </c:pt>
                <c:pt idx="34687">
                  <c:v>1.00840336134454E-2</c:v>
                </c:pt>
                <c:pt idx="34688">
                  <c:v>1.00840336134454E-2</c:v>
                </c:pt>
                <c:pt idx="34689">
                  <c:v>1.00840336134454E-2</c:v>
                </c:pt>
                <c:pt idx="34690">
                  <c:v>1.00840336134454E-2</c:v>
                </c:pt>
                <c:pt idx="34691">
                  <c:v>1.00840336134454E-2</c:v>
                </c:pt>
                <c:pt idx="34692">
                  <c:v>1.00840336134454E-2</c:v>
                </c:pt>
                <c:pt idx="34693">
                  <c:v>1.00840336134454E-2</c:v>
                </c:pt>
                <c:pt idx="34694">
                  <c:v>1.00840336134454E-2</c:v>
                </c:pt>
                <c:pt idx="34695">
                  <c:v>1.00840336134454E-2</c:v>
                </c:pt>
                <c:pt idx="34696">
                  <c:v>1.00840336134454E-2</c:v>
                </c:pt>
                <c:pt idx="34697">
                  <c:v>1.00840336134454E-2</c:v>
                </c:pt>
                <c:pt idx="34698">
                  <c:v>1.00840336134454E-2</c:v>
                </c:pt>
                <c:pt idx="34699">
                  <c:v>1.00840336134454E-2</c:v>
                </c:pt>
                <c:pt idx="34700">
                  <c:v>1.00840336134454E-2</c:v>
                </c:pt>
                <c:pt idx="34701">
                  <c:v>1.00840336134454E-2</c:v>
                </c:pt>
                <c:pt idx="34702">
                  <c:v>1.00840336134454E-2</c:v>
                </c:pt>
                <c:pt idx="34703">
                  <c:v>1.00840336134454E-2</c:v>
                </c:pt>
                <c:pt idx="34704">
                  <c:v>1.00840336134454E-2</c:v>
                </c:pt>
                <c:pt idx="34705">
                  <c:v>1.00840336134454E-2</c:v>
                </c:pt>
                <c:pt idx="34706">
                  <c:v>1.00840336134454E-2</c:v>
                </c:pt>
                <c:pt idx="34707">
                  <c:v>1.00840336134454E-2</c:v>
                </c:pt>
                <c:pt idx="34708">
                  <c:v>1.00840336134454E-2</c:v>
                </c:pt>
                <c:pt idx="34709">
                  <c:v>1.00840336134454E-2</c:v>
                </c:pt>
                <c:pt idx="34710">
                  <c:v>1.00840336134454E-2</c:v>
                </c:pt>
                <c:pt idx="34711">
                  <c:v>1.00840336134454E-2</c:v>
                </c:pt>
                <c:pt idx="34712">
                  <c:v>1.00840336134454E-2</c:v>
                </c:pt>
                <c:pt idx="34713">
                  <c:v>1.00840336134454E-2</c:v>
                </c:pt>
                <c:pt idx="34714">
                  <c:v>1.00840336134454E-2</c:v>
                </c:pt>
                <c:pt idx="34715">
                  <c:v>1.00840336134454E-2</c:v>
                </c:pt>
                <c:pt idx="34716">
                  <c:v>1.00840336134454E-2</c:v>
                </c:pt>
                <c:pt idx="34717">
                  <c:v>1.00840336134454E-2</c:v>
                </c:pt>
                <c:pt idx="34718">
                  <c:v>1.00840336134454E-2</c:v>
                </c:pt>
                <c:pt idx="34719">
                  <c:v>1.00840336134454E-2</c:v>
                </c:pt>
                <c:pt idx="34720">
                  <c:v>1.00840336134454E-2</c:v>
                </c:pt>
                <c:pt idx="34721">
                  <c:v>1.00840336134454E-2</c:v>
                </c:pt>
                <c:pt idx="34722">
                  <c:v>1.00840336134454E-2</c:v>
                </c:pt>
                <c:pt idx="34723">
                  <c:v>1.00840336134454E-2</c:v>
                </c:pt>
                <c:pt idx="34724">
                  <c:v>1.00840336134454E-2</c:v>
                </c:pt>
                <c:pt idx="34725">
                  <c:v>1.00840336134454E-2</c:v>
                </c:pt>
                <c:pt idx="34726">
                  <c:v>1.00840336134454E-2</c:v>
                </c:pt>
                <c:pt idx="34727">
                  <c:v>1.00840336134454E-2</c:v>
                </c:pt>
                <c:pt idx="34728">
                  <c:v>1.00840336134454E-2</c:v>
                </c:pt>
                <c:pt idx="34729">
                  <c:v>1.00840336134454E-2</c:v>
                </c:pt>
                <c:pt idx="34730">
                  <c:v>1.00840336134454E-2</c:v>
                </c:pt>
                <c:pt idx="34731">
                  <c:v>1.00840336134454E-2</c:v>
                </c:pt>
                <c:pt idx="34732">
                  <c:v>1.00840336134454E-2</c:v>
                </c:pt>
                <c:pt idx="34733">
                  <c:v>1.00840336134454E-2</c:v>
                </c:pt>
                <c:pt idx="34734">
                  <c:v>1.00840336134454E-2</c:v>
                </c:pt>
                <c:pt idx="34735">
                  <c:v>1.00840336134454E-2</c:v>
                </c:pt>
                <c:pt idx="34736">
                  <c:v>1.00840336134454E-2</c:v>
                </c:pt>
                <c:pt idx="34737">
                  <c:v>1.00840336134454E-2</c:v>
                </c:pt>
                <c:pt idx="34738">
                  <c:v>1.00840336134454E-2</c:v>
                </c:pt>
                <c:pt idx="34739">
                  <c:v>1.00840336134454E-2</c:v>
                </c:pt>
                <c:pt idx="34740">
                  <c:v>1.00840336134454E-2</c:v>
                </c:pt>
                <c:pt idx="34741">
                  <c:v>1.00840336134454E-2</c:v>
                </c:pt>
                <c:pt idx="34742">
                  <c:v>1.00840336134454E-2</c:v>
                </c:pt>
                <c:pt idx="34743">
                  <c:v>1.00840336134454E-2</c:v>
                </c:pt>
                <c:pt idx="34744">
                  <c:v>1.00840336134454E-2</c:v>
                </c:pt>
                <c:pt idx="34745">
                  <c:v>1.00840336134454E-2</c:v>
                </c:pt>
                <c:pt idx="34746">
                  <c:v>1.00840336134454E-2</c:v>
                </c:pt>
                <c:pt idx="34747">
                  <c:v>1.00840336134454E-2</c:v>
                </c:pt>
                <c:pt idx="34748">
                  <c:v>1.00840336134454E-2</c:v>
                </c:pt>
                <c:pt idx="34749">
                  <c:v>1.00840336134454E-2</c:v>
                </c:pt>
                <c:pt idx="34750">
                  <c:v>1.00840336134454E-2</c:v>
                </c:pt>
                <c:pt idx="34751">
                  <c:v>1.00840336134454E-2</c:v>
                </c:pt>
                <c:pt idx="34752">
                  <c:v>1.00840336134454E-2</c:v>
                </c:pt>
                <c:pt idx="34753">
                  <c:v>1.00840336134454E-2</c:v>
                </c:pt>
                <c:pt idx="34754">
                  <c:v>1.00840336134454E-2</c:v>
                </c:pt>
                <c:pt idx="34755">
                  <c:v>1.00840336134454E-2</c:v>
                </c:pt>
                <c:pt idx="34756">
                  <c:v>1.00840336134454E-2</c:v>
                </c:pt>
                <c:pt idx="34757">
                  <c:v>1.00840336134454E-2</c:v>
                </c:pt>
                <c:pt idx="34758">
                  <c:v>1.00840336134454E-2</c:v>
                </c:pt>
                <c:pt idx="34759">
                  <c:v>1.00840336134454E-2</c:v>
                </c:pt>
                <c:pt idx="34760">
                  <c:v>1.00840336134454E-2</c:v>
                </c:pt>
                <c:pt idx="34761">
                  <c:v>1.00840336134454E-2</c:v>
                </c:pt>
                <c:pt idx="34762">
                  <c:v>1.00840336134454E-2</c:v>
                </c:pt>
                <c:pt idx="34763">
                  <c:v>1.00840336134454E-2</c:v>
                </c:pt>
                <c:pt idx="34764">
                  <c:v>1.00840336134454E-2</c:v>
                </c:pt>
                <c:pt idx="34765">
                  <c:v>1.00840336134454E-2</c:v>
                </c:pt>
                <c:pt idx="34766">
                  <c:v>1.00840336134454E-2</c:v>
                </c:pt>
                <c:pt idx="34767">
                  <c:v>1.00840336134454E-2</c:v>
                </c:pt>
                <c:pt idx="34768">
                  <c:v>1.00840336134454E-2</c:v>
                </c:pt>
                <c:pt idx="34769">
                  <c:v>1.00840336134454E-2</c:v>
                </c:pt>
                <c:pt idx="34770">
                  <c:v>1.00840336134454E-2</c:v>
                </c:pt>
                <c:pt idx="34771">
                  <c:v>1.00840336134454E-2</c:v>
                </c:pt>
                <c:pt idx="34772">
                  <c:v>1.00840336134454E-2</c:v>
                </c:pt>
                <c:pt idx="34773">
                  <c:v>1.00840336134454E-2</c:v>
                </c:pt>
                <c:pt idx="34774">
                  <c:v>1.00840336134454E-2</c:v>
                </c:pt>
                <c:pt idx="34775">
                  <c:v>1.00840336134454E-2</c:v>
                </c:pt>
                <c:pt idx="34776">
                  <c:v>1.00840336134454E-2</c:v>
                </c:pt>
                <c:pt idx="34777">
                  <c:v>1.00840336134454E-2</c:v>
                </c:pt>
                <c:pt idx="34778">
                  <c:v>1.00840336134454E-2</c:v>
                </c:pt>
                <c:pt idx="34779">
                  <c:v>1.00840336134454E-2</c:v>
                </c:pt>
                <c:pt idx="34780">
                  <c:v>1.00840336134454E-2</c:v>
                </c:pt>
                <c:pt idx="34781">
                  <c:v>1.00840336134454E-2</c:v>
                </c:pt>
                <c:pt idx="34782">
                  <c:v>1.00840336134454E-2</c:v>
                </c:pt>
                <c:pt idx="34783">
                  <c:v>1.00840336134454E-2</c:v>
                </c:pt>
                <c:pt idx="34784">
                  <c:v>1.00840336134454E-2</c:v>
                </c:pt>
                <c:pt idx="34785">
                  <c:v>1.00840336134454E-2</c:v>
                </c:pt>
                <c:pt idx="34786">
                  <c:v>1.00840336134454E-2</c:v>
                </c:pt>
                <c:pt idx="34787">
                  <c:v>1.00840336134454E-2</c:v>
                </c:pt>
                <c:pt idx="34788">
                  <c:v>1.00840336134454E-2</c:v>
                </c:pt>
                <c:pt idx="34789">
                  <c:v>1.00840336134454E-2</c:v>
                </c:pt>
                <c:pt idx="34790">
                  <c:v>1.00840336134454E-2</c:v>
                </c:pt>
                <c:pt idx="34791">
                  <c:v>1.00840336134454E-2</c:v>
                </c:pt>
                <c:pt idx="34792">
                  <c:v>1.00840336134454E-2</c:v>
                </c:pt>
                <c:pt idx="34793">
                  <c:v>1.00840336134454E-2</c:v>
                </c:pt>
                <c:pt idx="34794">
                  <c:v>1.00840336134454E-2</c:v>
                </c:pt>
                <c:pt idx="34795">
                  <c:v>1.00840336134454E-2</c:v>
                </c:pt>
                <c:pt idx="34796">
                  <c:v>1.00840336134454E-2</c:v>
                </c:pt>
                <c:pt idx="34797">
                  <c:v>1.00840336134454E-2</c:v>
                </c:pt>
                <c:pt idx="34798">
                  <c:v>1.00840336134454E-2</c:v>
                </c:pt>
                <c:pt idx="34799">
                  <c:v>1.00840336134454E-2</c:v>
                </c:pt>
                <c:pt idx="34800">
                  <c:v>1.00840336134454E-2</c:v>
                </c:pt>
                <c:pt idx="34801">
                  <c:v>1.00840336134454E-2</c:v>
                </c:pt>
                <c:pt idx="34802">
                  <c:v>1.00840336134454E-2</c:v>
                </c:pt>
                <c:pt idx="34803">
                  <c:v>1.00840336134454E-2</c:v>
                </c:pt>
                <c:pt idx="34804">
                  <c:v>1.00840336134454E-2</c:v>
                </c:pt>
                <c:pt idx="34805">
                  <c:v>1.00840336134454E-2</c:v>
                </c:pt>
                <c:pt idx="34806">
                  <c:v>1.00840336134454E-2</c:v>
                </c:pt>
                <c:pt idx="34807">
                  <c:v>1.00840336134454E-2</c:v>
                </c:pt>
                <c:pt idx="34808">
                  <c:v>1.00840336134454E-2</c:v>
                </c:pt>
                <c:pt idx="34809">
                  <c:v>1.00840336134454E-2</c:v>
                </c:pt>
                <c:pt idx="34810">
                  <c:v>1.00840336134454E-2</c:v>
                </c:pt>
                <c:pt idx="34811">
                  <c:v>1.00840336134454E-2</c:v>
                </c:pt>
                <c:pt idx="34812">
                  <c:v>1.00840336134454E-2</c:v>
                </c:pt>
                <c:pt idx="34813">
                  <c:v>1.00840336134454E-2</c:v>
                </c:pt>
                <c:pt idx="34814">
                  <c:v>1.00840336134454E-2</c:v>
                </c:pt>
                <c:pt idx="34815">
                  <c:v>1.00840336134454E-2</c:v>
                </c:pt>
                <c:pt idx="34816">
                  <c:v>1.00840336134454E-2</c:v>
                </c:pt>
                <c:pt idx="34817">
                  <c:v>1.00840336134454E-2</c:v>
                </c:pt>
                <c:pt idx="34818">
                  <c:v>1.00840336134454E-2</c:v>
                </c:pt>
                <c:pt idx="34819">
                  <c:v>1.00840336134454E-2</c:v>
                </c:pt>
                <c:pt idx="34820">
                  <c:v>1.00840336134454E-2</c:v>
                </c:pt>
                <c:pt idx="34821">
                  <c:v>9.2436974789916696E-3</c:v>
                </c:pt>
                <c:pt idx="34822">
                  <c:v>9.2436974789916696E-3</c:v>
                </c:pt>
                <c:pt idx="34823">
                  <c:v>9.2436974789916696E-3</c:v>
                </c:pt>
                <c:pt idx="34824">
                  <c:v>9.2436974789916696E-3</c:v>
                </c:pt>
                <c:pt idx="34825">
                  <c:v>9.2436974789916696E-3</c:v>
                </c:pt>
                <c:pt idx="34826">
                  <c:v>9.2436974789916696E-3</c:v>
                </c:pt>
                <c:pt idx="34827">
                  <c:v>9.2436974789916696E-3</c:v>
                </c:pt>
                <c:pt idx="34828">
                  <c:v>9.2436974789916696E-3</c:v>
                </c:pt>
                <c:pt idx="34829">
                  <c:v>9.2436974789916696E-3</c:v>
                </c:pt>
                <c:pt idx="34830">
                  <c:v>9.2436974789916696E-3</c:v>
                </c:pt>
                <c:pt idx="34831">
                  <c:v>9.2436974789916696E-3</c:v>
                </c:pt>
                <c:pt idx="34832">
                  <c:v>9.2436974789916696E-3</c:v>
                </c:pt>
                <c:pt idx="34833">
                  <c:v>9.2436974789916696E-3</c:v>
                </c:pt>
                <c:pt idx="34834">
                  <c:v>9.2436974789916696E-3</c:v>
                </c:pt>
                <c:pt idx="34835">
                  <c:v>9.2436974789916696E-3</c:v>
                </c:pt>
                <c:pt idx="34836">
                  <c:v>9.2436974789916696E-3</c:v>
                </c:pt>
                <c:pt idx="34837">
                  <c:v>9.2436974789916696E-3</c:v>
                </c:pt>
                <c:pt idx="34838">
                  <c:v>9.2436974789916696E-3</c:v>
                </c:pt>
                <c:pt idx="34839">
                  <c:v>9.2436974789916696E-3</c:v>
                </c:pt>
                <c:pt idx="34840">
                  <c:v>9.2436974789916696E-3</c:v>
                </c:pt>
                <c:pt idx="34841">
                  <c:v>9.2436974789916696E-3</c:v>
                </c:pt>
                <c:pt idx="34842">
                  <c:v>9.2436974789916696E-3</c:v>
                </c:pt>
                <c:pt idx="34843">
                  <c:v>9.2436974789916696E-3</c:v>
                </c:pt>
                <c:pt idx="34844">
                  <c:v>9.2436974789916696E-3</c:v>
                </c:pt>
                <c:pt idx="34845">
                  <c:v>9.2436974789916696E-3</c:v>
                </c:pt>
                <c:pt idx="34846">
                  <c:v>9.2436974789916696E-3</c:v>
                </c:pt>
                <c:pt idx="34847">
                  <c:v>9.2436974789916696E-3</c:v>
                </c:pt>
                <c:pt idx="34848">
                  <c:v>9.2436974789916696E-3</c:v>
                </c:pt>
                <c:pt idx="34849">
                  <c:v>9.2436974789916696E-3</c:v>
                </c:pt>
                <c:pt idx="34850">
                  <c:v>1.00840336134454E-2</c:v>
                </c:pt>
                <c:pt idx="34851">
                  <c:v>1.00840336134454E-2</c:v>
                </c:pt>
                <c:pt idx="34852">
                  <c:v>1.00840336134454E-2</c:v>
                </c:pt>
                <c:pt idx="34853">
                  <c:v>1.00840336134454E-2</c:v>
                </c:pt>
                <c:pt idx="34854">
                  <c:v>1.00840336134454E-2</c:v>
                </c:pt>
                <c:pt idx="34855">
                  <c:v>1.00840336134454E-2</c:v>
                </c:pt>
                <c:pt idx="34856">
                  <c:v>1.00840336134454E-2</c:v>
                </c:pt>
                <c:pt idx="34857">
                  <c:v>1.00840336134454E-2</c:v>
                </c:pt>
                <c:pt idx="34858">
                  <c:v>1.00840336134454E-2</c:v>
                </c:pt>
                <c:pt idx="34859">
                  <c:v>1.00840336134454E-2</c:v>
                </c:pt>
                <c:pt idx="34860">
                  <c:v>1.00840336134454E-2</c:v>
                </c:pt>
                <c:pt idx="34861">
                  <c:v>1.00840336134454E-2</c:v>
                </c:pt>
                <c:pt idx="34862">
                  <c:v>1.00840336134454E-2</c:v>
                </c:pt>
                <c:pt idx="34863">
                  <c:v>1.00840336134454E-2</c:v>
                </c:pt>
                <c:pt idx="34864">
                  <c:v>1.00840336134454E-2</c:v>
                </c:pt>
                <c:pt idx="34865">
                  <c:v>1.00840336134454E-2</c:v>
                </c:pt>
                <c:pt idx="34866">
                  <c:v>1.00840336134454E-2</c:v>
                </c:pt>
                <c:pt idx="34867">
                  <c:v>1.00840336134454E-2</c:v>
                </c:pt>
                <c:pt idx="34868">
                  <c:v>1.00840336134454E-2</c:v>
                </c:pt>
                <c:pt idx="34869">
                  <c:v>1.00840336134454E-2</c:v>
                </c:pt>
                <c:pt idx="34870">
                  <c:v>1.00840336134454E-2</c:v>
                </c:pt>
                <c:pt idx="34871">
                  <c:v>1.00840336134454E-2</c:v>
                </c:pt>
                <c:pt idx="34872">
                  <c:v>1.00840336134454E-2</c:v>
                </c:pt>
                <c:pt idx="34873">
                  <c:v>1.00840336134454E-2</c:v>
                </c:pt>
                <c:pt idx="34874">
                  <c:v>1.00840336134454E-2</c:v>
                </c:pt>
                <c:pt idx="34875">
                  <c:v>1.00840336134454E-2</c:v>
                </c:pt>
                <c:pt idx="34876">
                  <c:v>1.00840336134454E-2</c:v>
                </c:pt>
                <c:pt idx="34877">
                  <c:v>1.00840336134454E-2</c:v>
                </c:pt>
                <c:pt idx="34878">
                  <c:v>1.00840336134454E-2</c:v>
                </c:pt>
                <c:pt idx="34879">
                  <c:v>1.00840336134454E-2</c:v>
                </c:pt>
                <c:pt idx="34880">
                  <c:v>1.00840336134454E-2</c:v>
                </c:pt>
                <c:pt idx="34881">
                  <c:v>1.00840336134454E-2</c:v>
                </c:pt>
                <c:pt idx="34882">
                  <c:v>1.00840336134454E-2</c:v>
                </c:pt>
                <c:pt idx="34883">
                  <c:v>1.00840336134454E-2</c:v>
                </c:pt>
                <c:pt idx="34884">
                  <c:v>1.00840336134454E-2</c:v>
                </c:pt>
                <c:pt idx="34885">
                  <c:v>1.00840336134454E-2</c:v>
                </c:pt>
                <c:pt idx="34886">
                  <c:v>1.00840336134454E-2</c:v>
                </c:pt>
                <c:pt idx="34887">
                  <c:v>1.00840336134454E-2</c:v>
                </c:pt>
                <c:pt idx="34888">
                  <c:v>1.00840336134454E-2</c:v>
                </c:pt>
                <c:pt idx="34889">
                  <c:v>1.00840336134454E-2</c:v>
                </c:pt>
                <c:pt idx="34890">
                  <c:v>1.00840336134454E-2</c:v>
                </c:pt>
                <c:pt idx="34891">
                  <c:v>1.00840336134454E-2</c:v>
                </c:pt>
                <c:pt idx="34892">
                  <c:v>1.00840336134454E-2</c:v>
                </c:pt>
                <c:pt idx="34893">
                  <c:v>1.00840336134454E-2</c:v>
                </c:pt>
                <c:pt idx="34894">
                  <c:v>1.00840336134454E-2</c:v>
                </c:pt>
                <c:pt idx="34895">
                  <c:v>1.00840336134454E-2</c:v>
                </c:pt>
                <c:pt idx="34896">
                  <c:v>1.00840336134454E-2</c:v>
                </c:pt>
                <c:pt idx="34897">
                  <c:v>1.00840336134454E-2</c:v>
                </c:pt>
                <c:pt idx="34898">
                  <c:v>1.00840336134454E-2</c:v>
                </c:pt>
                <c:pt idx="34899">
                  <c:v>1.00840336134454E-2</c:v>
                </c:pt>
                <c:pt idx="34900">
                  <c:v>1.00840336134454E-2</c:v>
                </c:pt>
                <c:pt idx="34901">
                  <c:v>1.00840336134454E-2</c:v>
                </c:pt>
                <c:pt idx="34902">
                  <c:v>1.00840336134454E-2</c:v>
                </c:pt>
                <c:pt idx="34903">
                  <c:v>1.00840336134454E-2</c:v>
                </c:pt>
                <c:pt idx="34904">
                  <c:v>1.00840336134454E-2</c:v>
                </c:pt>
                <c:pt idx="34905">
                  <c:v>1.00840336134454E-2</c:v>
                </c:pt>
                <c:pt idx="34906">
                  <c:v>1.00840336134454E-2</c:v>
                </c:pt>
                <c:pt idx="34907">
                  <c:v>1.00840336134454E-2</c:v>
                </c:pt>
                <c:pt idx="34908">
                  <c:v>1.00840336134454E-2</c:v>
                </c:pt>
                <c:pt idx="34909">
                  <c:v>1.00840336134454E-2</c:v>
                </c:pt>
                <c:pt idx="34910">
                  <c:v>1.00840336134454E-2</c:v>
                </c:pt>
                <c:pt idx="34911">
                  <c:v>1.00840336134454E-2</c:v>
                </c:pt>
                <c:pt idx="34912">
                  <c:v>1.00840336134454E-2</c:v>
                </c:pt>
                <c:pt idx="34913">
                  <c:v>1.00840336134454E-2</c:v>
                </c:pt>
                <c:pt idx="34914">
                  <c:v>1.00840336134454E-2</c:v>
                </c:pt>
                <c:pt idx="34915">
                  <c:v>1.00840336134454E-2</c:v>
                </c:pt>
                <c:pt idx="34916">
                  <c:v>1.00840336134454E-2</c:v>
                </c:pt>
                <c:pt idx="34917">
                  <c:v>1.00840336134454E-2</c:v>
                </c:pt>
                <c:pt idx="34918">
                  <c:v>1.00840336134454E-2</c:v>
                </c:pt>
                <c:pt idx="34919">
                  <c:v>1.00840336134454E-2</c:v>
                </c:pt>
                <c:pt idx="34920">
                  <c:v>1.00840336134454E-2</c:v>
                </c:pt>
                <c:pt idx="34921">
                  <c:v>1.00840336134454E-2</c:v>
                </c:pt>
                <c:pt idx="34922">
                  <c:v>1.00840336134454E-2</c:v>
                </c:pt>
                <c:pt idx="34923">
                  <c:v>9.2436974789916696E-3</c:v>
                </c:pt>
                <c:pt idx="34924">
                  <c:v>9.2436974789916696E-3</c:v>
                </c:pt>
                <c:pt idx="34925">
                  <c:v>9.2436974789916696E-3</c:v>
                </c:pt>
                <c:pt idx="34926">
                  <c:v>9.2436974789916696E-3</c:v>
                </c:pt>
                <c:pt idx="34927">
                  <c:v>9.2436974789916696E-3</c:v>
                </c:pt>
                <c:pt idx="34928">
                  <c:v>9.2436974789916696E-3</c:v>
                </c:pt>
                <c:pt idx="34929">
                  <c:v>9.2436974789916696E-3</c:v>
                </c:pt>
                <c:pt idx="34930">
                  <c:v>9.2436974789916696E-3</c:v>
                </c:pt>
                <c:pt idx="34931">
                  <c:v>9.2436974789916696E-3</c:v>
                </c:pt>
                <c:pt idx="34932">
                  <c:v>9.2436974789916696E-3</c:v>
                </c:pt>
                <c:pt idx="34933">
                  <c:v>9.2436974789916696E-3</c:v>
                </c:pt>
                <c:pt idx="34934">
                  <c:v>9.2436974789916696E-3</c:v>
                </c:pt>
                <c:pt idx="34935">
                  <c:v>9.2436974789916696E-3</c:v>
                </c:pt>
                <c:pt idx="34936">
                  <c:v>9.2436974789916696E-3</c:v>
                </c:pt>
                <c:pt idx="34937">
                  <c:v>9.2436974789916696E-3</c:v>
                </c:pt>
                <c:pt idx="34938">
                  <c:v>8.4033613445378894E-3</c:v>
                </c:pt>
                <c:pt idx="34939">
                  <c:v>8.4033613445378894E-3</c:v>
                </c:pt>
                <c:pt idx="34940">
                  <c:v>8.4033613445378894E-3</c:v>
                </c:pt>
                <c:pt idx="34941">
                  <c:v>8.4033613445378894E-3</c:v>
                </c:pt>
                <c:pt idx="34942">
                  <c:v>8.4033613445378894E-3</c:v>
                </c:pt>
                <c:pt idx="34943">
                  <c:v>8.4033613445378894E-3</c:v>
                </c:pt>
                <c:pt idx="34944">
                  <c:v>8.4033613445378894E-3</c:v>
                </c:pt>
                <c:pt idx="34945">
                  <c:v>8.4033613445378894E-3</c:v>
                </c:pt>
                <c:pt idx="34946">
                  <c:v>8.4033613445378894E-3</c:v>
                </c:pt>
                <c:pt idx="34947">
                  <c:v>8.4033613445378894E-3</c:v>
                </c:pt>
                <c:pt idx="34948">
                  <c:v>8.4033613445378894E-3</c:v>
                </c:pt>
                <c:pt idx="34949">
                  <c:v>8.4033613445378894E-3</c:v>
                </c:pt>
                <c:pt idx="34950">
                  <c:v>8.4033613445378894E-3</c:v>
                </c:pt>
                <c:pt idx="34951">
                  <c:v>8.4033613445378894E-3</c:v>
                </c:pt>
                <c:pt idx="34952">
                  <c:v>9.2436974789916696E-3</c:v>
                </c:pt>
                <c:pt idx="34953">
                  <c:v>9.2436974789916696E-3</c:v>
                </c:pt>
                <c:pt idx="34954">
                  <c:v>9.2436974789916696E-3</c:v>
                </c:pt>
                <c:pt idx="34955">
                  <c:v>8.4033613445378894E-3</c:v>
                </c:pt>
                <c:pt idx="34956">
                  <c:v>8.4033613445378894E-3</c:v>
                </c:pt>
                <c:pt idx="34957">
                  <c:v>8.4033613445378894E-3</c:v>
                </c:pt>
                <c:pt idx="34958">
                  <c:v>8.4033613445378894E-3</c:v>
                </c:pt>
                <c:pt idx="34959">
                  <c:v>8.4033613445378894E-3</c:v>
                </c:pt>
                <c:pt idx="34960">
                  <c:v>8.4033613445378894E-3</c:v>
                </c:pt>
                <c:pt idx="34961">
                  <c:v>8.4033613445378894E-3</c:v>
                </c:pt>
                <c:pt idx="34962">
                  <c:v>8.4033613445378894E-3</c:v>
                </c:pt>
                <c:pt idx="34963">
                  <c:v>8.4033613445378894E-3</c:v>
                </c:pt>
                <c:pt idx="34964">
                  <c:v>8.4033613445378894E-3</c:v>
                </c:pt>
                <c:pt idx="34965">
                  <c:v>8.4033613445378894E-3</c:v>
                </c:pt>
                <c:pt idx="34966">
                  <c:v>8.4033613445378894E-3</c:v>
                </c:pt>
                <c:pt idx="34967">
                  <c:v>8.4033613445378894E-3</c:v>
                </c:pt>
                <c:pt idx="34968">
                  <c:v>8.4033613445378894E-3</c:v>
                </c:pt>
                <c:pt idx="34969">
                  <c:v>8.4033613445378894E-3</c:v>
                </c:pt>
                <c:pt idx="34970">
                  <c:v>8.4033613445378894E-3</c:v>
                </c:pt>
                <c:pt idx="34971">
                  <c:v>7.56302521008411E-3</c:v>
                </c:pt>
                <c:pt idx="34972">
                  <c:v>7.56302521008411E-3</c:v>
                </c:pt>
                <c:pt idx="34973">
                  <c:v>6.7226890756303297E-3</c:v>
                </c:pt>
                <c:pt idx="34974">
                  <c:v>6.7226890756303297E-3</c:v>
                </c:pt>
                <c:pt idx="34975">
                  <c:v>6.7226890756303297E-3</c:v>
                </c:pt>
                <c:pt idx="34976">
                  <c:v>6.7226890756303297E-3</c:v>
                </c:pt>
                <c:pt idx="34977">
                  <c:v>6.7226890756303297E-3</c:v>
                </c:pt>
                <c:pt idx="34978">
                  <c:v>6.7226890756303297E-3</c:v>
                </c:pt>
                <c:pt idx="34979">
                  <c:v>6.7226890756303297E-3</c:v>
                </c:pt>
                <c:pt idx="34980">
                  <c:v>6.7226890756303297E-3</c:v>
                </c:pt>
                <c:pt idx="34981">
                  <c:v>6.7226890756303297E-3</c:v>
                </c:pt>
                <c:pt idx="34982">
                  <c:v>6.7226890756303297E-3</c:v>
                </c:pt>
                <c:pt idx="34983">
                  <c:v>6.7226890756303297E-3</c:v>
                </c:pt>
                <c:pt idx="34984">
                  <c:v>6.7226890756303297E-3</c:v>
                </c:pt>
                <c:pt idx="34985">
                  <c:v>6.7226890756303297E-3</c:v>
                </c:pt>
                <c:pt idx="34986">
                  <c:v>6.7226890756303297E-3</c:v>
                </c:pt>
                <c:pt idx="34987">
                  <c:v>6.7226890756303297E-3</c:v>
                </c:pt>
                <c:pt idx="34988">
                  <c:v>6.7226890756303297E-3</c:v>
                </c:pt>
                <c:pt idx="34989">
                  <c:v>6.7226890756303297E-3</c:v>
                </c:pt>
                <c:pt idx="34990">
                  <c:v>6.7226890756303297E-3</c:v>
                </c:pt>
                <c:pt idx="34991">
                  <c:v>6.7226890756303297E-3</c:v>
                </c:pt>
                <c:pt idx="34992">
                  <c:v>6.7226890756303297E-3</c:v>
                </c:pt>
                <c:pt idx="34993">
                  <c:v>6.7226890756303297E-3</c:v>
                </c:pt>
                <c:pt idx="34994">
                  <c:v>6.7226890756303297E-3</c:v>
                </c:pt>
                <c:pt idx="34995">
                  <c:v>6.7226890756303297E-3</c:v>
                </c:pt>
                <c:pt idx="34996">
                  <c:v>6.7226890756303297E-3</c:v>
                </c:pt>
                <c:pt idx="34997">
                  <c:v>6.7226890756303297E-3</c:v>
                </c:pt>
                <c:pt idx="34998">
                  <c:v>6.7226890756303297E-3</c:v>
                </c:pt>
                <c:pt idx="34999">
                  <c:v>6.7226890756303297E-3</c:v>
                </c:pt>
                <c:pt idx="35000">
                  <c:v>6.7226890756303297E-3</c:v>
                </c:pt>
                <c:pt idx="35001">
                  <c:v>6.7226890756303297E-3</c:v>
                </c:pt>
                <c:pt idx="35002">
                  <c:v>6.7226890756303297E-3</c:v>
                </c:pt>
                <c:pt idx="35003">
                  <c:v>6.7226890756303297E-3</c:v>
                </c:pt>
                <c:pt idx="35004">
                  <c:v>6.7226890756303297E-3</c:v>
                </c:pt>
                <c:pt idx="35005">
                  <c:v>6.7226890756303297E-3</c:v>
                </c:pt>
                <c:pt idx="35006">
                  <c:v>6.7226890756303297E-3</c:v>
                </c:pt>
                <c:pt idx="35007">
                  <c:v>6.7226890756303297E-3</c:v>
                </c:pt>
                <c:pt idx="35008">
                  <c:v>6.7226890756303297E-3</c:v>
                </c:pt>
                <c:pt idx="35009">
                  <c:v>6.7226890756303297E-3</c:v>
                </c:pt>
                <c:pt idx="35010">
                  <c:v>6.7226890756303297E-3</c:v>
                </c:pt>
                <c:pt idx="35011">
                  <c:v>6.7226890756303297E-3</c:v>
                </c:pt>
                <c:pt idx="35012">
                  <c:v>6.7226890756303297E-3</c:v>
                </c:pt>
                <c:pt idx="35013">
                  <c:v>6.7226890756303297E-3</c:v>
                </c:pt>
                <c:pt idx="35014">
                  <c:v>6.7226890756303297E-3</c:v>
                </c:pt>
                <c:pt idx="35015">
                  <c:v>6.7226890756303297E-3</c:v>
                </c:pt>
                <c:pt idx="35016">
                  <c:v>6.7226890756303297E-3</c:v>
                </c:pt>
                <c:pt idx="35017">
                  <c:v>6.7226890756303297E-3</c:v>
                </c:pt>
                <c:pt idx="35018">
                  <c:v>6.7226890756303297E-3</c:v>
                </c:pt>
                <c:pt idx="35019">
                  <c:v>6.7226890756303297E-3</c:v>
                </c:pt>
                <c:pt idx="35020">
                  <c:v>6.7226890756303297E-3</c:v>
                </c:pt>
                <c:pt idx="35021">
                  <c:v>6.7226890756303297E-3</c:v>
                </c:pt>
                <c:pt idx="35022">
                  <c:v>6.7226890756303297E-3</c:v>
                </c:pt>
                <c:pt idx="35023">
                  <c:v>6.7226890756303297E-3</c:v>
                </c:pt>
                <c:pt idx="35024">
                  <c:v>6.7226890756303297E-3</c:v>
                </c:pt>
                <c:pt idx="35025">
                  <c:v>6.7226890756303297E-3</c:v>
                </c:pt>
                <c:pt idx="35026">
                  <c:v>6.7226890756303297E-3</c:v>
                </c:pt>
                <c:pt idx="35027">
                  <c:v>6.7226890756303297E-3</c:v>
                </c:pt>
                <c:pt idx="35028">
                  <c:v>6.7226890756303297E-3</c:v>
                </c:pt>
                <c:pt idx="35029">
                  <c:v>6.7226890756303297E-3</c:v>
                </c:pt>
                <c:pt idx="35030">
                  <c:v>6.7226890756303297E-3</c:v>
                </c:pt>
                <c:pt idx="35031">
                  <c:v>6.7226890756303297E-3</c:v>
                </c:pt>
                <c:pt idx="35032">
                  <c:v>6.7226890756303297E-3</c:v>
                </c:pt>
                <c:pt idx="35033">
                  <c:v>6.7226890756303297E-3</c:v>
                </c:pt>
                <c:pt idx="35034">
                  <c:v>6.7226890756303297E-3</c:v>
                </c:pt>
                <c:pt idx="35035">
                  <c:v>6.7226890756303297E-3</c:v>
                </c:pt>
                <c:pt idx="35036">
                  <c:v>6.7226890756303297E-3</c:v>
                </c:pt>
                <c:pt idx="35037">
                  <c:v>6.7226890756303297E-3</c:v>
                </c:pt>
                <c:pt idx="35038">
                  <c:v>6.7226890756303297E-3</c:v>
                </c:pt>
                <c:pt idx="35039">
                  <c:v>6.7226890756303297E-3</c:v>
                </c:pt>
                <c:pt idx="35040">
                  <c:v>6.7226890756303297E-3</c:v>
                </c:pt>
                <c:pt idx="35041">
                  <c:v>6.7226890756303297E-3</c:v>
                </c:pt>
                <c:pt idx="35042">
                  <c:v>6.7226890756303297E-3</c:v>
                </c:pt>
                <c:pt idx="35043">
                  <c:v>6.7226890756303297E-3</c:v>
                </c:pt>
                <c:pt idx="35044">
                  <c:v>6.7226890756303297E-3</c:v>
                </c:pt>
                <c:pt idx="35045">
                  <c:v>6.7226890756303297E-3</c:v>
                </c:pt>
                <c:pt idx="35046">
                  <c:v>6.7226890756303297E-3</c:v>
                </c:pt>
                <c:pt idx="35047">
                  <c:v>7.56302521008411E-3</c:v>
                </c:pt>
                <c:pt idx="35048">
                  <c:v>7.56302521008411E-3</c:v>
                </c:pt>
                <c:pt idx="35049">
                  <c:v>7.56302521008411E-3</c:v>
                </c:pt>
                <c:pt idx="35050">
                  <c:v>7.56302521008411E-3</c:v>
                </c:pt>
                <c:pt idx="35051">
                  <c:v>7.56302521008411E-3</c:v>
                </c:pt>
                <c:pt idx="35052">
                  <c:v>7.56302521008411E-3</c:v>
                </c:pt>
                <c:pt idx="35053">
                  <c:v>7.56302521008411E-3</c:v>
                </c:pt>
                <c:pt idx="35054">
                  <c:v>7.56302521008411E-3</c:v>
                </c:pt>
                <c:pt idx="35055">
                  <c:v>7.56302521008411E-3</c:v>
                </c:pt>
                <c:pt idx="35056">
                  <c:v>7.56302521008411E-3</c:v>
                </c:pt>
                <c:pt idx="35057">
                  <c:v>7.56302521008411E-3</c:v>
                </c:pt>
                <c:pt idx="35058">
                  <c:v>7.56302521008411E-3</c:v>
                </c:pt>
                <c:pt idx="35059">
                  <c:v>7.56302521008411E-3</c:v>
                </c:pt>
                <c:pt idx="35060">
                  <c:v>7.56302521008411E-3</c:v>
                </c:pt>
                <c:pt idx="35061">
                  <c:v>7.56302521008411E-3</c:v>
                </c:pt>
                <c:pt idx="35062">
                  <c:v>6.7226890756303297E-3</c:v>
                </c:pt>
                <c:pt idx="35063">
                  <c:v>6.7226890756303297E-3</c:v>
                </c:pt>
                <c:pt idx="35064">
                  <c:v>6.7226890756303297E-3</c:v>
                </c:pt>
                <c:pt idx="35065">
                  <c:v>6.7226890756303297E-3</c:v>
                </c:pt>
                <c:pt idx="35066">
                  <c:v>6.7226890756303297E-3</c:v>
                </c:pt>
                <c:pt idx="35067">
                  <c:v>6.7226890756303297E-3</c:v>
                </c:pt>
                <c:pt idx="35068">
                  <c:v>6.7226890756303297E-3</c:v>
                </c:pt>
                <c:pt idx="35069">
                  <c:v>6.7226890756303297E-3</c:v>
                </c:pt>
                <c:pt idx="35070">
                  <c:v>6.7226890756303297E-3</c:v>
                </c:pt>
                <c:pt idx="35071">
                  <c:v>6.7226890756303297E-3</c:v>
                </c:pt>
                <c:pt idx="35072">
                  <c:v>6.7226890756303297E-3</c:v>
                </c:pt>
                <c:pt idx="35073">
                  <c:v>6.7226890756303297E-3</c:v>
                </c:pt>
                <c:pt idx="35074">
                  <c:v>6.7226890756303297E-3</c:v>
                </c:pt>
                <c:pt idx="35075">
                  <c:v>6.7226890756303297E-3</c:v>
                </c:pt>
                <c:pt idx="35076">
                  <c:v>6.7226890756303297E-3</c:v>
                </c:pt>
                <c:pt idx="35077">
                  <c:v>6.7226890756303297E-3</c:v>
                </c:pt>
                <c:pt idx="35078">
                  <c:v>6.7226890756303297E-3</c:v>
                </c:pt>
                <c:pt idx="35079">
                  <c:v>6.7226890756303297E-3</c:v>
                </c:pt>
                <c:pt idx="35080">
                  <c:v>6.7226890756303297E-3</c:v>
                </c:pt>
                <c:pt idx="35081">
                  <c:v>5.8823529411765598E-3</c:v>
                </c:pt>
                <c:pt idx="35082">
                  <c:v>5.8823529411765598E-3</c:v>
                </c:pt>
                <c:pt idx="35083">
                  <c:v>5.8823529411765598E-3</c:v>
                </c:pt>
                <c:pt idx="35084">
                  <c:v>5.8823529411765598E-3</c:v>
                </c:pt>
                <c:pt idx="35085">
                  <c:v>5.8823529411765598E-3</c:v>
                </c:pt>
                <c:pt idx="35086">
                  <c:v>5.8823529411765598E-3</c:v>
                </c:pt>
                <c:pt idx="35087">
                  <c:v>5.8823529411765598E-3</c:v>
                </c:pt>
                <c:pt idx="35088">
                  <c:v>5.8823529411765598E-3</c:v>
                </c:pt>
                <c:pt idx="35089">
                  <c:v>5.8823529411765598E-3</c:v>
                </c:pt>
                <c:pt idx="35090">
                  <c:v>5.8823529411765598E-3</c:v>
                </c:pt>
                <c:pt idx="35091">
                  <c:v>5.8823529411765598E-3</c:v>
                </c:pt>
                <c:pt idx="35092">
                  <c:v>5.8823529411765598E-3</c:v>
                </c:pt>
                <c:pt idx="35093">
                  <c:v>5.8823529411765598E-3</c:v>
                </c:pt>
                <c:pt idx="35094">
                  <c:v>5.8823529411765598E-3</c:v>
                </c:pt>
                <c:pt idx="35095">
                  <c:v>5.8823529411765598E-3</c:v>
                </c:pt>
                <c:pt idx="35096">
                  <c:v>5.8823529411765598E-3</c:v>
                </c:pt>
                <c:pt idx="35097">
                  <c:v>5.8823529411765598E-3</c:v>
                </c:pt>
                <c:pt idx="35098">
                  <c:v>5.8823529411765598E-3</c:v>
                </c:pt>
                <c:pt idx="35099">
                  <c:v>5.8823529411765598E-3</c:v>
                </c:pt>
                <c:pt idx="35100">
                  <c:v>5.8823529411765598E-3</c:v>
                </c:pt>
                <c:pt idx="35101">
                  <c:v>5.8823529411765598E-3</c:v>
                </c:pt>
                <c:pt idx="35102">
                  <c:v>5.8823529411765598E-3</c:v>
                </c:pt>
                <c:pt idx="35103">
                  <c:v>5.8823529411765598E-3</c:v>
                </c:pt>
                <c:pt idx="35104">
                  <c:v>5.8823529411765598E-3</c:v>
                </c:pt>
                <c:pt idx="35105">
                  <c:v>5.8823529411765598E-3</c:v>
                </c:pt>
                <c:pt idx="35106">
                  <c:v>5.8823529411765598E-3</c:v>
                </c:pt>
                <c:pt idx="35107">
                  <c:v>5.8823529411765598E-3</c:v>
                </c:pt>
                <c:pt idx="35108">
                  <c:v>5.8823529411765598E-3</c:v>
                </c:pt>
                <c:pt idx="35109">
                  <c:v>5.8823529411765598E-3</c:v>
                </c:pt>
                <c:pt idx="35110">
                  <c:v>5.8823529411765598E-3</c:v>
                </c:pt>
                <c:pt idx="35111">
                  <c:v>5.8823529411765598E-3</c:v>
                </c:pt>
                <c:pt idx="35112">
                  <c:v>5.8823529411765598E-3</c:v>
                </c:pt>
                <c:pt idx="35113">
                  <c:v>5.8823529411765598E-3</c:v>
                </c:pt>
                <c:pt idx="35114">
                  <c:v>5.8823529411765598E-3</c:v>
                </c:pt>
                <c:pt idx="35115">
                  <c:v>5.8823529411765598E-3</c:v>
                </c:pt>
                <c:pt idx="35116">
                  <c:v>5.8823529411765598E-3</c:v>
                </c:pt>
                <c:pt idx="35117">
                  <c:v>5.8823529411765598E-3</c:v>
                </c:pt>
                <c:pt idx="35118">
                  <c:v>5.8823529411765598E-3</c:v>
                </c:pt>
                <c:pt idx="35119">
                  <c:v>5.8823529411765598E-3</c:v>
                </c:pt>
                <c:pt idx="35120">
                  <c:v>5.8823529411765598E-3</c:v>
                </c:pt>
                <c:pt idx="35121">
                  <c:v>5.8823529411765598E-3</c:v>
                </c:pt>
                <c:pt idx="35122">
                  <c:v>5.8823529411765598E-3</c:v>
                </c:pt>
                <c:pt idx="35123">
                  <c:v>5.8823529411765598E-3</c:v>
                </c:pt>
                <c:pt idx="35124">
                  <c:v>5.8823529411765598E-3</c:v>
                </c:pt>
                <c:pt idx="35125">
                  <c:v>5.8823529411765598E-3</c:v>
                </c:pt>
                <c:pt idx="35126">
                  <c:v>5.8823529411765598E-3</c:v>
                </c:pt>
                <c:pt idx="35127">
                  <c:v>5.8823529411765598E-3</c:v>
                </c:pt>
                <c:pt idx="35128">
                  <c:v>5.8823529411765598E-3</c:v>
                </c:pt>
                <c:pt idx="35129">
                  <c:v>5.8823529411765598E-3</c:v>
                </c:pt>
                <c:pt idx="35130">
                  <c:v>5.8823529411765598E-3</c:v>
                </c:pt>
                <c:pt idx="35131">
                  <c:v>5.8823529411765598E-3</c:v>
                </c:pt>
                <c:pt idx="35132">
                  <c:v>5.8823529411765598E-3</c:v>
                </c:pt>
                <c:pt idx="35133">
                  <c:v>5.8823529411765598E-3</c:v>
                </c:pt>
                <c:pt idx="35134">
                  <c:v>5.8823529411765598E-3</c:v>
                </c:pt>
                <c:pt idx="35135">
                  <c:v>5.8823529411765598E-3</c:v>
                </c:pt>
                <c:pt idx="35136">
                  <c:v>5.8823529411765598E-3</c:v>
                </c:pt>
                <c:pt idx="35137">
                  <c:v>5.8823529411765598E-3</c:v>
                </c:pt>
                <c:pt idx="35138">
                  <c:v>5.8823529411765598E-3</c:v>
                </c:pt>
                <c:pt idx="35139">
                  <c:v>5.8823529411765598E-3</c:v>
                </c:pt>
                <c:pt idx="35140">
                  <c:v>5.8823529411765598E-3</c:v>
                </c:pt>
                <c:pt idx="35141">
                  <c:v>5.8823529411765598E-3</c:v>
                </c:pt>
                <c:pt idx="35142">
                  <c:v>5.8823529411765598E-3</c:v>
                </c:pt>
                <c:pt idx="35143">
                  <c:v>5.8823529411765598E-3</c:v>
                </c:pt>
                <c:pt idx="35144">
                  <c:v>5.8823529411765598E-3</c:v>
                </c:pt>
                <c:pt idx="35145">
                  <c:v>5.8823529411765598E-3</c:v>
                </c:pt>
                <c:pt idx="35146">
                  <c:v>6.7226890756303297E-3</c:v>
                </c:pt>
                <c:pt idx="35147">
                  <c:v>6.7226890756303297E-3</c:v>
                </c:pt>
                <c:pt idx="35148">
                  <c:v>6.7226890756303297E-3</c:v>
                </c:pt>
                <c:pt idx="35149">
                  <c:v>6.7226890756303297E-3</c:v>
                </c:pt>
                <c:pt idx="35150">
                  <c:v>6.7226890756303297E-3</c:v>
                </c:pt>
                <c:pt idx="35151">
                  <c:v>6.7226890756303297E-3</c:v>
                </c:pt>
                <c:pt idx="35152">
                  <c:v>6.7226890756303297E-3</c:v>
                </c:pt>
                <c:pt idx="35153">
                  <c:v>6.7226890756303297E-3</c:v>
                </c:pt>
                <c:pt idx="35154">
                  <c:v>6.7226890756303297E-3</c:v>
                </c:pt>
                <c:pt idx="35155">
                  <c:v>5.8823529411764497E-3</c:v>
                </c:pt>
                <c:pt idx="35156">
                  <c:v>5.8823529411764497E-3</c:v>
                </c:pt>
                <c:pt idx="35157">
                  <c:v>5.8823529411764497E-3</c:v>
                </c:pt>
                <c:pt idx="35158">
                  <c:v>5.8823529411764497E-3</c:v>
                </c:pt>
                <c:pt idx="35159">
                  <c:v>5.8823529411764497E-3</c:v>
                </c:pt>
                <c:pt idx="35160">
                  <c:v>5.8823529411764497E-3</c:v>
                </c:pt>
                <c:pt idx="35161">
                  <c:v>5.8823529411764497E-3</c:v>
                </c:pt>
                <c:pt idx="35162">
                  <c:v>5.8823529411764497E-3</c:v>
                </c:pt>
                <c:pt idx="35163">
                  <c:v>5.8823529411764497E-3</c:v>
                </c:pt>
                <c:pt idx="35164">
                  <c:v>5.8823529411764497E-3</c:v>
                </c:pt>
                <c:pt idx="35165">
                  <c:v>5.8823529411764497E-3</c:v>
                </c:pt>
                <c:pt idx="35166">
                  <c:v>5.8823529411764497E-3</c:v>
                </c:pt>
                <c:pt idx="35167">
                  <c:v>5.8823529411764497E-3</c:v>
                </c:pt>
                <c:pt idx="35168">
                  <c:v>5.8823529411764497E-3</c:v>
                </c:pt>
                <c:pt idx="35169">
                  <c:v>5.8823529411764497E-3</c:v>
                </c:pt>
                <c:pt idx="35170">
                  <c:v>5.8823529411764497E-3</c:v>
                </c:pt>
                <c:pt idx="35171">
                  <c:v>5.8823529411764497E-3</c:v>
                </c:pt>
                <c:pt idx="35172">
                  <c:v>5.8823529411764497E-3</c:v>
                </c:pt>
                <c:pt idx="35173">
                  <c:v>5.8823529411764497E-3</c:v>
                </c:pt>
                <c:pt idx="35174">
                  <c:v>5.8823529411764497E-3</c:v>
                </c:pt>
                <c:pt idx="35175">
                  <c:v>5.8823529411764497E-3</c:v>
                </c:pt>
                <c:pt idx="35176">
                  <c:v>5.8823529411764497E-3</c:v>
                </c:pt>
                <c:pt idx="35177">
                  <c:v>5.8823529411764497E-3</c:v>
                </c:pt>
                <c:pt idx="35178">
                  <c:v>5.8823529411764497E-3</c:v>
                </c:pt>
                <c:pt idx="35179">
                  <c:v>5.8823529411764497E-3</c:v>
                </c:pt>
                <c:pt idx="35180">
                  <c:v>5.8823529411764497E-3</c:v>
                </c:pt>
                <c:pt idx="35181">
                  <c:v>5.8823529411764497E-3</c:v>
                </c:pt>
                <c:pt idx="35182">
                  <c:v>5.8823529411764497E-3</c:v>
                </c:pt>
                <c:pt idx="35183">
                  <c:v>5.8823529411764497E-3</c:v>
                </c:pt>
                <c:pt idx="35184">
                  <c:v>5.0420168067226703E-3</c:v>
                </c:pt>
                <c:pt idx="35185">
                  <c:v>4.20168067226889E-3</c:v>
                </c:pt>
                <c:pt idx="35186">
                  <c:v>4.20168067226889E-3</c:v>
                </c:pt>
                <c:pt idx="35187">
                  <c:v>4.20168067226889E-3</c:v>
                </c:pt>
                <c:pt idx="35188">
                  <c:v>4.20168067226889E-3</c:v>
                </c:pt>
                <c:pt idx="35189">
                  <c:v>4.20168067226889E-3</c:v>
                </c:pt>
                <c:pt idx="35190">
                  <c:v>4.20168067226889E-3</c:v>
                </c:pt>
                <c:pt idx="35191">
                  <c:v>4.20168067226889E-3</c:v>
                </c:pt>
                <c:pt idx="35192">
                  <c:v>4.20168067226889E-3</c:v>
                </c:pt>
                <c:pt idx="35193">
                  <c:v>4.20168067226889E-3</c:v>
                </c:pt>
                <c:pt idx="35194">
                  <c:v>4.20168067226889E-3</c:v>
                </c:pt>
                <c:pt idx="35195">
                  <c:v>4.20168067226889E-3</c:v>
                </c:pt>
                <c:pt idx="35196">
                  <c:v>4.20168067226889E-3</c:v>
                </c:pt>
                <c:pt idx="35197">
                  <c:v>4.20168067226889E-3</c:v>
                </c:pt>
                <c:pt idx="35198">
                  <c:v>4.20168067226889E-3</c:v>
                </c:pt>
                <c:pt idx="35199">
                  <c:v>4.20168067226889E-3</c:v>
                </c:pt>
                <c:pt idx="35200">
                  <c:v>4.20168067226889E-3</c:v>
                </c:pt>
                <c:pt idx="35201">
                  <c:v>4.20168067226889E-3</c:v>
                </c:pt>
                <c:pt idx="35202">
                  <c:v>4.20168067226889E-3</c:v>
                </c:pt>
                <c:pt idx="35203">
                  <c:v>4.20168067226889E-3</c:v>
                </c:pt>
                <c:pt idx="35204">
                  <c:v>4.20168067226889E-3</c:v>
                </c:pt>
                <c:pt idx="35205">
                  <c:v>4.20168067226889E-3</c:v>
                </c:pt>
                <c:pt idx="35206">
                  <c:v>4.20168067226889E-3</c:v>
                </c:pt>
                <c:pt idx="35207">
                  <c:v>4.20168067226889E-3</c:v>
                </c:pt>
                <c:pt idx="35208">
                  <c:v>4.20168067226889E-3</c:v>
                </c:pt>
                <c:pt idx="35209">
                  <c:v>4.20168067226889E-3</c:v>
                </c:pt>
                <c:pt idx="35210">
                  <c:v>4.20168067226889E-3</c:v>
                </c:pt>
                <c:pt idx="35211">
                  <c:v>4.20168067226889E-3</c:v>
                </c:pt>
                <c:pt idx="35212">
                  <c:v>4.20168067226889E-3</c:v>
                </c:pt>
                <c:pt idx="35213">
                  <c:v>4.20168067226889E-3</c:v>
                </c:pt>
                <c:pt idx="35214">
                  <c:v>4.20168067226889E-3</c:v>
                </c:pt>
                <c:pt idx="35215">
                  <c:v>4.20168067226889E-3</c:v>
                </c:pt>
                <c:pt idx="35216">
                  <c:v>4.20168067226889E-3</c:v>
                </c:pt>
                <c:pt idx="35217">
                  <c:v>4.20168067226889E-3</c:v>
                </c:pt>
                <c:pt idx="35218">
                  <c:v>4.20168067226889E-3</c:v>
                </c:pt>
                <c:pt idx="35219">
                  <c:v>4.20168067226889E-3</c:v>
                </c:pt>
                <c:pt idx="35220">
                  <c:v>4.20168067226889E-3</c:v>
                </c:pt>
                <c:pt idx="35221">
                  <c:v>4.20168067226889E-3</c:v>
                </c:pt>
                <c:pt idx="35222">
                  <c:v>4.20168067226889E-3</c:v>
                </c:pt>
                <c:pt idx="35223">
                  <c:v>4.20168067226889E-3</c:v>
                </c:pt>
                <c:pt idx="35224">
                  <c:v>4.20168067226889E-3</c:v>
                </c:pt>
                <c:pt idx="35225">
                  <c:v>4.20168067226889E-3</c:v>
                </c:pt>
                <c:pt idx="35226">
                  <c:v>4.20168067226889E-3</c:v>
                </c:pt>
                <c:pt idx="35227">
                  <c:v>4.20168067226889E-3</c:v>
                </c:pt>
                <c:pt idx="35228">
                  <c:v>4.20168067226889E-3</c:v>
                </c:pt>
                <c:pt idx="35229">
                  <c:v>4.20168067226889E-3</c:v>
                </c:pt>
                <c:pt idx="35230">
                  <c:v>4.20168067226889E-3</c:v>
                </c:pt>
                <c:pt idx="35231">
                  <c:v>4.20168067226889E-3</c:v>
                </c:pt>
                <c:pt idx="35232">
                  <c:v>4.20168067226889E-3</c:v>
                </c:pt>
                <c:pt idx="35233">
                  <c:v>4.20168067226889E-3</c:v>
                </c:pt>
                <c:pt idx="35234">
                  <c:v>4.20168067226889E-3</c:v>
                </c:pt>
                <c:pt idx="35235">
                  <c:v>4.20168067226889E-3</c:v>
                </c:pt>
                <c:pt idx="35236">
                  <c:v>4.20168067226889E-3</c:v>
                </c:pt>
                <c:pt idx="35237">
                  <c:v>4.20168067226889E-3</c:v>
                </c:pt>
                <c:pt idx="35238">
                  <c:v>4.20168067226889E-3</c:v>
                </c:pt>
                <c:pt idx="35239">
                  <c:v>4.20168067226889E-3</c:v>
                </c:pt>
                <c:pt idx="35240">
                  <c:v>4.20168067226889E-3</c:v>
                </c:pt>
                <c:pt idx="35241">
                  <c:v>4.20168067226889E-3</c:v>
                </c:pt>
                <c:pt idx="35242">
                  <c:v>4.20168067226889E-3</c:v>
                </c:pt>
                <c:pt idx="35243">
                  <c:v>4.20168067226889E-3</c:v>
                </c:pt>
                <c:pt idx="35244">
                  <c:v>4.20168067226889E-3</c:v>
                </c:pt>
                <c:pt idx="35245">
                  <c:v>4.20168067226889E-3</c:v>
                </c:pt>
                <c:pt idx="35246">
                  <c:v>4.20168067226889E-3</c:v>
                </c:pt>
                <c:pt idx="35247">
                  <c:v>4.20168067226889E-3</c:v>
                </c:pt>
                <c:pt idx="35248">
                  <c:v>4.20168067226889E-3</c:v>
                </c:pt>
                <c:pt idx="35249">
                  <c:v>4.20168067226889E-3</c:v>
                </c:pt>
                <c:pt idx="35250">
                  <c:v>4.20168067226889E-3</c:v>
                </c:pt>
                <c:pt idx="35251">
                  <c:v>4.20168067226889E-3</c:v>
                </c:pt>
                <c:pt idx="35252">
                  <c:v>4.20168067226889E-3</c:v>
                </c:pt>
                <c:pt idx="35253">
                  <c:v>3.3613445378151102E-3</c:v>
                </c:pt>
                <c:pt idx="35254">
                  <c:v>3.3613445378151102E-3</c:v>
                </c:pt>
                <c:pt idx="35255">
                  <c:v>3.3613445378151102E-3</c:v>
                </c:pt>
                <c:pt idx="35256">
                  <c:v>3.3613445378151102E-3</c:v>
                </c:pt>
                <c:pt idx="35257">
                  <c:v>3.3613445378151102E-3</c:v>
                </c:pt>
                <c:pt idx="35258">
                  <c:v>3.3613445378151102E-3</c:v>
                </c:pt>
                <c:pt idx="35259">
                  <c:v>3.3613445378151102E-3</c:v>
                </c:pt>
                <c:pt idx="35260">
                  <c:v>3.3613445378151102E-3</c:v>
                </c:pt>
                <c:pt idx="35261">
                  <c:v>3.3613445378151102E-3</c:v>
                </c:pt>
                <c:pt idx="35262">
                  <c:v>3.3613445378151102E-3</c:v>
                </c:pt>
                <c:pt idx="35263">
                  <c:v>3.3613445378151102E-3</c:v>
                </c:pt>
                <c:pt idx="35264">
                  <c:v>3.3613445378151102E-3</c:v>
                </c:pt>
                <c:pt idx="35265">
                  <c:v>3.3613445378151102E-3</c:v>
                </c:pt>
                <c:pt idx="35266">
                  <c:v>3.3613445378151102E-3</c:v>
                </c:pt>
                <c:pt idx="35267">
                  <c:v>3.3613445378151102E-3</c:v>
                </c:pt>
                <c:pt idx="35268">
                  <c:v>3.3613445378151102E-3</c:v>
                </c:pt>
                <c:pt idx="35269">
                  <c:v>3.3613445378151102E-3</c:v>
                </c:pt>
                <c:pt idx="35270">
                  <c:v>3.3613445378151102E-3</c:v>
                </c:pt>
                <c:pt idx="35271">
                  <c:v>3.3613445378151102E-3</c:v>
                </c:pt>
                <c:pt idx="35272">
                  <c:v>3.3613445378151102E-3</c:v>
                </c:pt>
                <c:pt idx="35273">
                  <c:v>3.3613445378151102E-3</c:v>
                </c:pt>
                <c:pt idx="35274">
                  <c:v>3.3613445378151102E-3</c:v>
                </c:pt>
                <c:pt idx="35275">
                  <c:v>3.3613445378151102E-3</c:v>
                </c:pt>
                <c:pt idx="35276">
                  <c:v>3.3613445378151102E-3</c:v>
                </c:pt>
                <c:pt idx="35277">
                  <c:v>3.3613445378151102E-3</c:v>
                </c:pt>
                <c:pt idx="35278">
                  <c:v>3.3613445378151102E-3</c:v>
                </c:pt>
                <c:pt idx="35279">
                  <c:v>3.3613445378151102E-3</c:v>
                </c:pt>
                <c:pt idx="35280">
                  <c:v>3.3613445378151102E-3</c:v>
                </c:pt>
                <c:pt idx="35281">
                  <c:v>3.3613445378151102E-3</c:v>
                </c:pt>
                <c:pt idx="35282">
                  <c:v>3.3613445378151102E-3</c:v>
                </c:pt>
                <c:pt idx="35283">
                  <c:v>3.3613445378151102E-3</c:v>
                </c:pt>
                <c:pt idx="35284">
                  <c:v>3.3613445378151102E-3</c:v>
                </c:pt>
                <c:pt idx="35285">
                  <c:v>3.3613445378151102E-3</c:v>
                </c:pt>
                <c:pt idx="35286">
                  <c:v>3.3613445378151102E-3</c:v>
                </c:pt>
                <c:pt idx="35287">
                  <c:v>3.3613445378151102E-3</c:v>
                </c:pt>
                <c:pt idx="35288">
                  <c:v>3.3613445378151102E-3</c:v>
                </c:pt>
                <c:pt idx="35289">
                  <c:v>3.3613445378151102E-3</c:v>
                </c:pt>
                <c:pt idx="35290">
                  <c:v>3.3613445378151102E-3</c:v>
                </c:pt>
                <c:pt idx="35291">
                  <c:v>3.3613445378151102E-3</c:v>
                </c:pt>
                <c:pt idx="35292">
                  <c:v>3.3613445378151102E-3</c:v>
                </c:pt>
                <c:pt idx="35293">
                  <c:v>3.3613445378151102E-3</c:v>
                </c:pt>
                <c:pt idx="35294">
                  <c:v>3.3613445378151102E-3</c:v>
                </c:pt>
                <c:pt idx="35295">
                  <c:v>3.3613445378151102E-3</c:v>
                </c:pt>
                <c:pt idx="35296">
                  <c:v>3.3613445378151102E-3</c:v>
                </c:pt>
                <c:pt idx="35297">
                  <c:v>3.3613445378151102E-3</c:v>
                </c:pt>
                <c:pt idx="35298">
                  <c:v>3.3613445378151102E-3</c:v>
                </c:pt>
                <c:pt idx="35299">
                  <c:v>2.5210084033613299E-3</c:v>
                </c:pt>
                <c:pt idx="35300">
                  <c:v>2.5210084033613299E-3</c:v>
                </c:pt>
                <c:pt idx="35301">
                  <c:v>2.5210084033613299E-3</c:v>
                </c:pt>
                <c:pt idx="35302">
                  <c:v>2.5210084033613299E-3</c:v>
                </c:pt>
                <c:pt idx="35303">
                  <c:v>2.5210084033613299E-3</c:v>
                </c:pt>
                <c:pt idx="35304">
                  <c:v>2.5210084033613299E-3</c:v>
                </c:pt>
                <c:pt idx="35305">
                  <c:v>2.5210084033613299E-3</c:v>
                </c:pt>
                <c:pt idx="35306">
                  <c:v>2.5210084033613299E-3</c:v>
                </c:pt>
                <c:pt idx="35307">
                  <c:v>2.5210084033613299E-3</c:v>
                </c:pt>
                <c:pt idx="35308">
                  <c:v>2.5210084033613299E-3</c:v>
                </c:pt>
                <c:pt idx="35309">
                  <c:v>2.5210084033613299E-3</c:v>
                </c:pt>
                <c:pt idx="35310">
                  <c:v>2.5210084033613299E-3</c:v>
                </c:pt>
                <c:pt idx="35311">
                  <c:v>2.5210084033613299E-3</c:v>
                </c:pt>
                <c:pt idx="35312">
                  <c:v>2.5210084033613299E-3</c:v>
                </c:pt>
                <c:pt idx="35313">
                  <c:v>2.5210084033613299E-3</c:v>
                </c:pt>
                <c:pt idx="35314">
                  <c:v>2.5210084033613299E-3</c:v>
                </c:pt>
                <c:pt idx="35315">
                  <c:v>2.5210084033613299E-3</c:v>
                </c:pt>
                <c:pt idx="35316">
                  <c:v>2.5210084033613299E-3</c:v>
                </c:pt>
                <c:pt idx="35317">
                  <c:v>2.5210084033613299E-3</c:v>
                </c:pt>
                <c:pt idx="35318">
                  <c:v>2.5210084033613299E-3</c:v>
                </c:pt>
                <c:pt idx="35319">
                  <c:v>2.5210084033613299E-3</c:v>
                </c:pt>
                <c:pt idx="35320">
                  <c:v>2.5210084033613299E-3</c:v>
                </c:pt>
                <c:pt idx="35321">
                  <c:v>2.5210084033613299E-3</c:v>
                </c:pt>
                <c:pt idx="35322">
                  <c:v>2.5210084033613299E-3</c:v>
                </c:pt>
                <c:pt idx="35323">
                  <c:v>2.5210084033613299E-3</c:v>
                </c:pt>
                <c:pt idx="35324">
                  <c:v>2.5210084033613299E-3</c:v>
                </c:pt>
                <c:pt idx="35325">
                  <c:v>1.6806722689075499E-3</c:v>
                </c:pt>
                <c:pt idx="35326">
                  <c:v>1.6806722689075499E-3</c:v>
                </c:pt>
                <c:pt idx="35327">
                  <c:v>1.6806722689075499E-3</c:v>
                </c:pt>
                <c:pt idx="35328">
                  <c:v>1.6806722689075499E-3</c:v>
                </c:pt>
                <c:pt idx="35329">
                  <c:v>1.6806722689075499E-3</c:v>
                </c:pt>
                <c:pt idx="35330">
                  <c:v>1.6806722689075499E-3</c:v>
                </c:pt>
                <c:pt idx="35331">
                  <c:v>1.6806722689075499E-3</c:v>
                </c:pt>
                <c:pt idx="35332">
                  <c:v>1.6806722689075499E-3</c:v>
                </c:pt>
                <c:pt idx="35333">
                  <c:v>1.6806722689075499E-3</c:v>
                </c:pt>
                <c:pt idx="35334">
                  <c:v>1.6806722689075499E-3</c:v>
                </c:pt>
                <c:pt idx="35335">
                  <c:v>1.6806722689075499E-3</c:v>
                </c:pt>
                <c:pt idx="35336">
                  <c:v>1.6806722689075499E-3</c:v>
                </c:pt>
                <c:pt idx="35337">
                  <c:v>1.6806722689075499E-3</c:v>
                </c:pt>
                <c:pt idx="35338">
                  <c:v>1.6806722689075499E-3</c:v>
                </c:pt>
                <c:pt idx="35339">
                  <c:v>1.6806722689075499E-3</c:v>
                </c:pt>
                <c:pt idx="35340">
                  <c:v>1.6806722689075499E-3</c:v>
                </c:pt>
                <c:pt idx="35341">
                  <c:v>2.5210084033613299E-3</c:v>
                </c:pt>
                <c:pt idx="35342">
                  <c:v>2.5210084033613299E-3</c:v>
                </c:pt>
                <c:pt idx="35343">
                  <c:v>2.5210084033613299E-3</c:v>
                </c:pt>
                <c:pt idx="35344">
                  <c:v>2.5210084033613299E-3</c:v>
                </c:pt>
                <c:pt idx="35345">
                  <c:v>2.5210084033613299E-3</c:v>
                </c:pt>
                <c:pt idx="35346">
                  <c:v>2.5210084033613299E-3</c:v>
                </c:pt>
                <c:pt idx="35347">
                  <c:v>2.5210084033613299E-3</c:v>
                </c:pt>
                <c:pt idx="35348">
                  <c:v>2.5210084033613299E-3</c:v>
                </c:pt>
                <c:pt idx="35349">
                  <c:v>2.5210084033613299E-3</c:v>
                </c:pt>
                <c:pt idx="35350">
                  <c:v>1.6806722689075499E-3</c:v>
                </c:pt>
                <c:pt idx="35351">
                  <c:v>1.6806722689075499E-3</c:v>
                </c:pt>
                <c:pt idx="35352">
                  <c:v>1.6806722689075499E-3</c:v>
                </c:pt>
                <c:pt idx="35353">
                  <c:v>1.6806722689075499E-3</c:v>
                </c:pt>
                <c:pt idx="35354">
                  <c:v>1.6806722689075499E-3</c:v>
                </c:pt>
                <c:pt idx="35355">
                  <c:v>1.6806722689075499E-3</c:v>
                </c:pt>
                <c:pt idx="35356">
                  <c:v>1.6806722689075499E-3</c:v>
                </c:pt>
                <c:pt idx="35357">
                  <c:v>1.6806722689075499E-3</c:v>
                </c:pt>
                <c:pt idx="35358">
                  <c:v>8.4033613445377799E-4</c:v>
                </c:pt>
                <c:pt idx="35359">
                  <c:v>8.4033613445377799E-4</c:v>
                </c:pt>
                <c:pt idx="35360">
                  <c:v>8.4033613445377799E-4</c:v>
                </c:pt>
                <c:pt idx="35361">
                  <c:v>8.4033613445377799E-4</c:v>
                </c:pt>
                <c:pt idx="35362">
                  <c:v>8.4033613445377799E-4</c:v>
                </c:pt>
                <c:pt idx="35363">
                  <c:v>8.4033613445377799E-4</c:v>
                </c:pt>
                <c:pt idx="35364">
                  <c:v>8.4033613445377799E-4</c:v>
                </c:pt>
                <c:pt idx="35365">
                  <c:v>8.4033613445377799E-4</c:v>
                </c:pt>
                <c:pt idx="35366">
                  <c:v>8.4033613445377799E-4</c:v>
                </c:pt>
                <c:pt idx="35367">
                  <c:v>8.4033613445377799E-4</c:v>
                </c:pt>
                <c:pt idx="35368">
                  <c:v>8.4033613445377799E-4</c:v>
                </c:pt>
                <c:pt idx="35369">
                  <c:v>8.4033613445377799E-4</c:v>
                </c:pt>
                <c:pt idx="35370">
                  <c:v>8.4033613445377799E-4</c:v>
                </c:pt>
                <c:pt idx="35371">
                  <c:v>8.4033613445377799E-4</c:v>
                </c:pt>
                <c:pt idx="35372">
                  <c:v>8.4033613445377799E-4</c:v>
                </c:pt>
                <c:pt idx="35373">
                  <c:v>8.4033613445377799E-4</c:v>
                </c:pt>
                <c:pt idx="35374">
                  <c:v>8.4033613445377799E-4</c:v>
                </c:pt>
                <c:pt idx="35375">
                  <c:v>8.4033613445377799E-4</c:v>
                </c:pt>
                <c:pt idx="35376">
                  <c:v>8.4033613445377799E-4</c:v>
                </c:pt>
                <c:pt idx="35377">
                  <c:v>8.4033613445377799E-4</c:v>
                </c:pt>
                <c:pt idx="35378">
                  <c:v>8.4033613445377799E-4</c:v>
                </c:pt>
                <c:pt idx="35379">
                  <c:v>8.4033613445377799E-4</c:v>
                </c:pt>
                <c:pt idx="35380">
                  <c:v>0</c:v>
                </c:pt>
                <c:pt idx="35381">
                  <c:v>0</c:v>
                </c:pt>
                <c:pt idx="35382">
                  <c:v>0</c:v>
                </c:pt>
                <c:pt idx="35383">
                  <c:v>0</c:v>
                </c:pt>
                <c:pt idx="35384">
                  <c:v>0</c:v>
                </c:pt>
                <c:pt idx="35385">
                  <c:v>0</c:v>
                </c:pt>
                <c:pt idx="35386">
                  <c:v>0</c:v>
                </c:pt>
                <c:pt idx="35387">
                  <c:v>0</c:v>
                </c:pt>
                <c:pt idx="35388">
                  <c:v>0</c:v>
                </c:pt>
                <c:pt idx="35389">
                  <c:v>0</c:v>
                </c:pt>
                <c:pt idx="35390">
                  <c:v>0</c:v>
                </c:pt>
                <c:pt idx="35391">
                  <c:v>8.4033613445377799E-4</c:v>
                </c:pt>
                <c:pt idx="35392">
                  <c:v>8.4033613445377799E-4</c:v>
                </c:pt>
                <c:pt idx="35393">
                  <c:v>8.4033613445377799E-4</c:v>
                </c:pt>
                <c:pt idx="35394">
                  <c:v>8.4033613445377799E-4</c:v>
                </c:pt>
                <c:pt idx="35395">
                  <c:v>8.4033613445377799E-4</c:v>
                </c:pt>
                <c:pt idx="35396">
                  <c:v>8.4033613445377799E-4</c:v>
                </c:pt>
                <c:pt idx="35397">
                  <c:v>8.4033613445377799E-4</c:v>
                </c:pt>
                <c:pt idx="35398">
                  <c:v>8.4033613445377799E-4</c:v>
                </c:pt>
                <c:pt idx="35399">
                  <c:v>8.4033613445377799E-4</c:v>
                </c:pt>
                <c:pt idx="35400">
                  <c:v>8.4033613445377799E-4</c:v>
                </c:pt>
                <c:pt idx="35401">
                  <c:v>8.4033613445377799E-4</c:v>
                </c:pt>
                <c:pt idx="35402">
                  <c:v>8.4033613445377799E-4</c:v>
                </c:pt>
                <c:pt idx="35403">
                  <c:v>8.4033613445377799E-4</c:v>
                </c:pt>
                <c:pt idx="35404">
                  <c:v>1.6806722689075499E-3</c:v>
                </c:pt>
                <c:pt idx="35405">
                  <c:v>1.6806722689075499E-3</c:v>
                </c:pt>
                <c:pt idx="35406">
                  <c:v>1.6806722689075499E-3</c:v>
                </c:pt>
                <c:pt idx="35407">
                  <c:v>1.6806722689075499E-3</c:v>
                </c:pt>
                <c:pt idx="35408">
                  <c:v>1.6806722689075499E-3</c:v>
                </c:pt>
                <c:pt idx="35409">
                  <c:v>1.6806722689075499E-3</c:v>
                </c:pt>
                <c:pt idx="35410">
                  <c:v>1.6806722689075499E-3</c:v>
                </c:pt>
                <c:pt idx="35411">
                  <c:v>1.6806722689075499E-3</c:v>
                </c:pt>
                <c:pt idx="35412">
                  <c:v>1.6806722689075499E-3</c:v>
                </c:pt>
                <c:pt idx="35413">
                  <c:v>1.6806722689075499E-3</c:v>
                </c:pt>
                <c:pt idx="35414">
                  <c:v>1.6806722689075499E-3</c:v>
                </c:pt>
                <c:pt idx="35415">
                  <c:v>1.6806722689075499E-3</c:v>
                </c:pt>
                <c:pt idx="35416">
                  <c:v>1.6806722689075499E-3</c:v>
                </c:pt>
                <c:pt idx="35417">
                  <c:v>1.6806722689075499E-3</c:v>
                </c:pt>
                <c:pt idx="35418">
                  <c:v>8.4033613445377799E-4</c:v>
                </c:pt>
                <c:pt idx="35419">
                  <c:v>8.4033613445377799E-4</c:v>
                </c:pt>
                <c:pt idx="35420">
                  <c:v>8.4033613445377799E-4</c:v>
                </c:pt>
                <c:pt idx="35421">
                  <c:v>8.4033613445377799E-4</c:v>
                </c:pt>
                <c:pt idx="35422">
                  <c:v>8.4033613445377799E-4</c:v>
                </c:pt>
                <c:pt idx="35423">
                  <c:v>8.4033613445377799E-4</c:v>
                </c:pt>
                <c:pt idx="35424">
                  <c:v>8.4033613445377799E-4</c:v>
                </c:pt>
                <c:pt idx="35425">
                  <c:v>8.4033613445377799E-4</c:v>
                </c:pt>
                <c:pt idx="35426">
                  <c:v>8.4033613445377799E-4</c:v>
                </c:pt>
                <c:pt idx="35427">
                  <c:v>8.4033613445377799E-4</c:v>
                </c:pt>
                <c:pt idx="35428">
                  <c:v>8.4033613445377799E-4</c:v>
                </c:pt>
                <c:pt idx="35429">
                  <c:v>8.4033613445377799E-4</c:v>
                </c:pt>
                <c:pt idx="35430">
                  <c:v>8.4033613445377799E-4</c:v>
                </c:pt>
                <c:pt idx="35431">
                  <c:v>8.4033613445377799E-4</c:v>
                </c:pt>
                <c:pt idx="35432">
                  <c:v>8.4033613445377799E-4</c:v>
                </c:pt>
                <c:pt idx="35433">
                  <c:v>8.4033613445377799E-4</c:v>
                </c:pt>
                <c:pt idx="35434">
                  <c:v>8.4033613445377799E-4</c:v>
                </c:pt>
                <c:pt idx="35435">
                  <c:v>8.4033613445377799E-4</c:v>
                </c:pt>
                <c:pt idx="35436">
                  <c:v>8.4033613445377799E-4</c:v>
                </c:pt>
                <c:pt idx="35437">
                  <c:v>8.4033613445377799E-4</c:v>
                </c:pt>
                <c:pt idx="35438">
                  <c:v>8.4033613445377799E-4</c:v>
                </c:pt>
                <c:pt idx="35439">
                  <c:v>8.4033613445377799E-4</c:v>
                </c:pt>
                <c:pt idx="35440">
                  <c:v>8.4033613445377799E-4</c:v>
                </c:pt>
                <c:pt idx="35441">
                  <c:v>8.4033613445377799E-4</c:v>
                </c:pt>
                <c:pt idx="35442">
                  <c:v>8.4033613445377799E-4</c:v>
                </c:pt>
                <c:pt idx="35443">
                  <c:v>8.4033613445377799E-4</c:v>
                </c:pt>
                <c:pt idx="35444">
                  <c:v>8.4033613445377799E-4</c:v>
                </c:pt>
                <c:pt idx="35445">
                  <c:v>8.4033613445377799E-4</c:v>
                </c:pt>
                <c:pt idx="35446">
                  <c:v>8.4033613445377799E-4</c:v>
                </c:pt>
                <c:pt idx="35447">
                  <c:v>8.4033613445377799E-4</c:v>
                </c:pt>
                <c:pt idx="35448">
                  <c:v>8.4033613445377799E-4</c:v>
                </c:pt>
                <c:pt idx="35449">
                  <c:v>8.4033613445377799E-4</c:v>
                </c:pt>
                <c:pt idx="35450">
                  <c:v>8.4033613445377799E-4</c:v>
                </c:pt>
                <c:pt idx="35451">
                  <c:v>8.4033613445377799E-4</c:v>
                </c:pt>
                <c:pt idx="35452">
                  <c:v>8.4033613445377799E-4</c:v>
                </c:pt>
                <c:pt idx="35453">
                  <c:v>8.4033613445377799E-4</c:v>
                </c:pt>
                <c:pt idx="35454">
                  <c:v>8.4033613445377799E-4</c:v>
                </c:pt>
                <c:pt idx="35455">
                  <c:v>8.4033613445377799E-4</c:v>
                </c:pt>
                <c:pt idx="35456">
                  <c:v>8.4033613445377799E-4</c:v>
                </c:pt>
                <c:pt idx="35457">
                  <c:v>0</c:v>
                </c:pt>
                <c:pt idx="35458">
                  <c:v>0</c:v>
                </c:pt>
                <c:pt idx="35459">
                  <c:v>0</c:v>
                </c:pt>
                <c:pt idx="35460">
                  <c:v>0</c:v>
                </c:pt>
                <c:pt idx="35461">
                  <c:v>0</c:v>
                </c:pt>
                <c:pt idx="35462">
                  <c:v>0</c:v>
                </c:pt>
                <c:pt idx="35463">
                  <c:v>0</c:v>
                </c:pt>
                <c:pt idx="35464">
                  <c:v>0</c:v>
                </c:pt>
                <c:pt idx="35465">
                  <c:v>0</c:v>
                </c:pt>
                <c:pt idx="35466">
                  <c:v>0</c:v>
                </c:pt>
                <c:pt idx="35467">
                  <c:v>0</c:v>
                </c:pt>
                <c:pt idx="35468">
                  <c:v>0</c:v>
                </c:pt>
                <c:pt idx="35469">
                  <c:v>0</c:v>
                </c:pt>
                <c:pt idx="35470">
                  <c:v>0</c:v>
                </c:pt>
                <c:pt idx="35471">
                  <c:v>0</c:v>
                </c:pt>
                <c:pt idx="35472">
                  <c:v>0</c:v>
                </c:pt>
                <c:pt idx="35473">
                  <c:v>0</c:v>
                </c:pt>
                <c:pt idx="35474">
                  <c:v>8.4033613445377799E-4</c:v>
                </c:pt>
                <c:pt idx="35475">
                  <c:v>8.4033613445377799E-4</c:v>
                </c:pt>
                <c:pt idx="35476">
                  <c:v>8.4033613445377799E-4</c:v>
                </c:pt>
                <c:pt idx="35477">
                  <c:v>8.4033613445377799E-4</c:v>
                </c:pt>
                <c:pt idx="35478">
                  <c:v>8.4033613445377799E-4</c:v>
                </c:pt>
                <c:pt idx="35479">
                  <c:v>8.4033613445377799E-4</c:v>
                </c:pt>
                <c:pt idx="35480">
                  <c:v>8.4033613445377799E-4</c:v>
                </c:pt>
                <c:pt idx="35481">
                  <c:v>8.4033613445377799E-4</c:v>
                </c:pt>
                <c:pt idx="35482">
                  <c:v>8.4033613445377799E-4</c:v>
                </c:pt>
                <c:pt idx="35483">
                  <c:v>8.4033613445377799E-4</c:v>
                </c:pt>
                <c:pt idx="35484">
                  <c:v>8.4033613445377799E-4</c:v>
                </c:pt>
                <c:pt idx="35485">
                  <c:v>8.4033613445377799E-4</c:v>
                </c:pt>
                <c:pt idx="35486">
                  <c:v>8.4033613445377799E-4</c:v>
                </c:pt>
                <c:pt idx="35487">
                  <c:v>8.4033613445377799E-4</c:v>
                </c:pt>
                <c:pt idx="35488">
                  <c:v>8.4033613445377799E-4</c:v>
                </c:pt>
                <c:pt idx="35489">
                  <c:v>8.4033613445377799E-4</c:v>
                </c:pt>
                <c:pt idx="35490">
                  <c:v>8.4033613445377799E-4</c:v>
                </c:pt>
                <c:pt idx="35491">
                  <c:v>8.4033613445377799E-4</c:v>
                </c:pt>
                <c:pt idx="35492">
                  <c:v>8.4033613445377799E-4</c:v>
                </c:pt>
                <c:pt idx="35493">
                  <c:v>8.4033613445377799E-4</c:v>
                </c:pt>
                <c:pt idx="35494">
                  <c:v>8.4033613445377799E-4</c:v>
                </c:pt>
                <c:pt idx="35495">
                  <c:v>8.4033613445377799E-4</c:v>
                </c:pt>
                <c:pt idx="35496">
                  <c:v>8.4033613445377799E-4</c:v>
                </c:pt>
                <c:pt idx="35497">
                  <c:v>8.4033613445377799E-4</c:v>
                </c:pt>
                <c:pt idx="35498">
                  <c:v>8.4033613445377799E-4</c:v>
                </c:pt>
                <c:pt idx="35499">
                  <c:v>8.4033613445377799E-4</c:v>
                </c:pt>
                <c:pt idx="35500">
                  <c:v>8.4033613445377799E-4</c:v>
                </c:pt>
                <c:pt idx="35501">
                  <c:v>8.4033613445377799E-4</c:v>
                </c:pt>
                <c:pt idx="35502">
                  <c:v>8.4033613445377799E-4</c:v>
                </c:pt>
                <c:pt idx="35503">
                  <c:v>8.4033613445377799E-4</c:v>
                </c:pt>
                <c:pt idx="35504">
                  <c:v>8.4033613445377799E-4</c:v>
                </c:pt>
                <c:pt idx="35505">
                  <c:v>8.4033613445377799E-4</c:v>
                </c:pt>
                <c:pt idx="35506">
                  <c:v>8.4033613445377799E-4</c:v>
                </c:pt>
                <c:pt idx="35507">
                  <c:v>8.4033613445377799E-4</c:v>
                </c:pt>
                <c:pt idx="35508">
                  <c:v>8.4033613445377799E-4</c:v>
                </c:pt>
                <c:pt idx="35509">
                  <c:v>8.4033613445377799E-4</c:v>
                </c:pt>
                <c:pt idx="35510">
                  <c:v>8.4033613445377799E-4</c:v>
                </c:pt>
                <c:pt idx="35511">
                  <c:v>8.4033613445377799E-4</c:v>
                </c:pt>
                <c:pt idx="35512">
                  <c:v>8.4033613445377799E-4</c:v>
                </c:pt>
                <c:pt idx="35513">
                  <c:v>8.4033613445377799E-4</c:v>
                </c:pt>
                <c:pt idx="35514">
                  <c:v>8.4033613445377799E-4</c:v>
                </c:pt>
                <c:pt idx="35515">
                  <c:v>8.4033613445377799E-4</c:v>
                </c:pt>
                <c:pt idx="35516">
                  <c:v>8.4033613445377799E-4</c:v>
                </c:pt>
                <c:pt idx="35517">
                  <c:v>8.4033613445377799E-4</c:v>
                </c:pt>
                <c:pt idx="35518">
                  <c:v>8.4033613445377799E-4</c:v>
                </c:pt>
                <c:pt idx="35519">
                  <c:v>8.4033613445377799E-4</c:v>
                </c:pt>
                <c:pt idx="35520">
                  <c:v>8.4033613445377799E-4</c:v>
                </c:pt>
                <c:pt idx="35521">
                  <c:v>8.4033613445377799E-4</c:v>
                </c:pt>
                <c:pt idx="35522">
                  <c:v>8.4033613445377799E-4</c:v>
                </c:pt>
                <c:pt idx="35523">
                  <c:v>8.4033613445377799E-4</c:v>
                </c:pt>
                <c:pt idx="35524">
                  <c:v>8.4033613445377799E-4</c:v>
                </c:pt>
                <c:pt idx="35525">
                  <c:v>8.4033613445377799E-4</c:v>
                </c:pt>
                <c:pt idx="35526">
                  <c:v>8.4033613445377799E-4</c:v>
                </c:pt>
                <c:pt idx="35527">
                  <c:v>8.4033613445377799E-4</c:v>
                </c:pt>
                <c:pt idx="35528">
                  <c:v>8.4033613445377799E-4</c:v>
                </c:pt>
                <c:pt idx="35529">
                  <c:v>8.4033613445377799E-4</c:v>
                </c:pt>
                <c:pt idx="35530">
                  <c:v>8.4033613445377799E-4</c:v>
                </c:pt>
                <c:pt idx="35531">
                  <c:v>8.4033613445377799E-4</c:v>
                </c:pt>
                <c:pt idx="35532">
                  <c:v>8.4033613445377799E-4</c:v>
                </c:pt>
                <c:pt idx="35533">
                  <c:v>8.4033613445377799E-4</c:v>
                </c:pt>
                <c:pt idx="35534">
                  <c:v>8.4033613445377799E-4</c:v>
                </c:pt>
                <c:pt idx="35535">
                  <c:v>8.4033613445377799E-4</c:v>
                </c:pt>
                <c:pt idx="35536">
                  <c:v>8.4033613445377799E-4</c:v>
                </c:pt>
                <c:pt idx="35537">
                  <c:v>8.4033613445377799E-4</c:v>
                </c:pt>
                <c:pt idx="35538">
                  <c:v>8.4033613445377799E-4</c:v>
                </c:pt>
                <c:pt idx="35539">
                  <c:v>8.4033613445377799E-4</c:v>
                </c:pt>
                <c:pt idx="35540">
                  <c:v>8.4033613445377799E-4</c:v>
                </c:pt>
                <c:pt idx="35541">
                  <c:v>8.4033613445377799E-4</c:v>
                </c:pt>
                <c:pt idx="35542">
                  <c:v>8.4033613445377799E-4</c:v>
                </c:pt>
                <c:pt idx="35543">
                  <c:v>8.4033613445377799E-4</c:v>
                </c:pt>
                <c:pt idx="35544">
                  <c:v>8.4033613445377799E-4</c:v>
                </c:pt>
                <c:pt idx="35545">
                  <c:v>0</c:v>
                </c:pt>
                <c:pt idx="35546">
                  <c:v>0</c:v>
                </c:pt>
                <c:pt idx="35547">
                  <c:v>0</c:v>
                </c:pt>
                <c:pt idx="35548">
                  <c:v>0</c:v>
                </c:pt>
                <c:pt idx="35549">
                  <c:v>0</c:v>
                </c:pt>
                <c:pt idx="35550">
                  <c:v>0</c:v>
                </c:pt>
                <c:pt idx="35551">
                  <c:v>0</c:v>
                </c:pt>
                <c:pt idx="35552">
                  <c:v>0</c:v>
                </c:pt>
                <c:pt idx="35553">
                  <c:v>0</c:v>
                </c:pt>
                <c:pt idx="35554">
                  <c:v>0</c:v>
                </c:pt>
                <c:pt idx="35555">
                  <c:v>0</c:v>
                </c:pt>
                <c:pt idx="35556">
                  <c:v>0</c:v>
                </c:pt>
                <c:pt idx="35557">
                  <c:v>0</c:v>
                </c:pt>
                <c:pt idx="35558">
                  <c:v>0</c:v>
                </c:pt>
                <c:pt idx="35559">
                  <c:v>0</c:v>
                </c:pt>
                <c:pt idx="35560">
                  <c:v>0</c:v>
                </c:pt>
                <c:pt idx="35561">
                  <c:v>0</c:v>
                </c:pt>
                <c:pt idx="35562">
                  <c:v>0</c:v>
                </c:pt>
                <c:pt idx="35563">
                  <c:v>0</c:v>
                </c:pt>
                <c:pt idx="35564">
                  <c:v>0</c:v>
                </c:pt>
                <c:pt idx="35565">
                  <c:v>0</c:v>
                </c:pt>
                <c:pt idx="35566">
                  <c:v>0</c:v>
                </c:pt>
                <c:pt idx="35567">
                  <c:v>0</c:v>
                </c:pt>
                <c:pt idx="35568">
                  <c:v>0</c:v>
                </c:pt>
                <c:pt idx="35569">
                  <c:v>0</c:v>
                </c:pt>
                <c:pt idx="35570">
                  <c:v>0</c:v>
                </c:pt>
                <c:pt idx="35571">
                  <c:v>0</c:v>
                </c:pt>
                <c:pt idx="35572">
                  <c:v>0</c:v>
                </c:pt>
                <c:pt idx="35573">
                  <c:v>0</c:v>
                </c:pt>
                <c:pt idx="35574">
                  <c:v>0</c:v>
                </c:pt>
                <c:pt idx="35575">
                  <c:v>0</c:v>
                </c:pt>
                <c:pt idx="35576">
                  <c:v>0</c:v>
                </c:pt>
                <c:pt idx="35577">
                  <c:v>0</c:v>
                </c:pt>
                <c:pt idx="35578">
                  <c:v>0</c:v>
                </c:pt>
                <c:pt idx="35579">
                  <c:v>0</c:v>
                </c:pt>
                <c:pt idx="35580">
                  <c:v>0</c:v>
                </c:pt>
                <c:pt idx="35581">
                  <c:v>0</c:v>
                </c:pt>
                <c:pt idx="35582">
                  <c:v>0</c:v>
                </c:pt>
                <c:pt idx="35583">
                  <c:v>0</c:v>
                </c:pt>
                <c:pt idx="35584">
                  <c:v>0</c:v>
                </c:pt>
                <c:pt idx="35585">
                  <c:v>0</c:v>
                </c:pt>
                <c:pt idx="35586">
                  <c:v>0</c:v>
                </c:pt>
                <c:pt idx="35587">
                  <c:v>0</c:v>
                </c:pt>
                <c:pt idx="35588">
                  <c:v>0</c:v>
                </c:pt>
                <c:pt idx="35589">
                  <c:v>0</c:v>
                </c:pt>
                <c:pt idx="35590">
                  <c:v>0</c:v>
                </c:pt>
                <c:pt idx="35591">
                  <c:v>0</c:v>
                </c:pt>
                <c:pt idx="35592">
                  <c:v>0</c:v>
                </c:pt>
                <c:pt idx="35593">
                  <c:v>8.4033613445377799E-4</c:v>
                </c:pt>
                <c:pt idx="35594">
                  <c:v>8.4033613445377799E-4</c:v>
                </c:pt>
                <c:pt idx="35595">
                  <c:v>8.4033613445377799E-4</c:v>
                </c:pt>
                <c:pt idx="35596">
                  <c:v>8.4033613445377799E-4</c:v>
                </c:pt>
                <c:pt idx="35597">
                  <c:v>8.4033613445377799E-4</c:v>
                </c:pt>
                <c:pt idx="35598">
                  <c:v>8.4033613445377799E-4</c:v>
                </c:pt>
                <c:pt idx="35599">
                  <c:v>8.4033613445377799E-4</c:v>
                </c:pt>
                <c:pt idx="35600">
                  <c:v>8.4033613445377799E-4</c:v>
                </c:pt>
                <c:pt idx="35601">
                  <c:v>8.4033613445377799E-4</c:v>
                </c:pt>
                <c:pt idx="35602">
                  <c:v>8.4033613445377799E-4</c:v>
                </c:pt>
                <c:pt idx="35603">
                  <c:v>8.4033613445377799E-4</c:v>
                </c:pt>
                <c:pt idx="35604">
                  <c:v>8.4033613445377799E-4</c:v>
                </c:pt>
                <c:pt idx="35605">
                  <c:v>8.4033613445377799E-4</c:v>
                </c:pt>
                <c:pt idx="35606">
                  <c:v>8.4033613445377799E-4</c:v>
                </c:pt>
                <c:pt idx="35607">
                  <c:v>8.4033613445377799E-4</c:v>
                </c:pt>
                <c:pt idx="35608">
                  <c:v>8.4033613445377799E-4</c:v>
                </c:pt>
                <c:pt idx="35609">
                  <c:v>8.4033613445377799E-4</c:v>
                </c:pt>
                <c:pt idx="35610">
                  <c:v>8.4033613445377799E-4</c:v>
                </c:pt>
                <c:pt idx="35611">
                  <c:v>8.4033613445377799E-4</c:v>
                </c:pt>
                <c:pt idx="35612">
                  <c:v>8.4033613445377799E-4</c:v>
                </c:pt>
                <c:pt idx="35613">
                  <c:v>8.4033613445377799E-4</c:v>
                </c:pt>
                <c:pt idx="35614">
                  <c:v>8.4033613445377799E-4</c:v>
                </c:pt>
                <c:pt idx="35615">
                  <c:v>8.4033613445377799E-4</c:v>
                </c:pt>
                <c:pt idx="35616">
                  <c:v>8.4033613445377799E-4</c:v>
                </c:pt>
                <c:pt idx="35617">
                  <c:v>8.4033613445377799E-4</c:v>
                </c:pt>
                <c:pt idx="35618">
                  <c:v>8.4033613445377799E-4</c:v>
                </c:pt>
                <c:pt idx="35619">
                  <c:v>8.4033613445377799E-4</c:v>
                </c:pt>
                <c:pt idx="35620">
                  <c:v>8.4033613445377799E-4</c:v>
                </c:pt>
                <c:pt idx="35621">
                  <c:v>0</c:v>
                </c:pt>
                <c:pt idx="35622">
                  <c:v>0</c:v>
                </c:pt>
                <c:pt idx="35623">
                  <c:v>0</c:v>
                </c:pt>
                <c:pt idx="35624">
                  <c:v>0</c:v>
                </c:pt>
                <c:pt idx="35625">
                  <c:v>0</c:v>
                </c:pt>
                <c:pt idx="35626">
                  <c:v>0</c:v>
                </c:pt>
                <c:pt idx="35627">
                  <c:v>0</c:v>
                </c:pt>
                <c:pt idx="35628">
                  <c:v>0</c:v>
                </c:pt>
                <c:pt idx="35629">
                  <c:v>0</c:v>
                </c:pt>
                <c:pt idx="35630">
                  <c:v>0</c:v>
                </c:pt>
                <c:pt idx="35631">
                  <c:v>0</c:v>
                </c:pt>
                <c:pt idx="35632">
                  <c:v>0</c:v>
                </c:pt>
                <c:pt idx="35633">
                  <c:v>0</c:v>
                </c:pt>
                <c:pt idx="35634">
                  <c:v>0</c:v>
                </c:pt>
                <c:pt idx="35635">
                  <c:v>0</c:v>
                </c:pt>
                <c:pt idx="35636">
                  <c:v>0</c:v>
                </c:pt>
                <c:pt idx="35637">
                  <c:v>0</c:v>
                </c:pt>
                <c:pt idx="35638">
                  <c:v>0</c:v>
                </c:pt>
                <c:pt idx="35639">
                  <c:v>0</c:v>
                </c:pt>
                <c:pt idx="35640">
                  <c:v>0</c:v>
                </c:pt>
                <c:pt idx="35641">
                  <c:v>0</c:v>
                </c:pt>
                <c:pt idx="35642">
                  <c:v>0</c:v>
                </c:pt>
                <c:pt idx="35643">
                  <c:v>0</c:v>
                </c:pt>
                <c:pt idx="35644">
                  <c:v>0</c:v>
                </c:pt>
                <c:pt idx="35645">
                  <c:v>0</c:v>
                </c:pt>
                <c:pt idx="35646">
                  <c:v>0</c:v>
                </c:pt>
                <c:pt idx="35647">
                  <c:v>0</c:v>
                </c:pt>
                <c:pt idx="35648">
                  <c:v>0</c:v>
                </c:pt>
                <c:pt idx="35649">
                  <c:v>0</c:v>
                </c:pt>
                <c:pt idx="35650">
                  <c:v>0</c:v>
                </c:pt>
                <c:pt idx="35651">
                  <c:v>0</c:v>
                </c:pt>
                <c:pt idx="35652">
                  <c:v>0</c:v>
                </c:pt>
                <c:pt idx="35653">
                  <c:v>0</c:v>
                </c:pt>
                <c:pt idx="35654">
                  <c:v>0</c:v>
                </c:pt>
                <c:pt idx="35655">
                  <c:v>0</c:v>
                </c:pt>
                <c:pt idx="35656">
                  <c:v>0</c:v>
                </c:pt>
                <c:pt idx="35657">
                  <c:v>0</c:v>
                </c:pt>
                <c:pt idx="35658">
                  <c:v>0</c:v>
                </c:pt>
                <c:pt idx="35659">
                  <c:v>0</c:v>
                </c:pt>
                <c:pt idx="35660">
                  <c:v>0</c:v>
                </c:pt>
                <c:pt idx="35661">
                  <c:v>0</c:v>
                </c:pt>
                <c:pt idx="35662">
                  <c:v>0</c:v>
                </c:pt>
                <c:pt idx="35663">
                  <c:v>0</c:v>
                </c:pt>
                <c:pt idx="35664">
                  <c:v>0</c:v>
                </c:pt>
                <c:pt idx="35665">
                  <c:v>0</c:v>
                </c:pt>
                <c:pt idx="35666">
                  <c:v>0</c:v>
                </c:pt>
                <c:pt idx="35667">
                  <c:v>0</c:v>
                </c:pt>
                <c:pt idx="35668">
                  <c:v>0</c:v>
                </c:pt>
                <c:pt idx="35669">
                  <c:v>0</c:v>
                </c:pt>
                <c:pt idx="35670">
                  <c:v>0</c:v>
                </c:pt>
                <c:pt idx="35671">
                  <c:v>0</c:v>
                </c:pt>
                <c:pt idx="35672">
                  <c:v>0</c:v>
                </c:pt>
                <c:pt idx="35673">
                  <c:v>0</c:v>
                </c:pt>
                <c:pt idx="35674">
                  <c:v>0</c:v>
                </c:pt>
                <c:pt idx="35675">
                  <c:v>0</c:v>
                </c:pt>
                <c:pt idx="35676">
                  <c:v>0</c:v>
                </c:pt>
                <c:pt idx="35677">
                  <c:v>0</c:v>
                </c:pt>
                <c:pt idx="35678">
                  <c:v>0</c:v>
                </c:pt>
                <c:pt idx="35679">
                  <c:v>0</c:v>
                </c:pt>
                <c:pt idx="35680">
                  <c:v>0</c:v>
                </c:pt>
                <c:pt idx="35681">
                  <c:v>0</c:v>
                </c:pt>
                <c:pt idx="35682">
                  <c:v>0</c:v>
                </c:pt>
                <c:pt idx="35683">
                  <c:v>0</c:v>
                </c:pt>
                <c:pt idx="35684">
                  <c:v>8.4033613445377799E-4</c:v>
                </c:pt>
                <c:pt idx="35685">
                  <c:v>8.4033613445377799E-4</c:v>
                </c:pt>
                <c:pt idx="35686">
                  <c:v>8.4033613445377799E-4</c:v>
                </c:pt>
                <c:pt idx="35687">
                  <c:v>8.4033613445377799E-4</c:v>
                </c:pt>
                <c:pt idx="35688">
                  <c:v>8.4033613445377799E-4</c:v>
                </c:pt>
                <c:pt idx="35689">
                  <c:v>8.4033613445377799E-4</c:v>
                </c:pt>
                <c:pt idx="35690">
                  <c:v>8.4033613445377799E-4</c:v>
                </c:pt>
                <c:pt idx="35691">
                  <c:v>8.4033613445377799E-4</c:v>
                </c:pt>
                <c:pt idx="35692">
                  <c:v>8.4033613445377799E-4</c:v>
                </c:pt>
                <c:pt idx="35693">
                  <c:v>8.4033613445377799E-4</c:v>
                </c:pt>
                <c:pt idx="35694">
                  <c:v>8.4033613445377799E-4</c:v>
                </c:pt>
                <c:pt idx="35695">
                  <c:v>8.4033613445377799E-4</c:v>
                </c:pt>
                <c:pt idx="35696">
                  <c:v>8.4033613445377799E-4</c:v>
                </c:pt>
                <c:pt idx="35697">
                  <c:v>8.4033613445377799E-4</c:v>
                </c:pt>
                <c:pt idx="35698">
                  <c:v>8.4033613445377799E-4</c:v>
                </c:pt>
                <c:pt idx="35699">
                  <c:v>8.4033613445377799E-4</c:v>
                </c:pt>
                <c:pt idx="35700">
                  <c:v>8.4033613445377799E-4</c:v>
                </c:pt>
                <c:pt idx="35701">
                  <c:v>8.4033613445377799E-4</c:v>
                </c:pt>
                <c:pt idx="35702">
                  <c:v>8.4033613445377799E-4</c:v>
                </c:pt>
                <c:pt idx="35703">
                  <c:v>8.4033613445377799E-4</c:v>
                </c:pt>
                <c:pt idx="35704">
                  <c:v>8.4033613445377799E-4</c:v>
                </c:pt>
                <c:pt idx="35705">
                  <c:v>8.4033613445377799E-4</c:v>
                </c:pt>
                <c:pt idx="35706">
                  <c:v>8.4033613445377799E-4</c:v>
                </c:pt>
                <c:pt idx="35707">
                  <c:v>8.4033613445377799E-4</c:v>
                </c:pt>
                <c:pt idx="35708">
                  <c:v>8.4033613445377799E-4</c:v>
                </c:pt>
                <c:pt idx="35709">
                  <c:v>8.4033613445377799E-4</c:v>
                </c:pt>
                <c:pt idx="35710">
                  <c:v>8.4033613445377799E-4</c:v>
                </c:pt>
                <c:pt idx="35711">
                  <c:v>8.4033613445377799E-4</c:v>
                </c:pt>
                <c:pt idx="35712">
                  <c:v>8.4033613445377799E-4</c:v>
                </c:pt>
                <c:pt idx="35713">
                  <c:v>8.4033613445377799E-4</c:v>
                </c:pt>
                <c:pt idx="35714">
                  <c:v>8.4033613445377799E-4</c:v>
                </c:pt>
                <c:pt idx="35715">
                  <c:v>8.4033613445377799E-4</c:v>
                </c:pt>
                <c:pt idx="35716">
                  <c:v>8.4033613445377799E-4</c:v>
                </c:pt>
                <c:pt idx="35717">
                  <c:v>8.4033613445377799E-4</c:v>
                </c:pt>
                <c:pt idx="35718">
                  <c:v>8.4033613445377799E-4</c:v>
                </c:pt>
                <c:pt idx="35719">
                  <c:v>8.4033613445377799E-4</c:v>
                </c:pt>
                <c:pt idx="35720">
                  <c:v>8.4033613445377799E-4</c:v>
                </c:pt>
                <c:pt idx="35721">
                  <c:v>8.4033613445377799E-4</c:v>
                </c:pt>
                <c:pt idx="35722">
                  <c:v>8.4033613445377799E-4</c:v>
                </c:pt>
                <c:pt idx="35723">
                  <c:v>8.4033613445377799E-4</c:v>
                </c:pt>
                <c:pt idx="35724">
                  <c:v>8.4033613445377799E-4</c:v>
                </c:pt>
                <c:pt idx="35725">
                  <c:v>8.4033613445377799E-4</c:v>
                </c:pt>
                <c:pt idx="35726">
                  <c:v>0</c:v>
                </c:pt>
                <c:pt idx="35727">
                  <c:v>0</c:v>
                </c:pt>
                <c:pt idx="35728">
                  <c:v>0</c:v>
                </c:pt>
                <c:pt idx="35729">
                  <c:v>0</c:v>
                </c:pt>
                <c:pt idx="35730">
                  <c:v>0</c:v>
                </c:pt>
                <c:pt idx="35731">
                  <c:v>0</c:v>
                </c:pt>
                <c:pt idx="35732">
                  <c:v>0</c:v>
                </c:pt>
                <c:pt idx="35733">
                  <c:v>0</c:v>
                </c:pt>
                <c:pt idx="35734">
                  <c:v>0</c:v>
                </c:pt>
                <c:pt idx="35735">
                  <c:v>0</c:v>
                </c:pt>
                <c:pt idx="35736">
                  <c:v>0</c:v>
                </c:pt>
                <c:pt idx="35737">
                  <c:v>0</c:v>
                </c:pt>
                <c:pt idx="35738">
                  <c:v>0</c:v>
                </c:pt>
                <c:pt idx="35739">
                  <c:v>0</c:v>
                </c:pt>
                <c:pt idx="35740">
                  <c:v>0</c:v>
                </c:pt>
                <c:pt idx="35741">
                  <c:v>0</c:v>
                </c:pt>
                <c:pt idx="35742">
                  <c:v>0</c:v>
                </c:pt>
                <c:pt idx="35743">
                  <c:v>0</c:v>
                </c:pt>
                <c:pt idx="35744">
                  <c:v>0</c:v>
                </c:pt>
                <c:pt idx="35745">
                  <c:v>0</c:v>
                </c:pt>
                <c:pt idx="35746">
                  <c:v>0</c:v>
                </c:pt>
                <c:pt idx="35747">
                  <c:v>0</c:v>
                </c:pt>
                <c:pt idx="35748">
                  <c:v>0</c:v>
                </c:pt>
                <c:pt idx="35749">
                  <c:v>0</c:v>
                </c:pt>
                <c:pt idx="35750">
                  <c:v>0</c:v>
                </c:pt>
                <c:pt idx="35751">
                  <c:v>0</c:v>
                </c:pt>
                <c:pt idx="35752">
                  <c:v>0</c:v>
                </c:pt>
                <c:pt idx="35753">
                  <c:v>0</c:v>
                </c:pt>
                <c:pt idx="35754">
                  <c:v>0</c:v>
                </c:pt>
                <c:pt idx="35755">
                  <c:v>0</c:v>
                </c:pt>
                <c:pt idx="35756">
                  <c:v>0</c:v>
                </c:pt>
                <c:pt idx="35757">
                  <c:v>0</c:v>
                </c:pt>
                <c:pt idx="35758">
                  <c:v>0</c:v>
                </c:pt>
                <c:pt idx="35759">
                  <c:v>0</c:v>
                </c:pt>
                <c:pt idx="35760">
                  <c:v>0</c:v>
                </c:pt>
                <c:pt idx="35761">
                  <c:v>0</c:v>
                </c:pt>
                <c:pt idx="35762">
                  <c:v>0</c:v>
                </c:pt>
                <c:pt idx="35763">
                  <c:v>0</c:v>
                </c:pt>
                <c:pt idx="35764">
                  <c:v>0</c:v>
                </c:pt>
                <c:pt idx="35765">
                  <c:v>0</c:v>
                </c:pt>
                <c:pt idx="35766">
                  <c:v>0</c:v>
                </c:pt>
                <c:pt idx="35767">
                  <c:v>0</c:v>
                </c:pt>
                <c:pt idx="35768">
                  <c:v>-8.4033613445377799E-4</c:v>
                </c:pt>
                <c:pt idx="35769">
                  <c:v>-8.4033613445377799E-4</c:v>
                </c:pt>
                <c:pt idx="35770">
                  <c:v>-8.4033613445377799E-4</c:v>
                </c:pt>
                <c:pt idx="35771">
                  <c:v>-8.4033613445377799E-4</c:v>
                </c:pt>
                <c:pt idx="35772">
                  <c:v>-8.4033613445377799E-4</c:v>
                </c:pt>
                <c:pt idx="35773">
                  <c:v>-8.4033613445377799E-4</c:v>
                </c:pt>
                <c:pt idx="35774">
                  <c:v>-8.4033613445377799E-4</c:v>
                </c:pt>
                <c:pt idx="35775">
                  <c:v>-8.4033613445377799E-4</c:v>
                </c:pt>
                <c:pt idx="35776">
                  <c:v>-8.4033613445377799E-4</c:v>
                </c:pt>
                <c:pt idx="35777">
                  <c:v>-8.4033613445377799E-4</c:v>
                </c:pt>
                <c:pt idx="35778">
                  <c:v>-8.4033613445377799E-4</c:v>
                </c:pt>
                <c:pt idx="35779">
                  <c:v>-8.4033613445377799E-4</c:v>
                </c:pt>
                <c:pt idx="35780">
                  <c:v>-8.4033613445377799E-4</c:v>
                </c:pt>
                <c:pt idx="35781">
                  <c:v>-8.4033613445377799E-4</c:v>
                </c:pt>
                <c:pt idx="35782">
                  <c:v>-8.4033613445377799E-4</c:v>
                </c:pt>
                <c:pt idx="35783">
                  <c:v>-8.4033613445377799E-4</c:v>
                </c:pt>
                <c:pt idx="35784">
                  <c:v>-8.4033613445377799E-4</c:v>
                </c:pt>
                <c:pt idx="35785">
                  <c:v>-8.4033613445377799E-4</c:v>
                </c:pt>
                <c:pt idx="35786">
                  <c:v>-8.4033613445377799E-4</c:v>
                </c:pt>
                <c:pt idx="35787">
                  <c:v>-8.4033613445377799E-4</c:v>
                </c:pt>
                <c:pt idx="35788">
                  <c:v>-8.4033613445377799E-4</c:v>
                </c:pt>
                <c:pt idx="35789">
                  <c:v>-8.4033613445377799E-4</c:v>
                </c:pt>
                <c:pt idx="35790">
                  <c:v>-8.4033613445377799E-4</c:v>
                </c:pt>
                <c:pt idx="35791">
                  <c:v>-8.4033613445377799E-4</c:v>
                </c:pt>
                <c:pt idx="35792">
                  <c:v>-1.6806722689075499E-3</c:v>
                </c:pt>
                <c:pt idx="35793">
                  <c:v>-1.6806722689075499E-3</c:v>
                </c:pt>
                <c:pt idx="35794">
                  <c:v>-1.6806722689075499E-3</c:v>
                </c:pt>
                <c:pt idx="35795">
                  <c:v>-1.6806722689075499E-3</c:v>
                </c:pt>
                <c:pt idx="35796">
                  <c:v>-1.6806722689075499E-3</c:v>
                </c:pt>
                <c:pt idx="35797">
                  <c:v>-1.6806722689075499E-3</c:v>
                </c:pt>
                <c:pt idx="35798">
                  <c:v>-1.6806722689075499E-3</c:v>
                </c:pt>
                <c:pt idx="35799">
                  <c:v>-1.6806722689075499E-3</c:v>
                </c:pt>
                <c:pt idx="35800">
                  <c:v>-1.6806722689075499E-3</c:v>
                </c:pt>
                <c:pt idx="35801">
                  <c:v>-1.6806722689075499E-3</c:v>
                </c:pt>
                <c:pt idx="35802">
                  <c:v>-1.6806722689075499E-3</c:v>
                </c:pt>
                <c:pt idx="35803">
                  <c:v>-1.6806722689075499E-3</c:v>
                </c:pt>
                <c:pt idx="35804">
                  <c:v>-1.6806722689075499E-3</c:v>
                </c:pt>
                <c:pt idx="35805">
                  <c:v>-1.6806722689075499E-3</c:v>
                </c:pt>
                <c:pt idx="35806">
                  <c:v>-1.6806722689075499E-3</c:v>
                </c:pt>
                <c:pt idx="35807">
                  <c:v>-1.6806722689075499E-3</c:v>
                </c:pt>
                <c:pt idx="35808">
                  <c:v>-1.6806722689075499E-3</c:v>
                </c:pt>
                <c:pt idx="35809">
                  <c:v>-1.6806722689075499E-3</c:v>
                </c:pt>
                <c:pt idx="35810">
                  <c:v>-1.6806722689075499E-3</c:v>
                </c:pt>
                <c:pt idx="35811">
                  <c:v>-1.6806722689075499E-3</c:v>
                </c:pt>
                <c:pt idx="35812">
                  <c:v>-1.6806722689075499E-3</c:v>
                </c:pt>
                <c:pt idx="35813">
                  <c:v>-1.6806722689075499E-3</c:v>
                </c:pt>
                <c:pt idx="35814">
                  <c:v>-1.6806722689075499E-3</c:v>
                </c:pt>
                <c:pt idx="35815">
                  <c:v>-1.6806722689075499E-3</c:v>
                </c:pt>
                <c:pt idx="35816">
                  <c:v>-1.6806722689075499E-3</c:v>
                </c:pt>
                <c:pt idx="35817">
                  <c:v>-1.6806722689075499E-3</c:v>
                </c:pt>
                <c:pt idx="35818">
                  <c:v>-1.6806722689075499E-3</c:v>
                </c:pt>
                <c:pt idx="35819">
                  <c:v>-1.6806722689075499E-3</c:v>
                </c:pt>
                <c:pt idx="35820">
                  <c:v>-1.6806722689075499E-3</c:v>
                </c:pt>
                <c:pt idx="35821">
                  <c:v>-1.6806722689075499E-3</c:v>
                </c:pt>
                <c:pt idx="35822">
                  <c:v>-1.6806722689075499E-3</c:v>
                </c:pt>
                <c:pt idx="35823">
                  <c:v>-1.6806722689075499E-3</c:v>
                </c:pt>
                <c:pt idx="35824">
                  <c:v>-1.6806722689075499E-3</c:v>
                </c:pt>
                <c:pt idx="35825">
                  <c:v>-1.6806722689075499E-3</c:v>
                </c:pt>
                <c:pt idx="35826">
                  <c:v>-1.6806722689075499E-3</c:v>
                </c:pt>
                <c:pt idx="35827">
                  <c:v>-1.6806722689075499E-3</c:v>
                </c:pt>
                <c:pt idx="35828">
                  <c:v>-1.6806722689075499E-3</c:v>
                </c:pt>
                <c:pt idx="35829">
                  <c:v>-1.6806722689075499E-3</c:v>
                </c:pt>
                <c:pt idx="35830">
                  <c:v>-1.6806722689075499E-3</c:v>
                </c:pt>
                <c:pt idx="35831">
                  <c:v>-1.6806722689075499E-3</c:v>
                </c:pt>
                <c:pt idx="35832">
                  <c:v>-1.6806722689075499E-3</c:v>
                </c:pt>
                <c:pt idx="35833">
                  <c:v>-1.6806722689075499E-3</c:v>
                </c:pt>
                <c:pt idx="35834">
                  <c:v>-1.6806722689075499E-3</c:v>
                </c:pt>
                <c:pt idx="35835">
                  <c:v>-1.6806722689075499E-3</c:v>
                </c:pt>
                <c:pt idx="35836">
                  <c:v>-1.6806722689075499E-3</c:v>
                </c:pt>
                <c:pt idx="35837">
                  <c:v>-1.6806722689075499E-3</c:v>
                </c:pt>
                <c:pt idx="35838">
                  <c:v>-1.6806722689075499E-3</c:v>
                </c:pt>
                <c:pt idx="35839">
                  <c:v>-1.6806722689075499E-3</c:v>
                </c:pt>
                <c:pt idx="35840">
                  <c:v>-1.6806722689075499E-3</c:v>
                </c:pt>
                <c:pt idx="35841">
                  <c:v>-1.6806722689075499E-3</c:v>
                </c:pt>
                <c:pt idx="35842">
                  <c:v>-1.6806722689075499E-3</c:v>
                </c:pt>
                <c:pt idx="35843">
                  <c:v>-1.6806722689075499E-3</c:v>
                </c:pt>
                <c:pt idx="35844">
                  <c:v>-1.6806722689075499E-3</c:v>
                </c:pt>
                <c:pt idx="35845">
                  <c:v>-1.6806722689075499E-3</c:v>
                </c:pt>
                <c:pt idx="35846">
                  <c:v>-1.6806722689075499E-3</c:v>
                </c:pt>
                <c:pt idx="35847">
                  <c:v>-2.5210084033613299E-3</c:v>
                </c:pt>
                <c:pt idx="35848">
                  <c:v>-2.5210084033613299E-3</c:v>
                </c:pt>
                <c:pt idx="35849">
                  <c:v>-2.5210084033613299E-3</c:v>
                </c:pt>
                <c:pt idx="35850">
                  <c:v>-2.5210084033613299E-3</c:v>
                </c:pt>
                <c:pt idx="35851">
                  <c:v>-2.5210084033613299E-3</c:v>
                </c:pt>
                <c:pt idx="35852">
                  <c:v>-2.5210084033613299E-3</c:v>
                </c:pt>
                <c:pt idx="35853">
                  <c:v>-2.5210084033613299E-3</c:v>
                </c:pt>
                <c:pt idx="35854">
                  <c:v>-2.5210084033613299E-3</c:v>
                </c:pt>
                <c:pt idx="35855">
                  <c:v>-2.5210084033613299E-3</c:v>
                </c:pt>
                <c:pt idx="35856">
                  <c:v>-2.5210084033613299E-3</c:v>
                </c:pt>
                <c:pt idx="35857">
                  <c:v>-2.5210084033613299E-3</c:v>
                </c:pt>
                <c:pt idx="35858">
                  <c:v>-2.5210084033613299E-3</c:v>
                </c:pt>
                <c:pt idx="35859">
                  <c:v>-2.5210084033613299E-3</c:v>
                </c:pt>
                <c:pt idx="35860">
                  <c:v>-2.5210084033613299E-3</c:v>
                </c:pt>
                <c:pt idx="35861">
                  <c:v>-1.6806722689075499E-3</c:v>
                </c:pt>
                <c:pt idx="35862">
                  <c:v>-1.6806722689075499E-3</c:v>
                </c:pt>
                <c:pt idx="35863">
                  <c:v>-1.6806722689075499E-3</c:v>
                </c:pt>
                <c:pt idx="35864">
                  <c:v>-1.6806722689075499E-3</c:v>
                </c:pt>
                <c:pt idx="35865">
                  <c:v>-1.6806722689075499E-3</c:v>
                </c:pt>
                <c:pt idx="35866">
                  <c:v>-1.6806722689075499E-3</c:v>
                </c:pt>
                <c:pt idx="35867">
                  <c:v>-1.6806722689075499E-3</c:v>
                </c:pt>
                <c:pt idx="35868">
                  <c:v>-1.6806722689075499E-3</c:v>
                </c:pt>
                <c:pt idx="35869">
                  <c:v>-1.6806722689075499E-3</c:v>
                </c:pt>
                <c:pt idx="35870">
                  <c:v>-1.6806722689075499E-3</c:v>
                </c:pt>
                <c:pt idx="35871">
                  <c:v>-1.6806722689075499E-3</c:v>
                </c:pt>
                <c:pt idx="35872">
                  <c:v>-1.6806722689075499E-3</c:v>
                </c:pt>
                <c:pt idx="35873">
                  <c:v>-1.6806722689075499E-3</c:v>
                </c:pt>
                <c:pt idx="35874">
                  <c:v>-1.6806722689075499E-3</c:v>
                </c:pt>
                <c:pt idx="35875">
                  <c:v>-1.6806722689075499E-3</c:v>
                </c:pt>
                <c:pt idx="35876">
                  <c:v>-1.6806722689075499E-3</c:v>
                </c:pt>
                <c:pt idx="35877">
                  <c:v>-1.6806722689075499E-3</c:v>
                </c:pt>
                <c:pt idx="35878">
                  <c:v>-1.6806722689075499E-3</c:v>
                </c:pt>
                <c:pt idx="35879">
                  <c:v>-1.6806722689075499E-3</c:v>
                </c:pt>
                <c:pt idx="35880">
                  <c:v>-1.6806722689075499E-3</c:v>
                </c:pt>
                <c:pt idx="35881">
                  <c:v>-1.6806722689075499E-3</c:v>
                </c:pt>
                <c:pt idx="35882">
                  <c:v>-1.6806722689075499E-3</c:v>
                </c:pt>
                <c:pt idx="35883">
                  <c:v>-1.6806722689075499E-3</c:v>
                </c:pt>
                <c:pt idx="35884">
                  <c:v>-1.6806722689075499E-3</c:v>
                </c:pt>
                <c:pt idx="35885">
                  <c:v>-1.6806722689075499E-3</c:v>
                </c:pt>
                <c:pt idx="35886">
                  <c:v>-1.6806722689075499E-3</c:v>
                </c:pt>
                <c:pt idx="35887">
                  <c:v>-1.6806722689075499E-3</c:v>
                </c:pt>
                <c:pt idx="35888">
                  <c:v>-1.6806722689075499E-3</c:v>
                </c:pt>
                <c:pt idx="35889">
                  <c:v>-1.6806722689075499E-3</c:v>
                </c:pt>
                <c:pt idx="35890">
                  <c:v>-1.6806722689075499E-3</c:v>
                </c:pt>
                <c:pt idx="35891">
                  <c:v>-1.6806722689075499E-3</c:v>
                </c:pt>
                <c:pt idx="35892">
                  <c:v>-1.6806722689075499E-3</c:v>
                </c:pt>
                <c:pt idx="35893">
                  <c:v>-1.6806722689075499E-3</c:v>
                </c:pt>
                <c:pt idx="35894">
                  <c:v>-1.6806722689075499E-3</c:v>
                </c:pt>
                <c:pt idx="35895">
                  <c:v>-1.6806722689075499E-3</c:v>
                </c:pt>
                <c:pt idx="35896">
                  <c:v>-1.6806722689075499E-3</c:v>
                </c:pt>
                <c:pt idx="35897">
                  <c:v>-1.6806722689075499E-3</c:v>
                </c:pt>
                <c:pt idx="35898">
                  <c:v>-1.6806722689075499E-3</c:v>
                </c:pt>
                <c:pt idx="35899">
                  <c:v>-1.6806722689075499E-3</c:v>
                </c:pt>
                <c:pt idx="35900">
                  <c:v>-1.6806722689075499E-3</c:v>
                </c:pt>
                <c:pt idx="35901">
                  <c:v>-1.6806722689075499E-3</c:v>
                </c:pt>
                <c:pt idx="35902">
                  <c:v>-1.6806722689075499E-3</c:v>
                </c:pt>
                <c:pt idx="35903">
                  <c:v>-1.6806722689075499E-3</c:v>
                </c:pt>
                <c:pt idx="35904">
                  <c:v>-1.6806722689075499E-3</c:v>
                </c:pt>
                <c:pt idx="35905">
                  <c:v>-1.6806722689075499E-3</c:v>
                </c:pt>
                <c:pt idx="35906">
                  <c:v>-1.6806722689075499E-3</c:v>
                </c:pt>
                <c:pt idx="35907">
                  <c:v>-1.6806722689075499E-3</c:v>
                </c:pt>
                <c:pt idx="35908">
                  <c:v>-1.6806722689075499E-3</c:v>
                </c:pt>
                <c:pt idx="35909">
                  <c:v>-1.6806722689075499E-3</c:v>
                </c:pt>
                <c:pt idx="35910">
                  <c:v>-1.6806722689075499E-3</c:v>
                </c:pt>
                <c:pt idx="35911">
                  <c:v>-1.6806722689075499E-3</c:v>
                </c:pt>
                <c:pt idx="35912">
                  <c:v>-1.6806722689075499E-3</c:v>
                </c:pt>
                <c:pt idx="35913">
                  <c:v>-1.6806722689075499E-3</c:v>
                </c:pt>
                <c:pt idx="35914">
                  <c:v>-1.6806722689075499E-3</c:v>
                </c:pt>
                <c:pt idx="35915">
                  <c:v>-1.6806722689075499E-3</c:v>
                </c:pt>
                <c:pt idx="35916">
                  <c:v>-1.6806722689075499E-3</c:v>
                </c:pt>
                <c:pt idx="35917">
                  <c:v>-1.6806722689075499E-3</c:v>
                </c:pt>
                <c:pt idx="35918">
                  <c:v>-1.6806722689075499E-3</c:v>
                </c:pt>
                <c:pt idx="35919">
                  <c:v>-1.6806722689075499E-3</c:v>
                </c:pt>
                <c:pt idx="35920">
                  <c:v>-1.6806722689075499E-3</c:v>
                </c:pt>
                <c:pt idx="35921">
                  <c:v>-1.6806722689075499E-3</c:v>
                </c:pt>
                <c:pt idx="35922">
                  <c:v>-1.6806722689075499E-3</c:v>
                </c:pt>
                <c:pt idx="35923">
                  <c:v>-1.6806722689075499E-3</c:v>
                </c:pt>
                <c:pt idx="35924">
                  <c:v>-1.6806722689075499E-3</c:v>
                </c:pt>
                <c:pt idx="35925">
                  <c:v>-1.6806722689075499E-3</c:v>
                </c:pt>
                <c:pt idx="35926">
                  <c:v>-1.6806722689075499E-3</c:v>
                </c:pt>
                <c:pt idx="35927">
                  <c:v>-1.6806722689075499E-3</c:v>
                </c:pt>
                <c:pt idx="35928">
                  <c:v>-1.6806722689075499E-3</c:v>
                </c:pt>
                <c:pt idx="35929">
                  <c:v>-1.6806722689075499E-3</c:v>
                </c:pt>
                <c:pt idx="35930">
                  <c:v>-1.6806722689075499E-3</c:v>
                </c:pt>
                <c:pt idx="35931">
                  <c:v>-1.6806722689075499E-3</c:v>
                </c:pt>
                <c:pt idx="35932">
                  <c:v>-1.6806722689075499E-3</c:v>
                </c:pt>
                <c:pt idx="35933">
                  <c:v>-2.5210084033613299E-3</c:v>
                </c:pt>
                <c:pt idx="35934">
                  <c:v>-2.5210084033613299E-3</c:v>
                </c:pt>
                <c:pt idx="35935">
                  <c:v>-2.5210084033613299E-3</c:v>
                </c:pt>
                <c:pt idx="35936">
                  <c:v>-2.5210084033613299E-3</c:v>
                </c:pt>
                <c:pt idx="35937">
                  <c:v>-2.5210084033613299E-3</c:v>
                </c:pt>
                <c:pt idx="35938">
                  <c:v>-2.5210084033613299E-3</c:v>
                </c:pt>
                <c:pt idx="35939">
                  <c:v>-2.5210084033613299E-3</c:v>
                </c:pt>
                <c:pt idx="35940">
                  <c:v>-2.5210084033613299E-3</c:v>
                </c:pt>
                <c:pt idx="35941">
                  <c:v>-2.5210084033613299E-3</c:v>
                </c:pt>
                <c:pt idx="35942">
                  <c:v>-2.5210084033613299E-3</c:v>
                </c:pt>
                <c:pt idx="35943">
                  <c:v>-2.5210084033613299E-3</c:v>
                </c:pt>
                <c:pt idx="35944">
                  <c:v>-2.5210084033613299E-3</c:v>
                </c:pt>
                <c:pt idx="35945">
                  <c:v>-2.5210084033613299E-3</c:v>
                </c:pt>
                <c:pt idx="35946">
                  <c:v>-2.5210084033613299E-3</c:v>
                </c:pt>
                <c:pt idx="35947">
                  <c:v>-2.5210084033613299E-3</c:v>
                </c:pt>
                <c:pt idx="35948">
                  <c:v>-2.5210084033613299E-3</c:v>
                </c:pt>
                <c:pt idx="35949">
                  <c:v>-2.5210084033613299E-3</c:v>
                </c:pt>
                <c:pt idx="35950">
                  <c:v>-2.5210084033613299E-3</c:v>
                </c:pt>
                <c:pt idx="35951">
                  <c:v>-2.5210084033613299E-3</c:v>
                </c:pt>
                <c:pt idx="35952">
                  <c:v>-2.5210084033613299E-3</c:v>
                </c:pt>
                <c:pt idx="35953">
                  <c:v>-2.5210084033613299E-3</c:v>
                </c:pt>
                <c:pt idx="35954">
                  <c:v>-2.5210084033613299E-3</c:v>
                </c:pt>
                <c:pt idx="35955">
                  <c:v>-2.5210084033613299E-3</c:v>
                </c:pt>
                <c:pt idx="35956">
                  <c:v>-2.5210084033613299E-3</c:v>
                </c:pt>
                <c:pt idx="35957">
                  <c:v>-2.5210084033613299E-3</c:v>
                </c:pt>
                <c:pt idx="35958">
                  <c:v>-2.5210084033613299E-3</c:v>
                </c:pt>
                <c:pt idx="35959">
                  <c:v>-2.5210084033613299E-3</c:v>
                </c:pt>
                <c:pt idx="35960">
                  <c:v>-2.5210084033613299E-3</c:v>
                </c:pt>
                <c:pt idx="35961">
                  <c:v>-2.5210084033613299E-3</c:v>
                </c:pt>
                <c:pt idx="35962">
                  <c:v>-2.5210084033613299E-3</c:v>
                </c:pt>
                <c:pt idx="35963">
                  <c:v>-2.5210084033613299E-3</c:v>
                </c:pt>
                <c:pt idx="35964">
                  <c:v>-2.5210084033613299E-3</c:v>
                </c:pt>
                <c:pt idx="35965">
                  <c:v>-2.5210084033613299E-3</c:v>
                </c:pt>
                <c:pt idx="35966">
                  <c:v>-2.5210084033613299E-3</c:v>
                </c:pt>
                <c:pt idx="35967">
                  <c:v>-2.5210084033613299E-3</c:v>
                </c:pt>
                <c:pt idx="35968">
                  <c:v>-2.5210084033613299E-3</c:v>
                </c:pt>
                <c:pt idx="35969">
                  <c:v>-2.5210084033613299E-3</c:v>
                </c:pt>
                <c:pt idx="35970">
                  <c:v>-2.5210084033613299E-3</c:v>
                </c:pt>
                <c:pt idx="35971">
                  <c:v>-2.5210084033613299E-3</c:v>
                </c:pt>
                <c:pt idx="35972">
                  <c:v>-2.5210084033613299E-3</c:v>
                </c:pt>
                <c:pt idx="35973">
                  <c:v>-2.5210084033613299E-3</c:v>
                </c:pt>
                <c:pt idx="35974">
                  <c:v>-2.5210084033613299E-3</c:v>
                </c:pt>
                <c:pt idx="35975">
                  <c:v>-2.5210084033613299E-3</c:v>
                </c:pt>
                <c:pt idx="35976">
                  <c:v>-2.5210084033613299E-3</c:v>
                </c:pt>
                <c:pt idx="35977">
                  <c:v>-2.5210084033613299E-3</c:v>
                </c:pt>
                <c:pt idx="35978">
                  <c:v>-2.5210084033613299E-3</c:v>
                </c:pt>
                <c:pt idx="35979">
                  <c:v>-2.5210084033613299E-3</c:v>
                </c:pt>
                <c:pt idx="35980">
                  <c:v>-2.5210084033613299E-3</c:v>
                </c:pt>
                <c:pt idx="35981">
                  <c:v>-2.5210084033613299E-3</c:v>
                </c:pt>
                <c:pt idx="35982">
                  <c:v>-2.5210084033613299E-3</c:v>
                </c:pt>
                <c:pt idx="35983">
                  <c:v>-2.5210084033613299E-3</c:v>
                </c:pt>
                <c:pt idx="35984">
                  <c:v>-2.5210084033613299E-3</c:v>
                </c:pt>
                <c:pt idx="35985">
                  <c:v>-2.5210084033613299E-3</c:v>
                </c:pt>
                <c:pt idx="35986">
                  <c:v>-2.5210084033613299E-3</c:v>
                </c:pt>
                <c:pt idx="35987">
                  <c:v>-2.5210084033613299E-3</c:v>
                </c:pt>
                <c:pt idx="35988">
                  <c:v>-2.5210084033613299E-3</c:v>
                </c:pt>
                <c:pt idx="35989">
                  <c:v>-2.5210084033613299E-3</c:v>
                </c:pt>
                <c:pt idx="35990">
                  <c:v>-2.5210084033613299E-3</c:v>
                </c:pt>
                <c:pt idx="35991">
                  <c:v>-2.5210084033613299E-3</c:v>
                </c:pt>
                <c:pt idx="35992">
                  <c:v>-2.5210084033613299E-3</c:v>
                </c:pt>
                <c:pt idx="35993">
                  <c:v>-2.5210084033613299E-3</c:v>
                </c:pt>
                <c:pt idx="35994">
                  <c:v>-2.5210084033613299E-3</c:v>
                </c:pt>
                <c:pt idx="35995">
                  <c:v>-2.5210084033613299E-3</c:v>
                </c:pt>
                <c:pt idx="35996">
                  <c:v>-2.5210084033613299E-3</c:v>
                </c:pt>
                <c:pt idx="35997">
                  <c:v>-2.5210084033613299E-3</c:v>
                </c:pt>
                <c:pt idx="35998">
                  <c:v>-2.5210084033613299E-3</c:v>
                </c:pt>
                <c:pt idx="35999">
                  <c:v>-2.5210084033613299E-3</c:v>
                </c:pt>
                <c:pt idx="36000">
                  <c:v>-2.5210084033613299E-3</c:v>
                </c:pt>
                <c:pt idx="36001">
                  <c:v>-2.5210084033613299E-3</c:v>
                </c:pt>
                <c:pt idx="36002">
                  <c:v>-2.5210084033613299E-3</c:v>
                </c:pt>
                <c:pt idx="36003">
                  <c:v>-2.5210084033613299E-3</c:v>
                </c:pt>
                <c:pt idx="36004">
                  <c:v>-2.5210084033613299E-3</c:v>
                </c:pt>
                <c:pt idx="36005">
                  <c:v>-2.5210084033613299E-3</c:v>
                </c:pt>
                <c:pt idx="36006">
                  <c:v>-2.5210084033613299E-3</c:v>
                </c:pt>
                <c:pt idx="36007">
                  <c:v>-2.5210084033613299E-3</c:v>
                </c:pt>
                <c:pt idx="36008">
                  <c:v>-2.5210084033613299E-3</c:v>
                </c:pt>
                <c:pt idx="36009">
                  <c:v>-2.5210084033613299E-3</c:v>
                </c:pt>
                <c:pt idx="36010">
                  <c:v>-2.5210084033613299E-3</c:v>
                </c:pt>
                <c:pt idx="36011">
                  <c:v>-2.5210084033613299E-3</c:v>
                </c:pt>
                <c:pt idx="36012">
                  <c:v>-2.5210084033613299E-3</c:v>
                </c:pt>
                <c:pt idx="36013">
                  <c:v>-2.5210084033613299E-3</c:v>
                </c:pt>
                <c:pt idx="36014">
                  <c:v>-2.5210084033613299E-3</c:v>
                </c:pt>
                <c:pt idx="36015">
                  <c:v>-2.5210084033613299E-3</c:v>
                </c:pt>
                <c:pt idx="36016">
                  <c:v>-2.5210084033613299E-3</c:v>
                </c:pt>
                <c:pt idx="36017">
                  <c:v>-2.5210084033613299E-3</c:v>
                </c:pt>
                <c:pt idx="36018">
                  <c:v>-2.5210084033613299E-3</c:v>
                </c:pt>
                <c:pt idx="36019">
                  <c:v>-2.5210084033613299E-3</c:v>
                </c:pt>
                <c:pt idx="36020">
                  <c:v>-2.5210084033613299E-3</c:v>
                </c:pt>
                <c:pt idx="36021">
                  <c:v>-2.5210084033613299E-3</c:v>
                </c:pt>
                <c:pt idx="36022">
                  <c:v>-2.5210084033613299E-3</c:v>
                </c:pt>
                <c:pt idx="36023">
                  <c:v>-2.5210084033613299E-3</c:v>
                </c:pt>
                <c:pt idx="36024">
                  <c:v>-2.5210084033613299E-3</c:v>
                </c:pt>
                <c:pt idx="36025">
                  <c:v>-2.5210084033613299E-3</c:v>
                </c:pt>
                <c:pt idx="36026">
                  <c:v>-2.5210084033613299E-3</c:v>
                </c:pt>
                <c:pt idx="36027">
                  <c:v>-2.5210084033613299E-3</c:v>
                </c:pt>
                <c:pt idx="36028">
                  <c:v>-2.5210084033613299E-3</c:v>
                </c:pt>
                <c:pt idx="36029">
                  <c:v>-2.5210084033613299E-3</c:v>
                </c:pt>
                <c:pt idx="36030">
                  <c:v>-2.5210084033613299E-3</c:v>
                </c:pt>
                <c:pt idx="36031">
                  <c:v>-2.5210084033613299E-3</c:v>
                </c:pt>
                <c:pt idx="36032">
                  <c:v>-2.5210084033613299E-3</c:v>
                </c:pt>
                <c:pt idx="36033">
                  <c:v>-2.5210084033613299E-3</c:v>
                </c:pt>
                <c:pt idx="36034">
                  <c:v>-2.5210084033613299E-3</c:v>
                </c:pt>
                <c:pt idx="36035">
                  <c:v>-2.5210084033613299E-3</c:v>
                </c:pt>
                <c:pt idx="36036">
                  <c:v>-2.5210084033613299E-3</c:v>
                </c:pt>
                <c:pt idx="36037">
                  <c:v>-2.5210084033613299E-3</c:v>
                </c:pt>
                <c:pt idx="36038">
                  <c:v>-3.3613445378151102E-3</c:v>
                </c:pt>
                <c:pt idx="36039">
                  <c:v>-3.3613445378151102E-3</c:v>
                </c:pt>
                <c:pt idx="36040">
                  <c:v>-3.3613445378151102E-3</c:v>
                </c:pt>
                <c:pt idx="36041">
                  <c:v>-3.3613445378151102E-3</c:v>
                </c:pt>
                <c:pt idx="36042">
                  <c:v>-3.3613445378151102E-3</c:v>
                </c:pt>
                <c:pt idx="36043">
                  <c:v>-3.3613445378151102E-3</c:v>
                </c:pt>
                <c:pt idx="36044">
                  <c:v>-3.3613445378151102E-3</c:v>
                </c:pt>
                <c:pt idx="36045">
                  <c:v>-3.3613445378151102E-3</c:v>
                </c:pt>
                <c:pt idx="36046">
                  <c:v>-3.3613445378151102E-3</c:v>
                </c:pt>
                <c:pt idx="36047">
                  <c:v>-3.3613445378151102E-3</c:v>
                </c:pt>
                <c:pt idx="36048">
                  <c:v>-4.20168067226889E-3</c:v>
                </c:pt>
                <c:pt idx="36049">
                  <c:v>-4.20168067226889E-3</c:v>
                </c:pt>
                <c:pt idx="36050">
                  <c:v>-4.20168067226889E-3</c:v>
                </c:pt>
                <c:pt idx="36051">
                  <c:v>-4.20168067226889E-3</c:v>
                </c:pt>
                <c:pt idx="36052">
                  <c:v>-4.20168067226889E-3</c:v>
                </c:pt>
                <c:pt idx="36053">
                  <c:v>-4.20168067226889E-3</c:v>
                </c:pt>
                <c:pt idx="36054">
                  <c:v>-4.20168067226889E-3</c:v>
                </c:pt>
                <c:pt idx="36055">
                  <c:v>-4.20168067226889E-3</c:v>
                </c:pt>
                <c:pt idx="36056">
                  <c:v>-4.20168067226889E-3</c:v>
                </c:pt>
                <c:pt idx="36057">
                  <c:v>-4.20168067226889E-3</c:v>
                </c:pt>
                <c:pt idx="36058">
                  <c:v>-4.20168067226889E-3</c:v>
                </c:pt>
                <c:pt idx="36059">
                  <c:v>-4.20168067226889E-3</c:v>
                </c:pt>
                <c:pt idx="36060">
                  <c:v>-4.20168067226889E-3</c:v>
                </c:pt>
                <c:pt idx="36061">
                  <c:v>-4.20168067226889E-3</c:v>
                </c:pt>
                <c:pt idx="36062">
                  <c:v>-4.20168067226889E-3</c:v>
                </c:pt>
                <c:pt idx="36063">
                  <c:v>-4.20168067226889E-3</c:v>
                </c:pt>
                <c:pt idx="36064">
                  <c:v>-4.20168067226889E-3</c:v>
                </c:pt>
                <c:pt idx="36065">
                  <c:v>-4.20168067226889E-3</c:v>
                </c:pt>
                <c:pt idx="36066">
                  <c:v>-4.20168067226889E-3</c:v>
                </c:pt>
                <c:pt idx="36067">
                  <c:v>-4.20168067226889E-3</c:v>
                </c:pt>
                <c:pt idx="36068">
                  <c:v>-4.20168067226889E-3</c:v>
                </c:pt>
                <c:pt idx="36069">
                  <c:v>-4.20168067226889E-3</c:v>
                </c:pt>
                <c:pt idx="36070">
                  <c:v>-4.20168067226889E-3</c:v>
                </c:pt>
                <c:pt idx="36071">
                  <c:v>-4.20168067226889E-3</c:v>
                </c:pt>
                <c:pt idx="36072">
                  <c:v>-4.20168067226889E-3</c:v>
                </c:pt>
                <c:pt idx="36073">
                  <c:v>-4.20168067226889E-3</c:v>
                </c:pt>
                <c:pt idx="36074">
                  <c:v>-3.3613445378151102E-3</c:v>
                </c:pt>
                <c:pt idx="36075">
                  <c:v>-3.3613445378151102E-3</c:v>
                </c:pt>
                <c:pt idx="36076">
                  <c:v>-3.3613445378151102E-3</c:v>
                </c:pt>
                <c:pt idx="36077">
                  <c:v>-3.3613445378151102E-3</c:v>
                </c:pt>
                <c:pt idx="36078">
                  <c:v>-3.3613445378151102E-3</c:v>
                </c:pt>
                <c:pt idx="36079">
                  <c:v>-3.3613445378151102E-3</c:v>
                </c:pt>
                <c:pt idx="36080">
                  <c:v>-3.3613445378151102E-3</c:v>
                </c:pt>
                <c:pt idx="36081">
                  <c:v>-3.3613445378151102E-3</c:v>
                </c:pt>
                <c:pt idx="36082">
                  <c:v>-3.3613445378151102E-3</c:v>
                </c:pt>
                <c:pt idx="36083">
                  <c:v>-3.3613445378151102E-3</c:v>
                </c:pt>
                <c:pt idx="36084">
                  <c:v>-3.3613445378151102E-3</c:v>
                </c:pt>
                <c:pt idx="36085">
                  <c:v>-3.3613445378151102E-3</c:v>
                </c:pt>
                <c:pt idx="36086">
                  <c:v>-3.3613445378151102E-3</c:v>
                </c:pt>
                <c:pt idx="36087">
                  <c:v>-3.3613445378151102E-3</c:v>
                </c:pt>
                <c:pt idx="36088">
                  <c:v>-3.3613445378151102E-3</c:v>
                </c:pt>
                <c:pt idx="36089">
                  <c:v>-3.3613445378151102E-3</c:v>
                </c:pt>
                <c:pt idx="36090">
                  <c:v>-3.3613445378151102E-3</c:v>
                </c:pt>
                <c:pt idx="36091">
                  <c:v>-3.3613445378151102E-3</c:v>
                </c:pt>
                <c:pt idx="36092">
                  <c:v>-3.3613445378151102E-3</c:v>
                </c:pt>
                <c:pt idx="36093">
                  <c:v>-3.3613445378151102E-3</c:v>
                </c:pt>
                <c:pt idx="36094">
                  <c:v>-3.3613445378151102E-3</c:v>
                </c:pt>
                <c:pt idx="36095">
                  <c:v>-3.3613445378151102E-3</c:v>
                </c:pt>
                <c:pt idx="36096">
                  <c:v>-3.3613445378151102E-3</c:v>
                </c:pt>
                <c:pt idx="36097">
                  <c:v>-3.3613445378151102E-3</c:v>
                </c:pt>
                <c:pt idx="36098">
                  <c:v>-3.3613445378151102E-3</c:v>
                </c:pt>
                <c:pt idx="36099">
                  <c:v>-3.3613445378151102E-3</c:v>
                </c:pt>
                <c:pt idx="36100">
                  <c:v>-3.3613445378151102E-3</c:v>
                </c:pt>
                <c:pt idx="36101">
                  <c:v>-3.3613445378151102E-3</c:v>
                </c:pt>
                <c:pt idx="36102">
                  <c:v>-3.3613445378151102E-3</c:v>
                </c:pt>
                <c:pt idx="36103">
                  <c:v>-3.3613445378151102E-3</c:v>
                </c:pt>
                <c:pt idx="36104">
                  <c:v>-3.3613445378151102E-3</c:v>
                </c:pt>
                <c:pt idx="36105">
                  <c:v>-3.3613445378151102E-3</c:v>
                </c:pt>
                <c:pt idx="36106">
                  <c:v>-3.3613445378151102E-3</c:v>
                </c:pt>
                <c:pt idx="36107">
                  <c:v>-3.3613445378151102E-3</c:v>
                </c:pt>
                <c:pt idx="36108">
                  <c:v>-4.20168067226889E-3</c:v>
                </c:pt>
                <c:pt idx="36109">
                  <c:v>-4.20168067226889E-3</c:v>
                </c:pt>
                <c:pt idx="36110">
                  <c:v>-4.20168067226889E-3</c:v>
                </c:pt>
                <c:pt idx="36111">
                  <c:v>-4.20168067226889E-3</c:v>
                </c:pt>
                <c:pt idx="36112">
                  <c:v>-4.20168067226889E-3</c:v>
                </c:pt>
                <c:pt idx="36113">
                  <c:v>-4.20168067226889E-3</c:v>
                </c:pt>
                <c:pt idx="36114">
                  <c:v>-4.20168067226889E-3</c:v>
                </c:pt>
                <c:pt idx="36115">
                  <c:v>-4.20168067226889E-3</c:v>
                </c:pt>
                <c:pt idx="36116">
                  <c:v>-4.20168067226889E-3</c:v>
                </c:pt>
                <c:pt idx="36117">
                  <c:v>-4.20168067226889E-3</c:v>
                </c:pt>
                <c:pt idx="36118">
                  <c:v>-4.20168067226889E-3</c:v>
                </c:pt>
                <c:pt idx="36119">
                  <c:v>-4.20168067226889E-3</c:v>
                </c:pt>
                <c:pt idx="36120">
                  <c:v>-4.20168067226889E-3</c:v>
                </c:pt>
                <c:pt idx="36121">
                  <c:v>-4.20168067226889E-3</c:v>
                </c:pt>
                <c:pt idx="36122">
                  <c:v>-4.20168067226889E-3</c:v>
                </c:pt>
                <c:pt idx="36123">
                  <c:v>-4.20168067226889E-3</c:v>
                </c:pt>
                <c:pt idx="36124">
                  <c:v>-4.20168067226889E-3</c:v>
                </c:pt>
                <c:pt idx="36125">
                  <c:v>-4.20168067226889E-3</c:v>
                </c:pt>
                <c:pt idx="36126">
                  <c:v>-4.20168067226889E-3</c:v>
                </c:pt>
                <c:pt idx="36127">
                  <c:v>-4.20168067226889E-3</c:v>
                </c:pt>
                <c:pt idx="36128">
                  <c:v>-4.20168067226889E-3</c:v>
                </c:pt>
                <c:pt idx="36129">
                  <c:v>-4.20168067226889E-3</c:v>
                </c:pt>
                <c:pt idx="36130">
                  <c:v>-4.20168067226889E-3</c:v>
                </c:pt>
                <c:pt idx="36131">
                  <c:v>-4.20168067226889E-3</c:v>
                </c:pt>
                <c:pt idx="36132">
                  <c:v>-4.20168067226889E-3</c:v>
                </c:pt>
                <c:pt idx="36133">
                  <c:v>-4.20168067226889E-3</c:v>
                </c:pt>
                <c:pt idx="36134">
                  <c:v>-5.0420168067226703E-3</c:v>
                </c:pt>
                <c:pt idx="36135">
                  <c:v>-5.0420168067226703E-3</c:v>
                </c:pt>
                <c:pt idx="36136">
                  <c:v>-5.0420168067226703E-3</c:v>
                </c:pt>
                <c:pt idx="36137">
                  <c:v>-5.0420168067226703E-3</c:v>
                </c:pt>
                <c:pt idx="36138">
                  <c:v>-5.0420168067226703E-3</c:v>
                </c:pt>
                <c:pt idx="36139">
                  <c:v>-5.0420168067226703E-3</c:v>
                </c:pt>
                <c:pt idx="36140">
                  <c:v>-5.0420168067226703E-3</c:v>
                </c:pt>
                <c:pt idx="36141">
                  <c:v>-5.0420168067226703E-3</c:v>
                </c:pt>
                <c:pt idx="36142">
                  <c:v>-5.0420168067226703E-3</c:v>
                </c:pt>
                <c:pt idx="36143">
                  <c:v>-5.0420168067226703E-3</c:v>
                </c:pt>
                <c:pt idx="36144">
                  <c:v>-5.0420168067226703E-3</c:v>
                </c:pt>
                <c:pt idx="36145">
                  <c:v>-5.0420168067226703E-3</c:v>
                </c:pt>
                <c:pt idx="36146">
                  <c:v>-5.0420168067226703E-3</c:v>
                </c:pt>
                <c:pt idx="36147">
                  <c:v>-5.0420168067226703E-3</c:v>
                </c:pt>
                <c:pt idx="36148">
                  <c:v>-5.0420168067226703E-3</c:v>
                </c:pt>
                <c:pt idx="36149">
                  <c:v>-5.0420168067226703E-3</c:v>
                </c:pt>
                <c:pt idx="36150">
                  <c:v>-5.0420168067226703E-3</c:v>
                </c:pt>
                <c:pt idx="36151">
                  <c:v>-5.0420168067226703E-3</c:v>
                </c:pt>
                <c:pt idx="36152">
                  <c:v>-5.0420168067226703E-3</c:v>
                </c:pt>
                <c:pt idx="36153">
                  <c:v>-5.0420168067226703E-3</c:v>
                </c:pt>
                <c:pt idx="36154">
                  <c:v>-5.0420168067226703E-3</c:v>
                </c:pt>
                <c:pt idx="36155">
                  <c:v>-5.0420168067226703E-3</c:v>
                </c:pt>
                <c:pt idx="36156">
                  <c:v>-5.0420168067226703E-3</c:v>
                </c:pt>
                <c:pt idx="36157">
                  <c:v>-5.0420168067226703E-3</c:v>
                </c:pt>
                <c:pt idx="36158">
                  <c:v>-5.0420168067226703E-3</c:v>
                </c:pt>
                <c:pt idx="36159">
                  <c:v>-5.0420168067226703E-3</c:v>
                </c:pt>
                <c:pt idx="36160">
                  <c:v>-5.0420168067226703E-3</c:v>
                </c:pt>
                <c:pt idx="36161">
                  <c:v>-5.0420168067226703E-3</c:v>
                </c:pt>
                <c:pt idx="36162">
                  <c:v>-5.0420168067226703E-3</c:v>
                </c:pt>
                <c:pt idx="36163">
                  <c:v>-5.0420168067226703E-3</c:v>
                </c:pt>
                <c:pt idx="36164">
                  <c:v>-5.0420168067226703E-3</c:v>
                </c:pt>
                <c:pt idx="36165">
                  <c:v>-5.0420168067226703E-3</c:v>
                </c:pt>
                <c:pt idx="36166">
                  <c:v>-5.0420168067226703E-3</c:v>
                </c:pt>
                <c:pt idx="36167">
                  <c:v>-5.0420168067226703E-3</c:v>
                </c:pt>
                <c:pt idx="36168">
                  <c:v>-5.0420168067226703E-3</c:v>
                </c:pt>
                <c:pt idx="36169">
                  <c:v>-5.0420168067226703E-3</c:v>
                </c:pt>
                <c:pt idx="36170">
                  <c:v>-5.0420168067226703E-3</c:v>
                </c:pt>
                <c:pt idx="36171">
                  <c:v>-5.0420168067226703E-3</c:v>
                </c:pt>
                <c:pt idx="36172">
                  <c:v>-5.0420168067226703E-3</c:v>
                </c:pt>
                <c:pt idx="36173">
                  <c:v>-5.0420168067226703E-3</c:v>
                </c:pt>
                <c:pt idx="36174">
                  <c:v>-5.0420168067226703E-3</c:v>
                </c:pt>
                <c:pt idx="36175">
                  <c:v>-5.0420168067226703E-3</c:v>
                </c:pt>
                <c:pt idx="36176">
                  <c:v>-5.0420168067226703E-3</c:v>
                </c:pt>
                <c:pt idx="36177">
                  <c:v>-5.0420168067226703E-3</c:v>
                </c:pt>
                <c:pt idx="36178">
                  <c:v>-5.0420168067226703E-3</c:v>
                </c:pt>
                <c:pt idx="36179">
                  <c:v>-5.0420168067226703E-3</c:v>
                </c:pt>
                <c:pt idx="36180">
                  <c:v>-5.0420168067226703E-3</c:v>
                </c:pt>
                <c:pt idx="36181">
                  <c:v>-5.0420168067226703E-3</c:v>
                </c:pt>
                <c:pt idx="36182">
                  <c:v>-5.0420168067226703E-3</c:v>
                </c:pt>
                <c:pt idx="36183">
                  <c:v>-5.0420168067226703E-3</c:v>
                </c:pt>
                <c:pt idx="36184">
                  <c:v>-5.0420168067226703E-3</c:v>
                </c:pt>
                <c:pt idx="36185">
                  <c:v>-5.0420168067226703E-3</c:v>
                </c:pt>
                <c:pt idx="36186">
                  <c:v>-5.0420168067226703E-3</c:v>
                </c:pt>
                <c:pt idx="36187">
                  <c:v>-5.0420168067226703E-3</c:v>
                </c:pt>
                <c:pt idx="36188">
                  <c:v>-5.0420168067226703E-3</c:v>
                </c:pt>
                <c:pt idx="36189">
                  <c:v>-5.0420168067226703E-3</c:v>
                </c:pt>
                <c:pt idx="36190">
                  <c:v>-5.0420168067226703E-3</c:v>
                </c:pt>
                <c:pt idx="36191">
                  <c:v>-5.0420168067226703E-3</c:v>
                </c:pt>
                <c:pt idx="36192">
                  <c:v>-5.0420168067226703E-3</c:v>
                </c:pt>
                <c:pt idx="36193">
                  <c:v>-5.0420168067226703E-3</c:v>
                </c:pt>
                <c:pt idx="36194">
                  <c:v>-5.0420168067226703E-3</c:v>
                </c:pt>
                <c:pt idx="36195">
                  <c:v>-5.0420168067226703E-3</c:v>
                </c:pt>
                <c:pt idx="36196">
                  <c:v>-5.0420168067226703E-3</c:v>
                </c:pt>
                <c:pt idx="36197">
                  <c:v>-5.0420168067226703E-3</c:v>
                </c:pt>
                <c:pt idx="36198">
                  <c:v>-5.0420168067226703E-3</c:v>
                </c:pt>
                <c:pt idx="36199">
                  <c:v>-5.0420168067226703E-3</c:v>
                </c:pt>
                <c:pt idx="36200">
                  <c:v>-5.0420168067226703E-3</c:v>
                </c:pt>
                <c:pt idx="36201">
                  <c:v>-5.0420168067226703E-3</c:v>
                </c:pt>
                <c:pt idx="36202">
                  <c:v>-5.0420168067226703E-3</c:v>
                </c:pt>
                <c:pt idx="36203">
                  <c:v>-5.0420168067226703E-3</c:v>
                </c:pt>
                <c:pt idx="36204">
                  <c:v>-5.0420168067226703E-3</c:v>
                </c:pt>
                <c:pt idx="36205">
                  <c:v>-5.0420168067226703E-3</c:v>
                </c:pt>
                <c:pt idx="36206">
                  <c:v>-5.0420168067226703E-3</c:v>
                </c:pt>
                <c:pt idx="36207">
                  <c:v>-5.0420168067226703E-3</c:v>
                </c:pt>
                <c:pt idx="36208">
                  <c:v>-5.0420168067226703E-3</c:v>
                </c:pt>
                <c:pt idx="36209">
                  <c:v>-5.0420168067226703E-3</c:v>
                </c:pt>
                <c:pt idx="36210">
                  <c:v>-5.0420168067226703E-3</c:v>
                </c:pt>
                <c:pt idx="36211">
                  <c:v>-5.0420168067226703E-3</c:v>
                </c:pt>
                <c:pt idx="36212">
                  <c:v>-5.0420168067226703E-3</c:v>
                </c:pt>
                <c:pt idx="36213">
                  <c:v>-5.0420168067226703E-3</c:v>
                </c:pt>
                <c:pt idx="36214">
                  <c:v>-5.0420168067226703E-3</c:v>
                </c:pt>
                <c:pt idx="36215">
                  <c:v>-5.0420168067226703E-3</c:v>
                </c:pt>
                <c:pt idx="36216">
                  <c:v>-5.0420168067226703E-3</c:v>
                </c:pt>
                <c:pt idx="36217">
                  <c:v>-5.0420168067226703E-3</c:v>
                </c:pt>
                <c:pt idx="36218">
                  <c:v>-5.0420168067226703E-3</c:v>
                </c:pt>
                <c:pt idx="36219">
                  <c:v>-5.0420168067226703E-3</c:v>
                </c:pt>
                <c:pt idx="36220">
                  <c:v>-5.0420168067226703E-3</c:v>
                </c:pt>
                <c:pt idx="36221">
                  <c:v>-5.0420168067226703E-3</c:v>
                </c:pt>
                <c:pt idx="36222">
                  <c:v>-5.0420168067226703E-3</c:v>
                </c:pt>
                <c:pt idx="36223">
                  <c:v>-5.0420168067226703E-3</c:v>
                </c:pt>
                <c:pt idx="36224">
                  <c:v>-5.0420168067226703E-3</c:v>
                </c:pt>
                <c:pt idx="36225">
                  <c:v>-5.0420168067226703E-3</c:v>
                </c:pt>
                <c:pt idx="36226">
                  <c:v>-5.0420168067226703E-3</c:v>
                </c:pt>
                <c:pt idx="36227">
                  <c:v>-5.0420168067226703E-3</c:v>
                </c:pt>
                <c:pt idx="36228">
                  <c:v>-5.0420168067226703E-3</c:v>
                </c:pt>
                <c:pt idx="36229">
                  <c:v>-5.0420168067226703E-3</c:v>
                </c:pt>
                <c:pt idx="36230">
                  <c:v>-5.0420168067226703E-3</c:v>
                </c:pt>
                <c:pt idx="36231">
                  <c:v>-5.0420168067226703E-3</c:v>
                </c:pt>
                <c:pt idx="36232">
                  <c:v>-5.0420168067226703E-3</c:v>
                </c:pt>
                <c:pt idx="36233">
                  <c:v>-5.0420168067226703E-3</c:v>
                </c:pt>
                <c:pt idx="36234">
                  <c:v>-5.0420168067226703E-3</c:v>
                </c:pt>
                <c:pt idx="36235">
                  <c:v>-5.0420168067226703E-3</c:v>
                </c:pt>
                <c:pt idx="36236">
                  <c:v>-5.0420168067226703E-3</c:v>
                </c:pt>
                <c:pt idx="36237">
                  <c:v>-5.0420168067226703E-3</c:v>
                </c:pt>
                <c:pt idx="36238">
                  <c:v>-5.0420168067226703E-3</c:v>
                </c:pt>
                <c:pt idx="36239">
                  <c:v>-5.0420168067226703E-3</c:v>
                </c:pt>
                <c:pt idx="36240">
                  <c:v>-5.0420168067226703E-3</c:v>
                </c:pt>
                <c:pt idx="36241">
                  <c:v>-5.0420168067226703E-3</c:v>
                </c:pt>
                <c:pt idx="36242">
                  <c:v>-5.0420168067226703E-3</c:v>
                </c:pt>
                <c:pt idx="36243">
                  <c:v>-5.0420168067226703E-3</c:v>
                </c:pt>
                <c:pt idx="36244">
                  <c:v>-5.0420168067226703E-3</c:v>
                </c:pt>
                <c:pt idx="36245">
                  <c:v>-5.0420168067226703E-3</c:v>
                </c:pt>
                <c:pt idx="36246">
                  <c:v>-5.0420168067226703E-3</c:v>
                </c:pt>
                <c:pt idx="36247">
                  <c:v>-5.0420168067226703E-3</c:v>
                </c:pt>
                <c:pt idx="36248">
                  <c:v>-5.0420168067226703E-3</c:v>
                </c:pt>
                <c:pt idx="36249">
                  <c:v>-5.0420168067226703E-3</c:v>
                </c:pt>
                <c:pt idx="36250">
                  <c:v>-5.0420168067226703E-3</c:v>
                </c:pt>
                <c:pt idx="36251">
                  <c:v>-5.0420168067226703E-3</c:v>
                </c:pt>
                <c:pt idx="36252">
                  <c:v>-5.0420168067226703E-3</c:v>
                </c:pt>
                <c:pt idx="36253">
                  <c:v>-5.0420168067226703E-3</c:v>
                </c:pt>
                <c:pt idx="36254">
                  <c:v>-5.0420168067226703E-3</c:v>
                </c:pt>
                <c:pt idx="36255">
                  <c:v>-5.0420168067226703E-3</c:v>
                </c:pt>
                <c:pt idx="36256">
                  <c:v>-5.0420168067226703E-3</c:v>
                </c:pt>
                <c:pt idx="36257">
                  <c:v>-5.0420168067226703E-3</c:v>
                </c:pt>
                <c:pt idx="36258">
                  <c:v>-5.0420168067226703E-3</c:v>
                </c:pt>
                <c:pt idx="36259">
                  <c:v>-5.0420168067226703E-3</c:v>
                </c:pt>
                <c:pt idx="36260">
                  <c:v>-5.0420168067226703E-3</c:v>
                </c:pt>
                <c:pt idx="36261">
                  <c:v>-5.0420168067226703E-3</c:v>
                </c:pt>
                <c:pt idx="36262">
                  <c:v>-5.0420168067226703E-3</c:v>
                </c:pt>
                <c:pt idx="36263">
                  <c:v>-5.0420168067226703E-3</c:v>
                </c:pt>
                <c:pt idx="36264">
                  <c:v>-5.0420168067226703E-3</c:v>
                </c:pt>
                <c:pt idx="36265">
                  <c:v>-5.0420168067226703E-3</c:v>
                </c:pt>
                <c:pt idx="36266">
                  <c:v>-5.0420168067226703E-3</c:v>
                </c:pt>
                <c:pt idx="36267">
                  <c:v>-5.0420168067226703E-3</c:v>
                </c:pt>
                <c:pt idx="36268">
                  <c:v>-5.0420168067226703E-3</c:v>
                </c:pt>
                <c:pt idx="36269">
                  <c:v>-5.0420168067226703E-3</c:v>
                </c:pt>
                <c:pt idx="36270">
                  <c:v>-5.0420168067226703E-3</c:v>
                </c:pt>
                <c:pt idx="36271">
                  <c:v>-5.0420168067226703E-3</c:v>
                </c:pt>
                <c:pt idx="36272">
                  <c:v>-5.0420168067226703E-3</c:v>
                </c:pt>
                <c:pt idx="36273">
                  <c:v>-5.0420168067226703E-3</c:v>
                </c:pt>
                <c:pt idx="36274">
                  <c:v>-5.0420168067226703E-3</c:v>
                </c:pt>
                <c:pt idx="36275">
                  <c:v>-5.0420168067226703E-3</c:v>
                </c:pt>
                <c:pt idx="36276">
                  <c:v>-5.0420168067226703E-3</c:v>
                </c:pt>
                <c:pt idx="36277">
                  <c:v>-5.0420168067226703E-3</c:v>
                </c:pt>
                <c:pt idx="36278">
                  <c:v>-5.0420168067226703E-3</c:v>
                </c:pt>
                <c:pt idx="36279">
                  <c:v>-5.0420168067226703E-3</c:v>
                </c:pt>
                <c:pt idx="36280">
                  <c:v>-5.0420168067226703E-3</c:v>
                </c:pt>
                <c:pt idx="36281">
                  <c:v>-5.0420168067226703E-3</c:v>
                </c:pt>
                <c:pt idx="36282">
                  <c:v>-5.0420168067226703E-3</c:v>
                </c:pt>
                <c:pt idx="36283">
                  <c:v>-5.0420168067226703E-3</c:v>
                </c:pt>
                <c:pt idx="36284">
                  <c:v>-5.0420168067226703E-3</c:v>
                </c:pt>
                <c:pt idx="36285">
                  <c:v>-5.0420168067226703E-3</c:v>
                </c:pt>
                <c:pt idx="36286">
                  <c:v>-5.0420168067226703E-3</c:v>
                </c:pt>
                <c:pt idx="36287">
                  <c:v>-5.0420168067226703E-3</c:v>
                </c:pt>
                <c:pt idx="36288">
                  <c:v>-5.0420168067226703E-3</c:v>
                </c:pt>
                <c:pt idx="36289">
                  <c:v>-5.0420168067226703E-3</c:v>
                </c:pt>
                <c:pt idx="36290">
                  <c:v>-5.0420168067226703E-3</c:v>
                </c:pt>
                <c:pt idx="36291">
                  <c:v>-5.0420168067226703E-3</c:v>
                </c:pt>
                <c:pt idx="36292">
                  <c:v>-5.0420168067226703E-3</c:v>
                </c:pt>
                <c:pt idx="36293">
                  <c:v>-5.0420168067226703E-3</c:v>
                </c:pt>
                <c:pt idx="36294">
                  <c:v>-5.0420168067226703E-3</c:v>
                </c:pt>
                <c:pt idx="36295">
                  <c:v>-5.0420168067226703E-3</c:v>
                </c:pt>
                <c:pt idx="36296">
                  <c:v>-5.0420168067226703E-3</c:v>
                </c:pt>
                <c:pt idx="36297">
                  <c:v>-5.0420168067226703E-3</c:v>
                </c:pt>
                <c:pt idx="36298">
                  <c:v>-5.0420168067226703E-3</c:v>
                </c:pt>
                <c:pt idx="36299">
                  <c:v>-5.0420168067226703E-3</c:v>
                </c:pt>
                <c:pt idx="36300">
                  <c:v>-5.0420168067226703E-3</c:v>
                </c:pt>
                <c:pt idx="36301">
                  <c:v>-5.0420168067226703E-3</c:v>
                </c:pt>
                <c:pt idx="36302">
                  <c:v>-5.0420168067226703E-3</c:v>
                </c:pt>
                <c:pt idx="36303">
                  <c:v>-5.0420168067226703E-3</c:v>
                </c:pt>
                <c:pt idx="36304">
                  <c:v>-5.0420168067226703E-3</c:v>
                </c:pt>
                <c:pt idx="36305">
                  <c:v>-5.0420168067226703E-3</c:v>
                </c:pt>
                <c:pt idx="36306">
                  <c:v>-5.0420168067226703E-3</c:v>
                </c:pt>
                <c:pt idx="36307">
                  <c:v>-5.0420168067226703E-3</c:v>
                </c:pt>
                <c:pt idx="36308">
                  <c:v>-5.0420168067226703E-3</c:v>
                </c:pt>
                <c:pt idx="36309">
                  <c:v>-5.0420168067226703E-3</c:v>
                </c:pt>
                <c:pt idx="36310">
                  <c:v>-5.0420168067226703E-3</c:v>
                </c:pt>
                <c:pt idx="36311">
                  <c:v>-5.0420168067226703E-3</c:v>
                </c:pt>
                <c:pt idx="36312">
                  <c:v>-5.0420168067226703E-3</c:v>
                </c:pt>
                <c:pt idx="36313">
                  <c:v>-5.0420168067226703E-3</c:v>
                </c:pt>
                <c:pt idx="36314">
                  <c:v>-5.0420168067226703E-3</c:v>
                </c:pt>
                <c:pt idx="36315">
                  <c:v>-5.0420168067226703E-3</c:v>
                </c:pt>
                <c:pt idx="36316">
                  <c:v>-5.0420168067226703E-3</c:v>
                </c:pt>
                <c:pt idx="36317">
                  <c:v>-5.0420168067226703E-3</c:v>
                </c:pt>
                <c:pt idx="36318">
                  <c:v>-5.0420168067226703E-3</c:v>
                </c:pt>
                <c:pt idx="36319">
                  <c:v>-5.0420168067226703E-3</c:v>
                </c:pt>
                <c:pt idx="36320">
                  <c:v>-4.20168067226889E-3</c:v>
                </c:pt>
                <c:pt idx="36321">
                  <c:v>-4.20168067226889E-3</c:v>
                </c:pt>
                <c:pt idx="36322">
                  <c:v>-4.20168067226889E-3</c:v>
                </c:pt>
                <c:pt idx="36323">
                  <c:v>-4.20168067226889E-3</c:v>
                </c:pt>
                <c:pt idx="36324">
                  <c:v>-4.20168067226889E-3</c:v>
                </c:pt>
                <c:pt idx="36325">
                  <c:v>-4.20168067226889E-3</c:v>
                </c:pt>
                <c:pt idx="36326">
                  <c:v>-4.20168067226889E-3</c:v>
                </c:pt>
                <c:pt idx="36327">
                  <c:v>-4.20168067226889E-3</c:v>
                </c:pt>
                <c:pt idx="36328">
                  <c:v>-4.20168067226889E-3</c:v>
                </c:pt>
                <c:pt idx="36329">
                  <c:v>-4.20168067226889E-3</c:v>
                </c:pt>
                <c:pt idx="36330">
                  <c:v>-4.20168067226889E-3</c:v>
                </c:pt>
                <c:pt idx="36331">
                  <c:v>-4.20168067226889E-3</c:v>
                </c:pt>
                <c:pt idx="36332">
                  <c:v>-4.20168067226889E-3</c:v>
                </c:pt>
                <c:pt idx="36333">
                  <c:v>-4.20168067226889E-3</c:v>
                </c:pt>
                <c:pt idx="36334">
                  <c:v>-4.20168067226889E-3</c:v>
                </c:pt>
                <c:pt idx="36335">
                  <c:v>-4.20168067226889E-3</c:v>
                </c:pt>
                <c:pt idx="36336">
                  <c:v>-4.20168067226889E-3</c:v>
                </c:pt>
                <c:pt idx="36337">
                  <c:v>-4.20168067226889E-3</c:v>
                </c:pt>
                <c:pt idx="36338">
                  <c:v>-4.20168067226889E-3</c:v>
                </c:pt>
                <c:pt idx="36339">
                  <c:v>-4.20168067226889E-3</c:v>
                </c:pt>
                <c:pt idx="36340">
                  <c:v>-4.20168067226889E-3</c:v>
                </c:pt>
                <c:pt idx="36341">
                  <c:v>-4.20168067226889E-3</c:v>
                </c:pt>
                <c:pt idx="36342">
                  <c:v>-4.20168067226889E-3</c:v>
                </c:pt>
                <c:pt idx="36343">
                  <c:v>-4.20168067226889E-3</c:v>
                </c:pt>
                <c:pt idx="36344">
                  <c:v>-4.20168067226889E-3</c:v>
                </c:pt>
                <c:pt idx="36345">
                  <c:v>-4.20168067226889E-3</c:v>
                </c:pt>
                <c:pt idx="36346">
                  <c:v>-4.20168067226889E-3</c:v>
                </c:pt>
                <c:pt idx="36347">
                  <c:v>-4.20168067226889E-3</c:v>
                </c:pt>
                <c:pt idx="36348">
                  <c:v>-3.3613445378151102E-3</c:v>
                </c:pt>
                <c:pt idx="36349">
                  <c:v>-3.3613445378151102E-3</c:v>
                </c:pt>
                <c:pt idx="36350">
                  <c:v>-3.3613445378151102E-3</c:v>
                </c:pt>
                <c:pt idx="36351">
                  <c:v>-3.3613445378151102E-3</c:v>
                </c:pt>
                <c:pt idx="36352">
                  <c:v>-3.3613445378151102E-3</c:v>
                </c:pt>
                <c:pt idx="36353">
                  <c:v>-2.5210084033613299E-3</c:v>
                </c:pt>
                <c:pt idx="36354">
                  <c:v>-2.5210084033613299E-3</c:v>
                </c:pt>
                <c:pt idx="36355">
                  <c:v>-2.5210084033613299E-3</c:v>
                </c:pt>
                <c:pt idx="36356">
                  <c:v>-2.5210084033613299E-3</c:v>
                </c:pt>
                <c:pt idx="36357">
                  <c:v>-2.5210084033613299E-3</c:v>
                </c:pt>
                <c:pt idx="36358">
                  <c:v>-2.5210084033613299E-3</c:v>
                </c:pt>
                <c:pt idx="36359">
                  <c:v>-2.5210084033613299E-3</c:v>
                </c:pt>
                <c:pt idx="36360">
                  <c:v>-2.5210084033613299E-3</c:v>
                </c:pt>
                <c:pt idx="36361">
                  <c:v>-2.5210084033613299E-3</c:v>
                </c:pt>
                <c:pt idx="36362">
                  <c:v>-2.5210084033613299E-3</c:v>
                </c:pt>
                <c:pt idx="36363">
                  <c:v>-2.5210084033613299E-3</c:v>
                </c:pt>
                <c:pt idx="36364">
                  <c:v>-2.5210084033613299E-3</c:v>
                </c:pt>
                <c:pt idx="36365">
                  <c:v>-2.5210084033613299E-3</c:v>
                </c:pt>
                <c:pt idx="36366">
                  <c:v>-2.5210084033613299E-3</c:v>
                </c:pt>
                <c:pt idx="36367">
                  <c:v>-2.5210084033613299E-3</c:v>
                </c:pt>
                <c:pt idx="36368">
                  <c:v>-2.5210084033613299E-3</c:v>
                </c:pt>
                <c:pt idx="36369">
                  <c:v>-2.5210084033613299E-3</c:v>
                </c:pt>
                <c:pt idx="36370">
                  <c:v>-2.5210084033613299E-3</c:v>
                </c:pt>
                <c:pt idx="36371">
                  <c:v>-2.5210084033613299E-3</c:v>
                </c:pt>
                <c:pt idx="36372">
                  <c:v>-2.5210084033613299E-3</c:v>
                </c:pt>
                <c:pt idx="36373">
                  <c:v>-2.5210084033613299E-3</c:v>
                </c:pt>
                <c:pt idx="36374">
                  <c:v>-2.5210084033613299E-3</c:v>
                </c:pt>
                <c:pt idx="36375">
                  <c:v>-2.5210084033613299E-3</c:v>
                </c:pt>
                <c:pt idx="36376">
                  <c:v>-2.5210084033613299E-3</c:v>
                </c:pt>
                <c:pt idx="36377">
                  <c:v>-2.5210084033613299E-3</c:v>
                </c:pt>
                <c:pt idx="36378">
                  <c:v>-2.5210084033613299E-3</c:v>
                </c:pt>
                <c:pt idx="36379">
                  <c:v>-2.5210084033613299E-3</c:v>
                </c:pt>
                <c:pt idx="36380">
                  <c:v>-2.5210084033613299E-3</c:v>
                </c:pt>
                <c:pt idx="36381">
                  <c:v>-2.5210084033613299E-3</c:v>
                </c:pt>
                <c:pt idx="36382">
                  <c:v>-2.5210084033613299E-3</c:v>
                </c:pt>
                <c:pt idx="36383">
                  <c:v>-2.5210084033613299E-3</c:v>
                </c:pt>
                <c:pt idx="36384">
                  <c:v>-2.5210084033613299E-3</c:v>
                </c:pt>
                <c:pt idx="36385">
                  <c:v>-2.5210084033613299E-3</c:v>
                </c:pt>
                <c:pt idx="36386">
                  <c:v>-2.5210084033613299E-3</c:v>
                </c:pt>
                <c:pt idx="36387">
                  <c:v>-2.5210084033613299E-3</c:v>
                </c:pt>
                <c:pt idx="36388">
                  <c:v>-2.5210084033613299E-3</c:v>
                </c:pt>
                <c:pt idx="36389">
                  <c:v>-2.5210084033613299E-3</c:v>
                </c:pt>
                <c:pt idx="36390">
                  <c:v>-2.5210084033613299E-3</c:v>
                </c:pt>
                <c:pt idx="36391">
                  <c:v>-2.5210084033613299E-3</c:v>
                </c:pt>
                <c:pt idx="36392">
                  <c:v>-2.5210084033613299E-3</c:v>
                </c:pt>
                <c:pt idx="36393">
                  <c:v>-2.5210084033613299E-3</c:v>
                </c:pt>
                <c:pt idx="36394">
                  <c:v>-2.5210084033613299E-3</c:v>
                </c:pt>
                <c:pt idx="36395">
                  <c:v>-2.5210084033613299E-3</c:v>
                </c:pt>
                <c:pt idx="36396">
                  <c:v>-2.5210084033613299E-3</c:v>
                </c:pt>
                <c:pt idx="36397">
                  <c:v>-2.5210084033613299E-3</c:v>
                </c:pt>
                <c:pt idx="36398">
                  <c:v>-2.5210084033613299E-3</c:v>
                </c:pt>
                <c:pt idx="36399">
                  <c:v>-2.5210084033613299E-3</c:v>
                </c:pt>
                <c:pt idx="36400">
                  <c:v>-2.5210084033613299E-3</c:v>
                </c:pt>
                <c:pt idx="36401">
                  <c:v>-2.5210084033613299E-3</c:v>
                </c:pt>
                <c:pt idx="36402">
                  <c:v>-2.5210084033613299E-3</c:v>
                </c:pt>
                <c:pt idx="36403">
                  <c:v>-2.5210084033613299E-3</c:v>
                </c:pt>
                <c:pt idx="36404">
                  <c:v>-2.5210084033613299E-3</c:v>
                </c:pt>
                <c:pt idx="36405">
                  <c:v>-2.5210084033613299E-3</c:v>
                </c:pt>
                <c:pt idx="36406">
                  <c:v>-2.5210084033613299E-3</c:v>
                </c:pt>
                <c:pt idx="36407">
                  <c:v>-2.5210084033613299E-3</c:v>
                </c:pt>
                <c:pt idx="36408">
                  <c:v>-2.5210084033613299E-3</c:v>
                </c:pt>
                <c:pt idx="36409">
                  <c:v>-2.5210084033613299E-3</c:v>
                </c:pt>
                <c:pt idx="36410">
                  <c:v>-2.5210084033613299E-3</c:v>
                </c:pt>
                <c:pt idx="36411">
                  <c:v>-2.5210084033613299E-3</c:v>
                </c:pt>
                <c:pt idx="36412">
                  <c:v>-2.5210084033613299E-3</c:v>
                </c:pt>
                <c:pt idx="36413">
                  <c:v>-2.5210084033613299E-3</c:v>
                </c:pt>
                <c:pt idx="36414">
                  <c:v>-2.5210084033613299E-3</c:v>
                </c:pt>
                <c:pt idx="36415">
                  <c:v>-2.5210084033613299E-3</c:v>
                </c:pt>
                <c:pt idx="36416">
                  <c:v>-2.5210084033613299E-3</c:v>
                </c:pt>
                <c:pt idx="36417">
                  <c:v>-2.5210084033613299E-3</c:v>
                </c:pt>
                <c:pt idx="36418">
                  <c:v>-2.5210084033613299E-3</c:v>
                </c:pt>
                <c:pt idx="36419">
                  <c:v>-2.5210084033613299E-3</c:v>
                </c:pt>
                <c:pt idx="36420">
                  <c:v>-2.5210084033613299E-3</c:v>
                </c:pt>
                <c:pt idx="36421">
                  <c:v>-2.5210084033613299E-3</c:v>
                </c:pt>
                <c:pt idx="36422">
                  <c:v>-2.5210084033613299E-3</c:v>
                </c:pt>
                <c:pt idx="36423">
                  <c:v>-2.5210084033613299E-3</c:v>
                </c:pt>
                <c:pt idx="36424">
                  <c:v>-2.5210084033613299E-3</c:v>
                </c:pt>
                <c:pt idx="36425">
                  <c:v>-2.5210084033613299E-3</c:v>
                </c:pt>
                <c:pt idx="36426">
                  <c:v>-2.5210084033613299E-3</c:v>
                </c:pt>
                <c:pt idx="36427">
                  <c:v>-2.5210084033613299E-3</c:v>
                </c:pt>
                <c:pt idx="36428">
                  <c:v>-2.5210084033613299E-3</c:v>
                </c:pt>
                <c:pt idx="36429">
                  <c:v>-2.5210084033613299E-3</c:v>
                </c:pt>
                <c:pt idx="36430">
                  <c:v>-2.5210084033613299E-3</c:v>
                </c:pt>
                <c:pt idx="36431">
                  <c:v>-2.5210084033613299E-3</c:v>
                </c:pt>
                <c:pt idx="36432">
                  <c:v>-2.5210084033613299E-3</c:v>
                </c:pt>
                <c:pt idx="36433">
                  <c:v>-2.5210084033613299E-3</c:v>
                </c:pt>
                <c:pt idx="36434">
                  <c:v>-2.5210084033613299E-3</c:v>
                </c:pt>
                <c:pt idx="36435">
                  <c:v>-2.5210084033613299E-3</c:v>
                </c:pt>
                <c:pt idx="36436">
                  <c:v>-2.5210084033613299E-3</c:v>
                </c:pt>
                <c:pt idx="36437">
                  <c:v>-2.5210084033613299E-3</c:v>
                </c:pt>
                <c:pt idx="36438">
                  <c:v>-2.5210084033613299E-3</c:v>
                </c:pt>
                <c:pt idx="36439">
                  <c:v>-2.5210084033613299E-3</c:v>
                </c:pt>
                <c:pt idx="36440">
                  <c:v>-2.5210084033613299E-3</c:v>
                </c:pt>
                <c:pt idx="36441">
                  <c:v>-2.5210084033613299E-3</c:v>
                </c:pt>
                <c:pt idx="36442">
                  <c:v>-2.5210084033613299E-3</c:v>
                </c:pt>
                <c:pt idx="36443">
                  <c:v>-2.5210084033613299E-3</c:v>
                </c:pt>
                <c:pt idx="36444">
                  <c:v>-2.5210084033613299E-3</c:v>
                </c:pt>
                <c:pt idx="36445">
                  <c:v>-2.5210084033613299E-3</c:v>
                </c:pt>
                <c:pt idx="36446">
                  <c:v>-2.5210084033613299E-3</c:v>
                </c:pt>
                <c:pt idx="36447">
                  <c:v>-2.5210084033613299E-3</c:v>
                </c:pt>
                <c:pt idx="36448">
                  <c:v>-2.5210084033613299E-3</c:v>
                </c:pt>
                <c:pt idx="36449">
                  <c:v>-2.5210084033613299E-3</c:v>
                </c:pt>
                <c:pt idx="36450">
                  <c:v>-2.5210084033613299E-3</c:v>
                </c:pt>
                <c:pt idx="36451">
                  <c:v>-2.5210084033613299E-3</c:v>
                </c:pt>
                <c:pt idx="36452">
                  <c:v>-2.5210084033613299E-3</c:v>
                </c:pt>
                <c:pt idx="36453">
                  <c:v>-2.5210084033613299E-3</c:v>
                </c:pt>
                <c:pt idx="36454">
                  <c:v>-2.5210084033613299E-3</c:v>
                </c:pt>
                <c:pt idx="36455">
                  <c:v>-2.5210084033613299E-3</c:v>
                </c:pt>
                <c:pt idx="36456">
                  <c:v>-2.5210084033613299E-3</c:v>
                </c:pt>
                <c:pt idx="36457">
                  <c:v>-2.5210084033613299E-3</c:v>
                </c:pt>
                <c:pt idx="36458">
                  <c:v>-2.5210084033613299E-3</c:v>
                </c:pt>
                <c:pt idx="36459">
                  <c:v>-2.5210084033613299E-3</c:v>
                </c:pt>
                <c:pt idx="36460">
                  <c:v>-2.5210084033613299E-3</c:v>
                </c:pt>
                <c:pt idx="36461">
                  <c:v>-2.5210084033613299E-3</c:v>
                </c:pt>
                <c:pt idx="36462">
                  <c:v>-1.6806722689075499E-3</c:v>
                </c:pt>
                <c:pt idx="36463">
                  <c:v>-1.6806722689075499E-3</c:v>
                </c:pt>
                <c:pt idx="36464">
                  <c:v>-1.6806722689075499E-3</c:v>
                </c:pt>
                <c:pt idx="36465">
                  <c:v>-1.6806722689075499E-3</c:v>
                </c:pt>
                <c:pt idx="36466">
                  <c:v>-1.6806722689075499E-3</c:v>
                </c:pt>
                <c:pt idx="36467">
                  <c:v>-1.6806722689075499E-3</c:v>
                </c:pt>
                <c:pt idx="36468">
                  <c:v>-1.6806722689075499E-3</c:v>
                </c:pt>
                <c:pt idx="36469">
                  <c:v>-1.6806722689075499E-3</c:v>
                </c:pt>
                <c:pt idx="36470">
                  <c:v>-1.6806722689075499E-3</c:v>
                </c:pt>
                <c:pt idx="36471">
                  <c:v>-1.6806722689075499E-3</c:v>
                </c:pt>
                <c:pt idx="36472">
                  <c:v>-1.6806722689075499E-3</c:v>
                </c:pt>
                <c:pt idx="36473">
                  <c:v>-1.6806722689075499E-3</c:v>
                </c:pt>
                <c:pt idx="36474">
                  <c:v>-1.6806722689075499E-3</c:v>
                </c:pt>
                <c:pt idx="36475">
                  <c:v>-1.6806722689075499E-3</c:v>
                </c:pt>
                <c:pt idx="36476">
                  <c:v>-1.6806722689075499E-3</c:v>
                </c:pt>
                <c:pt idx="36477">
                  <c:v>-1.6806722689075499E-3</c:v>
                </c:pt>
                <c:pt idx="36478">
                  <c:v>-1.6806722689075499E-3</c:v>
                </c:pt>
                <c:pt idx="36479">
                  <c:v>-1.6806722689075499E-3</c:v>
                </c:pt>
                <c:pt idx="36480">
                  <c:v>-1.6806722689075499E-3</c:v>
                </c:pt>
                <c:pt idx="36481">
                  <c:v>-1.6806722689075499E-3</c:v>
                </c:pt>
                <c:pt idx="36482">
                  <c:v>-1.6806722689075499E-3</c:v>
                </c:pt>
                <c:pt idx="36483">
                  <c:v>-1.6806722689075499E-3</c:v>
                </c:pt>
                <c:pt idx="36484">
                  <c:v>-1.6806722689075499E-3</c:v>
                </c:pt>
                <c:pt idx="36485">
                  <c:v>-1.6806722689075499E-3</c:v>
                </c:pt>
                <c:pt idx="36486">
                  <c:v>-1.6806722689075499E-3</c:v>
                </c:pt>
                <c:pt idx="36487">
                  <c:v>-1.6806722689075499E-3</c:v>
                </c:pt>
                <c:pt idx="36488">
                  <c:v>-1.6806722689075499E-3</c:v>
                </c:pt>
                <c:pt idx="36489">
                  <c:v>-1.6806722689075499E-3</c:v>
                </c:pt>
                <c:pt idx="36490">
                  <c:v>-1.6806722689075499E-3</c:v>
                </c:pt>
                <c:pt idx="36491">
                  <c:v>-1.6806722689075499E-3</c:v>
                </c:pt>
                <c:pt idx="36492">
                  <c:v>-1.6806722689075499E-3</c:v>
                </c:pt>
                <c:pt idx="36493">
                  <c:v>-1.6806722689075499E-3</c:v>
                </c:pt>
                <c:pt idx="36494">
                  <c:v>-1.6806722689075499E-3</c:v>
                </c:pt>
                <c:pt idx="36495">
                  <c:v>-1.6806722689075499E-3</c:v>
                </c:pt>
                <c:pt idx="36496">
                  <c:v>-1.6806722689075499E-3</c:v>
                </c:pt>
                <c:pt idx="36497">
                  <c:v>-1.6806722689075499E-3</c:v>
                </c:pt>
                <c:pt idx="36498">
                  <c:v>-1.6806722689075499E-3</c:v>
                </c:pt>
                <c:pt idx="36499">
                  <c:v>-1.6806722689075499E-3</c:v>
                </c:pt>
                <c:pt idx="36500">
                  <c:v>-1.6806722689075499E-3</c:v>
                </c:pt>
                <c:pt idx="36501">
                  <c:v>-1.6806722689075499E-3</c:v>
                </c:pt>
                <c:pt idx="36502">
                  <c:v>-1.6806722689075499E-3</c:v>
                </c:pt>
                <c:pt idx="36503">
                  <c:v>-1.6806722689075499E-3</c:v>
                </c:pt>
                <c:pt idx="36504">
                  <c:v>-1.6806722689075499E-3</c:v>
                </c:pt>
                <c:pt idx="36505">
                  <c:v>-1.6806722689075499E-3</c:v>
                </c:pt>
                <c:pt idx="36506">
                  <c:v>-2.5210084033613299E-3</c:v>
                </c:pt>
                <c:pt idx="36507">
                  <c:v>-2.5210084033613299E-3</c:v>
                </c:pt>
                <c:pt idx="36508">
                  <c:v>-2.5210084033613299E-3</c:v>
                </c:pt>
                <c:pt idx="36509">
                  <c:v>-2.5210084033613299E-3</c:v>
                </c:pt>
                <c:pt idx="36510">
                  <c:v>-2.5210084033613299E-3</c:v>
                </c:pt>
                <c:pt idx="36511">
                  <c:v>-2.5210084033613299E-3</c:v>
                </c:pt>
                <c:pt idx="36512">
                  <c:v>-2.5210084033613299E-3</c:v>
                </c:pt>
                <c:pt idx="36513">
                  <c:v>-1.6806722689075499E-3</c:v>
                </c:pt>
                <c:pt idx="36514">
                  <c:v>-1.6806722689075499E-3</c:v>
                </c:pt>
                <c:pt idx="36515">
                  <c:v>-1.6806722689075499E-3</c:v>
                </c:pt>
                <c:pt idx="36516">
                  <c:v>-1.6806722689075499E-3</c:v>
                </c:pt>
                <c:pt idx="36517">
                  <c:v>-1.6806722689075499E-3</c:v>
                </c:pt>
                <c:pt idx="36518">
                  <c:v>-1.6806722689075499E-3</c:v>
                </c:pt>
                <c:pt idx="36519">
                  <c:v>-1.6806722689075499E-3</c:v>
                </c:pt>
                <c:pt idx="36520">
                  <c:v>-1.6806722689075499E-3</c:v>
                </c:pt>
                <c:pt idx="36521">
                  <c:v>-1.6806722689075499E-3</c:v>
                </c:pt>
                <c:pt idx="36522">
                  <c:v>-1.6806722689075499E-3</c:v>
                </c:pt>
                <c:pt idx="36523">
                  <c:v>-8.4033613445377799E-4</c:v>
                </c:pt>
                <c:pt idx="36524">
                  <c:v>-8.4033613445377799E-4</c:v>
                </c:pt>
                <c:pt idx="36525">
                  <c:v>-8.4033613445377799E-4</c:v>
                </c:pt>
                <c:pt idx="36526">
                  <c:v>-8.4033613445377799E-4</c:v>
                </c:pt>
                <c:pt idx="36527">
                  <c:v>-8.4033613445377799E-4</c:v>
                </c:pt>
                <c:pt idx="36528">
                  <c:v>-8.4033613445377799E-4</c:v>
                </c:pt>
                <c:pt idx="36529">
                  <c:v>-8.4033613445377799E-4</c:v>
                </c:pt>
                <c:pt idx="36530">
                  <c:v>-8.4033613445377799E-4</c:v>
                </c:pt>
                <c:pt idx="36531">
                  <c:v>-8.4033613445377799E-4</c:v>
                </c:pt>
                <c:pt idx="36532">
                  <c:v>-8.4033613445377799E-4</c:v>
                </c:pt>
                <c:pt idx="36533">
                  <c:v>-8.4033613445377799E-4</c:v>
                </c:pt>
                <c:pt idx="36534">
                  <c:v>-8.4033613445377799E-4</c:v>
                </c:pt>
                <c:pt idx="36535">
                  <c:v>-8.4033613445377799E-4</c:v>
                </c:pt>
                <c:pt idx="36536">
                  <c:v>-8.4033613445377799E-4</c:v>
                </c:pt>
                <c:pt idx="36537">
                  <c:v>-8.4033613445377799E-4</c:v>
                </c:pt>
                <c:pt idx="36538">
                  <c:v>-8.4033613445377799E-4</c:v>
                </c:pt>
                <c:pt idx="36539">
                  <c:v>-8.4033613445377799E-4</c:v>
                </c:pt>
                <c:pt idx="36540">
                  <c:v>-8.4033613445377799E-4</c:v>
                </c:pt>
                <c:pt idx="36541">
                  <c:v>-8.4033613445377799E-4</c:v>
                </c:pt>
                <c:pt idx="36542">
                  <c:v>-8.4033613445377799E-4</c:v>
                </c:pt>
                <c:pt idx="36543">
                  <c:v>-8.4033613445377799E-4</c:v>
                </c:pt>
                <c:pt idx="36544">
                  <c:v>-8.4033613445377799E-4</c:v>
                </c:pt>
                <c:pt idx="36545">
                  <c:v>-8.4033613445377799E-4</c:v>
                </c:pt>
                <c:pt idx="36546">
                  <c:v>-8.4033613445377799E-4</c:v>
                </c:pt>
                <c:pt idx="36547">
                  <c:v>-8.4033613445377799E-4</c:v>
                </c:pt>
                <c:pt idx="36548">
                  <c:v>-8.4033613445377799E-4</c:v>
                </c:pt>
                <c:pt idx="36549">
                  <c:v>-8.4033613445377799E-4</c:v>
                </c:pt>
                <c:pt idx="36550">
                  <c:v>-8.4033613445377799E-4</c:v>
                </c:pt>
                <c:pt idx="36551">
                  <c:v>-8.4033613445377799E-4</c:v>
                </c:pt>
                <c:pt idx="36552">
                  <c:v>-8.4033613445377799E-4</c:v>
                </c:pt>
                <c:pt idx="36553">
                  <c:v>-8.4033613445377799E-4</c:v>
                </c:pt>
                <c:pt idx="36554">
                  <c:v>-8.4033613445377799E-4</c:v>
                </c:pt>
                <c:pt idx="36555">
                  <c:v>-8.4033613445377799E-4</c:v>
                </c:pt>
                <c:pt idx="36556">
                  <c:v>-8.4033613445377799E-4</c:v>
                </c:pt>
                <c:pt idx="36557">
                  <c:v>-8.4033613445377799E-4</c:v>
                </c:pt>
                <c:pt idx="36558">
                  <c:v>-8.4033613445377799E-4</c:v>
                </c:pt>
                <c:pt idx="36559">
                  <c:v>-8.4033613445377799E-4</c:v>
                </c:pt>
                <c:pt idx="36560">
                  <c:v>-8.4033613445377799E-4</c:v>
                </c:pt>
                <c:pt idx="36561">
                  <c:v>-8.4033613445377799E-4</c:v>
                </c:pt>
                <c:pt idx="36562">
                  <c:v>-8.4033613445377799E-4</c:v>
                </c:pt>
                <c:pt idx="36563">
                  <c:v>-8.4033613445377799E-4</c:v>
                </c:pt>
                <c:pt idx="36564">
                  <c:v>-8.4033613445377799E-4</c:v>
                </c:pt>
                <c:pt idx="36565">
                  <c:v>-8.4033613445377799E-4</c:v>
                </c:pt>
                <c:pt idx="36566">
                  <c:v>-8.4033613445377799E-4</c:v>
                </c:pt>
                <c:pt idx="36567">
                  <c:v>-8.4033613445377799E-4</c:v>
                </c:pt>
                <c:pt idx="36568">
                  <c:v>-8.4033613445377799E-4</c:v>
                </c:pt>
                <c:pt idx="36569">
                  <c:v>-8.4033613445377799E-4</c:v>
                </c:pt>
                <c:pt idx="36570">
                  <c:v>-8.4033613445377799E-4</c:v>
                </c:pt>
                <c:pt idx="36571">
                  <c:v>-8.4033613445377799E-4</c:v>
                </c:pt>
                <c:pt idx="36572">
                  <c:v>-8.4033613445377799E-4</c:v>
                </c:pt>
                <c:pt idx="36573">
                  <c:v>-8.4033613445377799E-4</c:v>
                </c:pt>
                <c:pt idx="36574">
                  <c:v>-8.4033613445377799E-4</c:v>
                </c:pt>
                <c:pt idx="36575">
                  <c:v>-8.4033613445377799E-4</c:v>
                </c:pt>
                <c:pt idx="36576">
                  <c:v>-8.4033613445377799E-4</c:v>
                </c:pt>
                <c:pt idx="36577">
                  <c:v>-8.4033613445377799E-4</c:v>
                </c:pt>
                <c:pt idx="36578">
                  <c:v>-8.4033613445377799E-4</c:v>
                </c:pt>
                <c:pt idx="36579">
                  <c:v>-8.4033613445377799E-4</c:v>
                </c:pt>
                <c:pt idx="36580">
                  <c:v>-8.4033613445377799E-4</c:v>
                </c:pt>
                <c:pt idx="36581">
                  <c:v>-8.4033613445377799E-4</c:v>
                </c:pt>
                <c:pt idx="36582">
                  <c:v>-8.4033613445377799E-4</c:v>
                </c:pt>
                <c:pt idx="36583">
                  <c:v>-8.4033613445377799E-4</c:v>
                </c:pt>
                <c:pt idx="36584">
                  <c:v>-8.4033613445377799E-4</c:v>
                </c:pt>
                <c:pt idx="36585">
                  <c:v>-8.4033613445377799E-4</c:v>
                </c:pt>
                <c:pt idx="36586">
                  <c:v>-8.4033613445377799E-4</c:v>
                </c:pt>
                <c:pt idx="36587">
                  <c:v>-8.4033613445377799E-4</c:v>
                </c:pt>
                <c:pt idx="36588">
                  <c:v>-8.4033613445377799E-4</c:v>
                </c:pt>
                <c:pt idx="36589">
                  <c:v>-8.4033613445377799E-4</c:v>
                </c:pt>
                <c:pt idx="36590">
                  <c:v>-8.4033613445377799E-4</c:v>
                </c:pt>
                <c:pt idx="36591">
                  <c:v>-8.4033613445377799E-4</c:v>
                </c:pt>
                <c:pt idx="36592">
                  <c:v>-8.4033613445377799E-4</c:v>
                </c:pt>
                <c:pt idx="36593">
                  <c:v>-8.4033613445377799E-4</c:v>
                </c:pt>
                <c:pt idx="36594">
                  <c:v>-8.4033613445377799E-4</c:v>
                </c:pt>
                <c:pt idx="36595">
                  <c:v>-8.4033613445377799E-4</c:v>
                </c:pt>
                <c:pt idx="36596">
                  <c:v>-8.4033613445377799E-4</c:v>
                </c:pt>
                <c:pt idx="36597">
                  <c:v>-8.4033613445377799E-4</c:v>
                </c:pt>
                <c:pt idx="36598">
                  <c:v>-8.4033613445377799E-4</c:v>
                </c:pt>
                <c:pt idx="36599">
                  <c:v>-8.4033613445377799E-4</c:v>
                </c:pt>
                <c:pt idx="36600">
                  <c:v>-8.4033613445377799E-4</c:v>
                </c:pt>
                <c:pt idx="36601">
                  <c:v>-8.4033613445377799E-4</c:v>
                </c:pt>
                <c:pt idx="36602">
                  <c:v>-8.4033613445377799E-4</c:v>
                </c:pt>
                <c:pt idx="36603">
                  <c:v>-8.4033613445377799E-4</c:v>
                </c:pt>
                <c:pt idx="36604">
                  <c:v>-8.4033613445377799E-4</c:v>
                </c:pt>
                <c:pt idx="36605">
                  <c:v>-8.4033613445377799E-4</c:v>
                </c:pt>
                <c:pt idx="36606">
                  <c:v>-8.4033613445377799E-4</c:v>
                </c:pt>
                <c:pt idx="36607">
                  <c:v>-8.4033613445377799E-4</c:v>
                </c:pt>
                <c:pt idx="36608">
                  <c:v>-8.4033613445377799E-4</c:v>
                </c:pt>
                <c:pt idx="36609">
                  <c:v>-8.4033613445377799E-4</c:v>
                </c:pt>
                <c:pt idx="36610">
                  <c:v>-8.4033613445377799E-4</c:v>
                </c:pt>
                <c:pt idx="36611">
                  <c:v>-8.4033613445377799E-4</c:v>
                </c:pt>
                <c:pt idx="36612">
                  <c:v>-8.4033613445377799E-4</c:v>
                </c:pt>
                <c:pt idx="36613">
                  <c:v>-8.4033613445377799E-4</c:v>
                </c:pt>
                <c:pt idx="36614">
                  <c:v>-8.4033613445377799E-4</c:v>
                </c:pt>
                <c:pt idx="36615">
                  <c:v>-8.4033613445377799E-4</c:v>
                </c:pt>
                <c:pt idx="36616">
                  <c:v>-1.6806722689075499E-3</c:v>
                </c:pt>
                <c:pt idx="36617">
                  <c:v>-1.6806722689075499E-3</c:v>
                </c:pt>
                <c:pt idx="36618">
                  <c:v>-1.6806722689075499E-3</c:v>
                </c:pt>
                <c:pt idx="36619">
                  <c:v>-1.6806722689075499E-3</c:v>
                </c:pt>
                <c:pt idx="36620">
                  <c:v>-1.6806722689075499E-3</c:v>
                </c:pt>
                <c:pt idx="36621">
                  <c:v>-1.6806722689075499E-3</c:v>
                </c:pt>
                <c:pt idx="36622">
                  <c:v>-1.6806722689075499E-3</c:v>
                </c:pt>
                <c:pt idx="36623">
                  <c:v>-1.6806722689075499E-3</c:v>
                </c:pt>
                <c:pt idx="36624">
                  <c:v>-1.6806722689075499E-3</c:v>
                </c:pt>
                <c:pt idx="36625">
                  <c:v>-1.6806722689075499E-3</c:v>
                </c:pt>
                <c:pt idx="36626">
                  <c:v>-1.6806722689075499E-3</c:v>
                </c:pt>
                <c:pt idx="36627">
                  <c:v>-1.6806722689075499E-3</c:v>
                </c:pt>
                <c:pt idx="36628">
                  <c:v>-1.6806722689075499E-3</c:v>
                </c:pt>
                <c:pt idx="36629">
                  <c:v>-1.6806722689075499E-3</c:v>
                </c:pt>
                <c:pt idx="36630">
                  <c:v>-1.6806722689075499E-3</c:v>
                </c:pt>
                <c:pt idx="36631">
                  <c:v>-1.6806722689075499E-3</c:v>
                </c:pt>
                <c:pt idx="36632">
                  <c:v>-1.6806722689075499E-3</c:v>
                </c:pt>
                <c:pt idx="36633">
                  <c:v>-1.6806722689075499E-3</c:v>
                </c:pt>
                <c:pt idx="36634">
                  <c:v>-1.6806722689075499E-3</c:v>
                </c:pt>
                <c:pt idx="36635">
                  <c:v>-1.6806722689075499E-3</c:v>
                </c:pt>
                <c:pt idx="36636">
                  <c:v>-1.6806722689075499E-3</c:v>
                </c:pt>
                <c:pt idx="36637">
                  <c:v>-1.6806722689075499E-3</c:v>
                </c:pt>
                <c:pt idx="36638">
                  <c:v>-1.6806722689075499E-3</c:v>
                </c:pt>
                <c:pt idx="36639">
                  <c:v>-1.6806722689075499E-3</c:v>
                </c:pt>
                <c:pt idx="36640">
                  <c:v>-1.6806722689075499E-3</c:v>
                </c:pt>
                <c:pt idx="36641">
                  <c:v>-1.6806722689075499E-3</c:v>
                </c:pt>
                <c:pt idx="36642">
                  <c:v>-1.6806722689075499E-3</c:v>
                </c:pt>
                <c:pt idx="36643">
                  <c:v>-1.6806722689075499E-3</c:v>
                </c:pt>
                <c:pt idx="36644">
                  <c:v>-1.6806722689075499E-3</c:v>
                </c:pt>
                <c:pt idx="36645">
                  <c:v>-1.6806722689075499E-3</c:v>
                </c:pt>
                <c:pt idx="36646">
                  <c:v>-1.6806722689075499E-3</c:v>
                </c:pt>
                <c:pt idx="36647">
                  <c:v>-1.6806722689075499E-3</c:v>
                </c:pt>
                <c:pt idx="36648">
                  <c:v>-1.6806722689075499E-3</c:v>
                </c:pt>
                <c:pt idx="36649">
                  <c:v>-1.6806722689075499E-3</c:v>
                </c:pt>
                <c:pt idx="36650">
                  <c:v>-1.6806722689075499E-3</c:v>
                </c:pt>
                <c:pt idx="36651">
                  <c:v>-1.6806722689075499E-3</c:v>
                </c:pt>
                <c:pt idx="36652">
                  <c:v>-1.6806722689075499E-3</c:v>
                </c:pt>
                <c:pt idx="36653">
                  <c:v>-1.6806722689075499E-3</c:v>
                </c:pt>
                <c:pt idx="36654">
                  <c:v>-1.6806722689075499E-3</c:v>
                </c:pt>
                <c:pt idx="36655">
                  <c:v>-1.6806722689075499E-3</c:v>
                </c:pt>
                <c:pt idx="36656">
                  <c:v>-1.6806722689075499E-3</c:v>
                </c:pt>
                <c:pt idx="36657">
                  <c:v>-1.6806722689075499E-3</c:v>
                </c:pt>
                <c:pt idx="36658">
                  <c:v>-1.6806722689075499E-3</c:v>
                </c:pt>
                <c:pt idx="36659">
                  <c:v>-1.6806722689075499E-3</c:v>
                </c:pt>
                <c:pt idx="36660">
                  <c:v>-1.6806722689075499E-3</c:v>
                </c:pt>
                <c:pt idx="36661">
                  <c:v>-1.6806722689075499E-3</c:v>
                </c:pt>
                <c:pt idx="36662">
                  <c:v>-1.6806722689075499E-3</c:v>
                </c:pt>
                <c:pt idx="36663">
                  <c:v>-1.6806722689075499E-3</c:v>
                </c:pt>
                <c:pt idx="36664">
                  <c:v>-1.6806722689075499E-3</c:v>
                </c:pt>
                <c:pt idx="36665">
                  <c:v>-1.6806722689075499E-3</c:v>
                </c:pt>
                <c:pt idx="36666">
                  <c:v>-1.6806722689075499E-3</c:v>
                </c:pt>
                <c:pt idx="36667">
                  <c:v>-1.6806722689075499E-3</c:v>
                </c:pt>
                <c:pt idx="36668">
                  <c:v>-1.6806722689075499E-3</c:v>
                </c:pt>
                <c:pt idx="36669">
                  <c:v>-1.6806722689075499E-3</c:v>
                </c:pt>
                <c:pt idx="36670">
                  <c:v>-1.6806722689075499E-3</c:v>
                </c:pt>
                <c:pt idx="36671">
                  <c:v>-1.6806722689075499E-3</c:v>
                </c:pt>
                <c:pt idx="36672">
                  <c:v>-1.6806722689075499E-3</c:v>
                </c:pt>
                <c:pt idx="36673">
                  <c:v>-1.6806722689075499E-3</c:v>
                </c:pt>
                <c:pt idx="36674">
                  <c:v>-1.6806722689075499E-3</c:v>
                </c:pt>
                <c:pt idx="36675">
                  <c:v>-1.6806722689075499E-3</c:v>
                </c:pt>
                <c:pt idx="36676">
                  <c:v>-1.6806722689075499E-3</c:v>
                </c:pt>
                <c:pt idx="36677">
                  <c:v>-1.6806722689075499E-3</c:v>
                </c:pt>
                <c:pt idx="36678">
                  <c:v>-1.6806722689075499E-3</c:v>
                </c:pt>
                <c:pt idx="36679">
                  <c:v>-1.6806722689075499E-3</c:v>
                </c:pt>
                <c:pt idx="36680">
                  <c:v>-1.6806722689075499E-3</c:v>
                </c:pt>
                <c:pt idx="36681">
                  <c:v>-1.6806722689075499E-3</c:v>
                </c:pt>
                <c:pt idx="36682">
                  <c:v>-1.6806722689075499E-3</c:v>
                </c:pt>
                <c:pt idx="36683">
                  <c:v>-1.6806722689075499E-3</c:v>
                </c:pt>
                <c:pt idx="36684">
                  <c:v>-1.6806722689075499E-3</c:v>
                </c:pt>
                <c:pt idx="36685">
                  <c:v>-1.6806722689075499E-3</c:v>
                </c:pt>
                <c:pt idx="36686">
                  <c:v>-1.6806722689075499E-3</c:v>
                </c:pt>
                <c:pt idx="36687">
                  <c:v>-1.6806722689075499E-3</c:v>
                </c:pt>
                <c:pt idx="36688">
                  <c:v>-1.6806722689075499E-3</c:v>
                </c:pt>
                <c:pt idx="36689">
                  <c:v>-2.5210084033613299E-3</c:v>
                </c:pt>
                <c:pt idx="36690">
                  <c:v>-2.5210084033613299E-3</c:v>
                </c:pt>
                <c:pt idx="36691">
                  <c:v>-2.5210084033613299E-3</c:v>
                </c:pt>
                <c:pt idx="36692">
                  <c:v>-2.5210084033613299E-3</c:v>
                </c:pt>
                <c:pt idx="36693">
                  <c:v>-2.5210084033613299E-3</c:v>
                </c:pt>
                <c:pt idx="36694">
                  <c:v>-2.5210084033613299E-3</c:v>
                </c:pt>
                <c:pt idx="36695">
                  <c:v>-2.5210084033613299E-3</c:v>
                </c:pt>
                <c:pt idx="36696">
                  <c:v>-2.5210084033613299E-3</c:v>
                </c:pt>
                <c:pt idx="36697">
                  <c:v>-2.5210084033613299E-3</c:v>
                </c:pt>
                <c:pt idx="36698">
                  <c:v>-2.5210084033613299E-3</c:v>
                </c:pt>
                <c:pt idx="36699">
                  <c:v>-2.5210084033613299E-3</c:v>
                </c:pt>
                <c:pt idx="36700">
                  <c:v>-2.5210084033613299E-3</c:v>
                </c:pt>
                <c:pt idx="36701">
                  <c:v>-2.5210084033613299E-3</c:v>
                </c:pt>
                <c:pt idx="36702">
                  <c:v>-2.5210084033613299E-3</c:v>
                </c:pt>
                <c:pt idx="36703">
                  <c:v>-2.5210084033613299E-3</c:v>
                </c:pt>
                <c:pt idx="36704">
                  <c:v>-2.5210084033613299E-3</c:v>
                </c:pt>
                <c:pt idx="36705">
                  <c:v>-2.5210084033613299E-3</c:v>
                </c:pt>
                <c:pt idx="36706">
                  <c:v>-2.5210084033613299E-3</c:v>
                </c:pt>
                <c:pt idx="36707">
                  <c:v>-2.5210084033613299E-3</c:v>
                </c:pt>
                <c:pt idx="36708">
                  <c:v>-2.5210084033613299E-3</c:v>
                </c:pt>
                <c:pt idx="36709">
                  <c:v>-2.5210084033613299E-3</c:v>
                </c:pt>
                <c:pt idx="36710">
                  <c:v>-2.5210084033613299E-3</c:v>
                </c:pt>
                <c:pt idx="36711">
                  <c:v>-2.5210084033613299E-3</c:v>
                </c:pt>
                <c:pt idx="36712">
                  <c:v>-2.5210084033613299E-3</c:v>
                </c:pt>
                <c:pt idx="36713">
                  <c:v>-2.5210084033613299E-3</c:v>
                </c:pt>
                <c:pt idx="36714">
                  <c:v>-2.5210084033613299E-3</c:v>
                </c:pt>
                <c:pt idx="36715">
                  <c:v>-2.5210084033613299E-3</c:v>
                </c:pt>
                <c:pt idx="36716">
                  <c:v>-2.5210084033613299E-3</c:v>
                </c:pt>
                <c:pt idx="36717">
                  <c:v>-2.5210084033613299E-3</c:v>
                </c:pt>
                <c:pt idx="36718">
                  <c:v>-2.5210084033613299E-3</c:v>
                </c:pt>
                <c:pt idx="36719">
                  <c:v>-2.5210084033613299E-3</c:v>
                </c:pt>
                <c:pt idx="36720">
                  <c:v>-2.5210084033613299E-3</c:v>
                </c:pt>
                <c:pt idx="36721">
                  <c:v>-2.5210084033613299E-3</c:v>
                </c:pt>
                <c:pt idx="36722">
                  <c:v>-2.5210084033613299E-3</c:v>
                </c:pt>
                <c:pt idx="36723">
                  <c:v>-3.3613445378151102E-3</c:v>
                </c:pt>
                <c:pt idx="36724">
                  <c:v>-3.3613445378151102E-3</c:v>
                </c:pt>
                <c:pt idx="36725">
                  <c:v>-3.3613445378151102E-3</c:v>
                </c:pt>
                <c:pt idx="36726">
                  <c:v>-3.3613445378151102E-3</c:v>
                </c:pt>
                <c:pt idx="36727">
                  <c:v>-3.3613445378151102E-3</c:v>
                </c:pt>
                <c:pt idx="36728">
                  <c:v>-3.3613445378151102E-3</c:v>
                </c:pt>
                <c:pt idx="36729">
                  <c:v>-3.3613445378151102E-3</c:v>
                </c:pt>
                <c:pt idx="36730">
                  <c:v>-3.3613445378151102E-3</c:v>
                </c:pt>
                <c:pt idx="36731">
                  <c:v>-3.3613445378151102E-3</c:v>
                </c:pt>
                <c:pt idx="36732">
                  <c:v>-3.3613445378151102E-3</c:v>
                </c:pt>
                <c:pt idx="36733">
                  <c:v>-3.3613445378151102E-3</c:v>
                </c:pt>
                <c:pt idx="36734">
                  <c:v>-3.3613445378151102E-3</c:v>
                </c:pt>
                <c:pt idx="36735">
                  <c:v>-3.3613445378151102E-3</c:v>
                </c:pt>
                <c:pt idx="36736">
                  <c:v>-3.3613445378151102E-3</c:v>
                </c:pt>
                <c:pt idx="36737">
                  <c:v>-3.3613445378151102E-3</c:v>
                </c:pt>
                <c:pt idx="36738">
                  <c:v>-3.3613445378151102E-3</c:v>
                </c:pt>
                <c:pt idx="36739">
                  <c:v>-3.3613445378151102E-3</c:v>
                </c:pt>
                <c:pt idx="36740">
                  <c:v>-3.3613445378151102E-3</c:v>
                </c:pt>
                <c:pt idx="36741">
                  <c:v>-3.3613445378151102E-3</c:v>
                </c:pt>
                <c:pt idx="36742">
                  <c:v>-3.3613445378151102E-3</c:v>
                </c:pt>
                <c:pt idx="36743">
                  <c:v>-4.20168067226889E-3</c:v>
                </c:pt>
                <c:pt idx="36744">
                  <c:v>-4.20168067226889E-3</c:v>
                </c:pt>
                <c:pt idx="36745">
                  <c:v>-4.20168067226889E-3</c:v>
                </c:pt>
                <c:pt idx="36746">
                  <c:v>-4.20168067226889E-3</c:v>
                </c:pt>
                <c:pt idx="36747">
                  <c:v>-4.20168067226889E-3</c:v>
                </c:pt>
                <c:pt idx="36748">
                  <c:v>-4.20168067226889E-3</c:v>
                </c:pt>
                <c:pt idx="36749">
                  <c:v>-4.20168067226889E-3</c:v>
                </c:pt>
                <c:pt idx="36750">
                  <c:v>-4.20168067226889E-3</c:v>
                </c:pt>
                <c:pt idx="36751">
                  <c:v>-4.20168067226889E-3</c:v>
                </c:pt>
                <c:pt idx="36752">
                  <c:v>-4.20168067226889E-3</c:v>
                </c:pt>
                <c:pt idx="36753">
                  <c:v>-4.20168067226889E-3</c:v>
                </c:pt>
                <c:pt idx="36754">
                  <c:v>-4.20168067226889E-3</c:v>
                </c:pt>
                <c:pt idx="36755">
                  <c:v>-4.20168067226889E-3</c:v>
                </c:pt>
                <c:pt idx="36756">
                  <c:v>-4.20168067226889E-3</c:v>
                </c:pt>
                <c:pt idx="36757">
                  <c:v>-4.20168067226889E-3</c:v>
                </c:pt>
                <c:pt idx="36758">
                  <c:v>-4.20168067226889E-3</c:v>
                </c:pt>
                <c:pt idx="36759">
                  <c:v>-4.20168067226889E-3</c:v>
                </c:pt>
                <c:pt idx="36760">
                  <c:v>-4.20168067226889E-3</c:v>
                </c:pt>
                <c:pt idx="36761">
                  <c:v>-4.20168067226889E-3</c:v>
                </c:pt>
                <c:pt idx="36762">
                  <c:v>-4.20168067226889E-3</c:v>
                </c:pt>
                <c:pt idx="36763">
                  <c:v>-4.20168067226889E-3</c:v>
                </c:pt>
                <c:pt idx="36764">
                  <c:v>-4.20168067226889E-3</c:v>
                </c:pt>
                <c:pt idx="36765">
                  <c:v>-4.20168067226889E-3</c:v>
                </c:pt>
                <c:pt idx="36766">
                  <c:v>-4.20168067226889E-3</c:v>
                </c:pt>
                <c:pt idx="36767">
                  <c:v>-4.20168067226889E-3</c:v>
                </c:pt>
                <c:pt idx="36768">
                  <c:v>-4.20168067226889E-3</c:v>
                </c:pt>
                <c:pt idx="36769">
                  <c:v>-4.20168067226889E-3</c:v>
                </c:pt>
                <c:pt idx="36770">
                  <c:v>-3.3613445378151102E-3</c:v>
                </c:pt>
                <c:pt idx="36771">
                  <c:v>-3.3613445378151102E-3</c:v>
                </c:pt>
                <c:pt idx="36772">
                  <c:v>-3.3613445378151102E-3</c:v>
                </c:pt>
                <c:pt idx="36773">
                  <c:v>-3.3613445378151102E-3</c:v>
                </c:pt>
                <c:pt idx="36774">
                  <c:v>-3.3613445378151102E-3</c:v>
                </c:pt>
                <c:pt idx="36775">
                  <c:v>-3.3613445378151102E-3</c:v>
                </c:pt>
                <c:pt idx="36776">
                  <c:v>-3.3613445378151102E-3</c:v>
                </c:pt>
                <c:pt idx="36777">
                  <c:v>-3.3613445378151102E-3</c:v>
                </c:pt>
                <c:pt idx="36778">
                  <c:v>-3.3613445378151102E-3</c:v>
                </c:pt>
                <c:pt idx="36779">
                  <c:v>-3.3613445378151102E-3</c:v>
                </c:pt>
                <c:pt idx="36780">
                  <c:v>-3.3613445378151102E-3</c:v>
                </c:pt>
                <c:pt idx="36781">
                  <c:v>-3.3613445378151102E-3</c:v>
                </c:pt>
                <c:pt idx="36782">
                  <c:v>-3.3613445378151102E-3</c:v>
                </c:pt>
                <c:pt idx="36783">
                  <c:v>-3.3613445378151102E-3</c:v>
                </c:pt>
                <c:pt idx="36784">
                  <c:v>-3.3613445378151102E-3</c:v>
                </c:pt>
                <c:pt idx="36785">
                  <c:v>-3.3613445378151102E-3</c:v>
                </c:pt>
                <c:pt idx="36786">
                  <c:v>-3.3613445378151102E-3</c:v>
                </c:pt>
                <c:pt idx="36787">
                  <c:v>-3.3613445378151102E-3</c:v>
                </c:pt>
                <c:pt idx="36788">
                  <c:v>-3.3613445378151102E-3</c:v>
                </c:pt>
                <c:pt idx="36789">
                  <c:v>-3.3613445378151102E-3</c:v>
                </c:pt>
                <c:pt idx="36790">
                  <c:v>-3.3613445378151102E-3</c:v>
                </c:pt>
                <c:pt idx="36791">
                  <c:v>-3.3613445378151102E-3</c:v>
                </c:pt>
                <c:pt idx="36792">
                  <c:v>-3.3613445378151102E-3</c:v>
                </c:pt>
                <c:pt idx="36793">
                  <c:v>-3.3613445378151102E-3</c:v>
                </c:pt>
                <c:pt idx="36794">
                  <c:v>-3.3613445378151102E-3</c:v>
                </c:pt>
                <c:pt idx="36795">
                  <c:v>-3.3613445378151102E-3</c:v>
                </c:pt>
                <c:pt idx="36796">
                  <c:v>-3.3613445378151102E-3</c:v>
                </c:pt>
                <c:pt idx="36797">
                  <c:v>-3.3613445378151102E-3</c:v>
                </c:pt>
                <c:pt idx="36798">
                  <c:v>-3.3613445378151102E-3</c:v>
                </c:pt>
                <c:pt idx="36799">
                  <c:v>-3.3613445378151102E-3</c:v>
                </c:pt>
                <c:pt idx="36800">
                  <c:v>-3.3613445378151102E-3</c:v>
                </c:pt>
                <c:pt idx="36801">
                  <c:v>-3.3613445378151102E-3</c:v>
                </c:pt>
                <c:pt idx="36802">
                  <c:v>-3.3613445378151102E-3</c:v>
                </c:pt>
                <c:pt idx="36803">
                  <c:v>-3.3613445378151102E-3</c:v>
                </c:pt>
                <c:pt idx="36804">
                  <c:v>-3.3613445378151102E-3</c:v>
                </c:pt>
                <c:pt idx="36805">
                  <c:v>-3.3613445378151102E-3</c:v>
                </c:pt>
                <c:pt idx="36806">
                  <c:v>-3.3613445378151102E-3</c:v>
                </c:pt>
                <c:pt idx="36807">
                  <c:v>-3.3613445378151102E-3</c:v>
                </c:pt>
                <c:pt idx="36808">
                  <c:v>-3.3613445378151102E-3</c:v>
                </c:pt>
                <c:pt idx="36809">
                  <c:v>-3.3613445378151102E-3</c:v>
                </c:pt>
                <c:pt idx="36810">
                  <c:v>-3.3613445378151102E-3</c:v>
                </c:pt>
                <c:pt idx="36811">
                  <c:v>-3.3613445378151102E-3</c:v>
                </c:pt>
                <c:pt idx="36812">
                  <c:v>-3.3613445378151102E-3</c:v>
                </c:pt>
                <c:pt idx="36813">
                  <c:v>-3.3613445378151102E-3</c:v>
                </c:pt>
                <c:pt idx="36814">
                  <c:v>-3.3613445378151102E-3</c:v>
                </c:pt>
                <c:pt idx="36815">
                  <c:v>-3.3613445378151102E-3</c:v>
                </c:pt>
                <c:pt idx="36816">
                  <c:v>-3.3613445378151102E-3</c:v>
                </c:pt>
                <c:pt idx="36817">
                  <c:v>-3.3613445378151102E-3</c:v>
                </c:pt>
                <c:pt idx="36818">
                  <c:v>-3.3613445378151102E-3</c:v>
                </c:pt>
                <c:pt idx="36819">
                  <c:v>-3.3613445378151102E-3</c:v>
                </c:pt>
                <c:pt idx="36820">
                  <c:v>-3.3613445378151102E-3</c:v>
                </c:pt>
                <c:pt idx="36821">
                  <c:v>-3.3613445378151102E-3</c:v>
                </c:pt>
                <c:pt idx="36822">
                  <c:v>-3.3613445378151102E-3</c:v>
                </c:pt>
                <c:pt idx="36823">
                  <c:v>-3.3613445378151102E-3</c:v>
                </c:pt>
                <c:pt idx="36824">
                  <c:v>-3.3613445378151102E-3</c:v>
                </c:pt>
                <c:pt idx="36825">
                  <c:v>-3.3613445378151102E-3</c:v>
                </c:pt>
                <c:pt idx="36826">
                  <c:v>-3.3613445378151102E-3</c:v>
                </c:pt>
                <c:pt idx="36827">
                  <c:v>-3.3613445378151102E-3</c:v>
                </c:pt>
                <c:pt idx="36828">
                  <c:v>-3.3613445378151102E-3</c:v>
                </c:pt>
                <c:pt idx="36829">
                  <c:v>-3.3613445378151102E-3</c:v>
                </c:pt>
                <c:pt idx="36830">
                  <c:v>-3.3613445378151102E-3</c:v>
                </c:pt>
                <c:pt idx="36831">
                  <c:v>-3.3613445378151102E-3</c:v>
                </c:pt>
                <c:pt idx="36832">
                  <c:v>-3.3613445378151102E-3</c:v>
                </c:pt>
                <c:pt idx="36833">
                  <c:v>-3.3613445378151102E-3</c:v>
                </c:pt>
                <c:pt idx="36834">
                  <c:v>-3.3613445378151102E-3</c:v>
                </c:pt>
                <c:pt idx="36835">
                  <c:v>-3.3613445378151102E-3</c:v>
                </c:pt>
                <c:pt idx="36836">
                  <c:v>-3.3613445378151102E-3</c:v>
                </c:pt>
                <c:pt idx="36837">
                  <c:v>-3.3613445378151102E-3</c:v>
                </c:pt>
                <c:pt idx="36838">
                  <c:v>-3.3613445378151102E-3</c:v>
                </c:pt>
                <c:pt idx="36839">
                  <c:v>-3.3613445378151102E-3</c:v>
                </c:pt>
                <c:pt idx="36840">
                  <c:v>-3.3613445378151102E-3</c:v>
                </c:pt>
                <c:pt idx="36841">
                  <c:v>-3.3613445378151102E-3</c:v>
                </c:pt>
                <c:pt idx="36842">
                  <c:v>-3.3613445378151102E-3</c:v>
                </c:pt>
                <c:pt idx="36843">
                  <c:v>-3.3613445378151102E-3</c:v>
                </c:pt>
                <c:pt idx="36844">
                  <c:v>-3.3613445378151102E-3</c:v>
                </c:pt>
                <c:pt idx="36845">
                  <c:v>-3.3613445378151102E-3</c:v>
                </c:pt>
                <c:pt idx="36846">
                  <c:v>-3.3613445378151102E-3</c:v>
                </c:pt>
                <c:pt idx="36847">
                  <c:v>-3.3613445378151102E-3</c:v>
                </c:pt>
                <c:pt idx="36848">
                  <c:v>-3.3613445378151102E-3</c:v>
                </c:pt>
                <c:pt idx="36849">
                  <c:v>-3.3613445378151102E-3</c:v>
                </c:pt>
                <c:pt idx="36850">
                  <c:v>-3.3613445378151102E-3</c:v>
                </c:pt>
                <c:pt idx="36851">
                  <c:v>-3.3613445378151102E-3</c:v>
                </c:pt>
                <c:pt idx="36852">
                  <c:v>-3.3613445378151102E-3</c:v>
                </c:pt>
                <c:pt idx="36853">
                  <c:v>-3.3613445378151102E-3</c:v>
                </c:pt>
                <c:pt idx="36854">
                  <c:v>-3.3613445378151102E-3</c:v>
                </c:pt>
                <c:pt idx="36855">
                  <c:v>-3.3613445378151102E-3</c:v>
                </c:pt>
                <c:pt idx="36856">
                  <c:v>-3.3613445378151102E-3</c:v>
                </c:pt>
                <c:pt idx="36857">
                  <c:v>-3.3613445378151102E-3</c:v>
                </c:pt>
                <c:pt idx="36858">
                  <c:v>-3.3613445378151102E-3</c:v>
                </c:pt>
                <c:pt idx="36859">
                  <c:v>-3.3613445378151102E-3</c:v>
                </c:pt>
                <c:pt idx="36860">
                  <c:v>-3.3613445378151102E-3</c:v>
                </c:pt>
                <c:pt idx="36861">
                  <c:v>-3.3613445378151102E-3</c:v>
                </c:pt>
                <c:pt idx="36862">
                  <c:v>-3.3613445378151102E-3</c:v>
                </c:pt>
                <c:pt idx="36863">
                  <c:v>-3.3613445378151102E-3</c:v>
                </c:pt>
                <c:pt idx="36864">
                  <c:v>-3.3613445378151102E-3</c:v>
                </c:pt>
                <c:pt idx="36865">
                  <c:v>-3.3613445378151102E-3</c:v>
                </c:pt>
                <c:pt idx="36866">
                  <c:v>-3.3613445378151102E-3</c:v>
                </c:pt>
                <c:pt idx="36867">
                  <c:v>-3.3613445378151102E-3</c:v>
                </c:pt>
                <c:pt idx="36868">
                  <c:v>-3.3613445378151102E-3</c:v>
                </c:pt>
                <c:pt idx="36869">
                  <c:v>-3.3613445378151102E-3</c:v>
                </c:pt>
                <c:pt idx="36870">
                  <c:v>-3.3613445378151102E-3</c:v>
                </c:pt>
                <c:pt idx="36871">
                  <c:v>-3.3613445378151102E-3</c:v>
                </c:pt>
                <c:pt idx="36872">
                  <c:v>-3.3613445378151102E-3</c:v>
                </c:pt>
                <c:pt idx="36873">
                  <c:v>-3.3613445378151102E-3</c:v>
                </c:pt>
                <c:pt idx="36874">
                  <c:v>-3.3613445378151102E-3</c:v>
                </c:pt>
                <c:pt idx="36875">
                  <c:v>-3.3613445378151102E-3</c:v>
                </c:pt>
                <c:pt idx="36876">
                  <c:v>-3.3613445378151102E-3</c:v>
                </c:pt>
                <c:pt idx="36877">
                  <c:v>-3.3613445378151102E-3</c:v>
                </c:pt>
                <c:pt idx="36878">
                  <c:v>-3.3613445378151102E-3</c:v>
                </c:pt>
                <c:pt idx="36879">
                  <c:v>-3.3613445378151102E-3</c:v>
                </c:pt>
                <c:pt idx="36880">
                  <c:v>-3.3613445378151102E-3</c:v>
                </c:pt>
                <c:pt idx="36881">
                  <c:v>-3.3613445378151102E-3</c:v>
                </c:pt>
                <c:pt idx="36882">
                  <c:v>-3.3613445378151102E-3</c:v>
                </c:pt>
                <c:pt idx="36883">
                  <c:v>-3.3613445378151102E-3</c:v>
                </c:pt>
                <c:pt idx="36884">
                  <c:v>-3.3613445378151102E-3</c:v>
                </c:pt>
                <c:pt idx="36885">
                  <c:v>-3.3613445378151102E-3</c:v>
                </c:pt>
                <c:pt idx="36886">
                  <c:v>-3.3613445378151102E-3</c:v>
                </c:pt>
                <c:pt idx="36887">
                  <c:v>-3.3613445378151102E-3</c:v>
                </c:pt>
                <c:pt idx="36888">
                  <c:v>-3.3613445378151102E-3</c:v>
                </c:pt>
                <c:pt idx="36889">
                  <c:v>-3.3613445378151102E-3</c:v>
                </c:pt>
                <c:pt idx="36890">
                  <c:v>-3.3613445378151102E-3</c:v>
                </c:pt>
                <c:pt idx="36891">
                  <c:v>-3.3613445378151102E-3</c:v>
                </c:pt>
                <c:pt idx="36892">
                  <c:v>-3.3613445378151102E-3</c:v>
                </c:pt>
                <c:pt idx="36893">
                  <c:v>-3.3613445378151102E-3</c:v>
                </c:pt>
                <c:pt idx="36894">
                  <c:v>-3.3613445378151102E-3</c:v>
                </c:pt>
                <c:pt idx="36895">
                  <c:v>-3.3613445378151102E-3</c:v>
                </c:pt>
                <c:pt idx="36896">
                  <c:v>-3.3613445378151102E-3</c:v>
                </c:pt>
                <c:pt idx="36897">
                  <c:v>-3.3613445378151102E-3</c:v>
                </c:pt>
                <c:pt idx="36898">
                  <c:v>-3.3613445378151102E-3</c:v>
                </c:pt>
                <c:pt idx="36899">
                  <c:v>-4.20168067226889E-3</c:v>
                </c:pt>
                <c:pt idx="36900">
                  <c:v>-4.20168067226889E-3</c:v>
                </c:pt>
                <c:pt idx="36901">
                  <c:v>-4.20168067226889E-3</c:v>
                </c:pt>
                <c:pt idx="36902">
                  <c:v>-4.20168067226889E-3</c:v>
                </c:pt>
                <c:pt idx="36903">
                  <c:v>-4.20168067226889E-3</c:v>
                </c:pt>
                <c:pt idx="36904">
                  <c:v>-4.20168067226889E-3</c:v>
                </c:pt>
                <c:pt idx="36905">
                  <c:v>-4.20168067226889E-3</c:v>
                </c:pt>
                <c:pt idx="36906">
                  <c:v>-4.20168067226889E-3</c:v>
                </c:pt>
                <c:pt idx="36907">
                  <c:v>-4.20168067226889E-3</c:v>
                </c:pt>
                <c:pt idx="36908">
                  <c:v>-4.20168067226889E-3</c:v>
                </c:pt>
                <c:pt idx="36909">
                  <c:v>-4.20168067226889E-3</c:v>
                </c:pt>
                <c:pt idx="36910">
                  <c:v>-4.20168067226889E-3</c:v>
                </c:pt>
                <c:pt idx="36911">
                  <c:v>-4.20168067226889E-3</c:v>
                </c:pt>
                <c:pt idx="36912">
                  <c:v>-4.20168067226889E-3</c:v>
                </c:pt>
                <c:pt idx="36913">
                  <c:v>-4.20168067226889E-3</c:v>
                </c:pt>
                <c:pt idx="36914">
                  <c:v>-4.20168067226889E-3</c:v>
                </c:pt>
                <c:pt idx="36915">
                  <c:v>-4.20168067226889E-3</c:v>
                </c:pt>
                <c:pt idx="36916">
                  <c:v>-4.20168067226889E-3</c:v>
                </c:pt>
                <c:pt idx="36917">
                  <c:v>-4.20168067226889E-3</c:v>
                </c:pt>
                <c:pt idx="36918">
                  <c:v>-4.20168067226889E-3</c:v>
                </c:pt>
                <c:pt idx="36919">
                  <c:v>-4.20168067226889E-3</c:v>
                </c:pt>
                <c:pt idx="36920">
                  <c:v>-5.0420168067226703E-3</c:v>
                </c:pt>
                <c:pt idx="36921">
                  <c:v>-5.0420168067226703E-3</c:v>
                </c:pt>
                <c:pt idx="36922">
                  <c:v>-5.0420168067226703E-3</c:v>
                </c:pt>
                <c:pt idx="36923">
                  <c:v>-5.0420168067226703E-3</c:v>
                </c:pt>
                <c:pt idx="36924">
                  <c:v>-5.0420168067226703E-3</c:v>
                </c:pt>
                <c:pt idx="36925">
                  <c:v>-5.0420168067226703E-3</c:v>
                </c:pt>
                <c:pt idx="36926">
                  <c:v>-5.0420168067226703E-3</c:v>
                </c:pt>
                <c:pt idx="36927">
                  <c:v>-5.0420168067226703E-3</c:v>
                </c:pt>
                <c:pt idx="36928">
                  <c:v>-5.0420168067226703E-3</c:v>
                </c:pt>
                <c:pt idx="36929">
                  <c:v>-5.0420168067226703E-3</c:v>
                </c:pt>
                <c:pt idx="36930">
                  <c:v>-5.0420168067226703E-3</c:v>
                </c:pt>
                <c:pt idx="36931">
                  <c:v>-5.0420168067226703E-3</c:v>
                </c:pt>
                <c:pt idx="36932">
                  <c:v>-5.0420168067226703E-3</c:v>
                </c:pt>
                <c:pt idx="36933">
                  <c:v>-5.0420168067226703E-3</c:v>
                </c:pt>
                <c:pt idx="36934">
                  <c:v>-5.0420168067226703E-3</c:v>
                </c:pt>
                <c:pt idx="36935">
                  <c:v>-5.0420168067226703E-3</c:v>
                </c:pt>
                <c:pt idx="36936">
                  <c:v>-5.0420168067226703E-3</c:v>
                </c:pt>
                <c:pt idx="36937">
                  <c:v>-5.0420168067226703E-3</c:v>
                </c:pt>
                <c:pt idx="36938">
                  <c:v>-5.0420168067226703E-3</c:v>
                </c:pt>
                <c:pt idx="36939">
                  <c:v>-5.0420168067226703E-3</c:v>
                </c:pt>
                <c:pt idx="36940">
                  <c:v>-5.0420168067226703E-3</c:v>
                </c:pt>
                <c:pt idx="36941">
                  <c:v>-5.0420168067226703E-3</c:v>
                </c:pt>
                <c:pt idx="36942">
                  <c:v>-5.0420168067226703E-3</c:v>
                </c:pt>
                <c:pt idx="36943">
                  <c:v>-5.0420168067226703E-3</c:v>
                </c:pt>
                <c:pt idx="36944">
                  <c:v>-5.0420168067226703E-3</c:v>
                </c:pt>
                <c:pt idx="36945">
                  <c:v>-5.0420168067226703E-3</c:v>
                </c:pt>
                <c:pt idx="36946">
                  <c:v>-5.0420168067226703E-3</c:v>
                </c:pt>
                <c:pt idx="36947">
                  <c:v>-5.0420168067226703E-3</c:v>
                </c:pt>
                <c:pt idx="36948">
                  <c:v>-5.0420168067226703E-3</c:v>
                </c:pt>
                <c:pt idx="36949">
                  <c:v>-5.0420168067226703E-3</c:v>
                </c:pt>
                <c:pt idx="36950">
                  <c:v>-5.0420168067226703E-3</c:v>
                </c:pt>
                <c:pt idx="36951">
                  <c:v>-4.20168067226889E-3</c:v>
                </c:pt>
                <c:pt idx="36952">
                  <c:v>-4.20168067226889E-3</c:v>
                </c:pt>
                <c:pt idx="36953">
                  <c:v>-4.20168067226889E-3</c:v>
                </c:pt>
                <c:pt idx="36954">
                  <c:v>-4.20168067226889E-3</c:v>
                </c:pt>
                <c:pt idx="36955">
                  <c:v>-4.20168067226889E-3</c:v>
                </c:pt>
                <c:pt idx="36956">
                  <c:v>-4.20168067226889E-3</c:v>
                </c:pt>
                <c:pt idx="36957">
                  <c:v>-4.20168067226889E-3</c:v>
                </c:pt>
                <c:pt idx="36958">
                  <c:v>-4.20168067226889E-3</c:v>
                </c:pt>
                <c:pt idx="36959">
                  <c:v>-4.20168067226889E-3</c:v>
                </c:pt>
                <c:pt idx="36960">
                  <c:v>-4.20168067226889E-3</c:v>
                </c:pt>
                <c:pt idx="36961">
                  <c:v>-4.20168067226889E-3</c:v>
                </c:pt>
                <c:pt idx="36962">
                  <c:v>-4.20168067226889E-3</c:v>
                </c:pt>
                <c:pt idx="36963">
                  <c:v>-4.20168067226889E-3</c:v>
                </c:pt>
                <c:pt idx="36964">
                  <c:v>-4.20168067226889E-3</c:v>
                </c:pt>
                <c:pt idx="36965">
                  <c:v>-4.20168067226889E-3</c:v>
                </c:pt>
                <c:pt idx="36966">
                  <c:v>-4.20168067226889E-3</c:v>
                </c:pt>
                <c:pt idx="36967">
                  <c:v>-4.20168067226889E-3</c:v>
                </c:pt>
                <c:pt idx="36968">
                  <c:v>-4.20168067226889E-3</c:v>
                </c:pt>
                <c:pt idx="36969">
                  <c:v>-4.20168067226889E-3</c:v>
                </c:pt>
                <c:pt idx="36970">
                  <c:v>-4.20168067226889E-3</c:v>
                </c:pt>
                <c:pt idx="36971">
                  <c:v>-4.20168067226889E-3</c:v>
                </c:pt>
                <c:pt idx="36972">
                  <c:v>-4.20168067226889E-3</c:v>
                </c:pt>
                <c:pt idx="36973">
                  <c:v>-5.0420168067226703E-3</c:v>
                </c:pt>
                <c:pt idx="36974">
                  <c:v>-5.0420168067226703E-3</c:v>
                </c:pt>
                <c:pt idx="36975">
                  <c:v>-5.0420168067226703E-3</c:v>
                </c:pt>
                <c:pt idx="36976">
                  <c:v>-5.0420168067226703E-3</c:v>
                </c:pt>
                <c:pt idx="36977">
                  <c:v>-5.0420168067226703E-3</c:v>
                </c:pt>
                <c:pt idx="36978">
                  <c:v>-5.0420168067226703E-3</c:v>
                </c:pt>
                <c:pt idx="36979">
                  <c:v>-5.0420168067226703E-3</c:v>
                </c:pt>
                <c:pt idx="36980">
                  <c:v>-5.0420168067226703E-3</c:v>
                </c:pt>
                <c:pt idx="36981">
                  <c:v>-5.0420168067226703E-3</c:v>
                </c:pt>
                <c:pt idx="36982">
                  <c:v>-5.0420168067226703E-3</c:v>
                </c:pt>
                <c:pt idx="36983">
                  <c:v>-5.0420168067226703E-3</c:v>
                </c:pt>
                <c:pt idx="36984">
                  <c:v>-5.0420168067226703E-3</c:v>
                </c:pt>
                <c:pt idx="36985">
                  <c:v>-5.0420168067226703E-3</c:v>
                </c:pt>
                <c:pt idx="36986">
                  <c:v>-5.0420168067226703E-3</c:v>
                </c:pt>
                <c:pt idx="36987">
                  <c:v>-5.0420168067226703E-3</c:v>
                </c:pt>
                <c:pt idx="36988">
                  <c:v>-5.0420168067226703E-3</c:v>
                </c:pt>
                <c:pt idx="36989">
                  <c:v>-5.0420168067226703E-3</c:v>
                </c:pt>
                <c:pt idx="36990">
                  <c:v>-5.0420168067226703E-3</c:v>
                </c:pt>
                <c:pt idx="36991">
                  <c:v>-5.0420168067226703E-3</c:v>
                </c:pt>
                <c:pt idx="36992">
                  <c:v>-5.0420168067226703E-3</c:v>
                </c:pt>
                <c:pt idx="36993">
                  <c:v>-5.0420168067226703E-3</c:v>
                </c:pt>
                <c:pt idx="36994">
                  <c:v>-5.0420168067226703E-3</c:v>
                </c:pt>
                <c:pt idx="36995">
                  <c:v>-5.0420168067226703E-3</c:v>
                </c:pt>
                <c:pt idx="36996">
                  <c:v>-5.0420168067226703E-3</c:v>
                </c:pt>
                <c:pt idx="36997">
                  <c:v>-5.0420168067226703E-3</c:v>
                </c:pt>
                <c:pt idx="36998">
                  <c:v>-5.0420168067226703E-3</c:v>
                </c:pt>
                <c:pt idx="36999">
                  <c:v>-5.0420168067226703E-3</c:v>
                </c:pt>
                <c:pt idx="37000">
                  <c:v>-5.0420168067226703E-3</c:v>
                </c:pt>
                <c:pt idx="37001">
                  <c:v>-5.0420168067226703E-3</c:v>
                </c:pt>
                <c:pt idx="37002">
                  <c:v>-5.0420168067226703E-3</c:v>
                </c:pt>
                <c:pt idx="37003">
                  <c:v>-5.0420168067226703E-3</c:v>
                </c:pt>
                <c:pt idx="37004">
                  <c:v>-5.0420168067226703E-3</c:v>
                </c:pt>
                <c:pt idx="37005">
                  <c:v>-5.0420168067226703E-3</c:v>
                </c:pt>
                <c:pt idx="37006">
                  <c:v>-5.8823529411764497E-3</c:v>
                </c:pt>
                <c:pt idx="37007">
                  <c:v>-5.8823529411764497E-3</c:v>
                </c:pt>
                <c:pt idx="37008">
                  <c:v>-5.8823529411764497E-3</c:v>
                </c:pt>
                <c:pt idx="37009">
                  <c:v>-5.8823529411764497E-3</c:v>
                </c:pt>
                <c:pt idx="37010">
                  <c:v>-5.8823529411764497E-3</c:v>
                </c:pt>
                <c:pt idx="37011">
                  <c:v>-5.8823529411764497E-3</c:v>
                </c:pt>
                <c:pt idx="37012">
                  <c:v>-5.8823529411764497E-3</c:v>
                </c:pt>
                <c:pt idx="37013">
                  <c:v>-5.8823529411764497E-3</c:v>
                </c:pt>
                <c:pt idx="37014">
                  <c:v>-5.8823529411764497E-3</c:v>
                </c:pt>
                <c:pt idx="37015">
                  <c:v>-5.8823529411764497E-3</c:v>
                </c:pt>
                <c:pt idx="37016">
                  <c:v>-5.8823529411764497E-3</c:v>
                </c:pt>
                <c:pt idx="37017">
                  <c:v>-5.8823529411764497E-3</c:v>
                </c:pt>
                <c:pt idx="37018">
                  <c:v>-5.8823529411764497E-3</c:v>
                </c:pt>
                <c:pt idx="37019">
                  <c:v>-5.8823529411764497E-3</c:v>
                </c:pt>
                <c:pt idx="37020">
                  <c:v>-5.8823529411764497E-3</c:v>
                </c:pt>
                <c:pt idx="37021">
                  <c:v>-5.8823529411764497E-3</c:v>
                </c:pt>
                <c:pt idx="37022">
                  <c:v>-5.8823529411764497E-3</c:v>
                </c:pt>
                <c:pt idx="37023">
                  <c:v>-5.8823529411764497E-3</c:v>
                </c:pt>
                <c:pt idx="37024">
                  <c:v>-5.8823529411764497E-3</c:v>
                </c:pt>
                <c:pt idx="37025">
                  <c:v>-5.8823529411764497E-3</c:v>
                </c:pt>
                <c:pt idx="37026">
                  <c:v>-5.8823529411764497E-3</c:v>
                </c:pt>
                <c:pt idx="37027">
                  <c:v>-5.8823529411764497E-3</c:v>
                </c:pt>
                <c:pt idx="37028">
                  <c:v>-5.8823529411764497E-3</c:v>
                </c:pt>
                <c:pt idx="37029">
                  <c:v>-5.8823529411764497E-3</c:v>
                </c:pt>
                <c:pt idx="37030">
                  <c:v>-5.8823529411764497E-3</c:v>
                </c:pt>
                <c:pt idx="37031">
                  <c:v>-5.8823529411764497E-3</c:v>
                </c:pt>
                <c:pt idx="37032">
                  <c:v>-5.8823529411764497E-3</c:v>
                </c:pt>
                <c:pt idx="37033">
                  <c:v>-5.8823529411764497E-3</c:v>
                </c:pt>
                <c:pt idx="37034">
                  <c:v>-5.8823529411764497E-3</c:v>
                </c:pt>
                <c:pt idx="37035">
                  <c:v>-5.8823529411764497E-3</c:v>
                </c:pt>
                <c:pt idx="37036">
                  <c:v>-5.8823529411764497E-3</c:v>
                </c:pt>
                <c:pt idx="37037">
                  <c:v>-5.8823529411764497E-3</c:v>
                </c:pt>
                <c:pt idx="37038">
                  <c:v>-5.8823529411764497E-3</c:v>
                </c:pt>
                <c:pt idx="37039">
                  <c:v>-5.8823529411764497E-3</c:v>
                </c:pt>
                <c:pt idx="37040">
                  <c:v>-5.8823529411764497E-3</c:v>
                </c:pt>
                <c:pt idx="37041">
                  <c:v>-5.8823529411764497E-3</c:v>
                </c:pt>
                <c:pt idx="37042">
                  <c:v>-5.8823529411764497E-3</c:v>
                </c:pt>
                <c:pt idx="37043">
                  <c:v>-5.8823529411764497E-3</c:v>
                </c:pt>
                <c:pt idx="37044">
                  <c:v>-5.8823529411764497E-3</c:v>
                </c:pt>
                <c:pt idx="37045">
                  <c:v>-5.8823529411764497E-3</c:v>
                </c:pt>
                <c:pt idx="37046">
                  <c:v>-5.8823529411764497E-3</c:v>
                </c:pt>
                <c:pt idx="37047">
                  <c:v>-5.8823529411764497E-3</c:v>
                </c:pt>
                <c:pt idx="37048">
                  <c:v>-5.8823529411764497E-3</c:v>
                </c:pt>
                <c:pt idx="37049">
                  <c:v>-5.8823529411764497E-3</c:v>
                </c:pt>
                <c:pt idx="37050">
                  <c:v>-5.8823529411764497E-3</c:v>
                </c:pt>
                <c:pt idx="37051">
                  <c:v>-5.8823529411764497E-3</c:v>
                </c:pt>
                <c:pt idx="37052">
                  <c:v>-5.8823529411764497E-3</c:v>
                </c:pt>
                <c:pt idx="37053">
                  <c:v>-5.8823529411764497E-3</c:v>
                </c:pt>
                <c:pt idx="37054">
                  <c:v>-5.8823529411764497E-3</c:v>
                </c:pt>
                <c:pt idx="37055">
                  <c:v>-5.8823529411764497E-3</c:v>
                </c:pt>
                <c:pt idx="37056">
                  <c:v>-5.8823529411764497E-3</c:v>
                </c:pt>
                <c:pt idx="37057">
                  <c:v>-5.8823529411764497E-3</c:v>
                </c:pt>
                <c:pt idx="37058">
                  <c:v>-5.8823529411764497E-3</c:v>
                </c:pt>
                <c:pt idx="37059">
                  <c:v>-5.8823529411764497E-3</c:v>
                </c:pt>
                <c:pt idx="37060">
                  <c:v>-5.8823529411764497E-3</c:v>
                </c:pt>
                <c:pt idx="37061">
                  <c:v>-5.8823529411764497E-3</c:v>
                </c:pt>
                <c:pt idx="37062">
                  <c:v>-5.8823529411764497E-3</c:v>
                </c:pt>
                <c:pt idx="37063">
                  <c:v>-5.8823529411764497E-3</c:v>
                </c:pt>
                <c:pt idx="37064">
                  <c:v>-5.8823529411764497E-3</c:v>
                </c:pt>
                <c:pt idx="37065">
                  <c:v>-5.8823529411764497E-3</c:v>
                </c:pt>
                <c:pt idx="37066">
                  <c:v>-5.8823529411764497E-3</c:v>
                </c:pt>
                <c:pt idx="37067">
                  <c:v>-5.8823529411764497E-3</c:v>
                </c:pt>
                <c:pt idx="37068">
                  <c:v>-5.8823529411764497E-3</c:v>
                </c:pt>
                <c:pt idx="37069">
                  <c:v>-5.8823529411764497E-3</c:v>
                </c:pt>
                <c:pt idx="37070">
                  <c:v>-5.8823529411764497E-3</c:v>
                </c:pt>
                <c:pt idx="37071">
                  <c:v>-5.8823529411764497E-3</c:v>
                </c:pt>
                <c:pt idx="37072">
                  <c:v>-5.8823529411764497E-3</c:v>
                </c:pt>
                <c:pt idx="37073">
                  <c:v>-5.8823529411764497E-3</c:v>
                </c:pt>
                <c:pt idx="37074">
                  <c:v>-5.8823529411764497E-3</c:v>
                </c:pt>
                <c:pt idx="37075">
                  <c:v>-5.8823529411764497E-3</c:v>
                </c:pt>
                <c:pt idx="37076">
                  <c:v>-5.8823529411764497E-3</c:v>
                </c:pt>
                <c:pt idx="37077">
                  <c:v>-5.8823529411764497E-3</c:v>
                </c:pt>
                <c:pt idx="37078">
                  <c:v>-5.8823529411764497E-3</c:v>
                </c:pt>
                <c:pt idx="37079">
                  <c:v>-5.8823529411764497E-3</c:v>
                </c:pt>
                <c:pt idx="37080">
                  <c:v>-5.8823529411764497E-3</c:v>
                </c:pt>
                <c:pt idx="37081">
                  <c:v>-5.8823529411764497E-3</c:v>
                </c:pt>
                <c:pt idx="37082">
                  <c:v>-5.8823529411764497E-3</c:v>
                </c:pt>
                <c:pt idx="37083">
                  <c:v>-5.8823529411764497E-3</c:v>
                </c:pt>
                <c:pt idx="37084">
                  <c:v>-5.8823529411764497E-3</c:v>
                </c:pt>
                <c:pt idx="37085">
                  <c:v>-5.8823529411764497E-3</c:v>
                </c:pt>
                <c:pt idx="37086">
                  <c:v>-5.8823529411764497E-3</c:v>
                </c:pt>
                <c:pt idx="37087">
                  <c:v>-5.8823529411764497E-3</c:v>
                </c:pt>
                <c:pt idx="37088">
                  <c:v>-5.8823529411764497E-3</c:v>
                </c:pt>
                <c:pt idx="37089">
                  <c:v>-5.8823529411764497E-3</c:v>
                </c:pt>
                <c:pt idx="37090">
                  <c:v>-5.8823529411764497E-3</c:v>
                </c:pt>
                <c:pt idx="37091">
                  <c:v>-5.8823529411764497E-3</c:v>
                </c:pt>
                <c:pt idx="37092">
                  <c:v>-5.8823529411764497E-3</c:v>
                </c:pt>
                <c:pt idx="37093">
                  <c:v>-5.8823529411764497E-3</c:v>
                </c:pt>
                <c:pt idx="37094">
                  <c:v>-5.8823529411764497E-3</c:v>
                </c:pt>
                <c:pt idx="37095">
                  <c:v>-5.8823529411764497E-3</c:v>
                </c:pt>
                <c:pt idx="37096">
                  <c:v>-5.8823529411764497E-3</c:v>
                </c:pt>
                <c:pt idx="37097">
                  <c:v>-5.8823529411764497E-3</c:v>
                </c:pt>
                <c:pt idx="37098">
                  <c:v>-5.8823529411764497E-3</c:v>
                </c:pt>
                <c:pt idx="37099">
                  <c:v>-5.8823529411764497E-3</c:v>
                </c:pt>
                <c:pt idx="37100">
                  <c:v>-5.8823529411764497E-3</c:v>
                </c:pt>
                <c:pt idx="37101">
                  <c:v>-5.8823529411764497E-3</c:v>
                </c:pt>
                <c:pt idx="37102">
                  <c:v>-5.8823529411764497E-3</c:v>
                </c:pt>
                <c:pt idx="37103">
                  <c:v>-5.8823529411764497E-3</c:v>
                </c:pt>
                <c:pt idx="37104">
                  <c:v>-5.8823529411764497E-3</c:v>
                </c:pt>
                <c:pt idx="37105">
                  <c:v>-5.8823529411764497E-3</c:v>
                </c:pt>
                <c:pt idx="37106">
                  <c:v>-5.8823529411764497E-3</c:v>
                </c:pt>
                <c:pt idx="37107">
                  <c:v>-5.8823529411764497E-3</c:v>
                </c:pt>
                <c:pt idx="37108">
                  <c:v>-5.8823529411764497E-3</c:v>
                </c:pt>
                <c:pt idx="37109">
                  <c:v>-5.8823529411764497E-3</c:v>
                </c:pt>
                <c:pt idx="37110">
                  <c:v>-5.8823529411764497E-3</c:v>
                </c:pt>
                <c:pt idx="37111">
                  <c:v>-5.8823529411764497E-3</c:v>
                </c:pt>
                <c:pt idx="37112">
                  <c:v>-5.8823529411764497E-3</c:v>
                </c:pt>
                <c:pt idx="37113">
                  <c:v>-5.8823529411764497E-3</c:v>
                </c:pt>
                <c:pt idx="37114">
                  <c:v>-5.8823529411764497E-3</c:v>
                </c:pt>
                <c:pt idx="37115">
                  <c:v>-5.8823529411764497E-3</c:v>
                </c:pt>
                <c:pt idx="37116">
                  <c:v>-5.8823529411764497E-3</c:v>
                </c:pt>
                <c:pt idx="37117">
                  <c:v>-5.8823529411764497E-3</c:v>
                </c:pt>
                <c:pt idx="37118">
                  <c:v>-5.8823529411764497E-3</c:v>
                </c:pt>
                <c:pt idx="37119">
                  <c:v>-5.8823529411764497E-3</c:v>
                </c:pt>
                <c:pt idx="37120">
                  <c:v>-5.8823529411764497E-3</c:v>
                </c:pt>
                <c:pt idx="37121">
                  <c:v>-5.8823529411764497E-3</c:v>
                </c:pt>
                <c:pt idx="37122">
                  <c:v>-5.8823529411764497E-3</c:v>
                </c:pt>
                <c:pt idx="37123">
                  <c:v>-5.8823529411764497E-3</c:v>
                </c:pt>
                <c:pt idx="37124">
                  <c:v>-5.8823529411764497E-3</c:v>
                </c:pt>
                <c:pt idx="37125">
                  <c:v>-5.8823529411764497E-3</c:v>
                </c:pt>
                <c:pt idx="37126">
                  <c:v>-5.8823529411764497E-3</c:v>
                </c:pt>
                <c:pt idx="37127">
                  <c:v>-5.8823529411764497E-3</c:v>
                </c:pt>
                <c:pt idx="37128">
                  <c:v>-5.8823529411764497E-3</c:v>
                </c:pt>
                <c:pt idx="37129">
                  <c:v>-5.8823529411764497E-3</c:v>
                </c:pt>
                <c:pt idx="37130">
                  <c:v>-5.8823529411764497E-3</c:v>
                </c:pt>
                <c:pt idx="37131">
                  <c:v>-5.8823529411764497E-3</c:v>
                </c:pt>
                <c:pt idx="37132">
                  <c:v>-5.8823529411764497E-3</c:v>
                </c:pt>
                <c:pt idx="37133">
                  <c:v>-5.8823529411764497E-3</c:v>
                </c:pt>
                <c:pt idx="37134">
                  <c:v>-5.8823529411764497E-3</c:v>
                </c:pt>
                <c:pt idx="37135">
                  <c:v>-5.8823529411764497E-3</c:v>
                </c:pt>
                <c:pt idx="37136">
                  <c:v>-5.8823529411764497E-3</c:v>
                </c:pt>
                <c:pt idx="37137">
                  <c:v>-5.8823529411764497E-3</c:v>
                </c:pt>
                <c:pt idx="37138">
                  <c:v>-5.8823529411764497E-3</c:v>
                </c:pt>
                <c:pt idx="37139">
                  <c:v>-5.8823529411764497E-3</c:v>
                </c:pt>
                <c:pt idx="37140">
                  <c:v>-5.8823529411764497E-3</c:v>
                </c:pt>
                <c:pt idx="37141">
                  <c:v>-5.8823529411764497E-3</c:v>
                </c:pt>
                <c:pt idx="37142">
                  <c:v>-5.8823529411764497E-3</c:v>
                </c:pt>
                <c:pt idx="37143">
                  <c:v>-5.8823529411764497E-3</c:v>
                </c:pt>
                <c:pt idx="37144">
                  <c:v>-5.8823529411764497E-3</c:v>
                </c:pt>
                <c:pt idx="37145">
                  <c:v>-5.8823529411764497E-3</c:v>
                </c:pt>
                <c:pt idx="37146">
                  <c:v>-5.8823529411764497E-3</c:v>
                </c:pt>
                <c:pt idx="37147">
                  <c:v>-5.0420168067226703E-3</c:v>
                </c:pt>
                <c:pt idx="37148">
                  <c:v>-5.0420168067226703E-3</c:v>
                </c:pt>
                <c:pt idx="37149">
                  <c:v>-5.0420168067226703E-3</c:v>
                </c:pt>
                <c:pt idx="37150">
                  <c:v>-5.0420168067226703E-3</c:v>
                </c:pt>
                <c:pt idx="37151">
                  <c:v>-5.0420168067226703E-3</c:v>
                </c:pt>
                <c:pt idx="37152">
                  <c:v>-5.0420168067226703E-3</c:v>
                </c:pt>
                <c:pt idx="37153">
                  <c:v>-5.0420168067226703E-3</c:v>
                </c:pt>
                <c:pt idx="37154">
                  <c:v>-5.0420168067226703E-3</c:v>
                </c:pt>
                <c:pt idx="37155">
                  <c:v>-5.0420168067226703E-3</c:v>
                </c:pt>
                <c:pt idx="37156">
                  <c:v>-5.0420168067226703E-3</c:v>
                </c:pt>
                <c:pt idx="37157">
                  <c:v>-5.0420168067226703E-3</c:v>
                </c:pt>
                <c:pt idx="37158">
                  <c:v>-5.0420168067226703E-3</c:v>
                </c:pt>
                <c:pt idx="37159">
                  <c:v>-5.0420168067226703E-3</c:v>
                </c:pt>
                <c:pt idx="37160">
                  <c:v>-5.0420168067226703E-3</c:v>
                </c:pt>
                <c:pt idx="37161">
                  <c:v>-5.0420168067226703E-3</c:v>
                </c:pt>
                <c:pt idx="37162">
                  <c:v>-5.0420168067226703E-3</c:v>
                </c:pt>
                <c:pt idx="37163">
                  <c:v>-5.0420168067226703E-3</c:v>
                </c:pt>
                <c:pt idx="37164">
                  <c:v>-5.0420168067226703E-3</c:v>
                </c:pt>
                <c:pt idx="37165">
                  <c:v>-5.0420168067226703E-3</c:v>
                </c:pt>
                <c:pt idx="37166">
                  <c:v>-5.0420168067226703E-3</c:v>
                </c:pt>
                <c:pt idx="37167">
                  <c:v>-5.0420168067226703E-3</c:v>
                </c:pt>
                <c:pt idx="37168">
                  <c:v>-5.0420168067226703E-3</c:v>
                </c:pt>
                <c:pt idx="37169">
                  <c:v>-5.0420168067226703E-3</c:v>
                </c:pt>
                <c:pt idx="37170">
                  <c:v>-5.0420168067226703E-3</c:v>
                </c:pt>
                <c:pt idx="37171">
                  <c:v>-5.0420168067226703E-3</c:v>
                </c:pt>
                <c:pt idx="37172">
                  <c:v>-5.0420168067226703E-3</c:v>
                </c:pt>
                <c:pt idx="37173">
                  <c:v>-5.0420168067226703E-3</c:v>
                </c:pt>
                <c:pt idx="37174">
                  <c:v>-5.0420168067226703E-3</c:v>
                </c:pt>
                <c:pt idx="37175">
                  <c:v>-5.0420168067226703E-3</c:v>
                </c:pt>
                <c:pt idx="37176">
                  <c:v>-5.0420168067226703E-3</c:v>
                </c:pt>
                <c:pt idx="37177">
                  <c:v>-5.0420168067226703E-3</c:v>
                </c:pt>
                <c:pt idx="37178">
                  <c:v>-5.0420168067226703E-3</c:v>
                </c:pt>
                <c:pt idx="37179">
                  <c:v>-5.0420168067226703E-3</c:v>
                </c:pt>
                <c:pt idx="37180">
                  <c:v>-5.0420168067226703E-3</c:v>
                </c:pt>
                <c:pt idx="37181">
                  <c:v>-5.0420168067226703E-3</c:v>
                </c:pt>
                <c:pt idx="37182">
                  <c:v>-5.0420168067226703E-3</c:v>
                </c:pt>
                <c:pt idx="37183">
                  <c:v>-5.0420168067226703E-3</c:v>
                </c:pt>
                <c:pt idx="37184">
                  <c:v>-5.0420168067226703E-3</c:v>
                </c:pt>
                <c:pt idx="37185">
                  <c:v>-5.0420168067226703E-3</c:v>
                </c:pt>
                <c:pt idx="37186">
                  <c:v>-5.0420168067226703E-3</c:v>
                </c:pt>
                <c:pt idx="37187">
                  <c:v>-5.0420168067226703E-3</c:v>
                </c:pt>
                <c:pt idx="37188">
                  <c:v>-5.0420168067226703E-3</c:v>
                </c:pt>
                <c:pt idx="37189">
                  <c:v>-5.0420168067226703E-3</c:v>
                </c:pt>
                <c:pt idx="37190">
                  <c:v>-5.0420168067226703E-3</c:v>
                </c:pt>
                <c:pt idx="37191">
                  <c:v>-5.0420168067226703E-3</c:v>
                </c:pt>
                <c:pt idx="37192">
                  <c:v>-5.0420168067226703E-3</c:v>
                </c:pt>
                <c:pt idx="37193">
                  <c:v>-5.0420168067226703E-3</c:v>
                </c:pt>
                <c:pt idx="37194">
                  <c:v>-5.0420168067226703E-3</c:v>
                </c:pt>
                <c:pt idx="37195">
                  <c:v>-5.0420168067226703E-3</c:v>
                </c:pt>
                <c:pt idx="37196">
                  <c:v>-5.0420168067226703E-3</c:v>
                </c:pt>
                <c:pt idx="37197">
                  <c:v>-5.0420168067226703E-3</c:v>
                </c:pt>
                <c:pt idx="37198">
                  <c:v>-5.0420168067226703E-3</c:v>
                </c:pt>
                <c:pt idx="37199">
                  <c:v>-5.0420168067226703E-3</c:v>
                </c:pt>
                <c:pt idx="37200">
                  <c:v>-5.0420168067226703E-3</c:v>
                </c:pt>
                <c:pt idx="37201">
                  <c:v>-5.0420168067226703E-3</c:v>
                </c:pt>
                <c:pt idx="37202">
                  <c:v>-5.0420168067226703E-3</c:v>
                </c:pt>
                <c:pt idx="37203">
                  <c:v>-5.0420168067226703E-3</c:v>
                </c:pt>
                <c:pt idx="37204">
                  <c:v>-5.0420168067226703E-3</c:v>
                </c:pt>
                <c:pt idx="37205">
                  <c:v>-5.0420168067226703E-3</c:v>
                </c:pt>
                <c:pt idx="37206">
                  <c:v>-5.0420168067226703E-3</c:v>
                </c:pt>
                <c:pt idx="37207">
                  <c:v>-5.0420168067226703E-3</c:v>
                </c:pt>
                <c:pt idx="37208">
                  <c:v>-5.0420168067226703E-3</c:v>
                </c:pt>
                <c:pt idx="37209">
                  <c:v>-5.0420168067226703E-3</c:v>
                </c:pt>
                <c:pt idx="37210">
                  <c:v>-5.0420168067226703E-3</c:v>
                </c:pt>
                <c:pt idx="37211">
                  <c:v>-5.0420168067226703E-3</c:v>
                </c:pt>
                <c:pt idx="37212">
                  <c:v>-5.0420168067226703E-3</c:v>
                </c:pt>
                <c:pt idx="37213">
                  <c:v>-5.0420168067226703E-3</c:v>
                </c:pt>
                <c:pt idx="37214">
                  <c:v>-5.8823529411764497E-3</c:v>
                </c:pt>
                <c:pt idx="37215">
                  <c:v>-5.8823529411764497E-3</c:v>
                </c:pt>
                <c:pt idx="37216">
                  <c:v>-5.8823529411764497E-3</c:v>
                </c:pt>
                <c:pt idx="37217">
                  <c:v>-5.8823529411764497E-3</c:v>
                </c:pt>
                <c:pt idx="37218">
                  <c:v>-5.8823529411764497E-3</c:v>
                </c:pt>
                <c:pt idx="37219">
                  <c:v>-5.8823529411764497E-3</c:v>
                </c:pt>
                <c:pt idx="37220">
                  <c:v>-5.8823529411764497E-3</c:v>
                </c:pt>
                <c:pt idx="37221">
                  <c:v>-5.8823529411764497E-3</c:v>
                </c:pt>
                <c:pt idx="37222">
                  <c:v>-5.8823529411764497E-3</c:v>
                </c:pt>
                <c:pt idx="37223">
                  <c:v>-5.8823529411764497E-3</c:v>
                </c:pt>
                <c:pt idx="37224">
                  <c:v>-5.8823529411764497E-3</c:v>
                </c:pt>
                <c:pt idx="37225">
                  <c:v>-5.8823529411764497E-3</c:v>
                </c:pt>
                <c:pt idx="37226">
                  <c:v>-5.8823529411764497E-3</c:v>
                </c:pt>
                <c:pt idx="37227">
                  <c:v>-5.8823529411764497E-3</c:v>
                </c:pt>
                <c:pt idx="37228">
                  <c:v>-5.8823529411764497E-3</c:v>
                </c:pt>
                <c:pt idx="37229">
                  <c:v>-5.8823529411764497E-3</c:v>
                </c:pt>
                <c:pt idx="37230">
                  <c:v>-5.8823529411764497E-3</c:v>
                </c:pt>
                <c:pt idx="37231">
                  <c:v>-5.8823529411764497E-3</c:v>
                </c:pt>
                <c:pt idx="37232">
                  <c:v>-5.8823529411764497E-3</c:v>
                </c:pt>
                <c:pt idx="37233">
                  <c:v>-5.8823529411764497E-3</c:v>
                </c:pt>
                <c:pt idx="37234">
                  <c:v>-5.8823529411764497E-3</c:v>
                </c:pt>
                <c:pt idx="37235">
                  <c:v>-5.8823529411764497E-3</c:v>
                </c:pt>
                <c:pt idx="37236">
                  <c:v>-5.8823529411764497E-3</c:v>
                </c:pt>
                <c:pt idx="37237">
                  <c:v>-5.8823529411764497E-3</c:v>
                </c:pt>
                <c:pt idx="37238">
                  <c:v>-5.8823529411764497E-3</c:v>
                </c:pt>
                <c:pt idx="37239">
                  <c:v>-5.8823529411764497E-3</c:v>
                </c:pt>
                <c:pt idx="37240">
                  <c:v>-5.8823529411764497E-3</c:v>
                </c:pt>
                <c:pt idx="37241">
                  <c:v>-5.8823529411764497E-3</c:v>
                </c:pt>
                <c:pt idx="37242">
                  <c:v>-5.8823529411764497E-3</c:v>
                </c:pt>
                <c:pt idx="37243">
                  <c:v>-5.8823529411764497E-3</c:v>
                </c:pt>
                <c:pt idx="37244">
                  <c:v>-5.8823529411764497E-3</c:v>
                </c:pt>
                <c:pt idx="37245">
                  <c:v>-5.8823529411764497E-3</c:v>
                </c:pt>
                <c:pt idx="37246">
                  <c:v>-5.8823529411764497E-3</c:v>
                </c:pt>
                <c:pt idx="37247">
                  <c:v>-5.8823529411764497E-3</c:v>
                </c:pt>
                <c:pt idx="37248">
                  <c:v>-5.8823529411764497E-3</c:v>
                </c:pt>
                <c:pt idx="37249">
                  <c:v>-5.8823529411764497E-3</c:v>
                </c:pt>
                <c:pt idx="37250">
                  <c:v>-5.8823529411764497E-3</c:v>
                </c:pt>
                <c:pt idx="37251">
                  <c:v>-5.8823529411764497E-3</c:v>
                </c:pt>
                <c:pt idx="37252">
                  <c:v>-5.8823529411764497E-3</c:v>
                </c:pt>
                <c:pt idx="37253">
                  <c:v>-5.8823529411764497E-3</c:v>
                </c:pt>
                <c:pt idx="37254">
                  <c:v>-5.8823529411764497E-3</c:v>
                </c:pt>
                <c:pt idx="37255">
                  <c:v>-5.8823529411764497E-3</c:v>
                </c:pt>
                <c:pt idx="37256">
                  <c:v>-5.8823529411764497E-3</c:v>
                </c:pt>
                <c:pt idx="37257">
                  <c:v>-5.8823529411764497E-3</c:v>
                </c:pt>
                <c:pt idx="37258">
                  <c:v>-5.8823529411764497E-3</c:v>
                </c:pt>
                <c:pt idx="37259">
                  <c:v>-5.0420168067226703E-3</c:v>
                </c:pt>
                <c:pt idx="37260">
                  <c:v>-5.8823529411764497E-3</c:v>
                </c:pt>
                <c:pt idx="37261">
                  <c:v>-5.8823529411764497E-3</c:v>
                </c:pt>
                <c:pt idx="37262">
                  <c:v>-5.8823529411764497E-3</c:v>
                </c:pt>
                <c:pt idx="37263">
                  <c:v>-5.8823529411764497E-3</c:v>
                </c:pt>
                <c:pt idx="37264">
                  <c:v>-5.8823529411764497E-3</c:v>
                </c:pt>
                <c:pt idx="37265">
                  <c:v>-5.8823529411764497E-3</c:v>
                </c:pt>
                <c:pt idx="37266">
                  <c:v>-5.0420168067226703E-3</c:v>
                </c:pt>
                <c:pt idx="37267">
                  <c:v>-5.0420168067226703E-3</c:v>
                </c:pt>
                <c:pt idx="37268">
                  <c:v>-5.0420168067226703E-3</c:v>
                </c:pt>
                <c:pt idx="37269">
                  <c:v>-5.0420168067226703E-3</c:v>
                </c:pt>
                <c:pt idx="37270">
                  <c:v>-5.0420168067226703E-3</c:v>
                </c:pt>
                <c:pt idx="37271">
                  <c:v>-5.0420168067226703E-3</c:v>
                </c:pt>
                <c:pt idx="37272">
                  <c:v>-5.0420168067226703E-3</c:v>
                </c:pt>
                <c:pt idx="37273">
                  <c:v>-5.0420168067226703E-3</c:v>
                </c:pt>
                <c:pt idx="37274">
                  <c:v>-5.0420168067226703E-3</c:v>
                </c:pt>
                <c:pt idx="37275">
                  <c:v>-5.0420168067226703E-3</c:v>
                </c:pt>
                <c:pt idx="37276">
                  <c:v>-5.0420168067226703E-3</c:v>
                </c:pt>
                <c:pt idx="37277">
                  <c:v>-5.0420168067226703E-3</c:v>
                </c:pt>
                <c:pt idx="37278">
                  <c:v>-5.0420168067226703E-3</c:v>
                </c:pt>
                <c:pt idx="37279">
                  <c:v>-5.0420168067226703E-3</c:v>
                </c:pt>
                <c:pt idx="37280">
                  <c:v>-5.0420168067226703E-3</c:v>
                </c:pt>
                <c:pt idx="37281">
                  <c:v>-5.0420168067226703E-3</c:v>
                </c:pt>
                <c:pt idx="37282">
                  <c:v>-5.0420168067226703E-3</c:v>
                </c:pt>
                <c:pt idx="37283">
                  <c:v>-5.0420168067226703E-3</c:v>
                </c:pt>
                <c:pt idx="37284">
                  <c:v>-5.0420168067226703E-3</c:v>
                </c:pt>
                <c:pt idx="37285">
                  <c:v>-5.0420168067226703E-3</c:v>
                </c:pt>
                <c:pt idx="37286">
                  <c:v>-5.0420168067226703E-3</c:v>
                </c:pt>
                <c:pt idx="37287">
                  <c:v>-5.0420168067226703E-3</c:v>
                </c:pt>
                <c:pt idx="37288">
                  <c:v>-5.0420168067226703E-3</c:v>
                </c:pt>
                <c:pt idx="37289">
                  <c:v>-4.20168067226889E-3</c:v>
                </c:pt>
                <c:pt idx="37290">
                  <c:v>-4.20168067226889E-3</c:v>
                </c:pt>
                <c:pt idx="37291">
                  <c:v>-4.20168067226889E-3</c:v>
                </c:pt>
                <c:pt idx="37292">
                  <c:v>-4.20168067226889E-3</c:v>
                </c:pt>
                <c:pt idx="37293">
                  <c:v>-4.20168067226889E-3</c:v>
                </c:pt>
                <c:pt idx="37294">
                  <c:v>-4.20168067226889E-3</c:v>
                </c:pt>
                <c:pt idx="37295">
                  <c:v>-4.20168067226889E-3</c:v>
                </c:pt>
                <c:pt idx="37296">
                  <c:v>-4.20168067226889E-3</c:v>
                </c:pt>
                <c:pt idx="37297">
                  <c:v>-4.20168067226889E-3</c:v>
                </c:pt>
                <c:pt idx="37298">
                  <c:v>-4.20168067226889E-3</c:v>
                </c:pt>
                <c:pt idx="37299">
                  <c:v>-4.20168067226889E-3</c:v>
                </c:pt>
                <c:pt idx="37300">
                  <c:v>-4.20168067226889E-3</c:v>
                </c:pt>
                <c:pt idx="37301">
                  <c:v>-4.20168067226889E-3</c:v>
                </c:pt>
                <c:pt idx="37302">
                  <c:v>-4.20168067226889E-3</c:v>
                </c:pt>
                <c:pt idx="37303">
                  <c:v>-4.20168067226889E-3</c:v>
                </c:pt>
                <c:pt idx="37304">
                  <c:v>-4.20168067226889E-3</c:v>
                </c:pt>
                <c:pt idx="37305">
                  <c:v>-4.20168067226889E-3</c:v>
                </c:pt>
                <c:pt idx="37306">
                  <c:v>-4.20168067226889E-3</c:v>
                </c:pt>
                <c:pt idx="37307">
                  <c:v>-4.20168067226889E-3</c:v>
                </c:pt>
                <c:pt idx="37308">
                  <c:v>-4.20168067226889E-3</c:v>
                </c:pt>
                <c:pt idx="37309">
                  <c:v>-4.20168067226889E-3</c:v>
                </c:pt>
                <c:pt idx="37310">
                  <c:v>-4.20168067226889E-3</c:v>
                </c:pt>
                <c:pt idx="37311">
                  <c:v>-4.20168067226889E-3</c:v>
                </c:pt>
                <c:pt idx="37312">
                  <c:v>-4.20168067226889E-3</c:v>
                </c:pt>
                <c:pt idx="37313">
                  <c:v>-4.20168067226889E-3</c:v>
                </c:pt>
                <c:pt idx="37314">
                  <c:v>-4.20168067226889E-3</c:v>
                </c:pt>
                <c:pt idx="37315">
                  <c:v>-4.20168067226889E-3</c:v>
                </c:pt>
                <c:pt idx="37316">
                  <c:v>-4.20168067226889E-3</c:v>
                </c:pt>
                <c:pt idx="37317">
                  <c:v>-4.20168067226889E-3</c:v>
                </c:pt>
                <c:pt idx="37318">
                  <c:v>-4.20168067226889E-3</c:v>
                </c:pt>
                <c:pt idx="37319">
                  <c:v>-4.20168067226889E-3</c:v>
                </c:pt>
                <c:pt idx="37320">
                  <c:v>-4.20168067226889E-3</c:v>
                </c:pt>
                <c:pt idx="37321">
                  <c:v>-4.20168067226889E-3</c:v>
                </c:pt>
                <c:pt idx="37322">
                  <c:v>-4.20168067226889E-3</c:v>
                </c:pt>
                <c:pt idx="37323">
                  <c:v>-4.20168067226889E-3</c:v>
                </c:pt>
                <c:pt idx="37324">
                  <c:v>-4.20168067226889E-3</c:v>
                </c:pt>
                <c:pt idx="37325">
                  <c:v>-4.20168067226889E-3</c:v>
                </c:pt>
                <c:pt idx="37326">
                  <c:v>-4.20168067226889E-3</c:v>
                </c:pt>
                <c:pt idx="37327">
                  <c:v>-4.20168067226889E-3</c:v>
                </c:pt>
                <c:pt idx="37328">
                  <c:v>-4.20168067226889E-3</c:v>
                </c:pt>
                <c:pt idx="37329">
                  <c:v>-4.20168067226889E-3</c:v>
                </c:pt>
                <c:pt idx="37330">
                  <c:v>-4.20168067226889E-3</c:v>
                </c:pt>
                <c:pt idx="37331">
                  <c:v>-4.20168067226889E-3</c:v>
                </c:pt>
                <c:pt idx="37332">
                  <c:v>-4.20168067226889E-3</c:v>
                </c:pt>
                <c:pt idx="37333">
                  <c:v>-4.20168067226889E-3</c:v>
                </c:pt>
                <c:pt idx="37334">
                  <c:v>-4.20168067226889E-3</c:v>
                </c:pt>
                <c:pt idx="37335">
                  <c:v>-4.20168067226889E-3</c:v>
                </c:pt>
                <c:pt idx="37336">
                  <c:v>-4.20168067226889E-3</c:v>
                </c:pt>
                <c:pt idx="37337">
                  <c:v>-4.20168067226889E-3</c:v>
                </c:pt>
                <c:pt idx="37338">
                  <c:v>-4.20168067226889E-3</c:v>
                </c:pt>
                <c:pt idx="37339">
                  <c:v>-4.20168067226889E-3</c:v>
                </c:pt>
                <c:pt idx="37340">
                  <c:v>-4.20168067226889E-3</c:v>
                </c:pt>
                <c:pt idx="37341">
                  <c:v>-4.20168067226889E-3</c:v>
                </c:pt>
                <c:pt idx="37342">
                  <c:v>-4.20168067226889E-3</c:v>
                </c:pt>
                <c:pt idx="37343">
                  <c:v>-4.20168067226889E-3</c:v>
                </c:pt>
                <c:pt idx="37344">
                  <c:v>-4.20168067226889E-3</c:v>
                </c:pt>
                <c:pt idx="37345">
                  <c:v>-4.20168067226889E-3</c:v>
                </c:pt>
                <c:pt idx="37346">
                  <c:v>-4.20168067226889E-3</c:v>
                </c:pt>
                <c:pt idx="37347">
                  <c:v>-4.20168067226889E-3</c:v>
                </c:pt>
                <c:pt idx="37348">
                  <c:v>-4.20168067226889E-3</c:v>
                </c:pt>
                <c:pt idx="37349">
                  <c:v>-4.20168067226889E-3</c:v>
                </c:pt>
                <c:pt idx="37350">
                  <c:v>-4.20168067226889E-3</c:v>
                </c:pt>
                <c:pt idx="37351">
                  <c:v>-4.20168067226889E-3</c:v>
                </c:pt>
                <c:pt idx="37352">
                  <c:v>-4.20168067226889E-3</c:v>
                </c:pt>
                <c:pt idx="37353">
                  <c:v>-4.20168067226889E-3</c:v>
                </c:pt>
                <c:pt idx="37354">
                  <c:v>-4.20168067226889E-3</c:v>
                </c:pt>
                <c:pt idx="37355">
                  <c:v>-4.20168067226889E-3</c:v>
                </c:pt>
                <c:pt idx="37356">
                  <c:v>-4.20168067226889E-3</c:v>
                </c:pt>
                <c:pt idx="37357">
                  <c:v>-4.20168067226889E-3</c:v>
                </c:pt>
                <c:pt idx="37358">
                  <c:v>-4.20168067226889E-3</c:v>
                </c:pt>
                <c:pt idx="37359">
                  <c:v>-4.20168067226889E-3</c:v>
                </c:pt>
                <c:pt idx="37360">
                  <c:v>-4.20168067226889E-3</c:v>
                </c:pt>
                <c:pt idx="37361">
                  <c:v>-4.20168067226889E-3</c:v>
                </c:pt>
                <c:pt idx="37362">
                  <c:v>-4.20168067226889E-3</c:v>
                </c:pt>
                <c:pt idx="37363">
                  <c:v>-4.20168067226889E-3</c:v>
                </c:pt>
                <c:pt idx="37364">
                  <c:v>-4.20168067226889E-3</c:v>
                </c:pt>
                <c:pt idx="37365">
                  <c:v>-4.20168067226889E-3</c:v>
                </c:pt>
                <c:pt idx="37366">
                  <c:v>-4.20168067226889E-3</c:v>
                </c:pt>
                <c:pt idx="37367">
                  <c:v>-4.20168067226889E-3</c:v>
                </c:pt>
                <c:pt idx="37368">
                  <c:v>-4.20168067226889E-3</c:v>
                </c:pt>
                <c:pt idx="37369">
                  <c:v>-4.20168067226889E-3</c:v>
                </c:pt>
                <c:pt idx="37370">
                  <c:v>-4.20168067226889E-3</c:v>
                </c:pt>
                <c:pt idx="37371">
                  <c:v>-4.20168067226889E-3</c:v>
                </c:pt>
                <c:pt idx="37372">
                  <c:v>-4.20168067226889E-3</c:v>
                </c:pt>
                <c:pt idx="37373">
                  <c:v>-4.20168067226889E-3</c:v>
                </c:pt>
                <c:pt idx="37374">
                  <c:v>-4.20168067226889E-3</c:v>
                </c:pt>
                <c:pt idx="37375">
                  <c:v>-4.20168067226889E-3</c:v>
                </c:pt>
                <c:pt idx="37376">
                  <c:v>-4.20168067226889E-3</c:v>
                </c:pt>
                <c:pt idx="37377">
                  <c:v>-4.20168067226889E-3</c:v>
                </c:pt>
                <c:pt idx="37378">
                  <c:v>-4.20168067226889E-3</c:v>
                </c:pt>
                <c:pt idx="37379">
                  <c:v>-4.20168067226889E-3</c:v>
                </c:pt>
                <c:pt idx="37380">
                  <c:v>-4.20168067226889E-3</c:v>
                </c:pt>
                <c:pt idx="37381">
                  <c:v>-4.20168067226889E-3</c:v>
                </c:pt>
                <c:pt idx="37382">
                  <c:v>-4.20168067226889E-3</c:v>
                </c:pt>
                <c:pt idx="37383">
                  <c:v>-4.20168067226889E-3</c:v>
                </c:pt>
                <c:pt idx="37384">
                  <c:v>-4.20168067226889E-3</c:v>
                </c:pt>
                <c:pt idx="37385">
                  <c:v>-4.20168067226889E-3</c:v>
                </c:pt>
                <c:pt idx="37386">
                  <c:v>-4.20168067226889E-3</c:v>
                </c:pt>
                <c:pt idx="37387">
                  <c:v>-5.0420168067226703E-3</c:v>
                </c:pt>
                <c:pt idx="37388">
                  <c:v>-5.0420168067226703E-3</c:v>
                </c:pt>
                <c:pt idx="37389">
                  <c:v>-5.0420168067226703E-3</c:v>
                </c:pt>
                <c:pt idx="37390">
                  <c:v>-5.0420168067226703E-3</c:v>
                </c:pt>
                <c:pt idx="37391">
                  <c:v>-5.0420168067226703E-3</c:v>
                </c:pt>
                <c:pt idx="37392">
                  <c:v>-5.0420168067226703E-3</c:v>
                </c:pt>
                <c:pt idx="37393">
                  <c:v>-5.0420168067226703E-3</c:v>
                </c:pt>
                <c:pt idx="37394">
                  <c:v>-5.0420168067226703E-3</c:v>
                </c:pt>
                <c:pt idx="37395">
                  <c:v>-5.0420168067226703E-3</c:v>
                </c:pt>
                <c:pt idx="37396">
                  <c:v>-5.0420168067226703E-3</c:v>
                </c:pt>
                <c:pt idx="37397">
                  <c:v>-5.0420168067226703E-3</c:v>
                </c:pt>
                <c:pt idx="37398">
                  <c:v>-5.0420168067226703E-3</c:v>
                </c:pt>
                <c:pt idx="37399">
                  <c:v>-5.0420168067226703E-3</c:v>
                </c:pt>
                <c:pt idx="37400">
                  <c:v>-5.0420168067226703E-3</c:v>
                </c:pt>
                <c:pt idx="37401">
                  <c:v>-5.0420168067226703E-3</c:v>
                </c:pt>
                <c:pt idx="37402">
                  <c:v>-5.0420168067226703E-3</c:v>
                </c:pt>
                <c:pt idx="37403">
                  <c:v>-5.0420168067226703E-3</c:v>
                </c:pt>
                <c:pt idx="37404">
                  <c:v>-5.0420168067226703E-3</c:v>
                </c:pt>
                <c:pt idx="37405">
                  <c:v>-5.0420168067226703E-3</c:v>
                </c:pt>
                <c:pt idx="37406">
                  <c:v>-5.0420168067226703E-3</c:v>
                </c:pt>
                <c:pt idx="37407">
                  <c:v>-5.0420168067226703E-3</c:v>
                </c:pt>
                <c:pt idx="37408">
                  <c:v>-5.0420168067226703E-3</c:v>
                </c:pt>
                <c:pt idx="37409">
                  <c:v>-5.0420168067226703E-3</c:v>
                </c:pt>
                <c:pt idx="37410">
                  <c:v>-5.0420168067226703E-3</c:v>
                </c:pt>
                <c:pt idx="37411">
                  <c:v>-5.0420168067226703E-3</c:v>
                </c:pt>
                <c:pt idx="37412">
                  <c:v>-5.0420168067226703E-3</c:v>
                </c:pt>
                <c:pt idx="37413">
                  <c:v>-5.0420168067226703E-3</c:v>
                </c:pt>
                <c:pt idx="37414">
                  <c:v>-5.0420168067226703E-3</c:v>
                </c:pt>
                <c:pt idx="37415">
                  <c:v>-5.0420168067226703E-3</c:v>
                </c:pt>
                <c:pt idx="37416">
                  <c:v>-5.0420168067226703E-3</c:v>
                </c:pt>
                <c:pt idx="37417">
                  <c:v>-5.0420168067226703E-3</c:v>
                </c:pt>
                <c:pt idx="37418">
                  <c:v>-5.0420168067226703E-3</c:v>
                </c:pt>
                <c:pt idx="37419">
                  <c:v>-5.0420168067226703E-3</c:v>
                </c:pt>
                <c:pt idx="37420">
                  <c:v>-5.0420168067226703E-3</c:v>
                </c:pt>
                <c:pt idx="37421">
                  <c:v>-5.0420168067226703E-3</c:v>
                </c:pt>
                <c:pt idx="37422">
                  <c:v>-5.0420168067226703E-3</c:v>
                </c:pt>
                <c:pt idx="37423">
                  <c:v>-5.0420168067226703E-3</c:v>
                </c:pt>
                <c:pt idx="37424">
                  <c:v>-5.0420168067226703E-3</c:v>
                </c:pt>
                <c:pt idx="37425">
                  <c:v>-5.0420168067226703E-3</c:v>
                </c:pt>
                <c:pt idx="37426">
                  <c:v>-5.0420168067226703E-3</c:v>
                </c:pt>
                <c:pt idx="37427">
                  <c:v>-5.0420168067226703E-3</c:v>
                </c:pt>
                <c:pt idx="37428">
                  <c:v>-5.0420168067226703E-3</c:v>
                </c:pt>
                <c:pt idx="37429">
                  <c:v>-5.0420168067226703E-3</c:v>
                </c:pt>
                <c:pt idx="37430">
                  <c:v>-5.0420168067226703E-3</c:v>
                </c:pt>
                <c:pt idx="37431">
                  <c:v>-5.0420168067226703E-3</c:v>
                </c:pt>
                <c:pt idx="37432">
                  <c:v>-5.0420168067226703E-3</c:v>
                </c:pt>
                <c:pt idx="37433">
                  <c:v>-5.0420168067226703E-3</c:v>
                </c:pt>
                <c:pt idx="37434">
                  <c:v>-5.0420168067226703E-3</c:v>
                </c:pt>
                <c:pt idx="37435">
                  <c:v>-5.0420168067226703E-3</c:v>
                </c:pt>
                <c:pt idx="37436">
                  <c:v>-5.0420168067226703E-3</c:v>
                </c:pt>
                <c:pt idx="37437">
                  <c:v>-5.0420168067226703E-3</c:v>
                </c:pt>
                <c:pt idx="37438">
                  <c:v>-5.0420168067226703E-3</c:v>
                </c:pt>
                <c:pt idx="37439">
                  <c:v>-5.0420168067226703E-3</c:v>
                </c:pt>
                <c:pt idx="37440">
                  <c:v>-5.0420168067226703E-3</c:v>
                </c:pt>
                <c:pt idx="37441">
                  <c:v>-5.0420168067226703E-3</c:v>
                </c:pt>
                <c:pt idx="37442">
                  <c:v>-5.0420168067226703E-3</c:v>
                </c:pt>
                <c:pt idx="37443">
                  <c:v>-5.0420168067226703E-3</c:v>
                </c:pt>
                <c:pt idx="37444">
                  <c:v>-5.0420168067226703E-3</c:v>
                </c:pt>
                <c:pt idx="37445">
                  <c:v>-5.0420168067226703E-3</c:v>
                </c:pt>
                <c:pt idx="37446">
                  <c:v>-5.0420168067226703E-3</c:v>
                </c:pt>
                <c:pt idx="37447">
                  <c:v>-5.0420168067226703E-3</c:v>
                </c:pt>
                <c:pt idx="37448">
                  <c:v>-5.0420168067226703E-3</c:v>
                </c:pt>
                <c:pt idx="37449">
                  <c:v>-5.0420168067226703E-3</c:v>
                </c:pt>
                <c:pt idx="37450">
                  <c:v>-5.0420168067226703E-3</c:v>
                </c:pt>
                <c:pt idx="37451">
                  <c:v>-5.0420168067226703E-3</c:v>
                </c:pt>
                <c:pt idx="37452">
                  <c:v>-5.0420168067226703E-3</c:v>
                </c:pt>
                <c:pt idx="37453">
                  <c:v>-5.0420168067226703E-3</c:v>
                </c:pt>
                <c:pt idx="37454">
                  <c:v>-5.0420168067226703E-3</c:v>
                </c:pt>
                <c:pt idx="37455">
                  <c:v>-5.0420168067226703E-3</c:v>
                </c:pt>
                <c:pt idx="37456">
                  <c:v>-5.0420168067226703E-3</c:v>
                </c:pt>
                <c:pt idx="37457">
                  <c:v>-5.0420168067226703E-3</c:v>
                </c:pt>
                <c:pt idx="37458">
                  <c:v>-5.0420168067226703E-3</c:v>
                </c:pt>
                <c:pt idx="37459">
                  <c:v>-4.20168067226889E-3</c:v>
                </c:pt>
                <c:pt idx="37460">
                  <c:v>-4.20168067226889E-3</c:v>
                </c:pt>
                <c:pt idx="37461">
                  <c:v>-4.20168067226889E-3</c:v>
                </c:pt>
                <c:pt idx="37462">
                  <c:v>-4.20168067226889E-3</c:v>
                </c:pt>
                <c:pt idx="37463">
                  <c:v>-4.20168067226889E-3</c:v>
                </c:pt>
                <c:pt idx="37464">
                  <c:v>-4.20168067226889E-3</c:v>
                </c:pt>
                <c:pt idx="37465">
                  <c:v>-4.20168067226889E-3</c:v>
                </c:pt>
                <c:pt idx="37466">
                  <c:v>-4.20168067226889E-3</c:v>
                </c:pt>
                <c:pt idx="37467">
                  <c:v>-4.20168067226889E-3</c:v>
                </c:pt>
                <c:pt idx="37468">
                  <c:v>-4.20168067226889E-3</c:v>
                </c:pt>
                <c:pt idx="37469">
                  <c:v>-4.20168067226889E-3</c:v>
                </c:pt>
                <c:pt idx="37470">
                  <c:v>-4.20168067226889E-3</c:v>
                </c:pt>
                <c:pt idx="37471">
                  <c:v>-4.20168067226889E-3</c:v>
                </c:pt>
                <c:pt idx="37472">
                  <c:v>-4.20168067226889E-3</c:v>
                </c:pt>
                <c:pt idx="37473">
                  <c:v>-4.20168067226889E-3</c:v>
                </c:pt>
                <c:pt idx="37474">
                  <c:v>-4.20168067226889E-3</c:v>
                </c:pt>
                <c:pt idx="37475">
                  <c:v>-4.20168067226889E-3</c:v>
                </c:pt>
                <c:pt idx="37476">
                  <c:v>-4.20168067226889E-3</c:v>
                </c:pt>
                <c:pt idx="37477">
                  <c:v>-4.20168067226889E-3</c:v>
                </c:pt>
                <c:pt idx="37478">
                  <c:v>-4.20168067226889E-3</c:v>
                </c:pt>
                <c:pt idx="37479">
                  <c:v>-4.20168067226889E-3</c:v>
                </c:pt>
                <c:pt idx="37480">
                  <c:v>-4.20168067226889E-3</c:v>
                </c:pt>
                <c:pt idx="37481">
                  <c:v>-4.20168067226889E-3</c:v>
                </c:pt>
                <c:pt idx="37482">
                  <c:v>-4.20168067226889E-3</c:v>
                </c:pt>
                <c:pt idx="37483">
                  <c:v>-4.20168067226889E-3</c:v>
                </c:pt>
                <c:pt idx="37484">
                  <c:v>-4.20168067226889E-3</c:v>
                </c:pt>
                <c:pt idx="37485">
                  <c:v>-4.20168067226889E-3</c:v>
                </c:pt>
                <c:pt idx="37486">
                  <c:v>-4.20168067226889E-3</c:v>
                </c:pt>
                <c:pt idx="37487">
                  <c:v>-4.20168067226889E-3</c:v>
                </c:pt>
                <c:pt idx="37488">
                  <c:v>-4.20168067226889E-3</c:v>
                </c:pt>
                <c:pt idx="37489">
                  <c:v>-4.20168067226889E-3</c:v>
                </c:pt>
                <c:pt idx="37490">
                  <c:v>-4.20168067226889E-3</c:v>
                </c:pt>
                <c:pt idx="37491">
                  <c:v>-4.20168067226889E-3</c:v>
                </c:pt>
                <c:pt idx="37492">
                  <c:v>-4.20168067226889E-3</c:v>
                </c:pt>
                <c:pt idx="37493">
                  <c:v>-4.20168067226889E-3</c:v>
                </c:pt>
                <c:pt idx="37494">
                  <c:v>-4.20168067226889E-3</c:v>
                </c:pt>
                <c:pt idx="37495">
                  <c:v>-4.20168067226889E-3</c:v>
                </c:pt>
                <c:pt idx="37496">
                  <c:v>-4.20168067226889E-3</c:v>
                </c:pt>
                <c:pt idx="37497">
                  <c:v>-4.20168067226889E-3</c:v>
                </c:pt>
                <c:pt idx="37498">
                  <c:v>-4.20168067226889E-3</c:v>
                </c:pt>
                <c:pt idx="37499">
                  <c:v>-4.20168067226889E-3</c:v>
                </c:pt>
                <c:pt idx="37500">
                  <c:v>-4.20168067226889E-3</c:v>
                </c:pt>
                <c:pt idx="37501">
                  <c:v>-4.20168067226889E-3</c:v>
                </c:pt>
                <c:pt idx="37502">
                  <c:v>-4.20168067226889E-3</c:v>
                </c:pt>
                <c:pt idx="37503">
                  <c:v>-4.20168067226889E-3</c:v>
                </c:pt>
                <c:pt idx="37504">
                  <c:v>-4.20168067226889E-3</c:v>
                </c:pt>
                <c:pt idx="37505">
                  <c:v>-4.20168067226889E-3</c:v>
                </c:pt>
                <c:pt idx="37506">
                  <c:v>-4.20168067226889E-3</c:v>
                </c:pt>
                <c:pt idx="37507">
                  <c:v>-4.20168067226889E-3</c:v>
                </c:pt>
                <c:pt idx="37508">
                  <c:v>-4.20168067226889E-3</c:v>
                </c:pt>
                <c:pt idx="37509">
                  <c:v>-4.20168067226889E-3</c:v>
                </c:pt>
                <c:pt idx="37510">
                  <c:v>-4.20168067226889E-3</c:v>
                </c:pt>
                <c:pt idx="37511">
                  <c:v>-4.20168067226889E-3</c:v>
                </c:pt>
                <c:pt idx="37512">
                  <c:v>-4.20168067226889E-3</c:v>
                </c:pt>
                <c:pt idx="37513">
                  <c:v>-4.20168067226889E-3</c:v>
                </c:pt>
                <c:pt idx="37514">
                  <c:v>-4.20168067226889E-3</c:v>
                </c:pt>
                <c:pt idx="37515">
                  <c:v>-4.20168067226889E-3</c:v>
                </c:pt>
                <c:pt idx="37516">
                  <c:v>-4.20168067226889E-3</c:v>
                </c:pt>
                <c:pt idx="37517">
                  <c:v>-4.20168067226889E-3</c:v>
                </c:pt>
                <c:pt idx="37518">
                  <c:v>-4.20168067226889E-3</c:v>
                </c:pt>
                <c:pt idx="37519">
                  <c:v>-4.20168067226889E-3</c:v>
                </c:pt>
                <c:pt idx="37520">
                  <c:v>-4.20168067226889E-3</c:v>
                </c:pt>
                <c:pt idx="37521">
                  <c:v>-3.3613445378151102E-3</c:v>
                </c:pt>
                <c:pt idx="37522">
                  <c:v>-3.3613445378151102E-3</c:v>
                </c:pt>
                <c:pt idx="37523">
                  <c:v>-3.3613445378151102E-3</c:v>
                </c:pt>
                <c:pt idx="37524">
                  <c:v>-3.3613445378151102E-3</c:v>
                </c:pt>
                <c:pt idx="37525">
                  <c:v>-3.3613445378151102E-3</c:v>
                </c:pt>
                <c:pt idx="37526">
                  <c:v>-3.3613445378151102E-3</c:v>
                </c:pt>
                <c:pt idx="37527">
                  <c:v>-3.3613445378151102E-3</c:v>
                </c:pt>
                <c:pt idx="37528">
                  <c:v>-3.3613445378151102E-3</c:v>
                </c:pt>
                <c:pt idx="37529">
                  <c:v>-3.3613445378151102E-3</c:v>
                </c:pt>
                <c:pt idx="37530">
                  <c:v>-3.3613445378151102E-3</c:v>
                </c:pt>
                <c:pt idx="37531">
                  <c:v>-3.3613445378151102E-3</c:v>
                </c:pt>
                <c:pt idx="37532">
                  <c:v>-3.3613445378151102E-3</c:v>
                </c:pt>
                <c:pt idx="37533">
                  <c:v>-3.3613445378151102E-3</c:v>
                </c:pt>
                <c:pt idx="37534">
                  <c:v>-3.3613445378151102E-3</c:v>
                </c:pt>
                <c:pt idx="37535">
                  <c:v>-4.20168067226889E-3</c:v>
                </c:pt>
                <c:pt idx="37536">
                  <c:v>-4.20168067226889E-3</c:v>
                </c:pt>
                <c:pt idx="37537">
                  <c:v>-4.20168067226889E-3</c:v>
                </c:pt>
                <c:pt idx="37538">
                  <c:v>-4.20168067226889E-3</c:v>
                </c:pt>
                <c:pt idx="37539">
                  <c:v>-4.20168067226889E-3</c:v>
                </c:pt>
                <c:pt idx="37540">
                  <c:v>-4.20168067226889E-3</c:v>
                </c:pt>
                <c:pt idx="37541">
                  <c:v>-4.20168067226889E-3</c:v>
                </c:pt>
                <c:pt idx="37542">
                  <c:v>-4.20168067226889E-3</c:v>
                </c:pt>
                <c:pt idx="37543">
                  <c:v>-4.20168067226889E-3</c:v>
                </c:pt>
                <c:pt idx="37544">
                  <c:v>-4.20168067226889E-3</c:v>
                </c:pt>
                <c:pt idx="37545">
                  <c:v>-4.20168067226889E-3</c:v>
                </c:pt>
                <c:pt idx="37546">
                  <c:v>-4.20168067226889E-3</c:v>
                </c:pt>
                <c:pt idx="37547">
                  <c:v>-4.20168067226889E-3</c:v>
                </c:pt>
                <c:pt idx="37548">
                  <c:v>-4.20168067226889E-3</c:v>
                </c:pt>
                <c:pt idx="37549">
                  <c:v>-4.20168067226889E-3</c:v>
                </c:pt>
                <c:pt idx="37550">
                  <c:v>-4.20168067226889E-3</c:v>
                </c:pt>
                <c:pt idx="37551">
                  <c:v>-4.20168067226889E-3</c:v>
                </c:pt>
                <c:pt idx="37552">
                  <c:v>-4.20168067226889E-3</c:v>
                </c:pt>
                <c:pt idx="37553">
                  <c:v>-4.20168067226889E-3</c:v>
                </c:pt>
                <c:pt idx="37554">
                  <c:v>-4.20168067226889E-3</c:v>
                </c:pt>
                <c:pt idx="37555">
                  <c:v>-5.0420168067226703E-3</c:v>
                </c:pt>
                <c:pt idx="37556">
                  <c:v>-5.0420168067226703E-3</c:v>
                </c:pt>
                <c:pt idx="37557">
                  <c:v>-5.0420168067226703E-3</c:v>
                </c:pt>
                <c:pt idx="37558">
                  <c:v>-5.0420168067226703E-3</c:v>
                </c:pt>
                <c:pt idx="37559">
                  <c:v>-5.0420168067226703E-3</c:v>
                </c:pt>
                <c:pt idx="37560">
                  <c:v>-5.0420168067226703E-3</c:v>
                </c:pt>
                <c:pt idx="37561">
                  <c:v>-5.0420168067226703E-3</c:v>
                </c:pt>
                <c:pt idx="37562">
                  <c:v>-5.0420168067226703E-3</c:v>
                </c:pt>
                <c:pt idx="37563">
                  <c:v>-5.0420168067226703E-3</c:v>
                </c:pt>
                <c:pt idx="37564">
                  <c:v>-5.0420168067226703E-3</c:v>
                </c:pt>
                <c:pt idx="37565">
                  <c:v>-5.0420168067226703E-3</c:v>
                </c:pt>
                <c:pt idx="37566">
                  <c:v>-4.20168067226889E-3</c:v>
                </c:pt>
                <c:pt idx="37567">
                  <c:v>-4.20168067226889E-3</c:v>
                </c:pt>
                <c:pt idx="37568">
                  <c:v>-4.20168067226889E-3</c:v>
                </c:pt>
                <c:pt idx="37569">
                  <c:v>-4.20168067226889E-3</c:v>
                </c:pt>
                <c:pt idx="37570">
                  <c:v>-4.20168067226889E-3</c:v>
                </c:pt>
                <c:pt idx="37571">
                  <c:v>-4.20168067226889E-3</c:v>
                </c:pt>
                <c:pt idx="37572">
                  <c:v>-4.20168067226889E-3</c:v>
                </c:pt>
                <c:pt idx="37573">
                  <c:v>-4.20168067226889E-3</c:v>
                </c:pt>
                <c:pt idx="37574">
                  <c:v>-4.20168067226889E-3</c:v>
                </c:pt>
                <c:pt idx="37575">
                  <c:v>-4.20168067226889E-3</c:v>
                </c:pt>
                <c:pt idx="37576">
                  <c:v>-4.20168067226889E-3</c:v>
                </c:pt>
                <c:pt idx="37577">
                  <c:v>-4.20168067226889E-3</c:v>
                </c:pt>
                <c:pt idx="37578">
                  <c:v>-4.20168067226889E-3</c:v>
                </c:pt>
                <c:pt idx="37579">
                  <c:v>-4.20168067226889E-3</c:v>
                </c:pt>
                <c:pt idx="37580">
                  <c:v>-4.20168067226889E-3</c:v>
                </c:pt>
                <c:pt idx="37581">
                  <c:v>-4.20168067226889E-3</c:v>
                </c:pt>
                <c:pt idx="37582">
                  <c:v>-4.20168067226889E-3</c:v>
                </c:pt>
                <c:pt idx="37583">
                  <c:v>-4.20168067226889E-3</c:v>
                </c:pt>
                <c:pt idx="37584">
                  <c:v>-4.20168067226889E-3</c:v>
                </c:pt>
                <c:pt idx="37585">
                  <c:v>-4.20168067226889E-3</c:v>
                </c:pt>
                <c:pt idx="37586">
                  <c:v>-4.20168067226889E-3</c:v>
                </c:pt>
                <c:pt idx="37587">
                  <c:v>-4.20168067226889E-3</c:v>
                </c:pt>
                <c:pt idx="37588">
                  <c:v>-4.20168067226889E-3</c:v>
                </c:pt>
                <c:pt idx="37589">
                  <c:v>-4.20168067226889E-3</c:v>
                </c:pt>
                <c:pt idx="37590">
                  <c:v>-4.20168067226889E-3</c:v>
                </c:pt>
                <c:pt idx="37591">
                  <c:v>-4.20168067226889E-3</c:v>
                </c:pt>
                <c:pt idx="37592">
                  <c:v>-4.20168067226889E-3</c:v>
                </c:pt>
                <c:pt idx="37593">
                  <c:v>-4.20168067226889E-3</c:v>
                </c:pt>
                <c:pt idx="37594">
                  <c:v>-4.20168067226889E-3</c:v>
                </c:pt>
                <c:pt idx="37595">
                  <c:v>-4.20168067226889E-3</c:v>
                </c:pt>
                <c:pt idx="37596">
                  <c:v>-4.20168067226889E-3</c:v>
                </c:pt>
                <c:pt idx="37597">
                  <c:v>-4.20168067226889E-3</c:v>
                </c:pt>
                <c:pt idx="37598">
                  <c:v>-4.20168067226889E-3</c:v>
                </c:pt>
                <c:pt idx="37599">
                  <c:v>-4.20168067226889E-3</c:v>
                </c:pt>
                <c:pt idx="37600">
                  <c:v>-4.20168067226889E-3</c:v>
                </c:pt>
                <c:pt idx="37601">
                  <c:v>-4.20168067226889E-3</c:v>
                </c:pt>
                <c:pt idx="37602">
                  <c:v>-4.20168067226889E-3</c:v>
                </c:pt>
                <c:pt idx="37603">
                  <c:v>-4.20168067226889E-3</c:v>
                </c:pt>
                <c:pt idx="37604">
                  <c:v>-4.20168067226889E-3</c:v>
                </c:pt>
                <c:pt idx="37605">
                  <c:v>-4.20168067226889E-3</c:v>
                </c:pt>
                <c:pt idx="37606">
                  <c:v>-4.20168067226889E-3</c:v>
                </c:pt>
                <c:pt idx="37607">
                  <c:v>-4.20168067226889E-3</c:v>
                </c:pt>
                <c:pt idx="37608">
                  <c:v>-4.20168067226889E-3</c:v>
                </c:pt>
                <c:pt idx="37609">
                  <c:v>-4.20168067226889E-3</c:v>
                </c:pt>
                <c:pt idx="37610">
                  <c:v>-4.20168067226889E-3</c:v>
                </c:pt>
                <c:pt idx="37611">
                  <c:v>-4.20168067226889E-3</c:v>
                </c:pt>
                <c:pt idx="37612">
                  <c:v>-4.20168067226889E-3</c:v>
                </c:pt>
                <c:pt idx="37613">
                  <c:v>-4.20168067226889E-3</c:v>
                </c:pt>
                <c:pt idx="37614">
                  <c:v>-4.20168067226889E-3</c:v>
                </c:pt>
                <c:pt idx="37615">
                  <c:v>-4.20168067226889E-3</c:v>
                </c:pt>
                <c:pt idx="37616">
                  <c:v>-4.20168067226889E-3</c:v>
                </c:pt>
                <c:pt idx="37617">
                  <c:v>-4.20168067226889E-3</c:v>
                </c:pt>
                <c:pt idx="37618">
                  <c:v>-4.20168067226889E-3</c:v>
                </c:pt>
                <c:pt idx="37619">
                  <c:v>-4.20168067226889E-3</c:v>
                </c:pt>
                <c:pt idx="37620">
                  <c:v>-4.20168067226889E-3</c:v>
                </c:pt>
                <c:pt idx="37621">
                  <c:v>-4.20168067226889E-3</c:v>
                </c:pt>
                <c:pt idx="37622">
                  <c:v>-4.20168067226889E-3</c:v>
                </c:pt>
                <c:pt idx="37623">
                  <c:v>-4.20168067226889E-3</c:v>
                </c:pt>
                <c:pt idx="37624">
                  <c:v>-4.20168067226889E-3</c:v>
                </c:pt>
                <c:pt idx="37625">
                  <c:v>-4.20168067226889E-3</c:v>
                </c:pt>
                <c:pt idx="37626">
                  <c:v>-4.20168067226889E-3</c:v>
                </c:pt>
                <c:pt idx="37627">
                  <c:v>-4.20168067226889E-3</c:v>
                </c:pt>
                <c:pt idx="37628">
                  <c:v>-4.20168067226889E-3</c:v>
                </c:pt>
                <c:pt idx="37629">
                  <c:v>-4.20168067226889E-3</c:v>
                </c:pt>
                <c:pt idx="37630">
                  <c:v>-3.3613445378151102E-3</c:v>
                </c:pt>
                <c:pt idx="37631">
                  <c:v>-3.3613445378151102E-3</c:v>
                </c:pt>
                <c:pt idx="37632">
                  <c:v>-3.3613445378151102E-3</c:v>
                </c:pt>
                <c:pt idx="37633">
                  <c:v>-3.3613445378151102E-3</c:v>
                </c:pt>
                <c:pt idx="37634">
                  <c:v>-3.3613445378151102E-3</c:v>
                </c:pt>
                <c:pt idx="37635">
                  <c:v>-3.3613445378151102E-3</c:v>
                </c:pt>
                <c:pt idx="37636">
                  <c:v>-3.3613445378151102E-3</c:v>
                </c:pt>
                <c:pt idx="37637">
                  <c:v>-3.3613445378151102E-3</c:v>
                </c:pt>
                <c:pt idx="37638">
                  <c:v>-3.3613445378151102E-3</c:v>
                </c:pt>
                <c:pt idx="37639">
                  <c:v>-3.3613445378151102E-3</c:v>
                </c:pt>
                <c:pt idx="37640">
                  <c:v>-3.3613445378151102E-3</c:v>
                </c:pt>
                <c:pt idx="37641">
                  <c:v>-3.3613445378151102E-3</c:v>
                </c:pt>
                <c:pt idx="37642">
                  <c:v>-3.3613445378151102E-3</c:v>
                </c:pt>
                <c:pt idx="37643">
                  <c:v>-3.3613445378151102E-3</c:v>
                </c:pt>
                <c:pt idx="37644">
                  <c:v>-3.3613445378151102E-3</c:v>
                </c:pt>
                <c:pt idx="37645">
                  <c:v>-3.3613445378151102E-3</c:v>
                </c:pt>
                <c:pt idx="37646">
                  <c:v>-3.3613445378151102E-3</c:v>
                </c:pt>
                <c:pt idx="37647">
                  <c:v>-3.3613445378151102E-3</c:v>
                </c:pt>
                <c:pt idx="37648">
                  <c:v>-3.3613445378151102E-3</c:v>
                </c:pt>
                <c:pt idx="37649">
                  <c:v>-3.3613445378151102E-3</c:v>
                </c:pt>
                <c:pt idx="37650">
                  <c:v>-3.3613445378151102E-3</c:v>
                </c:pt>
                <c:pt idx="37651">
                  <c:v>-3.3613445378151102E-3</c:v>
                </c:pt>
                <c:pt idx="37652">
                  <c:v>-3.3613445378151102E-3</c:v>
                </c:pt>
                <c:pt idx="37653">
                  <c:v>-3.3613445378151102E-3</c:v>
                </c:pt>
                <c:pt idx="37654">
                  <c:v>-3.3613445378151102E-3</c:v>
                </c:pt>
                <c:pt idx="37655">
                  <c:v>-3.3613445378151102E-3</c:v>
                </c:pt>
                <c:pt idx="37656">
                  <c:v>-3.3613445378151102E-3</c:v>
                </c:pt>
                <c:pt idx="37657">
                  <c:v>-3.3613445378151102E-3</c:v>
                </c:pt>
                <c:pt idx="37658">
                  <c:v>-3.3613445378151102E-3</c:v>
                </c:pt>
                <c:pt idx="37659">
                  <c:v>-3.3613445378151102E-3</c:v>
                </c:pt>
                <c:pt idx="37660">
                  <c:v>-3.3613445378151102E-3</c:v>
                </c:pt>
                <c:pt idx="37661">
                  <c:v>-3.3613445378151102E-3</c:v>
                </c:pt>
                <c:pt idx="37662">
                  <c:v>-3.3613445378151102E-3</c:v>
                </c:pt>
                <c:pt idx="37663">
                  <c:v>-3.3613445378151102E-3</c:v>
                </c:pt>
                <c:pt idx="37664">
                  <c:v>-3.3613445378151102E-3</c:v>
                </c:pt>
                <c:pt idx="37665">
                  <c:v>-3.3613445378151102E-3</c:v>
                </c:pt>
                <c:pt idx="37666">
                  <c:v>-3.3613445378151102E-3</c:v>
                </c:pt>
                <c:pt idx="37667">
                  <c:v>-3.3613445378151102E-3</c:v>
                </c:pt>
                <c:pt idx="37668">
                  <c:v>-3.3613445378151102E-3</c:v>
                </c:pt>
                <c:pt idx="37669">
                  <c:v>-3.3613445378151102E-3</c:v>
                </c:pt>
                <c:pt idx="37670">
                  <c:v>-3.3613445378151102E-3</c:v>
                </c:pt>
                <c:pt idx="37671">
                  <c:v>-3.3613445378151102E-3</c:v>
                </c:pt>
                <c:pt idx="37672">
                  <c:v>-3.3613445378151102E-3</c:v>
                </c:pt>
                <c:pt idx="37673">
                  <c:v>-3.3613445378151102E-3</c:v>
                </c:pt>
                <c:pt idx="37674">
                  <c:v>-3.3613445378151102E-3</c:v>
                </c:pt>
                <c:pt idx="37675">
                  <c:v>-3.3613445378151102E-3</c:v>
                </c:pt>
                <c:pt idx="37676">
                  <c:v>-3.3613445378151102E-3</c:v>
                </c:pt>
                <c:pt idx="37677">
                  <c:v>-3.3613445378151102E-3</c:v>
                </c:pt>
                <c:pt idx="37678">
                  <c:v>-3.3613445378151102E-3</c:v>
                </c:pt>
                <c:pt idx="37679">
                  <c:v>-3.3613445378151102E-3</c:v>
                </c:pt>
                <c:pt idx="37680">
                  <c:v>-3.3613445378151102E-3</c:v>
                </c:pt>
                <c:pt idx="37681">
                  <c:v>-3.3613445378151102E-3</c:v>
                </c:pt>
                <c:pt idx="37682">
                  <c:v>-3.3613445378151102E-3</c:v>
                </c:pt>
                <c:pt idx="37683">
                  <c:v>-3.3613445378151102E-3</c:v>
                </c:pt>
                <c:pt idx="37684">
                  <c:v>-3.3613445378151102E-3</c:v>
                </c:pt>
                <c:pt idx="37685">
                  <c:v>-3.3613445378151102E-3</c:v>
                </c:pt>
                <c:pt idx="37686">
                  <c:v>-3.3613445378151102E-3</c:v>
                </c:pt>
                <c:pt idx="37687">
                  <c:v>-3.3613445378151102E-3</c:v>
                </c:pt>
                <c:pt idx="37688">
                  <c:v>-3.3613445378151102E-3</c:v>
                </c:pt>
                <c:pt idx="37689">
                  <c:v>-3.3613445378151102E-3</c:v>
                </c:pt>
                <c:pt idx="37690">
                  <c:v>-3.3613445378151102E-3</c:v>
                </c:pt>
                <c:pt idx="37691">
                  <c:v>-3.3613445378151102E-3</c:v>
                </c:pt>
                <c:pt idx="37692">
                  <c:v>-3.3613445378151102E-3</c:v>
                </c:pt>
                <c:pt idx="37693">
                  <c:v>-3.3613445378151102E-3</c:v>
                </c:pt>
                <c:pt idx="37694">
                  <c:v>-3.3613445378151102E-3</c:v>
                </c:pt>
                <c:pt idx="37695">
                  <c:v>-3.3613445378151102E-3</c:v>
                </c:pt>
                <c:pt idx="37696">
                  <c:v>-3.3613445378151102E-3</c:v>
                </c:pt>
                <c:pt idx="37697">
                  <c:v>-3.3613445378151102E-3</c:v>
                </c:pt>
                <c:pt idx="37698">
                  <c:v>-3.3613445378151102E-3</c:v>
                </c:pt>
                <c:pt idx="37699">
                  <c:v>-3.3613445378151102E-3</c:v>
                </c:pt>
                <c:pt idx="37700">
                  <c:v>-3.3613445378151102E-3</c:v>
                </c:pt>
                <c:pt idx="37701">
                  <c:v>-3.3613445378151102E-3</c:v>
                </c:pt>
                <c:pt idx="37702">
                  <c:v>-3.3613445378151102E-3</c:v>
                </c:pt>
                <c:pt idx="37703">
                  <c:v>-3.3613445378151102E-3</c:v>
                </c:pt>
                <c:pt idx="37704">
                  <c:v>-3.3613445378151102E-3</c:v>
                </c:pt>
                <c:pt idx="37705">
                  <c:v>-3.3613445378151102E-3</c:v>
                </c:pt>
                <c:pt idx="37706">
                  <c:v>-3.3613445378151102E-3</c:v>
                </c:pt>
                <c:pt idx="37707">
                  <c:v>-3.3613445378151102E-3</c:v>
                </c:pt>
                <c:pt idx="37708">
                  <c:v>-3.3613445378151102E-3</c:v>
                </c:pt>
                <c:pt idx="37709">
                  <c:v>-3.3613445378151102E-3</c:v>
                </c:pt>
                <c:pt idx="37710">
                  <c:v>-3.3613445378151102E-3</c:v>
                </c:pt>
                <c:pt idx="37711">
                  <c:v>-3.3613445378151102E-3</c:v>
                </c:pt>
                <c:pt idx="37712">
                  <c:v>-3.3613445378151102E-3</c:v>
                </c:pt>
                <c:pt idx="37713">
                  <c:v>-3.3613445378151102E-3</c:v>
                </c:pt>
                <c:pt idx="37714">
                  <c:v>-3.3613445378151102E-3</c:v>
                </c:pt>
                <c:pt idx="37715">
                  <c:v>-3.3613445378151102E-3</c:v>
                </c:pt>
                <c:pt idx="37716">
                  <c:v>-3.3613445378151102E-3</c:v>
                </c:pt>
                <c:pt idx="37717">
                  <c:v>-3.3613445378151102E-3</c:v>
                </c:pt>
                <c:pt idx="37718">
                  <c:v>-3.3613445378151102E-3</c:v>
                </c:pt>
                <c:pt idx="37719">
                  <c:v>-3.3613445378151102E-3</c:v>
                </c:pt>
                <c:pt idx="37720">
                  <c:v>-3.3613445378151102E-3</c:v>
                </c:pt>
                <c:pt idx="37721">
                  <c:v>-3.3613445378151102E-3</c:v>
                </c:pt>
                <c:pt idx="37722">
                  <c:v>-3.3613445378151102E-3</c:v>
                </c:pt>
                <c:pt idx="37723">
                  <c:v>-3.3613445378151102E-3</c:v>
                </c:pt>
                <c:pt idx="37724">
                  <c:v>-3.3613445378151102E-3</c:v>
                </c:pt>
                <c:pt idx="37725">
                  <c:v>-3.3613445378151102E-3</c:v>
                </c:pt>
                <c:pt idx="37726">
                  <c:v>-3.3613445378151102E-3</c:v>
                </c:pt>
                <c:pt idx="37727">
                  <c:v>-3.3613445378151102E-3</c:v>
                </c:pt>
                <c:pt idx="37728">
                  <c:v>-3.3613445378151102E-3</c:v>
                </c:pt>
                <c:pt idx="37729">
                  <c:v>-3.3613445378151102E-3</c:v>
                </c:pt>
                <c:pt idx="37730">
                  <c:v>-3.3613445378151102E-3</c:v>
                </c:pt>
                <c:pt idx="37731">
                  <c:v>-3.3613445378151102E-3</c:v>
                </c:pt>
                <c:pt idx="37732">
                  <c:v>-3.3613445378151102E-3</c:v>
                </c:pt>
                <c:pt idx="37733">
                  <c:v>-2.5210084033613299E-3</c:v>
                </c:pt>
                <c:pt idx="37734">
                  <c:v>-2.5210084033613299E-3</c:v>
                </c:pt>
                <c:pt idx="37735">
                  <c:v>-2.5210084033613299E-3</c:v>
                </c:pt>
                <c:pt idx="37736">
                  <c:v>-2.5210084033613299E-3</c:v>
                </c:pt>
                <c:pt idx="37737">
                  <c:v>-2.5210084033613299E-3</c:v>
                </c:pt>
                <c:pt idx="37738">
                  <c:v>-2.5210084033613299E-3</c:v>
                </c:pt>
                <c:pt idx="37739">
                  <c:v>-2.5210084033613299E-3</c:v>
                </c:pt>
                <c:pt idx="37740">
                  <c:v>-2.5210084033613299E-3</c:v>
                </c:pt>
                <c:pt idx="37741">
                  <c:v>-2.5210084033613299E-3</c:v>
                </c:pt>
                <c:pt idx="37742">
                  <c:v>-2.5210084033613299E-3</c:v>
                </c:pt>
                <c:pt idx="37743">
                  <c:v>-2.5210084033613299E-3</c:v>
                </c:pt>
                <c:pt idx="37744">
                  <c:v>-2.5210084033613299E-3</c:v>
                </c:pt>
                <c:pt idx="37745">
                  <c:v>-2.5210084033613299E-3</c:v>
                </c:pt>
                <c:pt idx="37746">
                  <c:v>-2.5210084033613299E-3</c:v>
                </c:pt>
                <c:pt idx="37747">
                  <c:v>-2.5210084033613299E-3</c:v>
                </c:pt>
                <c:pt idx="37748">
                  <c:v>-2.5210084033613299E-3</c:v>
                </c:pt>
                <c:pt idx="37749">
                  <c:v>-2.5210084033613299E-3</c:v>
                </c:pt>
                <c:pt idx="37750">
                  <c:v>-2.5210084033613299E-3</c:v>
                </c:pt>
                <c:pt idx="37751">
                  <c:v>-2.5210084033613299E-3</c:v>
                </c:pt>
                <c:pt idx="37752">
                  <c:v>-2.5210084033613299E-3</c:v>
                </c:pt>
                <c:pt idx="37753">
                  <c:v>-2.5210084033613299E-3</c:v>
                </c:pt>
                <c:pt idx="37754">
                  <c:v>-2.5210084033613299E-3</c:v>
                </c:pt>
                <c:pt idx="37755">
                  <c:v>-2.5210084033613299E-3</c:v>
                </c:pt>
                <c:pt idx="37756">
                  <c:v>-2.5210084033613299E-3</c:v>
                </c:pt>
                <c:pt idx="37757">
                  <c:v>-2.5210084033613299E-3</c:v>
                </c:pt>
                <c:pt idx="37758">
                  <c:v>-2.5210084033613299E-3</c:v>
                </c:pt>
                <c:pt idx="37759">
                  <c:v>-2.5210084033613299E-3</c:v>
                </c:pt>
                <c:pt idx="37760">
                  <c:v>-2.5210084033613299E-3</c:v>
                </c:pt>
                <c:pt idx="37761">
                  <c:v>-2.5210084033613299E-3</c:v>
                </c:pt>
                <c:pt idx="37762">
                  <c:v>-2.5210084033613299E-3</c:v>
                </c:pt>
                <c:pt idx="37763">
                  <c:v>-2.5210084033613299E-3</c:v>
                </c:pt>
                <c:pt idx="37764">
                  <c:v>-2.5210084033613299E-3</c:v>
                </c:pt>
                <c:pt idx="37765">
                  <c:v>-2.5210084033613299E-3</c:v>
                </c:pt>
                <c:pt idx="37766">
                  <c:v>-2.5210084033613299E-3</c:v>
                </c:pt>
                <c:pt idx="37767">
                  <c:v>-2.5210084033613299E-3</c:v>
                </c:pt>
                <c:pt idx="37768">
                  <c:v>-2.5210084033613299E-3</c:v>
                </c:pt>
                <c:pt idx="37769">
                  <c:v>-2.5210084033613299E-3</c:v>
                </c:pt>
                <c:pt idx="37770">
                  <c:v>-2.5210084033613299E-3</c:v>
                </c:pt>
                <c:pt idx="37771">
                  <c:v>-2.5210084033613299E-3</c:v>
                </c:pt>
                <c:pt idx="37772">
                  <c:v>-2.5210084033613299E-3</c:v>
                </c:pt>
                <c:pt idx="37773">
                  <c:v>-2.5210084033613299E-3</c:v>
                </c:pt>
                <c:pt idx="37774">
                  <c:v>-2.5210084033613299E-3</c:v>
                </c:pt>
                <c:pt idx="37775">
                  <c:v>-2.5210084033613299E-3</c:v>
                </c:pt>
                <c:pt idx="37776">
                  <c:v>-2.5210084033613299E-3</c:v>
                </c:pt>
                <c:pt idx="37777">
                  <c:v>-2.5210084033613299E-3</c:v>
                </c:pt>
                <c:pt idx="37778">
                  <c:v>-2.5210084033613299E-3</c:v>
                </c:pt>
                <c:pt idx="37779">
                  <c:v>-2.5210084033613299E-3</c:v>
                </c:pt>
                <c:pt idx="37780">
                  <c:v>-2.5210084033613299E-3</c:v>
                </c:pt>
                <c:pt idx="37781">
                  <c:v>-2.5210084033613299E-3</c:v>
                </c:pt>
                <c:pt idx="37782">
                  <c:v>-2.5210084033613299E-3</c:v>
                </c:pt>
                <c:pt idx="37783">
                  <c:v>-2.5210084033613299E-3</c:v>
                </c:pt>
                <c:pt idx="37784">
                  <c:v>-2.5210084033613299E-3</c:v>
                </c:pt>
                <c:pt idx="37785">
                  <c:v>-2.5210084033613299E-3</c:v>
                </c:pt>
                <c:pt idx="37786">
                  <c:v>-2.5210084033613299E-3</c:v>
                </c:pt>
                <c:pt idx="37787">
                  <c:v>-2.5210084033613299E-3</c:v>
                </c:pt>
                <c:pt idx="37788">
                  <c:v>-2.5210084033613299E-3</c:v>
                </c:pt>
                <c:pt idx="37789">
                  <c:v>-2.5210084033613299E-3</c:v>
                </c:pt>
                <c:pt idx="37790">
                  <c:v>-2.5210084033613299E-3</c:v>
                </c:pt>
                <c:pt idx="37791">
                  <c:v>-2.5210084033613299E-3</c:v>
                </c:pt>
                <c:pt idx="37792">
                  <c:v>-2.5210084033613299E-3</c:v>
                </c:pt>
                <c:pt idx="37793">
                  <c:v>-2.5210084033613299E-3</c:v>
                </c:pt>
                <c:pt idx="37794">
                  <c:v>-2.5210084033613299E-3</c:v>
                </c:pt>
                <c:pt idx="37795">
                  <c:v>-2.5210084033613299E-3</c:v>
                </c:pt>
                <c:pt idx="37796">
                  <c:v>-2.5210084033613299E-3</c:v>
                </c:pt>
                <c:pt idx="37797">
                  <c:v>-2.5210084033613299E-3</c:v>
                </c:pt>
                <c:pt idx="37798">
                  <c:v>-2.5210084033613299E-3</c:v>
                </c:pt>
                <c:pt idx="37799">
                  <c:v>-2.5210084033613299E-3</c:v>
                </c:pt>
                <c:pt idx="37800">
                  <c:v>-2.5210084033613299E-3</c:v>
                </c:pt>
                <c:pt idx="37801">
                  <c:v>-2.5210084033613299E-3</c:v>
                </c:pt>
                <c:pt idx="37802">
                  <c:v>-2.5210084033613299E-3</c:v>
                </c:pt>
                <c:pt idx="37803">
                  <c:v>-2.5210084033613299E-3</c:v>
                </c:pt>
                <c:pt idx="37804">
                  <c:v>-2.5210084033613299E-3</c:v>
                </c:pt>
                <c:pt idx="37805">
                  <c:v>-2.5210084033613299E-3</c:v>
                </c:pt>
                <c:pt idx="37806">
                  <c:v>-2.5210084033613299E-3</c:v>
                </c:pt>
                <c:pt idx="37807">
                  <c:v>-2.5210084033613299E-3</c:v>
                </c:pt>
                <c:pt idx="37808">
                  <c:v>-2.5210084033613299E-3</c:v>
                </c:pt>
                <c:pt idx="37809">
                  <c:v>-2.5210084033613299E-3</c:v>
                </c:pt>
                <c:pt idx="37810">
                  <c:v>-2.5210084033613299E-3</c:v>
                </c:pt>
                <c:pt idx="37811">
                  <c:v>-2.5210084033613299E-3</c:v>
                </c:pt>
                <c:pt idx="37812">
                  <c:v>-2.5210084033613299E-3</c:v>
                </c:pt>
                <c:pt idx="37813">
                  <c:v>-2.5210084033613299E-3</c:v>
                </c:pt>
                <c:pt idx="37814">
                  <c:v>-2.5210084033613299E-3</c:v>
                </c:pt>
                <c:pt idx="37815">
                  <c:v>-2.5210084033613299E-3</c:v>
                </c:pt>
                <c:pt idx="37816">
                  <c:v>-2.5210084033613299E-3</c:v>
                </c:pt>
                <c:pt idx="37817">
                  <c:v>-2.5210084033613299E-3</c:v>
                </c:pt>
                <c:pt idx="37818">
                  <c:v>-2.5210084033613299E-3</c:v>
                </c:pt>
                <c:pt idx="37819">
                  <c:v>-2.5210084033613299E-3</c:v>
                </c:pt>
                <c:pt idx="37820">
                  <c:v>-2.5210084033613299E-3</c:v>
                </c:pt>
                <c:pt idx="37821">
                  <c:v>-2.5210084033613299E-3</c:v>
                </c:pt>
                <c:pt idx="37822">
                  <c:v>-2.5210084033613299E-3</c:v>
                </c:pt>
                <c:pt idx="37823">
                  <c:v>-2.5210084033613299E-3</c:v>
                </c:pt>
                <c:pt idx="37824">
                  <c:v>-2.5210084033613299E-3</c:v>
                </c:pt>
                <c:pt idx="37825">
                  <c:v>-2.5210084033613299E-3</c:v>
                </c:pt>
                <c:pt idx="37826">
                  <c:v>-2.5210084033613299E-3</c:v>
                </c:pt>
                <c:pt idx="37827">
                  <c:v>-2.5210084033613299E-3</c:v>
                </c:pt>
                <c:pt idx="37828">
                  <c:v>-2.5210084033613299E-3</c:v>
                </c:pt>
                <c:pt idx="37829">
                  <c:v>-2.5210084033613299E-3</c:v>
                </c:pt>
                <c:pt idx="37830">
                  <c:v>-2.5210084033613299E-3</c:v>
                </c:pt>
                <c:pt idx="37831">
                  <c:v>-2.5210084033613299E-3</c:v>
                </c:pt>
                <c:pt idx="37832">
                  <c:v>-2.5210084033613299E-3</c:v>
                </c:pt>
                <c:pt idx="37833">
                  <c:v>-2.5210084033613299E-3</c:v>
                </c:pt>
                <c:pt idx="37834">
                  <c:v>-2.5210084033613299E-3</c:v>
                </c:pt>
                <c:pt idx="37835">
                  <c:v>-2.5210084033613299E-3</c:v>
                </c:pt>
                <c:pt idx="37836">
                  <c:v>-2.5210084033613299E-3</c:v>
                </c:pt>
                <c:pt idx="37837">
                  <c:v>-2.5210084033613299E-3</c:v>
                </c:pt>
                <c:pt idx="37838">
                  <c:v>-2.5210084033613299E-3</c:v>
                </c:pt>
                <c:pt idx="37839">
                  <c:v>-2.5210084033613299E-3</c:v>
                </c:pt>
                <c:pt idx="37840">
                  <c:v>-2.5210084033613299E-3</c:v>
                </c:pt>
                <c:pt idx="37841">
                  <c:v>-2.5210084033613299E-3</c:v>
                </c:pt>
                <c:pt idx="37842">
                  <c:v>-2.5210084033613299E-3</c:v>
                </c:pt>
                <c:pt idx="37843">
                  <c:v>-2.5210084033613299E-3</c:v>
                </c:pt>
                <c:pt idx="37844">
                  <c:v>-2.5210084033613299E-3</c:v>
                </c:pt>
                <c:pt idx="37845">
                  <c:v>-2.5210084033613299E-3</c:v>
                </c:pt>
                <c:pt idx="37846">
                  <c:v>-2.5210084033613299E-3</c:v>
                </c:pt>
                <c:pt idx="37847">
                  <c:v>-2.5210084033613299E-3</c:v>
                </c:pt>
                <c:pt idx="37848">
                  <c:v>-2.5210084033613299E-3</c:v>
                </c:pt>
                <c:pt idx="37849">
                  <c:v>-2.5210084033613299E-3</c:v>
                </c:pt>
                <c:pt idx="37850">
                  <c:v>-2.5210084033613299E-3</c:v>
                </c:pt>
                <c:pt idx="37851">
                  <c:v>-1.6806722689075499E-3</c:v>
                </c:pt>
                <c:pt idx="37852">
                  <c:v>-1.6806722689075499E-3</c:v>
                </c:pt>
                <c:pt idx="37853">
                  <c:v>-1.6806722689075499E-3</c:v>
                </c:pt>
                <c:pt idx="37854">
                  <c:v>-1.6806722689075499E-3</c:v>
                </c:pt>
                <c:pt idx="37855">
                  <c:v>-1.6806722689075499E-3</c:v>
                </c:pt>
                <c:pt idx="37856">
                  <c:v>-1.6806722689075499E-3</c:v>
                </c:pt>
                <c:pt idx="37857">
                  <c:v>-1.6806722689075499E-3</c:v>
                </c:pt>
                <c:pt idx="37858">
                  <c:v>-1.6806722689075499E-3</c:v>
                </c:pt>
                <c:pt idx="37859">
                  <c:v>-1.6806722689075499E-3</c:v>
                </c:pt>
                <c:pt idx="37860">
                  <c:v>-1.6806722689075499E-3</c:v>
                </c:pt>
                <c:pt idx="37861">
                  <c:v>-1.6806722689075499E-3</c:v>
                </c:pt>
                <c:pt idx="37862">
                  <c:v>-1.6806722689075499E-3</c:v>
                </c:pt>
                <c:pt idx="37863">
                  <c:v>-1.6806722689075499E-3</c:v>
                </c:pt>
                <c:pt idx="37864">
                  <c:v>-1.6806722689075499E-3</c:v>
                </c:pt>
                <c:pt idx="37865">
                  <c:v>-1.6806722689075499E-3</c:v>
                </c:pt>
                <c:pt idx="37866">
                  <c:v>-1.6806722689075499E-3</c:v>
                </c:pt>
                <c:pt idx="37867">
                  <c:v>-1.6806722689075499E-3</c:v>
                </c:pt>
                <c:pt idx="37868">
                  <c:v>-1.6806722689075499E-3</c:v>
                </c:pt>
                <c:pt idx="37869">
                  <c:v>-1.6806722689075499E-3</c:v>
                </c:pt>
                <c:pt idx="37870">
                  <c:v>-1.6806722689075499E-3</c:v>
                </c:pt>
                <c:pt idx="37871">
                  <c:v>-1.6806722689075499E-3</c:v>
                </c:pt>
                <c:pt idx="37872">
                  <c:v>-1.6806722689075499E-3</c:v>
                </c:pt>
                <c:pt idx="37873">
                  <c:v>-1.6806722689075499E-3</c:v>
                </c:pt>
                <c:pt idx="37874">
                  <c:v>-1.6806722689075499E-3</c:v>
                </c:pt>
                <c:pt idx="37875">
                  <c:v>-1.6806722689075499E-3</c:v>
                </c:pt>
                <c:pt idx="37876">
                  <c:v>-1.6806722689075499E-3</c:v>
                </c:pt>
                <c:pt idx="37877">
                  <c:v>-1.6806722689075499E-3</c:v>
                </c:pt>
                <c:pt idx="37878">
                  <c:v>-1.6806722689075499E-3</c:v>
                </c:pt>
                <c:pt idx="37879">
                  <c:v>-1.6806722689075499E-3</c:v>
                </c:pt>
                <c:pt idx="37880">
                  <c:v>-1.6806722689075499E-3</c:v>
                </c:pt>
                <c:pt idx="37881">
                  <c:v>-1.6806722689075499E-3</c:v>
                </c:pt>
                <c:pt idx="37882">
                  <c:v>-1.6806722689075499E-3</c:v>
                </c:pt>
                <c:pt idx="37883">
                  <c:v>-1.6806722689075499E-3</c:v>
                </c:pt>
                <c:pt idx="37884">
                  <c:v>-1.6806722689075499E-3</c:v>
                </c:pt>
                <c:pt idx="37885">
                  <c:v>-1.6806722689075499E-3</c:v>
                </c:pt>
                <c:pt idx="37886">
                  <c:v>-1.6806722689075499E-3</c:v>
                </c:pt>
                <c:pt idx="37887">
                  <c:v>-1.6806722689075499E-3</c:v>
                </c:pt>
                <c:pt idx="37888">
                  <c:v>-1.6806722689075499E-3</c:v>
                </c:pt>
                <c:pt idx="37889">
                  <c:v>-1.6806722689075499E-3</c:v>
                </c:pt>
                <c:pt idx="37890">
                  <c:v>-1.6806722689075499E-3</c:v>
                </c:pt>
                <c:pt idx="37891">
                  <c:v>-1.6806722689075499E-3</c:v>
                </c:pt>
                <c:pt idx="37892">
                  <c:v>-1.6806722689075499E-3</c:v>
                </c:pt>
                <c:pt idx="37893">
                  <c:v>-1.6806722689075499E-3</c:v>
                </c:pt>
                <c:pt idx="37894">
                  <c:v>-1.6806722689075499E-3</c:v>
                </c:pt>
                <c:pt idx="37895">
                  <c:v>-1.6806722689075499E-3</c:v>
                </c:pt>
                <c:pt idx="37896">
                  <c:v>-1.6806722689075499E-3</c:v>
                </c:pt>
                <c:pt idx="37897">
                  <c:v>-1.6806722689075499E-3</c:v>
                </c:pt>
                <c:pt idx="37898">
                  <c:v>-1.6806722689075499E-3</c:v>
                </c:pt>
                <c:pt idx="37899">
                  <c:v>-1.6806722689075499E-3</c:v>
                </c:pt>
                <c:pt idx="37900">
                  <c:v>-1.6806722689075499E-3</c:v>
                </c:pt>
                <c:pt idx="37901">
                  <c:v>-1.6806722689075499E-3</c:v>
                </c:pt>
                <c:pt idx="37902">
                  <c:v>-1.6806722689075499E-3</c:v>
                </c:pt>
                <c:pt idx="37903">
                  <c:v>-1.6806722689075499E-3</c:v>
                </c:pt>
                <c:pt idx="37904">
                  <c:v>-1.6806722689075499E-3</c:v>
                </c:pt>
                <c:pt idx="37905">
                  <c:v>-1.6806722689075499E-3</c:v>
                </c:pt>
                <c:pt idx="37906">
                  <c:v>-1.6806722689075499E-3</c:v>
                </c:pt>
                <c:pt idx="37907">
                  <c:v>-1.6806722689075499E-3</c:v>
                </c:pt>
                <c:pt idx="37908">
                  <c:v>-1.6806722689075499E-3</c:v>
                </c:pt>
                <c:pt idx="37909">
                  <c:v>-1.6806722689075499E-3</c:v>
                </c:pt>
                <c:pt idx="37910">
                  <c:v>-1.6806722689075499E-3</c:v>
                </c:pt>
                <c:pt idx="37911">
                  <c:v>-1.6806722689075499E-3</c:v>
                </c:pt>
                <c:pt idx="37912">
                  <c:v>-1.6806722689075499E-3</c:v>
                </c:pt>
                <c:pt idx="37913">
                  <c:v>-1.6806722689075499E-3</c:v>
                </c:pt>
                <c:pt idx="37914">
                  <c:v>-1.6806722689075499E-3</c:v>
                </c:pt>
                <c:pt idx="37915">
                  <c:v>-1.6806722689075499E-3</c:v>
                </c:pt>
                <c:pt idx="37916">
                  <c:v>-1.6806722689075499E-3</c:v>
                </c:pt>
                <c:pt idx="37917">
                  <c:v>-1.6806722689075499E-3</c:v>
                </c:pt>
                <c:pt idx="37918">
                  <c:v>-1.6806722689075499E-3</c:v>
                </c:pt>
                <c:pt idx="37919">
                  <c:v>-1.6806722689075499E-3</c:v>
                </c:pt>
                <c:pt idx="37920">
                  <c:v>-1.6806722689075499E-3</c:v>
                </c:pt>
                <c:pt idx="37921">
                  <c:v>-1.6806722689075499E-3</c:v>
                </c:pt>
                <c:pt idx="37922">
                  <c:v>-1.6806722689075499E-3</c:v>
                </c:pt>
                <c:pt idx="37923">
                  <c:v>-1.6806722689075499E-3</c:v>
                </c:pt>
                <c:pt idx="37924">
                  <c:v>-1.6806722689075499E-3</c:v>
                </c:pt>
                <c:pt idx="37925">
                  <c:v>-1.6806722689075499E-3</c:v>
                </c:pt>
                <c:pt idx="37926">
                  <c:v>-1.6806722689075499E-3</c:v>
                </c:pt>
                <c:pt idx="37927">
                  <c:v>-2.5210084033613299E-3</c:v>
                </c:pt>
                <c:pt idx="37928">
                  <c:v>-2.5210084033613299E-3</c:v>
                </c:pt>
                <c:pt idx="37929">
                  <c:v>-2.5210084033613299E-3</c:v>
                </c:pt>
                <c:pt idx="37930">
                  <c:v>-2.5210084033613299E-3</c:v>
                </c:pt>
                <c:pt idx="37931">
                  <c:v>-2.5210084033613299E-3</c:v>
                </c:pt>
                <c:pt idx="37932">
                  <c:v>-2.5210084033613299E-3</c:v>
                </c:pt>
                <c:pt idx="37933">
                  <c:v>-2.5210084033613299E-3</c:v>
                </c:pt>
                <c:pt idx="37934">
                  <c:v>-2.5210084033613299E-3</c:v>
                </c:pt>
                <c:pt idx="37935">
                  <c:v>-3.3613445378152199E-3</c:v>
                </c:pt>
                <c:pt idx="37936">
                  <c:v>-3.3613445378152199E-3</c:v>
                </c:pt>
                <c:pt idx="37937">
                  <c:v>-3.3613445378152199E-3</c:v>
                </c:pt>
                <c:pt idx="37938">
                  <c:v>-3.3613445378152199E-3</c:v>
                </c:pt>
                <c:pt idx="37939">
                  <c:v>-3.3613445378152199E-3</c:v>
                </c:pt>
                <c:pt idx="37940">
                  <c:v>-3.3613445378152199E-3</c:v>
                </c:pt>
                <c:pt idx="37941">
                  <c:v>-3.3613445378152199E-3</c:v>
                </c:pt>
                <c:pt idx="37942">
                  <c:v>-3.3613445378152199E-3</c:v>
                </c:pt>
                <c:pt idx="37943">
                  <c:v>-3.3613445378152199E-3</c:v>
                </c:pt>
                <c:pt idx="37944">
                  <c:v>-3.3613445378152199E-3</c:v>
                </c:pt>
                <c:pt idx="37945">
                  <c:v>-3.3613445378152199E-3</c:v>
                </c:pt>
                <c:pt idx="37946">
                  <c:v>-3.3613445378152199E-3</c:v>
                </c:pt>
                <c:pt idx="37947">
                  <c:v>-3.3613445378152199E-3</c:v>
                </c:pt>
                <c:pt idx="37948">
                  <c:v>-3.3613445378152199E-3</c:v>
                </c:pt>
                <c:pt idx="37949">
                  <c:v>-3.3613445378152199E-3</c:v>
                </c:pt>
                <c:pt idx="37950">
                  <c:v>-3.3613445378152199E-3</c:v>
                </c:pt>
                <c:pt idx="37951">
                  <c:v>-3.3613445378152199E-3</c:v>
                </c:pt>
                <c:pt idx="37952">
                  <c:v>-3.3613445378152199E-3</c:v>
                </c:pt>
                <c:pt idx="37953">
                  <c:v>-3.3613445378152199E-3</c:v>
                </c:pt>
                <c:pt idx="37954">
                  <c:v>-3.3613445378152199E-3</c:v>
                </c:pt>
                <c:pt idx="37955">
                  <c:v>-3.3613445378152199E-3</c:v>
                </c:pt>
                <c:pt idx="37956">
                  <c:v>-3.3613445378152199E-3</c:v>
                </c:pt>
                <c:pt idx="37957">
                  <c:v>-3.3613445378152199E-3</c:v>
                </c:pt>
                <c:pt idx="37958">
                  <c:v>-3.3613445378152199E-3</c:v>
                </c:pt>
                <c:pt idx="37959">
                  <c:v>-3.3613445378152199E-3</c:v>
                </c:pt>
                <c:pt idx="37960">
                  <c:v>-3.3613445378152199E-3</c:v>
                </c:pt>
                <c:pt idx="37961">
                  <c:v>-3.3613445378152199E-3</c:v>
                </c:pt>
                <c:pt idx="37962">
                  <c:v>-3.3613445378152199E-3</c:v>
                </c:pt>
                <c:pt idx="37963">
                  <c:v>-3.3613445378152199E-3</c:v>
                </c:pt>
                <c:pt idx="37964">
                  <c:v>-3.3613445378152199E-3</c:v>
                </c:pt>
                <c:pt idx="37965">
                  <c:v>-3.3613445378152199E-3</c:v>
                </c:pt>
                <c:pt idx="37966">
                  <c:v>-3.3613445378152199E-3</c:v>
                </c:pt>
                <c:pt idx="37967">
                  <c:v>-3.3613445378152199E-3</c:v>
                </c:pt>
                <c:pt idx="37968">
                  <c:v>-3.3613445378152199E-3</c:v>
                </c:pt>
                <c:pt idx="37969">
                  <c:v>-3.3613445378152199E-3</c:v>
                </c:pt>
                <c:pt idx="37970">
                  <c:v>-3.3613445378152199E-3</c:v>
                </c:pt>
                <c:pt idx="37971">
                  <c:v>-3.3613445378152199E-3</c:v>
                </c:pt>
                <c:pt idx="37972">
                  <c:v>-3.3613445378152199E-3</c:v>
                </c:pt>
                <c:pt idx="37973">
                  <c:v>-3.3613445378152199E-3</c:v>
                </c:pt>
                <c:pt idx="37974">
                  <c:v>-3.3613445378152199E-3</c:v>
                </c:pt>
                <c:pt idx="37975">
                  <c:v>-3.3613445378152199E-3</c:v>
                </c:pt>
                <c:pt idx="37976">
                  <c:v>-3.3613445378152199E-3</c:v>
                </c:pt>
                <c:pt idx="37977">
                  <c:v>-3.3613445378152199E-3</c:v>
                </c:pt>
                <c:pt idx="37978">
                  <c:v>-4.2016806722690002E-3</c:v>
                </c:pt>
                <c:pt idx="37979">
                  <c:v>-4.2016806722690002E-3</c:v>
                </c:pt>
                <c:pt idx="37980">
                  <c:v>-4.2016806722690002E-3</c:v>
                </c:pt>
                <c:pt idx="37981">
                  <c:v>-4.2016806722690002E-3</c:v>
                </c:pt>
                <c:pt idx="37982">
                  <c:v>-4.2016806722690002E-3</c:v>
                </c:pt>
                <c:pt idx="37983">
                  <c:v>-4.2016806722690002E-3</c:v>
                </c:pt>
                <c:pt idx="37984">
                  <c:v>-4.2016806722690002E-3</c:v>
                </c:pt>
                <c:pt idx="37985">
                  <c:v>-4.2016806722690002E-3</c:v>
                </c:pt>
                <c:pt idx="37986">
                  <c:v>-4.2016806722690002E-3</c:v>
                </c:pt>
                <c:pt idx="37987">
                  <c:v>-4.2016806722690002E-3</c:v>
                </c:pt>
                <c:pt idx="37988">
                  <c:v>-4.2016806722690002E-3</c:v>
                </c:pt>
                <c:pt idx="37989">
                  <c:v>-4.2016806722690002E-3</c:v>
                </c:pt>
                <c:pt idx="37990">
                  <c:v>-4.2016806722690002E-3</c:v>
                </c:pt>
                <c:pt idx="37991">
                  <c:v>-4.2016806722690002E-3</c:v>
                </c:pt>
                <c:pt idx="37992">
                  <c:v>-4.2016806722690002E-3</c:v>
                </c:pt>
                <c:pt idx="37993">
                  <c:v>-4.2016806722690002E-3</c:v>
                </c:pt>
                <c:pt idx="37994">
                  <c:v>-4.2016806722690002E-3</c:v>
                </c:pt>
                <c:pt idx="37995">
                  <c:v>-4.2016806722690002E-3</c:v>
                </c:pt>
                <c:pt idx="37996">
                  <c:v>-4.2016806722690002E-3</c:v>
                </c:pt>
                <c:pt idx="37997">
                  <c:v>-4.2016806722690002E-3</c:v>
                </c:pt>
                <c:pt idx="37998">
                  <c:v>-4.2016806722690002E-3</c:v>
                </c:pt>
                <c:pt idx="37999">
                  <c:v>-4.2016806722690002E-3</c:v>
                </c:pt>
                <c:pt idx="38000">
                  <c:v>-4.2016806722690002E-3</c:v>
                </c:pt>
                <c:pt idx="38001">
                  <c:v>-4.2016806722690002E-3</c:v>
                </c:pt>
                <c:pt idx="38002">
                  <c:v>-4.2016806722690002E-3</c:v>
                </c:pt>
                <c:pt idx="38003">
                  <c:v>-4.2016806722690002E-3</c:v>
                </c:pt>
                <c:pt idx="38004">
                  <c:v>-4.2016806722690002E-3</c:v>
                </c:pt>
                <c:pt idx="38005">
                  <c:v>-4.2016806722690002E-3</c:v>
                </c:pt>
                <c:pt idx="38006">
                  <c:v>-4.2016806722690002E-3</c:v>
                </c:pt>
                <c:pt idx="38007">
                  <c:v>-4.2016806722690002E-3</c:v>
                </c:pt>
                <c:pt idx="38008">
                  <c:v>-4.2016806722690002E-3</c:v>
                </c:pt>
                <c:pt idx="38009">
                  <c:v>-4.2016806722690002E-3</c:v>
                </c:pt>
                <c:pt idx="38010">
                  <c:v>-4.2016806722690002E-3</c:v>
                </c:pt>
                <c:pt idx="38011">
                  <c:v>-4.2016806722690002E-3</c:v>
                </c:pt>
                <c:pt idx="38012">
                  <c:v>-4.2016806722690002E-3</c:v>
                </c:pt>
                <c:pt idx="38013">
                  <c:v>-4.2016806722690002E-3</c:v>
                </c:pt>
                <c:pt idx="38014">
                  <c:v>-4.2016806722690002E-3</c:v>
                </c:pt>
                <c:pt idx="38015">
                  <c:v>-3.3613445378152199E-3</c:v>
                </c:pt>
                <c:pt idx="38016">
                  <c:v>-3.3613445378152199E-3</c:v>
                </c:pt>
                <c:pt idx="38017">
                  <c:v>-3.3613445378152199E-3</c:v>
                </c:pt>
                <c:pt idx="38018">
                  <c:v>-3.3613445378152199E-3</c:v>
                </c:pt>
                <c:pt idx="38019">
                  <c:v>-3.3613445378152199E-3</c:v>
                </c:pt>
                <c:pt idx="38020">
                  <c:v>-3.3613445378152199E-3</c:v>
                </c:pt>
                <c:pt idx="38021">
                  <c:v>-3.3613445378152199E-3</c:v>
                </c:pt>
                <c:pt idx="38022">
                  <c:v>-3.3613445378152199E-3</c:v>
                </c:pt>
                <c:pt idx="38023">
                  <c:v>-3.3613445378152199E-3</c:v>
                </c:pt>
                <c:pt idx="38024">
                  <c:v>-3.3613445378152199E-3</c:v>
                </c:pt>
                <c:pt idx="38025">
                  <c:v>-3.3613445378152199E-3</c:v>
                </c:pt>
                <c:pt idx="38026">
                  <c:v>-3.3613445378152199E-3</c:v>
                </c:pt>
                <c:pt idx="38027">
                  <c:v>-3.3613445378152199E-3</c:v>
                </c:pt>
                <c:pt idx="38028">
                  <c:v>-3.3613445378152199E-3</c:v>
                </c:pt>
                <c:pt idx="38029">
                  <c:v>-3.3613445378152199E-3</c:v>
                </c:pt>
                <c:pt idx="38030">
                  <c:v>-3.3613445378152199E-3</c:v>
                </c:pt>
                <c:pt idx="38031">
                  <c:v>-3.3613445378152199E-3</c:v>
                </c:pt>
                <c:pt idx="38032">
                  <c:v>-3.3613445378152199E-3</c:v>
                </c:pt>
                <c:pt idx="38033">
                  <c:v>-3.3613445378152199E-3</c:v>
                </c:pt>
                <c:pt idx="38034">
                  <c:v>-3.3613445378152199E-3</c:v>
                </c:pt>
                <c:pt idx="38035">
                  <c:v>-3.3613445378152199E-3</c:v>
                </c:pt>
                <c:pt idx="38036">
                  <c:v>-3.3613445378152199E-3</c:v>
                </c:pt>
                <c:pt idx="38037">
                  <c:v>-3.3613445378152199E-3</c:v>
                </c:pt>
                <c:pt idx="38038">
                  <c:v>-3.3613445378152199E-3</c:v>
                </c:pt>
                <c:pt idx="38039">
                  <c:v>-3.3613445378152199E-3</c:v>
                </c:pt>
                <c:pt idx="38040">
                  <c:v>-3.3613445378152199E-3</c:v>
                </c:pt>
                <c:pt idx="38041">
                  <c:v>-3.3613445378152199E-3</c:v>
                </c:pt>
                <c:pt idx="38042">
                  <c:v>-3.3613445378152199E-3</c:v>
                </c:pt>
                <c:pt idx="38043">
                  <c:v>-3.3613445378152199E-3</c:v>
                </c:pt>
                <c:pt idx="38044">
                  <c:v>-3.3613445378152199E-3</c:v>
                </c:pt>
                <c:pt idx="38045">
                  <c:v>-3.3613445378152199E-3</c:v>
                </c:pt>
                <c:pt idx="38046">
                  <c:v>-3.3613445378152199E-3</c:v>
                </c:pt>
                <c:pt idx="38047">
                  <c:v>-3.3613445378152199E-3</c:v>
                </c:pt>
                <c:pt idx="38048">
                  <c:v>-3.3613445378152199E-3</c:v>
                </c:pt>
                <c:pt idx="38049">
                  <c:v>-3.3613445378152199E-3</c:v>
                </c:pt>
                <c:pt idx="38050">
                  <c:v>-3.3613445378152199E-3</c:v>
                </c:pt>
                <c:pt idx="38051">
                  <c:v>-3.3613445378152199E-3</c:v>
                </c:pt>
                <c:pt idx="38052">
                  <c:v>-3.3613445378152199E-3</c:v>
                </c:pt>
                <c:pt idx="38053">
                  <c:v>-3.3613445378152199E-3</c:v>
                </c:pt>
                <c:pt idx="38054">
                  <c:v>-3.3613445378152199E-3</c:v>
                </c:pt>
                <c:pt idx="38055">
                  <c:v>-3.3613445378152199E-3</c:v>
                </c:pt>
                <c:pt idx="38056">
                  <c:v>-3.3613445378152199E-3</c:v>
                </c:pt>
                <c:pt idx="38057">
                  <c:v>-3.3613445378152199E-3</c:v>
                </c:pt>
                <c:pt idx="38058">
                  <c:v>-3.3613445378152199E-3</c:v>
                </c:pt>
                <c:pt idx="38059">
                  <c:v>-3.3613445378152199E-3</c:v>
                </c:pt>
                <c:pt idx="38060">
                  <c:v>-3.3613445378152199E-3</c:v>
                </c:pt>
                <c:pt idx="38061">
                  <c:v>-3.3613445378152199E-3</c:v>
                </c:pt>
                <c:pt idx="38062">
                  <c:v>-3.3613445378152199E-3</c:v>
                </c:pt>
                <c:pt idx="38063">
                  <c:v>-3.3613445378152199E-3</c:v>
                </c:pt>
                <c:pt idx="38064">
                  <c:v>-3.3613445378152199E-3</c:v>
                </c:pt>
                <c:pt idx="38065">
                  <c:v>-3.3613445378152199E-3</c:v>
                </c:pt>
                <c:pt idx="38066">
                  <c:v>-3.3613445378152199E-3</c:v>
                </c:pt>
                <c:pt idx="38067">
                  <c:v>-3.3613445378152199E-3</c:v>
                </c:pt>
                <c:pt idx="38068">
                  <c:v>-3.3613445378152199E-3</c:v>
                </c:pt>
                <c:pt idx="38069">
                  <c:v>-3.3613445378152199E-3</c:v>
                </c:pt>
                <c:pt idx="38070">
                  <c:v>-3.3613445378152199E-3</c:v>
                </c:pt>
                <c:pt idx="38071">
                  <c:v>-3.3613445378152199E-3</c:v>
                </c:pt>
                <c:pt idx="38072">
                  <c:v>-3.3613445378152199E-3</c:v>
                </c:pt>
                <c:pt idx="38073">
                  <c:v>-3.3613445378152199E-3</c:v>
                </c:pt>
                <c:pt idx="38074">
                  <c:v>-3.3613445378152199E-3</c:v>
                </c:pt>
                <c:pt idx="38075">
                  <c:v>-3.3613445378152199E-3</c:v>
                </c:pt>
                <c:pt idx="38076">
                  <c:v>-3.3613445378152199E-3</c:v>
                </c:pt>
                <c:pt idx="38077">
                  <c:v>-3.3613445378152199E-3</c:v>
                </c:pt>
                <c:pt idx="38078">
                  <c:v>-3.3613445378152199E-3</c:v>
                </c:pt>
                <c:pt idx="38079">
                  <c:v>-3.3613445378152199E-3</c:v>
                </c:pt>
                <c:pt idx="38080">
                  <c:v>-3.3613445378152199E-3</c:v>
                </c:pt>
                <c:pt idx="38081">
                  <c:v>-3.3613445378152199E-3</c:v>
                </c:pt>
                <c:pt idx="38082">
                  <c:v>-3.3613445378152199E-3</c:v>
                </c:pt>
                <c:pt idx="38083">
                  <c:v>-3.3613445378152199E-3</c:v>
                </c:pt>
                <c:pt idx="38084">
                  <c:v>-3.3613445378152199E-3</c:v>
                </c:pt>
                <c:pt idx="38085">
                  <c:v>-3.3613445378152199E-3</c:v>
                </c:pt>
                <c:pt idx="38086">
                  <c:v>-3.3613445378152199E-3</c:v>
                </c:pt>
                <c:pt idx="38087">
                  <c:v>-3.3613445378152199E-3</c:v>
                </c:pt>
                <c:pt idx="38088">
                  <c:v>-3.3613445378152199E-3</c:v>
                </c:pt>
                <c:pt idx="38089">
                  <c:v>-3.3613445378152199E-3</c:v>
                </c:pt>
                <c:pt idx="38090">
                  <c:v>-3.3613445378152199E-3</c:v>
                </c:pt>
                <c:pt idx="38091">
                  <c:v>-3.3613445378152199E-3</c:v>
                </c:pt>
                <c:pt idx="38092">
                  <c:v>-3.3613445378152199E-3</c:v>
                </c:pt>
                <c:pt idx="38093">
                  <c:v>-3.3613445378152199E-3</c:v>
                </c:pt>
                <c:pt idx="38094">
                  <c:v>-3.3613445378152199E-3</c:v>
                </c:pt>
                <c:pt idx="38095">
                  <c:v>-3.3613445378152199E-3</c:v>
                </c:pt>
                <c:pt idx="38096">
                  <c:v>-3.3613445378152199E-3</c:v>
                </c:pt>
                <c:pt idx="38097">
                  <c:v>-3.3613445378152199E-3</c:v>
                </c:pt>
                <c:pt idx="38098">
                  <c:v>-3.3613445378152199E-3</c:v>
                </c:pt>
                <c:pt idx="38099">
                  <c:v>-3.3613445378152199E-3</c:v>
                </c:pt>
                <c:pt idx="38100">
                  <c:v>-4.2016806722690002E-3</c:v>
                </c:pt>
                <c:pt idx="38101">
                  <c:v>-4.2016806722690002E-3</c:v>
                </c:pt>
                <c:pt idx="38102">
                  <c:v>-4.2016806722690002E-3</c:v>
                </c:pt>
                <c:pt idx="38103">
                  <c:v>-4.2016806722690002E-3</c:v>
                </c:pt>
                <c:pt idx="38104">
                  <c:v>-4.2016806722690002E-3</c:v>
                </c:pt>
                <c:pt idx="38105">
                  <c:v>-4.2016806722690002E-3</c:v>
                </c:pt>
                <c:pt idx="38106">
                  <c:v>-4.2016806722690002E-3</c:v>
                </c:pt>
                <c:pt idx="38107">
                  <c:v>-4.2016806722690002E-3</c:v>
                </c:pt>
                <c:pt idx="38108">
                  <c:v>-4.2016806722690002E-3</c:v>
                </c:pt>
                <c:pt idx="38109">
                  <c:v>-4.2016806722690002E-3</c:v>
                </c:pt>
                <c:pt idx="38110">
                  <c:v>-4.2016806722690002E-3</c:v>
                </c:pt>
                <c:pt idx="38111">
                  <c:v>-4.2016806722690002E-3</c:v>
                </c:pt>
                <c:pt idx="38112">
                  <c:v>-4.2016806722690002E-3</c:v>
                </c:pt>
                <c:pt idx="38113">
                  <c:v>-4.2016806722690002E-3</c:v>
                </c:pt>
                <c:pt idx="38114">
                  <c:v>-4.2016806722690002E-3</c:v>
                </c:pt>
                <c:pt idx="38115">
                  <c:v>-4.2016806722690002E-3</c:v>
                </c:pt>
                <c:pt idx="38116">
                  <c:v>-4.2016806722690002E-3</c:v>
                </c:pt>
                <c:pt idx="38117">
                  <c:v>-4.2016806722690002E-3</c:v>
                </c:pt>
                <c:pt idx="38118">
                  <c:v>-4.2016806722690002E-3</c:v>
                </c:pt>
                <c:pt idx="38119">
                  <c:v>-4.2016806722690002E-3</c:v>
                </c:pt>
                <c:pt idx="38120">
                  <c:v>-4.2016806722690002E-3</c:v>
                </c:pt>
                <c:pt idx="38121">
                  <c:v>-4.2016806722690002E-3</c:v>
                </c:pt>
                <c:pt idx="38122">
                  <c:v>-4.2016806722690002E-3</c:v>
                </c:pt>
                <c:pt idx="38123">
                  <c:v>-4.2016806722690002E-3</c:v>
                </c:pt>
                <c:pt idx="38124">
                  <c:v>-4.2016806722690002E-3</c:v>
                </c:pt>
                <c:pt idx="38125">
                  <c:v>-4.2016806722690002E-3</c:v>
                </c:pt>
                <c:pt idx="38126">
                  <c:v>-4.2016806722690002E-3</c:v>
                </c:pt>
                <c:pt idx="38127">
                  <c:v>-4.2016806722690002E-3</c:v>
                </c:pt>
                <c:pt idx="38128">
                  <c:v>-4.2016806722690002E-3</c:v>
                </c:pt>
                <c:pt idx="38129">
                  <c:v>-4.2016806722690002E-3</c:v>
                </c:pt>
                <c:pt idx="38130">
                  <c:v>-4.2016806722690002E-3</c:v>
                </c:pt>
                <c:pt idx="38131">
                  <c:v>-4.2016806722690002E-3</c:v>
                </c:pt>
                <c:pt idx="38132">
                  <c:v>-4.2016806722690002E-3</c:v>
                </c:pt>
                <c:pt idx="38133">
                  <c:v>-4.2016806722690002E-3</c:v>
                </c:pt>
                <c:pt idx="38134">
                  <c:v>-4.2016806722690002E-3</c:v>
                </c:pt>
                <c:pt idx="38135">
                  <c:v>-4.2016806722690002E-3</c:v>
                </c:pt>
                <c:pt idx="38136">
                  <c:v>-4.2016806722690002E-3</c:v>
                </c:pt>
                <c:pt idx="38137">
                  <c:v>-4.2016806722690002E-3</c:v>
                </c:pt>
                <c:pt idx="38138">
                  <c:v>-4.2016806722690002E-3</c:v>
                </c:pt>
                <c:pt idx="38139">
                  <c:v>-4.2016806722690002E-3</c:v>
                </c:pt>
                <c:pt idx="38140">
                  <c:v>-4.2016806722690002E-3</c:v>
                </c:pt>
                <c:pt idx="38141">
                  <c:v>-4.2016806722690002E-3</c:v>
                </c:pt>
                <c:pt idx="38142">
                  <c:v>-4.2016806722690002E-3</c:v>
                </c:pt>
                <c:pt idx="38143">
                  <c:v>-4.2016806722690002E-3</c:v>
                </c:pt>
                <c:pt idx="38144">
                  <c:v>-4.2016806722690002E-3</c:v>
                </c:pt>
                <c:pt idx="38145">
                  <c:v>-4.2016806722690002E-3</c:v>
                </c:pt>
                <c:pt idx="38146">
                  <c:v>-4.2016806722690002E-3</c:v>
                </c:pt>
                <c:pt idx="38147">
                  <c:v>-4.2016806722690002E-3</c:v>
                </c:pt>
                <c:pt idx="38148">
                  <c:v>-4.2016806722690002E-3</c:v>
                </c:pt>
                <c:pt idx="38149">
                  <c:v>-4.2016806722690002E-3</c:v>
                </c:pt>
                <c:pt idx="38150">
                  <c:v>-4.2016806722690002E-3</c:v>
                </c:pt>
                <c:pt idx="38151">
                  <c:v>-4.2016806722690002E-3</c:v>
                </c:pt>
                <c:pt idx="38152">
                  <c:v>-4.2016806722690002E-3</c:v>
                </c:pt>
                <c:pt idx="38153">
                  <c:v>-4.2016806722690002E-3</c:v>
                </c:pt>
                <c:pt idx="38154">
                  <c:v>-4.2016806722690002E-3</c:v>
                </c:pt>
                <c:pt idx="38155">
                  <c:v>-4.2016806722690002E-3</c:v>
                </c:pt>
                <c:pt idx="38156">
                  <c:v>-4.2016806722690002E-3</c:v>
                </c:pt>
                <c:pt idx="38157">
                  <c:v>-4.2016806722690002E-3</c:v>
                </c:pt>
                <c:pt idx="38158">
                  <c:v>-4.2016806722690002E-3</c:v>
                </c:pt>
                <c:pt idx="38159">
                  <c:v>-4.2016806722690002E-3</c:v>
                </c:pt>
                <c:pt idx="38160">
                  <c:v>-4.2016806722690002E-3</c:v>
                </c:pt>
                <c:pt idx="38161">
                  <c:v>-4.2016806722690002E-3</c:v>
                </c:pt>
                <c:pt idx="38162">
                  <c:v>-4.2016806722690002E-3</c:v>
                </c:pt>
                <c:pt idx="38163">
                  <c:v>-4.2016806722690002E-3</c:v>
                </c:pt>
                <c:pt idx="38164">
                  <c:v>-4.2016806722690002E-3</c:v>
                </c:pt>
                <c:pt idx="38165">
                  <c:v>-4.2016806722690002E-3</c:v>
                </c:pt>
                <c:pt idx="38166">
                  <c:v>-4.2016806722690002E-3</c:v>
                </c:pt>
                <c:pt idx="38167">
                  <c:v>-4.2016806722690002E-3</c:v>
                </c:pt>
                <c:pt idx="38168">
                  <c:v>-4.2016806722690002E-3</c:v>
                </c:pt>
                <c:pt idx="38169">
                  <c:v>-4.2016806722690002E-3</c:v>
                </c:pt>
                <c:pt idx="38170">
                  <c:v>-4.2016806722690002E-3</c:v>
                </c:pt>
                <c:pt idx="38171">
                  <c:v>-4.2016806722690002E-3</c:v>
                </c:pt>
                <c:pt idx="38172">
                  <c:v>-4.2016806722690002E-3</c:v>
                </c:pt>
                <c:pt idx="38173">
                  <c:v>-4.2016806722690002E-3</c:v>
                </c:pt>
                <c:pt idx="38174">
                  <c:v>-4.2016806722690002E-3</c:v>
                </c:pt>
                <c:pt idx="38175">
                  <c:v>-4.2016806722690002E-3</c:v>
                </c:pt>
                <c:pt idx="38176">
                  <c:v>-4.2016806722690002E-3</c:v>
                </c:pt>
                <c:pt idx="38177">
                  <c:v>-4.2016806722690002E-3</c:v>
                </c:pt>
                <c:pt idx="38178">
                  <c:v>-4.2016806722690002E-3</c:v>
                </c:pt>
                <c:pt idx="38179">
                  <c:v>-4.2016806722690002E-3</c:v>
                </c:pt>
                <c:pt idx="38180">
                  <c:v>-4.2016806722690002E-3</c:v>
                </c:pt>
                <c:pt idx="38181">
                  <c:v>-4.2016806722690002E-3</c:v>
                </c:pt>
                <c:pt idx="38182">
                  <c:v>-4.2016806722690002E-3</c:v>
                </c:pt>
                <c:pt idx="38183">
                  <c:v>-4.2016806722690002E-3</c:v>
                </c:pt>
                <c:pt idx="38184">
                  <c:v>-4.2016806722690002E-3</c:v>
                </c:pt>
                <c:pt idx="38185">
                  <c:v>-4.2016806722690002E-3</c:v>
                </c:pt>
                <c:pt idx="38186">
                  <c:v>-4.2016806722690002E-3</c:v>
                </c:pt>
                <c:pt idx="38187">
                  <c:v>-4.2016806722690002E-3</c:v>
                </c:pt>
                <c:pt idx="38188">
                  <c:v>-4.2016806722690002E-3</c:v>
                </c:pt>
                <c:pt idx="38189">
                  <c:v>-4.2016806722690002E-3</c:v>
                </c:pt>
                <c:pt idx="38190">
                  <c:v>-4.2016806722690002E-3</c:v>
                </c:pt>
                <c:pt idx="38191">
                  <c:v>-4.2016806722690002E-3</c:v>
                </c:pt>
                <c:pt idx="38192">
                  <c:v>-4.2016806722690002E-3</c:v>
                </c:pt>
                <c:pt idx="38193">
                  <c:v>-4.2016806722690002E-3</c:v>
                </c:pt>
                <c:pt idx="38194">
                  <c:v>-4.2016806722690002E-3</c:v>
                </c:pt>
                <c:pt idx="38195">
                  <c:v>-4.2016806722690002E-3</c:v>
                </c:pt>
                <c:pt idx="38196">
                  <c:v>-4.2016806722690002E-3</c:v>
                </c:pt>
                <c:pt idx="38197">
                  <c:v>-4.2016806722690002E-3</c:v>
                </c:pt>
                <c:pt idx="38198">
                  <c:v>-4.2016806722690002E-3</c:v>
                </c:pt>
                <c:pt idx="38199">
                  <c:v>-4.2016806722690002E-3</c:v>
                </c:pt>
                <c:pt idx="38200">
                  <c:v>-4.2016806722690002E-3</c:v>
                </c:pt>
                <c:pt idx="38201">
                  <c:v>-4.2016806722690002E-3</c:v>
                </c:pt>
                <c:pt idx="38202">
                  <c:v>-5.0420168067227796E-3</c:v>
                </c:pt>
                <c:pt idx="38203">
                  <c:v>-5.0420168067227796E-3</c:v>
                </c:pt>
                <c:pt idx="38204">
                  <c:v>-5.0420168067227796E-3</c:v>
                </c:pt>
                <c:pt idx="38205">
                  <c:v>-5.0420168067227796E-3</c:v>
                </c:pt>
                <c:pt idx="38206">
                  <c:v>-5.0420168067227796E-3</c:v>
                </c:pt>
                <c:pt idx="38207">
                  <c:v>-5.0420168067227796E-3</c:v>
                </c:pt>
                <c:pt idx="38208">
                  <c:v>-5.0420168067227796E-3</c:v>
                </c:pt>
                <c:pt idx="38209">
                  <c:v>-5.0420168067227796E-3</c:v>
                </c:pt>
                <c:pt idx="38210">
                  <c:v>-5.0420168067227796E-3</c:v>
                </c:pt>
                <c:pt idx="38211">
                  <c:v>-5.0420168067227796E-3</c:v>
                </c:pt>
                <c:pt idx="38212">
                  <c:v>-5.0420168067227796E-3</c:v>
                </c:pt>
                <c:pt idx="38213">
                  <c:v>-5.0420168067227796E-3</c:v>
                </c:pt>
                <c:pt idx="38214">
                  <c:v>-5.0420168067227796E-3</c:v>
                </c:pt>
                <c:pt idx="38215">
                  <c:v>-5.0420168067227796E-3</c:v>
                </c:pt>
                <c:pt idx="38216">
                  <c:v>-5.0420168067227796E-3</c:v>
                </c:pt>
                <c:pt idx="38217">
                  <c:v>-5.0420168067227796E-3</c:v>
                </c:pt>
                <c:pt idx="38218">
                  <c:v>-5.0420168067227796E-3</c:v>
                </c:pt>
                <c:pt idx="38219">
                  <c:v>-5.0420168067227796E-3</c:v>
                </c:pt>
                <c:pt idx="38220">
                  <c:v>-5.0420168067227796E-3</c:v>
                </c:pt>
                <c:pt idx="38221">
                  <c:v>-5.0420168067227796E-3</c:v>
                </c:pt>
                <c:pt idx="38222">
                  <c:v>-5.0420168067227796E-3</c:v>
                </c:pt>
                <c:pt idx="38223">
                  <c:v>-5.0420168067227796E-3</c:v>
                </c:pt>
                <c:pt idx="38224">
                  <c:v>-5.0420168067227796E-3</c:v>
                </c:pt>
                <c:pt idx="38225">
                  <c:v>-5.0420168067227796E-3</c:v>
                </c:pt>
                <c:pt idx="38226">
                  <c:v>-5.0420168067227796E-3</c:v>
                </c:pt>
                <c:pt idx="38227">
                  <c:v>-5.0420168067227796E-3</c:v>
                </c:pt>
                <c:pt idx="38228">
                  <c:v>-5.0420168067227796E-3</c:v>
                </c:pt>
                <c:pt idx="38229">
                  <c:v>-5.0420168067227796E-3</c:v>
                </c:pt>
                <c:pt idx="38230">
                  <c:v>-5.0420168067227796E-3</c:v>
                </c:pt>
                <c:pt idx="38231">
                  <c:v>-5.0420168067227796E-3</c:v>
                </c:pt>
                <c:pt idx="38232">
                  <c:v>-5.0420168067227796E-3</c:v>
                </c:pt>
                <c:pt idx="38233">
                  <c:v>-5.0420168067227796E-3</c:v>
                </c:pt>
                <c:pt idx="38234">
                  <c:v>-5.0420168067227796E-3</c:v>
                </c:pt>
                <c:pt idx="38235">
                  <c:v>-5.0420168067227796E-3</c:v>
                </c:pt>
                <c:pt idx="38236">
                  <c:v>-5.0420168067227796E-3</c:v>
                </c:pt>
                <c:pt idx="38237">
                  <c:v>-5.0420168067227796E-3</c:v>
                </c:pt>
                <c:pt idx="38238">
                  <c:v>-5.0420168067227796E-3</c:v>
                </c:pt>
                <c:pt idx="38239">
                  <c:v>-5.0420168067227796E-3</c:v>
                </c:pt>
                <c:pt idx="38240">
                  <c:v>-5.0420168067227796E-3</c:v>
                </c:pt>
                <c:pt idx="38241">
                  <c:v>-5.0420168067227796E-3</c:v>
                </c:pt>
                <c:pt idx="38242">
                  <c:v>-5.0420168067227796E-3</c:v>
                </c:pt>
                <c:pt idx="38243">
                  <c:v>-5.0420168067227796E-3</c:v>
                </c:pt>
                <c:pt idx="38244">
                  <c:v>-5.0420168067227796E-3</c:v>
                </c:pt>
                <c:pt idx="38245">
                  <c:v>-5.0420168067227796E-3</c:v>
                </c:pt>
                <c:pt idx="38246">
                  <c:v>-5.0420168067227796E-3</c:v>
                </c:pt>
                <c:pt idx="38247">
                  <c:v>-5.0420168067227796E-3</c:v>
                </c:pt>
                <c:pt idx="38248">
                  <c:v>-5.0420168067227796E-3</c:v>
                </c:pt>
                <c:pt idx="38249">
                  <c:v>-5.0420168067227796E-3</c:v>
                </c:pt>
                <c:pt idx="38250">
                  <c:v>-5.0420168067227796E-3</c:v>
                </c:pt>
                <c:pt idx="38251">
                  <c:v>-5.0420168067227796E-3</c:v>
                </c:pt>
                <c:pt idx="38252">
                  <c:v>-5.0420168067227796E-3</c:v>
                </c:pt>
                <c:pt idx="38253">
                  <c:v>-5.0420168067227796E-3</c:v>
                </c:pt>
                <c:pt idx="38254">
                  <c:v>-5.0420168067227796E-3</c:v>
                </c:pt>
                <c:pt idx="38255">
                  <c:v>-5.0420168067227796E-3</c:v>
                </c:pt>
                <c:pt idx="38256">
                  <c:v>-5.0420168067227796E-3</c:v>
                </c:pt>
                <c:pt idx="38257">
                  <c:v>-5.0420168067227796E-3</c:v>
                </c:pt>
                <c:pt idx="38258">
                  <c:v>-5.0420168067227796E-3</c:v>
                </c:pt>
                <c:pt idx="38259">
                  <c:v>-5.0420168067227796E-3</c:v>
                </c:pt>
                <c:pt idx="38260">
                  <c:v>-5.0420168067227796E-3</c:v>
                </c:pt>
                <c:pt idx="38261">
                  <c:v>-5.0420168067227796E-3</c:v>
                </c:pt>
                <c:pt idx="38262">
                  <c:v>-5.0420168067227796E-3</c:v>
                </c:pt>
                <c:pt idx="38263">
                  <c:v>-5.0420168067227796E-3</c:v>
                </c:pt>
                <c:pt idx="38264">
                  <c:v>-5.0420168067227796E-3</c:v>
                </c:pt>
                <c:pt idx="38265">
                  <c:v>-5.0420168067227796E-3</c:v>
                </c:pt>
                <c:pt idx="38266">
                  <c:v>-5.0420168067227796E-3</c:v>
                </c:pt>
                <c:pt idx="38267">
                  <c:v>-5.0420168067227796E-3</c:v>
                </c:pt>
                <c:pt idx="38268">
                  <c:v>-5.0420168067227796E-3</c:v>
                </c:pt>
                <c:pt idx="38269">
                  <c:v>-5.0420168067227796E-3</c:v>
                </c:pt>
                <c:pt idx="38270">
                  <c:v>-5.0420168067227796E-3</c:v>
                </c:pt>
                <c:pt idx="38271">
                  <c:v>-5.0420168067227796E-3</c:v>
                </c:pt>
                <c:pt idx="38272">
                  <c:v>-5.0420168067227796E-3</c:v>
                </c:pt>
                <c:pt idx="38273">
                  <c:v>-5.0420168067227796E-3</c:v>
                </c:pt>
                <c:pt idx="38274">
                  <c:v>-5.0420168067227796E-3</c:v>
                </c:pt>
                <c:pt idx="38275">
                  <c:v>-5.0420168067227796E-3</c:v>
                </c:pt>
                <c:pt idx="38276">
                  <c:v>-4.2016806722690002E-3</c:v>
                </c:pt>
                <c:pt idx="38277">
                  <c:v>-4.2016806722690002E-3</c:v>
                </c:pt>
                <c:pt idx="38278">
                  <c:v>-4.2016806722690002E-3</c:v>
                </c:pt>
                <c:pt idx="38279">
                  <c:v>-4.2016806722690002E-3</c:v>
                </c:pt>
                <c:pt idx="38280">
                  <c:v>-4.2016806722690002E-3</c:v>
                </c:pt>
                <c:pt idx="38281">
                  <c:v>-4.2016806722690002E-3</c:v>
                </c:pt>
                <c:pt idx="38282">
                  <c:v>-4.2016806722690002E-3</c:v>
                </c:pt>
                <c:pt idx="38283">
                  <c:v>-4.2016806722690002E-3</c:v>
                </c:pt>
                <c:pt idx="38284">
                  <c:v>-4.2016806722690002E-3</c:v>
                </c:pt>
                <c:pt idx="38285">
                  <c:v>-4.2016806722690002E-3</c:v>
                </c:pt>
                <c:pt idx="38286">
                  <c:v>-4.2016806722690002E-3</c:v>
                </c:pt>
                <c:pt idx="38287">
                  <c:v>-4.2016806722690002E-3</c:v>
                </c:pt>
                <c:pt idx="38288">
                  <c:v>-4.2016806722690002E-3</c:v>
                </c:pt>
                <c:pt idx="38289">
                  <c:v>-4.2016806722690002E-3</c:v>
                </c:pt>
                <c:pt idx="38290">
                  <c:v>-4.2016806722690002E-3</c:v>
                </c:pt>
                <c:pt idx="38291">
                  <c:v>-4.2016806722690002E-3</c:v>
                </c:pt>
                <c:pt idx="38292">
                  <c:v>-4.2016806722690002E-3</c:v>
                </c:pt>
                <c:pt idx="38293">
                  <c:v>-4.2016806722690002E-3</c:v>
                </c:pt>
                <c:pt idx="38294">
                  <c:v>-4.2016806722690002E-3</c:v>
                </c:pt>
                <c:pt idx="38295">
                  <c:v>-4.2016806722690002E-3</c:v>
                </c:pt>
                <c:pt idx="38296">
                  <c:v>-4.2016806722690002E-3</c:v>
                </c:pt>
                <c:pt idx="38297">
                  <c:v>-4.2016806722690002E-3</c:v>
                </c:pt>
                <c:pt idx="38298">
                  <c:v>-4.2016806722690002E-3</c:v>
                </c:pt>
                <c:pt idx="38299">
                  <c:v>-4.2016806722690002E-3</c:v>
                </c:pt>
                <c:pt idx="38300">
                  <c:v>-4.2016806722690002E-3</c:v>
                </c:pt>
                <c:pt idx="38301">
                  <c:v>-4.2016806722690002E-3</c:v>
                </c:pt>
                <c:pt idx="38302">
                  <c:v>-4.2016806722690002E-3</c:v>
                </c:pt>
                <c:pt idx="38303">
                  <c:v>-4.2016806722690002E-3</c:v>
                </c:pt>
                <c:pt idx="38304">
                  <c:v>-4.2016806722690002E-3</c:v>
                </c:pt>
                <c:pt idx="38305">
                  <c:v>-4.2016806722690002E-3</c:v>
                </c:pt>
                <c:pt idx="38306">
                  <c:v>-4.2016806722690002E-3</c:v>
                </c:pt>
                <c:pt idx="38307">
                  <c:v>-4.2016806722690002E-3</c:v>
                </c:pt>
                <c:pt idx="38308">
                  <c:v>-4.2016806722690002E-3</c:v>
                </c:pt>
                <c:pt idx="38309">
                  <c:v>-4.2016806722690002E-3</c:v>
                </c:pt>
                <c:pt idx="38310">
                  <c:v>-4.2016806722690002E-3</c:v>
                </c:pt>
                <c:pt idx="38311">
                  <c:v>-4.2016806722690002E-3</c:v>
                </c:pt>
                <c:pt idx="38312">
                  <c:v>-4.2016806722690002E-3</c:v>
                </c:pt>
                <c:pt idx="38313">
                  <c:v>-4.2016806722690002E-3</c:v>
                </c:pt>
                <c:pt idx="38314">
                  <c:v>-4.2016806722690002E-3</c:v>
                </c:pt>
                <c:pt idx="38315">
                  <c:v>-4.2016806722690002E-3</c:v>
                </c:pt>
                <c:pt idx="38316">
                  <c:v>-4.2016806722690002E-3</c:v>
                </c:pt>
                <c:pt idx="38317">
                  <c:v>-4.2016806722690002E-3</c:v>
                </c:pt>
                <c:pt idx="38318">
                  <c:v>-4.2016806722690002E-3</c:v>
                </c:pt>
                <c:pt idx="38319">
                  <c:v>-4.2016806722690002E-3</c:v>
                </c:pt>
                <c:pt idx="38320">
                  <c:v>-4.2016806722690002E-3</c:v>
                </c:pt>
                <c:pt idx="38321">
                  <c:v>-4.2016806722690002E-3</c:v>
                </c:pt>
                <c:pt idx="38322">
                  <c:v>-4.2016806722690002E-3</c:v>
                </c:pt>
                <c:pt idx="38323">
                  <c:v>-4.2016806722690002E-3</c:v>
                </c:pt>
                <c:pt idx="38324">
                  <c:v>-4.2016806722690002E-3</c:v>
                </c:pt>
                <c:pt idx="38325">
                  <c:v>-4.2016806722690002E-3</c:v>
                </c:pt>
                <c:pt idx="38326">
                  <c:v>-4.2016806722690002E-3</c:v>
                </c:pt>
                <c:pt idx="38327">
                  <c:v>-4.2016806722690002E-3</c:v>
                </c:pt>
                <c:pt idx="38328">
                  <c:v>-4.2016806722690002E-3</c:v>
                </c:pt>
                <c:pt idx="38329">
                  <c:v>-4.2016806722690002E-3</c:v>
                </c:pt>
                <c:pt idx="38330">
                  <c:v>-4.2016806722690002E-3</c:v>
                </c:pt>
                <c:pt idx="38331">
                  <c:v>-4.2016806722690002E-3</c:v>
                </c:pt>
                <c:pt idx="38332">
                  <c:v>-4.2016806722690002E-3</c:v>
                </c:pt>
                <c:pt idx="38333">
                  <c:v>-4.2016806722690002E-3</c:v>
                </c:pt>
                <c:pt idx="38334">
                  <c:v>-4.2016806722690002E-3</c:v>
                </c:pt>
                <c:pt idx="38335">
                  <c:v>-4.2016806722690002E-3</c:v>
                </c:pt>
                <c:pt idx="38336">
                  <c:v>-4.2016806722690002E-3</c:v>
                </c:pt>
                <c:pt idx="38337">
                  <c:v>-4.2016806722690002E-3</c:v>
                </c:pt>
                <c:pt idx="38338">
                  <c:v>-4.2016806722690002E-3</c:v>
                </c:pt>
                <c:pt idx="38339">
                  <c:v>-4.2016806722690002E-3</c:v>
                </c:pt>
                <c:pt idx="38340">
                  <c:v>-4.2016806722690002E-3</c:v>
                </c:pt>
                <c:pt idx="38341">
                  <c:v>-4.2016806722690002E-3</c:v>
                </c:pt>
                <c:pt idx="38342">
                  <c:v>-4.2016806722690002E-3</c:v>
                </c:pt>
                <c:pt idx="38343">
                  <c:v>-4.2016806722690002E-3</c:v>
                </c:pt>
                <c:pt idx="38344">
                  <c:v>-4.2016806722690002E-3</c:v>
                </c:pt>
                <c:pt idx="38345">
                  <c:v>-4.2016806722690002E-3</c:v>
                </c:pt>
                <c:pt idx="38346">
                  <c:v>-4.2016806722690002E-3</c:v>
                </c:pt>
                <c:pt idx="38347">
                  <c:v>-4.2016806722690002E-3</c:v>
                </c:pt>
                <c:pt idx="38348">
                  <c:v>-4.2016806722690002E-3</c:v>
                </c:pt>
                <c:pt idx="38349">
                  <c:v>-4.2016806722690002E-3</c:v>
                </c:pt>
                <c:pt idx="38350">
                  <c:v>-4.2016806722690002E-3</c:v>
                </c:pt>
                <c:pt idx="38351">
                  <c:v>-4.2016806722690002E-3</c:v>
                </c:pt>
                <c:pt idx="38352">
                  <c:v>-4.2016806722690002E-3</c:v>
                </c:pt>
                <c:pt idx="38353">
                  <c:v>-4.2016806722690002E-3</c:v>
                </c:pt>
                <c:pt idx="38354">
                  <c:v>-4.2016806722690002E-3</c:v>
                </c:pt>
                <c:pt idx="38355">
                  <c:v>-4.2016806722690002E-3</c:v>
                </c:pt>
                <c:pt idx="38356">
                  <c:v>-4.2016806722690002E-3</c:v>
                </c:pt>
                <c:pt idx="38357">
                  <c:v>-4.2016806722690002E-3</c:v>
                </c:pt>
                <c:pt idx="38358">
                  <c:v>-4.2016806722690002E-3</c:v>
                </c:pt>
                <c:pt idx="38359">
                  <c:v>-4.2016806722690002E-3</c:v>
                </c:pt>
                <c:pt idx="38360">
                  <c:v>-4.2016806722690002E-3</c:v>
                </c:pt>
                <c:pt idx="38361">
                  <c:v>-4.2016806722690002E-3</c:v>
                </c:pt>
                <c:pt idx="38362">
                  <c:v>-4.2016806722690002E-3</c:v>
                </c:pt>
                <c:pt idx="38363">
                  <c:v>-4.2016806722690002E-3</c:v>
                </c:pt>
                <c:pt idx="38364">
                  <c:v>-4.2016806722690002E-3</c:v>
                </c:pt>
                <c:pt idx="38365">
                  <c:v>-4.2016806722690002E-3</c:v>
                </c:pt>
                <c:pt idx="38366">
                  <c:v>-4.2016806722690002E-3</c:v>
                </c:pt>
                <c:pt idx="38367">
                  <c:v>-4.2016806722690002E-3</c:v>
                </c:pt>
                <c:pt idx="38368">
                  <c:v>-4.2016806722690002E-3</c:v>
                </c:pt>
                <c:pt idx="38369">
                  <c:v>-4.2016806722690002E-3</c:v>
                </c:pt>
                <c:pt idx="38370">
                  <c:v>-4.2016806722690002E-3</c:v>
                </c:pt>
                <c:pt idx="38371">
                  <c:v>-4.2016806722690002E-3</c:v>
                </c:pt>
                <c:pt idx="38372">
                  <c:v>-4.2016806722690002E-3</c:v>
                </c:pt>
                <c:pt idx="38373">
                  <c:v>-4.2016806722690002E-3</c:v>
                </c:pt>
                <c:pt idx="38374">
                  <c:v>-4.2016806722690002E-3</c:v>
                </c:pt>
                <c:pt idx="38375">
                  <c:v>-4.2016806722690002E-3</c:v>
                </c:pt>
                <c:pt idx="38376">
                  <c:v>-4.2016806722690002E-3</c:v>
                </c:pt>
                <c:pt idx="38377">
                  <c:v>-4.2016806722690002E-3</c:v>
                </c:pt>
                <c:pt idx="38378">
                  <c:v>-4.2016806722690002E-3</c:v>
                </c:pt>
                <c:pt idx="38379">
                  <c:v>-4.2016806722690002E-3</c:v>
                </c:pt>
                <c:pt idx="38380">
                  <c:v>-4.2016806722690002E-3</c:v>
                </c:pt>
                <c:pt idx="38381">
                  <c:v>-4.2016806722690002E-3</c:v>
                </c:pt>
                <c:pt idx="38382">
                  <c:v>-4.2016806722690002E-3</c:v>
                </c:pt>
                <c:pt idx="38383">
                  <c:v>-4.2016806722690002E-3</c:v>
                </c:pt>
                <c:pt idx="38384">
                  <c:v>-4.2016806722690002E-3</c:v>
                </c:pt>
                <c:pt idx="38385">
                  <c:v>-4.2016806722690002E-3</c:v>
                </c:pt>
                <c:pt idx="38386">
                  <c:v>-4.2016806722690002E-3</c:v>
                </c:pt>
                <c:pt idx="38387">
                  <c:v>-4.2016806722690002E-3</c:v>
                </c:pt>
                <c:pt idx="38388">
                  <c:v>-4.2016806722690002E-3</c:v>
                </c:pt>
                <c:pt idx="38389">
                  <c:v>-4.2016806722690002E-3</c:v>
                </c:pt>
                <c:pt idx="38390">
                  <c:v>-4.2016806722690002E-3</c:v>
                </c:pt>
                <c:pt idx="38391">
                  <c:v>-4.2016806722690002E-3</c:v>
                </c:pt>
                <c:pt idx="38392">
                  <c:v>-4.2016806722690002E-3</c:v>
                </c:pt>
                <c:pt idx="38393">
                  <c:v>-4.2016806722690002E-3</c:v>
                </c:pt>
                <c:pt idx="38394">
                  <c:v>-4.2016806722690002E-3</c:v>
                </c:pt>
                <c:pt idx="38395">
                  <c:v>-4.2016806722690002E-3</c:v>
                </c:pt>
                <c:pt idx="38396">
                  <c:v>-4.2016806722690002E-3</c:v>
                </c:pt>
                <c:pt idx="38397">
                  <c:v>-4.2016806722690002E-3</c:v>
                </c:pt>
                <c:pt idx="38398">
                  <c:v>-4.2016806722690002E-3</c:v>
                </c:pt>
                <c:pt idx="38399">
                  <c:v>-4.2016806722690002E-3</c:v>
                </c:pt>
                <c:pt idx="38400">
                  <c:v>-4.2016806722690002E-3</c:v>
                </c:pt>
                <c:pt idx="38401">
                  <c:v>-4.2016806722690002E-3</c:v>
                </c:pt>
                <c:pt idx="38402">
                  <c:v>-4.2016806722690002E-3</c:v>
                </c:pt>
                <c:pt idx="38403">
                  <c:v>-4.2016806722690002E-3</c:v>
                </c:pt>
                <c:pt idx="38404">
                  <c:v>-4.2016806722690002E-3</c:v>
                </c:pt>
                <c:pt idx="38405">
                  <c:v>-4.2016806722690002E-3</c:v>
                </c:pt>
                <c:pt idx="38406">
                  <c:v>-4.2016806722690002E-3</c:v>
                </c:pt>
                <c:pt idx="38407">
                  <c:v>-4.2016806722690002E-3</c:v>
                </c:pt>
                <c:pt idx="38408">
                  <c:v>-4.2016806722690002E-3</c:v>
                </c:pt>
                <c:pt idx="38409">
                  <c:v>-4.2016806722690002E-3</c:v>
                </c:pt>
                <c:pt idx="38410">
                  <c:v>-4.2016806722690002E-3</c:v>
                </c:pt>
                <c:pt idx="38411">
                  <c:v>-4.2016806722690002E-3</c:v>
                </c:pt>
                <c:pt idx="38412">
                  <c:v>-4.2016806722690002E-3</c:v>
                </c:pt>
                <c:pt idx="38413">
                  <c:v>-4.2016806722690002E-3</c:v>
                </c:pt>
                <c:pt idx="38414">
                  <c:v>-4.2016806722690002E-3</c:v>
                </c:pt>
                <c:pt idx="38415">
                  <c:v>-4.2016806722690002E-3</c:v>
                </c:pt>
                <c:pt idx="38416">
                  <c:v>-4.2016806722690002E-3</c:v>
                </c:pt>
                <c:pt idx="38417">
                  <c:v>-4.2016806722690002E-3</c:v>
                </c:pt>
                <c:pt idx="38418">
                  <c:v>-4.2016806722690002E-3</c:v>
                </c:pt>
                <c:pt idx="38419">
                  <c:v>-4.2016806722690002E-3</c:v>
                </c:pt>
                <c:pt idx="38420">
                  <c:v>-4.2016806722690002E-3</c:v>
                </c:pt>
                <c:pt idx="38421">
                  <c:v>-4.2016806722690002E-3</c:v>
                </c:pt>
                <c:pt idx="38422">
                  <c:v>-4.2016806722690002E-3</c:v>
                </c:pt>
                <c:pt idx="38423">
                  <c:v>-4.2016806722690002E-3</c:v>
                </c:pt>
                <c:pt idx="38424">
                  <c:v>-4.2016806722690002E-3</c:v>
                </c:pt>
                <c:pt idx="38425">
                  <c:v>-4.2016806722690002E-3</c:v>
                </c:pt>
                <c:pt idx="38426">
                  <c:v>-4.2016806722690002E-3</c:v>
                </c:pt>
                <c:pt idx="38427">
                  <c:v>-4.2016806722690002E-3</c:v>
                </c:pt>
                <c:pt idx="38428">
                  <c:v>-4.2016806722690002E-3</c:v>
                </c:pt>
                <c:pt idx="38429">
                  <c:v>-4.2016806722690002E-3</c:v>
                </c:pt>
                <c:pt idx="38430">
                  <c:v>-4.2016806722690002E-3</c:v>
                </c:pt>
                <c:pt idx="38431">
                  <c:v>-4.2016806722690002E-3</c:v>
                </c:pt>
                <c:pt idx="38432">
                  <c:v>-4.2016806722690002E-3</c:v>
                </c:pt>
                <c:pt idx="38433">
                  <c:v>-4.2016806722690002E-3</c:v>
                </c:pt>
                <c:pt idx="38434">
                  <c:v>-4.2016806722690002E-3</c:v>
                </c:pt>
                <c:pt idx="38435">
                  <c:v>-4.2016806722690002E-3</c:v>
                </c:pt>
                <c:pt idx="38436">
                  <c:v>-4.2016806722690002E-3</c:v>
                </c:pt>
                <c:pt idx="38437">
                  <c:v>-4.2016806722690002E-3</c:v>
                </c:pt>
                <c:pt idx="38438">
                  <c:v>-4.2016806722690002E-3</c:v>
                </c:pt>
                <c:pt idx="38439">
                  <c:v>-4.2016806722690002E-3</c:v>
                </c:pt>
                <c:pt idx="38440">
                  <c:v>-4.2016806722690002E-3</c:v>
                </c:pt>
                <c:pt idx="38441">
                  <c:v>-4.2016806722690002E-3</c:v>
                </c:pt>
                <c:pt idx="38442">
                  <c:v>-4.2016806722690002E-3</c:v>
                </c:pt>
                <c:pt idx="38443">
                  <c:v>-4.2016806722690002E-3</c:v>
                </c:pt>
                <c:pt idx="38444">
                  <c:v>-4.2016806722690002E-3</c:v>
                </c:pt>
                <c:pt idx="38445">
                  <c:v>-4.2016806722690002E-3</c:v>
                </c:pt>
                <c:pt idx="38446">
                  <c:v>-4.2016806722690002E-3</c:v>
                </c:pt>
                <c:pt idx="38447">
                  <c:v>-4.2016806722690002E-3</c:v>
                </c:pt>
                <c:pt idx="38448">
                  <c:v>-4.2016806722690002E-3</c:v>
                </c:pt>
                <c:pt idx="38449">
                  <c:v>-4.2016806722690002E-3</c:v>
                </c:pt>
                <c:pt idx="38450">
                  <c:v>-4.2016806722690002E-3</c:v>
                </c:pt>
                <c:pt idx="38451">
                  <c:v>-4.2016806722690002E-3</c:v>
                </c:pt>
                <c:pt idx="38452">
                  <c:v>-4.2016806722690002E-3</c:v>
                </c:pt>
                <c:pt idx="38453">
                  <c:v>-4.2016806722690002E-3</c:v>
                </c:pt>
                <c:pt idx="38454">
                  <c:v>-4.2016806722690002E-3</c:v>
                </c:pt>
                <c:pt idx="38455">
                  <c:v>-4.2016806722690002E-3</c:v>
                </c:pt>
                <c:pt idx="38456">
                  <c:v>-4.2016806722690002E-3</c:v>
                </c:pt>
                <c:pt idx="38457">
                  <c:v>-4.2016806722690002E-3</c:v>
                </c:pt>
                <c:pt idx="38458">
                  <c:v>-4.2016806722690002E-3</c:v>
                </c:pt>
                <c:pt idx="38459">
                  <c:v>-4.2016806722690002E-3</c:v>
                </c:pt>
                <c:pt idx="38460">
                  <c:v>-4.2016806722690002E-3</c:v>
                </c:pt>
                <c:pt idx="38461">
                  <c:v>-4.2016806722690002E-3</c:v>
                </c:pt>
                <c:pt idx="38462">
                  <c:v>-4.2016806722690002E-3</c:v>
                </c:pt>
                <c:pt idx="38463">
                  <c:v>-4.2016806722690002E-3</c:v>
                </c:pt>
                <c:pt idx="38464">
                  <c:v>-4.2016806722690002E-3</c:v>
                </c:pt>
                <c:pt idx="38465">
                  <c:v>-4.2016806722690002E-3</c:v>
                </c:pt>
                <c:pt idx="38466">
                  <c:v>-4.2016806722690002E-3</c:v>
                </c:pt>
                <c:pt idx="38467">
                  <c:v>-4.2016806722690002E-3</c:v>
                </c:pt>
                <c:pt idx="38468">
                  <c:v>-4.2016806722690002E-3</c:v>
                </c:pt>
                <c:pt idx="38469">
                  <c:v>-4.2016806722690002E-3</c:v>
                </c:pt>
                <c:pt idx="38470">
                  <c:v>-4.2016806722690002E-3</c:v>
                </c:pt>
                <c:pt idx="38471">
                  <c:v>-4.2016806722690002E-3</c:v>
                </c:pt>
                <c:pt idx="38472">
                  <c:v>-4.2016806722690002E-3</c:v>
                </c:pt>
                <c:pt idx="38473">
                  <c:v>-4.2016806722690002E-3</c:v>
                </c:pt>
                <c:pt idx="38474">
                  <c:v>-4.2016806722690002E-3</c:v>
                </c:pt>
                <c:pt idx="38475">
                  <c:v>-4.2016806722690002E-3</c:v>
                </c:pt>
                <c:pt idx="38476">
                  <c:v>-4.2016806722690002E-3</c:v>
                </c:pt>
                <c:pt idx="38477">
                  <c:v>-4.2016806722690002E-3</c:v>
                </c:pt>
                <c:pt idx="38478">
                  <c:v>-4.2016806722690002E-3</c:v>
                </c:pt>
                <c:pt idx="38479">
                  <c:v>-4.2016806722690002E-3</c:v>
                </c:pt>
                <c:pt idx="38480">
                  <c:v>-4.2016806722690002E-3</c:v>
                </c:pt>
                <c:pt idx="38481">
                  <c:v>-4.2016806722690002E-3</c:v>
                </c:pt>
                <c:pt idx="38482">
                  <c:v>-4.2016806722690002E-3</c:v>
                </c:pt>
                <c:pt idx="38483">
                  <c:v>-4.2016806722690002E-3</c:v>
                </c:pt>
                <c:pt idx="38484">
                  <c:v>-4.2016806722690002E-3</c:v>
                </c:pt>
                <c:pt idx="38485">
                  <c:v>-4.2016806722690002E-3</c:v>
                </c:pt>
                <c:pt idx="38486">
                  <c:v>-4.2016806722690002E-3</c:v>
                </c:pt>
                <c:pt idx="38487">
                  <c:v>-4.2016806722690002E-3</c:v>
                </c:pt>
                <c:pt idx="38488">
                  <c:v>-4.2016806722690002E-3</c:v>
                </c:pt>
                <c:pt idx="38489">
                  <c:v>-4.2016806722690002E-3</c:v>
                </c:pt>
                <c:pt idx="38490">
                  <c:v>-4.2016806722690002E-3</c:v>
                </c:pt>
                <c:pt idx="38491">
                  <c:v>-4.2016806722690002E-3</c:v>
                </c:pt>
                <c:pt idx="38492">
                  <c:v>-4.2016806722690002E-3</c:v>
                </c:pt>
                <c:pt idx="38493">
                  <c:v>-4.2016806722690002E-3</c:v>
                </c:pt>
                <c:pt idx="38494">
                  <c:v>-4.2016806722690002E-3</c:v>
                </c:pt>
                <c:pt idx="38495">
                  <c:v>-4.2016806722690002E-3</c:v>
                </c:pt>
                <c:pt idx="38496">
                  <c:v>-4.2016806722690002E-3</c:v>
                </c:pt>
                <c:pt idx="38497">
                  <c:v>-4.2016806722690002E-3</c:v>
                </c:pt>
                <c:pt idx="38498">
                  <c:v>-4.2016806722690002E-3</c:v>
                </c:pt>
                <c:pt idx="38499">
                  <c:v>-4.2016806722690002E-3</c:v>
                </c:pt>
                <c:pt idx="38500">
                  <c:v>-4.2016806722690002E-3</c:v>
                </c:pt>
                <c:pt idx="38501">
                  <c:v>-4.2016806722690002E-3</c:v>
                </c:pt>
                <c:pt idx="38502">
                  <c:v>-4.2016806722690002E-3</c:v>
                </c:pt>
                <c:pt idx="38503">
                  <c:v>-4.2016806722690002E-3</c:v>
                </c:pt>
                <c:pt idx="38504">
                  <c:v>-4.2016806722690002E-3</c:v>
                </c:pt>
                <c:pt idx="38505">
                  <c:v>-4.2016806722690002E-3</c:v>
                </c:pt>
                <c:pt idx="38506">
                  <c:v>-4.2016806722690002E-3</c:v>
                </c:pt>
                <c:pt idx="38507">
                  <c:v>-4.2016806722690002E-3</c:v>
                </c:pt>
                <c:pt idx="38508">
                  <c:v>-4.2016806722690002E-3</c:v>
                </c:pt>
                <c:pt idx="38509">
                  <c:v>-4.2016806722690002E-3</c:v>
                </c:pt>
                <c:pt idx="38510">
                  <c:v>-4.2016806722690002E-3</c:v>
                </c:pt>
                <c:pt idx="38511">
                  <c:v>-4.2016806722690002E-3</c:v>
                </c:pt>
                <c:pt idx="38512">
                  <c:v>-4.2016806722690002E-3</c:v>
                </c:pt>
                <c:pt idx="38513">
                  <c:v>-4.2016806722690002E-3</c:v>
                </c:pt>
                <c:pt idx="38514">
                  <c:v>-4.2016806722690002E-3</c:v>
                </c:pt>
                <c:pt idx="38515">
                  <c:v>-4.2016806722690002E-3</c:v>
                </c:pt>
                <c:pt idx="38516">
                  <c:v>-4.2016806722690002E-3</c:v>
                </c:pt>
                <c:pt idx="38517">
                  <c:v>-4.2016806722690002E-3</c:v>
                </c:pt>
                <c:pt idx="38518">
                  <c:v>-4.2016806722690002E-3</c:v>
                </c:pt>
                <c:pt idx="38519">
                  <c:v>-4.2016806722690002E-3</c:v>
                </c:pt>
                <c:pt idx="38520">
                  <c:v>-4.2016806722690002E-3</c:v>
                </c:pt>
                <c:pt idx="38521">
                  <c:v>-4.2016806722690002E-3</c:v>
                </c:pt>
                <c:pt idx="38522">
                  <c:v>-4.2016806722690002E-3</c:v>
                </c:pt>
                <c:pt idx="38523">
                  <c:v>-4.2016806722690002E-3</c:v>
                </c:pt>
                <c:pt idx="38524">
                  <c:v>-4.2016806722690002E-3</c:v>
                </c:pt>
                <c:pt idx="38525">
                  <c:v>-4.2016806722690002E-3</c:v>
                </c:pt>
                <c:pt idx="38526">
                  <c:v>-4.2016806722690002E-3</c:v>
                </c:pt>
                <c:pt idx="38527">
                  <c:v>-4.2016806722690002E-3</c:v>
                </c:pt>
                <c:pt idx="38528">
                  <c:v>-4.2016806722690002E-3</c:v>
                </c:pt>
                <c:pt idx="38529">
                  <c:v>-4.2016806722690002E-3</c:v>
                </c:pt>
                <c:pt idx="38530">
                  <c:v>-4.2016806722690002E-3</c:v>
                </c:pt>
                <c:pt idx="38531">
                  <c:v>-4.2016806722690002E-3</c:v>
                </c:pt>
                <c:pt idx="38532">
                  <c:v>-4.2016806722690002E-3</c:v>
                </c:pt>
                <c:pt idx="38533">
                  <c:v>-4.2016806722690002E-3</c:v>
                </c:pt>
                <c:pt idx="38534">
                  <c:v>-4.2016806722690002E-3</c:v>
                </c:pt>
                <c:pt idx="38535">
                  <c:v>-4.2016806722690002E-3</c:v>
                </c:pt>
                <c:pt idx="38536">
                  <c:v>-4.2016806722690002E-3</c:v>
                </c:pt>
                <c:pt idx="38537">
                  <c:v>-4.2016806722690002E-3</c:v>
                </c:pt>
                <c:pt idx="38538">
                  <c:v>-4.2016806722690002E-3</c:v>
                </c:pt>
                <c:pt idx="38539">
                  <c:v>-4.2016806722690002E-3</c:v>
                </c:pt>
                <c:pt idx="38540">
                  <c:v>-4.2016806722690002E-3</c:v>
                </c:pt>
                <c:pt idx="38541">
                  <c:v>-4.2016806722690002E-3</c:v>
                </c:pt>
                <c:pt idx="38542">
                  <c:v>-4.2016806722690002E-3</c:v>
                </c:pt>
                <c:pt idx="38543">
                  <c:v>-4.2016806722690002E-3</c:v>
                </c:pt>
                <c:pt idx="38544">
                  <c:v>-4.2016806722690002E-3</c:v>
                </c:pt>
                <c:pt idx="38545">
                  <c:v>-4.2016806722690002E-3</c:v>
                </c:pt>
                <c:pt idx="38546">
                  <c:v>-4.2016806722690002E-3</c:v>
                </c:pt>
                <c:pt idx="38547">
                  <c:v>-4.2016806722690002E-3</c:v>
                </c:pt>
                <c:pt idx="38548">
                  <c:v>-4.2016806722690002E-3</c:v>
                </c:pt>
                <c:pt idx="38549">
                  <c:v>-4.2016806722690002E-3</c:v>
                </c:pt>
                <c:pt idx="38550">
                  <c:v>-4.2016806722690002E-3</c:v>
                </c:pt>
                <c:pt idx="38551">
                  <c:v>-4.2016806722690002E-3</c:v>
                </c:pt>
                <c:pt idx="38552">
                  <c:v>-4.2016806722690002E-3</c:v>
                </c:pt>
                <c:pt idx="38553">
                  <c:v>-4.2016806722690002E-3</c:v>
                </c:pt>
                <c:pt idx="38554">
                  <c:v>-4.2016806722690002E-3</c:v>
                </c:pt>
                <c:pt idx="38555">
                  <c:v>-4.2016806722690002E-3</c:v>
                </c:pt>
                <c:pt idx="38556">
                  <c:v>-4.2016806722690002E-3</c:v>
                </c:pt>
                <c:pt idx="38557">
                  <c:v>-4.2016806722690002E-3</c:v>
                </c:pt>
                <c:pt idx="38558">
                  <c:v>-4.2016806722690002E-3</c:v>
                </c:pt>
                <c:pt idx="38559">
                  <c:v>-4.2016806722690002E-3</c:v>
                </c:pt>
                <c:pt idx="38560">
                  <c:v>-4.2016806722690002E-3</c:v>
                </c:pt>
                <c:pt idx="38561">
                  <c:v>-4.2016806722690002E-3</c:v>
                </c:pt>
                <c:pt idx="38562">
                  <c:v>-4.2016806722690002E-3</c:v>
                </c:pt>
                <c:pt idx="38563">
                  <c:v>-4.2016806722690002E-3</c:v>
                </c:pt>
                <c:pt idx="38564">
                  <c:v>-4.2016806722690002E-3</c:v>
                </c:pt>
                <c:pt idx="38565">
                  <c:v>-4.2016806722690002E-3</c:v>
                </c:pt>
                <c:pt idx="38566">
                  <c:v>-4.2016806722690002E-3</c:v>
                </c:pt>
                <c:pt idx="38567">
                  <c:v>-4.2016806722690002E-3</c:v>
                </c:pt>
                <c:pt idx="38568">
                  <c:v>-4.2016806722690002E-3</c:v>
                </c:pt>
                <c:pt idx="38569">
                  <c:v>-4.2016806722690002E-3</c:v>
                </c:pt>
                <c:pt idx="38570">
                  <c:v>-4.2016806722690002E-3</c:v>
                </c:pt>
                <c:pt idx="38571">
                  <c:v>-5.0420168067227796E-3</c:v>
                </c:pt>
                <c:pt idx="38572">
                  <c:v>-5.0420168067227796E-3</c:v>
                </c:pt>
                <c:pt idx="38573">
                  <c:v>-5.0420168067227796E-3</c:v>
                </c:pt>
                <c:pt idx="38574">
                  <c:v>-5.0420168067227796E-3</c:v>
                </c:pt>
                <c:pt idx="38575">
                  <c:v>-5.0420168067227796E-3</c:v>
                </c:pt>
                <c:pt idx="38576">
                  <c:v>-5.0420168067227796E-3</c:v>
                </c:pt>
                <c:pt idx="38577">
                  <c:v>-5.0420168067227796E-3</c:v>
                </c:pt>
                <c:pt idx="38578">
                  <c:v>-5.0420168067227796E-3</c:v>
                </c:pt>
                <c:pt idx="38579">
                  <c:v>-5.8823529411765598E-3</c:v>
                </c:pt>
                <c:pt idx="38580">
                  <c:v>-5.8823529411765598E-3</c:v>
                </c:pt>
                <c:pt idx="38581">
                  <c:v>-5.8823529411765598E-3</c:v>
                </c:pt>
                <c:pt idx="38582">
                  <c:v>-5.0420168067226703E-3</c:v>
                </c:pt>
                <c:pt idx="38583">
                  <c:v>-5.0420168067226703E-3</c:v>
                </c:pt>
                <c:pt idx="38584">
                  <c:v>-5.0420168067226703E-3</c:v>
                </c:pt>
                <c:pt idx="38585">
                  <c:v>-5.0420168067226703E-3</c:v>
                </c:pt>
                <c:pt idx="38586">
                  <c:v>-5.0420168067226703E-3</c:v>
                </c:pt>
                <c:pt idx="38587">
                  <c:v>-5.0420168067226703E-3</c:v>
                </c:pt>
                <c:pt idx="38588">
                  <c:v>-5.0420168067226703E-3</c:v>
                </c:pt>
                <c:pt idx="38589">
                  <c:v>-5.0420168067226703E-3</c:v>
                </c:pt>
                <c:pt idx="38590">
                  <c:v>-5.0420168067226703E-3</c:v>
                </c:pt>
                <c:pt idx="38591">
                  <c:v>-5.0420168067226703E-3</c:v>
                </c:pt>
                <c:pt idx="38592">
                  <c:v>-5.0420168067226703E-3</c:v>
                </c:pt>
                <c:pt idx="38593">
                  <c:v>-5.0420168067226703E-3</c:v>
                </c:pt>
                <c:pt idx="38594">
                  <c:v>-5.0420168067226703E-3</c:v>
                </c:pt>
                <c:pt idx="38595">
                  <c:v>-5.0420168067226703E-3</c:v>
                </c:pt>
                <c:pt idx="38596">
                  <c:v>-5.0420168067226703E-3</c:v>
                </c:pt>
                <c:pt idx="38597">
                  <c:v>-5.0420168067226703E-3</c:v>
                </c:pt>
                <c:pt idx="38598">
                  <c:v>-5.0420168067226703E-3</c:v>
                </c:pt>
                <c:pt idx="38599">
                  <c:v>-5.0420168067226703E-3</c:v>
                </c:pt>
                <c:pt idx="38600">
                  <c:v>-5.0420168067226703E-3</c:v>
                </c:pt>
                <c:pt idx="38601">
                  <c:v>-5.0420168067226703E-3</c:v>
                </c:pt>
                <c:pt idx="38602">
                  <c:v>-5.0420168067226703E-3</c:v>
                </c:pt>
                <c:pt idx="38603">
                  <c:v>-5.0420168067226703E-3</c:v>
                </c:pt>
                <c:pt idx="38604">
                  <c:v>-4.20168067226889E-3</c:v>
                </c:pt>
                <c:pt idx="38605">
                  <c:v>-4.20168067226889E-3</c:v>
                </c:pt>
                <c:pt idx="38606">
                  <c:v>-4.20168067226889E-3</c:v>
                </c:pt>
                <c:pt idx="38607">
                  <c:v>-4.20168067226889E-3</c:v>
                </c:pt>
                <c:pt idx="38608">
                  <c:v>-4.20168067226889E-3</c:v>
                </c:pt>
                <c:pt idx="38609">
                  <c:v>-4.20168067226889E-3</c:v>
                </c:pt>
                <c:pt idx="38610">
                  <c:v>-4.20168067226889E-3</c:v>
                </c:pt>
                <c:pt idx="38611">
                  <c:v>-4.20168067226889E-3</c:v>
                </c:pt>
                <c:pt idx="38612">
                  <c:v>-4.20168067226889E-3</c:v>
                </c:pt>
                <c:pt idx="38613">
                  <c:v>-4.20168067226889E-3</c:v>
                </c:pt>
                <c:pt idx="38614">
                  <c:v>-4.20168067226889E-3</c:v>
                </c:pt>
                <c:pt idx="38615">
                  <c:v>-3.3613445378151102E-3</c:v>
                </c:pt>
                <c:pt idx="38616">
                  <c:v>-3.3613445378151102E-3</c:v>
                </c:pt>
                <c:pt idx="38617">
                  <c:v>-3.3613445378151102E-3</c:v>
                </c:pt>
                <c:pt idx="38618">
                  <c:v>-3.3613445378151102E-3</c:v>
                </c:pt>
                <c:pt idx="38619">
                  <c:v>-3.3613445378151102E-3</c:v>
                </c:pt>
                <c:pt idx="38620">
                  <c:v>-3.3613445378151102E-3</c:v>
                </c:pt>
                <c:pt idx="38621">
                  <c:v>-3.3613445378151102E-3</c:v>
                </c:pt>
                <c:pt idx="38622">
                  <c:v>-3.3613445378151102E-3</c:v>
                </c:pt>
                <c:pt idx="38623">
                  <c:v>-3.3613445378151102E-3</c:v>
                </c:pt>
                <c:pt idx="38624">
                  <c:v>-3.3613445378151102E-3</c:v>
                </c:pt>
                <c:pt idx="38625">
                  <c:v>-3.3613445378151102E-3</c:v>
                </c:pt>
                <c:pt idx="38626">
                  <c:v>-3.3613445378151102E-3</c:v>
                </c:pt>
                <c:pt idx="38627">
                  <c:v>-3.3613445378151102E-3</c:v>
                </c:pt>
                <c:pt idx="38628">
                  <c:v>-3.3613445378151102E-3</c:v>
                </c:pt>
                <c:pt idx="38629">
                  <c:v>-3.3613445378151102E-3</c:v>
                </c:pt>
                <c:pt idx="38630">
                  <c:v>-3.3613445378151102E-3</c:v>
                </c:pt>
                <c:pt idx="38631">
                  <c:v>-3.3613445378151102E-3</c:v>
                </c:pt>
                <c:pt idx="38632">
                  <c:v>-3.3613445378151102E-3</c:v>
                </c:pt>
                <c:pt idx="38633">
                  <c:v>-3.3613445378151102E-3</c:v>
                </c:pt>
                <c:pt idx="38634">
                  <c:v>-3.3613445378151102E-3</c:v>
                </c:pt>
                <c:pt idx="38635">
                  <c:v>-3.3613445378151102E-3</c:v>
                </c:pt>
                <c:pt idx="38636">
                  <c:v>-3.3613445378151102E-3</c:v>
                </c:pt>
                <c:pt idx="38637">
                  <c:v>-4.20168067226889E-3</c:v>
                </c:pt>
                <c:pt idx="38638">
                  <c:v>-4.20168067226889E-3</c:v>
                </c:pt>
                <c:pt idx="38639">
                  <c:v>-4.20168067226889E-3</c:v>
                </c:pt>
                <c:pt idx="38640">
                  <c:v>-4.20168067226889E-3</c:v>
                </c:pt>
                <c:pt idx="38641">
                  <c:v>-4.20168067226889E-3</c:v>
                </c:pt>
                <c:pt idx="38642">
                  <c:v>-4.20168067226889E-3</c:v>
                </c:pt>
                <c:pt idx="38643">
                  <c:v>-4.20168067226889E-3</c:v>
                </c:pt>
                <c:pt idx="38644">
                  <c:v>-4.20168067226889E-3</c:v>
                </c:pt>
                <c:pt idx="38645">
                  <c:v>-4.20168067226889E-3</c:v>
                </c:pt>
                <c:pt idx="38646">
                  <c:v>-4.20168067226889E-3</c:v>
                </c:pt>
                <c:pt idx="38647">
                  <c:v>-4.20168067226889E-3</c:v>
                </c:pt>
                <c:pt idx="38648">
                  <c:v>-4.20168067226889E-3</c:v>
                </c:pt>
                <c:pt idx="38649">
                  <c:v>-4.20168067226889E-3</c:v>
                </c:pt>
                <c:pt idx="38650">
                  <c:v>-4.20168067226889E-3</c:v>
                </c:pt>
                <c:pt idx="38651">
                  <c:v>-4.20168067226889E-3</c:v>
                </c:pt>
                <c:pt idx="38652">
                  <c:v>-4.20168067226889E-3</c:v>
                </c:pt>
                <c:pt idx="38653">
                  <c:v>-4.20168067226889E-3</c:v>
                </c:pt>
                <c:pt idx="38654">
                  <c:v>-4.20168067226889E-3</c:v>
                </c:pt>
                <c:pt idx="38655">
                  <c:v>-4.20168067226889E-3</c:v>
                </c:pt>
                <c:pt idx="38656">
                  <c:v>-4.20168067226889E-3</c:v>
                </c:pt>
                <c:pt idx="38657">
                  <c:v>-4.20168067226889E-3</c:v>
                </c:pt>
                <c:pt idx="38658">
                  <c:v>-4.20168067226889E-3</c:v>
                </c:pt>
                <c:pt idx="38659">
                  <c:v>-4.20168067226889E-3</c:v>
                </c:pt>
                <c:pt idx="38660">
                  <c:v>-4.20168067226889E-3</c:v>
                </c:pt>
                <c:pt idx="38661">
                  <c:v>-4.20168067226889E-3</c:v>
                </c:pt>
                <c:pt idx="38662">
                  <c:v>-4.20168067226889E-3</c:v>
                </c:pt>
                <c:pt idx="38663">
                  <c:v>-4.20168067226889E-3</c:v>
                </c:pt>
                <c:pt idx="38664">
                  <c:v>-4.20168067226889E-3</c:v>
                </c:pt>
                <c:pt idx="38665">
                  <c:v>-4.20168067226889E-3</c:v>
                </c:pt>
                <c:pt idx="38666">
                  <c:v>-4.20168067226889E-3</c:v>
                </c:pt>
                <c:pt idx="38667">
                  <c:v>-4.20168067226889E-3</c:v>
                </c:pt>
                <c:pt idx="38668">
                  <c:v>-4.20168067226889E-3</c:v>
                </c:pt>
                <c:pt idx="38669">
                  <c:v>-4.20168067226889E-3</c:v>
                </c:pt>
                <c:pt idx="38670">
                  <c:v>-4.20168067226889E-3</c:v>
                </c:pt>
                <c:pt idx="38671">
                  <c:v>-4.20168067226889E-3</c:v>
                </c:pt>
                <c:pt idx="38672">
                  <c:v>-4.20168067226889E-3</c:v>
                </c:pt>
                <c:pt idx="38673">
                  <c:v>-4.20168067226889E-3</c:v>
                </c:pt>
                <c:pt idx="38674">
                  <c:v>-4.20168067226889E-3</c:v>
                </c:pt>
                <c:pt idx="38675">
                  <c:v>-4.20168067226889E-3</c:v>
                </c:pt>
                <c:pt idx="38676">
                  <c:v>-4.20168067226889E-3</c:v>
                </c:pt>
                <c:pt idx="38677">
                  <c:v>-4.20168067226889E-3</c:v>
                </c:pt>
                <c:pt idx="38678">
                  <c:v>-4.20168067226889E-3</c:v>
                </c:pt>
                <c:pt idx="38679">
                  <c:v>-4.20168067226889E-3</c:v>
                </c:pt>
                <c:pt idx="38680">
                  <c:v>-4.20168067226889E-3</c:v>
                </c:pt>
                <c:pt idx="38681">
                  <c:v>-4.20168067226889E-3</c:v>
                </c:pt>
                <c:pt idx="38682">
                  <c:v>-4.20168067226889E-3</c:v>
                </c:pt>
                <c:pt idx="38683">
                  <c:v>-4.20168067226889E-3</c:v>
                </c:pt>
                <c:pt idx="38684">
                  <c:v>-4.20168067226889E-3</c:v>
                </c:pt>
                <c:pt idx="38685">
                  <c:v>-4.20168067226889E-3</c:v>
                </c:pt>
                <c:pt idx="38686">
                  <c:v>-4.20168067226889E-3</c:v>
                </c:pt>
                <c:pt idx="38687">
                  <c:v>-4.20168067226889E-3</c:v>
                </c:pt>
                <c:pt idx="38688">
                  <c:v>-4.20168067226889E-3</c:v>
                </c:pt>
                <c:pt idx="38689">
                  <c:v>-4.20168067226889E-3</c:v>
                </c:pt>
                <c:pt idx="38690">
                  <c:v>-4.20168067226889E-3</c:v>
                </c:pt>
                <c:pt idx="38691">
                  <c:v>-4.20168067226889E-3</c:v>
                </c:pt>
                <c:pt idx="38692">
                  <c:v>-4.20168067226889E-3</c:v>
                </c:pt>
                <c:pt idx="38693">
                  <c:v>-4.20168067226889E-3</c:v>
                </c:pt>
                <c:pt idx="38694">
                  <c:v>-4.20168067226889E-3</c:v>
                </c:pt>
                <c:pt idx="38695">
                  <c:v>-4.20168067226889E-3</c:v>
                </c:pt>
                <c:pt idx="38696">
                  <c:v>-4.20168067226889E-3</c:v>
                </c:pt>
                <c:pt idx="38697">
                  <c:v>-4.20168067226889E-3</c:v>
                </c:pt>
                <c:pt idx="38698">
                  <c:v>-4.20168067226889E-3</c:v>
                </c:pt>
                <c:pt idx="38699">
                  <c:v>-4.20168067226889E-3</c:v>
                </c:pt>
                <c:pt idx="38700">
                  <c:v>-4.20168067226889E-3</c:v>
                </c:pt>
                <c:pt idx="38701">
                  <c:v>-4.20168067226889E-3</c:v>
                </c:pt>
                <c:pt idx="38702">
                  <c:v>-4.20168067226889E-3</c:v>
                </c:pt>
                <c:pt idx="38703">
                  <c:v>-4.20168067226889E-3</c:v>
                </c:pt>
                <c:pt idx="38704">
                  <c:v>-4.20168067226889E-3</c:v>
                </c:pt>
                <c:pt idx="38705">
                  <c:v>-4.20168067226889E-3</c:v>
                </c:pt>
                <c:pt idx="38706">
                  <c:v>-4.20168067226889E-3</c:v>
                </c:pt>
                <c:pt idx="38707">
                  <c:v>-4.20168067226889E-3</c:v>
                </c:pt>
                <c:pt idx="38708">
                  <c:v>-4.20168067226889E-3</c:v>
                </c:pt>
                <c:pt idx="38709">
                  <c:v>-4.20168067226889E-3</c:v>
                </c:pt>
                <c:pt idx="38710">
                  <c:v>-4.20168067226889E-3</c:v>
                </c:pt>
                <c:pt idx="38711">
                  <c:v>-4.20168067226889E-3</c:v>
                </c:pt>
                <c:pt idx="38712">
                  <c:v>-4.20168067226889E-3</c:v>
                </c:pt>
                <c:pt idx="38713">
                  <c:v>-4.20168067226889E-3</c:v>
                </c:pt>
                <c:pt idx="38714">
                  <c:v>-4.20168067226889E-3</c:v>
                </c:pt>
                <c:pt idx="38715">
                  <c:v>-4.20168067226889E-3</c:v>
                </c:pt>
                <c:pt idx="38716">
                  <c:v>-4.20168067226889E-3</c:v>
                </c:pt>
                <c:pt idx="38717">
                  <c:v>-4.20168067226889E-3</c:v>
                </c:pt>
                <c:pt idx="38718">
                  <c:v>-4.20168067226889E-3</c:v>
                </c:pt>
                <c:pt idx="38719">
                  <c:v>-4.20168067226889E-3</c:v>
                </c:pt>
                <c:pt idx="38720">
                  <c:v>-4.20168067226889E-3</c:v>
                </c:pt>
                <c:pt idx="38721">
                  <c:v>-4.20168067226889E-3</c:v>
                </c:pt>
                <c:pt idx="38722">
                  <c:v>-4.20168067226889E-3</c:v>
                </c:pt>
                <c:pt idx="38723">
                  <c:v>-4.20168067226889E-3</c:v>
                </c:pt>
                <c:pt idx="38724">
                  <c:v>-4.20168067226889E-3</c:v>
                </c:pt>
                <c:pt idx="38725">
                  <c:v>-4.20168067226889E-3</c:v>
                </c:pt>
                <c:pt idx="38726">
                  <c:v>-3.3613445378151102E-3</c:v>
                </c:pt>
                <c:pt idx="38727">
                  <c:v>-3.3613445378151102E-3</c:v>
                </c:pt>
                <c:pt idx="38728">
                  <c:v>-3.3613445378151102E-3</c:v>
                </c:pt>
                <c:pt idx="38729">
                  <c:v>-3.3613445378151102E-3</c:v>
                </c:pt>
                <c:pt idx="38730">
                  <c:v>-3.3613445378151102E-3</c:v>
                </c:pt>
                <c:pt idx="38731">
                  <c:v>-3.3613445378151102E-3</c:v>
                </c:pt>
                <c:pt idx="38732">
                  <c:v>-3.3613445378151102E-3</c:v>
                </c:pt>
                <c:pt idx="38733">
                  <c:v>-3.3613445378151102E-3</c:v>
                </c:pt>
                <c:pt idx="38734">
                  <c:v>-3.3613445378151102E-3</c:v>
                </c:pt>
                <c:pt idx="38735">
                  <c:v>-3.3613445378151102E-3</c:v>
                </c:pt>
                <c:pt idx="38736">
                  <c:v>-3.3613445378151102E-3</c:v>
                </c:pt>
                <c:pt idx="38737">
                  <c:v>-3.3613445378151102E-3</c:v>
                </c:pt>
                <c:pt idx="38738">
                  <c:v>-3.3613445378151102E-3</c:v>
                </c:pt>
                <c:pt idx="38739">
                  <c:v>-3.3613445378151102E-3</c:v>
                </c:pt>
                <c:pt idx="38740">
                  <c:v>-3.3613445378151102E-3</c:v>
                </c:pt>
                <c:pt idx="38741">
                  <c:v>-3.3613445378151102E-3</c:v>
                </c:pt>
                <c:pt idx="38742">
                  <c:v>-3.3613445378151102E-3</c:v>
                </c:pt>
                <c:pt idx="38743">
                  <c:v>-3.3613445378151102E-3</c:v>
                </c:pt>
                <c:pt idx="38744">
                  <c:v>-3.3613445378151102E-3</c:v>
                </c:pt>
                <c:pt idx="38745">
                  <c:v>-3.3613445378151102E-3</c:v>
                </c:pt>
                <c:pt idx="38746">
                  <c:v>-3.3613445378151102E-3</c:v>
                </c:pt>
                <c:pt idx="38747">
                  <c:v>-3.3613445378151102E-3</c:v>
                </c:pt>
                <c:pt idx="38748">
                  <c:v>-3.3613445378151102E-3</c:v>
                </c:pt>
                <c:pt idx="38749">
                  <c:v>-3.3613445378151102E-3</c:v>
                </c:pt>
                <c:pt idx="38750">
                  <c:v>-3.3613445378151102E-3</c:v>
                </c:pt>
                <c:pt idx="38751">
                  <c:v>-3.3613445378151102E-3</c:v>
                </c:pt>
                <c:pt idx="38752">
                  <c:v>-3.3613445378151102E-3</c:v>
                </c:pt>
                <c:pt idx="38753">
                  <c:v>-3.3613445378151102E-3</c:v>
                </c:pt>
                <c:pt idx="38754">
                  <c:v>-3.3613445378151102E-3</c:v>
                </c:pt>
                <c:pt idx="38755">
                  <c:v>-3.3613445378151102E-3</c:v>
                </c:pt>
                <c:pt idx="38756">
                  <c:v>-3.3613445378151102E-3</c:v>
                </c:pt>
                <c:pt idx="38757">
                  <c:v>-3.3613445378151102E-3</c:v>
                </c:pt>
                <c:pt idx="38758">
                  <c:v>-3.3613445378151102E-3</c:v>
                </c:pt>
                <c:pt idx="38759">
                  <c:v>-3.3613445378151102E-3</c:v>
                </c:pt>
                <c:pt idx="38760">
                  <c:v>-3.3613445378151102E-3</c:v>
                </c:pt>
                <c:pt idx="38761">
                  <c:v>-3.3613445378151102E-3</c:v>
                </c:pt>
                <c:pt idx="38762">
                  <c:v>-3.3613445378151102E-3</c:v>
                </c:pt>
                <c:pt idx="38763">
                  <c:v>-3.3613445378151102E-3</c:v>
                </c:pt>
                <c:pt idx="38764">
                  <c:v>-3.3613445378151102E-3</c:v>
                </c:pt>
                <c:pt idx="38765">
                  <c:v>-3.3613445378151102E-3</c:v>
                </c:pt>
                <c:pt idx="38766">
                  <c:v>-3.3613445378151102E-3</c:v>
                </c:pt>
                <c:pt idx="38767">
                  <c:v>-3.3613445378151102E-3</c:v>
                </c:pt>
                <c:pt idx="38768">
                  <c:v>-3.3613445378151102E-3</c:v>
                </c:pt>
                <c:pt idx="38769">
                  <c:v>-3.3613445378151102E-3</c:v>
                </c:pt>
                <c:pt idx="38770">
                  <c:v>-3.3613445378151102E-3</c:v>
                </c:pt>
                <c:pt idx="38771">
                  <c:v>-2.5210084033613299E-3</c:v>
                </c:pt>
                <c:pt idx="38772">
                  <c:v>-2.5210084033613299E-3</c:v>
                </c:pt>
                <c:pt idx="38773">
                  <c:v>-2.5210084033613299E-3</c:v>
                </c:pt>
                <c:pt idx="38774">
                  <c:v>-2.5210084033613299E-3</c:v>
                </c:pt>
                <c:pt idx="38775">
                  <c:v>-2.5210084033613299E-3</c:v>
                </c:pt>
                <c:pt idx="38776">
                  <c:v>-2.5210084033613299E-3</c:v>
                </c:pt>
                <c:pt idx="38777">
                  <c:v>-2.5210084033613299E-3</c:v>
                </c:pt>
                <c:pt idx="38778">
                  <c:v>-2.5210084033613299E-3</c:v>
                </c:pt>
                <c:pt idx="38779">
                  <c:v>-2.5210084033613299E-3</c:v>
                </c:pt>
                <c:pt idx="38780">
                  <c:v>-2.5210084033613299E-3</c:v>
                </c:pt>
                <c:pt idx="38781">
                  <c:v>-2.5210084033613299E-3</c:v>
                </c:pt>
                <c:pt idx="38782">
                  <c:v>-2.5210084033613299E-3</c:v>
                </c:pt>
                <c:pt idx="38783">
                  <c:v>-2.5210084033613299E-3</c:v>
                </c:pt>
                <c:pt idx="38784">
                  <c:v>-2.5210084033613299E-3</c:v>
                </c:pt>
                <c:pt idx="38785">
                  <c:v>-2.5210084033613299E-3</c:v>
                </c:pt>
                <c:pt idx="38786">
                  <c:v>-2.5210084033613299E-3</c:v>
                </c:pt>
                <c:pt idx="38787">
                  <c:v>-2.5210084033613299E-3</c:v>
                </c:pt>
                <c:pt idx="38788">
                  <c:v>-2.5210084033613299E-3</c:v>
                </c:pt>
                <c:pt idx="38789">
                  <c:v>-2.5210084033613299E-3</c:v>
                </c:pt>
                <c:pt idx="38790">
                  <c:v>-2.5210084033613299E-3</c:v>
                </c:pt>
                <c:pt idx="38791">
                  <c:v>-2.5210084033613299E-3</c:v>
                </c:pt>
                <c:pt idx="38792">
                  <c:v>-2.5210084033613299E-3</c:v>
                </c:pt>
                <c:pt idx="38793">
                  <c:v>-2.5210084033613299E-3</c:v>
                </c:pt>
                <c:pt idx="38794">
                  <c:v>-2.5210084033613299E-3</c:v>
                </c:pt>
                <c:pt idx="38795">
                  <c:v>-2.5210084033613299E-3</c:v>
                </c:pt>
                <c:pt idx="38796">
                  <c:v>-2.5210084033613299E-3</c:v>
                </c:pt>
                <c:pt idx="38797">
                  <c:v>-2.5210084033613299E-3</c:v>
                </c:pt>
                <c:pt idx="38798">
                  <c:v>-2.5210084033613299E-3</c:v>
                </c:pt>
                <c:pt idx="38799">
                  <c:v>-2.5210084033613299E-3</c:v>
                </c:pt>
                <c:pt idx="38800">
                  <c:v>-2.5210084033613299E-3</c:v>
                </c:pt>
                <c:pt idx="38801">
                  <c:v>-2.5210084033613299E-3</c:v>
                </c:pt>
                <c:pt idx="38802">
                  <c:v>-2.5210084033613299E-3</c:v>
                </c:pt>
                <c:pt idx="38803">
                  <c:v>-2.5210084033613299E-3</c:v>
                </c:pt>
                <c:pt idx="38804">
                  <c:v>-2.5210084033613299E-3</c:v>
                </c:pt>
                <c:pt idx="38805">
                  <c:v>-2.5210084033613299E-3</c:v>
                </c:pt>
                <c:pt idx="38806">
                  <c:v>-2.5210084033613299E-3</c:v>
                </c:pt>
                <c:pt idx="38807">
                  <c:v>-2.5210084033613299E-3</c:v>
                </c:pt>
                <c:pt idx="38808">
                  <c:v>-2.5210084033613299E-3</c:v>
                </c:pt>
                <c:pt idx="38809">
                  <c:v>-2.5210084033613299E-3</c:v>
                </c:pt>
                <c:pt idx="38810">
                  <c:v>-2.5210084033613299E-3</c:v>
                </c:pt>
                <c:pt idx="38811">
                  <c:v>-2.5210084033613299E-3</c:v>
                </c:pt>
                <c:pt idx="38812">
                  <c:v>-2.5210084033613299E-3</c:v>
                </c:pt>
                <c:pt idx="38813">
                  <c:v>-2.5210084033613299E-3</c:v>
                </c:pt>
                <c:pt idx="38814">
                  <c:v>-2.5210084033613299E-3</c:v>
                </c:pt>
                <c:pt idx="38815">
                  <c:v>-2.5210084033613299E-3</c:v>
                </c:pt>
                <c:pt idx="38816">
                  <c:v>-2.5210084033613299E-3</c:v>
                </c:pt>
                <c:pt idx="38817">
                  <c:v>-2.5210084033613299E-3</c:v>
                </c:pt>
                <c:pt idx="38818">
                  <c:v>-2.5210084033613299E-3</c:v>
                </c:pt>
                <c:pt idx="38819">
                  <c:v>-2.5210084033613299E-3</c:v>
                </c:pt>
                <c:pt idx="38820">
                  <c:v>-2.5210084033613299E-3</c:v>
                </c:pt>
                <c:pt idx="38821">
                  <c:v>-2.5210084033613299E-3</c:v>
                </c:pt>
                <c:pt idx="38822">
                  <c:v>-2.5210084033613299E-3</c:v>
                </c:pt>
                <c:pt idx="38823">
                  <c:v>-2.5210084033613299E-3</c:v>
                </c:pt>
                <c:pt idx="38824">
                  <c:v>-2.5210084033613299E-3</c:v>
                </c:pt>
                <c:pt idx="38825">
                  <c:v>-2.5210084033613299E-3</c:v>
                </c:pt>
                <c:pt idx="38826">
                  <c:v>-2.5210084033613299E-3</c:v>
                </c:pt>
                <c:pt idx="38827">
                  <c:v>-2.5210084033613299E-3</c:v>
                </c:pt>
                <c:pt idx="38828">
                  <c:v>-2.5210084033613299E-3</c:v>
                </c:pt>
                <c:pt idx="38829">
                  <c:v>-2.5210084033613299E-3</c:v>
                </c:pt>
                <c:pt idx="38830">
                  <c:v>-2.5210084033613299E-3</c:v>
                </c:pt>
                <c:pt idx="38831">
                  <c:v>-2.5210084033613299E-3</c:v>
                </c:pt>
                <c:pt idx="38832">
                  <c:v>-2.5210084033613299E-3</c:v>
                </c:pt>
                <c:pt idx="38833">
                  <c:v>-2.5210084033613299E-3</c:v>
                </c:pt>
                <c:pt idx="38834">
                  <c:v>-2.5210084033613299E-3</c:v>
                </c:pt>
                <c:pt idx="38835">
                  <c:v>-2.5210084033613299E-3</c:v>
                </c:pt>
                <c:pt idx="38836">
                  <c:v>-2.5210084033613299E-3</c:v>
                </c:pt>
                <c:pt idx="38837">
                  <c:v>-2.5210084033613299E-3</c:v>
                </c:pt>
                <c:pt idx="38838">
                  <c:v>-2.5210084033613299E-3</c:v>
                </c:pt>
                <c:pt idx="38839">
                  <c:v>-2.5210084033613299E-3</c:v>
                </c:pt>
                <c:pt idx="38840">
                  <c:v>-2.5210084033613299E-3</c:v>
                </c:pt>
                <c:pt idx="38841">
                  <c:v>-2.5210084033613299E-3</c:v>
                </c:pt>
                <c:pt idx="38842">
                  <c:v>-2.5210084033613299E-3</c:v>
                </c:pt>
                <c:pt idx="38843">
                  <c:v>-2.5210084033613299E-3</c:v>
                </c:pt>
                <c:pt idx="38844">
                  <c:v>-2.5210084033613299E-3</c:v>
                </c:pt>
                <c:pt idx="38845">
                  <c:v>-2.5210084033613299E-3</c:v>
                </c:pt>
                <c:pt idx="38846">
                  <c:v>-2.5210084033613299E-3</c:v>
                </c:pt>
                <c:pt idx="38847">
                  <c:v>-2.5210084033613299E-3</c:v>
                </c:pt>
                <c:pt idx="38848">
                  <c:v>-2.5210084033613299E-3</c:v>
                </c:pt>
                <c:pt idx="38849">
                  <c:v>-2.5210084033613299E-3</c:v>
                </c:pt>
                <c:pt idx="38850">
                  <c:v>-2.5210084033613299E-3</c:v>
                </c:pt>
                <c:pt idx="38851">
                  <c:v>-2.5210084033613299E-3</c:v>
                </c:pt>
                <c:pt idx="38852">
                  <c:v>-2.5210084033613299E-3</c:v>
                </c:pt>
                <c:pt idx="38853">
                  <c:v>-2.5210084033613299E-3</c:v>
                </c:pt>
                <c:pt idx="38854">
                  <c:v>-2.5210084033613299E-3</c:v>
                </c:pt>
                <c:pt idx="38855">
                  <c:v>-2.5210084033613299E-3</c:v>
                </c:pt>
                <c:pt idx="38856">
                  <c:v>-2.5210084033613299E-3</c:v>
                </c:pt>
                <c:pt idx="38857">
                  <c:v>-2.5210084033613299E-3</c:v>
                </c:pt>
                <c:pt idx="38858">
                  <c:v>-2.5210084033613299E-3</c:v>
                </c:pt>
                <c:pt idx="38859">
                  <c:v>-2.5210084033613299E-3</c:v>
                </c:pt>
                <c:pt idx="38860">
                  <c:v>-2.5210084033613299E-3</c:v>
                </c:pt>
                <c:pt idx="38861">
                  <c:v>-2.5210084033613299E-3</c:v>
                </c:pt>
                <c:pt idx="38862">
                  <c:v>-2.5210084033613299E-3</c:v>
                </c:pt>
                <c:pt idx="38863">
                  <c:v>-2.5210084033613299E-3</c:v>
                </c:pt>
                <c:pt idx="38864">
                  <c:v>-2.5210084033613299E-3</c:v>
                </c:pt>
                <c:pt idx="38865">
                  <c:v>-2.5210084033613299E-3</c:v>
                </c:pt>
                <c:pt idx="38866">
                  <c:v>-2.5210084033613299E-3</c:v>
                </c:pt>
                <c:pt idx="38867">
                  <c:v>-2.5210084033613299E-3</c:v>
                </c:pt>
                <c:pt idx="38868">
                  <c:v>-2.5210084033613299E-3</c:v>
                </c:pt>
                <c:pt idx="38869">
                  <c:v>-2.5210084033613299E-3</c:v>
                </c:pt>
                <c:pt idx="38870">
                  <c:v>-2.5210084033613299E-3</c:v>
                </c:pt>
                <c:pt idx="38871">
                  <c:v>-2.5210084033613299E-3</c:v>
                </c:pt>
                <c:pt idx="38872">
                  <c:v>-2.5210084033613299E-3</c:v>
                </c:pt>
                <c:pt idx="38873">
                  <c:v>-2.5210084033613299E-3</c:v>
                </c:pt>
                <c:pt idx="38874">
                  <c:v>-2.5210084033613299E-3</c:v>
                </c:pt>
                <c:pt idx="38875">
                  <c:v>-2.5210084033613299E-3</c:v>
                </c:pt>
                <c:pt idx="38876">
                  <c:v>-2.5210084033613299E-3</c:v>
                </c:pt>
                <c:pt idx="38877">
                  <c:v>-2.5210084033613299E-3</c:v>
                </c:pt>
                <c:pt idx="38878">
                  <c:v>-2.5210084033613299E-3</c:v>
                </c:pt>
                <c:pt idx="38879">
                  <c:v>-2.5210084033613299E-3</c:v>
                </c:pt>
                <c:pt idx="38880">
                  <c:v>-2.5210084033613299E-3</c:v>
                </c:pt>
                <c:pt idx="38881">
                  <c:v>-2.5210084033613299E-3</c:v>
                </c:pt>
                <c:pt idx="38882">
                  <c:v>-2.5210084033613299E-3</c:v>
                </c:pt>
                <c:pt idx="38883">
                  <c:v>-2.5210084033613299E-3</c:v>
                </c:pt>
                <c:pt idx="38884">
                  <c:v>-2.5210084033613299E-3</c:v>
                </c:pt>
                <c:pt idx="38885">
                  <c:v>-2.5210084033613299E-3</c:v>
                </c:pt>
                <c:pt idx="38886">
                  <c:v>-2.5210084033613299E-3</c:v>
                </c:pt>
                <c:pt idx="38887">
                  <c:v>-2.5210084033613299E-3</c:v>
                </c:pt>
                <c:pt idx="38888">
                  <c:v>-2.5210084033613299E-3</c:v>
                </c:pt>
                <c:pt idx="38889">
                  <c:v>-2.5210084033613299E-3</c:v>
                </c:pt>
                <c:pt idx="38890">
                  <c:v>-2.5210084033613299E-3</c:v>
                </c:pt>
                <c:pt idx="38891">
                  <c:v>-2.5210084033613299E-3</c:v>
                </c:pt>
                <c:pt idx="38892">
                  <c:v>-2.5210084033613299E-3</c:v>
                </c:pt>
                <c:pt idx="38893">
                  <c:v>-2.5210084033613299E-3</c:v>
                </c:pt>
                <c:pt idx="38894">
                  <c:v>-2.5210084033613299E-3</c:v>
                </c:pt>
                <c:pt idx="38895">
                  <c:v>-2.5210084033613299E-3</c:v>
                </c:pt>
                <c:pt idx="38896">
                  <c:v>-3.3613445378151102E-3</c:v>
                </c:pt>
                <c:pt idx="38897">
                  <c:v>-3.3613445378151102E-3</c:v>
                </c:pt>
                <c:pt idx="38898">
                  <c:v>-3.3613445378151102E-3</c:v>
                </c:pt>
                <c:pt idx="38899">
                  <c:v>-3.3613445378151102E-3</c:v>
                </c:pt>
                <c:pt idx="38900">
                  <c:v>-3.3613445378151102E-3</c:v>
                </c:pt>
                <c:pt idx="38901">
                  <c:v>-3.3613445378151102E-3</c:v>
                </c:pt>
                <c:pt idx="38902">
                  <c:v>-3.3613445378151102E-3</c:v>
                </c:pt>
                <c:pt idx="38903">
                  <c:v>-3.3613445378151102E-3</c:v>
                </c:pt>
                <c:pt idx="38904">
                  <c:v>-3.3613445378151102E-3</c:v>
                </c:pt>
                <c:pt idx="38905">
                  <c:v>-3.3613445378151102E-3</c:v>
                </c:pt>
                <c:pt idx="38906">
                  <c:v>-3.3613445378151102E-3</c:v>
                </c:pt>
                <c:pt idx="38907">
                  <c:v>-3.3613445378151102E-3</c:v>
                </c:pt>
                <c:pt idx="38908">
                  <c:v>-3.3613445378151102E-3</c:v>
                </c:pt>
                <c:pt idx="38909">
                  <c:v>-3.3613445378151102E-3</c:v>
                </c:pt>
                <c:pt idx="38910">
                  <c:v>-3.3613445378151102E-3</c:v>
                </c:pt>
                <c:pt idx="38911">
                  <c:v>-3.3613445378151102E-3</c:v>
                </c:pt>
                <c:pt idx="38912">
                  <c:v>-3.3613445378151102E-3</c:v>
                </c:pt>
                <c:pt idx="38913">
                  <c:v>-3.3613445378151102E-3</c:v>
                </c:pt>
                <c:pt idx="38914">
                  <c:v>-3.3613445378151102E-3</c:v>
                </c:pt>
                <c:pt idx="38915">
                  <c:v>-3.3613445378151102E-3</c:v>
                </c:pt>
                <c:pt idx="38916">
                  <c:v>-3.3613445378151102E-3</c:v>
                </c:pt>
                <c:pt idx="38917">
                  <c:v>-3.3613445378151102E-3</c:v>
                </c:pt>
                <c:pt idx="38918">
                  <c:v>-3.3613445378151102E-3</c:v>
                </c:pt>
                <c:pt idx="38919">
                  <c:v>-3.3613445378151102E-3</c:v>
                </c:pt>
                <c:pt idx="38920">
                  <c:v>-3.3613445378151102E-3</c:v>
                </c:pt>
                <c:pt idx="38921">
                  <c:v>-3.3613445378151102E-3</c:v>
                </c:pt>
                <c:pt idx="38922">
                  <c:v>-3.3613445378151102E-3</c:v>
                </c:pt>
                <c:pt idx="38923">
                  <c:v>-3.3613445378151102E-3</c:v>
                </c:pt>
                <c:pt idx="38924">
                  <c:v>-3.3613445378151102E-3</c:v>
                </c:pt>
                <c:pt idx="38925">
                  <c:v>-3.3613445378151102E-3</c:v>
                </c:pt>
                <c:pt idx="38926">
                  <c:v>-3.3613445378151102E-3</c:v>
                </c:pt>
                <c:pt idx="38927">
                  <c:v>-3.3613445378151102E-3</c:v>
                </c:pt>
                <c:pt idx="38928">
                  <c:v>-3.3613445378151102E-3</c:v>
                </c:pt>
                <c:pt idx="38929">
                  <c:v>-3.3613445378151102E-3</c:v>
                </c:pt>
                <c:pt idx="38930">
                  <c:v>-3.3613445378151102E-3</c:v>
                </c:pt>
                <c:pt idx="38931">
                  <c:v>-3.3613445378151102E-3</c:v>
                </c:pt>
                <c:pt idx="38932">
                  <c:v>-3.3613445378151102E-3</c:v>
                </c:pt>
                <c:pt idx="38933">
                  <c:v>-3.3613445378151102E-3</c:v>
                </c:pt>
                <c:pt idx="38934">
                  <c:v>-3.3613445378151102E-3</c:v>
                </c:pt>
                <c:pt idx="38935">
                  <c:v>-3.3613445378151102E-3</c:v>
                </c:pt>
                <c:pt idx="38936">
                  <c:v>-3.3613445378151102E-3</c:v>
                </c:pt>
                <c:pt idx="38937">
                  <c:v>-3.3613445378151102E-3</c:v>
                </c:pt>
                <c:pt idx="38938">
                  <c:v>-3.3613445378151102E-3</c:v>
                </c:pt>
                <c:pt idx="38939">
                  <c:v>-3.3613445378151102E-3</c:v>
                </c:pt>
                <c:pt idx="38940">
                  <c:v>-4.20168067226889E-3</c:v>
                </c:pt>
                <c:pt idx="38941">
                  <c:v>-4.20168067226889E-3</c:v>
                </c:pt>
                <c:pt idx="38942">
                  <c:v>-4.20168067226889E-3</c:v>
                </c:pt>
                <c:pt idx="38943">
                  <c:v>-4.20168067226889E-3</c:v>
                </c:pt>
                <c:pt idx="38944">
                  <c:v>-4.20168067226889E-3</c:v>
                </c:pt>
                <c:pt idx="38945">
                  <c:v>-4.20168067226889E-3</c:v>
                </c:pt>
                <c:pt idx="38946">
                  <c:v>-4.20168067226889E-3</c:v>
                </c:pt>
                <c:pt idx="38947">
                  <c:v>-4.20168067226889E-3</c:v>
                </c:pt>
                <c:pt idx="38948">
                  <c:v>-4.20168067226889E-3</c:v>
                </c:pt>
                <c:pt idx="38949">
                  <c:v>-4.20168067226889E-3</c:v>
                </c:pt>
                <c:pt idx="38950">
                  <c:v>-4.20168067226889E-3</c:v>
                </c:pt>
                <c:pt idx="38951">
                  <c:v>-4.20168067226889E-3</c:v>
                </c:pt>
                <c:pt idx="38952">
                  <c:v>-4.20168067226889E-3</c:v>
                </c:pt>
                <c:pt idx="38953">
                  <c:v>-4.20168067226889E-3</c:v>
                </c:pt>
                <c:pt idx="38954">
                  <c:v>-4.20168067226889E-3</c:v>
                </c:pt>
                <c:pt idx="38955">
                  <c:v>-4.20168067226889E-3</c:v>
                </c:pt>
                <c:pt idx="38956">
                  <c:v>-4.20168067226889E-3</c:v>
                </c:pt>
                <c:pt idx="38957">
                  <c:v>-4.20168067226889E-3</c:v>
                </c:pt>
                <c:pt idx="38958">
                  <c:v>-4.20168067226889E-3</c:v>
                </c:pt>
                <c:pt idx="38959">
                  <c:v>-4.20168067226889E-3</c:v>
                </c:pt>
                <c:pt idx="38960">
                  <c:v>-4.20168067226889E-3</c:v>
                </c:pt>
                <c:pt idx="38961">
                  <c:v>-4.20168067226889E-3</c:v>
                </c:pt>
                <c:pt idx="38962">
                  <c:v>-4.20168067226889E-3</c:v>
                </c:pt>
                <c:pt idx="38963">
                  <c:v>-4.20168067226889E-3</c:v>
                </c:pt>
                <c:pt idx="38964">
                  <c:v>-4.20168067226889E-3</c:v>
                </c:pt>
                <c:pt idx="38965">
                  <c:v>-4.20168067226889E-3</c:v>
                </c:pt>
                <c:pt idx="38966">
                  <c:v>-4.20168067226889E-3</c:v>
                </c:pt>
                <c:pt idx="38967">
                  <c:v>-4.20168067226889E-3</c:v>
                </c:pt>
                <c:pt idx="38968">
                  <c:v>-4.20168067226889E-3</c:v>
                </c:pt>
                <c:pt idx="38969">
                  <c:v>-4.20168067226889E-3</c:v>
                </c:pt>
                <c:pt idx="38970">
                  <c:v>-4.20168067226889E-3</c:v>
                </c:pt>
                <c:pt idx="38971">
                  <c:v>-4.20168067226889E-3</c:v>
                </c:pt>
                <c:pt idx="38972">
                  <c:v>-4.20168067226889E-3</c:v>
                </c:pt>
                <c:pt idx="38973">
                  <c:v>-4.20168067226889E-3</c:v>
                </c:pt>
                <c:pt idx="38974">
                  <c:v>-4.20168067226889E-3</c:v>
                </c:pt>
                <c:pt idx="38975">
                  <c:v>-4.20168067226889E-3</c:v>
                </c:pt>
                <c:pt idx="38976">
                  <c:v>-4.20168067226889E-3</c:v>
                </c:pt>
                <c:pt idx="38977">
                  <c:v>-4.20168067226889E-3</c:v>
                </c:pt>
                <c:pt idx="38978">
                  <c:v>-4.20168067226889E-3</c:v>
                </c:pt>
                <c:pt idx="38979">
                  <c:v>-4.20168067226889E-3</c:v>
                </c:pt>
                <c:pt idx="38980">
                  <c:v>-4.20168067226889E-3</c:v>
                </c:pt>
                <c:pt idx="38981">
                  <c:v>-4.20168067226889E-3</c:v>
                </c:pt>
                <c:pt idx="38982">
                  <c:v>-4.20168067226889E-3</c:v>
                </c:pt>
                <c:pt idx="38983">
                  <c:v>-4.20168067226889E-3</c:v>
                </c:pt>
                <c:pt idx="38984">
                  <c:v>-4.20168067226889E-3</c:v>
                </c:pt>
                <c:pt idx="38985">
                  <c:v>-4.20168067226889E-3</c:v>
                </c:pt>
                <c:pt idx="38986">
                  <c:v>-4.20168067226889E-3</c:v>
                </c:pt>
                <c:pt idx="38987">
                  <c:v>-4.20168067226889E-3</c:v>
                </c:pt>
                <c:pt idx="38988">
                  <c:v>-4.20168067226889E-3</c:v>
                </c:pt>
                <c:pt idx="38989">
                  <c:v>-4.20168067226889E-3</c:v>
                </c:pt>
                <c:pt idx="38990">
                  <c:v>-4.20168067226889E-3</c:v>
                </c:pt>
                <c:pt idx="38991">
                  <c:v>-4.20168067226889E-3</c:v>
                </c:pt>
                <c:pt idx="38992">
                  <c:v>-4.20168067226889E-3</c:v>
                </c:pt>
                <c:pt idx="38993">
                  <c:v>-4.20168067226889E-3</c:v>
                </c:pt>
                <c:pt idx="38994">
                  <c:v>-4.20168067226889E-3</c:v>
                </c:pt>
                <c:pt idx="38995">
                  <c:v>-4.20168067226889E-3</c:v>
                </c:pt>
                <c:pt idx="38996">
                  <c:v>-4.20168067226889E-3</c:v>
                </c:pt>
                <c:pt idx="38997">
                  <c:v>-4.20168067226889E-3</c:v>
                </c:pt>
                <c:pt idx="38998">
                  <c:v>-4.20168067226889E-3</c:v>
                </c:pt>
                <c:pt idx="38999">
                  <c:v>-4.20168067226889E-3</c:v>
                </c:pt>
                <c:pt idx="39000">
                  <c:v>-4.20168067226889E-3</c:v>
                </c:pt>
                <c:pt idx="39001">
                  <c:v>-4.20168067226889E-3</c:v>
                </c:pt>
                <c:pt idx="39002">
                  <c:v>-4.20168067226889E-3</c:v>
                </c:pt>
                <c:pt idx="39003">
                  <c:v>-4.20168067226889E-3</c:v>
                </c:pt>
                <c:pt idx="39004">
                  <c:v>-4.20168067226889E-3</c:v>
                </c:pt>
                <c:pt idx="39005">
                  <c:v>-4.20168067226889E-3</c:v>
                </c:pt>
                <c:pt idx="39006">
                  <c:v>-4.20168067226889E-3</c:v>
                </c:pt>
                <c:pt idx="39007">
                  <c:v>-4.20168067226889E-3</c:v>
                </c:pt>
                <c:pt idx="39008">
                  <c:v>-4.20168067226889E-3</c:v>
                </c:pt>
                <c:pt idx="39009">
                  <c:v>-4.20168067226889E-3</c:v>
                </c:pt>
                <c:pt idx="39010">
                  <c:v>-4.20168067226889E-3</c:v>
                </c:pt>
                <c:pt idx="39011">
                  <c:v>-4.20168067226889E-3</c:v>
                </c:pt>
                <c:pt idx="39012">
                  <c:v>-4.20168067226889E-3</c:v>
                </c:pt>
                <c:pt idx="39013">
                  <c:v>-4.20168067226889E-3</c:v>
                </c:pt>
                <c:pt idx="39014">
                  <c:v>-4.20168067226889E-3</c:v>
                </c:pt>
                <c:pt idx="39015">
                  <c:v>-4.20168067226889E-3</c:v>
                </c:pt>
                <c:pt idx="39016">
                  <c:v>-4.20168067226889E-3</c:v>
                </c:pt>
                <c:pt idx="39017">
                  <c:v>-4.20168067226889E-3</c:v>
                </c:pt>
                <c:pt idx="39018">
                  <c:v>-4.20168067226889E-3</c:v>
                </c:pt>
                <c:pt idx="39019">
                  <c:v>-4.20168067226889E-3</c:v>
                </c:pt>
                <c:pt idx="39020">
                  <c:v>-4.20168067226889E-3</c:v>
                </c:pt>
                <c:pt idx="39021">
                  <c:v>-4.20168067226889E-3</c:v>
                </c:pt>
                <c:pt idx="39022">
                  <c:v>-4.20168067226889E-3</c:v>
                </c:pt>
                <c:pt idx="39023">
                  <c:v>-4.20168067226889E-3</c:v>
                </c:pt>
                <c:pt idx="39024">
                  <c:v>-4.20168067226889E-3</c:v>
                </c:pt>
                <c:pt idx="39025">
                  <c:v>-4.20168067226889E-3</c:v>
                </c:pt>
                <c:pt idx="39026">
                  <c:v>-4.20168067226889E-3</c:v>
                </c:pt>
                <c:pt idx="39027">
                  <c:v>-4.20168067226889E-3</c:v>
                </c:pt>
                <c:pt idx="39028">
                  <c:v>-4.20168067226889E-3</c:v>
                </c:pt>
                <c:pt idx="39029">
                  <c:v>-4.20168067226889E-3</c:v>
                </c:pt>
                <c:pt idx="39030">
                  <c:v>-4.20168067226889E-3</c:v>
                </c:pt>
                <c:pt idx="39031">
                  <c:v>-4.20168067226889E-3</c:v>
                </c:pt>
                <c:pt idx="39032">
                  <c:v>-4.20168067226889E-3</c:v>
                </c:pt>
                <c:pt idx="39033">
                  <c:v>-4.20168067226889E-3</c:v>
                </c:pt>
                <c:pt idx="39034">
                  <c:v>-4.20168067226889E-3</c:v>
                </c:pt>
                <c:pt idx="39035">
                  <c:v>-4.20168067226889E-3</c:v>
                </c:pt>
                <c:pt idx="39036">
                  <c:v>-4.20168067226889E-3</c:v>
                </c:pt>
                <c:pt idx="39037">
                  <c:v>-4.20168067226889E-3</c:v>
                </c:pt>
                <c:pt idx="39038">
                  <c:v>-4.20168067226889E-3</c:v>
                </c:pt>
                <c:pt idx="39039">
                  <c:v>-4.20168067226889E-3</c:v>
                </c:pt>
                <c:pt idx="39040">
                  <c:v>-4.20168067226889E-3</c:v>
                </c:pt>
                <c:pt idx="39041">
                  <c:v>-4.20168067226889E-3</c:v>
                </c:pt>
                <c:pt idx="39042">
                  <c:v>-4.20168067226889E-3</c:v>
                </c:pt>
                <c:pt idx="39043">
                  <c:v>-4.20168067226889E-3</c:v>
                </c:pt>
                <c:pt idx="39044">
                  <c:v>-4.20168067226889E-3</c:v>
                </c:pt>
                <c:pt idx="39045">
                  <c:v>-4.20168067226889E-3</c:v>
                </c:pt>
                <c:pt idx="39046">
                  <c:v>-4.20168067226889E-3</c:v>
                </c:pt>
                <c:pt idx="39047">
                  <c:v>-4.20168067226889E-3</c:v>
                </c:pt>
                <c:pt idx="39048">
                  <c:v>-4.20168067226889E-3</c:v>
                </c:pt>
                <c:pt idx="39049">
                  <c:v>-4.20168067226889E-3</c:v>
                </c:pt>
                <c:pt idx="39050">
                  <c:v>-4.20168067226889E-3</c:v>
                </c:pt>
                <c:pt idx="39051">
                  <c:v>-4.20168067226889E-3</c:v>
                </c:pt>
                <c:pt idx="39052">
                  <c:v>-4.20168067226889E-3</c:v>
                </c:pt>
                <c:pt idx="39053">
                  <c:v>-4.20168067226889E-3</c:v>
                </c:pt>
                <c:pt idx="39054">
                  <c:v>-4.20168067226889E-3</c:v>
                </c:pt>
                <c:pt idx="39055">
                  <c:v>-4.20168067226889E-3</c:v>
                </c:pt>
                <c:pt idx="39056">
                  <c:v>-4.20168067226889E-3</c:v>
                </c:pt>
                <c:pt idx="39057">
                  <c:v>-4.20168067226889E-3</c:v>
                </c:pt>
                <c:pt idx="39058">
                  <c:v>-4.20168067226889E-3</c:v>
                </c:pt>
                <c:pt idx="39059">
                  <c:v>-4.20168067226889E-3</c:v>
                </c:pt>
                <c:pt idx="39060">
                  <c:v>-4.20168067226889E-3</c:v>
                </c:pt>
                <c:pt idx="39061">
                  <c:v>-4.20168067226889E-3</c:v>
                </c:pt>
                <c:pt idx="39062">
                  <c:v>-4.20168067226889E-3</c:v>
                </c:pt>
                <c:pt idx="39063">
                  <c:v>-4.20168067226889E-3</c:v>
                </c:pt>
                <c:pt idx="39064">
                  <c:v>-4.20168067226889E-3</c:v>
                </c:pt>
                <c:pt idx="39065">
                  <c:v>-4.20168067226889E-3</c:v>
                </c:pt>
                <c:pt idx="39066">
                  <c:v>-4.20168067226889E-3</c:v>
                </c:pt>
                <c:pt idx="39067">
                  <c:v>-3.3613445378151102E-3</c:v>
                </c:pt>
                <c:pt idx="39068">
                  <c:v>-3.3613445378151102E-3</c:v>
                </c:pt>
                <c:pt idx="39069">
                  <c:v>-3.3613445378151102E-3</c:v>
                </c:pt>
                <c:pt idx="39070">
                  <c:v>-3.3613445378151102E-3</c:v>
                </c:pt>
                <c:pt idx="39071">
                  <c:v>-3.3613445378151102E-3</c:v>
                </c:pt>
                <c:pt idx="39072">
                  <c:v>-3.3613445378151102E-3</c:v>
                </c:pt>
                <c:pt idx="39073">
                  <c:v>-3.3613445378151102E-3</c:v>
                </c:pt>
                <c:pt idx="39074">
                  <c:v>-3.3613445378151102E-3</c:v>
                </c:pt>
                <c:pt idx="39075">
                  <c:v>-3.3613445378151102E-3</c:v>
                </c:pt>
                <c:pt idx="39076">
                  <c:v>-2.5210084033613299E-3</c:v>
                </c:pt>
                <c:pt idx="39077">
                  <c:v>-2.5210084033613299E-3</c:v>
                </c:pt>
                <c:pt idx="39078">
                  <c:v>-2.5210084033613299E-3</c:v>
                </c:pt>
                <c:pt idx="39079">
                  <c:v>-2.5210084033613299E-3</c:v>
                </c:pt>
                <c:pt idx="39080">
                  <c:v>-2.5210084033613299E-3</c:v>
                </c:pt>
                <c:pt idx="39081">
                  <c:v>-2.5210084033613299E-3</c:v>
                </c:pt>
                <c:pt idx="39082">
                  <c:v>-2.5210084033613299E-3</c:v>
                </c:pt>
                <c:pt idx="39083">
                  <c:v>-2.5210084033613299E-3</c:v>
                </c:pt>
                <c:pt idx="39084">
                  <c:v>-2.5210084033613299E-3</c:v>
                </c:pt>
                <c:pt idx="39085">
                  <c:v>-2.5210084033613299E-3</c:v>
                </c:pt>
                <c:pt idx="39086">
                  <c:v>-2.5210084033613299E-3</c:v>
                </c:pt>
                <c:pt idx="39087">
                  <c:v>-2.5210084033613299E-3</c:v>
                </c:pt>
                <c:pt idx="39088">
                  <c:v>-2.5210084033613299E-3</c:v>
                </c:pt>
                <c:pt idx="39089">
                  <c:v>-2.5210084033613299E-3</c:v>
                </c:pt>
                <c:pt idx="39090">
                  <c:v>-2.5210084033613299E-3</c:v>
                </c:pt>
                <c:pt idx="39091">
                  <c:v>-2.5210084033613299E-3</c:v>
                </c:pt>
                <c:pt idx="39092">
                  <c:v>-2.5210084033613299E-3</c:v>
                </c:pt>
                <c:pt idx="39093">
                  <c:v>-2.5210084033613299E-3</c:v>
                </c:pt>
                <c:pt idx="39094">
                  <c:v>-2.5210084033613299E-3</c:v>
                </c:pt>
                <c:pt idx="39095">
                  <c:v>-2.5210084033613299E-3</c:v>
                </c:pt>
                <c:pt idx="39096">
                  <c:v>-2.5210084033613299E-3</c:v>
                </c:pt>
                <c:pt idx="39097">
                  <c:v>-2.5210084033613299E-3</c:v>
                </c:pt>
                <c:pt idx="39098">
                  <c:v>-2.5210084033613299E-3</c:v>
                </c:pt>
                <c:pt idx="39099">
                  <c:v>-2.5210084033613299E-3</c:v>
                </c:pt>
                <c:pt idx="39100">
                  <c:v>-2.5210084033613299E-3</c:v>
                </c:pt>
                <c:pt idx="39101">
                  <c:v>-2.5210084033613299E-3</c:v>
                </c:pt>
                <c:pt idx="39102">
                  <c:v>-2.5210084033613299E-3</c:v>
                </c:pt>
                <c:pt idx="39103">
                  <c:v>-2.5210084033613299E-3</c:v>
                </c:pt>
                <c:pt idx="39104">
                  <c:v>-2.5210084033613299E-3</c:v>
                </c:pt>
                <c:pt idx="39105">
                  <c:v>-2.5210084033613299E-3</c:v>
                </c:pt>
                <c:pt idx="39106">
                  <c:v>-2.5210084033613299E-3</c:v>
                </c:pt>
                <c:pt idx="39107">
                  <c:v>-1.6806722689075499E-3</c:v>
                </c:pt>
                <c:pt idx="39108">
                  <c:v>-1.6806722689075499E-3</c:v>
                </c:pt>
                <c:pt idx="39109">
                  <c:v>-1.6806722689075499E-3</c:v>
                </c:pt>
                <c:pt idx="39110">
                  <c:v>-1.6806722689075499E-3</c:v>
                </c:pt>
                <c:pt idx="39111">
                  <c:v>-1.6806722689075499E-3</c:v>
                </c:pt>
                <c:pt idx="39112">
                  <c:v>-1.6806722689075499E-3</c:v>
                </c:pt>
                <c:pt idx="39113">
                  <c:v>-1.6806722689075499E-3</c:v>
                </c:pt>
                <c:pt idx="39114">
                  <c:v>-1.6806722689075499E-3</c:v>
                </c:pt>
                <c:pt idx="39115">
                  <c:v>-1.6806722689075499E-3</c:v>
                </c:pt>
                <c:pt idx="39116">
                  <c:v>-1.6806722689075499E-3</c:v>
                </c:pt>
                <c:pt idx="39117">
                  <c:v>-1.6806722689075499E-3</c:v>
                </c:pt>
                <c:pt idx="39118">
                  <c:v>-1.6806722689075499E-3</c:v>
                </c:pt>
                <c:pt idx="39119">
                  <c:v>-1.6806722689075499E-3</c:v>
                </c:pt>
                <c:pt idx="39120">
                  <c:v>-1.6806722689075499E-3</c:v>
                </c:pt>
                <c:pt idx="39121">
                  <c:v>-1.6806722689075499E-3</c:v>
                </c:pt>
                <c:pt idx="39122">
                  <c:v>-1.6806722689075499E-3</c:v>
                </c:pt>
                <c:pt idx="39123">
                  <c:v>-1.6806722689075499E-3</c:v>
                </c:pt>
                <c:pt idx="39124">
                  <c:v>-1.6806722689075499E-3</c:v>
                </c:pt>
                <c:pt idx="39125">
                  <c:v>-8.4033613445377799E-4</c:v>
                </c:pt>
                <c:pt idx="39126">
                  <c:v>-8.4033613445377799E-4</c:v>
                </c:pt>
                <c:pt idx="39127">
                  <c:v>-8.4033613445377799E-4</c:v>
                </c:pt>
                <c:pt idx="39128">
                  <c:v>-8.4033613445377799E-4</c:v>
                </c:pt>
                <c:pt idx="39129">
                  <c:v>-8.4033613445377799E-4</c:v>
                </c:pt>
                <c:pt idx="39130">
                  <c:v>-8.4033613445377799E-4</c:v>
                </c:pt>
                <c:pt idx="39131">
                  <c:v>-8.4033613445377799E-4</c:v>
                </c:pt>
                <c:pt idx="39132">
                  <c:v>-8.4033613445377799E-4</c:v>
                </c:pt>
                <c:pt idx="39133">
                  <c:v>-8.4033613445377799E-4</c:v>
                </c:pt>
                <c:pt idx="39134">
                  <c:v>-8.4033613445377799E-4</c:v>
                </c:pt>
                <c:pt idx="39135">
                  <c:v>-8.4033613445377799E-4</c:v>
                </c:pt>
                <c:pt idx="39136">
                  <c:v>-8.4033613445377799E-4</c:v>
                </c:pt>
                <c:pt idx="39137">
                  <c:v>-8.4033613445377799E-4</c:v>
                </c:pt>
                <c:pt idx="39138">
                  <c:v>-8.4033613445377799E-4</c:v>
                </c:pt>
                <c:pt idx="39139">
                  <c:v>-8.4033613445377799E-4</c:v>
                </c:pt>
                <c:pt idx="39140">
                  <c:v>-8.4033613445377799E-4</c:v>
                </c:pt>
                <c:pt idx="39141">
                  <c:v>-8.4033613445377799E-4</c:v>
                </c:pt>
                <c:pt idx="39142">
                  <c:v>-8.4033613445377799E-4</c:v>
                </c:pt>
                <c:pt idx="39143">
                  <c:v>-8.4033613445377799E-4</c:v>
                </c:pt>
                <c:pt idx="39144">
                  <c:v>-8.4033613445377799E-4</c:v>
                </c:pt>
                <c:pt idx="39145">
                  <c:v>-8.4033613445377799E-4</c:v>
                </c:pt>
                <c:pt idx="39146">
                  <c:v>-8.4033613445377799E-4</c:v>
                </c:pt>
                <c:pt idx="39147">
                  <c:v>-8.4033613445377799E-4</c:v>
                </c:pt>
                <c:pt idx="39148">
                  <c:v>-8.4033613445377799E-4</c:v>
                </c:pt>
                <c:pt idx="39149">
                  <c:v>-8.4033613445377799E-4</c:v>
                </c:pt>
                <c:pt idx="39150">
                  <c:v>-8.4033613445377799E-4</c:v>
                </c:pt>
                <c:pt idx="39151">
                  <c:v>-8.4033613445377799E-4</c:v>
                </c:pt>
                <c:pt idx="39152">
                  <c:v>-8.4033613445377799E-4</c:v>
                </c:pt>
                <c:pt idx="39153">
                  <c:v>-8.4033613445377799E-4</c:v>
                </c:pt>
                <c:pt idx="39154">
                  <c:v>-8.4033613445377799E-4</c:v>
                </c:pt>
                <c:pt idx="39155">
                  <c:v>-8.4033613445377799E-4</c:v>
                </c:pt>
                <c:pt idx="39156">
                  <c:v>-8.4033613445377799E-4</c:v>
                </c:pt>
                <c:pt idx="39157">
                  <c:v>-8.4033613445377799E-4</c:v>
                </c:pt>
                <c:pt idx="39158">
                  <c:v>-8.4033613445377799E-4</c:v>
                </c:pt>
                <c:pt idx="39159">
                  <c:v>-8.4033613445377799E-4</c:v>
                </c:pt>
                <c:pt idx="39160">
                  <c:v>-8.4033613445377799E-4</c:v>
                </c:pt>
                <c:pt idx="39161">
                  <c:v>-8.4033613445377799E-4</c:v>
                </c:pt>
                <c:pt idx="39162">
                  <c:v>-8.4033613445377799E-4</c:v>
                </c:pt>
                <c:pt idx="39163">
                  <c:v>-8.4033613445377799E-4</c:v>
                </c:pt>
                <c:pt idx="39164">
                  <c:v>-8.4033613445377799E-4</c:v>
                </c:pt>
                <c:pt idx="39165">
                  <c:v>-8.4033613445377799E-4</c:v>
                </c:pt>
                <c:pt idx="39166">
                  <c:v>-8.4033613445377799E-4</c:v>
                </c:pt>
                <c:pt idx="39167">
                  <c:v>-8.4033613445377799E-4</c:v>
                </c:pt>
                <c:pt idx="39168">
                  <c:v>-8.4033613445377799E-4</c:v>
                </c:pt>
                <c:pt idx="39169">
                  <c:v>-8.4033613445377799E-4</c:v>
                </c:pt>
                <c:pt idx="39170">
                  <c:v>-8.4033613445377799E-4</c:v>
                </c:pt>
                <c:pt idx="39171">
                  <c:v>-8.4033613445377799E-4</c:v>
                </c:pt>
                <c:pt idx="39172">
                  <c:v>-1.6806722689075499E-3</c:v>
                </c:pt>
                <c:pt idx="39173">
                  <c:v>-1.6806722689075499E-3</c:v>
                </c:pt>
                <c:pt idx="39174">
                  <c:v>-1.6806722689075499E-3</c:v>
                </c:pt>
                <c:pt idx="39175">
                  <c:v>-1.6806722689075499E-3</c:v>
                </c:pt>
                <c:pt idx="39176">
                  <c:v>-1.6806722689075499E-3</c:v>
                </c:pt>
                <c:pt idx="39177">
                  <c:v>-1.6806722689075499E-3</c:v>
                </c:pt>
                <c:pt idx="39178">
                  <c:v>-1.6806722689075499E-3</c:v>
                </c:pt>
                <c:pt idx="39179">
                  <c:v>-1.6806722689075499E-3</c:v>
                </c:pt>
                <c:pt idx="39180">
                  <c:v>-1.6806722689075499E-3</c:v>
                </c:pt>
                <c:pt idx="39181">
                  <c:v>-1.6806722689075499E-3</c:v>
                </c:pt>
                <c:pt idx="39182">
                  <c:v>-8.4033613445377799E-4</c:v>
                </c:pt>
                <c:pt idx="39183">
                  <c:v>-8.4033613445377799E-4</c:v>
                </c:pt>
                <c:pt idx="39184">
                  <c:v>-8.4033613445377799E-4</c:v>
                </c:pt>
                <c:pt idx="39185">
                  <c:v>-8.4033613445377799E-4</c:v>
                </c:pt>
                <c:pt idx="39186">
                  <c:v>-8.4033613445377799E-4</c:v>
                </c:pt>
                <c:pt idx="39187">
                  <c:v>-8.4033613445377799E-4</c:v>
                </c:pt>
                <c:pt idx="39188">
                  <c:v>-8.4033613445377799E-4</c:v>
                </c:pt>
                <c:pt idx="39189">
                  <c:v>-8.4033613445377799E-4</c:v>
                </c:pt>
                <c:pt idx="39190">
                  <c:v>-8.4033613445377799E-4</c:v>
                </c:pt>
                <c:pt idx="39191">
                  <c:v>-8.4033613445377799E-4</c:v>
                </c:pt>
                <c:pt idx="39192">
                  <c:v>-8.4033613445377799E-4</c:v>
                </c:pt>
                <c:pt idx="39193">
                  <c:v>-8.4033613445377799E-4</c:v>
                </c:pt>
                <c:pt idx="39194">
                  <c:v>-8.4033613445377799E-4</c:v>
                </c:pt>
                <c:pt idx="39195">
                  <c:v>-8.4033613445377799E-4</c:v>
                </c:pt>
                <c:pt idx="39196">
                  <c:v>-8.4033613445377799E-4</c:v>
                </c:pt>
                <c:pt idx="39197">
                  <c:v>-8.4033613445377799E-4</c:v>
                </c:pt>
                <c:pt idx="39198">
                  <c:v>-8.4033613445377799E-4</c:v>
                </c:pt>
                <c:pt idx="39199">
                  <c:v>-8.4033613445377799E-4</c:v>
                </c:pt>
                <c:pt idx="39200">
                  <c:v>-8.4033613445377799E-4</c:v>
                </c:pt>
                <c:pt idx="39201">
                  <c:v>-8.4033613445377799E-4</c:v>
                </c:pt>
                <c:pt idx="39202">
                  <c:v>-1.6806722689075499E-3</c:v>
                </c:pt>
                <c:pt idx="39203">
                  <c:v>-1.6806722689075499E-3</c:v>
                </c:pt>
                <c:pt idx="39204">
                  <c:v>-1.6806722689075499E-3</c:v>
                </c:pt>
                <c:pt idx="39205">
                  <c:v>-1.6806722689075499E-3</c:v>
                </c:pt>
                <c:pt idx="39206">
                  <c:v>-1.6806722689075499E-3</c:v>
                </c:pt>
                <c:pt idx="39207">
                  <c:v>-1.6806722689075499E-3</c:v>
                </c:pt>
                <c:pt idx="39208">
                  <c:v>-1.6806722689075499E-3</c:v>
                </c:pt>
                <c:pt idx="39209">
                  <c:v>-1.6806722689075499E-3</c:v>
                </c:pt>
                <c:pt idx="39210">
                  <c:v>-1.6806722689075499E-3</c:v>
                </c:pt>
                <c:pt idx="39211">
                  <c:v>-1.6806722689075499E-3</c:v>
                </c:pt>
                <c:pt idx="39212">
                  <c:v>-1.6806722689075499E-3</c:v>
                </c:pt>
                <c:pt idx="39213">
                  <c:v>-1.6806722689075499E-3</c:v>
                </c:pt>
                <c:pt idx="39214">
                  <c:v>-1.6806722689075499E-3</c:v>
                </c:pt>
                <c:pt idx="39215">
                  <c:v>-1.6806722689075499E-3</c:v>
                </c:pt>
                <c:pt idx="39216">
                  <c:v>-2.5210084033613299E-3</c:v>
                </c:pt>
                <c:pt idx="39217">
                  <c:v>-2.5210084033613299E-3</c:v>
                </c:pt>
                <c:pt idx="39218">
                  <c:v>-2.5210084033613299E-3</c:v>
                </c:pt>
                <c:pt idx="39219">
                  <c:v>-2.5210084033613299E-3</c:v>
                </c:pt>
                <c:pt idx="39220">
                  <c:v>-2.5210084033613299E-3</c:v>
                </c:pt>
                <c:pt idx="39221">
                  <c:v>-2.5210084033613299E-3</c:v>
                </c:pt>
                <c:pt idx="39222">
                  <c:v>-2.5210084033613299E-3</c:v>
                </c:pt>
                <c:pt idx="39223">
                  <c:v>-2.5210084033613299E-3</c:v>
                </c:pt>
                <c:pt idx="39224">
                  <c:v>-2.5210084033613299E-3</c:v>
                </c:pt>
                <c:pt idx="39225">
                  <c:v>-2.5210084033613299E-3</c:v>
                </c:pt>
                <c:pt idx="39226">
                  <c:v>-2.5210084033613299E-3</c:v>
                </c:pt>
                <c:pt idx="39227">
                  <c:v>-2.5210084033613299E-3</c:v>
                </c:pt>
                <c:pt idx="39228">
                  <c:v>-2.5210084033613299E-3</c:v>
                </c:pt>
                <c:pt idx="39229">
                  <c:v>-2.5210084033613299E-3</c:v>
                </c:pt>
                <c:pt idx="39230">
                  <c:v>-2.5210084033613299E-3</c:v>
                </c:pt>
                <c:pt idx="39231">
                  <c:v>-2.5210084033613299E-3</c:v>
                </c:pt>
                <c:pt idx="39232">
                  <c:v>-2.5210084033613299E-3</c:v>
                </c:pt>
                <c:pt idx="39233">
                  <c:v>-2.5210084033613299E-3</c:v>
                </c:pt>
                <c:pt idx="39234">
                  <c:v>-2.5210084033613299E-3</c:v>
                </c:pt>
                <c:pt idx="39235">
                  <c:v>-2.5210084033613299E-3</c:v>
                </c:pt>
                <c:pt idx="39236">
                  <c:v>-2.5210084033613299E-3</c:v>
                </c:pt>
                <c:pt idx="39237">
                  <c:v>-2.5210084033613299E-3</c:v>
                </c:pt>
                <c:pt idx="39238">
                  <c:v>-2.5210084033613299E-3</c:v>
                </c:pt>
                <c:pt idx="39239">
                  <c:v>-2.5210084033613299E-3</c:v>
                </c:pt>
                <c:pt idx="39240">
                  <c:v>-2.5210084033613299E-3</c:v>
                </c:pt>
                <c:pt idx="39241">
                  <c:v>-2.5210084033613299E-3</c:v>
                </c:pt>
                <c:pt idx="39242">
                  <c:v>-2.5210084033613299E-3</c:v>
                </c:pt>
                <c:pt idx="39243">
                  <c:v>-2.5210084033613299E-3</c:v>
                </c:pt>
                <c:pt idx="39244">
                  <c:v>-1.6806722689075499E-3</c:v>
                </c:pt>
                <c:pt idx="39245">
                  <c:v>-1.6806722689075499E-3</c:v>
                </c:pt>
                <c:pt idx="39246">
                  <c:v>-1.6806722689075499E-3</c:v>
                </c:pt>
                <c:pt idx="39247">
                  <c:v>-1.6806722689075499E-3</c:v>
                </c:pt>
                <c:pt idx="39248">
                  <c:v>-1.6806722689075499E-3</c:v>
                </c:pt>
                <c:pt idx="39249">
                  <c:v>-1.6806722689075499E-3</c:v>
                </c:pt>
                <c:pt idx="39250">
                  <c:v>-1.6806722689075499E-3</c:v>
                </c:pt>
                <c:pt idx="39251">
                  <c:v>-1.6806722689075499E-3</c:v>
                </c:pt>
                <c:pt idx="39252">
                  <c:v>-1.6806722689075499E-3</c:v>
                </c:pt>
                <c:pt idx="39253">
                  <c:v>-1.6806722689075499E-3</c:v>
                </c:pt>
                <c:pt idx="39254">
                  <c:v>-1.6806722689075499E-3</c:v>
                </c:pt>
                <c:pt idx="39255">
                  <c:v>-1.6806722689075499E-3</c:v>
                </c:pt>
                <c:pt idx="39256">
                  <c:v>-1.6806722689075499E-3</c:v>
                </c:pt>
                <c:pt idx="39257">
                  <c:v>-1.6806722689075499E-3</c:v>
                </c:pt>
                <c:pt idx="39258">
                  <c:v>-1.6806722689075499E-3</c:v>
                </c:pt>
                <c:pt idx="39259">
                  <c:v>-1.6806722689075499E-3</c:v>
                </c:pt>
                <c:pt idx="39260">
                  <c:v>-1.6806722689075499E-3</c:v>
                </c:pt>
                <c:pt idx="39261">
                  <c:v>-1.6806722689075499E-3</c:v>
                </c:pt>
                <c:pt idx="39262">
                  <c:v>-1.6806722689075499E-3</c:v>
                </c:pt>
                <c:pt idx="39263">
                  <c:v>-1.6806722689075499E-3</c:v>
                </c:pt>
                <c:pt idx="39264">
                  <c:v>-1.6806722689075499E-3</c:v>
                </c:pt>
                <c:pt idx="39265">
                  <c:v>-1.6806722689075499E-3</c:v>
                </c:pt>
                <c:pt idx="39266">
                  <c:v>-1.6806722689075499E-3</c:v>
                </c:pt>
                <c:pt idx="39267">
                  <c:v>-1.6806722689075499E-3</c:v>
                </c:pt>
                <c:pt idx="39268">
                  <c:v>-1.6806722689075499E-3</c:v>
                </c:pt>
                <c:pt idx="39269">
                  <c:v>-1.6806722689075499E-3</c:v>
                </c:pt>
                <c:pt idx="39270">
                  <c:v>-1.6806722689075499E-3</c:v>
                </c:pt>
                <c:pt idx="39271">
                  <c:v>-1.6806722689075499E-3</c:v>
                </c:pt>
                <c:pt idx="39272">
                  <c:v>-1.6806722689075499E-3</c:v>
                </c:pt>
                <c:pt idx="39273">
                  <c:v>-1.6806722689075499E-3</c:v>
                </c:pt>
                <c:pt idx="39274">
                  <c:v>-1.6806722689075499E-3</c:v>
                </c:pt>
                <c:pt idx="39275">
                  <c:v>-1.6806722689075499E-3</c:v>
                </c:pt>
                <c:pt idx="39276">
                  <c:v>-1.6806722689075499E-3</c:v>
                </c:pt>
                <c:pt idx="39277">
                  <c:v>-1.6806722689075499E-3</c:v>
                </c:pt>
                <c:pt idx="39278">
                  <c:v>-1.6806722689075499E-3</c:v>
                </c:pt>
                <c:pt idx="39279">
                  <c:v>-1.6806722689075499E-3</c:v>
                </c:pt>
                <c:pt idx="39280">
                  <c:v>-1.6806722689075499E-3</c:v>
                </c:pt>
                <c:pt idx="39281">
                  <c:v>-1.6806722689075499E-3</c:v>
                </c:pt>
                <c:pt idx="39282">
                  <c:v>-1.6806722689075499E-3</c:v>
                </c:pt>
                <c:pt idx="39283">
                  <c:v>-1.6806722689075499E-3</c:v>
                </c:pt>
                <c:pt idx="39284">
                  <c:v>-1.6806722689075499E-3</c:v>
                </c:pt>
                <c:pt idx="39285">
                  <c:v>-1.6806722689075499E-3</c:v>
                </c:pt>
                <c:pt idx="39286">
                  <c:v>-1.6806722689075499E-3</c:v>
                </c:pt>
                <c:pt idx="39287">
                  <c:v>-1.6806722689075499E-3</c:v>
                </c:pt>
                <c:pt idx="39288">
                  <c:v>-1.6806722689075499E-3</c:v>
                </c:pt>
                <c:pt idx="39289">
                  <c:v>-1.6806722689075499E-3</c:v>
                </c:pt>
                <c:pt idx="39290">
                  <c:v>-1.6806722689075499E-3</c:v>
                </c:pt>
                <c:pt idx="39291">
                  <c:v>-1.6806722689075499E-3</c:v>
                </c:pt>
                <c:pt idx="39292">
                  <c:v>-1.6806722689075499E-3</c:v>
                </c:pt>
                <c:pt idx="39293">
                  <c:v>-1.6806722689075499E-3</c:v>
                </c:pt>
                <c:pt idx="39294">
                  <c:v>-1.6806722689075499E-3</c:v>
                </c:pt>
                <c:pt idx="39295">
                  <c:v>-1.6806722689075499E-3</c:v>
                </c:pt>
                <c:pt idx="39296">
                  <c:v>-1.6806722689075499E-3</c:v>
                </c:pt>
                <c:pt idx="39297">
                  <c:v>-1.6806722689075499E-3</c:v>
                </c:pt>
                <c:pt idx="39298">
                  <c:v>-1.6806722689075499E-3</c:v>
                </c:pt>
                <c:pt idx="39299">
                  <c:v>-1.6806722689075499E-3</c:v>
                </c:pt>
                <c:pt idx="39300">
                  <c:v>-1.6806722689075499E-3</c:v>
                </c:pt>
                <c:pt idx="39301">
                  <c:v>-1.6806722689075499E-3</c:v>
                </c:pt>
                <c:pt idx="39302">
                  <c:v>-1.6806722689075499E-3</c:v>
                </c:pt>
                <c:pt idx="39303">
                  <c:v>-1.6806722689075499E-3</c:v>
                </c:pt>
                <c:pt idx="39304">
                  <c:v>-1.6806722689075499E-3</c:v>
                </c:pt>
                <c:pt idx="39305">
                  <c:v>-1.6806722689075499E-3</c:v>
                </c:pt>
                <c:pt idx="39306">
                  <c:v>-1.6806722689075499E-3</c:v>
                </c:pt>
                <c:pt idx="39307">
                  <c:v>-1.6806722689075499E-3</c:v>
                </c:pt>
                <c:pt idx="39308">
                  <c:v>-1.6806722689075499E-3</c:v>
                </c:pt>
                <c:pt idx="39309">
                  <c:v>-1.6806722689075499E-3</c:v>
                </c:pt>
                <c:pt idx="39310">
                  <c:v>-1.6806722689075499E-3</c:v>
                </c:pt>
                <c:pt idx="39311">
                  <c:v>-1.6806722689075499E-3</c:v>
                </c:pt>
                <c:pt idx="39312">
                  <c:v>-1.6806722689075499E-3</c:v>
                </c:pt>
                <c:pt idx="39313">
                  <c:v>-1.6806722689075499E-3</c:v>
                </c:pt>
                <c:pt idx="39314">
                  <c:v>-1.6806722689075499E-3</c:v>
                </c:pt>
                <c:pt idx="39315">
                  <c:v>-1.6806722689075499E-3</c:v>
                </c:pt>
                <c:pt idx="39316">
                  <c:v>-1.6806722689075499E-3</c:v>
                </c:pt>
                <c:pt idx="39317">
                  <c:v>-1.6806722689075499E-3</c:v>
                </c:pt>
                <c:pt idx="39318">
                  <c:v>-1.6806722689075499E-3</c:v>
                </c:pt>
                <c:pt idx="39319">
                  <c:v>-1.6806722689075499E-3</c:v>
                </c:pt>
                <c:pt idx="39320">
                  <c:v>-1.6806722689075499E-3</c:v>
                </c:pt>
                <c:pt idx="39321">
                  <c:v>-1.6806722689075499E-3</c:v>
                </c:pt>
                <c:pt idx="39322">
                  <c:v>-1.6806722689075499E-3</c:v>
                </c:pt>
                <c:pt idx="39323">
                  <c:v>-1.6806722689075499E-3</c:v>
                </c:pt>
                <c:pt idx="39324">
                  <c:v>-1.6806722689075499E-3</c:v>
                </c:pt>
                <c:pt idx="39325">
                  <c:v>-1.6806722689075499E-3</c:v>
                </c:pt>
                <c:pt idx="39326">
                  <c:v>-1.6806722689075499E-3</c:v>
                </c:pt>
                <c:pt idx="39327">
                  <c:v>-1.6806722689075499E-3</c:v>
                </c:pt>
                <c:pt idx="39328">
                  <c:v>-1.6806722689075499E-3</c:v>
                </c:pt>
                <c:pt idx="39329">
                  <c:v>-1.6806722689075499E-3</c:v>
                </c:pt>
                <c:pt idx="39330">
                  <c:v>-1.6806722689075499E-3</c:v>
                </c:pt>
                <c:pt idx="39331">
                  <c:v>-1.6806722689075499E-3</c:v>
                </c:pt>
                <c:pt idx="39332">
                  <c:v>-1.6806722689075499E-3</c:v>
                </c:pt>
                <c:pt idx="39333">
                  <c:v>-1.6806722689075499E-3</c:v>
                </c:pt>
                <c:pt idx="39334">
                  <c:v>-1.6806722689075499E-3</c:v>
                </c:pt>
                <c:pt idx="39335">
                  <c:v>-1.6806722689075499E-3</c:v>
                </c:pt>
                <c:pt idx="39336">
                  <c:v>-1.6806722689075499E-3</c:v>
                </c:pt>
                <c:pt idx="39337">
                  <c:v>-1.6806722689075499E-3</c:v>
                </c:pt>
                <c:pt idx="39338">
                  <c:v>-1.6806722689075499E-3</c:v>
                </c:pt>
                <c:pt idx="39339">
                  <c:v>-1.6806722689075499E-3</c:v>
                </c:pt>
                <c:pt idx="39340">
                  <c:v>-1.6806722689075499E-3</c:v>
                </c:pt>
                <c:pt idx="39341">
                  <c:v>-1.6806722689075499E-3</c:v>
                </c:pt>
                <c:pt idx="39342">
                  <c:v>-1.6806722689075499E-3</c:v>
                </c:pt>
                <c:pt idx="39343">
                  <c:v>-1.6806722689075499E-3</c:v>
                </c:pt>
                <c:pt idx="39344">
                  <c:v>-1.6806722689075499E-3</c:v>
                </c:pt>
                <c:pt idx="39345">
                  <c:v>-1.6806722689075499E-3</c:v>
                </c:pt>
                <c:pt idx="39346">
                  <c:v>-1.6806722689075499E-3</c:v>
                </c:pt>
                <c:pt idx="39347">
                  <c:v>-1.6806722689075499E-3</c:v>
                </c:pt>
                <c:pt idx="39348">
                  <c:v>-1.6806722689075499E-3</c:v>
                </c:pt>
                <c:pt idx="39349">
                  <c:v>-1.6806722689075499E-3</c:v>
                </c:pt>
                <c:pt idx="39350">
                  <c:v>-1.6806722689075499E-3</c:v>
                </c:pt>
                <c:pt idx="39351">
                  <c:v>-2.5210084033613299E-3</c:v>
                </c:pt>
                <c:pt idx="39352">
                  <c:v>-2.5210084033613299E-3</c:v>
                </c:pt>
                <c:pt idx="39353">
                  <c:v>-2.5210084033613299E-3</c:v>
                </c:pt>
                <c:pt idx="39354">
                  <c:v>-2.5210084033613299E-3</c:v>
                </c:pt>
                <c:pt idx="39355">
                  <c:v>-2.5210084033613299E-3</c:v>
                </c:pt>
                <c:pt idx="39356">
                  <c:v>-2.5210084033613299E-3</c:v>
                </c:pt>
                <c:pt idx="39357">
                  <c:v>-2.5210084033613299E-3</c:v>
                </c:pt>
                <c:pt idx="39358">
                  <c:v>-2.5210084033613299E-3</c:v>
                </c:pt>
                <c:pt idx="39359">
                  <c:v>-2.5210084033613299E-3</c:v>
                </c:pt>
                <c:pt idx="39360">
                  <c:v>-2.5210084033613299E-3</c:v>
                </c:pt>
                <c:pt idx="39361">
                  <c:v>-2.5210084033613299E-3</c:v>
                </c:pt>
                <c:pt idx="39362">
                  <c:v>-2.5210084033613299E-3</c:v>
                </c:pt>
                <c:pt idx="39363">
                  <c:v>-2.5210084033613299E-3</c:v>
                </c:pt>
                <c:pt idx="39364">
                  <c:v>-2.5210084033613299E-3</c:v>
                </c:pt>
                <c:pt idx="39365">
                  <c:v>-2.5210084033613299E-3</c:v>
                </c:pt>
                <c:pt idx="39366">
                  <c:v>-2.5210084033613299E-3</c:v>
                </c:pt>
                <c:pt idx="39367">
                  <c:v>-2.5210084033613299E-3</c:v>
                </c:pt>
                <c:pt idx="39368">
                  <c:v>-2.5210084033613299E-3</c:v>
                </c:pt>
                <c:pt idx="39369">
                  <c:v>-2.5210084033613299E-3</c:v>
                </c:pt>
                <c:pt idx="39370">
                  <c:v>-2.5210084033613299E-3</c:v>
                </c:pt>
                <c:pt idx="39371">
                  <c:v>-2.5210084033613299E-3</c:v>
                </c:pt>
                <c:pt idx="39372">
                  <c:v>-2.5210084033613299E-3</c:v>
                </c:pt>
                <c:pt idx="39373">
                  <c:v>-2.5210084033613299E-3</c:v>
                </c:pt>
                <c:pt idx="39374">
                  <c:v>-2.5210084033613299E-3</c:v>
                </c:pt>
                <c:pt idx="39375">
                  <c:v>-2.5210084033613299E-3</c:v>
                </c:pt>
                <c:pt idx="39376">
                  <c:v>-2.5210084033613299E-3</c:v>
                </c:pt>
                <c:pt idx="39377">
                  <c:v>-2.5210084033613299E-3</c:v>
                </c:pt>
                <c:pt idx="39378">
                  <c:v>-2.5210084033613299E-3</c:v>
                </c:pt>
                <c:pt idx="39379">
                  <c:v>-2.5210084033613299E-3</c:v>
                </c:pt>
                <c:pt idx="39380">
                  <c:v>-2.5210084033613299E-3</c:v>
                </c:pt>
                <c:pt idx="39381">
                  <c:v>-2.5210084033613299E-3</c:v>
                </c:pt>
                <c:pt idx="39382">
                  <c:v>-2.5210084033613299E-3</c:v>
                </c:pt>
                <c:pt idx="39383">
                  <c:v>-2.5210084033613299E-3</c:v>
                </c:pt>
                <c:pt idx="39384">
                  <c:v>-2.5210084033613299E-3</c:v>
                </c:pt>
                <c:pt idx="39385">
                  <c:v>-2.5210084033613299E-3</c:v>
                </c:pt>
                <c:pt idx="39386">
                  <c:v>-2.5210084033613299E-3</c:v>
                </c:pt>
                <c:pt idx="39387">
                  <c:v>-2.5210084033613299E-3</c:v>
                </c:pt>
                <c:pt idx="39388">
                  <c:v>-2.5210084033613299E-3</c:v>
                </c:pt>
                <c:pt idx="39389">
                  <c:v>-2.5210084033613299E-3</c:v>
                </c:pt>
                <c:pt idx="39390">
                  <c:v>-2.5210084033613299E-3</c:v>
                </c:pt>
                <c:pt idx="39391">
                  <c:v>-2.5210084033613299E-3</c:v>
                </c:pt>
                <c:pt idx="39392">
                  <c:v>-2.5210084033613299E-3</c:v>
                </c:pt>
                <c:pt idx="39393">
                  <c:v>-2.5210084033613299E-3</c:v>
                </c:pt>
                <c:pt idx="39394">
                  <c:v>-2.5210084033613299E-3</c:v>
                </c:pt>
                <c:pt idx="39395">
                  <c:v>-2.5210084033613299E-3</c:v>
                </c:pt>
                <c:pt idx="39396">
                  <c:v>-2.5210084033613299E-3</c:v>
                </c:pt>
                <c:pt idx="39397">
                  <c:v>-2.5210084033613299E-3</c:v>
                </c:pt>
                <c:pt idx="39398">
                  <c:v>-2.5210084033613299E-3</c:v>
                </c:pt>
                <c:pt idx="39399">
                  <c:v>-2.5210084033613299E-3</c:v>
                </c:pt>
                <c:pt idx="39400">
                  <c:v>-2.5210084033613299E-3</c:v>
                </c:pt>
                <c:pt idx="39401">
                  <c:v>-2.5210084033613299E-3</c:v>
                </c:pt>
                <c:pt idx="39402">
                  <c:v>-2.5210084033613299E-3</c:v>
                </c:pt>
                <c:pt idx="39403">
                  <c:v>-2.5210084033613299E-3</c:v>
                </c:pt>
                <c:pt idx="39404">
                  <c:v>-2.5210084033613299E-3</c:v>
                </c:pt>
                <c:pt idx="39405">
                  <c:v>-2.5210084033613299E-3</c:v>
                </c:pt>
                <c:pt idx="39406">
                  <c:v>-2.5210084033613299E-3</c:v>
                </c:pt>
                <c:pt idx="39407">
                  <c:v>-2.5210084033613299E-3</c:v>
                </c:pt>
                <c:pt idx="39408">
                  <c:v>-2.5210084033613299E-3</c:v>
                </c:pt>
                <c:pt idx="39409">
                  <c:v>-2.5210084033613299E-3</c:v>
                </c:pt>
                <c:pt idx="39410">
                  <c:v>-2.5210084033613299E-3</c:v>
                </c:pt>
                <c:pt idx="39411">
                  <c:v>-2.5210084033613299E-3</c:v>
                </c:pt>
                <c:pt idx="39412">
                  <c:v>-2.5210084033613299E-3</c:v>
                </c:pt>
                <c:pt idx="39413">
                  <c:v>-2.5210084033613299E-3</c:v>
                </c:pt>
                <c:pt idx="39414">
                  <c:v>-2.5210084033613299E-3</c:v>
                </c:pt>
                <c:pt idx="39415">
                  <c:v>-2.5210084033613299E-3</c:v>
                </c:pt>
                <c:pt idx="39416">
                  <c:v>-2.5210084033613299E-3</c:v>
                </c:pt>
                <c:pt idx="39417">
                  <c:v>-2.5210084033613299E-3</c:v>
                </c:pt>
                <c:pt idx="39418">
                  <c:v>-2.5210084033613299E-3</c:v>
                </c:pt>
                <c:pt idx="39419">
                  <c:v>-2.5210084033613299E-3</c:v>
                </c:pt>
                <c:pt idx="39420">
                  <c:v>-2.5210084033613299E-3</c:v>
                </c:pt>
                <c:pt idx="39421">
                  <c:v>-2.5210084033613299E-3</c:v>
                </c:pt>
                <c:pt idx="39422">
                  <c:v>-2.5210084033613299E-3</c:v>
                </c:pt>
                <c:pt idx="39423">
                  <c:v>-2.5210084033613299E-3</c:v>
                </c:pt>
                <c:pt idx="39424">
                  <c:v>-2.5210084033613299E-3</c:v>
                </c:pt>
                <c:pt idx="39425">
                  <c:v>-2.5210084033613299E-3</c:v>
                </c:pt>
                <c:pt idx="39426">
                  <c:v>-2.5210084033613299E-3</c:v>
                </c:pt>
                <c:pt idx="39427">
                  <c:v>-2.5210084033613299E-3</c:v>
                </c:pt>
                <c:pt idx="39428">
                  <c:v>-2.5210084033613299E-3</c:v>
                </c:pt>
                <c:pt idx="39429">
                  <c:v>-2.5210084033613299E-3</c:v>
                </c:pt>
                <c:pt idx="39430">
                  <c:v>-2.5210084033613299E-3</c:v>
                </c:pt>
                <c:pt idx="39431">
                  <c:v>-2.5210084033613299E-3</c:v>
                </c:pt>
                <c:pt idx="39432">
                  <c:v>-2.5210084033613299E-3</c:v>
                </c:pt>
                <c:pt idx="39433">
                  <c:v>-2.5210084033613299E-3</c:v>
                </c:pt>
                <c:pt idx="39434">
                  <c:v>-1.6806722689075499E-3</c:v>
                </c:pt>
                <c:pt idx="39435">
                  <c:v>-1.6806722689075499E-3</c:v>
                </c:pt>
                <c:pt idx="39436">
                  <c:v>-1.6806722689075499E-3</c:v>
                </c:pt>
                <c:pt idx="39437">
                  <c:v>-1.6806722689075499E-3</c:v>
                </c:pt>
                <c:pt idx="39438">
                  <c:v>-1.6806722689075499E-3</c:v>
                </c:pt>
                <c:pt idx="39439">
                  <c:v>-1.6806722689075499E-3</c:v>
                </c:pt>
                <c:pt idx="39440">
                  <c:v>-1.6806722689075499E-3</c:v>
                </c:pt>
                <c:pt idx="39441">
                  <c:v>-2.5210084033613299E-3</c:v>
                </c:pt>
                <c:pt idx="39442">
                  <c:v>-2.5210084033613299E-3</c:v>
                </c:pt>
                <c:pt idx="39443">
                  <c:v>-2.5210084033613299E-3</c:v>
                </c:pt>
                <c:pt idx="39444">
                  <c:v>-2.5210084033613299E-3</c:v>
                </c:pt>
                <c:pt idx="39445">
                  <c:v>-2.5210084033613299E-3</c:v>
                </c:pt>
                <c:pt idx="39446">
                  <c:v>-2.5210084033613299E-3</c:v>
                </c:pt>
                <c:pt idx="39447">
                  <c:v>-2.5210084033613299E-3</c:v>
                </c:pt>
                <c:pt idx="39448">
                  <c:v>-1.6806722689075499E-3</c:v>
                </c:pt>
                <c:pt idx="39449">
                  <c:v>-1.6806722689075499E-3</c:v>
                </c:pt>
                <c:pt idx="39450">
                  <c:v>-1.6806722689075499E-3</c:v>
                </c:pt>
                <c:pt idx="39451">
                  <c:v>-1.6806722689075499E-3</c:v>
                </c:pt>
                <c:pt idx="39452">
                  <c:v>-1.6806722689075499E-3</c:v>
                </c:pt>
                <c:pt idx="39453">
                  <c:v>-1.6806722689075499E-3</c:v>
                </c:pt>
                <c:pt idx="39454">
                  <c:v>-1.6806722689075499E-3</c:v>
                </c:pt>
                <c:pt idx="39455">
                  <c:v>-1.6806722689075499E-3</c:v>
                </c:pt>
                <c:pt idx="39456">
                  <c:v>-1.6806722689075499E-3</c:v>
                </c:pt>
                <c:pt idx="39457">
                  <c:v>-1.6806722689075499E-3</c:v>
                </c:pt>
                <c:pt idx="39458">
                  <c:v>-1.6806722689075499E-3</c:v>
                </c:pt>
                <c:pt idx="39459">
                  <c:v>-1.6806722689075499E-3</c:v>
                </c:pt>
                <c:pt idx="39460">
                  <c:v>-1.6806722689075499E-3</c:v>
                </c:pt>
                <c:pt idx="39461">
                  <c:v>-2.5210084033613299E-3</c:v>
                </c:pt>
                <c:pt idx="39462">
                  <c:v>-2.5210084033613299E-3</c:v>
                </c:pt>
                <c:pt idx="39463">
                  <c:v>-2.5210084033613299E-3</c:v>
                </c:pt>
                <c:pt idx="39464">
                  <c:v>-2.5210084033613299E-3</c:v>
                </c:pt>
                <c:pt idx="39465">
                  <c:v>-2.5210084033613299E-3</c:v>
                </c:pt>
                <c:pt idx="39466">
                  <c:v>-2.5210084033613299E-3</c:v>
                </c:pt>
                <c:pt idx="39467">
                  <c:v>-2.5210084033613299E-3</c:v>
                </c:pt>
                <c:pt idx="39468">
                  <c:v>-2.5210084033613299E-3</c:v>
                </c:pt>
                <c:pt idx="39469">
                  <c:v>-2.5210084033613299E-3</c:v>
                </c:pt>
                <c:pt idx="39470">
                  <c:v>-2.5210084033613299E-3</c:v>
                </c:pt>
                <c:pt idx="39471">
                  <c:v>-2.5210084033613299E-3</c:v>
                </c:pt>
                <c:pt idx="39472">
                  <c:v>-2.5210084033613299E-3</c:v>
                </c:pt>
                <c:pt idx="39473">
                  <c:v>-2.5210084033613299E-3</c:v>
                </c:pt>
                <c:pt idx="39474">
                  <c:v>-2.5210084033613299E-3</c:v>
                </c:pt>
                <c:pt idx="39475">
                  <c:v>-2.5210084033613299E-3</c:v>
                </c:pt>
                <c:pt idx="39476">
                  <c:v>-2.5210084033613299E-3</c:v>
                </c:pt>
                <c:pt idx="39477">
                  <c:v>-2.5210084033613299E-3</c:v>
                </c:pt>
                <c:pt idx="39478">
                  <c:v>-2.5210084033613299E-3</c:v>
                </c:pt>
                <c:pt idx="39479">
                  <c:v>-2.5210084033613299E-3</c:v>
                </c:pt>
                <c:pt idx="39480">
                  <c:v>-2.5210084033613299E-3</c:v>
                </c:pt>
                <c:pt idx="39481">
                  <c:v>-2.5210084033613299E-3</c:v>
                </c:pt>
                <c:pt idx="39482">
                  <c:v>-2.5210084033613299E-3</c:v>
                </c:pt>
                <c:pt idx="39483">
                  <c:v>-2.5210084033613299E-3</c:v>
                </c:pt>
                <c:pt idx="39484">
                  <c:v>-2.5210084033613299E-3</c:v>
                </c:pt>
                <c:pt idx="39485">
                  <c:v>-2.5210084033613299E-3</c:v>
                </c:pt>
                <c:pt idx="39486">
                  <c:v>-2.5210084033613299E-3</c:v>
                </c:pt>
                <c:pt idx="39487">
                  <c:v>-2.5210084033613299E-3</c:v>
                </c:pt>
                <c:pt idx="39488">
                  <c:v>-2.5210084033613299E-3</c:v>
                </c:pt>
                <c:pt idx="39489">
                  <c:v>-2.5210084033613299E-3</c:v>
                </c:pt>
                <c:pt idx="39490">
                  <c:v>-2.5210084033613299E-3</c:v>
                </c:pt>
                <c:pt idx="39491">
                  <c:v>-2.5210084033613299E-3</c:v>
                </c:pt>
                <c:pt idx="39492">
                  <c:v>-2.5210084033613299E-3</c:v>
                </c:pt>
                <c:pt idx="39493">
                  <c:v>-2.5210084033613299E-3</c:v>
                </c:pt>
                <c:pt idx="39494">
                  <c:v>-2.5210084033613299E-3</c:v>
                </c:pt>
                <c:pt idx="39495">
                  <c:v>-2.5210084033613299E-3</c:v>
                </c:pt>
                <c:pt idx="39496">
                  <c:v>-2.5210084033613299E-3</c:v>
                </c:pt>
                <c:pt idx="39497">
                  <c:v>-2.5210084033613299E-3</c:v>
                </c:pt>
                <c:pt idx="39498">
                  <c:v>-2.5210084033613299E-3</c:v>
                </c:pt>
                <c:pt idx="39499">
                  <c:v>-2.5210084033613299E-3</c:v>
                </c:pt>
                <c:pt idx="39500">
                  <c:v>-2.5210084033613299E-3</c:v>
                </c:pt>
                <c:pt idx="39501">
                  <c:v>-2.5210084033613299E-3</c:v>
                </c:pt>
                <c:pt idx="39502">
                  <c:v>-2.5210084033613299E-3</c:v>
                </c:pt>
                <c:pt idx="39503">
                  <c:v>-2.5210084033613299E-3</c:v>
                </c:pt>
                <c:pt idx="39504">
                  <c:v>-2.5210084033613299E-3</c:v>
                </c:pt>
                <c:pt idx="39505">
                  <c:v>-2.5210084033613299E-3</c:v>
                </c:pt>
                <c:pt idx="39506">
                  <c:v>-2.5210084033613299E-3</c:v>
                </c:pt>
                <c:pt idx="39507">
                  <c:v>-2.5210084033613299E-3</c:v>
                </c:pt>
                <c:pt idx="39508">
                  <c:v>-2.5210084033613299E-3</c:v>
                </c:pt>
                <c:pt idx="39509">
                  <c:v>-3.3613445378151102E-3</c:v>
                </c:pt>
                <c:pt idx="39510">
                  <c:v>-3.3613445378151102E-3</c:v>
                </c:pt>
                <c:pt idx="39511">
                  <c:v>-3.3613445378151102E-3</c:v>
                </c:pt>
                <c:pt idx="39512">
                  <c:v>-3.3613445378151102E-3</c:v>
                </c:pt>
                <c:pt idx="39513">
                  <c:v>-3.3613445378151102E-3</c:v>
                </c:pt>
                <c:pt idx="39514">
                  <c:v>-3.3613445378151102E-3</c:v>
                </c:pt>
                <c:pt idx="39515">
                  <c:v>-3.3613445378151102E-3</c:v>
                </c:pt>
                <c:pt idx="39516">
                  <c:v>-3.3613445378151102E-3</c:v>
                </c:pt>
                <c:pt idx="39517">
                  <c:v>-3.3613445378151102E-3</c:v>
                </c:pt>
                <c:pt idx="39518">
                  <c:v>-3.3613445378151102E-3</c:v>
                </c:pt>
                <c:pt idx="39519">
                  <c:v>-3.3613445378151102E-3</c:v>
                </c:pt>
                <c:pt idx="39520">
                  <c:v>-3.3613445378151102E-3</c:v>
                </c:pt>
                <c:pt idx="39521">
                  <c:v>-3.3613445378151102E-3</c:v>
                </c:pt>
                <c:pt idx="39522">
                  <c:v>-3.3613445378151102E-3</c:v>
                </c:pt>
                <c:pt idx="39523">
                  <c:v>-3.3613445378151102E-3</c:v>
                </c:pt>
                <c:pt idx="39524">
                  <c:v>-3.3613445378151102E-3</c:v>
                </c:pt>
                <c:pt idx="39525">
                  <c:v>-3.3613445378151102E-3</c:v>
                </c:pt>
                <c:pt idx="39526">
                  <c:v>-3.3613445378151102E-3</c:v>
                </c:pt>
                <c:pt idx="39527">
                  <c:v>-3.3613445378151102E-3</c:v>
                </c:pt>
                <c:pt idx="39528">
                  <c:v>-3.3613445378151102E-3</c:v>
                </c:pt>
                <c:pt idx="39529">
                  <c:v>-3.3613445378151102E-3</c:v>
                </c:pt>
                <c:pt idx="39530">
                  <c:v>-3.3613445378151102E-3</c:v>
                </c:pt>
                <c:pt idx="39531">
                  <c:v>-3.3613445378151102E-3</c:v>
                </c:pt>
                <c:pt idx="39532">
                  <c:v>-3.3613445378151102E-3</c:v>
                </c:pt>
                <c:pt idx="39533">
                  <c:v>-3.3613445378151102E-3</c:v>
                </c:pt>
                <c:pt idx="39534">
                  <c:v>-3.3613445378151102E-3</c:v>
                </c:pt>
                <c:pt idx="39535">
                  <c:v>-3.3613445378151102E-3</c:v>
                </c:pt>
                <c:pt idx="39536">
                  <c:v>-3.3613445378151102E-3</c:v>
                </c:pt>
                <c:pt idx="39537">
                  <c:v>-3.3613445378151102E-3</c:v>
                </c:pt>
                <c:pt idx="39538">
                  <c:v>-3.3613445378151102E-3</c:v>
                </c:pt>
                <c:pt idx="39539">
                  <c:v>-3.3613445378151102E-3</c:v>
                </c:pt>
                <c:pt idx="39540">
                  <c:v>-3.3613445378151102E-3</c:v>
                </c:pt>
                <c:pt idx="39541">
                  <c:v>-3.3613445378151102E-3</c:v>
                </c:pt>
                <c:pt idx="39542">
                  <c:v>-3.3613445378151102E-3</c:v>
                </c:pt>
                <c:pt idx="39543">
                  <c:v>-3.3613445378151102E-3</c:v>
                </c:pt>
                <c:pt idx="39544">
                  <c:v>-3.3613445378151102E-3</c:v>
                </c:pt>
                <c:pt idx="39545">
                  <c:v>-3.3613445378151102E-3</c:v>
                </c:pt>
                <c:pt idx="39546">
                  <c:v>-3.3613445378151102E-3</c:v>
                </c:pt>
                <c:pt idx="39547">
                  <c:v>-3.3613445378151102E-3</c:v>
                </c:pt>
                <c:pt idx="39548">
                  <c:v>-3.3613445378151102E-3</c:v>
                </c:pt>
                <c:pt idx="39549">
                  <c:v>-3.3613445378151102E-3</c:v>
                </c:pt>
                <c:pt idx="39550">
                  <c:v>-3.3613445378151102E-3</c:v>
                </c:pt>
                <c:pt idx="39551">
                  <c:v>-3.3613445378151102E-3</c:v>
                </c:pt>
                <c:pt idx="39552">
                  <c:v>-3.3613445378151102E-3</c:v>
                </c:pt>
                <c:pt idx="39553">
                  <c:v>-3.3613445378151102E-3</c:v>
                </c:pt>
                <c:pt idx="39554">
                  <c:v>-3.3613445378151102E-3</c:v>
                </c:pt>
                <c:pt idx="39555">
                  <c:v>-3.3613445378151102E-3</c:v>
                </c:pt>
                <c:pt idx="39556">
                  <c:v>-3.3613445378151102E-3</c:v>
                </c:pt>
                <c:pt idx="39557">
                  <c:v>-3.3613445378151102E-3</c:v>
                </c:pt>
                <c:pt idx="39558">
                  <c:v>-3.3613445378151102E-3</c:v>
                </c:pt>
                <c:pt idx="39559">
                  <c:v>-3.3613445378151102E-3</c:v>
                </c:pt>
                <c:pt idx="39560">
                  <c:v>-3.3613445378151102E-3</c:v>
                </c:pt>
                <c:pt idx="39561">
                  <c:v>-3.3613445378151102E-3</c:v>
                </c:pt>
                <c:pt idx="39562">
                  <c:v>-3.3613445378151102E-3</c:v>
                </c:pt>
                <c:pt idx="39563">
                  <c:v>-3.3613445378151102E-3</c:v>
                </c:pt>
                <c:pt idx="39564">
                  <c:v>-3.3613445378151102E-3</c:v>
                </c:pt>
                <c:pt idx="39565">
                  <c:v>-3.3613445378151102E-3</c:v>
                </c:pt>
                <c:pt idx="39566">
                  <c:v>-3.3613445378151102E-3</c:v>
                </c:pt>
                <c:pt idx="39567">
                  <c:v>-3.3613445378151102E-3</c:v>
                </c:pt>
                <c:pt idx="39568">
                  <c:v>-2.5210084033613299E-3</c:v>
                </c:pt>
                <c:pt idx="39569">
                  <c:v>-2.5210084033613299E-3</c:v>
                </c:pt>
                <c:pt idx="39570">
                  <c:v>-2.5210084033613299E-3</c:v>
                </c:pt>
                <c:pt idx="39571">
                  <c:v>-2.5210084033613299E-3</c:v>
                </c:pt>
                <c:pt idx="39572">
                  <c:v>-2.5210084033613299E-3</c:v>
                </c:pt>
                <c:pt idx="39573">
                  <c:v>-2.5210084033613299E-3</c:v>
                </c:pt>
                <c:pt idx="39574">
                  <c:v>-2.5210084033613299E-3</c:v>
                </c:pt>
                <c:pt idx="39575">
                  <c:v>-2.5210084033613299E-3</c:v>
                </c:pt>
                <c:pt idx="39576">
                  <c:v>-2.5210084033613299E-3</c:v>
                </c:pt>
                <c:pt idx="39577">
                  <c:v>-2.5210084033613299E-3</c:v>
                </c:pt>
                <c:pt idx="39578">
                  <c:v>-2.5210084033613299E-3</c:v>
                </c:pt>
                <c:pt idx="39579">
                  <c:v>-2.5210084033613299E-3</c:v>
                </c:pt>
                <c:pt idx="39580">
                  <c:v>-2.5210084033613299E-3</c:v>
                </c:pt>
                <c:pt idx="39581">
                  <c:v>-2.5210084033613299E-3</c:v>
                </c:pt>
                <c:pt idx="39582">
                  <c:v>-2.5210084033613299E-3</c:v>
                </c:pt>
                <c:pt idx="39583">
                  <c:v>-2.5210084033613299E-3</c:v>
                </c:pt>
                <c:pt idx="39584">
                  <c:v>-2.5210084033613299E-3</c:v>
                </c:pt>
                <c:pt idx="39585">
                  <c:v>-2.5210084033613299E-3</c:v>
                </c:pt>
                <c:pt idx="39586">
                  <c:v>-2.5210084033613299E-3</c:v>
                </c:pt>
                <c:pt idx="39587">
                  <c:v>-2.5210084033613299E-3</c:v>
                </c:pt>
                <c:pt idx="39588">
                  <c:v>-2.5210084033613299E-3</c:v>
                </c:pt>
                <c:pt idx="39589">
                  <c:v>-2.5210084033613299E-3</c:v>
                </c:pt>
                <c:pt idx="39590">
                  <c:v>-2.5210084033613299E-3</c:v>
                </c:pt>
                <c:pt idx="39591">
                  <c:v>-2.5210084033613299E-3</c:v>
                </c:pt>
                <c:pt idx="39592">
                  <c:v>-2.5210084033613299E-3</c:v>
                </c:pt>
                <c:pt idx="39593">
                  <c:v>-2.5210084033613299E-3</c:v>
                </c:pt>
                <c:pt idx="39594">
                  <c:v>-2.5210084033613299E-3</c:v>
                </c:pt>
                <c:pt idx="39595">
                  <c:v>-2.5210084033613299E-3</c:v>
                </c:pt>
                <c:pt idx="39596">
                  <c:v>-2.5210084033613299E-3</c:v>
                </c:pt>
                <c:pt idx="39597">
                  <c:v>-2.5210084033613299E-3</c:v>
                </c:pt>
                <c:pt idx="39598">
                  <c:v>-2.5210084033613299E-3</c:v>
                </c:pt>
                <c:pt idx="39599">
                  <c:v>-2.5210084033613299E-3</c:v>
                </c:pt>
                <c:pt idx="39600">
                  <c:v>-2.5210084033613299E-3</c:v>
                </c:pt>
                <c:pt idx="39601">
                  <c:v>-2.5210084033613299E-3</c:v>
                </c:pt>
                <c:pt idx="39602">
                  <c:v>-1.6806722689075499E-3</c:v>
                </c:pt>
                <c:pt idx="39603">
                  <c:v>-1.6806722689075499E-3</c:v>
                </c:pt>
                <c:pt idx="39604">
                  <c:v>-1.6806722689075499E-3</c:v>
                </c:pt>
                <c:pt idx="39605">
                  <c:v>-1.6806722689075499E-3</c:v>
                </c:pt>
                <c:pt idx="39606">
                  <c:v>-1.6806722689075499E-3</c:v>
                </c:pt>
                <c:pt idx="39607">
                  <c:v>-1.6806722689075499E-3</c:v>
                </c:pt>
                <c:pt idx="39608">
                  <c:v>-1.6806722689075499E-3</c:v>
                </c:pt>
                <c:pt idx="39609">
                  <c:v>-1.6806722689075499E-3</c:v>
                </c:pt>
                <c:pt idx="39610">
                  <c:v>-1.6806722689075499E-3</c:v>
                </c:pt>
                <c:pt idx="39611">
                  <c:v>-1.6806722689075499E-3</c:v>
                </c:pt>
                <c:pt idx="39612">
                  <c:v>-1.6806722689075499E-3</c:v>
                </c:pt>
                <c:pt idx="39613">
                  <c:v>-1.6806722689075499E-3</c:v>
                </c:pt>
                <c:pt idx="39614">
                  <c:v>-1.6806722689075499E-3</c:v>
                </c:pt>
                <c:pt idx="39615">
                  <c:v>-1.6806722689075499E-3</c:v>
                </c:pt>
                <c:pt idx="39616">
                  <c:v>-8.4033613445377799E-4</c:v>
                </c:pt>
                <c:pt idx="39617">
                  <c:v>-8.4033613445377799E-4</c:v>
                </c:pt>
                <c:pt idx="39618">
                  <c:v>-8.4033613445377799E-4</c:v>
                </c:pt>
                <c:pt idx="39619">
                  <c:v>-8.4033613445377799E-4</c:v>
                </c:pt>
                <c:pt idx="39620">
                  <c:v>-8.4033613445377799E-4</c:v>
                </c:pt>
                <c:pt idx="39621">
                  <c:v>-8.4033613445377799E-4</c:v>
                </c:pt>
                <c:pt idx="39622">
                  <c:v>-8.4033613445377799E-4</c:v>
                </c:pt>
                <c:pt idx="39623">
                  <c:v>-8.4033613445377799E-4</c:v>
                </c:pt>
                <c:pt idx="39624">
                  <c:v>-8.4033613445377799E-4</c:v>
                </c:pt>
                <c:pt idx="39625">
                  <c:v>-8.4033613445377799E-4</c:v>
                </c:pt>
                <c:pt idx="39626">
                  <c:v>-8.4033613445377799E-4</c:v>
                </c:pt>
                <c:pt idx="39627">
                  <c:v>-8.4033613445377799E-4</c:v>
                </c:pt>
                <c:pt idx="39628">
                  <c:v>-8.4033613445377799E-4</c:v>
                </c:pt>
                <c:pt idx="39629">
                  <c:v>-1.6806722689075499E-3</c:v>
                </c:pt>
                <c:pt idx="39630">
                  <c:v>-1.6806722689075499E-3</c:v>
                </c:pt>
                <c:pt idx="39631">
                  <c:v>-1.6806722689075499E-3</c:v>
                </c:pt>
                <c:pt idx="39632">
                  <c:v>-1.6806722689075499E-3</c:v>
                </c:pt>
                <c:pt idx="39633">
                  <c:v>-1.6806722689075499E-3</c:v>
                </c:pt>
                <c:pt idx="39634">
                  <c:v>-1.6806722689075499E-3</c:v>
                </c:pt>
                <c:pt idx="39635">
                  <c:v>-1.6806722689075499E-3</c:v>
                </c:pt>
                <c:pt idx="39636">
                  <c:v>-1.6806722689075499E-3</c:v>
                </c:pt>
                <c:pt idx="39637">
                  <c:v>-1.6806722689075499E-3</c:v>
                </c:pt>
                <c:pt idx="39638">
                  <c:v>-1.6806722689075499E-3</c:v>
                </c:pt>
                <c:pt idx="39639">
                  <c:v>-1.6806722689075499E-3</c:v>
                </c:pt>
                <c:pt idx="39640">
                  <c:v>-1.6806722689075499E-3</c:v>
                </c:pt>
                <c:pt idx="39641">
                  <c:v>-1.6806722689075499E-3</c:v>
                </c:pt>
                <c:pt idx="39642">
                  <c:v>-1.6806722689075499E-3</c:v>
                </c:pt>
                <c:pt idx="39643">
                  <c:v>-1.6806722689075499E-3</c:v>
                </c:pt>
                <c:pt idx="39644">
                  <c:v>-1.6806722689075499E-3</c:v>
                </c:pt>
                <c:pt idx="39645">
                  <c:v>-1.6806722689075499E-3</c:v>
                </c:pt>
                <c:pt idx="39646">
                  <c:v>-1.6806722689075499E-3</c:v>
                </c:pt>
                <c:pt idx="39647">
                  <c:v>-1.6806722689075499E-3</c:v>
                </c:pt>
                <c:pt idx="39648">
                  <c:v>-1.6806722689075499E-3</c:v>
                </c:pt>
                <c:pt idx="39649">
                  <c:v>-1.6806722689075499E-3</c:v>
                </c:pt>
                <c:pt idx="39650">
                  <c:v>-1.6806722689075499E-3</c:v>
                </c:pt>
                <c:pt idx="39651">
                  <c:v>-1.6806722689075499E-3</c:v>
                </c:pt>
                <c:pt idx="39652">
                  <c:v>-1.6806722689075499E-3</c:v>
                </c:pt>
                <c:pt idx="39653">
                  <c:v>-1.6806722689075499E-3</c:v>
                </c:pt>
                <c:pt idx="39654">
                  <c:v>-1.6806722689075499E-3</c:v>
                </c:pt>
                <c:pt idx="39655">
                  <c:v>-1.6806722689075499E-3</c:v>
                </c:pt>
                <c:pt idx="39656">
                  <c:v>-1.6806722689075499E-3</c:v>
                </c:pt>
                <c:pt idx="39657">
                  <c:v>-1.6806722689075499E-3</c:v>
                </c:pt>
                <c:pt idx="39658">
                  <c:v>-1.6806722689075499E-3</c:v>
                </c:pt>
                <c:pt idx="39659">
                  <c:v>-1.6806722689075499E-3</c:v>
                </c:pt>
                <c:pt idx="39660">
                  <c:v>-1.6806722689075499E-3</c:v>
                </c:pt>
                <c:pt idx="39661">
                  <c:v>-1.6806722689075499E-3</c:v>
                </c:pt>
                <c:pt idx="39662">
                  <c:v>-1.6806722689075499E-3</c:v>
                </c:pt>
                <c:pt idx="39663">
                  <c:v>-1.6806722689075499E-3</c:v>
                </c:pt>
                <c:pt idx="39664">
                  <c:v>-2.5210084033613299E-3</c:v>
                </c:pt>
                <c:pt idx="39665">
                  <c:v>-2.5210084033613299E-3</c:v>
                </c:pt>
                <c:pt idx="39666">
                  <c:v>-2.5210084033613299E-3</c:v>
                </c:pt>
                <c:pt idx="39667">
                  <c:v>-2.5210084033613299E-3</c:v>
                </c:pt>
                <c:pt idx="39668">
                  <c:v>-2.5210084033613299E-3</c:v>
                </c:pt>
                <c:pt idx="39669">
                  <c:v>-2.5210084033613299E-3</c:v>
                </c:pt>
                <c:pt idx="39670">
                  <c:v>-2.5210084033613299E-3</c:v>
                </c:pt>
                <c:pt idx="39671">
                  <c:v>-2.5210084033613299E-3</c:v>
                </c:pt>
                <c:pt idx="39672">
                  <c:v>-2.5210084033613299E-3</c:v>
                </c:pt>
                <c:pt idx="39673">
                  <c:v>-2.5210084033613299E-3</c:v>
                </c:pt>
                <c:pt idx="39674">
                  <c:v>-2.5210084033613299E-3</c:v>
                </c:pt>
                <c:pt idx="39675">
                  <c:v>-2.5210084033613299E-3</c:v>
                </c:pt>
                <c:pt idx="39676">
                  <c:v>-2.5210084033613299E-3</c:v>
                </c:pt>
                <c:pt idx="39677">
                  <c:v>-2.5210084033613299E-3</c:v>
                </c:pt>
                <c:pt idx="39678">
                  <c:v>-2.5210084033613299E-3</c:v>
                </c:pt>
                <c:pt idx="39679">
                  <c:v>-2.5210084033613299E-3</c:v>
                </c:pt>
                <c:pt idx="39680">
                  <c:v>-2.5210084033613299E-3</c:v>
                </c:pt>
                <c:pt idx="39681">
                  <c:v>-2.5210084033613299E-3</c:v>
                </c:pt>
                <c:pt idx="39682">
                  <c:v>-2.5210084033613299E-3</c:v>
                </c:pt>
                <c:pt idx="39683">
                  <c:v>-2.5210084033613299E-3</c:v>
                </c:pt>
                <c:pt idx="39684">
                  <c:v>-2.5210084033613299E-3</c:v>
                </c:pt>
                <c:pt idx="39685">
                  <c:v>-2.5210084033613299E-3</c:v>
                </c:pt>
                <c:pt idx="39686">
                  <c:v>-2.5210084033613299E-3</c:v>
                </c:pt>
                <c:pt idx="39687">
                  <c:v>-2.5210084033613299E-3</c:v>
                </c:pt>
                <c:pt idx="39688">
                  <c:v>-2.5210084033613299E-3</c:v>
                </c:pt>
                <c:pt idx="39689">
                  <c:v>-2.5210084033613299E-3</c:v>
                </c:pt>
                <c:pt idx="39690">
                  <c:v>-2.5210084033613299E-3</c:v>
                </c:pt>
                <c:pt idx="39691">
                  <c:v>-2.5210084033613299E-3</c:v>
                </c:pt>
                <c:pt idx="39692">
                  <c:v>-2.5210084033613299E-3</c:v>
                </c:pt>
                <c:pt idx="39693">
                  <c:v>-2.5210084033613299E-3</c:v>
                </c:pt>
                <c:pt idx="39694">
                  <c:v>-2.5210084033613299E-3</c:v>
                </c:pt>
                <c:pt idx="39695">
                  <c:v>-2.5210084033613299E-3</c:v>
                </c:pt>
                <c:pt idx="39696">
                  <c:v>-2.5210084033613299E-3</c:v>
                </c:pt>
                <c:pt idx="39697">
                  <c:v>-2.5210084033613299E-3</c:v>
                </c:pt>
                <c:pt idx="39698">
                  <c:v>-2.5210084033613299E-3</c:v>
                </c:pt>
                <c:pt idx="39699">
                  <c:v>-2.5210084033613299E-3</c:v>
                </c:pt>
                <c:pt idx="39700">
                  <c:v>-2.5210084033613299E-3</c:v>
                </c:pt>
                <c:pt idx="39701">
                  <c:v>-2.5210084033613299E-3</c:v>
                </c:pt>
                <c:pt idx="39702">
                  <c:v>-2.5210084033613299E-3</c:v>
                </c:pt>
                <c:pt idx="39703">
                  <c:v>-2.5210084033613299E-3</c:v>
                </c:pt>
                <c:pt idx="39704">
                  <c:v>-2.5210084033613299E-3</c:v>
                </c:pt>
                <c:pt idx="39705">
                  <c:v>-2.5210084033613299E-3</c:v>
                </c:pt>
                <c:pt idx="39706">
                  <c:v>-2.5210084033613299E-3</c:v>
                </c:pt>
                <c:pt idx="39707">
                  <c:v>-2.5210084033613299E-3</c:v>
                </c:pt>
                <c:pt idx="39708">
                  <c:v>-2.5210084033613299E-3</c:v>
                </c:pt>
                <c:pt idx="39709">
                  <c:v>-2.5210084033613299E-3</c:v>
                </c:pt>
                <c:pt idx="39710">
                  <c:v>-2.5210084033613299E-3</c:v>
                </c:pt>
                <c:pt idx="39711">
                  <c:v>-2.5210084033613299E-3</c:v>
                </c:pt>
                <c:pt idx="39712">
                  <c:v>-2.5210084033613299E-3</c:v>
                </c:pt>
                <c:pt idx="39713">
                  <c:v>-2.5210084033613299E-3</c:v>
                </c:pt>
                <c:pt idx="39714">
                  <c:v>-2.5210084033613299E-3</c:v>
                </c:pt>
                <c:pt idx="39715">
                  <c:v>-2.5210084033613299E-3</c:v>
                </c:pt>
                <c:pt idx="39716">
                  <c:v>-2.5210084033613299E-3</c:v>
                </c:pt>
                <c:pt idx="39717">
                  <c:v>-2.5210084033613299E-3</c:v>
                </c:pt>
                <c:pt idx="39718">
                  <c:v>-2.5210084033613299E-3</c:v>
                </c:pt>
                <c:pt idx="39719">
                  <c:v>-2.5210084033613299E-3</c:v>
                </c:pt>
                <c:pt idx="39720">
                  <c:v>-2.5210084033613299E-3</c:v>
                </c:pt>
                <c:pt idx="39721">
                  <c:v>-2.5210084033613299E-3</c:v>
                </c:pt>
                <c:pt idx="39722">
                  <c:v>-2.5210084033613299E-3</c:v>
                </c:pt>
                <c:pt idx="39723">
                  <c:v>-2.5210084033613299E-3</c:v>
                </c:pt>
                <c:pt idx="39724">
                  <c:v>-2.5210084033613299E-3</c:v>
                </c:pt>
                <c:pt idx="39725">
                  <c:v>-2.5210084033613299E-3</c:v>
                </c:pt>
                <c:pt idx="39726">
                  <c:v>-2.5210084033613299E-3</c:v>
                </c:pt>
                <c:pt idx="39727">
                  <c:v>-2.5210084033613299E-3</c:v>
                </c:pt>
                <c:pt idx="39728">
                  <c:v>-2.5210084033613299E-3</c:v>
                </c:pt>
                <c:pt idx="39729">
                  <c:v>-2.5210084033613299E-3</c:v>
                </c:pt>
                <c:pt idx="39730">
                  <c:v>-2.5210084033613299E-3</c:v>
                </c:pt>
                <c:pt idx="39731">
                  <c:v>-2.5210084033613299E-3</c:v>
                </c:pt>
                <c:pt idx="39732">
                  <c:v>-2.5210084033613299E-3</c:v>
                </c:pt>
                <c:pt idx="39733">
                  <c:v>-2.5210084033613299E-3</c:v>
                </c:pt>
                <c:pt idx="39734">
                  <c:v>-2.5210084033613299E-3</c:v>
                </c:pt>
                <c:pt idx="39735">
                  <c:v>-2.5210084033613299E-3</c:v>
                </c:pt>
                <c:pt idx="39736">
                  <c:v>-2.5210084033613299E-3</c:v>
                </c:pt>
                <c:pt idx="39737">
                  <c:v>-2.5210084033613299E-3</c:v>
                </c:pt>
                <c:pt idx="39738">
                  <c:v>-2.5210084033613299E-3</c:v>
                </c:pt>
                <c:pt idx="39739">
                  <c:v>-2.5210084033613299E-3</c:v>
                </c:pt>
                <c:pt idx="39740">
                  <c:v>-2.5210084033613299E-3</c:v>
                </c:pt>
                <c:pt idx="39741">
                  <c:v>-2.5210084033613299E-3</c:v>
                </c:pt>
                <c:pt idx="39742">
                  <c:v>-2.5210084033613299E-3</c:v>
                </c:pt>
                <c:pt idx="39743">
                  <c:v>-2.5210084033613299E-3</c:v>
                </c:pt>
                <c:pt idx="39744">
                  <c:v>-2.5210084033613299E-3</c:v>
                </c:pt>
                <c:pt idx="39745">
                  <c:v>-2.5210084033613299E-3</c:v>
                </c:pt>
                <c:pt idx="39746">
                  <c:v>-2.5210084033613299E-3</c:v>
                </c:pt>
                <c:pt idx="39747">
                  <c:v>-2.5210084033613299E-3</c:v>
                </c:pt>
                <c:pt idx="39748">
                  <c:v>-2.5210084033613299E-3</c:v>
                </c:pt>
                <c:pt idx="39749">
                  <c:v>-2.5210084033613299E-3</c:v>
                </c:pt>
                <c:pt idx="39750">
                  <c:v>-2.5210084033613299E-3</c:v>
                </c:pt>
                <c:pt idx="39751">
                  <c:v>-2.5210084033613299E-3</c:v>
                </c:pt>
                <c:pt idx="39752">
                  <c:v>-2.5210084033613299E-3</c:v>
                </c:pt>
                <c:pt idx="39753">
                  <c:v>-2.5210084033613299E-3</c:v>
                </c:pt>
                <c:pt idx="39754">
                  <c:v>-2.5210084033613299E-3</c:v>
                </c:pt>
                <c:pt idx="39755">
                  <c:v>-2.5210084033613299E-3</c:v>
                </c:pt>
                <c:pt idx="39756">
                  <c:v>-2.5210084033613299E-3</c:v>
                </c:pt>
                <c:pt idx="39757">
                  <c:v>-2.5210084033613299E-3</c:v>
                </c:pt>
                <c:pt idx="39758">
                  <c:v>-2.5210084033613299E-3</c:v>
                </c:pt>
                <c:pt idx="39759">
                  <c:v>-2.5210084033613299E-3</c:v>
                </c:pt>
                <c:pt idx="39760">
                  <c:v>-2.5210084033613299E-3</c:v>
                </c:pt>
                <c:pt idx="39761">
                  <c:v>-2.5210084033613299E-3</c:v>
                </c:pt>
                <c:pt idx="39762">
                  <c:v>-2.5210084033613299E-3</c:v>
                </c:pt>
                <c:pt idx="39763">
                  <c:v>-2.5210084033613299E-3</c:v>
                </c:pt>
                <c:pt idx="39764">
                  <c:v>-2.5210084033613299E-3</c:v>
                </c:pt>
                <c:pt idx="39765">
                  <c:v>-2.5210084033613299E-3</c:v>
                </c:pt>
                <c:pt idx="39766">
                  <c:v>-2.5210084033613299E-3</c:v>
                </c:pt>
                <c:pt idx="39767">
                  <c:v>-2.5210084033613299E-3</c:v>
                </c:pt>
                <c:pt idx="39768">
                  <c:v>-2.5210084033613299E-3</c:v>
                </c:pt>
                <c:pt idx="39769">
                  <c:v>-2.5210084033613299E-3</c:v>
                </c:pt>
                <c:pt idx="39770">
                  <c:v>-2.5210084033613299E-3</c:v>
                </c:pt>
                <c:pt idx="39771">
                  <c:v>-2.5210084033613299E-3</c:v>
                </c:pt>
                <c:pt idx="39772">
                  <c:v>-2.5210084033613299E-3</c:v>
                </c:pt>
                <c:pt idx="39773">
                  <c:v>-2.5210084033613299E-3</c:v>
                </c:pt>
                <c:pt idx="39774">
                  <c:v>-2.5210084033613299E-3</c:v>
                </c:pt>
                <c:pt idx="39775">
                  <c:v>-2.5210084033613299E-3</c:v>
                </c:pt>
                <c:pt idx="39776">
                  <c:v>-2.5210084033613299E-3</c:v>
                </c:pt>
                <c:pt idx="39777">
                  <c:v>-2.5210084033613299E-3</c:v>
                </c:pt>
                <c:pt idx="39778">
                  <c:v>-2.5210084033613299E-3</c:v>
                </c:pt>
                <c:pt idx="39779">
                  <c:v>-2.5210084033613299E-3</c:v>
                </c:pt>
                <c:pt idx="39780">
                  <c:v>-2.5210084033613299E-3</c:v>
                </c:pt>
                <c:pt idx="39781">
                  <c:v>-2.5210084033613299E-3</c:v>
                </c:pt>
                <c:pt idx="39782">
                  <c:v>-2.5210084033613299E-3</c:v>
                </c:pt>
                <c:pt idx="39783">
                  <c:v>-2.5210084033613299E-3</c:v>
                </c:pt>
                <c:pt idx="39784">
                  <c:v>-2.5210084033613299E-3</c:v>
                </c:pt>
                <c:pt idx="39785">
                  <c:v>-3.3613445378151102E-3</c:v>
                </c:pt>
                <c:pt idx="39786">
                  <c:v>-3.3613445378151102E-3</c:v>
                </c:pt>
                <c:pt idx="39787">
                  <c:v>-3.3613445378151102E-3</c:v>
                </c:pt>
                <c:pt idx="39788">
                  <c:v>-3.3613445378151102E-3</c:v>
                </c:pt>
                <c:pt idx="39789">
                  <c:v>-3.3613445378151102E-3</c:v>
                </c:pt>
                <c:pt idx="39790">
                  <c:v>-3.3613445378151102E-3</c:v>
                </c:pt>
                <c:pt idx="39791">
                  <c:v>-3.3613445378151102E-3</c:v>
                </c:pt>
                <c:pt idx="39792">
                  <c:v>-3.3613445378151102E-3</c:v>
                </c:pt>
                <c:pt idx="39793">
                  <c:v>-3.3613445378151102E-3</c:v>
                </c:pt>
                <c:pt idx="39794">
                  <c:v>-3.3613445378151102E-3</c:v>
                </c:pt>
                <c:pt idx="39795">
                  <c:v>-3.3613445378151102E-3</c:v>
                </c:pt>
                <c:pt idx="39796">
                  <c:v>-3.3613445378151102E-3</c:v>
                </c:pt>
                <c:pt idx="39797">
                  <c:v>-3.3613445378151102E-3</c:v>
                </c:pt>
                <c:pt idx="39798">
                  <c:v>-3.3613445378151102E-3</c:v>
                </c:pt>
                <c:pt idx="39799">
                  <c:v>-3.3613445378151102E-3</c:v>
                </c:pt>
                <c:pt idx="39800">
                  <c:v>-3.3613445378151102E-3</c:v>
                </c:pt>
                <c:pt idx="39801">
                  <c:v>-3.3613445378151102E-3</c:v>
                </c:pt>
                <c:pt idx="39802">
                  <c:v>-3.3613445378151102E-3</c:v>
                </c:pt>
                <c:pt idx="39803">
                  <c:v>-3.3613445378151102E-3</c:v>
                </c:pt>
                <c:pt idx="39804">
                  <c:v>-3.3613445378151102E-3</c:v>
                </c:pt>
                <c:pt idx="39805">
                  <c:v>-3.3613445378151102E-3</c:v>
                </c:pt>
                <c:pt idx="39806">
                  <c:v>-3.3613445378151102E-3</c:v>
                </c:pt>
                <c:pt idx="39807">
                  <c:v>-3.3613445378151102E-3</c:v>
                </c:pt>
                <c:pt idx="39808">
                  <c:v>-3.3613445378151102E-3</c:v>
                </c:pt>
                <c:pt idx="39809">
                  <c:v>-3.3613445378151102E-3</c:v>
                </c:pt>
                <c:pt idx="39810">
                  <c:v>-3.3613445378151102E-3</c:v>
                </c:pt>
                <c:pt idx="39811">
                  <c:v>-3.3613445378151102E-3</c:v>
                </c:pt>
                <c:pt idx="39812">
                  <c:v>-3.3613445378151102E-3</c:v>
                </c:pt>
                <c:pt idx="39813">
                  <c:v>-3.3613445378151102E-3</c:v>
                </c:pt>
                <c:pt idx="39814">
                  <c:v>-3.3613445378151102E-3</c:v>
                </c:pt>
                <c:pt idx="39815">
                  <c:v>-3.3613445378151102E-3</c:v>
                </c:pt>
                <c:pt idx="39816">
                  <c:v>-3.3613445378151102E-3</c:v>
                </c:pt>
                <c:pt idx="39817">
                  <c:v>-3.3613445378151102E-3</c:v>
                </c:pt>
                <c:pt idx="39818">
                  <c:v>-3.3613445378151102E-3</c:v>
                </c:pt>
                <c:pt idx="39819">
                  <c:v>-3.3613445378151102E-3</c:v>
                </c:pt>
                <c:pt idx="39820">
                  <c:v>-3.3613445378151102E-3</c:v>
                </c:pt>
                <c:pt idx="39821">
                  <c:v>-3.3613445378151102E-3</c:v>
                </c:pt>
                <c:pt idx="39822">
                  <c:v>-3.3613445378151102E-3</c:v>
                </c:pt>
                <c:pt idx="39823">
                  <c:v>-3.3613445378151102E-3</c:v>
                </c:pt>
                <c:pt idx="39824">
                  <c:v>-3.3613445378151102E-3</c:v>
                </c:pt>
                <c:pt idx="39825">
                  <c:v>-3.3613445378151102E-3</c:v>
                </c:pt>
                <c:pt idx="39826">
                  <c:v>-3.3613445378151102E-3</c:v>
                </c:pt>
                <c:pt idx="39827">
                  <c:v>-3.3613445378151102E-3</c:v>
                </c:pt>
                <c:pt idx="39828">
                  <c:v>-3.3613445378151102E-3</c:v>
                </c:pt>
                <c:pt idx="39829">
                  <c:v>-3.3613445378151102E-3</c:v>
                </c:pt>
                <c:pt idx="39830">
                  <c:v>-3.3613445378151102E-3</c:v>
                </c:pt>
                <c:pt idx="39831">
                  <c:v>-3.3613445378151102E-3</c:v>
                </c:pt>
                <c:pt idx="39832">
                  <c:v>-3.3613445378151102E-3</c:v>
                </c:pt>
                <c:pt idx="39833">
                  <c:v>-4.20168067226889E-3</c:v>
                </c:pt>
                <c:pt idx="39834">
                  <c:v>-4.20168067226889E-3</c:v>
                </c:pt>
                <c:pt idx="39835">
                  <c:v>-4.20168067226889E-3</c:v>
                </c:pt>
                <c:pt idx="39836">
                  <c:v>-4.20168067226889E-3</c:v>
                </c:pt>
                <c:pt idx="39837">
                  <c:v>-4.20168067226889E-3</c:v>
                </c:pt>
                <c:pt idx="39838">
                  <c:v>-4.20168067226889E-3</c:v>
                </c:pt>
                <c:pt idx="39839">
                  <c:v>-4.20168067226889E-3</c:v>
                </c:pt>
                <c:pt idx="39840">
                  <c:v>-4.20168067226889E-3</c:v>
                </c:pt>
                <c:pt idx="39841">
                  <c:v>-4.20168067226889E-3</c:v>
                </c:pt>
                <c:pt idx="39842">
                  <c:v>-4.20168067226889E-3</c:v>
                </c:pt>
                <c:pt idx="39843">
                  <c:v>-4.20168067226889E-3</c:v>
                </c:pt>
                <c:pt idx="39844">
                  <c:v>-4.20168067226889E-3</c:v>
                </c:pt>
                <c:pt idx="39845">
                  <c:v>-4.20168067226889E-3</c:v>
                </c:pt>
                <c:pt idx="39846">
                  <c:v>-4.20168067226889E-3</c:v>
                </c:pt>
                <c:pt idx="39847">
                  <c:v>-4.20168067226889E-3</c:v>
                </c:pt>
                <c:pt idx="39848">
                  <c:v>-4.20168067226889E-3</c:v>
                </c:pt>
                <c:pt idx="39849">
                  <c:v>-4.20168067226889E-3</c:v>
                </c:pt>
                <c:pt idx="39850">
                  <c:v>-4.20168067226889E-3</c:v>
                </c:pt>
                <c:pt idx="39851">
                  <c:v>-4.20168067226889E-3</c:v>
                </c:pt>
                <c:pt idx="39852">
                  <c:v>-4.20168067226889E-3</c:v>
                </c:pt>
                <c:pt idx="39853">
                  <c:v>-4.20168067226889E-3</c:v>
                </c:pt>
                <c:pt idx="39854">
                  <c:v>-4.20168067226889E-3</c:v>
                </c:pt>
                <c:pt idx="39855">
                  <c:v>-4.20168067226889E-3</c:v>
                </c:pt>
                <c:pt idx="39856">
                  <c:v>-4.20168067226889E-3</c:v>
                </c:pt>
                <c:pt idx="39857">
                  <c:v>-4.20168067226889E-3</c:v>
                </c:pt>
                <c:pt idx="39858">
                  <c:v>-4.20168067226889E-3</c:v>
                </c:pt>
                <c:pt idx="39859">
                  <c:v>-4.20168067226889E-3</c:v>
                </c:pt>
                <c:pt idx="39860">
                  <c:v>-4.20168067226889E-3</c:v>
                </c:pt>
                <c:pt idx="39861">
                  <c:v>-4.20168067226889E-3</c:v>
                </c:pt>
                <c:pt idx="39862">
                  <c:v>-4.20168067226889E-3</c:v>
                </c:pt>
                <c:pt idx="39863">
                  <c:v>-4.20168067226889E-3</c:v>
                </c:pt>
                <c:pt idx="39864">
                  <c:v>-4.20168067226889E-3</c:v>
                </c:pt>
                <c:pt idx="39865">
                  <c:v>-4.20168067226889E-3</c:v>
                </c:pt>
                <c:pt idx="39866">
                  <c:v>-4.20168067226889E-3</c:v>
                </c:pt>
                <c:pt idx="39867">
                  <c:v>-4.20168067226889E-3</c:v>
                </c:pt>
                <c:pt idx="39868">
                  <c:v>-4.20168067226889E-3</c:v>
                </c:pt>
                <c:pt idx="39869">
                  <c:v>-4.20168067226889E-3</c:v>
                </c:pt>
                <c:pt idx="39870">
                  <c:v>-4.20168067226889E-3</c:v>
                </c:pt>
                <c:pt idx="39871">
                  <c:v>-4.20168067226889E-3</c:v>
                </c:pt>
                <c:pt idx="39872">
                  <c:v>-4.20168067226889E-3</c:v>
                </c:pt>
                <c:pt idx="39873">
                  <c:v>-4.20168067226889E-3</c:v>
                </c:pt>
                <c:pt idx="39874">
                  <c:v>-4.20168067226889E-3</c:v>
                </c:pt>
                <c:pt idx="39875">
                  <c:v>-4.20168067226889E-3</c:v>
                </c:pt>
                <c:pt idx="39876">
                  <c:v>-4.20168067226889E-3</c:v>
                </c:pt>
                <c:pt idx="39877">
                  <c:v>-4.20168067226889E-3</c:v>
                </c:pt>
                <c:pt idx="39878">
                  <c:v>-4.20168067226889E-3</c:v>
                </c:pt>
                <c:pt idx="39879">
                  <c:v>-4.20168067226889E-3</c:v>
                </c:pt>
                <c:pt idx="39880">
                  <c:v>-4.20168067226889E-3</c:v>
                </c:pt>
                <c:pt idx="39881">
                  <c:v>-4.20168067226889E-3</c:v>
                </c:pt>
                <c:pt idx="39882">
                  <c:v>-4.20168067226889E-3</c:v>
                </c:pt>
                <c:pt idx="39883">
                  <c:v>-4.20168067226889E-3</c:v>
                </c:pt>
                <c:pt idx="39884">
                  <c:v>-4.20168067226889E-3</c:v>
                </c:pt>
                <c:pt idx="39885">
                  <c:v>-4.20168067226889E-3</c:v>
                </c:pt>
                <c:pt idx="39886">
                  <c:v>-4.20168067226889E-3</c:v>
                </c:pt>
                <c:pt idx="39887">
                  <c:v>-4.20168067226889E-3</c:v>
                </c:pt>
                <c:pt idx="39888">
                  <c:v>-4.20168067226889E-3</c:v>
                </c:pt>
                <c:pt idx="39889">
                  <c:v>-4.20168067226889E-3</c:v>
                </c:pt>
                <c:pt idx="39890">
                  <c:v>-4.20168067226889E-3</c:v>
                </c:pt>
                <c:pt idx="39891">
                  <c:v>-4.20168067226889E-3</c:v>
                </c:pt>
                <c:pt idx="39892">
                  <c:v>-4.20168067226889E-3</c:v>
                </c:pt>
                <c:pt idx="39893">
                  <c:v>-4.20168067226889E-3</c:v>
                </c:pt>
                <c:pt idx="39894">
                  <c:v>-4.20168067226889E-3</c:v>
                </c:pt>
                <c:pt idx="39895">
                  <c:v>-4.20168067226889E-3</c:v>
                </c:pt>
                <c:pt idx="39896">
                  <c:v>-4.20168067226889E-3</c:v>
                </c:pt>
                <c:pt idx="39897">
                  <c:v>-4.20168067226889E-3</c:v>
                </c:pt>
                <c:pt idx="39898">
                  <c:v>-3.3613445378151102E-3</c:v>
                </c:pt>
                <c:pt idx="39899">
                  <c:v>-3.3613445378151102E-3</c:v>
                </c:pt>
                <c:pt idx="39900">
                  <c:v>-3.3613445378151102E-3</c:v>
                </c:pt>
                <c:pt idx="39901">
                  <c:v>-3.3613445378151102E-3</c:v>
                </c:pt>
                <c:pt idx="39902">
                  <c:v>-3.3613445378151102E-3</c:v>
                </c:pt>
                <c:pt idx="39903">
                  <c:v>-3.3613445378151102E-3</c:v>
                </c:pt>
                <c:pt idx="39904">
                  <c:v>-3.3613445378151102E-3</c:v>
                </c:pt>
                <c:pt idx="39905">
                  <c:v>-3.3613445378151102E-3</c:v>
                </c:pt>
                <c:pt idx="39906">
                  <c:v>-3.3613445378151102E-3</c:v>
                </c:pt>
                <c:pt idx="39907">
                  <c:v>-3.3613445378151102E-3</c:v>
                </c:pt>
                <c:pt idx="39908">
                  <c:v>-3.3613445378151102E-3</c:v>
                </c:pt>
                <c:pt idx="39909">
                  <c:v>-3.3613445378151102E-3</c:v>
                </c:pt>
                <c:pt idx="39910">
                  <c:v>-3.3613445378151102E-3</c:v>
                </c:pt>
                <c:pt idx="39911">
                  <c:v>-3.3613445378151102E-3</c:v>
                </c:pt>
                <c:pt idx="39912">
                  <c:v>-3.3613445378151102E-3</c:v>
                </c:pt>
                <c:pt idx="39913">
                  <c:v>-3.3613445378151102E-3</c:v>
                </c:pt>
                <c:pt idx="39914">
                  <c:v>-3.3613445378151102E-3</c:v>
                </c:pt>
                <c:pt idx="39915">
                  <c:v>-3.3613445378151102E-3</c:v>
                </c:pt>
                <c:pt idx="39916">
                  <c:v>-3.3613445378151102E-3</c:v>
                </c:pt>
                <c:pt idx="39917">
                  <c:v>-3.3613445378151102E-3</c:v>
                </c:pt>
                <c:pt idx="39918">
                  <c:v>-3.3613445378151102E-3</c:v>
                </c:pt>
                <c:pt idx="39919">
                  <c:v>-3.3613445378151102E-3</c:v>
                </c:pt>
                <c:pt idx="39920">
                  <c:v>-3.3613445378151102E-3</c:v>
                </c:pt>
                <c:pt idx="39921">
                  <c:v>-3.3613445378151102E-3</c:v>
                </c:pt>
                <c:pt idx="39922">
                  <c:v>-3.3613445378151102E-3</c:v>
                </c:pt>
                <c:pt idx="39923">
                  <c:v>-3.3613445378151102E-3</c:v>
                </c:pt>
                <c:pt idx="39924">
                  <c:v>-3.3613445378151102E-3</c:v>
                </c:pt>
                <c:pt idx="39925">
                  <c:v>-3.3613445378151102E-3</c:v>
                </c:pt>
                <c:pt idx="39926">
                  <c:v>-3.3613445378151102E-3</c:v>
                </c:pt>
                <c:pt idx="39927">
                  <c:v>-3.3613445378151102E-3</c:v>
                </c:pt>
                <c:pt idx="39928">
                  <c:v>-3.3613445378151102E-3</c:v>
                </c:pt>
                <c:pt idx="39929">
                  <c:v>-3.3613445378151102E-3</c:v>
                </c:pt>
                <c:pt idx="39930">
                  <c:v>-3.3613445378151102E-3</c:v>
                </c:pt>
                <c:pt idx="39931">
                  <c:v>-3.3613445378151102E-3</c:v>
                </c:pt>
                <c:pt idx="39932">
                  <c:v>-3.3613445378151102E-3</c:v>
                </c:pt>
                <c:pt idx="39933">
                  <c:v>-3.3613445378151102E-3</c:v>
                </c:pt>
                <c:pt idx="39934">
                  <c:v>-3.3613445378151102E-3</c:v>
                </c:pt>
                <c:pt idx="39935">
                  <c:v>-3.3613445378151102E-3</c:v>
                </c:pt>
                <c:pt idx="39936">
                  <c:v>-3.3613445378151102E-3</c:v>
                </c:pt>
                <c:pt idx="39937">
                  <c:v>-3.3613445378151102E-3</c:v>
                </c:pt>
                <c:pt idx="39938">
                  <c:v>-3.3613445378151102E-3</c:v>
                </c:pt>
                <c:pt idx="39939">
                  <c:v>-3.3613445378151102E-3</c:v>
                </c:pt>
                <c:pt idx="39940">
                  <c:v>-3.3613445378151102E-3</c:v>
                </c:pt>
                <c:pt idx="39941">
                  <c:v>-3.3613445378151102E-3</c:v>
                </c:pt>
                <c:pt idx="39942">
                  <c:v>-3.3613445378151102E-3</c:v>
                </c:pt>
                <c:pt idx="39943">
                  <c:v>-3.3613445378151102E-3</c:v>
                </c:pt>
                <c:pt idx="39944">
                  <c:v>-3.3613445378151102E-3</c:v>
                </c:pt>
                <c:pt idx="39945">
                  <c:v>-3.3613445378151102E-3</c:v>
                </c:pt>
                <c:pt idx="39946">
                  <c:v>-3.3613445378151102E-3</c:v>
                </c:pt>
                <c:pt idx="39947">
                  <c:v>-3.3613445378151102E-3</c:v>
                </c:pt>
                <c:pt idx="39948">
                  <c:v>-3.3613445378151102E-3</c:v>
                </c:pt>
                <c:pt idx="39949">
                  <c:v>-3.3613445378151102E-3</c:v>
                </c:pt>
                <c:pt idx="39950">
                  <c:v>-3.3613445378151102E-3</c:v>
                </c:pt>
                <c:pt idx="39951">
                  <c:v>-3.3613445378151102E-3</c:v>
                </c:pt>
                <c:pt idx="39952">
                  <c:v>-2.5210084033613299E-3</c:v>
                </c:pt>
                <c:pt idx="39953">
                  <c:v>-2.5210084033613299E-3</c:v>
                </c:pt>
                <c:pt idx="39954">
                  <c:v>-2.5210084033613299E-3</c:v>
                </c:pt>
                <c:pt idx="39955">
                  <c:v>-2.5210084033613299E-3</c:v>
                </c:pt>
                <c:pt idx="39956">
                  <c:v>-2.5210084033613299E-3</c:v>
                </c:pt>
                <c:pt idx="39957">
                  <c:v>-2.5210084033613299E-3</c:v>
                </c:pt>
                <c:pt idx="39958">
                  <c:v>-2.5210084033613299E-3</c:v>
                </c:pt>
                <c:pt idx="39959">
                  <c:v>-2.5210084033613299E-3</c:v>
                </c:pt>
                <c:pt idx="39960">
                  <c:v>-2.5210084033613299E-3</c:v>
                </c:pt>
                <c:pt idx="39961">
                  <c:v>-2.5210084033613299E-3</c:v>
                </c:pt>
                <c:pt idx="39962">
                  <c:v>-1.6806722689075499E-3</c:v>
                </c:pt>
                <c:pt idx="39963">
                  <c:v>-1.6806722689075499E-3</c:v>
                </c:pt>
                <c:pt idx="39964">
                  <c:v>-1.6806722689075499E-3</c:v>
                </c:pt>
                <c:pt idx="39965">
                  <c:v>-1.6806722689075499E-3</c:v>
                </c:pt>
                <c:pt idx="39966">
                  <c:v>-1.6806722689075499E-3</c:v>
                </c:pt>
                <c:pt idx="39967">
                  <c:v>-1.6806722689075499E-3</c:v>
                </c:pt>
                <c:pt idx="39968">
                  <c:v>-1.6806722689075499E-3</c:v>
                </c:pt>
                <c:pt idx="39969">
                  <c:v>-1.6806722689075499E-3</c:v>
                </c:pt>
                <c:pt idx="39970">
                  <c:v>-1.6806722689075499E-3</c:v>
                </c:pt>
                <c:pt idx="39971">
                  <c:v>-1.6806722689075499E-3</c:v>
                </c:pt>
                <c:pt idx="39972">
                  <c:v>-1.6806722689075499E-3</c:v>
                </c:pt>
                <c:pt idx="39973">
                  <c:v>-1.6806722689075499E-3</c:v>
                </c:pt>
                <c:pt idx="39974">
                  <c:v>-2.5210084033613299E-3</c:v>
                </c:pt>
                <c:pt idx="39975">
                  <c:v>-2.5210084033613299E-3</c:v>
                </c:pt>
                <c:pt idx="39976">
                  <c:v>-2.5210084033613299E-3</c:v>
                </c:pt>
                <c:pt idx="39977">
                  <c:v>-2.5210084033613299E-3</c:v>
                </c:pt>
                <c:pt idx="39978">
                  <c:v>-2.5210084033613299E-3</c:v>
                </c:pt>
                <c:pt idx="39979">
                  <c:v>-2.5210084033613299E-3</c:v>
                </c:pt>
                <c:pt idx="39980">
                  <c:v>-2.5210084033613299E-3</c:v>
                </c:pt>
                <c:pt idx="39981">
                  <c:v>-2.5210084033613299E-3</c:v>
                </c:pt>
                <c:pt idx="39982">
                  <c:v>-2.5210084033613299E-3</c:v>
                </c:pt>
                <c:pt idx="39983">
                  <c:v>-2.5210084033613299E-3</c:v>
                </c:pt>
                <c:pt idx="39984">
                  <c:v>-2.5210084033613299E-3</c:v>
                </c:pt>
                <c:pt idx="39985">
                  <c:v>-2.5210084033613299E-3</c:v>
                </c:pt>
                <c:pt idx="39986">
                  <c:v>-2.5210084033613299E-3</c:v>
                </c:pt>
                <c:pt idx="39987">
                  <c:v>-2.5210084033613299E-3</c:v>
                </c:pt>
                <c:pt idx="39988">
                  <c:v>-2.5210084033613299E-3</c:v>
                </c:pt>
                <c:pt idx="39989">
                  <c:v>-2.5210084033613299E-3</c:v>
                </c:pt>
                <c:pt idx="39990">
                  <c:v>-2.5210084033613299E-3</c:v>
                </c:pt>
                <c:pt idx="39991">
                  <c:v>-2.5210084033613299E-3</c:v>
                </c:pt>
                <c:pt idx="39992">
                  <c:v>-2.5210084033613299E-3</c:v>
                </c:pt>
                <c:pt idx="39993">
                  <c:v>-2.5210084033613299E-3</c:v>
                </c:pt>
                <c:pt idx="39994">
                  <c:v>-2.5210084033613299E-3</c:v>
                </c:pt>
                <c:pt idx="39995">
                  <c:v>-2.5210084033613299E-3</c:v>
                </c:pt>
                <c:pt idx="39996">
                  <c:v>-2.5210084033613299E-3</c:v>
                </c:pt>
                <c:pt idx="39997">
                  <c:v>-2.5210084033613299E-3</c:v>
                </c:pt>
                <c:pt idx="39998">
                  <c:v>-2.5210084033613299E-3</c:v>
                </c:pt>
                <c:pt idx="39999">
                  <c:v>-2.5210084033613299E-3</c:v>
                </c:pt>
                <c:pt idx="40000">
                  <c:v>-2.5210084033613299E-3</c:v>
                </c:pt>
                <c:pt idx="40001">
                  <c:v>-2.5210084033613299E-3</c:v>
                </c:pt>
                <c:pt idx="40002">
                  <c:v>-2.5210084033613299E-3</c:v>
                </c:pt>
                <c:pt idx="40003">
                  <c:v>-2.5210084033613299E-3</c:v>
                </c:pt>
                <c:pt idx="40004">
                  <c:v>-2.5210084033613299E-3</c:v>
                </c:pt>
                <c:pt idx="40005">
                  <c:v>-2.5210084033613299E-3</c:v>
                </c:pt>
                <c:pt idx="40006">
                  <c:v>-2.5210084033613299E-3</c:v>
                </c:pt>
                <c:pt idx="40007">
                  <c:v>-2.5210084033613299E-3</c:v>
                </c:pt>
                <c:pt idx="40008">
                  <c:v>-2.5210084033613299E-3</c:v>
                </c:pt>
                <c:pt idx="40009">
                  <c:v>-2.5210084033613299E-3</c:v>
                </c:pt>
                <c:pt idx="40010">
                  <c:v>-2.5210084033613299E-3</c:v>
                </c:pt>
                <c:pt idx="40011">
                  <c:v>-2.5210084033613299E-3</c:v>
                </c:pt>
                <c:pt idx="40012">
                  <c:v>-2.5210084033613299E-3</c:v>
                </c:pt>
                <c:pt idx="40013">
                  <c:v>-2.5210084033613299E-3</c:v>
                </c:pt>
                <c:pt idx="40014">
                  <c:v>-2.5210084033613299E-3</c:v>
                </c:pt>
                <c:pt idx="40015">
                  <c:v>-2.5210084033613299E-3</c:v>
                </c:pt>
                <c:pt idx="40016">
                  <c:v>-2.5210084033613299E-3</c:v>
                </c:pt>
                <c:pt idx="40017">
                  <c:v>-2.5210084033613299E-3</c:v>
                </c:pt>
                <c:pt idx="40018">
                  <c:v>-2.5210084033613299E-3</c:v>
                </c:pt>
                <c:pt idx="40019">
                  <c:v>-2.5210084033613299E-3</c:v>
                </c:pt>
                <c:pt idx="40020">
                  <c:v>-2.5210084033613299E-3</c:v>
                </c:pt>
                <c:pt idx="40021">
                  <c:v>-2.5210084033613299E-3</c:v>
                </c:pt>
                <c:pt idx="40022">
                  <c:v>-2.5210084033613299E-3</c:v>
                </c:pt>
                <c:pt idx="40023">
                  <c:v>-2.5210084033613299E-3</c:v>
                </c:pt>
                <c:pt idx="40024">
                  <c:v>-2.5210084033613299E-3</c:v>
                </c:pt>
                <c:pt idx="40025">
                  <c:v>-2.5210084033613299E-3</c:v>
                </c:pt>
                <c:pt idx="40026">
                  <c:v>-2.5210084033613299E-3</c:v>
                </c:pt>
                <c:pt idx="40027">
                  <c:v>-2.5210084033613299E-3</c:v>
                </c:pt>
                <c:pt idx="40028">
                  <c:v>-2.5210084033613299E-3</c:v>
                </c:pt>
                <c:pt idx="40029">
                  <c:v>-2.5210084033613299E-3</c:v>
                </c:pt>
                <c:pt idx="40030">
                  <c:v>-2.5210084033613299E-3</c:v>
                </c:pt>
                <c:pt idx="40031">
                  <c:v>-1.6806722689075499E-3</c:v>
                </c:pt>
                <c:pt idx="40032">
                  <c:v>-1.6806722689075499E-3</c:v>
                </c:pt>
                <c:pt idx="40033">
                  <c:v>-1.6806722689075499E-3</c:v>
                </c:pt>
                <c:pt idx="40034">
                  <c:v>-1.6806722689075499E-3</c:v>
                </c:pt>
                <c:pt idx="40035">
                  <c:v>-1.6806722689075499E-3</c:v>
                </c:pt>
                <c:pt idx="40036">
                  <c:v>-1.6806722689075499E-3</c:v>
                </c:pt>
                <c:pt idx="40037">
                  <c:v>-1.6806722689075499E-3</c:v>
                </c:pt>
                <c:pt idx="40038">
                  <c:v>-1.6806722689075499E-3</c:v>
                </c:pt>
                <c:pt idx="40039">
                  <c:v>-1.6806722689075499E-3</c:v>
                </c:pt>
                <c:pt idx="40040">
                  <c:v>-1.6806722689075499E-3</c:v>
                </c:pt>
                <c:pt idx="40041">
                  <c:v>-1.6806722689075499E-3</c:v>
                </c:pt>
                <c:pt idx="40042">
                  <c:v>-1.6806722689075499E-3</c:v>
                </c:pt>
                <c:pt idx="40043">
                  <c:v>-1.6806722689075499E-3</c:v>
                </c:pt>
                <c:pt idx="40044">
                  <c:v>-1.6806722689075499E-3</c:v>
                </c:pt>
                <c:pt idx="40045">
                  <c:v>-1.6806722689075499E-3</c:v>
                </c:pt>
                <c:pt idx="40046">
                  <c:v>-1.6806722689075499E-3</c:v>
                </c:pt>
                <c:pt idx="40047">
                  <c:v>-1.6806722689075499E-3</c:v>
                </c:pt>
                <c:pt idx="40048">
                  <c:v>-1.6806722689075499E-3</c:v>
                </c:pt>
                <c:pt idx="40049">
                  <c:v>-1.6806722689075499E-3</c:v>
                </c:pt>
                <c:pt idx="40050">
                  <c:v>-1.6806722689075499E-3</c:v>
                </c:pt>
                <c:pt idx="40051">
                  <c:v>-1.6806722689075499E-3</c:v>
                </c:pt>
                <c:pt idx="40052">
                  <c:v>-1.6806722689075499E-3</c:v>
                </c:pt>
                <c:pt idx="40053">
                  <c:v>-1.6806722689075499E-3</c:v>
                </c:pt>
                <c:pt idx="40054">
                  <c:v>-1.6806722689075499E-3</c:v>
                </c:pt>
                <c:pt idx="40055">
                  <c:v>-1.6806722689075499E-3</c:v>
                </c:pt>
                <c:pt idx="40056">
                  <c:v>-1.6806722689075499E-3</c:v>
                </c:pt>
                <c:pt idx="40057">
                  <c:v>-1.6806722689075499E-3</c:v>
                </c:pt>
                <c:pt idx="40058">
                  <c:v>-1.6806722689075499E-3</c:v>
                </c:pt>
                <c:pt idx="40059">
                  <c:v>-1.6806722689075499E-3</c:v>
                </c:pt>
                <c:pt idx="40060">
                  <c:v>-1.6806722689075499E-3</c:v>
                </c:pt>
                <c:pt idx="40061">
                  <c:v>-1.6806722689075499E-3</c:v>
                </c:pt>
                <c:pt idx="40062">
                  <c:v>-1.6806722689075499E-3</c:v>
                </c:pt>
                <c:pt idx="40063">
                  <c:v>-1.6806722689075499E-3</c:v>
                </c:pt>
                <c:pt idx="40064">
                  <c:v>-1.6806722689075499E-3</c:v>
                </c:pt>
                <c:pt idx="40065">
                  <c:v>-1.6806722689075499E-3</c:v>
                </c:pt>
                <c:pt idx="40066">
                  <c:v>-1.6806722689075499E-3</c:v>
                </c:pt>
                <c:pt idx="40067">
                  <c:v>-1.6806722689075499E-3</c:v>
                </c:pt>
                <c:pt idx="40068">
                  <c:v>-1.6806722689075499E-3</c:v>
                </c:pt>
                <c:pt idx="40069">
                  <c:v>-1.6806722689075499E-3</c:v>
                </c:pt>
                <c:pt idx="40070">
                  <c:v>-1.6806722689075499E-3</c:v>
                </c:pt>
                <c:pt idx="40071">
                  <c:v>-1.6806722689075499E-3</c:v>
                </c:pt>
                <c:pt idx="40072">
                  <c:v>-1.6806722689075499E-3</c:v>
                </c:pt>
                <c:pt idx="40073">
                  <c:v>-1.6806722689075499E-3</c:v>
                </c:pt>
                <c:pt idx="40074">
                  <c:v>-1.6806722689075499E-3</c:v>
                </c:pt>
                <c:pt idx="40075">
                  <c:v>-1.6806722689075499E-3</c:v>
                </c:pt>
                <c:pt idx="40076">
                  <c:v>-1.6806722689075499E-3</c:v>
                </c:pt>
                <c:pt idx="40077">
                  <c:v>-1.6806722689075499E-3</c:v>
                </c:pt>
                <c:pt idx="40078">
                  <c:v>-1.6806722689075499E-3</c:v>
                </c:pt>
                <c:pt idx="40079">
                  <c:v>-1.6806722689075499E-3</c:v>
                </c:pt>
                <c:pt idx="40080">
                  <c:v>-1.6806722689075499E-3</c:v>
                </c:pt>
                <c:pt idx="40081">
                  <c:v>-1.6806722689075499E-3</c:v>
                </c:pt>
                <c:pt idx="40082">
                  <c:v>-1.6806722689075499E-3</c:v>
                </c:pt>
                <c:pt idx="40083">
                  <c:v>-1.6806722689075499E-3</c:v>
                </c:pt>
                <c:pt idx="40084">
                  <c:v>-1.6806722689075499E-3</c:v>
                </c:pt>
                <c:pt idx="40085">
                  <c:v>-1.6806722689075499E-3</c:v>
                </c:pt>
                <c:pt idx="40086">
                  <c:v>-1.6806722689075499E-3</c:v>
                </c:pt>
                <c:pt idx="40087">
                  <c:v>-1.6806722689075499E-3</c:v>
                </c:pt>
                <c:pt idx="40088">
                  <c:v>-1.6806722689075499E-3</c:v>
                </c:pt>
                <c:pt idx="40089">
                  <c:v>-1.6806722689075499E-3</c:v>
                </c:pt>
                <c:pt idx="40090">
                  <c:v>-1.6806722689075499E-3</c:v>
                </c:pt>
                <c:pt idx="40091">
                  <c:v>-1.6806722689075499E-3</c:v>
                </c:pt>
                <c:pt idx="40092">
                  <c:v>-1.6806722689075499E-3</c:v>
                </c:pt>
                <c:pt idx="40093">
                  <c:v>-1.6806722689075499E-3</c:v>
                </c:pt>
                <c:pt idx="40094">
                  <c:v>-1.6806722689075499E-3</c:v>
                </c:pt>
                <c:pt idx="40095">
                  <c:v>-1.6806722689075499E-3</c:v>
                </c:pt>
                <c:pt idx="40096">
                  <c:v>-1.6806722689075499E-3</c:v>
                </c:pt>
                <c:pt idx="40097">
                  <c:v>-1.6806722689075499E-3</c:v>
                </c:pt>
                <c:pt idx="40098">
                  <c:v>-1.6806722689075499E-3</c:v>
                </c:pt>
                <c:pt idx="40099">
                  <c:v>-1.6806722689075499E-3</c:v>
                </c:pt>
                <c:pt idx="40100">
                  <c:v>-1.6806722689075499E-3</c:v>
                </c:pt>
                <c:pt idx="40101">
                  <c:v>-1.6806722689075499E-3</c:v>
                </c:pt>
                <c:pt idx="40102">
                  <c:v>-1.6806722689075499E-3</c:v>
                </c:pt>
                <c:pt idx="40103">
                  <c:v>-1.6806722689075499E-3</c:v>
                </c:pt>
                <c:pt idx="40104">
                  <c:v>-1.6806722689075499E-3</c:v>
                </c:pt>
                <c:pt idx="40105">
                  <c:v>-1.6806722689075499E-3</c:v>
                </c:pt>
                <c:pt idx="40106">
                  <c:v>-1.6806722689075499E-3</c:v>
                </c:pt>
                <c:pt idx="40107">
                  <c:v>-1.6806722689075499E-3</c:v>
                </c:pt>
                <c:pt idx="40108">
                  <c:v>-1.6806722689075499E-3</c:v>
                </c:pt>
                <c:pt idx="40109">
                  <c:v>-1.6806722689075499E-3</c:v>
                </c:pt>
                <c:pt idx="40110">
                  <c:v>-1.6806722689075499E-3</c:v>
                </c:pt>
                <c:pt idx="40111">
                  <c:v>-1.6806722689075499E-3</c:v>
                </c:pt>
                <c:pt idx="40112">
                  <c:v>-1.6806722689075499E-3</c:v>
                </c:pt>
                <c:pt idx="40113">
                  <c:v>-1.6806722689075499E-3</c:v>
                </c:pt>
                <c:pt idx="40114">
                  <c:v>-1.6806722689075499E-3</c:v>
                </c:pt>
                <c:pt idx="40115">
                  <c:v>-1.6806722689075499E-3</c:v>
                </c:pt>
                <c:pt idx="40116">
                  <c:v>-1.6806722689075499E-3</c:v>
                </c:pt>
                <c:pt idx="40117">
                  <c:v>-1.6806722689075499E-3</c:v>
                </c:pt>
                <c:pt idx="40118">
                  <c:v>-1.6806722689075499E-3</c:v>
                </c:pt>
                <c:pt idx="40119">
                  <c:v>-1.6806722689075499E-3</c:v>
                </c:pt>
                <c:pt idx="40120">
                  <c:v>-1.6806722689075499E-3</c:v>
                </c:pt>
                <c:pt idx="40121">
                  <c:v>-1.6806722689075499E-3</c:v>
                </c:pt>
                <c:pt idx="40122">
                  <c:v>-1.6806722689075499E-3</c:v>
                </c:pt>
                <c:pt idx="40123">
                  <c:v>-1.6806722689075499E-3</c:v>
                </c:pt>
                <c:pt idx="40124">
                  <c:v>-1.6806722689075499E-3</c:v>
                </c:pt>
                <c:pt idx="40125">
                  <c:v>-1.6806722689075499E-3</c:v>
                </c:pt>
                <c:pt idx="40126">
                  <c:v>-1.6806722689075499E-3</c:v>
                </c:pt>
                <c:pt idx="40127">
                  <c:v>-1.6806722689075499E-3</c:v>
                </c:pt>
                <c:pt idx="40128">
                  <c:v>-1.6806722689075499E-3</c:v>
                </c:pt>
                <c:pt idx="40129">
                  <c:v>-1.6806722689075499E-3</c:v>
                </c:pt>
                <c:pt idx="40130">
                  <c:v>-1.6806722689075499E-3</c:v>
                </c:pt>
                <c:pt idx="40131">
                  <c:v>-1.6806722689075499E-3</c:v>
                </c:pt>
                <c:pt idx="40132">
                  <c:v>-1.6806722689075499E-3</c:v>
                </c:pt>
                <c:pt idx="40133">
                  <c:v>-1.6806722689075499E-3</c:v>
                </c:pt>
                <c:pt idx="40134">
                  <c:v>-1.6806722689075499E-3</c:v>
                </c:pt>
                <c:pt idx="40135">
                  <c:v>-1.6806722689075499E-3</c:v>
                </c:pt>
                <c:pt idx="40136">
                  <c:v>-1.6806722689075499E-3</c:v>
                </c:pt>
                <c:pt idx="40137">
                  <c:v>-1.6806722689075499E-3</c:v>
                </c:pt>
                <c:pt idx="40138">
                  <c:v>-1.6806722689075499E-3</c:v>
                </c:pt>
                <c:pt idx="40139">
                  <c:v>-1.6806722689075499E-3</c:v>
                </c:pt>
                <c:pt idx="40140">
                  <c:v>-1.6806722689075499E-3</c:v>
                </c:pt>
                <c:pt idx="40141">
                  <c:v>-1.6806722689075499E-3</c:v>
                </c:pt>
                <c:pt idx="40142">
                  <c:v>-1.6806722689075499E-3</c:v>
                </c:pt>
                <c:pt idx="40143">
                  <c:v>-1.6806722689075499E-3</c:v>
                </c:pt>
                <c:pt idx="40144">
                  <c:v>-1.6806722689075499E-3</c:v>
                </c:pt>
                <c:pt idx="40145">
                  <c:v>-1.6806722689075499E-3</c:v>
                </c:pt>
                <c:pt idx="40146">
                  <c:v>-1.6806722689075499E-3</c:v>
                </c:pt>
                <c:pt idx="40147">
                  <c:v>-1.6806722689075499E-3</c:v>
                </c:pt>
                <c:pt idx="40148">
                  <c:v>-1.6806722689075499E-3</c:v>
                </c:pt>
                <c:pt idx="40149">
                  <c:v>-1.6806722689075499E-3</c:v>
                </c:pt>
                <c:pt idx="40150">
                  <c:v>-8.4033613445377799E-4</c:v>
                </c:pt>
                <c:pt idx="40151">
                  <c:v>-8.4033613445377799E-4</c:v>
                </c:pt>
                <c:pt idx="40152">
                  <c:v>-8.4033613445377799E-4</c:v>
                </c:pt>
                <c:pt idx="40153">
                  <c:v>-8.4033613445377799E-4</c:v>
                </c:pt>
                <c:pt idx="40154">
                  <c:v>-8.4033613445377799E-4</c:v>
                </c:pt>
                <c:pt idx="40155">
                  <c:v>-8.4033613445377799E-4</c:v>
                </c:pt>
                <c:pt idx="40156">
                  <c:v>-8.4033613445377799E-4</c:v>
                </c:pt>
                <c:pt idx="40157">
                  <c:v>-8.4033613445377799E-4</c:v>
                </c:pt>
                <c:pt idx="40158">
                  <c:v>-8.4033613445377799E-4</c:v>
                </c:pt>
                <c:pt idx="40159">
                  <c:v>-8.4033613445377799E-4</c:v>
                </c:pt>
                <c:pt idx="40160">
                  <c:v>-1.6806722689075499E-3</c:v>
                </c:pt>
                <c:pt idx="40161">
                  <c:v>-1.6806722689075499E-3</c:v>
                </c:pt>
                <c:pt idx="40162">
                  <c:v>-1.6806722689075499E-3</c:v>
                </c:pt>
                <c:pt idx="40163">
                  <c:v>-1.6806722689075499E-3</c:v>
                </c:pt>
                <c:pt idx="40164">
                  <c:v>-1.6806722689075499E-3</c:v>
                </c:pt>
                <c:pt idx="40165">
                  <c:v>-1.6806722689075499E-3</c:v>
                </c:pt>
                <c:pt idx="40166">
                  <c:v>-1.6806722689075499E-3</c:v>
                </c:pt>
                <c:pt idx="40167">
                  <c:v>-1.6806722689075499E-3</c:v>
                </c:pt>
                <c:pt idx="40168">
                  <c:v>-1.6806722689075499E-3</c:v>
                </c:pt>
                <c:pt idx="40169">
                  <c:v>-1.6806722689075499E-3</c:v>
                </c:pt>
                <c:pt idx="40170">
                  <c:v>-1.6806722689075499E-3</c:v>
                </c:pt>
                <c:pt idx="40171">
                  <c:v>-1.6806722689075499E-3</c:v>
                </c:pt>
                <c:pt idx="40172">
                  <c:v>-1.6806722689075499E-3</c:v>
                </c:pt>
                <c:pt idx="40173">
                  <c:v>-1.6806722689075499E-3</c:v>
                </c:pt>
                <c:pt idx="40174">
                  <c:v>-1.6806722689075499E-3</c:v>
                </c:pt>
                <c:pt idx="40175">
                  <c:v>-1.6806722689075499E-3</c:v>
                </c:pt>
                <c:pt idx="40176">
                  <c:v>-1.6806722689075499E-3</c:v>
                </c:pt>
                <c:pt idx="40177">
                  <c:v>-1.6806722689075499E-3</c:v>
                </c:pt>
                <c:pt idx="40178">
                  <c:v>-1.6806722689075499E-3</c:v>
                </c:pt>
                <c:pt idx="40179">
                  <c:v>-1.6806722689075499E-3</c:v>
                </c:pt>
                <c:pt idx="40180">
                  <c:v>-1.6806722689075499E-3</c:v>
                </c:pt>
                <c:pt idx="40181">
                  <c:v>-1.6806722689075499E-3</c:v>
                </c:pt>
                <c:pt idx="40182">
                  <c:v>-1.6806722689075499E-3</c:v>
                </c:pt>
                <c:pt idx="40183">
                  <c:v>-1.6806722689075499E-3</c:v>
                </c:pt>
                <c:pt idx="40184">
                  <c:v>-1.6806722689075499E-3</c:v>
                </c:pt>
                <c:pt idx="40185">
                  <c:v>-1.6806722689075499E-3</c:v>
                </c:pt>
                <c:pt idx="40186">
                  <c:v>-1.6806722689075499E-3</c:v>
                </c:pt>
                <c:pt idx="40187">
                  <c:v>-1.6806722689075499E-3</c:v>
                </c:pt>
                <c:pt idx="40188">
                  <c:v>-1.6806722689075499E-3</c:v>
                </c:pt>
                <c:pt idx="40189">
                  <c:v>-1.6806722689075499E-3</c:v>
                </c:pt>
                <c:pt idx="40190">
                  <c:v>-1.6806722689075499E-3</c:v>
                </c:pt>
                <c:pt idx="40191">
                  <c:v>-1.6806722689075499E-3</c:v>
                </c:pt>
                <c:pt idx="40192">
                  <c:v>-1.6806722689075499E-3</c:v>
                </c:pt>
                <c:pt idx="40193">
                  <c:v>-1.6806722689075499E-3</c:v>
                </c:pt>
                <c:pt idx="40194">
                  <c:v>-1.6806722689075499E-3</c:v>
                </c:pt>
                <c:pt idx="40195">
                  <c:v>-1.6806722689075499E-3</c:v>
                </c:pt>
                <c:pt idx="40196">
                  <c:v>-1.6806722689075499E-3</c:v>
                </c:pt>
                <c:pt idx="40197">
                  <c:v>-1.6806722689075499E-3</c:v>
                </c:pt>
                <c:pt idx="40198">
                  <c:v>-1.6806722689075499E-3</c:v>
                </c:pt>
                <c:pt idx="40199">
                  <c:v>-1.6806722689075499E-3</c:v>
                </c:pt>
                <c:pt idx="40200">
                  <c:v>-1.6806722689075499E-3</c:v>
                </c:pt>
                <c:pt idx="40201">
                  <c:v>-1.6806722689075499E-3</c:v>
                </c:pt>
                <c:pt idx="40202">
                  <c:v>-1.6806722689075499E-3</c:v>
                </c:pt>
                <c:pt idx="40203">
                  <c:v>-1.6806722689075499E-3</c:v>
                </c:pt>
                <c:pt idx="40204">
                  <c:v>-1.6806722689075499E-3</c:v>
                </c:pt>
                <c:pt idx="40205">
                  <c:v>-1.6806722689075499E-3</c:v>
                </c:pt>
                <c:pt idx="40206">
                  <c:v>-1.6806722689075499E-3</c:v>
                </c:pt>
                <c:pt idx="40207">
                  <c:v>-1.6806722689075499E-3</c:v>
                </c:pt>
                <c:pt idx="40208">
                  <c:v>-1.6806722689075499E-3</c:v>
                </c:pt>
                <c:pt idx="40209">
                  <c:v>-1.6806722689075499E-3</c:v>
                </c:pt>
                <c:pt idx="40210">
                  <c:v>-1.6806722689075499E-3</c:v>
                </c:pt>
                <c:pt idx="40211">
                  <c:v>-1.6806722689075499E-3</c:v>
                </c:pt>
                <c:pt idx="40212">
                  <c:v>-1.6806722689075499E-3</c:v>
                </c:pt>
                <c:pt idx="40213">
                  <c:v>-1.6806722689075499E-3</c:v>
                </c:pt>
                <c:pt idx="40214">
                  <c:v>-1.6806722689075499E-3</c:v>
                </c:pt>
                <c:pt idx="40215">
                  <c:v>-1.6806722689075499E-3</c:v>
                </c:pt>
                <c:pt idx="40216">
                  <c:v>-1.6806722689075499E-3</c:v>
                </c:pt>
                <c:pt idx="40217">
                  <c:v>-1.6806722689075499E-3</c:v>
                </c:pt>
                <c:pt idx="40218">
                  <c:v>-1.6806722689075499E-3</c:v>
                </c:pt>
                <c:pt idx="40219">
                  <c:v>-1.6806722689075499E-3</c:v>
                </c:pt>
                <c:pt idx="40220">
                  <c:v>-1.6806722689075499E-3</c:v>
                </c:pt>
                <c:pt idx="40221">
                  <c:v>-1.6806722689075499E-3</c:v>
                </c:pt>
                <c:pt idx="40222">
                  <c:v>-1.6806722689075499E-3</c:v>
                </c:pt>
                <c:pt idx="40223">
                  <c:v>-1.6806722689075499E-3</c:v>
                </c:pt>
                <c:pt idx="40224">
                  <c:v>-1.6806722689075499E-3</c:v>
                </c:pt>
                <c:pt idx="40225">
                  <c:v>-1.6806722689075499E-3</c:v>
                </c:pt>
                <c:pt idx="40226">
                  <c:v>-1.6806722689075499E-3</c:v>
                </c:pt>
                <c:pt idx="40227">
                  <c:v>-1.6806722689075499E-3</c:v>
                </c:pt>
                <c:pt idx="40228">
                  <c:v>-1.6806722689075499E-3</c:v>
                </c:pt>
                <c:pt idx="40229">
                  <c:v>-1.6806722689075499E-3</c:v>
                </c:pt>
                <c:pt idx="40230">
                  <c:v>-1.6806722689075499E-3</c:v>
                </c:pt>
                <c:pt idx="40231">
                  <c:v>-1.6806722689075499E-3</c:v>
                </c:pt>
                <c:pt idx="40232">
                  <c:v>-1.6806722689075499E-3</c:v>
                </c:pt>
                <c:pt idx="40233">
                  <c:v>-1.6806722689075499E-3</c:v>
                </c:pt>
                <c:pt idx="40234">
                  <c:v>-1.6806722689075499E-3</c:v>
                </c:pt>
                <c:pt idx="40235">
                  <c:v>-1.6806722689075499E-3</c:v>
                </c:pt>
                <c:pt idx="40236">
                  <c:v>-1.6806722689075499E-3</c:v>
                </c:pt>
                <c:pt idx="40237">
                  <c:v>-1.6806722689075499E-3</c:v>
                </c:pt>
                <c:pt idx="40238">
                  <c:v>-1.6806722689075499E-3</c:v>
                </c:pt>
                <c:pt idx="40239">
                  <c:v>-1.6806722689075499E-3</c:v>
                </c:pt>
                <c:pt idx="40240">
                  <c:v>-1.6806722689075499E-3</c:v>
                </c:pt>
                <c:pt idx="40241">
                  <c:v>-1.6806722689075499E-3</c:v>
                </c:pt>
                <c:pt idx="40242">
                  <c:v>-1.6806722689075499E-3</c:v>
                </c:pt>
                <c:pt idx="40243">
                  <c:v>-1.6806722689075499E-3</c:v>
                </c:pt>
                <c:pt idx="40244">
                  <c:v>-1.6806722689075499E-3</c:v>
                </c:pt>
                <c:pt idx="40245">
                  <c:v>-1.6806722689075499E-3</c:v>
                </c:pt>
                <c:pt idx="40246">
                  <c:v>-1.6806722689075499E-3</c:v>
                </c:pt>
                <c:pt idx="40247">
                  <c:v>-1.6806722689075499E-3</c:v>
                </c:pt>
                <c:pt idx="40248">
                  <c:v>-1.6806722689075499E-3</c:v>
                </c:pt>
                <c:pt idx="40249">
                  <c:v>-1.6806722689075499E-3</c:v>
                </c:pt>
                <c:pt idx="40250">
                  <c:v>-1.6806722689075499E-3</c:v>
                </c:pt>
                <c:pt idx="40251">
                  <c:v>-1.6806722689075499E-3</c:v>
                </c:pt>
                <c:pt idx="40252">
                  <c:v>-1.6806722689075499E-3</c:v>
                </c:pt>
                <c:pt idx="40253">
                  <c:v>-1.6806722689075499E-3</c:v>
                </c:pt>
                <c:pt idx="40254">
                  <c:v>-1.6806722689075499E-3</c:v>
                </c:pt>
                <c:pt idx="40255">
                  <c:v>-1.6806722689075499E-3</c:v>
                </c:pt>
                <c:pt idx="40256">
                  <c:v>-1.6806722689075499E-3</c:v>
                </c:pt>
                <c:pt idx="40257">
                  <c:v>-1.6806722689075499E-3</c:v>
                </c:pt>
                <c:pt idx="40258">
                  <c:v>-1.6806722689075499E-3</c:v>
                </c:pt>
                <c:pt idx="40259">
                  <c:v>-1.6806722689075499E-3</c:v>
                </c:pt>
                <c:pt idx="40260">
                  <c:v>-1.6806722689075499E-3</c:v>
                </c:pt>
                <c:pt idx="40261">
                  <c:v>-1.6806722689075499E-3</c:v>
                </c:pt>
                <c:pt idx="40262">
                  <c:v>-1.6806722689075499E-3</c:v>
                </c:pt>
                <c:pt idx="40263">
                  <c:v>-1.6806722689075499E-3</c:v>
                </c:pt>
                <c:pt idx="40264">
                  <c:v>-1.6806722689075499E-3</c:v>
                </c:pt>
                <c:pt idx="40265">
                  <c:v>-1.6806722689075499E-3</c:v>
                </c:pt>
                <c:pt idx="40266">
                  <c:v>-1.6806722689075499E-3</c:v>
                </c:pt>
                <c:pt idx="40267">
                  <c:v>-1.6806722689075499E-3</c:v>
                </c:pt>
                <c:pt idx="40268">
                  <c:v>-1.6806722689075499E-3</c:v>
                </c:pt>
                <c:pt idx="40269">
                  <c:v>-2.5210084033613299E-3</c:v>
                </c:pt>
                <c:pt idx="40270">
                  <c:v>-2.5210084033613299E-3</c:v>
                </c:pt>
                <c:pt idx="40271">
                  <c:v>-2.5210084033613299E-3</c:v>
                </c:pt>
                <c:pt idx="40272">
                  <c:v>-2.5210084033613299E-3</c:v>
                </c:pt>
                <c:pt idx="40273">
                  <c:v>-2.5210084033613299E-3</c:v>
                </c:pt>
                <c:pt idx="40274">
                  <c:v>-2.5210084033613299E-3</c:v>
                </c:pt>
                <c:pt idx="40275">
                  <c:v>-2.5210084033613299E-3</c:v>
                </c:pt>
                <c:pt idx="40276">
                  <c:v>-2.5210084033613299E-3</c:v>
                </c:pt>
                <c:pt idx="40277">
                  <c:v>-2.5210084033613299E-3</c:v>
                </c:pt>
                <c:pt idx="40278">
                  <c:v>-2.5210084033613299E-3</c:v>
                </c:pt>
                <c:pt idx="40279">
                  <c:v>-2.5210084033613299E-3</c:v>
                </c:pt>
                <c:pt idx="40280">
                  <c:v>-2.5210084033613299E-3</c:v>
                </c:pt>
                <c:pt idx="40281">
                  <c:v>-2.5210084033613299E-3</c:v>
                </c:pt>
                <c:pt idx="40282">
                  <c:v>-2.5210084033613299E-3</c:v>
                </c:pt>
                <c:pt idx="40283">
                  <c:v>-1.6806722689075499E-3</c:v>
                </c:pt>
                <c:pt idx="40284">
                  <c:v>-1.6806722689075499E-3</c:v>
                </c:pt>
                <c:pt idx="40285">
                  <c:v>-1.6806722689075499E-3</c:v>
                </c:pt>
                <c:pt idx="40286">
                  <c:v>-1.6806722689075499E-3</c:v>
                </c:pt>
                <c:pt idx="40287">
                  <c:v>-1.6806722689075499E-3</c:v>
                </c:pt>
                <c:pt idx="40288">
                  <c:v>-1.6806722689075499E-3</c:v>
                </c:pt>
                <c:pt idx="40289">
                  <c:v>-1.6806722689075499E-3</c:v>
                </c:pt>
                <c:pt idx="40290">
                  <c:v>-1.6806722689075499E-3</c:v>
                </c:pt>
                <c:pt idx="40291">
                  <c:v>-1.6806722689075499E-3</c:v>
                </c:pt>
                <c:pt idx="40292">
                  <c:v>-1.6806722689075499E-3</c:v>
                </c:pt>
                <c:pt idx="40293">
                  <c:v>-1.6806722689075499E-3</c:v>
                </c:pt>
                <c:pt idx="40294">
                  <c:v>-1.6806722689075499E-3</c:v>
                </c:pt>
                <c:pt idx="40295">
                  <c:v>-1.6806722689075499E-3</c:v>
                </c:pt>
                <c:pt idx="40296">
                  <c:v>-1.6806722689075499E-3</c:v>
                </c:pt>
                <c:pt idx="40297">
                  <c:v>-1.6806722689075499E-3</c:v>
                </c:pt>
                <c:pt idx="40298">
                  <c:v>-1.6806722689075499E-3</c:v>
                </c:pt>
                <c:pt idx="40299">
                  <c:v>-1.6806722689075499E-3</c:v>
                </c:pt>
                <c:pt idx="40300">
                  <c:v>-1.6806722689075499E-3</c:v>
                </c:pt>
                <c:pt idx="40301">
                  <c:v>-1.6806722689075499E-3</c:v>
                </c:pt>
                <c:pt idx="40302">
                  <c:v>-1.6806722689075499E-3</c:v>
                </c:pt>
                <c:pt idx="40303">
                  <c:v>-1.6806722689075499E-3</c:v>
                </c:pt>
                <c:pt idx="40304">
                  <c:v>-1.6806722689075499E-3</c:v>
                </c:pt>
                <c:pt idx="40305">
                  <c:v>-1.6806722689075499E-3</c:v>
                </c:pt>
                <c:pt idx="40306">
                  <c:v>-1.6806722689075499E-3</c:v>
                </c:pt>
                <c:pt idx="40307">
                  <c:v>-1.6806722689075499E-3</c:v>
                </c:pt>
                <c:pt idx="40308">
                  <c:v>-1.6806722689075499E-3</c:v>
                </c:pt>
                <c:pt idx="40309">
                  <c:v>-1.6806722689075499E-3</c:v>
                </c:pt>
                <c:pt idx="40310">
                  <c:v>-1.6806722689075499E-3</c:v>
                </c:pt>
                <c:pt idx="40311">
                  <c:v>-1.6806722689075499E-3</c:v>
                </c:pt>
                <c:pt idx="40312">
                  <c:v>-1.6806722689075499E-3</c:v>
                </c:pt>
                <c:pt idx="40313">
                  <c:v>-1.6806722689075499E-3</c:v>
                </c:pt>
                <c:pt idx="40314">
                  <c:v>-1.6806722689075499E-3</c:v>
                </c:pt>
                <c:pt idx="40315">
                  <c:v>-1.6806722689075499E-3</c:v>
                </c:pt>
                <c:pt idx="40316">
                  <c:v>-1.6806722689075499E-3</c:v>
                </c:pt>
                <c:pt idx="40317">
                  <c:v>-1.6806722689075499E-3</c:v>
                </c:pt>
                <c:pt idx="40318">
                  <c:v>-1.6806722689075499E-3</c:v>
                </c:pt>
                <c:pt idx="40319">
                  <c:v>-1.6806722689075499E-3</c:v>
                </c:pt>
                <c:pt idx="40320">
                  <c:v>-1.6806722689075499E-3</c:v>
                </c:pt>
                <c:pt idx="40321">
                  <c:v>-1.6806722689075499E-3</c:v>
                </c:pt>
                <c:pt idx="40322">
                  <c:v>-1.6806722689075499E-3</c:v>
                </c:pt>
                <c:pt idx="40323">
                  <c:v>-1.6806722689075499E-3</c:v>
                </c:pt>
                <c:pt idx="40324">
                  <c:v>-1.6806722689075499E-3</c:v>
                </c:pt>
                <c:pt idx="40325">
                  <c:v>-1.6806722689075499E-3</c:v>
                </c:pt>
                <c:pt idx="40326">
                  <c:v>-1.6806722689075499E-3</c:v>
                </c:pt>
                <c:pt idx="40327">
                  <c:v>-1.6806722689075499E-3</c:v>
                </c:pt>
                <c:pt idx="40328">
                  <c:v>-2.5210084033613299E-3</c:v>
                </c:pt>
                <c:pt idx="40329">
                  <c:v>-2.5210084033613299E-3</c:v>
                </c:pt>
                <c:pt idx="40330">
                  <c:v>-2.5210084033613299E-3</c:v>
                </c:pt>
                <c:pt idx="40331">
                  <c:v>-2.5210084033613299E-3</c:v>
                </c:pt>
                <c:pt idx="40332">
                  <c:v>-2.5210084033613299E-3</c:v>
                </c:pt>
                <c:pt idx="40333">
                  <c:v>-2.5210084033613299E-3</c:v>
                </c:pt>
                <c:pt idx="40334">
                  <c:v>-2.5210084033613299E-3</c:v>
                </c:pt>
                <c:pt idx="40335">
                  <c:v>-2.5210084033613299E-3</c:v>
                </c:pt>
                <c:pt idx="40336">
                  <c:v>-2.5210084033613299E-3</c:v>
                </c:pt>
                <c:pt idx="40337">
                  <c:v>-2.5210084033613299E-3</c:v>
                </c:pt>
                <c:pt idx="40338">
                  <c:v>-2.5210084033613299E-3</c:v>
                </c:pt>
                <c:pt idx="40339">
                  <c:v>-2.5210084033613299E-3</c:v>
                </c:pt>
                <c:pt idx="40340">
                  <c:v>-2.5210084033613299E-3</c:v>
                </c:pt>
                <c:pt idx="40341">
                  <c:v>-2.5210084033613299E-3</c:v>
                </c:pt>
                <c:pt idx="40342">
                  <c:v>-2.5210084033613299E-3</c:v>
                </c:pt>
                <c:pt idx="40343">
                  <c:v>-2.5210084033613299E-3</c:v>
                </c:pt>
                <c:pt idx="40344">
                  <c:v>-2.5210084033613299E-3</c:v>
                </c:pt>
                <c:pt idx="40345">
                  <c:v>-2.5210084033613299E-3</c:v>
                </c:pt>
                <c:pt idx="40346">
                  <c:v>-2.5210084033613299E-3</c:v>
                </c:pt>
                <c:pt idx="40347">
                  <c:v>-2.5210084033613299E-3</c:v>
                </c:pt>
                <c:pt idx="40348">
                  <c:v>-2.5210084033613299E-3</c:v>
                </c:pt>
                <c:pt idx="40349">
                  <c:v>-2.5210084033613299E-3</c:v>
                </c:pt>
                <c:pt idx="40350">
                  <c:v>-2.5210084033613299E-3</c:v>
                </c:pt>
                <c:pt idx="40351">
                  <c:v>-2.5210084033613299E-3</c:v>
                </c:pt>
                <c:pt idx="40352">
                  <c:v>-2.5210084033613299E-3</c:v>
                </c:pt>
                <c:pt idx="40353">
                  <c:v>-2.5210084033613299E-3</c:v>
                </c:pt>
                <c:pt idx="40354">
                  <c:v>-2.5210084033613299E-3</c:v>
                </c:pt>
                <c:pt idx="40355">
                  <c:v>-2.5210084033613299E-3</c:v>
                </c:pt>
                <c:pt idx="40356">
                  <c:v>-2.5210084033613299E-3</c:v>
                </c:pt>
                <c:pt idx="40357">
                  <c:v>-2.5210084033613299E-3</c:v>
                </c:pt>
                <c:pt idx="40358">
                  <c:v>-2.5210084033613299E-3</c:v>
                </c:pt>
                <c:pt idx="40359">
                  <c:v>-2.5210084033613299E-3</c:v>
                </c:pt>
                <c:pt idx="40360">
                  <c:v>-2.5210084033613299E-3</c:v>
                </c:pt>
                <c:pt idx="40361">
                  <c:v>-2.5210084033613299E-3</c:v>
                </c:pt>
                <c:pt idx="40362">
                  <c:v>-2.5210084033613299E-3</c:v>
                </c:pt>
                <c:pt idx="40363">
                  <c:v>-2.5210084033613299E-3</c:v>
                </c:pt>
                <c:pt idx="40364">
                  <c:v>-2.5210084033613299E-3</c:v>
                </c:pt>
                <c:pt idx="40365">
                  <c:v>-2.5210084033613299E-3</c:v>
                </c:pt>
                <c:pt idx="40366">
                  <c:v>-2.5210084033613299E-3</c:v>
                </c:pt>
                <c:pt idx="40367">
                  <c:v>-2.5210084033613299E-3</c:v>
                </c:pt>
                <c:pt idx="40368">
                  <c:v>-2.5210084033613299E-3</c:v>
                </c:pt>
                <c:pt idx="40369">
                  <c:v>-2.5210084033613299E-3</c:v>
                </c:pt>
                <c:pt idx="40370">
                  <c:v>-2.5210084033613299E-3</c:v>
                </c:pt>
                <c:pt idx="40371">
                  <c:v>-2.5210084033613299E-3</c:v>
                </c:pt>
                <c:pt idx="40372">
                  <c:v>-2.5210084033613299E-3</c:v>
                </c:pt>
                <c:pt idx="40373">
                  <c:v>-2.5210084033613299E-3</c:v>
                </c:pt>
                <c:pt idx="40374">
                  <c:v>-2.5210084033613299E-3</c:v>
                </c:pt>
                <c:pt idx="40375">
                  <c:v>-2.5210084033613299E-3</c:v>
                </c:pt>
                <c:pt idx="40376">
                  <c:v>-2.5210084033613299E-3</c:v>
                </c:pt>
                <c:pt idx="40377">
                  <c:v>-2.5210084033613299E-3</c:v>
                </c:pt>
                <c:pt idx="40378">
                  <c:v>-2.5210084033613299E-3</c:v>
                </c:pt>
                <c:pt idx="40379">
                  <c:v>-2.5210084033613299E-3</c:v>
                </c:pt>
                <c:pt idx="40380">
                  <c:v>-2.5210084033613299E-3</c:v>
                </c:pt>
                <c:pt idx="40381">
                  <c:v>-2.5210084033613299E-3</c:v>
                </c:pt>
                <c:pt idx="40382">
                  <c:v>-2.5210084033613299E-3</c:v>
                </c:pt>
                <c:pt idx="40383">
                  <c:v>-2.5210084033613299E-3</c:v>
                </c:pt>
                <c:pt idx="40384">
                  <c:v>-2.5210084033613299E-3</c:v>
                </c:pt>
                <c:pt idx="40385">
                  <c:v>-2.5210084033613299E-3</c:v>
                </c:pt>
                <c:pt idx="40386">
                  <c:v>-2.5210084033613299E-3</c:v>
                </c:pt>
                <c:pt idx="40387">
                  <c:v>-2.5210084033613299E-3</c:v>
                </c:pt>
                <c:pt idx="40388">
                  <c:v>-2.5210084033613299E-3</c:v>
                </c:pt>
                <c:pt idx="40389">
                  <c:v>-2.5210084033613299E-3</c:v>
                </c:pt>
                <c:pt idx="40390">
                  <c:v>-2.5210084033613299E-3</c:v>
                </c:pt>
                <c:pt idx="40391">
                  <c:v>-2.5210084033613299E-3</c:v>
                </c:pt>
                <c:pt idx="40392">
                  <c:v>-2.5210084033613299E-3</c:v>
                </c:pt>
                <c:pt idx="40393">
                  <c:v>-2.5210084033613299E-3</c:v>
                </c:pt>
                <c:pt idx="40394">
                  <c:v>-2.5210084033613299E-3</c:v>
                </c:pt>
                <c:pt idx="40395">
                  <c:v>-2.5210084033613299E-3</c:v>
                </c:pt>
                <c:pt idx="40396">
                  <c:v>-2.5210084033613299E-3</c:v>
                </c:pt>
                <c:pt idx="40397">
                  <c:v>-2.5210084033613299E-3</c:v>
                </c:pt>
                <c:pt idx="40398">
                  <c:v>-2.5210084033613299E-3</c:v>
                </c:pt>
                <c:pt idx="40399">
                  <c:v>-2.5210084033613299E-3</c:v>
                </c:pt>
                <c:pt idx="40400">
                  <c:v>-2.5210084033613299E-3</c:v>
                </c:pt>
                <c:pt idx="40401">
                  <c:v>-2.5210084033613299E-3</c:v>
                </c:pt>
                <c:pt idx="40402">
                  <c:v>-2.5210084033613299E-3</c:v>
                </c:pt>
                <c:pt idx="40403">
                  <c:v>-2.5210084033613299E-3</c:v>
                </c:pt>
                <c:pt idx="40404">
                  <c:v>-2.5210084033613299E-3</c:v>
                </c:pt>
                <c:pt idx="40405">
                  <c:v>-2.5210084033613299E-3</c:v>
                </c:pt>
                <c:pt idx="40406">
                  <c:v>-2.5210084033613299E-3</c:v>
                </c:pt>
                <c:pt idx="40407">
                  <c:v>-2.5210084033613299E-3</c:v>
                </c:pt>
                <c:pt idx="40408">
                  <c:v>-2.5210084033613299E-3</c:v>
                </c:pt>
                <c:pt idx="40409">
                  <c:v>-2.5210084033613299E-3</c:v>
                </c:pt>
                <c:pt idx="40410">
                  <c:v>-2.5210084033613299E-3</c:v>
                </c:pt>
                <c:pt idx="40411">
                  <c:v>-2.5210084033613299E-3</c:v>
                </c:pt>
                <c:pt idx="40412">
                  <c:v>-2.5210084033613299E-3</c:v>
                </c:pt>
                <c:pt idx="40413">
                  <c:v>-2.5210084033613299E-3</c:v>
                </c:pt>
                <c:pt idx="40414">
                  <c:v>-2.5210084033613299E-3</c:v>
                </c:pt>
                <c:pt idx="40415">
                  <c:v>-2.5210084033613299E-3</c:v>
                </c:pt>
                <c:pt idx="40416">
                  <c:v>-2.5210084033613299E-3</c:v>
                </c:pt>
                <c:pt idx="40417">
                  <c:v>-2.5210084033613299E-3</c:v>
                </c:pt>
                <c:pt idx="40418">
                  <c:v>-2.5210084033613299E-3</c:v>
                </c:pt>
                <c:pt idx="40419">
                  <c:v>-2.5210084033613299E-3</c:v>
                </c:pt>
                <c:pt idx="40420">
                  <c:v>-2.5210084033613299E-3</c:v>
                </c:pt>
                <c:pt idx="40421">
                  <c:v>-2.5210084033613299E-3</c:v>
                </c:pt>
                <c:pt idx="40422">
                  <c:v>-2.5210084033613299E-3</c:v>
                </c:pt>
                <c:pt idx="40423">
                  <c:v>-2.5210084033613299E-3</c:v>
                </c:pt>
                <c:pt idx="40424">
                  <c:v>-2.5210084033613299E-3</c:v>
                </c:pt>
                <c:pt idx="40425">
                  <c:v>-2.5210084033613299E-3</c:v>
                </c:pt>
                <c:pt idx="40426">
                  <c:v>-2.5210084033613299E-3</c:v>
                </c:pt>
                <c:pt idx="40427">
                  <c:v>-2.5210084033613299E-3</c:v>
                </c:pt>
                <c:pt idx="40428">
                  <c:v>-2.5210084033613299E-3</c:v>
                </c:pt>
                <c:pt idx="40429">
                  <c:v>-2.5210084033613299E-3</c:v>
                </c:pt>
                <c:pt idx="40430">
                  <c:v>-2.5210084033613299E-3</c:v>
                </c:pt>
                <c:pt idx="40431">
                  <c:v>-2.5210084033613299E-3</c:v>
                </c:pt>
                <c:pt idx="40432">
                  <c:v>-2.5210084033613299E-3</c:v>
                </c:pt>
                <c:pt idx="40433">
                  <c:v>-2.5210084033613299E-3</c:v>
                </c:pt>
                <c:pt idx="40434">
                  <c:v>-2.5210084033613299E-3</c:v>
                </c:pt>
                <c:pt idx="40435">
                  <c:v>-2.5210084033613299E-3</c:v>
                </c:pt>
                <c:pt idx="40436">
                  <c:v>-1.6806722689075499E-3</c:v>
                </c:pt>
                <c:pt idx="40437">
                  <c:v>-1.6806722689075499E-3</c:v>
                </c:pt>
                <c:pt idx="40438">
                  <c:v>-1.6806722689075499E-3</c:v>
                </c:pt>
                <c:pt idx="40439">
                  <c:v>-1.6806722689075499E-3</c:v>
                </c:pt>
                <c:pt idx="40440">
                  <c:v>-2.5210084033613299E-3</c:v>
                </c:pt>
                <c:pt idx="40441">
                  <c:v>-2.5210084033613299E-3</c:v>
                </c:pt>
                <c:pt idx="40442">
                  <c:v>-2.5210084033613299E-3</c:v>
                </c:pt>
                <c:pt idx="40443">
                  <c:v>-2.5210084033613299E-3</c:v>
                </c:pt>
                <c:pt idx="40444">
                  <c:v>-2.5210084033613299E-3</c:v>
                </c:pt>
                <c:pt idx="40445">
                  <c:v>-2.5210084033613299E-3</c:v>
                </c:pt>
                <c:pt idx="40446">
                  <c:v>-2.5210084033613299E-3</c:v>
                </c:pt>
                <c:pt idx="40447">
                  <c:v>-2.5210084033613299E-3</c:v>
                </c:pt>
                <c:pt idx="40448">
                  <c:v>-2.5210084033613299E-3</c:v>
                </c:pt>
                <c:pt idx="40449">
                  <c:v>-2.5210084033613299E-3</c:v>
                </c:pt>
                <c:pt idx="40450">
                  <c:v>-2.5210084033613299E-3</c:v>
                </c:pt>
                <c:pt idx="40451">
                  <c:v>-2.5210084033613299E-3</c:v>
                </c:pt>
                <c:pt idx="40452">
                  <c:v>-2.5210084033613299E-3</c:v>
                </c:pt>
                <c:pt idx="40453">
                  <c:v>-2.5210084033613299E-3</c:v>
                </c:pt>
                <c:pt idx="40454">
                  <c:v>-2.5210084033613299E-3</c:v>
                </c:pt>
                <c:pt idx="40455">
                  <c:v>-2.5210084033613299E-3</c:v>
                </c:pt>
                <c:pt idx="40456">
                  <c:v>-2.5210084033613299E-3</c:v>
                </c:pt>
                <c:pt idx="40457">
                  <c:v>-2.5210084033613299E-3</c:v>
                </c:pt>
                <c:pt idx="40458">
                  <c:v>-2.5210084033613299E-3</c:v>
                </c:pt>
                <c:pt idx="40459">
                  <c:v>-2.5210084033613299E-3</c:v>
                </c:pt>
                <c:pt idx="40460">
                  <c:v>-2.5210084033613299E-3</c:v>
                </c:pt>
                <c:pt idx="40461">
                  <c:v>-2.5210084033613299E-3</c:v>
                </c:pt>
                <c:pt idx="40462">
                  <c:v>-2.5210084033613299E-3</c:v>
                </c:pt>
                <c:pt idx="40463">
                  <c:v>-2.5210084033613299E-3</c:v>
                </c:pt>
                <c:pt idx="40464">
                  <c:v>-2.5210084033613299E-3</c:v>
                </c:pt>
                <c:pt idx="40465">
                  <c:v>-2.5210084033613299E-3</c:v>
                </c:pt>
                <c:pt idx="40466">
                  <c:v>-2.5210084033613299E-3</c:v>
                </c:pt>
                <c:pt idx="40467">
                  <c:v>-2.5210084033613299E-3</c:v>
                </c:pt>
                <c:pt idx="40468">
                  <c:v>-2.5210084033613299E-3</c:v>
                </c:pt>
                <c:pt idx="40469">
                  <c:v>-2.5210084033613299E-3</c:v>
                </c:pt>
                <c:pt idx="40470">
                  <c:v>-2.5210084033613299E-3</c:v>
                </c:pt>
                <c:pt idx="40471">
                  <c:v>-2.5210084033613299E-3</c:v>
                </c:pt>
                <c:pt idx="40472">
                  <c:v>-2.5210084033613299E-3</c:v>
                </c:pt>
                <c:pt idx="40473">
                  <c:v>-2.5210084033613299E-3</c:v>
                </c:pt>
                <c:pt idx="40474">
                  <c:v>-2.5210084033613299E-3</c:v>
                </c:pt>
                <c:pt idx="40475">
                  <c:v>-2.5210084033613299E-3</c:v>
                </c:pt>
                <c:pt idx="40476">
                  <c:v>-2.5210084033613299E-3</c:v>
                </c:pt>
                <c:pt idx="40477">
                  <c:v>-2.5210084033613299E-3</c:v>
                </c:pt>
                <c:pt idx="40478">
                  <c:v>-2.5210084033613299E-3</c:v>
                </c:pt>
                <c:pt idx="40479">
                  <c:v>-2.5210084033613299E-3</c:v>
                </c:pt>
                <c:pt idx="40480">
                  <c:v>-2.5210084033613299E-3</c:v>
                </c:pt>
                <c:pt idx="40481">
                  <c:v>-2.5210084033613299E-3</c:v>
                </c:pt>
                <c:pt idx="40482">
                  <c:v>-2.5210084033613299E-3</c:v>
                </c:pt>
                <c:pt idx="40483">
                  <c:v>-2.5210084033613299E-3</c:v>
                </c:pt>
                <c:pt idx="40484">
                  <c:v>-2.5210084033613299E-3</c:v>
                </c:pt>
                <c:pt idx="40485">
                  <c:v>-2.5210084033613299E-3</c:v>
                </c:pt>
                <c:pt idx="40486">
                  <c:v>-2.5210084033613299E-3</c:v>
                </c:pt>
                <c:pt idx="40487">
                  <c:v>-2.5210084033613299E-3</c:v>
                </c:pt>
                <c:pt idx="40488">
                  <c:v>-2.5210084033613299E-3</c:v>
                </c:pt>
                <c:pt idx="40489">
                  <c:v>-2.5210084033613299E-3</c:v>
                </c:pt>
                <c:pt idx="40490">
                  <c:v>-2.5210084033613299E-3</c:v>
                </c:pt>
                <c:pt idx="40491">
                  <c:v>-2.5210084033613299E-3</c:v>
                </c:pt>
                <c:pt idx="40492">
                  <c:v>-2.5210084033613299E-3</c:v>
                </c:pt>
                <c:pt idx="40493">
                  <c:v>-1.6806722689075499E-3</c:v>
                </c:pt>
                <c:pt idx="40494">
                  <c:v>-1.6806722689075499E-3</c:v>
                </c:pt>
                <c:pt idx="40495">
                  <c:v>-1.6806722689075499E-3</c:v>
                </c:pt>
                <c:pt idx="40496">
                  <c:v>-1.6806722689075499E-3</c:v>
                </c:pt>
                <c:pt idx="40497">
                  <c:v>-1.6806722689075499E-3</c:v>
                </c:pt>
                <c:pt idx="40498">
                  <c:v>-1.6806722689075499E-3</c:v>
                </c:pt>
                <c:pt idx="40499">
                  <c:v>-1.6806722689075499E-3</c:v>
                </c:pt>
                <c:pt idx="40500">
                  <c:v>-1.6806722689075499E-3</c:v>
                </c:pt>
                <c:pt idx="40501">
                  <c:v>-1.6806722689075499E-3</c:v>
                </c:pt>
                <c:pt idx="40502">
                  <c:v>-1.6806722689075499E-3</c:v>
                </c:pt>
                <c:pt idx="40503">
                  <c:v>-1.6806722689075499E-3</c:v>
                </c:pt>
                <c:pt idx="40504">
                  <c:v>-1.6806722689075499E-3</c:v>
                </c:pt>
                <c:pt idx="40505">
                  <c:v>-1.6806722689075499E-3</c:v>
                </c:pt>
                <c:pt idx="40506">
                  <c:v>-1.6806722689075499E-3</c:v>
                </c:pt>
                <c:pt idx="40507">
                  <c:v>-1.6806722689075499E-3</c:v>
                </c:pt>
                <c:pt idx="40508">
                  <c:v>-1.6806722689075499E-3</c:v>
                </c:pt>
                <c:pt idx="40509">
                  <c:v>-1.6806722689075499E-3</c:v>
                </c:pt>
                <c:pt idx="40510">
                  <c:v>-1.6806722689075499E-3</c:v>
                </c:pt>
                <c:pt idx="40511">
                  <c:v>-1.6806722689075499E-3</c:v>
                </c:pt>
                <c:pt idx="40512">
                  <c:v>-1.6806722689075499E-3</c:v>
                </c:pt>
                <c:pt idx="40513">
                  <c:v>-1.6806722689075499E-3</c:v>
                </c:pt>
                <c:pt idx="40514">
                  <c:v>-1.6806722689075499E-3</c:v>
                </c:pt>
                <c:pt idx="40515">
                  <c:v>-1.6806722689075499E-3</c:v>
                </c:pt>
                <c:pt idx="40516">
                  <c:v>-1.6806722689075499E-3</c:v>
                </c:pt>
                <c:pt idx="40517">
                  <c:v>-1.6806722689075499E-3</c:v>
                </c:pt>
                <c:pt idx="40518">
                  <c:v>-1.6806722689075499E-3</c:v>
                </c:pt>
                <c:pt idx="40519">
                  <c:v>-1.6806722689075499E-3</c:v>
                </c:pt>
                <c:pt idx="40520">
                  <c:v>-1.6806722689075499E-3</c:v>
                </c:pt>
                <c:pt idx="40521">
                  <c:v>-1.6806722689075499E-3</c:v>
                </c:pt>
                <c:pt idx="40522">
                  <c:v>-1.6806722689075499E-3</c:v>
                </c:pt>
                <c:pt idx="40523">
                  <c:v>-1.6806722689075499E-3</c:v>
                </c:pt>
                <c:pt idx="40524">
                  <c:v>-1.6806722689075499E-3</c:v>
                </c:pt>
                <c:pt idx="40525">
                  <c:v>-1.6806722689075499E-3</c:v>
                </c:pt>
                <c:pt idx="40526">
                  <c:v>-1.6806722689075499E-3</c:v>
                </c:pt>
                <c:pt idx="40527">
                  <c:v>-1.6806722689075499E-3</c:v>
                </c:pt>
                <c:pt idx="40528">
                  <c:v>-1.6806722689075499E-3</c:v>
                </c:pt>
                <c:pt idx="40529">
                  <c:v>-1.6806722689075499E-3</c:v>
                </c:pt>
                <c:pt idx="40530">
                  <c:v>-1.6806722689075499E-3</c:v>
                </c:pt>
                <c:pt idx="40531">
                  <c:v>-1.6806722689075499E-3</c:v>
                </c:pt>
                <c:pt idx="40532">
                  <c:v>-1.6806722689075499E-3</c:v>
                </c:pt>
                <c:pt idx="40533">
                  <c:v>-1.6806722689075499E-3</c:v>
                </c:pt>
                <c:pt idx="40534">
                  <c:v>-1.6806722689075499E-3</c:v>
                </c:pt>
                <c:pt idx="40535">
                  <c:v>-1.6806722689075499E-3</c:v>
                </c:pt>
                <c:pt idx="40536">
                  <c:v>-1.6806722689075499E-3</c:v>
                </c:pt>
                <c:pt idx="40537">
                  <c:v>-1.6806722689075499E-3</c:v>
                </c:pt>
                <c:pt idx="40538">
                  <c:v>-1.6806722689075499E-3</c:v>
                </c:pt>
                <c:pt idx="40539">
                  <c:v>-1.6806722689075499E-3</c:v>
                </c:pt>
                <c:pt idx="40540">
                  <c:v>-1.6806722689075499E-3</c:v>
                </c:pt>
                <c:pt idx="40541">
                  <c:v>-1.6806722689075499E-3</c:v>
                </c:pt>
                <c:pt idx="40542">
                  <c:v>-1.6806722689075499E-3</c:v>
                </c:pt>
                <c:pt idx="40543">
                  <c:v>-1.6806722689075499E-3</c:v>
                </c:pt>
                <c:pt idx="40544">
                  <c:v>-1.6806722689075499E-3</c:v>
                </c:pt>
                <c:pt idx="40545">
                  <c:v>-1.6806722689075499E-3</c:v>
                </c:pt>
                <c:pt idx="40546">
                  <c:v>-1.6806722689075499E-3</c:v>
                </c:pt>
                <c:pt idx="40547">
                  <c:v>-1.6806722689075499E-3</c:v>
                </c:pt>
                <c:pt idx="40548">
                  <c:v>-1.6806722689075499E-3</c:v>
                </c:pt>
                <c:pt idx="40549">
                  <c:v>-1.6806722689075499E-3</c:v>
                </c:pt>
                <c:pt idx="40550">
                  <c:v>-1.6806722689075499E-3</c:v>
                </c:pt>
                <c:pt idx="40551">
                  <c:v>-1.6806722689075499E-3</c:v>
                </c:pt>
                <c:pt idx="40552">
                  <c:v>-1.6806722689075499E-3</c:v>
                </c:pt>
                <c:pt idx="40553">
                  <c:v>-1.6806722689075499E-3</c:v>
                </c:pt>
                <c:pt idx="40554">
                  <c:v>-1.6806722689075499E-3</c:v>
                </c:pt>
                <c:pt idx="40555">
                  <c:v>-1.6806722689075499E-3</c:v>
                </c:pt>
                <c:pt idx="40556">
                  <c:v>-1.6806722689075499E-3</c:v>
                </c:pt>
                <c:pt idx="40557">
                  <c:v>-1.6806722689075499E-3</c:v>
                </c:pt>
                <c:pt idx="40558">
                  <c:v>-1.6806722689075499E-3</c:v>
                </c:pt>
                <c:pt idx="40559">
                  <c:v>-1.6806722689075499E-3</c:v>
                </c:pt>
                <c:pt idx="40560">
                  <c:v>-1.6806722689075499E-3</c:v>
                </c:pt>
                <c:pt idx="40561">
                  <c:v>-1.6806722689075499E-3</c:v>
                </c:pt>
                <c:pt idx="40562">
                  <c:v>-1.6806722689075499E-3</c:v>
                </c:pt>
                <c:pt idx="40563">
                  <c:v>-1.6806722689075499E-3</c:v>
                </c:pt>
                <c:pt idx="40564">
                  <c:v>-1.6806722689075499E-3</c:v>
                </c:pt>
                <c:pt idx="40565">
                  <c:v>-1.6806722689075499E-3</c:v>
                </c:pt>
                <c:pt idx="40566">
                  <c:v>-1.6806722689075499E-3</c:v>
                </c:pt>
                <c:pt idx="40567">
                  <c:v>-1.6806722689075499E-3</c:v>
                </c:pt>
                <c:pt idx="40568">
                  <c:v>-1.6806722689075499E-3</c:v>
                </c:pt>
                <c:pt idx="40569">
                  <c:v>-1.6806722689075499E-3</c:v>
                </c:pt>
                <c:pt idx="40570">
                  <c:v>-1.6806722689075499E-3</c:v>
                </c:pt>
                <c:pt idx="40571">
                  <c:v>-1.6806722689075499E-3</c:v>
                </c:pt>
                <c:pt idx="40572">
                  <c:v>-1.6806722689075499E-3</c:v>
                </c:pt>
                <c:pt idx="40573">
                  <c:v>-1.6806722689075499E-3</c:v>
                </c:pt>
                <c:pt idx="40574">
                  <c:v>-1.6806722689075499E-3</c:v>
                </c:pt>
                <c:pt idx="40575">
                  <c:v>-1.6806722689075499E-3</c:v>
                </c:pt>
                <c:pt idx="40576">
                  <c:v>-1.6806722689075499E-3</c:v>
                </c:pt>
                <c:pt idx="40577">
                  <c:v>-1.6806722689075499E-3</c:v>
                </c:pt>
                <c:pt idx="40578">
                  <c:v>-1.6806722689075499E-3</c:v>
                </c:pt>
                <c:pt idx="40579">
                  <c:v>-1.6806722689075499E-3</c:v>
                </c:pt>
                <c:pt idx="40580">
                  <c:v>-1.6806722689075499E-3</c:v>
                </c:pt>
                <c:pt idx="40581">
                  <c:v>-1.6806722689075499E-3</c:v>
                </c:pt>
                <c:pt idx="40582">
                  <c:v>-1.6806722689075499E-3</c:v>
                </c:pt>
                <c:pt idx="40583">
                  <c:v>-1.6806722689075499E-3</c:v>
                </c:pt>
                <c:pt idx="40584">
                  <c:v>-1.6806722689075499E-3</c:v>
                </c:pt>
                <c:pt idx="40585">
                  <c:v>-1.6806722689075499E-3</c:v>
                </c:pt>
                <c:pt idx="40586">
                  <c:v>-1.6806722689075499E-3</c:v>
                </c:pt>
                <c:pt idx="40587">
                  <c:v>-1.6806722689075499E-3</c:v>
                </c:pt>
                <c:pt idx="40588">
                  <c:v>-1.6806722689075499E-3</c:v>
                </c:pt>
                <c:pt idx="40589">
                  <c:v>-1.6806722689075499E-3</c:v>
                </c:pt>
                <c:pt idx="40590">
                  <c:v>-1.6806722689075499E-3</c:v>
                </c:pt>
                <c:pt idx="40591">
                  <c:v>-1.6806722689075499E-3</c:v>
                </c:pt>
                <c:pt idx="40592">
                  <c:v>-1.6806722689075499E-3</c:v>
                </c:pt>
                <c:pt idx="40593">
                  <c:v>-1.6806722689075499E-3</c:v>
                </c:pt>
                <c:pt idx="40594">
                  <c:v>-1.6806722689075499E-3</c:v>
                </c:pt>
                <c:pt idx="40595">
                  <c:v>-1.6806722689075499E-3</c:v>
                </c:pt>
                <c:pt idx="40596">
                  <c:v>-1.6806722689075499E-3</c:v>
                </c:pt>
                <c:pt idx="40597">
                  <c:v>-1.6806722689075499E-3</c:v>
                </c:pt>
                <c:pt idx="40598">
                  <c:v>-1.6806722689075499E-3</c:v>
                </c:pt>
                <c:pt idx="40599">
                  <c:v>-1.6806722689075499E-3</c:v>
                </c:pt>
                <c:pt idx="40600">
                  <c:v>-1.6806722689075499E-3</c:v>
                </c:pt>
                <c:pt idx="40601">
                  <c:v>-1.6806722689075499E-3</c:v>
                </c:pt>
                <c:pt idx="40602">
                  <c:v>-1.6806722689075499E-3</c:v>
                </c:pt>
                <c:pt idx="40603">
                  <c:v>-1.6806722689075499E-3</c:v>
                </c:pt>
                <c:pt idx="40604">
                  <c:v>-1.6806722689075499E-3</c:v>
                </c:pt>
                <c:pt idx="40605">
                  <c:v>-1.6806722689075499E-3</c:v>
                </c:pt>
                <c:pt idx="40606">
                  <c:v>-1.6806722689075499E-3</c:v>
                </c:pt>
                <c:pt idx="40607">
                  <c:v>-1.6806722689075499E-3</c:v>
                </c:pt>
                <c:pt idx="40608">
                  <c:v>-1.6806722689075499E-3</c:v>
                </c:pt>
                <c:pt idx="40609">
                  <c:v>-1.6806722689075499E-3</c:v>
                </c:pt>
                <c:pt idx="40610">
                  <c:v>-1.6806722689075499E-3</c:v>
                </c:pt>
                <c:pt idx="40611">
                  <c:v>-1.6806722689075499E-3</c:v>
                </c:pt>
                <c:pt idx="40612">
                  <c:v>-1.6806722689075499E-3</c:v>
                </c:pt>
                <c:pt idx="40613">
                  <c:v>-1.6806722689075499E-3</c:v>
                </c:pt>
                <c:pt idx="40614">
                  <c:v>-1.6806722689075499E-3</c:v>
                </c:pt>
                <c:pt idx="40615">
                  <c:v>-1.6806722689075499E-3</c:v>
                </c:pt>
                <c:pt idx="40616">
                  <c:v>-1.6806722689075499E-3</c:v>
                </c:pt>
                <c:pt idx="40617">
                  <c:v>-1.6806722689075499E-3</c:v>
                </c:pt>
                <c:pt idx="40618">
                  <c:v>-1.6806722689075499E-3</c:v>
                </c:pt>
                <c:pt idx="40619">
                  <c:v>-1.6806722689075499E-3</c:v>
                </c:pt>
                <c:pt idx="40620">
                  <c:v>-1.6806722689075499E-3</c:v>
                </c:pt>
                <c:pt idx="40621">
                  <c:v>-1.6806722689075499E-3</c:v>
                </c:pt>
                <c:pt idx="40622">
                  <c:v>-1.6806722689075499E-3</c:v>
                </c:pt>
                <c:pt idx="40623">
                  <c:v>-1.6806722689075499E-3</c:v>
                </c:pt>
                <c:pt idx="40624">
                  <c:v>-1.6806722689075499E-3</c:v>
                </c:pt>
                <c:pt idx="40625">
                  <c:v>-1.6806722689075499E-3</c:v>
                </c:pt>
                <c:pt idx="40626">
                  <c:v>-8.4033613445377799E-4</c:v>
                </c:pt>
                <c:pt idx="40627">
                  <c:v>-8.4033613445377799E-4</c:v>
                </c:pt>
                <c:pt idx="40628">
                  <c:v>-8.4033613445377799E-4</c:v>
                </c:pt>
                <c:pt idx="40629">
                  <c:v>-8.4033613445377799E-4</c:v>
                </c:pt>
                <c:pt idx="40630">
                  <c:v>-8.4033613445377799E-4</c:v>
                </c:pt>
                <c:pt idx="40631">
                  <c:v>-8.4033613445377799E-4</c:v>
                </c:pt>
                <c:pt idx="40632">
                  <c:v>-8.4033613445377799E-4</c:v>
                </c:pt>
                <c:pt idx="40633">
                  <c:v>-8.4033613445377799E-4</c:v>
                </c:pt>
                <c:pt idx="40634">
                  <c:v>-8.4033613445377799E-4</c:v>
                </c:pt>
                <c:pt idx="40635">
                  <c:v>-8.4033613445377799E-4</c:v>
                </c:pt>
                <c:pt idx="40636">
                  <c:v>-8.4033613445377799E-4</c:v>
                </c:pt>
                <c:pt idx="40637">
                  <c:v>-8.4033613445377799E-4</c:v>
                </c:pt>
                <c:pt idx="40638">
                  <c:v>-8.4033613445377799E-4</c:v>
                </c:pt>
                <c:pt idx="40639">
                  <c:v>-8.4033613445377799E-4</c:v>
                </c:pt>
                <c:pt idx="40640">
                  <c:v>-8.4033613445377799E-4</c:v>
                </c:pt>
                <c:pt idx="40641">
                  <c:v>-8.4033613445377799E-4</c:v>
                </c:pt>
                <c:pt idx="40642">
                  <c:v>-8.4033613445377799E-4</c:v>
                </c:pt>
                <c:pt idx="40643">
                  <c:v>-8.4033613445377799E-4</c:v>
                </c:pt>
                <c:pt idx="40644">
                  <c:v>-8.4033613445377799E-4</c:v>
                </c:pt>
                <c:pt idx="40645">
                  <c:v>-8.4033613445377799E-4</c:v>
                </c:pt>
                <c:pt idx="40646">
                  <c:v>-8.4033613445377799E-4</c:v>
                </c:pt>
                <c:pt idx="40647">
                  <c:v>-8.4033613445377799E-4</c:v>
                </c:pt>
                <c:pt idx="40648">
                  <c:v>-8.4033613445377799E-4</c:v>
                </c:pt>
                <c:pt idx="40649">
                  <c:v>-8.4033613445377799E-4</c:v>
                </c:pt>
                <c:pt idx="40650">
                  <c:v>-8.4033613445377799E-4</c:v>
                </c:pt>
                <c:pt idx="40651">
                  <c:v>-8.4033613445377799E-4</c:v>
                </c:pt>
                <c:pt idx="40652">
                  <c:v>-8.4033613445377799E-4</c:v>
                </c:pt>
                <c:pt idx="40653">
                  <c:v>-8.4033613445377799E-4</c:v>
                </c:pt>
                <c:pt idx="40654">
                  <c:v>-8.4033613445377799E-4</c:v>
                </c:pt>
                <c:pt idx="40655">
                  <c:v>-8.4033613445377799E-4</c:v>
                </c:pt>
                <c:pt idx="40656">
                  <c:v>-1.6806722689075499E-3</c:v>
                </c:pt>
                <c:pt idx="40657">
                  <c:v>-1.6806722689075499E-3</c:v>
                </c:pt>
                <c:pt idx="40658">
                  <c:v>-1.6806722689075499E-3</c:v>
                </c:pt>
                <c:pt idx="40659">
                  <c:v>-1.6806722689075499E-3</c:v>
                </c:pt>
                <c:pt idx="40660">
                  <c:v>-1.6806722689075499E-3</c:v>
                </c:pt>
                <c:pt idx="40661">
                  <c:v>-1.6806722689075499E-3</c:v>
                </c:pt>
                <c:pt idx="40662">
                  <c:v>-2.5210084033613299E-3</c:v>
                </c:pt>
                <c:pt idx="40663">
                  <c:v>-2.5210084033613299E-3</c:v>
                </c:pt>
                <c:pt idx="40664">
                  <c:v>-2.5210084033613299E-3</c:v>
                </c:pt>
                <c:pt idx="40665">
                  <c:v>-2.5210084033613299E-3</c:v>
                </c:pt>
                <c:pt idx="40666">
                  <c:v>-2.5210084033613299E-3</c:v>
                </c:pt>
                <c:pt idx="40667">
                  <c:v>-2.5210084033613299E-3</c:v>
                </c:pt>
                <c:pt idx="40668">
                  <c:v>-2.5210084033613299E-3</c:v>
                </c:pt>
                <c:pt idx="40669">
                  <c:v>-2.5210084033613299E-3</c:v>
                </c:pt>
                <c:pt idx="40670">
                  <c:v>-2.5210084033613299E-3</c:v>
                </c:pt>
                <c:pt idx="40671">
                  <c:v>-2.5210084033613299E-3</c:v>
                </c:pt>
                <c:pt idx="40672">
                  <c:v>-2.5210084033613299E-3</c:v>
                </c:pt>
                <c:pt idx="40673">
                  <c:v>-2.5210084033613299E-3</c:v>
                </c:pt>
                <c:pt idx="40674">
                  <c:v>-2.5210084033613299E-3</c:v>
                </c:pt>
                <c:pt idx="40675">
                  <c:v>-2.5210084033613299E-3</c:v>
                </c:pt>
                <c:pt idx="40676">
                  <c:v>-2.5210084033613299E-3</c:v>
                </c:pt>
                <c:pt idx="40677">
                  <c:v>-2.5210084033613299E-3</c:v>
                </c:pt>
                <c:pt idx="40678">
                  <c:v>-2.5210084033613299E-3</c:v>
                </c:pt>
                <c:pt idx="40679">
                  <c:v>-2.5210084033613299E-3</c:v>
                </c:pt>
                <c:pt idx="40680">
                  <c:v>-2.5210084033613299E-3</c:v>
                </c:pt>
                <c:pt idx="40681">
                  <c:v>-1.6806722689075499E-3</c:v>
                </c:pt>
                <c:pt idx="40682">
                  <c:v>-1.6806722689075499E-3</c:v>
                </c:pt>
                <c:pt idx="40683">
                  <c:v>-1.6806722689075499E-3</c:v>
                </c:pt>
                <c:pt idx="40684">
                  <c:v>-1.6806722689075499E-3</c:v>
                </c:pt>
                <c:pt idx="40685">
                  <c:v>-1.6806722689075499E-3</c:v>
                </c:pt>
                <c:pt idx="40686">
                  <c:v>-1.6806722689075499E-3</c:v>
                </c:pt>
                <c:pt idx="40687">
                  <c:v>-1.6806722689075499E-3</c:v>
                </c:pt>
                <c:pt idx="40688">
                  <c:v>-1.6806722689075499E-3</c:v>
                </c:pt>
                <c:pt idx="40689">
                  <c:v>-1.6806722689075499E-3</c:v>
                </c:pt>
                <c:pt idx="40690">
                  <c:v>-1.6806722689075499E-3</c:v>
                </c:pt>
                <c:pt idx="40691">
                  <c:v>-1.6806722689075499E-3</c:v>
                </c:pt>
                <c:pt idx="40692">
                  <c:v>-1.6806722689075499E-3</c:v>
                </c:pt>
                <c:pt idx="40693">
                  <c:v>-1.6806722689075499E-3</c:v>
                </c:pt>
                <c:pt idx="40694">
                  <c:v>-1.6806722689075499E-3</c:v>
                </c:pt>
                <c:pt idx="40695">
                  <c:v>-1.6806722689075499E-3</c:v>
                </c:pt>
                <c:pt idx="40696">
                  <c:v>-1.6806722689075499E-3</c:v>
                </c:pt>
                <c:pt idx="40697">
                  <c:v>-1.6806722689075499E-3</c:v>
                </c:pt>
                <c:pt idx="40698">
                  <c:v>-1.6806722689075499E-3</c:v>
                </c:pt>
                <c:pt idx="40699">
                  <c:v>-1.6806722689075499E-3</c:v>
                </c:pt>
                <c:pt idx="40700">
                  <c:v>-1.6806722689075499E-3</c:v>
                </c:pt>
                <c:pt idx="40701">
                  <c:v>-1.6806722689075499E-3</c:v>
                </c:pt>
                <c:pt idx="40702">
                  <c:v>-1.6806722689075499E-3</c:v>
                </c:pt>
                <c:pt idx="40703">
                  <c:v>-1.6806722689075499E-3</c:v>
                </c:pt>
                <c:pt idx="40704">
                  <c:v>-1.6806722689075499E-3</c:v>
                </c:pt>
                <c:pt idx="40705">
                  <c:v>-1.6806722689075499E-3</c:v>
                </c:pt>
                <c:pt idx="40706">
                  <c:v>-1.6806722689075499E-3</c:v>
                </c:pt>
                <c:pt idx="40707">
                  <c:v>-1.6806722689075499E-3</c:v>
                </c:pt>
                <c:pt idx="40708">
                  <c:v>-1.6806722689075499E-3</c:v>
                </c:pt>
                <c:pt idx="40709">
                  <c:v>-1.6806722689075499E-3</c:v>
                </c:pt>
                <c:pt idx="40710">
                  <c:v>-1.6806722689075499E-3</c:v>
                </c:pt>
                <c:pt idx="40711">
                  <c:v>-1.6806722689075499E-3</c:v>
                </c:pt>
                <c:pt idx="40712">
                  <c:v>-1.6806722689075499E-3</c:v>
                </c:pt>
                <c:pt idx="40713">
                  <c:v>-1.6806722689075499E-3</c:v>
                </c:pt>
                <c:pt idx="40714">
                  <c:v>-1.6806722689075499E-3</c:v>
                </c:pt>
                <c:pt idx="40715">
                  <c:v>-1.6806722689075499E-3</c:v>
                </c:pt>
                <c:pt idx="40716">
                  <c:v>-1.6806722689075499E-3</c:v>
                </c:pt>
                <c:pt idx="40717">
                  <c:v>-1.6806722689075499E-3</c:v>
                </c:pt>
                <c:pt idx="40718">
                  <c:v>-1.6806722689075499E-3</c:v>
                </c:pt>
                <c:pt idx="40719">
                  <c:v>-1.6806722689075499E-3</c:v>
                </c:pt>
                <c:pt idx="40720">
                  <c:v>-1.6806722689075499E-3</c:v>
                </c:pt>
                <c:pt idx="40721">
                  <c:v>-1.6806722689075499E-3</c:v>
                </c:pt>
                <c:pt idx="40722">
                  <c:v>-1.6806722689075499E-3</c:v>
                </c:pt>
                <c:pt idx="40723">
                  <c:v>-1.6806722689075499E-3</c:v>
                </c:pt>
                <c:pt idx="40724">
                  <c:v>-1.6806722689075499E-3</c:v>
                </c:pt>
                <c:pt idx="40725">
                  <c:v>-1.6806722689075499E-3</c:v>
                </c:pt>
                <c:pt idx="40726">
                  <c:v>-1.6806722689075499E-3</c:v>
                </c:pt>
                <c:pt idx="40727">
                  <c:v>-1.6806722689075499E-3</c:v>
                </c:pt>
                <c:pt idx="40728">
                  <c:v>-1.6806722689075499E-3</c:v>
                </c:pt>
                <c:pt idx="40729">
                  <c:v>-1.6806722689075499E-3</c:v>
                </c:pt>
                <c:pt idx="40730">
                  <c:v>-1.6806722689075499E-3</c:v>
                </c:pt>
                <c:pt idx="40731">
                  <c:v>-1.6806722689075499E-3</c:v>
                </c:pt>
                <c:pt idx="40732">
                  <c:v>-1.6806722689075499E-3</c:v>
                </c:pt>
                <c:pt idx="40733">
                  <c:v>-1.6806722689075499E-3</c:v>
                </c:pt>
                <c:pt idx="40734">
                  <c:v>-1.6806722689075499E-3</c:v>
                </c:pt>
                <c:pt idx="40735">
                  <c:v>-1.6806722689075499E-3</c:v>
                </c:pt>
                <c:pt idx="40736">
                  <c:v>-1.6806722689075499E-3</c:v>
                </c:pt>
                <c:pt idx="40737">
                  <c:v>-1.6806722689075499E-3</c:v>
                </c:pt>
                <c:pt idx="40738">
                  <c:v>-1.6806722689075499E-3</c:v>
                </c:pt>
                <c:pt idx="40739">
                  <c:v>-1.6806722689075499E-3</c:v>
                </c:pt>
                <c:pt idx="40740">
                  <c:v>-1.6806722689075499E-3</c:v>
                </c:pt>
                <c:pt idx="40741">
                  <c:v>-1.6806722689075499E-3</c:v>
                </c:pt>
                <c:pt idx="40742">
                  <c:v>-1.6806722689075499E-3</c:v>
                </c:pt>
                <c:pt idx="40743">
                  <c:v>-1.6806722689075499E-3</c:v>
                </c:pt>
                <c:pt idx="40744">
                  <c:v>-1.6806722689075499E-3</c:v>
                </c:pt>
                <c:pt idx="40745">
                  <c:v>-1.6806722689075499E-3</c:v>
                </c:pt>
                <c:pt idx="40746">
                  <c:v>-1.6806722689075499E-3</c:v>
                </c:pt>
                <c:pt idx="40747">
                  <c:v>-1.6806722689075499E-3</c:v>
                </c:pt>
                <c:pt idx="40748">
                  <c:v>-1.6806722689075499E-3</c:v>
                </c:pt>
                <c:pt idx="40749">
                  <c:v>-1.6806722689075499E-3</c:v>
                </c:pt>
                <c:pt idx="40750">
                  <c:v>-1.6806722689075499E-3</c:v>
                </c:pt>
                <c:pt idx="40751">
                  <c:v>-1.6806722689075499E-3</c:v>
                </c:pt>
                <c:pt idx="40752">
                  <c:v>-2.5210084033613299E-3</c:v>
                </c:pt>
                <c:pt idx="40753">
                  <c:v>-2.5210084033613299E-3</c:v>
                </c:pt>
                <c:pt idx="40754">
                  <c:v>-2.5210084033613299E-3</c:v>
                </c:pt>
                <c:pt idx="40755">
                  <c:v>-2.5210084033613299E-3</c:v>
                </c:pt>
                <c:pt idx="40756">
                  <c:v>-2.5210084033613299E-3</c:v>
                </c:pt>
                <c:pt idx="40757">
                  <c:v>-2.5210084033613299E-3</c:v>
                </c:pt>
                <c:pt idx="40758">
                  <c:v>-2.5210084033613299E-3</c:v>
                </c:pt>
                <c:pt idx="40759">
                  <c:v>-2.5210084033613299E-3</c:v>
                </c:pt>
                <c:pt idx="40760">
                  <c:v>-2.5210084033613299E-3</c:v>
                </c:pt>
                <c:pt idx="40761">
                  <c:v>-2.5210084033613299E-3</c:v>
                </c:pt>
                <c:pt idx="40762">
                  <c:v>-2.5210084033613299E-3</c:v>
                </c:pt>
                <c:pt idx="40763">
                  <c:v>-2.5210084033613299E-3</c:v>
                </c:pt>
                <c:pt idx="40764">
                  <c:v>-2.5210084033613299E-3</c:v>
                </c:pt>
                <c:pt idx="40765">
                  <c:v>-2.5210084033613299E-3</c:v>
                </c:pt>
                <c:pt idx="40766">
                  <c:v>-2.5210084033613299E-3</c:v>
                </c:pt>
                <c:pt idx="40767">
                  <c:v>-2.5210084033613299E-3</c:v>
                </c:pt>
                <c:pt idx="40768">
                  <c:v>-2.5210084033613299E-3</c:v>
                </c:pt>
                <c:pt idx="40769">
                  <c:v>-2.5210084033613299E-3</c:v>
                </c:pt>
                <c:pt idx="40770">
                  <c:v>-2.5210084033613299E-3</c:v>
                </c:pt>
                <c:pt idx="40771">
                  <c:v>-2.5210084033613299E-3</c:v>
                </c:pt>
                <c:pt idx="40772">
                  <c:v>-2.5210084033613299E-3</c:v>
                </c:pt>
                <c:pt idx="40773">
                  <c:v>-2.5210084033613299E-3</c:v>
                </c:pt>
                <c:pt idx="40774">
                  <c:v>-2.5210084033613299E-3</c:v>
                </c:pt>
                <c:pt idx="40775">
                  <c:v>-2.5210084033613299E-3</c:v>
                </c:pt>
                <c:pt idx="40776">
                  <c:v>-2.5210084033613299E-3</c:v>
                </c:pt>
                <c:pt idx="40777">
                  <c:v>-2.5210084033613299E-3</c:v>
                </c:pt>
                <c:pt idx="40778">
                  <c:v>-2.5210084033613299E-3</c:v>
                </c:pt>
                <c:pt idx="40779">
                  <c:v>-2.5210084033613299E-3</c:v>
                </c:pt>
                <c:pt idx="40780">
                  <c:v>-2.5210084033613299E-3</c:v>
                </c:pt>
                <c:pt idx="40781">
                  <c:v>-2.5210084033613299E-3</c:v>
                </c:pt>
                <c:pt idx="40782">
                  <c:v>-2.5210084033613299E-3</c:v>
                </c:pt>
                <c:pt idx="40783">
                  <c:v>-2.5210084033613299E-3</c:v>
                </c:pt>
                <c:pt idx="40784">
                  <c:v>-2.5210084033613299E-3</c:v>
                </c:pt>
                <c:pt idx="40785">
                  <c:v>-2.5210084033613299E-3</c:v>
                </c:pt>
                <c:pt idx="40786">
                  <c:v>-2.5210084033613299E-3</c:v>
                </c:pt>
                <c:pt idx="40787">
                  <c:v>-2.5210084033613299E-3</c:v>
                </c:pt>
                <c:pt idx="40788">
                  <c:v>-2.5210084033613299E-3</c:v>
                </c:pt>
                <c:pt idx="40789">
                  <c:v>-2.5210084033613299E-3</c:v>
                </c:pt>
                <c:pt idx="40790">
                  <c:v>-2.5210084033613299E-3</c:v>
                </c:pt>
                <c:pt idx="40791">
                  <c:v>-2.5210084033613299E-3</c:v>
                </c:pt>
                <c:pt idx="40792">
                  <c:v>-2.5210084033613299E-3</c:v>
                </c:pt>
                <c:pt idx="40793">
                  <c:v>-2.5210084033613299E-3</c:v>
                </c:pt>
                <c:pt idx="40794">
                  <c:v>-2.5210084033613299E-3</c:v>
                </c:pt>
                <c:pt idx="40795">
                  <c:v>-2.5210084033613299E-3</c:v>
                </c:pt>
                <c:pt idx="40796">
                  <c:v>-2.5210084033613299E-3</c:v>
                </c:pt>
                <c:pt idx="40797">
                  <c:v>-3.3613445378151102E-3</c:v>
                </c:pt>
                <c:pt idx="40798">
                  <c:v>-3.3613445378151102E-3</c:v>
                </c:pt>
                <c:pt idx="40799">
                  <c:v>-3.3613445378151102E-3</c:v>
                </c:pt>
                <c:pt idx="40800">
                  <c:v>-3.3613445378151102E-3</c:v>
                </c:pt>
                <c:pt idx="40801">
                  <c:v>-3.3613445378151102E-3</c:v>
                </c:pt>
                <c:pt idx="40802">
                  <c:v>-3.3613445378151102E-3</c:v>
                </c:pt>
                <c:pt idx="40803">
                  <c:v>-3.3613445378151102E-3</c:v>
                </c:pt>
                <c:pt idx="40804">
                  <c:v>-2.5210084033613299E-3</c:v>
                </c:pt>
                <c:pt idx="40805">
                  <c:v>-2.5210084033613299E-3</c:v>
                </c:pt>
                <c:pt idx="40806">
                  <c:v>-2.5210084033613299E-3</c:v>
                </c:pt>
                <c:pt idx="40807">
                  <c:v>-2.5210084033613299E-3</c:v>
                </c:pt>
                <c:pt idx="40808">
                  <c:v>-2.5210084033613299E-3</c:v>
                </c:pt>
                <c:pt idx="40809">
                  <c:v>-2.5210084033613299E-3</c:v>
                </c:pt>
                <c:pt idx="40810">
                  <c:v>-2.5210084033613299E-3</c:v>
                </c:pt>
                <c:pt idx="40811">
                  <c:v>-2.5210084033613299E-3</c:v>
                </c:pt>
                <c:pt idx="40812">
                  <c:v>-2.5210084033613299E-3</c:v>
                </c:pt>
                <c:pt idx="40813">
                  <c:v>-2.5210084033613299E-3</c:v>
                </c:pt>
                <c:pt idx="40814">
                  <c:v>-2.5210084033613299E-3</c:v>
                </c:pt>
                <c:pt idx="40815">
                  <c:v>-2.5210084033613299E-3</c:v>
                </c:pt>
                <c:pt idx="40816">
                  <c:v>-2.5210084033613299E-3</c:v>
                </c:pt>
                <c:pt idx="40817">
                  <c:v>-2.5210084033613299E-3</c:v>
                </c:pt>
                <c:pt idx="40818">
                  <c:v>-2.5210084033613299E-3</c:v>
                </c:pt>
                <c:pt idx="40819">
                  <c:v>-2.5210084033613299E-3</c:v>
                </c:pt>
                <c:pt idx="40820">
                  <c:v>-2.5210084033613299E-3</c:v>
                </c:pt>
                <c:pt idx="40821">
                  <c:v>-2.5210084033613299E-3</c:v>
                </c:pt>
                <c:pt idx="40822">
                  <c:v>-2.5210084033613299E-3</c:v>
                </c:pt>
                <c:pt idx="40823">
                  <c:v>-2.5210084033613299E-3</c:v>
                </c:pt>
                <c:pt idx="40824">
                  <c:v>-2.5210084033613299E-3</c:v>
                </c:pt>
                <c:pt idx="40825">
                  <c:v>-2.5210084033613299E-3</c:v>
                </c:pt>
                <c:pt idx="40826">
                  <c:v>-2.5210084033613299E-3</c:v>
                </c:pt>
                <c:pt idx="40827">
                  <c:v>-2.5210084033613299E-3</c:v>
                </c:pt>
                <c:pt idx="40828">
                  <c:v>-2.5210084033613299E-3</c:v>
                </c:pt>
                <c:pt idx="40829">
                  <c:v>-2.5210084033613299E-3</c:v>
                </c:pt>
                <c:pt idx="40830">
                  <c:v>-2.5210084033613299E-3</c:v>
                </c:pt>
                <c:pt idx="40831">
                  <c:v>-2.5210084033613299E-3</c:v>
                </c:pt>
                <c:pt idx="40832">
                  <c:v>-2.5210084033613299E-3</c:v>
                </c:pt>
                <c:pt idx="40833">
                  <c:v>-2.5210084033613299E-3</c:v>
                </c:pt>
                <c:pt idx="40834">
                  <c:v>-2.5210084033613299E-3</c:v>
                </c:pt>
                <c:pt idx="40835">
                  <c:v>-2.5210084033613299E-3</c:v>
                </c:pt>
                <c:pt idx="40836">
                  <c:v>-2.5210084033613299E-3</c:v>
                </c:pt>
                <c:pt idx="40837">
                  <c:v>-2.5210084033613299E-3</c:v>
                </c:pt>
                <c:pt idx="40838">
                  <c:v>-2.5210084033613299E-3</c:v>
                </c:pt>
                <c:pt idx="40839">
                  <c:v>-2.5210084033613299E-3</c:v>
                </c:pt>
                <c:pt idx="40840">
                  <c:v>-2.5210084033613299E-3</c:v>
                </c:pt>
                <c:pt idx="40841">
                  <c:v>-2.5210084033613299E-3</c:v>
                </c:pt>
                <c:pt idx="40842">
                  <c:v>-2.5210084033613299E-3</c:v>
                </c:pt>
                <c:pt idx="40843">
                  <c:v>-2.5210084033613299E-3</c:v>
                </c:pt>
                <c:pt idx="40844">
                  <c:v>-2.5210084033613299E-3</c:v>
                </c:pt>
                <c:pt idx="40845">
                  <c:v>-2.5210084033613299E-3</c:v>
                </c:pt>
                <c:pt idx="40846">
                  <c:v>-2.5210084033613299E-3</c:v>
                </c:pt>
                <c:pt idx="40847">
                  <c:v>-2.5210084033613299E-3</c:v>
                </c:pt>
                <c:pt idx="40848">
                  <c:v>-2.5210084033613299E-3</c:v>
                </c:pt>
                <c:pt idx="40849">
                  <c:v>-2.5210084033613299E-3</c:v>
                </c:pt>
                <c:pt idx="40850">
                  <c:v>-2.5210084033613299E-3</c:v>
                </c:pt>
                <c:pt idx="40851">
                  <c:v>-2.5210084033613299E-3</c:v>
                </c:pt>
                <c:pt idx="40852">
                  <c:v>-2.5210084033613299E-3</c:v>
                </c:pt>
                <c:pt idx="40853">
                  <c:v>-2.5210084033613299E-3</c:v>
                </c:pt>
                <c:pt idx="40854">
                  <c:v>-2.5210084033613299E-3</c:v>
                </c:pt>
                <c:pt idx="40855">
                  <c:v>-2.5210084033613299E-3</c:v>
                </c:pt>
                <c:pt idx="40856">
                  <c:v>-2.5210084033613299E-3</c:v>
                </c:pt>
                <c:pt idx="40857">
                  <c:v>-2.5210084033613299E-3</c:v>
                </c:pt>
                <c:pt idx="40858">
                  <c:v>-2.5210084033613299E-3</c:v>
                </c:pt>
                <c:pt idx="40859">
                  <c:v>-2.5210084033613299E-3</c:v>
                </c:pt>
                <c:pt idx="40860">
                  <c:v>-2.5210084033613299E-3</c:v>
                </c:pt>
                <c:pt idx="40861">
                  <c:v>-3.3613445378151102E-3</c:v>
                </c:pt>
                <c:pt idx="40862">
                  <c:v>-3.3613445378151102E-3</c:v>
                </c:pt>
                <c:pt idx="40863">
                  <c:v>-3.3613445378151102E-3</c:v>
                </c:pt>
                <c:pt idx="40864">
                  <c:v>-3.3613445378151102E-3</c:v>
                </c:pt>
                <c:pt idx="40865">
                  <c:v>-3.3613445378151102E-3</c:v>
                </c:pt>
                <c:pt idx="40866">
                  <c:v>-3.3613445378151102E-3</c:v>
                </c:pt>
                <c:pt idx="40867">
                  <c:v>-3.3613445378151102E-3</c:v>
                </c:pt>
                <c:pt idx="40868">
                  <c:v>-3.3613445378151102E-3</c:v>
                </c:pt>
                <c:pt idx="40869">
                  <c:v>-3.3613445378151102E-3</c:v>
                </c:pt>
                <c:pt idx="40870">
                  <c:v>-3.3613445378151102E-3</c:v>
                </c:pt>
                <c:pt idx="40871">
                  <c:v>-3.3613445378151102E-3</c:v>
                </c:pt>
                <c:pt idx="40872">
                  <c:v>-3.3613445378151102E-3</c:v>
                </c:pt>
                <c:pt idx="40873">
                  <c:v>-3.3613445378151102E-3</c:v>
                </c:pt>
                <c:pt idx="40874">
                  <c:v>-3.3613445378151102E-3</c:v>
                </c:pt>
                <c:pt idx="40875">
                  <c:v>-3.3613445378151102E-3</c:v>
                </c:pt>
                <c:pt idx="40876">
                  <c:v>-3.3613445378151102E-3</c:v>
                </c:pt>
                <c:pt idx="40877">
                  <c:v>-3.3613445378151102E-3</c:v>
                </c:pt>
                <c:pt idx="40878">
                  <c:v>-3.3613445378151102E-3</c:v>
                </c:pt>
                <c:pt idx="40879">
                  <c:v>-3.3613445378151102E-3</c:v>
                </c:pt>
                <c:pt idx="40880">
                  <c:v>-3.3613445378151102E-3</c:v>
                </c:pt>
                <c:pt idx="40881">
                  <c:v>-3.3613445378151102E-3</c:v>
                </c:pt>
                <c:pt idx="40882">
                  <c:v>-3.3613445378151102E-3</c:v>
                </c:pt>
                <c:pt idx="40883">
                  <c:v>-3.3613445378151102E-3</c:v>
                </c:pt>
                <c:pt idx="40884">
                  <c:v>-3.3613445378151102E-3</c:v>
                </c:pt>
                <c:pt idx="40885">
                  <c:v>-3.3613445378151102E-3</c:v>
                </c:pt>
                <c:pt idx="40886">
                  <c:v>-3.3613445378151102E-3</c:v>
                </c:pt>
                <c:pt idx="40887">
                  <c:v>-3.3613445378151102E-3</c:v>
                </c:pt>
                <c:pt idx="40888">
                  <c:v>-3.3613445378151102E-3</c:v>
                </c:pt>
                <c:pt idx="40889">
                  <c:v>-3.3613445378151102E-3</c:v>
                </c:pt>
                <c:pt idx="40890">
                  <c:v>-3.3613445378151102E-3</c:v>
                </c:pt>
                <c:pt idx="40891">
                  <c:v>-3.3613445378151102E-3</c:v>
                </c:pt>
                <c:pt idx="40892">
                  <c:v>-3.3613445378151102E-3</c:v>
                </c:pt>
                <c:pt idx="40893">
                  <c:v>-3.3613445378151102E-3</c:v>
                </c:pt>
                <c:pt idx="40894">
                  <c:v>-3.3613445378151102E-3</c:v>
                </c:pt>
                <c:pt idx="40895">
                  <c:v>-3.3613445378151102E-3</c:v>
                </c:pt>
                <c:pt idx="40896">
                  <c:v>-3.3613445378151102E-3</c:v>
                </c:pt>
                <c:pt idx="40897">
                  <c:v>-3.3613445378151102E-3</c:v>
                </c:pt>
                <c:pt idx="40898">
                  <c:v>-3.3613445378151102E-3</c:v>
                </c:pt>
                <c:pt idx="40899">
                  <c:v>-3.3613445378151102E-3</c:v>
                </c:pt>
                <c:pt idx="40900">
                  <c:v>-3.3613445378151102E-3</c:v>
                </c:pt>
                <c:pt idx="40901">
                  <c:v>-3.3613445378151102E-3</c:v>
                </c:pt>
                <c:pt idx="40902">
                  <c:v>-3.3613445378151102E-3</c:v>
                </c:pt>
                <c:pt idx="40903">
                  <c:v>-3.3613445378151102E-3</c:v>
                </c:pt>
                <c:pt idx="40904">
                  <c:v>-3.3613445378151102E-3</c:v>
                </c:pt>
                <c:pt idx="40905">
                  <c:v>-3.3613445378151102E-3</c:v>
                </c:pt>
                <c:pt idx="40906">
                  <c:v>-3.3613445378151102E-3</c:v>
                </c:pt>
                <c:pt idx="40907">
                  <c:v>-3.3613445378151102E-3</c:v>
                </c:pt>
                <c:pt idx="40908">
                  <c:v>-3.3613445378151102E-3</c:v>
                </c:pt>
                <c:pt idx="40909">
                  <c:v>-3.3613445378151102E-3</c:v>
                </c:pt>
                <c:pt idx="40910">
                  <c:v>-3.3613445378151102E-3</c:v>
                </c:pt>
                <c:pt idx="40911">
                  <c:v>-3.3613445378151102E-3</c:v>
                </c:pt>
                <c:pt idx="40912">
                  <c:v>-3.3613445378151102E-3</c:v>
                </c:pt>
                <c:pt idx="40913">
                  <c:v>-3.3613445378151102E-3</c:v>
                </c:pt>
                <c:pt idx="40914">
                  <c:v>-3.3613445378151102E-3</c:v>
                </c:pt>
                <c:pt idx="40915">
                  <c:v>-3.3613445378151102E-3</c:v>
                </c:pt>
                <c:pt idx="40916">
                  <c:v>-3.3613445378151102E-3</c:v>
                </c:pt>
                <c:pt idx="40917">
                  <c:v>-3.3613445378151102E-3</c:v>
                </c:pt>
                <c:pt idx="40918">
                  <c:v>-3.3613445378151102E-3</c:v>
                </c:pt>
                <c:pt idx="40919">
                  <c:v>-3.3613445378151102E-3</c:v>
                </c:pt>
                <c:pt idx="40920">
                  <c:v>-3.3613445378151102E-3</c:v>
                </c:pt>
                <c:pt idx="40921">
                  <c:v>-3.3613445378151102E-3</c:v>
                </c:pt>
                <c:pt idx="40922">
                  <c:v>-3.3613445378151102E-3</c:v>
                </c:pt>
                <c:pt idx="40923">
                  <c:v>-3.3613445378151102E-3</c:v>
                </c:pt>
                <c:pt idx="40924">
                  <c:v>-3.3613445378151102E-3</c:v>
                </c:pt>
                <c:pt idx="40925">
                  <c:v>-3.3613445378151102E-3</c:v>
                </c:pt>
                <c:pt idx="40926">
                  <c:v>-3.3613445378151102E-3</c:v>
                </c:pt>
                <c:pt idx="40927">
                  <c:v>-3.3613445378151102E-3</c:v>
                </c:pt>
                <c:pt idx="40928">
                  <c:v>-3.3613445378151102E-3</c:v>
                </c:pt>
                <c:pt idx="40929">
                  <c:v>-3.3613445378151102E-3</c:v>
                </c:pt>
                <c:pt idx="40930">
                  <c:v>-3.3613445378151102E-3</c:v>
                </c:pt>
                <c:pt idx="40931">
                  <c:v>-3.3613445378151102E-3</c:v>
                </c:pt>
                <c:pt idx="40932">
                  <c:v>-3.3613445378151102E-3</c:v>
                </c:pt>
                <c:pt idx="40933">
                  <c:v>-3.3613445378151102E-3</c:v>
                </c:pt>
                <c:pt idx="40934">
                  <c:v>-3.3613445378151102E-3</c:v>
                </c:pt>
                <c:pt idx="40935">
                  <c:v>-3.3613445378151102E-3</c:v>
                </c:pt>
                <c:pt idx="40936">
                  <c:v>-3.3613445378151102E-3</c:v>
                </c:pt>
                <c:pt idx="40937">
                  <c:v>-3.3613445378151102E-3</c:v>
                </c:pt>
                <c:pt idx="40938">
                  <c:v>-3.3613445378151102E-3</c:v>
                </c:pt>
                <c:pt idx="40939">
                  <c:v>-3.3613445378151102E-3</c:v>
                </c:pt>
                <c:pt idx="40940">
                  <c:v>-3.3613445378151102E-3</c:v>
                </c:pt>
                <c:pt idx="40941">
                  <c:v>-3.3613445378151102E-3</c:v>
                </c:pt>
                <c:pt idx="40942">
                  <c:v>-3.3613445378151102E-3</c:v>
                </c:pt>
                <c:pt idx="40943">
                  <c:v>-3.3613445378151102E-3</c:v>
                </c:pt>
                <c:pt idx="40944">
                  <c:v>-3.3613445378151102E-3</c:v>
                </c:pt>
                <c:pt idx="40945">
                  <c:v>-3.3613445378151102E-3</c:v>
                </c:pt>
                <c:pt idx="40946">
                  <c:v>-3.3613445378151102E-3</c:v>
                </c:pt>
                <c:pt idx="40947">
                  <c:v>-3.3613445378151102E-3</c:v>
                </c:pt>
                <c:pt idx="40948">
                  <c:v>-3.3613445378151102E-3</c:v>
                </c:pt>
                <c:pt idx="40949">
                  <c:v>-3.3613445378151102E-3</c:v>
                </c:pt>
                <c:pt idx="40950">
                  <c:v>-3.3613445378151102E-3</c:v>
                </c:pt>
                <c:pt idx="40951">
                  <c:v>-3.3613445378151102E-3</c:v>
                </c:pt>
                <c:pt idx="40952">
                  <c:v>-3.3613445378151102E-3</c:v>
                </c:pt>
                <c:pt idx="40953">
                  <c:v>-3.3613445378151102E-3</c:v>
                </c:pt>
                <c:pt idx="40954">
                  <c:v>-3.3613445378151102E-3</c:v>
                </c:pt>
                <c:pt idx="40955">
                  <c:v>-3.3613445378151102E-3</c:v>
                </c:pt>
                <c:pt idx="40956">
                  <c:v>-3.3613445378151102E-3</c:v>
                </c:pt>
                <c:pt idx="40957">
                  <c:v>-3.3613445378151102E-3</c:v>
                </c:pt>
                <c:pt idx="40958">
                  <c:v>-3.3613445378151102E-3</c:v>
                </c:pt>
                <c:pt idx="40959">
                  <c:v>-3.3613445378151102E-3</c:v>
                </c:pt>
                <c:pt idx="40960">
                  <c:v>-3.3613445378151102E-3</c:v>
                </c:pt>
                <c:pt idx="40961">
                  <c:v>-3.3613445378151102E-3</c:v>
                </c:pt>
                <c:pt idx="40962">
                  <c:v>-3.3613445378151102E-3</c:v>
                </c:pt>
                <c:pt idx="40963">
                  <c:v>-3.3613445378151102E-3</c:v>
                </c:pt>
                <c:pt idx="40964">
                  <c:v>-3.3613445378151102E-3</c:v>
                </c:pt>
                <c:pt idx="40965">
                  <c:v>-3.3613445378151102E-3</c:v>
                </c:pt>
                <c:pt idx="40966">
                  <c:v>-3.3613445378151102E-3</c:v>
                </c:pt>
                <c:pt idx="40967">
                  <c:v>-3.3613445378151102E-3</c:v>
                </c:pt>
                <c:pt idx="40968">
                  <c:v>-3.3613445378151102E-3</c:v>
                </c:pt>
                <c:pt idx="40969">
                  <c:v>-3.3613445378151102E-3</c:v>
                </c:pt>
                <c:pt idx="40970">
                  <c:v>-3.3613445378151102E-3</c:v>
                </c:pt>
                <c:pt idx="40971">
                  <c:v>-3.3613445378151102E-3</c:v>
                </c:pt>
                <c:pt idx="40972">
                  <c:v>-3.3613445378151102E-3</c:v>
                </c:pt>
                <c:pt idx="40973">
                  <c:v>-3.3613445378151102E-3</c:v>
                </c:pt>
                <c:pt idx="40974">
                  <c:v>-3.3613445378151102E-3</c:v>
                </c:pt>
                <c:pt idx="40975">
                  <c:v>-3.3613445378151102E-3</c:v>
                </c:pt>
                <c:pt idx="40976">
                  <c:v>-3.3613445378151102E-3</c:v>
                </c:pt>
                <c:pt idx="40977">
                  <c:v>-3.3613445378151102E-3</c:v>
                </c:pt>
                <c:pt idx="40978">
                  <c:v>-3.3613445378151102E-3</c:v>
                </c:pt>
                <c:pt idx="40979">
                  <c:v>-3.3613445378151102E-3</c:v>
                </c:pt>
                <c:pt idx="40980">
                  <c:v>-3.3613445378151102E-3</c:v>
                </c:pt>
                <c:pt idx="40981">
                  <c:v>-3.3613445378151102E-3</c:v>
                </c:pt>
                <c:pt idx="40982">
                  <c:v>-3.3613445378151102E-3</c:v>
                </c:pt>
                <c:pt idx="40983">
                  <c:v>-3.3613445378151102E-3</c:v>
                </c:pt>
                <c:pt idx="40984">
                  <c:v>-3.3613445378151102E-3</c:v>
                </c:pt>
                <c:pt idx="40985">
                  <c:v>-3.3613445378151102E-3</c:v>
                </c:pt>
                <c:pt idx="40986">
                  <c:v>-3.3613445378151102E-3</c:v>
                </c:pt>
                <c:pt idx="40987">
                  <c:v>-3.3613445378151102E-3</c:v>
                </c:pt>
                <c:pt idx="40988">
                  <c:v>-3.3613445378151102E-3</c:v>
                </c:pt>
                <c:pt idx="40989">
                  <c:v>-3.3613445378151102E-3</c:v>
                </c:pt>
                <c:pt idx="40990">
                  <c:v>-3.3613445378151102E-3</c:v>
                </c:pt>
                <c:pt idx="40991">
                  <c:v>-3.3613445378151102E-3</c:v>
                </c:pt>
                <c:pt idx="40992">
                  <c:v>-3.3613445378151102E-3</c:v>
                </c:pt>
                <c:pt idx="40993">
                  <c:v>-3.3613445378151102E-3</c:v>
                </c:pt>
                <c:pt idx="40994">
                  <c:v>-3.3613445378151102E-3</c:v>
                </c:pt>
                <c:pt idx="40995">
                  <c:v>-3.3613445378151102E-3</c:v>
                </c:pt>
                <c:pt idx="40996">
                  <c:v>-3.3613445378151102E-3</c:v>
                </c:pt>
                <c:pt idx="40997">
                  <c:v>-3.3613445378151102E-3</c:v>
                </c:pt>
                <c:pt idx="40998">
                  <c:v>-3.3613445378151102E-3</c:v>
                </c:pt>
                <c:pt idx="40999">
                  <c:v>-3.3613445378151102E-3</c:v>
                </c:pt>
                <c:pt idx="41000">
                  <c:v>-3.3613445378151102E-3</c:v>
                </c:pt>
                <c:pt idx="41001">
                  <c:v>-3.3613445378151102E-3</c:v>
                </c:pt>
                <c:pt idx="41002">
                  <c:v>-3.3613445378151102E-3</c:v>
                </c:pt>
                <c:pt idx="41003">
                  <c:v>-3.3613445378151102E-3</c:v>
                </c:pt>
                <c:pt idx="41004">
                  <c:v>-3.3613445378151102E-3</c:v>
                </c:pt>
                <c:pt idx="41005">
                  <c:v>-3.3613445378151102E-3</c:v>
                </c:pt>
                <c:pt idx="41006">
                  <c:v>-3.3613445378151102E-3</c:v>
                </c:pt>
                <c:pt idx="41007">
                  <c:v>-3.3613445378151102E-3</c:v>
                </c:pt>
                <c:pt idx="41008">
                  <c:v>-3.3613445378151102E-3</c:v>
                </c:pt>
                <c:pt idx="41009">
                  <c:v>-3.3613445378151102E-3</c:v>
                </c:pt>
                <c:pt idx="41010">
                  <c:v>-3.3613445378151102E-3</c:v>
                </c:pt>
                <c:pt idx="41011">
                  <c:v>-4.20168067226889E-3</c:v>
                </c:pt>
                <c:pt idx="41012">
                  <c:v>-4.20168067226889E-3</c:v>
                </c:pt>
                <c:pt idx="41013">
                  <c:v>-4.20168067226889E-3</c:v>
                </c:pt>
                <c:pt idx="41014">
                  <c:v>-4.20168067226889E-3</c:v>
                </c:pt>
                <c:pt idx="41015">
                  <c:v>-4.20168067226889E-3</c:v>
                </c:pt>
                <c:pt idx="41016">
                  <c:v>-4.20168067226889E-3</c:v>
                </c:pt>
                <c:pt idx="41017">
                  <c:v>-4.20168067226889E-3</c:v>
                </c:pt>
                <c:pt idx="41018">
                  <c:v>-4.20168067226889E-3</c:v>
                </c:pt>
                <c:pt idx="41019">
                  <c:v>-4.20168067226889E-3</c:v>
                </c:pt>
                <c:pt idx="41020">
                  <c:v>-4.20168067226889E-3</c:v>
                </c:pt>
                <c:pt idx="41021">
                  <c:v>-4.20168067226889E-3</c:v>
                </c:pt>
                <c:pt idx="41022">
                  <c:v>-4.20168067226889E-3</c:v>
                </c:pt>
                <c:pt idx="41023">
                  <c:v>-4.20168067226889E-3</c:v>
                </c:pt>
                <c:pt idx="41024">
                  <c:v>-4.20168067226889E-3</c:v>
                </c:pt>
                <c:pt idx="41025">
                  <c:v>-4.20168067226889E-3</c:v>
                </c:pt>
                <c:pt idx="41026">
                  <c:v>-4.20168067226889E-3</c:v>
                </c:pt>
                <c:pt idx="41027">
                  <c:v>-4.20168067226889E-3</c:v>
                </c:pt>
                <c:pt idx="41028">
                  <c:v>-4.20168067226889E-3</c:v>
                </c:pt>
                <c:pt idx="41029">
                  <c:v>-4.20168067226889E-3</c:v>
                </c:pt>
                <c:pt idx="41030">
                  <c:v>-4.20168067226889E-3</c:v>
                </c:pt>
                <c:pt idx="41031">
                  <c:v>-4.20168067226889E-3</c:v>
                </c:pt>
                <c:pt idx="41032">
                  <c:v>-4.20168067226889E-3</c:v>
                </c:pt>
                <c:pt idx="41033">
                  <c:v>-4.20168067226889E-3</c:v>
                </c:pt>
                <c:pt idx="41034">
                  <c:v>-4.20168067226889E-3</c:v>
                </c:pt>
                <c:pt idx="41035">
                  <c:v>-4.20168067226889E-3</c:v>
                </c:pt>
                <c:pt idx="41036">
                  <c:v>-4.20168067226889E-3</c:v>
                </c:pt>
                <c:pt idx="41037">
                  <c:v>-4.20168067226889E-3</c:v>
                </c:pt>
                <c:pt idx="41038">
                  <c:v>-4.20168067226889E-3</c:v>
                </c:pt>
                <c:pt idx="41039">
                  <c:v>-4.20168067226889E-3</c:v>
                </c:pt>
                <c:pt idx="41040">
                  <c:v>-4.20168067226889E-3</c:v>
                </c:pt>
                <c:pt idx="41041">
                  <c:v>-4.20168067226889E-3</c:v>
                </c:pt>
                <c:pt idx="41042">
                  <c:v>-4.20168067226889E-3</c:v>
                </c:pt>
                <c:pt idx="41043">
                  <c:v>-4.20168067226889E-3</c:v>
                </c:pt>
                <c:pt idx="41044">
                  <c:v>-4.20168067226889E-3</c:v>
                </c:pt>
                <c:pt idx="41045">
                  <c:v>-4.20168067226889E-3</c:v>
                </c:pt>
                <c:pt idx="41046">
                  <c:v>-4.20168067226889E-3</c:v>
                </c:pt>
                <c:pt idx="41047">
                  <c:v>-4.20168067226889E-3</c:v>
                </c:pt>
                <c:pt idx="41048">
                  <c:v>-4.20168067226889E-3</c:v>
                </c:pt>
                <c:pt idx="41049">
                  <c:v>-4.20168067226889E-3</c:v>
                </c:pt>
                <c:pt idx="41050">
                  <c:v>-4.20168067226889E-3</c:v>
                </c:pt>
                <c:pt idx="41051">
                  <c:v>-4.20168067226889E-3</c:v>
                </c:pt>
                <c:pt idx="41052">
                  <c:v>-4.20168067226889E-3</c:v>
                </c:pt>
                <c:pt idx="41053">
                  <c:v>-4.20168067226889E-3</c:v>
                </c:pt>
                <c:pt idx="41054">
                  <c:v>-4.20168067226889E-3</c:v>
                </c:pt>
                <c:pt idx="41055">
                  <c:v>-4.20168067226889E-3</c:v>
                </c:pt>
                <c:pt idx="41056">
                  <c:v>-4.20168067226889E-3</c:v>
                </c:pt>
                <c:pt idx="41057">
                  <c:v>-4.20168067226889E-3</c:v>
                </c:pt>
                <c:pt idx="41058">
                  <c:v>-4.20168067226889E-3</c:v>
                </c:pt>
                <c:pt idx="41059">
                  <c:v>-4.20168067226889E-3</c:v>
                </c:pt>
                <c:pt idx="41060">
                  <c:v>-4.20168067226889E-3</c:v>
                </c:pt>
                <c:pt idx="41061">
                  <c:v>-4.20168067226889E-3</c:v>
                </c:pt>
                <c:pt idx="41062">
                  <c:v>-4.20168067226889E-3</c:v>
                </c:pt>
                <c:pt idx="41063">
                  <c:v>-4.20168067226889E-3</c:v>
                </c:pt>
                <c:pt idx="41064">
                  <c:v>-4.20168067226889E-3</c:v>
                </c:pt>
                <c:pt idx="41065">
                  <c:v>-4.20168067226889E-3</c:v>
                </c:pt>
                <c:pt idx="41066">
                  <c:v>-4.20168067226889E-3</c:v>
                </c:pt>
                <c:pt idx="41067">
                  <c:v>-4.20168067226889E-3</c:v>
                </c:pt>
                <c:pt idx="41068">
                  <c:v>-4.20168067226889E-3</c:v>
                </c:pt>
                <c:pt idx="41069">
                  <c:v>-4.20168067226889E-3</c:v>
                </c:pt>
                <c:pt idx="41070">
                  <c:v>-4.20168067226889E-3</c:v>
                </c:pt>
                <c:pt idx="41071">
                  <c:v>-4.20168067226889E-3</c:v>
                </c:pt>
                <c:pt idx="41072">
                  <c:v>-4.20168067226889E-3</c:v>
                </c:pt>
                <c:pt idx="41073">
                  <c:v>-4.20168067226889E-3</c:v>
                </c:pt>
                <c:pt idx="41074">
                  <c:v>-4.20168067226889E-3</c:v>
                </c:pt>
                <c:pt idx="41075">
                  <c:v>-4.20168067226889E-3</c:v>
                </c:pt>
                <c:pt idx="41076">
                  <c:v>-4.20168067226889E-3</c:v>
                </c:pt>
                <c:pt idx="41077">
                  <c:v>-4.20168067226889E-3</c:v>
                </c:pt>
                <c:pt idx="41078">
                  <c:v>-4.20168067226889E-3</c:v>
                </c:pt>
                <c:pt idx="41079">
                  <c:v>-4.20168067226889E-3</c:v>
                </c:pt>
                <c:pt idx="41080">
                  <c:v>-4.20168067226889E-3</c:v>
                </c:pt>
                <c:pt idx="41081">
                  <c:v>-4.20168067226889E-3</c:v>
                </c:pt>
                <c:pt idx="41082">
                  <c:v>-4.20168067226889E-3</c:v>
                </c:pt>
                <c:pt idx="41083">
                  <c:v>-4.20168067226889E-3</c:v>
                </c:pt>
                <c:pt idx="41084">
                  <c:v>-4.20168067226889E-3</c:v>
                </c:pt>
                <c:pt idx="41085">
                  <c:v>-4.20168067226889E-3</c:v>
                </c:pt>
                <c:pt idx="41086">
                  <c:v>-4.20168067226889E-3</c:v>
                </c:pt>
                <c:pt idx="41087">
                  <c:v>-4.20168067226889E-3</c:v>
                </c:pt>
                <c:pt idx="41088">
                  <c:v>-4.20168067226889E-3</c:v>
                </c:pt>
                <c:pt idx="41089">
                  <c:v>-4.20168067226889E-3</c:v>
                </c:pt>
                <c:pt idx="41090">
                  <c:v>-4.20168067226889E-3</c:v>
                </c:pt>
                <c:pt idx="41091">
                  <c:v>-4.20168067226889E-3</c:v>
                </c:pt>
                <c:pt idx="41092">
                  <c:v>-4.20168067226889E-3</c:v>
                </c:pt>
                <c:pt idx="41093">
                  <c:v>-4.20168067226889E-3</c:v>
                </c:pt>
                <c:pt idx="41094">
                  <c:v>-4.20168067226889E-3</c:v>
                </c:pt>
                <c:pt idx="41095">
                  <c:v>-4.20168067226889E-3</c:v>
                </c:pt>
                <c:pt idx="41096">
                  <c:v>-4.20168067226889E-3</c:v>
                </c:pt>
                <c:pt idx="41097">
                  <c:v>-4.20168067226889E-3</c:v>
                </c:pt>
                <c:pt idx="41098">
                  <c:v>-4.20168067226889E-3</c:v>
                </c:pt>
                <c:pt idx="41099">
                  <c:v>-4.20168067226889E-3</c:v>
                </c:pt>
                <c:pt idx="41100">
                  <c:v>-4.20168067226889E-3</c:v>
                </c:pt>
                <c:pt idx="41101">
                  <c:v>-4.20168067226889E-3</c:v>
                </c:pt>
                <c:pt idx="41102">
                  <c:v>-4.20168067226889E-3</c:v>
                </c:pt>
                <c:pt idx="41103">
                  <c:v>-4.20168067226889E-3</c:v>
                </c:pt>
                <c:pt idx="41104">
                  <c:v>-4.20168067226889E-3</c:v>
                </c:pt>
                <c:pt idx="41105">
                  <c:v>-4.20168067226889E-3</c:v>
                </c:pt>
                <c:pt idx="41106">
                  <c:v>-4.20168067226889E-3</c:v>
                </c:pt>
                <c:pt idx="41107">
                  <c:v>-4.20168067226889E-3</c:v>
                </c:pt>
                <c:pt idx="41108">
                  <c:v>-4.20168067226889E-3</c:v>
                </c:pt>
                <c:pt idx="41109">
                  <c:v>-4.20168067226889E-3</c:v>
                </c:pt>
                <c:pt idx="41110">
                  <c:v>-4.20168067226889E-3</c:v>
                </c:pt>
                <c:pt idx="41111">
                  <c:v>-4.20168067226889E-3</c:v>
                </c:pt>
                <c:pt idx="41112">
                  <c:v>-4.20168067226889E-3</c:v>
                </c:pt>
                <c:pt idx="41113">
                  <c:v>-4.20168067226889E-3</c:v>
                </c:pt>
                <c:pt idx="41114">
                  <c:v>-4.20168067226889E-3</c:v>
                </c:pt>
                <c:pt idx="41115">
                  <c:v>-4.20168067226889E-3</c:v>
                </c:pt>
                <c:pt idx="41116">
                  <c:v>-4.20168067226889E-3</c:v>
                </c:pt>
                <c:pt idx="41117">
                  <c:v>-4.20168067226889E-3</c:v>
                </c:pt>
                <c:pt idx="41118">
                  <c:v>-4.20168067226889E-3</c:v>
                </c:pt>
                <c:pt idx="41119">
                  <c:v>-4.20168067226889E-3</c:v>
                </c:pt>
                <c:pt idx="41120">
                  <c:v>-4.20168067226889E-3</c:v>
                </c:pt>
                <c:pt idx="41121">
                  <c:v>-4.20168067226889E-3</c:v>
                </c:pt>
                <c:pt idx="41122">
                  <c:v>-4.20168067226889E-3</c:v>
                </c:pt>
                <c:pt idx="41123">
                  <c:v>-4.20168067226889E-3</c:v>
                </c:pt>
                <c:pt idx="41124">
                  <c:v>-4.20168067226889E-3</c:v>
                </c:pt>
                <c:pt idx="41125">
                  <c:v>-4.20168067226889E-3</c:v>
                </c:pt>
                <c:pt idx="41126">
                  <c:v>-4.20168067226889E-3</c:v>
                </c:pt>
                <c:pt idx="41127">
                  <c:v>-4.20168067226889E-3</c:v>
                </c:pt>
                <c:pt idx="41128">
                  <c:v>-4.20168067226889E-3</c:v>
                </c:pt>
                <c:pt idx="41129">
                  <c:v>-4.20168067226889E-3</c:v>
                </c:pt>
                <c:pt idx="41130">
                  <c:v>-4.20168067226889E-3</c:v>
                </c:pt>
                <c:pt idx="41131">
                  <c:v>-3.3613445378151102E-3</c:v>
                </c:pt>
                <c:pt idx="41132">
                  <c:v>-3.3613445378151102E-3</c:v>
                </c:pt>
                <c:pt idx="41133">
                  <c:v>-3.3613445378151102E-3</c:v>
                </c:pt>
                <c:pt idx="41134">
                  <c:v>-3.3613445378151102E-3</c:v>
                </c:pt>
                <c:pt idx="41135">
                  <c:v>-3.3613445378151102E-3</c:v>
                </c:pt>
                <c:pt idx="41136">
                  <c:v>-3.3613445378151102E-3</c:v>
                </c:pt>
                <c:pt idx="41137">
                  <c:v>-3.3613445378151102E-3</c:v>
                </c:pt>
                <c:pt idx="41138">
                  <c:v>-3.3613445378151102E-3</c:v>
                </c:pt>
                <c:pt idx="41139">
                  <c:v>-3.3613445378151102E-3</c:v>
                </c:pt>
                <c:pt idx="41140">
                  <c:v>-3.3613445378151102E-3</c:v>
                </c:pt>
                <c:pt idx="41141">
                  <c:v>-3.3613445378151102E-3</c:v>
                </c:pt>
                <c:pt idx="41142">
                  <c:v>-3.3613445378151102E-3</c:v>
                </c:pt>
                <c:pt idx="41143">
                  <c:v>-3.3613445378151102E-3</c:v>
                </c:pt>
                <c:pt idx="41144">
                  <c:v>-3.3613445378151102E-3</c:v>
                </c:pt>
                <c:pt idx="41145">
                  <c:v>-3.3613445378151102E-3</c:v>
                </c:pt>
                <c:pt idx="41146">
                  <c:v>-3.3613445378151102E-3</c:v>
                </c:pt>
                <c:pt idx="41147">
                  <c:v>-3.3613445378151102E-3</c:v>
                </c:pt>
                <c:pt idx="41148">
                  <c:v>-3.3613445378151102E-3</c:v>
                </c:pt>
                <c:pt idx="41149">
                  <c:v>-3.3613445378151102E-3</c:v>
                </c:pt>
                <c:pt idx="41150">
                  <c:v>-3.3613445378151102E-3</c:v>
                </c:pt>
                <c:pt idx="41151">
                  <c:v>-3.3613445378151102E-3</c:v>
                </c:pt>
                <c:pt idx="41152">
                  <c:v>-3.3613445378151102E-3</c:v>
                </c:pt>
                <c:pt idx="41153">
                  <c:v>-3.3613445378151102E-3</c:v>
                </c:pt>
                <c:pt idx="41154">
                  <c:v>-3.3613445378151102E-3</c:v>
                </c:pt>
                <c:pt idx="41155">
                  <c:v>-3.3613445378151102E-3</c:v>
                </c:pt>
                <c:pt idx="41156">
                  <c:v>-3.3613445378151102E-3</c:v>
                </c:pt>
                <c:pt idx="41157">
                  <c:v>-3.3613445378151102E-3</c:v>
                </c:pt>
                <c:pt idx="41158">
                  <c:v>-3.3613445378151102E-3</c:v>
                </c:pt>
                <c:pt idx="41159">
                  <c:v>-3.3613445378151102E-3</c:v>
                </c:pt>
                <c:pt idx="41160">
                  <c:v>-3.3613445378151102E-3</c:v>
                </c:pt>
                <c:pt idx="41161">
                  <c:v>-3.3613445378151102E-3</c:v>
                </c:pt>
                <c:pt idx="41162">
                  <c:v>-3.3613445378151102E-3</c:v>
                </c:pt>
                <c:pt idx="41163">
                  <c:v>-3.3613445378151102E-3</c:v>
                </c:pt>
                <c:pt idx="41164">
                  <c:v>-3.3613445378151102E-3</c:v>
                </c:pt>
                <c:pt idx="41165">
                  <c:v>-3.3613445378151102E-3</c:v>
                </c:pt>
                <c:pt idx="41166">
                  <c:v>-3.3613445378151102E-3</c:v>
                </c:pt>
                <c:pt idx="41167">
                  <c:v>-3.3613445378151102E-3</c:v>
                </c:pt>
                <c:pt idx="41168">
                  <c:v>-3.3613445378151102E-3</c:v>
                </c:pt>
                <c:pt idx="41169">
                  <c:v>-3.3613445378151102E-3</c:v>
                </c:pt>
                <c:pt idx="41170">
                  <c:v>-3.3613445378151102E-3</c:v>
                </c:pt>
                <c:pt idx="41171">
                  <c:v>-3.3613445378151102E-3</c:v>
                </c:pt>
                <c:pt idx="41172">
                  <c:v>-3.3613445378151102E-3</c:v>
                </c:pt>
                <c:pt idx="41173">
                  <c:v>-3.3613445378151102E-3</c:v>
                </c:pt>
                <c:pt idx="41174">
                  <c:v>-3.3613445378151102E-3</c:v>
                </c:pt>
                <c:pt idx="41175">
                  <c:v>-3.3613445378151102E-3</c:v>
                </c:pt>
                <c:pt idx="41176">
                  <c:v>-3.3613445378151102E-3</c:v>
                </c:pt>
                <c:pt idx="41177">
                  <c:v>-3.3613445378151102E-3</c:v>
                </c:pt>
                <c:pt idx="41178">
                  <c:v>-3.3613445378151102E-3</c:v>
                </c:pt>
                <c:pt idx="41179">
                  <c:v>-3.3613445378151102E-3</c:v>
                </c:pt>
                <c:pt idx="41180">
                  <c:v>-3.3613445378151102E-3</c:v>
                </c:pt>
                <c:pt idx="41181">
                  <c:v>-3.3613445378151102E-3</c:v>
                </c:pt>
                <c:pt idx="41182">
                  <c:v>-3.3613445378151102E-3</c:v>
                </c:pt>
                <c:pt idx="41183">
                  <c:v>-3.3613445378151102E-3</c:v>
                </c:pt>
                <c:pt idx="41184">
                  <c:v>-3.3613445378151102E-3</c:v>
                </c:pt>
                <c:pt idx="41185">
                  <c:v>-3.3613445378151102E-3</c:v>
                </c:pt>
                <c:pt idx="41186">
                  <c:v>-3.3613445378151102E-3</c:v>
                </c:pt>
                <c:pt idx="41187">
                  <c:v>-3.3613445378151102E-3</c:v>
                </c:pt>
                <c:pt idx="41188">
                  <c:v>-3.3613445378151102E-3</c:v>
                </c:pt>
                <c:pt idx="41189">
                  <c:v>-3.3613445378151102E-3</c:v>
                </c:pt>
                <c:pt idx="41190">
                  <c:v>-3.3613445378151102E-3</c:v>
                </c:pt>
                <c:pt idx="41191">
                  <c:v>-3.3613445378151102E-3</c:v>
                </c:pt>
                <c:pt idx="41192">
                  <c:v>-3.3613445378151102E-3</c:v>
                </c:pt>
                <c:pt idx="41193">
                  <c:v>-3.3613445378151102E-3</c:v>
                </c:pt>
                <c:pt idx="41194">
                  <c:v>-3.3613445378151102E-3</c:v>
                </c:pt>
                <c:pt idx="41195">
                  <c:v>-3.3613445378151102E-3</c:v>
                </c:pt>
                <c:pt idx="41196">
                  <c:v>-3.3613445378151102E-3</c:v>
                </c:pt>
                <c:pt idx="41197">
                  <c:v>-3.3613445378151102E-3</c:v>
                </c:pt>
                <c:pt idx="41198">
                  <c:v>-3.3613445378151102E-3</c:v>
                </c:pt>
                <c:pt idx="41199">
                  <c:v>-3.3613445378151102E-3</c:v>
                </c:pt>
                <c:pt idx="41200">
                  <c:v>-3.3613445378151102E-3</c:v>
                </c:pt>
                <c:pt idx="41201">
                  <c:v>-3.3613445378151102E-3</c:v>
                </c:pt>
                <c:pt idx="41202">
                  <c:v>-3.3613445378151102E-3</c:v>
                </c:pt>
                <c:pt idx="41203">
                  <c:v>-3.3613445378151102E-3</c:v>
                </c:pt>
                <c:pt idx="41204">
                  <c:v>-3.3613445378151102E-3</c:v>
                </c:pt>
                <c:pt idx="41205">
                  <c:v>-3.3613445378151102E-3</c:v>
                </c:pt>
                <c:pt idx="41206">
                  <c:v>-3.3613445378151102E-3</c:v>
                </c:pt>
                <c:pt idx="41207">
                  <c:v>-3.3613445378151102E-3</c:v>
                </c:pt>
                <c:pt idx="41208">
                  <c:v>-3.3613445378151102E-3</c:v>
                </c:pt>
                <c:pt idx="41209">
                  <c:v>-3.3613445378151102E-3</c:v>
                </c:pt>
                <c:pt idx="41210">
                  <c:v>-3.3613445378151102E-3</c:v>
                </c:pt>
                <c:pt idx="41211">
                  <c:v>-3.3613445378151102E-3</c:v>
                </c:pt>
                <c:pt idx="41212">
                  <c:v>-3.3613445378151102E-3</c:v>
                </c:pt>
                <c:pt idx="41213">
                  <c:v>-3.3613445378151102E-3</c:v>
                </c:pt>
                <c:pt idx="41214">
                  <c:v>-3.3613445378151102E-3</c:v>
                </c:pt>
                <c:pt idx="41215">
                  <c:v>-3.3613445378151102E-3</c:v>
                </c:pt>
                <c:pt idx="41216">
                  <c:v>-3.3613445378151102E-3</c:v>
                </c:pt>
                <c:pt idx="41217">
                  <c:v>-3.3613445378151102E-3</c:v>
                </c:pt>
                <c:pt idx="41218">
                  <c:v>-3.3613445378151102E-3</c:v>
                </c:pt>
                <c:pt idx="41219">
                  <c:v>-3.3613445378151102E-3</c:v>
                </c:pt>
                <c:pt idx="41220">
                  <c:v>-3.3613445378151102E-3</c:v>
                </c:pt>
                <c:pt idx="41221">
                  <c:v>-3.3613445378151102E-3</c:v>
                </c:pt>
                <c:pt idx="41222">
                  <c:v>-3.3613445378151102E-3</c:v>
                </c:pt>
                <c:pt idx="41223">
                  <c:v>-3.3613445378151102E-3</c:v>
                </c:pt>
                <c:pt idx="41224">
                  <c:v>-3.3613445378151102E-3</c:v>
                </c:pt>
                <c:pt idx="41225">
                  <c:v>-3.3613445378151102E-3</c:v>
                </c:pt>
                <c:pt idx="41226">
                  <c:v>-3.3613445378151102E-3</c:v>
                </c:pt>
                <c:pt idx="41227">
                  <c:v>-3.3613445378151102E-3</c:v>
                </c:pt>
                <c:pt idx="41228">
                  <c:v>-3.3613445378151102E-3</c:v>
                </c:pt>
                <c:pt idx="41229">
                  <c:v>-3.3613445378151102E-3</c:v>
                </c:pt>
                <c:pt idx="41230">
                  <c:v>-3.3613445378151102E-3</c:v>
                </c:pt>
                <c:pt idx="41231">
                  <c:v>-3.3613445378151102E-3</c:v>
                </c:pt>
                <c:pt idx="41232">
                  <c:v>-3.3613445378151102E-3</c:v>
                </c:pt>
                <c:pt idx="41233">
                  <c:v>-3.3613445378151102E-3</c:v>
                </c:pt>
                <c:pt idx="41234">
                  <c:v>-3.3613445378151102E-3</c:v>
                </c:pt>
                <c:pt idx="41235">
                  <c:v>-3.3613445378151102E-3</c:v>
                </c:pt>
                <c:pt idx="41236">
                  <c:v>-3.3613445378151102E-3</c:v>
                </c:pt>
                <c:pt idx="41237">
                  <c:v>-3.3613445378151102E-3</c:v>
                </c:pt>
                <c:pt idx="41238">
                  <c:v>-3.3613445378151102E-3</c:v>
                </c:pt>
                <c:pt idx="41239">
                  <c:v>-3.3613445378151102E-3</c:v>
                </c:pt>
                <c:pt idx="41240">
                  <c:v>-3.3613445378151102E-3</c:v>
                </c:pt>
                <c:pt idx="41241">
                  <c:v>-3.3613445378151102E-3</c:v>
                </c:pt>
                <c:pt idx="41242">
                  <c:v>-3.3613445378151102E-3</c:v>
                </c:pt>
                <c:pt idx="41243">
                  <c:v>-3.3613445378151102E-3</c:v>
                </c:pt>
                <c:pt idx="41244">
                  <c:v>-3.3613445378151102E-3</c:v>
                </c:pt>
                <c:pt idx="41245">
                  <c:v>-3.3613445378151102E-3</c:v>
                </c:pt>
                <c:pt idx="41246">
                  <c:v>-3.3613445378151102E-3</c:v>
                </c:pt>
                <c:pt idx="41247">
                  <c:v>-3.3613445378151102E-3</c:v>
                </c:pt>
                <c:pt idx="41248">
                  <c:v>-3.3613445378151102E-3</c:v>
                </c:pt>
                <c:pt idx="41249">
                  <c:v>-3.3613445378151102E-3</c:v>
                </c:pt>
                <c:pt idx="41250">
                  <c:v>-3.3613445378151102E-3</c:v>
                </c:pt>
                <c:pt idx="41251">
                  <c:v>-3.3613445378151102E-3</c:v>
                </c:pt>
                <c:pt idx="41252">
                  <c:v>-3.3613445378151102E-3</c:v>
                </c:pt>
                <c:pt idx="41253">
                  <c:v>-3.3613445378151102E-3</c:v>
                </c:pt>
                <c:pt idx="41254">
                  <c:v>-3.3613445378151102E-3</c:v>
                </c:pt>
                <c:pt idx="41255">
                  <c:v>-3.3613445378151102E-3</c:v>
                </c:pt>
                <c:pt idx="41256">
                  <c:v>-3.3613445378151102E-3</c:v>
                </c:pt>
                <c:pt idx="41257">
                  <c:v>-3.3613445378151102E-3</c:v>
                </c:pt>
                <c:pt idx="41258">
                  <c:v>-3.3613445378151102E-3</c:v>
                </c:pt>
                <c:pt idx="41259">
                  <c:v>-3.3613445378151102E-3</c:v>
                </c:pt>
                <c:pt idx="41260">
                  <c:v>-3.3613445378151102E-3</c:v>
                </c:pt>
                <c:pt idx="41261">
                  <c:v>-3.3613445378151102E-3</c:v>
                </c:pt>
                <c:pt idx="41262">
                  <c:v>-3.3613445378151102E-3</c:v>
                </c:pt>
                <c:pt idx="41263">
                  <c:v>-3.3613445378151102E-3</c:v>
                </c:pt>
                <c:pt idx="41264">
                  <c:v>-3.3613445378151102E-3</c:v>
                </c:pt>
                <c:pt idx="41265">
                  <c:v>-3.3613445378151102E-3</c:v>
                </c:pt>
                <c:pt idx="41266">
                  <c:v>-3.3613445378151102E-3</c:v>
                </c:pt>
                <c:pt idx="41267">
                  <c:v>-3.3613445378151102E-3</c:v>
                </c:pt>
                <c:pt idx="41268">
                  <c:v>-3.3613445378151102E-3</c:v>
                </c:pt>
                <c:pt idx="41269">
                  <c:v>-3.3613445378151102E-3</c:v>
                </c:pt>
                <c:pt idx="41270">
                  <c:v>-3.3613445378151102E-3</c:v>
                </c:pt>
                <c:pt idx="41271">
                  <c:v>-3.3613445378151102E-3</c:v>
                </c:pt>
                <c:pt idx="41272">
                  <c:v>-3.3613445378151102E-3</c:v>
                </c:pt>
                <c:pt idx="41273">
                  <c:v>-3.3613445378151102E-3</c:v>
                </c:pt>
                <c:pt idx="41274">
                  <c:v>-3.3613445378151102E-3</c:v>
                </c:pt>
                <c:pt idx="41275">
                  <c:v>-3.3613445378151102E-3</c:v>
                </c:pt>
                <c:pt idx="41276">
                  <c:v>-3.3613445378151102E-3</c:v>
                </c:pt>
                <c:pt idx="41277">
                  <c:v>-3.3613445378151102E-3</c:v>
                </c:pt>
                <c:pt idx="41278">
                  <c:v>-3.3613445378151102E-3</c:v>
                </c:pt>
                <c:pt idx="41279">
                  <c:v>-3.3613445378151102E-3</c:v>
                </c:pt>
                <c:pt idx="41280">
                  <c:v>-3.3613445378151102E-3</c:v>
                </c:pt>
                <c:pt idx="41281">
                  <c:v>-3.3613445378151102E-3</c:v>
                </c:pt>
                <c:pt idx="41282">
                  <c:v>-3.3613445378151102E-3</c:v>
                </c:pt>
                <c:pt idx="41283">
                  <c:v>-3.3613445378151102E-3</c:v>
                </c:pt>
                <c:pt idx="41284">
                  <c:v>-3.3613445378151102E-3</c:v>
                </c:pt>
                <c:pt idx="41285">
                  <c:v>-3.3613445378151102E-3</c:v>
                </c:pt>
                <c:pt idx="41286">
                  <c:v>-3.3613445378151102E-3</c:v>
                </c:pt>
                <c:pt idx="41287">
                  <c:v>-3.3613445378151102E-3</c:v>
                </c:pt>
                <c:pt idx="41288">
                  <c:v>-3.3613445378151102E-3</c:v>
                </c:pt>
                <c:pt idx="41289">
                  <c:v>-3.3613445378151102E-3</c:v>
                </c:pt>
                <c:pt idx="41290">
                  <c:v>-3.3613445378151102E-3</c:v>
                </c:pt>
                <c:pt idx="41291">
                  <c:v>-3.3613445378151102E-3</c:v>
                </c:pt>
                <c:pt idx="41292">
                  <c:v>-3.3613445378151102E-3</c:v>
                </c:pt>
                <c:pt idx="41293">
                  <c:v>-3.3613445378151102E-3</c:v>
                </c:pt>
                <c:pt idx="41294">
                  <c:v>-3.3613445378151102E-3</c:v>
                </c:pt>
                <c:pt idx="41295">
                  <c:v>-3.3613445378151102E-3</c:v>
                </c:pt>
                <c:pt idx="41296">
                  <c:v>-3.3613445378151102E-3</c:v>
                </c:pt>
                <c:pt idx="41297">
                  <c:v>-3.3613445378151102E-3</c:v>
                </c:pt>
                <c:pt idx="41298">
                  <c:v>-3.3613445378151102E-3</c:v>
                </c:pt>
                <c:pt idx="41299">
                  <c:v>-3.3613445378151102E-3</c:v>
                </c:pt>
                <c:pt idx="41300">
                  <c:v>-3.3613445378151102E-3</c:v>
                </c:pt>
                <c:pt idx="41301">
                  <c:v>-3.3613445378151102E-3</c:v>
                </c:pt>
                <c:pt idx="41302">
                  <c:v>-3.3613445378151102E-3</c:v>
                </c:pt>
                <c:pt idx="41303">
                  <c:v>-3.3613445378151102E-3</c:v>
                </c:pt>
                <c:pt idx="41304">
                  <c:v>-3.3613445378151102E-3</c:v>
                </c:pt>
                <c:pt idx="41305">
                  <c:v>-3.3613445378151102E-3</c:v>
                </c:pt>
                <c:pt idx="41306">
                  <c:v>-3.3613445378151102E-3</c:v>
                </c:pt>
                <c:pt idx="41307">
                  <c:v>-3.3613445378151102E-3</c:v>
                </c:pt>
                <c:pt idx="41308">
                  <c:v>-3.3613445378151102E-3</c:v>
                </c:pt>
                <c:pt idx="41309">
                  <c:v>-3.3613445378151102E-3</c:v>
                </c:pt>
                <c:pt idx="41310">
                  <c:v>-3.3613445378151102E-3</c:v>
                </c:pt>
                <c:pt idx="41311">
                  <c:v>-3.3613445378151102E-3</c:v>
                </c:pt>
                <c:pt idx="41312">
                  <c:v>-3.3613445378151102E-3</c:v>
                </c:pt>
                <c:pt idx="41313">
                  <c:v>-3.3613445378151102E-3</c:v>
                </c:pt>
                <c:pt idx="41314">
                  <c:v>-3.3613445378151102E-3</c:v>
                </c:pt>
                <c:pt idx="41315">
                  <c:v>-3.3613445378151102E-3</c:v>
                </c:pt>
                <c:pt idx="41316">
                  <c:v>-3.3613445378151102E-3</c:v>
                </c:pt>
                <c:pt idx="41317">
                  <c:v>-3.3613445378151102E-3</c:v>
                </c:pt>
                <c:pt idx="41318">
                  <c:v>-3.3613445378151102E-3</c:v>
                </c:pt>
                <c:pt idx="41319">
                  <c:v>-3.3613445378151102E-3</c:v>
                </c:pt>
                <c:pt idx="41320">
                  <c:v>-3.3613445378151102E-3</c:v>
                </c:pt>
                <c:pt idx="41321">
                  <c:v>-3.3613445378151102E-3</c:v>
                </c:pt>
                <c:pt idx="41322">
                  <c:v>-3.3613445378151102E-3</c:v>
                </c:pt>
                <c:pt idx="41323">
                  <c:v>-3.3613445378151102E-3</c:v>
                </c:pt>
                <c:pt idx="41324">
                  <c:v>-3.3613445378151102E-3</c:v>
                </c:pt>
                <c:pt idx="41325">
                  <c:v>-3.3613445378151102E-3</c:v>
                </c:pt>
                <c:pt idx="41326">
                  <c:v>-3.3613445378151102E-3</c:v>
                </c:pt>
                <c:pt idx="41327">
                  <c:v>-3.3613445378151102E-3</c:v>
                </c:pt>
                <c:pt idx="41328">
                  <c:v>-3.3613445378151102E-3</c:v>
                </c:pt>
                <c:pt idx="41329">
                  <c:v>-3.3613445378151102E-3</c:v>
                </c:pt>
                <c:pt idx="41330">
                  <c:v>-3.3613445378151102E-3</c:v>
                </c:pt>
                <c:pt idx="41331">
                  <c:v>-3.3613445378151102E-3</c:v>
                </c:pt>
                <c:pt idx="41332">
                  <c:v>-3.3613445378151102E-3</c:v>
                </c:pt>
                <c:pt idx="41333">
                  <c:v>-3.3613445378151102E-3</c:v>
                </c:pt>
                <c:pt idx="41334">
                  <c:v>-3.3613445378151102E-3</c:v>
                </c:pt>
                <c:pt idx="41335">
                  <c:v>-3.3613445378151102E-3</c:v>
                </c:pt>
                <c:pt idx="41336">
                  <c:v>-3.3613445378151102E-3</c:v>
                </c:pt>
                <c:pt idx="41337">
                  <c:v>-3.3613445378151102E-3</c:v>
                </c:pt>
                <c:pt idx="41338">
                  <c:v>-3.3613445378151102E-3</c:v>
                </c:pt>
                <c:pt idx="41339">
                  <c:v>-3.3613445378151102E-3</c:v>
                </c:pt>
                <c:pt idx="41340">
                  <c:v>-2.5210084033613299E-3</c:v>
                </c:pt>
                <c:pt idx="41341">
                  <c:v>-2.5210084033613299E-3</c:v>
                </c:pt>
                <c:pt idx="41342">
                  <c:v>-2.5210084033613299E-3</c:v>
                </c:pt>
                <c:pt idx="41343">
                  <c:v>-2.5210084033613299E-3</c:v>
                </c:pt>
                <c:pt idx="41344">
                  <c:v>-2.5210084033613299E-3</c:v>
                </c:pt>
                <c:pt idx="41345">
                  <c:v>-2.5210084033613299E-3</c:v>
                </c:pt>
                <c:pt idx="41346">
                  <c:v>-2.5210084033613299E-3</c:v>
                </c:pt>
                <c:pt idx="41347">
                  <c:v>-2.5210084033613299E-3</c:v>
                </c:pt>
                <c:pt idx="41348">
                  <c:v>-2.5210084033613299E-3</c:v>
                </c:pt>
                <c:pt idx="41349">
                  <c:v>-1.6806722689075499E-3</c:v>
                </c:pt>
                <c:pt idx="41350">
                  <c:v>-1.6806722689075499E-3</c:v>
                </c:pt>
                <c:pt idx="41351">
                  <c:v>-1.6806722689075499E-3</c:v>
                </c:pt>
                <c:pt idx="41352">
                  <c:v>-1.6806722689075499E-3</c:v>
                </c:pt>
                <c:pt idx="41353">
                  <c:v>-1.6806722689075499E-3</c:v>
                </c:pt>
                <c:pt idx="41354">
                  <c:v>-1.6806722689075499E-3</c:v>
                </c:pt>
                <c:pt idx="41355">
                  <c:v>-1.6806722689075499E-3</c:v>
                </c:pt>
                <c:pt idx="41356">
                  <c:v>-1.6806722689075499E-3</c:v>
                </c:pt>
                <c:pt idx="41357">
                  <c:v>-1.6806722689075499E-3</c:v>
                </c:pt>
                <c:pt idx="41358">
                  <c:v>-1.6806722689075499E-3</c:v>
                </c:pt>
                <c:pt idx="41359">
                  <c:v>-1.6806722689075499E-3</c:v>
                </c:pt>
                <c:pt idx="41360">
                  <c:v>-1.6806722689075499E-3</c:v>
                </c:pt>
                <c:pt idx="41361">
                  <c:v>-1.6806722689075499E-3</c:v>
                </c:pt>
                <c:pt idx="41362">
                  <c:v>-1.6806722689075499E-3</c:v>
                </c:pt>
                <c:pt idx="41363">
                  <c:v>-1.6806722689075499E-3</c:v>
                </c:pt>
                <c:pt idx="41364">
                  <c:v>-1.6806722689075499E-3</c:v>
                </c:pt>
                <c:pt idx="41365">
                  <c:v>-1.6806722689075499E-3</c:v>
                </c:pt>
                <c:pt idx="41366">
                  <c:v>-1.6806722689075499E-3</c:v>
                </c:pt>
                <c:pt idx="41367">
                  <c:v>-1.6806722689075499E-3</c:v>
                </c:pt>
                <c:pt idx="41368">
                  <c:v>-1.6806722689075499E-3</c:v>
                </c:pt>
                <c:pt idx="41369">
                  <c:v>-1.6806722689075499E-3</c:v>
                </c:pt>
                <c:pt idx="41370">
                  <c:v>-1.6806722689075499E-3</c:v>
                </c:pt>
                <c:pt idx="41371">
                  <c:v>-1.6806722689075499E-3</c:v>
                </c:pt>
                <c:pt idx="41372">
                  <c:v>-1.6806722689075499E-3</c:v>
                </c:pt>
                <c:pt idx="41373">
                  <c:v>-1.6806722689075499E-3</c:v>
                </c:pt>
                <c:pt idx="41374">
                  <c:v>-1.6806722689075499E-3</c:v>
                </c:pt>
                <c:pt idx="41375">
                  <c:v>-1.6806722689075499E-3</c:v>
                </c:pt>
                <c:pt idx="41376">
                  <c:v>-1.6806722689075499E-3</c:v>
                </c:pt>
                <c:pt idx="41377">
                  <c:v>-1.6806722689075499E-3</c:v>
                </c:pt>
                <c:pt idx="41378">
                  <c:v>-1.6806722689075499E-3</c:v>
                </c:pt>
                <c:pt idx="41379">
                  <c:v>-1.6806722689075499E-3</c:v>
                </c:pt>
                <c:pt idx="41380">
                  <c:v>-1.6806722689075499E-3</c:v>
                </c:pt>
                <c:pt idx="41381">
                  <c:v>-1.6806722689075499E-3</c:v>
                </c:pt>
                <c:pt idx="41382">
                  <c:v>-1.6806722689075499E-3</c:v>
                </c:pt>
                <c:pt idx="41383">
                  <c:v>-1.6806722689075499E-3</c:v>
                </c:pt>
                <c:pt idx="41384">
                  <c:v>-1.6806722689075499E-3</c:v>
                </c:pt>
                <c:pt idx="41385">
                  <c:v>-1.6806722689075499E-3</c:v>
                </c:pt>
                <c:pt idx="41386">
                  <c:v>-1.6806722689075499E-3</c:v>
                </c:pt>
                <c:pt idx="41387">
                  <c:v>-1.6806722689075499E-3</c:v>
                </c:pt>
                <c:pt idx="41388">
                  <c:v>-1.6806722689075499E-3</c:v>
                </c:pt>
                <c:pt idx="41389">
                  <c:v>-1.6806722689075499E-3</c:v>
                </c:pt>
                <c:pt idx="41390">
                  <c:v>-1.6806722689075499E-3</c:v>
                </c:pt>
                <c:pt idx="41391">
                  <c:v>-1.6806722689075499E-3</c:v>
                </c:pt>
                <c:pt idx="41392">
                  <c:v>-1.6806722689075499E-3</c:v>
                </c:pt>
                <c:pt idx="41393">
                  <c:v>-1.6806722689075499E-3</c:v>
                </c:pt>
                <c:pt idx="41394">
                  <c:v>-1.6806722689075499E-3</c:v>
                </c:pt>
                <c:pt idx="41395">
                  <c:v>-1.6806722689075499E-3</c:v>
                </c:pt>
                <c:pt idx="41396">
                  <c:v>-1.6806722689075499E-3</c:v>
                </c:pt>
                <c:pt idx="41397">
                  <c:v>-1.6806722689075499E-3</c:v>
                </c:pt>
                <c:pt idx="41398">
                  <c:v>-1.6806722689075499E-3</c:v>
                </c:pt>
                <c:pt idx="41399">
                  <c:v>-1.6806722689075499E-3</c:v>
                </c:pt>
                <c:pt idx="41400">
                  <c:v>-1.6806722689075499E-3</c:v>
                </c:pt>
                <c:pt idx="41401">
                  <c:v>-1.6806722689075499E-3</c:v>
                </c:pt>
                <c:pt idx="41402">
                  <c:v>-1.6806722689075499E-3</c:v>
                </c:pt>
                <c:pt idx="41403">
                  <c:v>-1.6806722689075499E-3</c:v>
                </c:pt>
                <c:pt idx="41404">
                  <c:v>-1.6806722689075499E-3</c:v>
                </c:pt>
                <c:pt idx="41405">
                  <c:v>-1.6806722689075499E-3</c:v>
                </c:pt>
                <c:pt idx="41406">
                  <c:v>-1.6806722689075499E-3</c:v>
                </c:pt>
                <c:pt idx="41407">
                  <c:v>-1.6806722689075499E-3</c:v>
                </c:pt>
                <c:pt idx="41408">
                  <c:v>-1.6806722689075499E-3</c:v>
                </c:pt>
                <c:pt idx="41409">
                  <c:v>-1.6806722689075499E-3</c:v>
                </c:pt>
                <c:pt idx="41410">
                  <c:v>-8.4033613445377799E-4</c:v>
                </c:pt>
                <c:pt idx="41411">
                  <c:v>-8.4033613445377799E-4</c:v>
                </c:pt>
                <c:pt idx="41412">
                  <c:v>-8.4033613445377799E-4</c:v>
                </c:pt>
                <c:pt idx="41413">
                  <c:v>-8.4033613445377799E-4</c:v>
                </c:pt>
                <c:pt idx="41414">
                  <c:v>-8.4033613445377799E-4</c:v>
                </c:pt>
                <c:pt idx="41415">
                  <c:v>-8.4033613445377799E-4</c:v>
                </c:pt>
                <c:pt idx="41416">
                  <c:v>-8.4033613445377799E-4</c:v>
                </c:pt>
                <c:pt idx="41417">
                  <c:v>-8.4033613445377799E-4</c:v>
                </c:pt>
                <c:pt idx="41418">
                  <c:v>-8.4033613445377799E-4</c:v>
                </c:pt>
                <c:pt idx="41419">
                  <c:v>-8.4033613445377799E-4</c:v>
                </c:pt>
                <c:pt idx="41420">
                  <c:v>-8.4033613445377799E-4</c:v>
                </c:pt>
                <c:pt idx="41421">
                  <c:v>-8.4033613445377799E-4</c:v>
                </c:pt>
                <c:pt idx="41422">
                  <c:v>-8.4033613445377799E-4</c:v>
                </c:pt>
                <c:pt idx="41423">
                  <c:v>-8.4033613445377799E-4</c:v>
                </c:pt>
                <c:pt idx="41424">
                  <c:v>-8.4033613445377799E-4</c:v>
                </c:pt>
                <c:pt idx="41425">
                  <c:v>-8.4033613445377799E-4</c:v>
                </c:pt>
                <c:pt idx="41426">
                  <c:v>-8.4033613445377799E-4</c:v>
                </c:pt>
                <c:pt idx="41427">
                  <c:v>-8.4033613445377799E-4</c:v>
                </c:pt>
                <c:pt idx="41428">
                  <c:v>-8.4033613445377799E-4</c:v>
                </c:pt>
                <c:pt idx="41429">
                  <c:v>-8.4033613445377799E-4</c:v>
                </c:pt>
                <c:pt idx="41430">
                  <c:v>-8.4033613445377799E-4</c:v>
                </c:pt>
                <c:pt idx="41431">
                  <c:v>-8.4033613445377799E-4</c:v>
                </c:pt>
                <c:pt idx="41432">
                  <c:v>-8.4033613445377799E-4</c:v>
                </c:pt>
                <c:pt idx="41433">
                  <c:v>-8.4033613445377799E-4</c:v>
                </c:pt>
                <c:pt idx="41434">
                  <c:v>-1.6806722689075499E-3</c:v>
                </c:pt>
                <c:pt idx="41435">
                  <c:v>-1.6806722689075499E-3</c:v>
                </c:pt>
                <c:pt idx="41436">
                  <c:v>-1.6806722689075499E-3</c:v>
                </c:pt>
                <c:pt idx="41437">
                  <c:v>-1.6806722689075499E-3</c:v>
                </c:pt>
                <c:pt idx="41438">
                  <c:v>-1.6806722689075499E-3</c:v>
                </c:pt>
                <c:pt idx="41439">
                  <c:v>-1.6806722689075499E-3</c:v>
                </c:pt>
                <c:pt idx="41440">
                  <c:v>-1.6806722689075499E-3</c:v>
                </c:pt>
                <c:pt idx="41441">
                  <c:v>-1.6806722689075499E-3</c:v>
                </c:pt>
                <c:pt idx="41442">
                  <c:v>-1.6806722689075499E-3</c:v>
                </c:pt>
                <c:pt idx="41443">
                  <c:v>-1.6806722689075499E-3</c:v>
                </c:pt>
                <c:pt idx="41444">
                  <c:v>-1.6806722689075499E-3</c:v>
                </c:pt>
                <c:pt idx="41445">
                  <c:v>-1.6806722689075499E-3</c:v>
                </c:pt>
                <c:pt idx="41446">
                  <c:v>-1.6806722689075499E-3</c:v>
                </c:pt>
                <c:pt idx="41447">
                  <c:v>-1.6806722689075499E-3</c:v>
                </c:pt>
                <c:pt idx="41448">
                  <c:v>-1.6806722689075499E-3</c:v>
                </c:pt>
                <c:pt idx="41449">
                  <c:v>-1.6806722689075499E-3</c:v>
                </c:pt>
                <c:pt idx="41450">
                  <c:v>-1.6806722689075499E-3</c:v>
                </c:pt>
                <c:pt idx="41451">
                  <c:v>-1.6806722689075499E-3</c:v>
                </c:pt>
                <c:pt idx="41452">
                  <c:v>-1.6806722689075499E-3</c:v>
                </c:pt>
                <c:pt idx="41453">
                  <c:v>-1.6806722689075499E-3</c:v>
                </c:pt>
                <c:pt idx="41454">
                  <c:v>-8.4033613445377799E-4</c:v>
                </c:pt>
                <c:pt idx="41455">
                  <c:v>-8.4033613445377799E-4</c:v>
                </c:pt>
                <c:pt idx="41456">
                  <c:v>-8.4033613445377799E-4</c:v>
                </c:pt>
                <c:pt idx="41457">
                  <c:v>-8.4033613445377799E-4</c:v>
                </c:pt>
                <c:pt idx="41458">
                  <c:v>-8.4033613445377799E-4</c:v>
                </c:pt>
                <c:pt idx="41459">
                  <c:v>-8.4033613445377799E-4</c:v>
                </c:pt>
                <c:pt idx="41460">
                  <c:v>-8.4033613445377799E-4</c:v>
                </c:pt>
                <c:pt idx="41461">
                  <c:v>-8.4033613445377799E-4</c:v>
                </c:pt>
                <c:pt idx="41462">
                  <c:v>-8.4033613445377799E-4</c:v>
                </c:pt>
                <c:pt idx="41463">
                  <c:v>-8.4033613445377799E-4</c:v>
                </c:pt>
                <c:pt idx="41464">
                  <c:v>-8.4033613445377799E-4</c:v>
                </c:pt>
                <c:pt idx="41465">
                  <c:v>-8.4033613445377799E-4</c:v>
                </c:pt>
                <c:pt idx="41466">
                  <c:v>-8.4033613445377799E-4</c:v>
                </c:pt>
                <c:pt idx="41467">
                  <c:v>-8.4033613445377799E-4</c:v>
                </c:pt>
                <c:pt idx="41468">
                  <c:v>-8.4033613445377799E-4</c:v>
                </c:pt>
                <c:pt idx="41469">
                  <c:v>-8.4033613445377799E-4</c:v>
                </c:pt>
                <c:pt idx="41470">
                  <c:v>-8.4033613445377799E-4</c:v>
                </c:pt>
                <c:pt idx="41471">
                  <c:v>-8.4033613445377799E-4</c:v>
                </c:pt>
                <c:pt idx="41472">
                  <c:v>-8.4033613445377799E-4</c:v>
                </c:pt>
                <c:pt idx="41473">
                  <c:v>-8.4033613445377799E-4</c:v>
                </c:pt>
                <c:pt idx="41474">
                  <c:v>-8.4033613445377799E-4</c:v>
                </c:pt>
                <c:pt idx="41475">
                  <c:v>-8.4033613445377799E-4</c:v>
                </c:pt>
                <c:pt idx="41476">
                  <c:v>-8.4033613445377799E-4</c:v>
                </c:pt>
                <c:pt idx="41477">
                  <c:v>-8.4033613445377799E-4</c:v>
                </c:pt>
                <c:pt idx="41478">
                  <c:v>-8.4033613445377799E-4</c:v>
                </c:pt>
                <c:pt idx="41479">
                  <c:v>-8.4033613445377799E-4</c:v>
                </c:pt>
                <c:pt idx="41480">
                  <c:v>-8.4033613445377799E-4</c:v>
                </c:pt>
                <c:pt idx="41481">
                  <c:v>-8.4033613445377799E-4</c:v>
                </c:pt>
                <c:pt idx="41482">
                  <c:v>-8.4033613445377799E-4</c:v>
                </c:pt>
                <c:pt idx="41483">
                  <c:v>-8.4033613445377799E-4</c:v>
                </c:pt>
                <c:pt idx="41484">
                  <c:v>-8.4033613445377799E-4</c:v>
                </c:pt>
                <c:pt idx="41485">
                  <c:v>-8.4033613445377799E-4</c:v>
                </c:pt>
                <c:pt idx="41486">
                  <c:v>-8.4033613445377799E-4</c:v>
                </c:pt>
                <c:pt idx="41487">
                  <c:v>-8.4033613445377799E-4</c:v>
                </c:pt>
                <c:pt idx="41488">
                  <c:v>-8.4033613445377799E-4</c:v>
                </c:pt>
                <c:pt idx="41489">
                  <c:v>-8.4033613445377799E-4</c:v>
                </c:pt>
                <c:pt idx="41490">
                  <c:v>-8.4033613445377799E-4</c:v>
                </c:pt>
                <c:pt idx="41491">
                  <c:v>-8.4033613445377799E-4</c:v>
                </c:pt>
                <c:pt idx="41492">
                  <c:v>-8.4033613445377799E-4</c:v>
                </c:pt>
                <c:pt idx="41493">
                  <c:v>-8.4033613445377799E-4</c:v>
                </c:pt>
                <c:pt idx="41494">
                  <c:v>-8.4033613445377799E-4</c:v>
                </c:pt>
                <c:pt idx="41495">
                  <c:v>-8.4033613445377799E-4</c:v>
                </c:pt>
                <c:pt idx="41496">
                  <c:v>-8.4033613445377799E-4</c:v>
                </c:pt>
                <c:pt idx="41497">
                  <c:v>-8.4033613445377799E-4</c:v>
                </c:pt>
                <c:pt idx="41498">
                  <c:v>-8.4033613445377799E-4</c:v>
                </c:pt>
                <c:pt idx="41499">
                  <c:v>-8.4033613445377799E-4</c:v>
                </c:pt>
                <c:pt idx="41500">
                  <c:v>-8.4033613445377799E-4</c:v>
                </c:pt>
                <c:pt idx="41501">
                  <c:v>-8.4033613445377799E-4</c:v>
                </c:pt>
                <c:pt idx="41502">
                  <c:v>-8.4033613445377799E-4</c:v>
                </c:pt>
                <c:pt idx="41503">
                  <c:v>-8.4033613445377799E-4</c:v>
                </c:pt>
                <c:pt idx="41504">
                  <c:v>-8.4033613445377799E-4</c:v>
                </c:pt>
                <c:pt idx="41505">
                  <c:v>-8.4033613445377799E-4</c:v>
                </c:pt>
                <c:pt idx="41506">
                  <c:v>-8.4033613445377799E-4</c:v>
                </c:pt>
                <c:pt idx="41507">
                  <c:v>-8.4033613445377799E-4</c:v>
                </c:pt>
                <c:pt idx="41508">
                  <c:v>-8.4033613445377799E-4</c:v>
                </c:pt>
                <c:pt idx="41509">
                  <c:v>-8.4033613445377799E-4</c:v>
                </c:pt>
                <c:pt idx="41510">
                  <c:v>-8.4033613445377799E-4</c:v>
                </c:pt>
                <c:pt idx="41511">
                  <c:v>-8.4033613445377799E-4</c:v>
                </c:pt>
                <c:pt idx="41512">
                  <c:v>-8.4033613445377799E-4</c:v>
                </c:pt>
                <c:pt idx="41513">
                  <c:v>-8.4033613445377799E-4</c:v>
                </c:pt>
                <c:pt idx="41514">
                  <c:v>-8.4033613445377799E-4</c:v>
                </c:pt>
                <c:pt idx="41515">
                  <c:v>-8.4033613445377799E-4</c:v>
                </c:pt>
                <c:pt idx="41516">
                  <c:v>-8.4033613445377799E-4</c:v>
                </c:pt>
                <c:pt idx="41517">
                  <c:v>-8.4033613445377799E-4</c:v>
                </c:pt>
                <c:pt idx="41518">
                  <c:v>-8.4033613445377799E-4</c:v>
                </c:pt>
                <c:pt idx="41519">
                  <c:v>-8.4033613445377799E-4</c:v>
                </c:pt>
                <c:pt idx="41520">
                  <c:v>-8.4033613445377799E-4</c:v>
                </c:pt>
                <c:pt idx="41521">
                  <c:v>-8.4033613445377799E-4</c:v>
                </c:pt>
                <c:pt idx="41522">
                  <c:v>-8.4033613445377799E-4</c:v>
                </c:pt>
                <c:pt idx="41523">
                  <c:v>-8.4033613445377799E-4</c:v>
                </c:pt>
                <c:pt idx="41524">
                  <c:v>-8.4033613445377799E-4</c:v>
                </c:pt>
                <c:pt idx="41525">
                  <c:v>-8.4033613445377799E-4</c:v>
                </c:pt>
                <c:pt idx="41526">
                  <c:v>-8.4033613445377799E-4</c:v>
                </c:pt>
                <c:pt idx="41527">
                  <c:v>-8.4033613445377799E-4</c:v>
                </c:pt>
                <c:pt idx="41528">
                  <c:v>-8.4033613445377799E-4</c:v>
                </c:pt>
                <c:pt idx="41529">
                  <c:v>-8.4033613445377799E-4</c:v>
                </c:pt>
                <c:pt idx="41530">
                  <c:v>-8.4033613445377799E-4</c:v>
                </c:pt>
                <c:pt idx="41531">
                  <c:v>-8.4033613445377799E-4</c:v>
                </c:pt>
                <c:pt idx="41532">
                  <c:v>-8.4033613445377799E-4</c:v>
                </c:pt>
                <c:pt idx="41533">
                  <c:v>-8.4033613445377799E-4</c:v>
                </c:pt>
                <c:pt idx="41534">
                  <c:v>-8.4033613445377799E-4</c:v>
                </c:pt>
                <c:pt idx="41535">
                  <c:v>-8.4033613445377799E-4</c:v>
                </c:pt>
                <c:pt idx="41536">
                  <c:v>-8.4033613445377799E-4</c:v>
                </c:pt>
                <c:pt idx="41537">
                  <c:v>-8.4033613445377799E-4</c:v>
                </c:pt>
                <c:pt idx="41538">
                  <c:v>-8.4033613445377799E-4</c:v>
                </c:pt>
                <c:pt idx="41539">
                  <c:v>-8.4033613445377799E-4</c:v>
                </c:pt>
                <c:pt idx="41540">
                  <c:v>-8.4033613445377799E-4</c:v>
                </c:pt>
                <c:pt idx="41541">
                  <c:v>-8.4033613445377799E-4</c:v>
                </c:pt>
                <c:pt idx="41542">
                  <c:v>-8.4033613445377799E-4</c:v>
                </c:pt>
                <c:pt idx="41543">
                  <c:v>-8.4033613445377799E-4</c:v>
                </c:pt>
                <c:pt idx="41544">
                  <c:v>-8.4033613445377799E-4</c:v>
                </c:pt>
                <c:pt idx="41545">
                  <c:v>-8.4033613445377799E-4</c:v>
                </c:pt>
                <c:pt idx="41546">
                  <c:v>-8.4033613445377799E-4</c:v>
                </c:pt>
                <c:pt idx="41547">
                  <c:v>-8.4033613445377799E-4</c:v>
                </c:pt>
                <c:pt idx="41548">
                  <c:v>-8.4033613445377799E-4</c:v>
                </c:pt>
                <c:pt idx="41549">
                  <c:v>-8.4033613445377799E-4</c:v>
                </c:pt>
                <c:pt idx="41550">
                  <c:v>-8.4033613445377799E-4</c:v>
                </c:pt>
                <c:pt idx="41551">
                  <c:v>-8.4033613445377799E-4</c:v>
                </c:pt>
                <c:pt idx="41552">
                  <c:v>-8.4033613445377799E-4</c:v>
                </c:pt>
                <c:pt idx="41553">
                  <c:v>-8.4033613445377799E-4</c:v>
                </c:pt>
                <c:pt idx="41554">
                  <c:v>-8.4033613445377799E-4</c:v>
                </c:pt>
                <c:pt idx="41555">
                  <c:v>-8.4033613445377799E-4</c:v>
                </c:pt>
                <c:pt idx="41556">
                  <c:v>-8.4033613445377799E-4</c:v>
                </c:pt>
                <c:pt idx="41557">
                  <c:v>-8.4033613445377799E-4</c:v>
                </c:pt>
                <c:pt idx="41558">
                  <c:v>-8.4033613445377799E-4</c:v>
                </c:pt>
                <c:pt idx="41559">
                  <c:v>-8.4033613445377799E-4</c:v>
                </c:pt>
                <c:pt idx="41560">
                  <c:v>-8.4033613445377799E-4</c:v>
                </c:pt>
                <c:pt idx="41561">
                  <c:v>-8.4033613445377799E-4</c:v>
                </c:pt>
                <c:pt idx="41562">
                  <c:v>-8.4033613445377799E-4</c:v>
                </c:pt>
                <c:pt idx="41563">
                  <c:v>-8.4033613445377799E-4</c:v>
                </c:pt>
                <c:pt idx="41564">
                  <c:v>-8.4033613445377799E-4</c:v>
                </c:pt>
                <c:pt idx="41565">
                  <c:v>-8.4033613445377799E-4</c:v>
                </c:pt>
                <c:pt idx="41566">
                  <c:v>-8.4033613445377799E-4</c:v>
                </c:pt>
                <c:pt idx="41567">
                  <c:v>-8.4033613445377799E-4</c:v>
                </c:pt>
                <c:pt idx="41568">
                  <c:v>-8.4033613445377799E-4</c:v>
                </c:pt>
                <c:pt idx="41569">
                  <c:v>-8.4033613445377799E-4</c:v>
                </c:pt>
                <c:pt idx="41570">
                  <c:v>-8.4033613445377799E-4</c:v>
                </c:pt>
                <c:pt idx="41571">
                  <c:v>-8.4033613445377799E-4</c:v>
                </c:pt>
                <c:pt idx="41572">
                  <c:v>-8.4033613445377799E-4</c:v>
                </c:pt>
                <c:pt idx="41573">
                  <c:v>-8.4033613445377799E-4</c:v>
                </c:pt>
                <c:pt idx="41574">
                  <c:v>-8.4033613445377799E-4</c:v>
                </c:pt>
                <c:pt idx="41575">
                  <c:v>-8.4033613445377799E-4</c:v>
                </c:pt>
                <c:pt idx="41576">
                  <c:v>-8.4033613445377799E-4</c:v>
                </c:pt>
                <c:pt idx="41577">
                  <c:v>-8.4033613445377799E-4</c:v>
                </c:pt>
                <c:pt idx="41578">
                  <c:v>-8.4033613445377799E-4</c:v>
                </c:pt>
                <c:pt idx="41579">
                  <c:v>-8.4033613445377799E-4</c:v>
                </c:pt>
                <c:pt idx="41580">
                  <c:v>-8.4033613445377799E-4</c:v>
                </c:pt>
                <c:pt idx="41581">
                  <c:v>-8.4033613445377799E-4</c:v>
                </c:pt>
                <c:pt idx="41582">
                  <c:v>-8.4033613445377799E-4</c:v>
                </c:pt>
                <c:pt idx="41583">
                  <c:v>-8.4033613445377799E-4</c:v>
                </c:pt>
                <c:pt idx="41584">
                  <c:v>-8.4033613445377799E-4</c:v>
                </c:pt>
                <c:pt idx="41585">
                  <c:v>-8.4033613445377799E-4</c:v>
                </c:pt>
                <c:pt idx="41586">
                  <c:v>-8.4033613445377799E-4</c:v>
                </c:pt>
                <c:pt idx="41587">
                  <c:v>-8.4033613445377799E-4</c:v>
                </c:pt>
                <c:pt idx="41588">
                  <c:v>-8.4033613445377799E-4</c:v>
                </c:pt>
                <c:pt idx="41589">
                  <c:v>-8.4033613445377799E-4</c:v>
                </c:pt>
                <c:pt idx="41590">
                  <c:v>-8.4033613445377799E-4</c:v>
                </c:pt>
                <c:pt idx="41591">
                  <c:v>-8.4033613445377799E-4</c:v>
                </c:pt>
                <c:pt idx="41592">
                  <c:v>-8.4033613445377799E-4</c:v>
                </c:pt>
                <c:pt idx="41593">
                  <c:v>-8.4033613445377799E-4</c:v>
                </c:pt>
                <c:pt idx="41594">
                  <c:v>-8.4033613445377799E-4</c:v>
                </c:pt>
                <c:pt idx="41595">
                  <c:v>-8.4033613445377799E-4</c:v>
                </c:pt>
                <c:pt idx="41596">
                  <c:v>-8.4033613445377799E-4</c:v>
                </c:pt>
                <c:pt idx="41597">
                  <c:v>-8.4033613445377799E-4</c:v>
                </c:pt>
                <c:pt idx="41598">
                  <c:v>-8.4033613445377799E-4</c:v>
                </c:pt>
                <c:pt idx="41599">
                  <c:v>-8.4033613445377799E-4</c:v>
                </c:pt>
                <c:pt idx="41600">
                  <c:v>-8.4033613445377799E-4</c:v>
                </c:pt>
                <c:pt idx="41601">
                  <c:v>-8.4033613445377799E-4</c:v>
                </c:pt>
                <c:pt idx="41602">
                  <c:v>-8.4033613445377799E-4</c:v>
                </c:pt>
                <c:pt idx="41603">
                  <c:v>-8.4033613445377799E-4</c:v>
                </c:pt>
                <c:pt idx="41604">
                  <c:v>-8.4033613445377799E-4</c:v>
                </c:pt>
                <c:pt idx="41605">
                  <c:v>-8.4033613445377799E-4</c:v>
                </c:pt>
                <c:pt idx="41606">
                  <c:v>-1.6806722689075499E-3</c:v>
                </c:pt>
                <c:pt idx="41607">
                  <c:v>-1.6806722689075499E-3</c:v>
                </c:pt>
                <c:pt idx="41608">
                  <c:v>-1.6806722689075499E-3</c:v>
                </c:pt>
                <c:pt idx="41609">
                  <c:v>-1.6806722689075499E-3</c:v>
                </c:pt>
                <c:pt idx="41610">
                  <c:v>-1.6806722689075499E-3</c:v>
                </c:pt>
                <c:pt idx="41611">
                  <c:v>-1.6806722689075499E-3</c:v>
                </c:pt>
                <c:pt idx="41612">
                  <c:v>-1.6806722689075499E-3</c:v>
                </c:pt>
                <c:pt idx="41613">
                  <c:v>-1.6806722689075499E-3</c:v>
                </c:pt>
                <c:pt idx="41614">
                  <c:v>-1.6806722689075499E-3</c:v>
                </c:pt>
                <c:pt idx="41615">
                  <c:v>-1.6806722689075499E-3</c:v>
                </c:pt>
                <c:pt idx="41616">
                  <c:v>-1.6806722689075499E-3</c:v>
                </c:pt>
                <c:pt idx="41617">
                  <c:v>-1.6806722689075499E-3</c:v>
                </c:pt>
                <c:pt idx="41618">
                  <c:v>-1.6806722689075499E-3</c:v>
                </c:pt>
                <c:pt idx="41619">
                  <c:v>-1.6806722689075499E-3</c:v>
                </c:pt>
                <c:pt idx="41620">
                  <c:v>-1.6806722689075499E-3</c:v>
                </c:pt>
                <c:pt idx="41621">
                  <c:v>-1.6806722689075499E-3</c:v>
                </c:pt>
                <c:pt idx="41622">
                  <c:v>-1.6806722689075499E-3</c:v>
                </c:pt>
                <c:pt idx="41623">
                  <c:v>-1.6806722689075499E-3</c:v>
                </c:pt>
                <c:pt idx="41624">
                  <c:v>-1.6806722689075499E-3</c:v>
                </c:pt>
                <c:pt idx="41625">
                  <c:v>-1.6806722689075499E-3</c:v>
                </c:pt>
                <c:pt idx="41626">
                  <c:v>-1.6806722689075499E-3</c:v>
                </c:pt>
                <c:pt idx="41627">
                  <c:v>-1.6806722689075499E-3</c:v>
                </c:pt>
                <c:pt idx="41628">
                  <c:v>-1.6806722689075499E-3</c:v>
                </c:pt>
                <c:pt idx="41629">
                  <c:v>-1.6806722689075499E-3</c:v>
                </c:pt>
                <c:pt idx="41630">
                  <c:v>-1.6806722689075499E-3</c:v>
                </c:pt>
                <c:pt idx="41631">
                  <c:v>-1.6806722689075499E-3</c:v>
                </c:pt>
                <c:pt idx="41632">
                  <c:v>-1.6806722689075499E-3</c:v>
                </c:pt>
                <c:pt idx="41633">
                  <c:v>-1.6806722689075499E-3</c:v>
                </c:pt>
                <c:pt idx="41634">
                  <c:v>-1.6806722689075499E-3</c:v>
                </c:pt>
                <c:pt idx="41635">
                  <c:v>-1.6806722689075499E-3</c:v>
                </c:pt>
                <c:pt idx="41636">
                  <c:v>-1.6806722689075499E-3</c:v>
                </c:pt>
                <c:pt idx="41637">
                  <c:v>-1.6806722689075499E-3</c:v>
                </c:pt>
                <c:pt idx="41638">
                  <c:v>-1.6806722689075499E-3</c:v>
                </c:pt>
                <c:pt idx="41639">
                  <c:v>-1.6806722689075499E-3</c:v>
                </c:pt>
                <c:pt idx="41640">
                  <c:v>-1.6806722689075499E-3</c:v>
                </c:pt>
                <c:pt idx="41641">
                  <c:v>-1.6806722689075499E-3</c:v>
                </c:pt>
                <c:pt idx="41642">
                  <c:v>-1.6806722689075499E-3</c:v>
                </c:pt>
                <c:pt idx="41643">
                  <c:v>-1.6806722689075499E-3</c:v>
                </c:pt>
                <c:pt idx="41644">
                  <c:v>-1.6806722689075499E-3</c:v>
                </c:pt>
                <c:pt idx="41645">
                  <c:v>-1.6806722689075499E-3</c:v>
                </c:pt>
                <c:pt idx="41646">
                  <c:v>-1.6806722689075499E-3</c:v>
                </c:pt>
                <c:pt idx="41647">
                  <c:v>-1.6806722689075499E-3</c:v>
                </c:pt>
                <c:pt idx="41648">
                  <c:v>-1.6806722689075499E-3</c:v>
                </c:pt>
                <c:pt idx="41649">
                  <c:v>-1.6806722689075499E-3</c:v>
                </c:pt>
                <c:pt idx="41650">
                  <c:v>-1.6806722689075499E-3</c:v>
                </c:pt>
                <c:pt idx="41651">
                  <c:v>-1.6806722689075499E-3</c:v>
                </c:pt>
                <c:pt idx="41652">
                  <c:v>-1.6806722689075499E-3</c:v>
                </c:pt>
                <c:pt idx="41653">
                  <c:v>-1.6806722689075499E-3</c:v>
                </c:pt>
                <c:pt idx="41654">
                  <c:v>-1.6806722689075499E-3</c:v>
                </c:pt>
                <c:pt idx="41655">
                  <c:v>-1.6806722689075499E-3</c:v>
                </c:pt>
                <c:pt idx="41656">
                  <c:v>-1.6806722689075499E-3</c:v>
                </c:pt>
                <c:pt idx="41657">
                  <c:v>-1.6806722689075499E-3</c:v>
                </c:pt>
                <c:pt idx="41658">
                  <c:v>-1.6806722689075499E-3</c:v>
                </c:pt>
                <c:pt idx="41659">
                  <c:v>-1.6806722689075499E-3</c:v>
                </c:pt>
                <c:pt idx="41660">
                  <c:v>-1.6806722689075499E-3</c:v>
                </c:pt>
                <c:pt idx="41661">
                  <c:v>-1.6806722689075499E-3</c:v>
                </c:pt>
                <c:pt idx="41662">
                  <c:v>-1.6806722689075499E-3</c:v>
                </c:pt>
                <c:pt idx="41663">
                  <c:v>-1.6806722689075499E-3</c:v>
                </c:pt>
                <c:pt idx="41664">
                  <c:v>-2.5210084033613299E-3</c:v>
                </c:pt>
                <c:pt idx="41665">
                  <c:v>-2.5210084033613299E-3</c:v>
                </c:pt>
                <c:pt idx="41666">
                  <c:v>-2.5210084033613299E-3</c:v>
                </c:pt>
                <c:pt idx="41667">
                  <c:v>-2.5210084033613299E-3</c:v>
                </c:pt>
                <c:pt idx="41668">
                  <c:v>-2.5210084033613299E-3</c:v>
                </c:pt>
                <c:pt idx="41669">
                  <c:v>-2.5210084033613299E-3</c:v>
                </c:pt>
                <c:pt idx="41670">
                  <c:v>-2.5210084033613299E-3</c:v>
                </c:pt>
                <c:pt idx="41671">
                  <c:v>-2.5210084033613299E-3</c:v>
                </c:pt>
                <c:pt idx="41672">
                  <c:v>-2.5210084033613299E-3</c:v>
                </c:pt>
                <c:pt idx="41673">
                  <c:v>-2.5210084033613299E-3</c:v>
                </c:pt>
                <c:pt idx="41674">
                  <c:v>-2.5210084033613299E-3</c:v>
                </c:pt>
                <c:pt idx="41675">
                  <c:v>-2.5210084033613299E-3</c:v>
                </c:pt>
                <c:pt idx="41676">
                  <c:v>-2.5210084033613299E-3</c:v>
                </c:pt>
                <c:pt idx="41677">
                  <c:v>-2.5210084033613299E-3</c:v>
                </c:pt>
                <c:pt idx="41678">
                  <c:v>-2.5210084033613299E-3</c:v>
                </c:pt>
                <c:pt idx="41679">
                  <c:v>-2.5210084033613299E-3</c:v>
                </c:pt>
                <c:pt idx="41680">
                  <c:v>-2.5210084033613299E-3</c:v>
                </c:pt>
                <c:pt idx="41681">
                  <c:v>-2.5210084033613299E-3</c:v>
                </c:pt>
                <c:pt idx="41682">
                  <c:v>-2.5210084033613299E-3</c:v>
                </c:pt>
                <c:pt idx="41683">
                  <c:v>-2.5210084033613299E-3</c:v>
                </c:pt>
                <c:pt idx="41684">
                  <c:v>-2.5210084033613299E-3</c:v>
                </c:pt>
                <c:pt idx="41685">
                  <c:v>-2.5210084033613299E-3</c:v>
                </c:pt>
                <c:pt idx="41686">
                  <c:v>-2.5210084033613299E-3</c:v>
                </c:pt>
                <c:pt idx="41687">
                  <c:v>-2.5210084033613299E-3</c:v>
                </c:pt>
                <c:pt idx="41688">
                  <c:v>-2.5210084033613299E-3</c:v>
                </c:pt>
                <c:pt idx="41689">
                  <c:v>-2.5210084033613299E-3</c:v>
                </c:pt>
                <c:pt idx="41690">
                  <c:v>-2.5210084033613299E-3</c:v>
                </c:pt>
                <c:pt idx="41691">
                  <c:v>-2.5210084033613299E-3</c:v>
                </c:pt>
                <c:pt idx="41692">
                  <c:v>-2.5210084033613299E-3</c:v>
                </c:pt>
                <c:pt idx="41693">
                  <c:v>-2.5210084033613299E-3</c:v>
                </c:pt>
                <c:pt idx="41694">
                  <c:v>-2.5210084033613299E-3</c:v>
                </c:pt>
                <c:pt idx="41695">
                  <c:v>-2.5210084033613299E-3</c:v>
                </c:pt>
                <c:pt idx="41696">
                  <c:v>-2.5210084033613299E-3</c:v>
                </c:pt>
                <c:pt idx="41697">
                  <c:v>-2.5210084033613299E-3</c:v>
                </c:pt>
                <c:pt idx="41698">
                  <c:v>-2.5210084033613299E-3</c:v>
                </c:pt>
                <c:pt idx="41699">
                  <c:v>-2.5210084033613299E-3</c:v>
                </c:pt>
                <c:pt idx="41700">
                  <c:v>-2.5210084033613299E-3</c:v>
                </c:pt>
                <c:pt idx="41701">
                  <c:v>-2.5210084033613299E-3</c:v>
                </c:pt>
                <c:pt idx="41702">
                  <c:v>-2.5210084033613299E-3</c:v>
                </c:pt>
                <c:pt idx="41703">
                  <c:v>-2.5210084033613299E-3</c:v>
                </c:pt>
                <c:pt idx="41704">
                  <c:v>-2.5210084033613299E-3</c:v>
                </c:pt>
                <c:pt idx="41705">
                  <c:v>-2.5210084033613299E-3</c:v>
                </c:pt>
                <c:pt idx="41706">
                  <c:v>-2.5210084033613299E-3</c:v>
                </c:pt>
                <c:pt idx="41707">
                  <c:v>-2.5210084033613299E-3</c:v>
                </c:pt>
                <c:pt idx="41708">
                  <c:v>-2.5210084033613299E-3</c:v>
                </c:pt>
                <c:pt idx="41709">
                  <c:v>-2.5210084033613299E-3</c:v>
                </c:pt>
                <c:pt idx="41710">
                  <c:v>-2.5210084033613299E-3</c:v>
                </c:pt>
                <c:pt idx="41711">
                  <c:v>-2.5210084033613299E-3</c:v>
                </c:pt>
                <c:pt idx="41712">
                  <c:v>-2.5210084033613299E-3</c:v>
                </c:pt>
                <c:pt idx="41713">
                  <c:v>-2.5210084033613299E-3</c:v>
                </c:pt>
                <c:pt idx="41714">
                  <c:v>-2.5210084033613299E-3</c:v>
                </c:pt>
                <c:pt idx="41715">
                  <c:v>-2.5210084033613299E-3</c:v>
                </c:pt>
                <c:pt idx="41716">
                  <c:v>-2.5210084033613299E-3</c:v>
                </c:pt>
                <c:pt idx="41717">
                  <c:v>-2.5210084033613299E-3</c:v>
                </c:pt>
                <c:pt idx="41718">
                  <c:v>-2.5210084033613299E-3</c:v>
                </c:pt>
                <c:pt idx="41719">
                  <c:v>-2.5210084033613299E-3</c:v>
                </c:pt>
                <c:pt idx="41720">
                  <c:v>-2.5210084033613299E-3</c:v>
                </c:pt>
                <c:pt idx="41721">
                  <c:v>-2.5210084033613299E-3</c:v>
                </c:pt>
                <c:pt idx="41722">
                  <c:v>-2.5210084033613299E-3</c:v>
                </c:pt>
                <c:pt idx="41723">
                  <c:v>-2.5210084033613299E-3</c:v>
                </c:pt>
                <c:pt idx="41724">
                  <c:v>-2.5210084033613299E-3</c:v>
                </c:pt>
                <c:pt idx="41725">
                  <c:v>-2.5210084033613299E-3</c:v>
                </c:pt>
                <c:pt idx="41726">
                  <c:v>-2.5210084033613299E-3</c:v>
                </c:pt>
                <c:pt idx="41727">
                  <c:v>-2.5210084033613299E-3</c:v>
                </c:pt>
                <c:pt idx="41728">
                  <c:v>-2.5210084033613299E-3</c:v>
                </c:pt>
                <c:pt idx="41729">
                  <c:v>-2.5210084033613299E-3</c:v>
                </c:pt>
                <c:pt idx="41730">
                  <c:v>-2.5210084033613299E-3</c:v>
                </c:pt>
                <c:pt idx="41731">
                  <c:v>-2.5210084033613299E-3</c:v>
                </c:pt>
                <c:pt idx="41732">
                  <c:v>-2.5210084033613299E-3</c:v>
                </c:pt>
                <c:pt idx="41733">
                  <c:v>-2.5210084033613299E-3</c:v>
                </c:pt>
                <c:pt idx="41734">
                  <c:v>-2.5210084033613299E-3</c:v>
                </c:pt>
                <c:pt idx="41735">
                  <c:v>-2.5210084033613299E-3</c:v>
                </c:pt>
                <c:pt idx="41736">
                  <c:v>-2.5210084033613299E-3</c:v>
                </c:pt>
                <c:pt idx="41737">
                  <c:v>-2.5210084033613299E-3</c:v>
                </c:pt>
                <c:pt idx="41738">
                  <c:v>-2.5210084033613299E-3</c:v>
                </c:pt>
                <c:pt idx="41739">
                  <c:v>-2.5210084033613299E-3</c:v>
                </c:pt>
                <c:pt idx="41740">
                  <c:v>-2.5210084033613299E-3</c:v>
                </c:pt>
                <c:pt idx="41741">
                  <c:v>-2.5210084033613299E-3</c:v>
                </c:pt>
                <c:pt idx="41742">
                  <c:v>-2.5210084033613299E-3</c:v>
                </c:pt>
                <c:pt idx="41743">
                  <c:v>-2.5210084033613299E-3</c:v>
                </c:pt>
                <c:pt idx="41744">
                  <c:v>-2.5210084033613299E-3</c:v>
                </c:pt>
                <c:pt idx="41745">
                  <c:v>-2.5210084033613299E-3</c:v>
                </c:pt>
                <c:pt idx="41746">
                  <c:v>-2.5210084033613299E-3</c:v>
                </c:pt>
                <c:pt idx="41747">
                  <c:v>-2.5210084033613299E-3</c:v>
                </c:pt>
                <c:pt idx="41748">
                  <c:v>-2.5210084033613299E-3</c:v>
                </c:pt>
                <c:pt idx="41749">
                  <c:v>-2.5210084033613299E-3</c:v>
                </c:pt>
                <c:pt idx="41750">
                  <c:v>-2.5210084033613299E-3</c:v>
                </c:pt>
                <c:pt idx="41751">
                  <c:v>-2.5210084033613299E-3</c:v>
                </c:pt>
                <c:pt idx="41752">
                  <c:v>-2.5210084033613299E-3</c:v>
                </c:pt>
                <c:pt idx="41753">
                  <c:v>-2.5210084033613299E-3</c:v>
                </c:pt>
                <c:pt idx="41754">
                  <c:v>-2.5210084033613299E-3</c:v>
                </c:pt>
                <c:pt idx="41755">
                  <c:v>-2.5210084033613299E-3</c:v>
                </c:pt>
                <c:pt idx="41756">
                  <c:v>-2.5210084033613299E-3</c:v>
                </c:pt>
                <c:pt idx="41757">
                  <c:v>-2.5210084033613299E-3</c:v>
                </c:pt>
                <c:pt idx="41758">
                  <c:v>-2.5210084033613299E-3</c:v>
                </c:pt>
                <c:pt idx="41759">
                  <c:v>-2.5210084033613299E-3</c:v>
                </c:pt>
                <c:pt idx="41760">
                  <c:v>-2.5210084033613299E-3</c:v>
                </c:pt>
                <c:pt idx="41761">
                  <c:v>-2.5210084033613299E-3</c:v>
                </c:pt>
                <c:pt idx="41762">
                  <c:v>-2.5210084033613299E-3</c:v>
                </c:pt>
                <c:pt idx="41763">
                  <c:v>-2.5210084033613299E-3</c:v>
                </c:pt>
                <c:pt idx="41764">
                  <c:v>-2.5210084033613299E-3</c:v>
                </c:pt>
                <c:pt idx="41765">
                  <c:v>-2.5210084033613299E-3</c:v>
                </c:pt>
                <c:pt idx="41766">
                  <c:v>-2.5210084033613299E-3</c:v>
                </c:pt>
                <c:pt idx="41767">
                  <c:v>-2.5210084033613299E-3</c:v>
                </c:pt>
                <c:pt idx="41768">
                  <c:v>-2.5210084033613299E-3</c:v>
                </c:pt>
                <c:pt idx="41769">
                  <c:v>-2.5210084033613299E-3</c:v>
                </c:pt>
                <c:pt idx="41770">
                  <c:v>-2.5210084033613299E-3</c:v>
                </c:pt>
                <c:pt idx="41771">
                  <c:v>-2.5210084033613299E-3</c:v>
                </c:pt>
                <c:pt idx="41772">
                  <c:v>-2.5210084033613299E-3</c:v>
                </c:pt>
                <c:pt idx="41773">
                  <c:v>-2.5210084033613299E-3</c:v>
                </c:pt>
                <c:pt idx="41774">
                  <c:v>-2.5210084033613299E-3</c:v>
                </c:pt>
                <c:pt idx="41775">
                  <c:v>-2.5210084033613299E-3</c:v>
                </c:pt>
                <c:pt idx="41776">
                  <c:v>-2.5210084033613299E-3</c:v>
                </c:pt>
                <c:pt idx="41777">
                  <c:v>-2.5210084033613299E-3</c:v>
                </c:pt>
                <c:pt idx="41778">
                  <c:v>-2.5210084033613299E-3</c:v>
                </c:pt>
                <c:pt idx="41779">
                  <c:v>-2.5210084033613299E-3</c:v>
                </c:pt>
                <c:pt idx="41780">
                  <c:v>-2.5210084033613299E-3</c:v>
                </c:pt>
                <c:pt idx="41781">
                  <c:v>-2.5210084033613299E-3</c:v>
                </c:pt>
                <c:pt idx="41782">
                  <c:v>-2.5210084033613299E-3</c:v>
                </c:pt>
                <c:pt idx="41783">
                  <c:v>-2.5210084033613299E-3</c:v>
                </c:pt>
                <c:pt idx="41784">
                  <c:v>-2.5210084033613299E-3</c:v>
                </c:pt>
                <c:pt idx="41785">
                  <c:v>-2.5210084033613299E-3</c:v>
                </c:pt>
                <c:pt idx="41786">
                  <c:v>-2.5210084033613299E-3</c:v>
                </c:pt>
                <c:pt idx="41787">
                  <c:v>-2.5210084033613299E-3</c:v>
                </c:pt>
                <c:pt idx="41788">
                  <c:v>-2.5210084033613299E-3</c:v>
                </c:pt>
                <c:pt idx="41789">
                  <c:v>-2.5210084033613299E-3</c:v>
                </c:pt>
                <c:pt idx="41790">
                  <c:v>-2.5210084033613299E-3</c:v>
                </c:pt>
                <c:pt idx="41791">
                  <c:v>-2.5210084033613299E-3</c:v>
                </c:pt>
                <c:pt idx="41792">
                  <c:v>-2.5210084033613299E-3</c:v>
                </c:pt>
                <c:pt idx="41793">
                  <c:v>-2.5210084033613299E-3</c:v>
                </c:pt>
                <c:pt idx="41794">
                  <c:v>-2.5210084033613299E-3</c:v>
                </c:pt>
                <c:pt idx="41795">
                  <c:v>-2.5210084033613299E-3</c:v>
                </c:pt>
                <c:pt idx="41796">
                  <c:v>-2.5210084033613299E-3</c:v>
                </c:pt>
                <c:pt idx="41797">
                  <c:v>-2.5210084033613299E-3</c:v>
                </c:pt>
                <c:pt idx="41798">
                  <c:v>-2.5210084033613299E-3</c:v>
                </c:pt>
                <c:pt idx="41799">
                  <c:v>-2.5210084033613299E-3</c:v>
                </c:pt>
                <c:pt idx="41800">
                  <c:v>-2.5210084033613299E-3</c:v>
                </c:pt>
                <c:pt idx="41801">
                  <c:v>-2.5210084033613299E-3</c:v>
                </c:pt>
                <c:pt idx="41802">
                  <c:v>-2.5210084033613299E-3</c:v>
                </c:pt>
                <c:pt idx="41803">
                  <c:v>-2.5210084033613299E-3</c:v>
                </c:pt>
                <c:pt idx="41804">
                  <c:v>-2.5210084033613299E-3</c:v>
                </c:pt>
                <c:pt idx="41805">
                  <c:v>-2.5210084033613299E-3</c:v>
                </c:pt>
                <c:pt idx="41806">
                  <c:v>-2.5210084033613299E-3</c:v>
                </c:pt>
                <c:pt idx="41807">
                  <c:v>-2.5210084033613299E-3</c:v>
                </c:pt>
                <c:pt idx="41808">
                  <c:v>-2.5210084033613299E-3</c:v>
                </c:pt>
                <c:pt idx="41809">
                  <c:v>-2.5210084033613299E-3</c:v>
                </c:pt>
                <c:pt idx="41810">
                  <c:v>-2.5210084033613299E-3</c:v>
                </c:pt>
                <c:pt idx="41811">
                  <c:v>-2.5210084033613299E-3</c:v>
                </c:pt>
                <c:pt idx="41812">
                  <c:v>-2.5210084033613299E-3</c:v>
                </c:pt>
                <c:pt idx="41813">
                  <c:v>-2.5210084033613299E-3</c:v>
                </c:pt>
                <c:pt idx="41814">
                  <c:v>-2.5210084033613299E-3</c:v>
                </c:pt>
                <c:pt idx="41815">
                  <c:v>-2.5210084033613299E-3</c:v>
                </c:pt>
                <c:pt idx="41816">
                  <c:v>-2.5210084033613299E-3</c:v>
                </c:pt>
                <c:pt idx="41817">
                  <c:v>-2.5210084033613299E-3</c:v>
                </c:pt>
                <c:pt idx="41818">
                  <c:v>-2.5210084033613299E-3</c:v>
                </c:pt>
                <c:pt idx="41819">
                  <c:v>-2.5210084033613299E-3</c:v>
                </c:pt>
                <c:pt idx="41820">
                  <c:v>-2.5210084033613299E-3</c:v>
                </c:pt>
                <c:pt idx="41821">
                  <c:v>-2.5210084033613299E-3</c:v>
                </c:pt>
                <c:pt idx="41822">
                  <c:v>-2.5210084033613299E-3</c:v>
                </c:pt>
                <c:pt idx="41823">
                  <c:v>-2.5210084033613299E-3</c:v>
                </c:pt>
                <c:pt idx="41824">
                  <c:v>-2.5210084033613299E-3</c:v>
                </c:pt>
                <c:pt idx="41825">
                  <c:v>-3.3613445378151102E-3</c:v>
                </c:pt>
                <c:pt idx="41826">
                  <c:v>-3.3613445378151102E-3</c:v>
                </c:pt>
                <c:pt idx="41827">
                  <c:v>-3.3613445378151102E-3</c:v>
                </c:pt>
                <c:pt idx="41828">
                  <c:v>-3.3613445378151102E-3</c:v>
                </c:pt>
                <c:pt idx="41829">
                  <c:v>-2.5210084033613299E-3</c:v>
                </c:pt>
                <c:pt idx="41830">
                  <c:v>-2.5210084033613299E-3</c:v>
                </c:pt>
                <c:pt idx="41831">
                  <c:v>-2.5210084033613299E-3</c:v>
                </c:pt>
                <c:pt idx="41832">
                  <c:v>-2.5210084033613299E-3</c:v>
                </c:pt>
                <c:pt idx="41833">
                  <c:v>-2.5210084033613299E-3</c:v>
                </c:pt>
                <c:pt idx="41834">
                  <c:v>-2.5210084033613299E-3</c:v>
                </c:pt>
                <c:pt idx="41835">
                  <c:v>-2.5210084033613299E-3</c:v>
                </c:pt>
                <c:pt idx="41836">
                  <c:v>-2.5210084033613299E-3</c:v>
                </c:pt>
                <c:pt idx="41837">
                  <c:v>-2.5210084033613299E-3</c:v>
                </c:pt>
                <c:pt idx="41838">
                  <c:v>-2.5210084033613299E-3</c:v>
                </c:pt>
                <c:pt idx="41839">
                  <c:v>-2.5210084033613299E-3</c:v>
                </c:pt>
                <c:pt idx="41840">
                  <c:v>-2.5210084033613299E-3</c:v>
                </c:pt>
                <c:pt idx="41841">
                  <c:v>-2.5210084033613299E-3</c:v>
                </c:pt>
                <c:pt idx="41842">
                  <c:v>-3.3613445378151102E-3</c:v>
                </c:pt>
                <c:pt idx="41843">
                  <c:v>-3.3613445378151102E-3</c:v>
                </c:pt>
                <c:pt idx="41844">
                  <c:v>-3.3613445378151102E-3</c:v>
                </c:pt>
                <c:pt idx="41845">
                  <c:v>-3.3613445378151102E-3</c:v>
                </c:pt>
                <c:pt idx="41846">
                  <c:v>-3.3613445378151102E-3</c:v>
                </c:pt>
                <c:pt idx="41847">
                  <c:v>-3.3613445378151102E-3</c:v>
                </c:pt>
                <c:pt idx="41848">
                  <c:v>-3.3613445378151102E-3</c:v>
                </c:pt>
                <c:pt idx="41849">
                  <c:v>-3.3613445378151102E-3</c:v>
                </c:pt>
                <c:pt idx="41850">
                  <c:v>-3.3613445378151102E-3</c:v>
                </c:pt>
                <c:pt idx="41851">
                  <c:v>-3.3613445378151102E-3</c:v>
                </c:pt>
                <c:pt idx="41852">
                  <c:v>-3.3613445378151102E-3</c:v>
                </c:pt>
                <c:pt idx="41853">
                  <c:v>-3.3613445378151102E-3</c:v>
                </c:pt>
                <c:pt idx="41854">
                  <c:v>-3.3613445378151102E-3</c:v>
                </c:pt>
                <c:pt idx="41855">
                  <c:v>-3.3613445378151102E-3</c:v>
                </c:pt>
                <c:pt idx="41856">
                  <c:v>-3.3613445378151102E-3</c:v>
                </c:pt>
                <c:pt idx="41857">
                  <c:v>-3.3613445378151102E-3</c:v>
                </c:pt>
                <c:pt idx="41858">
                  <c:v>-3.3613445378151102E-3</c:v>
                </c:pt>
                <c:pt idx="41859">
                  <c:v>-3.3613445378151102E-3</c:v>
                </c:pt>
                <c:pt idx="41860">
                  <c:v>-3.3613445378151102E-3</c:v>
                </c:pt>
                <c:pt idx="41861">
                  <c:v>-3.3613445378151102E-3</c:v>
                </c:pt>
                <c:pt idx="41862">
                  <c:v>-3.3613445378151102E-3</c:v>
                </c:pt>
                <c:pt idx="41863">
                  <c:v>-3.3613445378151102E-3</c:v>
                </c:pt>
                <c:pt idx="41864">
                  <c:v>-3.3613445378151102E-3</c:v>
                </c:pt>
                <c:pt idx="41865">
                  <c:v>-3.3613445378151102E-3</c:v>
                </c:pt>
                <c:pt idx="41866">
                  <c:v>-3.3613445378151102E-3</c:v>
                </c:pt>
                <c:pt idx="41867">
                  <c:v>-3.3613445378151102E-3</c:v>
                </c:pt>
                <c:pt idx="41868">
                  <c:v>-3.3613445378151102E-3</c:v>
                </c:pt>
                <c:pt idx="41869">
                  <c:v>-3.3613445378151102E-3</c:v>
                </c:pt>
                <c:pt idx="41870">
                  <c:v>-3.3613445378151102E-3</c:v>
                </c:pt>
                <c:pt idx="41871">
                  <c:v>-3.3613445378151102E-3</c:v>
                </c:pt>
                <c:pt idx="41872">
                  <c:v>-3.3613445378151102E-3</c:v>
                </c:pt>
                <c:pt idx="41873">
                  <c:v>-3.3613445378151102E-3</c:v>
                </c:pt>
                <c:pt idx="41874">
                  <c:v>-3.3613445378151102E-3</c:v>
                </c:pt>
                <c:pt idx="41875">
                  <c:v>-3.3613445378151102E-3</c:v>
                </c:pt>
                <c:pt idx="41876">
                  <c:v>-3.3613445378151102E-3</c:v>
                </c:pt>
                <c:pt idx="41877">
                  <c:v>-3.3613445378151102E-3</c:v>
                </c:pt>
                <c:pt idx="41878">
                  <c:v>-3.3613445378151102E-3</c:v>
                </c:pt>
                <c:pt idx="41879">
                  <c:v>-3.3613445378151102E-3</c:v>
                </c:pt>
                <c:pt idx="41880">
                  <c:v>-3.3613445378151102E-3</c:v>
                </c:pt>
                <c:pt idx="41881">
                  <c:v>-3.3613445378151102E-3</c:v>
                </c:pt>
                <c:pt idx="41882">
                  <c:v>-3.3613445378151102E-3</c:v>
                </c:pt>
                <c:pt idx="41883">
                  <c:v>-3.3613445378151102E-3</c:v>
                </c:pt>
                <c:pt idx="41884">
                  <c:v>-3.3613445378151102E-3</c:v>
                </c:pt>
                <c:pt idx="41885">
                  <c:v>-3.3613445378151102E-3</c:v>
                </c:pt>
                <c:pt idx="41886">
                  <c:v>-3.3613445378151102E-3</c:v>
                </c:pt>
                <c:pt idx="41887">
                  <c:v>-4.2016806722690002E-3</c:v>
                </c:pt>
                <c:pt idx="41888">
                  <c:v>-4.2016806722690002E-3</c:v>
                </c:pt>
                <c:pt idx="41889">
                  <c:v>-4.2016806722690002E-3</c:v>
                </c:pt>
                <c:pt idx="41890">
                  <c:v>-4.2016806722690002E-3</c:v>
                </c:pt>
                <c:pt idx="41891">
                  <c:v>-4.2016806722690002E-3</c:v>
                </c:pt>
                <c:pt idx="41892">
                  <c:v>-4.2016806722690002E-3</c:v>
                </c:pt>
                <c:pt idx="41893">
                  <c:v>-4.2016806722690002E-3</c:v>
                </c:pt>
                <c:pt idx="41894">
                  <c:v>-4.2016806722690002E-3</c:v>
                </c:pt>
                <c:pt idx="41895">
                  <c:v>-4.2016806722690002E-3</c:v>
                </c:pt>
                <c:pt idx="41896">
                  <c:v>-4.2016806722690002E-3</c:v>
                </c:pt>
                <c:pt idx="41897">
                  <c:v>-4.2016806722690002E-3</c:v>
                </c:pt>
                <c:pt idx="41898">
                  <c:v>-4.2016806722690002E-3</c:v>
                </c:pt>
                <c:pt idx="41899">
                  <c:v>-4.2016806722690002E-3</c:v>
                </c:pt>
                <c:pt idx="41900">
                  <c:v>-4.2016806722690002E-3</c:v>
                </c:pt>
                <c:pt idx="41901">
                  <c:v>-4.2016806722690002E-3</c:v>
                </c:pt>
                <c:pt idx="41902">
                  <c:v>-4.2016806722690002E-3</c:v>
                </c:pt>
                <c:pt idx="41903">
                  <c:v>-4.2016806722690002E-3</c:v>
                </c:pt>
                <c:pt idx="41904">
                  <c:v>-4.2016806722690002E-3</c:v>
                </c:pt>
                <c:pt idx="41905">
                  <c:v>-4.2016806722690002E-3</c:v>
                </c:pt>
                <c:pt idx="41906">
                  <c:v>-4.2016806722690002E-3</c:v>
                </c:pt>
                <c:pt idx="41907">
                  <c:v>-4.2016806722690002E-3</c:v>
                </c:pt>
                <c:pt idx="41908">
                  <c:v>-4.2016806722690002E-3</c:v>
                </c:pt>
                <c:pt idx="41909">
                  <c:v>-4.2016806722690002E-3</c:v>
                </c:pt>
                <c:pt idx="41910">
                  <c:v>-4.2016806722690002E-3</c:v>
                </c:pt>
                <c:pt idx="41911">
                  <c:v>-4.2016806722690002E-3</c:v>
                </c:pt>
                <c:pt idx="41912">
                  <c:v>-4.2016806722690002E-3</c:v>
                </c:pt>
                <c:pt idx="41913">
                  <c:v>-4.2016806722690002E-3</c:v>
                </c:pt>
                <c:pt idx="41914">
                  <c:v>-4.2016806722690002E-3</c:v>
                </c:pt>
                <c:pt idx="41915">
                  <c:v>-4.2016806722690002E-3</c:v>
                </c:pt>
                <c:pt idx="41916">
                  <c:v>-4.2016806722690002E-3</c:v>
                </c:pt>
                <c:pt idx="41917">
                  <c:v>-4.2016806722690002E-3</c:v>
                </c:pt>
                <c:pt idx="41918">
                  <c:v>-4.2016806722690002E-3</c:v>
                </c:pt>
                <c:pt idx="41919">
                  <c:v>-4.2016806722690002E-3</c:v>
                </c:pt>
                <c:pt idx="41920">
                  <c:v>-4.2016806722690002E-3</c:v>
                </c:pt>
                <c:pt idx="41921">
                  <c:v>-4.2016806722690002E-3</c:v>
                </c:pt>
                <c:pt idx="41922">
                  <c:v>-4.2016806722690002E-3</c:v>
                </c:pt>
                <c:pt idx="41923">
                  <c:v>-4.2016806722690002E-3</c:v>
                </c:pt>
                <c:pt idx="41924">
                  <c:v>-4.2016806722690002E-3</c:v>
                </c:pt>
                <c:pt idx="41925">
                  <c:v>-3.3613445378152199E-3</c:v>
                </c:pt>
                <c:pt idx="41926">
                  <c:v>-3.3613445378152199E-3</c:v>
                </c:pt>
                <c:pt idx="41927">
                  <c:v>-3.3613445378152199E-3</c:v>
                </c:pt>
                <c:pt idx="41928">
                  <c:v>-3.3613445378152199E-3</c:v>
                </c:pt>
                <c:pt idx="41929">
                  <c:v>-3.3613445378152199E-3</c:v>
                </c:pt>
                <c:pt idx="41930">
                  <c:v>-3.3613445378152199E-3</c:v>
                </c:pt>
                <c:pt idx="41931">
                  <c:v>-3.3613445378152199E-3</c:v>
                </c:pt>
                <c:pt idx="41932">
                  <c:v>-3.3613445378152199E-3</c:v>
                </c:pt>
                <c:pt idx="41933">
                  <c:v>-3.3613445378152199E-3</c:v>
                </c:pt>
                <c:pt idx="41934">
                  <c:v>-3.3613445378152199E-3</c:v>
                </c:pt>
                <c:pt idx="41935">
                  <c:v>-3.3613445378152199E-3</c:v>
                </c:pt>
                <c:pt idx="41936">
                  <c:v>-3.3613445378152199E-3</c:v>
                </c:pt>
                <c:pt idx="41937">
                  <c:v>-3.3613445378152199E-3</c:v>
                </c:pt>
                <c:pt idx="41938">
                  <c:v>-3.3613445378152199E-3</c:v>
                </c:pt>
                <c:pt idx="41939">
                  <c:v>-3.3613445378152199E-3</c:v>
                </c:pt>
                <c:pt idx="41940">
                  <c:v>-3.3613445378152199E-3</c:v>
                </c:pt>
                <c:pt idx="41941">
                  <c:v>-3.3613445378152199E-3</c:v>
                </c:pt>
                <c:pt idx="41942">
                  <c:v>-3.3613445378152199E-3</c:v>
                </c:pt>
                <c:pt idx="41943">
                  <c:v>-3.3613445378152199E-3</c:v>
                </c:pt>
                <c:pt idx="41944">
                  <c:v>-3.3613445378152199E-3</c:v>
                </c:pt>
                <c:pt idx="41945">
                  <c:v>-3.3613445378152199E-3</c:v>
                </c:pt>
                <c:pt idx="41946">
                  <c:v>-3.3613445378152199E-3</c:v>
                </c:pt>
                <c:pt idx="41947">
                  <c:v>-2.5210084033614401E-3</c:v>
                </c:pt>
                <c:pt idx="41948">
                  <c:v>-2.5210084033614401E-3</c:v>
                </c:pt>
                <c:pt idx="41949">
                  <c:v>-2.5210084033614401E-3</c:v>
                </c:pt>
                <c:pt idx="41950">
                  <c:v>-2.5210084033614401E-3</c:v>
                </c:pt>
                <c:pt idx="41951">
                  <c:v>-2.5210084033614401E-3</c:v>
                </c:pt>
                <c:pt idx="41952">
                  <c:v>-2.5210084033614401E-3</c:v>
                </c:pt>
                <c:pt idx="41953">
                  <c:v>-2.5210084033614401E-3</c:v>
                </c:pt>
                <c:pt idx="41954">
                  <c:v>-2.5210084033614401E-3</c:v>
                </c:pt>
                <c:pt idx="41955">
                  <c:v>-2.5210084033614401E-3</c:v>
                </c:pt>
                <c:pt idx="41956">
                  <c:v>-2.5210084033614401E-3</c:v>
                </c:pt>
                <c:pt idx="41957">
                  <c:v>-2.5210084033614401E-3</c:v>
                </c:pt>
                <c:pt idx="41958">
                  <c:v>-2.5210084033614401E-3</c:v>
                </c:pt>
                <c:pt idx="41959">
                  <c:v>-2.5210084033614401E-3</c:v>
                </c:pt>
                <c:pt idx="41960">
                  <c:v>-2.5210084033614401E-3</c:v>
                </c:pt>
                <c:pt idx="41961">
                  <c:v>-2.5210084033614401E-3</c:v>
                </c:pt>
                <c:pt idx="41962">
                  <c:v>-2.5210084033614401E-3</c:v>
                </c:pt>
                <c:pt idx="41963">
                  <c:v>-2.5210084033614401E-3</c:v>
                </c:pt>
                <c:pt idx="41964">
                  <c:v>-2.5210084033614401E-3</c:v>
                </c:pt>
                <c:pt idx="41965">
                  <c:v>-2.5210084033614401E-3</c:v>
                </c:pt>
                <c:pt idx="41966">
                  <c:v>-2.5210084033614401E-3</c:v>
                </c:pt>
                <c:pt idx="41967">
                  <c:v>-2.5210084033614401E-3</c:v>
                </c:pt>
                <c:pt idx="41968">
                  <c:v>-2.5210084033614401E-3</c:v>
                </c:pt>
                <c:pt idx="41969">
                  <c:v>-2.5210084033614401E-3</c:v>
                </c:pt>
                <c:pt idx="41970">
                  <c:v>-2.5210084033614401E-3</c:v>
                </c:pt>
                <c:pt idx="41971">
                  <c:v>-2.5210084033614401E-3</c:v>
                </c:pt>
                <c:pt idx="41972">
                  <c:v>-2.5210084033614401E-3</c:v>
                </c:pt>
                <c:pt idx="41973">
                  <c:v>-2.5210084033614401E-3</c:v>
                </c:pt>
                <c:pt idx="41974">
                  <c:v>-2.5210084033614401E-3</c:v>
                </c:pt>
                <c:pt idx="41975">
                  <c:v>-2.5210084033614401E-3</c:v>
                </c:pt>
                <c:pt idx="41976">
                  <c:v>-2.5210084033614401E-3</c:v>
                </c:pt>
                <c:pt idx="41977">
                  <c:v>-2.5210084033614401E-3</c:v>
                </c:pt>
                <c:pt idx="41978">
                  <c:v>-2.5210084033614401E-3</c:v>
                </c:pt>
                <c:pt idx="41979">
                  <c:v>-2.5210084033614401E-3</c:v>
                </c:pt>
                <c:pt idx="41980">
                  <c:v>-2.5210084033614401E-3</c:v>
                </c:pt>
                <c:pt idx="41981">
                  <c:v>-2.5210084033614401E-3</c:v>
                </c:pt>
                <c:pt idx="41982">
                  <c:v>-2.5210084033614401E-3</c:v>
                </c:pt>
                <c:pt idx="41983">
                  <c:v>-3.3613445378152199E-3</c:v>
                </c:pt>
                <c:pt idx="41984">
                  <c:v>-3.3613445378152199E-3</c:v>
                </c:pt>
                <c:pt idx="41985">
                  <c:v>-3.3613445378152199E-3</c:v>
                </c:pt>
                <c:pt idx="41986">
                  <c:v>-3.3613445378152199E-3</c:v>
                </c:pt>
                <c:pt idx="41987">
                  <c:v>-3.3613445378152199E-3</c:v>
                </c:pt>
                <c:pt idx="41988">
                  <c:v>-3.3613445378152199E-3</c:v>
                </c:pt>
                <c:pt idx="41989">
                  <c:v>-3.3613445378152199E-3</c:v>
                </c:pt>
                <c:pt idx="41990">
                  <c:v>-2.5210084033614401E-3</c:v>
                </c:pt>
                <c:pt idx="41991">
                  <c:v>-2.5210084033614401E-3</c:v>
                </c:pt>
                <c:pt idx="41992">
                  <c:v>-2.5210084033614401E-3</c:v>
                </c:pt>
                <c:pt idx="41993">
                  <c:v>-2.5210084033614401E-3</c:v>
                </c:pt>
                <c:pt idx="41994">
                  <c:v>-2.5210084033614401E-3</c:v>
                </c:pt>
                <c:pt idx="41995">
                  <c:v>-2.5210084033614401E-3</c:v>
                </c:pt>
                <c:pt idx="41996">
                  <c:v>-2.5210084033614401E-3</c:v>
                </c:pt>
                <c:pt idx="41997">
                  <c:v>-2.5210084033614401E-3</c:v>
                </c:pt>
                <c:pt idx="41998">
                  <c:v>-2.5210084033614401E-3</c:v>
                </c:pt>
                <c:pt idx="41999">
                  <c:v>-2.5210084033614401E-3</c:v>
                </c:pt>
                <c:pt idx="42000">
                  <c:v>-2.5210084033614401E-3</c:v>
                </c:pt>
                <c:pt idx="42001">
                  <c:v>-2.5210084033614401E-3</c:v>
                </c:pt>
                <c:pt idx="42002">
                  <c:v>-2.5210084033614401E-3</c:v>
                </c:pt>
                <c:pt idx="42003">
                  <c:v>-1.6806722689076601E-3</c:v>
                </c:pt>
                <c:pt idx="42004">
                  <c:v>-1.6806722689076601E-3</c:v>
                </c:pt>
                <c:pt idx="42005">
                  <c:v>-1.6806722689076601E-3</c:v>
                </c:pt>
                <c:pt idx="42006">
                  <c:v>-1.6806722689076601E-3</c:v>
                </c:pt>
                <c:pt idx="42007">
                  <c:v>-1.6806722689076601E-3</c:v>
                </c:pt>
                <c:pt idx="42008">
                  <c:v>-1.6806722689076601E-3</c:v>
                </c:pt>
                <c:pt idx="42009">
                  <c:v>-1.6806722689076601E-3</c:v>
                </c:pt>
                <c:pt idx="42010">
                  <c:v>-1.6806722689076601E-3</c:v>
                </c:pt>
                <c:pt idx="42011">
                  <c:v>-1.6806722689076601E-3</c:v>
                </c:pt>
                <c:pt idx="42012">
                  <c:v>-1.6806722689076601E-3</c:v>
                </c:pt>
                <c:pt idx="42013">
                  <c:v>-1.6806722689076601E-3</c:v>
                </c:pt>
                <c:pt idx="42014">
                  <c:v>-1.6806722689076601E-3</c:v>
                </c:pt>
                <c:pt idx="42015">
                  <c:v>-1.6806722689076601E-3</c:v>
                </c:pt>
                <c:pt idx="42016">
                  <c:v>-1.6806722689076601E-3</c:v>
                </c:pt>
                <c:pt idx="42017">
                  <c:v>-1.6806722689076601E-3</c:v>
                </c:pt>
                <c:pt idx="42018">
                  <c:v>-8.4033613445377799E-4</c:v>
                </c:pt>
                <c:pt idx="42019">
                  <c:v>-8.4033613445377799E-4</c:v>
                </c:pt>
                <c:pt idx="42020">
                  <c:v>-8.4033613445377799E-4</c:v>
                </c:pt>
                <c:pt idx="42021">
                  <c:v>-8.4033613445377799E-4</c:v>
                </c:pt>
                <c:pt idx="42022">
                  <c:v>-8.4033613445377799E-4</c:v>
                </c:pt>
                <c:pt idx="42023">
                  <c:v>-8.4033613445377799E-4</c:v>
                </c:pt>
                <c:pt idx="42024">
                  <c:v>-8.4033613445377799E-4</c:v>
                </c:pt>
                <c:pt idx="42025">
                  <c:v>-8.4033613445377799E-4</c:v>
                </c:pt>
                <c:pt idx="42026">
                  <c:v>-8.4033613445377799E-4</c:v>
                </c:pt>
                <c:pt idx="42027">
                  <c:v>-8.4033613445377799E-4</c:v>
                </c:pt>
                <c:pt idx="42028">
                  <c:v>-8.4033613445377799E-4</c:v>
                </c:pt>
                <c:pt idx="42029">
                  <c:v>-8.4033613445377799E-4</c:v>
                </c:pt>
                <c:pt idx="42030">
                  <c:v>-8.4033613445377799E-4</c:v>
                </c:pt>
                <c:pt idx="42031">
                  <c:v>-8.4033613445377799E-4</c:v>
                </c:pt>
                <c:pt idx="42032">
                  <c:v>-8.4033613445377799E-4</c:v>
                </c:pt>
                <c:pt idx="42033">
                  <c:v>-8.4033613445377799E-4</c:v>
                </c:pt>
                <c:pt idx="42034">
                  <c:v>-8.4033613445377799E-4</c:v>
                </c:pt>
                <c:pt idx="42035">
                  <c:v>-8.4033613445377799E-4</c:v>
                </c:pt>
                <c:pt idx="42036">
                  <c:v>-8.4033613445377799E-4</c:v>
                </c:pt>
                <c:pt idx="42037">
                  <c:v>-8.4033613445377799E-4</c:v>
                </c:pt>
                <c:pt idx="42038">
                  <c:v>-8.4033613445377799E-4</c:v>
                </c:pt>
                <c:pt idx="42039">
                  <c:v>-8.4033613445377799E-4</c:v>
                </c:pt>
                <c:pt idx="42040">
                  <c:v>-8.4033613445377799E-4</c:v>
                </c:pt>
                <c:pt idx="42041">
                  <c:v>-8.4033613445377799E-4</c:v>
                </c:pt>
                <c:pt idx="42042">
                  <c:v>-8.4033613445377799E-4</c:v>
                </c:pt>
                <c:pt idx="42043">
                  <c:v>-8.4033613445377799E-4</c:v>
                </c:pt>
                <c:pt idx="42044">
                  <c:v>-8.4033613445377799E-4</c:v>
                </c:pt>
                <c:pt idx="42045">
                  <c:v>-8.4033613445377799E-4</c:v>
                </c:pt>
                <c:pt idx="42046">
                  <c:v>-8.4033613445377799E-4</c:v>
                </c:pt>
                <c:pt idx="42047">
                  <c:v>-8.4033613445377799E-4</c:v>
                </c:pt>
                <c:pt idx="42048">
                  <c:v>-8.4033613445377799E-4</c:v>
                </c:pt>
                <c:pt idx="42049">
                  <c:v>-8.4033613445377799E-4</c:v>
                </c:pt>
                <c:pt idx="42050">
                  <c:v>-8.4033613445377799E-4</c:v>
                </c:pt>
                <c:pt idx="42051">
                  <c:v>-8.4033613445377799E-4</c:v>
                </c:pt>
                <c:pt idx="42052">
                  <c:v>-8.4033613445377799E-4</c:v>
                </c:pt>
                <c:pt idx="42053">
                  <c:v>-8.4033613445377799E-4</c:v>
                </c:pt>
                <c:pt idx="42054">
                  <c:v>-8.4033613445377799E-4</c:v>
                </c:pt>
                <c:pt idx="42055">
                  <c:v>-8.4033613445377799E-4</c:v>
                </c:pt>
                <c:pt idx="42056">
                  <c:v>-8.4033613445377799E-4</c:v>
                </c:pt>
                <c:pt idx="42057">
                  <c:v>-8.4033613445377799E-4</c:v>
                </c:pt>
                <c:pt idx="42058">
                  <c:v>-8.4033613445377799E-4</c:v>
                </c:pt>
                <c:pt idx="42059">
                  <c:v>-8.4033613445377799E-4</c:v>
                </c:pt>
                <c:pt idx="42060">
                  <c:v>-8.4033613445377799E-4</c:v>
                </c:pt>
                <c:pt idx="42061">
                  <c:v>-8.4033613445377799E-4</c:v>
                </c:pt>
                <c:pt idx="42062">
                  <c:v>-8.4033613445377799E-4</c:v>
                </c:pt>
                <c:pt idx="42063">
                  <c:v>0</c:v>
                </c:pt>
                <c:pt idx="42064">
                  <c:v>0</c:v>
                </c:pt>
                <c:pt idx="42065">
                  <c:v>0</c:v>
                </c:pt>
                <c:pt idx="42066">
                  <c:v>0</c:v>
                </c:pt>
                <c:pt idx="42067">
                  <c:v>0</c:v>
                </c:pt>
                <c:pt idx="42068">
                  <c:v>0</c:v>
                </c:pt>
                <c:pt idx="42069">
                  <c:v>0</c:v>
                </c:pt>
                <c:pt idx="42070">
                  <c:v>0</c:v>
                </c:pt>
                <c:pt idx="42071">
                  <c:v>0</c:v>
                </c:pt>
                <c:pt idx="42072">
                  <c:v>0</c:v>
                </c:pt>
                <c:pt idx="42073">
                  <c:v>0</c:v>
                </c:pt>
                <c:pt idx="42074">
                  <c:v>0</c:v>
                </c:pt>
                <c:pt idx="42075">
                  <c:v>0</c:v>
                </c:pt>
                <c:pt idx="42076">
                  <c:v>0</c:v>
                </c:pt>
                <c:pt idx="42077">
                  <c:v>0</c:v>
                </c:pt>
                <c:pt idx="42078">
                  <c:v>0</c:v>
                </c:pt>
                <c:pt idx="42079">
                  <c:v>0</c:v>
                </c:pt>
                <c:pt idx="42080">
                  <c:v>0</c:v>
                </c:pt>
                <c:pt idx="42081">
                  <c:v>0</c:v>
                </c:pt>
                <c:pt idx="42082">
                  <c:v>0</c:v>
                </c:pt>
                <c:pt idx="42083">
                  <c:v>0</c:v>
                </c:pt>
                <c:pt idx="42084">
                  <c:v>0</c:v>
                </c:pt>
                <c:pt idx="42085">
                  <c:v>0</c:v>
                </c:pt>
                <c:pt idx="42086">
                  <c:v>0</c:v>
                </c:pt>
                <c:pt idx="42087">
                  <c:v>0</c:v>
                </c:pt>
                <c:pt idx="42088">
                  <c:v>0</c:v>
                </c:pt>
                <c:pt idx="42089">
                  <c:v>0</c:v>
                </c:pt>
                <c:pt idx="42090">
                  <c:v>0</c:v>
                </c:pt>
                <c:pt idx="42091">
                  <c:v>-8.4033613445377799E-4</c:v>
                </c:pt>
                <c:pt idx="42092">
                  <c:v>-8.4033613445377799E-4</c:v>
                </c:pt>
                <c:pt idx="42093">
                  <c:v>-8.4033613445377799E-4</c:v>
                </c:pt>
                <c:pt idx="42094">
                  <c:v>-8.4033613445377799E-4</c:v>
                </c:pt>
                <c:pt idx="42095">
                  <c:v>0</c:v>
                </c:pt>
                <c:pt idx="42096">
                  <c:v>0</c:v>
                </c:pt>
                <c:pt idx="42097">
                  <c:v>0</c:v>
                </c:pt>
                <c:pt idx="42098">
                  <c:v>0</c:v>
                </c:pt>
                <c:pt idx="42099">
                  <c:v>0</c:v>
                </c:pt>
                <c:pt idx="42100">
                  <c:v>0</c:v>
                </c:pt>
                <c:pt idx="42101">
                  <c:v>0</c:v>
                </c:pt>
                <c:pt idx="42102">
                  <c:v>0</c:v>
                </c:pt>
                <c:pt idx="42103">
                  <c:v>0</c:v>
                </c:pt>
                <c:pt idx="42104">
                  <c:v>0</c:v>
                </c:pt>
                <c:pt idx="42105">
                  <c:v>0</c:v>
                </c:pt>
                <c:pt idx="42106">
                  <c:v>0</c:v>
                </c:pt>
                <c:pt idx="42107">
                  <c:v>0</c:v>
                </c:pt>
                <c:pt idx="42108">
                  <c:v>0</c:v>
                </c:pt>
                <c:pt idx="42109">
                  <c:v>0</c:v>
                </c:pt>
                <c:pt idx="42110">
                  <c:v>-8.4033613445377799E-4</c:v>
                </c:pt>
                <c:pt idx="42111">
                  <c:v>-8.4033613445377799E-4</c:v>
                </c:pt>
                <c:pt idx="42112">
                  <c:v>-8.4033613445377799E-4</c:v>
                </c:pt>
                <c:pt idx="42113">
                  <c:v>-8.4033613445377799E-4</c:v>
                </c:pt>
                <c:pt idx="42114">
                  <c:v>-8.4033613445377799E-4</c:v>
                </c:pt>
                <c:pt idx="42115">
                  <c:v>-8.4033613445377799E-4</c:v>
                </c:pt>
                <c:pt idx="42116">
                  <c:v>-8.4033613445377799E-4</c:v>
                </c:pt>
                <c:pt idx="42117">
                  <c:v>-8.4033613445377799E-4</c:v>
                </c:pt>
                <c:pt idx="42118">
                  <c:v>-8.4033613445377799E-4</c:v>
                </c:pt>
                <c:pt idx="42119">
                  <c:v>-8.4033613445377799E-4</c:v>
                </c:pt>
                <c:pt idx="42120">
                  <c:v>-8.4033613445377799E-4</c:v>
                </c:pt>
                <c:pt idx="42121">
                  <c:v>-1.6806722689075499E-3</c:v>
                </c:pt>
                <c:pt idx="42122">
                  <c:v>-1.6806722689075499E-3</c:v>
                </c:pt>
                <c:pt idx="42123">
                  <c:v>-1.6806722689075499E-3</c:v>
                </c:pt>
                <c:pt idx="42124">
                  <c:v>-1.6806722689075499E-3</c:v>
                </c:pt>
                <c:pt idx="42125">
                  <c:v>-1.6806722689075499E-3</c:v>
                </c:pt>
                <c:pt idx="42126">
                  <c:v>-1.6806722689075499E-3</c:v>
                </c:pt>
                <c:pt idx="42127">
                  <c:v>-1.6806722689075499E-3</c:v>
                </c:pt>
                <c:pt idx="42128">
                  <c:v>-1.6806722689075499E-3</c:v>
                </c:pt>
                <c:pt idx="42129">
                  <c:v>-1.6806722689075499E-3</c:v>
                </c:pt>
                <c:pt idx="42130">
                  <c:v>-1.6806722689075499E-3</c:v>
                </c:pt>
                <c:pt idx="42131">
                  <c:v>-1.6806722689075499E-3</c:v>
                </c:pt>
                <c:pt idx="42132">
                  <c:v>-1.6806722689075499E-3</c:v>
                </c:pt>
                <c:pt idx="42133">
                  <c:v>-1.6806722689075499E-3</c:v>
                </c:pt>
                <c:pt idx="42134">
                  <c:v>-1.6806722689075499E-3</c:v>
                </c:pt>
                <c:pt idx="42135">
                  <c:v>-1.6806722689075499E-3</c:v>
                </c:pt>
                <c:pt idx="42136">
                  <c:v>-1.6806722689075499E-3</c:v>
                </c:pt>
                <c:pt idx="42137">
                  <c:v>-1.6806722689075499E-3</c:v>
                </c:pt>
                <c:pt idx="42138">
                  <c:v>-1.6806722689075499E-3</c:v>
                </c:pt>
                <c:pt idx="42139">
                  <c:v>-1.6806722689075499E-3</c:v>
                </c:pt>
                <c:pt idx="42140">
                  <c:v>-1.6806722689075499E-3</c:v>
                </c:pt>
                <c:pt idx="42141">
                  <c:v>-1.6806722689075499E-3</c:v>
                </c:pt>
                <c:pt idx="42142">
                  <c:v>-1.6806722689075499E-3</c:v>
                </c:pt>
                <c:pt idx="42143">
                  <c:v>-1.6806722689075499E-3</c:v>
                </c:pt>
                <c:pt idx="42144">
                  <c:v>-1.6806722689075499E-3</c:v>
                </c:pt>
                <c:pt idx="42145">
                  <c:v>-1.6806722689075499E-3</c:v>
                </c:pt>
                <c:pt idx="42146">
                  <c:v>-1.6806722689075499E-3</c:v>
                </c:pt>
                <c:pt idx="42147">
                  <c:v>-1.6806722689075499E-3</c:v>
                </c:pt>
                <c:pt idx="42148">
                  <c:v>-1.6806722689075499E-3</c:v>
                </c:pt>
                <c:pt idx="42149">
                  <c:v>-1.6806722689075499E-3</c:v>
                </c:pt>
                <c:pt idx="42150">
                  <c:v>-1.6806722689075499E-3</c:v>
                </c:pt>
                <c:pt idx="42151">
                  <c:v>-1.6806722689075499E-3</c:v>
                </c:pt>
                <c:pt idx="42152">
                  <c:v>-1.6806722689075499E-3</c:v>
                </c:pt>
                <c:pt idx="42153">
                  <c:v>-1.6806722689075499E-3</c:v>
                </c:pt>
                <c:pt idx="42154">
                  <c:v>-1.6806722689075499E-3</c:v>
                </c:pt>
                <c:pt idx="42155">
                  <c:v>-1.6806722689075499E-3</c:v>
                </c:pt>
                <c:pt idx="42156">
                  <c:v>-1.6806722689075499E-3</c:v>
                </c:pt>
                <c:pt idx="42157">
                  <c:v>-1.6806722689075499E-3</c:v>
                </c:pt>
                <c:pt idx="42158">
                  <c:v>-8.4033613445377799E-4</c:v>
                </c:pt>
                <c:pt idx="42159">
                  <c:v>-8.4033613445377799E-4</c:v>
                </c:pt>
                <c:pt idx="42160">
                  <c:v>-8.4033613445377799E-4</c:v>
                </c:pt>
                <c:pt idx="42161">
                  <c:v>-8.4033613445377799E-4</c:v>
                </c:pt>
                <c:pt idx="42162">
                  <c:v>-8.4033613445377799E-4</c:v>
                </c:pt>
                <c:pt idx="42163">
                  <c:v>-8.4033613445377799E-4</c:v>
                </c:pt>
                <c:pt idx="42164">
                  <c:v>-8.4033613445377799E-4</c:v>
                </c:pt>
                <c:pt idx="42165">
                  <c:v>-8.4033613445377799E-4</c:v>
                </c:pt>
                <c:pt idx="42166">
                  <c:v>-8.4033613445377799E-4</c:v>
                </c:pt>
                <c:pt idx="42167">
                  <c:v>-8.4033613445377799E-4</c:v>
                </c:pt>
                <c:pt idx="42168">
                  <c:v>-8.4033613445377799E-4</c:v>
                </c:pt>
                <c:pt idx="42169">
                  <c:v>-8.4033613445377799E-4</c:v>
                </c:pt>
                <c:pt idx="42170">
                  <c:v>-8.4033613445377799E-4</c:v>
                </c:pt>
                <c:pt idx="42171">
                  <c:v>-8.4033613445377799E-4</c:v>
                </c:pt>
                <c:pt idx="42172">
                  <c:v>-8.4033613445377799E-4</c:v>
                </c:pt>
                <c:pt idx="42173">
                  <c:v>-8.4033613445377799E-4</c:v>
                </c:pt>
                <c:pt idx="42174">
                  <c:v>-8.4033613445377799E-4</c:v>
                </c:pt>
                <c:pt idx="42175">
                  <c:v>-8.4033613445377799E-4</c:v>
                </c:pt>
                <c:pt idx="42176">
                  <c:v>-8.4033613445377799E-4</c:v>
                </c:pt>
                <c:pt idx="42177">
                  <c:v>-8.4033613445377799E-4</c:v>
                </c:pt>
                <c:pt idx="42178">
                  <c:v>-8.4033613445377799E-4</c:v>
                </c:pt>
                <c:pt idx="42179">
                  <c:v>-8.4033613445377799E-4</c:v>
                </c:pt>
                <c:pt idx="42180">
                  <c:v>-8.4033613445377799E-4</c:v>
                </c:pt>
                <c:pt idx="42181">
                  <c:v>-8.4033613445377799E-4</c:v>
                </c:pt>
                <c:pt idx="42182">
                  <c:v>-8.4033613445377799E-4</c:v>
                </c:pt>
                <c:pt idx="42183">
                  <c:v>-8.4033613445377799E-4</c:v>
                </c:pt>
                <c:pt idx="42184">
                  <c:v>-8.4033613445377799E-4</c:v>
                </c:pt>
                <c:pt idx="42185">
                  <c:v>-8.4033613445377799E-4</c:v>
                </c:pt>
                <c:pt idx="42186">
                  <c:v>-8.4033613445377799E-4</c:v>
                </c:pt>
                <c:pt idx="42187">
                  <c:v>-8.4033613445377799E-4</c:v>
                </c:pt>
                <c:pt idx="42188">
                  <c:v>-8.4033613445377799E-4</c:v>
                </c:pt>
                <c:pt idx="42189">
                  <c:v>-8.4033613445377799E-4</c:v>
                </c:pt>
                <c:pt idx="42190">
                  <c:v>-8.4033613445377799E-4</c:v>
                </c:pt>
                <c:pt idx="42191">
                  <c:v>-8.4033613445377799E-4</c:v>
                </c:pt>
                <c:pt idx="42192">
                  <c:v>-8.4033613445377799E-4</c:v>
                </c:pt>
                <c:pt idx="42193">
                  <c:v>-8.4033613445377799E-4</c:v>
                </c:pt>
                <c:pt idx="42194">
                  <c:v>-8.4033613445377799E-4</c:v>
                </c:pt>
                <c:pt idx="42195">
                  <c:v>-8.4033613445377799E-4</c:v>
                </c:pt>
                <c:pt idx="42196">
                  <c:v>-8.4033613445377799E-4</c:v>
                </c:pt>
                <c:pt idx="42197">
                  <c:v>-8.4033613445377799E-4</c:v>
                </c:pt>
                <c:pt idx="42198">
                  <c:v>-8.4033613445377799E-4</c:v>
                </c:pt>
                <c:pt idx="42199">
                  <c:v>-8.4033613445377799E-4</c:v>
                </c:pt>
                <c:pt idx="42200">
                  <c:v>-8.4033613445377799E-4</c:v>
                </c:pt>
                <c:pt idx="42201">
                  <c:v>-8.4033613445377799E-4</c:v>
                </c:pt>
                <c:pt idx="42202">
                  <c:v>-8.4033613445377799E-4</c:v>
                </c:pt>
                <c:pt idx="42203">
                  <c:v>-8.4033613445377799E-4</c:v>
                </c:pt>
                <c:pt idx="42204">
                  <c:v>-1.6806722689075499E-3</c:v>
                </c:pt>
                <c:pt idx="42205">
                  <c:v>-1.6806722689075499E-3</c:v>
                </c:pt>
                <c:pt idx="42206">
                  <c:v>-1.6806722689075499E-3</c:v>
                </c:pt>
                <c:pt idx="42207">
                  <c:v>-1.6806722689075499E-3</c:v>
                </c:pt>
                <c:pt idx="42208">
                  <c:v>-1.6806722689075499E-3</c:v>
                </c:pt>
                <c:pt idx="42209">
                  <c:v>-1.6806722689075499E-3</c:v>
                </c:pt>
                <c:pt idx="42210">
                  <c:v>-1.6806722689075499E-3</c:v>
                </c:pt>
                <c:pt idx="42211">
                  <c:v>-1.6806722689075499E-3</c:v>
                </c:pt>
                <c:pt idx="42212">
                  <c:v>-1.6806722689075499E-3</c:v>
                </c:pt>
                <c:pt idx="42213">
                  <c:v>-1.6806722689075499E-3</c:v>
                </c:pt>
                <c:pt idx="42214">
                  <c:v>-1.6806722689075499E-3</c:v>
                </c:pt>
                <c:pt idx="42215">
                  <c:v>-1.6806722689075499E-3</c:v>
                </c:pt>
                <c:pt idx="42216">
                  <c:v>-1.6806722689075499E-3</c:v>
                </c:pt>
                <c:pt idx="42217">
                  <c:v>-1.6806722689075499E-3</c:v>
                </c:pt>
                <c:pt idx="42218">
                  <c:v>-1.6806722689075499E-3</c:v>
                </c:pt>
                <c:pt idx="42219">
                  <c:v>-1.6806722689075499E-3</c:v>
                </c:pt>
                <c:pt idx="42220">
                  <c:v>-1.6806722689075499E-3</c:v>
                </c:pt>
                <c:pt idx="42221">
                  <c:v>-1.6806722689075499E-3</c:v>
                </c:pt>
                <c:pt idx="42222">
                  <c:v>-1.6806722689075499E-3</c:v>
                </c:pt>
                <c:pt idx="42223">
                  <c:v>-1.6806722689075499E-3</c:v>
                </c:pt>
                <c:pt idx="42224">
                  <c:v>-1.6806722689075499E-3</c:v>
                </c:pt>
                <c:pt idx="42225">
                  <c:v>-1.6806722689075499E-3</c:v>
                </c:pt>
                <c:pt idx="42226">
                  <c:v>-1.6806722689075499E-3</c:v>
                </c:pt>
                <c:pt idx="42227">
                  <c:v>-1.6806722689075499E-3</c:v>
                </c:pt>
                <c:pt idx="42228">
                  <c:v>-1.6806722689075499E-3</c:v>
                </c:pt>
                <c:pt idx="42229">
                  <c:v>-1.6806722689075499E-3</c:v>
                </c:pt>
                <c:pt idx="42230">
                  <c:v>-1.6806722689075499E-3</c:v>
                </c:pt>
                <c:pt idx="42231">
                  <c:v>-1.6806722689075499E-3</c:v>
                </c:pt>
                <c:pt idx="42232">
                  <c:v>-1.6806722689075499E-3</c:v>
                </c:pt>
                <c:pt idx="42233">
                  <c:v>-1.6806722689075499E-3</c:v>
                </c:pt>
                <c:pt idx="42234">
                  <c:v>-1.6806722689075499E-3</c:v>
                </c:pt>
                <c:pt idx="42235">
                  <c:v>-1.6806722689075499E-3</c:v>
                </c:pt>
                <c:pt idx="42236">
                  <c:v>-1.6806722689075499E-3</c:v>
                </c:pt>
                <c:pt idx="42237">
                  <c:v>-1.6806722689075499E-3</c:v>
                </c:pt>
                <c:pt idx="42238">
                  <c:v>-1.6806722689075499E-3</c:v>
                </c:pt>
                <c:pt idx="42239">
                  <c:v>-1.6806722689075499E-3</c:v>
                </c:pt>
                <c:pt idx="42240">
                  <c:v>-1.6806722689075499E-3</c:v>
                </c:pt>
                <c:pt idx="42241">
                  <c:v>-1.6806722689075499E-3</c:v>
                </c:pt>
                <c:pt idx="42242">
                  <c:v>-1.6806722689075499E-3</c:v>
                </c:pt>
                <c:pt idx="42243">
                  <c:v>-1.6806722689075499E-3</c:v>
                </c:pt>
                <c:pt idx="42244">
                  <c:v>-1.6806722689075499E-3</c:v>
                </c:pt>
                <c:pt idx="42245">
                  <c:v>-1.6806722689075499E-3</c:v>
                </c:pt>
                <c:pt idx="42246">
                  <c:v>-1.6806722689075499E-3</c:v>
                </c:pt>
                <c:pt idx="42247">
                  <c:v>-1.6806722689075499E-3</c:v>
                </c:pt>
                <c:pt idx="42248">
                  <c:v>-1.6806722689075499E-3</c:v>
                </c:pt>
                <c:pt idx="42249">
                  <c:v>-1.6806722689075499E-3</c:v>
                </c:pt>
                <c:pt idx="42250">
                  <c:v>-1.6806722689075499E-3</c:v>
                </c:pt>
                <c:pt idx="42251">
                  <c:v>-1.6806722689075499E-3</c:v>
                </c:pt>
                <c:pt idx="42252">
                  <c:v>-1.6806722689075499E-3</c:v>
                </c:pt>
                <c:pt idx="42253">
                  <c:v>-1.6806722689075499E-3</c:v>
                </c:pt>
                <c:pt idx="42254">
                  <c:v>-1.6806722689075499E-3</c:v>
                </c:pt>
                <c:pt idx="42255">
                  <c:v>-1.6806722689075499E-3</c:v>
                </c:pt>
                <c:pt idx="42256">
                  <c:v>-1.6806722689075499E-3</c:v>
                </c:pt>
                <c:pt idx="42257">
                  <c:v>-1.6806722689075499E-3</c:v>
                </c:pt>
                <c:pt idx="42258">
                  <c:v>-8.4033613445377799E-4</c:v>
                </c:pt>
                <c:pt idx="42259">
                  <c:v>-8.4033613445377799E-4</c:v>
                </c:pt>
                <c:pt idx="42260">
                  <c:v>-8.4033613445377799E-4</c:v>
                </c:pt>
                <c:pt idx="42261">
                  <c:v>-8.4033613445377799E-4</c:v>
                </c:pt>
                <c:pt idx="42262">
                  <c:v>-8.4033613445377799E-4</c:v>
                </c:pt>
                <c:pt idx="42263">
                  <c:v>-8.4033613445377799E-4</c:v>
                </c:pt>
                <c:pt idx="42264">
                  <c:v>-8.4033613445377799E-4</c:v>
                </c:pt>
                <c:pt idx="42265">
                  <c:v>-8.4033613445377799E-4</c:v>
                </c:pt>
                <c:pt idx="42266">
                  <c:v>-1.6806722689075499E-3</c:v>
                </c:pt>
                <c:pt idx="42267">
                  <c:v>-1.6806722689075499E-3</c:v>
                </c:pt>
                <c:pt idx="42268">
                  <c:v>-1.6806722689075499E-3</c:v>
                </c:pt>
                <c:pt idx="42269">
                  <c:v>-1.6806722689075499E-3</c:v>
                </c:pt>
                <c:pt idx="42270">
                  <c:v>-1.6806722689075499E-3</c:v>
                </c:pt>
                <c:pt idx="42271">
                  <c:v>-1.6806722689075499E-3</c:v>
                </c:pt>
                <c:pt idx="42272">
                  <c:v>-1.6806722689075499E-3</c:v>
                </c:pt>
                <c:pt idx="42273">
                  <c:v>-1.6806722689075499E-3</c:v>
                </c:pt>
                <c:pt idx="42274">
                  <c:v>-1.6806722689075499E-3</c:v>
                </c:pt>
                <c:pt idx="42275">
                  <c:v>-1.6806722689075499E-3</c:v>
                </c:pt>
                <c:pt idx="42276">
                  <c:v>-1.6806722689075499E-3</c:v>
                </c:pt>
                <c:pt idx="42277">
                  <c:v>-1.6806722689075499E-3</c:v>
                </c:pt>
                <c:pt idx="42278">
                  <c:v>-1.6806722689075499E-3</c:v>
                </c:pt>
                <c:pt idx="42279">
                  <c:v>-1.6806722689075499E-3</c:v>
                </c:pt>
                <c:pt idx="42280">
                  <c:v>-1.6806722689075499E-3</c:v>
                </c:pt>
                <c:pt idx="42281">
                  <c:v>-1.6806722689075499E-3</c:v>
                </c:pt>
                <c:pt idx="42282">
                  <c:v>-1.6806722689075499E-3</c:v>
                </c:pt>
                <c:pt idx="42283">
                  <c:v>-1.6806722689075499E-3</c:v>
                </c:pt>
                <c:pt idx="42284">
                  <c:v>-1.6806722689075499E-3</c:v>
                </c:pt>
                <c:pt idx="42285">
                  <c:v>-1.6806722689075499E-3</c:v>
                </c:pt>
                <c:pt idx="42286">
                  <c:v>-1.6806722689075499E-3</c:v>
                </c:pt>
                <c:pt idx="42287">
                  <c:v>-1.6806722689075499E-3</c:v>
                </c:pt>
                <c:pt idx="42288">
                  <c:v>-1.6806722689075499E-3</c:v>
                </c:pt>
                <c:pt idx="42289">
                  <c:v>-1.6806722689075499E-3</c:v>
                </c:pt>
                <c:pt idx="42290">
                  <c:v>-1.6806722689075499E-3</c:v>
                </c:pt>
                <c:pt idx="42291">
                  <c:v>-1.6806722689075499E-3</c:v>
                </c:pt>
                <c:pt idx="42292">
                  <c:v>-1.6806722689075499E-3</c:v>
                </c:pt>
                <c:pt idx="42293">
                  <c:v>-1.6806722689075499E-3</c:v>
                </c:pt>
                <c:pt idx="42294">
                  <c:v>-1.6806722689075499E-3</c:v>
                </c:pt>
                <c:pt idx="42295">
                  <c:v>-1.6806722689075499E-3</c:v>
                </c:pt>
                <c:pt idx="42296">
                  <c:v>-1.6806722689075499E-3</c:v>
                </c:pt>
                <c:pt idx="42297">
                  <c:v>-1.6806722689075499E-3</c:v>
                </c:pt>
                <c:pt idx="42298">
                  <c:v>-1.6806722689075499E-3</c:v>
                </c:pt>
                <c:pt idx="42299">
                  <c:v>-1.6806722689075499E-3</c:v>
                </c:pt>
                <c:pt idx="42300">
                  <c:v>-1.6806722689075499E-3</c:v>
                </c:pt>
                <c:pt idx="42301">
                  <c:v>-1.6806722689075499E-3</c:v>
                </c:pt>
                <c:pt idx="42302">
                  <c:v>-1.6806722689075499E-3</c:v>
                </c:pt>
                <c:pt idx="42303">
                  <c:v>-1.6806722689075499E-3</c:v>
                </c:pt>
                <c:pt idx="42304">
                  <c:v>-1.6806722689075499E-3</c:v>
                </c:pt>
                <c:pt idx="42305">
                  <c:v>-1.6806722689075499E-3</c:v>
                </c:pt>
                <c:pt idx="42306">
                  <c:v>-1.6806722689075499E-3</c:v>
                </c:pt>
                <c:pt idx="42307">
                  <c:v>-1.6806722689075499E-3</c:v>
                </c:pt>
                <c:pt idx="42308">
                  <c:v>-1.6806722689075499E-3</c:v>
                </c:pt>
                <c:pt idx="42309">
                  <c:v>-1.6806722689075499E-3</c:v>
                </c:pt>
                <c:pt idx="42310">
                  <c:v>-1.6806722689075499E-3</c:v>
                </c:pt>
                <c:pt idx="42311">
                  <c:v>-1.6806722689075499E-3</c:v>
                </c:pt>
                <c:pt idx="42312">
                  <c:v>-1.6806722689075499E-3</c:v>
                </c:pt>
                <c:pt idx="42313">
                  <c:v>-1.6806722689075499E-3</c:v>
                </c:pt>
                <c:pt idx="42314">
                  <c:v>-1.6806722689075499E-3</c:v>
                </c:pt>
                <c:pt idx="42315">
                  <c:v>-1.6806722689075499E-3</c:v>
                </c:pt>
                <c:pt idx="42316">
                  <c:v>-1.6806722689075499E-3</c:v>
                </c:pt>
                <c:pt idx="42317">
                  <c:v>-1.6806722689075499E-3</c:v>
                </c:pt>
                <c:pt idx="42318">
                  <c:v>-1.6806722689075499E-3</c:v>
                </c:pt>
                <c:pt idx="42319">
                  <c:v>-1.6806722689075499E-3</c:v>
                </c:pt>
                <c:pt idx="42320">
                  <c:v>-1.6806722689075499E-3</c:v>
                </c:pt>
                <c:pt idx="42321">
                  <c:v>-1.6806722689075499E-3</c:v>
                </c:pt>
                <c:pt idx="42322">
                  <c:v>-1.6806722689075499E-3</c:v>
                </c:pt>
                <c:pt idx="42323">
                  <c:v>-1.6806722689075499E-3</c:v>
                </c:pt>
                <c:pt idx="42324">
                  <c:v>-1.6806722689075499E-3</c:v>
                </c:pt>
                <c:pt idx="42325">
                  <c:v>-1.6806722689075499E-3</c:v>
                </c:pt>
                <c:pt idx="42326">
                  <c:v>-1.6806722689075499E-3</c:v>
                </c:pt>
                <c:pt idx="42327">
                  <c:v>-1.6806722689075499E-3</c:v>
                </c:pt>
                <c:pt idx="42328">
                  <c:v>-1.6806722689075499E-3</c:v>
                </c:pt>
                <c:pt idx="42329">
                  <c:v>-1.6806722689075499E-3</c:v>
                </c:pt>
                <c:pt idx="42330">
                  <c:v>-1.6806722689075499E-3</c:v>
                </c:pt>
                <c:pt idx="42331">
                  <c:v>-1.6806722689075499E-3</c:v>
                </c:pt>
                <c:pt idx="42332">
                  <c:v>-1.6806722689075499E-3</c:v>
                </c:pt>
                <c:pt idx="42333">
                  <c:v>-1.6806722689075499E-3</c:v>
                </c:pt>
                <c:pt idx="42334">
                  <c:v>-1.6806722689075499E-3</c:v>
                </c:pt>
                <c:pt idx="42335">
                  <c:v>-1.6806722689075499E-3</c:v>
                </c:pt>
                <c:pt idx="42336">
                  <c:v>-2.5210084033613299E-3</c:v>
                </c:pt>
                <c:pt idx="42337">
                  <c:v>-2.5210084033613299E-3</c:v>
                </c:pt>
                <c:pt idx="42338">
                  <c:v>-2.5210084033613299E-3</c:v>
                </c:pt>
                <c:pt idx="42339">
                  <c:v>-2.5210084033613299E-3</c:v>
                </c:pt>
                <c:pt idx="42340">
                  <c:v>-2.5210084033613299E-3</c:v>
                </c:pt>
                <c:pt idx="42341">
                  <c:v>-2.5210084033613299E-3</c:v>
                </c:pt>
                <c:pt idx="42342">
                  <c:v>-1.6806722689075499E-3</c:v>
                </c:pt>
                <c:pt idx="42343">
                  <c:v>-1.6806722689075499E-3</c:v>
                </c:pt>
                <c:pt idx="42344">
                  <c:v>-1.6806722689075499E-3</c:v>
                </c:pt>
                <c:pt idx="42345">
                  <c:v>-1.6806722689075499E-3</c:v>
                </c:pt>
                <c:pt idx="42346">
                  <c:v>-1.6806722689075499E-3</c:v>
                </c:pt>
                <c:pt idx="42347">
                  <c:v>-1.6806722689075499E-3</c:v>
                </c:pt>
                <c:pt idx="42348">
                  <c:v>-1.6806722689075499E-3</c:v>
                </c:pt>
                <c:pt idx="42349">
                  <c:v>-1.6806722689075499E-3</c:v>
                </c:pt>
                <c:pt idx="42350">
                  <c:v>-1.6806722689075499E-3</c:v>
                </c:pt>
                <c:pt idx="42351">
                  <c:v>-1.6806722689075499E-3</c:v>
                </c:pt>
                <c:pt idx="42352">
                  <c:v>-1.6806722689075499E-3</c:v>
                </c:pt>
                <c:pt idx="42353">
                  <c:v>-1.6806722689075499E-3</c:v>
                </c:pt>
                <c:pt idx="42354">
                  <c:v>-1.6806722689075499E-3</c:v>
                </c:pt>
                <c:pt idx="42355">
                  <c:v>-1.6806722689075499E-3</c:v>
                </c:pt>
                <c:pt idx="42356">
                  <c:v>-1.6806722689075499E-3</c:v>
                </c:pt>
                <c:pt idx="42357">
                  <c:v>-1.6806722689075499E-3</c:v>
                </c:pt>
                <c:pt idx="42358">
                  <c:v>-1.6806722689075499E-3</c:v>
                </c:pt>
                <c:pt idx="42359">
                  <c:v>-1.6806722689075499E-3</c:v>
                </c:pt>
                <c:pt idx="42360">
                  <c:v>-1.6806722689075499E-3</c:v>
                </c:pt>
                <c:pt idx="42361">
                  <c:v>-1.6806722689075499E-3</c:v>
                </c:pt>
                <c:pt idx="42362">
                  <c:v>-1.6806722689075499E-3</c:v>
                </c:pt>
                <c:pt idx="42363">
                  <c:v>-1.6806722689075499E-3</c:v>
                </c:pt>
                <c:pt idx="42364">
                  <c:v>-1.6806722689075499E-3</c:v>
                </c:pt>
                <c:pt idx="42365">
                  <c:v>-1.6806722689075499E-3</c:v>
                </c:pt>
                <c:pt idx="42366">
                  <c:v>-1.6806722689075499E-3</c:v>
                </c:pt>
                <c:pt idx="42367">
                  <c:v>-1.6806722689075499E-3</c:v>
                </c:pt>
                <c:pt idx="42368">
                  <c:v>-1.6806722689075499E-3</c:v>
                </c:pt>
                <c:pt idx="42369">
                  <c:v>-1.6806722689075499E-3</c:v>
                </c:pt>
                <c:pt idx="42370">
                  <c:v>-1.6806722689075499E-3</c:v>
                </c:pt>
                <c:pt idx="42371">
                  <c:v>-1.6806722689075499E-3</c:v>
                </c:pt>
                <c:pt idx="42372">
                  <c:v>-1.6806722689075499E-3</c:v>
                </c:pt>
                <c:pt idx="42373">
                  <c:v>-1.6806722689075499E-3</c:v>
                </c:pt>
                <c:pt idx="42374">
                  <c:v>-1.6806722689075499E-3</c:v>
                </c:pt>
                <c:pt idx="42375">
                  <c:v>-1.6806722689075499E-3</c:v>
                </c:pt>
                <c:pt idx="42376">
                  <c:v>-1.6806722689075499E-3</c:v>
                </c:pt>
                <c:pt idx="42377">
                  <c:v>-1.6806722689075499E-3</c:v>
                </c:pt>
                <c:pt idx="42378">
                  <c:v>-1.6806722689075499E-3</c:v>
                </c:pt>
                <c:pt idx="42379">
                  <c:v>-1.6806722689075499E-3</c:v>
                </c:pt>
                <c:pt idx="42380">
                  <c:v>-1.6806722689075499E-3</c:v>
                </c:pt>
                <c:pt idx="42381">
                  <c:v>-1.6806722689075499E-3</c:v>
                </c:pt>
                <c:pt idx="42382">
                  <c:v>-1.6806722689075499E-3</c:v>
                </c:pt>
                <c:pt idx="42383">
                  <c:v>-1.6806722689075499E-3</c:v>
                </c:pt>
                <c:pt idx="42384">
                  <c:v>-1.6806722689075499E-3</c:v>
                </c:pt>
                <c:pt idx="42385">
                  <c:v>-1.6806722689075499E-3</c:v>
                </c:pt>
                <c:pt idx="42386">
                  <c:v>-1.6806722689075499E-3</c:v>
                </c:pt>
                <c:pt idx="42387">
                  <c:v>-1.6806722689075499E-3</c:v>
                </c:pt>
                <c:pt idx="42388">
                  <c:v>-1.6806722689075499E-3</c:v>
                </c:pt>
                <c:pt idx="42389">
                  <c:v>-1.6806722689075499E-3</c:v>
                </c:pt>
                <c:pt idx="42390">
                  <c:v>-1.6806722689075499E-3</c:v>
                </c:pt>
                <c:pt idx="42391">
                  <c:v>-1.6806722689075499E-3</c:v>
                </c:pt>
                <c:pt idx="42392">
                  <c:v>-1.6806722689075499E-3</c:v>
                </c:pt>
                <c:pt idx="42393">
                  <c:v>-1.6806722689075499E-3</c:v>
                </c:pt>
                <c:pt idx="42394">
                  <c:v>-1.6806722689075499E-3</c:v>
                </c:pt>
                <c:pt idx="42395">
                  <c:v>-1.6806722689075499E-3</c:v>
                </c:pt>
                <c:pt idx="42396">
                  <c:v>-1.6806722689075499E-3</c:v>
                </c:pt>
                <c:pt idx="42397">
                  <c:v>-1.6806722689075499E-3</c:v>
                </c:pt>
                <c:pt idx="42398">
                  <c:v>-1.6806722689075499E-3</c:v>
                </c:pt>
                <c:pt idx="42399">
                  <c:v>-1.6806722689075499E-3</c:v>
                </c:pt>
                <c:pt idx="42400">
                  <c:v>-1.6806722689075499E-3</c:v>
                </c:pt>
                <c:pt idx="42401">
                  <c:v>-1.6806722689075499E-3</c:v>
                </c:pt>
                <c:pt idx="42402">
                  <c:v>-1.6806722689075499E-3</c:v>
                </c:pt>
                <c:pt idx="42403">
                  <c:v>-1.6806722689075499E-3</c:v>
                </c:pt>
                <c:pt idx="42404">
                  <c:v>-1.6806722689075499E-3</c:v>
                </c:pt>
                <c:pt idx="42405">
                  <c:v>-1.6806722689075499E-3</c:v>
                </c:pt>
                <c:pt idx="42406">
                  <c:v>-1.6806722689075499E-3</c:v>
                </c:pt>
                <c:pt idx="42407">
                  <c:v>-1.6806722689075499E-3</c:v>
                </c:pt>
                <c:pt idx="42408">
                  <c:v>-1.6806722689075499E-3</c:v>
                </c:pt>
                <c:pt idx="42409">
                  <c:v>-1.6806722689075499E-3</c:v>
                </c:pt>
                <c:pt idx="42410">
                  <c:v>-1.6806722689075499E-3</c:v>
                </c:pt>
                <c:pt idx="42411">
                  <c:v>-1.6806722689075499E-3</c:v>
                </c:pt>
                <c:pt idx="42412">
                  <c:v>-1.6806722689075499E-3</c:v>
                </c:pt>
                <c:pt idx="42413">
                  <c:v>-2.5210084033613299E-3</c:v>
                </c:pt>
                <c:pt idx="42414">
                  <c:v>-2.5210084033613299E-3</c:v>
                </c:pt>
                <c:pt idx="42415">
                  <c:v>-2.5210084033613299E-3</c:v>
                </c:pt>
                <c:pt idx="42416">
                  <c:v>-2.5210084033613299E-3</c:v>
                </c:pt>
                <c:pt idx="42417">
                  <c:v>-2.5210084033613299E-3</c:v>
                </c:pt>
                <c:pt idx="42418">
                  <c:v>-2.5210084033613299E-3</c:v>
                </c:pt>
                <c:pt idx="42419">
                  <c:v>-2.5210084033613299E-3</c:v>
                </c:pt>
                <c:pt idx="42420">
                  <c:v>-2.5210084033613299E-3</c:v>
                </c:pt>
                <c:pt idx="42421">
                  <c:v>-2.5210084033613299E-3</c:v>
                </c:pt>
                <c:pt idx="42422">
                  <c:v>-2.5210084033613299E-3</c:v>
                </c:pt>
                <c:pt idx="42423">
                  <c:v>-2.5210084033613299E-3</c:v>
                </c:pt>
                <c:pt idx="42424">
                  <c:v>-2.5210084033613299E-3</c:v>
                </c:pt>
                <c:pt idx="42425">
                  <c:v>-2.5210084033613299E-3</c:v>
                </c:pt>
                <c:pt idx="42426">
                  <c:v>-2.5210084033613299E-3</c:v>
                </c:pt>
                <c:pt idx="42427">
                  <c:v>-2.5210084033613299E-3</c:v>
                </c:pt>
                <c:pt idx="42428">
                  <c:v>-2.5210084033613299E-3</c:v>
                </c:pt>
                <c:pt idx="42429">
                  <c:v>-2.5210084033613299E-3</c:v>
                </c:pt>
                <c:pt idx="42430">
                  <c:v>-2.5210084033613299E-3</c:v>
                </c:pt>
                <c:pt idx="42431">
                  <c:v>-2.5210084033613299E-3</c:v>
                </c:pt>
                <c:pt idx="42432">
                  <c:v>-2.5210084033613299E-3</c:v>
                </c:pt>
                <c:pt idx="42433">
                  <c:v>-2.5210084033613299E-3</c:v>
                </c:pt>
                <c:pt idx="42434">
                  <c:v>-2.5210084033613299E-3</c:v>
                </c:pt>
                <c:pt idx="42435">
                  <c:v>-2.5210084033613299E-3</c:v>
                </c:pt>
                <c:pt idx="42436">
                  <c:v>-2.5210084033613299E-3</c:v>
                </c:pt>
                <c:pt idx="42437">
                  <c:v>-2.5210084033613299E-3</c:v>
                </c:pt>
                <c:pt idx="42438">
                  <c:v>-2.5210084033613299E-3</c:v>
                </c:pt>
                <c:pt idx="42439">
                  <c:v>-2.5210084033613299E-3</c:v>
                </c:pt>
                <c:pt idx="42440">
                  <c:v>-2.5210084033613299E-3</c:v>
                </c:pt>
                <c:pt idx="42441">
                  <c:v>-2.5210084033613299E-3</c:v>
                </c:pt>
                <c:pt idx="42442">
                  <c:v>-2.5210084033613299E-3</c:v>
                </c:pt>
                <c:pt idx="42443">
                  <c:v>-2.5210084033613299E-3</c:v>
                </c:pt>
                <c:pt idx="42444">
                  <c:v>-2.5210084033613299E-3</c:v>
                </c:pt>
                <c:pt idx="42445">
                  <c:v>-2.5210084033613299E-3</c:v>
                </c:pt>
                <c:pt idx="42446">
                  <c:v>-2.5210084033613299E-3</c:v>
                </c:pt>
                <c:pt idx="42447">
                  <c:v>-2.5210084033613299E-3</c:v>
                </c:pt>
                <c:pt idx="42448">
                  <c:v>-2.5210084033613299E-3</c:v>
                </c:pt>
                <c:pt idx="42449">
                  <c:v>-2.5210084033613299E-3</c:v>
                </c:pt>
                <c:pt idx="42450">
                  <c:v>-2.5210084033613299E-3</c:v>
                </c:pt>
                <c:pt idx="42451">
                  <c:v>-2.5210084033613299E-3</c:v>
                </c:pt>
                <c:pt idx="42452">
                  <c:v>-2.5210084033613299E-3</c:v>
                </c:pt>
                <c:pt idx="42453">
                  <c:v>-2.5210084033613299E-3</c:v>
                </c:pt>
                <c:pt idx="42454">
                  <c:v>-2.5210084033613299E-3</c:v>
                </c:pt>
                <c:pt idx="42455">
                  <c:v>-2.5210084033613299E-3</c:v>
                </c:pt>
                <c:pt idx="42456">
                  <c:v>-2.5210084033613299E-3</c:v>
                </c:pt>
                <c:pt idx="42457">
                  <c:v>-2.5210084033613299E-3</c:v>
                </c:pt>
                <c:pt idx="42458">
                  <c:v>-2.5210084033613299E-3</c:v>
                </c:pt>
                <c:pt idx="42459">
                  <c:v>-2.5210084033613299E-3</c:v>
                </c:pt>
                <c:pt idx="42460">
                  <c:v>-2.5210084033613299E-3</c:v>
                </c:pt>
                <c:pt idx="42461">
                  <c:v>-2.5210084033613299E-3</c:v>
                </c:pt>
                <c:pt idx="42462">
                  <c:v>-2.5210084033613299E-3</c:v>
                </c:pt>
                <c:pt idx="42463">
                  <c:v>-2.5210084033613299E-3</c:v>
                </c:pt>
                <c:pt idx="42464">
                  <c:v>-2.5210084033613299E-3</c:v>
                </c:pt>
                <c:pt idx="42465">
                  <c:v>-2.5210084033613299E-3</c:v>
                </c:pt>
                <c:pt idx="42466">
                  <c:v>-2.5210084033613299E-3</c:v>
                </c:pt>
                <c:pt idx="42467">
                  <c:v>-2.5210084033613299E-3</c:v>
                </c:pt>
                <c:pt idx="42468">
                  <c:v>-2.5210084033613299E-3</c:v>
                </c:pt>
                <c:pt idx="42469">
                  <c:v>-2.5210084033613299E-3</c:v>
                </c:pt>
                <c:pt idx="42470">
                  <c:v>-2.5210084033613299E-3</c:v>
                </c:pt>
                <c:pt idx="42471">
                  <c:v>-2.5210084033613299E-3</c:v>
                </c:pt>
                <c:pt idx="42472">
                  <c:v>-2.5210084033613299E-3</c:v>
                </c:pt>
                <c:pt idx="42473">
                  <c:v>-2.5210084033613299E-3</c:v>
                </c:pt>
                <c:pt idx="42474">
                  <c:v>-2.5210084033613299E-3</c:v>
                </c:pt>
                <c:pt idx="42475">
                  <c:v>-2.5210084033613299E-3</c:v>
                </c:pt>
                <c:pt idx="42476">
                  <c:v>-2.5210084033613299E-3</c:v>
                </c:pt>
                <c:pt idx="42477">
                  <c:v>-2.5210084033613299E-3</c:v>
                </c:pt>
                <c:pt idx="42478">
                  <c:v>-2.5210084033613299E-3</c:v>
                </c:pt>
                <c:pt idx="42479">
                  <c:v>-2.5210084033613299E-3</c:v>
                </c:pt>
                <c:pt idx="42480">
                  <c:v>-2.5210084033613299E-3</c:v>
                </c:pt>
                <c:pt idx="42481">
                  <c:v>-2.5210084033613299E-3</c:v>
                </c:pt>
                <c:pt idx="42482">
                  <c:v>-2.5210084033613299E-3</c:v>
                </c:pt>
                <c:pt idx="42483">
                  <c:v>-2.5210084033613299E-3</c:v>
                </c:pt>
                <c:pt idx="42484">
                  <c:v>-2.5210084033613299E-3</c:v>
                </c:pt>
                <c:pt idx="42485">
                  <c:v>-2.5210084033613299E-3</c:v>
                </c:pt>
                <c:pt idx="42486">
                  <c:v>-2.5210084033613299E-3</c:v>
                </c:pt>
                <c:pt idx="42487">
                  <c:v>-2.5210084033613299E-3</c:v>
                </c:pt>
                <c:pt idx="42488">
                  <c:v>-2.5210084033613299E-3</c:v>
                </c:pt>
                <c:pt idx="42489">
                  <c:v>-2.5210084033613299E-3</c:v>
                </c:pt>
                <c:pt idx="42490">
                  <c:v>-2.5210084033613299E-3</c:v>
                </c:pt>
                <c:pt idx="42491">
                  <c:v>-2.5210084033613299E-3</c:v>
                </c:pt>
                <c:pt idx="42492">
                  <c:v>-2.5210084033613299E-3</c:v>
                </c:pt>
                <c:pt idx="42493">
                  <c:v>-2.5210084033613299E-3</c:v>
                </c:pt>
                <c:pt idx="42494">
                  <c:v>-2.5210084033613299E-3</c:v>
                </c:pt>
                <c:pt idx="42495">
                  <c:v>-2.5210084033613299E-3</c:v>
                </c:pt>
                <c:pt idx="42496">
                  <c:v>-2.5210084033613299E-3</c:v>
                </c:pt>
                <c:pt idx="42497">
                  <c:v>-2.5210084033613299E-3</c:v>
                </c:pt>
                <c:pt idx="42498">
                  <c:v>-2.5210084033613299E-3</c:v>
                </c:pt>
                <c:pt idx="42499">
                  <c:v>-2.5210084033613299E-3</c:v>
                </c:pt>
                <c:pt idx="42500">
                  <c:v>-2.5210084033613299E-3</c:v>
                </c:pt>
                <c:pt idx="42501">
                  <c:v>-2.5210084033613299E-3</c:v>
                </c:pt>
                <c:pt idx="42502">
                  <c:v>-2.5210084033613299E-3</c:v>
                </c:pt>
                <c:pt idx="42503">
                  <c:v>-2.5210084033613299E-3</c:v>
                </c:pt>
                <c:pt idx="42504">
                  <c:v>-2.5210084033613299E-3</c:v>
                </c:pt>
                <c:pt idx="42505">
                  <c:v>-2.5210084033613299E-3</c:v>
                </c:pt>
                <c:pt idx="42506">
                  <c:v>-2.5210084033613299E-3</c:v>
                </c:pt>
                <c:pt idx="42507">
                  <c:v>-2.5210084033613299E-3</c:v>
                </c:pt>
                <c:pt idx="42508">
                  <c:v>-2.5210084033613299E-3</c:v>
                </c:pt>
                <c:pt idx="42509">
                  <c:v>-2.5210084033613299E-3</c:v>
                </c:pt>
                <c:pt idx="42510">
                  <c:v>-2.5210084033613299E-3</c:v>
                </c:pt>
                <c:pt idx="42511">
                  <c:v>-2.5210084033613299E-3</c:v>
                </c:pt>
                <c:pt idx="42512">
                  <c:v>-2.5210084033613299E-3</c:v>
                </c:pt>
                <c:pt idx="42513">
                  <c:v>-2.5210084033613299E-3</c:v>
                </c:pt>
                <c:pt idx="42514">
                  <c:v>-2.5210084033613299E-3</c:v>
                </c:pt>
                <c:pt idx="42515">
                  <c:v>-2.5210084033613299E-3</c:v>
                </c:pt>
                <c:pt idx="42516">
                  <c:v>-2.5210084033613299E-3</c:v>
                </c:pt>
                <c:pt idx="42517">
                  <c:v>-2.5210084033613299E-3</c:v>
                </c:pt>
                <c:pt idx="42518">
                  <c:v>-2.5210084033613299E-3</c:v>
                </c:pt>
                <c:pt idx="42519">
                  <c:v>-2.5210084033613299E-3</c:v>
                </c:pt>
                <c:pt idx="42520">
                  <c:v>-2.5210084033613299E-3</c:v>
                </c:pt>
                <c:pt idx="42521">
                  <c:v>-2.5210084033613299E-3</c:v>
                </c:pt>
                <c:pt idx="42522">
                  <c:v>-2.5210084033613299E-3</c:v>
                </c:pt>
                <c:pt idx="42523">
                  <c:v>-2.5210084033613299E-3</c:v>
                </c:pt>
                <c:pt idx="42524">
                  <c:v>-2.5210084033613299E-3</c:v>
                </c:pt>
                <c:pt idx="42525">
                  <c:v>-2.5210084033613299E-3</c:v>
                </c:pt>
                <c:pt idx="42526">
                  <c:v>-2.5210084033613299E-3</c:v>
                </c:pt>
                <c:pt idx="42527">
                  <c:v>-2.5210084033613299E-3</c:v>
                </c:pt>
                <c:pt idx="42528">
                  <c:v>-2.5210084033613299E-3</c:v>
                </c:pt>
                <c:pt idx="42529">
                  <c:v>-2.5210084033613299E-3</c:v>
                </c:pt>
                <c:pt idx="42530">
                  <c:v>-2.5210084033613299E-3</c:v>
                </c:pt>
                <c:pt idx="42531">
                  <c:v>-2.5210084033613299E-3</c:v>
                </c:pt>
                <c:pt idx="42532">
                  <c:v>-2.5210084033613299E-3</c:v>
                </c:pt>
                <c:pt idx="42533">
                  <c:v>-2.5210084033613299E-3</c:v>
                </c:pt>
                <c:pt idx="42534">
                  <c:v>-2.5210084033613299E-3</c:v>
                </c:pt>
                <c:pt idx="42535">
                  <c:v>-2.5210084033613299E-3</c:v>
                </c:pt>
                <c:pt idx="42536">
                  <c:v>-2.5210084033613299E-3</c:v>
                </c:pt>
                <c:pt idx="42537">
                  <c:v>-2.5210084033613299E-3</c:v>
                </c:pt>
                <c:pt idx="42538">
                  <c:v>-2.5210084033613299E-3</c:v>
                </c:pt>
                <c:pt idx="42539">
                  <c:v>-2.5210084033613299E-3</c:v>
                </c:pt>
                <c:pt idx="42540">
                  <c:v>-2.5210084033613299E-3</c:v>
                </c:pt>
                <c:pt idx="42541">
                  <c:v>-2.5210084033613299E-3</c:v>
                </c:pt>
                <c:pt idx="42542">
                  <c:v>-3.3613445378151102E-3</c:v>
                </c:pt>
                <c:pt idx="42543">
                  <c:v>-3.3613445378151102E-3</c:v>
                </c:pt>
                <c:pt idx="42544">
                  <c:v>-3.3613445378151102E-3</c:v>
                </c:pt>
                <c:pt idx="42545">
                  <c:v>-3.3613445378151102E-3</c:v>
                </c:pt>
                <c:pt idx="42546">
                  <c:v>-3.3613445378151102E-3</c:v>
                </c:pt>
                <c:pt idx="42547">
                  <c:v>-3.3613445378151102E-3</c:v>
                </c:pt>
                <c:pt idx="42548">
                  <c:v>-3.3613445378151102E-3</c:v>
                </c:pt>
                <c:pt idx="42549">
                  <c:v>-3.3613445378151102E-3</c:v>
                </c:pt>
                <c:pt idx="42550">
                  <c:v>-3.3613445378151102E-3</c:v>
                </c:pt>
                <c:pt idx="42551">
                  <c:v>-3.3613445378151102E-3</c:v>
                </c:pt>
                <c:pt idx="42552">
                  <c:v>-3.3613445378151102E-3</c:v>
                </c:pt>
                <c:pt idx="42553">
                  <c:v>-3.3613445378151102E-3</c:v>
                </c:pt>
                <c:pt idx="42554">
                  <c:v>-3.3613445378151102E-3</c:v>
                </c:pt>
                <c:pt idx="42555">
                  <c:v>-3.3613445378151102E-3</c:v>
                </c:pt>
                <c:pt idx="42556">
                  <c:v>-3.3613445378151102E-3</c:v>
                </c:pt>
                <c:pt idx="42557">
                  <c:v>-3.3613445378151102E-3</c:v>
                </c:pt>
                <c:pt idx="42558">
                  <c:v>-3.3613445378151102E-3</c:v>
                </c:pt>
                <c:pt idx="42559">
                  <c:v>-3.3613445378151102E-3</c:v>
                </c:pt>
                <c:pt idx="42560">
                  <c:v>-3.3613445378151102E-3</c:v>
                </c:pt>
                <c:pt idx="42561">
                  <c:v>-3.3613445378151102E-3</c:v>
                </c:pt>
                <c:pt idx="42562">
                  <c:v>-3.3613445378151102E-3</c:v>
                </c:pt>
                <c:pt idx="42563">
                  <c:v>-3.3613445378151102E-3</c:v>
                </c:pt>
                <c:pt idx="42564">
                  <c:v>-3.3613445378151102E-3</c:v>
                </c:pt>
                <c:pt idx="42565">
                  <c:v>-3.3613445378151102E-3</c:v>
                </c:pt>
                <c:pt idx="42566">
                  <c:v>-3.3613445378151102E-3</c:v>
                </c:pt>
                <c:pt idx="42567">
                  <c:v>-3.3613445378151102E-3</c:v>
                </c:pt>
                <c:pt idx="42568">
                  <c:v>-3.3613445378151102E-3</c:v>
                </c:pt>
                <c:pt idx="42569">
                  <c:v>-3.3613445378151102E-3</c:v>
                </c:pt>
                <c:pt idx="42570">
                  <c:v>-3.3613445378151102E-3</c:v>
                </c:pt>
                <c:pt idx="42571">
                  <c:v>-4.20168067226889E-3</c:v>
                </c:pt>
                <c:pt idx="42572">
                  <c:v>-4.20168067226889E-3</c:v>
                </c:pt>
                <c:pt idx="42573">
                  <c:v>-4.20168067226889E-3</c:v>
                </c:pt>
                <c:pt idx="42574">
                  <c:v>-4.20168067226889E-3</c:v>
                </c:pt>
                <c:pt idx="42575">
                  <c:v>-4.20168067226889E-3</c:v>
                </c:pt>
                <c:pt idx="42576">
                  <c:v>-4.20168067226889E-3</c:v>
                </c:pt>
                <c:pt idx="42577">
                  <c:v>-4.20168067226889E-3</c:v>
                </c:pt>
                <c:pt idx="42578">
                  <c:v>-4.20168067226889E-3</c:v>
                </c:pt>
                <c:pt idx="42579">
                  <c:v>-4.20168067226889E-3</c:v>
                </c:pt>
                <c:pt idx="42580">
                  <c:v>-4.20168067226889E-3</c:v>
                </c:pt>
                <c:pt idx="42581">
                  <c:v>-4.20168067226889E-3</c:v>
                </c:pt>
                <c:pt idx="42582">
                  <c:v>-4.20168067226889E-3</c:v>
                </c:pt>
                <c:pt idx="42583">
                  <c:v>-4.20168067226889E-3</c:v>
                </c:pt>
                <c:pt idx="42584">
                  <c:v>-4.20168067226889E-3</c:v>
                </c:pt>
                <c:pt idx="42585">
                  <c:v>-4.20168067226889E-3</c:v>
                </c:pt>
                <c:pt idx="42586">
                  <c:v>-4.20168067226889E-3</c:v>
                </c:pt>
                <c:pt idx="42587">
                  <c:v>-5.0420168067226703E-3</c:v>
                </c:pt>
                <c:pt idx="42588">
                  <c:v>-5.0420168067226703E-3</c:v>
                </c:pt>
                <c:pt idx="42589">
                  <c:v>-5.0420168067226703E-3</c:v>
                </c:pt>
                <c:pt idx="42590">
                  <c:v>-5.0420168067226703E-3</c:v>
                </c:pt>
                <c:pt idx="42591">
                  <c:v>-5.0420168067226703E-3</c:v>
                </c:pt>
                <c:pt idx="42592">
                  <c:v>-5.0420168067226703E-3</c:v>
                </c:pt>
                <c:pt idx="42593">
                  <c:v>-5.0420168067226703E-3</c:v>
                </c:pt>
                <c:pt idx="42594">
                  <c:v>-5.0420168067226703E-3</c:v>
                </c:pt>
                <c:pt idx="42595">
                  <c:v>-5.0420168067226703E-3</c:v>
                </c:pt>
                <c:pt idx="42596">
                  <c:v>-5.0420168067226703E-3</c:v>
                </c:pt>
                <c:pt idx="42597">
                  <c:v>-5.0420168067226703E-3</c:v>
                </c:pt>
                <c:pt idx="42598">
                  <c:v>-5.8823529411764497E-3</c:v>
                </c:pt>
                <c:pt idx="42599">
                  <c:v>-5.8823529411764497E-3</c:v>
                </c:pt>
                <c:pt idx="42600">
                  <c:v>-5.8823529411764497E-3</c:v>
                </c:pt>
                <c:pt idx="42601">
                  <c:v>-5.8823529411764497E-3</c:v>
                </c:pt>
                <c:pt idx="42602">
                  <c:v>-5.8823529411764497E-3</c:v>
                </c:pt>
                <c:pt idx="42603">
                  <c:v>-5.8823529411764497E-3</c:v>
                </c:pt>
                <c:pt idx="42604">
                  <c:v>-5.8823529411764497E-3</c:v>
                </c:pt>
                <c:pt idx="42605">
                  <c:v>-5.8823529411764497E-3</c:v>
                </c:pt>
                <c:pt idx="42606">
                  <c:v>-5.8823529411764497E-3</c:v>
                </c:pt>
                <c:pt idx="42607">
                  <c:v>-5.8823529411764497E-3</c:v>
                </c:pt>
                <c:pt idx="42608">
                  <c:v>-5.8823529411764497E-3</c:v>
                </c:pt>
                <c:pt idx="42609">
                  <c:v>-5.8823529411764497E-3</c:v>
                </c:pt>
                <c:pt idx="42610">
                  <c:v>-5.8823529411764497E-3</c:v>
                </c:pt>
                <c:pt idx="42611">
                  <c:v>-5.8823529411764497E-3</c:v>
                </c:pt>
                <c:pt idx="42612">
                  <c:v>-5.8823529411764497E-3</c:v>
                </c:pt>
                <c:pt idx="42613">
                  <c:v>-5.8823529411764497E-3</c:v>
                </c:pt>
                <c:pt idx="42614">
                  <c:v>-5.8823529411764497E-3</c:v>
                </c:pt>
                <c:pt idx="42615">
                  <c:v>-5.8823529411764497E-3</c:v>
                </c:pt>
                <c:pt idx="42616">
                  <c:v>-5.8823529411764497E-3</c:v>
                </c:pt>
                <c:pt idx="42617">
                  <c:v>-5.8823529411764497E-3</c:v>
                </c:pt>
                <c:pt idx="42618">
                  <c:v>-5.8823529411764497E-3</c:v>
                </c:pt>
                <c:pt idx="42619">
                  <c:v>-5.8823529411764497E-3</c:v>
                </c:pt>
                <c:pt idx="42620">
                  <c:v>-5.8823529411764497E-3</c:v>
                </c:pt>
                <c:pt idx="42621">
                  <c:v>-5.8823529411764497E-3</c:v>
                </c:pt>
                <c:pt idx="42622">
                  <c:v>-5.8823529411764497E-3</c:v>
                </c:pt>
                <c:pt idx="42623">
                  <c:v>-5.8823529411764497E-3</c:v>
                </c:pt>
                <c:pt idx="42624">
                  <c:v>-5.8823529411764497E-3</c:v>
                </c:pt>
                <c:pt idx="42625">
                  <c:v>-5.0420168067226703E-3</c:v>
                </c:pt>
                <c:pt idx="42626">
                  <c:v>-5.0420168067226703E-3</c:v>
                </c:pt>
                <c:pt idx="42627">
                  <c:v>-5.0420168067226703E-3</c:v>
                </c:pt>
                <c:pt idx="42628">
                  <c:v>-5.0420168067226703E-3</c:v>
                </c:pt>
                <c:pt idx="42629">
                  <c:v>-5.0420168067226703E-3</c:v>
                </c:pt>
                <c:pt idx="42630">
                  <c:v>-5.0420168067226703E-3</c:v>
                </c:pt>
                <c:pt idx="42631">
                  <c:v>-5.0420168067226703E-3</c:v>
                </c:pt>
                <c:pt idx="42632">
                  <c:v>-5.0420168067226703E-3</c:v>
                </c:pt>
                <c:pt idx="42633">
                  <c:v>-5.0420168067226703E-3</c:v>
                </c:pt>
                <c:pt idx="42634">
                  <c:v>-5.0420168067226703E-3</c:v>
                </c:pt>
                <c:pt idx="42635">
                  <c:v>-5.0420168067226703E-3</c:v>
                </c:pt>
                <c:pt idx="42636">
                  <c:v>-5.0420168067226703E-3</c:v>
                </c:pt>
                <c:pt idx="42637">
                  <c:v>-5.0420168067226703E-3</c:v>
                </c:pt>
                <c:pt idx="42638">
                  <c:v>-5.0420168067226703E-3</c:v>
                </c:pt>
                <c:pt idx="42639">
                  <c:v>-5.0420168067226703E-3</c:v>
                </c:pt>
                <c:pt idx="42640">
                  <c:v>-5.0420168067226703E-3</c:v>
                </c:pt>
                <c:pt idx="42641">
                  <c:v>-5.0420168067226703E-3</c:v>
                </c:pt>
                <c:pt idx="42642">
                  <c:v>-5.0420168067226703E-3</c:v>
                </c:pt>
                <c:pt idx="42643">
                  <c:v>-5.0420168067226703E-3</c:v>
                </c:pt>
                <c:pt idx="42644">
                  <c:v>-5.0420168067226703E-3</c:v>
                </c:pt>
                <c:pt idx="42645">
                  <c:v>-5.0420168067226703E-3</c:v>
                </c:pt>
                <c:pt idx="42646">
                  <c:v>-5.0420168067226703E-3</c:v>
                </c:pt>
                <c:pt idx="42647">
                  <c:v>-5.0420168067226703E-3</c:v>
                </c:pt>
                <c:pt idx="42648">
                  <c:v>-5.0420168067226703E-3</c:v>
                </c:pt>
                <c:pt idx="42649">
                  <c:v>-5.0420168067226703E-3</c:v>
                </c:pt>
                <c:pt idx="42650">
                  <c:v>-5.0420168067226703E-3</c:v>
                </c:pt>
                <c:pt idx="42651">
                  <c:v>-5.0420168067226703E-3</c:v>
                </c:pt>
                <c:pt idx="42652">
                  <c:v>-5.0420168067226703E-3</c:v>
                </c:pt>
                <c:pt idx="42653">
                  <c:v>-5.0420168067226703E-3</c:v>
                </c:pt>
                <c:pt idx="42654">
                  <c:v>-5.0420168067226703E-3</c:v>
                </c:pt>
                <c:pt idx="42655">
                  <c:v>-5.0420168067226703E-3</c:v>
                </c:pt>
                <c:pt idx="42656">
                  <c:v>-5.0420168067226703E-3</c:v>
                </c:pt>
                <c:pt idx="42657">
                  <c:v>-5.0420168067226703E-3</c:v>
                </c:pt>
                <c:pt idx="42658">
                  <c:v>-5.0420168067226703E-3</c:v>
                </c:pt>
                <c:pt idx="42659">
                  <c:v>-5.0420168067226703E-3</c:v>
                </c:pt>
                <c:pt idx="42660">
                  <c:v>-5.0420168067226703E-3</c:v>
                </c:pt>
                <c:pt idx="42661">
                  <c:v>-5.0420168067226703E-3</c:v>
                </c:pt>
                <c:pt idx="42662">
                  <c:v>-5.0420168067226703E-3</c:v>
                </c:pt>
                <c:pt idx="42663">
                  <c:v>-5.0420168067226703E-3</c:v>
                </c:pt>
                <c:pt idx="42664">
                  <c:v>-5.0420168067226703E-3</c:v>
                </c:pt>
                <c:pt idx="42665">
                  <c:v>-5.0420168067226703E-3</c:v>
                </c:pt>
                <c:pt idx="42666">
                  <c:v>-5.0420168067226703E-3</c:v>
                </c:pt>
                <c:pt idx="42667">
                  <c:v>-5.0420168067226703E-3</c:v>
                </c:pt>
                <c:pt idx="42668">
                  <c:v>-5.0420168067226703E-3</c:v>
                </c:pt>
                <c:pt idx="42669">
                  <c:v>-5.0420168067226703E-3</c:v>
                </c:pt>
                <c:pt idx="42670">
                  <c:v>-5.0420168067226703E-3</c:v>
                </c:pt>
                <c:pt idx="42671">
                  <c:v>-5.0420168067226703E-3</c:v>
                </c:pt>
                <c:pt idx="42672">
                  <c:v>-5.0420168067226703E-3</c:v>
                </c:pt>
                <c:pt idx="42673">
                  <c:v>-5.0420168067226703E-3</c:v>
                </c:pt>
                <c:pt idx="42674">
                  <c:v>-5.0420168067226703E-3</c:v>
                </c:pt>
                <c:pt idx="42675">
                  <c:v>-5.0420168067226703E-3</c:v>
                </c:pt>
                <c:pt idx="42676">
                  <c:v>-5.0420168067226703E-3</c:v>
                </c:pt>
                <c:pt idx="42677">
                  <c:v>-5.0420168067226703E-3</c:v>
                </c:pt>
                <c:pt idx="42678">
                  <c:v>-5.0420168067226703E-3</c:v>
                </c:pt>
                <c:pt idx="42679">
                  <c:v>-5.0420168067226703E-3</c:v>
                </c:pt>
                <c:pt idx="42680">
                  <c:v>-5.0420168067226703E-3</c:v>
                </c:pt>
                <c:pt idx="42681">
                  <c:v>-5.0420168067226703E-3</c:v>
                </c:pt>
                <c:pt idx="42682">
                  <c:v>-5.8823529411764497E-3</c:v>
                </c:pt>
                <c:pt idx="42683">
                  <c:v>-5.8823529411764497E-3</c:v>
                </c:pt>
                <c:pt idx="42684">
                  <c:v>-5.8823529411764497E-3</c:v>
                </c:pt>
                <c:pt idx="42685">
                  <c:v>-5.8823529411764497E-3</c:v>
                </c:pt>
                <c:pt idx="42686">
                  <c:v>-5.8823529411764497E-3</c:v>
                </c:pt>
                <c:pt idx="42687">
                  <c:v>-5.8823529411764497E-3</c:v>
                </c:pt>
                <c:pt idx="42688">
                  <c:v>-5.8823529411764497E-3</c:v>
                </c:pt>
                <c:pt idx="42689">
                  <c:v>-5.8823529411764497E-3</c:v>
                </c:pt>
                <c:pt idx="42690">
                  <c:v>-5.8823529411764497E-3</c:v>
                </c:pt>
                <c:pt idx="42691">
                  <c:v>-6.7226890756302204E-3</c:v>
                </c:pt>
                <c:pt idx="42692">
                  <c:v>-6.7226890756302204E-3</c:v>
                </c:pt>
                <c:pt idx="42693">
                  <c:v>-6.7226890756302204E-3</c:v>
                </c:pt>
                <c:pt idx="42694">
                  <c:v>-6.7226890756302204E-3</c:v>
                </c:pt>
                <c:pt idx="42695">
                  <c:v>-6.7226890756302204E-3</c:v>
                </c:pt>
                <c:pt idx="42696">
                  <c:v>-6.7226890756302204E-3</c:v>
                </c:pt>
                <c:pt idx="42697">
                  <c:v>-6.7226890756302204E-3</c:v>
                </c:pt>
                <c:pt idx="42698">
                  <c:v>-6.7226890756302204E-3</c:v>
                </c:pt>
                <c:pt idx="42699">
                  <c:v>-6.7226890756302204E-3</c:v>
                </c:pt>
                <c:pt idx="42700">
                  <c:v>-6.7226890756302204E-3</c:v>
                </c:pt>
                <c:pt idx="42701">
                  <c:v>-6.7226890756302204E-3</c:v>
                </c:pt>
                <c:pt idx="42702">
                  <c:v>-6.7226890756302204E-3</c:v>
                </c:pt>
                <c:pt idx="42703">
                  <c:v>-6.7226890756302204E-3</c:v>
                </c:pt>
                <c:pt idx="42704">
                  <c:v>-6.7226890756302204E-3</c:v>
                </c:pt>
                <c:pt idx="42705">
                  <c:v>-6.7226890756302204E-3</c:v>
                </c:pt>
                <c:pt idx="42706">
                  <c:v>-6.7226890756302204E-3</c:v>
                </c:pt>
                <c:pt idx="42707">
                  <c:v>-6.7226890756302204E-3</c:v>
                </c:pt>
                <c:pt idx="42708">
                  <c:v>-6.7226890756302204E-3</c:v>
                </c:pt>
                <c:pt idx="42709">
                  <c:v>-6.7226890756302204E-3</c:v>
                </c:pt>
                <c:pt idx="42710">
                  <c:v>-6.7226890756302204E-3</c:v>
                </c:pt>
                <c:pt idx="42711">
                  <c:v>-6.7226890756302204E-3</c:v>
                </c:pt>
                <c:pt idx="42712">
                  <c:v>-6.7226890756302204E-3</c:v>
                </c:pt>
                <c:pt idx="42713">
                  <c:v>-6.7226890756302204E-3</c:v>
                </c:pt>
                <c:pt idx="42714">
                  <c:v>-6.7226890756302204E-3</c:v>
                </c:pt>
                <c:pt idx="42715">
                  <c:v>-6.7226890756302204E-3</c:v>
                </c:pt>
                <c:pt idx="42716">
                  <c:v>-6.7226890756302204E-3</c:v>
                </c:pt>
                <c:pt idx="42717">
                  <c:v>-6.7226890756302204E-3</c:v>
                </c:pt>
                <c:pt idx="42718">
                  <c:v>-6.7226890756302204E-3</c:v>
                </c:pt>
                <c:pt idx="42719">
                  <c:v>-6.7226890756302204E-3</c:v>
                </c:pt>
                <c:pt idx="42720">
                  <c:v>-6.7226890756302204E-3</c:v>
                </c:pt>
                <c:pt idx="42721">
                  <c:v>-6.7226890756302204E-3</c:v>
                </c:pt>
                <c:pt idx="42722">
                  <c:v>-6.7226890756302204E-3</c:v>
                </c:pt>
                <c:pt idx="42723">
                  <c:v>-6.7226890756302204E-3</c:v>
                </c:pt>
                <c:pt idx="42724">
                  <c:v>-6.7226890756302204E-3</c:v>
                </c:pt>
                <c:pt idx="42725">
                  <c:v>-6.7226890756302204E-3</c:v>
                </c:pt>
                <c:pt idx="42726">
                  <c:v>-6.7226890756302204E-3</c:v>
                </c:pt>
                <c:pt idx="42727">
                  <c:v>-6.7226890756302204E-3</c:v>
                </c:pt>
                <c:pt idx="42728">
                  <c:v>-6.7226890756302204E-3</c:v>
                </c:pt>
                <c:pt idx="42729">
                  <c:v>-6.7226890756302204E-3</c:v>
                </c:pt>
                <c:pt idx="42730">
                  <c:v>-6.7226890756302204E-3</c:v>
                </c:pt>
                <c:pt idx="42731">
                  <c:v>-6.7226890756302204E-3</c:v>
                </c:pt>
                <c:pt idx="42732">
                  <c:v>-6.7226890756302204E-3</c:v>
                </c:pt>
                <c:pt idx="42733">
                  <c:v>-6.7226890756302204E-3</c:v>
                </c:pt>
                <c:pt idx="42734">
                  <c:v>-6.7226890756302204E-3</c:v>
                </c:pt>
                <c:pt idx="42735">
                  <c:v>-6.7226890756302204E-3</c:v>
                </c:pt>
                <c:pt idx="42736">
                  <c:v>-6.7226890756302204E-3</c:v>
                </c:pt>
                <c:pt idx="42737">
                  <c:v>-6.7226890756302204E-3</c:v>
                </c:pt>
                <c:pt idx="42738">
                  <c:v>-6.7226890756302204E-3</c:v>
                </c:pt>
                <c:pt idx="42739">
                  <c:v>-6.7226890756302204E-3</c:v>
                </c:pt>
                <c:pt idx="42740">
                  <c:v>-6.7226890756302204E-3</c:v>
                </c:pt>
                <c:pt idx="42741">
                  <c:v>-6.7226890756302204E-3</c:v>
                </c:pt>
                <c:pt idx="42742">
                  <c:v>-6.7226890756302204E-3</c:v>
                </c:pt>
                <c:pt idx="42743">
                  <c:v>-6.7226890756302204E-3</c:v>
                </c:pt>
                <c:pt idx="42744">
                  <c:v>-5.8823529411764497E-3</c:v>
                </c:pt>
                <c:pt idx="42745">
                  <c:v>-5.8823529411764497E-3</c:v>
                </c:pt>
                <c:pt idx="42746">
                  <c:v>-5.8823529411764497E-3</c:v>
                </c:pt>
                <c:pt idx="42747">
                  <c:v>-5.8823529411764497E-3</c:v>
                </c:pt>
                <c:pt idx="42748">
                  <c:v>-5.8823529411764497E-3</c:v>
                </c:pt>
                <c:pt idx="42749">
                  <c:v>-5.8823529411764497E-3</c:v>
                </c:pt>
                <c:pt idx="42750">
                  <c:v>-5.8823529411764497E-3</c:v>
                </c:pt>
                <c:pt idx="42751">
                  <c:v>-5.8823529411764497E-3</c:v>
                </c:pt>
                <c:pt idx="42752">
                  <c:v>-5.8823529411764497E-3</c:v>
                </c:pt>
                <c:pt idx="42753">
                  <c:v>-6.7226890756302204E-3</c:v>
                </c:pt>
                <c:pt idx="42754">
                  <c:v>-6.7226890756302204E-3</c:v>
                </c:pt>
                <c:pt idx="42755">
                  <c:v>-6.7226890756302204E-3</c:v>
                </c:pt>
                <c:pt idx="42756">
                  <c:v>-6.7226890756302204E-3</c:v>
                </c:pt>
                <c:pt idx="42757">
                  <c:v>-6.7226890756302204E-3</c:v>
                </c:pt>
                <c:pt idx="42758">
                  <c:v>-6.7226890756302204E-3</c:v>
                </c:pt>
                <c:pt idx="42759">
                  <c:v>-6.7226890756302204E-3</c:v>
                </c:pt>
                <c:pt idx="42760">
                  <c:v>-6.7226890756302204E-3</c:v>
                </c:pt>
                <c:pt idx="42761">
                  <c:v>-6.7226890756302204E-3</c:v>
                </c:pt>
                <c:pt idx="42762">
                  <c:v>-6.7226890756302204E-3</c:v>
                </c:pt>
                <c:pt idx="42763">
                  <c:v>-6.7226890756302204E-3</c:v>
                </c:pt>
                <c:pt idx="42764">
                  <c:v>-6.7226890756302204E-3</c:v>
                </c:pt>
                <c:pt idx="42765">
                  <c:v>-6.7226890756302204E-3</c:v>
                </c:pt>
                <c:pt idx="42766">
                  <c:v>-6.7226890756302204E-3</c:v>
                </c:pt>
                <c:pt idx="42767">
                  <c:v>-6.7226890756302204E-3</c:v>
                </c:pt>
                <c:pt idx="42768">
                  <c:v>-6.7226890756302204E-3</c:v>
                </c:pt>
                <c:pt idx="42769">
                  <c:v>-6.7226890756302204E-3</c:v>
                </c:pt>
                <c:pt idx="42770">
                  <c:v>-6.7226890756302204E-3</c:v>
                </c:pt>
                <c:pt idx="42771">
                  <c:v>-6.7226890756302204E-3</c:v>
                </c:pt>
                <c:pt idx="42772">
                  <c:v>-6.7226890756302204E-3</c:v>
                </c:pt>
                <c:pt idx="42773">
                  <c:v>-6.7226890756302204E-3</c:v>
                </c:pt>
                <c:pt idx="42774">
                  <c:v>-6.7226890756302204E-3</c:v>
                </c:pt>
                <c:pt idx="42775">
                  <c:v>-6.7226890756302204E-3</c:v>
                </c:pt>
                <c:pt idx="42776">
                  <c:v>-6.7226890756302204E-3</c:v>
                </c:pt>
                <c:pt idx="42777">
                  <c:v>-6.7226890756302204E-3</c:v>
                </c:pt>
                <c:pt idx="42778">
                  <c:v>-6.7226890756302204E-3</c:v>
                </c:pt>
                <c:pt idx="42779">
                  <c:v>-6.7226890756302204E-3</c:v>
                </c:pt>
                <c:pt idx="42780">
                  <c:v>-6.7226890756302204E-3</c:v>
                </c:pt>
                <c:pt idx="42781">
                  <c:v>-6.7226890756302204E-3</c:v>
                </c:pt>
                <c:pt idx="42782">
                  <c:v>-6.7226890756302204E-3</c:v>
                </c:pt>
                <c:pt idx="42783">
                  <c:v>-6.7226890756302204E-3</c:v>
                </c:pt>
                <c:pt idx="42784">
                  <c:v>-6.7226890756302204E-3</c:v>
                </c:pt>
                <c:pt idx="42785">
                  <c:v>-6.7226890756302204E-3</c:v>
                </c:pt>
                <c:pt idx="42786">
                  <c:v>-6.7226890756302204E-3</c:v>
                </c:pt>
                <c:pt idx="42787">
                  <c:v>-6.7226890756302204E-3</c:v>
                </c:pt>
                <c:pt idx="42788">
                  <c:v>-6.7226890756302204E-3</c:v>
                </c:pt>
                <c:pt idx="42789">
                  <c:v>-6.7226890756302204E-3</c:v>
                </c:pt>
                <c:pt idx="42790">
                  <c:v>-6.7226890756302204E-3</c:v>
                </c:pt>
                <c:pt idx="42791">
                  <c:v>-6.7226890756302204E-3</c:v>
                </c:pt>
                <c:pt idx="42792">
                  <c:v>-6.7226890756302204E-3</c:v>
                </c:pt>
                <c:pt idx="42793">
                  <c:v>-6.7226890756302204E-3</c:v>
                </c:pt>
                <c:pt idx="42794">
                  <c:v>-6.7226890756302204E-3</c:v>
                </c:pt>
                <c:pt idx="42795">
                  <c:v>-6.7226890756302204E-3</c:v>
                </c:pt>
                <c:pt idx="42796">
                  <c:v>-6.7226890756302204E-3</c:v>
                </c:pt>
                <c:pt idx="42797">
                  <c:v>-6.7226890756302204E-3</c:v>
                </c:pt>
                <c:pt idx="42798">
                  <c:v>-6.7226890756302204E-3</c:v>
                </c:pt>
                <c:pt idx="42799">
                  <c:v>-6.7226890756302204E-3</c:v>
                </c:pt>
                <c:pt idx="42800">
                  <c:v>-6.7226890756302204E-3</c:v>
                </c:pt>
                <c:pt idx="42801">
                  <c:v>-6.7226890756302204E-3</c:v>
                </c:pt>
                <c:pt idx="42802">
                  <c:v>-6.7226890756302204E-3</c:v>
                </c:pt>
                <c:pt idx="42803">
                  <c:v>-6.7226890756302204E-3</c:v>
                </c:pt>
                <c:pt idx="42804">
                  <c:v>-6.7226890756302204E-3</c:v>
                </c:pt>
                <c:pt idx="42805">
                  <c:v>-6.7226890756302204E-3</c:v>
                </c:pt>
                <c:pt idx="42806">
                  <c:v>-6.7226890756302204E-3</c:v>
                </c:pt>
                <c:pt idx="42807">
                  <c:v>-6.7226890756302204E-3</c:v>
                </c:pt>
                <c:pt idx="42808">
                  <c:v>-6.7226890756302204E-3</c:v>
                </c:pt>
                <c:pt idx="42809">
                  <c:v>-6.7226890756302204E-3</c:v>
                </c:pt>
                <c:pt idx="42810">
                  <c:v>-6.7226890756302204E-3</c:v>
                </c:pt>
                <c:pt idx="42811">
                  <c:v>-6.7226890756302204E-3</c:v>
                </c:pt>
                <c:pt idx="42812">
                  <c:v>-6.7226890756302204E-3</c:v>
                </c:pt>
                <c:pt idx="42813">
                  <c:v>-6.7226890756302204E-3</c:v>
                </c:pt>
                <c:pt idx="42814">
                  <c:v>-6.7226890756302204E-3</c:v>
                </c:pt>
                <c:pt idx="42815">
                  <c:v>-6.7226890756302204E-3</c:v>
                </c:pt>
                <c:pt idx="42816">
                  <c:v>-6.7226890756302204E-3</c:v>
                </c:pt>
                <c:pt idx="42817">
                  <c:v>-6.7226890756302204E-3</c:v>
                </c:pt>
                <c:pt idx="42818">
                  <c:v>-6.7226890756302204E-3</c:v>
                </c:pt>
                <c:pt idx="42819">
                  <c:v>-6.7226890756302204E-3</c:v>
                </c:pt>
                <c:pt idx="42820">
                  <c:v>-6.7226890756302204E-3</c:v>
                </c:pt>
                <c:pt idx="42821">
                  <c:v>-6.7226890756302204E-3</c:v>
                </c:pt>
                <c:pt idx="42822">
                  <c:v>-6.7226890756302204E-3</c:v>
                </c:pt>
                <c:pt idx="42823">
                  <c:v>-6.7226890756302204E-3</c:v>
                </c:pt>
                <c:pt idx="42824">
                  <c:v>-6.7226890756302204E-3</c:v>
                </c:pt>
                <c:pt idx="42825">
                  <c:v>-6.7226890756302204E-3</c:v>
                </c:pt>
                <c:pt idx="42826">
                  <c:v>-6.7226890756302204E-3</c:v>
                </c:pt>
                <c:pt idx="42827">
                  <c:v>-6.7226890756302204E-3</c:v>
                </c:pt>
                <c:pt idx="42828">
                  <c:v>-6.7226890756302204E-3</c:v>
                </c:pt>
                <c:pt idx="42829">
                  <c:v>-6.7226890756302204E-3</c:v>
                </c:pt>
                <c:pt idx="42830">
                  <c:v>-6.7226890756302204E-3</c:v>
                </c:pt>
                <c:pt idx="42831">
                  <c:v>-6.7226890756302204E-3</c:v>
                </c:pt>
                <c:pt idx="42832">
                  <c:v>-6.7226890756302204E-3</c:v>
                </c:pt>
                <c:pt idx="42833">
                  <c:v>-6.7226890756302204E-3</c:v>
                </c:pt>
                <c:pt idx="42834">
                  <c:v>-6.7226890756302204E-3</c:v>
                </c:pt>
                <c:pt idx="42835">
                  <c:v>-6.7226890756302204E-3</c:v>
                </c:pt>
                <c:pt idx="42836">
                  <c:v>-6.7226890756302204E-3</c:v>
                </c:pt>
                <c:pt idx="42837">
                  <c:v>-6.7226890756302204E-3</c:v>
                </c:pt>
                <c:pt idx="42838">
                  <c:v>-6.7226890756302204E-3</c:v>
                </c:pt>
                <c:pt idx="42839">
                  <c:v>-6.7226890756302204E-3</c:v>
                </c:pt>
                <c:pt idx="42840">
                  <c:v>-6.7226890756302204E-3</c:v>
                </c:pt>
                <c:pt idx="42841">
                  <c:v>-6.7226890756302204E-3</c:v>
                </c:pt>
                <c:pt idx="42842">
                  <c:v>-6.7226890756302204E-3</c:v>
                </c:pt>
                <c:pt idx="42843">
                  <c:v>-6.7226890756302204E-3</c:v>
                </c:pt>
                <c:pt idx="42844">
                  <c:v>-6.7226890756302204E-3</c:v>
                </c:pt>
                <c:pt idx="42845">
                  <c:v>-6.7226890756302204E-3</c:v>
                </c:pt>
                <c:pt idx="42846">
                  <c:v>-6.7226890756302204E-3</c:v>
                </c:pt>
                <c:pt idx="42847">
                  <c:v>-6.7226890756302204E-3</c:v>
                </c:pt>
                <c:pt idx="42848">
                  <c:v>-6.7226890756302204E-3</c:v>
                </c:pt>
                <c:pt idx="42849">
                  <c:v>-6.7226890756302204E-3</c:v>
                </c:pt>
                <c:pt idx="42850">
                  <c:v>-6.7226890756302204E-3</c:v>
                </c:pt>
                <c:pt idx="42851">
                  <c:v>-6.7226890756302204E-3</c:v>
                </c:pt>
                <c:pt idx="42852">
                  <c:v>-6.7226890756302204E-3</c:v>
                </c:pt>
                <c:pt idx="42853">
                  <c:v>-6.7226890756302204E-3</c:v>
                </c:pt>
                <c:pt idx="42854">
                  <c:v>-6.7226890756302204E-3</c:v>
                </c:pt>
                <c:pt idx="42855">
                  <c:v>-6.7226890756302204E-3</c:v>
                </c:pt>
                <c:pt idx="42856">
                  <c:v>-6.7226890756302204E-3</c:v>
                </c:pt>
                <c:pt idx="42857">
                  <c:v>-6.7226890756302204E-3</c:v>
                </c:pt>
                <c:pt idx="42858">
                  <c:v>-6.7226890756302204E-3</c:v>
                </c:pt>
                <c:pt idx="42859">
                  <c:v>-6.7226890756302204E-3</c:v>
                </c:pt>
                <c:pt idx="42860">
                  <c:v>-6.7226890756302204E-3</c:v>
                </c:pt>
                <c:pt idx="42861">
                  <c:v>-6.7226890756302204E-3</c:v>
                </c:pt>
                <c:pt idx="42862">
                  <c:v>-6.7226890756302204E-3</c:v>
                </c:pt>
                <c:pt idx="42863">
                  <c:v>-6.7226890756302204E-3</c:v>
                </c:pt>
                <c:pt idx="42864">
                  <c:v>-7.5630252100839998E-3</c:v>
                </c:pt>
                <c:pt idx="42865">
                  <c:v>-7.5630252100839998E-3</c:v>
                </c:pt>
                <c:pt idx="42866">
                  <c:v>-7.5630252100839998E-3</c:v>
                </c:pt>
                <c:pt idx="42867">
                  <c:v>-7.5630252100839998E-3</c:v>
                </c:pt>
                <c:pt idx="42868">
                  <c:v>-7.5630252100839998E-3</c:v>
                </c:pt>
                <c:pt idx="42869">
                  <c:v>-7.5630252100839998E-3</c:v>
                </c:pt>
                <c:pt idx="42870">
                  <c:v>-7.5630252100839998E-3</c:v>
                </c:pt>
                <c:pt idx="42871">
                  <c:v>-7.5630252100839998E-3</c:v>
                </c:pt>
                <c:pt idx="42872">
                  <c:v>-7.5630252100839998E-3</c:v>
                </c:pt>
                <c:pt idx="42873">
                  <c:v>-7.5630252100839998E-3</c:v>
                </c:pt>
                <c:pt idx="42874">
                  <c:v>-7.5630252100839998E-3</c:v>
                </c:pt>
                <c:pt idx="42875">
                  <c:v>-7.5630252100839998E-3</c:v>
                </c:pt>
                <c:pt idx="42876">
                  <c:v>-7.5630252100839998E-3</c:v>
                </c:pt>
                <c:pt idx="42877">
                  <c:v>-7.5630252100839998E-3</c:v>
                </c:pt>
                <c:pt idx="42878">
                  <c:v>-7.5630252100839998E-3</c:v>
                </c:pt>
                <c:pt idx="42879">
                  <c:v>-7.5630252100839998E-3</c:v>
                </c:pt>
                <c:pt idx="42880">
                  <c:v>-7.5630252100839998E-3</c:v>
                </c:pt>
                <c:pt idx="42881">
                  <c:v>-7.5630252100839998E-3</c:v>
                </c:pt>
                <c:pt idx="42882">
                  <c:v>-7.5630252100839998E-3</c:v>
                </c:pt>
                <c:pt idx="42883">
                  <c:v>-7.5630252100839998E-3</c:v>
                </c:pt>
                <c:pt idx="42884">
                  <c:v>-7.5630252100839998E-3</c:v>
                </c:pt>
                <c:pt idx="42885">
                  <c:v>-7.5630252100839998E-3</c:v>
                </c:pt>
                <c:pt idx="42886">
                  <c:v>-7.5630252100839998E-3</c:v>
                </c:pt>
                <c:pt idx="42887">
                  <c:v>-7.5630252100839998E-3</c:v>
                </c:pt>
                <c:pt idx="42888">
                  <c:v>-7.5630252100839998E-3</c:v>
                </c:pt>
                <c:pt idx="42889">
                  <c:v>-7.5630252100839998E-3</c:v>
                </c:pt>
                <c:pt idx="42890">
                  <c:v>-7.5630252100839998E-3</c:v>
                </c:pt>
                <c:pt idx="42891">
                  <c:v>-7.5630252100839998E-3</c:v>
                </c:pt>
                <c:pt idx="42892">
                  <c:v>-7.5630252100839998E-3</c:v>
                </c:pt>
                <c:pt idx="42893">
                  <c:v>-7.5630252100839998E-3</c:v>
                </c:pt>
                <c:pt idx="42894">
                  <c:v>-7.5630252100839998E-3</c:v>
                </c:pt>
                <c:pt idx="42895">
                  <c:v>-7.5630252100839998E-3</c:v>
                </c:pt>
                <c:pt idx="42896">
                  <c:v>-7.5630252100839998E-3</c:v>
                </c:pt>
                <c:pt idx="42897">
                  <c:v>-7.5630252100839998E-3</c:v>
                </c:pt>
                <c:pt idx="42898">
                  <c:v>-7.5630252100839998E-3</c:v>
                </c:pt>
                <c:pt idx="42899">
                  <c:v>-7.5630252100839998E-3</c:v>
                </c:pt>
                <c:pt idx="42900">
                  <c:v>-7.5630252100839998E-3</c:v>
                </c:pt>
                <c:pt idx="42901">
                  <c:v>-7.5630252100839998E-3</c:v>
                </c:pt>
                <c:pt idx="42902">
                  <c:v>-7.5630252100839998E-3</c:v>
                </c:pt>
                <c:pt idx="42903">
                  <c:v>-7.5630252100839998E-3</c:v>
                </c:pt>
                <c:pt idx="42904">
                  <c:v>-7.5630252100839998E-3</c:v>
                </c:pt>
                <c:pt idx="42905">
                  <c:v>-7.5630252100839998E-3</c:v>
                </c:pt>
                <c:pt idx="42906">
                  <c:v>-7.5630252100839998E-3</c:v>
                </c:pt>
                <c:pt idx="42907">
                  <c:v>-7.5630252100839998E-3</c:v>
                </c:pt>
                <c:pt idx="42908">
                  <c:v>-7.5630252100839998E-3</c:v>
                </c:pt>
                <c:pt idx="42909">
                  <c:v>-7.5630252100839998E-3</c:v>
                </c:pt>
                <c:pt idx="42910">
                  <c:v>-7.5630252100839998E-3</c:v>
                </c:pt>
                <c:pt idx="42911">
                  <c:v>-7.5630252100839998E-3</c:v>
                </c:pt>
                <c:pt idx="42912">
                  <c:v>-7.5630252100839998E-3</c:v>
                </c:pt>
                <c:pt idx="42913">
                  <c:v>-7.5630252100839998E-3</c:v>
                </c:pt>
                <c:pt idx="42914">
                  <c:v>-7.5630252100839998E-3</c:v>
                </c:pt>
                <c:pt idx="42915">
                  <c:v>-7.5630252100839998E-3</c:v>
                </c:pt>
                <c:pt idx="42916">
                  <c:v>-7.5630252100839998E-3</c:v>
                </c:pt>
                <c:pt idx="42917">
                  <c:v>-7.5630252100839998E-3</c:v>
                </c:pt>
                <c:pt idx="42918">
                  <c:v>-7.5630252100839998E-3</c:v>
                </c:pt>
                <c:pt idx="42919">
                  <c:v>-7.5630252100839998E-3</c:v>
                </c:pt>
                <c:pt idx="42920">
                  <c:v>-7.5630252100839998E-3</c:v>
                </c:pt>
                <c:pt idx="42921">
                  <c:v>-7.5630252100839998E-3</c:v>
                </c:pt>
                <c:pt idx="42922">
                  <c:v>-7.5630252100839998E-3</c:v>
                </c:pt>
                <c:pt idx="42923">
                  <c:v>-7.5630252100839998E-3</c:v>
                </c:pt>
                <c:pt idx="42924">
                  <c:v>-7.5630252100839998E-3</c:v>
                </c:pt>
                <c:pt idx="42925">
                  <c:v>-7.5630252100839998E-3</c:v>
                </c:pt>
                <c:pt idx="42926">
                  <c:v>-7.5630252100839998E-3</c:v>
                </c:pt>
                <c:pt idx="42927">
                  <c:v>-7.5630252100839998E-3</c:v>
                </c:pt>
                <c:pt idx="42928">
                  <c:v>-7.5630252100839998E-3</c:v>
                </c:pt>
                <c:pt idx="42929">
                  <c:v>-7.5630252100839998E-3</c:v>
                </c:pt>
                <c:pt idx="42930">
                  <c:v>-7.5630252100839998E-3</c:v>
                </c:pt>
                <c:pt idx="42931">
                  <c:v>-7.5630252100839998E-3</c:v>
                </c:pt>
                <c:pt idx="42932">
                  <c:v>-7.5630252100839998E-3</c:v>
                </c:pt>
                <c:pt idx="42933">
                  <c:v>-7.5630252100839998E-3</c:v>
                </c:pt>
                <c:pt idx="42934">
                  <c:v>-7.5630252100839998E-3</c:v>
                </c:pt>
                <c:pt idx="42935">
                  <c:v>-7.5630252100839998E-3</c:v>
                </c:pt>
                <c:pt idx="42936">
                  <c:v>-7.5630252100839998E-3</c:v>
                </c:pt>
                <c:pt idx="42937">
                  <c:v>-7.5630252100839998E-3</c:v>
                </c:pt>
                <c:pt idx="42938">
                  <c:v>-7.5630252100839998E-3</c:v>
                </c:pt>
                <c:pt idx="42939">
                  <c:v>-7.5630252100839998E-3</c:v>
                </c:pt>
                <c:pt idx="42940">
                  <c:v>-7.5630252100839998E-3</c:v>
                </c:pt>
                <c:pt idx="42941">
                  <c:v>-7.5630252100839998E-3</c:v>
                </c:pt>
                <c:pt idx="42942">
                  <c:v>-6.7226890756302204E-3</c:v>
                </c:pt>
                <c:pt idx="42943">
                  <c:v>-6.7226890756302204E-3</c:v>
                </c:pt>
                <c:pt idx="42944">
                  <c:v>-6.7226890756302204E-3</c:v>
                </c:pt>
                <c:pt idx="42945">
                  <c:v>-6.7226890756302204E-3</c:v>
                </c:pt>
                <c:pt idx="42946">
                  <c:v>-6.7226890756302204E-3</c:v>
                </c:pt>
                <c:pt idx="42947">
                  <c:v>-6.7226890756302204E-3</c:v>
                </c:pt>
                <c:pt idx="42948">
                  <c:v>-6.7226890756302204E-3</c:v>
                </c:pt>
                <c:pt idx="42949">
                  <c:v>-6.7226890756302204E-3</c:v>
                </c:pt>
                <c:pt idx="42950">
                  <c:v>-6.7226890756302204E-3</c:v>
                </c:pt>
                <c:pt idx="42951">
                  <c:v>-6.7226890756302204E-3</c:v>
                </c:pt>
                <c:pt idx="42952">
                  <c:v>-6.7226890756302204E-3</c:v>
                </c:pt>
                <c:pt idx="42953">
                  <c:v>-6.7226890756302204E-3</c:v>
                </c:pt>
                <c:pt idx="42954">
                  <c:v>-6.7226890756302204E-3</c:v>
                </c:pt>
                <c:pt idx="42955">
                  <c:v>-6.7226890756302204E-3</c:v>
                </c:pt>
                <c:pt idx="42956">
                  <c:v>-6.7226890756302204E-3</c:v>
                </c:pt>
                <c:pt idx="42957">
                  <c:v>-6.7226890756302204E-3</c:v>
                </c:pt>
                <c:pt idx="42958">
                  <c:v>-6.7226890756302204E-3</c:v>
                </c:pt>
                <c:pt idx="42959">
                  <c:v>-6.7226890756302204E-3</c:v>
                </c:pt>
                <c:pt idx="42960">
                  <c:v>-6.7226890756302204E-3</c:v>
                </c:pt>
                <c:pt idx="42961">
                  <c:v>-6.7226890756302204E-3</c:v>
                </c:pt>
                <c:pt idx="42962">
                  <c:v>-6.7226890756302204E-3</c:v>
                </c:pt>
                <c:pt idx="42963">
                  <c:v>-6.7226890756302204E-3</c:v>
                </c:pt>
                <c:pt idx="42964">
                  <c:v>-6.7226890756302204E-3</c:v>
                </c:pt>
                <c:pt idx="42965">
                  <c:v>-6.7226890756302204E-3</c:v>
                </c:pt>
                <c:pt idx="42966">
                  <c:v>-6.7226890756302204E-3</c:v>
                </c:pt>
                <c:pt idx="42967">
                  <c:v>-6.7226890756302204E-3</c:v>
                </c:pt>
                <c:pt idx="42968">
                  <c:v>-6.7226890756302204E-3</c:v>
                </c:pt>
                <c:pt idx="42969">
                  <c:v>-6.7226890756302204E-3</c:v>
                </c:pt>
                <c:pt idx="42970">
                  <c:v>-6.7226890756302204E-3</c:v>
                </c:pt>
                <c:pt idx="42971">
                  <c:v>-6.7226890756302204E-3</c:v>
                </c:pt>
                <c:pt idx="42972">
                  <c:v>-6.7226890756302204E-3</c:v>
                </c:pt>
                <c:pt idx="42973">
                  <c:v>-6.7226890756302204E-3</c:v>
                </c:pt>
                <c:pt idx="42974">
                  <c:v>-6.7226890756302204E-3</c:v>
                </c:pt>
                <c:pt idx="42975">
                  <c:v>-6.7226890756302204E-3</c:v>
                </c:pt>
                <c:pt idx="42976">
                  <c:v>-6.7226890756302204E-3</c:v>
                </c:pt>
                <c:pt idx="42977">
                  <c:v>-6.7226890756302204E-3</c:v>
                </c:pt>
                <c:pt idx="42978">
                  <c:v>-6.7226890756302204E-3</c:v>
                </c:pt>
                <c:pt idx="42979">
                  <c:v>-6.7226890756302204E-3</c:v>
                </c:pt>
                <c:pt idx="42980">
                  <c:v>-6.7226890756302204E-3</c:v>
                </c:pt>
                <c:pt idx="42981">
                  <c:v>-5.8823529411764497E-3</c:v>
                </c:pt>
                <c:pt idx="42982">
                  <c:v>-5.8823529411764497E-3</c:v>
                </c:pt>
                <c:pt idx="42983">
                  <c:v>-5.8823529411764497E-3</c:v>
                </c:pt>
                <c:pt idx="42984">
                  <c:v>-5.8823529411764497E-3</c:v>
                </c:pt>
                <c:pt idx="42985">
                  <c:v>-5.8823529411764497E-3</c:v>
                </c:pt>
                <c:pt idx="42986">
                  <c:v>-5.8823529411764497E-3</c:v>
                </c:pt>
                <c:pt idx="42987">
                  <c:v>-5.8823529411764497E-3</c:v>
                </c:pt>
                <c:pt idx="42988">
                  <c:v>-5.8823529411764497E-3</c:v>
                </c:pt>
                <c:pt idx="42989">
                  <c:v>-5.8823529411764497E-3</c:v>
                </c:pt>
                <c:pt idx="42990">
                  <c:v>-5.8823529411764497E-3</c:v>
                </c:pt>
                <c:pt idx="42991">
                  <c:v>-5.8823529411764497E-3</c:v>
                </c:pt>
                <c:pt idx="42992">
                  <c:v>-5.8823529411764497E-3</c:v>
                </c:pt>
                <c:pt idx="42993">
                  <c:v>-5.8823529411764497E-3</c:v>
                </c:pt>
                <c:pt idx="42994">
                  <c:v>-5.8823529411764497E-3</c:v>
                </c:pt>
                <c:pt idx="42995">
                  <c:v>-5.8823529411764497E-3</c:v>
                </c:pt>
                <c:pt idx="42996">
                  <c:v>-5.8823529411764497E-3</c:v>
                </c:pt>
                <c:pt idx="42997">
                  <c:v>-5.8823529411764497E-3</c:v>
                </c:pt>
                <c:pt idx="42998">
                  <c:v>-5.8823529411764497E-3</c:v>
                </c:pt>
                <c:pt idx="42999">
                  <c:v>-5.8823529411764497E-3</c:v>
                </c:pt>
                <c:pt idx="43000">
                  <c:v>-5.8823529411764497E-3</c:v>
                </c:pt>
                <c:pt idx="43001">
                  <c:v>-5.8823529411764497E-3</c:v>
                </c:pt>
                <c:pt idx="43002">
                  <c:v>-5.8823529411764497E-3</c:v>
                </c:pt>
                <c:pt idx="43003">
                  <c:v>-5.8823529411764497E-3</c:v>
                </c:pt>
                <c:pt idx="43004">
                  <c:v>-5.8823529411764497E-3</c:v>
                </c:pt>
                <c:pt idx="43005">
                  <c:v>-5.8823529411764497E-3</c:v>
                </c:pt>
                <c:pt idx="43006">
                  <c:v>-5.8823529411764497E-3</c:v>
                </c:pt>
                <c:pt idx="43007">
                  <c:v>-5.8823529411764497E-3</c:v>
                </c:pt>
                <c:pt idx="43008">
                  <c:v>-5.8823529411764497E-3</c:v>
                </c:pt>
                <c:pt idx="43009">
                  <c:v>-5.8823529411764497E-3</c:v>
                </c:pt>
                <c:pt idx="43010">
                  <c:v>-5.8823529411764497E-3</c:v>
                </c:pt>
                <c:pt idx="43011">
                  <c:v>-5.8823529411764497E-3</c:v>
                </c:pt>
                <c:pt idx="43012">
                  <c:v>-5.8823529411764497E-3</c:v>
                </c:pt>
                <c:pt idx="43013">
                  <c:v>-5.8823529411764497E-3</c:v>
                </c:pt>
                <c:pt idx="43014">
                  <c:v>-5.8823529411764497E-3</c:v>
                </c:pt>
                <c:pt idx="43015">
                  <c:v>-5.8823529411764497E-3</c:v>
                </c:pt>
                <c:pt idx="43016">
                  <c:v>-5.8823529411764497E-3</c:v>
                </c:pt>
                <c:pt idx="43017">
                  <c:v>-5.8823529411764497E-3</c:v>
                </c:pt>
                <c:pt idx="43018">
                  <c:v>-5.8823529411764497E-3</c:v>
                </c:pt>
                <c:pt idx="43019">
                  <c:v>-5.8823529411764497E-3</c:v>
                </c:pt>
                <c:pt idx="43020">
                  <c:v>-5.8823529411764497E-3</c:v>
                </c:pt>
                <c:pt idx="43021">
                  <c:v>-5.8823529411764497E-3</c:v>
                </c:pt>
                <c:pt idx="43022">
                  <c:v>-5.8823529411764497E-3</c:v>
                </c:pt>
                <c:pt idx="43023">
                  <c:v>-5.8823529411764497E-3</c:v>
                </c:pt>
                <c:pt idx="43024">
                  <c:v>-5.8823529411764497E-3</c:v>
                </c:pt>
                <c:pt idx="43025">
                  <c:v>-5.8823529411764497E-3</c:v>
                </c:pt>
                <c:pt idx="43026">
                  <c:v>-5.8823529411764497E-3</c:v>
                </c:pt>
                <c:pt idx="43027">
                  <c:v>-5.8823529411764497E-3</c:v>
                </c:pt>
                <c:pt idx="43028">
                  <c:v>-5.8823529411764497E-3</c:v>
                </c:pt>
                <c:pt idx="43029">
                  <c:v>-5.8823529411764497E-3</c:v>
                </c:pt>
                <c:pt idx="43030">
                  <c:v>-5.8823529411764497E-3</c:v>
                </c:pt>
                <c:pt idx="43031">
                  <c:v>-5.8823529411764497E-3</c:v>
                </c:pt>
                <c:pt idx="43032">
                  <c:v>-5.8823529411764497E-3</c:v>
                </c:pt>
                <c:pt idx="43033">
                  <c:v>-5.8823529411764497E-3</c:v>
                </c:pt>
                <c:pt idx="43034">
                  <c:v>-5.8823529411764497E-3</c:v>
                </c:pt>
                <c:pt idx="43035">
                  <c:v>-5.8823529411764497E-3</c:v>
                </c:pt>
                <c:pt idx="43036">
                  <c:v>-5.8823529411764497E-3</c:v>
                </c:pt>
                <c:pt idx="43037">
                  <c:v>-5.8823529411764497E-3</c:v>
                </c:pt>
                <c:pt idx="43038">
                  <c:v>-5.8823529411764497E-3</c:v>
                </c:pt>
                <c:pt idx="43039">
                  <c:v>-5.8823529411764497E-3</c:v>
                </c:pt>
                <c:pt idx="43040">
                  <c:v>-5.8823529411764497E-3</c:v>
                </c:pt>
                <c:pt idx="43041">
                  <c:v>-5.8823529411764497E-3</c:v>
                </c:pt>
                <c:pt idx="43042">
                  <c:v>-5.8823529411764497E-3</c:v>
                </c:pt>
                <c:pt idx="43043">
                  <c:v>-5.8823529411764497E-3</c:v>
                </c:pt>
                <c:pt idx="43044">
                  <c:v>-5.8823529411764497E-3</c:v>
                </c:pt>
                <c:pt idx="43045">
                  <c:v>-5.8823529411764497E-3</c:v>
                </c:pt>
                <c:pt idx="43046">
                  <c:v>-5.8823529411764497E-3</c:v>
                </c:pt>
                <c:pt idx="43047">
                  <c:v>-5.8823529411764497E-3</c:v>
                </c:pt>
                <c:pt idx="43048">
                  <c:v>-5.8823529411764497E-3</c:v>
                </c:pt>
                <c:pt idx="43049">
                  <c:v>-5.8823529411764497E-3</c:v>
                </c:pt>
                <c:pt idx="43050">
                  <c:v>-5.8823529411764497E-3</c:v>
                </c:pt>
                <c:pt idx="43051">
                  <c:v>-5.8823529411764497E-3</c:v>
                </c:pt>
                <c:pt idx="43052">
                  <c:v>-5.8823529411764497E-3</c:v>
                </c:pt>
                <c:pt idx="43053">
                  <c:v>-5.8823529411764497E-3</c:v>
                </c:pt>
                <c:pt idx="43054">
                  <c:v>-5.8823529411764497E-3</c:v>
                </c:pt>
                <c:pt idx="43055">
                  <c:v>-5.8823529411764497E-3</c:v>
                </c:pt>
                <c:pt idx="43056">
                  <c:v>-5.8823529411764497E-3</c:v>
                </c:pt>
                <c:pt idx="43057">
                  <c:v>-5.8823529411764497E-3</c:v>
                </c:pt>
                <c:pt idx="43058">
                  <c:v>-5.8823529411764497E-3</c:v>
                </c:pt>
                <c:pt idx="43059">
                  <c:v>-5.8823529411764497E-3</c:v>
                </c:pt>
                <c:pt idx="43060">
                  <c:v>-5.8823529411764497E-3</c:v>
                </c:pt>
                <c:pt idx="43061">
                  <c:v>-5.8823529411764497E-3</c:v>
                </c:pt>
                <c:pt idx="43062">
                  <c:v>-5.8823529411764497E-3</c:v>
                </c:pt>
                <c:pt idx="43063">
                  <c:v>-5.8823529411764497E-3</c:v>
                </c:pt>
                <c:pt idx="43064">
                  <c:v>-5.8823529411764497E-3</c:v>
                </c:pt>
                <c:pt idx="43065">
                  <c:v>-5.8823529411764497E-3</c:v>
                </c:pt>
                <c:pt idx="43066">
                  <c:v>-5.8823529411764497E-3</c:v>
                </c:pt>
                <c:pt idx="43067">
                  <c:v>-5.8823529411764497E-3</c:v>
                </c:pt>
                <c:pt idx="43068">
                  <c:v>-5.8823529411764497E-3</c:v>
                </c:pt>
                <c:pt idx="43069">
                  <c:v>-5.8823529411764497E-3</c:v>
                </c:pt>
                <c:pt idx="43070">
                  <c:v>-5.8823529411764497E-3</c:v>
                </c:pt>
                <c:pt idx="43071">
                  <c:v>-5.8823529411764497E-3</c:v>
                </c:pt>
                <c:pt idx="43072">
                  <c:v>-5.8823529411764497E-3</c:v>
                </c:pt>
                <c:pt idx="43073">
                  <c:v>-5.8823529411764497E-3</c:v>
                </c:pt>
                <c:pt idx="43074">
                  <c:v>-5.8823529411764497E-3</c:v>
                </c:pt>
                <c:pt idx="43075">
                  <c:v>-5.8823529411764497E-3</c:v>
                </c:pt>
                <c:pt idx="43076">
                  <c:v>-5.8823529411764497E-3</c:v>
                </c:pt>
                <c:pt idx="43077">
                  <c:v>-5.8823529411764497E-3</c:v>
                </c:pt>
                <c:pt idx="43078">
                  <c:v>-5.8823529411764497E-3</c:v>
                </c:pt>
                <c:pt idx="43079">
                  <c:v>-5.8823529411764497E-3</c:v>
                </c:pt>
                <c:pt idx="43080">
                  <c:v>-5.0420168067226703E-3</c:v>
                </c:pt>
                <c:pt idx="43081">
                  <c:v>-5.0420168067226703E-3</c:v>
                </c:pt>
                <c:pt idx="43082">
                  <c:v>-5.0420168067226703E-3</c:v>
                </c:pt>
                <c:pt idx="43083">
                  <c:v>-5.0420168067226703E-3</c:v>
                </c:pt>
                <c:pt idx="43084">
                  <c:v>-5.0420168067226703E-3</c:v>
                </c:pt>
                <c:pt idx="43085">
                  <c:v>-5.0420168067226703E-3</c:v>
                </c:pt>
                <c:pt idx="43086">
                  <c:v>-5.0420168067226703E-3</c:v>
                </c:pt>
                <c:pt idx="43087">
                  <c:v>-5.0420168067226703E-3</c:v>
                </c:pt>
                <c:pt idx="43088">
                  <c:v>-5.0420168067226703E-3</c:v>
                </c:pt>
                <c:pt idx="43089">
                  <c:v>-5.0420168067226703E-3</c:v>
                </c:pt>
                <c:pt idx="43090">
                  <c:v>-5.0420168067226703E-3</c:v>
                </c:pt>
                <c:pt idx="43091">
                  <c:v>-5.0420168067226703E-3</c:v>
                </c:pt>
                <c:pt idx="43092">
                  <c:v>-5.0420168067226703E-3</c:v>
                </c:pt>
                <c:pt idx="43093">
                  <c:v>-5.0420168067226703E-3</c:v>
                </c:pt>
                <c:pt idx="43094">
                  <c:v>-5.0420168067226703E-3</c:v>
                </c:pt>
                <c:pt idx="43095">
                  <c:v>-5.0420168067226703E-3</c:v>
                </c:pt>
                <c:pt idx="43096">
                  <c:v>-5.0420168067226703E-3</c:v>
                </c:pt>
                <c:pt idx="43097">
                  <c:v>-5.0420168067226703E-3</c:v>
                </c:pt>
                <c:pt idx="43098">
                  <c:v>-5.0420168067226703E-3</c:v>
                </c:pt>
                <c:pt idx="43099">
                  <c:v>-5.0420168067226703E-3</c:v>
                </c:pt>
                <c:pt idx="43100">
                  <c:v>-5.0420168067226703E-3</c:v>
                </c:pt>
                <c:pt idx="43101">
                  <c:v>-5.0420168067226703E-3</c:v>
                </c:pt>
                <c:pt idx="43102">
                  <c:v>-5.0420168067226703E-3</c:v>
                </c:pt>
                <c:pt idx="43103">
                  <c:v>-5.0420168067226703E-3</c:v>
                </c:pt>
                <c:pt idx="43104">
                  <c:v>-5.0420168067226703E-3</c:v>
                </c:pt>
                <c:pt idx="43105">
                  <c:v>-5.0420168067226703E-3</c:v>
                </c:pt>
                <c:pt idx="43106">
                  <c:v>-5.0420168067226703E-3</c:v>
                </c:pt>
                <c:pt idx="43107">
                  <c:v>-5.0420168067226703E-3</c:v>
                </c:pt>
                <c:pt idx="43108">
                  <c:v>-5.0420168067226703E-3</c:v>
                </c:pt>
                <c:pt idx="43109">
                  <c:v>-5.0420168067226703E-3</c:v>
                </c:pt>
                <c:pt idx="43110">
                  <c:v>-5.0420168067226703E-3</c:v>
                </c:pt>
                <c:pt idx="43111">
                  <c:v>-5.0420168067226703E-3</c:v>
                </c:pt>
                <c:pt idx="43112">
                  <c:v>-5.0420168067226703E-3</c:v>
                </c:pt>
                <c:pt idx="43113">
                  <c:v>-5.0420168067226703E-3</c:v>
                </c:pt>
                <c:pt idx="43114">
                  <c:v>-5.0420168067226703E-3</c:v>
                </c:pt>
                <c:pt idx="43115">
                  <c:v>-5.0420168067226703E-3</c:v>
                </c:pt>
                <c:pt idx="43116">
                  <c:v>-5.0420168067226703E-3</c:v>
                </c:pt>
                <c:pt idx="43117">
                  <c:v>-5.0420168067226703E-3</c:v>
                </c:pt>
                <c:pt idx="43118">
                  <c:v>-5.0420168067226703E-3</c:v>
                </c:pt>
                <c:pt idx="43119">
                  <c:v>-5.0420168067226703E-3</c:v>
                </c:pt>
                <c:pt idx="43120">
                  <c:v>-5.0420168067226703E-3</c:v>
                </c:pt>
                <c:pt idx="43121">
                  <c:v>-5.0420168067226703E-3</c:v>
                </c:pt>
                <c:pt idx="43122">
                  <c:v>-5.0420168067226703E-3</c:v>
                </c:pt>
                <c:pt idx="43123">
                  <c:v>-5.0420168067226703E-3</c:v>
                </c:pt>
                <c:pt idx="43124">
                  <c:v>-5.0420168067226703E-3</c:v>
                </c:pt>
                <c:pt idx="43125">
                  <c:v>-5.0420168067226703E-3</c:v>
                </c:pt>
                <c:pt idx="43126">
                  <c:v>-5.0420168067226703E-3</c:v>
                </c:pt>
                <c:pt idx="43127">
                  <c:v>-5.0420168067226703E-3</c:v>
                </c:pt>
                <c:pt idx="43128">
                  <c:v>-5.0420168067226703E-3</c:v>
                </c:pt>
                <c:pt idx="43129">
                  <c:v>-5.0420168067226703E-3</c:v>
                </c:pt>
                <c:pt idx="43130">
                  <c:v>-5.0420168067226703E-3</c:v>
                </c:pt>
                <c:pt idx="43131">
                  <c:v>-5.0420168067226703E-3</c:v>
                </c:pt>
                <c:pt idx="43132">
                  <c:v>-5.0420168067226703E-3</c:v>
                </c:pt>
                <c:pt idx="43133">
                  <c:v>-5.0420168067226703E-3</c:v>
                </c:pt>
                <c:pt idx="43134">
                  <c:v>-5.0420168067226703E-3</c:v>
                </c:pt>
                <c:pt idx="43135">
                  <c:v>-5.0420168067226703E-3</c:v>
                </c:pt>
                <c:pt idx="43136">
                  <c:v>-5.0420168067226703E-3</c:v>
                </c:pt>
                <c:pt idx="43137">
                  <c:v>-5.0420168067226703E-3</c:v>
                </c:pt>
                <c:pt idx="43138">
                  <c:v>-5.0420168067226703E-3</c:v>
                </c:pt>
                <c:pt idx="43139">
                  <c:v>-5.0420168067226703E-3</c:v>
                </c:pt>
                <c:pt idx="43140">
                  <c:v>-5.0420168067226703E-3</c:v>
                </c:pt>
                <c:pt idx="43141">
                  <c:v>-5.0420168067226703E-3</c:v>
                </c:pt>
                <c:pt idx="43142">
                  <c:v>-5.0420168067226703E-3</c:v>
                </c:pt>
                <c:pt idx="43143">
                  <c:v>-5.0420168067226703E-3</c:v>
                </c:pt>
                <c:pt idx="43144">
                  <c:v>-5.0420168067226703E-3</c:v>
                </c:pt>
                <c:pt idx="43145">
                  <c:v>-5.0420168067226703E-3</c:v>
                </c:pt>
                <c:pt idx="43146">
                  <c:v>-5.0420168067226703E-3</c:v>
                </c:pt>
                <c:pt idx="43147">
                  <c:v>-5.0420168067226703E-3</c:v>
                </c:pt>
                <c:pt idx="43148">
                  <c:v>-5.0420168067226703E-3</c:v>
                </c:pt>
                <c:pt idx="43149">
                  <c:v>-5.0420168067226703E-3</c:v>
                </c:pt>
                <c:pt idx="43150">
                  <c:v>-5.0420168067226703E-3</c:v>
                </c:pt>
                <c:pt idx="43151">
                  <c:v>-5.0420168067226703E-3</c:v>
                </c:pt>
                <c:pt idx="43152">
                  <c:v>-5.0420168067226703E-3</c:v>
                </c:pt>
                <c:pt idx="43153">
                  <c:v>-5.0420168067226703E-3</c:v>
                </c:pt>
                <c:pt idx="43154">
                  <c:v>-5.0420168067226703E-3</c:v>
                </c:pt>
                <c:pt idx="43155">
                  <c:v>-5.0420168067226703E-3</c:v>
                </c:pt>
                <c:pt idx="43156">
                  <c:v>-5.0420168067226703E-3</c:v>
                </c:pt>
                <c:pt idx="43157">
                  <c:v>-5.0420168067226703E-3</c:v>
                </c:pt>
                <c:pt idx="43158">
                  <c:v>-5.0420168067226703E-3</c:v>
                </c:pt>
                <c:pt idx="43159">
                  <c:v>-5.0420168067226703E-3</c:v>
                </c:pt>
                <c:pt idx="43160">
                  <c:v>-5.0420168067226703E-3</c:v>
                </c:pt>
                <c:pt idx="43161">
                  <c:v>-5.0420168067226703E-3</c:v>
                </c:pt>
                <c:pt idx="43162">
                  <c:v>-5.0420168067226703E-3</c:v>
                </c:pt>
                <c:pt idx="43163">
                  <c:v>-5.0420168067226703E-3</c:v>
                </c:pt>
                <c:pt idx="43164">
                  <c:v>-5.0420168067226703E-3</c:v>
                </c:pt>
                <c:pt idx="43165">
                  <c:v>-5.0420168067226703E-3</c:v>
                </c:pt>
                <c:pt idx="43166">
                  <c:v>-5.0420168067226703E-3</c:v>
                </c:pt>
                <c:pt idx="43167">
                  <c:v>-5.0420168067226703E-3</c:v>
                </c:pt>
                <c:pt idx="43168">
                  <c:v>-5.0420168067226703E-3</c:v>
                </c:pt>
                <c:pt idx="43169">
                  <c:v>-5.0420168067226703E-3</c:v>
                </c:pt>
                <c:pt idx="43170">
                  <c:v>-5.0420168067226703E-3</c:v>
                </c:pt>
                <c:pt idx="43171">
                  <c:v>-5.0420168067226703E-3</c:v>
                </c:pt>
                <c:pt idx="43172">
                  <c:v>-5.0420168067226703E-3</c:v>
                </c:pt>
                <c:pt idx="43173">
                  <c:v>-5.0420168067226703E-3</c:v>
                </c:pt>
                <c:pt idx="43174">
                  <c:v>-5.0420168067226703E-3</c:v>
                </c:pt>
                <c:pt idx="43175">
                  <c:v>-5.0420168067226703E-3</c:v>
                </c:pt>
                <c:pt idx="43176">
                  <c:v>-5.0420168067226703E-3</c:v>
                </c:pt>
                <c:pt idx="43177">
                  <c:v>-5.0420168067226703E-3</c:v>
                </c:pt>
                <c:pt idx="43178">
                  <c:v>-5.0420168067226703E-3</c:v>
                </c:pt>
                <c:pt idx="43179">
                  <c:v>-5.0420168067226703E-3</c:v>
                </c:pt>
                <c:pt idx="43180">
                  <c:v>-5.0420168067226703E-3</c:v>
                </c:pt>
                <c:pt idx="43181">
                  <c:v>-5.0420168067226703E-3</c:v>
                </c:pt>
                <c:pt idx="43182">
                  <c:v>-5.0420168067226703E-3</c:v>
                </c:pt>
                <c:pt idx="43183">
                  <c:v>-5.0420168067226703E-3</c:v>
                </c:pt>
                <c:pt idx="43184">
                  <c:v>-5.0420168067226703E-3</c:v>
                </c:pt>
                <c:pt idx="43185">
                  <c:v>-5.0420168067226703E-3</c:v>
                </c:pt>
                <c:pt idx="43186">
                  <c:v>-5.0420168067226703E-3</c:v>
                </c:pt>
                <c:pt idx="43187">
                  <c:v>-5.0420168067226703E-3</c:v>
                </c:pt>
                <c:pt idx="43188">
                  <c:v>-5.0420168067226703E-3</c:v>
                </c:pt>
                <c:pt idx="43189">
                  <c:v>-5.0420168067226703E-3</c:v>
                </c:pt>
                <c:pt idx="43190">
                  <c:v>-5.0420168067226703E-3</c:v>
                </c:pt>
                <c:pt idx="43191">
                  <c:v>-5.0420168067226703E-3</c:v>
                </c:pt>
                <c:pt idx="43192">
                  <c:v>-4.20168067226889E-3</c:v>
                </c:pt>
                <c:pt idx="43193">
                  <c:v>-4.20168067226889E-3</c:v>
                </c:pt>
                <c:pt idx="43194">
                  <c:v>-4.20168067226889E-3</c:v>
                </c:pt>
                <c:pt idx="43195">
                  <c:v>-4.20168067226889E-3</c:v>
                </c:pt>
                <c:pt idx="43196">
                  <c:v>-4.20168067226889E-3</c:v>
                </c:pt>
                <c:pt idx="43197">
                  <c:v>-4.20168067226889E-3</c:v>
                </c:pt>
                <c:pt idx="43198">
                  <c:v>-4.20168067226889E-3</c:v>
                </c:pt>
                <c:pt idx="43199">
                  <c:v>-4.20168067226889E-3</c:v>
                </c:pt>
                <c:pt idx="43200">
                  <c:v>-4.20168067226889E-3</c:v>
                </c:pt>
                <c:pt idx="43201">
                  <c:v>-4.20168067226889E-3</c:v>
                </c:pt>
                <c:pt idx="43202">
                  <c:v>-4.20168067226889E-3</c:v>
                </c:pt>
                <c:pt idx="43203">
                  <c:v>-4.20168067226889E-3</c:v>
                </c:pt>
                <c:pt idx="43204">
                  <c:v>-4.20168067226889E-3</c:v>
                </c:pt>
                <c:pt idx="43205">
                  <c:v>-4.20168067226889E-3</c:v>
                </c:pt>
                <c:pt idx="43206">
                  <c:v>-4.20168067226889E-3</c:v>
                </c:pt>
                <c:pt idx="43207">
                  <c:v>-4.20168067226889E-3</c:v>
                </c:pt>
                <c:pt idx="43208">
                  <c:v>-4.20168067226889E-3</c:v>
                </c:pt>
                <c:pt idx="43209">
                  <c:v>-4.20168067226889E-3</c:v>
                </c:pt>
                <c:pt idx="43210">
                  <c:v>-4.20168067226889E-3</c:v>
                </c:pt>
                <c:pt idx="43211">
                  <c:v>-4.20168067226889E-3</c:v>
                </c:pt>
                <c:pt idx="43212">
                  <c:v>-4.20168067226889E-3</c:v>
                </c:pt>
                <c:pt idx="43213">
                  <c:v>-4.20168067226889E-3</c:v>
                </c:pt>
                <c:pt idx="43214">
                  <c:v>-4.20168067226889E-3</c:v>
                </c:pt>
                <c:pt idx="43215">
                  <c:v>-4.20168067226889E-3</c:v>
                </c:pt>
                <c:pt idx="43216">
                  <c:v>-4.20168067226889E-3</c:v>
                </c:pt>
                <c:pt idx="43217">
                  <c:v>-4.20168067226889E-3</c:v>
                </c:pt>
                <c:pt idx="43218">
                  <c:v>-4.20168067226889E-3</c:v>
                </c:pt>
                <c:pt idx="43219">
                  <c:v>-4.20168067226889E-3</c:v>
                </c:pt>
                <c:pt idx="43220">
                  <c:v>-4.20168067226889E-3</c:v>
                </c:pt>
                <c:pt idx="43221">
                  <c:v>-4.20168067226889E-3</c:v>
                </c:pt>
                <c:pt idx="43222">
                  <c:v>-4.20168067226889E-3</c:v>
                </c:pt>
                <c:pt idx="43223">
                  <c:v>-4.20168067226889E-3</c:v>
                </c:pt>
                <c:pt idx="43224">
                  <c:v>-4.20168067226889E-3</c:v>
                </c:pt>
                <c:pt idx="43225">
                  <c:v>-4.20168067226889E-3</c:v>
                </c:pt>
                <c:pt idx="43226">
                  <c:v>-4.20168067226889E-3</c:v>
                </c:pt>
                <c:pt idx="43227">
                  <c:v>-4.20168067226889E-3</c:v>
                </c:pt>
                <c:pt idx="43228">
                  <c:v>-4.20168067226889E-3</c:v>
                </c:pt>
                <c:pt idx="43229">
                  <c:v>-4.20168067226889E-3</c:v>
                </c:pt>
                <c:pt idx="43230">
                  <c:v>-4.20168067226889E-3</c:v>
                </c:pt>
                <c:pt idx="43231">
                  <c:v>-4.20168067226889E-3</c:v>
                </c:pt>
                <c:pt idx="43232">
                  <c:v>-4.20168067226889E-3</c:v>
                </c:pt>
                <c:pt idx="43233">
                  <c:v>-4.20168067226889E-3</c:v>
                </c:pt>
                <c:pt idx="43234">
                  <c:v>-4.20168067226889E-3</c:v>
                </c:pt>
                <c:pt idx="43235">
                  <c:v>-4.20168067226889E-3</c:v>
                </c:pt>
                <c:pt idx="43236">
                  <c:v>-4.20168067226889E-3</c:v>
                </c:pt>
                <c:pt idx="43237">
                  <c:v>-4.20168067226889E-3</c:v>
                </c:pt>
                <c:pt idx="43238">
                  <c:v>-4.20168067226889E-3</c:v>
                </c:pt>
                <c:pt idx="43239">
                  <c:v>-4.20168067226889E-3</c:v>
                </c:pt>
                <c:pt idx="43240">
                  <c:v>-4.20168067226889E-3</c:v>
                </c:pt>
                <c:pt idx="43241">
                  <c:v>-4.20168067226889E-3</c:v>
                </c:pt>
                <c:pt idx="43242">
                  <c:v>-4.20168067226889E-3</c:v>
                </c:pt>
                <c:pt idx="43243">
                  <c:v>-4.20168067226889E-3</c:v>
                </c:pt>
                <c:pt idx="43244">
                  <c:v>-4.20168067226889E-3</c:v>
                </c:pt>
                <c:pt idx="43245">
                  <c:v>-4.20168067226889E-3</c:v>
                </c:pt>
                <c:pt idx="43246">
                  <c:v>-4.20168067226889E-3</c:v>
                </c:pt>
                <c:pt idx="43247">
                  <c:v>-4.20168067226889E-3</c:v>
                </c:pt>
                <c:pt idx="43248">
                  <c:v>-4.20168067226889E-3</c:v>
                </c:pt>
                <c:pt idx="43249">
                  <c:v>-4.20168067226889E-3</c:v>
                </c:pt>
                <c:pt idx="43250">
                  <c:v>-4.20168067226889E-3</c:v>
                </c:pt>
                <c:pt idx="43251">
                  <c:v>-4.20168067226889E-3</c:v>
                </c:pt>
                <c:pt idx="43252">
                  <c:v>-4.20168067226889E-3</c:v>
                </c:pt>
                <c:pt idx="43253">
                  <c:v>-4.20168067226889E-3</c:v>
                </c:pt>
                <c:pt idx="43254">
                  <c:v>-4.20168067226889E-3</c:v>
                </c:pt>
                <c:pt idx="43255">
                  <c:v>-4.20168067226889E-3</c:v>
                </c:pt>
                <c:pt idx="43256">
                  <c:v>-4.20168067226889E-3</c:v>
                </c:pt>
                <c:pt idx="43257">
                  <c:v>-4.20168067226889E-3</c:v>
                </c:pt>
                <c:pt idx="43258">
                  <c:v>-4.20168067226889E-3</c:v>
                </c:pt>
                <c:pt idx="43259">
                  <c:v>-4.20168067226889E-3</c:v>
                </c:pt>
                <c:pt idx="43260">
                  <c:v>-4.20168067226889E-3</c:v>
                </c:pt>
                <c:pt idx="43261">
                  <c:v>-4.20168067226889E-3</c:v>
                </c:pt>
                <c:pt idx="43262">
                  <c:v>-4.20168067226889E-3</c:v>
                </c:pt>
                <c:pt idx="43263">
                  <c:v>-4.20168067226889E-3</c:v>
                </c:pt>
                <c:pt idx="43264">
                  <c:v>-4.20168067226889E-3</c:v>
                </c:pt>
                <c:pt idx="43265">
                  <c:v>-4.20168067226889E-3</c:v>
                </c:pt>
                <c:pt idx="43266">
                  <c:v>-4.20168067226889E-3</c:v>
                </c:pt>
                <c:pt idx="43267">
                  <c:v>-4.20168067226889E-3</c:v>
                </c:pt>
                <c:pt idx="43268">
                  <c:v>-4.20168067226889E-3</c:v>
                </c:pt>
                <c:pt idx="43269">
                  <c:v>-4.20168067226889E-3</c:v>
                </c:pt>
                <c:pt idx="43270">
                  <c:v>-4.20168067226889E-3</c:v>
                </c:pt>
                <c:pt idx="43271">
                  <c:v>-4.20168067226889E-3</c:v>
                </c:pt>
                <c:pt idx="43272">
                  <c:v>-4.20168067226889E-3</c:v>
                </c:pt>
                <c:pt idx="43273">
                  <c:v>-4.20168067226889E-3</c:v>
                </c:pt>
                <c:pt idx="43274">
                  <c:v>-4.20168067226889E-3</c:v>
                </c:pt>
                <c:pt idx="43275">
                  <c:v>-4.20168067226889E-3</c:v>
                </c:pt>
                <c:pt idx="43276">
                  <c:v>-4.20168067226889E-3</c:v>
                </c:pt>
                <c:pt idx="43277">
                  <c:v>-4.20168067226889E-3</c:v>
                </c:pt>
                <c:pt idx="43278">
                  <c:v>-4.20168067226889E-3</c:v>
                </c:pt>
                <c:pt idx="43279">
                  <c:v>-4.20168067226889E-3</c:v>
                </c:pt>
                <c:pt idx="43280">
                  <c:v>-4.20168067226889E-3</c:v>
                </c:pt>
                <c:pt idx="43281">
                  <c:v>-4.20168067226889E-3</c:v>
                </c:pt>
                <c:pt idx="43282">
                  <c:v>-4.20168067226889E-3</c:v>
                </c:pt>
                <c:pt idx="43283">
                  <c:v>-4.20168067226889E-3</c:v>
                </c:pt>
                <c:pt idx="43284">
                  <c:v>-4.20168067226889E-3</c:v>
                </c:pt>
                <c:pt idx="43285">
                  <c:v>-4.20168067226889E-3</c:v>
                </c:pt>
                <c:pt idx="43286">
                  <c:v>-4.20168067226889E-3</c:v>
                </c:pt>
                <c:pt idx="43287">
                  <c:v>-4.20168067226889E-3</c:v>
                </c:pt>
                <c:pt idx="43288">
                  <c:v>-4.20168067226889E-3</c:v>
                </c:pt>
                <c:pt idx="43289">
                  <c:v>-4.20168067226889E-3</c:v>
                </c:pt>
                <c:pt idx="43290">
                  <c:v>-4.20168067226889E-3</c:v>
                </c:pt>
                <c:pt idx="43291">
                  <c:v>-4.20168067226889E-3</c:v>
                </c:pt>
                <c:pt idx="43292">
                  <c:v>-4.20168067226889E-3</c:v>
                </c:pt>
                <c:pt idx="43293">
                  <c:v>-4.20168067226889E-3</c:v>
                </c:pt>
                <c:pt idx="43294">
                  <c:v>-4.20168067226889E-3</c:v>
                </c:pt>
                <c:pt idx="43295">
                  <c:v>-5.0420168067226703E-3</c:v>
                </c:pt>
                <c:pt idx="43296">
                  <c:v>-5.0420168067226703E-3</c:v>
                </c:pt>
                <c:pt idx="43297">
                  <c:v>-5.0420168067226703E-3</c:v>
                </c:pt>
                <c:pt idx="43298">
                  <c:v>-5.0420168067226703E-3</c:v>
                </c:pt>
                <c:pt idx="43299">
                  <c:v>-5.0420168067226703E-3</c:v>
                </c:pt>
                <c:pt idx="43300">
                  <c:v>-5.0420168067226703E-3</c:v>
                </c:pt>
                <c:pt idx="43301">
                  <c:v>-5.0420168067226703E-3</c:v>
                </c:pt>
                <c:pt idx="43302">
                  <c:v>-5.0420168067226703E-3</c:v>
                </c:pt>
                <c:pt idx="43303">
                  <c:v>-5.0420168067226703E-3</c:v>
                </c:pt>
                <c:pt idx="43304">
                  <c:v>-5.0420168067226703E-3</c:v>
                </c:pt>
                <c:pt idx="43305">
                  <c:v>-5.0420168067226703E-3</c:v>
                </c:pt>
                <c:pt idx="43306">
                  <c:v>-5.0420168067226703E-3</c:v>
                </c:pt>
                <c:pt idx="43307">
                  <c:v>-5.0420168067226703E-3</c:v>
                </c:pt>
                <c:pt idx="43308">
                  <c:v>-5.0420168067226703E-3</c:v>
                </c:pt>
                <c:pt idx="43309">
                  <c:v>-5.0420168067226703E-3</c:v>
                </c:pt>
                <c:pt idx="43310">
                  <c:v>-5.0420168067226703E-3</c:v>
                </c:pt>
                <c:pt idx="43311">
                  <c:v>-5.0420168067226703E-3</c:v>
                </c:pt>
                <c:pt idx="43312">
                  <c:v>-5.0420168067226703E-3</c:v>
                </c:pt>
                <c:pt idx="43313">
                  <c:v>-5.0420168067226703E-3</c:v>
                </c:pt>
                <c:pt idx="43314">
                  <c:v>-5.0420168067226703E-3</c:v>
                </c:pt>
                <c:pt idx="43315">
                  <c:v>-5.0420168067226703E-3</c:v>
                </c:pt>
                <c:pt idx="43316">
                  <c:v>-5.0420168067226703E-3</c:v>
                </c:pt>
                <c:pt idx="43317">
                  <c:v>-5.0420168067226703E-3</c:v>
                </c:pt>
                <c:pt idx="43318">
                  <c:v>-5.0420168067226703E-3</c:v>
                </c:pt>
                <c:pt idx="43319">
                  <c:v>-5.0420168067226703E-3</c:v>
                </c:pt>
                <c:pt idx="43320">
                  <c:v>-5.0420168067226703E-3</c:v>
                </c:pt>
                <c:pt idx="43321">
                  <c:v>-5.0420168067226703E-3</c:v>
                </c:pt>
                <c:pt idx="43322">
                  <c:v>-5.0420168067226703E-3</c:v>
                </c:pt>
                <c:pt idx="43323">
                  <c:v>-5.0420168067226703E-3</c:v>
                </c:pt>
                <c:pt idx="43324">
                  <c:v>-5.0420168067226703E-3</c:v>
                </c:pt>
                <c:pt idx="43325">
                  <c:v>-5.0420168067226703E-3</c:v>
                </c:pt>
                <c:pt idx="43326">
                  <c:v>-4.20168067226889E-3</c:v>
                </c:pt>
                <c:pt idx="43327">
                  <c:v>-4.20168067226889E-3</c:v>
                </c:pt>
                <c:pt idx="43328">
                  <c:v>-4.20168067226889E-3</c:v>
                </c:pt>
                <c:pt idx="43329">
                  <c:v>-4.20168067226889E-3</c:v>
                </c:pt>
                <c:pt idx="43330">
                  <c:v>-4.20168067226889E-3</c:v>
                </c:pt>
                <c:pt idx="43331">
                  <c:v>-4.20168067226889E-3</c:v>
                </c:pt>
                <c:pt idx="43332">
                  <c:v>-4.20168067226889E-3</c:v>
                </c:pt>
                <c:pt idx="43333">
                  <c:v>-4.20168067226889E-3</c:v>
                </c:pt>
                <c:pt idx="43334">
                  <c:v>-4.20168067226889E-3</c:v>
                </c:pt>
                <c:pt idx="43335">
                  <c:v>-4.20168067226889E-3</c:v>
                </c:pt>
                <c:pt idx="43336">
                  <c:v>-4.20168067226889E-3</c:v>
                </c:pt>
                <c:pt idx="43337">
                  <c:v>-4.20168067226889E-3</c:v>
                </c:pt>
                <c:pt idx="43338">
                  <c:v>-4.20168067226889E-3</c:v>
                </c:pt>
                <c:pt idx="43339">
                  <c:v>-4.20168067226889E-3</c:v>
                </c:pt>
                <c:pt idx="43340">
                  <c:v>-4.20168067226889E-3</c:v>
                </c:pt>
                <c:pt idx="43341">
                  <c:v>-4.20168067226889E-3</c:v>
                </c:pt>
                <c:pt idx="43342">
                  <c:v>-4.20168067226889E-3</c:v>
                </c:pt>
                <c:pt idx="43343">
                  <c:v>-4.20168067226889E-3</c:v>
                </c:pt>
                <c:pt idx="43344">
                  <c:v>-4.20168067226889E-3</c:v>
                </c:pt>
                <c:pt idx="43345">
                  <c:v>-4.20168067226889E-3</c:v>
                </c:pt>
                <c:pt idx="43346">
                  <c:v>-4.20168067226889E-3</c:v>
                </c:pt>
                <c:pt idx="43347">
                  <c:v>-4.20168067226889E-3</c:v>
                </c:pt>
                <c:pt idx="43348">
                  <c:v>-4.20168067226889E-3</c:v>
                </c:pt>
                <c:pt idx="43349">
                  <c:v>-4.20168067226889E-3</c:v>
                </c:pt>
                <c:pt idx="43350">
                  <c:v>-4.20168067226889E-3</c:v>
                </c:pt>
                <c:pt idx="43351">
                  <c:v>-3.3613445378151102E-3</c:v>
                </c:pt>
                <c:pt idx="43352">
                  <c:v>-3.3613445378151102E-3</c:v>
                </c:pt>
                <c:pt idx="43353">
                  <c:v>-3.3613445378151102E-3</c:v>
                </c:pt>
                <c:pt idx="43354">
                  <c:v>-3.3613445378151102E-3</c:v>
                </c:pt>
                <c:pt idx="43355">
                  <c:v>-3.3613445378151102E-3</c:v>
                </c:pt>
                <c:pt idx="43356">
                  <c:v>-3.3613445378151102E-3</c:v>
                </c:pt>
                <c:pt idx="43357">
                  <c:v>-3.3613445378151102E-3</c:v>
                </c:pt>
                <c:pt idx="43358">
                  <c:v>-3.3613445378151102E-3</c:v>
                </c:pt>
                <c:pt idx="43359">
                  <c:v>-3.3613445378151102E-3</c:v>
                </c:pt>
                <c:pt idx="43360">
                  <c:v>-3.3613445378151102E-3</c:v>
                </c:pt>
                <c:pt idx="43361">
                  <c:v>-4.20168067226889E-3</c:v>
                </c:pt>
                <c:pt idx="43362">
                  <c:v>-4.20168067226889E-3</c:v>
                </c:pt>
                <c:pt idx="43363">
                  <c:v>-4.20168067226889E-3</c:v>
                </c:pt>
                <c:pt idx="43364">
                  <c:v>-4.20168067226889E-3</c:v>
                </c:pt>
                <c:pt idx="43365">
                  <c:v>-4.20168067226889E-3</c:v>
                </c:pt>
                <c:pt idx="43366">
                  <c:v>-4.20168067226889E-3</c:v>
                </c:pt>
                <c:pt idx="43367">
                  <c:v>-4.20168067226889E-3</c:v>
                </c:pt>
                <c:pt idx="43368">
                  <c:v>-4.20168067226889E-3</c:v>
                </c:pt>
                <c:pt idx="43369">
                  <c:v>-4.20168067226889E-3</c:v>
                </c:pt>
                <c:pt idx="43370">
                  <c:v>-4.20168067226889E-3</c:v>
                </c:pt>
                <c:pt idx="43371">
                  <c:v>-4.20168067226889E-3</c:v>
                </c:pt>
                <c:pt idx="43372">
                  <c:v>-4.20168067226889E-3</c:v>
                </c:pt>
                <c:pt idx="43373">
                  <c:v>-4.20168067226889E-3</c:v>
                </c:pt>
                <c:pt idx="43374">
                  <c:v>-3.3613445378151102E-3</c:v>
                </c:pt>
                <c:pt idx="43375">
                  <c:v>-3.3613445378151102E-3</c:v>
                </c:pt>
                <c:pt idx="43376">
                  <c:v>-3.3613445378151102E-3</c:v>
                </c:pt>
                <c:pt idx="43377">
                  <c:v>-3.3613445378151102E-3</c:v>
                </c:pt>
                <c:pt idx="43378">
                  <c:v>-3.3613445378151102E-3</c:v>
                </c:pt>
                <c:pt idx="43379">
                  <c:v>-3.3613445378151102E-3</c:v>
                </c:pt>
                <c:pt idx="43380">
                  <c:v>-3.3613445378151102E-3</c:v>
                </c:pt>
                <c:pt idx="43381">
                  <c:v>-3.3613445378151102E-3</c:v>
                </c:pt>
                <c:pt idx="43382">
                  <c:v>-3.3613445378151102E-3</c:v>
                </c:pt>
                <c:pt idx="43383">
                  <c:v>-3.3613445378151102E-3</c:v>
                </c:pt>
                <c:pt idx="43384">
                  <c:v>-3.3613445378151102E-3</c:v>
                </c:pt>
                <c:pt idx="43385">
                  <c:v>-3.3613445378151102E-3</c:v>
                </c:pt>
                <c:pt idx="43386">
                  <c:v>-3.3613445378151102E-3</c:v>
                </c:pt>
                <c:pt idx="43387">
                  <c:v>-3.3613445378151102E-3</c:v>
                </c:pt>
                <c:pt idx="43388">
                  <c:v>-3.3613445378151102E-3</c:v>
                </c:pt>
                <c:pt idx="43389">
                  <c:v>-3.3613445378151102E-3</c:v>
                </c:pt>
                <c:pt idx="43390">
                  <c:v>-3.3613445378151102E-3</c:v>
                </c:pt>
                <c:pt idx="43391">
                  <c:v>-3.3613445378151102E-3</c:v>
                </c:pt>
                <c:pt idx="43392">
                  <c:v>-3.3613445378151102E-3</c:v>
                </c:pt>
                <c:pt idx="43393">
                  <c:v>-3.3613445378151102E-3</c:v>
                </c:pt>
                <c:pt idx="43394">
                  <c:v>-3.3613445378151102E-3</c:v>
                </c:pt>
                <c:pt idx="43395">
                  <c:v>-3.3613445378151102E-3</c:v>
                </c:pt>
                <c:pt idx="43396">
                  <c:v>-3.3613445378151102E-3</c:v>
                </c:pt>
                <c:pt idx="43397">
                  <c:v>-3.3613445378151102E-3</c:v>
                </c:pt>
                <c:pt idx="43398">
                  <c:v>-3.3613445378151102E-3</c:v>
                </c:pt>
                <c:pt idx="43399">
                  <c:v>-3.3613445378151102E-3</c:v>
                </c:pt>
                <c:pt idx="43400">
                  <c:v>-3.3613445378151102E-3</c:v>
                </c:pt>
                <c:pt idx="43401">
                  <c:v>-3.3613445378151102E-3</c:v>
                </c:pt>
                <c:pt idx="43402">
                  <c:v>-3.3613445378151102E-3</c:v>
                </c:pt>
                <c:pt idx="43403">
                  <c:v>-3.3613445378151102E-3</c:v>
                </c:pt>
                <c:pt idx="43404">
                  <c:v>-3.3613445378151102E-3</c:v>
                </c:pt>
                <c:pt idx="43405">
                  <c:v>-3.3613445378151102E-3</c:v>
                </c:pt>
                <c:pt idx="43406">
                  <c:v>-3.3613445378151102E-3</c:v>
                </c:pt>
                <c:pt idx="43407">
                  <c:v>-3.3613445378151102E-3</c:v>
                </c:pt>
                <c:pt idx="43408">
                  <c:v>-3.3613445378151102E-3</c:v>
                </c:pt>
                <c:pt idx="43409">
                  <c:v>-3.3613445378151102E-3</c:v>
                </c:pt>
                <c:pt idx="43410">
                  <c:v>-3.3613445378151102E-3</c:v>
                </c:pt>
                <c:pt idx="43411">
                  <c:v>-3.3613445378151102E-3</c:v>
                </c:pt>
                <c:pt idx="43412">
                  <c:v>-3.3613445378151102E-3</c:v>
                </c:pt>
                <c:pt idx="43413">
                  <c:v>-3.3613445378151102E-3</c:v>
                </c:pt>
                <c:pt idx="43414">
                  <c:v>-3.3613445378151102E-3</c:v>
                </c:pt>
                <c:pt idx="43415">
                  <c:v>-3.3613445378151102E-3</c:v>
                </c:pt>
                <c:pt idx="43416">
                  <c:v>-3.3613445378151102E-3</c:v>
                </c:pt>
                <c:pt idx="43417">
                  <c:v>-3.3613445378151102E-3</c:v>
                </c:pt>
                <c:pt idx="43418">
                  <c:v>-3.3613445378151102E-3</c:v>
                </c:pt>
                <c:pt idx="43419">
                  <c:v>-3.3613445378151102E-3</c:v>
                </c:pt>
                <c:pt idx="43420">
                  <c:v>-3.3613445378151102E-3</c:v>
                </c:pt>
                <c:pt idx="43421">
                  <c:v>-3.3613445378151102E-3</c:v>
                </c:pt>
                <c:pt idx="43422">
                  <c:v>-3.3613445378151102E-3</c:v>
                </c:pt>
                <c:pt idx="43423">
                  <c:v>-3.3613445378151102E-3</c:v>
                </c:pt>
                <c:pt idx="43424">
                  <c:v>-3.3613445378151102E-3</c:v>
                </c:pt>
                <c:pt idx="43425">
                  <c:v>-3.3613445378151102E-3</c:v>
                </c:pt>
                <c:pt idx="43426">
                  <c:v>-3.3613445378151102E-3</c:v>
                </c:pt>
                <c:pt idx="43427">
                  <c:v>-3.3613445378151102E-3</c:v>
                </c:pt>
                <c:pt idx="43428">
                  <c:v>-3.3613445378151102E-3</c:v>
                </c:pt>
                <c:pt idx="43429">
                  <c:v>-3.3613445378151102E-3</c:v>
                </c:pt>
                <c:pt idx="43430">
                  <c:v>-3.3613445378151102E-3</c:v>
                </c:pt>
                <c:pt idx="43431">
                  <c:v>-3.3613445378151102E-3</c:v>
                </c:pt>
                <c:pt idx="43432">
                  <c:v>-3.3613445378151102E-3</c:v>
                </c:pt>
                <c:pt idx="43433">
                  <c:v>-3.3613445378151102E-3</c:v>
                </c:pt>
                <c:pt idx="43434">
                  <c:v>-3.3613445378151102E-3</c:v>
                </c:pt>
                <c:pt idx="43435">
                  <c:v>-3.3613445378151102E-3</c:v>
                </c:pt>
                <c:pt idx="43436">
                  <c:v>-3.3613445378151102E-3</c:v>
                </c:pt>
                <c:pt idx="43437">
                  <c:v>-3.3613445378151102E-3</c:v>
                </c:pt>
                <c:pt idx="43438">
                  <c:v>-3.3613445378151102E-3</c:v>
                </c:pt>
                <c:pt idx="43439">
                  <c:v>-3.3613445378151102E-3</c:v>
                </c:pt>
                <c:pt idx="43440">
                  <c:v>-3.3613445378151102E-3</c:v>
                </c:pt>
                <c:pt idx="43441">
                  <c:v>-3.3613445378151102E-3</c:v>
                </c:pt>
                <c:pt idx="43442">
                  <c:v>-3.3613445378151102E-3</c:v>
                </c:pt>
                <c:pt idx="43443">
                  <c:v>-3.3613445378151102E-3</c:v>
                </c:pt>
                <c:pt idx="43444">
                  <c:v>-3.3613445378151102E-3</c:v>
                </c:pt>
                <c:pt idx="43445">
                  <c:v>-3.3613445378151102E-3</c:v>
                </c:pt>
                <c:pt idx="43446">
                  <c:v>-3.3613445378151102E-3</c:v>
                </c:pt>
                <c:pt idx="43447">
                  <c:v>-3.3613445378151102E-3</c:v>
                </c:pt>
                <c:pt idx="43448">
                  <c:v>-3.3613445378151102E-3</c:v>
                </c:pt>
                <c:pt idx="43449">
                  <c:v>-3.3613445378151102E-3</c:v>
                </c:pt>
                <c:pt idx="43450">
                  <c:v>-3.3613445378151102E-3</c:v>
                </c:pt>
                <c:pt idx="43451">
                  <c:v>-3.3613445378151102E-3</c:v>
                </c:pt>
                <c:pt idx="43452">
                  <c:v>-3.3613445378151102E-3</c:v>
                </c:pt>
                <c:pt idx="43453">
                  <c:v>-3.3613445378151102E-3</c:v>
                </c:pt>
                <c:pt idx="43454">
                  <c:v>-3.3613445378151102E-3</c:v>
                </c:pt>
                <c:pt idx="43455">
                  <c:v>-3.3613445378151102E-3</c:v>
                </c:pt>
                <c:pt idx="43456">
                  <c:v>-3.3613445378151102E-3</c:v>
                </c:pt>
                <c:pt idx="43457">
                  <c:v>-3.3613445378151102E-3</c:v>
                </c:pt>
                <c:pt idx="43458">
                  <c:v>-3.3613445378151102E-3</c:v>
                </c:pt>
                <c:pt idx="43459">
                  <c:v>-2.5210084033613299E-3</c:v>
                </c:pt>
                <c:pt idx="43460">
                  <c:v>-2.5210084033613299E-3</c:v>
                </c:pt>
                <c:pt idx="43461">
                  <c:v>-2.5210084033613299E-3</c:v>
                </c:pt>
                <c:pt idx="43462">
                  <c:v>-2.5210084033613299E-3</c:v>
                </c:pt>
                <c:pt idx="43463">
                  <c:v>-2.5210084033613299E-3</c:v>
                </c:pt>
                <c:pt idx="43464">
                  <c:v>-2.5210084033613299E-3</c:v>
                </c:pt>
                <c:pt idx="43465">
                  <c:v>-2.5210084033613299E-3</c:v>
                </c:pt>
                <c:pt idx="43466">
                  <c:v>-2.5210084033613299E-3</c:v>
                </c:pt>
                <c:pt idx="43467">
                  <c:v>-2.5210084033613299E-3</c:v>
                </c:pt>
                <c:pt idx="43468">
                  <c:v>-2.5210084033613299E-3</c:v>
                </c:pt>
                <c:pt idx="43469">
                  <c:v>-2.5210084033613299E-3</c:v>
                </c:pt>
                <c:pt idx="43470">
                  <c:v>-2.5210084033613299E-3</c:v>
                </c:pt>
                <c:pt idx="43471">
                  <c:v>-2.5210084033613299E-3</c:v>
                </c:pt>
                <c:pt idx="43472">
                  <c:v>-2.5210084033613299E-3</c:v>
                </c:pt>
                <c:pt idx="43473">
                  <c:v>-2.5210084033613299E-3</c:v>
                </c:pt>
                <c:pt idx="43474">
                  <c:v>-2.5210084033613299E-3</c:v>
                </c:pt>
                <c:pt idx="43475">
                  <c:v>-2.5210084033613299E-3</c:v>
                </c:pt>
                <c:pt idx="43476">
                  <c:v>-2.5210084033613299E-3</c:v>
                </c:pt>
                <c:pt idx="43477">
                  <c:v>-2.5210084033613299E-3</c:v>
                </c:pt>
                <c:pt idx="43478">
                  <c:v>-2.5210084033613299E-3</c:v>
                </c:pt>
                <c:pt idx="43479">
                  <c:v>-2.5210084033613299E-3</c:v>
                </c:pt>
                <c:pt idx="43480">
                  <c:v>-2.5210084033613299E-3</c:v>
                </c:pt>
                <c:pt idx="43481">
                  <c:v>-2.5210084033613299E-3</c:v>
                </c:pt>
                <c:pt idx="43482">
                  <c:v>-2.5210084033613299E-3</c:v>
                </c:pt>
                <c:pt idx="43483">
                  <c:v>-2.5210084033613299E-3</c:v>
                </c:pt>
                <c:pt idx="43484">
                  <c:v>-2.5210084033613299E-3</c:v>
                </c:pt>
                <c:pt idx="43485">
                  <c:v>-2.5210084033613299E-3</c:v>
                </c:pt>
                <c:pt idx="43486">
                  <c:v>-2.5210084033613299E-3</c:v>
                </c:pt>
                <c:pt idx="43487">
                  <c:v>-2.5210084033613299E-3</c:v>
                </c:pt>
                <c:pt idx="43488">
                  <c:v>-2.5210084033613299E-3</c:v>
                </c:pt>
                <c:pt idx="43489">
                  <c:v>-2.5210084033613299E-3</c:v>
                </c:pt>
                <c:pt idx="43490">
                  <c:v>-2.5210084033613299E-3</c:v>
                </c:pt>
                <c:pt idx="43491">
                  <c:v>-2.5210084033613299E-3</c:v>
                </c:pt>
                <c:pt idx="43492">
                  <c:v>-2.5210084033613299E-3</c:v>
                </c:pt>
                <c:pt idx="43493">
                  <c:v>-2.5210084033613299E-3</c:v>
                </c:pt>
                <c:pt idx="43494">
                  <c:v>-2.5210084033613299E-3</c:v>
                </c:pt>
                <c:pt idx="43495">
                  <c:v>-2.5210084033613299E-3</c:v>
                </c:pt>
                <c:pt idx="43496">
                  <c:v>-2.5210084033613299E-3</c:v>
                </c:pt>
                <c:pt idx="43497">
                  <c:v>-2.5210084033613299E-3</c:v>
                </c:pt>
                <c:pt idx="43498">
                  <c:v>-2.5210084033613299E-3</c:v>
                </c:pt>
                <c:pt idx="43499">
                  <c:v>-2.5210084033613299E-3</c:v>
                </c:pt>
                <c:pt idx="43500">
                  <c:v>-2.5210084033613299E-3</c:v>
                </c:pt>
                <c:pt idx="43501">
                  <c:v>-2.5210084033613299E-3</c:v>
                </c:pt>
                <c:pt idx="43502">
                  <c:v>-2.5210084033613299E-3</c:v>
                </c:pt>
                <c:pt idx="43503">
                  <c:v>-2.5210084033613299E-3</c:v>
                </c:pt>
                <c:pt idx="43504">
                  <c:v>-2.5210084033613299E-3</c:v>
                </c:pt>
                <c:pt idx="43505">
                  <c:v>-2.5210084033613299E-3</c:v>
                </c:pt>
                <c:pt idx="43506">
                  <c:v>-2.5210084033613299E-3</c:v>
                </c:pt>
                <c:pt idx="43507">
                  <c:v>-2.5210084033613299E-3</c:v>
                </c:pt>
                <c:pt idx="43508">
                  <c:v>-2.5210084033613299E-3</c:v>
                </c:pt>
                <c:pt idx="43509">
                  <c:v>-2.5210084033613299E-3</c:v>
                </c:pt>
                <c:pt idx="43510">
                  <c:v>-2.5210084033613299E-3</c:v>
                </c:pt>
                <c:pt idx="43511">
                  <c:v>-2.5210084033613299E-3</c:v>
                </c:pt>
                <c:pt idx="43512">
                  <c:v>-2.5210084033613299E-3</c:v>
                </c:pt>
                <c:pt idx="43513">
                  <c:v>-2.5210084033613299E-3</c:v>
                </c:pt>
                <c:pt idx="43514">
                  <c:v>-2.5210084033613299E-3</c:v>
                </c:pt>
                <c:pt idx="43515">
                  <c:v>-2.5210084033613299E-3</c:v>
                </c:pt>
                <c:pt idx="43516">
                  <c:v>-2.5210084033613299E-3</c:v>
                </c:pt>
                <c:pt idx="43517">
                  <c:v>-3.3613445378151102E-3</c:v>
                </c:pt>
                <c:pt idx="43518">
                  <c:v>-3.3613445378151102E-3</c:v>
                </c:pt>
                <c:pt idx="43519">
                  <c:v>-3.3613445378151102E-3</c:v>
                </c:pt>
                <c:pt idx="43520">
                  <c:v>-3.3613445378151102E-3</c:v>
                </c:pt>
                <c:pt idx="43521">
                  <c:v>-3.3613445378151102E-3</c:v>
                </c:pt>
                <c:pt idx="43522">
                  <c:v>-3.3613445378151102E-3</c:v>
                </c:pt>
                <c:pt idx="43523">
                  <c:v>-3.3613445378151102E-3</c:v>
                </c:pt>
                <c:pt idx="43524">
                  <c:v>-3.3613445378151102E-3</c:v>
                </c:pt>
                <c:pt idx="43525">
                  <c:v>-3.3613445378151102E-3</c:v>
                </c:pt>
                <c:pt idx="43526">
                  <c:v>-3.3613445378151102E-3</c:v>
                </c:pt>
                <c:pt idx="43527">
                  <c:v>-3.3613445378151102E-3</c:v>
                </c:pt>
                <c:pt idx="43528">
                  <c:v>-3.3613445378151102E-3</c:v>
                </c:pt>
                <c:pt idx="43529">
                  <c:v>-3.3613445378151102E-3</c:v>
                </c:pt>
                <c:pt idx="43530">
                  <c:v>-3.3613445378151102E-3</c:v>
                </c:pt>
                <c:pt idx="43531">
                  <c:v>-3.3613445378151102E-3</c:v>
                </c:pt>
                <c:pt idx="43532">
                  <c:v>-3.3613445378151102E-3</c:v>
                </c:pt>
                <c:pt idx="43533">
                  <c:v>-3.3613445378151102E-3</c:v>
                </c:pt>
                <c:pt idx="43534">
                  <c:v>-3.3613445378151102E-3</c:v>
                </c:pt>
                <c:pt idx="43535">
                  <c:v>-3.3613445378151102E-3</c:v>
                </c:pt>
                <c:pt idx="43536">
                  <c:v>-3.3613445378151102E-3</c:v>
                </c:pt>
                <c:pt idx="43537">
                  <c:v>-4.20168067226889E-3</c:v>
                </c:pt>
                <c:pt idx="43538">
                  <c:v>-4.20168067226889E-3</c:v>
                </c:pt>
                <c:pt idx="43539">
                  <c:v>-4.20168067226889E-3</c:v>
                </c:pt>
                <c:pt idx="43540">
                  <c:v>-4.20168067226889E-3</c:v>
                </c:pt>
                <c:pt idx="43541">
                  <c:v>-4.20168067226889E-3</c:v>
                </c:pt>
                <c:pt idx="43542">
                  <c:v>-4.20168067226889E-3</c:v>
                </c:pt>
                <c:pt idx="43543">
                  <c:v>-4.20168067226889E-3</c:v>
                </c:pt>
                <c:pt idx="43544">
                  <c:v>-4.20168067226889E-3</c:v>
                </c:pt>
                <c:pt idx="43545">
                  <c:v>-4.20168067226889E-3</c:v>
                </c:pt>
                <c:pt idx="43546">
                  <c:v>-4.20168067226889E-3</c:v>
                </c:pt>
                <c:pt idx="43547">
                  <c:v>-4.20168067226889E-3</c:v>
                </c:pt>
                <c:pt idx="43548">
                  <c:v>-4.20168067226889E-3</c:v>
                </c:pt>
                <c:pt idx="43549">
                  <c:v>-4.20168067226889E-3</c:v>
                </c:pt>
                <c:pt idx="43550">
                  <c:v>-4.20168067226889E-3</c:v>
                </c:pt>
                <c:pt idx="43551">
                  <c:v>-4.20168067226889E-3</c:v>
                </c:pt>
                <c:pt idx="43552">
                  <c:v>-4.20168067226889E-3</c:v>
                </c:pt>
                <c:pt idx="43553">
                  <c:v>-4.20168067226889E-3</c:v>
                </c:pt>
                <c:pt idx="43554">
                  <c:v>-4.20168067226889E-3</c:v>
                </c:pt>
                <c:pt idx="43555">
                  <c:v>-4.20168067226889E-3</c:v>
                </c:pt>
                <c:pt idx="43556">
                  <c:v>-4.20168067226889E-3</c:v>
                </c:pt>
                <c:pt idx="43557">
                  <c:v>-4.20168067226889E-3</c:v>
                </c:pt>
                <c:pt idx="43558">
                  <c:v>-4.20168067226889E-3</c:v>
                </c:pt>
                <c:pt idx="43559">
                  <c:v>-4.20168067226889E-3</c:v>
                </c:pt>
                <c:pt idx="43560">
                  <c:v>-4.20168067226889E-3</c:v>
                </c:pt>
                <c:pt idx="43561">
                  <c:v>-4.20168067226889E-3</c:v>
                </c:pt>
                <c:pt idx="43562">
                  <c:v>-4.20168067226889E-3</c:v>
                </c:pt>
                <c:pt idx="43563">
                  <c:v>-4.20168067226889E-3</c:v>
                </c:pt>
                <c:pt idx="43564">
                  <c:v>-4.20168067226889E-3</c:v>
                </c:pt>
                <c:pt idx="43565">
                  <c:v>-4.20168067226889E-3</c:v>
                </c:pt>
                <c:pt idx="43566">
                  <c:v>-4.20168067226889E-3</c:v>
                </c:pt>
                <c:pt idx="43567">
                  <c:v>-4.20168067226889E-3</c:v>
                </c:pt>
                <c:pt idx="43568">
                  <c:v>-4.20168067226889E-3</c:v>
                </c:pt>
                <c:pt idx="43569">
                  <c:v>-4.20168067226889E-3</c:v>
                </c:pt>
                <c:pt idx="43570">
                  <c:v>-4.20168067226889E-3</c:v>
                </c:pt>
                <c:pt idx="43571">
                  <c:v>-4.20168067226889E-3</c:v>
                </c:pt>
                <c:pt idx="43572">
                  <c:v>-4.20168067226889E-3</c:v>
                </c:pt>
                <c:pt idx="43573">
                  <c:v>-4.20168067226889E-3</c:v>
                </c:pt>
                <c:pt idx="43574">
                  <c:v>-4.20168067226889E-3</c:v>
                </c:pt>
                <c:pt idx="43575">
                  <c:v>-4.20168067226889E-3</c:v>
                </c:pt>
                <c:pt idx="43576">
                  <c:v>-4.20168067226889E-3</c:v>
                </c:pt>
                <c:pt idx="43577">
                  <c:v>-4.20168067226889E-3</c:v>
                </c:pt>
                <c:pt idx="43578">
                  <c:v>-4.20168067226889E-3</c:v>
                </c:pt>
                <c:pt idx="43579">
                  <c:v>-4.20168067226889E-3</c:v>
                </c:pt>
                <c:pt idx="43580">
                  <c:v>-5.0420168067226703E-3</c:v>
                </c:pt>
                <c:pt idx="43581">
                  <c:v>-5.0420168067226703E-3</c:v>
                </c:pt>
                <c:pt idx="43582">
                  <c:v>-5.0420168067226703E-3</c:v>
                </c:pt>
                <c:pt idx="43583">
                  <c:v>-5.0420168067226703E-3</c:v>
                </c:pt>
                <c:pt idx="43584">
                  <c:v>-5.0420168067226703E-3</c:v>
                </c:pt>
                <c:pt idx="43585">
                  <c:v>-5.0420168067226703E-3</c:v>
                </c:pt>
                <c:pt idx="43586">
                  <c:v>-5.0420168067226703E-3</c:v>
                </c:pt>
                <c:pt idx="43587">
                  <c:v>-5.0420168067226703E-3</c:v>
                </c:pt>
                <c:pt idx="43588">
                  <c:v>-5.0420168067226703E-3</c:v>
                </c:pt>
                <c:pt idx="43589">
                  <c:v>-5.0420168067226703E-3</c:v>
                </c:pt>
                <c:pt idx="43590">
                  <c:v>-5.0420168067226703E-3</c:v>
                </c:pt>
                <c:pt idx="43591">
                  <c:v>-5.0420168067226703E-3</c:v>
                </c:pt>
                <c:pt idx="43592">
                  <c:v>-5.0420168067226703E-3</c:v>
                </c:pt>
                <c:pt idx="43593">
                  <c:v>-5.0420168067226703E-3</c:v>
                </c:pt>
                <c:pt idx="43594">
                  <c:v>-5.0420168067226703E-3</c:v>
                </c:pt>
                <c:pt idx="43595">
                  <c:v>-5.0420168067226703E-3</c:v>
                </c:pt>
                <c:pt idx="43596">
                  <c:v>-5.0420168067226703E-3</c:v>
                </c:pt>
                <c:pt idx="43597">
                  <c:v>-5.0420168067226703E-3</c:v>
                </c:pt>
                <c:pt idx="43598">
                  <c:v>-5.0420168067226703E-3</c:v>
                </c:pt>
                <c:pt idx="43599">
                  <c:v>-4.20168067226889E-3</c:v>
                </c:pt>
                <c:pt idx="43600">
                  <c:v>-4.20168067226889E-3</c:v>
                </c:pt>
                <c:pt idx="43601">
                  <c:v>-4.20168067226889E-3</c:v>
                </c:pt>
                <c:pt idx="43602">
                  <c:v>-4.20168067226889E-3</c:v>
                </c:pt>
                <c:pt idx="43603">
                  <c:v>-4.20168067226889E-3</c:v>
                </c:pt>
                <c:pt idx="43604">
                  <c:v>-4.20168067226889E-3</c:v>
                </c:pt>
                <c:pt idx="43605">
                  <c:v>-4.20168067226889E-3</c:v>
                </c:pt>
                <c:pt idx="43606">
                  <c:v>-4.20168067226889E-3</c:v>
                </c:pt>
                <c:pt idx="43607">
                  <c:v>-4.20168067226889E-3</c:v>
                </c:pt>
                <c:pt idx="43608">
                  <c:v>-4.20168067226889E-3</c:v>
                </c:pt>
                <c:pt idx="43609">
                  <c:v>-4.20168067226889E-3</c:v>
                </c:pt>
                <c:pt idx="43610">
                  <c:v>-4.20168067226889E-3</c:v>
                </c:pt>
                <c:pt idx="43611">
                  <c:v>-4.20168067226889E-3</c:v>
                </c:pt>
                <c:pt idx="43612">
                  <c:v>-4.20168067226889E-3</c:v>
                </c:pt>
                <c:pt idx="43613">
                  <c:v>-4.20168067226889E-3</c:v>
                </c:pt>
                <c:pt idx="43614">
                  <c:v>-4.20168067226889E-3</c:v>
                </c:pt>
                <c:pt idx="43615">
                  <c:v>-4.20168067226889E-3</c:v>
                </c:pt>
                <c:pt idx="43616">
                  <c:v>-4.20168067226889E-3</c:v>
                </c:pt>
                <c:pt idx="43617">
                  <c:v>-4.20168067226889E-3</c:v>
                </c:pt>
                <c:pt idx="43618">
                  <c:v>-4.20168067226889E-3</c:v>
                </c:pt>
                <c:pt idx="43619">
                  <c:v>-4.20168067226889E-3</c:v>
                </c:pt>
                <c:pt idx="43620">
                  <c:v>-4.20168067226889E-3</c:v>
                </c:pt>
                <c:pt idx="43621">
                  <c:v>-4.20168067226889E-3</c:v>
                </c:pt>
                <c:pt idx="43622">
                  <c:v>-4.20168067226889E-3</c:v>
                </c:pt>
                <c:pt idx="43623">
                  <c:v>-4.20168067226889E-3</c:v>
                </c:pt>
                <c:pt idx="43624">
                  <c:v>-4.20168067226889E-3</c:v>
                </c:pt>
                <c:pt idx="43625">
                  <c:v>-3.3613445378151102E-3</c:v>
                </c:pt>
                <c:pt idx="43626">
                  <c:v>-3.3613445378151102E-3</c:v>
                </c:pt>
                <c:pt idx="43627">
                  <c:v>-3.3613445378151102E-3</c:v>
                </c:pt>
                <c:pt idx="43628">
                  <c:v>-3.3613445378151102E-3</c:v>
                </c:pt>
                <c:pt idx="43629">
                  <c:v>-3.3613445378151102E-3</c:v>
                </c:pt>
                <c:pt idx="43630">
                  <c:v>-3.3613445378151102E-3</c:v>
                </c:pt>
                <c:pt idx="43631">
                  <c:v>-3.3613445378151102E-3</c:v>
                </c:pt>
                <c:pt idx="43632">
                  <c:v>-3.3613445378151102E-3</c:v>
                </c:pt>
                <c:pt idx="43633">
                  <c:v>-3.3613445378151102E-3</c:v>
                </c:pt>
                <c:pt idx="43634">
                  <c:v>-3.3613445378151102E-3</c:v>
                </c:pt>
                <c:pt idx="43635">
                  <c:v>-3.3613445378151102E-3</c:v>
                </c:pt>
                <c:pt idx="43636">
                  <c:v>-2.5210084033613299E-3</c:v>
                </c:pt>
                <c:pt idx="43637">
                  <c:v>-2.5210084033613299E-3</c:v>
                </c:pt>
                <c:pt idx="43638">
                  <c:v>-2.5210084033613299E-3</c:v>
                </c:pt>
                <c:pt idx="43639">
                  <c:v>-2.5210084033613299E-3</c:v>
                </c:pt>
                <c:pt idx="43640">
                  <c:v>-2.5210084033613299E-3</c:v>
                </c:pt>
                <c:pt idx="43641">
                  <c:v>-2.5210084033613299E-3</c:v>
                </c:pt>
                <c:pt idx="43642">
                  <c:v>-2.5210084033613299E-3</c:v>
                </c:pt>
                <c:pt idx="43643">
                  <c:v>-2.5210084033613299E-3</c:v>
                </c:pt>
                <c:pt idx="43644">
                  <c:v>-2.5210084033613299E-3</c:v>
                </c:pt>
                <c:pt idx="43645">
                  <c:v>-2.5210084033613299E-3</c:v>
                </c:pt>
                <c:pt idx="43646">
                  <c:v>-2.5210084033613299E-3</c:v>
                </c:pt>
                <c:pt idx="43647">
                  <c:v>-2.5210084033613299E-3</c:v>
                </c:pt>
                <c:pt idx="43648">
                  <c:v>-2.5210084033613299E-3</c:v>
                </c:pt>
                <c:pt idx="43649">
                  <c:v>-2.5210084033613299E-3</c:v>
                </c:pt>
                <c:pt idx="43650">
                  <c:v>-2.5210084033613299E-3</c:v>
                </c:pt>
                <c:pt idx="43651">
                  <c:v>-2.5210084033613299E-3</c:v>
                </c:pt>
                <c:pt idx="43652">
                  <c:v>-2.5210084033613299E-3</c:v>
                </c:pt>
                <c:pt idx="43653">
                  <c:v>-2.5210084033613299E-3</c:v>
                </c:pt>
                <c:pt idx="43654">
                  <c:v>-2.5210084033613299E-3</c:v>
                </c:pt>
                <c:pt idx="43655">
                  <c:v>-2.5210084033613299E-3</c:v>
                </c:pt>
                <c:pt idx="43656">
                  <c:v>-3.3613445378151102E-3</c:v>
                </c:pt>
                <c:pt idx="43657">
                  <c:v>-3.3613445378151102E-3</c:v>
                </c:pt>
                <c:pt idx="43658">
                  <c:v>-3.3613445378151102E-3</c:v>
                </c:pt>
                <c:pt idx="43659">
                  <c:v>-3.3613445378151102E-3</c:v>
                </c:pt>
                <c:pt idx="43660">
                  <c:v>-3.3613445378151102E-3</c:v>
                </c:pt>
                <c:pt idx="43661">
                  <c:v>-3.3613445378151102E-3</c:v>
                </c:pt>
                <c:pt idx="43662">
                  <c:v>-3.3613445378151102E-3</c:v>
                </c:pt>
                <c:pt idx="43663">
                  <c:v>-3.3613445378151102E-3</c:v>
                </c:pt>
                <c:pt idx="43664">
                  <c:v>-3.3613445378151102E-3</c:v>
                </c:pt>
                <c:pt idx="43665">
                  <c:v>-3.3613445378151102E-3</c:v>
                </c:pt>
                <c:pt idx="43666">
                  <c:v>-3.3613445378151102E-3</c:v>
                </c:pt>
                <c:pt idx="43667">
                  <c:v>-3.3613445378151102E-3</c:v>
                </c:pt>
                <c:pt idx="43668">
                  <c:v>-3.3613445378151102E-3</c:v>
                </c:pt>
                <c:pt idx="43669">
                  <c:v>-3.3613445378151102E-3</c:v>
                </c:pt>
                <c:pt idx="43670">
                  <c:v>-3.3613445378151102E-3</c:v>
                </c:pt>
                <c:pt idx="43671">
                  <c:v>-3.3613445378151102E-3</c:v>
                </c:pt>
                <c:pt idx="43672">
                  <c:v>-3.3613445378151102E-3</c:v>
                </c:pt>
                <c:pt idx="43673">
                  <c:v>-3.3613445378151102E-3</c:v>
                </c:pt>
                <c:pt idx="43674">
                  <c:v>-3.3613445378151102E-3</c:v>
                </c:pt>
                <c:pt idx="43675">
                  <c:v>-3.3613445378151102E-3</c:v>
                </c:pt>
                <c:pt idx="43676">
                  <c:v>-3.3613445378151102E-3</c:v>
                </c:pt>
                <c:pt idx="43677">
                  <c:v>-3.3613445378151102E-3</c:v>
                </c:pt>
                <c:pt idx="43678">
                  <c:v>-3.3613445378151102E-3</c:v>
                </c:pt>
                <c:pt idx="43679">
                  <c:v>-3.3613445378151102E-3</c:v>
                </c:pt>
                <c:pt idx="43680">
                  <c:v>-3.3613445378151102E-3</c:v>
                </c:pt>
                <c:pt idx="43681">
                  <c:v>-3.3613445378151102E-3</c:v>
                </c:pt>
                <c:pt idx="43682">
                  <c:v>-3.3613445378151102E-3</c:v>
                </c:pt>
                <c:pt idx="43683">
                  <c:v>-3.3613445378151102E-3</c:v>
                </c:pt>
                <c:pt idx="43684">
                  <c:v>-3.3613445378151102E-3</c:v>
                </c:pt>
                <c:pt idx="43685">
                  <c:v>-3.3613445378151102E-3</c:v>
                </c:pt>
                <c:pt idx="43686">
                  <c:v>-3.3613445378151102E-3</c:v>
                </c:pt>
                <c:pt idx="43687">
                  <c:v>-3.3613445378151102E-3</c:v>
                </c:pt>
                <c:pt idx="43688">
                  <c:v>-3.3613445378151102E-3</c:v>
                </c:pt>
                <c:pt idx="43689">
                  <c:v>-3.3613445378151102E-3</c:v>
                </c:pt>
                <c:pt idx="43690">
                  <c:v>-3.3613445378151102E-3</c:v>
                </c:pt>
                <c:pt idx="43691">
                  <c:v>-3.3613445378151102E-3</c:v>
                </c:pt>
                <c:pt idx="43692">
                  <c:v>-3.3613445378151102E-3</c:v>
                </c:pt>
                <c:pt idx="43693">
                  <c:v>-3.3613445378151102E-3</c:v>
                </c:pt>
                <c:pt idx="43694">
                  <c:v>-3.3613445378151102E-3</c:v>
                </c:pt>
                <c:pt idx="43695">
                  <c:v>-3.3613445378151102E-3</c:v>
                </c:pt>
                <c:pt idx="43696">
                  <c:v>-3.3613445378151102E-3</c:v>
                </c:pt>
                <c:pt idx="43697">
                  <c:v>-3.3613445378151102E-3</c:v>
                </c:pt>
                <c:pt idx="43698">
                  <c:v>-3.3613445378151102E-3</c:v>
                </c:pt>
                <c:pt idx="43699">
                  <c:v>-3.3613445378151102E-3</c:v>
                </c:pt>
                <c:pt idx="43700">
                  <c:v>-3.3613445378151102E-3</c:v>
                </c:pt>
                <c:pt idx="43701">
                  <c:v>-3.3613445378151102E-3</c:v>
                </c:pt>
                <c:pt idx="43702">
                  <c:v>-3.3613445378151102E-3</c:v>
                </c:pt>
                <c:pt idx="43703">
                  <c:v>-3.3613445378151102E-3</c:v>
                </c:pt>
                <c:pt idx="43704">
                  <c:v>-3.3613445378151102E-3</c:v>
                </c:pt>
                <c:pt idx="43705">
                  <c:v>-4.20168067226889E-3</c:v>
                </c:pt>
                <c:pt idx="43706">
                  <c:v>-4.20168067226889E-3</c:v>
                </c:pt>
                <c:pt idx="43707">
                  <c:v>-4.20168067226889E-3</c:v>
                </c:pt>
                <c:pt idx="43708">
                  <c:v>-4.20168067226889E-3</c:v>
                </c:pt>
                <c:pt idx="43709">
                  <c:v>-4.20168067226889E-3</c:v>
                </c:pt>
                <c:pt idx="43710">
                  <c:v>-4.20168067226889E-3</c:v>
                </c:pt>
                <c:pt idx="43711">
                  <c:v>-4.20168067226889E-3</c:v>
                </c:pt>
                <c:pt idx="43712">
                  <c:v>-4.20168067226889E-3</c:v>
                </c:pt>
                <c:pt idx="43713">
                  <c:v>-4.20168067226889E-3</c:v>
                </c:pt>
                <c:pt idx="43714">
                  <c:v>-4.20168067226889E-3</c:v>
                </c:pt>
                <c:pt idx="43715">
                  <c:v>-4.20168067226889E-3</c:v>
                </c:pt>
                <c:pt idx="43716">
                  <c:v>-4.20168067226889E-3</c:v>
                </c:pt>
                <c:pt idx="43717">
                  <c:v>-4.20168067226889E-3</c:v>
                </c:pt>
                <c:pt idx="43718">
                  <c:v>-4.20168067226889E-3</c:v>
                </c:pt>
                <c:pt idx="43719">
                  <c:v>-4.20168067226889E-3</c:v>
                </c:pt>
                <c:pt idx="43720">
                  <c:v>-4.20168067226889E-3</c:v>
                </c:pt>
                <c:pt idx="43721">
                  <c:v>-4.20168067226889E-3</c:v>
                </c:pt>
                <c:pt idx="43722">
                  <c:v>-4.20168067226889E-3</c:v>
                </c:pt>
                <c:pt idx="43723">
                  <c:v>-4.20168067226889E-3</c:v>
                </c:pt>
                <c:pt idx="43724">
                  <c:v>-4.20168067226889E-3</c:v>
                </c:pt>
                <c:pt idx="43725">
                  <c:v>-4.20168067226889E-3</c:v>
                </c:pt>
                <c:pt idx="43726">
                  <c:v>-4.20168067226889E-3</c:v>
                </c:pt>
                <c:pt idx="43727">
                  <c:v>-4.20168067226889E-3</c:v>
                </c:pt>
                <c:pt idx="43728">
                  <c:v>-4.20168067226889E-3</c:v>
                </c:pt>
                <c:pt idx="43729">
                  <c:v>-4.20168067226889E-3</c:v>
                </c:pt>
                <c:pt idx="43730">
                  <c:v>-4.20168067226889E-3</c:v>
                </c:pt>
                <c:pt idx="43731">
                  <c:v>-4.20168067226889E-3</c:v>
                </c:pt>
                <c:pt idx="43732">
                  <c:v>-4.20168067226889E-3</c:v>
                </c:pt>
                <c:pt idx="43733">
                  <c:v>-4.20168067226889E-3</c:v>
                </c:pt>
                <c:pt idx="43734">
                  <c:v>-4.20168067226889E-3</c:v>
                </c:pt>
                <c:pt idx="43735">
                  <c:v>-4.20168067226889E-3</c:v>
                </c:pt>
                <c:pt idx="43736">
                  <c:v>-4.20168067226889E-3</c:v>
                </c:pt>
                <c:pt idx="43737">
                  <c:v>-4.20168067226889E-3</c:v>
                </c:pt>
                <c:pt idx="43738">
                  <c:v>-4.20168067226889E-3</c:v>
                </c:pt>
                <c:pt idx="43739">
                  <c:v>-4.20168067226889E-3</c:v>
                </c:pt>
                <c:pt idx="43740">
                  <c:v>-4.20168067226889E-3</c:v>
                </c:pt>
                <c:pt idx="43741">
                  <c:v>-4.20168067226889E-3</c:v>
                </c:pt>
                <c:pt idx="43742">
                  <c:v>-4.20168067226889E-3</c:v>
                </c:pt>
                <c:pt idx="43743">
                  <c:v>-4.20168067226889E-3</c:v>
                </c:pt>
                <c:pt idx="43744">
                  <c:v>-4.20168067226889E-3</c:v>
                </c:pt>
                <c:pt idx="43745">
                  <c:v>-4.20168067226889E-3</c:v>
                </c:pt>
                <c:pt idx="43746">
                  <c:v>-4.20168067226889E-3</c:v>
                </c:pt>
                <c:pt idx="43747">
                  <c:v>-4.20168067226889E-3</c:v>
                </c:pt>
                <c:pt idx="43748">
                  <c:v>-4.20168067226889E-3</c:v>
                </c:pt>
                <c:pt idx="43749">
                  <c:v>-4.20168067226889E-3</c:v>
                </c:pt>
                <c:pt idx="43750">
                  <c:v>-4.20168067226889E-3</c:v>
                </c:pt>
                <c:pt idx="43751">
                  <c:v>-4.20168067226889E-3</c:v>
                </c:pt>
                <c:pt idx="43752">
                  <c:v>-4.20168067226889E-3</c:v>
                </c:pt>
                <c:pt idx="43753">
                  <c:v>-4.20168067226889E-3</c:v>
                </c:pt>
                <c:pt idx="43754">
                  <c:v>-4.20168067226889E-3</c:v>
                </c:pt>
                <c:pt idx="43755">
                  <c:v>-4.20168067226889E-3</c:v>
                </c:pt>
                <c:pt idx="43756">
                  <c:v>-4.20168067226889E-3</c:v>
                </c:pt>
                <c:pt idx="43757">
                  <c:v>-4.20168067226889E-3</c:v>
                </c:pt>
                <c:pt idx="43758">
                  <c:v>-4.20168067226889E-3</c:v>
                </c:pt>
                <c:pt idx="43759">
                  <c:v>-4.20168067226889E-3</c:v>
                </c:pt>
                <c:pt idx="43760">
                  <c:v>-4.20168067226889E-3</c:v>
                </c:pt>
                <c:pt idx="43761">
                  <c:v>-4.20168067226889E-3</c:v>
                </c:pt>
                <c:pt idx="43762">
                  <c:v>-4.20168067226889E-3</c:v>
                </c:pt>
                <c:pt idx="43763">
                  <c:v>-4.20168067226889E-3</c:v>
                </c:pt>
                <c:pt idx="43764">
                  <c:v>-4.20168067226889E-3</c:v>
                </c:pt>
                <c:pt idx="43765">
                  <c:v>-4.20168067226889E-3</c:v>
                </c:pt>
                <c:pt idx="43766">
                  <c:v>-4.20168067226889E-3</c:v>
                </c:pt>
                <c:pt idx="43767">
                  <c:v>-4.20168067226889E-3</c:v>
                </c:pt>
                <c:pt idx="43768">
                  <c:v>-4.20168067226889E-3</c:v>
                </c:pt>
                <c:pt idx="43769">
                  <c:v>-4.20168067226889E-3</c:v>
                </c:pt>
                <c:pt idx="43770">
                  <c:v>-4.20168067226889E-3</c:v>
                </c:pt>
                <c:pt idx="43771">
                  <c:v>-4.20168067226889E-3</c:v>
                </c:pt>
                <c:pt idx="43772">
                  <c:v>-4.20168067226889E-3</c:v>
                </c:pt>
                <c:pt idx="43773">
                  <c:v>-4.20168067226889E-3</c:v>
                </c:pt>
                <c:pt idx="43774">
                  <c:v>-4.20168067226889E-3</c:v>
                </c:pt>
                <c:pt idx="43775">
                  <c:v>-4.20168067226889E-3</c:v>
                </c:pt>
                <c:pt idx="43776">
                  <c:v>-4.20168067226889E-3</c:v>
                </c:pt>
                <c:pt idx="43777">
                  <c:v>-4.20168067226889E-3</c:v>
                </c:pt>
                <c:pt idx="43778">
                  <c:v>-4.20168067226889E-3</c:v>
                </c:pt>
                <c:pt idx="43779">
                  <c:v>-4.20168067226889E-3</c:v>
                </c:pt>
                <c:pt idx="43780">
                  <c:v>-4.20168067226889E-3</c:v>
                </c:pt>
                <c:pt idx="43781">
                  <c:v>-4.20168067226889E-3</c:v>
                </c:pt>
                <c:pt idx="43782">
                  <c:v>-4.20168067226889E-3</c:v>
                </c:pt>
                <c:pt idx="43783">
                  <c:v>-4.20168067226889E-3</c:v>
                </c:pt>
                <c:pt idx="43784">
                  <c:v>-4.20168067226889E-3</c:v>
                </c:pt>
                <c:pt idx="43785">
                  <c:v>-4.20168067226889E-3</c:v>
                </c:pt>
                <c:pt idx="43786">
                  <c:v>-4.20168067226889E-3</c:v>
                </c:pt>
                <c:pt idx="43787">
                  <c:v>-4.20168067226889E-3</c:v>
                </c:pt>
                <c:pt idx="43788">
                  <c:v>-4.20168067226889E-3</c:v>
                </c:pt>
                <c:pt idx="43789">
                  <c:v>-4.20168067226889E-3</c:v>
                </c:pt>
                <c:pt idx="43790">
                  <c:v>-4.20168067226889E-3</c:v>
                </c:pt>
                <c:pt idx="43791">
                  <c:v>-4.20168067226889E-3</c:v>
                </c:pt>
                <c:pt idx="43792">
                  <c:v>-3.3613445378151102E-3</c:v>
                </c:pt>
                <c:pt idx="43793">
                  <c:v>-3.3613445378151102E-3</c:v>
                </c:pt>
                <c:pt idx="43794">
                  <c:v>-3.3613445378151102E-3</c:v>
                </c:pt>
                <c:pt idx="43795">
                  <c:v>-3.3613445378151102E-3</c:v>
                </c:pt>
                <c:pt idx="43796">
                  <c:v>-3.3613445378151102E-3</c:v>
                </c:pt>
                <c:pt idx="43797">
                  <c:v>-3.3613445378151102E-3</c:v>
                </c:pt>
                <c:pt idx="43798">
                  <c:v>-3.3613445378151102E-3</c:v>
                </c:pt>
                <c:pt idx="43799">
                  <c:v>-3.3613445378151102E-3</c:v>
                </c:pt>
                <c:pt idx="43800">
                  <c:v>-3.3613445378151102E-3</c:v>
                </c:pt>
                <c:pt idx="43801">
                  <c:v>-3.3613445378151102E-3</c:v>
                </c:pt>
                <c:pt idx="43802">
                  <c:v>-3.3613445378151102E-3</c:v>
                </c:pt>
                <c:pt idx="43803">
                  <c:v>-3.3613445378151102E-3</c:v>
                </c:pt>
                <c:pt idx="43804">
                  <c:v>-3.3613445378151102E-3</c:v>
                </c:pt>
                <c:pt idx="43805">
                  <c:v>-3.3613445378151102E-3</c:v>
                </c:pt>
                <c:pt idx="43806">
                  <c:v>-3.3613445378151102E-3</c:v>
                </c:pt>
                <c:pt idx="43807">
                  <c:v>-3.3613445378151102E-3</c:v>
                </c:pt>
                <c:pt idx="43808">
                  <c:v>-3.3613445378151102E-3</c:v>
                </c:pt>
                <c:pt idx="43809">
                  <c:v>-3.3613445378151102E-3</c:v>
                </c:pt>
                <c:pt idx="43810">
                  <c:v>-3.3613445378151102E-3</c:v>
                </c:pt>
                <c:pt idx="43811">
                  <c:v>-3.3613445378151102E-3</c:v>
                </c:pt>
                <c:pt idx="43812">
                  <c:v>-3.3613445378151102E-3</c:v>
                </c:pt>
                <c:pt idx="43813">
                  <c:v>-3.3613445378151102E-3</c:v>
                </c:pt>
                <c:pt idx="43814">
                  <c:v>-3.3613445378151102E-3</c:v>
                </c:pt>
                <c:pt idx="43815">
                  <c:v>-3.3613445378151102E-3</c:v>
                </c:pt>
                <c:pt idx="43816">
                  <c:v>-3.3613445378151102E-3</c:v>
                </c:pt>
                <c:pt idx="43817">
                  <c:v>-3.3613445378151102E-3</c:v>
                </c:pt>
                <c:pt idx="43818">
                  <c:v>-3.3613445378151102E-3</c:v>
                </c:pt>
                <c:pt idx="43819">
                  <c:v>-3.3613445378151102E-3</c:v>
                </c:pt>
                <c:pt idx="43820">
                  <c:v>-3.3613445378151102E-3</c:v>
                </c:pt>
                <c:pt idx="43821">
                  <c:v>-3.3613445378151102E-3</c:v>
                </c:pt>
                <c:pt idx="43822">
                  <c:v>-3.3613445378151102E-3</c:v>
                </c:pt>
                <c:pt idx="43823">
                  <c:v>-3.3613445378151102E-3</c:v>
                </c:pt>
                <c:pt idx="43824">
                  <c:v>-3.3613445378151102E-3</c:v>
                </c:pt>
                <c:pt idx="43825">
                  <c:v>-3.3613445378151102E-3</c:v>
                </c:pt>
                <c:pt idx="43826">
                  <c:v>-3.3613445378151102E-3</c:v>
                </c:pt>
                <c:pt idx="43827">
                  <c:v>-3.3613445378151102E-3</c:v>
                </c:pt>
                <c:pt idx="43828">
                  <c:v>-3.3613445378151102E-3</c:v>
                </c:pt>
                <c:pt idx="43829">
                  <c:v>-3.3613445378151102E-3</c:v>
                </c:pt>
                <c:pt idx="43830">
                  <c:v>-3.3613445378151102E-3</c:v>
                </c:pt>
                <c:pt idx="43831">
                  <c:v>-3.3613445378151102E-3</c:v>
                </c:pt>
                <c:pt idx="43832">
                  <c:v>-3.3613445378151102E-3</c:v>
                </c:pt>
                <c:pt idx="43833">
                  <c:v>-3.3613445378151102E-3</c:v>
                </c:pt>
                <c:pt idx="43834">
                  <c:v>-3.3613445378151102E-3</c:v>
                </c:pt>
                <c:pt idx="43835">
                  <c:v>-3.3613445378151102E-3</c:v>
                </c:pt>
                <c:pt idx="43836">
                  <c:v>-3.3613445378151102E-3</c:v>
                </c:pt>
                <c:pt idx="43837">
                  <c:v>-3.3613445378151102E-3</c:v>
                </c:pt>
                <c:pt idx="43838">
                  <c:v>-3.3613445378151102E-3</c:v>
                </c:pt>
                <c:pt idx="43839">
                  <c:v>-3.3613445378151102E-3</c:v>
                </c:pt>
                <c:pt idx="43840">
                  <c:v>-3.3613445378151102E-3</c:v>
                </c:pt>
                <c:pt idx="43841">
                  <c:v>-3.3613445378151102E-3</c:v>
                </c:pt>
                <c:pt idx="43842">
                  <c:v>-3.3613445378151102E-3</c:v>
                </c:pt>
                <c:pt idx="43843">
                  <c:v>-3.3613445378151102E-3</c:v>
                </c:pt>
                <c:pt idx="43844">
                  <c:v>-3.3613445378151102E-3</c:v>
                </c:pt>
                <c:pt idx="43845">
                  <c:v>-3.3613445378151102E-3</c:v>
                </c:pt>
                <c:pt idx="43846">
                  <c:v>-3.3613445378151102E-3</c:v>
                </c:pt>
                <c:pt idx="43847">
                  <c:v>-3.3613445378151102E-3</c:v>
                </c:pt>
                <c:pt idx="43848">
                  <c:v>-3.3613445378151102E-3</c:v>
                </c:pt>
                <c:pt idx="43849">
                  <c:v>-3.3613445378151102E-3</c:v>
                </c:pt>
                <c:pt idx="43850">
                  <c:v>-3.3613445378151102E-3</c:v>
                </c:pt>
                <c:pt idx="43851">
                  <c:v>-3.3613445378151102E-3</c:v>
                </c:pt>
                <c:pt idx="43852">
                  <c:v>-3.3613445378151102E-3</c:v>
                </c:pt>
                <c:pt idx="43853">
                  <c:v>-3.3613445378151102E-3</c:v>
                </c:pt>
                <c:pt idx="43854">
                  <c:v>-3.3613445378151102E-3</c:v>
                </c:pt>
                <c:pt idx="43855">
                  <c:v>-3.3613445378151102E-3</c:v>
                </c:pt>
                <c:pt idx="43856">
                  <c:v>-3.3613445378151102E-3</c:v>
                </c:pt>
                <c:pt idx="43857">
                  <c:v>-3.3613445378151102E-3</c:v>
                </c:pt>
                <c:pt idx="43858">
                  <c:v>-3.3613445378151102E-3</c:v>
                </c:pt>
                <c:pt idx="43859">
                  <c:v>-3.3613445378151102E-3</c:v>
                </c:pt>
                <c:pt idx="43860">
                  <c:v>-3.3613445378151102E-3</c:v>
                </c:pt>
                <c:pt idx="43861">
                  <c:v>-3.3613445378151102E-3</c:v>
                </c:pt>
                <c:pt idx="43862">
                  <c:v>-3.3613445378151102E-3</c:v>
                </c:pt>
                <c:pt idx="43863">
                  <c:v>-3.3613445378151102E-3</c:v>
                </c:pt>
                <c:pt idx="43864">
                  <c:v>-3.3613445378151102E-3</c:v>
                </c:pt>
                <c:pt idx="43865">
                  <c:v>-3.3613445378151102E-3</c:v>
                </c:pt>
                <c:pt idx="43866">
                  <c:v>-3.3613445378151102E-3</c:v>
                </c:pt>
                <c:pt idx="43867">
                  <c:v>-3.3613445378151102E-3</c:v>
                </c:pt>
                <c:pt idx="43868">
                  <c:v>-3.3613445378151102E-3</c:v>
                </c:pt>
                <c:pt idx="43869">
                  <c:v>-3.3613445378151102E-3</c:v>
                </c:pt>
                <c:pt idx="43870">
                  <c:v>-3.3613445378151102E-3</c:v>
                </c:pt>
                <c:pt idx="43871">
                  <c:v>-3.3613445378151102E-3</c:v>
                </c:pt>
                <c:pt idx="43872">
                  <c:v>-3.3613445378151102E-3</c:v>
                </c:pt>
                <c:pt idx="43873">
                  <c:v>-3.3613445378151102E-3</c:v>
                </c:pt>
                <c:pt idx="43874">
                  <c:v>-3.3613445378151102E-3</c:v>
                </c:pt>
                <c:pt idx="43875">
                  <c:v>-3.3613445378151102E-3</c:v>
                </c:pt>
                <c:pt idx="43876">
                  <c:v>-3.3613445378151102E-3</c:v>
                </c:pt>
                <c:pt idx="43877">
                  <c:v>-3.3613445378151102E-3</c:v>
                </c:pt>
                <c:pt idx="43878">
                  <c:v>-3.3613445378151102E-3</c:v>
                </c:pt>
                <c:pt idx="43879">
                  <c:v>-3.3613445378151102E-3</c:v>
                </c:pt>
                <c:pt idx="43880">
                  <c:v>-3.3613445378151102E-3</c:v>
                </c:pt>
                <c:pt idx="43881">
                  <c:v>-2.5210084033613299E-3</c:v>
                </c:pt>
                <c:pt idx="43882">
                  <c:v>-2.5210084033613299E-3</c:v>
                </c:pt>
                <c:pt idx="43883">
                  <c:v>-2.5210084033613299E-3</c:v>
                </c:pt>
                <c:pt idx="43884">
                  <c:v>-2.5210084033613299E-3</c:v>
                </c:pt>
                <c:pt idx="43885">
                  <c:v>-2.5210084033613299E-3</c:v>
                </c:pt>
                <c:pt idx="43886">
                  <c:v>-2.5210084033613299E-3</c:v>
                </c:pt>
                <c:pt idx="43887">
                  <c:v>-2.5210084033613299E-3</c:v>
                </c:pt>
                <c:pt idx="43888">
                  <c:v>-2.5210084033613299E-3</c:v>
                </c:pt>
                <c:pt idx="43889">
                  <c:v>-2.5210084033613299E-3</c:v>
                </c:pt>
                <c:pt idx="43890">
                  <c:v>-2.5210084033613299E-3</c:v>
                </c:pt>
                <c:pt idx="43891">
                  <c:v>-2.5210084033613299E-3</c:v>
                </c:pt>
                <c:pt idx="43892">
                  <c:v>-2.5210084033613299E-3</c:v>
                </c:pt>
                <c:pt idx="43893">
                  <c:v>-2.5210084033613299E-3</c:v>
                </c:pt>
                <c:pt idx="43894">
                  <c:v>-2.5210084033613299E-3</c:v>
                </c:pt>
                <c:pt idx="43895">
                  <c:v>-2.5210084033613299E-3</c:v>
                </c:pt>
                <c:pt idx="43896">
                  <c:v>-2.5210084033613299E-3</c:v>
                </c:pt>
                <c:pt idx="43897">
                  <c:v>-2.5210084033613299E-3</c:v>
                </c:pt>
                <c:pt idx="43898">
                  <c:v>-2.5210084033613299E-3</c:v>
                </c:pt>
                <c:pt idx="43899">
                  <c:v>-2.5210084033613299E-3</c:v>
                </c:pt>
                <c:pt idx="43900">
                  <c:v>-2.5210084033613299E-3</c:v>
                </c:pt>
                <c:pt idx="43901">
                  <c:v>-2.5210084033613299E-3</c:v>
                </c:pt>
                <c:pt idx="43902">
                  <c:v>-2.5210084033613299E-3</c:v>
                </c:pt>
                <c:pt idx="43903">
                  <c:v>-2.5210084033613299E-3</c:v>
                </c:pt>
                <c:pt idx="43904">
                  <c:v>-2.5210084033613299E-3</c:v>
                </c:pt>
                <c:pt idx="43905">
                  <c:v>-2.5210084033613299E-3</c:v>
                </c:pt>
                <c:pt idx="43906">
                  <c:v>-2.5210084033613299E-3</c:v>
                </c:pt>
                <c:pt idx="43907">
                  <c:v>-2.5210084033613299E-3</c:v>
                </c:pt>
                <c:pt idx="43908">
                  <c:v>-2.5210084033613299E-3</c:v>
                </c:pt>
                <c:pt idx="43909">
                  <c:v>-2.5210084033613299E-3</c:v>
                </c:pt>
                <c:pt idx="43910">
                  <c:v>-2.5210084033613299E-3</c:v>
                </c:pt>
                <c:pt idx="43911">
                  <c:v>-2.5210084033613299E-3</c:v>
                </c:pt>
                <c:pt idx="43912">
                  <c:v>-2.5210084033613299E-3</c:v>
                </c:pt>
                <c:pt idx="43913">
                  <c:v>-2.5210084033613299E-3</c:v>
                </c:pt>
                <c:pt idx="43914">
                  <c:v>-2.5210084033613299E-3</c:v>
                </c:pt>
                <c:pt idx="43915">
                  <c:v>-2.5210084033613299E-3</c:v>
                </c:pt>
                <c:pt idx="43916">
                  <c:v>-2.5210084033613299E-3</c:v>
                </c:pt>
                <c:pt idx="43917">
                  <c:v>-2.5210084033613299E-3</c:v>
                </c:pt>
                <c:pt idx="43918">
                  <c:v>-2.5210084033613299E-3</c:v>
                </c:pt>
                <c:pt idx="43919">
                  <c:v>-2.5210084033613299E-3</c:v>
                </c:pt>
                <c:pt idx="43920">
                  <c:v>-2.5210084033613299E-3</c:v>
                </c:pt>
                <c:pt idx="43921">
                  <c:v>-2.5210084033613299E-3</c:v>
                </c:pt>
                <c:pt idx="43922">
                  <c:v>-2.5210084033613299E-3</c:v>
                </c:pt>
                <c:pt idx="43923">
                  <c:v>-2.5210084033613299E-3</c:v>
                </c:pt>
                <c:pt idx="43924">
                  <c:v>-2.5210084033613299E-3</c:v>
                </c:pt>
                <c:pt idx="43925">
                  <c:v>-2.5210084033613299E-3</c:v>
                </c:pt>
                <c:pt idx="43926">
                  <c:v>-2.5210084033613299E-3</c:v>
                </c:pt>
                <c:pt idx="43927">
                  <c:v>-2.5210084033613299E-3</c:v>
                </c:pt>
                <c:pt idx="43928">
                  <c:v>-2.5210084033613299E-3</c:v>
                </c:pt>
                <c:pt idx="43929">
                  <c:v>-2.5210084033613299E-3</c:v>
                </c:pt>
                <c:pt idx="43930">
                  <c:v>-2.5210084033613299E-3</c:v>
                </c:pt>
                <c:pt idx="43931">
                  <c:v>-2.5210084033613299E-3</c:v>
                </c:pt>
                <c:pt idx="43932">
                  <c:v>-2.5210084033613299E-3</c:v>
                </c:pt>
                <c:pt idx="43933">
                  <c:v>-2.5210084033613299E-3</c:v>
                </c:pt>
                <c:pt idx="43934">
                  <c:v>-2.5210084033613299E-3</c:v>
                </c:pt>
                <c:pt idx="43935">
                  <c:v>-2.5210084033613299E-3</c:v>
                </c:pt>
                <c:pt idx="43936">
                  <c:v>-2.5210084033613299E-3</c:v>
                </c:pt>
                <c:pt idx="43937">
                  <c:v>-2.5210084033613299E-3</c:v>
                </c:pt>
                <c:pt idx="43938">
                  <c:v>-2.5210084033613299E-3</c:v>
                </c:pt>
                <c:pt idx="43939">
                  <c:v>-2.5210084033613299E-3</c:v>
                </c:pt>
                <c:pt idx="43940">
                  <c:v>-2.5210084033613299E-3</c:v>
                </c:pt>
                <c:pt idx="43941">
                  <c:v>-2.5210084033613299E-3</c:v>
                </c:pt>
                <c:pt idx="43942">
                  <c:v>-2.5210084033613299E-3</c:v>
                </c:pt>
                <c:pt idx="43943">
                  <c:v>-2.5210084033613299E-3</c:v>
                </c:pt>
                <c:pt idx="43944">
                  <c:v>-2.5210084033613299E-3</c:v>
                </c:pt>
                <c:pt idx="43945">
                  <c:v>-2.5210084033613299E-3</c:v>
                </c:pt>
                <c:pt idx="43946">
                  <c:v>-2.5210084033613299E-3</c:v>
                </c:pt>
                <c:pt idx="43947">
                  <c:v>-2.5210084033613299E-3</c:v>
                </c:pt>
                <c:pt idx="43948">
                  <c:v>-2.5210084033613299E-3</c:v>
                </c:pt>
                <c:pt idx="43949">
                  <c:v>-2.5210084033613299E-3</c:v>
                </c:pt>
                <c:pt idx="43950">
                  <c:v>-2.5210084033613299E-3</c:v>
                </c:pt>
                <c:pt idx="43951">
                  <c:v>-2.5210084033613299E-3</c:v>
                </c:pt>
                <c:pt idx="43952">
                  <c:v>-2.5210084033613299E-3</c:v>
                </c:pt>
                <c:pt idx="43953">
                  <c:v>-2.5210084033613299E-3</c:v>
                </c:pt>
                <c:pt idx="43954">
                  <c:v>-2.5210084033613299E-3</c:v>
                </c:pt>
                <c:pt idx="43955">
                  <c:v>-2.5210084033613299E-3</c:v>
                </c:pt>
                <c:pt idx="43956">
                  <c:v>-2.5210084033613299E-3</c:v>
                </c:pt>
                <c:pt idx="43957">
                  <c:v>-2.5210084033613299E-3</c:v>
                </c:pt>
                <c:pt idx="43958">
                  <c:v>-2.5210084033613299E-3</c:v>
                </c:pt>
                <c:pt idx="43959">
                  <c:v>-2.5210084033613299E-3</c:v>
                </c:pt>
                <c:pt idx="43960">
                  <c:v>-2.5210084033613299E-3</c:v>
                </c:pt>
                <c:pt idx="43961">
                  <c:v>-2.5210084033613299E-3</c:v>
                </c:pt>
                <c:pt idx="43962">
                  <c:v>-2.5210084033613299E-3</c:v>
                </c:pt>
                <c:pt idx="43963">
                  <c:v>-2.5210084033613299E-3</c:v>
                </c:pt>
                <c:pt idx="43964">
                  <c:v>-2.5210084033613299E-3</c:v>
                </c:pt>
                <c:pt idx="43965">
                  <c:v>-2.5210084033613299E-3</c:v>
                </c:pt>
                <c:pt idx="43966">
                  <c:v>-2.5210084033613299E-3</c:v>
                </c:pt>
                <c:pt idx="43967">
                  <c:v>-2.5210084033613299E-3</c:v>
                </c:pt>
                <c:pt idx="43968">
                  <c:v>-2.5210084033613299E-3</c:v>
                </c:pt>
                <c:pt idx="43969">
                  <c:v>-2.5210084033613299E-3</c:v>
                </c:pt>
                <c:pt idx="43970">
                  <c:v>-2.5210084033613299E-3</c:v>
                </c:pt>
                <c:pt idx="43971">
                  <c:v>-2.5210084033613299E-3</c:v>
                </c:pt>
                <c:pt idx="43972">
                  <c:v>-2.5210084033613299E-3</c:v>
                </c:pt>
                <c:pt idx="43973">
                  <c:v>-2.5210084033613299E-3</c:v>
                </c:pt>
                <c:pt idx="43974">
                  <c:v>-2.5210084033613299E-3</c:v>
                </c:pt>
                <c:pt idx="43975">
                  <c:v>-2.5210084033613299E-3</c:v>
                </c:pt>
                <c:pt idx="43976">
                  <c:v>-2.5210084033613299E-3</c:v>
                </c:pt>
                <c:pt idx="43977">
                  <c:v>-2.5210084033613299E-3</c:v>
                </c:pt>
                <c:pt idx="43978">
                  <c:v>-2.5210084033613299E-3</c:v>
                </c:pt>
                <c:pt idx="43979">
                  <c:v>-2.5210084033613299E-3</c:v>
                </c:pt>
                <c:pt idx="43980">
                  <c:v>-2.5210084033613299E-3</c:v>
                </c:pt>
                <c:pt idx="43981">
                  <c:v>-2.5210084033613299E-3</c:v>
                </c:pt>
                <c:pt idx="43982">
                  <c:v>-2.5210084033613299E-3</c:v>
                </c:pt>
                <c:pt idx="43983">
                  <c:v>-2.5210084033613299E-3</c:v>
                </c:pt>
                <c:pt idx="43984">
                  <c:v>-2.5210084033613299E-3</c:v>
                </c:pt>
                <c:pt idx="43985">
                  <c:v>-2.5210084033613299E-3</c:v>
                </c:pt>
                <c:pt idx="43986">
                  <c:v>-2.5210084033613299E-3</c:v>
                </c:pt>
                <c:pt idx="43987">
                  <c:v>-2.5210084033613299E-3</c:v>
                </c:pt>
                <c:pt idx="43988">
                  <c:v>-2.5210084033613299E-3</c:v>
                </c:pt>
                <c:pt idx="43989">
                  <c:v>-2.5210084033613299E-3</c:v>
                </c:pt>
                <c:pt idx="43990">
                  <c:v>-2.5210084033613299E-3</c:v>
                </c:pt>
                <c:pt idx="43991">
                  <c:v>-2.5210084033613299E-3</c:v>
                </c:pt>
                <c:pt idx="43992">
                  <c:v>-2.5210084033613299E-3</c:v>
                </c:pt>
                <c:pt idx="43993">
                  <c:v>-2.5210084033613299E-3</c:v>
                </c:pt>
                <c:pt idx="43994">
                  <c:v>-2.5210084033613299E-3</c:v>
                </c:pt>
                <c:pt idx="43995">
                  <c:v>-2.5210084033613299E-3</c:v>
                </c:pt>
                <c:pt idx="43996">
                  <c:v>-2.5210084033613299E-3</c:v>
                </c:pt>
                <c:pt idx="43997">
                  <c:v>-3.3613445378151102E-3</c:v>
                </c:pt>
                <c:pt idx="43998">
                  <c:v>-3.3613445378151102E-3</c:v>
                </c:pt>
                <c:pt idx="43999">
                  <c:v>-3.3613445378151102E-3</c:v>
                </c:pt>
                <c:pt idx="44000">
                  <c:v>-3.3613445378151102E-3</c:v>
                </c:pt>
                <c:pt idx="44001">
                  <c:v>-3.3613445378151102E-3</c:v>
                </c:pt>
                <c:pt idx="44002">
                  <c:v>-3.3613445378151102E-3</c:v>
                </c:pt>
                <c:pt idx="44003">
                  <c:v>-3.3613445378151102E-3</c:v>
                </c:pt>
                <c:pt idx="44004">
                  <c:v>-3.3613445378151102E-3</c:v>
                </c:pt>
                <c:pt idx="44005">
                  <c:v>-3.3613445378151102E-3</c:v>
                </c:pt>
                <c:pt idx="44006">
                  <c:v>-3.3613445378151102E-3</c:v>
                </c:pt>
                <c:pt idx="44007">
                  <c:v>-3.3613445378151102E-3</c:v>
                </c:pt>
                <c:pt idx="44008">
                  <c:v>-3.3613445378151102E-3</c:v>
                </c:pt>
                <c:pt idx="44009">
                  <c:v>-2.5210084033613299E-3</c:v>
                </c:pt>
                <c:pt idx="44010">
                  <c:v>-2.5210084033613299E-3</c:v>
                </c:pt>
                <c:pt idx="44011">
                  <c:v>-2.5210084033613299E-3</c:v>
                </c:pt>
                <c:pt idx="44012">
                  <c:v>-2.5210084033613299E-3</c:v>
                </c:pt>
                <c:pt idx="44013">
                  <c:v>-2.5210084033613299E-3</c:v>
                </c:pt>
                <c:pt idx="44014">
                  <c:v>-2.5210084033613299E-3</c:v>
                </c:pt>
                <c:pt idx="44015">
                  <c:v>-2.5210084033613299E-3</c:v>
                </c:pt>
                <c:pt idx="44016">
                  <c:v>-2.5210084033613299E-3</c:v>
                </c:pt>
                <c:pt idx="44017">
                  <c:v>-2.5210084033613299E-3</c:v>
                </c:pt>
                <c:pt idx="44018">
                  <c:v>-2.5210084033613299E-3</c:v>
                </c:pt>
                <c:pt idx="44019">
                  <c:v>-2.5210084033613299E-3</c:v>
                </c:pt>
                <c:pt idx="44020">
                  <c:v>-2.5210084033613299E-3</c:v>
                </c:pt>
                <c:pt idx="44021">
                  <c:v>-2.5210084033613299E-3</c:v>
                </c:pt>
                <c:pt idx="44022">
                  <c:v>-3.3613445378151102E-3</c:v>
                </c:pt>
                <c:pt idx="44023">
                  <c:v>-3.3613445378151102E-3</c:v>
                </c:pt>
                <c:pt idx="44024">
                  <c:v>-3.3613445378151102E-3</c:v>
                </c:pt>
                <c:pt idx="44025">
                  <c:v>-3.3613445378151102E-3</c:v>
                </c:pt>
                <c:pt idx="44026">
                  <c:v>-3.3613445378151102E-3</c:v>
                </c:pt>
                <c:pt idx="44027">
                  <c:v>-3.3613445378151102E-3</c:v>
                </c:pt>
                <c:pt idx="44028">
                  <c:v>-3.3613445378151102E-3</c:v>
                </c:pt>
                <c:pt idx="44029">
                  <c:v>-3.3613445378151102E-3</c:v>
                </c:pt>
                <c:pt idx="44030">
                  <c:v>-3.3613445378151102E-3</c:v>
                </c:pt>
                <c:pt idx="44031">
                  <c:v>-3.3613445378151102E-3</c:v>
                </c:pt>
                <c:pt idx="44032">
                  <c:v>-3.3613445378151102E-3</c:v>
                </c:pt>
                <c:pt idx="44033">
                  <c:v>-3.3613445378151102E-3</c:v>
                </c:pt>
                <c:pt idx="44034">
                  <c:v>-3.3613445378151102E-3</c:v>
                </c:pt>
                <c:pt idx="44035">
                  <c:v>-3.3613445378151102E-3</c:v>
                </c:pt>
                <c:pt idx="44036">
                  <c:v>-3.3613445378151102E-3</c:v>
                </c:pt>
                <c:pt idx="44037">
                  <c:v>-3.3613445378151102E-3</c:v>
                </c:pt>
                <c:pt idx="44038">
                  <c:v>-3.3613445378151102E-3</c:v>
                </c:pt>
                <c:pt idx="44039">
                  <c:v>-3.3613445378151102E-3</c:v>
                </c:pt>
                <c:pt idx="44040">
                  <c:v>-3.3613445378151102E-3</c:v>
                </c:pt>
                <c:pt idx="44041">
                  <c:v>-3.3613445378151102E-3</c:v>
                </c:pt>
                <c:pt idx="44042">
                  <c:v>-3.3613445378151102E-3</c:v>
                </c:pt>
                <c:pt idx="44043">
                  <c:v>-3.3613445378151102E-3</c:v>
                </c:pt>
                <c:pt idx="44044">
                  <c:v>-3.3613445378151102E-3</c:v>
                </c:pt>
                <c:pt idx="44045">
                  <c:v>-4.20168067226889E-3</c:v>
                </c:pt>
                <c:pt idx="44046">
                  <c:v>-4.20168067226889E-3</c:v>
                </c:pt>
                <c:pt idx="44047">
                  <c:v>-4.20168067226889E-3</c:v>
                </c:pt>
                <c:pt idx="44048">
                  <c:v>-4.20168067226889E-3</c:v>
                </c:pt>
                <c:pt idx="44049">
                  <c:v>-4.20168067226889E-3</c:v>
                </c:pt>
                <c:pt idx="44050">
                  <c:v>-4.20168067226889E-3</c:v>
                </c:pt>
                <c:pt idx="44051">
                  <c:v>-4.20168067226889E-3</c:v>
                </c:pt>
                <c:pt idx="44052">
                  <c:v>-4.20168067226889E-3</c:v>
                </c:pt>
                <c:pt idx="44053">
                  <c:v>-4.20168067226889E-3</c:v>
                </c:pt>
                <c:pt idx="44054">
                  <c:v>-4.20168067226889E-3</c:v>
                </c:pt>
                <c:pt idx="44055">
                  <c:v>-4.20168067226889E-3</c:v>
                </c:pt>
                <c:pt idx="44056">
                  <c:v>-4.20168067226889E-3</c:v>
                </c:pt>
                <c:pt idx="44057">
                  <c:v>-4.20168067226889E-3</c:v>
                </c:pt>
                <c:pt idx="44058">
                  <c:v>-4.20168067226889E-3</c:v>
                </c:pt>
                <c:pt idx="44059">
                  <c:v>-4.20168067226889E-3</c:v>
                </c:pt>
                <c:pt idx="44060">
                  <c:v>-4.20168067226889E-3</c:v>
                </c:pt>
                <c:pt idx="44061">
                  <c:v>-4.20168067226889E-3</c:v>
                </c:pt>
                <c:pt idx="44062">
                  <c:v>-4.20168067226889E-3</c:v>
                </c:pt>
                <c:pt idx="44063">
                  <c:v>-4.20168067226889E-3</c:v>
                </c:pt>
                <c:pt idx="44064">
                  <c:v>-4.20168067226889E-3</c:v>
                </c:pt>
                <c:pt idx="44065">
                  <c:v>-4.20168067226889E-3</c:v>
                </c:pt>
                <c:pt idx="44066">
                  <c:v>-4.20168067226889E-3</c:v>
                </c:pt>
                <c:pt idx="44067">
                  <c:v>-4.20168067226889E-3</c:v>
                </c:pt>
                <c:pt idx="44068">
                  <c:v>-4.20168067226889E-3</c:v>
                </c:pt>
                <c:pt idx="44069">
                  <c:v>-4.20168067226889E-3</c:v>
                </c:pt>
                <c:pt idx="44070">
                  <c:v>-4.20168067226889E-3</c:v>
                </c:pt>
                <c:pt idx="44071">
                  <c:v>-4.20168067226889E-3</c:v>
                </c:pt>
                <c:pt idx="44072">
                  <c:v>-4.20168067226889E-3</c:v>
                </c:pt>
                <c:pt idx="44073">
                  <c:v>-4.20168067226889E-3</c:v>
                </c:pt>
                <c:pt idx="44074">
                  <c:v>-4.20168067226889E-3</c:v>
                </c:pt>
                <c:pt idx="44075">
                  <c:v>-4.20168067226889E-3</c:v>
                </c:pt>
                <c:pt idx="44076">
                  <c:v>-4.20168067226889E-3</c:v>
                </c:pt>
                <c:pt idx="44077">
                  <c:v>-4.20168067226889E-3</c:v>
                </c:pt>
                <c:pt idx="44078">
                  <c:v>-4.20168067226889E-3</c:v>
                </c:pt>
                <c:pt idx="44079">
                  <c:v>-4.20168067226889E-3</c:v>
                </c:pt>
                <c:pt idx="44080">
                  <c:v>-4.20168067226889E-3</c:v>
                </c:pt>
                <c:pt idx="44081">
                  <c:v>-4.20168067226889E-3</c:v>
                </c:pt>
                <c:pt idx="44082">
                  <c:v>-4.20168067226889E-3</c:v>
                </c:pt>
                <c:pt idx="44083">
                  <c:v>-4.20168067226889E-3</c:v>
                </c:pt>
                <c:pt idx="44084">
                  <c:v>-4.20168067226889E-3</c:v>
                </c:pt>
                <c:pt idx="44085">
                  <c:v>-4.20168067226889E-3</c:v>
                </c:pt>
                <c:pt idx="44086">
                  <c:v>-4.20168067226889E-3</c:v>
                </c:pt>
                <c:pt idx="44087">
                  <c:v>-4.20168067226889E-3</c:v>
                </c:pt>
                <c:pt idx="44088">
                  <c:v>-4.20168067226889E-3</c:v>
                </c:pt>
                <c:pt idx="44089">
                  <c:v>-4.20168067226889E-3</c:v>
                </c:pt>
                <c:pt idx="44090">
                  <c:v>-4.20168067226889E-3</c:v>
                </c:pt>
                <c:pt idx="44091">
                  <c:v>-4.20168067226889E-3</c:v>
                </c:pt>
                <c:pt idx="44092">
                  <c:v>-4.20168067226889E-3</c:v>
                </c:pt>
                <c:pt idx="44093">
                  <c:v>-4.20168067226889E-3</c:v>
                </c:pt>
                <c:pt idx="44094">
                  <c:v>-4.20168067226889E-3</c:v>
                </c:pt>
                <c:pt idx="44095">
                  <c:v>-4.20168067226889E-3</c:v>
                </c:pt>
                <c:pt idx="44096">
                  <c:v>-4.20168067226889E-3</c:v>
                </c:pt>
                <c:pt idx="44097">
                  <c:v>-4.20168067226889E-3</c:v>
                </c:pt>
                <c:pt idx="44098">
                  <c:v>-4.20168067226889E-3</c:v>
                </c:pt>
                <c:pt idx="44099">
                  <c:v>-4.20168067226889E-3</c:v>
                </c:pt>
                <c:pt idx="44100">
                  <c:v>-4.20168067226889E-3</c:v>
                </c:pt>
                <c:pt idx="44101">
                  <c:v>-4.20168067226889E-3</c:v>
                </c:pt>
                <c:pt idx="44102">
                  <c:v>-4.20168067226889E-3</c:v>
                </c:pt>
                <c:pt idx="44103">
                  <c:v>-4.20168067226889E-3</c:v>
                </c:pt>
                <c:pt idx="44104">
                  <c:v>-4.20168067226889E-3</c:v>
                </c:pt>
                <c:pt idx="44105">
                  <c:v>-4.20168067226889E-3</c:v>
                </c:pt>
                <c:pt idx="44106">
                  <c:v>-4.20168067226889E-3</c:v>
                </c:pt>
                <c:pt idx="44107">
                  <c:v>-4.20168067226889E-3</c:v>
                </c:pt>
                <c:pt idx="44108">
                  <c:v>-4.20168067226889E-3</c:v>
                </c:pt>
                <c:pt idx="44109">
                  <c:v>-4.20168067226889E-3</c:v>
                </c:pt>
                <c:pt idx="44110">
                  <c:v>-4.20168067226889E-3</c:v>
                </c:pt>
                <c:pt idx="44111">
                  <c:v>-4.20168067226889E-3</c:v>
                </c:pt>
                <c:pt idx="44112">
                  <c:v>-4.20168067226889E-3</c:v>
                </c:pt>
                <c:pt idx="44113">
                  <c:v>-4.20168067226889E-3</c:v>
                </c:pt>
                <c:pt idx="44114">
                  <c:v>-4.20168067226889E-3</c:v>
                </c:pt>
                <c:pt idx="44115">
                  <c:v>-4.20168067226889E-3</c:v>
                </c:pt>
                <c:pt idx="44116">
                  <c:v>-4.20168067226889E-3</c:v>
                </c:pt>
                <c:pt idx="44117">
                  <c:v>-4.20168067226889E-3</c:v>
                </c:pt>
                <c:pt idx="44118">
                  <c:v>-4.20168067226889E-3</c:v>
                </c:pt>
                <c:pt idx="44119">
                  <c:v>-4.20168067226889E-3</c:v>
                </c:pt>
                <c:pt idx="44120">
                  <c:v>-4.20168067226889E-3</c:v>
                </c:pt>
                <c:pt idx="44121">
                  <c:v>-4.20168067226889E-3</c:v>
                </c:pt>
                <c:pt idx="44122">
                  <c:v>-4.20168067226889E-3</c:v>
                </c:pt>
                <c:pt idx="44123">
                  <c:v>-4.20168067226889E-3</c:v>
                </c:pt>
                <c:pt idx="44124">
                  <c:v>-4.20168067226889E-3</c:v>
                </c:pt>
                <c:pt idx="44125">
                  <c:v>-4.20168067226889E-3</c:v>
                </c:pt>
                <c:pt idx="44126">
                  <c:v>-4.20168067226889E-3</c:v>
                </c:pt>
                <c:pt idx="44127">
                  <c:v>-4.20168067226889E-3</c:v>
                </c:pt>
                <c:pt idx="44128">
                  <c:v>-4.20168067226889E-3</c:v>
                </c:pt>
                <c:pt idx="44129">
                  <c:v>-4.20168067226889E-3</c:v>
                </c:pt>
                <c:pt idx="44130">
                  <c:v>-3.3613445378151102E-3</c:v>
                </c:pt>
                <c:pt idx="44131">
                  <c:v>-3.3613445378151102E-3</c:v>
                </c:pt>
                <c:pt idx="44132">
                  <c:v>-3.3613445378151102E-3</c:v>
                </c:pt>
                <c:pt idx="44133">
                  <c:v>-3.3613445378151102E-3</c:v>
                </c:pt>
                <c:pt idx="44134">
                  <c:v>-3.3613445378151102E-3</c:v>
                </c:pt>
                <c:pt idx="44135">
                  <c:v>-3.3613445378151102E-3</c:v>
                </c:pt>
                <c:pt idx="44136">
                  <c:v>-3.3613445378151102E-3</c:v>
                </c:pt>
                <c:pt idx="44137">
                  <c:v>-3.3613445378151102E-3</c:v>
                </c:pt>
                <c:pt idx="44138">
                  <c:v>-3.3613445378151102E-3</c:v>
                </c:pt>
                <c:pt idx="44139">
                  <c:v>-3.3613445378151102E-3</c:v>
                </c:pt>
                <c:pt idx="44140">
                  <c:v>-3.3613445378151102E-3</c:v>
                </c:pt>
                <c:pt idx="44141">
                  <c:v>-3.3613445378151102E-3</c:v>
                </c:pt>
                <c:pt idx="44142">
                  <c:v>-3.3613445378151102E-3</c:v>
                </c:pt>
                <c:pt idx="44143">
                  <c:v>-3.3613445378151102E-3</c:v>
                </c:pt>
                <c:pt idx="44144">
                  <c:v>-3.3613445378151102E-3</c:v>
                </c:pt>
                <c:pt idx="44145">
                  <c:v>-3.3613445378151102E-3</c:v>
                </c:pt>
                <c:pt idx="44146">
                  <c:v>-3.3613445378151102E-3</c:v>
                </c:pt>
                <c:pt idx="44147">
                  <c:v>-3.3613445378151102E-3</c:v>
                </c:pt>
                <c:pt idx="44148">
                  <c:v>-3.3613445378151102E-3</c:v>
                </c:pt>
                <c:pt idx="44149">
                  <c:v>-3.3613445378151102E-3</c:v>
                </c:pt>
                <c:pt idx="44150">
                  <c:v>-3.3613445378151102E-3</c:v>
                </c:pt>
                <c:pt idx="44151">
                  <c:v>-3.3613445378151102E-3</c:v>
                </c:pt>
                <c:pt idx="44152">
                  <c:v>-3.3613445378151102E-3</c:v>
                </c:pt>
                <c:pt idx="44153">
                  <c:v>-3.3613445378151102E-3</c:v>
                </c:pt>
                <c:pt idx="44154">
                  <c:v>-3.3613445378151102E-3</c:v>
                </c:pt>
                <c:pt idx="44155">
                  <c:v>-3.3613445378151102E-3</c:v>
                </c:pt>
                <c:pt idx="44156">
                  <c:v>-3.3613445378151102E-3</c:v>
                </c:pt>
                <c:pt idx="44157">
                  <c:v>-3.3613445378151102E-3</c:v>
                </c:pt>
                <c:pt idx="44158">
                  <c:v>-3.3613445378151102E-3</c:v>
                </c:pt>
                <c:pt idx="44159">
                  <c:v>-3.3613445378151102E-3</c:v>
                </c:pt>
                <c:pt idx="44160">
                  <c:v>-3.3613445378151102E-3</c:v>
                </c:pt>
                <c:pt idx="44161">
                  <c:v>-3.3613445378151102E-3</c:v>
                </c:pt>
                <c:pt idx="44162">
                  <c:v>-3.3613445378151102E-3</c:v>
                </c:pt>
                <c:pt idx="44163">
                  <c:v>-3.3613445378151102E-3</c:v>
                </c:pt>
                <c:pt idx="44164">
                  <c:v>-3.3613445378151102E-3</c:v>
                </c:pt>
                <c:pt idx="44165">
                  <c:v>-3.3613445378151102E-3</c:v>
                </c:pt>
                <c:pt idx="44166">
                  <c:v>-3.3613445378151102E-3</c:v>
                </c:pt>
                <c:pt idx="44167">
                  <c:v>-3.3613445378151102E-3</c:v>
                </c:pt>
                <c:pt idx="44168">
                  <c:v>-3.3613445378151102E-3</c:v>
                </c:pt>
                <c:pt idx="44169">
                  <c:v>-3.3613445378151102E-3</c:v>
                </c:pt>
                <c:pt idx="44170">
                  <c:v>-3.3613445378151102E-3</c:v>
                </c:pt>
                <c:pt idx="44171">
                  <c:v>-3.3613445378151102E-3</c:v>
                </c:pt>
                <c:pt idx="44172">
                  <c:v>-3.3613445378151102E-3</c:v>
                </c:pt>
                <c:pt idx="44173">
                  <c:v>-3.3613445378151102E-3</c:v>
                </c:pt>
                <c:pt idx="44174">
                  <c:v>-3.3613445378151102E-3</c:v>
                </c:pt>
                <c:pt idx="44175">
                  <c:v>-3.3613445378151102E-3</c:v>
                </c:pt>
                <c:pt idx="44176">
                  <c:v>-3.3613445378151102E-3</c:v>
                </c:pt>
                <c:pt idx="44177">
                  <c:v>-3.3613445378151102E-3</c:v>
                </c:pt>
                <c:pt idx="44178">
                  <c:v>-3.3613445378151102E-3</c:v>
                </c:pt>
                <c:pt idx="44179">
                  <c:v>-3.3613445378151102E-3</c:v>
                </c:pt>
                <c:pt idx="44180">
                  <c:v>-3.3613445378151102E-3</c:v>
                </c:pt>
                <c:pt idx="44181">
                  <c:v>-3.3613445378151102E-3</c:v>
                </c:pt>
                <c:pt idx="44182">
                  <c:v>-3.3613445378151102E-3</c:v>
                </c:pt>
                <c:pt idx="44183">
                  <c:v>-3.3613445378151102E-3</c:v>
                </c:pt>
                <c:pt idx="44184">
                  <c:v>-3.3613445378151102E-3</c:v>
                </c:pt>
                <c:pt idx="44185">
                  <c:v>-3.3613445378151102E-3</c:v>
                </c:pt>
                <c:pt idx="44186">
                  <c:v>-3.3613445378151102E-3</c:v>
                </c:pt>
                <c:pt idx="44187">
                  <c:v>-3.3613445378151102E-3</c:v>
                </c:pt>
                <c:pt idx="44188">
                  <c:v>-3.3613445378151102E-3</c:v>
                </c:pt>
                <c:pt idx="44189">
                  <c:v>-3.3613445378151102E-3</c:v>
                </c:pt>
                <c:pt idx="44190">
                  <c:v>-3.3613445378151102E-3</c:v>
                </c:pt>
                <c:pt idx="44191">
                  <c:v>-3.3613445378151102E-3</c:v>
                </c:pt>
                <c:pt idx="44192">
                  <c:v>-3.3613445378151102E-3</c:v>
                </c:pt>
                <c:pt idx="44193">
                  <c:v>-3.3613445378151102E-3</c:v>
                </c:pt>
                <c:pt idx="44194">
                  <c:v>-3.3613445378151102E-3</c:v>
                </c:pt>
                <c:pt idx="44195">
                  <c:v>-3.3613445378151102E-3</c:v>
                </c:pt>
                <c:pt idx="44196">
                  <c:v>-3.3613445378151102E-3</c:v>
                </c:pt>
                <c:pt idx="44197">
                  <c:v>-3.3613445378151102E-3</c:v>
                </c:pt>
                <c:pt idx="44198">
                  <c:v>-3.3613445378151102E-3</c:v>
                </c:pt>
                <c:pt idx="44199">
                  <c:v>-3.3613445378151102E-3</c:v>
                </c:pt>
                <c:pt idx="44200">
                  <c:v>-3.3613445378151102E-3</c:v>
                </c:pt>
                <c:pt idx="44201">
                  <c:v>-3.3613445378151102E-3</c:v>
                </c:pt>
                <c:pt idx="44202">
                  <c:v>-3.3613445378151102E-3</c:v>
                </c:pt>
                <c:pt idx="44203">
                  <c:v>-3.3613445378151102E-3</c:v>
                </c:pt>
                <c:pt idx="44204">
                  <c:v>-3.3613445378151102E-3</c:v>
                </c:pt>
                <c:pt idx="44205">
                  <c:v>-3.3613445378151102E-3</c:v>
                </c:pt>
                <c:pt idx="44206">
                  <c:v>-3.3613445378151102E-3</c:v>
                </c:pt>
                <c:pt idx="44207">
                  <c:v>-3.3613445378151102E-3</c:v>
                </c:pt>
                <c:pt idx="44208">
                  <c:v>-3.3613445378151102E-3</c:v>
                </c:pt>
                <c:pt idx="44209">
                  <c:v>-3.3613445378151102E-3</c:v>
                </c:pt>
                <c:pt idx="44210">
                  <c:v>-3.3613445378151102E-3</c:v>
                </c:pt>
                <c:pt idx="44211">
                  <c:v>-3.3613445378151102E-3</c:v>
                </c:pt>
                <c:pt idx="44212">
                  <c:v>-3.3613445378151102E-3</c:v>
                </c:pt>
                <c:pt idx="44213">
                  <c:v>-3.3613445378151102E-3</c:v>
                </c:pt>
                <c:pt idx="44214">
                  <c:v>-3.3613445378151102E-3</c:v>
                </c:pt>
                <c:pt idx="44215">
                  <c:v>-3.3613445378151102E-3</c:v>
                </c:pt>
                <c:pt idx="44216">
                  <c:v>-3.3613445378151102E-3</c:v>
                </c:pt>
                <c:pt idx="44217">
                  <c:v>-3.3613445378151102E-3</c:v>
                </c:pt>
                <c:pt idx="44218">
                  <c:v>-3.3613445378151102E-3</c:v>
                </c:pt>
                <c:pt idx="44219">
                  <c:v>-3.3613445378151102E-3</c:v>
                </c:pt>
                <c:pt idx="44220">
                  <c:v>-3.3613445378151102E-3</c:v>
                </c:pt>
                <c:pt idx="44221">
                  <c:v>-3.3613445378151102E-3</c:v>
                </c:pt>
                <c:pt idx="44222">
                  <c:v>-3.3613445378151102E-3</c:v>
                </c:pt>
                <c:pt idx="44223">
                  <c:v>-3.3613445378151102E-3</c:v>
                </c:pt>
                <c:pt idx="44224">
                  <c:v>-3.3613445378151102E-3</c:v>
                </c:pt>
                <c:pt idx="44225">
                  <c:v>-3.3613445378151102E-3</c:v>
                </c:pt>
                <c:pt idx="44226">
                  <c:v>-3.3613445378151102E-3</c:v>
                </c:pt>
                <c:pt idx="44227">
                  <c:v>-3.3613445378151102E-3</c:v>
                </c:pt>
                <c:pt idx="44228">
                  <c:v>-3.3613445378151102E-3</c:v>
                </c:pt>
                <c:pt idx="44229">
                  <c:v>-3.3613445378151102E-3</c:v>
                </c:pt>
                <c:pt idx="44230">
                  <c:v>-3.3613445378151102E-3</c:v>
                </c:pt>
                <c:pt idx="44231">
                  <c:v>-3.3613445378151102E-3</c:v>
                </c:pt>
                <c:pt idx="44232">
                  <c:v>-3.3613445378151102E-3</c:v>
                </c:pt>
                <c:pt idx="44233">
                  <c:v>-3.3613445378151102E-3</c:v>
                </c:pt>
                <c:pt idx="44234">
                  <c:v>-3.3613445378151102E-3</c:v>
                </c:pt>
                <c:pt idx="44235">
                  <c:v>-3.3613445378151102E-3</c:v>
                </c:pt>
                <c:pt idx="44236">
                  <c:v>-3.3613445378151102E-3</c:v>
                </c:pt>
                <c:pt idx="44237">
                  <c:v>-3.3613445378151102E-3</c:v>
                </c:pt>
                <c:pt idx="44238">
                  <c:v>-3.3613445378151102E-3</c:v>
                </c:pt>
                <c:pt idx="44239">
                  <c:v>-3.3613445378151102E-3</c:v>
                </c:pt>
                <c:pt idx="44240">
                  <c:v>-3.3613445378151102E-3</c:v>
                </c:pt>
                <c:pt idx="44241">
                  <c:v>-3.3613445378151102E-3</c:v>
                </c:pt>
                <c:pt idx="44242">
                  <c:v>-3.3613445378151102E-3</c:v>
                </c:pt>
                <c:pt idx="44243">
                  <c:v>-3.3613445378151102E-3</c:v>
                </c:pt>
                <c:pt idx="44244">
                  <c:v>-3.3613445378151102E-3</c:v>
                </c:pt>
                <c:pt idx="44245">
                  <c:v>-3.3613445378151102E-3</c:v>
                </c:pt>
                <c:pt idx="44246">
                  <c:v>-3.3613445378151102E-3</c:v>
                </c:pt>
                <c:pt idx="44247">
                  <c:v>-3.3613445378151102E-3</c:v>
                </c:pt>
                <c:pt idx="44248">
                  <c:v>-4.20168067226889E-3</c:v>
                </c:pt>
                <c:pt idx="44249">
                  <c:v>-4.20168067226889E-3</c:v>
                </c:pt>
                <c:pt idx="44250">
                  <c:v>-4.20168067226889E-3</c:v>
                </c:pt>
                <c:pt idx="44251">
                  <c:v>-4.20168067226889E-3</c:v>
                </c:pt>
                <c:pt idx="44252">
                  <c:v>-4.20168067226889E-3</c:v>
                </c:pt>
                <c:pt idx="44253">
                  <c:v>-4.20168067226889E-3</c:v>
                </c:pt>
                <c:pt idx="44254">
                  <c:v>-4.20168067226889E-3</c:v>
                </c:pt>
                <c:pt idx="44255">
                  <c:v>-4.20168067226889E-3</c:v>
                </c:pt>
                <c:pt idx="44256">
                  <c:v>-4.20168067226889E-3</c:v>
                </c:pt>
                <c:pt idx="44257">
                  <c:v>-4.20168067226889E-3</c:v>
                </c:pt>
                <c:pt idx="44258">
                  <c:v>-4.20168067226889E-3</c:v>
                </c:pt>
                <c:pt idx="44259">
                  <c:v>-4.20168067226889E-3</c:v>
                </c:pt>
                <c:pt idx="44260">
                  <c:v>-4.20168067226889E-3</c:v>
                </c:pt>
                <c:pt idx="44261">
                  <c:v>-4.20168067226889E-3</c:v>
                </c:pt>
                <c:pt idx="44262">
                  <c:v>-4.20168067226889E-3</c:v>
                </c:pt>
                <c:pt idx="44263">
                  <c:v>-4.20168067226889E-3</c:v>
                </c:pt>
                <c:pt idx="44264">
                  <c:v>-4.20168067226889E-3</c:v>
                </c:pt>
                <c:pt idx="44265">
                  <c:v>-4.20168067226889E-3</c:v>
                </c:pt>
                <c:pt idx="44266">
                  <c:v>-4.20168067226889E-3</c:v>
                </c:pt>
                <c:pt idx="44267">
                  <c:v>-4.20168067226889E-3</c:v>
                </c:pt>
                <c:pt idx="44268">
                  <c:v>-4.20168067226889E-3</c:v>
                </c:pt>
                <c:pt idx="44269">
                  <c:v>-4.20168067226889E-3</c:v>
                </c:pt>
                <c:pt idx="44270">
                  <c:v>-4.20168067226889E-3</c:v>
                </c:pt>
                <c:pt idx="44271">
                  <c:v>-3.3613445378151102E-3</c:v>
                </c:pt>
                <c:pt idx="44272">
                  <c:v>-3.3613445378151102E-3</c:v>
                </c:pt>
                <c:pt idx="44273">
                  <c:v>-3.3613445378151102E-3</c:v>
                </c:pt>
                <c:pt idx="44274">
                  <c:v>-3.3613445378151102E-3</c:v>
                </c:pt>
                <c:pt idx="44275">
                  <c:v>-3.3613445378151102E-3</c:v>
                </c:pt>
                <c:pt idx="44276">
                  <c:v>-3.3613445378151102E-3</c:v>
                </c:pt>
                <c:pt idx="44277">
                  <c:v>-2.5210084033613299E-3</c:v>
                </c:pt>
                <c:pt idx="44278">
                  <c:v>-2.5210084033613299E-3</c:v>
                </c:pt>
                <c:pt idx="44279">
                  <c:v>-2.5210084033613299E-3</c:v>
                </c:pt>
                <c:pt idx="44280">
                  <c:v>-2.5210084033613299E-3</c:v>
                </c:pt>
                <c:pt idx="44281">
                  <c:v>-2.5210084033613299E-3</c:v>
                </c:pt>
                <c:pt idx="44282">
                  <c:v>-2.5210084033613299E-3</c:v>
                </c:pt>
                <c:pt idx="44283">
                  <c:v>-2.5210084033613299E-3</c:v>
                </c:pt>
                <c:pt idx="44284">
                  <c:v>-2.5210084033613299E-3</c:v>
                </c:pt>
                <c:pt idx="44285">
                  <c:v>-2.5210084033613299E-3</c:v>
                </c:pt>
                <c:pt idx="44286">
                  <c:v>-2.5210084033613299E-3</c:v>
                </c:pt>
                <c:pt idx="44287">
                  <c:v>-2.5210084033613299E-3</c:v>
                </c:pt>
                <c:pt idx="44288">
                  <c:v>-2.5210084033613299E-3</c:v>
                </c:pt>
                <c:pt idx="44289">
                  <c:v>-2.5210084033613299E-3</c:v>
                </c:pt>
                <c:pt idx="44290">
                  <c:v>-2.5210084033613299E-3</c:v>
                </c:pt>
                <c:pt idx="44291">
                  <c:v>-2.5210084033613299E-3</c:v>
                </c:pt>
                <c:pt idx="44292">
                  <c:v>-2.5210084033613299E-3</c:v>
                </c:pt>
                <c:pt idx="44293">
                  <c:v>-2.5210084033613299E-3</c:v>
                </c:pt>
                <c:pt idx="44294">
                  <c:v>-2.5210084033613299E-3</c:v>
                </c:pt>
                <c:pt idx="44295">
                  <c:v>-2.5210084033613299E-3</c:v>
                </c:pt>
                <c:pt idx="44296">
                  <c:v>-2.5210084033613299E-3</c:v>
                </c:pt>
                <c:pt idx="44297">
                  <c:v>-2.5210084033613299E-3</c:v>
                </c:pt>
                <c:pt idx="44298">
                  <c:v>-2.5210084033613299E-3</c:v>
                </c:pt>
                <c:pt idx="44299">
                  <c:v>-2.5210084033613299E-3</c:v>
                </c:pt>
                <c:pt idx="44300">
                  <c:v>-2.5210084033613299E-3</c:v>
                </c:pt>
                <c:pt idx="44301">
                  <c:v>-2.5210084033613299E-3</c:v>
                </c:pt>
                <c:pt idx="44302">
                  <c:v>-2.5210084033613299E-3</c:v>
                </c:pt>
                <c:pt idx="44303">
                  <c:v>-2.5210084033613299E-3</c:v>
                </c:pt>
                <c:pt idx="44304">
                  <c:v>-2.5210084033613299E-3</c:v>
                </c:pt>
                <c:pt idx="44305">
                  <c:v>-2.5210084033613299E-3</c:v>
                </c:pt>
                <c:pt idx="44306">
                  <c:v>-2.5210084033613299E-3</c:v>
                </c:pt>
                <c:pt idx="44307">
                  <c:v>-2.5210084033613299E-3</c:v>
                </c:pt>
                <c:pt idx="44308">
                  <c:v>-2.5210084033613299E-3</c:v>
                </c:pt>
                <c:pt idx="44309">
                  <c:v>-2.5210084033613299E-3</c:v>
                </c:pt>
                <c:pt idx="44310">
                  <c:v>-2.5210084033613299E-3</c:v>
                </c:pt>
                <c:pt idx="44311">
                  <c:v>-2.5210084033613299E-3</c:v>
                </c:pt>
                <c:pt idx="44312">
                  <c:v>-2.5210084033613299E-3</c:v>
                </c:pt>
                <c:pt idx="44313">
                  <c:v>-2.5210084033613299E-3</c:v>
                </c:pt>
                <c:pt idx="44314">
                  <c:v>-2.5210084033613299E-3</c:v>
                </c:pt>
                <c:pt idx="44315">
                  <c:v>-2.5210084033613299E-3</c:v>
                </c:pt>
                <c:pt idx="44316">
                  <c:v>-2.5210084033613299E-3</c:v>
                </c:pt>
                <c:pt idx="44317">
                  <c:v>-2.5210084033613299E-3</c:v>
                </c:pt>
                <c:pt idx="44318">
                  <c:v>-2.5210084033613299E-3</c:v>
                </c:pt>
                <c:pt idx="44319">
                  <c:v>-2.5210084033613299E-3</c:v>
                </c:pt>
                <c:pt idx="44320">
                  <c:v>-2.5210084033613299E-3</c:v>
                </c:pt>
                <c:pt idx="44321">
                  <c:v>-2.5210084033613299E-3</c:v>
                </c:pt>
                <c:pt idx="44322">
                  <c:v>-2.5210084033613299E-3</c:v>
                </c:pt>
                <c:pt idx="44323">
                  <c:v>-2.5210084033613299E-3</c:v>
                </c:pt>
                <c:pt idx="44324">
                  <c:v>-2.5210084033613299E-3</c:v>
                </c:pt>
                <c:pt idx="44325">
                  <c:v>-2.5210084033613299E-3</c:v>
                </c:pt>
                <c:pt idx="44326">
                  <c:v>-2.5210084033613299E-3</c:v>
                </c:pt>
                <c:pt idx="44327">
                  <c:v>-2.5210084033613299E-3</c:v>
                </c:pt>
                <c:pt idx="44328">
                  <c:v>-2.5210084033613299E-3</c:v>
                </c:pt>
                <c:pt idx="44329">
                  <c:v>-2.5210084033613299E-3</c:v>
                </c:pt>
                <c:pt idx="44330">
                  <c:v>-2.5210084033613299E-3</c:v>
                </c:pt>
                <c:pt idx="44331">
                  <c:v>-2.5210084033613299E-3</c:v>
                </c:pt>
                <c:pt idx="44332">
                  <c:v>-2.5210084033613299E-3</c:v>
                </c:pt>
                <c:pt idx="44333">
                  <c:v>-2.5210084033613299E-3</c:v>
                </c:pt>
                <c:pt idx="44334">
                  <c:v>-2.5210084033613299E-3</c:v>
                </c:pt>
                <c:pt idx="44335">
                  <c:v>-2.5210084033613299E-3</c:v>
                </c:pt>
                <c:pt idx="44336">
                  <c:v>-2.5210084033613299E-3</c:v>
                </c:pt>
                <c:pt idx="44337">
                  <c:v>-2.5210084033613299E-3</c:v>
                </c:pt>
                <c:pt idx="44338">
                  <c:v>-2.5210084033613299E-3</c:v>
                </c:pt>
                <c:pt idx="44339">
                  <c:v>-2.5210084033613299E-3</c:v>
                </c:pt>
                <c:pt idx="44340">
                  <c:v>-2.5210084033613299E-3</c:v>
                </c:pt>
                <c:pt idx="44341">
                  <c:v>-2.5210084033613299E-3</c:v>
                </c:pt>
                <c:pt idx="44342">
                  <c:v>-2.5210084033613299E-3</c:v>
                </c:pt>
                <c:pt idx="44343">
                  <c:v>-2.5210084033613299E-3</c:v>
                </c:pt>
                <c:pt idx="44344">
                  <c:v>-2.5210084033613299E-3</c:v>
                </c:pt>
                <c:pt idx="44345">
                  <c:v>-2.5210084033613299E-3</c:v>
                </c:pt>
                <c:pt idx="44346">
                  <c:v>-2.5210084033613299E-3</c:v>
                </c:pt>
                <c:pt idx="44347">
                  <c:v>-2.5210084033613299E-3</c:v>
                </c:pt>
                <c:pt idx="44348">
                  <c:v>-2.5210084033613299E-3</c:v>
                </c:pt>
                <c:pt idx="44349">
                  <c:v>-2.5210084033613299E-3</c:v>
                </c:pt>
                <c:pt idx="44350">
                  <c:v>-2.5210084033613299E-3</c:v>
                </c:pt>
                <c:pt idx="44351">
                  <c:v>-2.5210084033613299E-3</c:v>
                </c:pt>
                <c:pt idx="44352">
                  <c:v>-2.5210084033613299E-3</c:v>
                </c:pt>
                <c:pt idx="44353">
                  <c:v>-2.5210084033613299E-3</c:v>
                </c:pt>
                <c:pt idx="44354">
                  <c:v>-2.5210084033613299E-3</c:v>
                </c:pt>
                <c:pt idx="44355">
                  <c:v>-2.5210084033613299E-3</c:v>
                </c:pt>
                <c:pt idx="44356">
                  <c:v>-2.5210084033613299E-3</c:v>
                </c:pt>
                <c:pt idx="44357">
                  <c:v>-2.5210084033613299E-3</c:v>
                </c:pt>
                <c:pt idx="44358">
                  <c:v>-2.5210084033613299E-3</c:v>
                </c:pt>
                <c:pt idx="44359">
                  <c:v>-2.5210084033613299E-3</c:v>
                </c:pt>
                <c:pt idx="44360">
                  <c:v>-2.5210084033613299E-3</c:v>
                </c:pt>
                <c:pt idx="44361">
                  <c:v>-2.5210084033613299E-3</c:v>
                </c:pt>
                <c:pt idx="44362">
                  <c:v>-2.5210084033613299E-3</c:v>
                </c:pt>
                <c:pt idx="44363">
                  <c:v>-2.5210084033613299E-3</c:v>
                </c:pt>
                <c:pt idx="44364">
                  <c:v>-2.5210084033613299E-3</c:v>
                </c:pt>
                <c:pt idx="44365">
                  <c:v>-2.5210084033613299E-3</c:v>
                </c:pt>
                <c:pt idx="44366">
                  <c:v>-2.5210084033613299E-3</c:v>
                </c:pt>
                <c:pt idx="44367">
                  <c:v>-2.5210084033613299E-3</c:v>
                </c:pt>
                <c:pt idx="44368">
                  <c:v>-2.5210084033613299E-3</c:v>
                </c:pt>
                <c:pt idx="44369">
                  <c:v>-2.5210084033613299E-3</c:v>
                </c:pt>
                <c:pt idx="44370">
                  <c:v>-2.5210084033613299E-3</c:v>
                </c:pt>
                <c:pt idx="44371">
                  <c:v>-2.5210084033613299E-3</c:v>
                </c:pt>
                <c:pt idx="44372">
                  <c:v>-2.5210084033613299E-3</c:v>
                </c:pt>
                <c:pt idx="44373">
                  <c:v>-2.5210084033613299E-3</c:v>
                </c:pt>
                <c:pt idx="44374">
                  <c:v>-2.5210084033613299E-3</c:v>
                </c:pt>
                <c:pt idx="44375">
                  <c:v>-2.5210084033613299E-3</c:v>
                </c:pt>
                <c:pt idx="44376">
                  <c:v>-2.5210084033613299E-3</c:v>
                </c:pt>
                <c:pt idx="44377">
                  <c:v>-2.5210084033613299E-3</c:v>
                </c:pt>
                <c:pt idx="44378">
                  <c:v>-2.5210084033613299E-3</c:v>
                </c:pt>
                <c:pt idx="44379">
                  <c:v>-2.5210084033613299E-3</c:v>
                </c:pt>
                <c:pt idx="44380">
                  <c:v>-2.5210084033613299E-3</c:v>
                </c:pt>
                <c:pt idx="44381">
                  <c:v>-2.5210084033613299E-3</c:v>
                </c:pt>
                <c:pt idx="44382">
                  <c:v>-2.5210084033613299E-3</c:v>
                </c:pt>
                <c:pt idx="44383">
                  <c:v>-2.5210084033613299E-3</c:v>
                </c:pt>
                <c:pt idx="44384">
                  <c:v>-2.5210084033613299E-3</c:v>
                </c:pt>
                <c:pt idx="44385">
                  <c:v>-2.5210084033613299E-3</c:v>
                </c:pt>
                <c:pt idx="44386">
                  <c:v>-2.5210084033613299E-3</c:v>
                </c:pt>
                <c:pt idx="44387">
                  <c:v>-2.5210084033613299E-3</c:v>
                </c:pt>
                <c:pt idx="44388">
                  <c:v>-2.5210084033613299E-3</c:v>
                </c:pt>
                <c:pt idx="44389">
                  <c:v>-2.5210084033613299E-3</c:v>
                </c:pt>
                <c:pt idx="44390">
                  <c:v>-2.5210084033613299E-3</c:v>
                </c:pt>
                <c:pt idx="44391">
                  <c:v>-2.5210084033613299E-3</c:v>
                </c:pt>
                <c:pt idx="44392">
                  <c:v>-2.5210084033613299E-3</c:v>
                </c:pt>
                <c:pt idx="44393">
                  <c:v>-2.5210084033613299E-3</c:v>
                </c:pt>
                <c:pt idx="44394">
                  <c:v>-2.5210084033613299E-3</c:v>
                </c:pt>
                <c:pt idx="44395">
                  <c:v>-2.5210084033613299E-3</c:v>
                </c:pt>
                <c:pt idx="44396">
                  <c:v>-2.5210084033613299E-3</c:v>
                </c:pt>
                <c:pt idx="44397">
                  <c:v>-2.5210084033613299E-3</c:v>
                </c:pt>
                <c:pt idx="44398">
                  <c:v>-2.5210084033613299E-3</c:v>
                </c:pt>
                <c:pt idx="44399">
                  <c:v>-2.5210084033613299E-3</c:v>
                </c:pt>
                <c:pt idx="44400">
                  <c:v>-2.5210084033613299E-3</c:v>
                </c:pt>
                <c:pt idx="44401">
                  <c:v>-2.5210084033613299E-3</c:v>
                </c:pt>
                <c:pt idx="44402">
                  <c:v>-2.5210084033613299E-3</c:v>
                </c:pt>
                <c:pt idx="44403">
                  <c:v>-2.5210084033613299E-3</c:v>
                </c:pt>
                <c:pt idx="44404">
                  <c:v>-2.5210084033613299E-3</c:v>
                </c:pt>
                <c:pt idx="44405">
                  <c:v>-2.5210084033613299E-3</c:v>
                </c:pt>
                <c:pt idx="44406">
                  <c:v>-2.5210084033613299E-3</c:v>
                </c:pt>
                <c:pt idx="44407">
                  <c:v>-2.5210084033613299E-3</c:v>
                </c:pt>
                <c:pt idx="44408">
                  <c:v>-2.5210084033613299E-3</c:v>
                </c:pt>
                <c:pt idx="44409">
                  <c:v>-2.5210084033613299E-3</c:v>
                </c:pt>
                <c:pt idx="44410">
                  <c:v>-2.5210084033613299E-3</c:v>
                </c:pt>
                <c:pt idx="44411">
                  <c:v>-2.5210084033613299E-3</c:v>
                </c:pt>
                <c:pt idx="44412">
                  <c:v>-2.5210084033613299E-3</c:v>
                </c:pt>
                <c:pt idx="44413">
                  <c:v>-2.5210084033613299E-3</c:v>
                </c:pt>
                <c:pt idx="44414">
                  <c:v>-2.5210084033613299E-3</c:v>
                </c:pt>
                <c:pt idx="44415">
                  <c:v>-2.5210084033613299E-3</c:v>
                </c:pt>
                <c:pt idx="44416">
                  <c:v>-2.5210084033613299E-3</c:v>
                </c:pt>
                <c:pt idx="44417">
                  <c:v>-2.5210084033613299E-3</c:v>
                </c:pt>
                <c:pt idx="44418">
                  <c:v>-2.5210084033613299E-3</c:v>
                </c:pt>
                <c:pt idx="44419">
                  <c:v>-2.5210084033613299E-3</c:v>
                </c:pt>
                <c:pt idx="44420">
                  <c:v>-2.5210084033613299E-3</c:v>
                </c:pt>
                <c:pt idx="44421">
                  <c:v>-2.5210084033613299E-3</c:v>
                </c:pt>
                <c:pt idx="44422">
                  <c:v>-2.5210084033613299E-3</c:v>
                </c:pt>
                <c:pt idx="44423">
                  <c:v>-2.5210084033613299E-3</c:v>
                </c:pt>
                <c:pt idx="44424">
                  <c:v>-2.5210084033613299E-3</c:v>
                </c:pt>
                <c:pt idx="44425">
                  <c:v>-2.5210084033613299E-3</c:v>
                </c:pt>
                <c:pt idx="44426">
                  <c:v>-2.5210084033613299E-3</c:v>
                </c:pt>
                <c:pt idx="44427">
                  <c:v>-2.5210084033613299E-3</c:v>
                </c:pt>
                <c:pt idx="44428">
                  <c:v>-2.5210084033613299E-3</c:v>
                </c:pt>
                <c:pt idx="44429">
                  <c:v>-2.5210084033613299E-3</c:v>
                </c:pt>
                <c:pt idx="44430">
                  <c:v>-2.5210084033613299E-3</c:v>
                </c:pt>
                <c:pt idx="44431">
                  <c:v>-2.5210084033613299E-3</c:v>
                </c:pt>
                <c:pt idx="44432">
                  <c:v>-2.5210084033613299E-3</c:v>
                </c:pt>
                <c:pt idx="44433">
                  <c:v>-2.5210084033613299E-3</c:v>
                </c:pt>
                <c:pt idx="44434">
                  <c:v>-2.5210084033613299E-3</c:v>
                </c:pt>
                <c:pt idx="44435">
                  <c:v>-2.5210084033613299E-3</c:v>
                </c:pt>
                <c:pt idx="44436">
                  <c:v>-2.5210084033613299E-3</c:v>
                </c:pt>
                <c:pt idx="44437">
                  <c:v>-2.5210084033613299E-3</c:v>
                </c:pt>
                <c:pt idx="44438">
                  <c:v>-2.5210084033613299E-3</c:v>
                </c:pt>
                <c:pt idx="44439">
                  <c:v>-2.5210084033613299E-3</c:v>
                </c:pt>
                <c:pt idx="44440">
                  <c:v>-2.5210084033613299E-3</c:v>
                </c:pt>
                <c:pt idx="44441">
                  <c:v>-2.5210084033613299E-3</c:v>
                </c:pt>
                <c:pt idx="44442">
                  <c:v>-2.5210084033613299E-3</c:v>
                </c:pt>
                <c:pt idx="44443">
                  <c:v>-2.5210084033613299E-3</c:v>
                </c:pt>
                <c:pt idx="44444">
                  <c:v>-2.5210084033613299E-3</c:v>
                </c:pt>
                <c:pt idx="44445">
                  <c:v>-2.5210084033613299E-3</c:v>
                </c:pt>
                <c:pt idx="44446">
                  <c:v>-2.5210084033613299E-3</c:v>
                </c:pt>
                <c:pt idx="44447">
                  <c:v>-2.5210084033613299E-3</c:v>
                </c:pt>
                <c:pt idx="44448">
                  <c:v>-2.5210084033613299E-3</c:v>
                </c:pt>
                <c:pt idx="44449">
                  <c:v>-2.5210084033613299E-3</c:v>
                </c:pt>
                <c:pt idx="44450">
                  <c:v>-2.5210084033613299E-3</c:v>
                </c:pt>
                <c:pt idx="44451">
                  <c:v>-2.5210084033613299E-3</c:v>
                </c:pt>
                <c:pt idx="44452">
                  <c:v>-2.5210084033613299E-3</c:v>
                </c:pt>
                <c:pt idx="44453">
                  <c:v>-2.5210084033613299E-3</c:v>
                </c:pt>
                <c:pt idx="44454">
                  <c:v>-2.5210084033613299E-3</c:v>
                </c:pt>
                <c:pt idx="44455">
                  <c:v>-2.5210084033613299E-3</c:v>
                </c:pt>
                <c:pt idx="44456">
                  <c:v>-2.5210084033613299E-3</c:v>
                </c:pt>
                <c:pt idx="44457">
                  <c:v>-2.5210084033613299E-3</c:v>
                </c:pt>
                <c:pt idx="44458">
                  <c:v>-2.5210084033613299E-3</c:v>
                </c:pt>
                <c:pt idx="44459">
                  <c:v>-2.5210084033613299E-3</c:v>
                </c:pt>
                <c:pt idx="44460">
                  <c:v>-2.5210084033613299E-3</c:v>
                </c:pt>
                <c:pt idx="44461">
                  <c:v>-2.5210084033613299E-3</c:v>
                </c:pt>
                <c:pt idx="44462">
                  <c:v>-2.5210084033613299E-3</c:v>
                </c:pt>
                <c:pt idx="44463">
                  <c:v>-2.5210084033613299E-3</c:v>
                </c:pt>
                <c:pt idx="44464">
                  <c:v>-2.5210084033613299E-3</c:v>
                </c:pt>
                <c:pt idx="44465">
                  <c:v>-2.5210084033613299E-3</c:v>
                </c:pt>
                <c:pt idx="44466">
                  <c:v>-2.5210084033613299E-3</c:v>
                </c:pt>
                <c:pt idx="44467">
                  <c:v>-2.5210084033613299E-3</c:v>
                </c:pt>
                <c:pt idx="44468">
                  <c:v>-2.5210084033613299E-3</c:v>
                </c:pt>
                <c:pt idx="44469">
                  <c:v>-2.5210084033613299E-3</c:v>
                </c:pt>
                <c:pt idx="44470">
                  <c:v>-2.5210084033613299E-3</c:v>
                </c:pt>
                <c:pt idx="44471">
                  <c:v>-2.5210084033613299E-3</c:v>
                </c:pt>
                <c:pt idx="44472">
                  <c:v>-2.5210084033613299E-3</c:v>
                </c:pt>
                <c:pt idx="44473">
                  <c:v>-2.5210084033613299E-3</c:v>
                </c:pt>
                <c:pt idx="44474">
                  <c:v>-2.5210084033613299E-3</c:v>
                </c:pt>
                <c:pt idx="44475">
                  <c:v>-2.5210084033613299E-3</c:v>
                </c:pt>
                <c:pt idx="44476">
                  <c:v>-2.5210084033613299E-3</c:v>
                </c:pt>
                <c:pt idx="44477">
                  <c:v>-2.5210084033613299E-3</c:v>
                </c:pt>
                <c:pt idx="44478">
                  <c:v>-2.5210084033613299E-3</c:v>
                </c:pt>
                <c:pt idx="44479">
                  <c:v>-2.5210084033613299E-3</c:v>
                </c:pt>
                <c:pt idx="44480">
                  <c:v>-2.5210084033613299E-3</c:v>
                </c:pt>
                <c:pt idx="44481">
                  <c:v>-2.5210084033613299E-3</c:v>
                </c:pt>
                <c:pt idx="44482">
                  <c:v>-2.5210084033613299E-3</c:v>
                </c:pt>
                <c:pt idx="44483">
                  <c:v>-2.5210084033613299E-3</c:v>
                </c:pt>
                <c:pt idx="44484">
                  <c:v>-2.5210084033613299E-3</c:v>
                </c:pt>
                <c:pt idx="44485">
                  <c:v>-2.5210084033613299E-3</c:v>
                </c:pt>
                <c:pt idx="44486">
                  <c:v>-2.5210084033613299E-3</c:v>
                </c:pt>
                <c:pt idx="44487">
                  <c:v>-2.5210084033613299E-3</c:v>
                </c:pt>
                <c:pt idx="44488">
                  <c:v>-2.5210084033613299E-3</c:v>
                </c:pt>
                <c:pt idx="44489">
                  <c:v>-2.5210084033613299E-3</c:v>
                </c:pt>
                <c:pt idx="44490">
                  <c:v>-2.5210084033613299E-3</c:v>
                </c:pt>
                <c:pt idx="44491">
                  <c:v>-2.5210084033613299E-3</c:v>
                </c:pt>
                <c:pt idx="44492">
                  <c:v>-2.5210084033613299E-3</c:v>
                </c:pt>
                <c:pt idx="44493">
                  <c:v>-2.5210084033613299E-3</c:v>
                </c:pt>
                <c:pt idx="44494">
                  <c:v>-2.5210084033613299E-3</c:v>
                </c:pt>
                <c:pt idx="44495">
                  <c:v>-2.5210084033613299E-3</c:v>
                </c:pt>
                <c:pt idx="44496">
                  <c:v>-2.5210084033613299E-3</c:v>
                </c:pt>
                <c:pt idx="44497">
                  <c:v>-2.5210084033613299E-3</c:v>
                </c:pt>
                <c:pt idx="44498">
                  <c:v>-2.5210084033613299E-3</c:v>
                </c:pt>
                <c:pt idx="44499">
                  <c:v>-2.5210084033613299E-3</c:v>
                </c:pt>
                <c:pt idx="44500">
                  <c:v>-2.5210084033613299E-3</c:v>
                </c:pt>
                <c:pt idx="44501">
                  <c:v>-2.5210084033613299E-3</c:v>
                </c:pt>
                <c:pt idx="44502">
                  <c:v>-2.5210084033613299E-3</c:v>
                </c:pt>
                <c:pt idx="44503">
                  <c:v>-2.5210084033613299E-3</c:v>
                </c:pt>
                <c:pt idx="44504">
                  <c:v>-2.5210084033613299E-3</c:v>
                </c:pt>
                <c:pt idx="44505">
                  <c:v>-2.5210084033613299E-3</c:v>
                </c:pt>
                <c:pt idx="44506">
                  <c:v>-2.5210084033613299E-3</c:v>
                </c:pt>
                <c:pt idx="44507">
                  <c:v>-2.5210084033613299E-3</c:v>
                </c:pt>
                <c:pt idx="44508">
                  <c:v>-2.5210084033613299E-3</c:v>
                </c:pt>
                <c:pt idx="44509">
                  <c:v>-2.5210084033613299E-3</c:v>
                </c:pt>
                <c:pt idx="44510">
                  <c:v>-2.5210084033613299E-3</c:v>
                </c:pt>
                <c:pt idx="44511">
                  <c:v>-2.5210084033613299E-3</c:v>
                </c:pt>
                <c:pt idx="44512">
                  <c:v>-2.5210084033613299E-3</c:v>
                </c:pt>
                <c:pt idx="44513">
                  <c:v>-2.5210084033613299E-3</c:v>
                </c:pt>
                <c:pt idx="44514">
                  <c:v>-2.5210084033613299E-3</c:v>
                </c:pt>
                <c:pt idx="44515">
                  <c:v>-2.5210084033613299E-3</c:v>
                </c:pt>
                <c:pt idx="44516">
                  <c:v>-3.3613445378151102E-3</c:v>
                </c:pt>
                <c:pt idx="44517">
                  <c:v>-3.3613445378151102E-3</c:v>
                </c:pt>
                <c:pt idx="44518">
                  <c:v>-3.3613445378151102E-3</c:v>
                </c:pt>
                <c:pt idx="44519">
                  <c:v>-3.3613445378151102E-3</c:v>
                </c:pt>
                <c:pt idx="44520">
                  <c:v>-3.3613445378151102E-3</c:v>
                </c:pt>
                <c:pt idx="44521">
                  <c:v>-3.3613445378151102E-3</c:v>
                </c:pt>
                <c:pt idx="44522">
                  <c:v>-3.3613445378151102E-3</c:v>
                </c:pt>
                <c:pt idx="44523">
                  <c:v>-3.3613445378151102E-3</c:v>
                </c:pt>
                <c:pt idx="44524">
                  <c:v>-3.3613445378151102E-3</c:v>
                </c:pt>
                <c:pt idx="44525">
                  <c:v>-3.3613445378151102E-3</c:v>
                </c:pt>
                <c:pt idx="44526">
                  <c:v>-3.3613445378151102E-3</c:v>
                </c:pt>
                <c:pt idx="44527">
                  <c:v>-3.3613445378151102E-3</c:v>
                </c:pt>
                <c:pt idx="44528">
                  <c:v>-3.3613445378151102E-3</c:v>
                </c:pt>
                <c:pt idx="44529">
                  <c:v>-3.3613445378151102E-3</c:v>
                </c:pt>
                <c:pt idx="44530">
                  <c:v>-3.3613445378151102E-3</c:v>
                </c:pt>
                <c:pt idx="44531">
                  <c:v>-3.3613445378151102E-3</c:v>
                </c:pt>
                <c:pt idx="44532">
                  <c:v>-3.3613445378151102E-3</c:v>
                </c:pt>
                <c:pt idx="44533">
                  <c:v>-3.3613445378151102E-3</c:v>
                </c:pt>
                <c:pt idx="44534">
                  <c:v>-3.3613445378151102E-3</c:v>
                </c:pt>
                <c:pt idx="44535">
                  <c:v>-3.3613445378151102E-3</c:v>
                </c:pt>
                <c:pt idx="44536">
                  <c:v>-3.3613445378151102E-3</c:v>
                </c:pt>
                <c:pt idx="44537">
                  <c:v>-3.3613445378151102E-3</c:v>
                </c:pt>
                <c:pt idx="44538">
                  <c:v>-3.3613445378151102E-3</c:v>
                </c:pt>
                <c:pt idx="44539">
                  <c:v>-3.3613445378151102E-3</c:v>
                </c:pt>
                <c:pt idx="44540">
                  <c:v>-3.3613445378151102E-3</c:v>
                </c:pt>
                <c:pt idx="44541">
                  <c:v>-3.3613445378151102E-3</c:v>
                </c:pt>
                <c:pt idx="44542">
                  <c:v>-3.3613445378151102E-3</c:v>
                </c:pt>
                <c:pt idx="44543">
                  <c:v>-3.3613445378151102E-3</c:v>
                </c:pt>
                <c:pt idx="44544">
                  <c:v>-3.3613445378151102E-3</c:v>
                </c:pt>
                <c:pt idx="44545">
                  <c:v>-3.3613445378151102E-3</c:v>
                </c:pt>
                <c:pt idx="44546">
                  <c:v>-3.3613445378151102E-3</c:v>
                </c:pt>
                <c:pt idx="44547">
                  <c:v>-3.3613445378151102E-3</c:v>
                </c:pt>
                <c:pt idx="44548">
                  <c:v>-3.3613445378151102E-3</c:v>
                </c:pt>
                <c:pt idx="44549">
                  <c:v>-3.3613445378151102E-3</c:v>
                </c:pt>
                <c:pt idx="44550">
                  <c:v>-3.3613445378151102E-3</c:v>
                </c:pt>
                <c:pt idx="44551">
                  <c:v>-3.3613445378151102E-3</c:v>
                </c:pt>
                <c:pt idx="44552">
                  <c:v>-3.3613445378151102E-3</c:v>
                </c:pt>
                <c:pt idx="44553">
                  <c:v>-3.3613445378151102E-3</c:v>
                </c:pt>
                <c:pt idx="44554">
                  <c:v>-3.3613445378151102E-3</c:v>
                </c:pt>
                <c:pt idx="44555">
                  <c:v>-3.3613445378151102E-3</c:v>
                </c:pt>
                <c:pt idx="44556">
                  <c:v>-3.3613445378151102E-3</c:v>
                </c:pt>
                <c:pt idx="44557">
                  <c:v>-3.3613445378151102E-3</c:v>
                </c:pt>
                <c:pt idx="44558">
                  <c:v>-3.3613445378151102E-3</c:v>
                </c:pt>
                <c:pt idx="44559">
                  <c:v>-3.3613445378151102E-3</c:v>
                </c:pt>
                <c:pt idx="44560">
                  <c:v>-3.3613445378151102E-3</c:v>
                </c:pt>
                <c:pt idx="44561">
                  <c:v>-3.3613445378151102E-3</c:v>
                </c:pt>
                <c:pt idx="44562">
                  <c:v>-3.3613445378151102E-3</c:v>
                </c:pt>
                <c:pt idx="44563">
                  <c:v>-3.3613445378151102E-3</c:v>
                </c:pt>
                <c:pt idx="44564">
                  <c:v>-3.3613445378151102E-3</c:v>
                </c:pt>
                <c:pt idx="44565">
                  <c:v>-3.3613445378151102E-3</c:v>
                </c:pt>
                <c:pt idx="44566">
                  <c:v>-3.3613445378151102E-3</c:v>
                </c:pt>
                <c:pt idx="44567">
                  <c:v>-3.3613445378151102E-3</c:v>
                </c:pt>
                <c:pt idx="44568">
                  <c:v>-3.3613445378151102E-3</c:v>
                </c:pt>
                <c:pt idx="44569">
                  <c:v>-3.3613445378151102E-3</c:v>
                </c:pt>
                <c:pt idx="44570">
                  <c:v>-3.3613445378151102E-3</c:v>
                </c:pt>
                <c:pt idx="44571">
                  <c:v>-3.3613445378151102E-3</c:v>
                </c:pt>
                <c:pt idx="44572">
                  <c:v>-3.3613445378151102E-3</c:v>
                </c:pt>
                <c:pt idx="44573">
                  <c:v>-3.3613445378151102E-3</c:v>
                </c:pt>
                <c:pt idx="44574">
                  <c:v>-3.3613445378151102E-3</c:v>
                </c:pt>
                <c:pt idx="44575">
                  <c:v>-3.3613445378151102E-3</c:v>
                </c:pt>
                <c:pt idx="44576">
                  <c:v>-3.3613445378151102E-3</c:v>
                </c:pt>
                <c:pt idx="44577">
                  <c:v>-3.3613445378151102E-3</c:v>
                </c:pt>
                <c:pt idx="44578">
                  <c:v>-3.3613445378151102E-3</c:v>
                </c:pt>
                <c:pt idx="44579">
                  <c:v>-3.3613445378151102E-3</c:v>
                </c:pt>
                <c:pt idx="44580">
                  <c:v>-3.3613445378151102E-3</c:v>
                </c:pt>
                <c:pt idx="44581">
                  <c:v>-3.3613445378151102E-3</c:v>
                </c:pt>
                <c:pt idx="44582">
                  <c:v>-3.3613445378151102E-3</c:v>
                </c:pt>
                <c:pt idx="44583">
                  <c:v>-3.3613445378151102E-3</c:v>
                </c:pt>
                <c:pt idx="44584">
                  <c:v>-3.3613445378151102E-3</c:v>
                </c:pt>
                <c:pt idx="44585">
                  <c:v>-3.3613445378151102E-3</c:v>
                </c:pt>
                <c:pt idx="44586">
                  <c:v>-3.3613445378151102E-3</c:v>
                </c:pt>
                <c:pt idx="44587">
                  <c:v>-3.3613445378151102E-3</c:v>
                </c:pt>
                <c:pt idx="44588">
                  <c:v>-3.3613445378151102E-3</c:v>
                </c:pt>
                <c:pt idx="44589">
                  <c:v>-3.3613445378151102E-3</c:v>
                </c:pt>
                <c:pt idx="44590">
                  <c:v>-3.3613445378151102E-3</c:v>
                </c:pt>
                <c:pt idx="44591">
                  <c:v>-3.3613445378151102E-3</c:v>
                </c:pt>
                <c:pt idx="44592">
                  <c:v>-3.3613445378151102E-3</c:v>
                </c:pt>
                <c:pt idx="44593">
                  <c:v>-3.3613445378151102E-3</c:v>
                </c:pt>
                <c:pt idx="44594">
                  <c:v>-3.3613445378151102E-3</c:v>
                </c:pt>
                <c:pt idx="44595">
                  <c:v>-3.3613445378151102E-3</c:v>
                </c:pt>
                <c:pt idx="44596">
                  <c:v>-3.3613445378151102E-3</c:v>
                </c:pt>
                <c:pt idx="44597">
                  <c:v>-3.3613445378151102E-3</c:v>
                </c:pt>
                <c:pt idx="44598">
                  <c:v>-3.3613445378151102E-3</c:v>
                </c:pt>
                <c:pt idx="44599">
                  <c:v>-3.3613445378151102E-3</c:v>
                </c:pt>
                <c:pt idx="44600">
                  <c:v>-3.3613445378151102E-3</c:v>
                </c:pt>
                <c:pt idx="44601">
                  <c:v>-3.3613445378151102E-3</c:v>
                </c:pt>
                <c:pt idx="44602">
                  <c:v>-3.3613445378151102E-3</c:v>
                </c:pt>
                <c:pt idx="44603">
                  <c:v>-3.3613445378151102E-3</c:v>
                </c:pt>
                <c:pt idx="44604">
                  <c:v>-3.3613445378151102E-3</c:v>
                </c:pt>
                <c:pt idx="44605">
                  <c:v>-3.3613445378151102E-3</c:v>
                </c:pt>
                <c:pt idx="44606">
                  <c:v>-3.3613445378151102E-3</c:v>
                </c:pt>
                <c:pt idx="44607">
                  <c:v>-3.3613445378151102E-3</c:v>
                </c:pt>
                <c:pt idx="44608">
                  <c:v>-3.3613445378151102E-3</c:v>
                </c:pt>
                <c:pt idx="44609">
                  <c:v>-3.3613445378151102E-3</c:v>
                </c:pt>
                <c:pt idx="44610">
                  <c:v>-3.3613445378151102E-3</c:v>
                </c:pt>
                <c:pt idx="44611">
                  <c:v>-3.3613445378151102E-3</c:v>
                </c:pt>
                <c:pt idx="44612">
                  <c:v>-3.3613445378151102E-3</c:v>
                </c:pt>
                <c:pt idx="44613">
                  <c:v>-3.3613445378151102E-3</c:v>
                </c:pt>
                <c:pt idx="44614">
                  <c:v>-3.3613445378151102E-3</c:v>
                </c:pt>
                <c:pt idx="44615">
                  <c:v>-3.3613445378151102E-3</c:v>
                </c:pt>
                <c:pt idx="44616">
                  <c:v>-3.3613445378151102E-3</c:v>
                </c:pt>
                <c:pt idx="44617">
                  <c:v>-3.3613445378151102E-3</c:v>
                </c:pt>
                <c:pt idx="44618">
                  <c:v>-3.3613445378151102E-3</c:v>
                </c:pt>
                <c:pt idx="44619">
                  <c:v>-3.3613445378151102E-3</c:v>
                </c:pt>
                <c:pt idx="44620">
                  <c:v>-3.3613445378151102E-3</c:v>
                </c:pt>
                <c:pt idx="44621">
                  <c:v>-3.3613445378151102E-3</c:v>
                </c:pt>
                <c:pt idx="44622">
                  <c:v>-3.3613445378151102E-3</c:v>
                </c:pt>
                <c:pt idx="44623">
                  <c:v>-3.3613445378151102E-3</c:v>
                </c:pt>
                <c:pt idx="44624">
                  <c:v>-3.3613445378151102E-3</c:v>
                </c:pt>
                <c:pt idx="44625">
                  <c:v>-3.3613445378151102E-3</c:v>
                </c:pt>
                <c:pt idx="44626">
                  <c:v>-3.3613445378151102E-3</c:v>
                </c:pt>
                <c:pt idx="44627">
                  <c:v>-3.3613445378151102E-3</c:v>
                </c:pt>
                <c:pt idx="44628">
                  <c:v>-3.3613445378151102E-3</c:v>
                </c:pt>
                <c:pt idx="44629">
                  <c:v>-3.3613445378151102E-3</c:v>
                </c:pt>
                <c:pt idx="44630">
                  <c:v>-3.3613445378151102E-3</c:v>
                </c:pt>
                <c:pt idx="44631">
                  <c:v>-3.3613445378151102E-3</c:v>
                </c:pt>
                <c:pt idx="44632">
                  <c:v>-3.3613445378151102E-3</c:v>
                </c:pt>
                <c:pt idx="44633">
                  <c:v>-3.3613445378151102E-3</c:v>
                </c:pt>
                <c:pt idx="44634">
                  <c:v>-3.3613445378151102E-3</c:v>
                </c:pt>
                <c:pt idx="44635">
                  <c:v>-3.3613445378151102E-3</c:v>
                </c:pt>
                <c:pt idx="44636">
                  <c:v>-3.3613445378151102E-3</c:v>
                </c:pt>
                <c:pt idx="44637">
                  <c:v>-3.3613445378151102E-3</c:v>
                </c:pt>
                <c:pt idx="44638">
                  <c:v>-3.3613445378151102E-3</c:v>
                </c:pt>
                <c:pt idx="44639">
                  <c:v>-3.3613445378151102E-3</c:v>
                </c:pt>
                <c:pt idx="44640">
                  <c:v>-3.3613445378151102E-3</c:v>
                </c:pt>
                <c:pt idx="44641">
                  <c:v>-3.3613445378151102E-3</c:v>
                </c:pt>
                <c:pt idx="44642">
                  <c:v>-3.3613445378151102E-3</c:v>
                </c:pt>
                <c:pt idx="44643">
                  <c:v>-3.3613445378151102E-3</c:v>
                </c:pt>
                <c:pt idx="44644">
                  <c:v>-3.3613445378151102E-3</c:v>
                </c:pt>
                <c:pt idx="44645">
                  <c:v>-3.3613445378151102E-3</c:v>
                </c:pt>
                <c:pt idx="44646">
                  <c:v>-3.3613445378151102E-3</c:v>
                </c:pt>
                <c:pt idx="44647">
                  <c:v>-3.3613445378151102E-3</c:v>
                </c:pt>
                <c:pt idx="44648">
                  <c:v>-3.3613445378151102E-3</c:v>
                </c:pt>
                <c:pt idx="44649">
                  <c:v>-2.5210084033613299E-3</c:v>
                </c:pt>
                <c:pt idx="44650">
                  <c:v>-2.5210084033613299E-3</c:v>
                </c:pt>
                <c:pt idx="44651">
                  <c:v>-2.5210084033613299E-3</c:v>
                </c:pt>
                <c:pt idx="44652">
                  <c:v>-2.5210084033613299E-3</c:v>
                </c:pt>
                <c:pt idx="44653">
                  <c:v>-2.5210084033613299E-3</c:v>
                </c:pt>
                <c:pt idx="44654">
                  <c:v>-2.5210084033613299E-3</c:v>
                </c:pt>
                <c:pt idx="44655">
                  <c:v>-2.5210084033613299E-3</c:v>
                </c:pt>
                <c:pt idx="44656">
                  <c:v>-2.5210084033613299E-3</c:v>
                </c:pt>
                <c:pt idx="44657">
                  <c:v>-2.5210084033613299E-3</c:v>
                </c:pt>
                <c:pt idx="44658">
                  <c:v>-2.5210084033613299E-3</c:v>
                </c:pt>
                <c:pt idx="44659">
                  <c:v>-1.6806722689075499E-3</c:v>
                </c:pt>
                <c:pt idx="44660">
                  <c:v>-1.6806722689075499E-3</c:v>
                </c:pt>
                <c:pt idx="44661">
                  <c:v>-1.6806722689075499E-3</c:v>
                </c:pt>
                <c:pt idx="44662">
                  <c:v>-1.6806722689075499E-3</c:v>
                </c:pt>
                <c:pt idx="44663">
                  <c:v>-1.6806722689075499E-3</c:v>
                </c:pt>
                <c:pt idx="44664">
                  <c:v>-2.5210084033613299E-3</c:v>
                </c:pt>
                <c:pt idx="44665">
                  <c:v>-2.5210084033613299E-3</c:v>
                </c:pt>
                <c:pt idx="44666">
                  <c:v>-2.5210084033613299E-3</c:v>
                </c:pt>
                <c:pt idx="44667">
                  <c:v>-2.5210084033613299E-3</c:v>
                </c:pt>
                <c:pt idx="44668">
                  <c:v>-2.5210084033613299E-3</c:v>
                </c:pt>
                <c:pt idx="44669">
                  <c:v>-2.5210084033613299E-3</c:v>
                </c:pt>
                <c:pt idx="44670">
                  <c:v>-2.5210084033613299E-3</c:v>
                </c:pt>
                <c:pt idx="44671">
                  <c:v>-2.5210084033613299E-3</c:v>
                </c:pt>
                <c:pt idx="44672">
                  <c:v>-2.5210084033613299E-3</c:v>
                </c:pt>
                <c:pt idx="44673">
                  <c:v>-2.5210084033613299E-3</c:v>
                </c:pt>
                <c:pt idx="44674">
                  <c:v>-2.5210084033613299E-3</c:v>
                </c:pt>
                <c:pt idx="44675">
                  <c:v>-2.5210084033613299E-3</c:v>
                </c:pt>
                <c:pt idx="44676">
                  <c:v>-2.5210084033613299E-3</c:v>
                </c:pt>
                <c:pt idx="44677">
                  <c:v>-2.5210084033613299E-3</c:v>
                </c:pt>
                <c:pt idx="44678">
                  <c:v>-2.5210084033613299E-3</c:v>
                </c:pt>
                <c:pt idx="44679">
                  <c:v>-2.5210084033613299E-3</c:v>
                </c:pt>
                <c:pt idx="44680">
                  <c:v>-2.5210084033613299E-3</c:v>
                </c:pt>
                <c:pt idx="44681">
                  <c:v>-2.5210084033613299E-3</c:v>
                </c:pt>
                <c:pt idx="44682">
                  <c:v>-2.5210084033613299E-3</c:v>
                </c:pt>
                <c:pt idx="44683">
                  <c:v>-2.5210084033613299E-3</c:v>
                </c:pt>
                <c:pt idx="44684">
                  <c:v>-2.5210084033613299E-3</c:v>
                </c:pt>
                <c:pt idx="44685">
                  <c:v>-1.6806722689075499E-3</c:v>
                </c:pt>
                <c:pt idx="44686">
                  <c:v>-1.6806722689075499E-3</c:v>
                </c:pt>
                <c:pt idx="44687">
                  <c:v>-1.6806722689075499E-3</c:v>
                </c:pt>
                <c:pt idx="44688">
                  <c:v>-1.6806722689075499E-3</c:v>
                </c:pt>
                <c:pt idx="44689">
                  <c:v>-1.6806722689075499E-3</c:v>
                </c:pt>
                <c:pt idx="44690">
                  <c:v>-1.6806722689075499E-3</c:v>
                </c:pt>
                <c:pt idx="44691">
                  <c:v>-1.6806722689075499E-3</c:v>
                </c:pt>
                <c:pt idx="44692">
                  <c:v>-1.6806722689075499E-3</c:v>
                </c:pt>
                <c:pt idx="44693">
                  <c:v>-1.6806722689075499E-3</c:v>
                </c:pt>
                <c:pt idx="44694">
                  <c:v>-1.6806722689075499E-3</c:v>
                </c:pt>
                <c:pt idx="44695">
                  <c:v>-1.6806722689075499E-3</c:v>
                </c:pt>
                <c:pt idx="44696">
                  <c:v>-1.6806722689075499E-3</c:v>
                </c:pt>
                <c:pt idx="44697">
                  <c:v>-1.6806722689075499E-3</c:v>
                </c:pt>
                <c:pt idx="44698">
                  <c:v>-1.6806722689075499E-3</c:v>
                </c:pt>
                <c:pt idx="44699">
                  <c:v>-1.6806722689075499E-3</c:v>
                </c:pt>
                <c:pt idx="44700">
                  <c:v>-1.6806722689075499E-3</c:v>
                </c:pt>
                <c:pt idx="44701">
                  <c:v>-1.6806722689075499E-3</c:v>
                </c:pt>
                <c:pt idx="44702">
                  <c:v>-1.6806722689075499E-3</c:v>
                </c:pt>
                <c:pt idx="44703">
                  <c:v>-1.6806722689075499E-3</c:v>
                </c:pt>
                <c:pt idx="44704">
                  <c:v>-1.6806722689075499E-3</c:v>
                </c:pt>
                <c:pt idx="44705">
                  <c:v>-1.6806722689075499E-3</c:v>
                </c:pt>
                <c:pt idx="44706">
                  <c:v>-1.6806722689075499E-3</c:v>
                </c:pt>
                <c:pt idx="44707">
                  <c:v>-1.6806722689075499E-3</c:v>
                </c:pt>
                <c:pt idx="44708">
                  <c:v>-1.6806722689075499E-3</c:v>
                </c:pt>
                <c:pt idx="44709">
                  <c:v>-1.6806722689075499E-3</c:v>
                </c:pt>
                <c:pt idx="44710">
                  <c:v>-1.6806722689075499E-3</c:v>
                </c:pt>
                <c:pt idx="44711">
                  <c:v>-1.6806722689075499E-3</c:v>
                </c:pt>
                <c:pt idx="44712">
                  <c:v>-1.6806722689075499E-3</c:v>
                </c:pt>
                <c:pt idx="44713">
                  <c:v>-1.6806722689075499E-3</c:v>
                </c:pt>
                <c:pt idx="44714">
                  <c:v>-1.6806722689075499E-3</c:v>
                </c:pt>
                <c:pt idx="44715">
                  <c:v>-1.6806722689075499E-3</c:v>
                </c:pt>
                <c:pt idx="44716">
                  <c:v>-1.6806722689075499E-3</c:v>
                </c:pt>
                <c:pt idx="44717">
                  <c:v>-1.6806722689075499E-3</c:v>
                </c:pt>
                <c:pt idx="44718">
                  <c:v>-1.6806722689075499E-3</c:v>
                </c:pt>
                <c:pt idx="44719">
                  <c:v>-1.6806722689075499E-3</c:v>
                </c:pt>
                <c:pt idx="44720">
                  <c:v>-1.6806722689075499E-3</c:v>
                </c:pt>
                <c:pt idx="44721">
                  <c:v>-1.6806722689075499E-3</c:v>
                </c:pt>
                <c:pt idx="44722">
                  <c:v>-1.6806722689075499E-3</c:v>
                </c:pt>
                <c:pt idx="44723">
                  <c:v>-1.6806722689075499E-3</c:v>
                </c:pt>
                <c:pt idx="44724">
                  <c:v>-1.6806722689075499E-3</c:v>
                </c:pt>
                <c:pt idx="44725">
                  <c:v>-1.6806722689075499E-3</c:v>
                </c:pt>
                <c:pt idx="44726">
                  <c:v>-1.6806722689075499E-3</c:v>
                </c:pt>
                <c:pt idx="44727">
                  <c:v>-1.6806722689075499E-3</c:v>
                </c:pt>
                <c:pt idx="44728">
                  <c:v>-1.6806722689075499E-3</c:v>
                </c:pt>
                <c:pt idx="44729">
                  <c:v>-1.6806722689075499E-3</c:v>
                </c:pt>
                <c:pt idx="44730">
                  <c:v>-1.6806722689075499E-3</c:v>
                </c:pt>
                <c:pt idx="44731">
                  <c:v>-1.6806722689075499E-3</c:v>
                </c:pt>
                <c:pt idx="44732">
                  <c:v>-1.6806722689075499E-3</c:v>
                </c:pt>
                <c:pt idx="44733">
                  <c:v>-1.6806722689075499E-3</c:v>
                </c:pt>
                <c:pt idx="44734">
                  <c:v>-1.6806722689075499E-3</c:v>
                </c:pt>
                <c:pt idx="44735">
                  <c:v>-1.6806722689075499E-3</c:v>
                </c:pt>
                <c:pt idx="44736">
                  <c:v>-1.6806722689075499E-3</c:v>
                </c:pt>
                <c:pt idx="44737">
                  <c:v>-1.6806722689075499E-3</c:v>
                </c:pt>
                <c:pt idx="44738">
                  <c:v>-1.6806722689075499E-3</c:v>
                </c:pt>
                <c:pt idx="44739">
                  <c:v>-1.6806722689075499E-3</c:v>
                </c:pt>
                <c:pt idx="44740">
                  <c:v>-1.6806722689075499E-3</c:v>
                </c:pt>
                <c:pt idx="44741">
                  <c:v>-1.6806722689075499E-3</c:v>
                </c:pt>
                <c:pt idx="44742">
                  <c:v>-1.6806722689075499E-3</c:v>
                </c:pt>
                <c:pt idx="44743">
                  <c:v>-1.6806722689075499E-3</c:v>
                </c:pt>
                <c:pt idx="44744">
                  <c:v>-1.6806722689075499E-3</c:v>
                </c:pt>
                <c:pt idx="44745">
                  <c:v>-1.6806722689075499E-3</c:v>
                </c:pt>
                <c:pt idx="44746">
                  <c:v>-1.6806722689075499E-3</c:v>
                </c:pt>
                <c:pt idx="44747">
                  <c:v>-1.6806722689075499E-3</c:v>
                </c:pt>
                <c:pt idx="44748">
                  <c:v>-1.6806722689075499E-3</c:v>
                </c:pt>
                <c:pt idx="44749">
                  <c:v>-1.6806722689075499E-3</c:v>
                </c:pt>
                <c:pt idx="44750">
                  <c:v>-1.6806722689075499E-3</c:v>
                </c:pt>
                <c:pt idx="44751">
                  <c:v>-1.6806722689075499E-3</c:v>
                </c:pt>
                <c:pt idx="44752">
                  <c:v>-1.6806722689075499E-3</c:v>
                </c:pt>
                <c:pt idx="44753">
                  <c:v>-1.6806722689075499E-3</c:v>
                </c:pt>
                <c:pt idx="44754">
                  <c:v>-1.6806722689075499E-3</c:v>
                </c:pt>
                <c:pt idx="44755">
                  <c:v>-1.6806722689075499E-3</c:v>
                </c:pt>
                <c:pt idx="44756">
                  <c:v>-1.6806722689075499E-3</c:v>
                </c:pt>
                <c:pt idx="44757">
                  <c:v>-1.6806722689075499E-3</c:v>
                </c:pt>
                <c:pt idx="44758">
                  <c:v>-1.6806722689075499E-3</c:v>
                </c:pt>
                <c:pt idx="44759">
                  <c:v>-1.6806722689075499E-3</c:v>
                </c:pt>
                <c:pt idx="44760">
                  <c:v>-1.6806722689075499E-3</c:v>
                </c:pt>
                <c:pt idx="44761">
                  <c:v>-1.6806722689075499E-3</c:v>
                </c:pt>
                <c:pt idx="44762">
                  <c:v>-1.6806722689075499E-3</c:v>
                </c:pt>
                <c:pt idx="44763">
                  <c:v>-1.6806722689075499E-3</c:v>
                </c:pt>
                <c:pt idx="44764">
                  <c:v>-1.6806722689075499E-3</c:v>
                </c:pt>
                <c:pt idx="44765">
                  <c:v>-1.6806722689075499E-3</c:v>
                </c:pt>
                <c:pt idx="44766">
                  <c:v>-1.6806722689075499E-3</c:v>
                </c:pt>
                <c:pt idx="44767">
                  <c:v>-1.6806722689075499E-3</c:v>
                </c:pt>
                <c:pt idx="44768">
                  <c:v>-1.6806722689075499E-3</c:v>
                </c:pt>
                <c:pt idx="44769">
                  <c:v>-1.6806722689075499E-3</c:v>
                </c:pt>
                <c:pt idx="44770">
                  <c:v>-1.6806722689075499E-3</c:v>
                </c:pt>
                <c:pt idx="44771">
                  <c:v>-1.6806722689075499E-3</c:v>
                </c:pt>
                <c:pt idx="44772">
                  <c:v>-1.6806722689075499E-3</c:v>
                </c:pt>
                <c:pt idx="44773">
                  <c:v>-1.6806722689075499E-3</c:v>
                </c:pt>
                <c:pt idx="44774">
                  <c:v>-1.6806722689075499E-3</c:v>
                </c:pt>
                <c:pt idx="44775">
                  <c:v>-1.6806722689075499E-3</c:v>
                </c:pt>
                <c:pt idx="44776">
                  <c:v>-1.6806722689075499E-3</c:v>
                </c:pt>
                <c:pt idx="44777">
                  <c:v>-1.6806722689075499E-3</c:v>
                </c:pt>
                <c:pt idx="44778">
                  <c:v>-1.6806722689075499E-3</c:v>
                </c:pt>
                <c:pt idx="44779">
                  <c:v>-1.6806722689075499E-3</c:v>
                </c:pt>
                <c:pt idx="44780">
                  <c:v>-1.6806722689075499E-3</c:v>
                </c:pt>
                <c:pt idx="44781">
                  <c:v>-1.6806722689075499E-3</c:v>
                </c:pt>
                <c:pt idx="44782">
                  <c:v>-1.6806722689075499E-3</c:v>
                </c:pt>
                <c:pt idx="44783">
                  <c:v>-1.6806722689075499E-3</c:v>
                </c:pt>
                <c:pt idx="44784">
                  <c:v>-1.6806722689075499E-3</c:v>
                </c:pt>
                <c:pt idx="44785">
                  <c:v>-1.6806722689075499E-3</c:v>
                </c:pt>
                <c:pt idx="44786">
                  <c:v>-1.6806722689075499E-3</c:v>
                </c:pt>
                <c:pt idx="44787">
                  <c:v>-1.6806722689075499E-3</c:v>
                </c:pt>
                <c:pt idx="44788">
                  <c:v>-1.6806722689075499E-3</c:v>
                </c:pt>
                <c:pt idx="44789">
                  <c:v>-1.6806722689075499E-3</c:v>
                </c:pt>
                <c:pt idx="44790">
                  <c:v>-1.6806722689075499E-3</c:v>
                </c:pt>
                <c:pt idx="44791">
                  <c:v>-1.6806722689075499E-3</c:v>
                </c:pt>
                <c:pt idx="44792">
                  <c:v>-1.6806722689075499E-3</c:v>
                </c:pt>
                <c:pt idx="44793">
                  <c:v>-1.6806722689075499E-3</c:v>
                </c:pt>
                <c:pt idx="44794">
                  <c:v>-1.6806722689075499E-3</c:v>
                </c:pt>
                <c:pt idx="44795">
                  <c:v>-1.6806722689075499E-3</c:v>
                </c:pt>
                <c:pt idx="44796">
                  <c:v>-1.6806722689075499E-3</c:v>
                </c:pt>
                <c:pt idx="44797">
                  <c:v>-1.6806722689075499E-3</c:v>
                </c:pt>
                <c:pt idx="44798">
                  <c:v>-1.6806722689075499E-3</c:v>
                </c:pt>
                <c:pt idx="44799">
                  <c:v>-1.6806722689075499E-3</c:v>
                </c:pt>
                <c:pt idx="44800">
                  <c:v>-1.6806722689075499E-3</c:v>
                </c:pt>
                <c:pt idx="44801">
                  <c:v>-1.6806722689075499E-3</c:v>
                </c:pt>
                <c:pt idx="44802">
                  <c:v>-1.6806722689075499E-3</c:v>
                </c:pt>
                <c:pt idx="44803">
                  <c:v>-1.6806722689075499E-3</c:v>
                </c:pt>
                <c:pt idx="44804">
                  <c:v>-1.6806722689075499E-3</c:v>
                </c:pt>
                <c:pt idx="44805">
                  <c:v>-1.6806722689075499E-3</c:v>
                </c:pt>
                <c:pt idx="44806">
                  <c:v>-1.6806722689075499E-3</c:v>
                </c:pt>
                <c:pt idx="44807">
                  <c:v>-1.6806722689075499E-3</c:v>
                </c:pt>
                <c:pt idx="44808">
                  <c:v>-1.6806722689075499E-3</c:v>
                </c:pt>
                <c:pt idx="44809">
                  <c:v>-1.6806722689075499E-3</c:v>
                </c:pt>
                <c:pt idx="44810">
                  <c:v>-1.6806722689075499E-3</c:v>
                </c:pt>
                <c:pt idx="44811">
                  <c:v>-1.6806722689075499E-3</c:v>
                </c:pt>
                <c:pt idx="44812">
                  <c:v>-1.6806722689075499E-3</c:v>
                </c:pt>
                <c:pt idx="44813">
                  <c:v>-1.6806722689075499E-3</c:v>
                </c:pt>
                <c:pt idx="44814">
                  <c:v>-1.6806722689075499E-3</c:v>
                </c:pt>
                <c:pt idx="44815">
                  <c:v>-1.6806722689075499E-3</c:v>
                </c:pt>
                <c:pt idx="44816">
                  <c:v>-1.6806722689075499E-3</c:v>
                </c:pt>
                <c:pt idx="44817">
                  <c:v>-1.6806722689075499E-3</c:v>
                </c:pt>
                <c:pt idx="44818">
                  <c:v>-1.6806722689075499E-3</c:v>
                </c:pt>
                <c:pt idx="44819">
                  <c:v>-1.6806722689075499E-3</c:v>
                </c:pt>
                <c:pt idx="44820">
                  <c:v>-1.6806722689075499E-3</c:v>
                </c:pt>
                <c:pt idx="44821">
                  <c:v>-1.6806722689075499E-3</c:v>
                </c:pt>
                <c:pt idx="44822">
                  <c:v>-1.6806722689075499E-3</c:v>
                </c:pt>
                <c:pt idx="44823">
                  <c:v>-1.6806722689075499E-3</c:v>
                </c:pt>
                <c:pt idx="44824">
                  <c:v>-1.6806722689075499E-3</c:v>
                </c:pt>
                <c:pt idx="44825">
                  <c:v>-2.5210084033613299E-3</c:v>
                </c:pt>
                <c:pt idx="44826">
                  <c:v>-2.5210084033613299E-3</c:v>
                </c:pt>
                <c:pt idx="44827">
                  <c:v>-2.5210084033613299E-3</c:v>
                </c:pt>
                <c:pt idx="44828">
                  <c:v>-2.5210084033613299E-3</c:v>
                </c:pt>
                <c:pt idx="44829">
                  <c:v>-2.5210084033613299E-3</c:v>
                </c:pt>
                <c:pt idx="44830">
                  <c:v>-2.5210084033613299E-3</c:v>
                </c:pt>
                <c:pt idx="44831">
                  <c:v>-2.5210084033613299E-3</c:v>
                </c:pt>
                <c:pt idx="44832">
                  <c:v>-2.5210084033613299E-3</c:v>
                </c:pt>
                <c:pt idx="44833">
                  <c:v>-2.5210084033613299E-3</c:v>
                </c:pt>
                <c:pt idx="44834">
                  <c:v>-2.5210084033613299E-3</c:v>
                </c:pt>
                <c:pt idx="44835">
                  <c:v>-2.5210084033613299E-3</c:v>
                </c:pt>
                <c:pt idx="44836">
                  <c:v>-2.5210084033613299E-3</c:v>
                </c:pt>
                <c:pt idx="44837">
                  <c:v>-2.5210084033613299E-3</c:v>
                </c:pt>
                <c:pt idx="44838">
                  <c:v>-2.5210084033613299E-3</c:v>
                </c:pt>
                <c:pt idx="44839">
                  <c:v>-2.5210084033613299E-3</c:v>
                </c:pt>
                <c:pt idx="44840">
                  <c:v>-2.5210084033613299E-3</c:v>
                </c:pt>
                <c:pt idx="44841">
                  <c:v>-2.5210084033613299E-3</c:v>
                </c:pt>
                <c:pt idx="44842">
                  <c:v>-2.5210084033613299E-3</c:v>
                </c:pt>
                <c:pt idx="44843">
                  <c:v>-1.6806722689075499E-3</c:v>
                </c:pt>
                <c:pt idx="44844">
                  <c:v>-1.6806722689075499E-3</c:v>
                </c:pt>
                <c:pt idx="44845">
                  <c:v>-1.6806722689075499E-3</c:v>
                </c:pt>
                <c:pt idx="44846">
                  <c:v>-1.6806722689075499E-3</c:v>
                </c:pt>
                <c:pt idx="44847">
                  <c:v>-1.6806722689075499E-3</c:v>
                </c:pt>
                <c:pt idx="44848">
                  <c:v>-1.6806722689075499E-3</c:v>
                </c:pt>
                <c:pt idx="44849">
                  <c:v>-1.6806722689075499E-3</c:v>
                </c:pt>
                <c:pt idx="44850">
                  <c:v>-1.6806722689075499E-3</c:v>
                </c:pt>
                <c:pt idx="44851">
                  <c:v>-1.6806722689075499E-3</c:v>
                </c:pt>
                <c:pt idx="44852">
                  <c:v>-1.6806722689075499E-3</c:v>
                </c:pt>
                <c:pt idx="44853">
                  <c:v>-1.6806722689075499E-3</c:v>
                </c:pt>
                <c:pt idx="44854">
                  <c:v>-1.6806722689075499E-3</c:v>
                </c:pt>
                <c:pt idx="44855">
                  <c:v>-1.6806722689075499E-3</c:v>
                </c:pt>
                <c:pt idx="44856">
                  <c:v>-1.6806722689075499E-3</c:v>
                </c:pt>
                <c:pt idx="44857">
                  <c:v>-1.6806722689075499E-3</c:v>
                </c:pt>
                <c:pt idx="44858">
                  <c:v>-1.6806722689075499E-3</c:v>
                </c:pt>
                <c:pt idx="44859">
                  <c:v>-1.6806722689075499E-3</c:v>
                </c:pt>
                <c:pt idx="44860">
                  <c:v>-1.6806722689075499E-3</c:v>
                </c:pt>
                <c:pt idx="44861">
                  <c:v>-1.6806722689075499E-3</c:v>
                </c:pt>
                <c:pt idx="44862">
                  <c:v>-1.6806722689075499E-3</c:v>
                </c:pt>
                <c:pt idx="44863">
                  <c:v>-1.6806722689075499E-3</c:v>
                </c:pt>
                <c:pt idx="44864">
                  <c:v>-1.6806722689075499E-3</c:v>
                </c:pt>
                <c:pt idx="44865">
                  <c:v>-1.6806722689075499E-3</c:v>
                </c:pt>
                <c:pt idx="44866">
                  <c:v>-1.6806722689075499E-3</c:v>
                </c:pt>
                <c:pt idx="44867">
                  <c:v>-1.6806722689075499E-3</c:v>
                </c:pt>
                <c:pt idx="44868">
                  <c:v>-1.6806722689075499E-3</c:v>
                </c:pt>
                <c:pt idx="44869">
                  <c:v>-1.6806722689075499E-3</c:v>
                </c:pt>
                <c:pt idx="44870">
                  <c:v>-1.6806722689075499E-3</c:v>
                </c:pt>
                <c:pt idx="44871">
                  <c:v>-1.6806722689075499E-3</c:v>
                </c:pt>
                <c:pt idx="44872">
                  <c:v>-1.6806722689075499E-3</c:v>
                </c:pt>
                <c:pt idx="44873">
                  <c:v>-1.6806722689075499E-3</c:v>
                </c:pt>
                <c:pt idx="44874">
                  <c:v>-1.6806722689075499E-3</c:v>
                </c:pt>
                <c:pt idx="44875">
                  <c:v>-1.6806722689075499E-3</c:v>
                </c:pt>
                <c:pt idx="44876">
                  <c:v>-1.6806722689075499E-3</c:v>
                </c:pt>
                <c:pt idx="44877">
                  <c:v>-1.6806722689075499E-3</c:v>
                </c:pt>
                <c:pt idx="44878">
                  <c:v>-1.6806722689075499E-3</c:v>
                </c:pt>
                <c:pt idx="44879">
                  <c:v>-1.6806722689075499E-3</c:v>
                </c:pt>
                <c:pt idx="44880">
                  <c:v>-1.6806722689075499E-3</c:v>
                </c:pt>
                <c:pt idx="44881">
                  <c:v>-1.6806722689075499E-3</c:v>
                </c:pt>
                <c:pt idx="44882">
                  <c:v>-1.6806722689075499E-3</c:v>
                </c:pt>
                <c:pt idx="44883">
                  <c:v>-1.6806722689075499E-3</c:v>
                </c:pt>
                <c:pt idx="44884">
                  <c:v>-1.6806722689075499E-3</c:v>
                </c:pt>
                <c:pt idx="44885">
                  <c:v>-1.6806722689075499E-3</c:v>
                </c:pt>
                <c:pt idx="44886">
                  <c:v>-1.6806722689075499E-3</c:v>
                </c:pt>
                <c:pt idx="44887">
                  <c:v>-1.6806722689075499E-3</c:v>
                </c:pt>
                <c:pt idx="44888">
                  <c:v>-1.6806722689075499E-3</c:v>
                </c:pt>
                <c:pt idx="44889">
                  <c:v>-1.6806722689075499E-3</c:v>
                </c:pt>
                <c:pt idx="44890">
                  <c:v>-1.6806722689075499E-3</c:v>
                </c:pt>
                <c:pt idx="44891">
                  <c:v>-1.6806722689075499E-3</c:v>
                </c:pt>
                <c:pt idx="44892">
                  <c:v>-1.6806722689075499E-3</c:v>
                </c:pt>
                <c:pt idx="44893">
                  <c:v>-1.6806722689075499E-3</c:v>
                </c:pt>
                <c:pt idx="44894">
                  <c:v>-1.6806722689075499E-3</c:v>
                </c:pt>
                <c:pt idx="44895">
                  <c:v>-1.6806722689075499E-3</c:v>
                </c:pt>
                <c:pt idx="44896">
                  <c:v>-1.6806722689075499E-3</c:v>
                </c:pt>
                <c:pt idx="44897">
                  <c:v>-1.6806722689075499E-3</c:v>
                </c:pt>
                <c:pt idx="44898">
                  <c:v>-1.6806722689075499E-3</c:v>
                </c:pt>
                <c:pt idx="44899">
                  <c:v>-1.6806722689075499E-3</c:v>
                </c:pt>
                <c:pt idx="44900">
                  <c:v>-1.6806722689075499E-3</c:v>
                </c:pt>
                <c:pt idx="44901">
                  <c:v>-1.6806722689075499E-3</c:v>
                </c:pt>
                <c:pt idx="44902">
                  <c:v>-1.6806722689075499E-3</c:v>
                </c:pt>
                <c:pt idx="44903">
                  <c:v>-1.6806722689075499E-3</c:v>
                </c:pt>
                <c:pt idx="44904">
                  <c:v>-1.6806722689075499E-3</c:v>
                </c:pt>
                <c:pt idx="44905">
                  <c:v>-1.6806722689075499E-3</c:v>
                </c:pt>
                <c:pt idx="44906">
                  <c:v>-1.6806722689075499E-3</c:v>
                </c:pt>
                <c:pt idx="44907">
                  <c:v>-1.6806722689075499E-3</c:v>
                </c:pt>
                <c:pt idx="44908">
                  <c:v>-1.6806722689075499E-3</c:v>
                </c:pt>
                <c:pt idx="44909">
                  <c:v>-1.6806722689075499E-3</c:v>
                </c:pt>
                <c:pt idx="44910">
                  <c:v>-1.6806722689075499E-3</c:v>
                </c:pt>
                <c:pt idx="44911">
                  <c:v>-1.6806722689075499E-3</c:v>
                </c:pt>
                <c:pt idx="44912">
                  <c:v>-1.6806722689075499E-3</c:v>
                </c:pt>
                <c:pt idx="44913">
                  <c:v>-1.6806722689075499E-3</c:v>
                </c:pt>
                <c:pt idx="44914">
                  <c:v>-1.6806722689075499E-3</c:v>
                </c:pt>
                <c:pt idx="44915">
                  <c:v>-1.6806722689075499E-3</c:v>
                </c:pt>
                <c:pt idx="44916">
                  <c:v>-1.6806722689075499E-3</c:v>
                </c:pt>
                <c:pt idx="44917">
                  <c:v>-1.6806722689075499E-3</c:v>
                </c:pt>
                <c:pt idx="44918">
                  <c:v>-1.6806722689075499E-3</c:v>
                </c:pt>
                <c:pt idx="44919">
                  <c:v>-1.6806722689075499E-3</c:v>
                </c:pt>
                <c:pt idx="44920">
                  <c:v>-1.6806722689075499E-3</c:v>
                </c:pt>
                <c:pt idx="44921">
                  <c:v>-1.6806722689075499E-3</c:v>
                </c:pt>
                <c:pt idx="44922">
                  <c:v>-1.6806722689075499E-3</c:v>
                </c:pt>
                <c:pt idx="44923">
                  <c:v>-1.6806722689075499E-3</c:v>
                </c:pt>
                <c:pt idx="44924">
                  <c:v>-1.6806722689075499E-3</c:v>
                </c:pt>
                <c:pt idx="44925">
                  <c:v>-1.6806722689075499E-3</c:v>
                </c:pt>
                <c:pt idx="44926">
                  <c:v>-1.6806722689075499E-3</c:v>
                </c:pt>
                <c:pt idx="44927">
                  <c:v>-1.6806722689075499E-3</c:v>
                </c:pt>
                <c:pt idx="44928">
                  <c:v>-1.6806722689075499E-3</c:v>
                </c:pt>
                <c:pt idx="44929">
                  <c:v>-1.6806722689075499E-3</c:v>
                </c:pt>
                <c:pt idx="44930">
                  <c:v>-1.6806722689075499E-3</c:v>
                </c:pt>
                <c:pt idx="44931">
                  <c:v>-1.6806722689075499E-3</c:v>
                </c:pt>
                <c:pt idx="44932">
                  <c:v>-1.6806722689075499E-3</c:v>
                </c:pt>
                <c:pt idx="44933">
                  <c:v>-1.6806722689075499E-3</c:v>
                </c:pt>
                <c:pt idx="44934">
                  <c:v>-1.6806722689075499E-3</c:v>
                </c:pt>
                <c:pt idx="44935">
                  <c:v>-1.6806722689075499E-3</c:v>
                </c:pt>
                <c:pt idx="44936">
                  <c:v>-1.6806722689075499E-3</c:v>
                </c:pt>
                <c:pt idx="44937">
                  <c:v>-1.6806722689075499E-3</c:v>
                </c:pt>
                <c:pt idx="44938">
                  <c:v>-1.6806722689075499E-3</c:v>
                </c:pt>
                <c:pt idx="44939">
                  <c:v>-1.6806722689075499E-3</c:v>
                </c:pt>
                <c:pt idx="44940">
                  <c:v>-1.6806722689075499E-3</c:v>
                </c:pt>
                <c:pt idx="44941">
                  <c:v>-1.6806722689075499E-3</c:v>
                </c:pt>
                <c:pt idx="44942">
                  <c:v>-1.6806722689075499E-3</c:v>
                </c:pt>
                <c:pt idx="44943">
                  <c:v>-1.6806722689075499E-3</c:v>
                </c:pt>
                <c:pt idx="44944">
                  <c:v>-1.6806722689075499E-3</c:v>
                </c:pt>
                <c:pt idx="44945">
                  <c:v>-1.6806722689075499E-3</c:v>
                </c:pt>
                <c:pt idx="44946">
                  <c:v>-1.6806722689075499E-3</c:v>
                </c:pt>
                <c:pt idx="44947">
                  <c:v>-1.6806722689075499E-3</c:v>
                </c:pt>
                <c:pt idx="44948">
                  <c:v>-2.5210084033613299E-3</c:v>
                </c:pt>
                <c:pt idx="44949">
                  <c:v>-2.5210084033613299E-3</c:v>
                </c:pt>
                <c:pt idx="44950">
                  <c:v>-2.5210084033613299E-3</c:v>
                </c:pt>
                <c:pt idx="44951">
                  <c:v>-2.5210084033613299E-3</c:v>
                </c:pt>
                <c:pt idx="44952">
                  <c:v>-2.5210084033613299E-3</c:v>
                </c:pt>
                <c:pt idx="44953">
                  <c:v>-2.5210084033613299E-3</c:v>
                </c:pt>
                <c:pt idx="44954">
                  <c:v>-2.5210084033613299E-3</c:v>
                </c:pt>
                <c:pt idx="44955">
                  <c:v>-2.5210084033613299E-3</c:v>
                </c:pt>
                <c:pt idx="44956">
                  <c:v>-2.5210084033613299E-3</c:v>
                </c:pt>
                <c:pt idx="44957">
                  <c:v>-2.5210084033613299E-3</c:v>
                </c:pt>
                <c:pt idx="44958">
                  <c:v>-2.5210084033613299E-3</c:v>
                </c:pt>
                <c:pt idx="44959">
                  <c:v>-2.5210084033613299E-3</c:v>
                </c:pt>
                <c:pt idx="44960">
                  <c:v>-2.5210084033613299E-3</c:v>
                </c:pt>
                <c:pt idx="44961">
                  <c:v>-2.5210084033613299E-3</c:v>
                </c:pt>
                <c:pt idx="44962">
                  <c:v>-2.5210084033613299E-3</c:v>
                </c:pt>
                <c:pt idx="44963">
                  <c:v>-2.5210084033613299E-3</c:v>
                </c:pt>
                <c:pt idx="44964">
                  <c:v>-2.5210084033613299E-3</c:v>
                </c:pt>
                <c:pt idx="44965">
                  <c:v>-2.5210084033613299E-3</c:v>
                </c:pt>
                <c:pt idx="44966">
                  <c:v>-2.5210084033613299E-3</c:v>
                </c:pt>
                <c:pt idx="44967">
                  <c:v>-2.5210084033613299E-3</c:v>
                </c:pt>
                <c:pt idx="44968">
                  <c:v>-2.5210084033613299E-3</c:v>
                </c:pt>
                <c:pt idx="44969">
                  <c:v>-2.5210084033613299E-3</c:v>
                </c:pt>
                <c:pt idx="44970">
                  <c:v>-2.5210084033613299E-3</c:v>
                </c:pt>
                <c:pt idx="44971">
                  <c:v>-2.5210084033613299E-3</c:v>
                </c:pt>
                <c:pt idx="44972">
                  <c:v>-2.5210084033613299E-3</c:v>
                </c:pt>
                <c:pt idx="44973">
                  <c:v>-2.5210084033613299E-3</c:v>
                </c:pt>
                <c:pt idx="44974">
                  <c:v>-2.5210084033613299E-3</c:v>
                </c:pt>
                <c:pt idx="44975">
                  <c:v>-2.5210084033613299E-3</c:v>
                </c:pt>
                <c:pt idx="44976">
                  <c:v>-2.5210084033613299E-3</c:v>
                </c:pt>
                <c:pt idx="44977">
                  <c:v>-2.5210084033613299E-3</c:v>
                </c:pt>
                <c:pt idx="44978">
                  <c:v>-2.5210084033613299E-3</c:v>
                </c:pt>
                <c:pt idx="44979">
                  <c:v>-2.5210084033613299E-3</c:v>
                </c:pt>
                <c:pt idx="44980">
                  <c:v>-2.5210084033613299E-3</c:v>
                </c:pt>
                <c:pt idx="44981">
                  <c:v>-2.5210084033613299E-3</c:v>
                </c:pt>
                <c:pt idx="44982">
                  <c:v>-2.5210084033613299E-3</c:v>
                </c:pt>
                <c:pt idx="44983">
                  <c:v>-2.5210084033613299E-3</c:v>
                </c:pt>
                <c:pt idx="44984">
                  <c:v>-2.5210084033613299E-3</c:v>
                </c:pt>
                <c:pt idx="44985">
                  <c:v>-2.5210084033613299E-3</c:v>
                </c:pt>
                <c:pt idx="44986">
                  <c:v>-2.5210084033613299E-3</c:v>
                </c:pt>
                <c:pt idx="44987">
                  <c:v>-2.5210084033613299E-3</c:v>
                </c:pt>
                <c:pt idx="44988">
                  <c:v>-2.5210084033613299E-3</c:v>
                </c:pt>
                <c:pt idx="44989">
                  <c:v>-2.5210084033613299E-3</c:v>
                </c:pt>
                <c:pt idx="44990">
                  <c:v>-2.5210084033613299E-3</c:v>
                </c:pt>
                <c:pt idx="44991">
                  <c:v>-2.5210084033613299E-3</c:v>
                </c:pt>
                <c:pt idx="44992">
                  <c:v>-2.5210084033613299E-3</c:v>
                </c:pt>
                <c:pt idx="44993">
                  <c:v>-2.5210084033613299E-3</c:v>
                </c:pt>
                <c:pt idx="44994">
                  <c:v>-2.5210084033613299E-3</c:v>
                </c:pt>
                <c:pt idx="44995">
                  <c:v>-2.5210084033613299E-3</c:v>
                </c:pt>
                <c:pt idx="44996">
                  <c:v>-2.5210084033613299E-3</c:v>
                </c:pt>
                <c:pt idx="44997">
                  <c:v>-2.5210084033613299E-3</c:v>
                </c:pt>
                <c:pt idx="44998">
                  <c:v>-2.5210084033613299E-3</c:v>
                </c:pt>
                <c:pt idx="44999">
                  <c:v>-2.5210084033613299E-3</c:v>
                </c:pt>
                <c:pt idx="45000">
                  <c:v>-2.5210084033613299E-3</c:v>
                </c:pt>
                <c:pt idx="45001">
                  <c:v>-2.5210084033613299E-3</c:v>
                </c:pt>
                <c:pt idx="45002">
                  <c:v>-2.5210084033613299E-3</c:v>
                </c:pt>
                <c:pt idx="45003">
                  <c:v>-2.5210084033613299E-3</c:v>
                </c:pt>
                <c:pt idx="45004">
                  <c:v>-2.5210084033613299E-3</c:v>
                </c:pt>
                <c:pt idx="45005">
                  <c:v>-2.5210084033613299E-3</c:v>
                </c:pt>
                <c:pt idx="45006">
                  <c:v>-2.5210084033613299E-3</c:v>
                </c:pt>
                <c:pt idx="45007">
                  <c:v>-2.5210084033613299E-3</c:v>
                </c:pt>
                <c:pt idx="45008">
                  <c:v>-2.5210084033613299E-3</c:v>
                </c:pt>
                <c:pt idx="45009">
                  <c:v>-2.5210084033613299E-3</c:v>
                </c:pt>
                <c:pt idx="45010">
                  <c:v>-2.5210084033613299E-3</c:v>
                </c:pt>
                <c:pt idx="45011">
                  <c:v>-2.5210084033613299E-3</c:v>
                </c:pt>
                <c:pt idx="45012">
                  <c:v>-2.5210084033613299E-3</c:v>
                </c:pt>
                <c:pt idx="45013">
                  <c:v>-2.5210084033613299E-3</c:v>
                </c:pt>
                <c:pt idx="45014">
                  <c:v>-2.5210084033613299E-3</c:v>
                </c:pt>
                <c:pt idx="45015">
                  <c:v>-2.5210084033613299E-3</c:v>
                </c:pt>
                <c:pt idx="45016">
                  <c:v>-2.5210084033613299E-3</c:v>
                </c:pt>
                <c:pt idx="45017">
                  <c:v>-2.5210084033613299E-3</c:v>
                </c:pt>
                <c:pt idx="45018">
                  <c:v>-2.5210084033613299E-3</c:v>
                </c:pt>
                <c:pt idx="45019">
                  <c:v>-2.5210084033613299E-3</c:v>
                </c:pt>
                <c:pt idx="45020">
                  <c:v>-2.5210084033613299E-3</c:v>
                </c:pt>
                <c:pt idx="45021">
                  <c:v>-2.5210084033613299E-3</c:v>
                </c:pt>
                <c:pt idx="45022">
                  <c:v>-2.5210084033613299E-3</c:v>
                </c:pt>
                <c:pt idx="45023">
                  <c:v>-2.5210084033613299E-3</c:v>
                </c:pt>
                <c:pt idx="45024">
                  <c:v>-2.5210084033613299E-3</c:v>
                </c:pt>
                <c:pt idx="45025">
                  <c:v>-2.5210084033613299E-3</c:v>
                </c:pt>
                <c:pt idx="45026">
                  <c:v>-2.5210084033613299E-3</c:v>
                </c:pt>
                <c:pt idx="45027">
                  <c:v>-2.5210084033613299E-3</c:v>
                </c:pt>
                <c:pt idx="45028">
                  <c:v>-2.5210084033613299E-3</c:v>
                </c:pt>
                <c:pt idx="45029">
                  <c:v>-2.5210084033613299E-3</c:v>
                </c:pt>
                <c:pt idx="45030">
                  <c:v>-2.5210084033613299E-3</c:v>
                </c:pt>
                <c:pt idx="45031">
                  <c:v>-2.5210084033613299E-3</c:v>
                </c:pt>
                <c:pt idx="45032">
                  <c:v>-2.5210084033613299E-3</c:v>
                </c:pt>
                <c:pt idx="45033">
                  <c:v>-2.5210084033613299E-3</c:v>
                </c:pt>
                <c:pt idx="45034">
                  <c:v>-2.5210084033613299E-3</c:v>
                </c:pt>
                <c:pt idx="45035">
                  <c:v>-2.5210084033613299E-3</c:v>
                </c:pt>
                <c:pt idx="45036">
                  <c:v>-2.5210084033613299E-3</c:v>
                </c:pt>
                <c:pt idx="45037">
                  <c:v>-2.5210084033613299E-3</c:v>
                </c:pt>
                <c:pt idx="45038">
                  <c:v>-2.5210084033613299E-3</c:v>
                </c:pt>
                <c:pt idx="45039">
                  <c:v>-2.5210084033613299E-3</c:v>
                </c:pt>
                <c:pt idx="45040">
                  <c:v>-2.5210084033613299E-3</c:v>
                </c:pt>
                <c:pt idx="45041">
                  <c:v>-2.5210084033613299E-3</c:v>
                </c:pt>
                <c:pt idx="45042">
                  <c:v>-2.5210084033613299E-3</c:v>
                </c:pt>
                <c:pt idx="45043">
                  <c:v>-2.5210084033613299E-3</c:v>
                </c:pt>
                <c:pt idx="45044">
                  <c:v>-2.5210084033613299E-3</c:v>
                </c:pt>
                <c:pt idx="45045">
                  <c:v>-2.5210084033613299E-3</c:v>
                </c:pt>
                <c:pt idx="45046">
                  <c:v>-2.5210084033613299E-3</c:v>
                </c:pt>
                <c:pt idx="45047">
                  <c:v>-3.3613445378151102E-3</c:v>
                </c:pt>
                <c:pt idx="45048">
                  <c:v>-3.3613445378151102E-3</c:v>
                </c:pt>
                <c:pt idx="45049">
                  <c:v>-3.3613445378151102E-3</c:v>
                </c:pt>
                <c:pt idx="45050">
                  <c:v>-3.3613445378151102E-3</c:v>
                </c:pt>
                <c:pt idx="45051">
                  <c:v>-3.3613445378151102E-3</c:v>
                </c:pt>
                <c:pt idx="45052">
                  <c:v>-3.3613445378151102E-3</c:v>
                </c:pt>
                <c:pt idx="45053">
                  <c:v>-3.3613445378151102E-3</c:v>
                </c:pt>
                <c:pt idx="45054">
                  <c:v>-3.3613445378151102E-3</c:v>
                </c:pt>
                <c:pt idx="45055">
                  <c:v>-3.3613445378151102E-3</c:v>
                </c:pt>
                <c:pt idx="45056">
                  <c:v>-3.3613445378151102E-3</c:v>
                </c:pt>
                <c:pt idx="45057">
                  <c:v>-3.3613445378151102E-3</c:v>
                </c:pt>
                <c:pt idx="45058">
                  <c:v>-3.3613445378151102E-3</c:v>
                </c:pt>
                <c:pt idx="45059">
                  <c:v>-3.3613445378151102E-3</c:v>
                </c:pt>
                <c:pt idx="45060">
                  <c:v>-3.3613445378151102E-3</c:v>
                </c:pt>
                <c:pt idx="45061">
                  <c:v>-3.3613445378151102E-3</c:v>
                </c:pt>
                <c:pt idx="45062">
                  <c:v>-3.3613445378151102E-3</c:v>
                </c:pt>
                <c:pt idx="45063">
                  <c:v>-3.3613445378151102E-3</c:v>
                </c:pt>
                <c:pt idx="45064">
                  <c:v>-3.3613445378151102E-3</c:v>
                </c:pt>
                <c:pt idx="45065">
                  <c:v>-3.3613445378151102E-3</c:v>
                </c:pt>
                <c:pt idx="45066">
                  <c:v>-3.3613445378151102E-3</c:v>
                </c:pt>
                <c:pt idx="45067">
                  <c:v>-3.3613445378151102E-3</c:v>
                </c:pt>
                <c:pt idx="45068">
                  <c:v>-3.3613445378151102E-3</c:v>
                </c:pt>
                <c:pt idx="45069">
                  <c:v>-3.3613445378151102E-3</c:v>
                </c:pt>
                <c:pt idx="45070">
                  <c:v>-3.3613445378151102E-3</c:v>
                </c:pt>
                <c:pt idx="45071">
                  <c:v>-3.3613445378151102E-3</c:v>
                </c:pt>
                <c:pt idx="45072">
                  <c:v>-3.3613445378151102E-3</c:v>
                </c:pt>
                <c:pt idx="45073">
                  <c:v>-3.3613445378151102E-3</c:v>
                </c:pt>
                <c:pt idx="45074">
                  <c:v>-3.3613445378151102E-3</c:v>
                </c:pt>
                <c:pt idx="45075">
                  <c:v>-3.3613445378151102E-3</c:v>
                </c:pt>
                <c:pt idx="45076">
                  <c:v>-3.3613445378151102E-3</c:v>
                </c:pt>
                <c:pt idx="45077">
                  <c:v>-3.3613445378151102E-3</c:v>
                </c:pt>
                <c:pt idx="45078">
                  <c:v>-3.3613445378151102E-3</c:v>
                </c:pt>
                <c:pt idx="45079">
                  <c:v>-3.3613445378151102E-3</c:v>
                </c:pt>
                <c:pt idx="45080">
                  <c:v>-3.3613445378151102E-3</c:v>
                </c:pt>
                <c:pt idx="45081">
                  <c:v>-3.3613445378151102E-3</c:v>
                </c:pt>
                <c:pt idx="45082">
                  <c:v>-3.3613445378151102E-3</c:v>
                </c:pt>
                <c:pt idx="45083">
                  <c:v>-3.3613445378151102E-3</c:v>
                </c:pt>
                <c:pt idx="45084">
                  <c:v>-3.3613445378151102E-3</c:v>
                </c:pt>
                <c:pt idx="45085">
                  <c:v>-3.3613445378151102E-3</c:v>
                </c:pt>
                <c:pt idx="45086">
                  <c:v>-3.3613445378151102E-3</c:v>
                </c:pt>
                <c:pt idx="45087">
                  <c:v>-3.3613445378151102E-3</c:v>
                </c:pt>
                <c:pt idx="45088">
                  <c:v>-3.3613445378151102E-3</c:v>
                </c:pt>
                <c:pt idx="45089">
                  <c:v>-3.3613445378151102E-3</c:v>
                </c:pt>
                <c:pt idx="45090">
                  <c:v>-3.3613445378151102E-3</c:v>
                </c:pt>
                <c:pt idx="45091">
                  <c:v>-3.3613445378151102E-3</c:v>
                </c:pt>
                <c:pt idx="45092">
                  <c:v>-3.3613445378151102E-3</c:v>
                </c:pt>
                <c:pt idx="45093">
                  <c:v>-3.3613445378151102E-3</c:v>
                </c:pt>
                <c:pt idx="45094">
                  <c:v>-3.3613445378151102E-3</c:v>
                </c:pt>
                <c:pt idx="45095">
                  <c:v>-3.3613445378151102E-3</c:v>
                </c:pt>
                <c:pt idx="45096">
                  <c:v>-3.3613445378151102E-3</c:v>
                </c:pt>
                <c:pt idx="45097">
                  <c:v>-3.3613445378151102E-3</c:v>
                </c:pt>
                <c:pt idx="45098">
                  <c:v>-3.3613445378151102E-3</c:v>
                </c:pt>
                <c:pt idx="45099">
                  <c:v>-3.3613445378151102E-3</c:v>
                </c:pt>
                <c:pt idx="45100">
                  <c:v>-3.3613445378151102E-3</c:v>
                </c:pt>
                <c:pt idx="45101">
                  <c:v>-3.3613445378151102E-3</c:v>
                </c:pt>
                <c:pt idx="45102">
                  <c:v>-3.3613445378151102E-3</c:v>
                </c:pt>
                <c:pt idx="45103">
                  <c:v>-3.3613445378151102E-3</c:v>
                </c:pt>
                <c:pt idx="45104">
                  <c:v>-3.3613445378151102E-3</c:v>
                </c:pt>
                <c:pt idx="45105">
                  <c:v>-2.5210084033613299E-3</c:v>
                </c:pt>
                <c:pt idx="45106">
                  <c:v>-2.5210084033613299E-3</c:v>
                </c:pt>
                <c:pt idx="45107">
                  <c:v>-2.5210084033613299E-3</c:v>
                </c:pt>
                <c:pt idx="45108">
                  <c:v>-2.5210084033613299E-3</c:v>
                </c:pt>
                <c:pt idx="45109">
                  <c:v>-2.5210084033613299E-3</c:v>
                </c:pt>
                <c:pt idx="45110">
                  <c:v>-2.5210084033613299E-3</c:v>
                </c:pt>
                <c:pt idx="45111">
                  <c:v>-2.5210084033613299E-3</c:v>
                </c:pt>
                <c:pt idx="45112">
                  <c:v>-2.5210084033613299E-3</c:v>
                </c:pt>
                <c:pt idx="45113">
                  <c:v>-2.5210084033613299E-3</c:v>
                </c:pt>
                <c:pt idx="45114">
                  <c:v>-2.5210084033613299E-3</c:v>
                </c:pt>
                <c:pt idx="45115">
                  <c:v>-2.5210084033613299E-3</c:v>
                </c:pt>
                <c:pt idx="45116">
                  <c:v>-2.5210084033613299E-3</c:v>
                </c:pt>
                <c:pt idx="45117">
                  <c:v>-2.5210084033613299E-3</c:v>
                </c:pt>
                <c:pt idx="45118">
                  <c:v>-2.5210084033613299E-3</c:v>
                </c:pt>
                <c:pt idx="45119">
                  <c:v>-2.5210084033613299E-3</c:v>
                </c:pt>
                <c:pt idx="45120">
                  <c:v>-2.5210084033613299E-3</c:v>
                </c:pt>
                <c:pt idx="45121">
                  <c:v>-2.5210084033613299E-3</c:v>
                </c:pt>
                <c:pt idx="45122">
                  <c:v>-2.5210084033613299E-3</c:v>
                </c:pt>
                <c:pt idx="45123">
                  <c:v>-2.5210084033613299E-3</c:v>
                </c:pt>
                <c:pt idx="45124">
                  <c:v>-2.5210084033613299E-3</c:v>
                </c:pt>
                <c:pt idx="45125">
                  <c:v>-2.5210084033613299E-3</c:v>
                </c:pt>
                <c:pt idx="45126">
                  <c:v>-2.5210084033613299E-3</c:v>
                </c:pt>
                <c:pt idx="45127">
                  <c:v>-2.5210084033613299E-3</c:v>
                </c:pt>
                <c:pt idx="45128">
                  <c:v>-2.5210084033613299E-3</c:v>
                </c:pt>
                <c:pt idx="45129">
                  <c:v>-2.5210084033613299E-3</c:v>
                </c:pt>
                <c:pt idx="45130">
                  <c:v>-2.5210084033613299E-3</c:v>
                </c:pt>
                <c:pt idx="45131">
                  <c:v>-2.5210084033613299E-3</c:v>
                </c:pt>
                <c:pt idx="45132">
                  <c:v>-2.5210084033613299E-3</c:v>
                </c:pt>
                <c:pt idx="45133">
                  <c:v>-2.5210084033613299E-3</c:v>
                </c:pt>
                <c:pt idx="45134">
                  <c:v>-2.5210084033613299E-3</c:v>
                </c:pt>
                <c:pt idx="45135">
                  <c:v>-2.5210084033613299E-3</c:v>
                </c:pt>
                <c:pt idx="45136">
                  <c:v>-2.5210084033613299E-3</c:v>
                </c:pt>
                <c:pt idx="45137">
                  <c:v>-2.5210084033613299E-3</c:v>
                </c:pt>
                <c:pt idx="45138">
                  <c:v>-2.5210084033613299E-3</c:v>
                </c:pt>
                <c:pt idx="45139">
                  <c:v>-2.5210084033613299E-3</c:v>
                </c:pt>
                <c:pt idx="45140">
                  <c:v>-2.5210084033613299E-3</c:v>
                </c:pt>
                <c:pt idx="45141">
                  <c:v>-2.5210084033613299E-3</c:v>
                </c:pt>
                <c:pt idx="45142">
                  <c:v>-2.5210084033613299E-3</c:v>
                </c:pt>
                <c:pt idx="45143">
                  <c:v>-2.5210084033613299E-3</c:v>
                </c:pt>
                <c:pt idx="45144">
                  <c:v>-2.5210084033613299E-3</c:v>
                </c:pt>
                <c:pt idx="45145">
                  <c:v>-2.5210084033613299E-3</c:v>
                </c:pt>
                <c:pt idx="45146">
                  <c:v>-2.5210084033613299E-3</c:v>
                </c:pt>
                <c:pt idx="45147">
                  <c:v>-2.5210084033613299E-3</c:v>
                </c:pt>
                <c:pt idx="45148">
                  <c:v>-2.5210084033613299E-3</c:v>
                </c:pt>
                <c:pt idx="45149">
                  <c:v>-2.5210084033613299E-3</c:v>
                </c:pt>
                <c:pt idx="45150">
                  <c:v>-2.5210084033613299E-3</c:v>
                </c:pt>
                <c:pt idx="45151">
                  <c:v>-2.5210084033613299E-3</c:v>
                </c:pt>
                <c:pt idx="45152">
                  <c:v>-2.5210084033613299E-3</c:v>
                </c:pt>
                <c:pt idx="45153">
                  <c:v>-2.5210084033613299E-3</c:v>
                </c:pt>
                <c:pt idx="45154">
                  <c:v>-2.5210084033613299E-3</c:v>
                </c:pt>
                <c:pt idx="45155">
                  <c:v>-2.5210084033613299E-3</c:v>
                </c:pt>
                <c:pt idx="45156">
                  <c:v>-2.5210084033613299E-3</c:v>
                </c:pt>
                <c:pt idx="45157">
                  <c:v>-2.5210084033613299E-3</c:v>
                </c:pt>
                <c:pt idx="45158">
                  <c:v>-2.5210084033613299E-3</c:v>
                </c:pt>
                <c:pt idx="45159">
                  <c:v>-2.5210084033613299E-3</c:v>
                </c:pt>
                <c:pt idx="45160">
                  <c:v>-2.5210084033613299E-3</c:v>
                </c:pt>
                <c:pt idx="45161">
                  <c:v>-2.5210084033613299E-3</c:v>
                </c:pt>
                <c:pt idx="45162">
                  <c:v>-2.5210084033613299E-3</c:v>
                </c:pt>
                <c:pt idx="45163">
                  <c:v>-2.5210084033613299E-3</c:v>
                </c:pt>
                <c:pt idx="45164">
                  <c:v>-2.5210084033613299E-3</c:v>
                </c:pt>
                <c:pt idx="45165">
                  <c:v>-2.5210084033613299E-3</c:v>
                </c:pt>
                <c:pt idx="45166">
                  <c:v>-2.5210084033613299E-3</c:v>
                </c:pt>
                <c:pt idx="45167">
                  <c:v>-2.5210084033613299E-3</c:v>
                </c:pt>
                <c:pt idx="45168">
                  <c:v>-2.5210084033613299E-3</c:v>
                </c:pt>
                <c:pt idx="45169">
                  <c:v>-2.5210084033613299E-3</c:v>
                </c:pt>
                <c:pt idx="45170">
                  <c:v>-2.5210084033613299E-3</c:v>
                </c:pt>
                <c:pt idx="45171">
                  <c:v>-2.5210084033613299E-3</c:v>
                </c:pt>
                <c:pt idx="45172">
                  <c:v>-2.5210084033613299E-3</c:v>
                </c:pt>
                <c:pt idx="45173">
                  <c:v>-2.5210084033613299E-3</c:v>
                </c:pt>
                <c:pt idx="45174">
                  <c:v>-2.5210084033613299E-3</c:v>
                </c:pt>
                <c:pt idx="45175">
                  <c:v>-2.5210084033613299E-3</c:v>
                </c:pt>
                <c:pt idx="45176">
                  <c:v>-2.5210084033613299E-3</c:v>
                </c:pt>
                <c:pt idx="45177">
                  <c:v>-2.5210084033613299E-3</c:v>
                </c:pt>
                <c:pt idx="45178">
                  <c:v>-2.5210084033613299E-3</c:v>
                </c:pt>
                <c:pt idx="45179">
                  <c:v>-2.5210084033613299E-3</c:v>
                </c:pt>
                <c:pt idx="45180">
                  <c:v>-2.5210084033613299E-3</c:v>
                </c:pt>
                <c:pt idx="45181">
                  <c:v>-2.5210084033613299E-3</c:v>
                </c:pt>
                <c:pt idx="45182">
                  <c:v>-2.5210084033613299E-3</c:v>
                </c:pt>
                <c:pt idx="45183">
                  <c:v>-2.5210084033613299E-3</c:v>
                </c:pt>
                <c:pt idx="45184">
                  <c:v>-2.5210084033613299E-3</c:v>
                </c:pt>
                <c:pt idx="45185">
                  <c:v>-2.5210084033613299E-3</c:v>
                </c:pt>
                <c:pt idx="45186">
                  <c:v>-2.5210084033613299E-3</c:v>
                </c:pt>
                <c:pt idx="45187">
                  <c:v>-2.5210084033613299E-3</c:v>
                </c:pt>
                <c:pt idx="45188">
                  <c:v>-2.5210084033613299E-3</c:v>
                </c:pt>
                <c:pt idx="45189">
                  <c:v>-2.5210084033613299E-3</c:v>
                </c:pt>
                <c:pt idx="45190">
                  <c:v>-2.5210084033613299E-3</c:v>
                </c:pt>
                <c:pt idx="45191">
                  <c:v>-2.5210084033613299E-3</c:v>
                </c:pt>
                <c:pt idx="45192">
                  <c:v>-2.5210084033613299E-3</c:v>
                </c:pt>
                <c:pt idx="45193">
                  <c:v>-2.5210084033613299E-3</c:v>
                </c:pt>
                <c:pt idx="45194">
                  <c:v>-2.5210084033613299E-3</c:v>
                </c:pt>
                <c:pt idx="45195">
                  <c:v>-2.5210084033613299E-3</c:v>
                </c:pt>
                <c:pt idx="45196">
                  <c:v>-2.5210084033613299E-3</c:v>
                </c:pt>
                <c:pt idx="45197">
                  <c:v>-2.5210084033613299E-3</c:v>
                </c:pt>
                <c:pt idx="45198">
                  <c:v>-2.5210084033613299E-3</c:v>
                </c:pt>
                <c:pt idx="45199">
                  <c:v>-3.3613445378151102E-3</c:v>
                </c:pt>
                <c:pt idx="45200">
                  <c:v>-3.3613445378151102E-3</c:v>
                </c:pt>
                <c:pt idx="45201">
                  <c:v>-3.3613445378151102E-3</c:v>
                </c:pt>
                <c:pt idx="45202">
                  <c:v>-3.3613445378151102E-3</c:v>
                </c:pt>
                <c:pt idx="45203">
                  <c:v>-3.3613445378151102E-3</c:v>
                </c:pt>
                <c:pt idx="45204">
                  <c:v>-3.3613445378151102E-3</c:v>
                </c:pt>
                <c:pt idx="45205">
                  <c:v>-3.3613445378151102E-3</c:v>
                </c:pt>
                <c:pt idx="45206">
                  <c:v>-3.3613445378151102E-3</c:v>
                </c:pt>
                <c:pt idx="45207">
                  <c:v>-3.3613445378151102E-3</c:v>
                </c:pt>
                <c:pt idx="45208">
                  <c:v>-3.3613445378151102E-3</c:v>
                </c:pt>
                <c:pt idx="45209">
                  <c:v>-3.3613445378151102E-3</c:v>
                </c:pt>
                <c:pt idx="45210">
                  <c:v>-3.3613445378151102E-3</c:v>
                </c:pt>
                <c:pt idx="45211">
                  <c:v>-3.3613445378151102E-3</c:v>
                </c:pt>
                <c:pt idx="45212">
                  <c:v>-3.3613445378151102E-3</c:v>
                </c:pt>
                <c:pt idx="45213">
                  <c:v>-3.3613445378151102E-3</c:v>
                </c:pt>
                <c:pt idx="45214">
                  <c:v>-3.3613445378151102E-3</c:v>
                </c:pt>
                <c:pt idx="45215">
                  <c:v>-3.3613445378151102E-3</c:v>
                </c:pt>
                <c:pt idx="45216">
                  <c:v>-3.3613445378151102E-3</c:v>
                </c:pt>
                <c:pt idx="45217">
                  <c:v>-3.3613445378151102E-3</c:v>
                </c:pt>
                <c:pt idx="45218">
                  <c:v>-3.3613445378151102E-3</c:v>
                </c:pt>
                <c:pt idx="45219">
                  <c:v>-3.3613445378151102E-3</c:v>
                </c:pt>
                <c:pt idx="45220">
                  <c:v>-3.3613445378151102E-3</c:v>
                </c:pt>
                <c:pt idx="45221">
                  <c:v>-3.3613445378151102E-3</c:v>
                </c:pt>
                <c:pt idx="45222">
                  <c:v>-3.3613445378151102E-3</c:v>
                </c:pt>
                <c:pt idx="45223">
                  <c:v>-3.3613445378151102E-3</c:v>
                </c:pt>
                <c:pt idx="45224">
                  <c:v>-3.3613445378151102E-3</c:v>
                </c:pt>
                <c:pt idx="45225">
                  <c:v>-3.3613445378151102E-3</c:v>
                </c:pt>
                <c:pt idx="45226">
                  <c:v>-3.3613445378151102E-3</c:v>
                </c:pt>
                <c:pt idx="45227">
                  <c:v>-3.3613445378151102E-3</c:v>
                </c:pt>
                <c:pt idx="45228">
                  <c:v>-3.3613445378151102E-3</c:v>
                </c:pt>
                <c:pt idx="45229">
                  <c:v>-3.3613445378151102E-3</c:v>
                </c:pt>
                <c:pt idx="45230">
                  <c:v>-3.3613445378151102E-3</c:v>
                </c:pt>
                <c:pt idx="45231">
                  <c:v>-3.3613445378151102E-3</c:v>
                </c:pt>
                <c:pt idx="45232">
                  <c:v>-3.3613445378151102E-3</c:v>
                </c:pt>
                <c:pt idx="45233">
                  <c:v>-3.3613445378151102E-3</c:v>
                </c:pt>
                <c:pt idx="45234">
                  <c:v>-3.3613445378151102E-3</c:v>
                </c:pt>
                <c:pt idx="45235">
                  <c:v>-3.3613445378151102E-3</c:v>
                </c:pt>
                <c:pt idx="45236">
                  <c:v>-3.3613445378151102E-3</c:v>
                </c:pt>
                <c:pt idx="45237">
                  <c:v>-3.3613445378151102E-3</c:v>
                </c:pt>
                <c:pt idx="45238">
                  <c:v>-3.3613445378151102E-3</c:v>
                </c:pt>
                <c:pt idx="45239">
                  <c:v>-3.3613445378151102E-3</c:v>
                </c:pt>
                <c:pt idx="45240">
                  <c:v>-3.3613445378151102E-3</c:v>
                </c:pt>
                <c:pt idx="45241">
                  <c:v>-3.3613445378151102E-3</c:v>
                </c:pt>
                <c:pt idx="45242">
                  <c:v>-3.3613445378151102E-3</c:v>
                </c:pt>
                <c:pt idx="45243">
                  <c:v>-3.3613445378151102E-3</c:v>
                </c:pt>
                <c:pt idx="45244">
                  <c:v>-3.3613445378151102E-3</c:v>
                </c:pt>
                <c:pt idx="45245">
                  <c:v>-3.3613445378151102E-3</c:v>
                </c:pt>
                <c:pt idx="45246">
                  <c:v>-3.3613445378151102E-3</c:v>
                </c:pt>
                <c:pt idx="45247">
                  <c:v>-3.3613445378151102E-3</c:v>
                </c:pt>
                <c:pt idx="45248">
                  <c:v>-3.3613445378151102E-3</c:v>
                </c:pt>
                <c:pt idx="45249">
                  <c:v>-3.3613445378151102E-3</c:v>
                </c:pt>
                <c:pt idx="45250">
                  <c:v>-3.3613445378151102E-3</c:v>
                </c:pt>
                <c:pt idx="45251">
                  <c:v>-3.3613445378151102E-3</c:v>
                </c:pt>
                <c:pt idx="45252">
                  <c:v>-3.3613445378151102E-3</c:v>
                </c:pt>
                <c:pt idx="45253">
                  <c:v>-3.3613445378151102E-3</c:v>
                </c:pt>
                <c:pt idx="45254">
                  <c:v>-3.3613445378151102E-3</c:v>
                </c:pt>
                <c:pt idx="45255">
                  <c:v>-3.3613445378151102E-3</c:v>
                </c:pt>
                <c:pt idx="45256">
                  <c:v>-3.3613445378151102E-3</c:v>
                </c:pt>
                <c:pt idx="45257">
                  <c:v>-3.3613445378151102E-3</c:v>
                </c:pt>
                <c:pt idx="45258">
                  <c:v>-3.3613445378151102E-3</c:v>
                </c:pt>
                <c:pt idx="45259">
                  <c:v>-3.3613445378151102E-3</c:v>
                </c:pt>
                <c:pt idx="45260">
                  <c:v>-3.3613445378151102E-3</c:v>
                </c:pt>
                <c:pt idx="45261">
                  <c:v>-3.3613445378151102E-3</c:v>
                </c:pt>
                <c:pt idx="45262">
                  <c:v>-3.3613445378151102E-3</c:v>
                </c:pt>
                <c:pt idx="45263">
                  <c:v>-3.3613445378151102E-3</c:v>
                </c:pt>
                <c:pt idx="45264">
                  <c:v>-3.3613445378151102E-3</c:v>
                </c:pt>
                <c:pt idx="45265">
                  <c:v>-3.3613445378151102E-3</c:v>
                </c:pt>
                <c:pt idx="45266">
                  <c:v>-3.3613445378151102E-3</c:v>
                </c:pt>
                <c:pt idx="45267">
                  <c:v>-3.3613445378151102E-3</c:v>
                </c:pt>
                <c:pt idx="45268">
                  <c:v>-3.3613445378151102E-3</c:v>
                </c:pt>
                <c:pt idx="45269">
                  <c:v>-3.3613445378151102E-3</c:v>
                </c:pt>
                <c:pt idx="45270">
                  <c:v>-3.3613445378151102E-3</c:v>
                </c:pt>
                <c:pt idx="45271">
                  <c:v>-3.3613445378151102E-3</c:v>
                </c:pt>
                <c:pt idx="45272">
                  <c:v>-3.3613445378151102E-3</c:v>
                </c:pt>
                <c:pt idx="45273">
                  <c:v>-3.3613445378151102E-3</c:v>
                </c:pt>
                <c:pt idx="45274">
                  <c:v>-3.3613445378151102E-3</c:v>
                </c:pt>
                <c:pt idx="45275">
                  <c:v>-3.3613445378151102E-3</c:v>
                </c:pt>
                <c:pt idx="45276">
                  <c:v>-3.3613445378151102E-3</c:v>
                </c:pt>
                <c:pt idx="45277">
                  <c:v>-3.3613445378151102E-3</c:v>
                </c:pt>
                <c:pt idx="45278">
                  <c:v>-3.3613445378151102E-3</c:v>
                </c:pt>
                <c:pt idx="45279">
                  <c:v>-3.3613445378151102E-3</c:v>
                </c:pt>
                <c:pt idx="45280">
                  <c:v>-3.3613445378151102E-3</c:v>
                </c:pt>
                <c:pt idx="45281">
                  <c:v>-3.3613445378151102E-3</c:v>
                </c:pt>
                <c:pt idx="45282">
                  <c:v>-3.3613445378151102E-3</c:v>
                </c:pt>
                <c:pt idx="45283">
                  <c:v>-3.3613445378151102E-3</c:v>
                </c:pt>
                <c:pt idx="45284">
                  <c:v>-3.3613445378151102E-3</c:v>
                </c:pt>
                <c:pt idx="45285">
                  <c:v>-3.3613445378151102E-3</c:v>
                </c:pt>
                <c:pt idx="45286">
                  <c:v>-3.3613445378151102E-3</c:v>
                </c:pt>
                <c:pt idx="45287">
                  <c:v>-3.3613445378151102E-3</c:v>
                </c:pt>
                <c:pt idx="45288">
                  <c:v>-3.3613445378151102E-3</c:v>
                </c:pt>
                <c:pt idx="45289">
                  <c:v>-3.3613445378151102E-3</c:v>
                </c:pt>
                <c:pt idx="45290">
                  <c:v>-3.3613445378151102E-3</c:v>
                </c:pt>
                <c:pt idx="45291">
                  <c:v>-3.3613445378151102E-3</c:v>
                </c:pt>
                <c:pt idx="45292">
                  <c:v>-3.3613445378151102E-3</c:v>
                </c:pt>
                <c:pt idx="45293">
                  <c:v>-3.3613445378151102E-3</c:v>
                </c:pt>
                <c:pt idx="45294">
                  <c:v>-3.3613445378151102E-3</c:v>
                </c:pt>
                <c:pt idx="45295">
                  <c:v>-3.3613445378151102E-3</c:v>
                </c:pt>
                <c:pt idx="45296">
                  <c:v>-3.3613445378151102E-3</c:v>
                </c:pt>
                <c:pt idx="45297">
                  <c:v>-3.3613445378151102E-3</c:v>
                </c:pt>
                <c:pt idx="45298">
                  <c:v>-3.3613445378151102E-3</c:v>
                </c:pt>
                <c:pt idx="45299">
                  <c:v>-3.3613445378151102E-3</c:v>
                </c:pt>
                <c:pt idx="45300">
                  <c:v>-3.3613445378151102E-3</c:v>
                </c:pt>
                <c:pt idx="45301">
                  <c:v>-3.3613445378151102E-3</c:v>
                </c:pt>
                <c:pt idx="45302">
                  <c:v>-3.3613445378151102E-3</c:v>
                </c:pt>
                <c:pt idx="45303">
                  <c:v>-3.3613445378151102E-3</c:v>
                </c:pt>
                <c:pt idx="45304">
                  <c:v>-3.3613445378151102E-3</c:v>
                </c:pt>
                <c:pt idx="45305">
                  <c:v>-3.3613445378151102E-3</c:v>
                </c:pt>
                <c:pt idx="45306">
                  <c:v>-3.3613445378151102E-3</c:v>
                </c:pt>
                <c:pt idx="45307">
                  <c:v>-3.3613445378151102E-3</c:v>
                </c:pt>
                <c:pt idx="45308">
                  <c:v>-3.3613445378151102E-3</c:v>
                </c:pt>
                <c:pt idx="45309">
                  <c:v>-3.3613445378151102E-3</c:v>
                </c:pt>
                <c:pt idx="45310">
                  <c:v>-3.3613445378151102E-3</c:v>
                </c:pt>
                <c:pt idx="45311">
                  <c:v>-3.3613445378151102E-3</c:v>
                </c:pt>
                <c:pt idx="45312">
                  <c:v>-3.3613445378151102E-3</c:v>
                </c:pt>
                <c:pt idx="45313">
                  <c:v>-3.3613445378151102E-3</c:v>
                </c:pt>
                <c:pt idx="45314">
                  <c:v>-3.3613445378151102E-3</c:v>
                </c:pt>
                <c:pt idx="45315">
                  <c:v>-3.3613445378151102E-3</c:v>
                </c:pt>
                <c:pt idx="45316">
                  <c:v>-3.3613445378151102E-3</c:v>
                </c:pt>
                <c:pt idx="45317">
                  <c:v>-3.3613445378151102E-3</c:v>
                </c:pt>
                <c:pt idx="45318">
                  <c:v>-3.3613445378151102E-3</c:v>
                </c:pt>
                <c:pt idx="45319">
                  <c:v>-3.3613445378151102E-3</c:v>
                </c:pt>
                <c:pt idx="45320">
                  <c:v>-3.3613445378151102E-3</c:v>
                </c:pt>
                <c:pt idx="45321">
                  <c:v>-3.3613445378151102E-3</c:v>
                </c:pt>
                <c:pt idx="45322">
                  <c:v>-3.3613445378151102E-3</c:v>
                </c:pt>
                <c:pt idx="45323">
                  <c:v>-3.3613445378151102E-3</c:v>
                </c:pt>
                <c:pt idx="45324">
                  <c:v>-3.3613445378151102E-3</c:v>
                </c:pt>
                <c:pt idx="45325">
                  <c:v>-3.3613445378151102E-3</c:v>
                </c:pt>
                <c:pt idx="45326">
                  <c:v>-3.3613445378151102E-3</c:v>
                </c:pt>
                <c:pt idx="45327">
                  <c:v>-3.3613445378151102E-3</c:v>
                </c:pt>
                <c:pt idx="45328">
                  <c:v>-3.3613445378151102E-3</c:v>
                </c:pt>
                <c:pt idx="45329">
                  <c:v>-3.3613445378151102E-3</c:v>
                </c:pt>
                <c:pt idx="45330">
                  <c:v>-3.3613445378151102E-3</c:v>
                </c:pt>
                <c:pt idx="45331">
                  <c:v>-3.3613445378151102E-3</c:v>
                </c:pt>
                <c:pt idx="45332">
                  <c:v>-3.3613445378151102E-3</c:v>
                </c:pt>
                <c:pt idx="45333">
                  <c:v>-3.3613445378151102E-3</c:v>
                </c:pt>
                <c:pt idx="45334">
                  <c:v>-3.3613445378151102E-3</c:v>
                </c:pt>
                <c:pt idx="45335">
                  <c:v>-3.3613445378151102E-3</c:v>
                </c:pt>
                <c:pt idx="45336">
                  <c:v>-3.3613445378151102E-3</c:v>
                </c:pt>
                <c:pt idx="45337">
                  <c:v>-3.3613445378151102E-3</c:v>
                </c:pt>
                <c:pt idx="45338">
                  <c:v>-3.3613445378151102E-3</c:v>
                </c:pt>
                <c:pt idx="45339">
                  <c:v>-3.3613445378151102E-3</c:v>
                </c:pt>
                <c:pt idx="45340">
                  <c:v>-3.3613445378151102E-3</c:v>
                </c:pt>
                <c:pt idx="45341">
                  <c:v>-3.3613445378151102E-3</c:v>
                </c:pt>
                <c:pt idx="45342">
                  <c:v>-3.3613445378151102E-3</c:v>
                </c:pt>
                <c:pt idx="45343">
                  <c:v>-3.3613445378151102E-3</c:v>
                </c:pt>
                <c:pt idx="45344">
                  <c:v>-3.3613445378151102E-3</c:v>
                </c:pt>
                <c:pt idx="45345">
                  <c:v>-3.3613445378151102E-3</c:v>
                </c:pt>
                <c:pt idx="45346">
                  <c:v>-3.3613445378151102E-3</c:v>
                </c:pt>
                <c:pt idx="45347">
                  <c:v>-3.3613445378151102E-3</c:v>
                </c:pt>
                <c:pt idx="45348">
                  <c:v>-3.3613445378151102E-3</c:v>
                </c:pt>
                <c:pt idx="45349">
                  <c:v>-3.3613445378151102E-3</c:v>
                </c:pt>
                <c:pt idx="45350">
                  <c:v>-3.3613445378151102E-3</c:v>
                </c:pt>
                <c:pt idx="45351">
                  <c:v>-3.3613445378151102E-3</c:v>
                </c:pt>
                <c:pt idx="45352">
                  <c:v>-3.3613445378151102E-3</c:v>
                </c:pt>
                <c:pt idx="45353">
                  <c:v>-3.3613445378151102E-3</c:v>
                </c:pt>
                <c:pt idx="45354">
                  <c:v>-3.3613445378151102E-3</c:v>
                </c:pt>
                <c:pt idx="45355">
                  <c:v>-3.3613445378151102E-3</c:v>
                </c:pt>
                <c:pt idx="45356">
                  <c:v>-3.3613445378151102E-3</c:v>
                </c:pt>
                <c:pt idx="45357">
                  <c:v>-3.3613445378151102E-3</c:v>
                </c:pt>
                <c:pt idx="45358">
                  <c:v>-3.3613445378151102E-3</c:v>
                </c:pt>
                <c:pt idx="45359">
                  <c:v>-3.3613445378151102E-3</c:v>
                </c:pt>
                <c:pt idx="45360">
                  <c:v>-3.3613445378151102E-3</c:v>
                </c:pt>
                <c:pt idx="45361">
                  <c:v>-3.3613445378151102E-3</c:v>
                </c:pt>
                <c:pt idx="45362">
                  <c:v>-3.3613445378151102E-3</c:v>
                </c:pt>
                <c:pt idx="45363">
                  <c:v>-3.3613445378151102E-3</c:v>
                </c:pt>
                <c:pt idx="45364">
                  <c:v>-3.3613445378151102E-3</c:v>
                </c:pt>
                <c:pt idx="45365">
                  <c:v>-3.3613445378151102E-3</c:v>
                </c:pt>
                <c:pt idx="45366">
                  <c:v>-3.3613445378151102E-3</c:v>
                </c:pt>
                <c:pt idx="45367">
                  <c:v>-3.3613445378151102E-3</c:v>
                </c:pt>
                <c:pt idx="45368">
                  <c:v>-3.3613445378151102E-3</c:v>
                </c:pt>
                <c:pt idx="45369">
                  <c:v>-3.3613445378151102E-3</c:v>
                </c:pt>
                <c:pt idx="45370">
                  <c:v>-3.3613445378151102E-3</c:v>
                </c:pt>
                <c:pt idx="45371">
                  <c:v>-3.3613445378151102E-3</c:v>
                </c:pt>
                <c:pt idx="45372">
                  <c:v>-3.3613445378151102E-3</c:v>
                </c:pt>
                <c:pt idx="45373">
                  <c:v>-3.3613445378151102E-3</c:v>
                </c:pt>
                <c:pt idx="45374">
                  <c:v>-3.3613445378151102E-3</c:v>
                </c:pt>
                <c:pt idx="45375">
                  <c:v>-3.3613445378151102E-3</c:v>
                </c:pt>
                <c:pt idx="45376">
                  <c:v>-3.3613445378151102E-3</c:v>
                </c:pt>
                <c:pt idx="45377">
                  <c:v>-3.3613445378151102E-3</c:v>
                </c:pt>
                <c:pt idx="45378">
                  <c:v>-3.3613445378151102E-3</c:v>
                </c:pt>
                <c:pt idx="45379">
                  <c:v>-3.3613445378151102E-3</c:v>
                </c:pt>
                <c:pt idx="45380">
                  <c:v>-3.3613445378151102E-3</c:v>
                </c:pt>
                <c:pt idx="45381">
                  <c:v>-3.3613445378151102E-3</c:v>
                </c:pt>
                <c:pt idx="45382">
                  <c:v>-3.3613445378151102E-3</c:v>
                </c:pt>
                <c:pt idx="45383">
                  <c:v>-3.3613445378151102E-3</c:v>
                </c:pt>
                <c:pt idx="45384">
                  <c:v>-3.3613445378151102E-3</c:v>
                </c:pt>
                <c:pt idx="45385">
                  <c:v>-3.3613445378151102E-3</c:v>
                </c:pt>
                <c:pt idx="45386">
                  <c:v>-3.3613445378151102E-3</c:v>
                </c:pt>
                <c:pt idx="45387">
                  <c:v>-3.3613445378151102E-3</c:v>
                </c:pt>
                <c:pt idx="45388">
                  <c:v>-3.3613445378151102E-3</c:v>
                </c:pt>
                <c:pt idx="45389">
                  <c:v>-3.3613445378151102E-3</c:v>
                </c:pt>
                <c:pt idx="45390">
                  <c:v>-3.3613445378151102E-3</c:v>
                </c:pt>
                <c:pt idx="45391">
                  <c:v>-3.3613445378151102E-3</c:v>
                </c:pt>
                <c:pt idx="45392">
                  <c:v>-3.3613445378151102E-3</c:v>
                </c:pt>
                <c:pt idx="45393">
                  <c:v>-3.3613445378151102E-3</c:v>
                </c:pt>
                <c:pt idx="45394">
                  <c:v>-3.3613445378151102E-3</c:v>
                </c:pt>
                <c:pt idx="45395">
                  <c:v>-3.3613445378151102E-3</c:v>
                </c:pt>
                <c:pt idx="45396">
                  <c:v>-3.3613445378151102E-3</c:v>
                </c:pt>
                <c:pt idx="45397">
                  <c:v>-3.3613445378151102E-3</c:v>
                </c:pt>
                <c:pt idx="45398">
                  <c:v>-3.3613445378151102E-3</c:v>
                </c:pt>
                <c:pt idx="45399">
                  <c:v>-3.3613445378151102E-3</c:v>
                </c:pt>
                <c:pt idx="45400">
                  <c:v>-3.3613445378151102E-3</c:v>
                </c:pt>
                <c:pt idx="45401">
                  <c:v>-3.3613445378151102E-3</c:v>
                </c:pt>
                <c:pt idx="45402">
                  <c:v>-3.3613445378151102E-3</c:v>
                </c:pt>
                <c:pt idx="45403">
                  <c:v>-3.3613445378151102E-3</c:v>
                </c:pt>
                <c:pt idx="45404">
                  <c:v>-3.3613445378151102E-3</c:v>
                </c:pt>
                <c:pt idx="45405">
                  <c:v>-3.3613445378151102E-3</c:v>
                </c:pt>
                <c:pt idx="45406">
                  <c:v>-2.5210084033613299E-3</c:v>
                </c:pt>
                <c:pt idx="45407">
                  <c:v>-2.5210084033613299E-3</c:v>
                </c:pt>
                <c:pt idx="45408">
                  <c:v>-2.5210084033613299E-3</c:v>
                </c:pt>
                <c:pt idx="45409">
                  <c:v>-2.5210084033613299E-3</c:v>
                </c:pt>
                <c:pt idx="45410">
                  <c:v>-2.5210084033613299E-3</c:v>
                </c:pt>
                <c:pt idx="45411">
                  <c:v>-2.5210084033613299E-3</c:v>
                </c:pt>
                <c:pt idx="45412">
                  <c:v>-2.5210084033613299E-3</c:v>
                </c:pt>
                <c:pt idx="45413">
                  <c:v>-2.5210084033613299E-3</c:v>
                </c:pt>
                <c:pt idx="45414">
                  <c:v>-2.5210084033613299E-3</c:v>
                </c:pt>
                <c:pt idx="45415">
                  <c:v>-2.5210084033613299E-3</c:v>
                </c:pt>
                <c:pt idx="45416">
                  <c:v>-2.5210084033613299E-3</c:v>
                </c:pt>
                <c:pt idx="45417">
                  <c:v>-3.3613445378151102E-3</c:v>
                </c:pt>
                <c:pt idx="45418">
                  <c:v>-3.3613445378151102E-3</c:v>
                </c:pt>
                <c:pt idx="45419">
                  <c:v>-3.3613445378151102E-3</c:v>
                </c:pt>
                <c:pt idx="45420">
                  <c:v>-3.3613445378151102E-3</c:v>
                </c:pt>
                <c:pt idx="45421">
                  <c:v>-3.3613445378151102E-3</c:v>
                </c:pt>
                <c:pt idx="45422">
                  <c:v>-3.3613445378151102E-3</c:v>
                </c:pt>
                <c:pt idx="45423">
                  <c:v>-3.3613445378151102E-3</c:v>
                </c:pt>
                <c:pt idx="45424">
                  <c:v>-3.3613445378151102E-3</c:v>
                </c:pt>
                <c:pt idx="45425">
                  <c:v>-3.3613445378151102E-3</c:v>
                </c:pt>
                <c:pt idx="45426">
                  <c:v>-3.3613445378151102E-3</c:v>
                </c:pt>
                <c:pt idx="45427">
                  <c:v>-2.5210084033613299E-3</c:v>
                </c:pt>
                <c:pt idx="45428">
                  <c:v>-2.5210084033613299E-3</c:v>
                </c:pt>
                <c:pt idx="45429">
                  <c:v>-2.5210084033613299E-3</c:v>
                </c:pt>
                <c:pt idx="45430">
                  <c:v>-2.5210084033613299E-3</c:v>
                </c:pt>
                <c:pt idx="45431">
                  <c:v>-2.5210084033613299E-3</c:v>
                </c:pt>
                <c:pt idx="45432">
                  <c:v>-2.5210084033613299E-3</c:v>
                </c:pt>
                <c:pt idx="45433">
                  <c:v>-2.5210084033613299E-3</c:v>
                </c:pt>
                <c:pt idx="45434">
                  <c:v>-2.5210084033613299E-3</c:v>
                </c:pt>
                <c:pt idx="45435">
                  <c:v>-2.5210084033613299E-3</c:v>
                </c:pt>
                <c:pt idx="45436">
                  <c:v>-2.5210084033613299E-3</c:v>
                </c:pt>
                <c:pt idx="45437">
                  <c:v>-2.5210084033613299E-3</c:v>
                </c:pt>
                <c:pt idx="45438">
                  <c:v>-2.5210084033613299E-3</c:v>
                </c:pt>
                <c:pt idx="45439">
                  <c:v>-2.5210084033613299E-3</c:v>
                </c:pt>
                <c:pt idx="45440">
                  <c:v>-2.5210084033613299E-3</c:v>
                </c:pt>
                <c:pt idx="45441">
                  <c:v>-2.5210084033613299E-3</c:v>
                </c:pt>
                <c:pt idx="45442">
                  <c:v>-2.5210084033613299E-3</c:v>
                </c:pt>
                <c:pt idx="45443">
                  <c:v>-2.5210084033613299E-3</c:v>
                </c:pt>
                <c:pt idx="45444">
                  <c:v>-2.5210084033613299E-3</c:v>
                </c:pt>
                <c:pt idx="45445">
                  <c:v>-2.5210084033613299E-3</c:v>
                </c:pt>
                <c:pt idx="45446">
                  <c:v>-2.5210084033613299E-3</c:v>
                </c:pt>
                <c:pt idx="45447">
                  <c:v>-2.5210084033613299E-3</c:v>
                </c:pt>
                <c:pt idx="45448">
                  <c:v>-2.5210084033613299E-3</c:v>
                </c:pt>
                <c:pt idx="45449">
                  <c:v>-2.5210084033613299E-3</c:v>
                </c:pt>
                <c:pt idx="45450">
                  <c:v>-2.5210084033613299E-3</c:v>
                </c:pt>
                <c:pt idx="45451">
                  <c:v>-2.5210084033613299E-3</c:v>
                </c:pt>
                <c:pt idx="45452">
                  <c:v>-2.5210084033613299E-3</c:v>
                </c:pt>
                <c:pt idx="45453">
                  <c:v>-2.5210084033613299E-3</c:v>
                </c:pt>
                <c:pt idx="45454">
                  <c:v>-2.5210084033613299E-3</c:v>
                </c:pt>
                <c:pt idx="45455">
                  <c:v>-2.5210084033613299E-3</c:v>
                </c:pt>
                <c:pt idx="45456">
                  <c:v>-2.5210084033613299E-3</c:v>
                </c:pt>
                <c:pt idx="45457">
                  <c:v>-2.5210084033613299E-3</c:v>
                </c:pt>
                <c:pt idx="45458">
                  <c:v>-2.5210084033613299E-3</c:v>
                </c:pt>
                <c:pt idx="45459">
                  <c:v>-2.5210084033613299E-3</c:v>
                </c:pt>
                <c:pt idx="45460">
                  <c:v>-2.5210084033613299E-3</c:v>
                </c:pt>
                <c:pt idx="45461">
                  <c:v>-2.5210084033613299E-3</c:v>
                </c:pt>
                <c:pt idx="45462">
                  <c:v>-2.5210084033613299E-3</c:v>
                </c:pt>
                <c:pt idx="45463">
                  <c:v>-2.5210084033613299E-3</c:v>
                </c:pt>
                <c:pt idx="45464">
                  <c:v>-2.5210084033613299E-3</c:v>
                </c:pt>
                <c:pt idx="45465">
                  <c:v>-2.5210084033613299E-3</c:v>
                </c:pt>
                <c:pt idx="45466">
                  <c:v>-2.5210084033613299E-3</c:v>
                </c:pt>
                <c:pt idx="45467">
                  <c:v>-2.5210084033613299E-3</c:v>
                </c:pt>
                <c:pt idx="45468">
                  <c:v>-2.5210084033613299E-3</c:v>
                </c:pt>
                <c:pt idx="45469">
                  <c:v>-2.5210084033613299E-3</c:v>
                </c:pt>
                <c:pt idx="45470">
                  <c:v>-2.5210084033613299E-3</c:v>
                </c:pt>
                <c:pt idx="45471">
                  <c:v>-2.5210084033613299E-3</c:v>
                </c:pt>
                <c:pt idx="45472">
                  <c:v>-2.5210084033613299E-3</c:v>
                </c:pt>
                <c:pt idx="45473">
                  <c:v>-2.5210084033613299E-3</c:v>
                </c:pt>
                <c:pt idx="45474">
                  <c:v>-2.5210084033613299E-3</c:v>
                </c:pt>
                <c:pt idx="45475">
                  <c:v>-2.5210084033613299E-3</c:v>
                </c:pt>
                <c:pt idx="45476">
                  <c:v>-2.5210084033613299E-3</c:v>
                </c:pt>
                <c:pt idx="45477">
                  <c:v>-2.5210084033613299E-3</c:v>
                </c:pt>
                <c:pt idx="45478">
                  <c:v>-2.5210084033613299E-3</c:v>
                </c:pt>
                <c:pt idx="45479">
                  <c:v>-2.5210084033613299E-3</c:v>
                </c:pt>
                <c:pt idx="45480">
                  <c:v>-2.5210084033613299E-3</c:v>
                </c:pt>
                <c:pt idx="45481">
                  <c:v>-2.5210084033613299E-3</c:v>
                </c:pt>
                <c:pt idx="45482">
                  <c:v>-2.5210084033613299E-3</c:v>
                </c:pt>
                <c:pt idx="45483">
                  <c:v>-2.5210084033613299E-3</c:v>
                </c:pt>
                <c:pt idx="45484">
                  <c:v>-2.5210084033613299E-3</c:v>
                </c:pt>
                <c:pt idx="45485">
                  <c:v>-2.5210084033613299E-3</c:v>
                </c:pt>
                <c:pt idx="45486">
                  <c:v>-2.5210084033613299E-3</c:v>
                </c:pt>
                <c:pt idx="45487">
                  <c:v>-2.5210084033613299E-3</c:v>
                </c:pt>
                <c:pt idx="45488">
                  <c:v>-2.5210084033613299E-3</c:v>
                </c:pt>
                <c:pt idx="45489">
                  <c:v>-2.5210084033613299E-3</c:v>
                </c:pt>
                <c:pt idx="45490">
                  <c:v>-2.5210084033613299E-3</c:v>
                </c:pt>
                <c:pt idx="45491">
                  <c:v>-2.5210084033613299E-3</c:v>
                </c:pt>
                <c:pt idx="45492">
                  <c:v>-2.5210084033613299E-3</c:v>
                </c:pt>
                <c:pt idx="45493">
                  <c:v>-2.5210084033613299E-3</c:v>
                </c:pt>
                <c:pt idx="45494">
                  <c:v>-2.5210084033613299E-3</c:v>
                </c:pt>
                <c:pt idx="45495">
                  <c:v>-2.5210084033613299E-3</c:v>
                </c:pt>
                <c:pt idx="45496">
                  <c:v>-2.5210084033613299E-3</c:v>
                </c:pt>
                <c:pt idx="45497">
                  <c:v>-2.5210084033613299E-3</c:v>
                </c:pt>
                <c:pt idx="45498">
                  <c:v>-2.5210084033613299E-3</c:v>
                </c:pt>
                <c:pt idx="45499">
                  <c:v>-2.5210084033613299E-3</c:v>
                </c:pt>
                <c:pt idx="45500">
                  <c:v>-2.5210084033613299E-3</c:v>
                </c:pt>
                <c:pt idx="45501">
                  <c:v>-2.5210084033613299E-3</c:v>
                </c:pt>
                <c:pt idx="45502">
                  <c:v>-2.5210084033613299E-3</c:v>
                </c:pt>
                <c:pt idx="45503">
                  <c:v>-2.5210084033613299E-3</c:v>
                </c:pt>
                <c:pt idx="45504">
                  <c:v>-2.5210084033613299E-3</c:v>
                </c:pt>
                <c:pt idx="45505">
                  <c:v>-2.5210084033613299E-3</c:v>
                </c:pt>
                <c:pt idx="45506">
                  <c:v>-2.5210084033613299E-3</c:v>
                </c:pt>
                <c:pt idx="45507">
                  <c:v>-2.5210084033613299E-3</c:v>
                </c:pt>
                <c:pt idx="45508">
                  <c:v>-2.5210084033613299E-3</c:v>
                </c:pt>
                <c:pt idx="45509">
                  <c:v>-2.5210084033613299E-3</c:v>
                </c:pt>
                <c:pt idx="45510">
                  <c:v>-2.5210084033613299E-3</c:v>
                </c:pt>
                <c:pt idx="45511">
                  <c:v>-2.5210084033613299E-3</c:v>
                </c:pt>
                <c:pt idx="45512">
                  <c:v>-2.5210084033613299E-3</c:v>
                </c:pt>
                <c:pt idx="45513">
                  <c:v>-2.5210084033613299E-3</c:v>
                </c:pt>
                <c:pt idx="45514">
                  <c:v>-2.5210084033613299E-3</c:v>
                </c:pt>
                <c:pt idx="45515">
                  <c:v>-2.5210084033613299E-3</c:v>
                </c:pt>
                <c:pt idx="45516">
                  <c:v>-2.5210084033613299E-3</c:v>
                </c:pt>
                <c:pt idx="45517">
                  <c:v>-2.5210084033613299E-3</c:v>
                </c:pt>
                <c:pt idx="45518">
                  <c:v>-2.5210084033613299E-3</c:v>
                </c:pt>
                <c:pt idx="45519">
                  <c:v>-2.5210084033613299E-3</c:v>
                </c:pt>
                <c:pt idx="45520">
                  <c:v>-2.5210084033613299E-3</c:v>
                </c:pt>
                <c:pt idx="45521">
                  <c:v>-2.5210084033613299E-3</c:v>
                </c:pt>
                <c:pt idx="45522">
                  <c:v>-2.5210084033613299E-3</c:v>
                </c:pt>
                <c:pt idx="45523">
                  <c:v>-2.5210084033613299E-3</c:v>
                </c:pt>
                <c:pt idx="45524">
                  <c:v>-2.5210084033613299E-3</c:v>
                </c:pt>
                <c:pt idx="45525">
                  <c:v>-2.5210084033613299E-3</c:v>
                </c:pt>
                <c:pt idx="45526">
                  <c:v>-2.5210084033613299E-3</c:v>
                </c:pt>
                <c:pt idx="45527">
                  <c:v>-2.5210084033613299E-3</c:v>
                </c:pt>
                <c:pt idx="45528">
                  <c:v>-2.5210084033613299E-3</c:v>
                </c:pt>
                <c:pt idx="45529">
                  <c:v>-2.5210084033613299E-3</c:v>
                </c:pt>
                <c:pt idx="45530">
                  <c:v>-2.5210084033613299E-3</c:v>
                </c:pt>
                <c:pt idx="45531">
                  <c:v>-2.5210084033613299E-3</c:v>
                </c:pt>
                <c:pt idx="45532">
                  <c:v>-2.5210084033613299E-3</c:v>
                </c:pt>
                <c:pt idx="45533">
                  <c:v>-2.5210084033613299E-3</c:v>
                </c:pt>
                <c:pt idx="45534">
                  <c:v>-2.5210084033613299E-3</c:v>
                </c:pt>
                <c:pt idx="45535">
                  <c:v>-2.5210084033613299E-3</c:v>
                </c:pt>
                <c:pt idx="45536">
                  <c:v>-2.5210084033613299E-3</c:v>
                </c:pt>
                <c:pt idx="45537">
                  <c:v>-2.5210084033613299E-3</c:v>
                </c:pt>
                <c:pt idx="45538">
                  <c:v>-2.5210084033613299E-3</c:v>
                </c:pt>
                <c:pt idx="45539">
                  <c:v>-2.5210084033613299E-3</c:v>
                </c:pt>
                <c:pt idx="45540">
                  <c:v>-2.5210084033613299E-3</c:v>
                </c:pt>
                <c:pt idx="45541">
                  <c:v>-2.5210084033613299E-3</c:v>
                </c:pt>
                <c:pt idx="45542">
                  <c:v>-2.5210084033613299E-3</c:v>
                </c:pt>
                <c:pt idx="45543">
                  <c:v>-2.5210084033613299E-3</c:v>
                </c:pt>
                <c:pt idx="45544">
                  <c:v>-2.5210084033613299E-3</c:v>
                </c:pt>
                <c:pt idx="45545">
                  <c:v>-2.5210084033613299E-3</c:v>
                </c:pt>
                <c:pt idx="45546">
                  <c:v>-2.5210084033613299E-3</c:v>
                </c:pt>
                <c:pt idx="45547">
                  <c:v>-2.5210084033613299E-3</c:v>
                </c:pt>
                <c:pt idx="45548">
                  <c:v>-2.5210084033613299E-3</c:v>
                </c:pt>
                <c:pt idx="45549">
                  <c:v>-2.5210084033613299E-3</c:v>
                </c:pt>
                <c:pt idx="45550">
                  <c:v>-2.5210084033613299E-3</c:v>
                </c:pt>
                <c:pt idx="45551">
                  <c:v>-2.5210084033613299E-3</c:v>
                </c:pt>
                <c:pt idx="45552">
                  <c:v>-2.5210084033613299E-3</c:v>
                </c:pt>
                <c:pt idx="45553">
                  <c:v>-2.5210084033613299E-3</c:v>
                </c:pt>
                <c:pt idx="45554">
                  <c:v>-2.5210084033613299E-3</c:v>
                </c:pt>
                <c:pt idx="45555">
                  <c:v>-2.5210084033613299E-3</c:v>
                </c:pt>
                <c:pt idx="45556">
                  <c:v>-2.5210084033613299E-3</c:v>
                </c:pt>
                <c:pt idx="45557">
                  <c:v>-2.5210084033613299E-3</c:v>
                </c:pt>
                <c:pt idx="45558">
                  <c:v>-2.5210084033613299E-3</c:v>
                </c:pt>
                <c:pt idx="45559">
                  <c:v>-2.5210084033613299E-3</c:v>
                </c:pt>
                <c:pt idx="45560">
                  <c:v>-2.5210084033613299E-3</c:v>
                </c:pt>
                <c:pt idx="45561">
                  <c:v>-2.5210084033613299E-3</c:v>
                </c:pt>
                <c:pt idx="45562">
                  <c:v>-2.5210084033613299E-3</c:v>
                </c:pt>
                <c:pt idx="45563">
                  <c:v>-2.5210084033613299E-3</c:v>
                </c:pt>
                <c:pt idx="45564">
                  <c:v>-2.5210084033613299E-3</c:v>
                </c:pt>
                <c:pt idx="45565">
                  <c:v>-2.5210084033613299E-3</c:v>
                </c:pt>
                <c:pt idx="45566">
                  <c:v>-2.5210084033613299E-3</c:v>
                </c:pt>
                <c:pt idx="45567">
                  <c:v>-2.5210084033613299E-3</c:v>
                </c:pt>
                <c:pt idx="45568">
                  <c:v>-2.5210084033613299E-3</c:v>
                </c:pt>
                <c:pt idx="45569">
                  <c:v>-2.5210084033613299E-3</c:v>
                </c:pt>
                <c:pt idx="45570">
                  <c:v>-2.5210084033613299E-3</c:v>
                </c:pt>
                <c:pt idx="45571">
                  <c:v>-2.5210084033613299E-3</c:v>
                </c:pt>
                <c:pt idx="45572">
                  <c:v>-2.5210084033613299E-3</c:v>
                </c:pt>
                <c:pt idx="45573">
                  <c:v>-2.5210084033613299E-3</c:v>
                </c:pt>
                <c:pt idx="45574">
                  <c:v>-2.5210084033613299E-3</c:v>
                </c:pt>
                <c:pt idx="45575">
                  <c:v>-2.5210084033613299E-3</c:v>
                </c:pt>
                <c:pt idx="45576">
                  <c:v>-2.5210084033613299E-3</c:v>
                </c:pt>
                <c:pt idx="45577">
                  <c:v>-2.5210084033613299E-3</c:v>
                </c:pt>
                <c:pt idx="45578">
                  <c:v>-2.5210084033613299E-3</c:v>
                </c:pt>
                <c:pt idx="45579">
                  <c:v>-2.5210084033613299E-3</c:v>
                </c:pt>
                <c:pt idx="45580">
                  <c:v>-2.5210084033613299E-3</c:v>
                </c:pt>
                <c:pt idx="45581">
                  <c:v>-2.5210084033613299E-3</c:v>
                </c:pt>
                <c:pt idx="45582">
                  <c:v>-2.5210084033613299E-3</c:v>
                </c:pt>
                <c:pt idx="45583">
                  <c:v>-2.5210084033613299E-3</c:v>
                </c:pt>
                <c:pt idx="45584">
                  <c:v>-2.5210084033613299E-3</c:v>
                </c:pt>
                <c:pt idx="45585">
                  <c:v>-2.5210084033613299E-3</c:v>
                </c:pt>
                <c:pt idx="45586">
                  <c:v>-2.5210084033613299E-3</c:v>
                </c:pt>
                <c:pt idx="45587">
                  <c:v>-2.5210084033613299E-3</c:v>
                </c:pt>
                <c:pt idx="45588">
                  <c:v>-2.5210084033613299E-3</c:v>
                </c:pt>
                <c:pt idx="45589">
                  <c:v>-2.5210084033613299E-3</c:v>
                </c:pt>
                <c:pt idx="45590">
                  <c:v>-2.5210084033613299E-3</c:v>
                </c:pt>
                <c:pt idx="45591">
                  <c:v>-2.5210084033613299E-3</c:v>
                </c:pt>
                <c:pt idx="45592">
                  <c:v>-2.5210084033613299E-3</c:v>
                </c:pt>
                <c:pt idx="45593">
                  <c:v>-2.5210084033613299E-3</c:v>
                </c:pt>
                <c:pt idx="45594">
                  <c:v>-2.5210084033613299E-3</c:v>
                </c:pt>
                <c:pt idx="45595">
                  <c:v>-2.5210084033613299E-3</c:v>
                </c:pt>
                <c:pt idx="45596">
                  <c:v>-2.5210084033613299E-3</c:v>
                </c:pt>
                <c:pt idx="45597">
                  <c:v>-2.5210084033613299E-3</c:v>
                </c:pt>
                <c:pt idx="45598">
                  <c:v>-2.5210084033613299E-3</c:v>
                </c:pt>
                <c:pt idx="45599">
                  <c:v>-2.5210084033613299E-3</c:v>
                </c:pt>
                <c:pt idx="45600">
                  <c:v>-2.5210084033613299E-3</c:v>
                </c:pt>
                <c:pt idx="45601">
                  <c:v>-2.5210084033613299E-3</c:v>
                </c:pt>
                <c:pt idx="45602">
                  <c:v>-2.5210084033613299E-3</c:v>
                </c:pt>
                <c:pt idx="45603">
                  <c:v>-2.5210084033613299E-3</c:v>
                </c:pt>
                <c:pt idx="45604">
                  <c:v>-2.5210084033613299E-3</c:v>
                </c:pt>
                <c:pt idx="45605">
                  <c:v>-2.5210084033613299E-3</c:v>
                </c:pt>
                <c:pt idx="45606">
                  <c:v>-2.5210084033613299E-3</c:v>
                </c:pt>
                <c:pt idx="45607">
                  <c:v>-2.5210084033613299E-3</c:v>
                </c:pt>
                <c:pt idx="45608">
                  <c:v>-2.5210084033613299E-3</c:v>
                </c:pt>
                <c:pt idx="45609">
                  <c:v>-2.5210084033613299E-3</c:v>
                </c:pt>
                <c:pt idx="45610">
                  <c:v>-2.5210084033613299E-3</c:v>
                </c:pt>
                <c:pt idx="45611">
                  <c:v>-2.5210084033613299E-3</c:v>
                </c:pt>
                <c:pt idx="45612">
                  <c:v>-2.5210084033613299E-3</c:v>
                </c:pt>
                <c:pt idx="45613">
                  <c:v>-2.5210084033613299E-3</c:v>
                </c:pt>
                <c:pt idx="45614">
                  <c:v>-2.5210084033613299E-3</c:v>
                </c:pt>
                <c:pt idx="45615">
                  <c:v>-2.5210084033613299E-3</c:v>
                </c:pt>
                <c:pt idx="45616">
                  <c:v>-2.5210084033613299E-3</c:v>
                </c:pt>
                <c:pt idx="45617">
                  <c:v>-2.5210084033613299E-3</c:v>
                </c:pt>
                <c:pt idx="45618">
                  <c:v>-2.5210084033613299E-3</c:v>
                </c:pt>
                <c:pt idx="45619">
                  <c:v>-2.5210084033613299E-3</c:v>
                </c:pt>
                <c:pt idx="45620">
                  <c:v>-2.5210084033613299E-3</c:v>
                </c:pt>
                <c:pt idx="45621">
                  <c:v>-2.5210084033613299E-3</c:v>
                </c:pt>
                <c:pt idx="45622">
                  <c:v>-2.5210084033613299E-3</c:v>
                </c:pt>
                <c:pt idx="45623">
                  <c:v>-2.5210084033613299E-3</c:v>
                </c:pt>
                <c:pt idx="45624">
                  <c:v>-2.5210084033613299E-3</c:v>
                </c:pt>
                <c:pt idx="45625">
                  <c:v>-2.5210084033613299E-3</c:v>
                </c:pt>
                <c:pt idx="45626">
                  <c:v>-2.5210084033613299E-3</c:v>
                </c:pt>
                <c:pt idx="45627">
                  <c:v>-2.5210084033613299E-3</c:v>
                </c:pt>
                <c:pt idx="45628">
                  <c:v>-2.5210084033613299E-3</c:v>
                </c:pt>
                <c:pt idx="45629">
                  <c:v>-2.5210084033613299E-3</c:v>
                </c:pt>
                <c:pt idx="45630">
                  <c:v>-2.5210084033613299E-3</c:v>
                </c:pt>
                <c:pt idx="45631">
                  <c:v>-2.5210084033613299E-3</c:v>
                </c:pt>
                <c:pt idx="45632">
                  <c:v>-2.5210084033613299E-3</c:v>
                </c:pt>
                <c:pt idx="45633">
                  <c:v>-2.5210084033613299E-3</c:v>
                </c:pt>
                <c:pt idx="45634">
                  <c:v>-2.5210084033613299E-3</c:v>
                </c:pt>
                <c:pt idx="45635">
                  <c:v>-2.5210084033613299E-3</c:v>
                </c:pt>
                <c:pt idx="45636">
                  <c:v>-2.5210084033613299E-3</c:v>
                </c:pt>
                <c:pt idx="45637">
                  <c:v>-2.5210084033613299E-3</c:v>
                </c:pt>
                <c:pt idx="45638">
                  <c:v>-2.5210084033613299E-3</c:v>
                </c:pt>
                <c:pt idx="45639">
                  <c:v>-2.5210084033613299E-3</c:v>
                </c:pt>
                <c:pt idx="45640">
                  <c:v>-2.5210084033613299E-3</c:v>
                </c:pt>
                <c:pt idx="45641">
                  <c:v>-2.5210084033613299E-3</c:v>
                </c:pt>
                <c:pt idx="45642">
                  <c:v>-2.5210084033613299E-3</c:v>
                </c:pt>
                <c:pt idx="45643">
                  <c:v>-2.5210084033613299E-3</c:v>
                </c:pt>
                <c:pt idx="45644">
                  <c:v>-2.5210084033613299E-3</c:v>
                </c:pt>
                <c:pt idx="45645">
                  <c:v>-2.5210084033613299E-3</c:v>
                </c:pt>
                <c:pt idx="45646">
                  <c:v>-2.5210084033613299E-3</c:v>
                </c:pt>
                <c:pt idx="45647">
                  <c:v>-2.5210084033613299E-3</c:v>
                </c:pt>
                <c:pt idx="45648">
                  <c:v>-2.5210084033613299E-3</c:v>
                </c:pt>
                <c:pt idx="45649">
                  <c:v>-2.5210084033613299E-3</c:v>
                </c:pt>
                <c:pt idx="45650">
                  <c:v>-2.5210084033613299E-3</c:v>
                </c:pt>
                <c:pt idx="45651">
                  <c:v>-2.5210084033613299E-3</c:v>
                </c:pt>
                <c:pt idx="45652">
                  <c:v>-2.5210084033613299E-3</c:v>
                </c:pt>
                <c:pt idx="45653">
                  <c:v>-2.5210084033613299E-3</c:v>
                </c:pt>
                <c:pt idx="45654">
                  <c:v>-2.5210084033613299E-3</c:v>
                </c:pt>
                <c:pt idx="45655">
                  <c:v>-2.5210084033613299E-3</c:v>
                </c:pt>
                <c:pt idx="45656">
                  <c:v>-2.5210084033613299E-3</c:v>
                </c:pt>
                <c:pt idx="45657">
                  <c:v>-2.5210084033613299E-3</c:v>
                </c:pt>
                <c:pt idx="45658">
                  <c:v>-2.5210084033613299E-3</c:v>
                </c:pt>
                <c:pt idx="45659">
                  <c:v>-2.5210084033613299E-3</c:v>
                </c:pt>
                <c:pt idx="45660">
                  <c:v>-2.5210084033613299E-3</c:v>
                </c:pt>
                <c:pt idx="45661">
                  <c:v>-2.5210084033613299E-3</c:v>
                </c:pt>
                <c:pt idx="45662">
                  <c:v>-2.5210084033613299E-3</c:v>
                </c:pt>
                <c:pt idx="45663">
                  <c:v>-2.5210084033613299E-3</c:v>
                </c:pt>
                <c:pt idx="45664">
                  <c:v>-2.5210084033613299E-3</c:v>
                </c:pt>
                <c:pt idx="45665">
                  <c:v>-2.5210084033613299E-3</c:v>
                </c:pt>
                <c:pt idx="45666">
                  <c:v>-2.5210084033613299E-3</c:v>
                </c:pt>
                <c:pt idx="45667">
                  <c:v>-2.5210084033613299E-3</c:v>
                </c:pt>
                <c:pt idx="45668">
                  <c:v>-2.5210084033613299E-3</c:v>
                </c:pt>
                <c:pt idx="45669">
                  <c:v>-2.5210084033613299E-3</c:v>
                </c:pt>
                <c:pt idx="45670">
                  <c:v>-2.5210084033613299E-3</c:v>
                </c:pt>
                <c:pt idx="45671">
                  <c:v>-2.5210084033613299E-3</c:v>
                </c:pt>
                <c:pt idx="45672">
                  <c:v>-1.6806722689075499E-3</c:v>
                </c:pt>
                <c:pt idx="45673">
                  <c:v>-1.6806722689075499E-3</c:v>
                </c:pt>
                <c:pt idx="45674">
                  <c:v>-1.6806722689075499E-3</c:v>
                </c:pt>
                <c:pt idx="45675">
                  <c:v>-1.6806722689075499E-3</c:v>
                </c:pt>
                <c:pt idx="45676">
                  <c:v>-1.6806722689075499E-3</c:v>
                </c:pt>
                <c:pt idx="45677">
                  <c:v>-8.4033613445377799E-4</c:v>
                </c:pt>
                <c:pt idx="45678">
                  <c:v>-8.4033613445377799E-4</c:v>
                </c:pt>
                <c:pt idx="45679">
                  <c:v>-8.4033613445377799E-4</c:v>
                </c:pt>
                <c:pt idx="45680">
                  <c:v>-8.4033613445377799E-4</c:v>
                </c:pt>
                <c:pt idx="45681">
                  <c:v>-8.4033613445377799E-4</c:v>
                </c:pt>
                <c:pt idx="45682">
                  <c:v>-8.4033613445377799E-4</c:v>
                </c:pt>
                <c:pt idx="45683">
                  <c:v>-8.4033613445377799E-4</c:v>
                </c:pt>
                <c:pt idx="45684">
                  <c:v>-8.4033613445377799E-4</c:v>
                </c:pt>
                <c:pt idx="45685">
                  <c:v>-8.4033613445377799E-4</c:v>
                </c:pt>
                <c:pt idx="45686">
                  <c:v>-8.4033613445377799E-4</c:v>
                </c:pt>
                <c:pt idx="45687">
                  <c:v>-8.4033613445377799E-4</c:v>
                </c:pt>
                <c:pt idx="45688">
                  <c:v>-8.4033613445377799E-4</c:v>
                </c:pt>
                <c:pt idx="45689">
                  <c:v>-8.4033613445377799E-4</c:v>
                </c:pt>
                <c:pt idx="45690">
                  <c:v>-8.4033613445377799E-4</c:v>
                </c:pt>
                <c:pt idx="45691">
                  <c:v>-8.4033613445377799E-4</c:v>
                </c:pt>
                <c:pt idx="45692">
                  <c:v>-8.4033613445377799E-4</c:v>
                </c:pt>
                <c:pt idx="45693">
                  <c:v>-8.4033613445377799E-4</c:v>
                </c:pt>
                <c:pt idx="45694">
                  <c:v>-8.4033613445377799E-4</c:v>
                </c:pt>
                <c:pt idx="45695">
                  <c:v>-8.4033613445377799E-4</c:v>
                </c:pt>
                <c:pt idx="45696">
                  <c:v>-8.4033613445377799E-4</c:v>
                </c:pt>
                <c:pt idx="45697">
                  <c:v>-8.4033613445377799E-4</c:v>
                </c:pt>
                <c:pt idx="45698">
                  <c:v>-8.4033613445377799E-4</c:v>
                </c:pt>
                <c:pt idx="45699">
                  <c:v>-8.4033613445377799E-4</c:v>
                </c:pt>
                <c:pt idx="45700">
                  <c:v>-8.4033613445377799E-4</c:v>
                </c:pt>
                <c:pt idx="45701">
                  <c:v>-8.4033613445377799E-4</c:v>
                </c:pt>
                <c:pt idx="45702">
                  <c:v>-8.4033613445377799E-4</c:v>
                </c:pt>
                <c:pt idx="45703">
                  <c:v>-8.4033613445377799E-4</c:v>
                </c:pt>
                <c:pt idx="45704">
                  <c:v>-8.4033613445377799E-4</c:v>
                </c:pt>
                <c:pt idx="45705">
                  <c:v>-8.4033613445377799E-4</c:v>
                </c:pt>
                <c:pt idx="45706">
                  <c:v>-8.4033613445377799E-4</c:v>
                </c:pt>
                <c:pt idx="45707">
                  <c:v>-8.4033613445377799E-4</c:v>
                </c:pt>
                <c:pt idx="45708">
                  <c:v>-8.4033613445377799E-4</c:v>
                </c:pt>
                <c:pt idx="45709">
                  <c:v>-8.4033613445377799E-4</c:v>
                </c:pt>
                <c:pt idx="45710">
                  <c:v>-8.4033613445377799E-4</c:v>
                </c:pt>
                <c:pt idx="45711">
                  <c:v>-8.4033613445377799E-4</c:v>
                </c:pt>
                <c:pt idx="45712">
                  <c:v>-8.4033613445377799E-4</c:v>
                </c:pt>
                <c:pt idx="45713">
                  <c:v>-8.4033613445377799E-4</c:v>
                </c:pt>
                <c:pt idx="45714">
                  <c:v>-8.4033613445377799E-4</c:v>
                </c:pt>
                <c:pt idx="45715">
                  <c:v>-8.4033613445377799E-4</c:v>
                </c:pt>
                <c:pt idx="45716">
                  <c:v>-8.4033613445377799E-4</c:v>
                </c:pt>
                <c:pt idx="45717">
                  <c:v>-8.4033613445377799E-4</c:v>
                </c:pt>
                <c:pt idx="45718">
                  <c:v>-8.4033613445377799E-4</c:v>
                </c:pt>
                <c:pt idx="45719">
                  <c:v>-8.4033613445377799E-4</c:v>
                </c:pt>
                <c:pt idx="45720">
                  <c:v>-8.4033613445377799E-4</c:v>
                </c:pt>
                <c:pt idx="45721">
                  <c:v>-8.4033613445377799E-4</c:v>
                </c:pt>
                <c:pt idx="45722">
                  <c:v>-8.4033613445377799E-4</c:v>
                </c:pt>
                <c:pt idx="45723">
                  <c:v>-8.4033613445377799E-4</c:v>
                </c:pt>
                <c:pt idx="45724">
                  <c:v>-8.4033613445377799E-4</c:v>
                </c:pt>
                <c:pt idx="45725">
                  <c:v>-8.4033613445377799E-4</c:v>
                </c:pt>
                <c:pt idx="45726">
                  <c:v>-8.4033613445377799E-4</c:v>
                </c:pt>
                <c:pt idx="45727">
                  <c:v>-8.4033613445377799E-4</c:v>
                </c:pt>
                <c:pt idx="45728">
                  <c:v>-8.4033613445377799E-4</c:v>
                </c:pt>
                <c:pt idx="45729">
                  <c:v>-8.4033613445377799E-4</c:v>
                </c:pt>
                <c:pt idx="45730">
                  <c:v>-8.4033613445377799E-4</c:v>
                </c:pt>
                <c:pt idx="45731">
                  <c:v>-8.4033613445377799E-4</c:v>
                </c:pt>
                <c:pt idx="45732">
                  <c:v>-8.4033613445377799E-4</c:v>
                </c:pt>
                <c:pt idx="45733">
                  <c:v>-8.4033613445377799E-4</c:v>
                </c:pt>
                <c:pt idx="45734">
                  <c:v>-8.4033613445377799E-4</c:v>
                </c:pt>
                <c:pt idx="45735">
                  <c:v>-8.4033613445377799E-4</c:v>
                </c:pt>
                <c:pt idx="45736">
                  <c:v>-8.4033613445377799E-4</c:v>
                </c:pt>
                <c:pt idx="45737">
                  <c:v>-8.4033613445377799E-4</c:v>
                </c:pt>
                <c:pt idx="45738">
                  <c:v>-8.4033613445377799E-4</c:v>
                </c:pt>
                <c:pt idx="45739">
                  <c:v>-8.4033613445377799E-4</c:v>
                </c:pt>
                <c:pt idx="45740">
                  <c:v>-8.4033613445377799E-4</c:v>
                </c:pt>
                <c:pt idx="45741">
                  <c:v>-8.4033613445377799E-4</c:v>
                </c:pt>
                <c:pt idx="45742">
                  <c:v>-8.4033613445377799E-4</c:v>
                </c:pt>
                <c:pt idx="45743">
                  <c:v>-8.4033613445377799E-4</c:v>
                </c:pt>
                <c:pt idx="45744">
                  <c:v>-8.4033613445377799E-4</c:v>
                </c:pt>
                <c:pt idx="45745">
                  <c:v>-8.4033613445377799E-4</c:v>
                </c:pt>
                <c:pt idx="45746">
                  <c:v>-8.4033613445377799E-4</c:v>
                </c:pt>
                <c:pt idx="45747">
                  <c:v>-8.4033613445377799E-4</c:v>
                </c:pt>
                <c:pt idx="45748">
                  <c:v>-8.4033613445377799E-4</c:v>
                </c:pt>
                <c:pt idx="45749">
                  <c:v>-8.4033613445377799E-4</c:v>
                </c:pt>
                <c:pt idx="45750">
                  <c:v>-8.4033613445377799E-4</c:v>
                </c:pt>
                <c:pt idx="45751">
                  <c:v>-8.4033613445377799E-4</c:v>
                </c:pt>
                <c:pt idx="45752">
                  <c:v>-8.4033613445377799E-4</c:v>
                </c:pt>
                <c:pt idx="45753">
                  <c:v>-8.4033613445377799E-4</c:v>
                </c:pt>
                <c:pt idx="45754">
                  <c:v>-8.4033613445377799E-4</c:v>
                </c:pt>
                <c:pt idx="45755">
                  <c:v>-8.4033613445377799E-4</c:v>
                </c:pt>
                <c:pt idx="45756">
                  <c:v>-8.4033613445377799E-4</c:v>
                </c:pt>
                <c:pt idx="45757">
                  <c:v>-8.4033613445377799E-4</c:v>
                </c:pt>
                <c:pt idx="45758">
                  <c:v>-8.4033613445377799E-4</c:v>
                </c:pt>
                <c:pt idx="45759">
                  <c:v>-8.4033613445377799E-4</c:v>
                </c:pt>
                <c:pt idx="45760">
                  <c:v>-8.4033613445377799E-4</c:v>
                </c:pt>
                <c:pt idx="45761">
                  <c:v>-8.4033613445377799E-4</c:v>
                </c:pt>
                <c:pt idx="45762">
                  <c:v>-8.4033613445377799E-4</c:v>
                </c:pt>
                <c:pt idx="45763">
                  <c:v>-8.4033613445377799E-4</c:v>
                </c:pt>
                <c:pt idx="45764">
                  <c:v>-8.4033613445377799E-4</c:v>
                </c:pt>
                <c:pt idx="45765">
                  <c:v>-8.4033613445377799E-4</c:v>
                </c:pt>
                <c:pt idx="45766">
                  <c:v>-8.4033613445377799E-4</c:v>
                </c:pt>
                <c:pt idx="45767">
                  <c:v>-8.4033613445377799E-4</c:v>
                </c:pt>
                <c:pt idx="45768">
                  <c:v>-8.4033613445377799E-4</c:v>
                </c:pt>
                <c:pt idx="45769">
                  <c:v>-8.4033613445377799E-4</c:v>
                </c:pt>
                <c:pt idx="45770">
                  <c:v>-8.4033613445377799E-4</c:v>
                </c:pt>
                <c:pt idx="45771">
                  <c:v>-8.4033613445377799E-4</c:v>
                </c:pt>
                <c:pt idx="45772">
                  <c:v>-8.4033613445377799E-4</c:v>
                </c:pt>
                <c:pt idx="45773">
                  <c:v>-8.4033613445377799E-4</c:v>
                </c:pt>
                <c:pt idx="45774">
                  <c:v>-8.4033613445377799E-4</c:v>
                </c:pt>
                <c:pt idx="45775">
                  <c:v>-8.4033613445377799E-4</c:v>
                </c:pt>
                <c:pt idx="45776">
                  <c:v>-8.4033613445377799E-4</c:v>
                </c:pt>
                <c:pt idx="45777">
                  <c:v>-8.4033613445377799E-4</c:v>
                </c:pt>
                <c:pt idx="45778">
                  <c:v>-8.4033613445377799E-4</c:v>
                </c:pt>
                <c:pt idx="45779">
                  <c:v>-8.4033613445377799E-4</c:v>
                </c:pt>
                <c:pt idx="45780">
                  <c:v>-8.4033613445377799E-4</c:v>
                </c:pt>
                <c:pt idx="45781">
                  <c:v>-8.4033613445377799E-4</c:v>
                </c:pt>
                <c:pt idx="45782">
                  <c:v>-8.4033613445377799E-4</c:v>
                </c:pt>
                <c:pt idx="45783">
                  <c:v>-8.4033613445377799E-4</c:v>
                </c:pt>
                <c:pt idx="45784">
                  <c:v>-8.4033613445377799E-4</c:v>
                </c:pt>
                <c:pt idx="45785">
                  <c:v>-8.4033613445377799E-4</c:v>
                </c:pt>
                <c:pt idx="45786">
                  <c:v>-8.4033613445377799E-4</c:v>
                </c:pt>
                <c:pt idx="45787">
                  <c:v>-8.4033613445377799E-4</c:v>
                </c:pt>
                <c:pt idx="45788">
                  <c:v>-8.4033613445377799E-4</c:v>
                </c:pt>
                <c:pt idx="45789">
                  <c:v>-8.4033613445377799E-4</c:v>
                </c:pt>
                <c:pt idx="45790">
                  <c:v>-8.4033613445377799E-4</c:v>
                </c:pt>
                <c:pt idx="45791">
                  <c:v>-8.4033613445377799E-4</c:v>
                </c:pt>
                <c:pt idx="45792">
                  <c:v>-8.4033613445377799E-4</c:v>
                </c:pt>
                <c:pt idx="45793">
                  <c:v>-8.4033613445377799E-4</c:v>
                </c:pt>
                <c:pt idx="45794">
                  <c:v>-8.4033613445377799E-4</c:v>
                </c:pt>
                <c:pt idx="45795">
                  <c:v>-8.4033613445377799E-4</c:v>
                </c:pt>
                <c:pt idx="45796">
                  <c:v>-8.4033613445377799E-4</c:v>
                </c:pt>
                <c:pt idx="45797">
                  <c:v>-8.4033613445377799E-4</c:v>
                </c:pt>
                <c:pt idx="45798">
                  <c:v>-8.4033613445377799E-4</c:v>
                </c:pt>
                <c:pt idx="45799">
                  <c:v>-8.4033613445377799E-4</c:v>
                </c:pt>
                <c:pt idx="45800">
                  <c:v>-8.4033613445377799E-4</c:v>
                </c:pt>
                <c:pt idx="45801">
                  <c:v>-8.4033613445377799E-4</c:v>
                </c:pt>
                <c:pt idx="45802">
                  <c:v>-8.4033613445377799E-4</c:v>
                </c:pt>
                <c:pt idx="45803">
                  <c:v>-8.4033613445377799E-4</c:v>
                </c:pt>
                <c:pt idx="45804">
                  <c:v>-8.4033613445377799E-4</c:v>
                </c:pt>
                <c:pt idx="45805">
                  <c:v>-8.4033613445377799E-4</c:v>
                </c:pt>
                <c:pt idx="45806">
                  <c:v>-8.4033613445377799E-4</c:v>
                </c:pt>
                <c:pt idx="45807">
                  <c:v>-8.4033613445377799E-4</c:v>
                </c:pt>
                <c:pt idx="45808">
                  <c:v>-8.4033613445377799E-4</c:v>
                </c:pt>
                <c:pt idx="45809">
                  <c:v>-8.4033613445377799E-4</c:v>
                </c:pt>
                <c:pt idx="45810">
                  <c:v>-8.4033613445377799E-4</c:v>
                </c:pt>
                <c:pt idx="45811">
                  <c:v>-8.4033613445377799E-4</c:v>
                </c:pt>
                <c:pt idx="45812">
                  <c:v>-8.4033613445377799E-4</c:v>
                </c:pt>
                <c:pt idx="45813">
                  <c:v>-8.4033613445377799E-4</c:v>
                </c:pt>
                <c:pt idx="45814">
                  <c:v>-8.4033613445377799E-4</c:v>
                </c:pt>
                <c:pt idx="45815">
                  <c:v>-8.4033613445377799E-4</c:v>
                </c:pt>
                <c:pt idx="45816">
                  <c:v>-8.4033613445377799E-4</c:v>
                </c:pt>
                <c:pt idx="45817">
                  <c:v>-8.4033613445377799E-4</c:v>
                </c:pt>
                <c:pt idx="45818">
                  <c:v>-8.4033613445377799E-4</c:v>
                </c:pt>
                <c:pt idx="45819">
                  <c:v>-8.4033613445377799E-4</c:v>
                </c:pt>
                <c:pt idx="45820">
                  <c:v>-8.4033613445377799E-4</c:v>
                </c:pt>
                <c:pt idx="45821">
                  <c:v>-8.4033613445377799E-4</c:v>
                </c:pt>
                <c:pt idx="45822">
                  <c:v>-8.4033613445377799E-4</c:v>
                </c:pt>
                <c:pt idx="45823">
                  <c:v>-8.4033613445377799E-4</c:v>
                </c:pt>
                <c:pt idx="45824">
                  <c:v>-8.4033613445377799E-4</c:v>
                </c:pt>
                <c:pt idx="45825">
                  <c:v>-8.4033613445377799E-4</c:v>
                </c:pt>
                <c:pt idx="45826">
                  <c:v>-8.4033613445377799E-4</c:v>
                </c:pt>
                <c:pt idx="45827">
                  <c:v>-8.4033613445377799E-4</c:v>
                </c:pt>
                <c:pt idx="45828">
                  <c:v>-8.4033613445377799E-4</c:v>
                </c:pt>
                <c:pt idx="45829">
                  <c:v>-8.4033613445377799E-4</c:v>
                </c:pt>
                <c:pt idx="45830">
                  <c:v>-8.4033613445377799E-4</c:v>
                </c:pt>
                <c:pt idx="45831">
                  <c:v>-8.4033613445377799E-4</c:v>
                </c:pt>
                <c:pt idx="45832">
                  <c:v>-8.4033613445377799E-4</c:v>
                </c:pt>
                <c:pt idx="45833">
                  <c:v>-8.4033613445377799E-4</c:v>
                </c:pt>
                <c:pt idx="45834">
                  <c:v>-8.4033613445377799E-4</c:v>
                </c:pt>
                <c:pt idx="45835">
                  <c:v>-8.4033613445377799E-4</c:v>
                </c:pt>
                <c:pt idx="45836">
                  <c:v>-8.4033613445377799E-4</c:v>
                </c:pt>
                <c:pt idx="45837">
                  <c:v>-8.4033613445377799E-4</c:v>
                </c:pt>
                <c:pt idx="45838">
                  <c:v>-8.4033613445377799E-4</c:v>
                </c:pt>
                <c:pt idx="45839">
                  <c:v>-8.4033613445377799E-4</c:v>
                </c:pt>
                <c:pt idx="45840">
                  <c:v>-8.4033613445377799E-4</c:v>
                </c:pt>
                <c:pt idx="45841">
                  <c:v>-8.4033613445377799E-4</c:v>
                </c:pt>
                <c:pt idx="45842">
                  <c:v>-8.4033613445377799E-4</c:v>
                </c:pt>
                <c:pt idx="45843">
                  <c:v>-8.4033613445377799E-4</c:v>
                </c:pt>
                <c:pt idx="45844">
                  <c:v>-8.4033613445377799E-4</c:v>
                </c:pt>
                <c:pt idx="45845">
                  <c:v>-8.4033613445377799E-4</c:v>
                </c:pt>
                <c:pt idx="45846">
                  <c:v>-8.4033613445377799E-4</c:v>
                </c:pt>
                <c:pt idx="45847">
                  <c:v>-8.4033613445377799E-4</c:v>
                </c:pt>
                <c:pt idx="45848">
                  <c:v>-8.4033613445377799E-4</c:v>
                </c:pt>
                <c:pt idx="45849">
                  <c:v>-8.4033613445377799E-4</c:v>
                </c:pt>
                <c:pt idx="45850">
                  <c:v>-8.4033613445377799E-4</c:v>
                </c:pt>
                <c:pt idx="45851">
                  <c:v>-8.4033613445377799E-4</c:v>
                </c:pt>
                <c:pt idx="45852">
                  <c:v>-8.4033613445377799E-4</c:v>
                </c:pt>
                <c:pt idx="45853">
                  <c:v>-8.4033613445377799E-4</c:v>
                </c:pt>
                <c:pt idx="45854">
                  <c:v>-8.4033613445377799E-4</c:v>
                </c:pt>
                <c:pt idx="45855">
                  <c:v>-8.4033613445377799E-4</c:v>
                </c:pt>
                <c:pt idx="45856">
                  <c:v>-8.4033613445377799E-4</c:v>
                </c:pt>
                <c:pt idx="45857">
                  <c:v>-8.4033613445377799E-4</c:v>
                </c:pt>
                <c:pt idx="45858">
                  <c:v>-8.4033613445377799E-4</c:v>
                </c:pt>
                <c:pt idx="45859">
                  <c:v>-8.4033613445377799E-4</c:v>
                </c:pt>
                <c:pt idx="45860">
                  <c:v>-8.4033613445377799E-4</c:v>
                </c:pt>
                <c:pt idx="45861">
                  <c:v>-8.4033613445377799E-4</c:v>
                </c:pt>
                <c:pt idx="45862">
                  <c:v>-8.4033613445377799E-4</c:v>
                </c:pt>
                <c:pt idx="45863">
                  <c:v>-8.4033613445377799E-4</c:v>
                </c:pt>
                <c:pt idx="45864">
                  <c:v>-8.4033613445377799E-4</c:v>
                </c:pt>
                <c:pt idx="45865">
                  <c:v>-8.4033613445377799E-4</c:v>
                </c:pt>
                <c:pt idx="45866">
                  <c:v>-8.4033613445377799E-4</c:v>
                </c:pt>
                <c:pt idx="45867">
                  <c:v>-8.4033613445377799E-4</c:v>
                </c:pt>
                <c:pt idx="45868">
                  <c:v>-8.4033613445377799E-4</c:v>
                </c:pt>
                <c:pt idx="45869">
                  <c:v>-8.4033613445377799E-4</c:v>
                </c:pt>
                <c:pt idx="45870">
                  <c:v>-8.4033613445377799E-4</c:v>
                </c:pt>
                <c:pt idx="45871">
                  <c:v>-8.4033613445377799E-4</c:v>
                </c:pt>
                <c:pt idx="45872">
                  <c:v>-8.4033613445377799E-4</c:v>
                </c:pt>
                <c:pt idx="45873">
                  <c:v>-8.4033613445377799E-4</c:v>
                </c:pt>
                <c:pt idx="45874">
                  <c:v>-8.4033613445377799E-4</c:v>
                </c:pt>
                <c:pt idx="45875">
                  <c:v>-8.4033613445377799E-4</c:v>
                </c:pt>
                <c:pt idx="45876">
                  <c:v>-8.4033613445377799E-4</c:v>
                </c:pt>
                <c:pt idx="45877">
                  <c:v>-8.4033613445377799E-4</c:v>
                </c:pt>
                <c:pt idx="45878">
                  <c:v>-8.4033613445377799E-4</c:v>
                </c:pt>
                <c:pt idx="45879">
                  <c:v>-8.4033613445377799E-4</c:v>
                </c:pt>
                <c:pt idx="45880">
                  <c:v>-8.4033613445377799E-4</c:v>
                </c:pt>
                <c:pt idx="45881">
                  <c:v>-8.4033613445377799E-4</c:v>
                </c:pt>
                <c:pt idx="45882">
                  <c:v>-8.4033613445377799E-4</c:v>
                </c:pt>
                <c:pt idx="45883">
                  <c:v>-8.4033613445377799E-4</c:v>
                </c:pt>
                <c:pt idx="45884">
                  <c:v>-8.4033613445377799E-4</c:v>
                </c:pt>
                <c:pt idx="45885">
                  <c:v>-8.4033613445377799E-4</c:v>
                </c:pt>
                <c:pt idx="45886">
                  <c:v>-8.4033613445377799E-4</c:v>
                </c:pt>
                <c:pt idx="45887">
                  <c:v>-8.4033613445377799E-4</c:v>
                </c:pt>
                <c:pt idx="45888">
                  <c:v>-8.4033613445377799E-4</c:v>
                </c:pt>
                <c:pt idx="45889">
                  <c:v>-8.4033613445377799E-4</c:v>
                </c:pt>
                <c:pt idx="45890">
                  <c:v>-8.4033613445377799E-4</c:v>
                </c:pt>
                <c:pt idx="45891">
                  <c:v>-8.4033613445377799E-4</c:v>
                </c:pt>
                <c:pt idx="45892">
                  <c:v>-8.4033613445377799E-4</c:v>
                </c:pt>
                <c:pt idx="45893">
                  <c:v>-8.4033613445377799E-4</c:v>
                </c:pt>
                <c:pt idx="45894">
                  <c:v>-8.4033613445377799E-4</c:v>
                </c:pt>
                <c:pt idx="45895">
                  <c:v>-8.4033613445377799E-4</c:v>
                </c:pt>
                <c:pt idx="45896">
                  <c:v>-8.4033613445377799E-4</c:v>
                </c:pt>
                <c:pt idx="45897">
                  <c:v>-8.4033613445377799E-4</c:v>
                </c:pt>
                <c:pt idx="45898">
                  <c:v>-8.4033613445377799E-4</c:v>
                </c:pt>
                <c:pt idx="45899">
                  <c:v>-8.4033613445377799E-4</c:v>
                </c:pt>
                <c:pt idx="45900">
                  <c:v>-8.4033613445377799E-4</c:v>
                </c:pt>
                <c:pt idx="45901">
                  <c:v>-8.4033613445377799E-4</c:v>
                </c:pt>
                <c:pt idx="45902">
                  <c:v>-8.4033613445377799E-4</c:v>
                </c:pt>
                <c:pt idx="45903">
                  <c:v>-8.4033613445377799E-4</c:v>
                </c:pt>
                <c:pt idx="45904">
                  <c:v>-8.4033613445377799E-4</c:v>
                </c:pt>
                <c:pt idx="45905">
                  <c:v>-8.4033613445377799E-4</c:v>
                </c:pt>
                <c:pt idx="45906">
                  <c:v>-8.4033613445377799E-4</c:v>
                </c:pt>
                <c:pt idx="45907">
                  <c:v>-8.4033613445377799E-4</c:v>
                </c:pt>
                <c:pt idx="45908">
                  <c:v>-8.4033613445377799E-4</c:v>
                </c:pt>
                <c:pt idx="45909">
                  <c:v>-8.4033613445377799E-4</c:v>
                </c:pt>
                <c:pt idx="45910">
                  <c:v>-8.4033613445377799E-4</c:v>
                </c:pt>
                <c:pt idx="45911">
                  <c:v>-8.4033613445377799E-4</c:v>
                </c:pt>
                <c:pt idx="45912">
                  <c:v>-8.4033613445377799E-4</c:v>
                </c:pt>
                <c:pt idx="45913">
                  <c:v>-8.4033613445377799E-4</c:v>
                </c:pt>
                <c:pt idx="45914">
                  <c:v>-8.4033613445377799E-4</c:v>
                </c:pt>
                <c:pt idx="45915">
                  <c:v>-8.4033613445377799E-4</c:v>
                </c:pt>
                <c:pt idx="45916">
                  <c:v>-8.4033613445377799E-4</c:v>
                </c:pt>
                <c:pt idx="45917">
                  <c:v>-8.4033613445377799E-4</c:v>
                </c:pt>
                <c:pt idx="45918">
                  <c:v>-8.4033613445377799E-4</c:v>
                </c:pt>
                <c:pt idx="45919">
                  <c:v>-8.4033613445377799E-4</c:v>
                </c:pt>
                <c:pt idx="45920">
                  <c:v>-8.4033613445377799E-4</c:v>
                </c:pt>
                <c:pt idx="45921">
                  <c:v>-8.4033613445377799E-4</c:v>
                </c:pt>
                <c:pt idx="45922">
                  <c:v>-8.4033613445377799E-4</c:v>
                </c:pt>
                <c:pt idx="45923">
                  <c:v>-8.4033613445377799E-4</c:v>
                </c:pt>
                <c:pt idx="45924">
                  <c:v>-8.4033613445377799E-4</c:v>
                </c:pt>
                <c:pt idx="45925">
                  <c:v>-8.4033613445377799E-4</c:v>
                </c:pt>
                <c:pt idx="45926">
                  <c:v>-8.4033613445377799E-4</c:v>
                </c:pt>
                <c:pt idx="45927">
                  <c:v>-8.4033613445377799E-4</c:v>
                </c:pt>
                <c:pt idx="45928">
                  <c:v>-8.4033613445377799E-4</c:v>
                </c:pt>
                <c:pt idx="45929">
                  <c:v>-8.4033613445377799E-4</c:v>
                </c:pt>
                <c:pt idx="45930">
                  <c:v>-8.4033613445377799E-4</c:v>
                </c:pt>
                <c:pt idx="45931">
                  <c:v>-8.4033613445377799E-4</c:v>
                </c:pt>
                <c:pt idx="45932">
                  <c:v>-8.4033613445377799E-4</c:v>
                </c:pt>
                <c:pt idx="45933">
                  <c:v>-8.4033613445377799E-4</c:v>
                </c:pt>
                <c:pt idx="45934">
                  <c:v>-8.4033613445377799E-4</c:v>
                </c:pt>
                <c:pt idx="45935">
                  <c:v>-8.4033613445377799E-4</c:v>
                </c:pt>
                <c:pt idx="45936">
                  <c:v>-8.4033613445377799E-4</c:v>
                </c:pt>
                <c:pt idx="45937">
                  <c:v>-8.4033613445377799E-4</c:v>
                </c:pt>
                <c:pt idx="45938">
                  <c:v>-8.4033613445377799E-4</c:v>
                </c:pt>
                <c:pt idx="45939">
                  <c:v>-8.4033613445377799E-4</c:v>
                </c:pt>
                <c:pt idx="45940">
                  <c:v>-8.4033613445377799E-4</c:v>
                </c:pt>
                <c:pt idx="45941">
                  <c:v>-8.4033613445377799E-4</c:v>
                </c:pt>
                <c:pt idx="45942">
                  <c:v>-8.4033613445377799E-4</c:v>
                </c:pt>
                <c:pt idx="45943">
                  <c:v>-8.4033613445377799E-4</c:v>
                </c:pt>
                <c:pt idx="45944">
                  <c:v>-1.6806722689075499E-3</c:v>
                </c:pt>
                <c:pt idx="45945">
                  <c:v>-1.6806722689075499E-3</c:v>
                </c:pt>
                <c:pt idx="45946">
                  <c:v>-1.6806722689075499E-3</c:v>
                </c:pt>
                <c:pt idx="45947">
                  <c:v>-1.6806722689075499E-3</c:v>
                </c:pt>
                <c:pt idx="45948">
                  <c:v>-1.6806722689075499E-3</c:v>
                </c:pt>
                <c:pt idx="45949">
                  <c:v>-8.4033613445377799E-4</c:v>
                </c:pt>
                <c:pt idx="45950">
                  <c:v>-8.4033613445377799E-4</c:v>
                </c:pt>
                <c:pt idx="45951">
                  <c:v>-1.6806722689075499E-3</c:v>
                </c:pt>
                <c:pt idx="45952">
                  <c:v>-1.6806722689075499E-3</c:v>
                </c:pt>
                <c:pt idx="45953">
                  <c:v>-1.6806722689075499E-3</c:v>
                </c:pt>
                <c:pt idx="45954">
                  <c:v>-1.6806722689075499E-3</c:v>
                </c:pt>
                <c:pt idx="45955">
                  <c:v>-1.6806722689075499E-3</c:v>
                </c:pt>
                <c:pt idx="45956">
                  <c:v>-1.6806722689075499E-3</c:v>
                </c:pt>
                <c:pt idx="45957">
                  <c:v>-1.6806722689075499E-3</c:v>
                </c:pt>
                <c:pt idx="45958">
                  <c:v>-1.6806722689075499E-3</c:v>
                </c:pt>
                <c:pt idx="45959">
                  <c:v>-1.6806722689075499E-3</c:v>
                </c:pt>
                <c:pt idx="45960">
                  <c:v>-1.6806722689075499E-3</c:v>
                </c:pt>
                <c:pt idx="45961">
                  <c:v>-1.6806722689075499E-3</c:v>
                </c:pt>
                <c:pt idx="45962">
                  <c:v>-1.6806722689075499E-3</c:v>
                </c:pt>
                <c:pt idx="45963">
                  <c:v>-1.6806722689075499E-3</c:v>
                </c:pt>
                <c:pt idx="45964">
                  <c:v>-1.6806722689075499E-3</c:v>
                </c:pt>
                <c:pt idx="45965">
                  <c:v>-1.6806722689075499E-3</c:v>
                </c:pt>
                <c:pt idx="45966">
                  <c:v>-1.6806722689075499E-3</c:v>
                </c:pt>
                <c:pt idx="45967">
                  <c:v>-1.6806722689075499E-3</c:v>
                </c:pt>
                <c:pt idx="45968">
                  <c:v>-1.6806722689075499E-3</c:v>
                </c:pt>
                <c:pt idx="45969">
                  <c:v>-1.6806722689075499E-3</c:v>
                </c:pt>
                <c:pt idx="45970">
                  <c:v>-1.6806722689075499E-3</c:v>
                </c:pt>
                <c:pt idx="45971">
                  <c:v>-1.6806722689075499E-3</c:v>
                </c:pt>
                <c:pt idx="45972">
                  <c:v>-1.6806722689075499E-3</c:v>
                </c:pt>
                <c:pt idx="45973">
                  <c:v>-1.6806722689075499E-3</c:v>
                </c:pt>
                <c:pt idx="45974">
                  <c:v>-1.6806722689075499E-3</c:v>
                </c:pt>
                <c:pt idx="45975">
                  <c:v>-1.6806722689075499E-3</c:v>
                </c:pt>
                <c:pt idx="45976">
                  <c:v>-1.6806722689075499E-3</c:v>
                </c:pt>
                <c:pt idx="45977">
                  <c:v>-1.6806722689075499E-3</c:v>
                </c:pt>
                <c:pt idx="45978">
                  <c:v>-1.6806722689075499E-3</c:v>
                </c:pt>
                <c:pt idx="45979">
                  <c:v>-1.6806722689075499E-3</c:v>
                </c:pt>
                <c:pt idx="45980">
                  <c:v>-1.6806722689075499E-3</c:v>
                </c:pt>
                <c:pt idx="45981">
                  <c:v>-1.6806722689075499E-3</c:v>
                </c:pt>
                <c:pt idx="45982">
                  <c:v>-1.6806722689075499E-3</c:v>
                </c:pt>
                <c:pt idx="45983">
                  <c:v>-1.6806722689075499E-3</c:v>
                </c:pt>
                <c:pt idx="45984">
                  <c:v>-1.6806722689075499E-3</c:v>
                </c:pt>
                <c:pt idx="45985">
                  <c:v>-1.6806722689075499E-3</c:v>
                </c:pt>
                <c:pt idx="45986">
                  <c:v>-1.6806722689075499E-3</c:v>
                </c:pt>
                <c:pt idx="45987">
                  <c:v>-1.6806722689075499E-3</c:v>
                </c:pt>
                <c:pt idx="45988">
                  <c:v>-1.6806722689075499E-3</c:v>
                </c:pt>
                <c:pt idx="45989">
                  <c:v>-1.6806722689075499E-3</c:v>
                </c:pt>
                <c:pt idx="45990">
                  <c:v>-1.6806722689075499E-3</c:v>
                </c:pt>
                <c:pt idx="45991">
                  <c:v>-1.6806722689075499E-3</c:v>
                </c:pt>
                <c:pt idx="45992">
                  <c:v>-1.6806722689075499E-3</c:v>
                </c:pt>
                <c:pt idx="45993">
                  <c:v>-1.6806722689075499E-3</c:v>
                </c:pt>
                <c:pt idx="45994">
                  <c:v>-1.6806722689075499E-3</c:v>
                </c:pt>
                <c:pt idx="45995">
                  <c:v>-1.6806722689075499E-3</c:v>
                </c:pt>
                <c:pt idx="45996">
                  <c:v>-1.6806722689075499E-3</c:v>
                </c:pt>
                <c:pt idx="45997">
                  <c:v>-1.6806722689075499E-3</c:v>
                </c:pt>
                <c:pt idx="45998">
                  <c:v>-1.6806722689075499E-3</c:v>
                </c:pt>
                <c:pt idx="45999">
                  <c:v>-1.6806722689075499E-3</c:v>
                </c:pt>
                <c:pt idx="46000">
                  <c:v>-1.6806722689075499E-3</c:v>
                </c:pt>
                <c:pt idx="46001">
                  <c:v>-1.6806722689075499E-3</c:v>
                </c:pt>
                <c:pt idx="46002">
                  <c:v>-2.5210084033614401E-3</c:v>
                </c:pt>
                <c:pt idx="46003">
                  <c:v>-2.5210084033614401E-3</c:v>
                </c:pt>
                <c:pt idx="46004">
                  <c:v>-2.5210084033614401E-3</c:v>
                </c:pt>
                <c:pt idx="46005">
                  <c:v>-2.5210084033614401E-3</c:v>
                </c:pt>
                <c:pt idx="46006">
                  <c:v>-2.5210084033614401E-3</c:v>
                </c:pt>
                <c:pt idx="46007">
                  <c:v>-2.5210084033614401E-3</c:v>
                </c:pt>
                <c:pt idx="46008">
                  <c:v>-2.5210084033614401E-3</c:v>
                </c:pt>
                <c:pt idx="46009">
                  <c:v>-2.5210084033614401E-3</c:v>
                </c:pt>
                <c:pt idx="46010">
                  <c:v>-2.5210084033614401E-3</c:v>
                </c:pt>
                <c:pt idx="46011">
                  <c:v>-2.5210084033614401E-3</c:v>
                </c:pt>
                <c:pt idx="46012">
                  <c:v>-2.5210084033614401E-3</c:v>
                </c:pt>
                <c:pt idx="46013">
                  <c:v>-2.5210084033614401E-3</c:v>
                </c:pt>
                <c:pt idx="46014">
                  <c:v>-2.5210084033614401E-3</c:v>
                </c:pt>
                <c:pt idx="46015">
                  <c:v>-2.5210084033614401E-3</c:v>
                </c:pt>
                <c:pt idx="46016">
                  <c:v>-2.5210084033614401E-3</c:v>
                </c:pt>
                <c:pt idx="46017">
                  <c:v>-2.5210084033614401E-3</c:v>
                </c:pt>
                <c:pt idx="46018">
                  <c:v>-2.5210084033614401E-3</c:v>
                </c:pt>
                <c:pt idx="46019">
                  <c:v>-2.5210084033614401E-3</c:v>
                </c:pt>
                <c:pt idx="46020">
                  <c:v>-2.5210084033614401E-3</c:v>
                </c:pt>
                <c:pt idx="46021">
                  <c:v>-2.5210084033614401E-3</c:v>
                </c:pt>
                <c:pt idx="46022">
                  <c:v>-2.5210084033614401E-3</c:v>
                </c:pt>
                <c:pt idx="46023">
                  <c:v>-2.5210084033614401E-3</c:v>
                </c:pt>
                <c:pt idx="46024">
                  <c:v>-2.5210084033614401E-3</c:v>
                </c:pt>
                <c:pt idx="46025">
                  <c:v>-2.5210084033614401E-3</c:v>
                </c:pt>
                <c:pt idx="46026">
                  <c:v>-2.5210084033614401E-3</c:v>
                </c:pt>
                <c:pt idx="46027">
                  <c:v>-2.5210084033614401E-3</c:v>
                </c:pt>
                <c:pt idx="46028">
                  <c:v>-2.5210084033614401E-3</c:v>
                </c:pt>
                <c:pt idx="46029">
                  <c:v>-2.5210084033614401E-3</c:v>
                </c:pt>
                <c:pt idx="46030">
                  <c:v>-2.5210084033614401E-3</c:v>
                </c:pt>
                <c:pt idx="46031">
                  <c:v>-2.5210084033614401E-3</c:v>
                </c:pt>
                <c:pt idx="46032">
                  <c:v>-2.5210084033614401E-3</c:v>
                </c:pt>
                <c:pt idx="46033">
                  <c:v>-2.5210084033614401E-3</c:v>
                </c:pt>
                <c:pt idx="46034">
                  <c:v>-2.5210084033614401E-3</c:v>
                </c:pt>
                <c:pt idx="46035">
                  <c:v>-2.5210084033614401E-3</c:v>
                </c:pt>
                <c:pt idx="46036">
                  <c:v>-2.5210084033614401E-3</c:v>
                </c:pt>
                <c:pt idx="46037">
                  <c:v>-2.5210084033614401E-3</c:v>
                </c:pt>
                <c:pt idx="46038">
                  <c:v>-2.5210084033614401E-3</c:v>
                </c:pt>
                <c:pt idx="46039">
                  <c:v>-2.5210084033614401E-3</c:v>
                </c:pt>
                <c:pt idx="46040">
                  <c:v>-2.5210084033614401E-3</c:v>
                </c:pt>
                <c:pt idx="46041">
                  <c:v>-2.5210084033614401E-3</c:v>
                </c:pt>
                <c:pt idx="46042">
                  <c:v>-2.5210084033614401E-3</c:v>
                </c:pt>
                <c:pt idx="46043">
                  <c:v>-2.5210084033614401E-3</c:v>
                </c:pt>
                <c:pt idx="46044">
                  <c:v>-2.5210084033614401E-3</c:v>
                </c:pt>
                <c:pt idx="46045">
                  <c:v>-2.5210084033614401E-3</c:v>
                </c:pt>
                <c:pt idx="46046">
                  <c:v>-2.5210084033614401E-3</c:v>
                </c:pt>
                <c:pt idx="46047">
                  <c:v>-2.5210084033614401E-3</c:v>
                </c:pt>
                <c:pt idx="46048">
                  <c:v>-2.5210084033614401E-3</c:v>
                </c:pt>
                <c:pt idx="46049">
                  <c:v>-2.5210084033614401E-3</c:v>
                </c:pt>
                <c:pt idx="46050">
                  <c:v>-2.5210084033614401E-3</c:v>
                </c:pt>
                <c:pt idx="46051">
                  <c:v>-2.5210084033614401E-3</c:v>
                </c:pt>
                <c:pt idx="46052">
                  <c:v>-2.5210084033614401E-3</c:v>
                </c:pt>
                <c:pt idx="46053">
                  <c:v>-2.5210084033614401E-3</c:v>
                </c:pt>
                <c:pt idx="46054">
                  <c:v>-2.5210084033614401E-3</c:v>
                </c:pt>
                <c:pt idx="46055">
                  <c:v>-2.5210084033614401E-3</c:v>
                </c:pt>
                <c:pt idx="46056">
                  <c:v>-2.5210084033614401E-3</c:v>
                </c:pt>
                <c:pt idx="46057">
                  <c:v>-2.5210084033614401E-3</c:v>
                </c:pt>
                <c:pt idx="46058">
                  <c:v>-2.5210084033614401E-3</c:v>
                </c:pt>
                <c:pt idx="46059">
                  <c:v>-2.5210084033614401E-3</c:v>
                </c:pt>
                <c:pt idx="46060">
                  <c:v>-2.5210084033614401E-3</c:v>
                </c:pt>
                <c:pt idx="46061">
                  <c:v>-2.5210084033614401E-3</c:v>
                </c:pt>
                <c:pt idx="46062">
                  <c:v>-2.5210084033614401E-3</c:v>
                </c:pt>
                <c:pt idx="46063">
                  <c:v>-2.5210084033614401E-3</c:v>
                </c:pt>
                <c:pt idx="46064">
                  <c:v>-2.5210084033614401E-3</c:v>
                </c:pt>
                <c:pt idx="46065">
                  <c:v>-2.5210084033614401E-3</c:v>
                </c:pt>
                <c:pt idx="46066">
                  <c:v>-2.5210084033614401E-3</c:v>
                </c:pt>
                <c:pt idx="46067">
                  <c:v>-2.5210084033614401E-3</c:v>
                </c:pt>
                <c:pt idx="46068">
                  <c:v>-2.5210084033614401E-3</c:v>
                </c:pt>
                <c:pt idx="46069">
                  <c:v>-2.5210084033614401E-3</c:v>
                </c:pt>
                <c:pt idx="46070">
                  <c:v>-2.5210084033614401E-3</c:v>
                </c:pt>
                <c:pt idx="46071">
                  <c:v>-2.5210084033614401E-3</c:v>
                </c:pt>
                <c:pt idx="46072">
                  <c:v>-2.5210084033614401E-3</c:v>
                </c:pt>
                <c:pt idx="46073">
                  <c:v>-2.5210084033614401E-3</c:v>
                </c:pt>
                <c:pt idx="46074">
                  <c:v>-2.5210084033614401E-3</c:v>
                </c:pt>
                <c:pt idx="46075">
                  <c:v>-2.5210084033614401E-3</c:v>
                </c:pt>
                <c:pt idx="46076">
                  <c:v>-2.5210084033614401E-3</c:v>
                </c:pt>
                <c:pt idx="46077">
                  <c:v>-2.5210084033614401E-3</c:v>
                </c:pt>
                <c:pt idx="46078">
                  <c:v>-2.5210084033614401E-3</c:v>
                </c:pt>
                <c:pt idx="46079">
                  <c:v>-2.5210084033614401E-3</c:v>
                </c:pt>
                <c:pt idx="46080">
                  <c:v>-2.5210084033614401E-3</c:v>
                </c:pt>
                <c:pt idx="46081">
                  <c:v>-2.5210084033614401E-3</c:v>
                </c:pt>
                <c:pt idx="46082">
                  <c:v>-2.5210084033614401E-3</c:v>
                </c:pt>
                <c:pt idx="46083">
                  <c:v>-2.5210084033614401E-3</c:v>
                </c:pt>
                <c:pt idx="46084">
                  <c:v>-2.5210084033614401E-3</c:v>
                </c:pt>
                <c:pt idx="46085">
                  <c:v>-2.5210084033614401E-3</c:v>
                </c:pt>
                <c:pt idx="46086">
                  <c:v>-2.5210084033614401E-3</c:v>
                </c:pt>
                <c:pt idx="46087">
                  <c:v>-2.5210084033614401E-3</c:v>
                </c:pt>
                <c:pt idx="46088">
                  <c:v>-2.5210084033614401E-3</c:v>
                </c:pt>
                <c:pt idx="46089">
                  <c:v>-2.5210084033614401E-3</c:v>
                </c:pt>
                <c:pt idx="46090">
                  <c:v>-2.5210084033614401E-3</c:v>
                </c:pt>
                <c:pt idx="46091">
                  <c:v>-2.5210084033614401E-3</c:v>
                </c:pt>
                <c:pt idx="46092">
                  <c:v>-2.5210084033614401E-3</c:v>
                </c:pt>
                <c:pt idx="46093">
                  <c:v>-2.5210084033614401E-3</c:v>
                </c:pt>
                <c:pt idx="46094">
                  <c:v>-2.5210084033614401E-3</c:v>
                </c:pt>
                <c:pt idx="46095">
                  <c:v>-2.5210084033614401E-3</c:v>
                </c:pt>
                <c:pt idx="46096">
                  <c:v>-2.5210084033614401E-3</c:v>
                </c:pt>
                <c:pt idx="46097">
                  <c:v>-2.5210084033614401E-3</c:v>
                </c:pt>
                <c:pt idx="46098">
                  <c:v>-2.5210084033614401E-3</c:v>
                </c:pt>
                <c:pt idx="46099">
                  <c:v>-2.5210084033614401E-3</c:v>
                </c:pt>
                <c:pt idx="46100">
                  <c:v>-2.5210084033614401E-3</c:v>
                </c:pt>
                <c:pt idx="46101">
                  <c:v>-2.5210084033614401E-3</c:v>
                </c:pt>
                <c:pt idx="46102">
                  <c:v>-2.5210084033614401E-3</c:v>
                </c:pt>
                <c:pt idx="46103">
                  <c:v>-2.5210084033614401E-3</c:v>
                </c:pt>
                <c:pt idx="46104">
                  <c:v>-2.5210084033614401E-3</c:v>
                </c:pt>
                <c:pt idx="46105">
                  <c:v>-2.5210084033614401E-3</c:v>
                </c:pt>
                <c:pt idx="46106">
                  <c:v>-2.5210084033614401E-3</c:v>
                </c:pt>
                <c:pt idx="46107">
                  <c:v>-2.5210084033614401E-3</c:v>
                </c:pt>
                <c:pt idx="46108">
                  <c:v>-2.5210084033614401E-3</c:v>
                </c:pt>
                <c:pt idx="46109">
                  <c:v>-2.5210084033614401E-3</c:v>
                </c:pt>
                <c:pt idx="46110">
                  <c:v>-2.5210084033614401E-3</c:v>
                </c:pt>
                <c:pt idx="46111">
                  <c:v>-2.5210084033614401E-3</c:v>
                </c:pt>
                <c:pt idx="46112">
                  <c:v>-2.5210084033614401E-3</c:v>
                </c:pt>
                <c:pt idx="46113">
                  <c:v>-2.5210084033614401E-3</c:v>
                </c:pt>
                <c:pt idx="46114">
                  <c:v>-2.5210084033614401E-3</c:v>
                </c:pt>
                <c:pt idx="46115">
                  <c:v>-2.5210084033614401E-3</c:v>
                </c:pt>
                <c:pt idx="46116">
                  <c:v>-2.5210084033614401E-3</c:v>
                </c:pt>
                <c:pt idx="46117">
                  <c:v>-2.5210084033614401E-3</c:v>
                </c:pt>
                <c:pt idx="46118">
                  <c:v>-2.5210084033614401E-3</c:v>
                </c:pt>
                <c:pt idx="46119">
                  <c:v>-2.5210084033614401E-3</c:v>
                </c:pt>
                <c:pt idx="46120">
                  <c:v>-2.5210084033614401E-3</c:v>
                </c:pt>
                <c:pt idx="46121">
                  <c:v>-2.5210084033614401E-3</c:v>
                </c:pt>
                <c:pt idx="46122">
                  <c:v>-2.5210084033614401E-3</c:v>
                </c:pt>
                <c:pt idx="46123">
                  <c:v>-2.5210084033614401E-3</c:v>
                </c:pt>
                <c:pt idx="46124">
                  <c:v>-2.5210084033614401E-3</c:v>
                </c:pt>
                <c:pt idx="46125">
                  <c:v>-2.5210084033614401E-3</c:v>
                </c:pt>
                <c:pt idx="46126">
                  <c:v>-2.5210084033614401E-3</c:v>
                </c:pt>
                <c:pt idx="46127">
                  <c:v>-2.5210084033614401E-3</c:v>
                </c:pt>
                <c:pt idx="46128">
                  <c:v>-2.5210084033614401E-3</c:v>
                </c:pt>
                <c:pt idx="46129">
                  <c:v>-2.5210084033614401E-3</c:v>
                </c:pt>
                <c:pt idx="46130">
                  <c:v>-2.5210084033614401E-3</c:v>
                </c:pt>
                <c:pt idx="46131">
                  <c:v>-2.5210084033614401E-3</c:v>
                </c:pt>
                <c:pt idx="46132">
                  <c:v>-2.5210084033614401E-3</c:v>
                </c:pt>
                <c:pt idx="46133">
                  <c:v>-2.5210084033614401E-3</c:v>
                </c:pt>
                <c:pt idx="46134">
                  <c:v>-2.5210084033614401E-3</c:v>
                </c:pt>
                <c:pt idx="46135">
                  <c:v>-2.5210084033614401E-3</c:v>
                </c:pt>
                <c:pt idx="46136">
                  <c:v>-2.5210084033614401E-3</c:v>
                </c:pt>
                <c:pt idx="46137">
                  <c:v>-2.5210084033614401E-3</c:v>
                </c:pt>
                <c:pt idx="46138">
                  <c:v>-2.5210084033614401E-3</c:v>
                </c:pt>
                <c:pt idx="46139">
                  <c:v>-2.5210084033614401E-3</c:v>
                </c:pt>
                <c:pt idx="46140">
                  <c:v>-2.5210084033614401E-3</c:v>
                </c:pt>
                <c:pt idx="46141">
                  <c:v>-2.5210084033614401E-3</c:v>
                </c:pt>
                <c:pt idx="46142">
                  <c:v>-2.5210084033614401E-3</c:v>
                </c:pt>
                <c:pt idx="46143">
                  <c:v>-2.5210084033614401E-3</c:v>
                </c:pt>
                <c:pt idx="46144">
                  <c:v>-2.5210084033614401E-3</c:v>
                </c:pt>
                <c:pt idx="46145">
                  <c:v>-2.5210084033614401E-3</c:v>
                </c:pt>
                <c:pt idx="46146">
                  <c:v>-2.5210084033614401E-3</c:v>
                </c:pt>
                <c:pt idx="46147">
                  <c:v>-2.5210084033614401E-3</c:v>
                </c:pt>
                <c:pt idx="46148">
                  <c:v>-2.5210084033614401E-3</c:v>
                </c:pt>
                <c:pt idx="46149">
                  <c:v>-2.5210084033614401E-3</c:v>
                </c:pt>
                <c:pt idx="46150">
                  <c:v>-2.5210084033614401E-3</c:v>
                </c:pt>
                <c:pt idx="46151">
                  <c:v>-2.5210084033614401E-3</c:v>
                </c:pt>
                <c:pt idx="46152">
                  <c:v>-2.5210084033614401E-3</c:v>
                </c:pt>
                <c:pt idx="46153">
                  <c:v>-2.5210084033614401E-3</c:v>
                </c:pt>
                <c:pt idx="46154">
                  <c:v>-2.5210084033614401E-3</c:v>
                </c:pt>
                <c:pt idx="46155">
                  <c:v>-2.5210084033614401E-3</c:v>
                </c:pt>
                <c:pt idx="46156">
                  <c:v>-2.5210084033614401E-3</c:v>
                </c:pt>
                <c:pt idx="46157">
                  <c:v>-2.5210084033614401E-3</c:v>
                </c:pt>
                <c:pt idx="46158">
                  <c:v>-2.5210084033614401E-3</c:v>
                </c:pt>
                <c:pt idx="46159">
                  <c:v>-2.5210084033614401E-3</c:v>
                </c:pt>
                <c:pt idx="46160">
                  <c:v>-2.5210084033614401E-3</c:v>
                </c:pt>
                <c:pt idx="46161">
                  <c:v>-2.5210084033614401E-3</c:v>
                </c:pt>
                <c:pt idx="46162">
                  <c:v>-2.5210084033614401E-3</c:v>
                </c:pt>
                <c:pt idx="46163">
                  <c:v>-2.5210084033614401E-3</c:v>
                </c:pt>
                <c:pt idx="46164">
                  <c:v>-2.5210084033614401E-3</c:v>
                </c:pt>
                <c:pt idx="46165">
                  <c:v>-2.5210084033614401E-3</c:v>
                </c:pt>
                <c:pt idx="46166">
                  <c:v>-2.5210084033614401E-3</c:v>
                </c:pt>
                <c:pt idx="46167">
                  <c:v>-2.5210084033614401E-3</c:v>
                </c:pt>
                <c:pt idx="46168">
                  <c:v>-2.5210084033614401E-3</c:v>
                </c:pt>
                <c:pt idx="46169">
                  <c:v>-2.5210084033614401E-3</c:v>
                </c:pt>
                <c:pt idx="46170">
                  <c:v>-2.5210084033614401E-3</c:v>
                </c:pt>
                <c:pt idx="46171">
                  <c:v>-2.5210084033614401E-3</c:v>
                </c:pt>
                <c:pt idx="46172">
                  <c:v>-2.5210084033614401E-3</c:v>
                </c:pt>
                <c:pt idx="46173">
                  <c:v>-2.5210084033614401E-3</c:v>
                </c:pt>
                <c:pt idx="46174">
                  <c:v>-2.5210084033614401E-3</c:v>
                </c:pt>
                <c:pt idx="46175">
                  <c:v>-2.5210084033614401E-3</c:v>
                </c:pt>
                <c:pt idx="46176">
                  <c:v>-2.5210084033614401E-3</c:v>
                </c:pt>
                <c:pt idx="46177">
                  <c:v>-2.5210084033614401E-3</c:v>
                </c:pt>
                <c:pt idx="46178">
                  <c:v>-2.5210084033614401E-3</c:v>
                </c:pt>
                <c:pt idx="46179">
                  <c:v>-2.5210084033614401E-3</c:v>
                </c:pt>
                <c:pt idx="46180">
                  <c:v>-2.5210084033614401E-3</c:v>
                </c:pt>
                <c:pt idx="46181">
                  <c:v>-2.5210084033614401E-3</c:v>
                </c:pt>
                <c:pt idx="46182">
                  <c:v>-2.5210084033614401E-3</c:v>
                </c:pt>
                <c:pt idx="46183">
                  <c:v>-2.5210084033614401E-3</c:v>
                </c:pt>
                <c:pt idx="46184">
                  <c:v>-2.5210084033614401E-3</c:v>
                </c:pt>
                <c:pt idx="46185">
                  <c:v>-2.5210084033614401E-3</c:v>
                </c:pt>
                <c:pt idx="46186">
                  <c:v>-2.5210084033614401E-3</c:v>
                </c:pt>
                <c:pt idx="46187">
                  <c:v>-2.5210084033614401E-3</c:v>
                </c:pt>
                <c:pt idx="46188">
                  <c:v>-2.5210084033614401E-3</c:v>
                </c:pt>
                <c:pt idx="46189">
                  <c:v>-2.5210084033614401E-3</c:v>
                </c:pt>
                <c:pt idx="46190">
                  <c:v>-2.5210084033614401E-3</c:v>
                </c:pt>
                <c:pt idx="46191">
                  <c:v>-2.5210084033614401E-3</c:v>
                </c:pt>
                <c:pt idx="46192">
                  <c:v>-2.5210084033614401E-3</c:v>
                </c:pt>
                <c:pt idx="46193">
                  <c:v>-2.5210084033614401E-3</c:v>
                </c:pt>
                <c:pt idx="46194">
                  <c:v>-2.5210084033614401E-3</c:v>
                </c:pt>
                <c:pt idx="46195">
                  <c:v>-2.5210084033614401E-3</c:v>
                </c:pt>
                <c:pt idx="46196">
                  <c:v>-2.5210084033614401E-3</c:v>
                </c:pt>
                <c:pt idx="46197">
                  <c:v>-2.5210084033614401E-3</c:v>
                </c:pt>
                <c:pt idx="46198">
                  <c:v>-2.5210084033614401E-3</c:v>
                </c:pt>
                <c:pt idx="46199">
                  <c:v>-2.5210084033614401E-3</c:v>
                </c:pt>
                <c:pt idx="46200">
                  <c:v>-2.5210084033614401E-3</c:v>
                </c:pt>
                <c:pt idx="46201">
                  <c:v>-2.5210084033614401E-3</c:v>
                </c:pt>
                <c:pt idx="46202">
                  <c:v>-2.5210084033614401E-3</c:v>
                </c:pt>
                <c:pt idx="46203">
                  <c:v>-2.5210084033614401E-3</c:v>
                </c:pt>
                <c:pt idx="46204">
                  <c:v>-2.5210084033614401E-3</c:v>
                </c:pt>
                <c:pt idx="46205">
                  <c:v>-2.5210084033614401E-3</c:v>
                </c:pt>
                <c:pt idx="46206">
                  <c:v>-2.5210084033614401E-3</c:v>
                </c:pt>
                <c:pt idx="46207">
                  <c:v>-2.5210084033614401E-3</c:v>
                </c:pt>
                <c:pt idx="46208">
                  <c:v>-2.5210084033614401E-3</c:v>
                </c:pt>
                <c:pt idx="46209">
                  <c:v>-2.5210084033614401E-3</c:v>
                </c:pt>
                <c:pt idx="46210">
                  <c:v>-2.5210084033614401E-3</c:v>
                </c:pt>
                <c:pt idx="46211">
                  <c:v>-2.5210084033614401E-3</c:v>
                </c:pt>
                <c:pt idx="46212">
                  <c:v>-2.5210084033614401E-3</c:v>
                </c:pt>
                <c:pt idx="46213">
                  <c:v>-2.5210084033614401E-3</c:v>
                </c:pt>
                <c:pt idx="46214">
                  <c:v>-2.5210084033614401E-3</c:v>
                </c:pt>
                <c:pt idx="46215">
                  <c:v>-2.5210084033614401E-3</c:v>
                </c:pt>
                <c:pt idx="46216">
                  <c:v>-2.5210084033614401E-3</c:v>
                </c:pt>
                <c:pt idx="46217">
                  <c:v>-2.5210084033614401E-3</c:v>
                </c:pt>
                <c:pt idx="46218">
                  <c:v>-2.5210084033614401E-3</c:v>
                </c:pt>
                <c:pt idx="46219">
                  <c:v>-2.5210084033614401E-3</c:v>
                </c:pt>
                <c:pt idx="46220">
                  <c:v>-2.5210084033614401E-3</c:v>
                </c:pt>
                <c:pt idx="46221">
                  <c:v>-2.5210084033614401E-3</c:v>
                </c:pt>
                <c:pt idx="46222">
                  <c:v>-2.5210084033614401E-3</c:v>
                </c:pt>
                <c:pt idx="46223">
                  <c:v>-2.5210084033614401E-3</c:v>
                </c:pt>
                <c:pt idx="46224">
                  <c:v>-2.5210084033614401E-3</c:v>
                </c:pt>
                <c:pt idx="46225">
                  <c:v>-2.5210084033614401E-3</c:v>
                </c:pt>
                <c:pt idx="46226">
                  <c:v>-2.5210084033614401E-3</c:v>
                </c:pt>
                <c:pt idx="46227">
                  <c:v>-2.5210084033614401E-3</c:v>
                </c:pt>
                <c:pt idx="46228">
                  <c:v>-2.5210084033614401E-3</c:v>
                </c:pt>
                <c:pt idx="46229">
                  <c:v>-2.5210084033614401E-3</c:v>
                </c:pt>
                <c:pt idx="46230">
                  <c:v>-2.5210084033614401E-3</c:v>
                </c:pt>
                <c:pt idx="46231">
                  <c:v>-1.6806722689076601E-3</c:v>
                </c:pt>
                <c:pt idx="46232">
                  <c:v>-1.6806722689076601E-3</c:v>
                </c:pt>
                <c:pt idx="46233">
                  <c:v>-1.6806722689076601E-3</c:v>
                </c:pt>
                <c:pt idx="46234">
                  <c:v>-1.6806722689076601E-3</c:v>
                </c:pt>
                <c:pt idx="46235">
                  <c:v>-1.6806722689076601E-3</c:v>
                </c:pt>
                <c:pt idx="46236">
                  <c:v>-1.6806722689076601E-3</c:v>
                </c:pt>
                <c:pt idx="46237">
                  <c:v>-1.6806722689076601E-3</c:v>
                </c:pt>
                <c:pt idx="46238">
                  <c:v>-1.6806722689076601E-3</c:v>
                </c:pt>
                <c:pt idx="46239">
                  <c:v>-1.6806722689076601E-3</c:v>
                </c:pt>
                <c:pt idx="46240">
                  <c:v>-1.6806722689076601E-3</c:v>
                </c:pt>
                <c:pt idx="46241">
                  <c:v>-1.6806722689076601E-3</c:v>
                </c:pt>
                <c:pt idx="46242">
                  <c:v>-1.6806722689076601E-3</c:v>
                </c:pt>
                <c:pt idx="46243">
                  <c:v>-1.6806722689076601E-3</c:v>
                </c:pt>
                <c:pt idx="46244">
                  <c:v>-1.6806722689076601E-3</c:v>
                </c:pt>
                <c:pt idx="46245">
                  <c:v>-1.6806722689076601E-3</c:v>
                </c:pt>
                <c:pt idx="46246">
                  <c:v>-1.6806722689076601E-3</c:v>
                </c:pt>
                <c:pt idx="46247">
                  <c:v>-1.6806722689076601E-3</c:v>
                </c:pt>
                <c:pt idx="46248">
                  <c:v>-1.6806722689076601E-3</c:v>
                </c:pt>
                <c:pt idx="46249">
                  <c:v>-1.6806722689076601E-3</c:v>
                </c:pt>
                <c:pt idx="46250">
                  <c:v>-1.6806722689076601E-3</c:v>
                </c:pt>
                <c:pt idx="46251">
                  <c:v>-1.6806722689076601E-3</c:v>
                </c:pt>
                <c:pt idx="46252">
                  <c:v>-1.6806722689076601E-3</c:v>
                </c:pt>
                <c:pt idx="46253">
                  <c:v>-1.6806722689076601E-3</c:v>
                </c:pt>
                <c:pt idx="46254">
                  <c:v>-1.6806722689076601E-3</c:v>
                </c:pt>
                <c:pt idx="46255">
                  <c:v>-1.6806722689076601E-3</c:v>
                </c:pt>
                <c:pt idx="46256">
                  <c:v>-1.6806722689076601E-3</c:v>
                </c:pt>
                <c:pt idx="46257">
                  <c:v>-1.6806722689076601E-3</c:v>
                </c:pt>
                <c:pt idx="46258">
                  <c:v>-1.6806722689076601E-3</c:v>
                </c:pt>
                <c:pt idx="46259">
                  <c:v>-1.6806722689076601E-3</c:v>
                </c:pt>
                <c:pt idx="46260">
                  <c:v>-1.6806722689076601E-3</c:v>
                </c:pt>
                <c:pt idx="46261">
                  <c:v>-1.6806722689076601E-3</c:v>
                </c:pt>
                <c:pt idx="46262">
                  <c:v>-1.6806722689076601E-3</c:v>
                </c:pt>
                <c:pt idx="46263">
                  <c:v>-1.6806722689076601E-3</c:v>
                </c:pt>
                <c:pt idx="46264">
                  <c:v>-1.6806722689076601E-3</c:v>
                </c:pt>
                <c:pt idx="46265">
                  <c:v>-1.6806722689076601E-3</c:v>
                </c:pt>
                <c:pt idx="46266">
                  <c:v>-1.6806722689076601E-3</c:v>
                </c:pt>
                <c:pt idx="46267">
                  <c:v>-1.6806722689076601E-3</c:v>
                </c:pt>
                <c:pt idx="46268">
                  <c:v>-1.6806722689076601E-3</c:v>
                </c:pt>
                <c:pt idx="46269">
                  <c:v>-1.6806722689076601E-3</c:v>
                </c:pt>
                <c:pt idx="46270">
                  <c:v>-1.6806722689076601E-3</c:v>
                </c:pt>
                <c:pt idx="46271">
                  <c:v>-1.6806722689076601E-3</c:v>
                </c:pt>
                <c:pt idx="46272">
                  <c:v>-1.6806722689076601E-3</c:v>
                </c:pt>
                <c:pt idx="46273">
                  <c:v>-1.6806722689076601E-3</c:v>
                </c:pt>
                <c:pt idx="46274">
                  <c:v>-1.6806722689076601E-3</c:v>
                </c:pt>
                <c:pt idx="46275">
                  <c:v>-1.6806722689076601E-3</c:v>
                </c:pt>
                <c:pt idx="46276">
                  <c:v>-1.6806722689076601E-3</c:v>
                </c:pt>
                <c:pt idx="46277">
                  <c:v>-2.5210084033614401E-3</c:v>
                </c:pt>
                <c:pt idx="46278">
                  <c:v>-2.5210084033614401E-3</c:v>
                </c:pt>
                <c:pt idx="46279">
                  <c:v>-2.5210084033614401E-3</c:v>
                </c:pt>
                <c:pt idx="46280">
                  <c:v>-2.5210084033614401E-3</c:v>
                </c:pt>
                <c:pt idx="46281">
                  <c:v>-2.5210084033614401E-3</c:v>
                </c:pt>
                <c:pt idx="46282">
                  <c:v>-2.5210084033614401E-3</c:v>
                </c:pt>
                <c:pt idx="46283">
                  <c:v>-2.5210084033614401E-3</c:v>
                </c:pt>
                <c:pt idx="46284">
                  <c:v>-2.5210084033614401E-3</c:v>
                </c:pt>
                <c:pt idx="46285">
                  <c:v>-2.5210084033614401E-3</c:v>
                </c:pt>
                <c:pt idx="46286">
                  <c:v>-2.5210084033614401E-3</c:v>
                </c:pt>
                <c:pt idx="46287">
                  <c:v>-2.5210084033614401E-3</c:v>
                </c:pt>
                <c:pt idx="46288">
                  <c:v>-2.5210084033614401E-3</c:v>
                </c:pt>
                <c:pt idx="46289">
                  <c:v>-2.5210084033614401E-3</c:v>
                </c:pt>
                <c:pt idx="46290">
                  <c:v>-2.5210084033614401E-3</c:v>
                </c:pt>
                <c:pt idx="46291">
                  <c:v>-2.5210084033614401E-3</c:v>
                </c:pt>
                <c:pt idx="46292">
                  <c:v>-2.5210084033614401E-3</c:v>
                </c:pt>
                <c:pt idx="46293">
                  <c:v>-2.5210084033614401E-3</c:v>
                </c:pt>
                <c:pt idx="46294">
                  <c:v>-2.5210084033614401E-3</c:v>
                </c:pt>
                <c:pt idx="46295">
                  <c:v>-2.5210084033614401E-3</c:v>
                </c:pt>
                <c:pt idx="46296">
                  <c:v>-2.5210084033614401E-3</c:v>
                </c:pt>
                <c:pt idx="46297">
                  <c:v>-2.5210084033614401E-3</c:v>
                </c:pt>
                <c:pt idx="46298">
                  <c:v>-2.5210084033614401E-3</c:v>
                </c:pt>
                <c:pt idx="46299">
                  <c:v>-2.5210084033614401E-3</c:v>
                </c:pt>
                <c:pt idx="46300">
                  <c:v>-2.5210084033614401E-3</c:v>
                </c:pt>
                <c:pt idx="46301">
                  <c:v>-2.5210084033614401E-3</c:v>
                </c:pt>
                <c:pt idx="46302">
                  <c:v>-2.5210084033614401E-3</c:v>
                </c:pt>
                <c:pt idx="46303">
                  <c:v>-2.5210084033614401E-3</c:v>
                </c:pt>
                <c:pt idx="46304">
                  <c:v>-1.6806722689076601E-3</c:v>
                </c:pt>
                <c:pt idx="46305">
                  <c:v>-1.6806722689076601E-3</c:v>
                </c:pt>
                <c:pt idx="46306">
                  <c:v>-1.6806722689076601E-3</c:v>
                </c:pt>
                <c:pt idx="46307">
                  <c:v>-1.6806722689076601E-3</c:v>
                </c:pt>
                <c:pt idx="46308">
                  <c:v>-1.6806722689076601E-3</c:v>
                </c:pt>
                <c:pt idx="46309">
                  <c:v>-1.6806722689076601E-3</c:v>
                </c:pt>
                <c:pt idx="46310">
                  <c:v>-1.6806722689076601E-3</c:v>
                </c:pt>
                <c:pt idx="46311">
                  <c:v>-1.6806722689076601E-3</c:v>
                </c:pt>
                <c:pt idx="46312">
                  <c:v>-1.6806722689076601E-3</c:v>
                </c:pt>
                <c:pt idx="46313">
                  <c:v>-1.6806722689076601E-3</c:v>
                </c:pt>
                <c:pt idx="46314">
                  <c:v>-1.6806722689076601E-3</c:v>
                </c:pt>
                <c:pt idx="46315">
                  <c:v>-1.6806722689076601E-3</c:v>
                </c:pt>
                <c:pt idx="46316">
                  <c:v>-1.6806722689076601E-3</c:v>
                </c:pt>
                <c:pt idx="46317">
                  <c:v>-1.6806722689076601E-3</c:v>
                </c:pt>
                <c:pt idx="46318">
                  <c:v>-1.6806722689076601E-3</c:v>
                </c:pt>
                <c:pt idx="46319">
                  <c:v>-1.6806722689076601E-3</c:v>
                </c:pt>
                <c:pt idx="46320">
                  <c:v>-1.6806722689076601E-3</c:v>
                </c:pt>
                <c:pt idx="46321">
                  <c:v>-1.6806722689076601E-3</c:v>
                </c:pt>
                <c:pt idx="46322">
                  <c:v>-1.6806722689076601E-3</c:v>
                </c:pt>
                <c:pt idx="46323">
                  <c:v>-8.4033613445377799E-4</c:v>
                </c:pt>
                <c:pt idx="46324">
                  <c:v>-8.4033613445377799E-4</c:v>
                </c:pt>
                <c:pt idx="46325">
                  <c:v>-8.4033613445377799E-4</c:v>
                </c:pt>
                <c:pt idx="46326">
                  <c:v>-8.4033613445377799E-4</c:v>
                </c:pt>
                <c:pt idx="46327">
                  <c:v>-8.4033613445377799E-4</c:v>
                </c:pt>
                <c:pt idx="46328">
                  <c:v>-8.4033613445377799E-4</c:v>
                </c:pt>
                <c:pt idx="46329">
                  <c:v>-8.4033613445377799E-4</c:v>
                </c:pt>
                <c:pt idx="46330">
                  <c:v>-8.4033613445377799E-4</c:v>
                </c:pt>
                <c:pt idx="46331">
                  <c:v>-8.4033613445377799E-4</c:v>
                </c:pt>
                <c:pt idx="46332">
                  <c:v>-8.4033613445377799E-4</c:v>
                </c:pt>
                <c:pt idx="46333">
                  <c:v>-8.4033613445377799E-4</c:v>
                </c:pt>
                <c:pt idx="46334">
                  <c:v>-8.4033613445377799E-4</c:v>
                </c:pt>
                <c:pt idx="46335">
                  <c:v>-8.4033613445377799E-4</c:v>
                </c:pt>
                <c:pt idx="46336">
                  <c:v>-8.4033613445377799E-4</c:v>
                </c:pt>
                <c:pt idx="46337">
                  <c:v>-8.4033613445377799E-4</c:v>
                </c:pt>
                <c:pt idx="46338">
                  <c:v>-8.4033613445377799E-4</c:v>
                </c:pt>
                <c:pt idx="46339">
                  <c:v>-8.4033613445377799E-4</c:v>
                </c:pt>
                <c:pt idx="46340">
                  <c:v>-8.4033613445377799E-4</c:v>
                </c:pt>
                <c:pt idx="46341">
                  <c:v>-8.4033613445377799E-4</c:v>
                </c:pt>
                <c:pt idx="46342">
                  <c:v>-8.4033613445377799E-4</c:v>
                </c:pt>
                <c:pt idx="46343">
                  <c:v>-8.4033613445377799E-4</c:v>
                </c:pt>
                <c:pt idx="46344">
                  <c:v>-8.4033613445377799E-4</c:v>
                </c:pt>
                <c:pt idx="46345">
                  <c:v>0</c:v>
                </c:pt>
                <c:pt idx="46346">
                  <c:v>0</c:v>
                </c:pt>
                <c:pt idx="46347">
                  <c:v>0</c:v>
                </c:pt>
                <c:pt idx="46348">
                  <c:v>0</c:v>
                </c:pt>
                <c:pt idx="46349">
                  <c:v>0</c:v>
                </c:pt>
                <c:pt idx="46350">
                  <c:v>0</c:v>
                </c:pt>
                <c:pt idx="46351">
                  <c:v>0</c:v>
                </c:pt>
                <c:pt idx="46352">
                  <c:v>0</c:v>
                </c:pt>
                <c:pt idx="46353">
                  <c:v>0</c:v>
                </c:pt>
                <c:pt idx="46354">
                  <c:v>0</c:v>
                </c:pt>
                <c:pt idx="46355">
                  <c:v>0</c:v>
                </c:pt>
                <c:pt idx="46356">
                  <c:v>0</c:v>
                </c:pt>
                <c:pt idx="46357">
                  <c:v>0</c:v>
                </c:pt>
                <c:pt idx="46358">
                  <c:v>0</c:v>
                </c:pt>
                <c:pt idx="46359">
                  <c:v>0</c:v>
                </c:pt>
                <c:pt idx="46360">
                  <c:v>0</c:v>
                </c:pt>
                <c:pt idx="46361">
                  <c:v>0</c:v>
                </c:pt>
                <c:pt idx="46362">
                  <c:v>0</c:v>
                </c:pt>
                <c:pt idx="46363">
                  <c:v>0</c:v>
                </c:pt>
                <c:pt idx="46364">
                  <c:v>0</c:v>
                </c:pt>
                <c:pt idx="46365">
                  <c:v>0</c:v>
                </c:pt>
                <c:pt idx="46366">
                  <c:v>0</c:v>
                </c:pt>
                <c:pt idx="46367">
                  <c:v>0</c:v>
                </c:pt>
                <c:pt idx="46368">
                  <c:v>0</c:v>
                </c:pt>
                <c:pt idx="46369">
                  <c:v>0</c:v>
                </c:pt>
                <c:pt idx="46370">
                  <c:v>0</c:v>
                </c:pt>
                <c:pt idx="46371">
                  <c:v>0</c:v>
                </c:pt>
                <c:pt idx="46372">
                  <c:v>0</c:v>
                </c:pt>
                <c:pt idx="46373">
                  <c:v>0</c:v>
                </c:pt>
                <c:pt idx="46374">
                  <c:v>0</c:v>
                </c:pt>
                <c:pt idx="46375">
                  <c:v>0</c:v>
                </c:pt>
                <c:pt idx="46376">
                  <c:v>0</c:v>
                </c:pt>
                <c:pt idx="46377">
                  <c:v>0</c:v>
                </c:pt>
                <c:pt idx="46378">
                  <c:v>0</c:v>
                </c:pt>
                <c:pt idx="46379">
                  <c:v>0</c:v>
                </c:pt>
                <c:pt idx="46380">
                  <c:v>0</c:v>
                </c:pt>
                <c:pt idx="46381">
                  <c:v>0</c:v>
                </c:pt>
                <c:pt idx="46382">
                  <c:v>0</c:v>
                </c:pt>
                <c:pt idx="46383">
                  <c:v>0</c:v>
                </c:pt>
                <c:pt idx="46384">
                  <c:v>0</c:v>
                </c:pt>
                <c:pt idx="46385">
                  <c:v>0</c:v>
                </c:pt>
                <c:pt idx="46386">
                  <c:v>0</c:v>
                </c:pt>
                <c:pt idx="46387">
                  <c:v>0</c:v>
                </c:pt>
                <c:pt idx="46388">
                  <c:v>0</c:v>
                </c:pt>
                <c:pt idx="46389">
                  <c:v>0</c:v>
                </c:pt>
                <c:pt idx="46390">
                  <c:v>0</c:v>
                </c:pt>
                <c:pt idx="46391">
                  <c:v>0</c:v>
                </c:pt>
                <c:pt idx="46392">
                  <c:v>0</c:v>
                </c:pt>
                <c:pt idx="46393">
                  <c:v>0</c:v>
                </c:pt>
                <c:pt idx="46394">
                  <c:v>0</c:v>
                </c:pt>
                <c:pt idx="46395">
                  <c:v>0</c:v>
                </c:pt>
                <c:pt idx="46396">
                  <c:v>0</c:v>
                </c:pt>
                <c:pt idx="46397">
                  <c:v>0</c:v>
                </c:pt>
                <c:pt idx="46398">
                  <c:v>0</c:v>
                </c:pt>
                <c:pt idx="46399">
                  <c:v>0</c:v>
                </c:pt>
                <c:pt idx="46400">
                  <c:v>0</c:v>
                </c:pt>
                <c:pt idx="46401">
                  <c:v>0</c:v>
                </c:pt>
                <c:pt idx="46402">
                  <c:v>0</c:v>
                </c:pt>
                <c:pt idx="46403">
                  <c:v>0</c:v>
                </c:pt>
                <c:pt idx="46404">
                  <c:v>0</c:v>
                </c:pt>
                <c:pt idx="46405">
                  <c:v>0</c:v>
                </c:pt>
                <c:pt idx="46406">
                  <c:v>0</c:v>
                </c:pt>
                <c:pt idx="46407">
                  <c:v>0</c:v>
                </c:pt>
                <c:pt idx="46408">
                  <c:v>0</c:v>
                </c:pt>
                <c:pt idx="46409">
                  <c:v>0</c:v>
                </c:pt>
                <c:pt idx="46410">
                  <c:v>0</c:v>
                </c:pt>
                <c:pt idx="46411">
                  <c:v>0</c:v>
                </c:pt>
                <c:pt idx="46412">
                  <c:v>0</c:v>
                </c:pt>
                <c:pt idx="46413">
                  <c:v>0</c:v>
                </c:pt>
                <c:pt idx="46414">
                  <c:v>0</c:v>
                </c:pt>
                <c:pt idx="46415">
                  <c:v>0</c:v>
                </c:pt>
                <c:pt idx="46416">
                  <c:v>0</c:v>
                </c:pt>
                <c:pt idx="46417">
                  <c:v>0</c:v>
                </c:pt>
                <c:pt idx="46418">
                  <c:v>0</c:v>
                </c:pt>
                <c:pt idx="46419">
                  <c:v>0</c:v>
                </c:pt>
                <c:pt idx="46420">
                  <c:v>0</c:v>
                </c:pt>
                <c:pt idx="46421">
                  <c:v>0</c:v>
                </c:pt>
                <c:pt idx="46422">
                  <c:v>0</c:v>
                </c:pt>
                <c:pt idx="46423">
                  <c:v>0</c:v>
                </c:pt>
                <c:pt idx="46424">
                  <c:v>0</c:v>
                </c:pt>
                <c:pt idx="46425">
                  <c:v>0</c:v>
                </c:pt>
                <c:pt idx="46426">
                  <c:v>0</c:v>
                </c:pt>
                <c:pt idx="46427">
                  <c:v>0</c:v>
                </c:pt>
                <c:pt idx="46428">
                  <c:v>0</c:v>
                </c:pt>
                <c:pt idx="46429">
                  <c:v>0</c:v>
                </c:pt>
                <c:pt idx="46430">
                  <c:v>0</c:v>
                </c:pt>
                <c:pt idx="46431">
                  <c:v>0</c:v>
                </c:pt>
                <c:pt idx="46432">
                  <c:v>0</c:v>
                </c:pt>
                <c:pt idx="46433">
                  <c:v>0</c:v>
                </c:pt>
                <c:pt idx="46434">
                  <c:v>0</c:v>
                </c:pt>
                <c:pt idx="46435">
                  <c:v>0</c:v>
                </c:pt>
                <c:pt idx="46436">
                  <c:v>0</c:v>
                </c:pt>
                <c:pt idx="46437">
                  <c:v>0</c:v>
                </c:pt>
                <c:pt idx="46438">
                  <c:v>0</c:v>
                </c:pt>
                <c:pt idx="46439">
                  <c:v>0</c:v>
                </c:pt>
                <c:pt idx="46440">
                  <c:v>0</c:v>
                </c:pt>
                <c:pt idx="46441">
                  <c:v>0</c:v>
                </c:pt>
                <c:pt idx="46442">
                  <c:v>0</c:v>
                </c:pt>
                <c:pt idx="46443">
                  <c:v>0</c:v>
                </c:pt>
                <c:pt idx="46444">
                  <c:v>0</c:v>
                </c:pt>
                <c:pt idx="46445">
                  <c:v>0</c:v>
                </c:pt>
                <c:pt idx="46446">
                  <c:v>0</c:v>
                </c:pt>
                <c:pt idx="46447">
                  <c:v>0</c:v>
                </c:pt>
                <c:pt idx="46448">
                  <c:v>0</c:v>
                </c:pt>
                <c:pt idx="46449">
                  <c:v>0</c:v>
                </c:pt>
                <c:pt idx="46450">
                  <c:v>0</c:v>
                </c:pt>
                <c:pt idx="46451">
                  <c:v>0</c:v>
                </c:pt>
                <c:pt idx="46452">
                  <c:v>0</c:v>
                </c:pt>
                <c:pt idx="46453">
                  <c:v>0</c:v>
                </c:pt>
                <c:pt idx="46454">
                  <c:v>0</c:v>
                </c:pt>
                <c:pt idx="46455">
                  <c:v>0</c:v>
                </c:pt>
                <c:pt idx="46456">
                  <c:v>0</c:v>
                </c:pt>
                <c:pt idx="46457">
                  <c:v>0</c:v>
                </c:pt>
                <c:pt idx="46458">
                  <c:v>0</c:v>
                </c:pt>
                <c:pt idx="46459">
                  <c:v>0</c:v>
                </c:pt>
                <c:pt idx="46460">
                  <c:v>0</c:v>
                </c:pt>
                <c:pt idx="46461">
                  <c:v>0</c:v>
                </c:pt>
                <c:pt idx="46462">
                  <c:v>0</c:v>
                </c:pt>
                <c:pt idx="46463">
                  <c:v>0</c:v>
                </c:pt>
                <c:pt idx="46464">
                  <c:v>0</c:v>
                </c:pt>
                <c:pt idx="46465">
                  <c:v>0</c:v>
                </c:pt>
                <c:pt idx="46466">
                  <c:v>0</c:v>
                </c:pt>
                <c:pt idx="46467">
                  <c:v>0</c:v>
                </c:pt>
                <c:pt idx="46468">
                  <c:v>0</c:v>
                </c:pt>
                <c:pt idx="46469">
                  <c:v>0</c:v>
                </c:pt>
                <c:pt idx="46470">
                  <c:v>0</c:v>
                </c:pt>
                <c:pt idx="46471">
                  <c:v>0</c:v>
                </c:pt>
                <c:pt idx="46472">
                  <c:v>0</c:v>
                </c:pt>
                <c:pt idx="46473">
                  <c:v>0</c:v>
                </c:pt>
                <c:pt idx="46474">
                  <c:v>0</c:v>
                </c:pt>
                <c:pt idx="46475">
                  <c:v>0</c:v>
                </c:pt>
                <c:pt idx="46476">
                  <c:v>0</c:v>
                </c:pt>
                <c:pt idx="46477">
                  <c:v>0</c:v>
                </c:pt>
                <c:pt idx="46478">
                  <c:v>0</c:v>
                </c:pt>
                <c:pt idx="46479">
                  <c:v>0</c:v>
                </c:pt>
                <c:pt idx="46480">
                  <c:v>0</c:v>
                </c:pt>
                <c:pt idx="46481">
                  <c:v>0</c:v>
                </c:pt>
                <c:pt idx="46482">
                  <c:v>0</c:v>
                </c:pt>
                <c:pt idx="46483">
                  <c:v>0</c:v>
                </c:pt>
                <c:pt idx="46484">
                  <c:v>8.4033613445377799E-4</c:v>
                </c:pt>
                <c:pt idx="46485">
                  <c:v>8.4033613445377799E-4</c:v>
                </c:pt>
                <c:pt idx="46486">
                  <c:v>8.4033613445377799E-4</c:v>
                </c:pt>
                <c:pt idx="46487">
                  <c:v>8.4033613445377799E-4</c:v>
                </c:pt>
                <c:pt idx="46488">
                  <c:v>8.4033613445377799E-4</c:v>
                </c:pt>
                <c:pt idx="46489">
                  <c:v>8.4033613445377799E-4</c:v>
                </c:pt>
                <c:pt idx="46490">
                  <c:v>8.4033613445377799E-4</c:v>
                </c:pt>
                <c:pt idx="46491">
                  <c:v>8.4033613445377799E-4</c:v>
                </c:pt>
                <c:pt idx="46492">
                  <c:v>8.4033613445377799E-4</c:v>
                </c:pt>
                <c:pt idx="46493">
                  <c:v>8.4033613445377799E-4</c:v>
                </c:pt>
                <c:pt idx="46494">
                  <c:v>8.4033613445377799E-4</c:v>
                </c:pt>
                <c:pt idx="46495">
                  <c:v>8.4033613445377799E-4</c:v>
                </c:pt>
                <c:pt idx="46496">
                  <c:v>8.4033613445377799E-4</c:v>
                </c:pt>
                <c:pt idx="46497">
                  <c:v>8.4033613445377799E-4</c:v>
                </c:pt>
                <c:pt idx="46498">
                  <c:v>8.4033613445377799E-4</c:v>
                </c:pt>
                <c:pt idx="46499">
                  <c:v>8.4033613445377799E-4</c:v>
                </c:pt>
                <c:pt idx="46500">
                  <c:v>8.4033613445377799E-4</c:v>
                </c:pt>
                <c:pt idx="46501">
                  <c:v>8.4033613445377799E-4</c:v>
                </c:pt>
                <c:pt idx="46502">
                  <c:v>8.4033613445377799E-4</c:v>
                </c:pt>
                <c:pt idx="46503">
                  <c:v>8.4033613445377799E-4</c:v>
                </c:pt>
                <c:pt idx="46504">
                  <c:v>8.4033613445377799E-4</c:v>
                </c:pt>
                <c:pt idx="46505">
                  <c:v>8.4033613445377799E-4</c:v>
                </c:pt>
                <c:pt idx="46506">
                  <c:v>8.4033613445377799E-4</c:v>
                </c:pt>
                <c:pt idx="46507">
                  <c:v>8.4033613445377799E-4</c:v>
                </c:pt>
                <c:pt idx="46508">
                  <c:v>8.4033613445377799E-4</c:v>
                </c:pt>
                <c:pt idx="46509">
                  <c:v>8.4033613445377799E-4</c:v>
                </c:pt>
                <c:pt idx="46510">
                  <c:v>8.4033613445377799E-4</c:v>
                </c:pt>
                <c:pt idx="46511">
                  <c:v>8.4033613445377799E-4</c:v>
                </c:pt>
                <c:pt idx="46512">
                  <c:v>8.4033613445377799E-4</c:v>
                </c:pt>
                <c:pt idx="46513">
                  <c:v>8.4033613445377799E-4</c:v>
                </c:pt>
                <c:pt idx="46514">
                  <c:v>8.4033613445377799E-4</c:v>
                </c:pt>
                <c:pt idx="46515">
                  <c:v>8.4033613445377799E-4</c:v>
                </c:pt>
                <c:pt idx="46516">
                  <c:v>8.4033613445377799E-4</c:v>
                </c:pt>
                <c:pt idx="46517">
                  <c:v>8.4033613445377799E-4</c:v>
                </c:pt>
                <c:pt idx="46518">
                  <c:v>8.4033613445377799E-4</c:v>
                </c:pt>
                <c:pt idx="46519">
                  <c:v>8.4033613445377799E-4</c:v>
                </c:pt>
                <c:pt idx="46520">
                  <c:v>8.4033613445377799E-4</c:v>
                </c:pt>
                <c:pt idx="46521">
                  <c:v>8.4033613445377799E-4</c:v>
                </c:pt>
                <c:pt idx="46522">
                  <c:v>8.4033613445377799E-4</c:v>
                </c:pt>
                <c:pt idx="46523">
                  <c:v>8.4033613445377799E-4</c:v>
                </c:pt>
                <c:pt idx="46524">
                  <c:v>8.4033613445377799E-4</c:v>
                </c:pt>
                <c:pt idx="46525">
                  <c:v>8.4033613445377799E-4</c:v>
                </c:pt>
                <c:pt idx="46526">
                  <c:v>8.4033613445377799E-4</c:v>
                </c:pt>
                <c:pt idx="46527">
                  <c:v>8.4033613445377799E-4</c:v>
                </c:pt>
                <c:pt idx="46528">
                  <c:v>8.4033613445377799E-4</c:v>
                </c:pt>
                <c:pt idx="46529">
                  <c:v>8.4033613445377799E-4</c:v>
                </c:pt>
                <c:pt idx="46530">
                  <c:v>8.4033613445377799E-4</c:v>
                </c:pt>
                <c:pt idx="46531">
                  <c:v>8.4033613445377799E-4</c:v>
                </c:pt>
                <c:pt idx="46532">
                  <c:v>8.4033613445377799E-4</c:v>
                </c:pt>
                <c:pt idx="46533">
                  <c:v>8.4033613445377799E-4</c:v>
                </c:pt>
                <c:pt idx="46534">
                  <c:v>8.4033613445377799E-4</c:v>
                </c:pt>
                <c:pt idx="46535">
                  <c:v>8.4033613445377799E-4</c:v>
                </c:pt>
                <c:pt idx="46536">
                  <c:v>8.4033613445377799E-4</c:v>
                </c:pt>
                <c:pt idx="46537">
                  <c:v>8.4033613445377799E-4</c:v>
                </c:pt>
                <c:pt idx="46538">
                  <c:v>8.4033613445377799E-4</c:v>
                </c:pt>
                <c:pt idx="46539">
                  <c:v>8.4033613445377799E-4</c:v>
                </c:pt>
                <c:pt idx="46540">
                  <c:v>8.4033613445377799E-4</c:v>
                </c:pt>
                <c:pt idx="46541">
                  <c:v>8.4033613445377799E-4</c:v>
                </c:pt>
                <c:pt idx="46542">
                  <c:v>8.4033613445377799E-4</c:v>
                </c:pt>
                <c:pt idx="46543">
                  <c:v>8.4033613445377799E-4</c:v>
                </c:pt>
                <c:pt idx="46544">
                  <c:v>8.4033613445377799E-4</c:v>
                </c:pt>
                <c:pt idx="46545">
                  <c:v>8.4033613445377799E-4</c:v>
                </c:pt>
                <c:pt idx="46546">
                  <c:v>8.4033613445377799E-4</c:v>
                </c:pt>
                <c:pt idx="46547">
                  <c:v>8.4033613445377799E-4</c:v>
                </c:pt>
                <c:pt idx="46548">
                  <c:v>8.4033613445377799E-4</c:v>
                </c:pt>
                <c:pt idx="46549">
                  <c:v>8.4033613445377799E-4</c:v>
                </c:pt>
                <c:pt idx="46550">
                  <c:v>8.4033613445377799E-4</c:v>
                </c:pt>
                <c:pt idx="46551">
                  <c:v>8.4033613445377799E-4</c:v>
                </c:pt>
                <c:pt idx="46552">
                  <c:v>8.4033613445377799E-4</c:v>
                </c:pt>
                <c:pt idx="46553">
                  <c:v>8.4033613445377799E-4</c:v>
                </c:pt>
                <c:pt idx="46554">
                  <c:v>8.4033613445377799E-4</c:v>
                </c:pt>
                <c:pt idx="46555">
                  <c:v>8.4033613445377799E-4</c:v>
                </c:pt>
                <c:pt idx="46556">
                  <c:v>8.4033613445377799E-4</c:v>
                </c:pt>
                <c:pt idx="46557">
                  <c:v>8.4033613445377799E-4</c:v>
                </c:pt>
                <c:pt idx="46558">
                  <c:v>8.4033613445377799E-4</c:v>
                </c:pt>
                <c:pt idx="46559">
                  <c:v>8.4033613445377799E-4</c:v>
                </c:pt>
                <c:pt idx="46560">
                  <c:v>8.4033613445377799E-4</c:v>
                </c:pt>
                <c:pt idx="46561">
                  <c:v>8.4033613445377799E-4</c:v>
                </c:pt>
                <c:pt idx="46562">
                  <c:v>8.4033613445377799E-4</c:v>
                </c:pt>
                <c:pt idx="46563">
                  <c:v>8.4033613445377799E-4</c:v>
                </c:pt>
                <c:pt idx="46564">
                  <c:v>8.4033613445377799E-4</c:v>
                </c:pt>
                <c:pt idx="46565">
                  <c:v>8.4033613445377799E-4</c:v>
                </c:pt>
                <c:pt idx="46566">
                  <c:v>8.4033613445377799E-4</c:v>
                </c:pt>
                <c:pt idx="46567">
                  <c:v>8.4033613445377799E-4</c:v>
                </c:pt>
                <c:pt idx="46568">
                  <c:v>8.4033613445377799E-4</c:v>
                </c:pt>
                <c:pt idx="46569">
                  <c:v>8.4033613445377799E-4</c:v>
                </c:pt>
                <c:pt idx="46570">
                  <c:v>8.4033613445377799E-4</c:v>
                </c:pt>
                <c:pt idx="46571">
                  <c:v>8.4033613445377799E-4</c:v>
                </c:pt>
                <c:pt idx="46572">
                  <c:v>8.4033613445377799E-4</c:v>
                </c:pt>
                <c:pt idx="46573">
                  <c:v>8.4033613445377799E-4</c:v>
                </c:pt>
                <c:pt idx="46574">
                  <c:v>8.4033613445377799E-4</c:v>
                </c:pt>
                <c:pt idx="46575">
                  <c:v>8.4033613445377799E-4</c:v>
                </c:pt>
                <c:pt idx="46576">
                  <c:v>8.4033613445377799E-4</c:v>
                </c:pt>
                <c:pt idx="46577">
                  <c:v>8.4033613445377799E-4</c:v>
                </c:pt>
                <c:pt idx="46578">
                  <c:v>8.4033613445377799E-4</c:v>
                </c:pt>
                <c:pt idx="46579">
                  <c:v>8.4033613445377799E-4</c:v>
                </c:pt>
                <c:pt idx="46580">
                  <c:v>8.4033613445377799E-4</c:v>
                </c:pt>
                <c:pt idx="46581">
                  <c:v>8.4033613445377799E-4</c:v>
                </c:pt>
                <c:pt idx="46582">
                  <c:v>8.4033613445377799E-4</c:v>
                </c:pt>
                <c:pt idx="46583">
                  <c:v>8.4033613445377799E-4</c:v>
                </c:pt>
                <c:pt idx="46584">
                  <c:v>8.4033613445377799E-4</c:v>
                </c:pt>
                <c:pt idx="46585">
                  <c:v>8.4033613445377799E-4</c:v>
                </c:pt>
                <c:pt idx="46586">
                  <c:v>8.4033613445377799E-4</c:v>
                </c:pt>
                <c:pt idx="46587">
                  <c:v>8.4033613445377799E-4</c:v>
                </c:pt>
                <c:pt idx="46588">
                  <c:v>8.4033613445377799E-4</c:v>
                </c:pt>
                <c:pt idx="46589">
                  <c:v>8.4033613445377799E-4</c:v>
                </c:pt>
                <c:pt idx="46590">
                  <c:v>8.4033613445377799E-4</c:v>
                </c:pt>
                <c:pt idx="46591">
                  <c:v>8.4033613445377799E-4</c:v>
                </c:pt>
                <c:pt idx="46592">
                  <c:v>8.4033613445377799E-4</c:v>
                </c:pt>
                <c:pt idx="46593">
                  <c:v>8.4033613445377799E-4</c:v>
                </c:pt>
                <c:pt idx="46594">
                  <c:v>8.4033613445377799E-4</c:v>
                </c:pt>
                <c:pt idx="46595">
                  <c:v>8.4033613445377799E-4</c:v>
                </c:pt>
                <c:pt idx="46596">
                  <c:v>8.4033613445377799E-4</c:v>
                </c:pt>
                <c:pt idx="46597">
                  <c:v>8.4033613445377799E-4</c:v>
                </c:pt>
                <c:pt idx="46598">
                  <c:v>8.4033613445377799E-4</c:v>
                </c:pt>
                <c:pt idx="46599">
                  <c:v>8.4033613445377799E-4</c:v>
                </c:pt>
                <c:pt idx="46600">
                  <c:v>8.4033613445377799E-4</c:v>
                </c:pt>
                <c:pt idx="46601">
                  <c:v>8.4033613445377799E-4</c:v>
                </c:pt>
                <c:pt idx="46602">
                  <c:v>8.4033613445377799E-4</c:v>
                </c:pt>
                <c:pt idx="46603">
                  <c:v>8.4033613445377799E-4</c:v>
                </c:pt>
                <c:pt idx="46604">
                  <c:v>8.4033613445377799E-4</c:v>
                </c:pt>
                <c:pt idx="46605">
                  <c:v>8.4033613445377799E-4</c:v>
                </c:pt>
                <c:pt idx="46606">
                  <c:v>8.4033613445377799E-4</c:v>
                </c:pt>
                <c:pt idx="46607">
                  <c:v>8.4033613445377799E-4</c:v>
                </c:pt>
                <c:pt idx="46608">
                  <c:v>8.4033613445377799E-4</c:v>
                </c:pt>
                <c:pt idx="46609">
                  <c:v>8.4033613445377799E-4</c:v>
                </c:pt>
                <c:pt idx="46610">
                  <c:v>8.4033613445377799E-4</c:v>
                </c:pt>
                <c:pt idx="46611">
                  <c:v>8.4033613445377799E-4</c:v>
                </c:pt>
                <c:pt idx="46612">
                  <c:v>8.4033613445377799E-4</c:v>
                </c:pt>
                <c:pt idx="46613">
                  <c:v>8.4033613445377799E-4</c:v>
                </c:pt>
                <c:pt idx="46614">
                  <c:v>8.4033613445377799E-4</c:v>
                </c:pt>
                <c:pt idx="46615">
                  <c:v>8.4033613445377799E-4</c:v>
                </c:pt>
                <c:pt idx="46616">
                  <c:v>8.4033613445377799E-4</c:v>
                </c:pt>
                <c:pt idx="46617">
                  <c:v>8.4033613445377799E-4</c:v>
                </c:pt>
                <c:pt idx="46618">
                  <c:v>8.4033613445377799E-4</c:v>
                </c:pt>
                <c:pt idx="46619">
                  <c:v>8.4033613445377799E-4</c:v>
                </c:pt>
                <c:pt idx="46620">
                  <c:v>8.4033613445377799E-4</c:v>
                </c:pt>
                <c:pt idx="46621">
                  <c:v>8.4033613445377799E-4</c:v>
                </c:pt>
                <c:pt idx="46622">
                  <c:v>8.4033613445377799E-4</c:v>
                </c:pt>
                <c:pt idx="46623">
                  <c:v>8.4033613445377799E-4</c:v>
                </c:pt>
                <c:pt idx="46624">
                  <c:v>8.4033613445377799E-4</c:v>
                </c:pt>
                <c:pt idx="46625">
                  <c:v>8.4033613445377799E-4</c:v>
                </c:pt>
                <c:pt idx="46626">
                  <c:v>8.4033613445377799E-4</c:v>
                </c:pt>
                <c:pt idx="46627">
                  <c:v>8.4033613445377799E-4</c:v>
                </c:pt>
                <c:pt idx="46628">
                  <c:v>8.4033613445377799E-4</c:v>
                </c:pt>
                <c:pt idx="46629">
                  <c:v>8.4033613445377799E-4</c:v>
                </c:pt>
                <c:pt idx="46630">
                  <c:v>8.4033613445377799E-4</c:v>
                </c:pt>
                <c:pt idx="46631">
                  <c:v>8.4033613445377799E-4</c:v>
                </c:pt>
                <c:pt idx="46632">
                  <c:v>8.4033613445377799E-4</c:v>
                </c:pt>
                <c:pt idx="46633">
                  <c:v>8.4033613445377799E-4</c:v>
                </c:pt>
                <c:pt idx="46634">
                  <c:v>8.4033613445377799E-4</c:v>
                </c:pt>
                <c:pt idx="46635">
                  <c:v>8.4033613445377799E-4</c:v>
                </c:pt>
                <c:pt idx="46636">
                  <c:v>8.4033613445377799E-4</c:v>
                </c:pt>
                <c:pt idx="46637">
                  <c:v>8.4033613445377799E-4</c:v>
                </c:pt>
                <c:pt idx="46638">
                  <c:v>8.4033613445377799E-4</c:v>
                </c:pt>
                <c:pt idx="46639">
                  <c:v>8.4033613445377799E-4</c:v>
                </c:pt>
                <c:pt idx="46640">
                  <c:v>8.4033613445377799E-4</c:v>
                </c:pt>
                <c:pt idx="46641">
                  <c:v>8.4033613445377799E-4</c:v>
                </c:pt>
                <c:pt idx="46642">
                  <c:v>8.4033613445377799E-4</c:v>
                </c:pt>
                <c:pt idx="46643">
                  <c:v>8.4033613445377799E-4</c:v>
                </c:pt>
                <c:pt idx="46644">
                  <c:v>8.4033613445377799E-4</c:v>
                </c:pt>
                <c:pt idx="46645">
                  <c:v>8.4033613445377799E-4</c:v>
                </c:pt>
                <c:pt idx="46646">
                  <c:v>8.4033613445377799E-4</c:v>
                </c:pt>
                <c:pt idx="46647">
                  <c:v>8.4033613445377799E-4</c:v>
                </c:pt>
                <c:pt idx="46648">
                  <c:v>8.4033613445377799E-4</c:v>
                </c:pt>
                <c:pt idx="46649">
                  <c:v>8.4033613445377799E-4</c:v>
                </c:pt>
                <c:pt idx="46650">
                  <c:v>8.4033613445377799E-4</c:v>
                </c:pt>
                <c:pt idx="46651">
                  <c:v>8.4033613445377799E-4</c:v>
                </c:pt>
                <c:pt idx="46652">
                  <c:v>8.4033613445377799E-4</c:v>
                </c:pt>
                <c:pt idx="46653">
                  <c:v>8.4033613445377799E-4</c:v>
                </c:pt>
                <c:pt idx="46654">
                  <c:v>8.4033613445377799E-4</c:v>
                </c:pt>
                <c:pt idx="46655">
                  <c:v>8.4033613445377799E-4</c:v>
                </c:pt>
                <c:pt idx="46656">
                  <c:v>8.4033613445377799E-4</c:v>
                </c:pt>
                <c:pt idx="46657">
                  <c:v>8.4033613445377799E-4</c:v>
                </c:pt>
                <c:pt idx="46658">
                  <c:v>8.4033613445377799E-4</c:v>
                </c:pt>
                <c:pt idx="46659">
                  <c:v>8.4033613445377799E-4</c:v>
                </c:pt>
                <c:pt idx="46660">
                  <c:v>8.4033613445377799E-4</c:v>
                </c:pt>
                <c:pt idx="46661">
                  <c:v>8.4033613445377799E-4</c:v>
                </c:pt>
                <c:pt idx="46662">
                  <c:v>8.4033613445377799E-4</c:v>
                </c:pt>
                <c:pt idx="46663">
                  <c:v>8.4033613445377799E-4</c:v>
                </c:pt>
                <c:pt idx="46664">
                  <c:v>8.4033613445377799E-4</c:v>
                </c:pt>
                <c:pt idx="46665">
                  <c:v>8.4033613445377799E-4</c:v>
                </c:pt>
                <c:pt idx="46666">
                  <c:v>8.4033613445377799E-4</c:v>
                </c:pt>
                <c:pt idx="46667">
                  <c:v>8.4033613445377799E-4</c:v>
                </c:pt>
                <c:pt idx="46668">
                  <c:v>8.4033613445377799E-4</c:v>
                </c:pt>
                <c:pt idx="46669">
                  <c:v>8.4033613445377799E-4</c:v>
                </c:pt>
                <c:pt idx="46670">
                  <c:v>8.4033613445377799E-4</c:v>
                </c:pt>
                <c:pt idx="46671">
                  <c:v>8.4033613445377799E-4</c:v>
                </c:pt>
                <c:pt idx="46672">
                  <c:v>8.4033613445377799E-4</c:v>
                </c:pt>
                <c:pt idx="46673">
                  <c:v>8.4033613445377799E-4</c:v>
                </c:pt>
                <c:pt idx="46674">
                  <c:v>8.4033613445377799E-4</c:v>
                </c:pt>
                <c:pt idx="46675">
                  <c:v>8.4033613445377799E-4</c:v>
                </c:pt>
                <c:pt idx="46676">
                  <c:v>8.4033613445377799E-4</c:v>
                </c:pt>
                <c:pt idx="46677">
                  <c:v>8.4033613445377799E-4</c:v>
                </c:pt>
                <c:pt idx="46678">
                  <c:v>8.4033613445377799E-4</c:v>
                </c:pt>
                <c:pt idx="46679">
                  <c:v>8.4033613445377799E-4</c:v>
                </c:pt>
                <c:pt idx="46680">
                  <c:v>8.4033613445377799E-4</c:v>
                </c:pt>
                <c:pt idx="46681">
                  <c:v>8.4033613445377799E-4</c:v>
                </c:pt>
                <c:pt idx="46682">
                  <c:v>8.4033613445377799E-4</c:v>
                </c:pt>
                <c:pt idx="46683">
                  <c:v>8.4033613445377799E-4</c:v>
                </c:pt>
                <c:pt idx="46684">
                  <c:v>8.4033613445377799E-4</c:v>
                </c:pt>
                <c:pt idx="46685">
                  <c:v>8.4033613445377799E-4</c:v>
                </c:pt>
                <c:pt idx="46686">
                  <c:v>8.4033613445377799E-4</c:v>
                </c:pt>
                <c:pt idx="46687">
                  <c:v>8.4033613445377799E-4</c:v>
                </c:pt>
                <c:pt idx="46688">
                  <c:v>8.4033613445377799E-4</c:v>
                </c:pt>
                <c:pt idx="46689">
                  <c:v>0</c:v>
                </c:pt>
                <c:pt idx="46690">
                  <c:v>0</c:v>
                </c:pt>
                <c:pt idx="46691">
                  <c:v>0</c:v>
                </c:pt>
                <c:pt idx="46692">
                  <c:v>0</c:v>
                </c:pt>
                <c:pt idx="46693">
                  <c:v>0</c:v>
                </c:pt>
                <c:pt idx="46694">
                  <c:v>0</c:v>
                </c:pt>
                <c:pt idx="46695">
                  <c:v>0</c:v>
                </c:pt>
                <c:pt idx="46696">
                  <c:v>0</c:v>
                </c:pt>
                <c:pt idx="46697">
                  <c:v>0</c:v>
                </c:pt>
                <c:pt idx="46698">
                  <c:v>0</c:v>
                </c:pt>
                <c:pt idx="46699">
                  <c:v>0</c:v>
                </c:pt>
                <c:pt idx="46700">
                  <c:v>0</c:v>
                </c:pt>
                <c:pt idx="46701">
                  <c:v>0</c:v>
                </c:pt>
                <c:pt idx="46702">
                  <c:v>0</c:v>
                </c:pt>
                <c:pt idx="46703">
                  <c:v>0</c:v>
                </c:pt>
                <c:pt idx="46704">
                  <c:v>0</c:v>
                </c:pt>
                <c:pt idx="46705">
                  <c:v>0</c:v>
                </c:pt>
                <c:pt idx="46706">
                  <c:v>0</c:v>
                </c:pt>
                <c:pt idx="46707">
                  <c:v>0</c:v>
                </c:pt>
                <c:pt idx="46708">
                  <c:v>0</c:v>
                </c:pt>
                <c:pt idx="46709">
                  <c:v>0</c:v>
                </c:pt>
                <c:pt idx="46710">
                  <c:v>0</c:v>
                </c:pt>
                <c:pt idx="46711">
                  <c:v>0</c:v>
                </c:pt>
                <c:pt idx="46712">
                  <c:v>0</c:v>
                </c:pt>
                <c:pt idx="46713">
                  <c:v>0</c:v>
                </c:pt>
                <c:pt idx="46714">
                  <c:v>0</c:v>
                </c:pt>
                <c:pt idx="46715">
                  <c:v>0</c:v>
                </c:pt>
                <c:pt idx="46716">
                  <c:v>0</c:v>
                </c:pt>
                <c:pt idx="46717">
                  <c:v>0</c:v>
                </c:pt>
                <c:pt idx="46718">
                  <c:v>0</c:v>
                </c:pt>
                <c:pt idx="46719">
                  <c:v>0</c:v>
                </c:pt>
                <c:pt idx="46720">
                  <c:v>0</c:v>
                </c:pt>
                <c:pt idx="46721">
                  <c:v>0</c:v>
                </c:pt>
                <c:pt idx="46722">
                  <c:v>0</c:v>
                </c:pt>
                <c:pt idx="46723">
                  <c:v>0</c:v>
                </c:pt>
                <c:pt idx="46724">
                  <c:v>0</c:v>
                </c:pt>
                <c:pt idx="46725">
                  <c:v>0</c:v>
                </c:pt>
                <c:pt idx="46726">
                  <c:v>0</c:v>
                </c:pt>
                <c:pt idx="46727">
                  <c:v>0</c:v>
                </c:pt>
                <c:pt idx="46728">
                  <c:v>0</c:v>
                </c:pt>
                <c:pt idx="46729">
                  <c:v>0</c:v>
                </c:pt>
                <c:pt idx="46730">
                  <c:v>0</c:v>
                </c:pt>
                <c:pt idx="46731">
                  <c:v>0</c:v>
                </c:pt>
                <c:pt idx="46732">
                  <c:v>0</c:v>
                </c:pt>
                <c:pt idx="46733">
                  <c:v>0</c:v>
                </c:pt>
                <c:pt idx="46734">
                  <c:v>0</c:v>
                </c:pt>
                <c:pt idx="46735">
                  <c:v>0</c:v>
                </c:pt>
                <c:pt idx="46736">
                  <c:v>0</c:v>
                </c:pt>
                <c:pt idx="46737">
                  <c:v>0</c:v>
                </c:pt>
                <c:pt idx="46738">
                  <c:v>0</c:v>
                </c:pt>
                <c:pt idx="46739">
                  <c:v>0</c:v>
                </c:pt>
                <c:pt idx="46740">
                  <c:v>0</c:v>
                </c:pt>
                <c:pt idx="46741">
                  <c:v>0</c:v>
                </c:pt>
                <c:pt idx="46742">
                  <c:v>0</c:v>
                </c:pt>
                <c:pt idx="46743">
                  <c:v>0</c:v>
                </c:pt>
                <c:pt idx="46744">
                  <c:v>0</c:v>
                </c:pt>
                <c:pt idx="46745">
                  <c:v>0</c:v>
                </c:pt>
                <c:pt idx="46746">
                  <c:v>0</c:v>
                </c:pt>
                <c:pt idx="46747">
                  <c:v>0</c:v>
                </c:pt>
                <c:pt idx="46748">
                  <c:v>0</c:v>
                </c:pt>
                <c:pt idx="46749">
                  <c:v>0</c:v>
                </c:pt>
                <c:pt idx="46750">
                  <c:v>0</c:v>
                </c:pt>
                <c:pt idx="46751">
                  <c:v>0</c:v>
                </c:pt>
                <c:pt idx="46752">
                  <c:v>0</c:v>
                </c:pt>
                <c:pt idx="46753">
                  <c:v>0</c:v>
                </c:pt>
                <c:pt idx="46754">
                  <c:v>0</c:v>
                </c:pt>
                <c:pt idx="46755">
                  <c:v>0</c:v>
                </c:pt>
                <c:pt idx="46756">
                  <c:v>0</c:v>
                </c:pt>
                <c:pt idx="46757">
                  <c:v>0</c:v>
                </c:pt>
                <c:pt idx="46758">
                  <c:v>0</c:v>
                </c:pt>
                <c:pt idx="46759">
                  <c:v>0</c:v>
                </c:pt>
                <c:pt idx="46760">
                  <c:v>0</c:v>
                </c:pt>
                <c:pt idx="46761">
                  <c:v>0</c:v>
                </c:pt>
                <c:pt idx="46762">
                  <c:v>0</c:v>
                </c:pt>
                <c:pt idx="46763">
                  <c:v>0</c:v>
                </c:pt>
                <c:pt idx="46764">
                  <c:v>0</c:v>
                </c:pt>
                <c:pt idx="46765">
                  <c:v>0</c:v>
                </c:pt>
                <c:pt idx="46766">
                  <c:v>0</c:v>
                </c:pt>
                <c:pt idx="46767">
                  <c:v>0</c:v>
                </c:pt>
                <c:pt idx="46768">
                  <c:v>0</c:v>
                </c:pt>
                <c:pt idx="46769">
                  <c:v>0</c:v>
                </c:pt>
                <c:pt idx="46770">
                  <c:v>0</c:v>
                </c:pt>
                <c:pt idx="46771">
                  <c:v>0</c:v>
                </c:pt>
                <c:pt idx="46772">
                  <c:v>0</c:v>
                </c:pt>
                <c:pt idx="46773">
                  <c:v>0</c:v>
                </c:pt>
                <c:pt idx="46774">
                  <c:v>0</c:v>
                </c:pt>
                <c:pt idx="46775">
                  <c:v>0</c:v>
                </c:pt>
                <c:pt idx="46776">
                  <c:v>0</c:v>
                </c:pt>
                <c:pt idx="46777">
                  <c:v>0</c:v>
                </c:pt>
                <c:pt idx="46778">
                  <c:v>0</c:v>
                </c:pt>
                <c:pt idx="46779">
                  <c:v>0</c:v>
                </c:pt>
                <c:pt idx="46780">
                  <c:v>0</c:v>
                </c:pt>
                <c:pt idx="46781">
                  <c:v>0</c:v>
                </c:pt>
                <c:pt idx="46782">
                  <c:v>0</c:v>
                </c:pt>
                <c:pt idx="46783">
                  <c:v>0</c:v>
                </c:pt>
                <c:pt idx="46784">
                  <c:v>0</c:v>
                </c:pt>
                <c:pt idx="46785">
                  <c:v>0</c:v>
                </c:pt>
                <c:pt idx="46786">
                  <c:v>0</c:v>
                </c:pt>
                <c:pt idx="46787">
                  <c:v>0</c:v>
                </c:pt>
                <c:pt idx="46788">
                  <c:v>0</c:v>
                </c:pt>
                <c:pt idx="46789">
                  <c:v>0</c:v>
                </c:pt>
                <c:pt idx="46790">
                  <c:v>0</c:v>
                </c:pt>
                <c:pt idx="46791">
                  <c:v>0</c:v>
                </c:pt>
                <c:pt idx="46792">
                  <c:v>0</c:v>
                </c:pt>
                <c:pt idx="46793">
                  <c:v>0</c:v>
                </c:pt>
                <c:pt idx="46794">
                  <c:v>0</c:v>
                </c:pt>
                <c:pt idx="46795">
                  <c:v>0</c:v>
                </c:pt>
                <c:pt idx="46796">
                  <c:v>0</c:v>
                </c:pt>
                <c:pt idx="46797">
                  <c:v>0</c:v>
                </c:pt>
                <c:pt idx="46798">
                  <c:v>0</c:v>
                </c:pt>
                <c:pt idx="46799">
                  <c:v>0</c:v>
                </c:pt>
                <c:pt idx="46800">
                  <c:v>0</c:v>
                </c:pt>
                <c:pt idx="46801">
                  <c:v>0</c:v>
                </c:pt>
                <c:pt idx="46802">
                  <c:v>0</c:v>
                </c:pt>
                <c:pt idx="46803">
                  <c:v>0</c:v>
                </c:pt>
                <c:pt idx="46804">
                  <c:v>0</c:v>
                </c:pt>
                <c:pt idx="46805">
                  <c:v>0</c:v>
                </c:pt>
                <c:pt idx="46806">
                  <c:v>0</c:v>
                </c:pt>
                <c:pt idx="46807">
                  <c:v>0</c:v>
                </c:pt>
                <c:pt idx="46808">
                  <c:v>0</c:v>
                </c:pt>
                <c:pt idx="46809">
                  <c:v>0</c:v>
                </c:pt>
                <c:pt idx="46810">
                  <c:v>0</c:v>
                </c:pt>
                <c:pt idx="46811">
                  <c:v>0</c:v>
                </c:pt>
                <c:pt idx="46812">
                  <c:v>0</c:v>
                </c:pt>
                <c:pt idx="46813">
                  <c:v>0</c:v>
                </c:pt>
                <c:pt idx="46814">
                  <c:v>0</c:v>
                </c:pt>
                <c:pt idx="46815">
                  <c:v>0</c:v>
                </c:pt>
                <c:pt idx="46816">
                  <c:v>0</c:v>
                </c:pt>
                <c:pt idx="46817">
                  <c:v>0</c:v>
                </c:pt>
                <c:pt idx="46818">
                  <c:v>-8.4033613445377799E-4</c:v>
                </c:pt>
                <c:pt idx="46819">
                  <c:v>-8.4033613445377799E-4</c:v>
                </c:pt>
                <c:pt idx="46820">
                  <c:v>-8.4033613445377799E-4</c:v>
                </c:pt>
                <c:pt idx="46821">
                  <c:v>-8.4033613445377799E-4</c:v>
                </c:pt>
                <c:pt idx="46822">
                  <c:v>-8.4033613445377799E-4</c:v>
                </c:pt>
                <c:pt idx="46823">
                  <c:v>-8.4033613445377799E-4</c:v>
                </c:pt>
                <c:pt idx="46824">
                  <c:v>-8.4033613445377799E-4</c:v>
                </c:pt>
                <c:pt idx="46825">
                  <c:v>-8.4033613445377799E-4</c:v>
                </c:pt>
                <c:pt idx="46826">
                  <c:v>-8.4033613445377799E-4</c:v>
                </c:pt>
                <c:pt idx="46827">
                  <c:v>-8.4033613445377799E-4</c:v>
                </c:pt>
                <c:pt idx="46828">
                  <c:v>-8.4033613445377799E-4</c:v>
                </c:pt>
                <c:pt idx="46829">
                  <c:v>-8.4033613445377799E-4</c:v>
                </c:pt>
                <c:pt idx="46830">
                  <c:v>-8.4033613445377799E-4</c:v>
                </c:pt>
                <c:pt idx="46831">
                  <c:v>0</c:v>
                </c:pt>
                <c:pt idx="46832">
                  <c:v>0</c:v>
                </c:pt>
                <c:pt idx="46833">
                  <c:v>0</c:v>
                </c:pt>
                <c:pt idx="46834">
                  <c:v>0</c:v>
                </c:pt>
                <c:pt idx="46835">
                  <c:v>0</c:v>
                </c:pt>
                <c:pt idx="46836">
                  <c:v>0</c:v>
                </c:pt>
                <c:pt idx="46837">
                  <c:v>0</c:v>
                </c:pt>
                <c:pt idx="46838">
                  <c:v>0</c:v>
                </c:pt>
                <c:pt idx="46839">
                  <c:v>0</c:v>
                </c:pt>
                <c:pt idx="46840">
                  <c:v>0</c:v>
                </c:pt>
                <c:pt idx="46841">
                  <c:v>0</c:v>
                </c:pt>
                <c:pt idx="46842">
                  <c:v>0</c:v>
                </c:pt>
                <c:pt idx="46843">
                  <c:v>0</c:v>
                </c:pt>
                <c:pt idx="46844">
                  <c:v>0</c:v>
                </c:pt>
                <c:pt idx="46845">
                  <c:v>0</c:v>
                </c:pt>
                <c:pt idx="46846">
                  <c:v>0</c:v>
                </c:pt>
                <c:pt idx="46847">
                  <c:v>0</c:v>
                </c:pt>
                <c:pt idx="46848">
                  <c:v>0</c:v>
                </c:pt>
                <c:pt idx="46849">
                  <c:v>0</c:v>
                </c:pt>
                <c:pt idx="46850">
                  <c:v>0</c:v>
                </c:pt>
                <c:pt idx="46851">
                  <c:v>0</c:v>
                </c:pt>
                <c:pt idx="46852">
                  <c:v>0</c:v>
                </c:pt>
                <c:pt idx="46853">
                  <c:v>0</c:v>
                </c:pt>
                <c:pt idx="46854">
                  <c:v>0</c:v>
                </c:pt>
                <c:pt idx="46855">
                  <c:v>0</c:v>
                </c:pt>
                <c:pt idx="46856">
                  <c:v>0</c:v>
                </c:pt>
                <c:pt idx="46857">
                  <c:v>0</c:v>
                </c:pt>
                <c:pt idx="46858">
                  <c:v>0</c:v>
                </c:pt>
                <c:pt idx="46859">
                  <c:v>0</c:v>
                </c:pt>
                <c:pt idx="46860">
                  <c:v>0</c:v>
                </c:pt>
                <c:pt idx="46861">
                  <c:v>0</c:v>
                </c:pt>
                <c:pt idx="46862">
                  <c:v>0</c:v>
                </c:pt>
                <c:pt idx="46863">
                  <c:v>0</c:v>
                </c:pt>
                <c:pt idx="46864">
                  <c:v>0</c:v>
                </c:pt>
                <c:pt idx="46865">
                  <c:v>0</c:v>
                </c:pt>
                <c:pt idx="46866">
                  <c:v>0</c:v>
                </c:pt>
                <c:pt idx="46867">
                  <c:v>0</c:v>
                </c:pt>
                <c:pt idx="46868">
                  <c:v>0</c:v>
                </c:pt>
                <c:pt idx="46869">
                  <c:v>0</c:v>
                </c:pt>
                <c:pt idx="46870">
                  <c:v>0</c:v>
                </c:pt>
                <c:pt idx="46871">
                  <c:v>0</c:v>
                </c:pt>
                <c:pt idx="46872">
                  <c:v>0</c:v>
                </c:pt>
                <c:pt idx="46873">
                  <c:v>0</c:v>
                </c:pt>
                <c:pt idx="46874">
                  <c:v>0</c:v>
                </c:pt>
                <c:pt idx="46875">
                  <c:v>0</c:v>
                </c:pt>
                <c:pt idx="46876">
                  <c:v>0</c:v>
                </c:pt>
                <c:pt idx="46877">
                  <c:v>0</c:v>
                </c:pt>
                <c:pt idx="46878">
                  <c:v>0</c:v>
                </c:pt>
                <c:pt idx="46879">
                  <c:v>0</c:v>
                </c:pt>
                <c:pt idx="46880">
                  <c:v>0</c:v>
                </c:pt>
                <c:pt idx="46881">
                  <c:v>0</c:v>
                </c:pt>
                <c:pt idx="46882">
                  <c:v>0</c:v>
                </c:pt>
                <c:pt idx="46883">
                  <c:v>0</c:v>
                </c:pt>
                <c:pt idx="46884">
                  <c:v>0</c:v>
                </c:pt>
                <c:pt idx="46885">
                  <c:v>0</c:v>
                </c:pt>
                <c:pt idx="46886">
                  <c:v>0</c:v>
                </c:pt>
                <c:pt idx="46887">
                  <c:v>0</c:v>
                </c:pt>
                <c:pt idx="46888">
                  <c:v>0</c:v>
                </c:pt>
                <c:pt idx="46889">
                  <c:v>0</c:v>
                </c:pt>
                <c:pt idx="46890">
                  <c:v>0</c:v>
                </c:pt>
                <c:pt idx="46891">
                  <c:v>0</c:v>
                </c:pt>
                <c:pt idx="46892">
                  <c:v>0</c:v>
                </c:pt>
                <c:pt idx="46893">
                  <c:v>0</c:v>
                </c:pt>
                <c:pt idx="46894">
                  <c:v>0</c:v>
                </c:pt>
                <c:pt idx="46895">
                  <c:v>0</c:v>
                </c:pt>
                <c:pt idx="46896">
                  <c:v>0</c:v>
                </c:pt>
                <c:pt idx="46897">
                  <c:v>0</c:v>
                </c:pt>
                <c:pt idx="46898">
                  <c:v>0</c:v>
                </c:pt>
                <c:pt idx="46899">
                  <c:v>0</c:v>
                </c:pt>
                <c:pt idx="46900">
                  <c:v>0</c:v>
                </c:pt>
                <c:pt idx="46901">
                  <c:v>0</c:v>
                </c:pt>
                <c:pt idx="46902">
                  <c:v>0</c:v>
                </c:pt>
                <c:pt idx="46903">
                  <c:v>0</c:v>
                </c:pt>
                <c:pt idx="46904">
                  <c:v>0</c:v>
                </c:pt>
                <c:pt idx="46905">
                  <c:v>0</c:v>
                </c:pt>
                <c:pt idx="46906">
                  <c:v>0</c:v>
                </c:pt>
                <c:pt idx="46907">
                  <c:v>0</c:v>
                </c:pt>
                <c:pt idx="46908">
                  <c:v>0</c:v>
                </c:pt>
                <c:pt idx="46909">
                  <c:v>0</c:v>
                </c:pt>
                <c:pt idx="46910">
                  <c:v>0</c:v>
                </c:pt>
                <c:pt idx="46911">
                  <c:v>0</c:v>
                </c:pt>
                <c:pt idx="46912">
                  <c:v>0</c:v>
                </c:pt>
                <c:pt idx="46913">
                  <c:v>0</c:v>
                </c:pt>
                <c:pt idx="46914">
                  <c:v>0</c:v>
                </c:pt>
                <c:pt idx="46915">
                  <c:v>0</c:v>
                </c:pt>
                <c:pt idx="46916">
                  <c:v>0</c:v>
                </c:pt>
                <c:pt idx="46917">
                  <c:v>0</c:v>
                </c:pt>
                <c:pt idx="46918">
                  <c:v>0</c:v>
                </c:pt>
                <c:pt idx="46919">
                  <c:v>0</c:v>
                </c:pt>
                <c:pt idx="46920">
                  <c:v>0</c:v>
                </c:pt>
                <c:pt idx="46921">
                  <c:v>0</c:v>
                </c:pt>
                <c:pt idx="46922">
                  <c:v>0</c:v>
                </c:pt>
                <c:pt idx="46923">
                  <c:v>0</c:v>
                </c:pt>
                <c:pt idx="46924">
                  <c:v>0</c:v>
                </c:pt>
                <c:pt idx="46925">
                  <c:v>0</c:v>
                </c:pt>
                <c:pt idx="46926">
                  <c:v>0</c:v>
                </c:pt>
                <c:pt idx="46927">
                  <c:v>0</c:v>
                </c:pt>
                <c:pt idx="46928">
                  <c:v>0</c:v>
                </c:pt>
                <c:pt idx="46929">
                  <c:v>0</c:v>
                </c:pt>
                <c:pt idx="46930">
                  <c:v>0</c:v>
                </c:pt>
                <c:pt idx="46931">
                  <c:v>0</c:v>
                </c:pt>
                <c:pt idx="46932">
                  <c:v>0</c:v>
                </c:pt>
                <c:pt idx="46933">
                  <c:v>0</c:v>
                </c:pt>
                <c:pt idx="46934">
                  <c:v>0</c:v>
                </c:pt>
                <c:pt idx="46935">
                  <c:v>0</c:v>
                </c:pt>
                <c:pt idx="46936">
                  <c:v>0</c:v>
                </c:pt>
                <c:pt idx="46937">
                  <c:v>0</c:v>
                </c:pt>
                <c:pt idx="46938">
                  <c:v>0</c:v>
                </c:pt>
                <c:pt idx="46939">
                  <c:v>0</c:v>
                </c:pt>
                <c:pt idx="46940">
                  <c:v>0</c:v>
                </c:pt>
                <c:pt idx="46941">
                  <c:v>0</c:v>
                </c:pt>
                <c:pt idx="46942">
                  <c:v>0</c:v>
                </c:pt>
                <c:pt idx="46943">
                  <c:v>0</c:v>
                </c:pt>
                <c:pt idx="46944">
                  <c:v>-8.4033613445377799E-4</c:v>
                </c:pt>
                <c:pt idx="46945">
                  <c:v>-8.4033613445377799E-4</c:v>
                </c:pt>
                <c:pt idx="46946">
                  <c:v>-8.4033613445377799E-4</c:v>
                </c:pt>
                <c:pt idx="46947">
                  <c:v>-8.4033613445377799E-4</c:v>
                </c:pt>
                <c:pt idx="46948">
                  <c:v>-8.4033613445377799E-4</c:v>
                </c:pt>
                <c:pt idx="46949">
                  <c:v>-8.4033613445377799E-4</c:v>
                </c:pt>
                <c:pt idx="46950">
                  <c:v>-8.4033613445377799E-4</c:v>
                </c:pt>
                <c:pt idx="46951">
                  <c:v>-8.4033613445377799E-4</c:v>
                </c:pt>
                <c:pt idx="46952">
                  <c:v>-8.4033613445377799E-4</c:v>
                </c:pt>
                <c:pt idx="46953">
                  <c:v>-8.4033613445377799E-4</c:v>
                </c:pt>
                <c:pt idx="46954">
                  <c:v>-8.4033613445377799E-4</c:v>
                </c:pt>
                <c:pt idx="46955">
                  <c:v>-8.4033613445377799E-4</c:v>
                </c:pt>
                <c:pt idx="46956">
                  <c:v>-8.4033613445377799E-4</c:v>
                </c:pt>
                <c:pt idx="46957">
                  <c:v>-8.4033613445377799E-4</c:v>
                </c:pt>
                <c:pt idx="46958">
                  <c:v>-8.4033613445377799E-4</c:v>
                </c:pt>
                <c:pt idx="46959">
                  <c:v>-8.4033613445377799E-4</c:v>
                </c:pt>
                <c:pt idx="46960">
                  <c:v>-8.4033613445377799E-4</c:v>
                </c:pt>
                <c:pt idx="46961">
                  <c:v>-8.4033613445377799E-4</c:v>
                </c:pt>
                <c:pt idx="46962">
                  <c:v>-8.4033613445377799E-4</c:v>
                </c:pt>
                <c:pt idx="46963">
                  <c:v>-8.4033613445377799E-4</c:v>
                </c:pt>
                <c:pt idx="46964">
                  <c:v>-8.4033613445377799E-4</c:v>
                </c:pt>
                <c:pt idx="46965">
                  <c:v>-8.4033613445377799E-4</c:v>
                </c:pt>
                <c:pt idx="46966">
                  <c:v>-8.4033613445377799E-4</c:v>
                </c:pt>
                <c:pt idx="46967">
                  <c:v>-8.4033613445377799E-4</c:v>
                </c:pt>
                <c:pt idx="46968">
                  <c:v>-8.4033613445377799E-4</c:v>
                </c:pt>
                <c:pt idx="46969">
                  <c:v>-8.4033613445377799E-4</c:v>
                </c:pt>
                <c:pt idx="46970">
                  <c:v>-8.4033613445377799E-4</c:v>
                </c:pt>
                <c:pt idx="46971">
                  <c:v>-8.4033613445377799E-4</c:v>
                </c:pt>
                <c:pt idx="46972">
                  <c:v>0</c:v>
                </c:pt>
                <c:pt idx="46973">
                  <c:v>0</c:v>
                </c:pt>
                <c:pt idx="46974">
                  <c:v>0</c:v>
                </c:pt>
                <c:pt idx="46975">
                  <c:v>0</c:v>
                </c:pt>
                <c:pt idx="46976">
                  <c:v>0</c:v>
                </c:pt>
                <c:pt idx="46977">
                  <c:v>-8.4033613445377799E-4</c:v>
                </c:pt>
                <c:pt idx="46978">
                  <c:v>-8.4033613445377799E-4</c:v>
                </c:pt>
                <c:pt idx="46979">
                  <c:v>-8.4033613445377799E-4</c:v>
                </c:pt>
                <c:pt idx="46980">
                  <c:v>-8.4033613445377799E-4</c:v>
                </c:pt>
                <c:pt idx="46981">
                  <c:v>-8.4033613445377799E-4</c:v>
                </c:pt>
                <c:pt idx="46982">
                  <c:v>-8.4033613445377799E-4</c:v>
                </c:pt>
                <c:pt idx="46983">
                  <c:v>-8.4033613445377799E-4</c:v>
                </c:pt>
                <c:pt idx="46984">
                  <c:v>-1.6806722689075499E-3</c:v>
                </c:pt>
                <c:pt idx="46985">
                  <c:v>-1.6806722689075499E-3</c:v>
                </c:pt>
                <c:pt idx="46986">
                  <c:v>-1.6806722689075499E-3</c:v>
                </c:pt>
                <c:pt idx="46987">
                  <c:v>-1.6806722689075499E-3</c:v>
                </c:pt>
                <c:pt idx="46988">
                  <c:v>-1.6806722689075499E-3</c:v>
                </c:pt>
                <c:pt idx="46989">
                  <c:v>-1.6806722689075499E-3</c:v>
                </c:pt>
                <c:pt idx="46990">
                  <c:v>-1.6806722689075499E-3</c:v>
                </c:pt>
                <c:pt idx="46991">
                  <c:v>-1.6806722689075499E-3</c:v>
                </c:pt>
                <c:pt idx="46992">
                  <c:v>-1.6806722689075499E-3</c:v>
                </c:pt>
                <c:pt idx="46993">
                  <c:v>-1.6806722689075499E-3</c:v>
                </c:pt>
                <c:pt idx="46994">
                  <c:v>-1.6806722689075499E-3</c:v>
                </c:pt>
                <c:pt idx="46995">
                  <c:v>-1.6806722689075499E-3</c:v>
                </c:pt>
                <c:pt idx="46996">
                  <c:v>-1.6806722689075499E-3</c:v>
                </c:pt>
                <c:pt idx="46997">
                  <c:v>-1.6806722689075499E-3</c:v>
                </c:pt>
                <c:pt idx="46998">
                  <c:v>-1.6806722689075499E-3</c:v>
                </c:pt>
                <c:pt idx="46999">
                  <c:v>-1.6806722689075499E-3</c:v>
                </c:pt>
                <c:pt idx="47000">
                  <c:v>-1.6806722689075499E-3</c:v>
                </c:pt>
                <c:pt idx="47001">
                  <c:v>-1.6806722689075499E-3</c:v>
                </c:pt>
                <c:pt idx="47002">
                  <c:v>-1.6806722689075499E-3</c:v>
                </c:pt>
                <c:pt idx="47003">
                  <c:v>-1.6806722689075499E-3</c:v>
                </c:pt>
                <c:pt idx="47004">
                  <c:v>-1.6806722689075499E-3</c:v>
                </c:pt>
                <c:pt idx="47005">
                  <c:v>-1.6806722689075499E-3</c:v>
                </c:pt>
                <c:pt idx="47006">
                  <c:v>-1.6806722689075499E-3</c:v>
                </c:pt>
                <c:pt idx="47007">
                  <c:v>-1.6806722689075499E-3</c:v>
                </c:pt>
                <c:pt idx="47008">
                  <c:v>-1.6806722689075499E-3</c:v>
                </c:pt>
                <c:pt idx="47009">
                  <c:v>-1.6806722689075499E-3</c:v>
                </c:pt>
                <c:pt idx="47010">
                  <c:v>-1.6806722689075499E-3</c:v>
                </c:pt>
                <c:pt idx="47011">
                  <c:v>-1.6806722689075499E-3</c:v>
                </c:pt>
                <c:pt idx="47012">
                  <c:v>-1.6806722689075499E-3</c:v>
                </c:pt>
                <c:pt idx="47013">
                  <c:v>-1.6806722689075499E-3</c:v>
                </c:pt>
                <c:pt idx="47014">
                  <c:v>-1.6806722689075499E-3</c:v>
                </c:pt>
                <c:pt idx="47015">
                  <c:v>-1.6806722689075499E-3</c:v>
                </c:pt>
                <c:pt idx="47016">
                  <c:v>-1.6806722689075499E-3</c:v>
                </c:pt>
                <c:pt idx="47017">
                  <c:v>-1.6806722689075499E-3</c:v>
                </c:pt>
                <c:pt idx="47018">
                  <c:v>-1.6806722689075499E-3</c:v>
                </c:pt>
                <c:pt idx="47019">
                  <c:v>-1.6806722689075499E-3</c:v>
                </c:pt>
                <c:pt idx="47020">
                  <c:v>-1.6806722689075499E-3</c:v>
                </c:pt>
                <c:pt idx="47021">
                  <c:v>-1.6806722689075499E-3</c:v>
                </c:pt>
                <c:pt idx="47022">
                  <c:v>-1.6806722689075499E-3</c:v>
                </c:pt>
                <c:pt idx="47023">
                  <c:v>-1.6806722689075499E-3</c:v>
                </c:pt>
                <c:pt idx="47024">
                  <c:v>-1.6806722689075499E-3</c:v>
                </c:pt>
                <c:pt idx="47025">
                  <c:v>-1.6806722689075499E-3</c:v>
                </c:pt>
                <c:pt idx="47026">
                  <c:v>-1.6806722689075499E-3</c:v>
                </c:pt>
                <c:pt idx="47027">
                  <c:v>-1.6806722689075499E-3</c:v>
                </c:pt>
                <c:pt idx="47028">
                  <c:v>-1.6806722689075499E-3</c:v>
                </c:pt>
                <c:pt idx="47029">
                  <c:v>-1.6806722689075499E-3</c:v>
                </c:pt>
                <c:pt idx="47030">
                  <c:v>-1.6806722689075499E-3</c:v>
                </c:pt>
                <c:pt idx="47031">
                  <c:v>-1.6806722689075499E-3</c:v>
                </c:pt>
                <c:pt idx="47032">
                  <c:v>-8.4033613445377799E-4</c:v>
                </c:pt>
                <c:pt idx="47033">
                  <c:v>-8.4033613445377799E-4</c:v>
                </c:pt>
                <c:pt idx="47034">
                  <c:v>-8.4033613445377799E-4</c:v>
                </c:pt>
                <c:pt idx="47035">
                  <c:v>-8.4033613445377799E-4</c:v>
                </c:pt>
                <c:pt idx="47036">
                  <c:v>-8.4033613445377799E-4</c:v>
                </c:pt>
                <c:pt idx="47037">
                  <c:v>-8.4033613445377799E-4</c:v>
                </c:pt>
                <c:pt idx="47038">
                  <c:v>-8.4033613445377799E-4</c:v>
                </c:pt>
                <c:pt idx="47039">
                  <c:v>-8.4033613445377799E-4</c:v>
                </c:pt>
                <c:pt idx="47040">
                  <c:v>-8.4033613445377799E-4</c:v>
                </c:pt>
                <c:pt idx="47041">
                  <c:v>-8.4033613445377799E-4</c:v>
                </c:pt>
                <c:pt idx="47042">
                  <c:v>-8.4033613445377799E-4</c:v>
                </c:pt>
                <c:pt idx="47043">
                  <c:v>-8.4033613445377799E-4</c:v>
                </c:pt>
                <c:pt idx="47044">
                  <c:v>-8.4033613445377799E-4</c:v>
                </c:pt>
                <c:pt idx="47045">
                  <c:v>-8.4033613445377799E-4</c:v>
                </c:pt>
                <c:pt idx="47046">
                  <c:v>-8.4033613445377799E-4</c:v>
                </c:pt>
                <c:pt idx="47047">
                  <c:v>-8.4033613445377799E-4</c:v>
                </c:pt>
                <c:pt idx="47048">
                  <c:v>-8.4033613445377799E-4</c:v>
                </c:pt>
                <c:pt idx="47049">
                  <c:v>-8.4033613445377799E-4</c:v>
                </c:pt>
                <c:pt idx="47050">
                  <c:v>-8.4033613445377799E-4</c:v>
                </c:pt>
                <c:pt idx="47051">
                  <c:v>-8.4033613445377799E-4</c:v>
                </c:pt>
                <c:pt idx="47052">
                  <c:v>-8.4033613445377799E-4</c:v>
                </c:pt>
                <c:pt idx="47053">
                  <c:v>-8.4033613445377799E-4</c:v>
                </c:pt>
                <c:pt idx="47054">
                  <c:v>-8.4033613445377799E-4</c:v>
                </c:pt>
                <c:pt idx="47055">
                  <c:v>-8.4033613445377799E-4</c:v>
                </c:pt>
                <c:pt idx="47056">
                  <c:v>-8.4033613445377799E-4</c:v>
                </c:pt>
                <c:pt idx="47057">
                  <c:v>-8.4033613445377799E-4</c:v>
                </c:pt>
                <c:pt idx="47058">
                  <c:v>-8.4033613445377799E-4</c:v>
                </c:pt>
                <c:pt idx="47059">
                  <c:v>-8.4033613445377799E-4</c:v>
                </c:pt>
                <c:pt idx="47060">
                  <c:v>-8.4033613445377799E-4</c:v>
                </c:pt>
                <c:pt idx="47061">
                  <c:v>-8.4033613445377799E-4</c:v>
                </c:pt>
                <c:pt idx="47062">
                  <c:v>-8.4033613445377799E-4</c:v>
                </c:pt>
                <c:pt idx="47063">
                  <c:v>-8.4033613445377799E-4</c:v>
                </c:pt>
                <c:pt idx="47064">
                  <c:v>-8.4033613445377799E-4</c:v>
                </c:pt>
                <c:pt idx="47065">
                  <c:v>-8.4033613445377799E-4</c:v>
                </c:pt>
                <c:pt idx="47066">
                  <c:v>-8.4033613445377799E-4</c:v>
                </c:pt>
                <c:pt idx="47067">
                  <c:v>-8.4033613445377799E-4</c:v>
                </c:pt>
                <c:pt idx="47068">
                  <c:v>-8.4033613445377799E-4</c:v>
                </c:pt>
                <c:pt idx="47069">
                  <c:v>-8.4033613445377799E-4</c:v>
                </c:pt>
                <c:pt idx="47070">
                  <c:v>-8.4033613445377799E-4</c:v>
                </c:pt>
                <c:pt idx="47071">
                  <c:v>-8.4033613445377799E-4</c:v>
                </c:pt>
                <c:pt idx="47072">
                  <c:v>-8.4033613445377799E-4</c:v>
                </c:pt>
                <c:pt idx="47073">
                  <c:v>-8.4033613445377799E-4</c:v>
                </c:pt>
                <c:pt idx="47074">
                  <c:v>-8.4033613445377799E-4</c:v>
                </c:pt>
                <c:pt idx="47075">
                  <c:v>-8.4033613445377799E-4</c:v>
                </c:pt>
                <c:pt idx="47076">
                  <c:v>-8.4033613445377799E-4</c:v>
                </c:pt>
                <c:pt idx="47077">
                  <c:v>-8.4033613445377799E-4</c:v>
                </c:pt>
                <c:pt idx="47078">
                  <c:v>-8.4033613445377799E-4</c:v>
                </c:pt>
                <c:pt idx="47079">
                  <c:v>-8.4033613445377799E-4</c:v>
                </c:pt>
                <c:pt idx="47080">
                  <c:v>-8.4033613445377799E-4</c:v>
                </c:pt>
                <c:pt idx="47081">
                  <c:v>-8.4033613445377799E-4</c:v>
                </c:pt>
                <c:pt idx="47082">
                  <c:v>-8.4033613445377799E-4</c:v>
                </c:pt>
                <c:pt idx="47083">
                  <c:v>-8.4033613445377799E-4</c:v>
                </c:pt>
                <c:pt idx="47084">
                  <c:v>-8.4033613445377799E-4</c:v>
                </c:pt>
                <c:pt idx="47085">
                  <c:v>-8.4033613445377799E-4</c:v>
                </c:pt>
                <c:pt idx="47086">
                  <c:v>-8.4033613445377799E-4</c:v>
                </c:pt>
                <c:pt idx="47087">
                  <c:v>-8.4033613445377799E-4</c:v>
                </c:pt>
                <c:pt idx="47088">
                  <c:v>-8.4033613445377799E-4</c:v>
                </c:pt>
                <c:pt idx="47089">
                  <c:v>-8.4033613445377799E-4</c:v>
                </c:pt>
                <c:pt idx="47090">
                  <c:v>-8.4033613445377799E-4</c:v>
                </c:pt>
                <c:pt idx="47091">
                  <c:v>-8.4033613445377799E-4</c:v>
                </c:pt>
                <c:pt idx="47092">
                  <c:v>-8.4033613445377799E-4</c:v>
                </c:pt>
                <c:pt idx="47093">
                  <c:v>-8.4033613445377799E-4</c:v>
                </c:pt>
                <c:pt idx="47094">
                  <c:v>-8.4033613445377799E-4</c:v>
                </c:pt>
                <c:pt idx="47095">
                  <c:v>-8.4033613445377799E-4</c:v>
                </c:pt>
                <c:pt idx="47096">
                  <c:v>-8.4033613445377799E-4</c:v>
                </c:pt>
                <c:pt idx="47097">
                  <c:v>-8.4033613445377799E-4</c:v>
                </c:pt>
                <c:pt idx="47098">
                  <c:v>-8.4033613445377799E-4</c:v>
                </c:pt>
                <c:pt idx="47099">
                  <c:v>-8.4033613445377799E-4</c:v>
                </c:pt>
                <c:pt idx="47100">
                  <c:v>-8.4033613445377799E-4</c:v>
                </c:pt>
                <c:pt idx="47101">
                  <c:v>-8.4033613445377799E-4</c:v>
                </c:pt>
                <c:pt idx="47102">
                  <c:v>-8.4033613445377799E-4</c:v>
                </c:pt>
                <c:pt idx="47103">
                  <c:v>-8.4033613445377799E-4</c:v>
                </c:pt>
                <c:pt idx="47104">
                  <c:v>-8.4033613445377799E-4</c:v>
                </c:pt>
                <c:pt idx="47105">
                  <c:v>-8.4033613445377799E-4</c:v>
                </c:pt>
                <c:pt idx="47106">
                  <c:v>-8.4033613445377799E-4</c:v>
                </c:pt>
                <c:pt idx="47107">
                  <c:v>-8.4033613445377799E-4</c:v>
                </c:pt>
                <c:pt idx="47108">
                  <c:v>-8.4033613445377799E-4</c:v>
                </c:pt>
                <c:pt idx="47109">
                  <c:v>-8.4033613445377799E-4</c:v>
                </c:pt>
                <c:pt idx="47110">
                  <c:v>-8.4033613445377799E-4</c:v>
                </c:pt>
                <c:pt idx="47111">
                  <c:v>-8.4033613445377799E-4</c:v>
                </c:pt>
                <c:pt idx="47112">
                  <c:v>-8.4033613445377799E-4</c:v>
                </c:pt>
                <c:pt idx="47113">
                  <c:v>-8.4033613445377799E-4</c:v>
                </c:pt>
                <c:pt idx="47114">
                  <c:v>-8.4033613445377799E-4</c:v>
                </c:pt>
                <c:pt idx="47115">
                  <c:v>-8.4033613445377799E-4</c:v>
                </c:pt>
                <c:pt idx="47116">
                  <c:v>-8.4033613445377799E-4</c:v>
                </c:pt>
                <c:pt idx="47117">
                  <c:v>-8.4033613445377799E-4</c:v>
                </c:pt>
                <c:pt idx="47118">
                  <c:v>-8.4033613445377799E-4</c:v>
                </c:pt>
                <c:pt idx="47119">
                  <c:v>-8.4033613445377799E-4</c:v>
                </c:pt>
                <c:pt idx="47120">
                  <c:v>-8.4033613445377799E-4</c:v>
                </c:pt>
                <c:pt idx="47121">
                  <c:v>-8.4033613445377799E-4</c:v>
                </c:pt>
                <c:pt idx="47122">
                  <c:v>-8.4033613445377799E-4</c:v>
                </c:pt>
                <c:pt idx="47123">
                  <c:v>-8.4033613445377799E-4</c:v>
                </c:pt>
                <c:pt idx="47124">
                  <c:v>-8.4033613445377799E-4</c:v>
                </c:pt>
                <c:pt idx="47125">
                  <c:v>-8.4033613445377799E-4</c:v>
                </c:pt>
                <c:pt idx="47126">
                  <c:v>-8.4033613445377799E-4</c:v>
                </c:pt>
                <c:pt idx="47127">
                  <c:v>-8.4033613445377799E-4</c:v>
                </c:pt>
                <c:pt idx="47128">
                  <c:v>-8.4033613445377799E-4</c:v>
                </c:pt>
                <c:pt idx="47129">
                  <c:v>-8.4033613445377799E-4</c:v>
                </c:pt>
                <c:pt idx="47130">
                  <c:v>-8.4033613445377799E-4</c:v>
                </c:pt>
                <c:pt idx="47131">
                  <c:v>-8.4033613445377799E-4</c:v>
                </c:pt>
                <c:pt idx="47132">
                  <c:v>-8.4033613445377799E-4</c:v>
                </c:pt>
                <c:pt idx="47133">
                  <c:v>-8.4033613445377799E-4</c:v>
                </c:pt>
                <c:pt idx="47134">
                  <c:v>-8.4033613445377799E-4</c:v>
                </c:pt>
                <c:pt idx="47135">
                  <c:v>-8.4033613445377799E-4</c:v>
                </c:pt>
                <c:pt idx="47136">
                  <c:v>-8.4033613445377799E-4</c:v>
                </c:pt>
                <c:pt idx="47137">
                  <c:v>-8.4033613445377799E-4</c:v>
                </c:pt>
                <c:pt idx="47138">
                  <c:v>-8.4033613445377799E-4</c:v>
                </c:pt>
                <c:pt idx="47139">
                  <c:v>-8.4033613445377799E-4</c:v>
                </c:pt>
                <c:pt idx="47140">
                  <c:v>-8.4033613445377799E-4</c:v>
                </c:pt>
                <c:pt idx="47141">
                  <c:v>-8.4033613445377799E-4</c:v>
                </c:pt>
                <c:pt idx="47142">
                  <c:v>-8.4033613445377799E-4</c:v>
                </c:pt>
                <c:pt idx="47143">
                  <c:v>-8.4033613445377799E-4</c:v>
                </c:pt>
                <c:pt idx="47144">
                  <c:v>-8.4033613445377799E-4</c:v>
                </c:pt>
                <c:pt idx="47145">
                  <c:v>-8.4033613445377799E-4</c:v>
                </c:pt>
                <c:pt idx="47146">
                  <c:v>-8.4033613445377799E-4</c:v>
                </c:pt>
                <c:pt idx="47147">
                  <c:v>-8.4033613445377799E-4</c:v>
                </c:pt>
                <c:pt idx="47148">
                  <c:v>-8.4033613445377799E-4</c:v>
                </c:pt>
                <c:pt idx="47149">
                  <c:v>-8.4033613445377799E-4</c:v>
                </c:pt>
                <c:pt idx="47150">
                  <c:v>-8.4033613445377799E-4</c:v>
                </c:pt>
                <c:pt idx="47151">
                  <c:v>-8.4033613445377799E-4</c:v>
                </c:pt>
                <c:pt idx="47152">
                  <c:v>-8.4033613445377799E-4</c:v>
                </c:pt>
                <c:pt idx="47153">
                  <c:v>-8.4033613445377799E-4</c:v>
                </c:pt>
                <c:pt idx="47154">
                  <c:v>-8.4033613445377799E-4</c:v>
                </c:pt>
                <c:pt idx="47155">
                  <c:v>-8.4033613445377799E-4</c:v>
                </c:pt>
                <c:pt idx="47156">
                  <c:v>-8.4033613445377799E-4</c:v>
                </c:pt>
                <c:pt idx="47157">
                  <c:v>-8.4033613445377799E-4</c:v>
                </c:pt>
                <c:pt idx="47158">
                  <c:v>-8.4033613445377799E-4</c:v>
                </c:pt>
                <c:pt idx="47159">
                  <c:v>-8.4033613445377799E-4</c:v>
                </c:pt>
                <c:pt idx="47160">
                  <c:v>-8.4033613445377799E-4</c:v>
                </c:pt>
                <c:pt idx="47161">
                  <c:v>-8.4033613445377799E-4</c:v>
                </c:pt>
                <c:pt idx="47162">
                  <c:v>-8.4033613445377799E-4</c:v>
                </c:pt>
                <c:pt idx="47163">
                  <c:v>-8.4033613445377799E-4</c:v>
                </c:pt>
                <c:pt idx="47164">
                  <c:v>-8.4033613445377799E-4</c:v>
                </c:pt>
                <c:pt idx="47165">
                  <c:v>-8.4033613445377799E-4</c:v>
                </c:pt>
                <c:pt idx="47166">
                  <c:v>-8.4033613445377799E-4</c:v>
                </c:pt>
                <c:pt idx="47167">
                  <c:v>-8.4033613445377799E-4</c:v>
                </c:pt>
                <c:pt idx="47168">
                  <c:v>-8.4033613445377799E-4</c:v>
                </c:pt>
                <c:pt idx="47169">
                  <c:v>-8.4033613445377799E-4</c:v>
                </c:pt>
                <c:pt idx="47170">
                  <c:v>-8.4033613445377799E-4</c:v>
                </c:pt>
                <c:pt idx="47171">
                  <c:v>-8.4033613445377799E-4</c:v>
                </c:pt>
                <c:pt idx="47172">
                  <c:v>-8.4033613445377799E-4</c:v>
                </c:pt>
                <c:pt idx="47173">
                  <c:v>-8.4033613445377799E-4</c:v>
                </c:pt>
                <c:pt idx="47174">
                  <c:v>-8.4033613445377799E-4</c:v>
                </c:pt>
                <c:pt idx="47175">
                  <c:v>-8.4033613445377799E-4</c:v>
                </c:pt>
                <c:pt idx="47176">
                  <c:v>-8.4033613445377799E-4</c:v>
                </c:pt>
                <c:pt idx="47177">
                  <c:v>-8.4033613445377799E-4</c:v>
                </c:pt>
                <c:pt idx="47178">
                  <c:v>-8.4033613445377799E-4</c:v>
                </c:pt>
                <c:pt idx="47179">
                  <c:v>-8.4033613445377799E-4</c:v>
                </c:pt>
                <c:pt idx="47180">
                  <c:v>-8.4033613445377799E-4</c:v>
                </c:pt>
                <c:pt idx="47181">
                  <c:v>-8.4033613445377799E-4</c:v>
                </c:pt>
                <c:pt idx="47182">
                  <c:v>-8.4033613445377799E-4</c:v>
                </c:pt>
                <c:pt idx="47183">
                  <c:v>-8.4033613445377799E-4</c:v>
                </c:pt>
                <c:pt idx="47184">
                  <c:v>-8.4033613445377799E-4</c:v>
                </c:pt>
                <c:pt idx="47185">
                  <c:v>-8.4033613445377799E-4</c:v>
                </c:pt>
                <c:pt idx="47186">
                  <c:v>-8.4033613445377799E-4</c:v>
                </c:pt>
                <c:pt idx="47187">
                  <c:v>-8.4033613445377799E-4</c:v>
                </c:pt>
                <c:pt idx="47188">
                  <c:v>-8.4033613445377799E-4</c:v>
                </c:pt>
                <c:pt idx="47189">
                  <c:v>-8.4033613445377799E-4</c:v>
                </c:pt>
                <c:pt idx="47190">
                  <c:v>-8.4033613445377799E-4</c:v>
                </c:pt>
                <c:pt idx="47191">
                  <c:v>-8.4033613445377799E-4</c:v>
                </c:pt>
                <c:pt idx="47192">
                  <c:v>-8.4033613445377799E-4</c:v>
                </c:pt>
                <c:pt idx="47193">
                  <c:v>-8.4033613445377799E-4</c:v>
                </c:pt>
                <c:pt idx="47194">
                  <c:v>-8.4033613445377799E-4</c:v>
                </c:pt>
                <c:pt idx="47195">
                  <c:v>-8.4033613445377799E-4</c:v>
                </c:pt>
                <c:pt idx="47196">
                  <c:v>-8.4033613445377799E-4</c:v>
                </c:pt>
                <c:pt idx="47197">
                  <c:v>-8.4033613445377799E-4</c:v>
                </c:pt>
                <c:pt idx="47198">
                  <c:v>-8.4033613445377799E-4</c:v>
                </c:pt>
                <c:pt idx="47199">
                  <c:v>-8.4033613445377799E-4</c:v>
                </c:pt>
                <c:pt idx="47200">
                  <c:v>-8.4033613445377799E-4</c:v>
                </c:pt>
                <c:pt idx="47201">
                  <c:v>-8.4033613445377799E-4</c:v>
                </c:pt>
                <c:pt idx="47202">
                  <c:v>-8.4033613445377799E-4</c:v>
                </c:pt>
                <c:pt idx="47203">
                  <c:v>-8.4033613445377799E-4</c:v>
                </c:pt>
                <c:pt idx="47204">
                  <c:v>-8.4033613445377799E-4</c:v>
                </c:pt>
                <c:pt idx="47205">
                  <c:v>-8.4033613445377799E-4</c:v>
                </c:pt>
                <c:pt idx="47206">
                  <c:v>-8.4033613445377799E-4</c:v>
                </c:pt>
                <c:pt idx="47207">
                  <c:v>-8.4033613445377799E-4</c:v>
                </c:pt>
                <c:pt idx="47208">
                  <c:v>-8.4033613445377799E-4</c:v>
                </c:pt>
                <c:pt idx="47209">
                  <c:v>-8.4033613445377799E-4</c:v>
                </c:pt>
                <c:pt idx="47210">
                  <c:v>-8.4033613445377799E-4</c:v>
                </c:pt>
                <c:pt idx="47211">
                  <c:v>-8.4033613445377799E-4</c:v>
                </c:pt>
                <c:pt idx="47212">
                  <c:v>-8.4033613445377799E-4</c:v>
                </c:pt>
                <c:pt idx="47213">
                  <c:v>-8.4033613445377799E-4</c:v>
                </c:pt>
                <c:pt idx="47214">
                  <c:v>-8.4033613445377799E-4</c:v>
                </c:pt>
                <c:pt idx="47215">
                  <c:v>-8.4033613445377799E-4</c:v>
                </c:pt>
                <c:pt idx="47216">
                  <c:v>-8.4033613445377799E-4</c:v>
                </c:pt>
                <c:pt idx="47217">
                  <c:v>-8.4033613445377799E-4</c:v>
                </c:pt>
                <c:pt idx="47218">
                  <c:v>-8.4033613445377799E-4</c:v>
                </c:pt>
                <c:pt idx="47219">
                  <c:v>-8.4033613445377799E-4</c:v>
                </c:pt>
                <c:pt idx="47220">
                  <c:v>-8.4033613445377799E-4</c:v>
                </c:pt>
                <c:pt idx="47221">
                  <c:v>-8.4033613445377799E-4</c:v>
                </c:pt>
                <c:pt idx="47222">
                  <c:v>-8.4033613445377799E-4</c:v>
                </c:pt>
                <c:pt idx="47223">
                  <c:v>-8.4033613445377799E-4</c:v>
                </c:pt>
                <c:pt idx="47224">
                  <c:v>-8.4033613445377799E-4</c:v>
                </c:pt>
                <c:pt idx="47225">
                  <c:v>-8.4033613445377799E-4</c:v>
                </c:pt>
                <c:pt idx="47226">
                  <c:v>-8.4033613445377799E-4</c:v>
                </c:pt>
                <c:pt idx="47227">
                  <c:v>-8.4033613445377799E-4</c:v>
                </c:pt>
                <c:pt idx="47228">
                  <c:v>-8.4033613445377799E-4</c:v>
                </c:pt>
                <c:pt idx="47229">
                  <c:v>-8.4033613445377799E-4</c:v>
                </c:pt>
                <c:pt idx="47230">
                  <c:v>-8.4033613445377799E-4</c:v>
                </c:pt>
                <c:pt idx="47231">
                  <c:v>-8.4033613445377799E-4</c:v>
                </c:pt>
                <c:pt idx="47232">
                  <c:v>-8.4033613445377799E-4</c:v>
                </c:pt>
                <c:pt idx="47233">
                  <c:v>-8.4033613445377799E-4</c:v>
                </c:pt>
                <c:pt idx="47234">
                  <c:v>-8.4033613445377799E-4</c:v>
                </c:pt>
                <c:pt idx="47235">
                  <c:v>-8.4033613445377799E-4</c:v>
                </c:pt>
                <c:pt idx="47236">
                  <c:v>-8.4033613445377799E-4</c:v>
                </c:pt>
                <c:pt idx="47237">
                  <c:v>-8.4033613445377799E-4</c:v>
                </c:pt>
                <c:pt idx="47238">
                  <c:v>-8.4033613445377799E-4</c:v>
                </c:pt>
                <c:pt idx="47239">
                  <c:v>-8.4033613445377799E-4</c:v>
                </c:pt>
                <c:pt idx="47240">
                  <c:v>-8.4033613445377799E-4</c:v>
                </c:pt>
                <c:pt idx="47241">
                  <c:v>-8.4033613445377799E-4</c:v>
                </c:pt>
                <c:pt idx="47242">
                  <c:v>-8.4033613445377799E-4</c:v>
                </c:pt>
                <c:pt idx="47243">
                  <c:v>-8.4033613445377799E-4</c:v>
                </c:pt>
                <c:pt idx="47244">
                  <c:v>-8.4033613445377799E-4</c:v>
                </c:pt>
                <c:pt idx="47245">
                  <c:v>-8.4033613445377799E-4</c:v>
                </c:pt>
                <c:pt idx="47246">
                  <c:v>-8.4033613445377799E-4</c:v>
                </c:pt>
                <c:pt idx="47247">
                  <c:v>-8.4033613445377799E-4</c:v>
                </c:pt>
                <c:pt idx="47248">
                  <c:v>-8.4033613445377799E-4</c:v>
                </c:pt>
                <c:pt idx="47249">
                  <c:v>-8.4033613445377799E-4</c:v>
                </c:pt>
                <c:pt idx="47250">
                  <c:v>-8.4033613445377799E-4</c:v>
                </c:pt>
                <c:pt idx="47251">
                  <c:v>-8.4033613445377799E-4</c:v>
                </c:pt>
                <c:pt idx="47252">
                  <c:v>-8.4033613445377799E-4</c:v>
                </c:pt>
                <c:pt idx="47253">
                  <c:v>-8.4033613445377799E-4</c:v>
                </c:pt>
                <c:pt idx="47254">
                  <c:v>-8.4033613445377799E-4</c:v>
                </c:pt>
                <c:pt idx="47255">
                  <c:v>-8.4033613445377799E-4</c:v>
                </c:pt>
                <c:pt idx="47256">
                  <c:v>-8.4033613445377799E-4</c:v>
                </c:pt>
                <c:pt idx="47257">
                  <c:v>-8.4033613445377799E-4</c:v>
                </c:pt>
                <c:pt idx="47258">
                  <c:v>-8.4033613445377799E-4</c:v>
                </c:pt>
                <c:pt idx="47259">
                  <c:v>-8.4033613445377799E-4</c:v>
                </c:pt>
                <c:pt idx="47260">
                  <c:v>-8.4033613445377799E-4</c:v>
                </c:pt>
                <c:pt idx="47261">
                  <c:v>-8.4033613445377799E-4</c:v>
                </c:pt>
                <c:pt idx="47262">
                  <c:v>-8.4033613445377799E-4</c:v>
                </c:pt>
                <c:pt idx="47263">
                  <c:v>-8.4033613445377799E-4</c:v>
                </c:pt>
                <c:pt idx="47264">
                  <c:v>-8.4033613445377799E-4</c:v>
                </c:pt>
                <c:pt idx="47265">
                  <c:v>-8.4033613445377799E-4</c:v>
                </c:pt>
                <c:pt idx="47266">
                  <c:v>-8.4033613445377799E-4</c:v>
                </c:pt>
                <c:pt idx="47267">
                  <c:v>-8.4033613445377799E-4</c:v>
                </c:pt>
                <c:pt idx="47268">
                  <c:v>-8.4033613445377799E-4</c:v>
                </c:pt>
                <c:pt idx="47269">
                  <c:v>-8.4033613445377799E-4</c:v>
                </c:pt>
                <c:pt idx="47270">
                  <c:v>-8.4033613445377799E-4</c:v>
                </c:pt>
                <c:pt idx="47271">
                  <c:v>-8.4033613445377799E-4</c:v>
                </c:pt>
                <c:pt idx="47272">
                  <c:v>-8.4033613445377799E-4</c:v>
                </c:pt>
                <c:pt idx="47273">
                  <c:v>-8.4033613445377799E-4</c:v>
                </c:pt>
                <c:pt idx="47274">
                  <c:v>-8.4033613445377799E-4</c:v>
                </c:pt>
                <c:pt idx="47275">
                  <c:v>-8.4033613445377799E-4</c:v>
                </c:pt>
                <c:pt idx="47276">
                  <c:v>-8.4033613445377799E-4</c:v>
                </c:pt>
                <c:pt idx="47277">
                  <c:v>-8.4033613445377799E-4</c:v>
                </c:pt>
                <c:pt idx="47278">
                  <c:v>-8.4033613445377799E-4</c:v>
                </c:pt>
                <c:pt idx="47279">
                  <c:v>-8.4033613445377799E-4</c:v>
                </c:pt>
                <c:pt idx="47280">
                  <c:v>-8.4033613445377799E-4</c:v>
                </c:pt>
                <c:pt idx="47281">
                  <c:v>-8.4033613445377799E-4</c:v>
                </c:pt>
                <c:pt idx="47282">
                  <c:v>-8.4033613445377799E-4</c:v>
                </c:pt>
                <c:pt idx="47283">
                  <c:v>-8.4033613445377799E-4</c:v>
                </c:pt>
                <c:pt idx="47284">
                  <c:v>-8.4033613445377799E-4</c:v>
                </c:pt>
                <c:pt idx="47285">
                  <c:v>-8.4033613445377799E-4</c:v>
                </c:pt>
                <c:pt idx="47286">
                  <c:v>-8.4033613445377799E-4</c:v>
                </c:pt>
                <c:pt idx="47287">
                  <c:v>-8.4033613445377799E-4</c:v>
                </c:pt>
                <c:pt idx="47288">
                  <c:v>-8.4033613445377799E-4</c:v>
                </c:pt>
                <c:pt idx="47289">
                  <c:v>-8.4033613445377799E-4</c:v>
                </c:pt>
                <c:pt idx="47290">
                  <c:v>-8.4033613445377799E-4</c:v>
                </c:pt>
                <c:pt idx="47291">
                  <c:v>-8.4033613445377799E-4</c:v>
                </c:pt>
                <c:pt idx="47292">
                  <c:v>-8.4033613445377799E-4</c:v>
                </c:pt>
                <c:pt idx="47293">
                  <c:v>-8.4033613445377799E-4</c:v>
                </c:pt>
                <c:pt idx="47294">
                  <c:v>-8.4033613445377799E-4</c:v>
                </c:pt>
                <c:pt idx="47295">
                  <c:v>-8.4033613445377799E-4</c:v>
                </c:pt>
                <c:pt idx="47296">
                  <c:v>-8.4033613445377799E-4</c:v>
                </c:pt>
                <c:pt idx="47297">
                  <c:v>-8.4033613445377799E-4</c:v>
                </c:pt>
                <c:pt idx="47298">
                  <c:v>-8.4033613445377799E-4</c:v>
                </c:pt>
                <c:pt idx="47299">
                  <c:v>-8.4033613445377799E-4</c:v>
                </c:pt>
                <c:pt idx="47300">
                  <c:v>-8.4033613445377799E-4</c:v>
                </c:pt>
                <c:pt idx="47301">
                  <c:v>-8.4033613445377799E-4</c:v>
                </c:pt>
                <c:pt idx="47302">
                  <c:v>-8.4033613445377799E-4</c:v>
                </c:pt>
                <c:pt idx="47303">
                  <c:v>-8.4033613445377799E-4</c:v>
                </c:pt>
                <c:pt idx="47304">
                  <c:v>-8.4033613445377799E-4</c:v>
                </c:pt>
                <c:pt idx="47305">
                  <c:v>-8.4033613445377799E-4</c:v>
                </c:pt>
                <c:pt idx="47306">
                  <c:v>-8.4033613445377799E-4</c:v>
                </c:pt>
                <c:pt idx="47307">
                  <c:v>-8.4033613445377799E-4</c:v>
                </c:pt>
                <c:pt idx="47308">
                  <c:v>-8.4033613445377799E-4</c:v>
                </c:pt>
                <c:pt idx="47309">
                  <c:v>-8.4033613445377799E-4</c:v>
                </c:pt>
                <c:pt idx="47310">
                  <c:v>-8.4033613445377799E-4</c:v>
                </c:pt>
                <c:pt idx="47311">
                  <c:v>-8.4033613445377799E-4</c:v>
                </c:pt>
                <c:pt idx="47312">
                  <c:v>-8.4033613445377799E-4</c:v>
                </c:pt>
                <c:pt idx="47313">
                  <c:v>-8.4033613445377799E-4</c:v>
                </c:pt>
                <c:pt idx="47314">
                  <c:v>0</c:v>
                </c:pt>
                <c:pt idx="47315">
                  <c:v>0</c:v>
                </c:pt>
                <c:pt idx="47316">
                  <c:v>0</c:v>
                </c:pt>
                <c:pt idx="47317">
                  <c:v>0</c:v>
                </c:pt>
                <c:pt idx="47318">
                  <c:v>0</c:v>
                </c:pt>
                <c:pt idx="47319">
                  <c:v>0</c:v>
                </c:pt>
                <c:pt idx="47320">
                  <c:v>0</c:v>
                </c:pt>
                <c:pt idx="47321">
                  <c:v>0</c:v>
                </c:pt>
                <c:pt idx="47322">
                  <c:v>0</c:v>
                </c:pt>
                <c:pt idx="47323">
                  <c:v>0</c:v>
                </c:pt>
                <c:pt idx="47324">
                  <c:v>0</c:v>
                </c:pt>
                <c:pt idx="47325">
                  <c:v>0</c:v>
                </c:pt>
                <c:pt idx="47326">
                  <c:v>0</c:v>
                </c:pt>
                <c:pt idx="47327">
                  <c:v>0</c:v>
                </c:pt>
                <c:pt idx="47328">
                  <c:v>0</c:v>
                </c:pt>
                <c:pt idx="47329">
                  <c:v>0</c:v>
                </c:pt>
                <c:pt idx="47330">
                  <c:v>0</c:v>
                </c:pt>
                <c:pt idx="47331">
                  <c:v>0</c:v>
                </c:pt>
                <c:pt idx="47332">
                  <c:v>0</c:v>
                </c:pt>
                <c:pt idx="47333">
                  <c:v>0</c:v>
                </c:pt>
                <c:pt idx="47334">
                  <c:v>0</c:v>
                </c:pt>
                <c:pt idx="47335">
                  <c:v>0</c:v>
                </c:pt>
                <c:pt idx="47336">
                  <c:v>0</c:v>
                </c:pt>
                <c:pt idx="47337">
                  <c:v>0</c:v>
                </c:pt>
                <c:pt idx="47338">
                  <c:v>0</c:v>
                </c:pt>
                <c:pt idx="47339">
                  <c:v>0</c:v>
                </c:pt>
                <c:pt idx="47340">
                  <c:v>0</c:v>
                </c:pt>
                <c:pt idx="47341">
                  <c:v>0</c:v>
                </c:pt>
                <c:pt idx="47342">
                  <c:v>0</c:v>
                </c:pt>
                <c:pt idx="47343">
                  <c:v>0</c:v>
                </c:pt>
                <c:pt idx="47344">
                  <c:v>0</c:v>
                </c:pt>
                <c:pt idx="47345">
                  <c:v>0</c:v>
                </c:pt>
                <c:pt idx="47346">
                  <c:v>0</c:v>
                </c:pt>
                <c:pt idx="47347">
                  <c:v>0</c:v>
                </c:pt>
                <c:pt idx="47348">
                  <c:v>0</c:v>
                </c:pt>
                <c:pt idx="47349">
                  <c:v>0</c:v>
                </c:pt>
                <c:pt idx="47350">
                  <c:v>0</c:v>
                </c:pt>
                <c:pt idx="47351">
                  <c:v>0</c:v>
                </c:pt>
                <c:pt idx="47352">
                  <c:v>0</c:v>
                </c:pt>
                <c:pt idx="47353">
                  <c:v>0</c:v>
                </c:pt>
                <c:pt idx="47354">
                  <c:v>0</c:v>
                </c:pt>
                <c:pt idx="47355">
                  <c:v>0</c:v>
                </c:pt>
                <c:pt idx="47356">
                  <c:v>0</c:v>
                </c:pt>
                <c:pt idx="47357">
                  <c:v>0</c:v>
                </c:pt>
                <c:pt idx="47358">
                  <c:v>0</c:v>
                </c:pt>
                <c:pt idx="47359">
                  <c:v>0</c:v>
                </c:pt>
                <c:pt idx="47360">
                  <c:v>0</c:v>
                </c:pt>
                <c:pt idx="47361">
                  <c:v>0</c:v>
                </c:pt>
                <c:pt idx="47362">
                  <c:v>0</c:v>
                </c:pt>
                <c:pt idx="47363">
                  <c:v>0</c:v>
                </c:pt>
                <c:pt idx="47364">
                  <c:v>0</c:v>
                </c:pt>
                <c:pt idx="47365">
                  <c:v>0</c:v>
                </c:pt>
                <c:pt idx="47366">
                  <c:v>0</c:v>
                </c:pt>
                <c:pt idx="47367">
                  <c:v>0</c:v>
                </c:pt>
                <c:pt idx="47368">
                  <c:v>0</c:v>
                </c:pt>
                <c:pt idx="47369">
                  <c:v>0</c:v>
                </c:pt>
                <c:pt idx="47370">
                  <c:v>0</c:v>
                </c:pt>
                <c:pt idx="47371">
                  <c:v>0</c:v>
                </c:pt>
                <c:pt idx="47372">
                  <c:v>0</c:v>
                </c:pt>
                <c:pt idx="47373">
                  <c:v>0</c:v>
                </c:pt>
                <c:pt idx="47374">
                  <c:v>0</c:v>
                </c:pt>
                <c:pt idx="47375">
                  <c:v>0</c:v>
                </c:pt>
                <c:pt idx="47376">
                  <c:v>0</c:v>
                </c:pt>
                <c:pt idx="47377">
                  <c:v>0</c:v>
                </c:pt>
                <c:pt idx="47378">
                  <c:v>0</c:v>
                </c:pt>
                <c:pt idx="47379">
                  <c:v>0</c:v>
                </c:pt>
                <c:pt idx="47380">
                  <c:v>0</c:v>
                </c:pt>
                <c:pt idx="47381">
                  <c:v>0</c:v>
                </c:pt>
                <c:pt idx="47382">
                  <c:v>0</c:v>
                </c:pt>
                <c:pt idx="47383">
                  <c:v>0</c:v>
                </c:pt>
                <c:pt idx="47384">
                  <c:v>0</c:v>
                </c:pt>
                <c:pt idx="47385">
                  <c:v>0</c:v>
                </c:pt>
                <c:pt idx="47386">
                  <c:v>0</c:v>
                </c:pt>
                <c:pt idx="47387">
                  <c:v>0</c:v>
                </c:pt>
                <c:pt idx="47388">
                  <c:v>0</c:v>
                </c:pt>
                <c:pt idx="47389">
                  <c:v>0</c:v>
                </c:pt>
                <c:pt idx="47390">
                  <c:v>0</c:v>
                </c:pt>
                <c:pt idx="47391">
                  <c:v>0</c:v>
                </c:pt>
                <c:pt idx="47392">
                  <c:v>0</c:v>
                </c:pt>
                <c:pt idx="47393">
                  <c:v>0</c:v>
                </c:pt>
                <c:pt idx="47394">
                  <c:v>0</c:v>
                </c:pt>
                <c:pt idx="47395">
                  <c:v>0</c:v>
                </c:pt>
                <c:pt idx="47396">
                  <c:v>0</c:v>
                </c:pt>
                <c:pt idx="47397">
                  <c:v>0</c:v>
                </c:pt>
                <c:pt idx="47398">
                  <c:v>0</c:v>
                </c:pt>
                <c:pt idx="47399">
                  <c:v>0</c:v>
                </c:pt>
                <c:pt idx="47400">
                  <c:v>0</c:v>
                </c:pt>
                <c:pt idx="47401">
                  <c:v>0</c:v>
                </c:pt>
                <c:pt idx="47402">
                  <c:v>0</c:v>
                </c:pt>
                <c:pt idx="47403">
                  <c:v>0</c:v>
                </c:pt>
                <c:pt idx="47404">
                  <c:v>0</c:v>
                </c:pt>
                <c:pt idx="47405">
                  <c:v>0</c:v>
                </c:pt>
                <c:pt idx="47406">
                  <c:v>0</c:v>
                </c:pt>
                <c:pt idx="47407">
                  <c:v>0</c:v>
                </c:pt>
                <c:pt idx="47408">
                  <c:v>0</c:v>
                </c:pt>
                <c:pt idx="47409">
                  <c:v>0</c:v>
                </c:pt>
                <c:pt idx="47410">
                  <c:v>0</c:v>
                </c:pt>
                <c:pt idx="47411">
                  <c:v>0</c:v>
                </c:pt>
                <c:pt idx="47412">
                  <c:v>0</c:v>
                </c:pt>
                <c:pt idx="47413">
                  <c:v>0</c:v>
                </c:pt>
                <c:pt idx="47414">
                  <c:v>0</c:v>
                </c:pt>
                <c:pt idx="47415">
                  <c:v>0</c:v>
                </c:pt>
                <c:pt idx="47416">
                  <c:v>0</c:v>
                </c:pt>
                <c:pt idx="47417">
                  <c:v>0</c:v>
                </c:pt>
                <c:pt idx="47418">
                  <c:v>0</c:v>
                </c:pt>
                <c:pt idx="47419">
                  <c:v>0</c:v>
                </c:pt>
                <c:pt idx="47420">
                  <c:v>0</c:v>
                </c:pt>
                <c:pt idx="47421">
                  <c:v>0</c:v>
                </c:pt>
                <c:pt idx="47422">
                  <c:v>0</c:v>
                </c:pt>
                <c:pt idx="47423">
                  <c:v>0</c:v>
                </c:pt>
                <c:pt idx="47424">
                  <c:v>0</c:v>
                </c:pt>
                <c:pt idx="47425">
                  <c:v>0</c:v>
                </c:pt>
                <c:pt idx="47426">
                  <c:v>0</c:v>
                </c:pt>
                <c:pt idx="47427">
                  <c:v>0</c:v>
                </c:pt>
                <c:pt idx="47428">
                  <c:v>0</c:v>
                </c:pt>
                <c:pt idx="47429">
                  <c:v>0</c:v>
                </c:pt>
                <c:pt idx="47430">
                  <c:v>0</c:v>
                </c:pt>
                <c:pt idx="47431">
                  <c:v>0</c:v>
                </c:pt>
                <c:pt idx="47432">
                  <c:v>0</c:v>
                </c:pt>
                <c:pt idx="47433">
                  <c:v>0</c:v>
                </c:pt>
                <c:pt idx="47434">
                  <c:v>0</c:v>
                </c:pt>
                <c:pt idx="47435">
                  <c:v>0</c:v>
                </c:pt>
                <c:pt idx="47436">
                  <c:v>0</c:v>
                </c:pt>
                <c:pt idx="47437">
                  <c:v>0</c:v>
                </c:pt>
                <c:pt idx="47438">
                  <c:v>0</c:v>
                </c:pt>
                <c:pt idx="47439">
                  <c:v>0</c:v>
                </c:pt>
                <c:pt idx="47440">
                  <c:v>0</c:v>
                </c:pt>
                <c:pt idx="47441">
                  <c:v>0</c:v>
                </c:pt>
                <c:pt idx="47442">
                  <c:v>0</c:v>
                </c:pt>
                <c:pt idx="47443">
                  <c:v>0</c:v>
                </c:pt>
                <c:pt idx="47444">
                  <c:v>0</c:v>
                </c:pt>
                <c:pt idx="47445">
                  <c:v>0</c:v>
                </c:pt>
                <c:pt idx="47446">
                  <c:v>0</c:v>
                </c:pt>
                <c:pt idx="47447">
                  <c:v>0</c:v>
                </c:pt>
                <c:pt idx="47448">
                  <c:v>0</c:v>
                </c:pt>
                <c:pt idx="47449">
                  <c:v>0</c:v>
                </c:pt>
                <c:pt idx="47450">
                  <c:v>0</c:v>
                </c:pt>
                <c:pt idx="47451">
                  <c:v>0</c:v>
                </c:pt>
                <c:pt idx="47452">
                  <c:v>0</c:v>
                </c:pt>
                <c:pt idx="47453">
                  <c:v>0</c:v>
                </c:pt>
                <c:pt idx="47454">
                  <c:v>0</c:v>
                </c:pt>
                <c:pt idx="47455">
                  <c:v>0</c:v>
                </c:pt>
                <c:pt idx="47456">
                  <c:v>0</c:v>
                </c:pt>
                <c:pt idx="47457">
                  <c:v>0</c:v>
                </c:pt>
                <c:pt idx="47458">
                  <c:v>0</c:v>
                </c:pt>
                <c:pt idx="47459">
                  <c:v>0</c:v>
                </c:pt>
                <c:pt idx="47460">
                  <c:v>0</c:v>
                </c:pt>
                <c:pt idx="47461">
                  <c:v>0</c:v>
                </c:pt>
                <c:pt idx="47462">
                  <c:v>0</c:v>
                </c:pt>
                <c:pt idx="47463">
                  <c:v>0</c:v>
                </c:pt>
                <c:pt idx="47464">
                  <c:v>0</c:v>
                </c:pt>
                <c:pt idx="47465">
                  <c:v>0</c:v>
                </c:pt>
                <c:pt idx="47466">
                  <c:v>0</c:v>
                </c:pt>
                <c:pt idx="47467">
                  <c:v>0</c:v>
                </c:pt>
                <c:pt idx="47468">
                  <c:v>0</c:v>
                </c:pt>
                <c:pt idx="47469">
                  <c:v>0</c:v>
                </c:pt>
                <c:pt idx="47470">
                  <c:v>0</c:v>
                </c:pt>
                <c:pt idx="47471">
                  <c:v>0</c:v>
                </c:pt>
                <c:pt idx="47472">
                  <c:v>0</c:v>
                </c:pt>
                <c:pt idx="47473">
                  <c:v>0</c:v>
                </c:pt>
                <c:pt idx="47474">
                  <c:v>0</c:v>
                </c:pt>
                <c:pt idx="47475">
                  <c:v>0</c:v>
                </c:pt>
                <c:pt idx="47476">
                  <c:v>0</c:v>
                </c:pt>
                <c:pt idx="47477">
                  <c:v>0</c:v>
                </c:pt>
                <c:pt idx="47478">
                  <c:v>0</c:v>
                </c:pt>
                <c:pt idx="47479">
                  <c:v>0</c:v>
                </c:pt>
                <c:pt idx="47480">
                  <c:v>0</c:v>
                </c:pt>
                <c:pt idx="47481">
                  <c:v>0</c:v>
                </c:pt>
                <c:pt idx="47482">
                  <c:v>0</c:v>
                </c:pt>
                <c:pt idx="47483">
                  <c:v>0</c:v>
                </c:pt>
                <c:pt idx="47484">
                  <c:v>0</c:v>
                </c:pt>
                <c:pt idx="47485">
                  <c:v>0</c:v>
                </c:pt>
                <c:pt idx="47486">
                  <c:v>0</c:v>
                </c:pt>
                <c:pt idx="47487">
                  <c:v>0</c:v>
                </c:pt>
                <c:pt idx="47488">
                  <c:v>0</c:v>
                </c:pt>
                <c:pt idx="47489">
                  <c:v>0</c:v>
                </c:pt>
                <c:pt idx="47490">
                  <c:v>0</c:v>
                </c:pt>
                <c:pt idx="47491">
                  <c:v>0</c:v>
                </c:pt>
                <c:pt idx="47492">
                  <c:v>0</c:v>
                </c:pt>
                <c:pt idx="47493">
                  <c:v>-8.4033613445377799E-4</c:v>
                </c:pt>
                <c:pt idx="47494">
                  <c:v>-8.4033613445377799E-4</c:v>
                </c:pt>
                <c:pt idx="47495">
                  <c:v>-8.4033613445377799E-4</c:v>
                </c:pt>
                <c:pt idx="47496">
                  <c:v>-8.4033613445377799E-4</c:v>
                </c:pt>
                <c:pt idx="47497">
                  <c:v>-8.4033613445377799E-4</c:v>
                </c:pt>
                <c:pt idx="47498">
                  <c:v>-8.4033613445377799E-4</c:v>
                </c:pt>
                <c:pt idx="47499">
                  <c:v>-8.4033613445377799E-4</c:v>
                </c:pt>
                <c:pt idx="47500">
                  <c:v>-8.4033613445377799E-4</c:v>
                </c:pt>
                <c:pt idx="47501">
                  <c:v>-8.4033613445377799E-4</c:v>
                </c:pt>
                <c:pt idx="47502">
                  <c:v>-8.4033613445377799E-4</c:v>
                </c:pt>
                <c:pt idx="47503">
                  <c:v>-8.4033613445377799E-4</c:v>
                </c:pt>
                <c:pt idx="47504">
                  <c:v>-8.4033613445377799E-4</c:v>
                </c:pt>
                <c:pt idx="47505">
                  <c:v>-8.4033613445377799E-4</c:v>
                </c:pt>
                <c:pt idx="47506">
                  <c:v>-8.4033613445377799E-4</c:v>
                </c:pt>
                <c:pt idx="47507">
                  <c:v>-8.4033613445377799E-4</c:v>
                </c:pt>
                <c:pt idx="47508">
                  <c:v>-8.4033613445377799E-4</c:v>
                </c:pt>
                <c:pt idx="47509">
                  <c:v>-8.4033613445377799E-4</c:v>
                </c:pt>
                <c:pt idx="47510">
                  <c:v>-8.4033613445377799E-4</c:v>
                </c:pt>
                <c:pt idx="47511">
                  <c:v>-8.4033613445377799E-4</c:v>
                </c:pt>
                <c:pt idx="47512">
                  <c:v>-8.4033613445377799E-4</c:v>
                </c:pt>
                <c:pt idx="47513">
                  <c:v>-8.4033613445377799E-4</c:v>
                </c:pt>
                <c:pt idx="47514">
                  <c:v>-8.4033613445377799E-4</c:v>
                </c:pt>
                <c:pt idx="47515">
                  <c:v>-8.4033613445377799E-4</c:v>
                </c:pt>
                <c:pt idx="47516">
                  <c:v>-8.4033613445377799E-4</c:v>
                </c:pt>
                <c:pt idx="47517">
                  <c:v>-8.4033613445377799E-4</c:v>
                </c:pt>
                <c:pt idx="47518">
                  <c:v>-8.4033613445377799E-4</c:v>
                </c:pt>
                <c:pt idx="47519">
                  <c:v>-8.4033613445377799E-4</c:v>
                </c:pt>
                <c:pt idx="47520">
                  <c:v>-8.4033613445377799E-4</c:v>
                </c:pt>
                <c:pt idx="47521">
                  <c:v>-8.4033613445377799E-4</c:v>
                </c:pt>
                <c:pt idx="47522">
                  <c:v>-8.4033613445377799E-4</c:v>
                </c:pt>
                <c:pt idx="47523">
                  <c:v>-8.4033613445377799E-4</c:v>
                </c:pt>
                <c:pt idx="47524">
                  <c:v>-8.4033613445377799E-4</c:v>
                </c:pt>
                <c:pt idx="47525">
                  <c:v>-8.4033613445377799E-4</c:v>
                </c:pt>
                <c:pt idx="47526">
                  <c:v>-8.4033613445377799E-4</c:v>
                </c:pt>
                <c:pt idx="47527">
                  <c:v>-8.4033613445377799E-4</c:v>
                </c:pt>
                <c:pt idx="47528">
                  <c:v>-8.4033613445377799E-4</c:v>
                </c:pt>
                <c:pt idx="47529">
                  <c:v>-8.4033613445377799E-4</c:v>
                </c:pt>
                <c:pt idx="47530">
                  <c:v>-8.4033613445377799E-4</c:v>
                </c:pt>
                <c:pt idx="47531">
                  <c:v>-8.4033613445377799E-4</c:v>
                </c:pt>
                <c:pt idx="47532">
                  <c:v>-8.4033613445377799E-4</c:v>
                </c:pt>
                <c:pt idx="47533">
                  <c:v>-8.4033613445377799E-4</c:v>
                </c:pt>
                <c:pt idx="47534">
                  <c:v>-8.4033613445377799E-4</c:v>
                </c:pt>
                <c:pt idx="47535">
                  <c:v>-8.4033613445377799E-4</c:v>
                </c:pt>
                <c:pt idx="47536">
                  <c:v>-8.4033613445377799E-4</c:v>
                </c:pt>
                <c:pt idx="47537">
                  <c:v>-8.4033613445377799E-4</c:v>
                </c:pt>
                <c:pt idx="47538">
                  <c:v>-8.4033613445377799E-4</c:v>
                </c:pt>
                <c:pt idx="47539">
                  <c:v>-8.4033613445377799E-4</c:v>
                </c:pt>
                <c:pt idx="47540">
                  <c:v>-8.4033613445377799E-4</c:v>
                </c:pt>
                <c:pt idx="47541">
                  <c:v>-8.4033613445377799E-4</c:v>
                </c:pt>
                <c:pt idx="47542">
                  <c:v>-8.4033613445377799E-4</c:v>
                </c:pt>
                <c:pt idx="47543">
                  <c:v>-8.4033613445377799E-4</c:v>
                </c:pt>
                <c:pt idx="47544">
                  <c:v>-8.4033613445377799E-4</c:v>
                </c:pt>
                <c:pt idx="47545">
                  <c:v>-8.4033613445377799E-4</c:v>
                </c:pt>
                <c:pt idx="47546">
                  <c:v>-8.4033613445377799E-4</c:v>
                </c:pt>
                <c:pt idx="47547">
                  <c:v>-8.4033613445377799E-4</c:v>
                </c:pt>
                <c:pt idx="47548">
                  <c:v>-8.4033613445377799E-4</c:v>
                </c:pt>
                <c:pt idx="47549">
                  <c:v>-8.4033613445377799E-4</c:v>
                </c:pt>
                <c:pt idx="47550">
                  <c:v>-8.4033613445377799E-4</c:v>
                </c:pt>
                <c:pt idx="47551">
                  <c:v>-8.4033613445377799E-4</c:v>
                </c:pt>
                <c:pt idx="47552">
                  <c:v>-8.4033613445377799E-4</c:v>
                </c:pt>
                <c:pt idx="47553">
                  <c:v>-8.4033613445377799E-4</c:v>
                </c:pt>
                <c:pt idx="47554">
                  <c:v>-8.4033613445377799E-4</c:v>
                </c:pt>
                <c:pt idx="47555">
                  <c:v>-8.4033613445377799E-4</c:v>
                </c:pt>
                <c:pt idx="47556">
                  <c:v>-8.4033613445377799E-4</c:v>
                </c:pt>
                <c:pt idx="47557">
                  <c:v>-8.4033613445377799E-4</c:v>
                </c:pt>
                <c:pt idx="47558">
                  <c:v>-8.4033613445377799E-4</c:v>
                </c:pt>
                <c:pt idx="47559">
                  <c:v>-8.4033613445377799E-4</c:v>
                </c:pt>
                <c:pt idx="47560">
                  <c:v>-8.4033613445377799E-4</c:v>
                </c:pt>
                <c:pt idx="47561">
                  <c:v>-8.4033613445377799E-4</c:v>
                </c:pt>
                <c:pt idx="47562">
                  <c:v>-8.4033613445377799E-4</c:v>
                </c:pt>
                <c:pt idx="47563">
                  <c:v>-8.4033613445377799E-4</c:v>
                </c:pt>
                <c:pt idx="47564">
                  <c:v>-8.4033613445377799E-4</c:v>
                </c:pt>
                <c:pt idx="47565">
                  <c:v>-1.6806722689075499E-3</c:v>
                </c:pt>
                <c:pt idx="47566">
                  <c:v>-1.6806722689075499E-3</c:v>
                </c:pt>
                <c:pt idx="47567">
                  <c:v>-1.6806722689075499E-3</c:v>
                </c:pt>
                <c:pt idx="47568">
                  <c:v>-1.6806722689075499E-3</c:v>
                </c:pt>
                <c:pt idx="47569">
                  <c:v>-1.6806722689075499E-3</c:v>
                </c:pt>
                <c:pt idx="47570">
                  <c:v>-1.6806722689075499E-3</c:v>
                </c:pt>
                <c:pt idx="47571">
                  <c:v>-1.6806722689075499E-3</c:v>
                </c:pt>
                <c:pt idx="47572">
                  <c:v>-1.6806722689075499E-3</c:v>
                </c:pt>
                <c:pt idx="47573">
                  <c:v>-1.6806722689075499E-3</c:v>
                </c:pt>
                <c:pt idx="47574">
                  <c:v>-1.6806722689075499E-3</c:v>
                </c:pt>
                <c:pt idx="47575">
                  <c:v>-1.6806722689075499E-3</c:v>
                </c:pt>
                <c:pt idx="47576">
                  <c:v>-1.6806722689075499E-3</c:v>
                </c:pt>
                <c:pt idx="47577">
                  <c:v>-1.6806722689075499E-3</c:v>
                </c:pt>
                <c:pt idx="47578">
                  <c:v>-1.6806722689075499E-3</c:v>
                </c:pt>
                <c:pt idx="47579">
                  <c:v>-1.6806722689075499E-3</c:v>
                </c:pt>
                <c:pt idx="47580">
                  <c:v>-1.6806722689075499E-3</c:v>
                </c:pt>
                <c:pt idx="47581">
                  <c:v>-1.6806722689075499E-3</c:v>
                </c:pt>
                <c:pt idx="47582">
                  <c:v>-1.6806722689075499E-3</c:v>
                </c:pt>
                <c:pt idx="47583">
                  <c:v>-1.6806722689075499E-3</c:v>
                </c:pt>
                <c:pt idx="47584">
                  <c:v>-1.6806722689075499E-3</c:v>
                </c:pt>
                <c:pt idx="47585">
                  <c:v>-1.6806722689075499E-3</c:v>
                </c:pt>
                <c:pt idx="47586">
                  <c:v>-1.6806722689075499E-3</c:v>
                </c:pt>
                <c:pt idx="47587">
                  <c:v>-1.6806722689075499E-3</c:v>
                </c:pt>
                <c:pt idx="47588">
                  <c:v>-1.6806722689075499E-3</c:v>
                </c:pt>
                <c:pt idx="47589">
                  <c:v>-1.6806722689075499E-3</c:v>
                </c:pt>
                <c:pt idx="47590">
                  <c:v>-1.6806722689075499E-3</c:v>
                </c:pt>
                <c:pt idx="47591">
                  <c:v>-1.6806722689075499E-3</c:v>
                </c:pt>
                <c:pt idx="47592">
                  <c:v>-1.6806722689075499E-3</c:v>
                </c:pt>
                <c:pt idx="47593">
                  <c:v>-1.6806722689075499E-3</c:v>
                </c:pt>
                <c:pt idx="47594">
                  <c:v>-1.6806722689075499E-3</c:v>
                </c:pt>
                <c:pt idx="47595">
                  <c:v>-1.6806722689075499E-3</c:v>
                </c:pt>
                <c:pt idx="47596">
                  <c:v>-1.6806722689075499E-3</c:v>
                </c:pt>
                <c:pt idx="47597">
                  <c:v>-1.6806722689075499E-3</c:v>
                </c:pt>
                <c:pt idx="47598">
                  <c:v>-1.6806722689075499E-3</c:v>
                </c:pt>
                <c:pt idx="47599">
                  <c:v>-1.6806722689075499E-3</c:v>
                </c:pt>
                <c:pt idx="47600">
                  <c:v>-1.6806722689075499E-3</c:v>
                </c:pt>
                <c:pt idx="47601">
                  <c:v>-1.6806722689075499E-3</c:v>
                </c:pt>
                <c:pt idx="47602">
                  <c:v>-1.6806722689075499E-3</c:v>
                </c:pt>
                <c:pt idx="47603">
                  <c:v>-1.6806722689075499E-3</c:v>
                </c:pt>
                <c:pt idx="47604">
                  <c:v>-1.6806722689075499E-3</c:v>
                </c:pt>
                <c:pt idx="47605">
                  <c:v>-1.6806722689075499E-3</c:v>
                </c:pt>
                <c:pt idx="47606">
                  <c:v>-1.6806722689075499E-3</c:v>
                </c:pt>
                <c:pt idx="47607">
                  <c:v>-1.6806722689075499E-3</c:v>
                </c:pt>
                <c:pt idx="47608">
                  <c:v>-1.6806722689075499E-3</c:v>
                </c:pt>
                <c:pt idx="47609">
                  <c:v>-1.6806722689075499E-3</c:v>
                </c:pt>
                <c:pt idx="47610">
                  <c:v>-1.6806722689075499E-3</c:v>
                </c:pt>
                <c:pt idx="47611">
                  <c:v>-1.6806722689075499E-3</c:v>
                </c:pt>
                <c:pt idx="47612">
                  <c:v>-1.6806722689075499E-3</c:v>
                </c:pt>
                <c:pt idx="47613">
                  <c:v>-1.6806722689075499E-3</c:v>
                </c:pt>
                <c:pt idx="47614">
                  <c:v>-1.6806722689075499E-3</c:v>
                </c:pt>
                <c:pt idx="47615">
                  <c:v>-1.6806722689075499E-3</c:v>
                </c:pt>
                <c:pt idx="47616">
                  <c:v>-1.6806722689075499E-3</c:v>
                </c:pt>
                <c:pt idx="47617">
                  <c:v>-1.6806722689075499E-3</c:v>
                </c:pt>
                <c:pt idx="47618">
                  <c:v>-1.6806722689075499E-3</c:v>
                </c:pt>
                <c:pt idx="47619">
                  <c:v>-1.6806722689075499E-3</c:v>
                </c:pt>
                <c:pt idx="47620">
                  <c:v>-1.6806722689075499E-3</c:v>
                </c:pt>
                <c:pt idx="47621">
                  <c:v>-1.6806722689075499E-3</c:v>
                </c:pt>
                <c:pt idx="47622">
                  <c:v>-1.6806722689075499E-3</c:v>
                </c:pt>
                <c:pt idx="47623">
                  <c:v>-1.6806722689075499E-3</c:v>
                </c:pt>
                <c:pt idx="47624">
                  <c:v>-1.6806722689075499E-3</c:v>
                </c:pt>
                <c:pt idx="47625">
                  <c:v>-1.6806722689075499E-3</c:v>
                </c:pt>
                <c:pt idx="47626">
                  <c:v>-1.6806722689075499E-3</c:v>
                </c:pt>
                <c:pt idx="47627">
                  <c:v>-1.6806722689075499E-3</c:v>
                </c:pt>
                <c:pt idx="47628">
                  <c:v>-1.6806722689075499E-3</c:v>
                </c:pt>
                <c:pt idx="47629">
                  <c:v>-1.6806722689075499E-3</c:v>
                </c:pt>
                <c:pt idx="47630">
                  <c:v>-1.6806722689075499E-3</c:v>
                </c:pt>
                <c:pt idx="47631">
                  <c:v>-1.6806722689075499E-3</c:v>
                </c:pt>
                <c:pt idx="47632">
                  <c:v>-1.6806722689075499E-3</c:v>
                </c:pt>
                <c:pt idx="47633">
                  <c:v>-1.6806722689075499E-3</c:v>
                </c:pt>
                <c:pt idx="47634">
                  <c:v>-1.6806722689075499E-3</c:v>
                </c:pt>
                <c:pt idx="47635">
                  <c:v>-1.6806722689075499E-3</c:v>
                </c:pt>
                <c:pt idx="47636">
                  <c:v>-1.6806722689075499E-3</c:v>
                </c:pt>
                <c:pt idx="47637">
                  <c:v>-1.6806722689075499E-3</c:v>
                </c:pt>
                <c:pt idx="47638">
                  <c:v>-1.6806722689075499E-3</c:v>
                </c:pt>
                <c:pt idx="47639">
                  <c:v>-1.6806722689075499E-3</c:v>
                </c:pt>
                <c:pt idx="47640">
                  <c:v>-1.6806722689075499E-3</c:v>
                </c:pt>
                <c:pt idx="47641">
                  <c:v>-1.6806722689075499E-3</c:v>
                </c:pt>
                <c:pt idx="47642">
                  <c:v>-1.6806722689075499E-3</c:v>
                </c:pt>
                <c:pt idx="47643">
                  <c:v>-1.6806722689075499E-3</c:v>
                </c:pt>
                <c:pt idx="47644">
                  <c:v>-1.6806722689075499E-3</c:v>
                </c:pt>
                <c:pt idx="47645">
                  <c:v>-1.6806722689075499E-3</c:v>
                </c:pt>
                <c:pt idx="47646">
                  <c:v>-1.6806722689075499E-3</c:v>
                </c:pt>
                <c:pt idx="47647">
                  <c:v>-1.6806722689075499E-3</c:v>
                </c:pt>
                <c:pt idx="47648">
                  <c:v>-1.6806722689075499E-3</c:v>
                </c:pt>
                <c:pt idx="47649">
                  <c:v>-1.6806722689075499E-3</c:v>
                </c:pt>
                <c:pt idx="47650">
                  <c:v>-1.6806722689075499E-3</c:v>
                </c:pt>
                <c:pt idx="47651">
                  <c:v>-1.6806722689075499E-3</c:v>
                </c:pt>
                <c:pt idx="47652">
                  <c:v>-1.6806722689075499E-3</c:v>
                </c:pt>
                <c:pt idx="47653">
                  <c:v>-1.6806722689075499E-3</c:v>
                </c:pt>
                <c:pt idx="47654">
                  <c:v>-1.6806722689075499E-3</c:v>
                </c:pt>
                <c:pt idx="47655">
                  <c:v>-1.6806722689075499E-3</c:v>
                </c:pt>
                <c:pt idx="47656">
                  <c:v>-1.6806722689075499E-3</c:v>
                </c:pt>
                <c:pt idx="47657">
                  <c:v>-1.6806722689075499E-3</c:v>
                </c:pt>
                <c:pt idx="47658">
                  <c:v>-1.6806722689075499E-3</c:v>
                </c:pt>
                <c:pt idx="47659">
                  <c:v>-1.6806722689075499E-3</c:v>
                </c:pt>
                <c:pt idx="47660">
                  <c:v>-2.5210084033613299E-3</c:v>
                </c:pt>
                <c:pt idx="47661">
                  <c:v>-2.5210084033613299E-3</c:v>
                </c:pt>
                <c:pt idx="47662">
                  <c:v>-2.5210084033613299E-3</c:v>
                </c:pt>
                <c:pt idx="47663">
                  <c:v>-2.5210084033613299E-3</c:v>
                </c:pt>
                <c:pt idx="47664">
                  <c:v>-2.5210084033613299E-3</c:v>
                </c:pt>
                <c:pt idx="47665">
                  <c:v>-2.5210084033613299E-3</c:v>
                </c:pt>
                <c:pt idx="47666">
                  <c:v>-2.5210084033613299E-3</c:v>
                </c:pt>
                <c:pt idx="47667">
                  <c:v>-2.5210084033613299E-3</c:v>
                </c:pt>
                <c:pt idx="47668">
                  <c:v>-2.5210084033613299E-3</c:v>
                </c:pt>
                <c:pt idx="47669">
                  <c:v>-2.5210084033613299E-3</c:v>
                </c:pt>
                <c:pt idx="47670">
                  <c:v>-2.5210084033613299E-3</c:v>
                </c:pt>
                <c:pt idx="47671">
                  <c:v>-2.5210084033613299E-3</c:v>
                </c:pt>
                <c:pt idx="47672">
                  <c:v>-2.5210084033613299E-3</c:v>
                </c:pt>
                <c:pt idx="47673">
                  <c:v>-1.6806722689075499E-3</c:v>
                </c:pt>
                <c:pt idx="47674">
                  <c:v>-1.6806722689075499E-3</c:v>
                </c:pt>
                <c:pt idx="47675">
                  <c:v>-1.6806722689075499E-3</c:v>
                </c:pt>
                <c:pt idx="47676">
                  <c:v>-1.6806722689075499E-3</c:v>
                </c:pt>
                <c:pt idx="47677">
                  <c:v>-1.6806722689075499E-3</c:v>
                </c:pt>
                <c:pt idx="47678">
                  <c:v>-1.6806722689075499E-3</c:v>
                </c:pt>
                <c:pt idx="47679">
                  <c:v>-1.6806722689075499E-3</c:v>
                </c:pt>
                <c:pt idx="47680">
                  <c:v>-1.6806722689075499E-3</c:v>
                </c:pt>
                <c:pt idx="47681">
                  <c:v>-1.6806722689075499E-3</c:v>
                </c:pt>
                <c:pt idx="47682">
                  <c:v>-1.6806722689075499E-3</c:v>
                </c:pt>
                <c:pt idx="47683">
                  <c:v>-1.6806722689075499E-3</c:v>
                </c:pt>
                <c:pt idx="47684">
                  <c:v>-1.6806722689075499E-3</c:v>
                </c:pt>
                <c:pt idx="47685">
                  <c:v>-1.6806722689075499E-3</c:v>
                </c:pt>
                <c:pt idx="47686">
                  <c:v>-1.6806722689075499E-3</c:v>
                </c:pt>
                <c:pt idx="47687">
                  <c:v>-1.6806722689075499E-3</c:v>
                </c:pt>
                <c:pt idx="47688">
                  <c:v>-1.6806722689075499E-3</c:v>
                </c:pt>
                <c:pt idx="47689">
                  <c:v>-1.6806722689075499E-3</c:v>
                </c:pt>
                <c:pt idx="47690">
                  <c:v>-1.6806722689075499E-3</c:v>
                </c:pt>
                <c:pt idx="47691">
                  <c:v>-1.6806722689075499E-3</c:v>
                </c:pt>
                <c:pt idx="47692">
                  <c:v>-1.6806722689075499E-3</c:v>
                </c:pt>
                <c:pt idx="47693">
                  <c:v>-1.6806722689075499E-3</c:v>
                </c:pt>
                <c:pt idx="47694">
                  <c:v>-1.6806722689075499E-3</c:v>
                </c:pt>
                <c:pt idx="47695">
                  <c:v>-1.6806722689075499E-3</c:v>
                </c:pt>
                <c:pt idx="47696">
                  <c:v>-1.6806722689075499E-3</c:v>
                </c:pt>
                <c:pt idx="47697">
                  <c:v>-1.6806722689075499E-3</c:v>
                </c:pt>
                <c:pt idx="47698">
                  <c:v>-1.6806722689075499E-3</c:v>
                </c:pt>
                <c:pt idx="47699">
                  <c:v>-1.6806722689075499E-3</c:v>
                </c:pt>
                <c:pt idx="47700">
                  <c:v>-1.6806722689075499E-3</c:v>
                </c:pt>
                <c:pt idx="47701">
                  <c:v>-1.6806722689075499E-3</c:v>
                </c:pt>
                <c:pt idx="47702">
                  <c:v>-1.6806722689075499E-3</c:v>
                </c:pt>
                <c:pt idx="47703">
                  <c:v>-1.6806722689075499E-3</c:v>
                </c:pt>
                <c:pt idx="47704">
                  <c:v>-1.6806722689075499E-3</c:v>
                </c:pt>
                <c:pt idx="47705">
                  <c:v>-1.6806722689075499E-3</c:v>
                </c:pt>
                <c:pt idx="47706">
                  <c:v>-1.6806722689075499E-3</c:v>
                </c:pt>
                <c:pt idx="47707">
                  <c:v>-1.6806722689075499E-3</c:v>
                </c:pt>
                <c:pt idx="47708">
                  <c:v>-1.6806722689075499E-3</c:v>
                </c:pt>
                <c:pt idx="47709">
                  <c:v>-1.6806722689075499E-3</c:v>
                </c:pt>
                <c:pt idx="47710">
                  <c:v>-1.6806722689075499E-3</c:v>
                </c:pt>
                <c:pt idx="47711">
                  <c:v>-1.6806722689075499E-3</c:v>
                </c:pt>
                <c:pt idx="47712">
                  <c:v>-1.6806722689075499E-3</c:v>
                </c:pt>
                <c:pt idx="47713">
                  <c:v>-1.6806722689075499E-3</c:v>
                </c:pt>
                <c:pt idx="47714">
                  <c:v>-1.6806722689075499E-3</c:v>
                </c:pt>
                <c:pt idx="47715">
                  <c:v>-1.6806722689075499E-3</c:v>
                </c:pt>
                <c:pt idx="47716">
                  <c:v>-1.6806722689075499E-3</c:v>
                </c:pt>
                <c:pt idx="47717">
                  <c:v>-1.6806722689075499E-3</c:v>
                </c:pt>
                <c:pt idx="47718">
                  <c:v>-1.6806722689075499E-3</c:v>
                </c:pt>
                <c:pt idx="47719">
                  <c:v>-1.6806722689075499E-3</c:v>
                </c:pt>
                <c:pt idx="47720">
                  <c:v>-1.6806722689075499E-3</c:v>
                </c:pt>
                <c:pt idx="47721">
                  <c:v>-1.6806722689075499E-3</c:v>
                </c:pt>
                <c:pt idx="47722">
                  <c:v>-1.6806722689075499E-3</c:v>
                </c:pt>
                <c:pt idx="47723">
                  <c:v>-1.6806722689075499E-3</c:v>
                </c:pt>
                <c:pt idx="47724">
                  <c:v>-1.6806722689075499E-3</c:v>
                </c:pt>
                <c:pt idx="47725">
                  <c:v>-1.6806722689075499E-3</c:v>
                </c:pt>
                <c:pt idx="47726">
                  <c:v>-1.6806722689075499E-3</c:v>
                </c:pt>
                <c:pt idx="47727">
                  <c:v>-1.6806722689075499E-3</c:v>
                </c:pt>
                <c:pt idx="47728">
                  <c:v>-1.6806722689075499E-3</c:v>
                </c:pt>
                <c:pt idx="47729">
                  <c:v>-1.6806722689075499E-3</c:v>
                </c:pt>
                <c:pt idx="47730">
                  <c:v>-1.6806722689075499E-3</c:v>
                </c:pt>
                <c:pt idx="47731">
                  <c:v>-1.6806722689075499E-3</c:v>
                </c:pt>
                <c:pt idx="47732">
                  <c:v>-2.5210084033613299E-3</c:v>
                </c:pt>
                <c:pt idx="47733">
                  <c:v>-2.5210084033613299E-3</c:v>
                </c:pt>
                <c:pt idx="47734">
                  <c:v>-2.5210084033613299E-3</c:v>
                </c:pt>
                <c:pt idx="47735">
                  <c:v>-2.5210084033613299E-3</c:v>
                </c:pt>
                <c:pt idx="47736">
                  <c:v>-2.5210084033613299E-3</c:v>
                </c:pt>
                <c:pt idx="47737">
                  <c:v>-2.5210084033613299E-3</c:v>
                </c:pt>
                <c:pt idx="47738">
                  <c:v>-2.5210084033613299E-3</c:v>
                </c:pt>
                <c:pt idx="47739">
                  <c:v>-2.5210084033613299E-3</c:v>
                </c:pt>
                <c:pt idx="47740">
                  <c:v>-2.5210084033613299E-3</c:v>
                </c:pt>
                <c:pt idx="47741">
                  <c:v>-2.5210084033613299E-3</c:v>
                </c:pt>
                <c:pt idx="47742">
                  <c:v>-2.5210084033613299E-3</c:v>
                </c:pt>
                <c:pt idx="47743">
                  <c:v>-2.5210084033613299E-3</c:v>
                </c:pt>
                <c:pt idx="47744">
                  <c:v>-2.5210084033613299E-3</c:v>
                </c:pt>
                <c:pt idx="47745">
                  <c:v>-2.5210084033613299E-3</c:v>
                </c:pt>
                <c:pt idx="47746">
                  <c:v>-2.5210084033613299E-3</c:v>
                </c:pt>
                <c:pt idx="47747">
                  <c:v>-2.5210084033613299E-3</c:v>
                </c:pt>
                <c:pt idx="47748">
                  <c:v>-2.5210084033613299E-3</c:v>
                </c:pt>
                <c:pt idx="47749">
                  <c:v>-2.5210084033613299E-3</c:v>
                </c:pt>
                <c:pt idx="47750">
                  <c:v>-2.5210084033613299E-3</c:v>
                </c:pt>
                <c:pt idx="47751">
                  <c:v>-2.5210084033613299E-3</c:v>
                </c:pt>
                <c:pt idx="47752">
                  <c:v>-2.5210084033613299E-3</c:v>
                </c:pt>
                <c:pt idx="47753">
                  <c:v>-2.5210084033613299E-3</c:v>
                </c:pt>
                <c:pt idx="47754">
                  <c:v>-2.5210084033613299E-3</c:v>
                </c:pt>
                <c:pt idx="47755">
                  <c:v>-2.5210084033613299E-3</c:v>
                </c:pt>
                <c:pt idx="47756">
                  <c:v>-2.5210084033613299E-3</c:v>
                </c:pt>
                <c:pt idx="47757">
                  <c:v>-2.5210084033613299E-3</c:v>
                </c:pt>
                <c:pt idx="47758">
                  <c:v>-2.5210084033613299E-3</c:v>
                </c:pt>
                <c:pt idx="47759">
                  <c:v>-2.5210084033613299E-3</c:v>
                </c:pt>
                <c:pt idx="47760">
                  <c:v>-2.5210084033613299E-3</c:v>
                </c:pt>
                <c:pt idx="47761">
                  <c:v>-2.5210084033613299E-3</c:v>
                </c:pt>
                <c:pt idx="47762">
                  <c:v>-2.5210084033613299E-3</c:v>
                </c:pt>
                <c:pt idx="47763">
                  <c:v>-2.5210084033613299E-3</c:v>
                </c:pt>
                <c:pt idx="47764">
                  <c:v>-2.5210084033613299E-3</c:v>
                </c:pt>
                <c:pt idx="47765">
                  <c:v>-2.5210084033613299E-3</c:v>
                </c:pt>
                <c:pt idx="47766">
                  <c:v>-2.5210084033613299E-3</c:v>
                </c:pt>
                <c:pt idx="47767">
                  <c:v>-2.5210084033613299E-3</c:v>
                </c:pt>
                <c:pt idx="47768">
                  <c:v>-2.5210084033613299E-3</c:v>
                </c:pt>
                <c:pt idx="47769">
                  <c:v>-2.5210084033613299E-3</c:v>
                </c:pt>
                <c:pt idx="47770">
                  <c:v>-2.5210084033613299E-3</c:v>
                </c:pt>
                <c:pt idx="47771">
                  <c:v>-2.5210084033613299E-3</c:v>
                </c:pt>
                <c:pt idx="47772">
                  <c:v>-2.5210084033613299E-3</c:v>
                </c:pt>
                <c:pt idx="47773">
                  <c:v>-2.5210084033613299E-3</c:v>
                </c:pt>
                <c:pt idx="47774">
                  <c:v>-2.5210084033613299E-3</c:v>
                </c:pt>
                <c:pt idx="47775">
                  <c:v>-2.5210084033613299E-3</c:v>
                </c:pt>
                <c:pt idx="47776">
                  <c:v>-2.5210084033613299E-3</c:v>
                </c:pt>
                <c:pt idx="47777">
                  <c:v>-2.5210084033613299E-3</c:v>
                </c:pt>
                <c:pt idx="47778">
                  <c:v>-2.5210084033613299E-3</c:v>
                </c:pt>
                <c:pt idx="47779">
                  <c:v>-2.5210084033613299E-3</c:v>
                </c:pt>
                <c:pt idx="47780">
                  <c:v>-2.5210084033613299E-3</c:v>
                </c:pt>
                <c:pt idx="47781">
                  <c:v>-2.5210084033613299E-3</c:v>
                </c:pt>
                <c:pt idx="47782">
                  <c:v>-2.5210084033613299E-3</c:v>
                </c:pt>
                <c:pt idx="47783">
                  <c:v>-2.5210084033613299E-3</c:v>
                </c:pt>
                <c:pt idx="47784">
                  <c:v>-2.5210084033613299E-3</c:v>
                </c:pt>
                <c:pt idx="47785">
                  <c:v>-2.5210084033613299E-3</c:v>
                </c:pt>
                <c:pt idx="47786">
                  <c:v>-2.5210084033613299E-3</c:v>
                </c:pt>
                <c:pt idx="47787">
                  <c:v>-2.5210084033613299E-3</c:v>
                </c:pt>
                <c:pt idx="47788">
                  <c:v>-2.5210084033613299E-3</c:v>
                </c:pt>
                <c:pt idx="47789">
                  <c:v>-2.5210084033613299E-3</c:v>
                </c:pt>
                <c:pt idx="47790">
                  <c:v>-2.5210084033613299E-3</c:v>
                </c:pt>
                <c:pt idx="47791">
                  <c:v>-2.5210084033613299E-3</c:v>
                </c:pt>
                <c:pt idx="47792">
                  <c:v>-2.5210084033613299E-3</c:v>
                </c:pt>
                <c:pt idx="47793">
                  <c:v>-1.6806722689075499E-3</c:v>
                </c:pt>
                <c:pt idx="47794">
                  <c:v>-1.6806722689075499E-3</c:v>
                </c:pt>
                <c:pt idx="47795">
                  <c:v>-1.6806722689075499E-3</c:v>
                </c:pt>
                <c:pt idx="47796">
                  <c:v>-1.6806722689075499E-3</c:v>
                </c:pt>
                <c:pt idx="47797">
                  <c:v>-1.6806722689075499E-3</c:v>
                </c:pt>
                <c:pt idx="47798">
                  <c:v>-1.6806722689075499E-3</c:v>
                </c:pt>
                <c:pt idx="47799">
                  <c:v>-1.6806722689075499E-3</c:v>
                </c:pt>
                <c:pt idx="47800">
                  <c:v>-1.6806722689075499E-3</c:v>
                </c:pt>
                <c:pt idx="47801">
                  <c:v>-1.6806722689075499E-3</c:v>
                </c:pt>
                <c:pt idx="47802">
                  <c:v>-2.5210084033613299E-3</c:v>
                </c:pt>
                <c:pt idx="47803">
                  <c:v>-2.5210084033613299E-3</c:v>
                </c:pt>
                <c:pt idx="47804">
                  <c:v>-2.5210084033613299E-3</c:v>
                </c:pt>
                <c:pt idx="47805">
                  <c:v>-2.5210084033613299E-3</c:v>
                </c:pt>
                <c:pt idx="47806">
                  <c:v>-2.5210084033613299E-3</c:v>
                </c:pt>
                <c:pt idx="47807">
                  <c:v>-2.5210084033613299E-3</c:v>
                </c:pt>
                <c:pt idx="47808">
                  <c:v>-2.5210084033613299E-3</c:v>
                </c:pt>
                <c:pt idx="47809">
                  <c:v>-2.5210084033613299E-3</c:v>
                </c:pt>
                <c:pt idx="47810">
                  <c:v>-2.5210084033613299E-3</c:v>
                </c:pt>
                <c:pt idx="47811">
                  <c:v>-2.5210084033613299E-3</c:v>
                </c:pt>
                <c:pt idx="47812">
                  <c:v>-2.5210084033613299E-3</c:v>
                </c:pt>
                <c:pt idx="47813">
                  <c:v>-2.5210084033613299E-3</c:v>
                </c:pt>
                <c:pt idx="47814">
                  <c:v>-2.5210084033613299E-3</c:v>
                </c:pt>
                <c:pt idx="47815">
                  <c:v>-2.5210084033613299E-3</c:v>
                </c:pt>
                <c:pt idx="47816">
                  <c:v>-2.5210084033613299E-3</c:v>
                </c:pt>
                <c:pt idx="47817">
                  <c:v>-2.5210084033613299E-3</c:v>
                </c:pt>
                <c:pt idx="47818">
                  <c:v>-2.5210084033613299E-3</c:v>
                </c:pt>
                <c:pt idx="47819">
                  <c:v>-2.5210084033613299E-3</c:v>
                </c:pt>
                <c:pt idx="47820">
                  <c:v>-2.5210084033613299E-3</c:v>
                </c:pt>
                <c:pt idx="47821">
                  <c:v>-2.5210084033613299E-3</c:v>
                </c:pt>
                <c:pt idx="47822">
                  <c:v>-2.5210084033613299E-3</c:v>
                </c:pt>
                <c:pt idx="47823">
                  <c:v>-2.5210084033613299E-3</c:v>
                </c:pt>
                <c:pt idx="47824">
                  <c:v>-2.5210084033613299E-3</c:v>
                </c:pt>
                <c:pt idx="47825">
                  <c:v>-2.5210084033613299E-3</c:v>
                </c:pt>
                <c:pt idx="47826">
                  <c:v>-2.5210084033613299E-3</c:v>
                </c:pt>
                <c:pt idx="47827">
                  <c:v>-2.5210084033613299E-3</c:v>
                </c:pt>
                <c:pt idx="47828">
                  <c:v>-2.5210084033613299E-3</c:v>
                </c:pt>
                <c:pt idx="47829">
                  <c:v>-2.5210084033613299E-3</c:v>
                </c:pt>
                <c:pt idx="47830">
                  <c:v>-2.5210084033613299E-3</c:v>
                </c:pt>
                <c:pt idx="47831">
                  <c:v>-2.5210084033613299E-3</c:v>
                </c:pt>
                <c:pt idx="47832">
                  <c:v>-2.5210084033613299E-3</c:v>
                </c:pt>
                <c:pt idx="47833">
                  <c:v>-2.5210084033613299E-3</c:v>
                </c:pt>
                <c:pt idx="47834">
                  <c:v>-2.5210084033613299E-3</c:v>
                </c:pt>
                <c:pt idx="47835">
                  <c:v>-2.5210084033613299E-3</c:v>
                </c:pt>
                <c:pt idx="47836">
                  <c:v>-2.5210084033613299E-3</c:v>
                </c:pt>
                <c:pt idx="47837">
                  <c:v>-2.5210084033613299E-3</c:v>
                </c:pt>
                <c:pt idx="47838">
                  <c:v>-2.5210084033613299E-3</c:v>
                </c:pt>
                <c:pt idx="47839">
                  <c:v>-2.5210084033613299E-3</c:v>
                </c:pt>
                <c:pt idx="47840">
                  <c:v>-2.5210084033613299E-3</c:v>
                </c:pt>
                <c:pt idx="47841">
                  <c:v>-2.5210084033613299E-3</c:v>
                </c:pt>
                <c:pt idx="47842">
                  <c:v>-2.5210084033613299E-3</c:v>
                </c:pt>
                <c:pt idx="47843">
                  <c:v>-2.5210084033613299E-3</c:v>
                </c:pt>
                <c:pt idx="47844">
                  <c:v>-2.5210084033613299E-3</c:v>
                </c:pt>
                <c:pt idx="47845">
                  <c:v>-2.5210084033613299E-3</c:v>
                </c:pt>
                <c:pt idx="47846">
                  <c:v>-2.5210084033613299E-3</c:v>
                </c:pt>
                <c:pt idx="47847">
                  <c:v>-2.5210084033613299E-3</c:v>
                </c:pt>
                <c:pt idx="47848">
                  <c:v>-2.5210084033613299E-3</c:v>
                </c:pt>
                <c:pt idx="47849">
                  <c:v>-2.5210084033613299E-3</c:v>
                </c:pt>
                <c:pt idx="47850">
                  <c:v>-2.5210084033613299E-3</c:v>
                </c:pt>
                <c:pt idx="47851">
                  <c:v>-2.5210084033613299E-3</c:v>
                </c:pt>
                <c:pt idx="47852">
                  <c:v>-2.5210084033613299E-3</c:v>
                </c:pt>
                <c:pt idx="47853">
                  <c:v>-2.5210084033613299E-3</c:v>
                </c:pt>
                <c:pt idx="47854">
                  <c:v>-2.5210084033613299E-3</c:v>
                </c:pt>
                <c:pt idx="47855">
                  <c:v>-2.5210084033613299E-3</c:v>
                </c:pt>
                <c:pt idx="47856">
                  <c:v>-2.5210084033613299E-3</c:v>
                </c:pt>
                <c:pt idx="47857">
                  <c:v>-2.5210084033613299E-3</c:v>
                </c:pt>
                <c:pt idx="47858">
                  <c:v>-2.5210084033613299E-3</c:v>
                </c:pt>
                <c:pt idx="47859">
                  <c:v>-2.5210084033613299E-3</c:v>
                </c:pt>
                <c:pt idx="47860">
                  <c:v>-2.5210084033613299E-3</c:v>
                </c:pt>
                <c:pt idx="47861">
                  <c:v>-2.5210084033613299E-3</c:v>
                </c:pt>
                <c:pt idx="47862">
                  <c:v>-2.5210084033613299E-3</c:v>
                </c:pt>
                <c:pt idx="47863">
                  <c:v>-2.5210084033613299E-3</c:v>
                </c:pt>
                <c:pt idx="47864">
                  <c:v>-2.5210084033613299E-3</c:v>
                </c:pt>
                <c:pt idx="47865">
                  <c:v>-2.5210084033613299E-3</c:v>
                </c:pt>
                <c:pt idx="47866">
                  <c:v>-2.5210084033613299E-3</c:v>
                </c:pt>
                <c:pt idx="47867">
                  <c:v>-2.5210084033613299E-3</c:v>
                </c:pt>
                <c:pt idx="47868">
                  <c:v>-2.5210084033613299E-3</c:v>
                </c:pt>
                <c:pt idx="47869">
                  <c:v>-2.5210084033613299E-3</c:v>
                </c:pt>
                <c:pt idx="47870">
                  <c:v>-1.6806722689075499E-3</c:v>
                </c:pt>
                <c:pt idx="47871">
                  <c:v>-1.6806722689075499E-3</c:v>
                </c:pt>
                <c:pt idx="47872">
                  <c:v>-1.6806722689075499E-3</c:v>
                </c:pt>
                <c:pt idx="47873">
                  <c:v>-1.6806722689075499E-3</c:v>
                </c:pt>
                <c:pt idx="47874">
                  <c:v>-1.6806722689075499E-3</c:v>
                </c:pt>
                <c:pt idx="47875">
                  <c:v>-1.6806722689075499E-3</c:v>
                </c:pt>
                <c:pt idx="47876">
                  <c:v>-1.6806722689075499E-3</c:v>
                </c:pt>
                <c:pt idx="47877">
                  <c:v>-1.6806722689075499E-3</c:v>
                </c:pt>
                <c:pt idx="47878">
                  <c:v>-1.6806722689075499E-3</c:v>
                </c:pt>
                <c:pt idx="47879">
                  <c:v>-1.6806722689075499E-3</c:v>
                </c:pt>
                <c:pt idx="47880">
                  <c:v>-1.6806722689075499E-3</c:v>
                </c:pt>
                <c:pt idx="47881">
                  <c:v>-1.6806722689075499E-3</c:v>
                </c:pt>
                <c:pt idx="47882">
                  <c:v>-1.6806722689075499E-3</c:v>
                </c:pt>
                <c:pt idx="47883">
                  <c:v>-1.6806722689075499E-3</c:v>
                </c:pt>
                <c:pt idx="47884">
                  <c:v>-1.6806722689075499E-3</c:v>
                </c:pt>
                <c:pt idx="47885">
                  <c:v>-1.6806722689075499E-3</c:v>
                </c:pt>
                <c:pt idx="47886">
                  <c:v>-1.6806722689075499E-3</c:v>
                </c:pt>
                <c:pt idx="47887">
                  <c:v>-1.6806722689075499E-3</c:v>
                </c:pt>
                <c:pt idx="47888">
                  <c:v>-1.6806722689075499E-3</c:v>
                </c:pt>
                <c:pt idx="47889">
                  <c:v>-1.6806722689075499E-3</c:v>
                </c:pt>
                <c:pt idx="47890">
                  <c:v>-1.6806722689075499E-3</c:v>
                </c:pt>
                <c:pt idx="47891">
                  <c:v>-1.6806722689075499E-3</c:v>
                </c:pt>
                <c:pt idx="47892">
                  <c:v>-1.6806722689075499E-3</c:v>
                </c:pt>
                <c:pt idx="47893">
                  <c:v>-1.6806722689075499E-3</c:v>
                </c:pt>
                <c:pt idx="47894">
                  <c:v>-1.6806722689075499E-3</c:v>
                </c:pt>
                <c:pt idx="47895">
                  <c:v>-1.6806722689075499E-3</c:v>
                </c:pt>
                <c:pt idx="47896">
                  <c:v>-1.6806722689075499E-3</c:v>
                </c:pt>
                <c:pt idx="47897">
                  <c:v>-1.6806722689075499E-3</c:v>
                </c:pt>
                <c:pt idx="47898">
                  <c:v>-1.6806722689075499E-3</c:v>
                </c:pt>
                <c:pt idx="47899">
                  <c:v>-1.6806722689075499E-3</c:v>
                </c:pt>
                <c:pt idx="47900">
                  <c:v>-1.6806722689075499E-3</c:v>
                </c:pt>
                <c:pt idx="47901">
                  <c:v>-1.6806722689075499E-3</c:v>
                </c:pt>
                <c:pt idx="47902">
                  <c:v>-1.6806722689075499E-3</c:v>
                </c:pt>
                <c:pt idx="47903">
                  <c:v>-1.6806722689075499E-3</c:v>
                </c:pt>
                <c:pt idx="47904">
                  <c:v>-1.6806722689075499E-3</c:v>
                </c:pt>
                <c:pt idx="47905">
                  <c:v>-1.6806722689075499E-3</c:v>
                </c:pt>
                <c:pt idx="47906">
                  <c:v>-1.6806722689075499E-3</c:v>
                </c:pt>
                <c:pt idx="47907">
                  <c:v>-1.6806722689075499E-3</c:v>
                </c:pt>
                <c:pt idx="47908">
                  <c:v>-1.6806722689075499E-3</c:v>
                </c:pt>
                <c:pt idx="47909">
                  <c:v>-1.6806722689075499E-3</c:v>
                </c:pt>
                <c:pt idx="47910">
                  <c:v>-1.6806722689075499E-3</c:v>
                </c:pt>
                <c:pt idx="47911">
                  <c:v>-1.6806722689075499E-3</c:v>
                </c:pt>
                <c:pt idx="47912">
                  <c:v>-1.6806722689075499E-3</c:v>
                </c:pt>
                <c:pt idx="47913">
                  <c:v>-1.6806722689075499E-3</c:v>
                </c:pt>
                <c:pt idx="47914">
                  <c:v>-1.6806722689075499E-3</c:v>
                </c:pt>
                <c:pt idx="47915">
                  <c:v>-1.6806722689075499E-3</c:v>
                </c:pt>
                <c:pt idx="47916">
                  <c:v>-1.6806722689075499E-3</c:v>
                </c:pt>
                <c:pt idx="47917">
                  <c:v>-1.6806722689075499E-3</c:v>
                </c:pt>
                <c:pt idx="47918">
                  <c:v>-1.6806722689075499E-3</c:v>
                </c:pt>
                <c:pt idx="47919">
                  <c:v>-1.6806722689075499E-3</c:v>
                </c:pt>
                <c:pt idx="47920">
                  <c:v>-1.6806722689075499E-3</c:v>
                </c:pt>
                <c:pt idx="47921">
                  <c:v>-1.6806722689075499E-3</c:v>
                </c:pt>
                <c:pt idx="47922">
                  <c:v>-1.6806722689075499E-3</c:v>
                </c:pt>
                <c:pt idx="47923">
                  <c:v>-1.6806722689075499E-3</c:v>
                </c:pt>
                <c:pt idx="47924">
                  <c:v>-1.6806722689075499E-3</c:v>
                </c:pt>
                <c:pt idx="47925">
                  <c:v>-1.6806722689075499E-3</c:v>
                </c:pt>
                <c:pt idx="47926">
                  <c:v>-1.6806722689075499E-3</c:v>
                </c:pt>
                <c:pt idx="47927">
                  <c:v>-1.6806722689075499E-3</c:v>
                </c:pt>
                <c:pt idx="47928">
                  <c:v>-1.6806722689075499E-3</c:v>
                </c:pt>
                <c:pt idx="47929">
                  <c:v>-1.6806722689075499E-3</c:v>
                </c:pt>
                <c:pt idx="47930">
                  <c:v>-1.6806722689075499E-3</c:v>
                </c:pt>
                <c:pt idx="47931">
                  <c:v>-1.6806722689075499E-3</c:v>
                </c:pt>
                <c:pt idx="47932">
                  <c:v>-1.6806722689075499E-3</c:v>
                </c:pt>
                <c:pt idx="47933">
                  <c:v>-1.6806722689075499E-3</c:v>
                </c:pt>
                <c:pt idx="47934">
                  <c:v>-1.6806722689075499E-3</c:v>
                </c:pt>
                <c:pt idx="47935">
                  <c:v>-1.6806722689075499E-3</c:v>
                </c:pt>
                <c:pt idx="47936">
                  <c:v>-1.6806722689075499E-3</c:v>
                </c:pt>
                <c:pt idx="47937">
                  <c:v>-1.6806722689075499E-3</c:v>
                </c:pt>
                <c:pt idx="47938">
                  <c:v>-1.6806722689075499E-3</c:v>
                </c:pt>
                <c:pt idx="47939">
                  <c:v>-1.6806722689075499E-3</c:v>
                </c:pt>
                <c:pt idx="47940">
                  <c:v>-1.6806722689075499E-3</c:v>
                </c:pt>
                <c:pt idx="47941">
                  <c:v>-1.6806722689075499E-3</c:v>
                </c:pt>
                <c:pt idx="47942">
                  <c:v>-1.6806722689075499E-3</c:v>
                </c:pt>
                <c:pt idx="47943">
                  <c:v>-1.6806722689075499E-3</c:v>
                </c:pt>
                <c:pt idx="47944">
                  <c:v>-1.6806722689075499E-3</c:v>
                </c:pt>
                <c:pt idx="47945">
                  <c:v>-1.6806722689075499E-3</c:v>
                </c:pt>
                <c:pt idx="47946">
                  <c:v>-1.6806722689075499E-3</c:v>
                </c:pt>
                <c:pt idx="47947">
                  <c:v>-1.6806722689075499E-3</c:v>
                </c:pt>
                <c:pt idx="47948">
                  <c:v>-1.6806722689075499E-3</c:v>
                </c:pt>
                <c:pt idx="47949">
                  <c:v>-1.6806722689075499E-3</c:v>
                </c:pt>
                <c:pt idx="47950">
                  <c:v>-1.6806722689075499E-3</c:v>
                </c:pt>
                <c:pt idx="47951">
                  <c:v>-1.6806722689075499E-3</c:v>
                </c:pt>
                <c:pt idx="47952">
                  <c:v>-1.6806722689075499E-3</c:v>
                </c:pt>
                <c:pt idx="47953">
                  <c:v>-1.6806722689075499E-3</c:v>
                </c:pt>
                <c:pt idx="47954">
                  <c:v>-1.6806722689075499E-3</c:v>
                </c:pt>
                <c:pt idx="47955">
                  <c:v>-1.6806722689075499E-3</c:v>
                </c:pt>
                <c:pt idx="47956">
                  <c:v>-1.6806722689075499E-3</c:v>
                </c:pt>
                <c:pt idx="47957">
                  <c:v>-1.6806722689075499E-3</c:v>
                </c:pt>
                <c:pt idx="47958">
                  <c:v>-1.6806722689075499E-3</c:v>
                </c:pt>
                <c:pt idx="47959">
                  <c:v>-1.6806722689075499E-3</c:v>
                </c:pt>
                <c:pt idx="47960">
                  <c:v>-1.6806722689075499E-3</c:v>
                </c:pt>
                <c:pt idx="47961">
                  <c:v>-1.6806722689075499E-3</c:v>
                </c:pt>
                <c:pt idx="47962">
                  <c:v>-1.6806722689075499E-3</c:v>
                </c:pt>
                <c:pt idx="47963">
                  <c:v>-1.6806722689075499E-3</c:v>
                </c:pt>
                <c:pt idx="47964">
                  <c:v>-1.6806722689075499E-3</c:v>
                </c:pt>
                <c:pt idx="47965">
                  <c:v>-1.6806722689075499E-3</c:v>
                </c:pt>
                <c:pt idx="47966">
                  <c:v>-1.6806722689075499E-3</c:v>
                </c:pt>
                <c:pt idx="47967">
                  <c:v>-1.6806722689075499E-3</c:v>
                </c:pt>
                <c:pt idx="47968">
                  <c:v>-1.6806722689075499E-3</c:v>
                </c:pt>
                <c:pt idx="47969">
                  <c:v>-1.6806722689075499E-3</c:v>
                </c:pt>
                <c:pt idx="47970">
                  <c:v>-1.6806722689075499E-3</c:v>
                </c:pt>
                <c:pt idx="47971">
                  <c:v>-1.6806722689075499E-3</c:v>
                </c:pt>
                <c:pt idx="47972">
                  <c:v>-1.6806722689075499E-3</c:v>
                </c:pt>
                <c:pt idx="47973">
                  <c:v>-1.6806722689075499E-3</c:v>
                </c:pt>
                <c:pt idx="47974">
                  <c:v>-1.6806722689075499E-3</c:v>
                </c:pt>
                <c:pt idx="47975">
                  <c:v>-1.6806722689075499E-3</c:v>
                </c:pt>
                <c:pt idx="47976">
                  <c:v>-1.6806722689075499E-3</c:v>
                </c:pt>
                <c:pt idx="47977">
                  <c:v>-1.6806722689075499E-3</c:v>
                </c:pt>
                <c:pt idx="47978">
                  <c:v>-1.6806722689075499E-3</c:v>
                </c:pt>
                <c:pt idx="47979">
                  <c:v>-1.6806722689075499E-3</c:v>
                </c:pt>
                <c:pt idx="47980">
                  <c:v>-1.6806722689075499E-3</c:v>
                </c:pt>
                <c:pt idx="47981">
                  <c:v>-1.6806722689075499E-3</c:v>
                </c:pt>
                <c:pt idx="47982">
                  <c:v>-1.6806722689075499E-3</c:v>
                </c:pt>
                <c:pt idx="47983">
                  <c:v>-1.6806722689075499E-3</c:v>
                </c:pt>
                <c:pt idx="47984">
                  <c:v>-1.6806722689075499E-3</c:v>
                </c:pt>
                <c:pt idx="47985">
                  <c:v>-1.6806722689075499E-3</c:v>
                </c:pt>
                <c:pt idx="47986">
                  <c:v>-1.6806722689075499E-3</c:v>
                </c:pt>
                <c:pt idx="47987">
                  <c:v>-1.6806722689075499E-3</c:v>
                </c:pt>
                <c:pt idx="47988">
                  <c:v>-1.6806722689075499E-3</c:v>
                </c:pt>
                <c:pt idx="47989">
                  <c:v>-1.6806722689075499E-3</c:v>
                </c:pt>
                <c:pt idx="47990">
                  <c:v>-1.6806722689075499E-3</c:v>
                </c:pt>
                <c:pt idx="47991">
                  <c:v>-1.6806722689075499E-3</c:v>
                </c:pt>
                <c:pt idx="47992">
                  <c:v>-1.6806722689075499E-3</c:v>
                </c:pt>
                <c:pt idx="47993">
                  <c:v>-1.6806722689075499E-3</c:v>
                </c:pt>
                <c:pt idx="47994">
                  <c:v>-1.6806722689075499E-3</c:v>
                </c:pt>
                <c:pt idx="47995">
                  <c:v>-1.6806722689075499E-3</c:v>
                </c:pt>
                <c:pt idx="47996">
                  <c:v>-1.6806722689075499E-3</c:v>
                </c:pt>
                <c:pt idx="47997">
                  <c:v>-1.6806722689075499E-3</c:v>
                </c:pt>
                <c:pt idx="47998">
                  <c:v>-1.6806722689075499E-3</c:v>
                </c:pt>
                <c:pt idx="47999">
                  <c:v>-1.6806722689075499E-3</c:v>
                </c:pt>
                <c:pt idx="48000">
                  <c:v>-1.6806722689075499E-3</c:v>
                </c:pt>
                <c:pt idx="48001">
                  <c:v>-1.6806722689075499E-3</c:v>
                </c:pt>
                <c:pt idx="48002">
                  <c:v>-1.6806722689075499E-3</c:v>
                </c:pt>
                <c:pt idx="48003">
                  <c:v>-1.6806722689075499E-3</c:v>
                </c:pt>
                <c:pt idx="48004">
                  <c:v>-1.6806722689075499E-3</c:v>
                </c:pt>
                <c:pt idx="48005">
                  <c:v>-1.6806722689075499E-3</c:v>
                </c:pt>
                <c:pt idx="48006">
                  <c:v>-1.6806722689075499E-3</c:v>
                </c:pt>
                <c:pt idx="48007">
                  <c:v>-1.6806722689075499E-3</c:v>
                </c:pt>
                <c:pt idx="48008">
                  <c:v>-1.6806722689075499E-3</c:v>
                </c:pt>
                <c:pt idx="48009">
                  <c:v>-1.6806722689075499E-3</c:v>
                </c:pt>
                <c:pt idx="48010">
                  <c:v>-1.6806722689075499E-3</c:v>
                </c:pt>
                <c:pt idx="48011">
                  <c:v>-1.6806722689075499E-3</c:v>
                </c:pt>
                <c:pt idx="48012">
                  <c:v>-1.6806722689075499E-3</c:v>
                </c:pt>
                <c:pt idx="48013">
                  <c:v>-1.6806722689075499E-3</c:v>
                </c:pt>
                <c:pt idx="48014">
                  <c:v>-1.6806722689075499E-3</c:v>
                </c:pt>
                <c:pt idx="48015">
                  <c:v>-1.6806722689075499E-3</c:v>
                </c:pt>
                <c:pt idx="48016">
                  <c:v>-1.6806722689075499E-3</c:v>
                </c:pt>
                <c:pt idx="48017">
                  <c:v>-1.6806722689075499E-3</c:v>
                </c:pt>
                <c:pt idx="48018">
                  <c:v>-1.6806722689075499E-3</c:v>
                </c:pt>
                <c:pt idx="48019">
                  <c:v>-1.6806722689075499E-3</c:v>
                </c:pt>
                <c:pt idx="48020">
                  <c:v>-1.6806722689075499E-3</c:v>
                </c:pt>
                <c:pt idx="48021">
                  <c:v>-1.6806722689075499E-3</c:v>
                </c:pt>
                <c:pt idx="48022">
                  <c:v>-1.6806722689075499E-3</c:v>
                </c:pt>
                <c:pt idx="48023">
                  <c:v>-1.6806722689075499E-3</c:v>
                </c:pt>
                <c:pt idx="48024">
                  <c:v>-1.6806722689075499E-3</c:v>
                </c:pt>
                <c:pt idx="48025">
                  <c:v>-1.6806722689075499E-3</c:v>
                </c:pt>
                <c:pt idx="48026">
                  <c:v>-1.6806722689075499E-3</c:v>
                </c:pt>
                <c:pt idx="48027">
                  <c:v>-1.6806722689075499E-3</c:v>
                </c:pt>
                <c:pt idx="48028">
                  <c:v>-1.6806722689075499E-3</c:v>
                </c:pt>
                <c:pt idx="48029">
                  <c:v>-1.6806722689075499E-3</c:v>
                </c:pt>
                <c:pt idx="48030">
                  <c:v>-1.6806722689075499E-3</c:v>
                </c:pt>
                <c:pt idx="48031">
                  <c:v>-1.6806722689075499E-3</c:v>
                </c:pt>
                <c:pt idx="48032">
                  <c:v>-1.6806722689075499E-3</c:v>
                </c:pt>
                <c:pt idx="48033">
                  <c:v>-1.6806722689075499E-3</c:v>
                </c:pt>
                <c:pt idx="48034">
                  <c:v>-1.6806722689075499E-3</c:v>
                </c:pt>
                <c:pt idx="48035">
                  <c:v>-1.6806722689075499E-3</c:v>
                </c:pt>
                <c:pt idx="48036">
                  <c:v>-1.6806722689075499E-3</c:v>
                </c:pt>
                <c:pt idx="48037">
                  <c:v>-1.6806722689075499E-3</c:v>
                </c:pt>
                <c:pt idx="48038">
                  <c:v>-1.6806722689075499E-3</c:v>
                </c:pt>
                <c:pt idx="48039">
                  <c:v>-1.6806722689075499E-3</c:v>
                </c:pt>
                <c:pt idx="48040">
                  <c:v>-1.6806722689075499E-3</c:v>
                </c:pt>
                <c:pt idx="48041">
                  <c:v>-1.6806722689075499E-3</c:v>
                </c:pt>
                <c:pt idx="48042">
                  <c:v>-1.6806722689075499E-3</c:v>
                </c:pt>
                <c:pt idx="48043">
                  <c:v>-1.6806722689075499E-3</c:v>
                </c:pt>
                <c:pt idx="48044">
                  <c:v>-1.6806722689075499E-3</c:v>
                </c:pt>
                <c:pt idx="48045">
                  <c:v>-1.6806722689075499E-3</c:v>
                </c:pt>
                <c:pt idx="48046">
                  <c:v>-1.6806722689075499E-3</c:v>
                </c:pt>
                <c:pt idx="48047">
                  <c:v>-1.6806722689075499E-3</c:v>
                </c:pt>
                <c:pt idx="48048">
                  <c:v>-1.6806722689075499E-3</c:v>
                </c:pt>
                <c:pt idx="48049">
                  <c:v>-1.6806722689075499E-3</c:v>
                </c:pt>
                <c:pt idx="48050">
                  <c:v>-1.6806722689075499E-3</c:v>
                </c:pt>
                <c:pt idx="48051">
                  <c:v>-1.6806722689075499E-3</c:v>
                </c:pt>
                <c:pt idx="48052">
                  <c:v>-1.6806722689075499E-3</c:v>
                </c:pt>
                <c:pt idx="48053">
                  <c:v>-1.6806722689075499E-3</c:v>
                </c:pt>
                <c:pt idx="48054">
                  <c:v>-1.6806722689075499E-3</c:v>
                </c:pt>
                <c:pt idx="48055">
                  <c:v>-1.6806722689075499E-3</c:v>
                </c:pt>
                <c:pt idx="48056">
                  <c:v>-1.6806722689075499E-3</c:v>
                </c:pt>
                <c:pt idx="48057">
                  <c:v>-1.6806722689075499E-3</c:v>
                </c:pt>
                <c:pt idx="48058">
                  <c:v>-1.6806722689075499E-3</c:v>
                </c:pt>
                <c:pt idx="48059">
                  <c:v>-1.6806722689075499E-3</c:v>
                </c:pt>
                <c:pt idx="48060">
                  <c:v>-1.6806722689075499E-3</c:v>
                </c:pt>
                <c:pt idx="48061">
                  <c:v>-1.6806722689075499E-3</c:v>
                </c:pt>
                <c:pt idx="48062">
                  <c:v>-1.6806722689075499E-3</c:v>
                </c:pt>
                <c:pt idx="48063">
                  <c:v>-1.6806722689075499E-3</c:v>
                </c:pt>
                <c:pt idx="48064">
                  <c:v>-1.6806722689075499E-3</c:v>
                </c:pt>
                <c:pt idx="48065">
                  <c:v>-1.6806722689075499E-3</c:v>
                </c:pt>
                <c:pt idx="48066">
                  <c:v>-1.6806722689075499E-3</c:v>
                </c:pt>
                <c:pt idx="48067">
                  <c:v>-1.6806722689075499E-3</c:v>
                </c:pt>
                <c:pt idx="48068">
                  <c:v>-1.6806722689075499E-3</c:v>
                </c:pt>
                <c:pt idx="48069">
                  <c:v>-1.6806722689075499E-3</c:v>
                </c:pt>
                <c:pt idx="48070">
                  <c:v>-1.6806722689075499E-3</c:v>
                </c:pt>
                <c:pt idx="48071">
                  <c:v>-1.6806722689075499E-3</c:v>
                </c:pt>
                <c:pt idx="48072">
                  <c:v>-1.6806722689075499E-3</c:v>
                </c:pt>
                <c:pt idx="48073">
                  <c:v>-1.6806722689075499E-3</c:v>
                </c:pt>
                <c:pt idx="48074">
                  <c:v>-1.6806722689075499E-3</c:v>
                </c:pt>
                <c:pt idx="48075">
                  <c:v>-1.6806722689075499E-3</c:v>
                </c:pt>
                <c:pt idx="48076">
                  <c:v>-1.6806722689075499E-3</c:v>
                </c:pt>
                <c:pt idx="48077">
                  <c:v>-1.6806722689075499E-3</c:v>
                </c:pt>
                <c:pt idx="48078">
                  <c:v>-1.6806722689075499E-3</c:v>
                </c:pt>
                <c:pt idx="48079">
                  <c:v>-1.6806722689075499E-3</c:v>
                </c:pt>
                <c:pt idx="48080">
                  <c:v>-1.6806722689075499E-3</c:v>
                </c:pt>
                <c:pt idx="48081">
                  <c:v>-1.6806722689075499E-3</c:v>
                </c:pt>
                <c:pt idx="48082">
                  <c:v>-1.6806722689075499E-3</c:v>
                </c:pt>
                <c:pt idx="48083">
                  <c:v>-1.6806722689075499E-3</c:v>
                </c:pt>
                <c:pt idx="48084">
                  <c:v>-1.6806722689075499E-3</c:v>
                </c:pt>
                <c:pt idx="48085">
                  <c:v>-1.6806722689075499E-3</c:v>
                </c:pt>
                <c:pt idx="48086">
                  <c:v>-1.6806722689075499E-3</c:v>
                </c:pt>
                <c:pt idx="48087">
                  <c:v>-1.6806722689075499E-3</c:v>
                </c:pt>
                <c:pt idx="48088">
                  <c:v>-1.6806722689075499E-3</c:v>
                </c:pt>
                <c:pt idx="48089">
                  <c:v>-1.6806722689075499E-3</c:v>
                </c:pt>
                <c:pt idx="48090">
                  <c:v>-1.6806722689075499E-3</c:v>
                </c:pt>
                <c:pt idx="48091">
                  <c:v>-1.6806722689075499E-3</c:v>
                </c:pt>
                <c:pt idx="48092">
                  <c:v>-1.6806722689075499E-3</c:v>
                </c:pt>
                <c:pt idx="48093">
                  <c:v>-1.6806722689075499E-3</c:v>
                </c:pt>
                <c:pt idx="48094">
                  <c:v>-1.6806722689075499E-3</c:v>
                </c:pt>
                <c:pt idx="48095">
                  <c:v>-1.6806722689075499E-3</c:v>
                </c:pt>
                <c:pt idx="48096">
                  <c:v>-1.6806722689075499E-3</c:v>
                </c:pt>
                <c:pt idx="48097">
                  <c:v>-1.6806722689075499E-3</c:v>
                </c:pt>
                <c:pt idx="48098">
                  <c:v>-1.6806722689075499E-3</c:v>
                </c:pt>
                <c:pt idx="48099">
                  <c:v>-1.6806722689075499E-3</c:v>
                </c:pt>
                <c:pt idx="48100">
                  <c:v>-1.6806722689075499E-3</c:v>
                </c:pt>
                <c:pt idx="48101">
                  <c:v>-1.6806722689075499E-3</c:v>
                </c:pt>
                <c:pt idx="48102">
                  <c:v>-1.6806722689075499E-3</c:v>
                </c:pt>
                <c:pt idx="48103">
                  <c:v>-1.6806722689075499E-3</c:v>
                </c:pt>
                <c:pt idx="48104">
                  <c:v>-1.6806722689075499E-3</c:v>
                </c:pt>
                <c:pt idx="48105">
                  <c:v>-1.6806722689075499E-3</c:v>
                </c:pt>
                <c:pt idx="48106">
                  <c:v>-1.6806722689075499E-3</c:v>
                </c:pt>
                <c:pt idx="48107">
                  <c:v>-1.6806722689075499E-3</c:v>
                </c:pt>
                <c:pt idx="48108">
                  <c:v>-1.6806722689075499E-3</c:v>
                </c:pt>
                <c:pt idx="48109">
                  <c:v>-1.6806722689075499E-3</c:v>
                </c:pt>
                <c:pt idx="48110">
                  <c:v>-1.6806722689075499E-3</c:v>
                </c:pt>
                <c:pt idx="48111">
                  <c:v>-1.6806722689075499E-3</c:v>
                </c:pt>
                <c:pt idx="48112">
                  <c:v>-1.6806722689075499E-3</c:v>
                </c:pt>
                <c:pt idx="48113">
                  <c:v>-1.6806722689075499E-3</c:v>
                </c:pt>
                <c:pt idx="48114">
                  <c:v>-1.6806722689075499E-3</c:v>
                </c:pt>
                <c:pt idx="48115">
                  <c:v>-1.6806722689075499E-3</c:v>
                </c:pt>
                <c:pt idx="48116">
                  <c:v>-1.6806722689075499E-3</c:v>
                </c:pt>
                <c:pt idx="48117">
                  <c:v>-1.6806722689075499E-3</c:v>
                </c:pt>
                <c:pt idx="48118">
                  <c:v>-1.6806722689075499E-3</c:v>
                </c:pt>
                <c:pt idx="48119">
                  <c:v>-1.6806722689075499E-3</c:v>
                </c:pt>
                <c:pt idx="48120">
                  <c:v>-1.6806722689075499E-3</c:v>
                </c:pt>
                <c:pt idx="48121">
                  <c:v>-1.6806722689075499E-3</c:v>
                </c:pt>
                <c:pt idx="48122">
                  <c:v>-1.6806722689075499E-3</c:v>
                </c:pt>
                <c:pt idx="48123">
                  <c:v>-1.6806722689075499E-3</c:v>
                </c:pt>
                <c:pt idx="48124">
                  <c:v>-1.6806722689075499E-3</c:v>
                </c:pt>
                <c:pt idx="48125">
                  <c:v>-1.6806722689075499E-3</c:v>
                </c:pt>
                <c:pt idx="48126">
                  <c:v>-1.6806722689075499E-3</c:v>
                </c:pt>
                <c:pt idx="48127">
                  <c:v>-1.6806722689075499E-3</c:v>
                </c:pt>
                <c:pt idx="48128">
                  <c:v>-1.6806722689075499E-3</c:v>
                </c:pt>
                <c:pt idx="48129">
                  <c:v>-1.6806722689075499E-3</c:v>
                </c:pt>
                <c:pt idx="48130">
                  <c:v>-1.6806722689075499E-3</c:v>
                </c:pt>
                <c:pt idx="48131">
                  <c:v>-1.6806722689075499E-3</c:v>
                </c:pt>
                <c:pt idx="48132">
                  <c:v>-1.6806722689075499E-3</c:v>
                </c:pt>
                <c:pt idx="48133">
                  <c:v>-1.6806722689075499E-3</c:v>
                </c:pt>
                <c:pt idx="48134">
                  <c:v>-1.6806722689075499E-3</c:v>
                </c:pt>
                <c:pt idx="48135">
                  <c:v>-1.6806722689075499E-3</c:v>
                </c:pt>
                <c:pt idx="48136">
                  <c:v>-1.6806722689075499E-3</c:v>
                </c:pt>
                <c:pt idx="48137">
                  <c:v>-1.6806722689075499E-3</c:v>
                </c:pt>
                <c:pt idx="48138">
                  <c:v>-1.6806722689075499E-3</c:v>
                </c:pt>
                <c:pt idx="48139">
                  <c:v>-1.6806722689075499E-3</c:v>
                </c:pt>
                <c:pt idx="48140">
                  <c:v>-1.6806722689075499E-3</c:v>
                </c:pt>
                <c:pt idx="48141">
                  <c:v>-1.6806722689075499E-3</c:v>
                </c:pt>
                <c:pt idx="48142">
                  <c:v>-1.6806722689075499E-3</c:v>
                </c:pt>
                <c:pt idx="48143">
                  <c:v>-1.6806722689075499E-3</c:v>
                </c:pt>
                <c:pt idx="48144">
                  <c:v>-1.6806722689075499E-3</c:v>
                </c:pt>
                <c:pt idx="48145">
                  <c:v>-1.6806722689075499E-3</c:v>
                </c:pt>
                <c:pt idx="48146">
                  <c:v>-1.6806722689075499E-3</c:v>
                </c:pt>
                <c:pt idx="48147">
                  <c:v>-1.6806722689075499E-3</c:v>
                </c:pt>
                <c:pt idx="48148">
                  <c:v>-1.6806722689075499E-3</c:v>
                </c:pt>
                <c:pt idx="48149">
                  <c:v>-1.6806722689075499E-3</c:v>
                </c:pt>
                <c:pt idx="48150">
                  <c:v>-1.6806722689075499E-3</c:v>
                </c:pt>
                <c:pt idx="48151">
                  <c:v>-1.6806722689075499E-3</c:v>
                </c:pt>
                <c:pt idx="48152">
                  <c:v>-1.6806722689075499E-3</c:v>
                </c:pt>
                <c:pt idx="48153">
                  <c:v>-1.6806722689075499E-3</c:v>
                </c:pt>
                <c:pt idx="48154">
                  <c:v>-1.6806722689075499E-3</c:v>
                </c:pt>
                <c:pt idx="48155">
                  <c:v>-1.6806722689075499E-3</c:v>
                </c:pt>
                <c:pt idx="48156">
                  <c:v>-1.6806722689075499E-3</c:v>
                </c:pt>
                <c:pt idx="48157">
                  <c:v>-1.6806722689075499E-3</c:v>
                </c:pt>
                <c:pt idx="48158">
                  <c:v>-1.6806722689075499E-3</c:v>
                </c:pt>
                <c:pt idx="48159">
                  <c:v>-1.6806722689075499E-3</c:v>
                </c:pt>
                <c:pt idx="48160">
                  <c:v>-1.6806722689075499E-3</c:v>
                </c:pt>
                <c:pt idx="48161">
                  <c:v>-1.6806722689075499E-3</c:v>
                </c:pt>
                <c:pt idx="48162">
                  <c:v>-1.6806722689075499E-3</c:v>
                </c:pt>
                <c:pt idx="48163">
                  <c:v>-1.6806722689075499E-3</c:v>
                </c:pt>
                <c:pt idx="48164">
                  <c:v>-1.6806722689075499E-3</c:v>
                </c:pt>
                <c:pt idx="48165">
                  <c:v>-1.6806722689075499E-3</c:v>
                </c:pt>
                <c:pt idx="48166">
                  <c:v>-1.6806722689075499E-3</c:v>
                </c:pt>
                <c:pt idx="48167">
                  <c:v>-1.6806722689075499E-3</c:v>
                </c:pt>
                <c:pt idx="48168">
                  <c:v>-1.6806722689075499E-3</c:v>
                </c:pt>
                <c:pt idx="48169">
                  <c:v>-1.6806722689075499E-3</c:v>
                </c:pt>
                <c:pt idx="48170">
                  <c:v>-1.6806722689075499E-3</c:v>
                </c:pt>
                <c:pt idx="48171">
                  <c:v>-1.6806722689075499E-3</c:v>
                </c:pt>
                <c:pt idx="48172">
                  <c:v>-1.6806722689075499E-3</c:v>
                </c:pt>
                <c:pt idx="48173">
                  <c:v>-1.6806722689075499E-3</c:v>
                </c:pt>
                <c:pt idx="48174">
                  <c:v>-1.6806722689075499E-3</c:v>
                </c:pt>
                <c:pt idx="48175">
                  <c:v>-1.6806722689075499E-3</c:v>
                </c:pt>
                <c:pt idx="48176">
                  <c:v>-1.6806722689075499E-3</c:v>
                </c:pt>
                <c:pt idx="48177">
                  <c:v>-1.6806722689075499E-3</c:v>
                </c:pt>
                <c:pt idx="48178">
                  <c:v>-1.6806722689075499E-3</c:v>
                </c:pt>
                <c:pt idx="48179">
                  <c:v>-1.6806722689075499E-3</c:v>
                </c:pt>
                <c:pt idx="48180">
                  <c:v>-1.6806722689075499E-3</c:v>
                </c:pt>
                <c:pt idx="48181">
                  <c:v>-1.6806722689075499E-3</c:v>
                </c:pt>
                <c:pt idx="48182">
                  <c:v>-1.6806722689075499E-3</c:v>
                </c:pt>
                <c:pt idx="48183">
                  <c:v>-1.6806722689075499E-3</c:v>
                </c:pt>
                <c:pt idx="48184">
                  <c:v>-1.6806722689075499E-3</c:v>
                </c:pt>
                <c:pt idx="48185">
                  <c:v>-1.6806722689075499E-3</c:v>
                </c:pt>
                <c:pt idx="48186">
                  <c:v>-1.6806722689075499E-3</c:v>
                </c:pt>
                <c:pt idx="48187">
                  <c:v>-1.6806722689075499E-3</c:v>
                </c:pt>
                <c:pt idx="48188">
                  <c:v>-1.6806722689075499E-3</c:v>
                </c:pt>
                <c:pt idx="48189">
                  <c:v>-1.6806722689075499E-3</c:v>
                </c:pt>
                <c:pt idx="48190">
                  <c:v>-1.6806722689075499E-3</c:v>
                </c:pt>
                <c:pt idx="48191">
                  <c:v>-1.6806722689075499E-3</c:v>
                </c:pt>
                <c:pt idx="48192">
                  <c:v>-1.6806722689075499E-3</c:v>
                </c:pt>
                <c:pt idx="48193">
                  <c:v>-1.6806722689075499E-3</c:v>
                </c:pt>
                <c:pt idx="48194">
                  <c:v>-1.6806722689075499E-3</c:v>
                </c:pt>
                <c:pt idx="48195">
                  <c:v>-1.6806722689075499E-3</c:v>
                </c:pt>
                <c:pt idx="48196">
                  <c:v>-1.6806722689075499E-3</c:v>
                </c:pt>
                <c:pt idx="48197">
                  <c:v>-1.6806722689075499E-3</c:v>
                </c:pt>
                <c:pt idx="48198">
                  <c:v>-1.6806722689075499E-3</c:v>
                </c:pt>
                <c:pt idx="48199">
                  <c:v>-1.6806722689075499E-3</c:v>
                </c:pt>
                <c:pt idx="48200">
                  <c:v>-1.6806722689075499E-3</c:v>
                </c:pt>
                <c:pt idx="48201">
                  <c:v>-1.6806722689075499E-3</c:v>
                </c:pt>
                <c:pt idx="48202">
                  <c:v>-1.6806722689075499E-3</c:v>
                </c:pt>
                <c:pt idx="48203">
                  <c:v>-1.6806722689075499E-3</c:v>
                </c:pt>
                <c:pt idx="48204">
                  <c:v>-1.6806722689075499E-3</c:v>
                </c:pt>
                <c:pt idx="48205">
                  <c:v>-1.6806722689075499E-3</c:v>
                </c:pt>
                <c:pt idx="48206">
                  <c:v>-1.6806722689075499E-3</c:v>
                </c:pt>
                <c:pt idx="48207">
                  <c:v>-1.6806722689075499E-3</c:v>
                </c:pt>
                <c:pt idx="48208">
                  <c:v>-1.6806722689075499E-3</c:v>
                </c:pt>
                <c:pt idx="48209">
                  <c:v>-1.6806722689075499E-3</c:v>
                </c:pt>
                <c:pt idx="48210">
                  <c:v>-1.6806722689075499E-3</c:v>
                </c:pt>
                <c:pt idx="48211">
                  <c:v>-1.6806722689075499E-3</c:v>
                </c:pt>
                <c:pt idx="48212">
                  <c:v>-1.6806722689075499E-3</c:v>
                </c:pt>
                <c:pt idx="48213">
                  <c:v>-1.6806722689075499E-3</c:v>
                </c:pt>
                <c:pt idx="48214">
                  <c:v>-1.6806722689075499E-3</c:v>
                </c:pt>
                <c:pt idx="48215">
                  <c:v>-1.6806722689075499E-3</c:v>
                </c:pt>
                <c:pt idx="48216">
                  <c:v>-1.6806722689075499E-3</c:v>
                </c:pt>
                <c:pt idx="48217">
                  <c:v>-1.6806722689075499E-3</c:v>
                </c:pt>
                <c:pt idx="48218">
                  <c:v>-1.6806722689075499E-3</c:v>
                </c:pt>
                <c:pt idx="48219">
                  <c:v>-1.6806722689075499E-3</c:v>
                </c:pt>
                <c:pt idx="48220">
                  <c:v>-1.6806722689075499E-3</c:v>
                </c:pt>
                <c:pt idx="48221">
                  <c:v>-1.6806722689075499E-3</c:v>
                </c:pt>
                <c:pt idx="48222">
                  <c:v>-1.6806722689075499E-3</c:v>
                </c:pt>
                <c:pt idx="48223">
                  <c:v>-1.6806722689075499E-3</c:v>
                </c:pt>
                <c:pt idx="48224">
                  <c:v>-1.6806722689075499E-3</c:v>
                </c:pt>
                <c:pt idx="48225">
                  <c:v>-1.6806722689075499E-3</c:v>
                </c:pt>
                <c:pt idx="48226">
                  <c:v>-2.5210084033613299E-3</c:v>
                </c:pt>
                <c:pt idx="48227">
                  <c:v>-2.5210084033613299E-3</c:v>
                </c:pt>
                <c:pt idx="48228">
                  <c:v>-2.5210084033613299E-3</c:v>
                </c:pt>
                <c:pt idx="48229">
                  <c:v>-2.5210084033613299E-3</c:v>
                </c:pt>
                <c:pt idx="48230">
                  <c:v>-2.5210084033613299E-3</c:v>
                </c:pt>
                <c:pt idx="48231">
                  <c:v>-2.5210084033613299E-3</c:v>
                </c:pt>
                <c:pt idx="48232">
                  <c:v>-2.5210084033613299E-3</c:v>
                </c:pt>
                <c:pt idx="48233">
                  <c:v>-2.5210084033613299E-3</c:v>
                </c:pt>
                <c:pt idx="48234">
                  <c:v>-2.5210084033613299E-3</c:v>
                </c:pt>
                <c:pt idx="48235">
                  <c:v>-2.5210084033613299E-3</c:v>
                </c:pt>
                <c:pt idx="48236">
                  <c:v>-2.5210084033613299E-3</c:v>
                </c:pt>
                <c:pt idx="48237">
                  <c:v>-2.5210084033613299E-3</c:v>
                </c:pt>
                <c:pt idx="48238">
                  <c:v>-2.5210084033613299E-3</c:v>
                </c:pt>
                <c:pt idx="48239">
                  <c:v>-2.5210084033613299E-3</c:v>
                </c:pt>
                <c:pt idx="48240">
                  <c:v>-2.5210084033613299E-3</c:v>
                </c:pt>
                <c:pt idx="48241">
                  <c:v>-2.5210084033613299E-3</c:v>
                </c:pt>
                <c:pt idx="48242">
                  <c:v>-2.5210084033613299E-3</c:v>
                </c:pt>
                <c:pt idx="48243">
                  <c:v>-2.5210084033613299E-3</c:v>
                </c:pt>
                <c:pt idx="48244">
                  <c:v>-2.5210084033613299E-3</c:v>
                </c:pt>
                <c:pt idx="48245">
                  <c:v>-2.5210084033613299E-3</c:v>
                </c:pt>
                <c:pt idx="48246">
                  <c:v>-2.5210084033613299E-3</c:v>
                </c:pt>
                <c:pt idx="48247">
                  <c:v>-2.5210084033613299E-3</c:v>
                </c:pt>
                <c:pt idx="48248">
                  <c:v>-2.5210084033613299E-3</c:v>
                </c:pt>
                <c:pt idx="48249">
                  <c:v>-2.5210084033613299E-3</c:v>
                </c:pt>
                <c:pt idx="48250">
                  <c:v>-2.5210084033613299E-3</c:v>
                </c:pt>
                <c:pt idx="48251">
                  <c:v>-2.5210084033613299E-3</c:v>
                </c:pt>
                <c:pt idx="48252">
                  <c:v>-2.5210084033613299E-3</c:v>
                </c:pt>
                <c:pt idx="48253">
                  <c:v>-2.5210084033613299E-3</c:v>
                </c:pt>
                <c:pt idx="48254">
                  <c:v>-2.5210084033613299E-3</c:v>
                </c:pt>
                <c:pt idx="48255">
                  <c:v>-2.5210084033613299E-3</c:v>
                </c:pt>
                <c:pt idx="48256">
                  <c:v>-2.5210084033613299E-3</c:v>
                </c:pt>
                <c:pt idx="48257">
                  <c:v>-2.5210084033613299E-3</c:v>
                </c:pt>
                <c:pt idx="48258">
                  <c:v>-2.5210084033613299E-3</c:v>
                </c:pt>
                <c:pt idx="48259">
                  <c:v>-2.5210084033613299E-3</c:v>
                </c:pt>
                <c:pt idx="48260">
                  <c:v>-2.5210084033613299E-3</c:v>
                </c:pt>
                <c:pt idx="48261">
                  <c:v>-2.5210084033613299E-3</c:v>
                </c:pt>
                <c:pt idx="48262">
                  <c:v>-2.5210084033613299E-3</c:v>
                </c:pt>
                <c:pt idx="48263">
                  <c:v>-2.5210084033613299E-3</c:v>
                </c:pt>
                <c:pt idx="48264">
                  <c:v>-2.5210084033613299E-3</c:v>
                </c:pt>
                <c:pt idx="48265">
                  <c:v>-2.5210084033613299E-3</c:v>
                </c:pt>
                <c:pt idx="48266">
                  <c:v>-2.5210084033613299E-3</c:v>
                </c:pt>
                <c:pt idx="48267">
                  <c:v>-2.5210084033613299E-3</c:v>
                </c:pt>
                <c:pt idx="48268">
                  <c:v>-2.5210084033613299E-3</c:v>
                </c:pt>
                <c:pt idx="48269">
                  <c:v>-2.5210084033613299E-3</c:v>
                </c:pt>
                <c:pt idx="48270">
                  <c:v>-2.5210084033613299E-3</c:v>
                </c:pt>
                <c:pt idx="48271">
                  <c:v>-2.5210084033613299E-3</c:v>
                </c:pt>
                <c:pt idx="48272">
                  <c:v>-2.5210084033613299E-3</c:v>
                </c:pt>
                <c:pt idx="48273">
                  <c:v>-2.5210084033613299E-3</c:v>
                </c:pt>
                <c:pt idx="48274">
                  <c:v>-2.5210084033613299E-3</c:v>
                </c:pt>
                <c:pt idx="48275">
                  <c:v>-2.5210084033613299E-3</c:v>
                </c:pt>
                <c:pt idx="48276">
                  <c:v>-2.5210084033613299E-3</c:v>
                </c:pt>
                <c:pt idx="48277">
                  <c:v>-2.5210084033613299E-3</c:v>
                </c:pt>
                <c:pt idx="48278">
                  <c:v>-2.5210084033613299E-3</c:v>
                </c:pt>
                <c:pt idx="48279">
                  <c:v>-2.5210084033613299E-3</c:v>
                </c:pt>
                <c:pt idx="48280">
                  <c:v>-2.5210084033613299E-3</c:v>
                </c:pt>
                <c:pt idx="48281">
                  <c:v>-2.5210084033613299E-3</c:v>
                </c:pt>
                <c:pt idx="48282">
                  <c:v>-2.5210084033613299E-3</c:v>
                </c:pt>
                <c:pt idx="48283">
                  <c:v>-2.5210084033613299E-3</c:v>
                </c:pt>
                <c:pt idx="48284">
                  <c:v>-2.5210084033613299E-3</c:v>
                </c:pt>
                <c:pt idx="48285">
                  <c:v>-2.5210084033613299E-3</c:v>
                </c:pt>
                <c:pt idx="48286">
                  <c:v>-1.6806722689075499E-3</c:v>
                </c:pt>
                <c:pt idx="48287">
                  <c:v>-1.6806722689075499E-3</c:v>
                </c:pt>
                <c:pt idx="48288">
                  <c:v>-1.6806722689075499E-3</c:v>
                </c:pt>
                <c:pt idx="48289">
                  <c:v>-1.6806722689075499E-3</c:v>
                </c:pt>
                <c:pt idx="48290">
                  <c:v>-1.6806722689075499E-3</c:v>
                </c:pt>
                <c:pt idx="48291">
                  <c:v>-1.6806722689075499E-3</c:v>
                </c:pt>
                <c:pt idx="48292">
                  <c:v>-1.6806722689075499E-3</c:v>
                </c:pt>
                <c:pt idx="48293">
                  <c:v>-1.6806722689075499E-3</c:v>
                </c:pt>
                <c:pt idx="48294">
                  <c:v>-1.6806722689075499E-3</c:v>
                </c:pt>
                <c:pt idx="48295">
                  <c:v>-1.6806722689075499E-3</c:v>
                </c:pt>
                <c:pt idx="48296">
                  <c:v>-1.6806722689075499E-3</c:v>
                </c:pt>
                <c:pt idx="48297">
                  <c:v>-1.6806722689075499E-3</c:v>
                </c:pt>
                <c:pt idx="48298">
                  <c:v>-1.6806722689075499E-3</c:v>
                </c:pt>
                <c:pt idx="48299">
                  <c:v>-1.6806722689075499E-3</c:v>
                </c:pt>
                <c:pt idx="48300">
                  <c:v>-1.6806722689075499E-3</c:v>
                </c:pt>
                <c:pt idx="48301">
                  <c:v>-1.6806722689075499E-3</c:v>
                </c:pt>
                <c:pt idx="48302">
                  <c:v>-1.6806722689075499E-3</c:v>
                </c:pt>
                <c:pt idx="48303">
                  <c:v>-1.6806722689075499E-3</c:v>
                </c:pt>
                <c:pt idx="48304">
                  <c:v>-1.6806722689075499E-3</c:v>
                </c:pt>
                <c:pt idx="48305">
                  <c:v>-1.6806722689075499E-3</c:v>
                </c:pt>
                <c:pt idx="48306">
                  <c:v>-1.6806722689075499E-3</c:v>
                </c:pt>
                <c:pt idx="48307">
                  <c:v>-1.6806722689075499E-3</c:v>
                </c:pt>
                <c:pt idx="48308">
                  <c:v>-1.6806722689075499E-3</c:v>
                </c:pt>
                <c:pt idx="48309">
                  <c:v>-1.6806722689075499E-3</c:v>
                </c:pt>
                <c:pt idx="48310">
                  <c:v>-1.6806722689075499E-3</c:v>
                </c:pt>
                <c:pt idx="48311">
                  <c:v>-1.6806722689075499E-3</c:v>
                </c:pt>
                <c:pt idx="48312">
                  <c:v>-1.6806722689075499E-3</c:v>
                </c:pt>
                <c:pt idx="48313">
                  <c:v>-1.6806722689075499E-3</c:v>
                </c:pt>
                <c:pt idx="48314">
                  <c:v>-1.6806722689075499E-3</c:v>
                </c:pt>
                <c:pt idx="48315">
                  <c:v>-1.6806722689075499E-3</c:v>
                </c:pt>
                <c:pt idx="48316">
                  <c:v>-1.6806722689075499E-3</c:v>
                </c:pt>
                <c:pt idx="48317">
                  <c:v>-1.6806722689075499E-3</c:v>
                </c:pt>
                <c:pt idx="48318">
                  <c:v>-1.6806722689075499E-3</c:v>
                </c:pt>
                <c:pt idx="48319">
                  <c:v>-1.6806722689075499E-3</c:v>
                </c:pt>
                <c:pt idx="48320">
                  <c:v>-1.6806722689075499E-3</c:v>
                </c:pt>
                <c:pt idx="48321">
                  <c:v>-1.6806722689075499E-3</c:v>
                </c:pt>
                <c:pt idx="48322">
                  <c:v>-1.6806722689075499E-3</c:v>
                </c:pt>
                <c:pt idx="48323">
                  <c:v>-1.6806722689075499E-3</c:v>
                </c:pt>
                <c:pt idx="48324">
                  <c:v>-1.6806722689075499E-3</c:v>
                </c:pt>
                <c:pt idx="48325">
                  <c:v>-1.6806722689075499E-3</c:v>
                </c:pt>
                <c:pt idx="48326">
                  <c:v>-1.6806722689075499E-3</c:v>
                </c:pt>
                <c:pt idx="48327">
                  <c:v>-1.6806722689075499E-3</c:v>
                </c:pt>
                <c:pt idx="48328">
                  <c:v>-1.6806722689075499E-3</c:v>
                </c:pt>
                <c:pt idx="48329">
                  <c:v>-1.6806722689075499E-3</c:v>
                </c:pt>
                <c:pt idx="48330">
                  <c:v>-1.6806722689075499E-3</c:v>
                </c:pt>
                <c:pt idx="48331">
                  <c:v>-1.6806722689075499E-3</c:v>
                </c:pt>
                <c:pt idx="48332">
                  <c:v>-1.6806722689075499E-3</c:v>
                </c:pt>
                <c:pt idx="48333">
                  <c:v>-1.6806722689075499E-3</c:v>
                </c:pt>
                <c:pt idx="48334">
                  <c:v>-1.6806722689075499E-3</c:v>
                </c:pt>
                <c:pt idx="48335">
                  <c:v>-1.6806722689075499E-3</c:v>
                </c:pt>
                <c:pt idx="48336">
                  <c:v>-1.6806722689075499E-3</c:v>
                </c:pt>
                <c:pt idx="48337">
                  <c:v>-1.6806722689075499E-3</c:v>
                </c:pt>
                <c:pt idx="48338">
                  <c:v>-1.6806722689075499E-3</c:v>
                </c:pt>
                <c:pt idx="48339">
                  <c:v>-1.6806722689075499E-3</c:v>
                </c:pt>
                <c:pt idx="48340">
                  <c:v>-1.6806722689075499E-3</c:v>
                </c:pt>
                <c:pt idx="48341">
                  <c:v>-1.6806722689075499E-3</c:v>
                </c:pt>
                <c:pt idx="48342">
                  <c:v>-1.6806722689075499E-3</c:v>
                </c:pt>
                <c:pt idx="48343">
                  <c:v>-1.6806722689075499E-3</c:v>
                </c:pt>
                <c:pt idx="48344">
                  <c:v>-1.6806722689075499E-3</c:v>
                </c:pt>
                <c:pt idx="48345">
                  <c:v>-1.6806722689075499E-3</c:v>
                </c:pt>
                <c:pt idx="48346">
                  <c:v>-1.6806722689075499E-3</c:v>
                </c:pt>
                <c:pt idx="48347">
                  <c:v>-1.6806722689075499E-3</c:v>
                </c:pt>
                <c:pt idx="48348">
                  <c:v>-2.5210084033613299E-3</c:v>
                </c:pt>
                <c:pt idx="48349">
                  <c:v>-2.5210084033613299E-3</c:v>
                </c:pt>
                <c:pt idx="48350">
                  <c:v>-2.5210084033613299E-3</c:v>
                </c:pt>
                <c:pt idx="48351">
                  <c:v>-2.5210084033613299E-3</c:v>
                </c:pt>
                <c:pt idx="48352">
                  <c:v>-2.5210084033613299E-3</c:v>
                </c:pt>
                <c:pt idx="48353">
                  <c:v>-2.5210084033613299E-3</c:v>
                </c:pt>
                <c:pt idx="48354">
                  <c:v>-2.5210084033613299E-3</c:v>
                </c:pt>
                <c:pt idx="48355">
                  <c:v>-2.5210084033613299E-3</c:v>
                </c:pt>
                <c:pt idx="48356">
                  <c:v>-2.5210084033613299E-3</c:v>
                </c:pt>
                <c:pt idx="48357">
                  <c:v>-2.5210084033613299E-3</c:v>
                </c:pt>
                <c:pt idx="48358">
                  <c:v>-2.5210084033613299E-3</c:v>
                </c:pt>
                <c:pt idx="48359">
                  <c:v>-2.5210084033613299E-3</c:v>
                </c:pt>
                <c:pt idx="48360">
                  <c:v>-2.5210084033613299E-3</c:v>
                </c:pt>
                <c:pt idx="48361">
                  <c:v>-2.5210084033613299E-3</c:v>
                </c:pt>
                <c:pt idx="48362">
                  <c:v>-2.5210084033613299E-3</c:v>
                </c:pt>
                <c:pt idx="48363">
                  <c:v>-2.5210084033613299E-3</c:v>
                </c:pt>
                <c:pt idx="48364">
                  <c:v>-2.5210084033613299E-3</c:v>
                </c:pt>
                <c:pt idx="48365">
                  <c:v>-2.5210084033613299E-3</c:v>
                </c:pt>
                <c:pt idx="48366">
                  <c:v>-2.5210084033613299E-3</c:v>
                </c:pt>
                <c:pt idx="48367">
                  <c:v>-2.5210084033613299E-3</c:v>
                </c:pt>
                <c:pt idx="48368">
                  <c:v>-2.5210084033613299E-3</c:v>
                </c:pt>
                <c:pt idx="48369">
                  <c:v>-2.5210084033613299E-3</c:v>
                </c:pt>
                <c:pt idx="48370">
                  <c:v>-2.5210084033613299E-3</c:v>
                </c:pt>
                <c:pt idx="48371">
                  <c:v>-2.5210084033613299E-3</c:v>
                </c:pt>
                <c:pt idx="48372">
                  <c:v>-2.5210084033613299E-3</c:v>
                </c:pt>
                <c:pt idx="48373">
                  <c:v>-2.5210084033613299E-3</c:v>
                </c:pt>
                <c:pt idx="48374">
                  <c:v>-2.5210084033613299E-3</c:v>
                </c:pt>
                <c:pt idx="48375">
                  <c:v>-2.5210084033613299E-3</c:v>
                </c:pt>
                <c:pt idx="48376">
                  <c:v>-2.5210084033613299E-3</c:v>
                </c:pt>
                <c:pt idx="48377">
                  <c:v>-2.5210084033613299E-3</c:v>
                </c:pt>
                <c:pt idx="48378">
                  <c:v>-2.5210084033613299E-3</c:v>
                </c:pt>
                <c:pt idx="48379">
                  <c:v>-2.5210084033613299E-3</c:v>
                </c:pt>
                <c:pt idx="48380">
                  <c:v>-2.5210084033613299E-3</c:v>
                </c:pt>
                <c:pt idx="48381">
                  <c:v>-2.5210084033613299E-3</c:v>
                </c:pt>
                <c:pt idx="48382">
                  <c:v>-2.5210084033613299E-3</c:v>
                </c:pt>
                <c:pt idx="48383">
                  <c:v>-2.5210084033613299E-3</c:v>
                </c:pt>
                <c:pt idx="48384">
                  <c:v>-2.5210084033613299E-3</c:v>
                </c:pt>
                <c:pt idx="48385">
                  <c:v>-2.5210084033613299E-3</c:v>
                </c:pt>
                <c:pt idx="48386">
                  <c:v>-2.5210084033613299E-3</c:v>
                </c:pt>
                <c:pt idx="48387">
                  <c:v>-2.5210084033613299E-3</c:v>
                </c:pt>
                <c:pt idx="48388">
                  <c:v>-2.5210084033613299E-3</c:v>
                </c:pt>
                <c:pt idx="48389">
                  <c:v>-2.5210084033613299E-3</c:v>
                </c:pt>
                <c:pt idx="48390">
                  <c:v>-2.5210084033613299E-3</c:v>
                </c:pt>
                <c:pt idx="48391">
                  <c:v>-2.5210084033613299E-3</c:v>
                </c:pt>
                <c:pt idx="48392">
                  <c:v>-2.5210084033613299E-3</c:v>
                </c:pt>
                <c:pt idx="48393">
                  <c:v>-2.5210084033613299E-3</c:v>
                </c:pt>
                <c:pt idx="48394">
                  <c:v>-2.5210084033613299E-3</c:v>
                </c:pt>
                <c:pt idx="48395">
                  <c:v>-2.5210084033613299E-3</c:v>
                </c:pt>
                <c:pt idx="48396">
                  <c:v>-2.5210084033613299E-3</c:v>
                </c:pt>
                <c:pt idx="48397">
                  <c:v>-2.5210084033613299E-3</c:v>
                </c:pt>
                <c:pt idx="48398">
                  <c:v>-2.5210084033613299E-3</c:v>
                </c:pt>
                <c:pt idx="48399">
                  <c:v>-2.5210084033613299E-3</c:v>
                </c:pt>
                <c:pt idx="48400">
                  <c:v>-2.5210084033613299E-3</c:v>
                </c:pt>
                <c:pt idx="48401">
                  <c:v>-2.5210084033613299E-3</c:v>
                </c:pt>
                <c:pt idx="48402">
                  <c:v>-2.5210084033613299E-3</c:v>
                </c:pt>
                <c:pt idx="48403">
                  <c:v>-2.5210084033613299E-3</c:v>
                </c:pt>
                <c:pt idx="48404">
                  <c:v>-2.5210084033613299E-3</c:v>
                </c:pt>
                <c:pt idx="48405">
                  <c:v>-2.5210084033613299E-3</c:v>
                </c:pt>
                <c:pt idx="48406">
                  <c:v>-2.5210084033613299E-3</c:v>
                </c:pt>
                <c:pt idx="48407">
                  <c:v>-2.5210084033613299E-3</c:v>
                </c:pt>
                <c:pt idx="48408">
                  <c:v>-2.5210084033613299E-3</c:v>
                </c:pt>
                <c:pt idx="48409">
                  <c:v>-2.5210084033613299E-3</c:v>
                </c:pt>
                <c:pt idx="48410">
                  <c:v>-2.5210084033613299E-3</c:v>
                </c:pt>
                <c:pt idx="48411">
                  <c:v>-2.5210084033613299E-3</c:v>
                </c:pt>
                <c:pt idx="48412">
                  <c:v>-2.5210084033613299E-3</c:v>
                </c:pt>
                <c:pt idx="48413">
                  <c:v>-2.5210084033613299E-3</c:v>
                </c:pt>
                <c:pt idx="48414">
                  <c:v>-2.5210084033613299E-3</c:v>
                </c:pt>
                <c:pt idx="48415">
                  <c:v>-2.5210084033613299E-3</c:v>
                </c:pt>
                <c:pt idx="48416">
                  <c:v>-2.5210084033613299E-3</c:v>
                </c:pt>
                <c:pt idx="48417">
                  <c:v>-2.5210084033613299E-3</c:v>
                </c:pt>
                <c:pt idx="48418">
                  <c:v>-2.5210084033613299E-3</c:v>
                </c:pt>
                <c:pt idx="48419">
                  <c:v>-2.5210084033613299E-3</c:v>
                </c:pt>
                <c:pt idx="48420">
                  <c:v>-2.5210084033613299E-3</c:v>
                </c:pt>
                <c:pt idx="48421">
                  <c:v>-3.3613445378151102E-3</c:v>
                </c:pt>
                <c:pt idx="48422">
                  <c:v>-3.3613445378151102E-3</c:v>
                </c:pt>
                <c:pt idx="48423">
                  <c:v>-3.3613445378151102E-3</c:v>
                </c:pt>
                <c:pt idx="48424">
                  <c:v>-3.3613445378151102E-3</c:v>
                </c:pt>
                <c:pt idx="48425">
                  <c:v>-3.3613445378151102E-3</c:v>
                </c:pt>
                <c:pt idx="48426">
                  <c:v>-3.3613445378151102E-3</c:v>
                </c:pt>
                <c:pt idx="48427">
                  <c:v>-3.3613445378151102E-3</c:v>
                </c:pt>
                <c:pt idx="48428">
                  <c:v>-3.3613445378151102E-3</c:v>
                </c:pt>
                <c:pt idx="48429">
                  <c:v>-3.3613445378151102E-3</c:v>
                </c:pt>
                <c:pt idx="48430">
                  <c:v>-3.3613445378151102E-3</c:v>
                </c:pt>
                <c:pt idx="48431">
                  <c:v>-3.3613445378151102E-3</c:v>
                </c:pt>
                <c:pt idx="48432">
                  <c:v>-3.3613445378151102E-3</c:v>
                </c:pt>
                <c:pt idx="48433">
                  <c:v>-3.3613445378151102E-3</c:v>
                </c:pt>
                <c:pt idx="48434">
                  <c:v>-3.3613445378151102E-3</c:v>
                </c:pt>
                <c:pt idx="48435">
                  <c:v>-3.3613445378151102E-3</c:v>
                </c:pt>
                <c:pt idx="48436">
                  <c:v>-3.3613445378151102E-3</c:v>
                </c:pt>
                <c:pt idx="48437">
                  <c:v>-3.3613445378151102E-3</c:v>
                </c:pt>
                <c:pt idx="48438">
                  <c:v>-3.3613445378151102E-3</c:v>
                </c:pt>
                <c:pt idx="48439">
                  <c:v>-3.3613445378151102E-3</c:v>
                </c:pt>
                <c:pt idx="48440">
                  <c:v>-3.3613445378151102E-3</c:v>
                </c:pt>
                <c:pt idx="48441">
                  <c:v>-3.3613445378151102E-3</c:v>
                </c:pt>
                <c:pt idx="48442">
                  <c:v>-3.3613445378151102E-3</c:v>
                </c:pt>
                <c:pt idx="48443">
                  <c:v>-3.3613445378151102E-3</c:v>
                </c:pt>
                <c:pt idx="48444">
                  <c:v>-3.3613445378151102E-3</c:v>
                </c:pt>
                <c:pt idx="48445">
                  <c:v>-3.3613445378151102E-3</c:v>
                </c:pt>
                <c:pt idx="48446">
                  <c:v>-3.3613445378151102E-3</c:v>
                </c:pt>
                <c:pt idx="48447">
                  <c:v>-3.3613445378151102E-3</c:v>
                </c:pt>
                <c:pt idx="48448">
                  <c:v>-3.3613445378151102E-3</c:v>
                </c:pt>
                <c:pt idx="48449">
                  <c:v>-3.3613445378151102E-3</c:v>
                </c:pt>
                <c:pt idx="48450">
                  <c:v>-3.3613445378151102E-3</c:v>
                </c:pt>
                <c:pt idx="48451">
                  <c:v>-3.3613445378151102E-3</c:v>
                </c:pt>
                <c:pt idx="48452">
                  <c:v>-3.3613445378151102E-3</c:v>
                </c:pt>
                <c:pt idx="48453">
                  <c:v>-3.3613445378151102E-3</c:v>
                </c:pt>
                <c:pt idx="48454">
                  <c:v>-3.3613445378151102E-3</c:v>
                </c:pt>
                <c:pt idx="48455">
                  <c:v>-3.3613445378151102E-3</c:v>
                </c:pt>
                <c:pt idx="48456">
                  <c:v>-3.3613445378151102E-3</c:v>
                </c:pt>
                <c:pt idx="48457">
                  <c:v>-3.3613445378151102E-3</c:v>
                </c:pt>
                <c:pt idx="48458">
                  <c:v>-3.3613445378151102E-3</c:v>
                </c:pt>
                <c:pt idx="48459">
                  <c:v>-3.3613445378151102E-3</c:v>
                </c:pt>
                <c:pt idx="48460">
                  <c:v>-3.3613445378151102E-3</c:v>
                </c:pt>
                <c:pt idx="48461">
                  <c:v>-3.3613445378151102E-3</c:v>
                </c:pt>
                <c:pt idx="48462">
                  <c:v>-3.3613445378151102E-3</c:v>
                </c:pt>
                <c:pt idx="48463">
                  <c:v>-3.3613445378151102E-3</c:v>
                </c:pt>
                <c:pt idx="48464">
                  <c:v>-3.3613445378151102E-3</c:v>
                </c:pt>
                <c:pt idx="48465">
                  <c:v>-3.3613445378151102E-3</c:v>
                </c:pt>
                <c:pt idx="48466">
                  <c:v>-3.3613445378151102E-3</c:v>
                </c:pt>
                <c:pt idx="48467">
                  <c:v>-3.3613445378151102E-3</c:v>
                </c:pt>
                <c:pt idx="48468">
                  <c:v>-3.3613445378151102E-3</c:v>
                </c:pt>
                <c:pt idx="48469">
                  <c:v>-3.3613445378151102E-3</c:v>
                </c:pt>
                <c:pt idx="48470">
                  <c:v>-3.3613445378151102E-3</c:v>
                </c:pt>
                <c:pt idx="48471">
                  <c:v>-3.3613445378151102E-3</c:v>
                </c:pt>
                <c:pt idx="48472">
                  <c:v>-3.3613445378151102E-3</c:v>
                </c:pt>
                <c:pt idx="48473">
                  <c:v>-3.3613445378151102E-3</c:v>
                </c:pt>
                <c:pt idx="48474">
                  <c:v>-3.3613445378151102E-3</c:v>
                </c:pt>
                <c:pt idx="48475">
                  <c:v>-3.3613445378151102E-3</c:v>
                </c:pt>
                <c:pt idx="48476">
                  <c:v>-3.3613445378151102E-3</c:v>
                </c:pt>
                <c:pt idx="48477">
                  <c:v>-3.3613445378151102E-3</c:v>
                </c:pt>
                <c:pt idx="48478">
                  <c:v>-3.3613445378151102E-3</c:v>
                </c:pt>
                <c:pt idx="48479">
                  <c:v>-3.3613445378151102E-3</c:v>
                </c:pt>
                <c:pt idx="48480">
                  <c:v>-3.3613445378151102E-3</c:v>
                </c:pt>
                <c:pt idx="48481">
                  <c:v>-3.3613445378151102E-3</c:v>
                </c:pt>
                <c:pt idx="48482">
                  <c:v>-3.3613445378151102E-3</c:v>
                </c:pt>
                <c:pt idx="48483">
                  <c:v>-3.3613445378151102E-3</c:v>
                </c:pt>
                <c:pt idx="48484">
                  <c:v>-3.3613445378151102E-3</c:v>
                </c:pt>
                <c:pt idx="48485">
                  <c:v>-3.3613445378151102E-3</c:v>
                </c:pt>
                <c:pt idx="48486">
                  <c:v>-3.3613445378151102E-3</c:v>
                </c:pt>
                <c:pt idx="48487">
                  <c:v>-3.3613445378151102E-3</c:v>
                </c:pt>
                <c:pt idx="48488">
                  <c:v>-3.3613445378151102E-3</c:v>
                </c:pt>
                <c:pt idx="48489">
                  <c:v>-3.3613445378151102E-3</c:v>
                </c:pt>
                <c:pt idx="48490">
                  <c:v>-3.3613445378151102E-3</c:v>
                </c:pt>
                <c:pt idx="48491">
                  <c:v>-3.3613445378151102E-3</c:v>
                </c:pt>
                <c:pt idx="48492">
                  <c:v>-3.3613445378151102E-3</c:v>
                </c:pt>
                <c:pt idx="48493">
                  <c:v>-3.3613445378151102E-3</c:v>
                </c:pt>
                <c:pt idx="48494">
                  <c:v>-3.3613445378151102E-3</c:v>
                </c:pt>
                <c:pt idx="48495">
                  <c:v>-3.3613445378151102E-3</c:v>
                </c:pt>
                <c:pt idx="48496">
                  <c:v>-3.3613445378151102E-3</c:v>
                </c:pt>
                <c:pt idx="48497">
                  <c:v>-3.3613445378151102E-3</c:v>
                </c:pt>
                <c:pt idx="48498">
                  <c:v>-3.3613445378151102E-3</c:v>
                </c:pt>
                <c:pt idx="48499">
                  <c:v>-3.3613445378151102E-3</c:v>
                </c:pt>
                <c:pt idx="48500">
                  <c:v>-3.3613445378151102E-3</c:v>
                </c:pt>
                <c:pt idx="48501">
                  <c:v>-3.3613445378151102E-3</c:v>
                </c:pt>
                <c:pt idx="48502">
                  <c:v>-3.3613445378151102E-3</c:v>
                </c:pt>
                <c:pt idx="48503">
                  <c:v>-3.3613445378151102E-3</c:v>
                </c:pt>
                <c:pt idx="48504">
                  <c:v>-3.3613445378151102E-3</c:v>
                </c:pt>
                <c:pt idx="48505">
                  <c:v>-3.3613445378151102E-3</c:v>
                </c:pt>
                <c:pt idx="48506">
                  <c:v>-3.3613445378151102E-3</c:v>
                </c:pt>
                <c:pt idx="48507">
                  <c:v>-3.3613445378151102E-3</c:v>
                </c:pt>
                <c:pt idx="48508">
                  <c:v>-3.3613445378151102E-3</c:v>
                </c:pt>
                <c:pt idx="48509">
                  <c:v>-3.3613445378151102E-3</c:v>
                </c:pt>
                <c:pt idx="48510">
                  <c:v>-3.3613445378151102E-3</c:v>
                </c:pt>
                <c:pt idx="48511">
                  <c:v>-3.3613445378151102E-3</c:v>
                </c:pt>
                <c:pt idx="48512">
                  <c:v>-3.3613445378151102E-3</c:v>
                </c:pt>
                <c:pt idx="48513">
                  <c:v>-3.3613445378151102E-3</c:v>
                </c:pt>
                <c:pt idx="48514">
                  <c:v>-3.3613445378151102E-3</c:v>
                </c:pt>
                <c:pt idx="48515">
                  <c:v>-3.3613445378151102E-3</c:v>
                </c:pt>
                <c:pt idx="48516">
                  <c:v>-3.3613445378151102E-3</c:v>
                </c:pt>
                <c:pt idx="48517">
                  <c:v>-3.3613445378151102E-3</c:v>
                </c:pt>
                <c:pt idx="48518">
                  <c:v>-3.3613445378151102E-3</c:v>
                </c:pt>
                <c:pt idx="48519">
                  <c:v>-3.3613445378151102E-3</c:v>
                </c:pt>
                <c:pt idx="48520">
                  <c:v>-3.3613445378151102E-3</c:v>
                </c:pt>
                <c:pt idx="48521">
                  <c:v>-3.3613445378151102E-3</c:v>
                </c:pt>
                <c:pt idx="48522">
                  <c:v>-3.3613445378151102E-3</c:v>
                </c:pt>
                <c:pt idx="48523">
                  <c:v>-3.3613445378151102E-3</c:v>
                </c:pt>
                <c:pt idx="48524">
                  <c:v>-3.3613445378151102E-3</c:v>
                </c:pt>
                <c:pt idx="48525">
                  <c:v>-3.3613445378151102E-3</c:v>
                </c:pt>
                <c:pt idx="48526">
                  <c:v>-3.3613445378151102E-3</c:v>
                </c:pt>
                <c:pt idx="48527">
                  <c:v>-3.3613445378151102E-3</c:v>
                </c:pt>
                <c:pt idx="48528">
                  <c:v>-3.3613445378151102E-3</c:v>
                </c:pt>
                <c:pt idx="48529">
                  <c:v>-3.3613445378151102E-3</c:v>
                </c:pt>
                <c:pt idx="48530">
                  <c:v>-3.3613445378151102E-3</c:v>
                </c:pt>
                <c:pt idx="48531">
                  <c:v>-3.3613445378151102E-3</c:v>
                </c:pt>
                <c:pt idx="48532">
                  <c:v>-3.3613445378151102E-3</c:v>
                </c:pt>
                <c:pt idx="48533">
                  <c:v>-3.3613445378151102E-3</c:v>
                </c:pt>
                <c:pt idx="48534">
                  <c:v>-3.3613445378151102E-3</c:v>
                </c:pt>
                <c:pt idx="48535">
                  <c:v>-3.3613445378151102E-3</c:v>
                </c:pt>
                <c:pt idx="48536">
                  <c:v>-3.3613445378151102E-3</c:v>
                </c:pt>
                <c:pt idx="48537">
                  <c:v>-3.3613445378151102E-3</c:v>
                </c:pt>
                <c:pt idx="48538">
                  <c:v>-3.3613445378151102E-3</c:v>
                </c:pt>
                <c:pt idx="48539">
                  <c:v>-3.3613445378151102E-3</c:v>
                </c:pt>
                <c:pt idx="48540">
                  <c:v>-3.3613445378151102E-3</c:v>
                </c:pt>
                <c:pt idx="48541">
                  <c:v>-3.3613445378151102E-3</c:v>
                </c:pt>
                <c:pt idx="48542">
                  <c:v>-2.5210084033613299E-3</c:v>
                </c:pt>
                <c:pt idx="48543">
                  <c:v>-2.5210084033613299E-3</c:v>
                </c:pt>
                <c:pt idx="48544">
                  <c:v>-2.5210084033613299E-3</c:v>
                </c:pt>
                <c:pt idx="48545">
                  <c:v>-2.5210084033613299E-3</c:v>
                </c:pt>
                <c:pt idx="48546">
                  <c:v>-2.5210084033613299E-3</c:v>
                </c:pt>
                <c:pt idx="48547">
                  <c:v>-2.5210084033613299E-3</c:v>
                </c:pt>
                <c:pt idx="48548">
                  <c:v>-2.5210084033613299E-3</c:v>
                </c:pt>
                <c:pt idx="48549">
                  <c:v>-2.5210084033613299E-3</c:v>
                </c:pt>
                <c:pt idx="48550">
                  <c:v>-2.5210084033613299E-3</c:v>
                </c:pt>
                <c:pt idx="48551">
                  <c:v>-2.5210084033613299E-3</c:v>
                </c:pt>
                <c:pt idx="48552">
                  <c:v>-2.5210084033613299E-3</c:v>
                </c:pt>
                <c:pt idx="48553">
                  <c:v>-2.5210084033613299E-3</c:v>
                </c:pt>
                <c:pt idx="48554">
                  <c:v>-2.5210084033613299E-3</c:v>
                </c:pt>
                <c:pt idx="48555">
                  <c:v>-2.5210084033613299E-3</c:v>
                </c:pt>
                <c:pt idx="48556">
                  <c:v>-2.5210084033613299E-3</c:v>
                </c:pt>
                <c:pt idx="48557">
                  <c:v>-2.5210084033613299E-3</c:v>
                </c:pt>
                <c:pt idx="48558">
                  <c:v>-2.5210084033613299E-3</c:v>
                </c:pt>
                <c:pt idx="48559">
                  <c:v>-2.5210084033613299E-3</c:v>
                </c:pt>
                <c:pt idx="48560">
                  <c:v>-2.5210084033613299E-3</c:v>
                </c:pt>
                <c:pt idx="48561">
                  <c:v>-2.5210084033613299E-3</c:v>
                </c:pt>
                <c:pt idx="48562">
                  <c:v>-2.5210084033613299E-3</c:v>
                </c:pt>
                <c:pt idx="48563">
                  <c:v>-2.5210084033613299E-3</c:v>
                </c:pt>
                <c:pt idx="48564">
                  <c:v>-2.5210084033613299E-3</c:v>
                </c:pt>
                <c:pt idx="48565">
                  <c:v>-2.5210084033613299E-3</c:v>
                </c:pt>
                <c:pt idx="48566">
                  <c:v>-2.5210084033613299E-3</c:v>
                </c:pt>
                <c:pt idx="48567">
                  <c:v>-2.5210084033613299E-3</c:v>
                </c:pt>
                <c:pt idx="48568">
                  <c:v>-2.5210084033613299E-3</c:v>
                </c:pt>
                <c:pt idx="48569">
                  <c:v>-2.5210084033613299E-3</c:v>
                </c:pt>
                <c:pt idx="48570">
                  <c:v>-2.5210084033613299E-3</c:v>
                </c:pt>
                <c:pt idx="48571">
                  <c:v>-2.5210084033613299E-3</c:v>
                </c:pt>
                <c:pt idx="48572">
                  <c:v>-2.5210084033613299E-3</c:v>
                </c:pt>
                <c:pt idx="48573">
                  <c:v>-2.5210084033613299E-3</c:v>
                </c:pt>
                <c:pt idx="48574">
                  <c:v>-2.5210084033613299E-3</c:v>
                </c:pt>
                <c:pt idx="48575">
                  <c:v>-2.5210084033613299E-3</c:v>
                </c:pt>
                <c:pt idx="48576">
                  <c:v>-2.5210084033613299E-3</c:v>
                </c:pt>
                <c:pt idx="48577">
                  <c:v>-2.5210084033613299E-3</c:v>
                </c:pt>
                <c:pt idx="48578">
                  <c:v>-2.5210084033613299E-3</c:v>
                </c:pt>
                <c:pt idx="48579">
                  <c:v>-2.5210084033613299E-3</c:v>
                </c:pt>
                <c:pt idx="48580">
                  <c:v>-2.5210084033613299E-3</c:v>
                </c:pt>
                <c:pt idx="48581">
                  <c:v>-2.5210084033613299E-3</c:v>
                </c:pt>
                <c:pt idx="48582">
                  <c:v>-2.5210084033613299E-3</c:v>
                </c:pt>
                <c:pt idx="48583">
                  <c:v>-2.5210084033613299E-3</c:v>
                </c:pt>
                <c:pt idx="48584">
                  <c:v>-2.5210084033613299E-3</c:v>
                </c:pt>
                <c:pt idx="48585">
                  <c:v>-2.5210084033613299E-3</c:v>
                </c:pt>
                <c:pt idx="48586">
                  <c:v>-2.5210084033613299E-3</c:v>
                </c:pt>
                <c:pt idx="48587">
                  <c:v>-2.5210084033613299E-3</c:v>
                </c:pt>
                <c:pt idx="48588">
                  <c:v>-1.6806722689075499E-3</c:v>
                </c:pt>
                <c:pt idx="48589">
                  <c:v>-1.6806722689075499E-3</c:v>
                </c:pt>
                <c:pt idx="48590">
                  <c:v>-1.6806722689075499E-3</c:v>
                </c:pt>
                <c:pt idx="48591">
                  <c:v>-1.6806722689075499E-3</c:v>
                </c:pt>
                <c:pt idx="48592">
                  <c:v>-1.6806722689075499E-3</c:v>
                </c:pt>
                <c:pt idx="48593">
                  <c:v>-1.6806722689075499E-3</c:v>
                </c:pt>
                <c:pt idx="48594">
                  <c:v>-1.6806722689075499E-3</c:v>
                </c:pt>
                <c:pt idx="48595">
                  <c:v>-1.6806722689075499E-3</c:v>
                </c:pt>
                <c:pt idx="48596">
                  <c:v>-1.6806722689075499E-3</c:v>
                </c:pt>
                <c:pt idx="48597">
                  <c:v>-1.6806722689075499E-3</c:v>
                </c:pt>
                <c:pt idx="48598">
                  <c:v>-1.6806722689075499E-3</c:v>
                </c:pt>
                <c:pt idx="48599">
                  <c:v>-1.6806722689075499E-3</c:v>
                </c:pt>
                <c:pt idx="48600">
                  <c:v>-1.6806722689075499E-3</c:v>
                </c:pt>
                <c:pt idx="48601">
                  <c:v>-1.6806722689075499E-3</c:v>
                </c:pt>
                <c:pt idx="48602">
                  <c:v>-1.6806722689075499E-3</c:v>
                </c:pt>
                <c:pt idx="48603">
                  <c:v>-1.6806722689075499E-3</c:v>
                </c:pt>
                <c:pt idx="48604">
                  <c:v>-1.6806722689075499E-3</c:v>
                </c:pt>
                <c:pt idx="48605">
                  <c:v>-1.6806722689075499E-3</c:v>
                </c:pt>
                <c:pt idx="48606">
                  <c:v>-1.6806722689075499E-3</c:v>
                </c:pt>
                <c:pt idx="48607">
                  <c:v>-1.6806722689075499E-3</c:v>
                </c:pt>
                <c:pt idx="48608">
                  <c:v>-1.6806722689075499E-3</c:v>
                </c:pt>
                <c:pt idx="48609">
                  <c:v>-1.6806722689075499E-3</c:v>
                </c:pt>
                <c:pt idx="48610">
                  <c:v>-1.6806722689075499E-3</c:v>
                </c:pt>
                <c:pt idx="48611">
                  <c:v>-1.6806722689075499E-3</c:v>
                </c:pt>
                <c:pt idx="48612">
                  <c:v>-1.6806722689075499E-3</c:v>
                </c:pt>
                <c:pt idx="48613">
                  <c:v>-1.6806722689075499E-3</c:v>
                </c:pt>
                <c:pt idx="48614">
                  <c:v>-1.6806722689075499E-3</c:v>
                </c:pt>
                <c:pt idx="48615">
                  <c:v>-8.4033613445377799E-4</c:v>
                </c:pt>
                <c:pt idx="48616">
                  <c:v>-8.4033613445377799E-4</c:v>
                </c:pt>
                <c:pt idx="48617">
                  <c:v>-8.4033613445377799E-4</c:v>
                </c:pt>
                <c:pt idx="48618">
                  <c:v>-8.4033613445377799E-4</c:v>
                </c:pt>
                <c:pt idx="48619">
                  <c:v>-8.4033613445377799E-4</c:v>
                </c:pt>
                <c:pt idx="48620">
                  <c:v>-8.4033613445377799E-4</c:v>
                </c:pt>
                <c:pt idx="48621">
                  <c:v>-8.4033613445377799E-4</c:v>
                </c:pt>
                <c:pt idx="48622">
                  <c:v>-8.4033613445377799E-4</c:v>
                </c:pt>
                <c:pt idx="48623">
                  <c:v>-8.4033613445377799E-4</c:v>
                </c:pt>
                <c:pt idx="48624">
                  <c:v>-8.4033613445377799E-4</c:v>
                </c:pt>
                <c:pt idx="48625">
                  <c:v>-8.4033613445377799E-4</c:v>
                </c:pt>
                <c:pt idx="48626">
                  <c:v>-8.4033613445377799E-4</c:v>
                </c:pt>
                <c:pt idx="48627">
                  <c:v>-8.4033613445377799E-4</c:v>
                </c:pt>
                <c:pt idx="48628">
                  <c:v>-8.4033613445377799E-4</c:v>
                </c:pt>
                <c:pt idx="48629">
                  <c:v>-8.4033613445377799E-4</c:v>
                </c:pt>
                <c:pt idx="48630">
                  <c:v>-8.4033613445377799E-4</c:v>
                </c:pt>
                <c:pt idx="48631">
                  <c:v>-8.4033613445377799E-4</c:v>
                </c:pt>
                <c:pt idx="48632">
                  <c:v>-8.4033613445377799E-4</c:v>
                </c:pt>
                <c:pt idx="48633">
                  <c:v>-8.4033613445377799E-4</c:v>
                </c:pt>
                <c:pt idx="48634">
                  <c:v>-8.4033613445377799E-4</c:v>
                </c:pt>
                <c:pt idx="48635">
                  <c:v>-8.4033613445377799E-4</c:v>
                </c:pt>
                <c:pt idx="48636">
                  <c:v>-8.4033613445377799E-4</c:v>
                </c:pt>
                <c:pt idx="48637">
                  <c:v>-8.4033613445377799E-4</c:v>
                </c:pt>
                <c:pt idx="48638">
                  <c:v>-8.4033613445377799E-4</c:v>
                </c:pt>
                <c:pt idx="48639">
                  <c:v>-8.4033613445377799E-4</c:v>
                </c:pt>
                <c:pt idx="48640">
                  <c:v>-8.4033613445377799E-4</c:v>
                </c:pt>
                <c:pt idx="48641">
                  <c:v>-8.4033613445377799E-4</c:v>
                </c:pt>
                <c:pt idx="48642">
                  <c:v>-8.4033613445377799E-4</c:v>
                </c:pt>
                <c:pt idx="48643">
                  <c:v>-8.4033613445377799E-4</c:v>
                </c:pt>
                <c:pt idx="48644">
                  <c:v>-8.4033613445377799E-4</c:v>
                </c:pt>
                <c:pt idx="48645">
                  <c:v>-8.4033613445377799E-4</c:v>
                </c:pt>
                <c:pt idx="48646">
                  <c:v>-8.4033613445377799E-4</c:v>
                </c:pt>
                <c:pt idx="48647">
                  <c:v>-8.4033613445377799E-4</c:v>
                </c:pt>
                <c:pt idx="48648">
                  <c:v>-8.4033613445377799E-4</c:v>
                </c:pt>
                <c:pt idx="48649">
                  <c:v>-8.4033613445377799E-4</c:v>
                </c:pt>
                <c:pt idx="48650">
                  <c:v>-8.4033613445377799E-4</c:v>
                </c:pt>
                <c:pt idx="48651">
                  <c:v>-8.4033613445377799E-4</c:v>
                </c:pt>
                <c:pt idx="48652">
                  <c:v>-8.4033613445377799E-4</c:v>
                </c:pt>
                <c:pt idx="48653">
                  <c:v>-8.4033613445377799E-4</c:v>
                </c:pt>
                <c:pt idx="48654">
                  <c:v>-8.4033613445377799E-4</c:v>
                </c:pt>
                <c:pt idx="48655">
                  <c:v>-8.4033613445377799E-4</c:v>
                </c:pt>
                <c:pt idx="48656">
                  <c:v>-8.4033613445377799E-4</c:v>
                </c:pt>
                <c:pt idx="48657">
                  <c:v>-8.4033613445377799E-4</c:v>
                </c:pt>
                <c:pt idx="48658">
                  <c:v>-8.4033613445377799E-4</c:v>
                </c:pt>
                <c:pt idx="48659">
                  <c:v>-8.4033613445377799E-4</c:v>
                </c:pt>
                <c:pt idx="48660">
                  <c:v>-8.4033613445377799E-4</c:v>
                </c:pt>
                <c:pt idx="48661">
                  <c:v>-8.4033613445377799E-4</c:v>
                </c:pt>
                <c:pt idx="48662">
                  <c:v>-8.4033613445377799E-4</c:v>
                </c:pt>
                <c:pt idx="48663">
                  <c:v>-8.4033613445377799E-4</c:v>
                </c:pt>
                <c:pt idx="48664">
                  <c:v>-8.4033613445377799E-4</c:v>
                </c:pt>
                <c:pt idx="48665">
                  <c:v>-8.4033613445377799E-4</c:v>
                </c:pt>
                <c:pt idx="48666">
                  <c:v>-8.4033613445377799E-4</c:v>
                </c:pt>
                <c:pt idx="48667">
                  <c:v>-8.4033613445377799E-4</c:v>
                </c:pt>
                <c:pt idx="48668">
                  <c:v>-8.4033613445377799E-4</c:v>
                </c:pt>
                <c:pt idx="48669">
                  <c:v>-8.4033613445377799E-4</c:v>
                </c:pt>
                <c:pt idx="48670">
                  <c:v>-8.4033613445377799E-4</c:v>
                </c:pt>
                <c:pt idx="48671">
                  <c:v>-8.4033613445377799E-4</c:v>
                </c:pt>
                <c:pt idx="48672">
                  <c:v>-8.4033613445377799E-4</c:v>
                </c:pt>
                <c:pt idx="48673">
                  <c:v>-8.4033613445377799E-4</c:v>
                </c:pt>
                <c:pt idx="48674">
                  <c:v>-8.4033613445377799E-4</c:v>
                </c:pt>
                <c:pt idx="48675">
                  <c:v>-8.4033613445377799E-4</c:v>
                </c:pt>
                <c:pt idx="48676">
                  <c:v>-8.4033613445377799E-4</c:v>
                </c:pt>
                <c:pt idx="48677">
                  <c:v>-8.4033613445377799E-4</c:v>
                </c:pt>
                <c:pt idx="48678">
                  <c:v>-8.4033613445377799E-4</c:v>
                </c:pt>
                <c:pt idx="48679">
                  <c:v>-8.4033613445377799E-4</c:v>
                </c:pt>
                <c:pt idx="48680">
                  <c:v>-8.4033613445377799E-4</c:v>
                </c:pt>
                <c:pt idx="48681">
                  <c:v>-8.4033613445377799E-4</c:v>
                </c:pt>
                <c:pt idx="48682">
                  <c:v>-8.4033613445377799E-4</c:v>
                </c:pt>
                <c:pt idx="48683">
                  <c:v>-8.4033613445377799E-4</c:v>
                </c:pt>
                <c:pt idx="48684">
                  <c:v>-8.4033613445377799E-4</c:v>
                </c:pt>
                <c:pt idx="48685">
                  <c:v>-8.4033613445377799E-4</c:v>
                </c:pt>
                <c:pt idx="48686">
                  <c:v>-8.4033613445377799E-4</c:v>
                </c:pt>
                <c:pt idx="48687">
                  <c:v>-8.4033613445377799E-4</c:v>
                </c:pt>
                <c:pt idx="48688">
                  <c:v>-8.4033613445377799E-4</c:v>
                </c:pt>
                <c:pt idx="48689">
                  <c:v>-8.4033613445377799E-4</c:v>
                </c:pt>
                <c:pt idx="48690">
                  <c:v>-8.4033613445377799E-4</c:v>
                </c:pt>
                <c:pt idx="48691">
                  <c:v>-8.4033613445377799E-4</c:v>
                </c:pt>
                <c:pt idx="48692">
                  <c:v>-8.4033613445377799E-4</c:v>
                </c:pt>
                <c:pt idx="48693">
                  <c:v>-8.4033613445377799E-4</c:v>
                </c:pt>
                <c:pt idx="48694">
                  <c:v>-8.4033613445377799E-4</c:v>
                </c:pt>
                <c:pt idx="48695">
                  <c:v>0</c:v>
                </c:pt>
                <c:pt idx="48696">
                  <c:v>0</c:v>
                </c:pt>
                <c:pt idx="48697">
                  <c:v>0</c:v>
                </c:pt>
                <c:pt idx="48698">
                  <c:v>0</c:v>
                </c:pt>
                <c:pt idx="48699">
                  <c:v>0</c:v>
                </c:pt>
                <c:pt idx="48700">
                  <c:v>0</c:v>
                </c:pt>
                <c:pt idx="48701">
                  <c:v>0</c:v>
                </c:pt>
                <c:pt idx="48702">
                  <c:v>0</c:v>
                </c:pt>
                <c:pt idx="48703">
                  <c:v>0</c:v>
                </c:pt>
                <c:pt idx="48704">
                  <c:v>0</c:v>
                </c:pt>
                <c:pt idx="48705">
                  <c:v>0</c:v>
                </c:pt>
                <c:pt idx="48706">
                  <c:v>0</c:v>
                </c:pt>
                <c:pt idx="48707">
                  <c:v>0</c:v>
                </c:pt>
                <c:pt idx="48708">
                  <c:v>0</c:v>
                </c:pt>
                <c:pt idx="48709">
                  <c:v>0</c:v>
                </c:pt>
                <c:pt idx="48710">
                  <c:v>0</c:v>
                </c:pt>
                <c:pt idx="48711">
                  <c:v>0</c:v>
                </c:pt>
                <c:pt idx="48712">
                  <c:v>0</c:v>
                </c:pt>
                <c:pt idx="48713">
                  <c:v>8.4033613445377799E-4</c:v>
                </c:pt>
                <c:pt idx="48714">
                  <c:v>8.4033613445377799E-4</c:v>
                </c:pt>
                <c:pt idx="48715">
                  <c:v>8.4033613445377799E-4</c:v>
                </c:pt>
                <c:pt idx="48716">
                  <c:v>8.4033613445377799E-4</c:v>
                </c:pt>
                <c:pt idx="48717">
                  <c:v>8.4033613445377799E-4</c:v>
                </c:pt>
                <c:pt idx="48718">
                  <c:v>8.4033613445377799E-4</c:v>
                </c:pt>
                <c:pt idx="48719">
                  <c:v>8.4033613445377799E-4</c:v>
                </c:pt>
                <c:pt idx="48720">
                  <c:v>8.4033613445377799E-4</c:v>
                </c:pt>
                <c:pt idx="48721">
                  <c:v>8.4033613445377799E-4</c:v>
                </c:pt>
                <c:pt idx="48722">
                  <c:v>8.4033613445377799E-4</c:v>
                </c:pt>
                <c:pt idx="48723">
                  <c:v>8.4033613445377799E-4</c:v>
                </c:pt>
                <c:pt idx="48724">
                  <c:v>8.4033613445377799E-4</c:v>
                </c:pt>
                <c:pt idx="48725">
                  <c:v>8.4033613445377799E-4</c:v>
                </c:pt>
                <c:pt idx="48726">
                  <c:v>8.4033613445377799E-4</c:v>
                </c:pt>
                <c:pt idx="48727">
                  <c:v>8.4033613445377799E-4</c:v>
                </c:pt>
                <c:pt idx="48728">
                  <c:v>8.4033613445377799E-4</c:v>
                </c:pt>
                <c:pt idx="48729">
                  <c:v>8.4033613445377799E-4</c:v>
                </c:pt>
                <c:pt idx="48730">
                  <c:v>8.4033613445377799E-4</c:v>
                </c:pt>
                <c:pt idx="48731">
                  <c:v>8.4033613445377799E-4</c:v>
                </c:pt>
                <c:pt idx="48732">
                  <c:v>8.4033613445377799E-4</c:v>
                </c:pt>
                <c:pt idx="48733">
                  <c:v>1.6806722689075499E-3</c:v>
                </c:pt>
                <c:pt idx="48734">
                  <c:v>1.6806722689075499E-3</c:v>
                </c:pt>
                <c:pt idx="48735">
                  <c:v>1.6806722689075499E-3</c:v>
                </c:pt>
                <c:pt idx="48736">
                  <c:v>1.6806722689075499E-3</c:v>
                </c:pt>
                <c:pt idx="48737">
                  <c:v>1.6806722689075499E-3</c:v>
                </c:pt>
                <c:pt idx="48738">
                  <c:v>1.6806722689075499E-3</c:v>
                </c:pt>
                <c:pt idx="48739">
                  <c:v>1.6806722689075499E-3</c:v>
                </c:pt>
                <c:pt idx="48740">
                  <c:v>1.6806722689075499E-3</c:v>
                </c:pt>
                <c:pt idx="48741">
                  <c:v>1.6806722689075499E-3</c:v>
                </c:pt>
                <c:pt idx="48742">
                  <c:v>1.6806722689075499E-3</c:v>
                </c:pt>
                <c:pt idx="48743">
                  <c:v>1.6806722689075499E-3</c:v>
                </c:pt>
                <c:pt idx="48744">
                  <c:v>1.6806722689075499E-3</c:v>
                </c:pt>
                <c:pt idx="48745">
                  <c:v>1.6806722689075499E-3</c:v>
                </c:pt>
                <c:pt idx="48746">
                  <c:v>1.6806722689075499E-3</c:v>
                </c:pt>
                <c:pt idx="48747">
                  <c:v>1.6806722689075499E-3</c:v>
                </c:pt>
                <c:pt idx="48748">
                  <c:v>1.6806722689075499E-3</c:v>
                </c:pt>
                <c:pt idx="48749">
                  <c:v>1.6806722689075499E-3</c:v>
                </c:pt>
                <c:pt idx="48750">
                  <c:v>1.6806722689075499E-3</c:v>
                </c:pt>
                <c:pt idx="48751">
                  <c:v>1.6806722689075499E-3</c:v>
                </c:pt>
                <c:pt idx="48752">
                  <c:v>1.6806722689075499E-3</c:v>
                </c:pt>
                <c:pt idx="48753">
                  <c:v>1.6806722689075499E-3</c:v>
                </c:pt>
                <c:pt idx="48754">
                  <c:v>1.6806722689075499E-3</c:v>
                </c:pt>
                <c:pt idx="48755">
                  <c:v>1.6806722689075499E-3</c:v>
                </c:pt>
                <c:pt idx="48756">
                  <c:v>1.6806722689075499E-3</c:v>
                </c:pt>
                <c:pt idx="48757">
                  <c:v>1.6806722689075499E-3</c:v>
                </c:pt>
                <c:pt idx="48758">
                  <c:v>1.6806722689075499E-3</c:v>
                </c:pt>
                <c:pt idx="48759">
                  <c:v>1.6806722689075499E-3</c:v>
                </c:pt>
                <c:pt idx="48760">
                  <c:v>1.6806722689075499E-3</c:v>
                </c:pt>
                <c:pt idx="48761">
                  <c:v>1.6806722689075499E-3</c:v>
                </c:pt>
                <c:pt idx="48762">
                  <c:v>1.6806722689075499E-3</c:v>
                </c:pt>
                <c:pt idx="48763">
                  <c:v>1.6806722689075499E-3</c:v>
                </c:pt>
                <c:pt idx="48764">
                  <c:v>1.6806722689075499E-3</c:v>
                </c:pt>
                <c:pt idx="48765">
                  <c:v>1.6806722689075499E-3</c:v>
                </c:pt>
                <c:pt idx="48766">
                  <c:v>1.6806722689075499E-3</c:v>
                </c:pt>
                <c:pt idx="48767">
                  <c:v>1.6806722689075499E-3</c:v>
                </c:pt>
                <c:pt idx="48768">
                  <c:v>1.6806722689075499E-3</c:v>
                </c:pt>
                <c:pt idx="48769">
                  <c:v>1.6806722689075499E-3</c:v>
                </c:pt>
                <c:pt idx="48770">
                  <c:v>1.6806722689075499E-3</c:v>
                </c:pt>
                <c:pt idx="48771">
                  <c:v>1.6806722689075499E-3</c:v>
                </c:pt>
                <c:pt idx="48772">
                  <c:v>1.6806722689075499E-3</c:v>
                </c:pt>
                <c:pt idx="48773">
                  <c:v>1.6806722689075499E-3</c:v>
                </c:pt>
                <c:pt idx="48774">
                  <c:v>1.6806722689075499E-3</c:v>
                </c:pt>
                <c:pt idx="48775">
                  <c:v>1.6806722689075499E-3</c:v>
                </c:pt>
                <c:pt idx="48776">
                  <c:v>1.6806722689075499E-3</c:v>
                </c:pt>
                <c:pt idx="48777">
                  <c:v>1.6806722689075499E-3</c:v>
                </c:pt>
                <c:pt idx="48778">
                  <c:v>1.6806722689075499E-3</c:v>
                </c:pt>
                <c:pt idx="48779">
                  <c:v>1.6806722689075499E-3</c:v>
                </c:pt>
                <c:pt idx="48780">
                  <c:v>1.6806722689075499E-3</c:v>
                </c:pt>
                <c:pt idx="48781">
                  <c:v>1.6806722689075499E-3</c:v>
                </c:pt>
                <c:pt idx="48782">
                  <c:v>1.6806722689075499E-3</c:v>
                </c:pt>
                <c:pt idx="48783">
                  <c:v>1.6806722689075499E-3</c:v>
                </c:pt>
                <c:pt idx="48784">
                  <c:v>1.6806722689075499E-3</c:v>
                </c:pt>
                <c:pt idx="48785">
                  <c:v>1.6806722689075499E-3</c:v>
                </c:pt>
                <c:pt idx="48786">
                  <c:v>1.6806722689075499E-3</c:v>
                </c:pt>
                <c:pt idx="48787">
                  <c:v>1.6806722689075499E-3</c:v>
                </c:pt>
                <c:pt idx="48788">
                  <c:v>1.6806722689075499E-3</c:v>
                </c:pt>
                <c:pt idx="48789">
                  <c:v>1.6806722689075499E-3</c:v>
                </c:pt>
                <c:pt idx="48790">
                  <c:v>1.6806722689075499E-3</c:v>
                </c:pt>
                <c:pt idx="48791">
                  <c:v>1.6806722689075499E-3</c:v>
                </c:pt>
                <c:pt idx="48792">
                  <c:v>1.6806722689075499E-3</c:v>
                </c:pt>
                <c:pt idx="48793">
                  <c:v>1.6806722689075499E-3</c:v>
                </c:pt>
                <c:pt idx="48794">
                  <c:v>1.6806722689075499E-3</c:v>
                </c:pt>
                <c:pt idx="48795">
                  <c:v>1.6806722689075499E-3</c:v>
                </c:pt>
                <c:pt idx="48796">
                  <c:v>1.6806722689075499E-3</c:v>
                </c:pt>
                <c:pt idx="48797">
                  <c:v>1.6806722689075499E-3</c:v>
                </c:pt>
                <c:pt idx="48798">
                  <c:v>1.6806722689075499E-3</c:v>
                </c:pt>
                <c:pt idx="48799">
                  <c:v>1.6806722689075499E-3</c:v>
                </c:pt>
                <c:pt idx="48800">
                  <c:v>1.6806722689075499E-3</c:v>
                </c:pt>
                <c:pt idx="48801">
                  <c:v>1.6806722689075499E-3</c:v>
                </c:pt>
                <c:pt idx="48802">
                  <c:v>1.6806722689075499E-3</c:v>
                </c:pt>
                <c:pt idx="48803">
                  <c:v>1.6806722689075499E-3</c:v>
                </c:pt>
                <c:pt idx="48804">
                  <c:v>1.6806722689075499E-3</c:v>
                </c:pt>
                <c:pt idx="48805">
                  <c:v>1.6806722689075499E-3</c:v>
                </c:pt>
                <c:pt idx="48806">
                  <c:v>1.6806722689075499E-3</c:v>
                </c:pt>
                <c:pt idx="48807">
                  <c:v>1.6806722689075499E-3</c:v>
                </c:pt>
                <c:pt idx="48808">
                  <c:v>1.6806722689075499E-3</c:v>
                </c:pt>
                <c:pt idx="48809">
                  <c:v>2.5210084033613299E-3</c:v>
                </c:pt>
                <c:pt idx="48810">
                  <c:v>2.5210084033613299E-3</c:v>
                </c:pt>
                <c:pt idx="48811">
                  <c:v>2.5210084033613299E-3</c:v>
                </c:pt>
                <c:pt idx="48812">
                  <c:v>2.5210084033613299E-3</c:v>
                </c:pt>
                <c:pt idx="48813">
                  <c:v>2.5210084033613299E-3</c:v>
                </c:pt>
                <c:pt idx="48814">
                  <c:v>2.5210084033613299E-3</c:v>
                </c:pt>
                <c:pt idx="48815">
                  <c:v>2.5210084033613299E-3</c:v>
                </c:pt>
                <c:pt idx="48816">
                  <c:v>2.5210084033613299E-3</c:v>
                </c:pt>
                <c:pt idx="48817">
                  <c:v>2.5210084033613299E-3</c:v>
                </c:pt>
                <c:pt idx="48818">
                  <c:v>2.5210084033613299E-3</c:v>
                </c:pt>
                <c:pt idx="48819">
                  <c:v>2.5210084033613299E-3</c:v>
                </c:pt>
                <c:pt idx="48820">
                  <c:v>2.5210084033613299E-3</c:v>
                </c:pt>
                <c:pt idx="48821">
                  <c:v>2.5210084033613299E-3</c:v>
                </c:pt>
                <c:pt idx="48822">
                  <c:v>2.5210084033613299E-3</c:v>
                </c:pt>
                <c:pt idx="48823">
                  <c:v>2.5210084033613299E-3</c:v>
                </c:pt>
                <c:pt idx="48824">
                  <c:v>2.5210084033613299E-3</c:v>
                </c:pt>
                <c:pt idx="48825">
                  <c:v>2.5210084033613299E-3</c:v>
                </c:pt>
                <c:pt idx="48826">
                  <c:v>2.5210084033613299E-3</c:v>
                </c:pt>
                <c:pt idx="48827">
                  <c:v>2.5210084033613299E-3</c:v>
                </c:pt>
                <c:pt idx="48828">
                  <c:v>2.5210084033613299E-3</c:v>
                </c:pt>
                <c:pt idx="48829">
                  <c:v>2.5210084033613299E-3</c:v>
                </c:pt>
                <c:pt idx="48830">
                  <c:v>2.5210084033613299E-3</c:v>
                </c:pt>
                <c:pt idx="48831">
                  <c:v>2.5210084033613299E-3</c:v>
                </c:pt>
                <c:pt idx="48832">
                  <c:v>2.5210084033613299E-3</c:v>
                </c:pt>
                <c:pt idx="48833">
                  <c:v>2.5210084033613299E-3</c:v>
                </c:pt>
                <c:pt idx="48834">
                  <c:v>2.5210084033613299E-3</c:v>
                </c:pt>
                <c:pt idx="48835">
                  <c:v>2.5210084033613299E-3</c:v>
                </c:pt>
                <c:pt idx="48836">
                  <c:v>2.5210084033613299E-3</c:v>
                </c:pt>
                <c:pt idx="48837">
                  <c:v>2.5210084033613299E-3</c:v>
                </c:pt>
                <c:pt idx="48838">
                  <c:v>2.5210084033613299E-3</c:v>
                </c:pt>
                <c:pt idx="48839">
                  <c:v>2.5210084033613299E-3</c:v>
                </c:pt>
                <c:pt idx="48840">
                  <c:v>2.5210084033613299E-3</c:v>
                </c:pt>
                <c:pt idx="48841">
                  <c:v>2.5210084033613299E-3</c:v>
                </c:pt>
                <c:pt idx="48842">
                  <c:v>2.5210084033613299E-3</c:v>
                </c:pt>
                <c:pt idx="48843">
                  <c:v>2.5210084033613299E-3</c:v>
                </c:pt>
                <c:pt idx="48844">
                  <c:v>2.5210084033613299E-3</c:v>
                </c:pt>
                <c:pt idx="48845">
                  <c:v>2.5210084033613299E-3</c:v>
                </c:pt>
                <c:pt idx="48846">
                  <c:v>2.5210084033613299E-3</c:v>
                </c:pt>
                <c:pt idx="48847">
                  <c:v>2.5210084033613299E-3</c:v>
                </c:pt>
                <c:pt idx="48848">
                  <c:v>2.5210084033613299E-3</c:v>
                </c:pt>
                <c:pt idx="48849">
                  <c:v>2.5210084033613299E-3</c:v>
                </c:pt>
                <c:pt idx="48850">
                  <c:v>2.5210084033613299E-3</c:v>
                </c:pt>
                <c:pt idx="48851">
                  <c:v>2.5210084033613299E-3</c:v>
                </c:pt>
                <c:pt idx="48852">
                  <c:v>2.5210084033613299E-3</c:v>
                </c:pt>
                <c:pt idx="48853">
                  <c:v>2.5210084033613299E-3</c:v>
                </c:pt>
                <c:pt idx="48854">
                  <c:v>2.5210084033613299E-3</c:v>
                </c:pt>
                <c:pt idx="48855">
                  <c:v>2.5210084033613299E-3</c:v>
                </c:pt>
                <c:pt idx="48856">
                  <c:v>2.5210084033613299E-3</c:v>
                </c:pt>
                <c:pt idx="48857">
                  <c:v>2.5210084033613299E-3</c:v>
                </c:pt>
                <c:pt idx="48858">
                  <c:v>2.5210084033613299E-3</c:v>
                </c:pt>
                <c:pt idx="48859">
                  <c:v>2.5210084033613299E-3</c:v>
                </c:pt>
                <c:pt idx="48860">
                  <c:v>2.5210084033613299E-3</c:v>
                </c:pt>
                <c:pt idx="48861">
                  <c:v>2.5210084033613299E-3</c:v>
                </c:pt>
                <c:pt idx="48862">
                  <c:v>2.5210084033613299E-3</c:v>
                </c:pt>
                <c:pt idx="48863">
                  <c:v>2.5210084033613299E-3</c:v>
                </c:pt>
                <c:pt idx="48864">
                  <c:v>2.5210084033613299E-3</c:v>
                </c:pt>
                <c:pt idx="48865">
                  <c:v>2.5210084033613299E-3</c:v>
                </c:pt>
                <c:pt idx="48866">
                  <c:v>2.5210084033613299E-3</c:v>
                </c:pt>
                <c:pt idx="48867">
                  <c:v>2.5210084033613299E-3</c:v>
                </c:pt>
                <c:pt idx="48868">
                  <c:v>2.5210084033613299E-3</c:v>
                </c:pt>
                <c:pt idx="48869">
                  <c:v>2.5210084033613299E-3</c:v>
                </c:pt>
                <c:pt idx="48870">
                  <c:v>2.5210084033613299E-3</c:v>
                </c:pt>
                <c:pt idx="48871">
                  <c:v>2.5210084033613299E-3</c:v>
                </c:pt>
                <c:pt idx="48872">
                  <c:v>2.5210084033613299E-3</c:v>
                </c:pt>
                <c:pt idx="48873">
                  <c:v>2.5210084033613299E-3</c:v>
                </c:pt>
                <c:pt idx="48874">
                  <c:v>2.5210084033613299E-3</c:v>
                </c:pt>
                <c:pt idx="48875">
                  <c:v>2.5210084033613299E-3</c:v>
                </c:pt>
                <c:pt idx="48876">
                  <c:v>2.5210084033613299E-3</c:v>
                </c:pt>
                <c:pt idx="48877">
                  <c:v>2.5210084033613299E-3</c:v>
                </c:pt>
                <c:pt idx="48878">
                  <c:v>2.5210084033613299E-3</c:v>
                </c:pt>
                <c:pt idx="48879">
                  <c:v>2.5210084033613299E-3</c:v>
                </c:pt>
                <c:pt idx="48880">
                  <c:v>2.5210084033613299E-3</c:v>
                </c:pt>
                <c:pt idx="48881">
                  <c:v>2.5210084033613299E-3</c:v>
                </c:pt>
                <c:pt idx="48882">
                  <c:v>2.5210084033613299E-3</c:v>
                </c:pt>
                <c:pt idx="48883">
                  <c:v>2.5210084033613299E-3</c:v>
                </c:pt>
                <c:pt idx="48884">
                  <c:v>2.5210084033613299E-3</c:v>
                </c:pt>
                <c:pt idx="48885">
                  <c:v>2.5210084033613299E-3</c:v>
                </c:pt>
                <c:pt idx="48886">
                  <c:v>2.5210084033613299E-3</c:v>
                </c:pt>
                <c:pt idx="48887">
                  <c:v>2.5210084033613299E-3</c:v>
                </c:pt>
                <c:pt idx="48888">
                  <c:v>2.5210084033613299E-3</c:v>
                </c:pt>
                <c:pt idx="48889">
                  <c:v>2.5210084033613299E-3</c:v>
                </c:pt>
                <c:pt idx="48890">
                  <c:v>2.5210084033613299E-3</c:v>
                </c:pt>
                <c:pt idx="48891">
                  <c:v>2.5210084033613299E-3</c:v>
                </c:pt>
                <c:pt idx="48892">
                  <c:v>2.5210084033613299E-3</c:v>
                </c:pt>
                <c:pt idx="48893">
                  <c:v>2.5210084033613299E-3</c:v>
                </c:pt>
                <c:pt idx="48894">
                  <c:v>2.5210084033613299E-3</c:v>
                </c:pt>
                <c:pt idx="48895">
                  <c:v>2.5210084033613299E-3</c:v>
                </c:pt>
                <c:pt idx="48896">
                  <c:v>2.5210084033613299E-3</c:v>
                </c:pt>
                <c:pt idx="48897">
                  <c:v>2.5210084033613299E-3</c:v>
                </c:pt>
                <c:pt idx="48898">
                  <c:v>2.5210084033613299E-3</c:v>
                </c:pt>
                <c:pt idx="48899">
                  <c:v>2.5210084033613299E-3</c:v>
                </c:pt>
                <c:pt idx="48900">
                  <c:v>2.5210084033613299E-3</c:v>
                </c:pt>
                <c:pt idx="48901">
                  <c:v>2.5210084033613299E-3</c:v>
                </c:pt>
                <c:pt idx="48902">
                  <c:v>2.5210084033613299E-3</c:v>
                </c:pt>
                <c:pt idx="48903">
                  <c:v>2.5210084033613299E-3</c:v>
                </c:pt>
                <c:pt idx="48904">
                  <c:v>2.5210084033613299E-3</c:v>
                </c:pt>
                <c:pt idx="48905">
                  <c:v>2.5210084033613299E-3</c:v>
                </c:pt>
                <c:pt idx="48906">
                  <c:v>2.5210084033613299E-3</c:v>
                </c:pt>
                <c:pt idx="48907">
                  <c:v>2.5210084033613299E-3</c:v>
                </c:pt>
                <c:pt idx="48908">
                  <c:v>2.5210084033613299E-3</c:v>
                </c:pt>
                <c:pt idx="48909">
                  <c:v>2.5210084033613299E-3</c:v>
                </c:pt>
                <c:pt idx="48910">
                  <c:v>2.5210084033613299E-3</c:v>
                </c:pt>
                <c:pt idx="48911">
                  <c:v>2.5210084033613299E-3</c:v>
                </c:pt>
                <c:pt idx="48912">
                  <c:v>1.6806722689075499E-3</c:v>
                </c:pt>
                <c:pt idx="48913">
                  <c:v>1.6806722689075499E-3</c:v>
                </c:pt>
                <c:pt idx="48914">
                  <c:v>1.6806722689075499E-3</c:v>
                </c:pt>
                <c:pt idx="48915">
                  <c:v>1.6806722689075499E-3</c:v>
                </c:pt>
                <c:pt idx="48916">
                  <c:v>1.6806722689075499E-3</c:v>
                </c:pt>
                <c:pt idx="48917">
                  <c:v>1.6806722689075499E-3</c:v>
                </c:pt>
                <c:pt idx="48918">
                  <c:v>1.6806722689075499E-3</c:v>
                </c:pt>
                <c:pt idx="48919">
                  <c:v>1.6806722689075499E-3</c:v>
                </c:pt>
                <c:pt idx="48920">
                  <c:v>1.6806722689075499E-3</c:v>
                </c:pt>
                <c:pt idx="48921">
                  <c:v>1.6806722689075499E-3</c:v>
                </c:pt>
                <c:pt idx="48922">
                  <c:v>1.6806722689075499E-3</c:v>
                </c:pt>
                <c:pt idx="48923">
                  <c:v>1.6806722689075499E-3</c:v>
                </c:pt>
                <c:pt idx="48924">
                  <c:v>1.6806722689075499E-3</c:v>
                </c:pt>
                <c:pt idx="48925">
                  <c:v>1.6806722689075499E-3</c:v>
                </c:pt>
                <c:pt idx="48926">
                  <c:v>1.6806722689075499E-3</c:v>
                </c:pt>
                <c:pt idx="48927">
                  <c:v>1.6806722689075499E-3</c:v>
                </c:pt>
                <c:pt idx="48928">
                  <c:v>1.6806722689075499E-3</c:v>
                </c:pt>
                <c:pt idx="48929">
                  <c:v>1.6806722689075499E-3</c:v>
                </c:pt>
                <c:pt idx="48930">
                  <c:v>1.6806722689075499E-3</c:v>
                </c:pt>
                <c:pt idx="48931">
                  <c:v>1.6806722689075499E-3</c:v>
                </c:pt>
                <c:pt idx="48932">
                  <c:v>1.6806722689075499E-3</c:v>
                </c:pt>
                <c:pt idx="48933">
                  <c:v>1.6806722689075499E-3</c:v>
                </c:pt>
                <c:pt idx="48934">
                  <c:v>1.6806722689075499E-3</c:v>
                </c:pt>
                <c:pt idx="48935">
                  <c:v>1.6806722689075499E-3</c:v>
                </c:pt>
                <c:pt idx="48936">
                  <c:v>1.6806722689075499E-3</c:v>
                </c:pt>
                <c:pt idx="48937">
                  <c:v>1.6806722689075499E-3</c:v>
                </c:pt>
                <c:pt idx="48938">
                  <c:v>1.6806722689075499E-3</c:v>
                </c:pt>
                <c:pt idx="48939">
                  <c:v>1.6806722689075499E-3</c:v>
                </c:pt>
                <c:pt idx="48940">
                  <c:v>1.6806722689075499E-3</c:v>
                </c:pt>
                <c:pt idx="48941">
                  <c:v>1.6806722689075499E-3</c:v>
                </c:pt>
                <c:pt idx="48942">
                  <c:v>1.6806722689075499E-3</c:v>
                </c:pt>
                <c:pt idx="48943">
                  <c:v>1.6806722689075499E-3</c:v>
                </c:pt>
                <c:pt idx="48944">
                  <c:v>1.6806722689075499E-3</c:v>
                </c:pt>
                <c:pt idx="48945">
                  <c:v>1.6806722689075499E-3</c:v>
                </c:pt>
                <c:pt idx="48946">
                  <c:v>1.6806722689075499E-3</c:v>
                </c:pt>
                <c:pt idx="48947">
                  <c:v>1.6806722689075499E-3</c:v>
                </c:pt>
                <c:pt idx="48948">
                  <c:v>1.6806722689075499E-3</c:v>
                </c:pt>
                <c:pt idx="48949">
                  <c:v>1.6806722689075499E-3</c:v>
                </c:pt>
                <c:pt idx="48950">
                  <c:v>1.6806722689075499E-3</c:v>
                </c:pt>
                <c:pt idx="48951">
                  <c:v>1.6806722689075499E-3</c:v>
                </c:pt>
                <c:pt idx="48952">
                  <c:v>1.6806722689075499E-3</c:v>
                </c:pt>
                <c:pt idx="48953">
                  <c:v>1.6806722689075499E-3</c:v>
                </c:pt>
                <c:pt idx="48954">
                  <c:v>1.6806722689075499E-3</c:v>
                </c:pt>
                <c:pt idx="48955">
                  <c:v>1.6806722689075499E-3</c:v>
                </c:pt>
                <c:pt idx="48956">
                  <c:v>1.6806722689075499E-3</c:v>
                </c:pt>
                <c:pt idx="48957">
                  <c:v>1.6806722689075499E-3</c:v>
                </c:pt>
                <c:pt idx="48958">
                  <c:v>1.6806722689075499E-3</c:v>
                </c:pt>
                <c:pt idx="48959">
                  <c:v>1.6806722689075499E-3</c:v>
                </c:pt>
                <c:pt idx="48960">
                  <c:v>1.6806722689075499E-3</c:v>
                </c:pt>
                <c:pt idx="48961">
                  <c:v>8.4033613445377799E-4</c:v>
                </c:pt>
                <c:pt idx="48962">
                  <c:v>8.4033613445377799E-4</c:v>
                </c:pt>
                <c:pt idx="48963">
                  <c:v>8.4033613445377799E-4</c:v>
                </c:pt>
                <c:pt idx="48964">
                  <c:v>8.4033613445377799E-4</c:v>
                </c:pt>
                <c:pt idx="48965">
                  <c:v>8.4033613445377799E-4</c:v>
                </c:pt>
                <c:pt idx="48966">
                  <c:v>8.4033613445377799E-4</c:v>
                </c:pt>
                <c:pt idx="48967">
                  <c:v>8.4033613445377799E-4</c:v>
                </c:pt>
                <c:pt idx="48968">
                  <c:v>8.4033613445377799E-4</c:v>
                </c:pt>
                <c:pt idx="48969">
                  <c:v>8.4033613445377799E-4</c:v>
                </c:pt>
                <c:pt idx="48970">
                  <c:v>8.4033613445377799E-4</c:v>
                </c:pt>
                <c:pt idx="48971">
                  <c:v>8.4033613445377799E-4</c:v>
                </c:pt>
                <c:pt idx="48972">
                  <c:v>8.4033613445377799E-4</c:v>
                </c:pt>
                <c:pt idx="48973">
                  <c:v>8.4033613445377799E-4</c:v>
                </c:pt>
                <c:pt idx="48974">
                  <c:v>8.4033613445377799E-4</c:v>
                </c:pt>
                <c:pt idx="48975">
                  <c:v>8.4033613445377799E-4</c:v>
                </c:pt>
                <c:pt idx="48976">
                  <c:v>8.4033613445377799E-4</c:v>
                </c:pt>
                <c:pt idx="48977">
                  <c:v>8.4033613445377799E-4</c:v>
                </c:pt>
                <c:pt idx="48978">
                  <c:v>8.4033613445377799E-4</c:v>
                </c:pt>
                <c:pt idx="48979">
                  <c:v>8.4033613445377799E-4</c:v>
                </c:pt>
                <c:pt idx="48980">
                  <c:v>8.4033613445377799E-4</c:v>
                </c:pt>
                <c:pt idx="48981">
                  <c:v>8.4033613445377799E-4</c:v>
                </c:pt>
                <c:pt idx="48982">
                  <c:v>8.4033613445377799E-4</c:v>
                </c:pt>
                <c:pt idx="48983">
                  <c:v>8.4033613445377799E-4</c:v>
                </c:pt>
                <c:pt idx="48984">
                  <c:v>8.4033613445377799E-4</c:v>
                </c:pt>
                <c:pt idx="48985">
                  <c:v>8.4033613445377799E-4</c:v>
                </c:pt>
                <c:pt idx="48986">
                  <c:v>8.4033613445377799E-4</c:v>
                </c:pt>
                <c:pt idx="48987">
                  <c:v>8.4033613445377799E-4</c:v>
                </c:pt>
                <c:pt idx="48988">
                  <c:v>8.4033613445377799E-4</c:v>
                </c:pt>
                <c:pt idx="48989">
                  <c:v>8.4033613445377799E-4</c:v>
                </c:pt>
                <c:pt idx="48990">
                  <c:v>8.4033613445377799E-4</c:v>
                </c:pt>
                <c:pt idx="48991">
                  <c:v>8.4033613445377799E-4</c:v>
                </c:pt>
                <c:pt idx="48992">
                  <c:v>8.4033613445377799E-4</c:v>
                </c:pt>
                <c:pt idx="48993">
                  <c:v>8.4033613445377799E-4</c:v>
                </c:pt>
                <c:pt idx="48994">
                  <c:v>8.4033613445377799E-4</c:v>
                </c:pt>
                <c:pt idx="48995">
                  <c:v>8.4033613445377799E-4</c:v>
                </c:pt>
                <c:pt idx="48996">
                  <c:v>8.4033613445377799E-4</c:v>
                </c:pt>
                <c:pt idx="48997">
                  <c:v>8.4033613445377799E-4</c:v>
                </c:pt>
                <c:pt idx="48998">
                  <c:v>8.4033613445377799E-4</c:v>
                </c:pt>
                <c:pt idx="48999">
                  <c:v>8.4033613445377799E-4</c:v>
                </c:pt>
                <c:pt idx="49000">
                  <c:v>8.4033613445377799E-4</c:v>
                </c:pt>
                <c:pt idx="49001">
                  <c:v>8.4033613445377799E-4</c:v>
                </c:pt>
                <c:pt idx="49002">
                  <c:v>8.4033613445377799E-4</c:v>
                </c:pt>
                <c:pt idx="49003">
                  <c:v>8.4033613445377799E-4</c:v>
                </c:pt>
                <c:pt idx="49004">
                  <c:v>8.4033613445377799E-4</c:v>
                </c:pt>
                <c:pt idx="49005">
                  <c:v>8.4033613445377799E-4</c:v>
                </c:pt>
                <c:pt idx="49006">
                  <c:v>8.4033613445377799E-4</c:v>
                </c:pt>
                <c:pt idx="49007">
                  <c:v>8.4033613445377799E-4</c:v>
                </c:pt>
                <c:pt idx="49008">
                  <c:v>8.4033613445377799E-4</c:v>
                </c:pt>
                <c:pt idx="49009">
                  <c:v>8.4033613445377799E-4</c:v>
                </c:pt>
                <c:pt idx="49010">
                  <c:v>8.4033613445377799E-4</c:v>
                </c:pt>
                <c:pt idx="49011">
                  <c:v>8.4033613445377799E-4</c:v>
                </c:pt>
                <c:pt idx="49012">
                  <c:v>8.4033613445377799E-4</c:v>
                </c:pt>
                <c:pt idx="49013">
                  <c:v>8.4033613445377799E-4</c:v>
                </c:pt>
                <c:pt idx="49014">
                  <c:v>8.4033613445377799E-4</c:v>
                </c:pt>
                <c:pt idx="49015">
                  <c:v>8.4033613445377799E-4</c:v>
                </c:pt>
                <c:pt idx="49016">
                  <c:v>8.4033613445377799E-4</c:v>
                </c:pt>
                <c:pt idx="49017">
                  <c:v>8.4033613445377799E-4</c:v>
                </c:pt>
                <c:pt idx="49018">
                  <c:v>8.4033613445377799E-4</c:v>
                </c:pt>
                <c:pt idx="49019">
                  <c:v>8.4033613445377799E-4</c:v>
                </c:pt>
                <c:pt idx="49020">
                  <c:v>8.4033613445377799E-4</c:v>
                </c:pt>
                <c:pt idx="49021">
                  <c:v>8.4033613445377799E-4</c:v>
                </c:pt>
                <c:pt idx="49022">
                  <c:v>8.4033613445377799E-4</c:v>
                </c:pt>
                <c:pt idx="49023">
                  <c:v>8.4033613445377799E-4</c:v>
                </c:pt>
                <c:pt idx="49024">
                  <c:v>8.4033613445377799E-4</c:v>
                </c:pt>
                <c:pt idx="49025">
                  <c:v>8.4033613445377799E-4</c:v>
                </c:pt>
                <c:pt idx="49026">
                  <c:v>8.4033613445377799E-4</c:v>
                </c:pt>
                <c:pt idx="49027">
                  <c:v>8.4033613445377799E-4</c:v>
                </c:pt>
                <c:pt idx="49028">
                  <c:v>8.4033613445377799E-4</c:v>
                </c:pt>
                <c:pt idx="49029">
                  <c:v>8.4033613445377799E-4</c:v>
                </c:pt>
                <c:pt idx="49030">
                  <c:v>8.4033613445377799E-4</c:v>
                </c:pt>
                <c:pt idx="49031">
                  <c:v>8.4033613445377799E-4</c:v>
                </c:pt>
                <c:pt idx="49032">
                  <c:v>8.4033613445377799E-4</c:v>
                </c:pt>
                <c:pt idx="49033">
                  <c:v>8.4033613445377799E-4</c:v>
                </c:pt>
                <c:pt idx="49034">
                  <c:v>8.4033613445377799E-4</c:v>
                </c:pt>
                <c:pt idx="49035">
                  <c:v>8.4033613445377799E-4</c:v>
                </c:pt>
                <c:pt idx="49036">
                  <c:v>8.4033613445377799E-4</c:v>
                </c:pt>
                <c:pt idx="49037">
                  <c:v>8.4033613445377799E-4</c:v>
                </c:pt>
                <c:pt idx="49038">
                  <c:v>8.4033613445377799E-4</c:v>
                </c:pt>
                <c:pt idx="49039">
                  <c:v>8.4033613445377799E-4</c:v>
                </c:pt>
                <c:pt idx="49040">
                  <c:v>8.4033613445377799E-4</c:v>
                </c:pt>
                <c:pt idx="49041">
                  <c:v>8.4033613445377799E-4</c:v>
                </c:pt>
                <c:pt idx="49042">
                  <c:v>8.4033613445377799E-4</c:v>
                </c:pt>
                <c:pt idx="49043">
                  <c:v>8.4033613445377799E-4</c:v>
                </c:pt>
                <c:pt idx="49044">
                  <c:v>8.4033613445377799E-4</c:v>
                </c:pt>
                <c:pt idx="49045">
                  <c:v>8.4033613445377799E-4</c:v>
                </c:pt>
                <c:pt idx="49046">
                  <c:v>8.4033613445377799E-4</c:v>
                </c:pt>
                <c:pt idx="49047">
                  <c:v>8.4033613445377799E-4</c:v>
                </c:pt>
                <c:pt idx="49048">
                  <c:v>8.4033613445377799E-4</c:v>
                </c:pt>
                <c:pt idx="49049">
                  <c:v>8.4033613445377799E-4</c:v>
                </c:pt>
                <c:pt idx="49050">
                  <c:v>8.4033613445377799E-4</c:v>
                </c:pt>
                <c:pt idx="49051">
                  <c:v>8.4033613445377799E-4</c:v>
                </c:pt>
                <c:pt idx="49052">
                  <c:v>8.4033613445377799E-4</c:v>
                </c:pt>
                <c:pt idx="49053">
                  <c:v>8.4033613445377799E-4</c:v>
                </c:pt>
                <c:pt idx="49054">
                  <c:v>8.4033613445377799E-4</c:v>
                </c:pt>
                <c:pt idx="49055">
                  <c:v>8.4033613445377799E-4</c:v>
                </c:pt>
                <c:pt idx="49056">
                  <c:v>8.4033613445377799E-4</c:v>
                </c:pt>
                <c:pt idx="49057">
                  <c:v>8.4033613445377799E-4</c:v>
                </c:pt>
                <c:pt idx="49058">
                  <c:v>8.4033613445377799E-4</c:v>
                </c:pt>
                <c:pt idx="49059">
                  <c:v>8.4033613445377799E-4</c:v>
                </c:pt>
                <c:pt idx="49060">
                  <c:v>8.4033613445377799E-4</c:v>
                </c:pt>
                <c:pt idx="49061">
                  <c:v>8.4033613445377799E-4</c:v>
                </c:pt>
                <c:pt idx="49062">
                  <c:v>8.4033613445377799E-4</c:v>
                </c:pt>
                <c:pt idx="49063">
                  <c:v>8.4033613445377799E-4</c:v>
                </c:pt>
                <c:pt idx="49064">
                  <c:v>8.4033613445377799E-4</c:v>
                </c:pt>
                <c:pt idx="49065">
                  <c:v>8.4033613445377799E-4</c:v>
                </c:pt>
                <c:pt idx="49066">
                  <c:v>8.4033613445377799E-4</c:v>
                </c:pt>
                <c:pt idx="49067">
                  <c:v>8.4033613445377799E-4</c:v>
                </c:pt>
                <c:pt idx="49068">
                  <c:v>8.4033613445377799E-4</c:v>
                </c:pt>
                <c:pt idx="49069">
                  <c:v>8.4033613445377799E-4</c:v>
                </c:pt>
                <c:pt idx="49070">
                  <c:v>8.4033613445377799E-4</c:v>
                </c:pt>
                <c:pt idx="49071">
                  <c:v>8.4033613445377799E-4</c:v>
                </c:pt>
                <c:pt idx="49072">
                  <c:v>8.4033613445377799E-4</c:v>
                </c:pt>
                <c:pt idx="49073">
                  <c:v>8.4033613445377799E-4</c:v>
                </c:pt>
                <c:pt idx="49074">
                  <c:v>8.4033613445377799E-4</c:v>
                </c:pt>
                <c:pt idx="49075">
                  <c:v>8.4033613445377799E-4</c:v>
                </c:pt>
                <c:pt idx="49076">
                  <c:v>8.4033613445377799E-4</c:v>
                </c:pt>
                <c:pt idx="49077">
                  <c:v>8.4033613445377799E-4</c:v>
                </c:pt>
                <c:pt idx="49078">
                  <c:v>8.4033613445377799E-4</c:v>
                </c:pt>
                <c:pt idx="49079">
                  <c:v>8.4033613445377799E-4</c:v>
                </c:pt>
                <c:pt idx="49080">
                  <c:v>8.4033613445377799E-4</c:v>
                </c:pt>
                <c:pt idx="49081">
                  <c:v>8.4033613445377799E-4</c:v>
                </c:pt>
                <c:pt idx="49082">
                  <c:v>8.4033613445377799E-4</c:v>
                </c:pt>
                <c:pt idx="49083">
                  <c:v>8.4033613445377799E-4</c:v>
                </c:pt>
                <c:pt idx="49084">
                  <c:v>8.4033613445377799E-4</c:v>
                </c:pt>
                <c:pt idx="49085">
                  <c:v>8.4033613445377799E-4</c:v>
                </c:pt>
                <c:pt idx="49086">
                  <c:v>8.4033613445377799E-4</c:v>
                </c:pt>
                <c:pt idx="49087">
                  <c:v>8.4033613445377799E-4</c:v>
                </c:pt>
                <c:pt idx="49088">
                  <c:v>8.4033613445377799E-4</c:v>
                </c:pt>
                <c:pt idx="49089">
                  <c:v>8.4033613445377799E-4</c:v>
                </c:pt>
                <c:pt idx="49090">
                  <c:v>8.4033613445377799E-4</c:v>
                </c:pt>
                <c:pt idx="49091">
                  <c:v>8.4033613445377799E-4</c:v>
                </c:pt>
                <c:pt idx="49092">
                  <c:v>8.4033613445377799E-4</c:v>
                </c:pt>
                <c:pt idx="49093">
                  <c:v>8.4033613445377799E-4</c:v>
                </c:pt>
                <c:pt idx="49094">
                  <c:v>8.4033613445377799E-4</c:v>
                </c:pt>
                <c:pt idx="49095">
                  <c:v>8.4033613445377799E-4</c:v>
                </c:pt>
                <c:pt idx="49096">
                  <c:v>8.4033613445377799E-4</c:v>
                </c:pt>
                <c:pt idx="49097">
                  <c:v>8.4033613445377799E-4</c:v>
                </c:pt>
                <c:pt idx="49098">
                  <c:v>8.4033613445377799E-4</c:v>
                </c:pt>
                <c:pt idx="49099">
                  <c:v>8.4033613445377799E-4</c:v>
                </c:pt>
                <c:pt idx="49100">
                  <c:v>8.4033613445377799E-4</c:v>
                </c:pt>
                <c:pt idx="49101">
                  <c:v>8.4033613445377799E-4</c:v>
                </c:pt>
                <c:pt idx="49102">
                  <c:v>8.4033613445377799E-4</c:v>
                </c:pt>
                <c:pt idx="49103">
                  <c:v>8.4033613445377799E-4</c:v>
                </c:pt>
                <c:pt idx="49104">
                  <c:v>8.4033613445377799E-4</c:v>
                </c:pt>
                <c:pt idx="49105">
                  <c:v>8.4033613445377799E-4</c:v>
                </c:pt>
                <c:pt idx="49106">
                  <c:v>8.4033613445377799E-4</c:v>
                </c:pt>
                <c:pt idx="49107">
                  <c:v>8.4033613445377799E-4</c:v>
                </c:pt>
                <c:pt idx="49108">
                  <c:v>8.4033613445377799E-4</c:v>
                </c:pt>
                <c:pt idx="49109">
                  <c:v>8.4033613445377799E-4</c:v>
                </c:pt>
                <c:pt idx="49110">
                  <c:v>8.4033613445377799E-4</c:v>
                </c:pt>
                <c:pt idx="49111">
                  <c:v>8.4033613445377799E-4</c:v>
                </c:pt>
                <c:pt idx="49112">
                  <c:v>8.4033613445377799E-4</c:v>
                </c:pt>
                <c:pt idx="49113">
                  <c:v>8.4033613445377799E-4</c:v>
                </c:pt>
                <c:pt idx="49114">
                  <c:v>8.4033613445377799E-4</c:v>
                </c:pt>
                <c:pt idx="49115">
                  <c:v>8.4033613445377799E-4</c:v>
                </c:pt>
                <c:pt idx="49116">
                  <c:v>8.4033613445377799E-4</c:v>
                </c:pt>
                <c:pt idx="49117">
                  <c:v>8.4033613445377799E-4</c:v>
                </c:pt>
                <c:pt idx="49118">
                  <c:v>8.4033613445377799E-4</c:v>
                </c:pt>
                <c:pt idx="49119">
                  <c:v>8.4033613445377799E-4</c:v>
                </c:pt>
                <c:pt idx="49120">
                  <c:v>8.4033613445377799E-4</c:v>
                </c:pt>
                <c:pt idx="49121">
                  <c:v>8.4033613445377799E-4</c:v>
                </c:pt>
                <c:pt idx="49122">
                  <c:v>8.4033613445377799E-4</c:v>
                </c:pt>
                <c:pt idx="49123">
                  <c:v>8.4033613445377799E-4</c:v>
                </c:pt>
                <c:pt idx="49124">
                  <c:v>8.4033613445377799E-4</c:v>
                </c:pt>
                <c:pt idx="49125">
                  <c:v>8.4033613445377799E-4</c:v>
                </c:pt>
                <c:pt idx="49126">
                  <c:v>8.4033613445377799E-4</c:v>
                </c:pt>
                <c:pt idx="49127">
                  <c:v>8.4033613445377799E-4</c:v>
                </c:pt>
                <c:pt idx="49128">
                  <c:v>8.4033613445377799E-4</c:v>
                </c:pt>
                <c:pt idx="49129">
                  <c:v>8.4033613445377799E-4</c:v>
                </c:pt>
                <c:pt idx="49130">
                  <c:v>8.4033613445377799E-4</c:v>
                </c:pt>
                <c:pt idx="49131">
                  <c:v>8.4033613445377799E-4</c:v>
                </c:pt>
                <c:pt idx="49132">
                  <c:v>8.4033613445377799E-4</c:v>
                </c:pt>
                <c:pt idx="49133">
                  <c:v>8.4033613445377799E-4</c:v>
                </c:pt>
                <c:pt idx="49134">
                  <c:v>8.4033613445377799E-4</c:v>
                </c:pt>
                <c:pt idx="49135">
                  <c:v>8.4033613445377799E-4</c:v>
                </c:pt>
                <c:pt idx="49136">
                  <c:v>8.4033613445377799E-4</c:v>
                </c:pt>
                <c:pt idx="49137">
                  <c:v>8.4033613445377799E-4</c:v>
                </c:pt>
                <c:pt idx="49138">
                  <c:v>8.4033613445377799E-4</c:v>
                </c:pt>
                <c:pt idx="49139">
                  <c:v>8.4033613445377799E-4</c:v>
                </c:pt>
                <c:pt idx="49140">
                  <c:v>8.4033613445377799E-4</c:v>
                </c:pt>
                <c:pt idx="49141">
                  <c:v>8.4033613445377799E-4</c:v>
                </c:pt>
                <c:pt idx="49142">
                  <c:v>8.4033613445377799E-4</c:v>
                </c:pt>
                <c:pt idx="49143">
                  <c:v>8.4033613445377799E-4</c:v>
                </c:pt>
                <c:pt idx="49144">
                  <c:v>8.4033613445377799E-4</c:v>
                </c:pt>
                <c:pt idx="49145">
                  <c:v>8.4033613445377799E-4</c:v>
                </c:pt>
                <c:pt idx="49146">
                  <c:v>8.4033613445377799E-4</c:v>
                </c:pt>
                <c:pt idx="49147">
                  <c:v>8.4033613445377799E-4</c:v>
                </c:pt>
                <c:pt idx="49148">
                  <c:v>8.4033613445377799E-4</c:v>
                </c:pt>
                <c:pt idx="49149">
                  <c:v>8.4033613445377799E-4</c:v>
                </c:pt>
                <c:pt idx="49150">
                  <c:v>8.4033613445377799E-4</c:v>
                </c:pt>
                <c:pt idx="49151">
                  <c:v>8.4033613445377799E-4</c:v>
                </c:pt>
                <c:pt idx="49152">
                  <c:v>8.4033613445377799E-4</c:v>
                </c:pt>
                <c:pt idx="49153">
                  <c:v>8.4033613445377799E-4</c:v>
                </c:pt>
                <c:pt idx="49154">
                  <c:v>0</c:v>
                </c:pt>
                <c:pt idx="49155">
                  <c:v>0</c:v>
                </c:pt>
                <c:pt idx="49156">
                  <c:v>0</c:v>
                </c:pt>
                <c:pt idx="49157">
                  <c:v>0</c:v>
                </c:pt>
                <c:pt idx="49158">
                  <c:v>0</c:v>
                </c:pt>
                <c:pt idx="49159">
                  <c:v>0</c:v>
                </c:pt>
                <c:pt idx="49160">
                  <c:v>0</c:v>
                </c:pt>
                <c:pt idx="49161">
                  <c:v>0</c:v>
                </c:pt>
                <c:pt idx="49162">
                  <c:v>0</c:v>
                </c:pt>
                <c:pt idx="49163">
                  <c:v>0</c:v>
                </c:pt>
                <c:pt idx="49164">
                  <c:v>0</c:v>
                </c:pt>
                <c:pt idx="49165">
                  <c:v>0</c:v>
                </c:pt>
                <c:pt idx="49166">
                  <c:v>0</c:v>
                </c:pt>
                <c:pt idx="49167">
                  <c:v>0</c:v>
                </c:pt>
                <c:pt idx="49168">
                  <c:v>0</c:v>
                </c:pt>
                <c:pt idx="49169">
                  <c:v>0</c:v>
                </c:pt>
                <c:pt idx="49170">
                  <c:v>0</c:v>
                </c:pt>
                <c:pt idx="49171">
                  <c:v>0</c:v>
                </c:pt>
                <c:pt idx="49172">
                  <c:v>0</c:v>
                </c:pt>
                <c:pt idx="49173">
                  <c:v>0</c:v>
                </c:pt>
                <c:pt idx="49174">
                  <c:v>0</c:v>
                </c:pt>
                <c:pt idx="49175">
                  <c:v>0</c:v>
                </c:pt>
                <c:pt idx="49176">
                  <c:v>0</c:v>
                </c:pt>
                <c:pt idx="49177">
                  <c:v>0</c:v>
                </c:pt>
                <c:pt idx="49178">
                  <c:v>0</c:v>
                </c:pt>
                <c:pt idx="49179">
                  <c:v>0</c:v>
                </c:pt>
                <c:pt idx="49180">
                  <c:v>0</c:v>
                </c:pt>
                <c:pt idx="49181">
                  <c:v>0</c:v>
                </c:pt>
                <c:pt idx="49182">
                  <c:v>0</c:v>
                </c:pt>
                <c:pt idx="49183">
                  <c:v>0</c:v>
                </c:pt>
                <c:pt idx="49184">
                  <c:v>0</c:v>
                </c:pt>
                <c:pt idx="49185">
                  <c:v>0</c:v>
                </c:pt>
                <c:pt idx="49186">
                  <c:v>0</c:v>
                </c:pt>
                <c:pt idx="49187">
                  <c:v>0</c:v>
                </c:pt>
                <c:pt idx="49188">
                  <c:v>0</c:v>
                </c:pt>
                <c:pt idx="49189">
                  <c:v>0</c:v>
                </c:pt>
                <c:pt idx="49190">
                  <c:v>0</c:v>
                </c:pt>
                <c:pt idx="49191">
                  <c:v>0</c:v>
                </c:pt>
                <c:pt idx="49192">
                  <c:v>0</c:v>
                </c:pt>
                <c:pt idx="49193">
                  <c:v>0</c:v>
                </c:pt>
                <c:pt idx="49194">
                  <c:v>0</c:v>
                </c:pt>
                <c:pt idx="49195">
                  <c:v>0</c:v>
                </c:pt>
                <c:pt idx="49196">
                  <c:v>0</c:v>
                </c:pt>
                <c:pt idx="49197">
                  <c:v>0</c:v>
                </c:pt>
                <c:pt idx="49198">
                  <c:v>0</c:v>
                </c:pt>
                <c:pt idx="49199">
                  <c:v>0</c:v>
                </c:pt>
                <c:pt idx="49200">
                  <c:v>0</c:v>
                </c:pt>
                <c:pt idx="49201">
                  <c:v>0</c:v>
                </c:pt>
                <c:pt idx="49202">
                  <c:v>0</c:v>
                </c:pt>
                <c:pt idx="49203">
                  <c:v>0</c:v>
                </c:pt>
                <c:pt idx="49204">
                  <c:v>0</c:v>
                </c:pt>
                <c:pt idx="49205">
                  <c:v>0</c:v>
                </c:pt>
                <c:pt idx="49206">
                  <c:v>0</c:v>
                </c:pt>
                <c:pt idx="49207">
                  <c:v>0</c:v>
                </c:pt>
                <c:pt idx="49208">
                  <c:v>0</c:v>
                </c:pt>
                <c:pt idx="49209">
                  <c:v>0</c:v>
                </c:pt>
                <c:pt idx="49210">
                  <c:v>0</c:v>
                </c:pt>
                <c:pt idx="49211">
                  <c:v>0</c:v>
                </c:pt>
                <c:pt idx="49212">
                  <c:v>0</c:v>
                </c:pt>
                <c:pt idx="49213">
                  <c:v>0</c:v>
                </c:pt>
                <c:pt idx="49214">
                  <c:v>0</c:v>
                </c:pt>
                <c:pt idx="49215">
                  <c:v>0</c:v>
                </c:pt>
                <c:pt idx="49216">
                  <c:v>0</c:v>
                </c:pt>
                <c:pt idx="49217">
                  <c:v>0</c:v>
                </c:pt>
                <c:pt idx="49218">
                  <c:v>0</c:v>
                </c:pt>
                <c:pt idx="49219">
                  <c:v>0</c:v>
                </c:pt>
                <c:pt idx="49220">
                  <c:v>0</c:v>
                </c:pt>
                <c:pt idx="49221">
                  <c:v>0</c:v>
                </c:pt>
                <c:pt idx="49222">
                  <c:v>0</c:v>
                </c:pt>
                <c:pt idx="49223">
                  <c:v>0</c:v>
                </c:pt>
                <c:pt idx="49224">
                  <c:v>0</c:v>
                </c:pt>
                <c:pt idx="49225">
                  <c:v>0</c:v>
                </c:pt>
                <c:pt idx="49226">
                  <c:v>0</c:v>
                </c:pt>
                <c:pt idx="49227">
                  <c:v>0</c:v>
                </c:pt>
                <c:pt idx="49228">
                  <c:v>0</c:v>
                </c:pt>
                <c:pt idx="49229">
                  <c:v>0</c:v>
                </c:pt>
                <c:pt idx="49230">
                  <c:v>0</c:v>
                </c:pt>
                <c:pt idx="49231">
                  <c:v>0</c:v>
                </c:pt>
                <c:pt idx="49232">
                  <c:v>0</c:v>
                </c:pt>
                <c:pt idx="49233">
                  <c:v>0</c:v>
                </c:pt>
                <c:pt idx="49234">
                  <c:v>0</c:v>
                </c:pt>
                <c:pt idx="49235">
                  <c:v>0</c:v>
                </c:pt>
                <c:pt idx="49236">
                  <c:v>0</c:v>
                </c:pt>
                <c:pt idx="49237">
                  <c:v>0</c:v>
                </c:pt>
                <c:pt idx="49238">
                  <c:v>0</c:v>
                </c:pt>
                <c:pt idx="49239">
                  <c:v>0</c:v>
                </c:pt>
                <c:pt idx="49240">
                  <c:v>0</c:v>
                </c:pt>
                <c:pt idx="49241">
                  <c:v>0</c:v>
                </c:pt>
                <c:pt idx="49242">
                  <c:v>0</c:v>
                </c:pt>
                <c:pt idx="49243">
                  <c:v>0</c:v>
                </c:pt>
                <c:pt idx="49244">
                  <c:v>0</c:v>
                </c:pt>
                <c:pt idx="49245">
                  <c:v>0</c:v>
                </c:pt>
                <c:pt idx="49246">
                  <c:v>0</c:v>
                </c:pt>
                <c:pt idx="49247">
                  <c:v>0</c:v>
                </c:pt>
                <c:pt idx="49248">
                  <c:v>0</c:v>
                </c:pt>
                <c:pt idx="49249">
                  <c:v>0</c:v>
                </c:pt>
                <c:pt idx="49250">
                  <c:v>0</c:v>
                </c:pt>
                <c:pt idx="49251">
                  <c:v>0</c:v>
                </c:pt>
                <c:pt idx="49252">
                  <c:v>0</c:v>
                </c:pt>
                <c:pt idx="49253">
                  <c:v>0</c:v>
                </c:pt>
                <c:pt idx="49254">
                  <c:v>0</c:v>
                </c:pt>
                <c:pt idx="49255">
                  <c:v>0</c:v>
                </c:pt>
                <c:pt idx="49256">
                  <c:v>0</c:v>
                </c:pt>
                <c:pt idx="49257">
                  <c:v>0</c:v>
                </c:pt>
                <c:pt idx="49258">
                  <c:v>0</c:v>
                </c:pt>
                <c:pt idx="49259">
                  <c:v>0</c:v>
                </c:pt>
                <c:pt idx="49260">
                  <c:v>0</c:v>
                </c:pt>
                <c:pt idx="49261">
                  <c:v>0</c:v>
                </c:pt>
                <c:pt idx="49262">
                  <c:v>0</c:v>
                </c:pt>
                <c:pt idx="49263">
                  <c:v>0</c:v>
                </c:pt>
                <c:pt idx="49264">
                  <c:v>0</c:v>
                </c:pt>
                <c:pt idx="49265">
                  <c:v>0</c:v>
                </c:pt>
                <c:pt idx="49266">
                  <c:v>0</c:v>
                </c:pt>
                <c:pt idx="49267">
                  <c:v>0</c:v>
                </c:pt>
                <c:pt idx="49268">
                  <c:v>0</c:v>
                </c:pt>
                <c:pt idx="49269">
                  <c:v>0</c:v>
                </c:pt>
                <c:pt idx="49270">
                  <c:v>0</c:v>
                </c:pt>
                <c:pt idx="49271">
                  <c:v>0</c:v>
                </c:pt>
                <c:pt idx="49272">
                  <c:v>0</c:v>
                </c:pt>
                <c:pt idx="49273">
                  <c:v>0</c:v>
                </c:pt>
                <c:pt idx="49274">
                  <c:v>0</c:v>
                </c:pt>
                <c:pt idx="49275">
                  <c:v>0</c:v>
                </c:pt>
                <c:pt idx="49276">
                  <c:v>0</c:v>
                </c:pt>
                <c:pt idx="49277">
                  <c:v>0</c:v>
                </c:pt>
                <c:pt idx="49278">
                  <c:v>0</c:v>
                </c:pt>
                <c:pt idx="49279">
                  <c:v>0</c:v>
                </c:pt>
                <c:pt idx="49280">
                  <c:v>0</c:v>
                </c:pt>
                <c:pt idx="49281">
                  <c:v>0</c:v>
                </c:pt>
                <c:pt idx="49282">
                  <c:v>0</c:v>
                </c:pt>
                <c:pt idx="49283">
                  <c:v>0</c:v>
                </c:pt>
                <c:pt idx="49284">
                  <c:v>0</c:v>
                </c:pt>
                <c:pt idx="49285">
                  <c:v>0</c:v>
                </c:pt>
                <c:pt idx="49286">
                  <c:v>0</c:v>
                </c:pt>
                <c:pt idx="49287">
                  <c:v>0</c:v>
                </c:pt>
                <c:pt idx="49288">
                  <c:v>0</c:v>
                </c:pt>
                <c:pt idx="49289">
                  <c:v>0</c:v>
                </c:pt>
                <c:pt idx="49290">
                  <c:v>0</c:v>
                </c:pt>
                <c:pt idx="49291">
                  <c:v>0</c:v>
                </c:pt>
                <c:pt idx="49292">
                  <c:v>0</c:v>
                </c:pt>
                <c:pt idx="49293">
                  <c:v>0</c:v>
                </c:pt>
                <c:pt idx="49294">
                  <c:v>0</c:v>
                </c:pt>
                <c:pt idx="49295">
                  <c:v>0</c:v>
                </c:pt>
                <c:pt idx="49296">
                  <c:v>0</c:v>
                </c:pt>
                <c:pt idx="49297">
                  <c:v>0</c:v>
                </c:pt>
                <c:pt idx="49298">
                  <c:v>0</c:v>
                </c:pt>
                <c:pt idx="49299">
                  <c:v>0</c:v>
                </c:pt>
                <c:pt idx="49300">
                  <c:v>0</c:v>
                </c:pt>
                <c:pt idx="49301">
                  <c:v>0</c:v>
                </c:pt>
                <c:pt idx="49302">
                  <c:v>0</c:v>
                </c:pt>
                <c:pt idx="49303">
                  <c:v>0</c:v>
                </c:pt>
                <c:pt idx="49304">
                  <c:v>0</c:v>
                </c:pt>
                <c:pt idx="49305">
                  <c:v>0</c:v>
                </c:pt>
                <c:pt idx="49306">
                  <c:v>0</c:v>
                </c:pt>
                <c:pt idx="49307">
                  <c:v>0</c:v>
                </c:pt>
                <c:pt idx="49308">
                  <c:v>0</c:v>
                </c:pt>
                <c:pt idx="49309">
                  <c:v>0</c:v>
                </c:pt>
                <c:pt idx="49310">
                  <c:v>0</c:v>
                </c:pt>
                <c:pt idx="49311">
                  <c:v>0</c:v>
                </c:pt>
                <c:pt idx="49312">
                  <c:v>0</c:v>
                </c:pt>
                <c:pt idx="49313">
                  <c:v>0</c:v>
                </c:pt>
                <c:pt idx="49314">
                  <c:v>0</c:v>
                </c:pt>
                <c:pt idx="49315">
                  <c:v>0</c:v>
                </c:pt>
                <c:pt idx="49316">
                  <c:v>0</c:v>
                </c:pt>
                <c:pt idx="49317">
                  <c:v>0</c:v>
                </c:pt>
                <c:pt idx="49318">
                  <c:v>0</c:v>
                </c:pt>
                <c:pt idx="49319">
                  <c:v>0</c:v>
                </c:pt>
                <c:pt idx="49320">
                  <c:v>0</c:v>
                </c:pt>
                <c:pt idx="49321">
                  <c:v>0</c:v>
                </c:pt>
                <c:pt idx="49322">
                  <c:v>0</c:v>
                </c:pt>
                <c:pt idx="49323">
                  <c:v>0</c:v>
                </c:pt>
                <c:pt idx="49324">
                  <c:v>0</c:v>
                </c:pt>
                <c:pt idx="49325">
                  <c:v>0</c:v>
                </c:pt>
                <c:pt idx="49326">
                  <c:v>0</c:v>
                </c:pt>
                <c:pt idx="49327">
                  <c:v>0</c:v>
                </c:pt>
                <c:pt idx="49328">
                  <c:v>0</c:v>
                </c:pt>
                <c:pt idx="49329">
                  <c:v>0</c:v>
                </c:pt>
                <c:pt idx="49330">
                  <c:v>0</c:v>
                </c:pt>
                <c:pt idx="49331">
                  <c:v>0</c:v>
                </c:pt>
                <c:pt idx="49332">
                  <c:v>0</c:v>
                </c:pt>
                <c:pt idx="49333">
                  <c:v>0</c:v>
                </c:pt>
                <c:pt idx="49334">
                  <c:v>0</c:v>
                </c:pt>
                <c:pt idx="49335">
                  <c:v>0</c:v>
                </c:pt>
                <c:pt idx="49336">
                  <c:v>0</c:v>
                </c:pt>
                <c:pt idx="49337">
                  <c:v>0</c:v>
                </c:pt>
                <c:pt idx="49338">
                  <c:v>0</c:v>
                </c:pt>
                <c:pt idx="49339">
                  <c:v>0</c:v>
                </c:pt>
                <c:pt idx="49340">
                  <c:v>0</c:v>
                </c:pt>
                <c:pt idx="49341">
                  <c:v>0</c:v>
                </c:pt>
                <c:pt idx="49342">
                  <c:v>0</c:v>
                </c:pt>
                <c:pt idx="49343">
                  <c:v>0</c:v>
                </c:pt>
                <c:pt idx="49344">
                  <c:v>0</c:v>
                </c:pt>
                <c:pt idx="49345">
                  <c:v>0</c:v>
                </c:pt>
                <c:pt idx="49346">
                  <c:v>0</c:v>
                </c:pt>
                <c:pt idx="49347">
                  <c:v>0</c:v>
                </c:pt>
                <c:pt idx="49348">
                  <c:v>0</c:v>
                </c:pt>
                <c:pt idx="49349">
                  <c:v>0</c:v>
                </c:pt>
                <c:pt idx="49350">
                  <c:v>0</c:v>
                </c:pt>
                <c:pt idx="49351">
                  <c:v>0</c:v>
                </c:pt>
                <c:pt idx="49352">
                  <c:v>0</c:v>
                </c:pt>
                <c:pt idx="49353">
                  <c:v>0</c:v>
                </c:pt>
                <c:pt idx="49354">
                  <c:v>0</c:v>
                </c:pt>
                <c:pt idx="49355">
                  <c:v>0</c:v>
                </c:pt>
                <c:pt idx="49356">
                  <c:v>0</c:v>
                </c:pt>
                <c:pt idx="49357">
                  <c:v>0</c:v>
                </c:pt>
                <c:pt idx="49358">
                  <c:v>0</c:v>
                </c:pt>
                <c:pt idx="49359">
                  <c:v>0</c:v>
                </c:pt>
                <c:pt idx="49360">
                  <c:v>0</c:v>
                </c:pt>
                <c:pt idx="49361">
                  <c:v>0</c:v>
                </c:pt>
                <c:pt idx="49362">
                  <c:v>0</c:v>
                </c:pt>
                <c:pt idx="49363">
                  <c:v>0</c:v>
                </c:pt>
                <c:pt idx="49364">
                  <c:v>0</c:v>
                </c:pt>
                <c:pt idx="49365">
                  <c:v>0</c:v>
                </c:pt>
                <c:pt idx="49366">
                  <c:v>0</c:v>
                </c:pt>
                <c:pt idx="49367">
                  <c:v>0</c:v>
                </c:pt>
                <c:pt idx="49368">
                  <c:v>0</c:v>
                </c:pt>
                <c:pt idx="49369">
                  <c:v>0</c:v>
                </c:pt>
                <c:pt idx="49370">
                  <c:v>0</c:v>
                </c:pt>
                <c:pt idx="49371">
                  <c:v>0</c:v>
                </c:pt>
                <c:pt idx="49372">
                  <c:v>0</c:v>
                </c:pt>
                <c:pt idx="49373">
                  <c:v>0</c:v>
                </c:pt>
                <c:pt idx="49374">
                  <c:v>0</c:v>
                </c:pt>
                <c:pt idx="49375">
                  <c:v>0</c:v>
                </c:pt>
                <c:pt idx="49376">
                  <c:v>0</c:v>
                </c:pt>
                <c:pt idx="49377">
                  <c:v>0</c:v>
                </c:pt>
                <c:pt idx="49378">
                  <c:v>0</c:v>
                </c:pt>
                <c:pt idx="49379">
                  <c:v>0</c:v>
                </c:pt>
                <c:pt idx="49380">
                  <c:v>0</c:v>
                </c:pt>
                <c:pt idx="49381">
                  <c:v>0</c:v>
                </c:pt>
                <c:pt idx="49382">
                  <c:v>0</c:v>
                </c:pt>
                <c:pt idx="49383">
                  <c:v>0</c:v>
                </c:pt>
                <c:pt idx="49384">
                  <c:v>0</c:v>
                </c:pt>
                <c:pt idx="49385">
                  <c:v>0</c:v>
                </c:pt>
                <c:pt idx="49386">
                  <c:v>0</c:v>
                </c:pt>
                <c:pt idx="49387">
                  <c:v>0</c:v>
                </c:pt>
                <c:pt idx="49388">
                  <c:v>0</c:v>
                </c:pt>
                <c:pt idx="49389">
                  <c:v>0</c:v>
                </c:pt>
                <c:pt idx="49390">
                  <c:v>0</c:v>
                </c:pt>
                <c:pt idx="49391">
                  <c:v>0</c:v>
                </c:pt>
                <c:pt idx="49392">
                  <c:v>0</c:v>
                </c:pt>
                <c:pt idx="49393">
                  <c:v>0</c:v>
                </c:pt>
                <c:pt idx="49394">
                  <c:v>0</c:v>
                </c:pt>
                <c:pt idx="49395">
                  <c:v>0</c:v>
                </c:pt>
                <c:pt idx="49396">
                  <c:v>0</c:v>
                </c:pt>
                <c:pt idx="49397">
                  <c:v>0</c:v>
                </c:pt>
                <c:pt idx="49398">
                  <c:v>0</c:v>
                </c:pt>
                <c:pt idx="49399">
                  <c:v>0</c:v>
                </c:pt>
                <c:pt idx="49400">
                  <c:v>0</c:v>
                </c:pt>
                <c:pt idx="49401">
                  <c:v>0</c:v>
                </c:pt>
                <c:pt idx="49402">
                  <c:v>0</c:v>
                </c:pt>
                <c:pt idx="49403">
                  <c:v>0</c:v>
                </c:pt>
                <c:pt idx="49404">
                  <c:v>0</c:v>
                </c:pt>
                <c:pt idx="49405">
                  <c:v>0</c:v>
                </c:pt>
                <c:pt idx="49406">
                  <c:v>0</c:v>
                </c:pt>
                <c:pt idx="49407">
                  <c:v>0</c:v>
                </c:pt>
                <c:pt idx="49408">
                  <c:v>0</c:v>
                </c:pt>
                <c:pt idx="49409">
                  <c:v>0</c:v>
                </c:pt>
                <c:pt idx="49410">
                  <c:v>0</c:v>
                </c:pt>
                <c:pt idx="49411">
                  <c:v>0</c:v>
                </c:pt>
                <c:pt idx="49412">
                  <c:v>0</c:v>
                </c:pt>
                <c:pt idx="49413">
                  <c:v>0</c:v>
                </c:pt>
                <c:pt idx="49414">
                  <c:v>0</c:v>
                </c:pt>
                <c:pt idx="49415">
                  <c:v>0</c:v>
                </c:pt>
                <c:pt idx="49416">
                  <c:v>0</c:v>
                </c:pt>
                <c:pt idx="49417">
                  <c:v>0</c:v>
                </c:pt>
                <c:pt idx="49418">
                  <c:v>0</c:v>
                </c:pt>
                <c:pt idx="49419">
                  <c:v>0</c:v>
                </c:pt>
                <c:pt idx="49420">
                  <c:v>0</c:v>
                </c:pt>
                <c:pt idx="49421">
                  <c:v>0</c:v>
                </c:pt>
                <c:pt idx="49422">
                  <c:v>0</c:v>
                </c:pt>
                <c:pt idx="49423">
                  <c:v>0</c:v>
                </c:pt>
                <c:pt idx="49424">
                  <c:v>0</c:v>
                </c:pt>
                <c:pt idx="49425">
                  <c:v>0</c:v>
                </c:pt>
                <c:pt idx="49426">
                  <c:v>0</c:v>
                </c:pt>
                <c:pt idx="49427">
                  <c:v>0</c:v>
                </c:pt>
                <c:pt idx="49428">
                  <c:v>0</c:v>
                </c:pt>
                <c:pt idx="49429">
                  <c:v>0</c:v>
                </c:pt>
                <c:pt idx="49430">
                  <c:v>0</c:v>
                </c:pt>
                <c:pt idx="49431">
                  <c:v>0</c:v>
                </c:pt>
                <c:pt idx="49432">
                  <c:v>0</c:v>
                </c:pt>
                <c:pt idx="49433">
                  <c:v>0</c:v>
                </c:pt>
                <c:pt idx="49434">
                  <c:v>0</c:v>
                </c:pt>
                <c:pt idx="49435">
                  <c:v>0</c:v>
                </c:pt>
                <c:pt idx="49436">
                  <c:v>0</c:v>
                </c:pt>
                <c:pt idx="49437">
                  <c:v>0</c:v>
                </c:pt>
                <c:pt idx="49438">
                  <c:v>0</c:v>
                </c:pt>
                <c:pt idx="49439">
                  <c:v>0</c:v>
                </c:pt>
                <c:pt idx="49440">
                  <c:v>0</c:v>
                </c:pt>
                <c:pt idx="49441">
                  <c:v>0</c:v>
                </c:pt>
                <c:pt idx="49442">
                  <c:v>0</c:v>
                </c:pt>
                <c:pt idx="49443">
                  <c:v>0</c:v>
                </c:pt>
                <c:pt idx="49444">
                  <c:v>0</c:v>
                </c:pt>
                <c:pt idx="49445">
                  <c:v>0</c:v>
                </c:pt>
                <c:pt idx="49446">
                  <c:v>0</c:v>
                </c:pt>
                <c:pt idx="49447">
                  <c:v>0</c:v>
                </c:pt>
                <c:pt idx="49448">
                  <c:v>0</c:v>
                </c:pt>
                <c:pt idx="49449">
                  <c:v>0</c:v>
                </c:pt>
                <c:pt idx="49450">
                  <c:v>0</c:v>
                </c:pt>
                <c:pt idx="49451">
                  <c:v>0</c:v>
                </c:pt>
                <c:pt idx="49452">
                  <c:v>0</c:v>
                </c:pt>
                <c:pt idx="49453">
                  <c:v>0</c:v>
                </c:pt>
                <c:pt idx="49454">
                  <c:v>0</c:v>
                </c:pt>
                <c:pt idx="49455">
                  <c:v>0</c:v>
                </c:pt>
                <c:pt idx="49456">
                  <c:v>0</c:v>
                </c:pt>
                <c:pt idx="49457">
                  <c:v>0</c:v>
                </c:pt>
                <c:pt idx="49458">
                  <c:v>0</c:v>
                </c:pt>
                <c:pt idx="49459">
                  <c:v>0</c:v>
                </c:pt>
                <c:pt idx="49460">
                  <c:v>0</c:v>
                </c:pt>
                <c:pt idx="49461">
                  <c:v>0</c:v>
                </c:pt>
                <c:pt idx="49462">
                  <c:v>0</c:v>
                </c:pt>
                <c:pt idx="49463">
                  <c:v>0</c:v>
                </c:pt>
                <c:pt idx="49464">
                  <c:v>0</c:v>
                </c:pt>
                <c:pt idx="49465">
                  <c:v>0</c:v>
                </c:pt>
                <c:pt idx="49466">
                  <c:v>0</c:v>
                </c:pt>
                <c:pt idx="49467">
                  <c:v>0</c:v>
                </c:pt>
                <c:pt idx="49468">
                  <c:v>0</c:v>
                </c:pt>
                <c:pt idx="49469">
                  <c:v>0</c:v>
                </c:pt>
                <c:pt idx="49470">
                  <c:v>0</c:v>
                </c:pt>
                <c:pt idx="49471">
                  <c:v>0</c:v>
                </c:pt>
                <c:pt idx="49472">
                  <c:v>0</c:v>
                </c:pt>
                <c:pt idx="49473">
                  <c:v>0</c:v>
                </c:pt>
                <c:pt idx="49474">
                  <c:v>0</c:v>
                </c:pt>
                <c:pt idx="49475">
                  <c:v>0</c:v>
                </c:pt>
                <c:pt idx="49476">
                  <c:v>0</c:v>
                </c:pt>
                <c:pt idx="49477">
                  <c:v>0</c:v>
                </c:pt>
                <c:pt idx="49478">
                  <c:v>0</c:v>
                </c:pt>
                <c:pt idx="49479">
                  <c:v>0</c:v>
                </c:pt>
                <c:pt idx="49480">
                  <c:v>0</c:v>
                </c:pt>
                <c:pt idx="49481">
                  <c:v>0</c:v>
                </c:pt>
                <c:pt idx="49482">
                  <c:v>0</c:v>
                </c:pt>
                <c:pt idx="49483">
                  <c:v>0</c:v>
                </c:pt>
                <c:pt idx="49484">
                  <c:v>0</c:v>
                </c:pt>
                <c:pt idx="49485">
                  <c:v>0</c:v>
                </c:pt>
                <c:pt idx="49486">
                  <c:v>0</c:v>
                </c:pt>
                <c:pt idx="49487">
                  <c:v>0</c:v>
                </c:pt>
                <c:pt idx="49488">
                  <c:v>0</c:v>
                </c:pt>
                <c:pt idx="49489">
                  <c:v>0</c:v>
                </c:pt>
                <c:pt idx="49490">
                  <c:v>0</c:v>
                </c:pt>
                <c:pt idx="49491">
                  <c:v>0</c:v>
                </c:pt>
                <c:pt idx="49492">
                  <c:v>0</c:v>
                </c:pt>
                <c:pt idx="49493">
                  <c:v>0</c:v>
                </c:pt>
                <c:pt idx="49494">
                  <c:v>0</c:v>
                </c:pt>
                <c:pt idx="49495">
                  <c:v>0</c:v>
                </c:pt>
                <c:pt idx="49496">
                  <c:v>0</c:v>
                </c:pt>
                <c:pt idx="49497">
                  <c:v>0</c:v>
                </c:pt>
                <c:pt idx="49498">
                  <c:v>0</c:v>
                </c:pt>
                <c:pt idx="49499">
                  <c:v>0</c:v>
                </c:pt>
                <c:pt idx="49500">
                  <c:v>0</c:v>
                </c:pt>
                <c:pt idx="49501">
                  <c:v>0</c:v>
                </c:pt>
                <c:pt idx="49502">
                  <c:v>0</c:v>
                </c:pt>
                <c:pt idx="49503">
                  <c:v>0</c:v>
                </c:pt>
                <c:pt idx="49504">
                  <c:v>0</c:v>
                </c:pt>
                <c:pt idx="49505">
                  <c:v>0</c:v>
                </c:pt>
                <c:pt idx="49506">
                  <c:v>0</c:v>
                </c:pt>
                <c:pt idx="49507">
                  <c:v>0</c:v>
                </c:pt>
                <c:pt idx="49508">
                  <c:v>0</c:v>
                </c:pt>
                <c:pt idx="49509">
                  <c:v>0</c:v>
                </c:pt>
                <c:pt idx="49510">
                  <c:v>0</c:v>
                </c:pt>
                <c:pt idx="49511">
                  <c:v>0</c:v>
                </c:pt>
                <c:pt idx="49512">
                  <c:v>0</c:v>
                </c:pt>
                <c:pt idx="49513">
                  <c:v>0</c:v>
                </c:pt>
                <c:pt idx="49514">
                  <c:v>0</c:v>
                </c:pt>
                <c:pt idx="49515">
                  <c:v>0</c:v>
                </c:pt>
                <c:pt idx="49516">
                  <c:v>0</c:v>
                </c:pt>
                <c:pt idx="49517">
                  <c:v>0</c:v>
                </c:pt>
                <c:pt idx="49518">
                  <c:v>0</c:v>
                </c:pt>
                <c:pt idx="49519">
                  <c:v>0</c:v>
                </c:pt>
                <c:pt idx="49520">
                  <c:v>0</c:v>
                </c:pt>
                <c:pt idx="49521">
                  <c:v>0</c:v>
                </c:pt>
                <c:pt idx="49522">
                  <c:v>0</c:v>
                </c:pt>
                <c:pt idx="49523">
                  <c:v>0</c:v>
                </c:pt>
                <c:pt idx="49524">
                  <c:v>0</c:v>
                </c:pt>
                <c:pt idx="49525">
                  <c:v>0</c:v>
                </c:pt>
                <c:pt idx="49526">
                  <c:v>0</c:v>
                </c:pt>
                <c:pt idx="49527">
                  <c:v>0</c:v>
                </c:pt>
                <c:pt idx="49528">
                  <c:v>0</c:v>
                </c:pt>
                <c:pt idx="49529">
                  <c:v>0</c:v>
                </c:pt>
                <c:pt idx="49530">
                  <c:v>0</c:v>
                </c:pt>
                <c:pt idx="49531">
                  <c:v>0</c:v>
                </c:pt>
                <c:pt idx="49532">
                  <c:v>0</c:v>
                </c:pt>
                <c:pt idx="49533">
                  <c:v>0</c:v>
                </c:pt>
                <c:pt idx="49534">
                  <c:v>0</c:v>
                </c:pt>
                <c:pt idx="49535">
                  <c:v>0</c:v>
                </c:pt>
                <c:pt idx="49536">
                  <c:v>0</c:v>
                </c:pt>
                <c:pt idx="49537">
                  <c:v>0</c:v>
                </c:pt>
                <c:pt idx="49538">
                  <c:v>0</c:v>
                </c:pt>
                <c:pt idx="49539">
                  <c:v>0</c:v>
                </c:pt>
                <c:pt idx="49540">
                  <c:v>0</c:v>
                </c:pt>
                <c:pt idx="49541">
                  <c:v>0</c:v>
                </c:pt>
                <c:pt idx="49542">
                  <c:v>0</c:v>
                </c:pt>
                <c:pt idx="49543">
                  <c:v>0</c:v>
                </c:pt>
                <c:pt idx="49544">
                  <c:v>0</c:v>
                </c:pt>
                <c:pt idx="49545">
                  <c:v>0</c:v>
                </c:pt>
                <c:pt idx="49546">
                  <c:v>0</c:v>
                </c:pt>
                <c:pt idx="49547">
                  <c:v>0</c:v>
                </c:pt>
                <c:pt idx="49548">
                  <c:v>0</c:v>
                </c:pt>
                <c:pt idx="49549">
                  <c:v>0</c:v>
                </c:pt>
                <c:pt idx="49550">
                  <c:v>0</c:v>
                </c:pt>
                <c:pt idx="49551">
                  <c:v>0</c:v>
                </c:pt>
                <c:pt idx="49552">
                  <c:v>0</c:v>
                </c:pt>
                <c:pt idx="49553">
                  <c:v>0</c:v>
                </c:pt>
                <c:pt idx="49554">
                  <c:v>0</c:v>
                </c:pt>
                <c:pt idx="49555">
                  <c:v>0</c:v>
                </c:pt>
                <c:pt idx="49556">
                  <c:v>0</c:v>
                </c:pt>
                <c:pt idx="49557">
                  <c:v>0</c:v>
                </c:pt>
                <c:pt idx="49558">
                  <c:v>0</c:v>
                </c:pt>
                <c:pt idx="49559">
                  <c:v>0</c:v>
                </c:pt>
                <c:pt idx="49560">
                  <c:v>0</c:v>
                </c:pt>
                <c:pt idx="49561">
                  <c:v>0</c:v>
                </c:pt>
                <c:pt idx="49562">
                  <c:v>0</c:v>
                </c:pt>
                <c:pt idx="49563">
                  <c:v>0</c:v>
                </c:pt>
                <c:pt idx="49564">
                  <c:v>0</c:v>
                </c:pt>
                <c:pt idx="49565">
                  <c:v>0</c:v>
                </c:pt>
                <c:pt idx="49566">
                  <c:v>0</c:v>
                </c:pt>
                <c:pt idx="49567">
                  <c:v>0</c:v>
                </c:pt>
                <c:pt idx="49568">
                  <c:v>0</c:v>
                </c:pt>
                <c:pt idx="49569">
                  <c:v>0</c:v>
                </c:pt>
                <c:pt idx="49570">
                  <c:v>0</c:v>
                </c:pt>
                <c:pt idx="49571">
                  <c:v>0</c:v>
                </c:pt>
                <c:pt idx="49572">
                  <c:v>0</c:v>
                </c:pt>
                <c:pt idx="49573">
                  <c:v>0</c:v>
                </c:pt>
                <c:pt idx="49574">
                  <c:v>0</c:v>
                </c:pt>
                <c:pt idx="49575">
                  <c:v>0</c:v>
                </c:pt>
                <c:pt idx="49576">
                  <c:v>0</c:v>
                </c:pt>
                <c:pt idx="49577">
                  <c:v>0</c:v>
                </c:pt>
                <c:pt idx="49578">
                  <c:v>0</c:v>
                </c:pt>
                <c:pt idx="49579">
                  <c:v>0</c:v>
                </c:pt>
                <c:pt idx="49580">
                  <c:v>0</c:v>
                </c:pt>
                <c:pt idx="49581">
                  <c:v>0</c:v>
                </c:pt>
                <c:pt idx="49582">
                  <c:v>0</c:v>
                </c:pt>
                <c:pt idx="49583">
                  <c:v>0</c:v>
                </c:pt>
                <c:pt idx="49584">
                  <c:v>0</c:v>
                </c:pt>
                <c:pt idx="49585">
                  <c:v>0</c:v>
                </c:pt>
                <c:pt idx="49586">
                  <c:v>0</c:v>
                </c:pt>
                <c:pt idx="49587">
                  <c:v>0</c:v>
                </c:pt>
                <c:pt idx="49588">
                  <c:v>0</c:v>
                </c:pt>
                <c:pt idx="49589">
                  <c:v>0</c:v>
                </c:pt>
                <c:pt idx="49590">
                  <c:v>0</c:v>
                </c:pt>
                <c:pt idx="49591">
                  <c:v>0</c:v>
                </c:pt>
                <c:pt idx="49592">
                  <c:v>0</c:v>
                </c:pt>
                <c:pt idx="49593">
                  <c:v>0</c:v>
                </c:pt>
                <c:pt idx="49594">
                  <c:v>0</c:v>
                </c:pt>
                <c:pt idx="49595">
                  <c:v>0</c:v>
                </c:pt>
                <c:pt idx="49596">
                  <c:v>0</c:v>
                </c:pt>
                <c:pt idx="49597">
                  <c:v>0</c:v>
                </c:pt>
                <c:pt idx="49598">
                  <c:v>0</c:v>
                </c:pt>
                <c:pt idx="49599">
                  <c:v>0</c:v>
                </c:pt>
                <c:pt idx="49600">
                  <c:v>0</c:v>
                </c:pt>
                <c:pt idx="49601">
                  <c:v>0</c:v>
                </c:pt>
                <c:pt idx="49602">
                  <c:v>0</c:v>
                </c:pt>
                <c:pt idx="49603">
                  <c:v>0</c:v>
                </c:pt>
                <c:pt idx="49604">
                  <c:v>0</c:v>
                </c:pt>
                <c:pt idx="49605">
                  <c:v>0</c:v>
                </c:pt>
                <c:pt idx="49606">
                  <c:v>0</c:v>
                </c:pt>
                <c:pt idx="49607">
                  <c:v>0</c:v>
                </c:pt>
                <c:pt idx="49608">
                  <c:v>0</c:v>
                </c:pt>
                <c:pt idx="49609">
                  <c:v>0</c:v>
                </c:pt>
                <c:pt idx="49610">
                  <c:v>0</c:v>
                </c:pt>
                <c:pt idx="49611">
                  <c:v>0</c:v>
                </c:pt>
                <c:pt idx="49612">
                  <c:v>0</c:v>
                </c:pt>
                <c:pt idx="49613">
                  <c:v>0</c:v>
                </c:pt>
                <c:pt idx="49614">
                  <c:v>0</c:v>
                </c:pt>
                <c:pt idx="49615">
                  <c:v>0</c:v>
                </c:pt>
                <c:pt idx="49616">
                  <c:v>0</c:v>
                </c:pt>
                <c:pt idx="49617">
                  <c:v>0</c:v>
                </c:pt>
                <c:pt idx="49618">
                  <c:v>0</c:v>
                </c:pt>
                <c:pt idx="49619">
                  <c:v>0</c:v>
                </c:pt>
                <c:pt idx="49620">
                  <c:v>0</c:v>
                </c:pt>
                <c:pt idx="49621">
                  <c:v>0</c:v>
                </c:pt>
                <c:pt idx="49622">
                  <c:v>0</c:v>
                </c:pt>
                <c:pt idx="49623">
                  <c:v>0</c:v>
                </c:pt>
                <c:pt idx="49624">
                  <c:v>0</c:v>
                </c:pt>
                <c:pt idx="49625">
                  <c:v>0</c:v>
                </c:pt>
                <c:pt idx="49626">
                  <c:v>0</c:v>
                </c:pt>
                <c:pt idx="49627">
                  <c:v>0</c:v>
                </c:pt>
                <c:pt idx="49628">
                  <c:v>0</c:v>
                </c:pt>
                <c:pt idx="49629">
                  <c:v>0</c:v>
                </c:pt>
                <c:pt idx="49630">
                  <c:v>0</c:v>
                </c:pt>
                <c:pt idx="49631">
                  <c:v>0</c:v>
                </c:pt>
                <c:pt idx="49632">
                  <c:v>0</c:v>
                </c:pt>
                <c:pt idx="49633">
                  <c:v>0</c:v>
                </c:pt>
                <c:pt idx="49634">
                  <c:v>0</c:v>
                </c:pt>
                <c:pt idx="49635">
                  <c:v>0</c:v>
                </c:pt>
                <c:pt idx="49636">
                  <c:v>0</c:v>
                </c:pt>
                <c:pt idx="49637">
                  <c:v>0</c:v>
                </c:pt>
                <c:pt idx="49638">
                  <c:v>0</c:v>
                </c:pt>
                <c:pt idx="49639">
                  <c:v>0</c:v>
                </c:pt>
                <c:pt idx="49640">
                  <c:v>0</c:v>
                </c:pt>
                <c:pt idx="49641">
                  <c:v>0</c:v>
                </c:pt>
                <c:pt idx="49642">
                  <c:v>0</c:v>
                </c:pt>
                <c:pt idx="49643">
                  <c:v>0</c:v>
                </c:pt>
                <c:pt idx="49644">
                  <c:v>0</c:v>
                </c:pt>
                <c:pt idx="49645">
                  <c:v>0</c:v>
                </c:pt>
                <c:pt idx="49646">
                  <c:v>0</c:v>
                </c:pt>
                <c:pt idx="49647">
                  <c:v>0</c:v>
                </c:pt>
                <c:pt idx="49648">
                  <c:v>0</c:v>
                </c:pt>
                <c:pt idx="49649">
                  <c:v>0</c:v>
                </c:pt>
                <c:pt idx="49650">
                  <c:v>0</c:v>
                </c:pt>
                <c:pt idx="49651">
                  <c:v>0</c:v>
                </c:pt>
                <c:pt idx="49652">
                  <c:v>0</c:v>
                </c:pt>
                <c:pt idx="49653">
                  <c:v>0</c:v>
                </c:pt>
                <c:pt idx="49654">
                  <c:v>0</c:v>
                </c:pt>
                <c:pt idx="49655">
                  <c:v>0</c:v>
                </c:pt>
                <c:pt idx="49656">
                  <c:v>0</c:v>
                </c:pt>
                <c:pt idx="49657">
                  <c:v>0</c:v>
                </c:pt>
                <c:pt idx="49658">
                  <c:v>0</c:v>
                </c:pt>
                <c:pt idx="49659">
                  <c:v>0</c:v>
                </c:pt>
                <c:pt idx="49660">
                  <c:v>0</c:v>
                </c:pt>
                <c:pt idx="49661">
                  <c:v>0</c:v>
                </c:pt>
                <c:pt idx="49662">
                  <c:v>0</c:v>
                </c:pt>
                <c:pt idx="49663">
                  <c:v>0</c:v>
                </c:pt>
                <c:pt idx="49664">
                  <c:v>0</c:v>
                </c:pt>
                <c:pt idx="49665">
                  <c:v>0</c:v>
                </c:pt>
                <c:pt idx="49666">
                  <c:v>0</c:v>
                </c:pt>
                <c:pt idx="49667">
                  <c:v>0</c:v>
                </c:pt>
                <c:pt idx="49668">
                  <c:v>0</c:v>
                </c:pt>
                <c:pt idx="49669">
                  <c:v>0</c:v>
                </c:pt>
                <c:pt idx="49670">
                  <c:v>0</c:v>
                </c:pt>
                <c:pt idx="49671">
                  <c:v>0</c:v>
                </c:pt>
                <c:pt idx="49672">
                  <c:v>0</c:v>
                </c:pt>
                <c:pt idx="49673">
                  <c:v>0</c:v>
                </c:pt>
                <c:pt idx="49674">
                  <c:v>0</c:v>
                </c:pt>
                <c:pt idx="49675">
                  <c:v>0</c:v>
                </c:pt>
                <c:pt idx="49676">
                  <c:v>0</c:v>
                </c:pt>
                <c:pt idx="49677">
                  <c:v>0</c:v>
                </c:pt>
                <c:pt idx="49678">
                  <c:v>0</c:v>
                </c:pt>
                <c:pt idx="49679">
                  <c:v>0</c:v>
                </c:pt>
                <c:pt idx="49680">
                  <c:v>0</c:v>
                </c:pt>
                <c:pt idx="49681">
                  <c:v>0</c:v>
                </c:pt>
                <c:pt idx="49682">
                  <c:v>0</c:v>
                </c:pt>
                <c:pt idx="49683">
                  <c:v>0</c:v>
                </c:pt>
                <c:pt idx="49684">
                  <c:v>0</c:v>
                </c:pt>
                <c:pt idx="49685">
                  <c:v>0</c:v>
                </c:pt>
                <c:pt idx="49686">
                  <c:v>0</c:v>
                </c:pt>
                <c:pt idx="49687">
                  <c:v>0</c:v>
                </c:pt>
                <c:pt idx="49688">
                  <c:v>0</c:v>
                </c:pt>
                <c:pt idx="49689">
                  <c:v>0</c:v>
                </c:pt>
                <c:pt idx="49690">
                  <c:v>0</c:v>
                </c:pt>
                <c:pt idx="49691">
                  <c:v>0</c:v>
                </c:pt>
                <c:pt idx="49692">
                  <c:v>0</c:v>
                </c:pt>
                <c:pt idx="49693">
                  <c:v>0</c:v>
                </c:pt>
                <c:pt idx="49694">
                  <c:v>0</c:v>
                </c:pt>
                <c:pt idx="49695">
                  <c:v>0</c:v>
                </c:pt>
                <c:pt idx="49696">
                  <c:v>0</c:v>
                </c:pt>
                <c:pt idx="49697">
                  <c:v>0</c:v>
                </c:pt>
                <c:pt idx="49698">
                  <c:v>0</c:v>
                </c:pt>
                <c:pt idx="49699">
                  <c:v>0</c:v>
                </c:pt>
                <c:pt idx="49700">
                  <c:v>0</c:v>
                </c:pt>
                <c:pt idx="49701">
                  <c:v>0</c:v>
                </c:pt>
                <c:pt idx="49702">
                  <c:v>0</c:v>
                </c:pt>
                <c:pt idx="49703">
                  <c:v>0</c:v>
                </c:pt>
                <c:pt idx="49704">
                  <c:v>0</c:v>
                </c:pt>
                <c:pt idx="49705">
                  <c:v>0</c:v>
                </c:pt>
                <c:pt idx="49706">
                  <c:v>0</c:v>
                </c:pt>
                <c:pt idx="49707">
                  <c:v>0</c:v>
                </c:pt>
                <c:pt idx="49708">
                  <c:v>0</c:v>
                </c:pt>
                <c:pt idx="49709">
                  <c:v>0</c:v>
                </c:pt>
                <c:pt idx="49710">
                  <c:v>0</c:v>
                </c:pt>
                <c:pt idx="49711">
                  <c:v>0</c:v>
                </c:pt>
                <c:pt idx="49712">
                  <c:v>0</c:v>
                </c:pt>
                <c:pt idx="49713">
                  <c:v>0</c:v>
                </c:pt>
                <c:pt idx="49714">
                  <c:v>0</c:v>
                </c:pt>
                <c:pt idx="49715">
                  <c:v>0</c:v>
                </c:pt>
                <c:pt idx="49716">
                  <c:v>0</c:v>
                </c:pt>
                <c:pt idx="49717">
                  <c:v>0</c:v>
                </c:pt>
                <c:pt idx="49718">
                  <c:v>0</c:v>
                </c:pt>
                <c:pt idx="49719">
                  <c:v>0</c:v>
                </c:pt>
                <c:pt idx="49720">
                  <c:v>0</c:v>
                </c:pt>
                <c:pt idx="49721">
                  <c:v>0</c:v>
                </c:pt>
                <c:pt idx="49722">
                  <c:v>0</c:v>
                </c:pt>
                <c:pt idx="49723">
                  <c:v>0</c:v>
                </c:pt>
                <c:pt idx="49724">
                  <c:v>0</c:v>
                </c:pt>
                <c:pt idx="49725">
                  <c:v>0</c:v>
                </c:pt>
                <c:pt idx="49726">
                  <c:v>0</c:v>
                </c:pt>
                <c:pt idx="49727">
                  <c:v>0</c:v>
                </c:pt>
                <c:pt idx="49728">
                  <c:v>0</c:v>
                </c:pt>
                <c:pt idx="49729">
                  <c:v>0</c:v>
                </c:pt>
                <c:pt idx="49730">
                  <c:v>0</c:v>
                </c:pt>
                <c:pt idx="49731">
                  <c:v>0</c:v>
                </c:pt>
                <c:pt idx="49732">
                  <c:v>0</c:v>
                </c:pt>
                <c:pt idx="49733">
                  <c:v>0</c:v>
                </c:pt>
                <c:pt idx="49734">
                  <c:v>0</c:v>
                </c:pt>
                <c:pt idx="49735">
                  <c:v>0</c:v>
                </c:pt>
                <c:pt idx="49736">
                  <c:v>0</c:v>
                </c:pt>
                <c:pt idx="49737">
                  <c:v>0</c:v>
                </c:pt>
                <c:pt idx="49738">
                  <c:v>0</c:v>
                </c:pt>
                <c:pt idx="49739">
                  <c:v>0</c:v>
                </c:pt>
                <c:pt idx="49740">
                  <c:v>0</c:v>
                </c:pt>
                <c:pt idx="49741">
                  <c:v>0</c:v>
                </c:pt>
                <c:pt idx="49742">
                  <c:v>0</c:v>
                </c:pt>
                <c:pt idx="49743">
                  <c:v>0</c:v>
                </c:pt>
                <c:pt idx="49744">
                  <c:v>0</c:v>
                </c:pt>
                <c:pt idx="49745">
                  <c:v>0</c:v>
                </c:pt>
                <c:pt idx="49746">
                  <c:v>0</c:v>
                </c:pt>
                <c:pt idx="49747">
                  <c:v>0</c:v>
                </c:pt>
                <c:pt idx="49748">
                  <c:v>0</c:v>
                </c:pt>
                <c:pt idx="49749">
                  <c:v>0</c:v>
                </c:pt>
                <c:pt idx="49750">
                  <c:v>0</c:v>
                </c:pt>
                <c:pt idx="49751">
                  <c:v>0</c:v>
                </c:pt>
                <c:pt idx="49752">
                  <c:v>0</c:v>
                </c:pt>
                <c:pt idx="49753">
                  <c:v>0</c:v>
                </c:pt>
                <c:pt idx="49754">
                  <c:v>0</c:v>
                </c:pt>
                <c:pt idx="49755">
                  <c:v>0</c:v>
                </c:pt>
                <c:pt idx="49756">
                  <c:v>0</c:v>
                </c:pt>
                <c:pt idx="49757">
                  <c:v>0</c:v>
                </c:pt>
                <c:pt idx="49758">
                  <c:v>0</c:v>
                </c:pt>
                <c:pt idx="49759">
                  <c:v>0</c:v>
                </c:pt>
                <c:pt idx="49760">
                  <c:v>0</c:v>
                </c:pt>
                <c:pt idx="49761">
                  <c:v>0</c:v>
                </c:pt>
                <c:pt idx="49762">
                  <c:v>0</c:v>
                </c:pt>
                <c:pt idx="49763">
                  <c:v>0</c:v>
                </c:pt>
                <c:pt idx="49764">
                  <c:v>0</c:v>
                </c:pt>
                <c:pt idx="49765">
                  <c:v>0</c:v>
                </c:pt>
                <c:pt idx="49766">
                  <c:v>0</c:v>
                </c:pt>
                <c:pt idx="49767">
                  <c:v>0</c:v>
                </c:pt>
                <c:pt idx="49768">
                  <c:v>0</c:v>
                </c:pt>
                <c:pt idx="49769">
                  <c:v>0</c:v>
                </c:pt>
                <c:pt idx="49770">
                  <c:v>0</c:v>
                </c:pt>
                <c:pt idx="49771">
                  <c:v>0</c:v>
                </c:pt>
                <c:pt idx="49772">
                  <c:v>0</c:v>
                </c:pt>
                <c:pt idx="49773">
                  <c:v>0</c:v>
                </c:pt>
                <c:pt idx="49774">
                  <c:v>0</c:v>
                </c:pt>
                <c:pt idx="49775">
                  <c:v>0</c:v>
                </c:pt>
                <c:pt idx="49776">
                  <c:v>0</c:v>
                </c:pt>
                <c:pt idx="49777">
                  <c:v>0</c:v>
                </c:pt>
                <c:pt idx="49778">
                  <c:v>0</c:v>
                </c:pt>
                <c:pt idx="49779">
                  <c:v>0</c:v>
                </c:pt>
                <c:pt idx="49780">
                  <c:v>0</c:v>
                </c:pt>
                <c:pt idx="49781">
                  <c:v>0</c:v>
                </c:pt>
                <c:pt idx="49782">
                  <c:v>0</c:v>
                </c:pt>
                <c:pt idx="49783">
                  <c:v>0</c:v>
                </c:pt>
                <c:pt idx="49784">
                  <c:v>0</c:v>
                </c:pt>
                <c:pt idx="49785">
                  <c:v>0</c:v>
                </c:pt>
                <c:pt idx="49786">
                  <c:v>0</c:v>
                </c:pt>
                <c:pt idx="49787">
                  <c:v>0</c:v>
                </c:pt>
                <c:pt idx="49788">
                  <c:v>0</c:v>
                </c:pt>
                <c:pt idx="49789">
                  <c:v>0</c:v>
                </c:pt>
                <c:pt idx="49790">
                  <c:v>0</c:v>
                </c:pt>
                <c:pt idx="49791">
                  <c:v>0</c:v>
                </c:pt>
                <c:pt idx="49792">
                  <c:v>0</c:v>
                </c:pt>
                <c:pt idx="49793">
                  <c:v>0</c:v>
                </c:pt>
                <c:pt idx="49794">
                  <c:v>0</c:v>
                </c:pt>
                <c:pt idx="49795">
                  <c:v>0</c:v>
                </c:pt>
                <c:pt idx="49796">
                  <c:v>0</c:v>
                </c:pt>
                <c:pt idx="49797">
                  <c:v>0</c:v>
                </c:pt>
                <c:pt idx="49798">
                  <c:v>0</c:v>
                </c:pt>
                <c:pt idx="49799">
                  <c:v>0</c:v>
                </c:pt>
                <c:pt idx="49800">
                  <c:v>0</c:v>
                </c:pt>
                <c:pt idx="49801">
                  <c:v>0</c:v>
                </c:pt>
                <c:pt idx="49802">
                  <c:v>0</c:v>
                </c:pt>
                <c:pt idx="49803">
                  <c:v>0</c:v>
                </c:pt>
                <c:pt idx="49804">
                  <c:v>0</c:v>
                </c:pt>
                <c:pt idx="49805">
                  <c:v>0</c:v>
                </c:pt>
                <c:pt idx="49806">
                  <c:v>0</c:v>
                </c:pt>
                <c:pt idx="49807">
                  <c:v>0</c:v>
                </c:pt>
                <c:pt idx="49808">
                  <c:v>0</c:v>
                </c:pt>
                <c:pt idx="49809">
                  <c:v>0</c:v>
                </c:pt>
                <c:pt idx="49810">
                  <c:v>0</c:v>
                </c:pt>
                <c:pt idx="49811">
                  <c:v>0</c:v>
                </c:pt>
                <c:pt idx="49812">
                  <c:v>0</c:v>
                </c:pt>
                <c:pt idx="49813">
                  <c:v>0</c:v>
                </c:pt>
                <c:pt idx="49814">
                  <c:v>0</c:v>
                </c:pt>
                <c:pt idx="49815">
                  <c:v>0</c:v>
                </c:pt>
                <c:pt idx="49816">
                  <c:v>0</c:v>
                </c:pt>
                <c:pt idx="49817">
                  <c:v>0</c:v>
                </c:pt>
                <c:pt idx="49818">
                  <c:v>0</c:v>
                </c:pt>
                <c:pt idx="49819">
                  <c:v>0</c:v>
                </c:pt>
                <c:pt idx="49820">
                  <c:v>0</c:v>
                </c:pt>
                <c:pt idx="49821">
                  <c:v>0</c:v>
                </c:pt>
                <c:pt idx="49822">
                  <c:v>0</c:v>
                </c:pt>
                <c:pt idx="49823">
                  <c:v>0</c:v>
                </c:pt>
                <c:pt idx="49824">
                  <c:v>0</c:v>
                </c:pt>
                <c:pt idx="49825">
                  <c:v>0</c:v>
                </c:pt>
                <c:pt idx="49826">
                  <c:v>0</c:v>
                </c:pt>
                <c:pt idx="49827">
                  <c:v>0</c:v>
                </c:pt>
                <c:pt idx="49828">
                  <c:v>0</c:v>
                </c:pt>
                <c:pt idx="49829">
                  <c:v>0</c:v>
                </c:pt>
                <c:pt idx="49830">
                  <c:v>0</c:v>
                </c:pt>
                <c:pt idx="49831">
                  <c:v>0</c:v>
                </c:pt>
                <c:pt idx="49832">
                  <c:v>0</c:v>
                </c:pt>
                <c:pt idx="49833">
                  <c:v>0</c:v>
                </c:pt>
                <c:pt idx="49834">
                  <c:v>0</c:v>
                </c:pt>
                <c:pt idx="49835">
                  <c:v>0</c:v>
                </c:pt>
                <c:pt idx="49836">
                  <c:v>0</c:v>
                </c:pt>
                <c:pt idx="49837">
                  <c:v>0</c:v>
                </c:pt>
                <c:pt idx="49838">
                  <c:v>0</c:v>
                </c:pt>
                <c:pt idx="49839">
                  <c:v>0</c:v>
                </c:pt>
                <c:pt idx="49840">
                  <c:v>0</c:v>
                </c:pt>
                <c:pt idx="49841">
                  <c:v>0</c:v>
                </c:pt>
                <c:pt idx="49842">
                  <c:v>0</c:v>
                </c:pt>
                <c:pt idx="49843">
                  <c:v>0</c:v>
                </c:pt>
                <c:pt idx="49844">
                  <c:v>0</c:v>
                </c:pt>
                <c:pt idx="49845">
                  <c:v>0</c:v>
                </c:pt>
                <c:pt idx="49846">
                  <c:v>0</c:v>
                </c:pt>
                <c:pt idx="49847">
                  <c:v>0</c:v>
                </c:pt>
                <c:pt idx="49848">
                  <c:v>0</c:v>
                </c:pt>
                <c:pt idx="49849">
                  <c:v>0</c:v>
                </c:pt>
                <c:pt idx="49850">
                  <c:v>0</c:v>
                </c:pt>
                <c:pt idx="49851">
                  <c:v>0</c:v>
                </c:pt>
                <c:pt idx="49852">
                  <c:v>0</c:v>
                </c:pt>
                <c:pt idx="49853">
                  <c:v>0</c:v>
                </c:pt>
                <c:pt idx="49854">
                  <c:v>0</c:v>
                </c:pt>
                <c:pt idx="49855">
                  <c:v>0</c:v>
                </c:pt>
                <c:pt idx="49856">
                  <c:v>0</c:v>
                </c:pt>
                <c:pt idx="49857">
                  <c:v>0</c:v>
                </c:pt>
                <c:pt idx="49858">
                  <c:v>0</c:v>
                </c:pt>
                <c:pt idx="49859">
                  <c:v>0</c:v>
                </c:pt>
                <c:pt idx="49860">
                  <c:v>0</c:v>
                </c:pt>
                <c:pt idx="49861">
                  <c:v>0</c:v>
                </c:pt>
                <c:pt idx="49862">
                  <c:v>0</c:v>
                </c:pt>
                <c:pt idx="49863">
                  <c:v>0</c:v>
                </c:pt>
                <c:pt idx="49864">
                  <c:v>0</c:v>
                </c:pt>
                <c:pt idx="49865">
                  <c:v>0</c:v>
                </c:pt>
                <c:pt idx="49866">
                  <c:v>0</c:v>
                </c:pt>
                <c:pt idx="49867">
                  <c:v>0</c:v>
                </c:pt>
                <c:pt idx="49868">
                  <c:v>0</c:v>
                </c:pt>
                <c:pt idx="49869">
                  <c:v>0</c:v>
                </c:pt>
                <c:pt idx="49870">
                  <c:v>0</c:v>
                </c:pt>
                <c:pt idx="49871">
                  <c:v>0</c:v>
                </c:pt>
                <c:pt idx="49872">
                  <c:v>0</c:v>
                </c:pt>
                <c:pt idx="49873">
                  <c:v>0</c:v>
                </c:pt>
                <c:pt idx="49874">
                  <c:v>0</c:v>
                </c:pt>
                <c:pt idx="49875">
                  <c:v>0</c:v>
                </c:pt>
                <c:pt idx="49876">
                  <c:v>0</c:v>
                </c:pt>
                <c:pt idx="49877">
                  <c:v>0</c:v>
                </c:pt>
                <c:pt idx="49878">
                  <c:v>0</c:v>
                </c:pt>
                <c:pt idx="49879">
                  <c:v>0</c:v>
                </c:pt>
                <c:pt idx="49880">
                  <c:v>0</c:v>
                </c:pt>
                <c:pt idx="49881">
                  <c:v>0</c:v>
                </c:pt>
                <c:pt idx="49882">
                  <c:v>0</c:v>
                </c:pt>
                <c:pt idx="49883">
                  <c:v>0</c:v>
                </c:pt>
                <c:pt idx="49884">
                  <c:v>0</c:v>
                </c:pt>
                <c:pt idx="49885">
                  <c:v>0</c:v>
                </c:pt>
                <c:pt idx="49886">
                  <c:v>0</c:v>
                </c:pt>
                <c:pt idx="49887">
                  <c:v>0</c:v>
                </c:pt>
                <c:pt idx="49888">
                  <c:v>0</c:v>
                </c:pt>
                <c:pt idx="49889">
                  <c:v>0</c:v>
                </c:pt>
                <c:pt idx="49890">
                  <c:v>0</c:v>
                </c:pt>
                <c:pt idx="49891">
                  <c:v>0</c:v>
                </c:pt>
                <c:pt idx="49892">
                  <c:v>0</c:v>
                </c:pt>
                <c:pt idx="49893">
                  <c:v>0</c:v>
                </c:pt>
                <c:pt idx="49894">
                  <c:v>0</c:v>
                </c:pt>
                <c:pt idx="49895">
                  <c:v>0</c:v>
                </c:pt>
                <c:pt idx="49896">
                  <c:v>0</c:v>
                </c:pt>
                <c:pt idx="49897">
                  <c:v>0</c:v>
                </c:pt>
                <c:pt idx="49898">
                  <c:v>0</c:v>
                </c:pt>
                <c:pt idx="49899">
                  <c:v>0</c:v>
                </c:pt>
                <c:pt idx="49900">
                  <c:v>0</c:v>
                </c:pt>
                <c:pt idx="49901">
                  <c:v>0</c:v>
                </c:pt>
                <c:pt idx="49902">
                  <c:v>0</c:v>
                </c:pt>
                <c:pt idx="49903">
                  <c:v>0</c:v>
                </c:pt>
                <c:pt idx="49904">
                  <c:v>0</c:v>
                </c:pt>
                <c:pt idx="49905">
                  <c:v>0</c:v>
                </c:pt>
                <c:pt idx="49906">
                  <c:v>0</c:v>
                </c:pt>
                <c:pt idx="49907">
                  <c:v>0</c:v>
                </c:pt>
                <c:pt idx="49908">
                  <c:v>0</c:v>
                </c:pt>
                <c:pt idx="49909">
                  <c:v>0</c:v>
                </c:pt>
                <c:pt idx="49910">
                  <c:v>0</c:v>
                </c:pt>
                <c:pt idx="49911">
                  <c:v>0</c:v>
                </c:pt>
                <c:pt idx="49912">
                  <c:v>0</c:v>
                </c:pt>
                <c:pt idx="49913">
                  <c:v>0</c:v>
                </c:pt>
                <c:pt idx="49914">
                  <c:v>0</c:v>
                </c:pt>
                <c:pt idx="49915">
                  <c:v>0</c:v>
                </c:pt>
                <c:pt idx="49916">
                  <c:v>0</c:v>
                </c:pt>
                <c:pt idx="49917">
                  <c:v>0</c:v>
                </c:pt>
                <c:pt idx="49918">
                  <c:v>0</c:v>
                </c:pt>
                <c:pt idx="49919">
                  <c:v>0</c:v>
                </c:pt>
                <c:pt idx="49920">
                  <c:v>0</c:v>
                </c:pt>
                <c:pt idx="49921">
                  <c:v>0</c:v>
                </c:pt>
                <c:pt idx="49922">
                  <c:v>0</c:v>
                </c:pt>
                <c:pt idx="49923">
                  <c:v>0</c:v>
                </c:pt>
                <c:pt idx="49924">
                  <c:v>0</c:v>
                </c:pt>
                <c:pt idx="49925">
                  <c:v>0</c:v>
                </c:pt>
                <c:pt idx="49926">
                  <c:v>0</c:v>
                </c:pt>
                <c:pt idx="49927">
                  <c:v>0</c:v>
                </c:pt>
                <c:pt idx="49928">
                  <c:v>0</c:v>
                </c:pt>
                <c:pt idx="49929">
                  <c:v>0</c:v>
                </c:pt>
                <c:pt idx="49930">
                  <c:v>0</c:v>
                </c:pt>
                <c:pt idx="49931">
                  <c:v>0</c:v>
                </c:pt>
                <c:pt idx="49932">
                  <c:v>0</c:v>
                </c:pt>
                <c:pt idx="49933">
                  <c:v>0</c:v>
                </c:pt>
                <c:pt idx="49934">
                  <c:v>0</c:v>
                </c:pt>
                <c:pt idx="49935">
                  <c:v>0</c:v>
                </c:pt>
                <c:pt idx="49936">
                  <c:v>0</c:v>
                </c:pt>
                <c:pt idx="49937">
                  <c:v>0</c:v>
                </c:pt>
                <c:pt idx="49938">
                  <c:v>0</c:v>
                </c:pt>
                <c:pt idx="49939">
                  <c:v>0</c:v>
                </c:pt>
                <c:pt idx="49940">
                  <c:v>0</c:v>
                </c:pt>
                <c:pt idx="49941">
                  <c:v>0</c:v>
                </c:pt>
                <c:pt idx="49942">
                  <c:v>0</c:v>
                </c:pt>
                <c:pt idx="49943">
                  <c:v>0</c:v>
                </c:pt>
                <c:pt idx="49944">
                  <c:v>0</c:v>
                </c:pt>
                <c:pt idx="49945">
                  <c:v>0</c:v>
                </c:pt>
                <c:pt idx="49946">
                  <c:v>0</c:v>
                </c:pt>
                <c:pt idx="49947">
                  <c:v>0</c:v>
                </c:pt>
                <c:pt idx="49948">
                  <c:v>0</c:v>
                </c:pt>
                <c:pt idx="49949">
                  <c:v>0</c:v>
                </c:pt>
                <c:pt idx="49950">
                  <c:v>0</c:v>
                </c:pt>
                <c:pt idx="49951">
                  <c:v>0</c:v>
                </c:pt>
                <c:pt idx="49952">
                  <c:v>0</c:v>
                </c:pt>
                <c:pt idx="49953">
                  <c:v>0</c:v>
                </c:pt>
                <c:pt idx="49954">
                  <c:v>0</c:v>
                </c:pt>
                <c:pt idx="49955">
                  <c:v>0</c:v>
                </c:pt>
                <c:pt idx="49956">
                  <c:v>0</c:v>
                </c:pt>
                <c:pt idx="49957">
                  <c:v>0</c:v>
                </c:pt>
                <c:pt idx="49958">
                  <c:v>0</c:v>
                </c:pt>
                <c:pt idx="49959">
                  <c:v>0</c:v>
                </c:pt>
                <c:pt idx="49960">
                  <c:v>0</c:v>
                </c:pt>
                <c:pt idx="49961">
                  <c:v>0</c:v>
                </c:pt>
                <c:pt idx="49962">
                  <c:v>0</c:v>
                </c:pt>
                <c:pt idx="49963">
                  <c:v>0</c:v>
                </c:pt>
                <c:pt idx="49964">
                  <c:v>0</c:v>
                </c:pt>
                <c:pt idx="49965">
                  <c:v>0</c:v>
                </c:pt>
                <c:pt idx="49966">
                  <c:v>0</c:v>
                </c:pt>
                <c:pt idx="49967">
                  <c:v>0</c:v>
                </c:pt>
                <c:pt idx="49968">
                  <c:v>0</c:v>
                </c:pt>
                <c:pt idx="49969">
                  <c:v>0</c:v>
                </c:pt>
                <c:pt idx="49970">
                  <c:v>0</c:v>
                </c:pt>
                <c:pt idx="49971">
                  <c:v>0</c:v>
                </c:pt>
                <c:pt idx="49972">
                  <c:v>0</c:v>
                </c:pt>
                <c:pt idx="49973">
                  <c:v>0</c:v>
                </c:pt>
                <c:pt idx="49974">
                  <c:v>0</c:v>
                </c:pt>
                <c:pt idx="49975">
                  <c:v>0</c:v>
                </c:pt>
                <c:pt idx="49976">
                  <c:v>0</c:v>
                </c:pt>
                <c:pt idx="49977">
                  <c:v>0</c:v>
                </c:pt>
                <c:pt idx="49978">
                  <c:v>0</c:v>
                </c:pt>
                <c:pt idx="49979">
                  <c:v>0</c:v>
                </c:pt>
                <c:pt idx="49980">
                  <c:v>0</c:v>
                </c:pt>
                <c:pt idx="49981">
                  <c:v>0</c:v>
                </c:pt>
                <c:pt idx="49982">
                  <c:v>0</c:v>
                </c:pt>
                <c:pt idx="49983">
                  <c:v>0</c:v>
                </c:pt>
                <c:pt idx="49984">
                  <c:v>0</c:v>
                </c:pt>
                <c:pt idx="49985">
                  <c:v>0</c:v>
                </c:pt>
                <c:pt idx="49986">
                  <c:v>0</c:v>
                </c:pt>
                <c:pt idx="49987">
                  <c:v>0</c:v>
                </c:pt>
                <c:pt idx="49988">
                  <c:v>0</c:v>
                </c:pt>
                <c:pt idx="49989">
                  <c:v>0</c:v>
                </c:pt>
                <c:pt idx="49990">
                  <c:v>0</c:v>
                </c:pt>
                <c:pt idx="49991">
                  <c:v>0</c:v>
                </c:pt>
                <c:pt idx="49992">
                  <c:v>0</c:v>
                </c:pt>
                <c:pt idx="49993">
                  <c:v>0</c:v>
                </c:pt>
                <c:pt idx="49994">
                  <c:v>0</c:v>
                </c:pt>
                <c:pt idx="49995">
                  <c:v>0</c:v>
                </c:pt>
                <c:pt idx="49996">
                  <c:v>0</c:v>
                </c:pt>
                <c:pt idx="49997">
                  <c:v>0</c:v>
                </c:pt>
                <c:pt idx="49998">
                  <c:v>0</c:v>
                </c:pt>
                <c:pt idx="49999">
                  <c:v>0</c:v>
                </c:pt>
                <c:pt idx="50000">
                  <c:v>0</c:v>
                </c:pt>
                <c:pt idx="50001">
                  <c:v>0</c:v>
                </c:pt>
                <c:pt idx="50002">
                  <c:v>0</c:v>
                </c:pt>
                <c:pt idx="50003">
                  <c:v>0</c:v>
                </c:pt>
                <c:pt idx="50004">
                  <c:v>0</c:v>
                </c:pt>
                <c:pt idx="50005">
                  <c:v>0</c:v>
                </c:pt>
                <c:pt idx="50006">
                  <c:v>0</c:v>
                </c:pt>
                <c:pt idx="50007">
                  <c:v>0</c:v>
                </c:pt>
                <c:pt idx="50008">
                  <c:v>0</c:v>
                </c:pt>
                <c:pt idx="50009">
                  <c:v>0</c:v>
                </c:pt>
                <c:pt idx="50010">
                  <c:v>0</c:v>
                </c:pt>
                <c:pt idx="50011">
                  <c:v>0</c:v>
                </c:pt>
                <c:pt idx="50012">
                  <c:v>0</c:v>
                </c:pt>
                <c:pt idx="50013">
                  <c:v>0</c:v>
                </c:pt>
                <c:pt idx="50014">
                  <c:v>0</c:v>
                </c:pt>
                <c:pt idx="50015">
                  <c:v>0</c:v>
                </c:pt>
                <c:pt idx="50016">
                  <c:v>0</c:v>
                </c:pt>
                <c:pt idx="50017">
                  <c:v>0</c:v>
                </c:pt>
                <c:pt idx="50018">
                  <c:v>0</c:v>
                </c:pt>
                <c:pt idx="50019">
                  <c:v>0</c:v>
                </c:pt>
                <c:pt idx="50020">
                  <c:v>0</c:v>
                </c:pt>
                <c:pt idx="50021">
                  <c:v>0</c:v>
                </c:pt>
                <c:pt idx="50022">
                  <c:v>0</c:v>
                </c:pt>
                <c:pt idx="50023">
                  <c:v>0</c:v>
                </c:pt>
                <c:pt idx="50024">
                  <c:v>0</c:v>
                </c:pt>
                <c:pt idx="50025">
                  <c:v>0</c:v>
                </c:pt>
                <c:pt idx="50026">
                  <c:v>0</c:v>
                </c:pt>
                <c:pt idx="50027">
                  <c:v>0</c:v>
                </c:pt>
                <c:pt idx="50028">
                  <c:v>0</c:v>
                </c:pt>
                <c:pt idx="50029">
                  <c:v>0</c:v>
                </c:pt>
                <c:pt idx="50030">
                  <c:v>0</c:v>
                </c:pt>
                <c:pt idx="50031">
                  <c:v>0</c:v>
                </c:pt>
                <c:pt idx="50032">
                  <c:v>0</c:v>
                </c:pt>
                <c:pt idx="50033">
                  <c:v>0</c:v>
                </c:pt>
                <c:pt idx="50034">
                  <c:v>0</c:v>
                </c:pt>
                <c:pt idx="50035">
                  <c:v>0</c:v>
                </c:pt>
                <c:pt idx="50036">
                  <c:v>0</c:v>
                </c:pt>
                <c:pt idx="50037">
                  <c:v>0</c:v>
                </c:pt>
                <c:pt idx="50038">
                  <c:v>0</c:v>
                </c:pt>
                <c:pt idx="50039">
                  <c:v>0</c:v>
                </c:pt>
                <c:pt idx="50040">
                  <c:v>0</c:v>
                </c:pt>
                <c:pt idx="50041">
                  <c:v>0</c:v>
                </c:pt>
                <c:pt idx="50042">
                  <c:v>0</c:v>
                </c:pt>
                <c:pt idx="50043">
                  <c:v>0</c:v>
                </c:pt>
                <c:pt idx="50044">
                  <c:v>0</c:v>
                </c:pt>
                <c:pt idx="50045">
                  <c:v>0</c:v>
                </c:pt>
                <c:pt idx="50046">
                  <c:v>0</c:v>
                </c:pt>
                <c:pt idx="50047">
                  <c:v>0</c:v>
                </c:pt>
                <c:pt idx="50048">
                  <c:v>0</c:v>
                </c:pt>
                <c:pt idx="50049">
                  <c:v>0</c:v>
                </c:pt>
                <c:pt idx="50050">
                  <c:v>0</c:v>
                </c:pt>
                <c:pt idx="50051">
                  <c:v>0</c:v>
                </c:pt>
                <c:pt idx="50052">
                  <c:v>0</c:v>
                </c:pt>
                <c:pt idx="50053">
                  <c:v>0</c:v>
                </c:pt>
                <c:pt idx="50054">
                  <c:v>0</c:v>
                </c:pt>
                <c:pt idx="50055">
                  <c:v>0</c:v>
                </c:pt>
                <c:pt idx="50056">
                  <c:v>0</c:v>
                </c:pt>
                <c:pt idx="50057">
                  <c:v>0</c:v>
                </c:pt>
                <c:pt idx="50058">
                  <c:v>0</c:v>
                </c:pt>
                <c:pt idx="50059">
                  <c:v>0</c:v>
                </c:pt>
                <c:pt idx="50060">
                  <c:v>0</c:v>
                </c:pt>
                <c:pt idx="50061">
                  <c:v>0</c:v>
                </c:pt>
                <c:pt idx="50062">
                  <c:v>0</c:v>
                </c:pt>
                <c:pt idx="50063">
                  <c:v>0</c:v>
                </c:pt>
                <c:pt idx="50064">
                  <c:v>0</c:v>
                </c:pt>
                <c:pt idx="50065">
                  <c:v>0</c:v>
                </c:pt>
                <c:pt idx="50066">
                  <c:v>0</c:v>
                </c:pt>
                <c:pt idx="50067">
                  <c:v>0</c:v>
                </c:pt>
                <c:pt idx="50068">
                  <c:v>0</c:v>
                </c:pt>
                <c:pt idx="50069">
                  <c:v>0</c:v>
                </c:pt>
                <c:pt idx="50070">
                  <c:v>0</c:v>
                </c:pt>
                <c:pt idx="50071">
                  <c:v>0</c:v>
                </c:pt>
                <c:pt idx="50072">
                  <c:v>0</c:v>
                </c:pt>
                <c:pt idx="50073">
                  <c:v>0</c:v>
                </c:pt>
                <c:pt idx="50074">
                  <c:v>0</c:v>
                </c:pt>
                <c:pt idx="50075">
                  <c:v>0</c:v>
                </c:pt>
                <c:pt idx="50076">
                  <c:v>0</c:v>
                </c:pt>
                <c:pt idx="50077">
                  <c:v>0</c:v>
                </c:pt>
                <c:pt idx="50078">
                  <c:v>0</c:v>
                </c:pt>
                <c:pt idx="50079">
                  <c:v>0</c:v>
                </c:pt>
                <c:pt idx="50080">
                  <c:v>0</c:v>
                </c:pt>
                <c:pt idx="50081">
                  <c:v>0</c:v>
                </c:pt>
                <c:pt idx="50082">
                  <c:v>0</c:v>
                </c:pt>
                <c:pt idx="50083">
                  <c:v>0</c:v>
                </c:pt>
                <c:pt idx="50084">
                  <c:v>0</c:v>
                </c:pt>
                <c:pt idx="50085">
                  <c:v>0</c:v>
                </c:pt>
                <c:pt idx="50086">
                  <c:v>0</c:v>
                </c:pt>
                <c:pt idx="50087">
                  <c:v>0</c:v>
                </c:pt>
                <c:pt idx="50088">
                  <c:v>0</c:v>
                </c:pt>
                <c:pt idx="50089">
                  <c:v>0</c:v>
                </c:pt>
                <c:pt idx="50090">
                  <c:v>0</c:v>
                </c:pt>
                <c:pt idx="50091">
                  <c:v>0</c:v>
                </c:pt>
                <c:pt idx="50092">
                  <c:v>0</c:v>
                </c:pt>
                <c:pt idx="50093">
                  <c:v>0</c:v>
                </c:pt>
                <c:pt idx="50094">
                  <c:v>0</c:v>
                </c:pt>
                <c:pt idx="50095">
                  <c:v>0</c:v>
                </c:pt>
                <c:pt idx="50096">
                  <c:v>0</c:v>
                </c:pt>
                <c:pt idx="50097">
                  <c:v>0</c:v>
                </c:pt>
                <c:pt idx="50098">
                  <c:v>0</c:v>
                </c:pt>
                <c:pt idx="50099">
                  <c:v>0</c:v>
                </c:pt>
                <c:pt idx="50100">
                  <c:v>0</c:v>
                </c:pt>
                <c:pt idx="50101">
                  <c:v>0</c:v>
                </c:pt>
                <c:pt idx="50102">
                  <c:v>0</c:v>
                </c:pt>
                <c:pt idx="50103">
                  <c:v>0</c:v>
                </c:pt>
                <c:pt idx="50104">
                  <c:v>0</c:v>
                </c:pt>
                <c:pt idx="50105">
                  <c:v>0</c:v>
                </c:pt>
                <c:pt idx="50106">
                  <c:v>0</c:v>
                </c:pt>
                <c:pt idx="50107">
                  <c:v>0</c:v>
                </c:pt>
                <c:pt idx="50108">
                  <c:v>0</c:v>
                </c:pt>
                <c:pt idx="50109">
                  <c:v>0</c:v>
                </c:pt>
                <c:pt idx="50110">
                  <c:v>0</c:v>
                </c:pt>
                <c:pt idx="50111">
                  <c:v>0</c:v>
                </c:pt>
                <c:pt idx="50112">
                  <c:v>0</c:v>
                </c:pt>
                <c:pt idx="50113">
                  <c:v>0</c:v>
                </c:pt>
                <c:pt idx="50114">
                  <c:v>0</c:v>
                </c:pt>
                <c:pt idx="50115">
                  <c:v>0</c:v>
                </c:pt>
                <c:pt idx="50116">
                  <c:v>0</c:v>
                </c:pt>
                <c:pt idx="50117">
                  <c:v>0</c:v>
                </c:pt>
                <c:pt idx="50118">
                  <c:v>0</c:v>
                </c:pt>
                <c:pt idx="50119">
                  <c:v>0</c:v>
                </c:pt>
                <c:pt idx="50120">
                  <c:v>0</c:v>
                </c:pt>
                <c:pt idx="50121">
                  <c:v>0</c:v>
                </c:pt>
                <c:pt idx="50122">
                  <c:v>0</c:v>
                </c:pt>
                <c:pt idx="50123">
                  <c:v>0</c:v>
                </c:pt>
                <c:pt idx="50124">
                  <c:v>0</c:v>
                </c:pt>
                <c:pt idx="50125">
                  <c:v>0</c:v>
                </c:pt>
                <c:pt idx="50126">
                  <c:v>0</c:v>
                </c:pt>
                <c:pt idx="50127">
                  <c:v>0</c:v>
                </c:pt>
                <c:pt idx="50128">
                  <c:v>0</c:v>
                </c:pt>
                <c:pt idx="50129">
                  <c:v>0</c:v>
                </c:pt>
                <c:pt idx="50130">
                  <c:v>0</c:v>
                </c:pt>
                <c:pt idx="50131">
                  <c:v>0</c:v>
                </c:pt>
                <c:pt idx="50132">
                  <c:v>0</c:v>
                </c:pt>
                <c:pt idx="50133">
                  <c:v>0</c:v>
                </c:pt>
                <c:pt idx="50134">
                  <c:v>0</c:v>
                </c:pt>
                <c:pt idx="50135">
                  <c:v>0</c:v>
                </c:pt>
                <c:pt idx="50136">
                  <c:v>0</c:v>
                </c:pt>
                <c:pt idx="50137">
                  <c:v>0</c:v>
                </c:pt>
                <c:pt idx="50138">
                  <c:v>0</c:v>
                </c:pt>
                <c:pt idx="50139">
                  <c:v>0</c:v>
                </c:pt>
                <c:pt idx="50140">
                  <c:v>0</c:v>
                </c:pt>
                <c:pt idx="50141">
                  <c:v>0</c:v>
                </c:pt>
                <c:pt idx="50142">
                  <c:v>0</c:v>
                </c:pt>
                <c:pt idx="50143">
                  <c:v>0</c:v>
                </c:pt>
                <c:pt idx="50144">
                  <c:v>0</c:v>
                </c:pt>
                <c:pt idx="50145">
                  <c:v>0</c:v>
                </c:pt>
                <c:pt idx="50146">
                  <c:v>0</c:v>
                </c:pt>
                <c:pt idx="50147">
                  <c:v>0</c:v>
                </c:pt>
                <c:pt idx="50148">
                  <c:v>0</c:v>
                </c:pt>
                <c:pt idx="50149">
                  <c:v>0</c:v>
                </c:pt>
                <c:pt idx="50150">
                  <c:v>0</c:v>
                </c:pt>
                <c:pt idx="50151">
                  <c:v>0</c:v>
                </c:pt>
                <c:pt idx="50152">
                  <c:v>0</c:v>
                </c:pt>
                <c:pt idx="50153">
                  <c:v>0</c:v>
                </c:pt>
                <c:pt idx="50154">
                  <c:v>0</c:v>
                </c:pt>
                <c:pt idx="50155">
                  <c:v>0</c:v>
                </c:pt>
                <c:pt idx="50156">
                  <c:v>0</c:v>
                </c:pt>
                <c:pt idx="50157">
                  <c:v>0</c:v>
                </c:pt>
                <c:pt idx="50158">
                  <c:v>0</c:v>
                </c:pt>
                <c:pt idx="50159">
                  <c:v>0</c:v>
                </c:pt>
                <c:pt idx="50160">
                  <c:v>0</c:v>
                </c:pt>
                <c:pt idx="50161">
                  <c:v>0</c:v>
                </c:pt>
                <c:pt idx="50162">
                  <c:v>0</c:v>
                </c:pt>
                <c:pt idx="50163">
                  <c:v>0</c:v>
                </c:pt>
                <c:pt idx="50164">
                  <c:v>0</c:v>
                </c:pt>
                <c:pt idx="50165">
                  <c:v>0</c:v>
                </c:pt>
                <c:pt idx="50166">
                  <c:v>0</c:v>
                </c:pt>
                <c:pt idx="50167">
                  <c:v>0</c:v>
                </c:pt>
                <c:pt idx="50168">
                  <c:v>0</c:v>
                </c:pt>
                <c:pt idx="50169">
                  <c:v>0</c:v>
                </c:pt>
                <c:pt idx="50170">
                  <c:v>0</c:v>
                </c:pt>
                <c:pt idx="50171">
                  <c:v>0</c:v>
                </c:pt>
                <c:pt idx="50172">
                  <c:v>0</c:v>
                </c:pt>
                <c:pt idx="50173">
                  <c:v>0</c:v>
                </c:pt>
                <c:pt idx="50174">
                  <c:v>0</c:v>
                </c:pt>
                <c:pt idx="50175">
                  <c:v>0</c:v>
                </c:pt>
                <c:pt idx="50176">
                  <c:v>0</c:v>
                </c:pt>
                <c:pt idx="50177">
                  <c:v>0</c:v>
                </c:pt>
                <c:pt idx="50178">
                  <c:v>0</c:v>
                </c:pt>
                <c:pt idx="50179">
                  <c:v>0</c:v>
                </c:pt>
                <c:pt idx="50180">
                  <c:v>0</c:v>
                </c:pt>
                <c:pt idx="50181">
                  <c:v>0</c:v>
                </c:pt>
                <c:pt idx="50182">
                  <c:v>0</c:v>
                </c:pt>
                <c:pt idx="50183">
                  <c:v>0</c:v>
                </c:pt>
                <c:pt idx="50184">
                  <c:v>0</c:v>
                </c:pt>
                <c:pt idx="50185">
                  <c:v>0</c:v>
                </c:pt>
                <c:pt idx="50186">
                  <c:v>0</c:v>
                </c:pt>
                <c:pt idx="50187">
                  <c:v>0</c:v>
                </c:pt>
                <c:pt idx="50188">
                  <c:v>0</c:v>
                </c:pt>
                <c:pt idx="50189">
                  <c:v>0</c:v>
                </c:pt>
                <c:pt idx="50190">
                  <c:v>0</c:v>
                </c:pt>
                <c:pt idx="50191">
                  <c:v>0</c:v>
                </c:pt>
                <c:pt idx="50192">
                  <c:v>0</c:v>
                </c:pt>
                <c:pt idx="50193">
                  <c:v>0</c:v>
                </c:pt>
                <c:pt idx="50194">
                  <c:v>0</c:v>
                </c:pt>
                <c:pt idx="50195">
                  <c:v>0</c:v>
                </c:pt>
                <c:pt idx="50196">
                  <c:v>0</c:v>
                </c:pt>
                <c:pt idx="50197">
                  <c:v>0</c:v>
                </c:pt>
                <c:pt idx="50198">
                  <c:v>0</c:v>
                </c:pt>
                <c:pt idx="50199">
                  <c:v>0</c:v>
                </c:pt>
                <c:pt idx="50200">
                  <c:v>0</c:v>
                </c:pt>
                <c:pt idx="50201">
                  <c:v>0</c:v>
                </c:pt>
                <c:pt idx="50202">
                  <c:v>0</c:v>
                </c:pt>
                <c:pt idx="50203">
                  <c:v>0</c:v>
                </c:pt>
                <c:pt idx="50204">
                  <c:v>0</c:v>
                </c:pt>
                <c:pt idx="50205">
                  <c:v>0</c:v>
                </c:pt>
                <c:pt idx="50206">
                  <c:v>0</c:v>
                </c:pt>
                <c:pt idx="50207">
                  <c:v>0</c:v>
                </c:pt>
                <c:pt idx="50208">
                  <c:v>0</c:v>
                </c:pt>
                <c:pt idx="50209">
                  <c:v>0</c:v>
                </c:pt>
                <c:pt idx="50210">
                  <c:v>0</c:v>
                </c:pt>
                <c:pt idx="50211">
                  <c:v>0</c:v>
                </c:pt>
                <c:pt idx="50212">
                  <c:v>0</c:v>
                </c:pt>
                <c:pt idx="50213">
                  <c:v>0</c:v>
                </c:pt>
                <c:pt idx="50214">
                  <c:v>0</c:v>
                </c:pt>
                <c:pt idx="50215">
                  <c:v>0</c:v>
                </c:pt>
                <c:pt idx="50216">
                  <c:v>0</c:v>
                </c:pt>
                <c:pt idx="50217">
                  <c:v>0</c:v>
                </c:pt>
                <c:pt idx="50218">
                  <c:v>0</c:v>
                </c:pt>
                <c:pt idx="50219">
                  <c:v>0</c:v>
                </c:pt>
                <c:pt idx="50220">
                  <c:v>0</c:v>
                </c:pt>
                <c:pt idx="50221">
                  <c:v>0</c:v>
                </c:pt>
                <c:pt idx="50222">
                  <c:v>0</c:v>
                </c:pt>
                <c:pt idx="50223">
                  <c:v>0</c:v>
                </c:pt>
                <c:pt idx="50224">
                  <c:v>0</c:v>
                </c:pt>
                <c:pt idx="50225">
                  <c:v>0</c:v>
                </c:pt>
                <c:pt idx="50226">
                  <c:v>0</c:v>
                </c:pt>
                <c:pt idx="50227">
                  <c:v>0</c:v>
                </c:pt>
                <c:pt idx="50228">
                  <c:v>0</c:v>
                </c:pt>
                <c:pt idx="50229">
                  <c:v>0</c:v>
                </c:pt>
                <c:pt idx="50230">
                  <c:v>0</c:v>
                </c:pt>
                <c:pt idx="50231">
                  <c:v>0</c:v>
                </c:pt>
                <c:pt idx="50232">
                  <c:v>0</c:v>
                </c:pt>
                <c:pt idx="50233">
                  <c:v>0</c:v>
                </c:pt>
                <c:pt idx="50234">
                  <c:v>0</c:v>
                </c:pt>
                <c:pt idx="50235">
                  <c:v>0</c:v>
                </c:pt>
                <c:pt idx="50236">
                  <c:v>0</c:v>
                </c:pt>
                <c:pt idx="50237">
                  <c:v>0</c:v>
                </c:pt>
                <c:pt idx="50238">
                  <c:v>0</c:v>
                </c:pt>
                <c:pt idx="50239">
                  <c:v>0</c:v>
                </c:pt>
                <c:pt idx="50240">
                  <c:v>0</c:v>
                </c:pt>
                <c:pt idx="50241">
                  <c:v>0</c:v>
                </c:pt>
                <c:pt idx="50242">
                  <c:v>0</c:v>
                </c:pt>
                <c:pt idx="50243">
                  <c:v>0</c:v>
                </c:pt>
                <c:pt idx="50244">
                  <c:v>0</c:v>
                </c:pt>
                <c:pt idx="50245">
                  <c:v>0</c:v>
                </c:pt>
                <c:pt idx="50246">
                  <c:v>0</c:v>
                </c:pt>
                <c:pt idx="50247">
                  <c:v>0</c:v>
                </c:pt>
                <c:pt idx="50248">
                  <c:v>0</c:v>
                </c:pt>
                <c:pt idx="50249">
                  <c:v>0</c:v>
                </c:pt>
                <c:pt idx="50250">
                  <c:v>0</c:v>
                </c:pt>
                <c:pt idx="50251">
                  <c:v>0</c:v>
                </c:pt>
                <c:pt idx="50252">
                  <c:v>0</c:v>
                </c:pt>
                <c:pt idx="50253">
                  <c:v>0</c:v>
                </c:pt>
                <c:pt idx="50254">
                  <c:v>0</c:v>
                </c:pt>
                <c:pt idx="50255">
                  <c:v>0</c:v>
                </c:pt>
                <c:pt idx="50256">
                  <c:v>0</c:v>
                </c:pt>
                <c:pt idx="50257">
                  <c:v>0</c:v>
                </c:pt>
                <c:pt idx="50258">
                  <c:v>0</c:v>
                </c:pt>
                <c:pt idx="50259">
                  <c:v>0</c:v>
                </c:pt>
                <c:pt idx="50260">
                  <c:v>0</c:v>
                </c:pt>
                <c:pt idx="50261">
                  <c:v>0</c:v>
                </c:pt>
                <c:pt idx="50262">
                  <c:v>0</c:v>
                </c:pt>
                <c:pt idx="50263">
                  <c:v>0</c:v>
                </c:pt>
                <c:pt idx="50264">
                  <c:v>0</c:v>
                </c:pt>
                <c:pt idx="50265">
                  <c:v>0</c:v>
                </c:pt>
                <c:pt idx="50266">
                  <c:v>0</c:v>
                </c:pt>
                <c:pt idx="50267">
                  <c:v>0</c:v>
                </c:pt>
                <c:pt idx="50268">
                  <c:v>0</c:v>
                </c:pt>
                <c:pt idx="50269">
                  <c:v>0</c:v>
                </c:pt>
                <c:pt idx="50270">
                  <c:v>0</c:v>
                </c:pt>
                <c:pt idx="50271">
                  <c:v>0</c:v>
                </c:pt>
                <c:pt idx="50272">
                  <c:v>0</c:v>
                </c:pt>
                <c:pt idx="50273">
                  <c:v>0</c:v>
                </c:pt>
                <c:pt idx="50274">
                  <c:v>0</c:v>
                </c:pt>
                <c:pt idx="50275">
                  <c:v>0</c:v>
                </c:pt>
                <c:pt idx="50276">
                  <c:v>0</c:v>
                </c:pt>
                <c:pt idx="50277">
                  <c:v>0</c:v>
                </c:pt>
                <c:pt idx="50278">
                  <c:v>0</c:v>
                </c:pt>
                <c:pt idx="50279">
                  <c:v>0</c:v>
                </c:pt>
                <c:pt idx="50280">
                  <c:v>0</c:v>
                </c:pt>
                <c:pt idx="50281">
                  <c:v>0</c:v>
                </c:pt>
                <c:pt idx="50282">
                  <c:v>0</c:v>
                </c:pt>
                <c:pt idx="50283">
                  <c:v>0</c:v>
                </c:pt>
                <c:pt idx="50284">
                  <c:v>0</c:v>
                </c:pt>
                <c:pt idx="50285">
                  <c:v>0</c:v>
                </c:pt>
                <c:pt idx="50286">
                  <c:v>0</c:v>
                </c:pt>
                <c:pt idx="50287">
                  <c:v>0</c:v>
                </c:pt>
                <c:pt idx="50288">
                  <c:v>0</c:v>
                </c:pt>
                <c:pt idx="50289">
                  <c:v>0</c:v>
                </c:pt>
                <c:pt idx="50290">
                  <c:v>0</c:v>
                </c:pt>
                <c:pt idx="50291">
                  <c:v>0</c:v>
                </c:pt>
                <c:pt idx="50292">
                  <c:v>0</c:v>
                </c:pt>
                <c:pt idx="50293">
                  <c:v>0</c:v>
                </c:pt>
                <c:pt idx="50294">
                  <c:v>0</c:v>
                </c:pt>
                <c:pt idx="50295">
                  <c:v>0</c:v>
                </c:pt>
                <c:pt idx="50296">
                  <c:v>0</c:v>
                </c:pt>
                <c:pt idx="50297">
                  <c:v>0</c:v>
                </c:pt>
                <c:pt idx="50298">
                  <c:v>0</c:v>
                </c:pt>
                <c:pt idx="50299">
                  <c:v>0</c:v>
                </c:pt>
                <c:pt idx="50300">
                  <c:v>0</c:v>
                </c:pt>
                <c:pt idx="50301">
                  <c:v>0</c:v>
                </c:pt>
                <c:pt idx="50302">
                  <c:v>0</c:v>
                </c:pt>
                <c:pt idx="50303">
                  <c:v>0</c:v>
                </c:pt>
                <c:pt idx="50304">
                  <c:v>0</c:v>
                </c:pt>
                <c:pt idx="50305">
                  <c:v>0</c:v>
                </c:pt>
                <c:pt idx="50306">
                  <c:v>0</c:v>
                </c:pt>
                <c:pt idx="50307">
                  <c:v>0</c:v>
                </c:pt>
                <c:pt idx="50308">
                  <c:v>0</c:v>
                </c:pt>
                <c:pt idx="50309">
                  <c:v>0</c:v>
                </c:pt>
                <c:pt idx="50310">
                  <c:v>0</c:v>
                </c:pt>
                <c:pt idx="50311">
                  <c:v>0</c:v>
                </c:pt>
                <c:pt idx="50312">
                  <c:v>0</c:v>
                </c:pt>
                <c:pt idx="50313">
                  <c:v>0</c:v>
                </c:pt>
                <c:pt idx="50314">
                  <c:v>0</c:v>
                </c:pt>
                <c:pt idx="50315">
                  <c:v>0</c:v>
                </c:pt>
                <c:pt idx="50316">
                  <c:v>0</c:v>
                </c:pt>
                <c:pt idx="50317">
                  <c:v>0</c:v>
                </c:pt>
                <c:pt idx="50318">
                  <c:v>0</c:v>
                </c:pt>
                <c:pt idx="50319">
                  <c:v>0</c:v>
                </c:pt>
                <c:pt idx="50320">
                  <c:v>0</c:v>
                </c:pt>
                <c:pt idx="50321">
                  <c:v>0</c:v>
                </c:pt>
                <c:pt idx="50322">
                  <c:v>0</c:v>
                </c:pt>
                <c:pt idx="50323">
                  <c:v>0</c:v>
                </c:pt>
                <c:pt idx="50324">
                  <c:v>0</c:v>
                </c:pt>
                <c:pt idx="50325">
                  <c:v>0</c:v>
                </c:pt>
                <c:pt idx="50326">
                  <c:v>0</c:v>
                </c:pt>
                <c:pt idx="50327">
                  <c:v>0</c:v>
                </c:pt>
                <c:pt idx="50328">
                  <c:v>0</c:v>
                </c:pt>
                <c:pt idx="50329">
                  <c:v>0</c:v>
                </c:pt>
                <c:pt idx="50330">
                  <c:v>0</c:v>
                </c:pt>
                <c:pt idx="50331">
                  <c:v>0</c:v>
                </c:pt>
                <c:pt idx="50332">
                  <c:v>0</c:v>
                </c:pt>
                <c:pt idx="50333">
                  <c:v>0</c:v>
                </c:pt>
                <c:pt idx="50334">
                  <c:v>0</c:v>
                </c:pt>
                <c:pt idx="50335">
                  <c:v>0</c:v>
                </c:pt>
                <c:pt idx="50336">
                  <c:v>0</c:v>
                </c:pt>
                <c:pt idx="50337">
                  <c:v>0</c:v>
                </c:pt>
                <c:pt idx="50338">
                  <c:v>0</c:v>
                </c:pt>
                <c:pt idx="50339">
                  <c:v>0</c:v>
                </c:pt>
                <c:pt idx="50340">
                  <c:v>0</c:v>
                </c:pt>
                <c:pt idx="50341">
                  <c:v>0</c:v>
                </c:pt>
                <c:pt idx="50342">
                  <c:v>0</c:v>
                </c:pt>
                <c:pt idx="50343">
                  <c:v>0</c:v>
                </c:pt>
                <c:pt idx="50344">
                  <c:v>0</c:v>
                </c:pt>
                <c:pt idx="50345">
                  <c:v>0</c:v>
                </c:pt>
                <c:pt idx="50346">
                  <c:v>0</c:v>
                </c:pt>
                <c:pt idx="50347">
                  <c:v>0</c:v>
                </c:pt>
                <c:pt idx="50348">
                  <c:v>0</c:v>
                </c:pt>
                <c:pt idx="50349">
                  <c:v>0</c:v>
                </c:pt>
                <c:pt idx="50350">
                  <c:v>0</c:v>
                </c:pt>
                <c:pt idx="50351">
                  <c:v>0</c:v>
                </c:pt>
                <c:pt idx="50352">
                  <c:v>0</c:v>
                </c:pt>
                <c:pt idx="50353">
                  <c:v>0</c:v>
                </c:pt>
                <c:pt idx="50354">
                  <c:v>0</c:v>
                </c:pt>
                <c:pt idx="50355">
                  <c:v>0</c:v>
                </c:pt>
                <c:pt idx="50356">
                  <c:v>0</c:v>
                </c:pt>
                <c:pt idx="50357">
                  <c:v>0</c:v>
                </c:pt>
                <c:pt idx="50358">
                  <c:v>0</c:v>
                </c:pt>
                <c:pt idx="50359">
                  <c:v>0</c:v>
                </c:pt>
                <c:pt idx="50360">
                  <c:v>0</c:v>
                </c:pt>
                <c:pt idx="50361">
                  <c:v>0</c:v>
                </c:pt>
                <c:pt idx="50362">
                  <c:v>0</c:v>
                </c:pt>
                <c:pt idx="50363">
                  <c:v>0</c:v>
                </c:pt>
                <c:pt idx="50364">
                  <c:v>0</c:v>
                </c:pt>
                <c:pt idx="50365">
                  <c:v>0</c:v>
                </c:pt>
                <c:pt idx="50366">
                  <c:v>0</c:v>
                </c:pt>
                <c:pt idx="50367">
                  <c:v>0</c:v>
                </c:pt>
                <c:pt idx="50368">
                  <c:v>0</c:v>
                </c:pt>
                <c:pt idx="50369">
                  <c:v>0</c:v>
                </c:pt>
                <c:pt idx="50370">
                  <c:v>0</c:v>
                </c:pt>
                <c:pt idx="50371">
                  <c:v>0</c:v>
                </c:pt>
                <c:pt idx="50372">
                  <c:v>0</c:v>
                </c:pt>
                <c:pt idx="50373">
                  <c:v>0</c:v>
                </c:pt>
                <c:pt idx="50374">
                  <c:v>0</c:v>
                </c:pt>
                <c:pt idx="50375">
                  <c:v>0</c:v>
                </c:pt>
                <c:pt idx="50376">
                  <c:v>0</c:v>
                </c:pt>
                <c:pt idx="50377">
                  <c:v>0</c:v>
                </c:pt>
                <c:pt idx="50378">
                  <c:v>0</c:v>
                </c:pt>
                <c:pt idx="50379">
                  <c:v>0</c:v>
                </c:pt>
                <c:pt idx="50380">
                  <c:v>0</c:v>
                </c:pt>
                <c:pt idx="50381">
                  <c:v>0</c:v>
                </c:pt>
                <c:pt idx="50382">
                  <c:v>0</c:v>
                </c:pt>
                <c:pt idx="50383">
                  <c:v>0</c:v>
                </c:pt>
                <c:pt idx="50384">
                  <c:v>0</c:v>
                </c:pt>
                <c:pt idx="50385">
                  <c:v>0</c:v>
                </c:pt>
                <c:pt idx="50386">
                  <c:v>0</c:v>
                </c:pt>
                <c:pt idx="50387">
                  <c:v>0</c:v>
                </c:pt>
                <c:pt idx="50388">
                  <c:v>0</c:v>
                </c:pt>
                <c:pt idx="50389">
                  <c:v>0</c:v>
                </c:pt>
                <c:pt idx="50390">
                  <c:v>0</c:v>
                </c:pt>
                <c:pt idx="50391">
                  <c:v>0</c:v>
                </c:pt>
                <c:pt idx="50392">
                  <c:v>0</c:v>
                </c:pt>
                <c:pt idx="50393">
                  <c:v>0</c:v>
                </c:pt>
                <c:pt idx="50394">
                  <c:v>0</c:v>
                </c:pt>
                <c:pt idx="50395">
                  <c:v>0</c:v>
                </c:pt>
                <c:pt idx="50396">
                  <c:v>0</c:v>
                </c:pt>
                <c:pt idx="50397">
                  <c:v>0</c:v>
                </c:pt>
                <c:pt idx="50398">
                  <c:v>0</c:v>
                </c:pt>
                <c:pt idx="50399">
                  <c:v>0</c:v>
                </c:pt>
                <c:pt idx="50400">
                  <c:v>0</c:v>
                </c:pt>
                <c:pt idx="50401">
                  <c:v>0</c:v>
                </c:pt>
                <c:pt idx="50402">
                  <c:v>0</c:v>
                </c:pt>
                <c:pt idx="50403">
                  <c:v>0</c:v>
                </c:pt>
                <c:pt idx="50404">
                  <c:v>0</c:v>
                </c:pt>
                <c:pt idx="50405">
                  <c:v>0</c:v>
                </c:pt>
                <c:pt idx="50406">
                  <c:v>0</c:v>
                </c:pt>
                <c:pt idx="50407">
                  <c:v>0</c:v>
                </c:pt>
                <c:pt idx="50408">
                  <c:v>0</c:v>
                </c:pt>
                <c:pt idx="50409">
                  <c:v>0</c:v>
                </c:pt>
                <c:pt idx="50410">
                  <c:v>0</c:v>
                </c:pt>
                <c:pt idx="50411">
                  <c:v>0</c:v>
                </c:pt>
                <c:pt idx="50412">
                  <c:v>0</c:v>
                </c:pt>
                <c:pt idx="50413">
                  <c:v>0</c:v>
                </c:pt>
                <c:pt idx="50414">
                  <c:v>0</c:v>
                </c:pt>
                <c:pt idx="50415">
                  <c:v>0</c:v>
                </c:pt>
                <c:pt idx="50416">
                  <c:v>0</c:v>
                </c:pt>
                <c:pt idx="50417">
                  <c:v>0</c:v>
                </c:pt>
                <c:pt idx="50418">
                  <c:v>0</c:v>
                </c:pt>
                <c:pt idx="50419">
                  <c:v>0</c:v>
                </c:pt>
                <c:pt idx="50420">
                  <c:v>0</c:v>
                </c:pt>
                <c:pt idx="50421">
                  <c:v>0</c:v>
                </c:pt>
                <c:pt idx="50422">
                  <c:v>0</c:v>
                </c:pt>
                <c:pt idx="50423">
                  <c:v>0</c:v>
                </c:pt>
                <c:pt idx="50424">
                  <c:v>0</c:v>
                </c:pt>
                <c:pt idx="50425">
                  <c:v>0</c:v>
                </c:pt>
                <c:pt idx="50426">
                  <c:v>0</c:v>
                </c:pt>
                <c:pt idx="50427">
                  <c:v>0</c:v>
                </c:pt>
                <c:pt idx="50428">
                  <c:v>0</c:v>
                </c:pt>
                <c:pt idx="50429">
                  <c:v>0</c:v>
                </c:pt>
                <c:pt idx="50430">
                  <c:v>0</c:v>
                </c:pt>
                <c:pt idx="50431">
                  <c:v>0</c:v>
                </c:pt>
                <c:pt idx="50432">
                  <c:v>0</c:v>
                </c:pt>
                <c:pt idx="50433">
                  <c:v>0</c:v>
                </c:pt>
                <c:pt idx="50434">
                  <c:v>0</c:v>
                </c:pt>
                <c:pt idx="50435">
                  <c:v>0</c:v>
                </c:pt>
                <c:pt idx="50436">
                  <c:v>0</c:v>
                </c:pt>
                <c:pt idx="50437">
                  <c:v>0</c:v>
                </c:pt>
                <c:pt idx="50438">
                  <c:v>0</c:v>
                </c:pt>
                <c:pt idx="50439">
                  <c:v>0</c:v>
                </c:pt>
                <c:pt idx="50440">
                  <c:v>0</c:v>
                </c:pt>
                <c:pt idx="50441">
                  <c:v>0</c:v>
                </c:pt>
                <c:pt idx="50442">
                  <c:v>0</c:v>
                </c:pt>
                <c:pt idx="50443">
                  <c:v>0</c:v>
                </c:pt>
                <c:pt idx="50444">
                  <c:v>0</c:v>
                </c:pt>
                <c:pt idx="50445">
                  <c:v>0</c:v>
                </c:pt>
                <c:pt idx="50446">
                  <c:v>0</c:v>
                </c:pt>
                <c:pt idx="50447">
                  <c:v>0</c:v>
                </c:pt>
                <c:pt idx="50448">
                  <c:v>0</c:v>
                </c:pt>
                <c:pt idx="50449">
                  <c:v>0</c:v>
                </c:pt>
                <c:pt idx="50450">
                  <c:v>0</c:v>
                </c:pt>
                <c:pt idx="50451">
                  <c:v>0</c:v>
                </c:pt>
                <c:pt idx="50452">
                  <c:v>0</c:v>
                </c:pt>
                <c:pt idx="50453">
                  <c:v>0</c:v>
                </c:pt>
                <c:pt idx="50454">
                  <c:v>0</c:v>
                </c:pt>
                <c:pt idx="50455">
                  <c:v>0</c:v>
                </c:pt>
                <c:pt idx="50456">
                  <c:v>0</c:v>
                </c:pt>
                <c:pt idx="50457">
                  <c:v>0</c:v>
                </c:pt>
                <c:pt idx="50458">
                  <c:v>0</c:v>
                </c:pt>
                <c:pt idx="50459">
                  <c:v>0</c:v>
                </c:pt>
                <c:pt idx="50460">
                  <c:v>0</c:v>
                </c:pt>
                <c:pt idx="50461">
                  <c:v>0</c:v>
                </c:pt>
                <c:pt idx="50462">
                  <c:v>0</c:v>
                </c:pt>
                <c:pt idx="50463">
                  <c:v>0</c:v>
                </c:pt>
                <c:pt idx="50464">
                  <c:v>0</c:v>
                </c:pt>
                <c:pt idx="50465">
                  <c:v>0</c:v>
                </c:pt>
                <c:pt idx="50466">
                  <c:v>0</c:v>
                </c:pt>
                <c:pt idx="50467">
                  <c:v>0</c:v>
                </c:pt>
                <c:pt idx="50468">
                  <c:v>0</c:v>
                </c:pt>
                <c:pt idx="50469">
                  <c:v>0</c:v>
                </c:pt>
                <c:pt idx="50470">
                  <c:v>0</c:v>
                </c:pt>
                <c:pt idx="50471">
                  <c:v>0</c:v>
                </c:pt>
                <c:pt idx="50472">
                  <c:v>0</c:v>
                </c:pt>
                <c:pt idx="50473">
                  <c:v>0</c:v>
                </c:pt>
                <c:pt idx="50474">
                  <c:v>0</c:v>
                </c:pt>
                <c:pt idx="50475">
                  <c:v>0</c:v>
                </c:pt>
                <c:pt idx="50476">
                  <c:v>0</c:v>
                </c:pt>
                <c:pt idx="50477">
                  <c:v>0</c:v>
                </c:pt>
                <c:pt idx="50478">
                  <c:v>0</c:v>
                </c:pt>
                <c:pt idx="50479">
                  <c:v>0</c:v>
                </c:pt>
                <c:pt idx="50480">
                  <c:v>0</c:v>
                </c:pt>
                <c:pt idx="50481">
                  <c:v>0</c:v>
                </c:pt>
                <c:pt idx="50482">
                  <c:v>0</c:v>
                </c:pt>
                <c:pt idx="50483">
                  <c:v>0</c:v>
                </c:pt>
                <c:pt idx="50484">
                  <c:v>0</c:v>
                </c:pt>
                <c:pt idx="50485">
                  <c:v>0</c:v>
                </c:pt>
                <c:pt idx="50486">
                  <c:v>0</c:v>
                </c:pt>
                <c:pt idx="50487">
                  <c:v>0</c:v>
                </c:pt>
                <c:pt idx="50488">
                  <c:v>0</c:v>
                </c:pt>
                <c:pt idx="50489">
                  <c:v>0</c:v>
                </c:pt>
                <c:pt idx="50490">
                  <c:v>0</c:v>
                </c:pt>
                <c:pt idx="50491">
                  <c:v>0</c:v>
                </c:pt>
                <c:pt idx="50492">
                  <c:v>0</c:v>
                </c:pt>
                <c:pt idx="50493">
                  <c:v>0</c:v>
                </c:pt>
                <c:pt idx="50494">
                  <c:v>0</c:v>
                </c:pt>
                <c:pt idx="50495">
                  <c:v>0</c:v>
                </c:pt>
                <c:pt idx="50496">
                  <c:v>0</c:v>
                </c:pt>
                <c:pt idx="50497">
                  <c:v>0</c:v>
                </c:pt>
                <c:pt idx="50498">
                  <c:v>0</c:v>
                </c:pt>
                <c:pt idx="50499">
                  <c:v>0</c:v>
                </c:pt>
                <c:pt idx="50500">
                  <c:v>0</c:v>
                </c:pt>
                <c:pt idx="50501">
                  <c:v>0</c:v>
                </c:pt>
                <c:pt idx="50502">
                  <c:v>0</c:v>
                </c:pt>
                <c:pt idx="50503">
                  <c:v>0</c:v>
                </c:pt>
                <c:pt idx="50504">
                  <c:v>0</c:v>
                </c:pt>
                <c:pt idx="50505">
                  <c:v>0</c:v>
                </c:pt>
                <c:pt idx="50506">
                  <c:v>0</c:v>
                </c:pt>
                <c:pt idx="50507">
                  <c:v>0</c:v>
                </c:pt>
                <c:pt idx="50508">
                  <c:v>0</c:v>
                </c:pt>
                <c:pt idx="50509">
                  <c:v>0</c:v>
                </c:pt>
                <c:pt idx="50510">
                  <c:v>0</c:v>
                </c:pt>
                <c:pt idx="50511">
                  <c:v>0</c:v>
                </c:pt>
                <c:pt idx="50512">
                  <c:v>0</c:v>
                </c:pt>
                <c:pt idx="50513">
                  <c:v>0</c:v>
                </c:pt>
                <c:pt idx="50514">
                  <c:v>0</c:v>
                </c:pt>
                <c:pt idx="50515">
                  <c:v>0</c:v>
                </c:pt>
                <c:pt idx="50516">
                  <c:v>0</c:v>
                </c:pt>
                <c:pt idx="50517">
                  <c:v>0</c:v>
                </c:pt>
                <c:pt idx="50518">
                  <c:v>0</c:v>
                </c:pt>
                <c:pt idx="50519">
                  <c:v>0</c:v>
                </c:pt>
                <c:pt idx="50520">
                  <c:v>0</c:v>
                </c:pt>
                <c:pt idx="50521">
                  <c:v>0</c:v>
                </c:pt>
                <c:pt idx="50522">
                  <c:v>0</c:v>
                </c:pt>
                <c:pt idx="50523">
                  <c:v>0</c:v>
                </c:pt>
                <c:pt idx="50524">
                  <c:v>0</c:v>
                </c:pt>
                <c:pt idx="50525">
                  <c:v>0</c:v>
                </c:pt>
                <c:pt idx="50526">
                  <c:v>0</c:v>
                </c:pt>
                <c:pt idx="50527">
                  <c:v>0</c:v>
                </c:pt>
                <c:pt idx="50528">
                  <c:v>0</c:v>
                </c:pt>
                <c:pt idx="50529">
                  <c:v>0</c:v>
                </c:pt>
                <c:pt idx="50530">
                  <c:v>0</c:v>
                </c:pt>
                <c:pt idx="50531">
                  <c:v>0</c:v>
                </c:pt>
                <c:pt idx="50532">
                  <c:v>0</c:v>
                </c:pt>
                <c:pt idx="50533">
                  <c:v>0</c:v>
                </c:pt>
                <c:pt idx="50534">
                  <c:v>0</c:v>
                </c:pt>
                <c:pt idx="50535">
                  <c:v>0</c:v>
                </c:pt>
                <c:pt idx="50536">
                  <c:v>0</c:v>
                </c:pt>
                <c:pt idx="50537">
                  <c:v>0</c:v>
                </c:pt>
                <c:pt idx="50538">
                  <c:v>0</c:v>
                </c:pt>
                <c:pt idx="50539">
                  <c:v>0</c:v>
                </c:pt>
                <c:pt idx="50540">
                  <c:v>0</c:v>
                </c:pt>
                <c:pt idx="50541">
                  <c:v>0</c:v>
                </c:pt>
                <c:pt idx="50542">
                  <c:v>0</c:v>
                </c:pt>
                <c:pt idx="50543">
                  <c:v>0</c:v>
                </c:pt>
                <c:pt idx="50544">
                  <c:v>0</c:v>
                </c:pt>
                <c:pt idx="50545">
                  <c:v>0</c:v>
                </c:pt>
                <c:pt idx="50546">
                  <c:v>0</c:v>
                </c:pt>
                <c:pt idx="50547">
                  <c:v>0</c:v>
                </c:pt>
                <c:pt idx="50548">
                  <c:v>0</c:v>
                </c:pt>
                <c:pt idx="50549">
                  <c:v>0</c:v>
                </c:pt>
                <c:pt idx="50550">
                  <c:v>0</c:v>
                </c:pt>
                <c:pt idx="50551">
                  <c:v>0</c:v>
                </c:pt>
                <c:pt idx="50552">
                  <c:v>0</c:v>
                </c:pt>
                <c:pt idx="50553">
                  <c:v>0</c:v>
                </c:pt>
                <c:pt idx="50554">
                  <c:v>0</c:v>
                </c:pt>
                <c:pt idx="50555">
                  <c:v>0</c:v>
                </c:pt>
                <c:pt idx="50556">
                  <c:v>0</c:v>
                </c:pt>
                <c:pt idx="50557">
                  <c:v>0</c:v>
                </c:pt>
                <c:pt idx="50558">
                  <c:v>0</c:v>
                </c:pt>
                <c:pt idx="50559">
                  <c:v>0</c:v>
                </c:pt>
                <c:pt idx="50560">
                  <c:v>0</c:v>
                </c:pt>
                <c:pt idx="50561">
                  <c:v>0</c:v>
                </c:pt>
                <c:pt idx="50562">
                  <c:v>0</c:v>
                </c:pt>
                <c:pt idx="50563">
                  <c:v>0</c:v>
                </c:pt>
                <c:pt idx="50564">
                  <c:v>0</c:v>
                </c:pt>
                <c:pt idx="50565">
                  <c:v>0</c:v>
                </c:pt>
                <c:pt idx="50566">
                  <c:v>0</c:v>
                </c:pt>
                <c:pt idx="50567">
                  <c:v>0</c:v>
                </c:pt>
                <c:pt idx="50568">
                  <c:v>0</c:v>
                </c:pt>
                <c:pt idx="50569">
                  <c:v>0</c:v>
                </c:pt>
                <c:pt idx="50570">
                  <c:v>0</c:v>
                </c:pt>
                <c:pt idx="50571">
                  <c:v>0</c:v>
                </c:pt>
                <c:pt idx="50572">
                  <c:v>0</c:v>
                </c:pt>
                <c:pt idx="50573">
                  <c:v>0</c:v>
                </c:pt>
                <c:pt idx="50574">
                  <c:v>0</c:v>
                </c:pt>
                <c:pt idx="50575">
                  <c:v>0</c:v>
                </c:pt>
                <c:pt idx="50576">
                  <c:v>0</c:v>
                </c:pt>
                <c:pt idx="50577">
                  <c:v>0</c:v>
                </c:pt>
                <c:pt idx="50578">
                  <c:v>0</c:v>
                </c:pt>
                <c:pt idx="50579">
                  <c:v>0</c:v>
                </c:pt>
                <c:pt idx="50580">
                  <c:v>0</c:v>
                </c:pt>
                <c:pt idx="50581">
                  <c:v>0</c:v>
                </c:pt>
                <c:pt idx="50582">
                  <c:v>0</c:v>
                </c:pt>
                <c:pt idx="50583">
                  <c:v>0</c:v>
                </c:pt>
                <c:pt idx="50584">
                  <c:v>0</c:v>
                </c:pt>
                <c:pt idx="50585">
                  <c:v>0</c:v>
                </c:pt>
                <c:pt idx="50586">
                  <c:v>0</c:v>
                </c:pt>
                <c:pt idx="50587">
                  <c:v>0</c:v>
                </c:pt>
                <c:pt idx="50588">
                  <c:v>0</c:v>
                </c:pt>
                <c:pt idx="50589">
                  <c:v>0</c:v>
                </c:pt>
                <c:pt idx="50590">
                  <c:v>0</c:v>
                </c:pt>
                <c:pt idx="50591">
                  <c:v>0</c:v>
                </c:pt>
                <c:pt idx="50592">
                  <c:v>0</c:v>
                </c:pt>
                <c:pt idx="50593">
                  <c:v>0</c:v>
                </c:pt>
                <c:pt idx="50594">
                  <c:v>0</c:v>
                </c:pt>
                <c:pt idx="50595">
                  <c:v>0</c:v>
                </c:pt>
                <c:pt idx="50596">
                  <c:v>0</c:v>
                </c:pt>
                <c:pt idx="50597">
                  <c:v>0</c:v>
                </c:pt>
                <c:pt idx="50598">
                  <c:v>0</c:v>
                </c:pt>
                <c:pt idx="50599">
                  <c:v>0</c:v>
                </c:pt>
                <c:pt idx="50600">
                  <c:v>0</c:v>
                </c:pt>
                <c:pt idx="50601">
                  <c:v>0</c:v>
                </c:pt>
                <c:pt idx="50602">
                  <c:v>0</c:v>
                </c:pt>
                <c:pt idx="50603">
                  <c:v>0</c:v>
                </c:pt>
                <c:pt idx="50604">
                  <c:v>0</c:v>
                </c:pt>
                <c:pt idx="50605">
                  <c:v>0</c:v>
                </c:pt>
                <c:pt idx="50606">
                  <c:v>0</c:v>
                </c:pt>
                <c:pt idx="50607">
                  <c:v>0</c:v>
                </c:pt>
                <c:pt idx="50608">
                  <c:v>0</c:v>
                </c:pt>
                <c:pt idx="50609">
                  <c:v>0</c:v>
                </c:pt>
                <c:pt idx="50610">
                  <c:v>0</c:v>
                </c:pt>
                <c:pt idx="50611">
                  <c:v>0</c:v>
                </c:pt>
                <c:pt idx="50612">
                  <c:v>0</c:v>
                </c:pt>
                <c:pt idx="50613">
                  <c:v>0</c:v>
                </c:pt>
                <c:pt idx="50614">
                  <c:v>0</c:v>
                </c:pt>
                <c:pt idx="50615">
                  <c:v>0</c:v>
                </c:pt>
                <c:pt idx="50616">
                  <c:v>0</c:v>
                </c:pt>
                <c:pt idx="50617">
                  <c:v>0</c:v>
                </c:pt>
                <c:pt idx="50618">
                  <c:v>0</c:v>
                </c:pt>
                <c:pt idx="50619">
                  <c:v>0</c:v>
                </c:pt>
                <c:pt idx="50620">
                  <c:v>0</c:v>
                </c:pt>
                <c:pt idx="50621">
                  <c:v>0</c:v>
                </c:pt>
                <c:pt idx="50622">
                  <c:v>0</c:v>
                </c:pt>
                <c:pt idx="50623">
                  <c:v>0</c:v>
                </c:pt>
                <c:pt idx="50624">
                  <c:v>0</c:v>
                </c:pt>
                <c:pt idx="50625">
                  <c:v>0</c:v>
                </c:pt>
                <c:pt idx="50626">
                  <c:v>0</c:v>
                </c:pt>
                <c:pt idx="50627">
                  <c:v>0</c:v>
                </c:pt>
                <c:pt idx="50628">
                  <c:v>0</c:v>
                </c:pt>
                <c:pt idx="50629">
                  <c:v>0</c:v>
                </c:pt>
                <c:pt idx="50630">
                  <c:v>0</c:v>
                </c:pt>
                <c:pt idx="50631">
                  <c:v>0</c:v>
                </c:pt>
                <c:pt idx="50632">
                  <c:v>0</c:v>
                </c:pt>
                <c:pt idx="50633">
                  <c:v>0</c:v>
                </c:pt>
                <c:pt idx="50634">
                  <c:v>0</c:v>
                </c:pt>
                <c:pt idx="50635">
                  <c:v>0</c:v>
                </c:pt>
                <c:pt idx="50636">
                  <c:v>0</c:v>
                </c:pt>
                <c:pt idx="50637">
                  <c:v>0</c:v>
                </c:pt>
                <c:pt idx="50638">
                  <c:v>0</c:v>
                </c:pt>
                <c:pt idx="50639">
                  <c:v>0</c:v>
                </c:pt>
                <c:pt idx="50640">
                  <c:v>0</c:v>
                </c:pt>
                <c:pt idx="50641">
                  <c:v>0</c:v>
                </c:pt>
                <c:pt idx="50642">
                  <c:v>0</c:v>
                </c:pt>
                <c:pt idx="50643">
                  <c:v>0</c:v>
                </c:pt>
                <c:pt idx="50644">
                  <c:v>0</c:v>
                </c:pt>
                <c:pt idx="50645">
                  <c:v>0</c:v>
                </c:pt>
                <c:pt idx="50646">
                  <c:v>0</c:v>
                </c:pt>
                <c:pt idx="50647">
                  <c:v>0</c:v>
                </c:pt>
                <c:pt idx="50648">
                  <c:v>0</c:v>
                </c:pt>
                <c:pt idx="50649">
                  <c:v>0</c:v>
                </c:pt>
                <c:pt idx="50650">
                  <c:v>0</c:v>
                </c:pt>
                <c:pt idx="50651">
                  <c:v>0</c:v>
                </c:pt>
                <c:pt idx="50652">
                  <c:v>0</c:v>
                </c:pt>
                <c:pt idx="50653">
                  <c:v>0</c:v>
                </c:pt>
                <c:pt idx="50654">
                  <c:v>0</c:v>
                </c:pt>
                <c:pt idx="50655">
                  <c:v>0</c:v>
                </c:pt>
                <c:pt idx="50656">
                  <c:v>0</c:v>
                </c:pt>
                <c:pt idx="50657">
                  <c:v>0</c:v>
                </c:pt>
                <c:pt idx="50658">
                  <c:v>0</c:v>
                </c:pt>
                <c:pt idx="50659">
                  <c:v>0</c:v>
                </c:pt>
                <c:pt idx="50660">
                  <c:v>0</c:v>
                </c:pt>
                <c:pt idx="50661">
                  <c:v>0</c:v>
                </c:pt>
                <c:pt idx="50662">
                  <c:v>0</c:v>
                </c:pt>
                <c:pt idx="50663">
                  <c:v>0</c:v>
                </c:pt>
                <c:pt idx="50664">
                  <c:v>0</c:v>
                </c:pt>
                <c:pt idx="50665">
                  <c:v>0</c:v>
                </c:pt>
                <c:pt idx="50666">
                  <c:v>0</c:v>
                </c:pt>
                <c:pt idx="50667">
                  <c:v>0</c:v>
                </c:pt>
                <c:pt idx="50668">
                  <c:v>0</c:v>
                </c:pt>
                <c:pt idx="50669">
                  <c:v>0</c:v>
                </c:pt>
                <c:pt idx="50670">
                  <c:v>0</c:v>
                </c:pt>
                <c:pt idx="50671">
                  <c:v>0</c:v>
                </c:pt>
                <c:pt idx="50672">
                  <c:v>0</c:v>
                </c:pt>
                <c:pt idx="50673">
                  <c:v>0</c:v>
                </c:pt>
                <c:pt idx="50674">
                  <c:v>0</c:v>
                </c:pt>
                <c:pt idx="50675">
                  <c:v>0</c:v>
                </c:pt>
                <c:pt idx="50676">
                  <c:v>0</c:v>
                </c:pt>
                <c:pt idx="50677">
                  <c:v>0</c:v>
                </c:pt>
                <c:pt idx="50678">
                  <c:v>0</c:v>
                </c:pt>
                <c:pt idx="50679">
                  <c:v>0</c:v>
                </c:pt>
                <c:pt idx="50680">
                  <c:v>0</c:v>
                </c:pt>
                <c:pt idx="50681">
                  <c:v>0</c:v>
                </c:pt>
                <c:pt idx="50682">
                  <c:v>0</c:v>
                </c:pt>
                <c:pt idx="50683">
                  <c:v>0</c:v>
                </c:pt>
                <c:pt idx="50684">
                  <c:v>0</c:v>
                </c:pt>
                <c:pt idx="50685">
                  <c:v>0</c:v>
                </c:pt>
                <c:pt idx="50686">
                  <c:v>0</c:v>
                </c:pt>
                <c:pt idx="50687">
                  <c:v>0</c:v>
                </c:pt>
                <c:pt idx="50688">
                  <c:v>0</c:v>
                </c:pt>
                <c:pt idx="50689">
                  <c:v>0</c:v>
                </c:pt>
                <c:pt idx="50690">
                  <c:v>0</c:v>
                </c:pt>
                <c:pt idx="50691">
                  <c:v>0</c:v>
                </c:pt>
                <c:pt idx="50692">
                  <c:v>0</c:v>
                </c:pt>
                <c:pt idx="50693">
                  <c:v>0</c:v>
                </c:pt>
                <c:pt idx="50694">
                  <c:v>0</c:v>
                </c:pt>
                <c:pt idx="50695">
                  <c:v>0</c:v>
                </c:pt>
                <c:pt idx="50696">
                  <c:v>0</c:v>
                </c:pt>
                <c:pt idx="50697">
                  <c:v>0</c:v>
                </c:pt>
                <c:pt idx="50698">
                  <c:v>0</c:v>
                </c:pt>
                <c:pt idx="50699">
                  <c:v>0</c:v>
                </c:pt>
                <c:pt idx="50700">
                  <c:v>0</c:v>
                </c:pt>
                <c:pt idx="50701">
                  <c:v>0</c:v>
                </c:pt>
                <c:pt idx="50702">
                  <c:v>0</c:v>
                </c:pt>
                <c:pt idx="50703">
                  <c:v>0</c:v>
                </c:pt>
                <c:pt idx="50704">
                  <c:v>0</c:v>
                </c:pt>
                <c:pt idx="50705">
                  <c:v>0</c:v>
                </c:pt>
                <c:pt idx="50706">
                  <c:v>0</c:v>
                </c:pt>
                <c:pt idx="50707">
                  <c:v>0</c:v>
                </c:pt>
                <c:pt idx="50708">
                  <c:v>0</c:v>
                </c:pt>
                <c:pt idx="50709">
                  <c:v>0</c:v>
                </c:pt>
                <c:pt idx="50710">
                  <c:v>0</c:v>
                </c:pt>
                <c:pt idx="50711">
                  <c:v>0</c:v>
                </c:pt>
                <c:pt idx="50712">
                  <c:v>0</c:v>
                </c:pt>
                <c:pt idx="50713">
                  <c:v>0</c:v>
                </c:pt>
                <c:pt idx="50714">
                  <c:v>0</c:v>
                </c:pt>
                <c:pt idx="50715">
                  <c:v>0</c:v>
                </c:pt>
                <c:pt idx="50716">
                  <c:v>0</c:v>
                </c:pt>
                <c:pt idx="50717">
                  <c:v>0</c:v>
                </c:pt>
                <c:pt idx="50718">
                  <c:v>0</c:v>
                </c:pt>
                <c:pt idx="50719">
                  <c:v>0</c:v>
                </c:pt>
                <c:pt idx="50720">
                  <c:v>0</c:v>
                </c:pt>
                <c:pt idx="50721">
                  <c:v>0</c:v>
                </c:pt>
                <c:pt idx="50722">
                  <c:v>0</c:v>
                </c:pt>
                <c:pt idx="50723">
                  <c:v>0</c:v>
                </c:pt>
                <c:pt idx="50724">
                  <c:v>0</c:v>
                </c:pt>
                <c:pt idx="50725">
                  <c:v>0</c:v>
                </c:pt>
                <c:pt idx="50726">
                  <c:v>0</c:v>
                </c:pt>
                <c:pt idx="50727">
                  <c:v>0</c:v>
                </c:pt>
                <c:pt idx="50728">
                  <c:v>0</c:v>
                </c:pt>
                <c:pt idx="50729">
                  <c:v>0</c:v>
                </c:pt>
                <c:pt idx="50730">
                  <c:v>0</c:v>
                </c:pt>
                <c:pt idx="50731">
                  <c:v>0</c:v>
                </c:pt>
                <c:pt idx="50732">
                  <c:v>0</c:v>
                </c:pt>
                <c:pt idx="50733">
                  <c:v>0</c:v>
                </c:pt>
                <c:pt idx="50734">
                  <c:v>0</c:v>
                </c:pt>
                <c:pt idx="50735">
                  <c:v>0</c:v>
                </c:pt>
                <c:pt idx="50736">
                  <c:v>0</c:v>
                </c:pt>
                <c:pt idx="50737">
                  <c:v>0</c:v>
                </c:pt>
                <c:pt idx="50738">
                  <c:v>0</c:v>
                </c:pt>
                <c:pt idx="50739">
                  <c:v>0</c:v>
                </c:pt>
                <c:pt idx="50740">
                  <c:v>0</c:v>
                </c:pt>
                <c:pt idx="50741">
                  <c:v>0</c:v>
                </c:pt>
                <c:pt idx="50742">
                  <c:v>0</c:v>
                </c:pt>
                <c:pt idx="50743">
                  <c:v>0</c:v>
                </c:pt>
                <c:pt idx="50744">
                  <c:v>0</c:v>
                </c:pt>
                <c:pt idx="50745">
                  <c:v>0</c:v>
                </c:pt>
                <c:pt idx="50746">
                  <c:v>0</c:v>
                </c:pt>
                <c:pt idx="50747">
                  <c:v>0</c:v>
                </c:pt>
                <c:pt idx="50748">
                  <c:v>0</c:v>
                </c:pt>
                <c:pt idx="50749">
                  <c:v>0</c:v>
                </c:pt>
                <c:pt idx="50750">
                  <c:v>0</c:v>
                </c:pt>
                <c:pt idx="50751">
                  <c:v>0</c:v>
                </c:pt>
                <c:pt idx="50752">
                  <c:v>0</c:v>
                </c:pt>
                <c:pt idx="50753">
                  <c:v>0</c:v>
                </c:pt>
                <c:pt idx="50754">
                  <c:v>0</c:v>
                </c:pt>
                <c:pt idx="50755">
                  <c:v>0</c:v>
                </c:pt>
                <c:pt idx="50756">
                  <c:v>0</c:v>
                </c:pt>
                <c:pt idx="50757">
                  <c:v>0</c:v>
                </c:pt>
                <c:pt idx="50758">
                  <c:v>0</c:v>
                </c:pt>
                <c:pt idx="50759">
                  <c:v>0</c:v>
                </c:pt>
                <c:pt idx="50760">
                  <c:v>0</c:v>
                </c:pt>
                <c:pt idx="50761">
                  <c:v>0</c:v>
                </c:pt>
                <c:pt idx="50762">
                  <c:v>0</c:v>
                </c:pt>
                <c:pt idx="50763">
                  <c:v>0</c:v>
                </c:pt>
                <c:pt idx="50764">
                  <c:v>0</c:v>
                </c:pt>
                <c:pt idx="50765">
                  <c:v>0</c:v>
                </c:pt>
                <c:pt idx="50766">
                  <c:v>0</c:v>
                </c:pt>
                <c:pt idx="50767">
                  <c:v>0</c:v>
                </c:pt>
                <c:pt idx="50768">
                  <c:v>0</c:v>
                </c:pt>
                <c:pt idx="50769">
                  <c:v>0</c:v>
                </c:pt>
                <c:pt idx="50770">
                  <c:v>0</c:v>
                </c:pt>
                <c:pt idx="50771">
                  <c:v>0</c:v>
                </c:pt>
                <c:pt idx="50772">
                  <c:v>0</c:v>
                </c:pt>
                <c:pt idx="50773">
                  <c:v>0</c:v>
                </c:pt>
                <c:pt idx="50774">
                  <c:v>0</c:v>
                </c:pt>
                <c:pt idx="50775">
                  <c:v>0</c:v>
                </c:pt>
                <c:pt idx="50776">
                  <c:v>0</c:v>
                </c:pt>
                <c:pt idx="50777">
                  <c:v>0</c:v>
                </c:pt>
                <c:pt idx="50778">
                  <c:v>0</c:v>
                </c:pt>
                <c:pt idx="50779">
                  <c:v>0</c:v>
                </c:pt>
                <c:pt idx="50780">
                  <c:v>0</c:v>
                </c:pt>
                <c:pt idx="50781">
                  <c:v>0</c:v>
                </c:pt>
                <c:pt idx="50782">
                  <c:v>0</c:v>
                </c:pt>
                <c:pt idx="50783">
                  <c:v>0</c:v>
                </c:pt>
                <c:pt idx="50784">
                  <c:v>0</c:v>
                </c:pt>
                <c:pt idx="50785">
                  <c:v>0</c:v>
                </c:pt>
                <c:pt idx="50786">
                  <c:v>0</c:v>
                </c:pt>
                <c:pt idx="50787">
                  <c:v>0</c:v>
                </c:pt>
                <c:pt idx="50788">
                  <c:v>0</c:v>
                </c:pt>
                <c:pt idx="50789">
                  <c:v>0</c:v>
                </c:pt>
                <c:pt idx="50790">
                  <c:v>0</c:v>
                </c:pt>
                <c:pt idx="50791">
                  <c:v>0</c:v>
                </c:pt>
                <c:pt idx="50792">
                  <c:v>0</c:v>
                </c:pt>
                <c:pt idx="50793">
                  <c:v>0</c:v>
                </c:pt>
                <c:pt idx="50794">
                  <c:v>0</c:v>
                </c:pt>
                <c:pt idx="50795">
                  <c:v>0</c:v>
                </c:pt>
                <c:pt idx="50796">
                  <c:v>0</c:v>
                </c:pt>
                <c:pt idx="50797">
                  <c:v>0</c:v>
                </c:pt>
                <c:pt idx="50798">
                  <c:v>0</c:v>
                </c:pt>
                <c:pt idx="50799">
                  <c:v>0</c:v>
                </c:pt>
                <c:pt idx="50800">
                  <c:v>0</c:v>
                </c:pt>
                <c:pt idx="50801">
                  <c:v>0</c:v>
                </c:pt>
                <c:pt idx="50802">
                  <c:v>0</c:v>
                </c:pt>
                <c:pt idx="50803">
                  <c:v>0</c:v>
                </c:pt>
                <c:pt idx="50804">
                  <c:v>0</c:v>
                </c:pt>
                <c:pt idx="50805">
                  <c:v>0</c:v>
                </c:pt>
                <c:pt idx="50806">
                  <c:v>0</c:v>
                </c:pt>
                <c:pt idx="50807">
                  <c:v>0</c:v>
                </c:pt>
                <c:pt idx="50808">
                  <c:v>0</c:v>
                </c:pt>
                <c:pt idx="50809">
                  <c:v>0</c:v>
                </c:pt>
                <c:pt idx="50810">
                  <c:v>0</c:v>
                </c:pt>
                <c:pt idx="50811">
                  <c:v>0</c:v>
                </c:pt>
                <c:pt idx="50812">
                  <c:v>0</c:v>
                </c:pt>
                <c:pt idx="50813">
                  <c:v>0</c:v>
                </c:pt>
                <c:pt idx="50814">
                  <c:v>0</c:v>
                </c:pt>
                <c:pt idx="50815">
                  <c:v>0</c:v>
                </c:pt>
                <c:pt idx="50816">
                  <c:v>0</c:v>
                </c:pt>
                <c:pt idx="50817">
                  <c:v>0</c:v>
                </c:pt>
                <c:pt idx="50818">
                  <c:v>0</c:v>
                </c:pt>
                <c:pt idx="50819">
                  <c:v>0</c:v>
                </c:pt>
                <c:pt idx="50820">
                  <c:v>0</c:v>
                </c:pt>
                <c:pt idx="50821">
                  <c:v>0</c:v>
                </c:pt>
                <c:pt idx="50822">
                  <c:v>0</c:v>
                </c:pt>
                <c:pt idx="50823">
                  <c:v>0</c:v>
                </c:pt>
                <c:pt idx="50824">
                  <c:v>0</c:v>
                </c:pt>
                <c:pt idx="50825">
                  <c:v>0</c:v>
                </c:pt>
                <c:pt idx="50826">
                  <c:v>0</c:v>
                </c:pt>
                <c:pt idx="50827">
                  <c:v>0</c:v>
                </c:pt>
                <c:pt idx="50828">
                  <c:v>0</c:v>
                </c:pt>
                <c:pt idx="50829">
                  <c:v>0</c:v>
                </c:pt>
                <c:pt idx="50830">
                  <c:v>0</c:v>
                </c:pt>
                <c:pt idx="50831">
                  <c:v>0</c:v>
                </c:pt>
                <c:pt idx="50832">
                  <c:v>0</c:v>
                </c:pt>
                <c:pt idx="50833">
                  <c:v>0</c:v>
                </c:pt>
                <c:pt idx="50834">
                  <c:v>0</c:v>
                </c:pt>
                <c:pt idx="50835">
                  <c:v>0</c:v>
                </c:pt>
                <c:pt idx="50836">
                  <c:v>0</c:v>
                </c:pt>
                <c:pt idx="50837">
                  <c:v>0</c:v>
                </c:pt>
                <c:pt idx="50838">
                  <c:v>0</c:v>
                </c:pt>
                <c:pt idx="50839">
                  <c:v>0</c:v>
                </c:pt>
                <c:pt idx="50840">
                  <c:v>0</c:v>
                </c:pt>
                <c:pt idx="50841">
                  <c:v>0</c:v>
                </c:pt>
                <c:pt idx="50842">
                  <c:v>0</c:v>
                </c:pt>
                <c:pt idx="50843">
                  <c:v>0</c:v>
                </c:pt>
                <c:pt idx="50844">
                  <c:v>0</c:v>
                </c:pt>
                <c:pt idx="50845">
                  <c:v>0</c:v>
                </c:pt>
                <c:pt idx="50846">
                  <c:v>0</c:v>
                </c:pt>
                <c:pt idx="50847">
                  <c:v>0</c:v>
                </c:pt>
                <c:pt idx="50848">
                  <c:v>0</c:v>
                </c:pt>
                <c:pt idx="50849">
                  <c:v>0</c:v>
                </c:pt>
                <c:pt idx="50850">
                  <c:v>0</c:v>
                </c:pt>
                <c:pt idx="50851">
                  <c:v>0</c:v>
                </c:pt>
                <c:pt idx="50852">
                  <c:v>0</c:v>
                </c:pt>
                <c:pt idx="50853">
                  <c:v>0</c:v>
                </c:pt>
                <c:pt idx="50854">
                  <c:v>0</c:v>
                </c:pt>
                <c:pt idx="50855">
                  <c:v>0</c:v>
                </c:pt>
                <c:pt idx="50856">
                  <c:v>0</c:v>
                </c:pt>
                <c:pt idx="50857">
                  <c:v>0</c:v>
                </c:pt>
                <c:pt idx="50858">
                  <c:v>0</c:v>
                </c:pt>
                <c:pt idx="50859">
                  <c:v>0</c:v>
                </c:pt>
                <c:pt idx="50860">
                  <c:v>0</c:v>
                </c:pt>
                <c:pt idx="50861">
                  <c:v>0</c:v>
                </c:pt>
                <c:pt idx="50862">
                  <c:v>0</c:v>
                </c:pt>
                <c:pt idx="50863">
                  <c:v>0</c:v>
                </c:pt>
                <c:pt idx="50864">
                  <c:v>0</c:v>
                </c:pt>
                <c:pt idx="50865">
                  <c:v>0</c:v>
                </c:pt>
                <c:pt idx="50866">
                  <c:v>0</c:v>
                </c:pt>
                <c:pt idx="50867">
                  <c:v>0</c:v>
                </c:pt>
                <c:pt idx="50868">
                  <c:v>0</c:v>
                </c:pt>
                <c:pt idx="50869">
                  <c:v>0</c:v>
                </c:pt>
                <c:pt idx="50870">
                  <c:v>0</c:v>
                </c:pt>
                <c:pt idx="50871">
                  <c:v>0</c:v>
                </c:pt>
                <c:pt idx="50872">
                  <c:v>0</c:v>
                </c:pt>
                <c:pt idx="50873">
                  <c:v>0</c:v>
                </c:pt>
                <c:pt idx="50874">
                  <c:v>0</c:v>
                </c:pt>
                <c:pt idx="50875">
                  <c:v>0</c:v>
                </c:pt>
                <c:pt idx="50876">
                  <c:v>0</c:v>
                </c:pt>
                <c:pt idx="50877">
                  <c:v>0</c:v>
                </c:pt>
                <c:pt idx="50878">
                  <c:v>0</c:v>
                </c:pt>
                <c:pt idx="50879">
                  <c:v>0</c:v>
                </c:pt>
                <c:pt idx="50880">
                  <c:v>0</c:v>
                </c:pt>
                <c:pt idx="50881">
                  <c:v>0</c:v>
                </c:pt>
                <c:pt idx="50882">
                  <c:v>0</c:v>
                </c:pt>
                <c:pt idx="50883">
                  <c:v>0</c:v>
                </c:pt>
                <c:pt idx="50884">
                  <c:v>0</c:v>
                </c:pt>
                <c:pt idx="50885">
                  <c:v>0</c:v>
                </c:pt>
                <c:pt idx="50886">
                  <c:v>0</c:v>
                </c:pt>
                <c:pt idx="50887">
                  <c:v>0</c:v>
                </c:pt>
                <c:pt idx="50888">
                  <c:v>0</c:v>
                </c:pt>
                <c:pt idx="50889">
                  <c:v>0</c:v>
                </c:pt>
                <c:pt idx="50890">
                  <c:v>0</c:v>
                </c:pt>
                <c:pt idx="50891">
                  <c:v>0</c:v>
                </c:pt>
                <c:pt idx="50892">
                  <c:v>0</c:v>
                </c:pt>
                <c:pt idx="50893">
                  <c:v>0</c:v>
                </c:pt>
                <c:pt idx="50894">
                  <c:v>0</c:v>
                </c:pt>
                <c:pt idx="50895">
                  <c:v>0</c:v>
                </c:pt>
                <c:pt idx="50896">
                  <c:v>0</c:v>
                </c:pt>
                <c:pt idx="50897">
                  <c:v>0</c:v>
                </c:pt>
                <c:pt idx="50898">
                  <c:v>0</c:v>
                </c:pt>
                <c:pt idx="50899">
                  <c:v>0</c:v>
                </c:pt>
                <c:pt idx="50900">
                  <c:v>0</c:v>
                </c:pt>
                <c:pt idx="50901">
                  <c:v>0</c:v>
                </c:pt>
                <c:pt idx="50902">
                  <c:v>0</c:v>
                </c:pt>
                <c:pt idx="50903">
                  <c:v>0</c:v>
                </c:pt>
                <c:pt idx="50904">
                  <c:v>0</c:v>
                </c:pt>
                <c:pt idx="50905">
                  <c:v>0</c:v>
                </c:pt>
                <c:pt idx="50906">
                  <c:v>0</c:v>
                </c:pt>
                <c:pt idx="50907">
                  <c:v>0</c:v>
                </c:pt>
                <c:pt idx="50908">
                  <c:v>0</c:v>
                </c:pt>
                <c:pt idx="50909">
                  <c:v>0</c:v>
                </c:pt>
                <c:pt idx="50910">
                  <c:v>0</c:v>
                </c:pt>
                <c:pt idx="50911">
                  <c:v>0</c:v>
                </c:pt>
                <c:pt idx="50912">
                  <c:v>0</c:v>
                </c:pt>
                <c:pt idx="50913">
                  <c:v>0</c:v>
                </c:pt>
                <c:pt idx="50914">
                  <c:v>0</c:v>
                </c:pt>
                <c:pt idx="50915">
                  <c:v>0</c:v>
                </c:pt>
                <c:pt idx="50916">
                  <c:v>0</c:v>
                </c:pt>
                <c:pt idx="50917">
                  <c:v>0</c:v>
                </c:pt>
                <c:pt idx="50918">
                  <c:v>0</c:v>
                </c:pt>
                <c:pt idx="50919">
                  <c:v>0</c:v>
                </c:pt>
                <c:pt idx="50920">
                  <c:v>0</c:v>
                </c:pt>
                <c:pt idx="50921">
                  <c:v>0</c:v>
                </c:pt>
                <c:pt idx="50922">
                  <c:v>0</c:v>
                </c:pt>
                <c:pt idx="50923">
                  <c:v>0</c:v>
                </c:pt>
                <c:pt idx="50924">
                  <c:v>0</c:v>
                </c:pt>
                <c:pt idx="50925">
                  <c:v>0</c:v>
                </c:pt>
                <c:pt idx="50926">
                  <c:v>0</c:v>
                </c:pt>
                <c:pt idx="50927">
                  <c:v>0</c:v>
                </c:pt>
                <c:pt idx="50928">
                  <c:v>0</c:v>
                </c:pt>
                <c:pt idx="50929">
                  <c:v>0</c:v>
                </c:pt>
                <c:pt idx="50930">
                  <c:v>0</c:v>
                </c:pt>
                <c:pt idx="50931">
                  <c:v>0</c:v>
                </c:pt>
                <c:pt idx="50932">
                  <c:v>0</c:v>
                </c:pt>
                <c:pt idx="50933">
                  <c:v>0</c:v>
                </c:pt>
                <c:pt idx="50934">
                  <c:v>0</c:v>
                </c:pt>
                <c:pt idx="50935">
                  <c:v>0</c:v>
                </c:pt>
                <c:pt idx="50936">
                  <c:v>0</c:v>
                </c:pt>
                <c:pt idx="50937">
                  <c:v>0</c:v>
                </c:pt>
                <c:pt idx="50938">
                  <c:v>0</c:v>
                </c:pt>
                <c:pt idx="50939">
                  <c:v>0</c:v>
                </c:pt>
                <c:pt idx="50940">
                  <c:v>0</c:v>
                </c:pt>
                <c:pt idx="50941">
                  <c:v>0</c:v>
                </c:pt>
                <c:pt idx="50942">
                  <c:v>0</c:v>
                </c:pt>
                <c:pt idx="50943">
                  <c:v>0</c:v>
                </c:pt>
                <c:pt idx="50944">
                  <c:v>0</c:v>
                </c:pt>
                <c:pt idx="50945">
                  <c:v>0</c:v>
                </c:pt>
                <c:pt idx="50946">
                  <c:v>0</c:v>
                </c:pt>
                <c:pt idx="50947">
                  <c:v>0</c:v>
                </c:pt>
                <c:pt idx="50948">
                  <c:v>0</c:v>
                </c:pt>
                <c:pt idx="50949">
                  <c:v>0</c:v>
                </c:pt>
                <c:pt idx="50950">
                  <c:v>0</c:v>
                </c:pt>
                <c:pt idx="50951">
                  <c:v>0</c:v>
                </c:pt>
                <c:pt idx="50952">
                  <c:v>0</c:v>
                </c:pt>
                <c:pt idx="50953">
                  <c:v>0</c:v>
                </c:pt>
                <c:pt idx="50954">
                  <c:v>0</c:v>
                </c:pt>
                <c:pt idx="50955">
                  <c:v>0</c:v>
                </c:pt>
                <c:pt idx="50956">
                  <c:v>0</c:v>
                </c:pt>
                <c:pt idx="50957">
                  <c:v>0</c:v>
                </c:pt>
                <c:pt idx="50958">
                  <c:v>0</c:v>
                </c:pt>
                <c:pt idx="50959">
                  <c:v>0</c:v>
                </c:pt>
                <c:pt idx="50960">
                  <c:v>0</c:v>
                </c:pt>
                <c:pt idx="50961">
                  <c:v>0</c:v>
                </c:pt>
                <c:pt idx="50962">
                  <c:v>0</c:v>
                </c:pt>
                <c:pt idx="50963">
                  <c:v>0</c:v>
                </c:pt>
                <c:pt idx="50964">
                  <c:v>0</c:v>
                </c:pt>
                <c:pt idx="50965">
                  <c:v>0</c:v>
                </c:pt>
                <c:pt idx="50966">
                  <c:v>0</c:v>
                </c:pt>
                <c:pt idx="50967">
                  <c:v>0</c:v>
                </c:pt>
                <c:pt idx="50968">
                  <c:v>0</c:v>
                </c:pt>
                <c:pt idx="50969">
                  <c:v>0</c:v>
                </c:pt>
                <c:pt idx="50970">
                  <c:v>0</c:v>
                </c:pt>
                <c:pt idx="50971">
                  <c:v>0</c:v>
                </c:pt>
                <c:pt idx="50972">
                  <c:v>0</c:v>
                </c:pt>
                <c:pt idx="50973">
                  <c:v>0</c:v>
                </c:pt>
                <c:pt idx="50974">
                  <c:v>0</c:v>
                </c:pt>
                <c:pt idx="50975">
                  <c:v>0</c:v>
                </c:pt>
                <c:pt idx="50976">
                  <c:v>0</c:v>
                </c:pt>
                <c:pt idx="50977">
                  <c:v>0</c:v>
                </c:pt>
                <c:pt idx="50978">
                  <c:v>0</c:v>
                </c:pt>
                <c:pt idx="50979">
                  <c:v>0</c:v>
                </c:pt>
                <c:pt idx="50980">
                  <c:v>0</c:v>
                </c:pt>
                <c:pt idx="50981">
                  <c:v>0</c:v>
                </c:pt>
                <c:pt idx="50982">
                  <c:v>0</c:v>
                </c:pt>
                <c:pt idx="50983">
                  <c:v>0</c:v>
                </c:pt>
                <c:pt idx="50984">
                  <c:v>0</c:v>
                </c:pt>
                <c:pt idx="50985">
                  <c:v>0</c:v>
                </c:pt>
                <c:pt idx="50986">
                  <c:v>0</c:v>
                </c:pt>
                <c:pt idx="50987">
                  <c:v>0</c:v>
                </c:pt>
                <c:pt idx="50988">
                  <c:v>0</c:v>
                </c:pt>
                <c:pt idx="50989">
                  <c:v>0</c:v>
                </c:pt>
                <c:pt idx="50990">
                  <c:v>0</c:v>
                </c:pt>
                <c:pt idx="50991">
                  <c:v>0</c:v>
                </c:pt>
                <c:pt idx="50992">
                  <c:v>0</c:v>
                </c:pt>
                <c:pt idx="50993">
                  <c:v>0</c:v>
                </c:pt>
                <c:pt idx="50994">
                  <c:v>0</c:v>
                </c:pt>
                <c:pt idx="50995">
                  <c:v>0</c:v>
                </c:pt>
                <c:pt idx="50996">
                  <c:v>0</c:v>
                </c:pt>
                <c:pt idx="50997">
                  <c:v>0</c:v>
                </c:pt>
                <c:pt idx="50998">
                  <c:v>0</c:v>
                </c:pt>
                <c:pt idx="50999">
                  <c:v>0</c:v>
                </c:pt>
                <c:pt idx="51000">
                  <c:v>0</c:v>
                </c:pt>
                <c:pt idx="51001">
                  <c:v>0</c:v>
                </c:pt>
                <c:pt idx="51002">
                  <c:v>0</c:v>
                </c:pt>
                <c:pt idx="51003">
                  <c:v>0</c:v>
                </c:pt>
                <c:pt idx="51004">
                  <c:v>0</c:v>
                </c:pt>
                <c:pt idx="51005">
                  <c:v>0</c:v>
                </c:pt>
                <c:pt idx="51006">
                  <c:v>0</c:v>
                </c:pt>
                <c:pt idx="51007">
                  <c:v>0</c:v>
                </c:pt>
                <c:pt idx="51008">
                  <c:v>0</c:v>
                </c:pt>
                <c:pt idx="51009">
                  <c:v>0</c:v>
                </c:pt>
                <c:pt idx="51010">
                  <c:v>0</c:v>
                </c:pt>
                <c:pt idx="51011">
                  <c:v>0</c:v>
                </c:pt>
                <c:pt idx="51012">
                  <c:v>0</c:v>
                </c:pt>
                <c:pt idx="51013">
                  <c:v>0</c:v>
                </c:pt>
                <c:pt idx="51014">
                  <c:v>0</c:v>
                </c:pt>
                <c:pt idx="51015">
                  <c:v>0</c:v>
                </c:pt>
                <c:pt idx="51016">
                  <c:v>0</c:v>
                </c:pt>
                <c:pt idx="51017">
                  <c:v>0</c:v>
                </c:pt>
                <c:pt idx="51018">
                  <c:v>0</c:v>
                </c:pt>
                <c:pt idx="51019">
                  <c:v>0</c:v>
                </c:pt>
                <c:pt idx="51020">
                  <c:v>0</c:v>
                </c:pt>
                <c:pt idx="51021">
                  <c:v>0</c:v>
                </c:pt>
                <c:pt idx="51022">
                  <c:v>0</c:v>
                </c:pt>
                <c:pt idx="51023">
                  <c:v>0</c:v>
                </c:pt>
                <c:pt idx="51024">
                  <c:v>0</c:v>
                </c:pt>
                <c:pt idx="51025">
                  <c:v>0</c:v>
                </c:pt>
                <c:pt idx="51026">
                  <c:v>0</c:v>
                </c:pt>
                <c:pt idx="51027">
                  <c:v>0</c:v>
                </c:pt>
                <c:pt idx="51028">
                  <c:v>0</c:v>
                </c:pt>
                <c:pt idx="51029">
                  <c:v>0</c:v>
                </c:pt>
                <c:pt idx="51030">
                  <c:v>0</c:v>
                </c:pt>
                <c:pt idx="51031">
                  <c:v>0</c:v>
                </c:pt>
                <c:pt idx="51032">
                  <c:v>0</c:v>
                </c:pt>
                <c:pt idx="51033">
                  <c:v>0</c:v>
                </c:pt>
                <c:pt idx="51034">
                  <c:v>0</c:v>
                </c:pt>
                <c:pt idx="51035">
                  <c:v>0</c:v>
                </c:pt>
                <c:pt idx="51036">
                  <c:v>0</c:v>
                </c:pt>
                <c:pt idx="51037">
                  <c:v>0</c:v>
                </c:pt>
                <c:pt idx="51038">
                  <c:v>0</c:v>
                </c:pt>
                <c:pt idx="51039">
                  <c:v>0</c:v>
                </c:pt>
                <c:pt idx="51040">
                  <c:v>0</c:v>
                </c:pt>
                <c:pt idx="51041">
                  <c:v>0</c:v>
                </c:pt>
                <c:pt idx="51042">
                  <c:v>0</c:v>
                </c:pt>
                <c:pt idx="51043">
                  <c:v>0</c:v>
                </c:pt>
                <c:pt idx="51044">
                  <c:v>0</c:v>
                </c:pt>
                <c:pt idx="51045">
                  <c:v>0</c:v>
                </c:pt>
                <c:pt idx="51046">
                  <c:v>0</c:v>
                </c:pt>
                <c:pt idx="51047">
                  <c:v>0</c:v>
                </c:pt>
                <c:pt idx="51048">
                  <c:v>0</c:v>
                </c:pt>
                <c:pt idx="51049">
                  <c:v>0</c:v>
                </c:pt>
                <c:pt idx="51050">
                  <c:v>0</c:v>
                </c:pt>
                <c:pt idx="51051">
                  <c:v>0</c:v>
                </c:pt>
                <c:pt idx="51052">
                  <c:v>0</c:v>
                </c:pt>
                <c:pt idx="51053">
                  <c:v>0</c:v>
                </c:pt>
                <c:pt idx="51054">
                  <c:v>0</c:v>
                </c:pt>
                <c:pt idx="51055">
                  <c:v>0</c:v>
                </c:pt>
                <c:pt idx="51056">
                  <c:v>0</c:v>
                </c:pt>
                <c:pt idx="51057">
                  <c:v>0</c:v>
                </c:pt>
                <c:pt idx="51058">
                  <c:v>0</c:v>
                </c:pt>
                <c:pt idx="51059">
                  <c:v>0</c:v>
                </c:pt>
                <c:pt idx="51060">
                  <c:v>0</c:v>
                </c:pt>
                <c:pt idx="51061">
                  <c:v>0</c:v>
                </c:pt>
                <c:pt idx="51062">
                  <c:v>0</c:v>
                </c:pt>
                <c:pt idx="51063">
                  <c:v>0</c:v>
                </c:pt>
                <c:pt idx="51064">
                  <c:v>0</c:v>
                </c:pt>
                <c:pt idx="51065">
                  <c:v>0</c:v>
                </c:pt>
                <c:pt idx="51066">
                  <c:v>0</c:v>
                </c:pt>
                <c:pt idx="51067">
                  <c:v>0</c:v>
                </c:pt>
                <c:pt idx="51068">
                  <c:v>0</c:v>
                </c:pt>
                <c:pt idx="51069">
                  <c:v>0</c:v>
                </c:pt>
                <c:pt idx="51070">
                  <c:v>0</c:v>
                </c:pt>
                <c:pt idx="51071">
                  <c:v>0</c:v>
                </c:pt>
                <c:pt idx="51072">
                  <c:v>0</c:v>
                </c:pt>
                <c:pt idx="51073">
                  <c:v>0</c:v>
                </c:pt>
                <c:pt idx="51074">
                  <c:v>0</c:v>
                </c:pt>
                <c:pt idx="51075">
                  <c:v>0</c:v>
                </c:pt>
                <c:pt idx="51076">
                  <c:v>0</c:v>
                </c:pt>
                <c:pt idx="51077">
                  <c:v>0</c:v>
                </c:pt>
                <c:pt idx="51078">
                  <c:v>0</c:v>
                </c:pt>
                <c:pt idx="51079">
                  <c:v>0</c:v>
                </c:pt>
                <c:pt idx="51080">
                  <c:v>0</c:v>
                </c:pt>
                <c:pt idx="51081">
                  <c:v>0</c:v>
                </c:pt>
                <c:pt idx="51082">
                  <c:v>0</c:v>
                </c:pt>
                <c:pt idx="51083">
                  <c:v>0</c:v>
                </c:pt>
                <c:pt idx="51084">
                  <c:v>0</c:v>
                </c:pt>
                <c:pt idx="51085">
                  <c:v>0</c:v>
                </c:pt>
                <c:pt idx="51086">
                  <c:v>0</c:v>
                </c:pt>
                <c:pt idx="51087">
                  <c:v>0</c:v>
                </c:pt>
                <c:pt idx="51088">
                  <c:v>0</c:v>
                </c:pt>
                <c:pt idx="51089">
                  <c:v>0</c:v>
                </c:pt>
                <c:pt idx="51090">
                  <c:v>0</c:v>
                </c:pt>
                <c:pt idx="51091">
                  <c:v>0</c:v>
                </c:pt>
                <c:pt idx="51092">
                  <c:v>0</c:v>
                </c:pt>
                <c:pt idx="51093">
                  <c:v>0</c:v>
                </c:pt>
                <c:pt idx="51094">
                  <c:v>0</c:v>
                </c:pt>
                <c:pt idx="51095">
                  <c:v>0</c:v>
                </c:pt>
                <c:pt idx="51096">
                  <c:v>0</c:v>
                </c:pt>
                <c:pt idx="51097">
                  <c:v>0</c:v>
                </c:pt>
                <c:pt idx="51098">
                  <c:v>0</c:v>
                </c:pt>
                <c:pt idx="51099">
                  <c:v>0</c:v>
                </c:pt>
                <c:pt idx="51100">
                  <c:v>0</c:v>
                </c:pt>
                <c:pt idx="51101">
                  <c:v>0</c:v>
                </c:pt>
                <c:pt idx="51102">
                  <c:v>0</c:v>
                </c:pt>
                <c:pt idx="51103">
                  <c:v>0</c:v>
                </c:pt>
                <c:pt idx="51104">
                  <c:v>0</c:v>
                </c:pt>
                <c:pt idx="51105">
                  <c:v>0</c:v>
                </c:pt>
                <c:pt idx="51106">
                  <c:v>0</c:v>
                </c:pt>
                <c:pt idx="51107">
                  <c:v>0</c:v>
                </c:pt>
                <c:pt idx="51108">
                  <c:v>0</c:v>
                </c:pt>
                <c:pt idx="51109">
                  <c:v>0</c:v>
                </c:pt>
                <c:pt idx="51110">
                  <c:v>0</c:v>
                </c:pt>
                <c:pt idx="51111">
                  <c:v>0</c:v>
                </c:pt>
                <c:pt idx="51112">
                  <c:v>0</c:v>
                </c:pt>
                <c:pt idx="51113">
                  <c:v>0</c:v>
                </c:pt>
                <c:pt idx="51114">
                  <c:v>0</c:v>
                </c:pt>
                <c:pt idx="51115">
                  <c:v>0</c:v>
                </c:pt>
                <c:pt idx="51116">
                  <c:v>0</c:v>
                </c:pt>
                <c:pt idx="51117">
                  <c:v>0</c:v>
                </c:pt>
                <c:pt idx="51118">
                  <c:v>0</c:v>
                </c:pt>
                <c:pt idx="51119">
                  <c:v>0</c:v>
                </c:pt>
                <c:pt idx="51120">
                  <c:v>0</c:v>
                </c:pt>
                <c:pt idx="51121">
                  <c:v>0</c:v>
                </c:pt>
                <c:pt idx="51122">
                  <c:v>0</c:v>
                </c:pt>
                <c:pt idx="51123">
                  <c:v>0</c:v>
                </c:pt>
                <c:pt idx="51124">
                  <c:v>0</c:v>
                </c:pt>
                <c:pt idx="51125">
                  <c:v>0</c:v>
                </c:pt>
                <c:pt idx="51126">
                  <c:v>0</c:v>
                </c:pt>
                <c:pt idx="51127">
                  <c:v>0</c:v>
                </c:pt>
                <c:pt idx="51128">
                  <c:v>0</c:v>
                </c:pt>
                <c:pt idx="51129">
                  <c:v>0</c:v>
                </c:pt>
                <c:pt idx="51130">
                  <c:v>0</c:v>
                </c:pt>
                <c:pt idx="51131">
                  <c:v>0</c:v>
                </c:pt>
                <c:pt idx="51132">
                  <c:v>0</c:v>
                </c:pt>
                <c:pt idx="51133">
                  <c:v>0</c:v>
                </c:pt>
                <c:pt idx="51134">
                  <c:v>0</c:v>
                </c:pt>
                <c:pt idx="51135">
                  <c:v>0</c:v>
                </c:pt>
                <c:pt idx="51136">
                  <c:v>0</c:v>
                </c:pt>
                <c:pt idx="51137">
                  <c:v>0</c:v>
                </c:pt>
                <c:pt idx="51138">
                  <c:v>0</c:v>
                </c:pt>
                <c:pt idx="51139">
                  <c:v>0</c:v>
                </c:pt>
                <c:pt idx="51140">
                  <c:v>0</c:v>
                </c:pt>
                <c:pt idx="51141">
                  <c:v>0</c:v>
                </c:pt>
                <c:pt idx="51142">
                  <c:v>0</c:v>
                </c:pt>
                <c:pt idx="51143">
                  <c:v>0</c:v>
                </c:pt>
                <c:pt idx="51144">
                  <c:v>0</c:v>
                </c:pt>
                <c:pt idx="51145">
                  <c:v>0</c:v>
                </c:pt>
                <c:pt idx="51146">
                  <c:v>0</c:v>
                </c:pt>
                <c:pt idx="51147">
                  <c:v>0</c:v>
                </c:pt>
                <c:pt idx="51148">
                  <c:v>0</c:v>
                </c:pt>
                <c:pt idx="51149">
                  <c:v>0</c:v>
                </c:pt>
                <c:pt idx="51150">
                  <c:v>0</c:v>
                </c:pt>
                <c:pt idx="51151">
                  <c:v>0</c:v>
                </c:pt>
                <c:pt idx="51152">
                  <c:v>0</c:v>
                </c:pt>
                <c:pt idx="51153">
                  <c:v>0</c:v>
                </c:pt>
                <c:pt idx="51154">
                  <c:v>0</c:v>
                </c:pt>
                <c:pt idx="51155">
                  <c:v>0</c:v>
                </c:pt>
                <c:pt idx="51156">
                  <c:v>0</c:v>
                </c:pt>
                <c:pt idx="51157">
                  <c:v>0</c:v>
                </c:pt>
                <c:pt idx="51158">
                  <c:v>0</c:v>
                </c:pt>
                <c:pt idx="51159">
                  <c:v>0</c:v>
                </c:pt>
                <c:pt idx="51160">
                  <c:v>0</c:v>
                </c:pt>
                <c:pt idx="51161">
                  <c:v>0</c:v>
                </c:pt>
                <c:pt idx="51162">
                  <c:v>0</c:v>
                </c:pt>
                <c:pt idx="51163">
                  <c:v>0</c:v>
                </c:pt>
                <c:pt idx="51164">
                  <c:v>0</c:v>
                </c:pt>
                <c:pt idx="51165">
                  <c:v>0</c:v>
                </c:pt>
                <c:pt idx="51166">
                  <c:v>0</c:v>
                </c:pt>
                <c:pt idx="51167">
                  <c:v>0</c:v>
                </c:pt>
                <c:pt idx="51168">
                  <c:v>0</c:v>
                </c:pt>
                <c:pt idx="51169">
                  <c:v>0</c:v>
                </c:pt>
                <c:pt idx="51170">
                  <c:v>0</c:v>
                </c:pt>
                <c:pt idx="51171">
                  <c:v>0</c:v>
                </c:pt>
                <c:pt idx="51172">
                  <c:v>0</c:v>
                </c:pt>
                <c:pt idx="51173">
                  <c:v>0</c:v>
                </c:pt>
                <c:pt idx="51174">
                  <c:v>0</c:v>
                </c:pt>
                <c:pt idx="51175">
                  <c:v>0</c:v>
                </c:pt>
                <c:pt idx="51176">
                  <c:v>0</c:v>
                </c:pt>
                <c:pt idx="51177">
                  <c:v>0</c:v>
                </c:pt>
                <c:pt idx="51178">
                  <c:v>0</c:v>
                </c:pt>
                <c:pt idx="51179">
                  <c:v>0</c:v>
                </c:pt>
                <c:pt idx="51180">
                  <c:v>0</c:v>
                </c:pt>
                <c:pt idx="51181">
                  <c:v>0</c:v>
                </c:pt>
                <c:pt idx="51182">
                  <c:v>0</c:v>
                </c:pt>
                <c:pt idx="51183">
                  <c:v>0</c:v>
                </c:pt>
                <c:pt idx="51184">
                  <c:v>0</c:v>
                </c:pt>
                <c:pt idx="51185">
                  <c:v>0</c:v>
                </c:pt>
                <c:pt idx="51186">
                  <c:v>0</c:v>
                </c:pt>
                <c:pt idx="51187">
                  <c:v>0</c:v>
                </c:pt>
                <c:pt idx="51188">
                  <c:v>0</c:v>
                </c:pt>
                <c:pt idx="51189">
                  <c:v>0</c:v>
                </c:pt>
                <c:pt idx="51190">
                  <c:v>0</c:v>
                </c:pt>
                <c:pt idx="51191">
                  <c:v>0</c:v>
                </c:pt>
                <c:pt idx="51192">
                  <c:v>0</c:v>
                </c:pt>
                <c:pt idx="51193">
                  <c:v>0</c:v>
                </c:pt>
                <c:pt idx="51194">
                  <c:v>0</c:v>
                </c:pt>
                <c:pt idx="51195">
                  <c:v>0</c:v>
                </c:pt>
                <c:pt idx="51196">
                  <c:v>0</c:v>
                </c:pt>
                <c:pt idx="51197">
                  <c:v>0</c:v>
                </c:pt>
                <c:pt idx="51198">
                  <c:v>0</c:v>
                </c:pt>
                <c:pt idx="51199">
                  <c:v>0</c:v>
                </c:pt>
                <c:pt idx="51200">
                  <c:v>0</c:v>
                </c:pt>
                <c:pt idx="51201">
                  <c:v>0</c:v>
                </c:pt>
                <c:pt idx="51202">
                  <c:v>0</c:v>
                </c:pt>
                <c:pt idx="51203">
                  <c:v>0</c:v>
                </c:pt>
                <c:pt idx="51204">
                  <c:v>0</c:v>
                </c:pt>
                <c:pt idx="51205">
                  <c:v>0</c:v>
                </c:pt>
                <c:pt idx="51206">
                  <c:v>0</c:v>
                </c:pt>
                <c:pt idx="51207">
                  <c:v>0</c:v>
                </c:pt>
                <c:pt idx="51208">
                  <c:v>0</c:v>
                </c:pt>
                <c:pt idx="51209">
                  <c:v>0</c:v>
                </c:pt>
                <c:pt idx="51210">
                  <c:v>0</c:v>
                </c:pt>
                <c:pt idx="51211">
                  <c:v>0</c:v>
                </c:pt>
                <c:pt idx="51212">
                  <c:v>0</c:v>
                </c:pt>
                <c:pt idx="51213">
                  <c:v>0</c:v>
                </c:pt>
                <c:pt idx="51214">
                  <c:v>0</c:v>
                </c:pt>
                <c:pt idx="51215">
                  <c:v>0</c:v>
                </c:pt>
                <c:pt idx="51216">
                  <c:v>0</c:v>
                </c:pt>
                <c:pt idx="51217">
                  <c:v>0</c:v>
                </c:pt>
                <c:pt idx="51218">
                  <c:v>0</c:v>
                </c:pt>
                <c:pt idx="51219">
                  <c:v>0</c:v>
                </c:pt>
                <c:pt idx="51220">
                  <c:v>0</c:v>
                </c:pt>
                <c:pt idx="51221">
                  <c:v>0</c:v>
                </c:pt>
                <c:pt idx="51222">
                  <c:v>0</c:v>
                </c:pt>
                <c:pt idx="51223">
                  <c:v>0</c:v>
                </c:pt>
                <c:pt idx="51224">
                  <c:v>0</c:v>
                </c:pt>
                <c:pt idx="51225">
                  <c:v>0</c:v>
                </c:pt>
                <c:pt idx="51226">
                  <c:v>0</c:v>
                </c:pt>
                <c:pt idx="51227">
                  <c:v>0</c:v>
                </c:pt>
                <c:pt idx="51228">
                  <c:v>0</c:v>
                </c:pt>
                <c:pt idx="51229">
                  <c:v>0</c:v>
                </c:pt>
                <c:pt idx="51230">
                  <c:v>0</c:v>
                </c:pt>
                <c:pt idx="51231">
                  <c:v>0</c:v>
                </c:pt>
                <c:pt idx="51232">
                  <c:v>0</c:v>
                </c:pt>
                <c:pt idx="51233">
                  <c:v>0</c:v>
                </c:pt>
                <c:pt idx="51234">
                  <c:v>0</c:v>
                </c:pt>
                <c:pt idx="51235">
                  <c:v>0</c:v>
                </c:pt>
                <c:pt idx="51236">
                  <c:v>0</c:v>
                </c:pt>
                <c:pt idx="51237">
                  <c:v>0</c:v>
                </c:pt>
                <c:pt idx="51238">
                  <c:v>0</c:v>
                </c:pt>
                <c:pt idx="51239">
                  <c:v>0</c:v>
                </c:pt>
                <c:pt idx="51240">
                  <c:v>0</c:v>
                </c:pt>
                <c:pt idx="51241">
                  <c:v>0</c:v>
                </c:pt>
                <c:pt idx="51242">
                  <c:v>0</c:v>
                </c:pt>
                <c:pt idx="51243">
                  <c:v>0</c:v>
                </c:pt>
                <c:pt idx="51244">
                  <c:v>0</c:v>
                </c:pt>
                <c:pt idx="51245">
                  <c:v>0</c:v>
                </c:pt>
                <c:pt idx="51246">
                  <c:v>0</c:v>
                </c:pt>
                <c:pt idx="51247">
                  <c:v>0</c:v>
                </c:pt>
                <c:pt idx="51248">
                  <c:v>0</c:v>
                </c:pt>
                <c:pt idx="51249">
                  <c:v>0</c:v>
                </c:pt>
                <c:pt idx="51250">
                  <c:v>0</c:v>
                </c:pt>
                <c:pt idx="51251">
                  <c:v>0</c:v>
                </c:pt>
                <c:pt idx="51252">
                  <c:v>0</c:v>
                </c:pt>
                <c:pt idx="51253">
                  <c:v>0</c:v>
                </c:pt>
                <c:pt idx="51254">
                  <c:v>0</c:v>
                </c:pt>
                <c:pt idx="51255">
                  <c:v>0</c:v>
                </c:pt>
                <c:pt idx="51256">
                  <c:v>0</c:v>
                </c:pt>
                <c:pt idx="51257">
                  <c:v>0</c:v>
                </c:pt>
                <c:pt idx="51258">
                  <c:v>0</c:v>
                </c:pt>
                <c:pt idx="51259">
                  <c:v>0</c:v>
                </c:pt>
                <c:pt idx="51260">
                  <c:v>0</c:v>
                </c:pt>
                <c:pt idx="51261">
                  <c:v>0</c:v>
                </c:pt>
                <c:pt idx="51262">
                  <c:v>0</c:v>
                </c:pt>
                <c:pt idx="51263">
                  <c:v>0</c:v>
                </c:pt>
                <c:pt idx="51264">
                  <c:v>0</c:v>
                </c:pt>
                <c:pt idx="51265">
                  <c:v>0</c:v>
                </c:pt>
                <c:pt idx="51266">
                  <c:v>0</c:v>
                </c:pt>
                <c:pt idx="51267">
                  <c:v>0</c:v>
                </c:pt>
                <c:pt idx="51268">
                  <c:v>0</c:v>
                </c:pt>
                <c:pt idx="51269">
                  <c:v>0</c:v>
                </c:pt>
                <c:pt idx="51270">
                  <c:v>0</c:v>
                </c:pt>
                <c:pt idx="51271">
                  <c:v>0</c:v>
                </c:pt>
                <c:pt idx="51272">
                  <c:v>0</c:v>
                </c:pt>
                <c:pt idx="51273">
                  <c:v>0</c:v>
                </c:pt>
                <c:pt idx="51274">
                  <c:v>0</c:v>
                </c:pt>
                <c:pt idx="51275">
                  <c:v>0</c:v>
                </c:pt>
                <c:pt idx="51276">
                  <c:v>0</c:v>
                </c:pt>
                <c:pt idx="51277">
                  <c:v>0</c:v>
                </c:pt>
                <c:pt idx="51278">
                  <c:v>0</c:v>
                </c:pt>
                <c:pt idx="51279">
                  <c:v>0</c:v>
                </c:pt>
                <c:pt idx="51280">
                  <c:v>0</c:v>
                </c:pt>
                <c:pt idx="51281">
                  <c:v>0</c:v>
                </c:pt>
                <c:pt idx="51282">
                  <c:v>0</c:v>
                </c:pt>
                <c:pt idx="51283">
                  <c:v>0</c:v>
                </c:pt>
                <c:pt idx="51284">
                  <c:v>0</c:v>
                </c:pt>
                <c:pt idx="51285">
                  <c:v>0</c:v>
                </c:pt>
                <c:pt idx="51286">
                  <c:v>0</c:v>
                </c:pt>
                <c:pt idx="51287">
                  <c:v>0</c:v>
                </c:pt>
                <c:pt idx="51288">
                  <c:v>0</c:v>
                </c:pt>
                <c:pt idx="51289">
                  <c:v>0</c:v>
                </c:pt>
                <c:pt idx="51290">
                  <c:v>0</c:v>
                </c:pt>
                <c:pt idx="51291">
                  <c:v>0</c:v>
                </c:pt>
                <c:pt idx="51292">
                  <c:v>0</c:v>
                </c:pt>
                <c:pt idx="51293">
                  <c:v>0</c:v>
                </c:pt>
                <c:pt idx="51294">
                  <c:v>0</c:v>
                </c:pt>
                <c:pt idx="51295">
                  <c:v>0</c:v>
                </c:pt>
                <c:pt idx="51296">
                  <c:v>0</c:v>
                </c:pt>
                <c:pt idx="51297">
                  <c:v>0</c:v>
                </c:pt>
                <c:pt idx="51298">
                  <c:v>0</c:v>
                </c:pt>
                <c:pt idx="51299">
                  <c:v>0</c:v>
                </c:pt>
                <c:pt idx="51300">
                  <c:v>0</c:v>
                </c:pt>
                <c:pt idx="51301">
                  <c:v>0</c:v>
                </c:pt>
                <c:pt idx="51302">
                  <c:v>0</c:v>
                </c:pt>
                <c:pt idx="51303">
                  <c:v>0</c:v>
                </c:pt>
                <c:pt idx="51304">
                  <c:v>0</c:v>
                </c:pt>
                <c:pt idx="51305">
                  <c:v>0</c:v>
                </c:pt>
                <c:pt idx="51306">
                  <c:v>0</c:v>
                </c:pt>
                <c:pt idx="51307">
                  <c:v>0</c:v>
                </c:pt>
                <c:pt idx="51308">
                  <c:v>0</c:v>
                </c:pt>
                <c:pt idx="51309">
                  <c:v>0</c:v>
                </c:pt>
                <c:pt idx="51310">
                  <c:v>0</c:v>
                </c:pt>
                <c:pt idx="51311">
                  <c:v>0</c:v>
                </c:pt>
                <c:pt idx="51312">
                  <c:v>0</c:v>
                </c:pt>
                <c:pt idx="51313">
                  <c:v>0</c:v>
                </c:pt>
                <c:pt idx="51314">
                  <c:v>0</c:v>
                </c:pt>
                <c:pt idx="51315">
                  <c:v>0</c:v>
                </c:pt>
                <c:pt idx="51316">
                  <c:v>0</c:v>
                </c:pt>
                <c:pt idx="51317">
                  <c:v>0</c:v>
                </c:pt>
                <c:pt idx="51318">
                  <c:v>0</c:v>
                </c:pt>
                <c:pt idx="51319">
                  <c:v>0</c:v>
                </c:pt>
                <c:pt idx="51320">
                  <c:v>0</c:v>
                </c:pt>
                <c:pt idx="51321">
                  <c:v>0</c:v>
                </c:pt>
                <c:pt idx="51322">
                  <c:v>0</c:v>
                </c:pt>
                <c:pt idx="51323">
                  <c:v>0</c:v>
                </c:pt>
                <c:pt idx="51324">
                  <c:v>0</c:v>
                </c:pt>
                <c:pt idx="51325">
                  <c:v>0</c:v>
                </c:pt>
                <c:pt idx="51326">
                  <c:v>0</c:v>
                </c:pt>
                <c:pt idx="51327">
                  <c:v>0</c:v>
                </c:pt>
                <c:pt idx="51328">
                  <c:v>0</c:v>
                </c:pt>
                <c:pt idx="51329">
                  <c:v>0</c:v>
                </c:pt>
                <c:pt idx="51330">
                  <c:v>0</c:v>
                </c:pt>
                <c:pt idx="51331">
                  <c:v>0</c:v>
                </c:pt>
                <c:pt idx="51332">
                  <c:v>0</c:v>
                </c:pt>
                <c:pt idx="51333">
                  <c:v>0</c:v>
                </c:pt>
                <c:pt idx="51334">
                  <c:v>0</c:v>
                </c:pt>
                <c:pt idx="51335">
                  <c:v>0</c:v>
                </c:pt>
                <c:pt idx="51336">
                  <c:v>0</c:v>
                </c:pt>
                <c:pt idx="51337">
                  <c:v>0</c:v>
                </c:pt>
                <c:pt idx="51338">
                  <c:v>0</c:v>
                </c:pt>
                <c:pt idx="51339">
                  <c:v>0</c:v>
                </c:pt>
                <c:pt idx="51340">
                  <c:v>0</c:v>
                </c:pt>
                <c:pt idx="51341">
                  <c:v>0</c:v>
                </c:pt>
                <c:pt idx="51342">
                  <c:v>0</c:v>
                </c:pt>
                <c:pt idx="51343">
                  <c:v>0</c:v>
                </c:pt>
                <c:pt idx="51344">
                  <c:v>0</c:v>
                </c:pt>
                <c:pt idx="51345">
                  <c:v>0</c:v>
                </c:pt>
                <c:pt idx="51346">
                  <c:v>0</c:v>
                </c:pt>
                <c:pt idx="51347">
                  <c:v>0</c:v>
                </c:pt>
                <c:pt idx="51348">
                  <c:v>0</c:v>
                </c:pt>
                <c:pt idx="51349">
                  <c:v>0</c:v>
                </c:pt>
                <c:pt idx="51350">
                  <c:v>0</c:v>
                </c:pt>
                <c:pt idx="51351">
                  <c:v>0</c:v>
                </c:pt>
                <c:pt idx="51352">
                  <c:v>0</c:v>
                </c:pt>
                <c:pt idx="51353">
                  <c:v>0</c:v>
                </c:pt>
                <c:pt idx="51354">
                  <c:v>0</c:v>
                </c:pt>
                <c:pt idx="51355">
                  <c:v>0</c:v>
                </c:pt>
                <c:pt idx="51356">
                  <c:v>0</c:v>
                </c:pt>
                <c:pt idx="51357">
                  <c:v>0</c:v>
                </c:pt>
                <c:pt idx="51358">
                  <c:v>0</c:v>
                </c:pt>
                <c:pt idx="51359">
                  <c:v>0</c:v>
                </c:pt>
                <c:pt idx="51360">
                  <c:v>0</c:v>
                </c:pt>
                <c:pt idx="51361">
                  <c:v>0</c:v>
                </c:pt>
                <c:pt idx="51362">
                  <c:v>0</c:v>
                </c:pt>
                <c:pt idx="51363">
                  <c:v>0</c:v>
                </c:pt>
                <c:pt idx="51364">
                  <c:v>0</c:v>
                </c:pt>
                <c:pt idx="51365">
                  <c:v>0</c:v>
                </c:pt>
                <c:pt idx="51366">
                  <c:v>0</c:v>
                </c:pt>
                <c:pt idx="51367">
                  <c:v>0</c:v>
                </c:pt>
                <c:pt idx="51368">
                  <c:v>0</c:v>
                </c:pt>
                <c:pt idx="51369">
                  <c:v>0</c:v>
                </c:pt>
                <c:pt idx="51370">
                  <c:v>0</c:v>
                </c:pt>
                <c:pt idx="51371">
                  <c:v>0</c:v>
                </c:pt>
                <c:pt idx="51372">
                  <c:v>0</c:v>
                </c:pt>
                <c:pt idx="51373">
                  <c:v>0</c:v>
                </c:pt>
                <c:pt idx="51374">
                  <c:v>0</c:v>
                </c:pt>
                <c:pt idx="51375">
                  <c:v>0</c:v>
                </c:pt>
                <c:pt idx="51376">
                  <c:v>0</c:v>
                </c:pt>
                <c:pt idx="51377">
                  <c:v>0</c:v>
                </c:pt>
                <c:pt idx="51378">
                  <c:v>0</c:v>
                </c:pt>
                <c:pt idx="51379">
                  <c:v>0</c:v>
                </c:pt>
                <c:pt idx="51380">
                  <c:v>0</c:v>
                </c:pt>
                <c:pt idx="51381">
                  <c:v>0</c:v>
                </c:pt>
                <c:pt idx="51382">
                  <c:v>0</c:v>
                </c:pt>
                <c:pt idx="51383">
                  <c:v>0</c:v>
                </c:pt>
                <c:pt idx="51384">
                  <c:v>0</c:v>
                </c:pt>
                <c:pt idx="51385">
                  <c:v>0</c:v>
                </c:pt>
                <c:pt idx="51386">
                  <c:v>0</c:v>
                </c:pt>
                <c:pt idx="51387">
                  <c:v>0</c:v>
                </c:pt>
                <c:pt idx="51388">
                  <c:v>0</c:v>
                </c:pt>
                <c:pt idx="51389">
                  <c:v>0</c:v>
                </c:pt>
                <c:pt idx="51390">
                  <c:v>0</c:v>
                </c:pt>
                <c:pt idx="51391">
                  <c:v>0</c:v>
                </c:pt>
                <c:pt idx="51392">
                  <c:v>0</c:v>
                </c:pt>
                <c:pt idx="51393">
                  <c:v>0</c:v>
                </c:pt>
                <c:pt idx="51394">
                  <c:v>0</c:v>
                </c:pt>
                <c:pt idx="51395">
                  <c:v>0</c:v>
                </c:pt>
                <c:pt idx="51396">
                  <c:v>0</c:v>
                </c:pt>
                <c:pt idx="51397">
                  <c:v>0</c:v>
                </c:pt>
                <c:pt idx="51398">
                  <c:v>0</c:v>
                </c:pt>
                <c:pt idx="51399">
                  <c:v>0</c:v>
                </c:pt>
                <c:pt idx="51400">
                  <c:v>0</c:v>
                </c:pt>
                <c:pt idx="51401">
                  <c:v>0</c:v>
                </c:pt>
                <c:pt idx="51402">
                  <c:v>0</c:v>
                </c:pt>
                <c:pt idx="51403">
                  <c:v>0</c:v>
                </c:pt>
                <c:pt idx="51404">
                  <c:v>0</c:v>
                </c:pt>
                <c:pt idx="51405">
                  <c:v>0</c:v>
                </c:pt>
                <c:pt idx="51406">
                  <c:v>0</c:v>
                </c:pt>
                <c:pt idx="51407">
                  <c:v>0</c:v>
                </c:pt>
                <c:pt idx="51408">
                  <c:v>0</c:v>
                </c:pt>
                <c:pt idx="51409">
                  <c:v>0</c:v>
                </c:pt>
                <c:pt idx="51410">
                  <c:v>0</c:v>
                </c:pt>
                <c:pt idx="51411">
                  <c:v>0</c:v>
                </c:pt>
                <c:pt idx="51412">
                  <c:v>0</c:v>
                </c:pt>
                <c:pt idx="51413">
                  <c:v>0</c:v>
                </c:pt>
                <c:pt idx="51414">
                  <c:v>0</c:v>
                </c:pt>
                <c:pt idx="51415">
                  <c:v>0</c:v>
                </c:pt>
                <c:pt idx="51416">
                  <c:v>0</c:v>
                </c:pt>
                <c:pt idx="51417">
                  <c:v>0</c:v>
                </c:pt>
                <c:pt idx="51418">
                  <c:v>0</c:v>
                </c:pt>
                <c:pt idx="51419">
                  <c:v>0</c:v>
                </c:pt>
                <c:pt idx="51420">
                  <c:v>0</c:v>
                </c:pt>
                <c:pt idx="51421">
                  <c:v>0</c:v>
                </c:pt>
                <c:pt idx="51422">
                  <c:v>0</c:v>
                </c:pt>
                <c:pt idx="51423">
                  <c:v>0</c:v>
                </c:pt>
                <c:pt idx="51424">
                  <c:v>0</c:v>
                </c:pt>
                <c:pt idx="51425">
                  <c:v>0</c:v>
                </c:pt>
                <c:pt idx="51426">
                  <c:v>0</c:v>
                </c:pt>
                <c:pt idx="51427">
                  <c:v>0</c:v>
                </c:pt>
                <c:pt idx="51428">
                  <c:v>0</c:v>
                </c:pt>
                <c:pt idx="51429">
                  <c:v>0</c:v>
                </c:pt>
                <c:pt idx="51430">
                  <c:v>0</c:v>
                </c:pt>
                <c:pt idx="51431">
                  <c:v>0</c:v>
                </c:pt>
                <c:pt idx="51432">
                  <c:v>0</c:v>
                </c:pt>
                <c:pt idx="51433">
                  <c:v>0</c:v>
                </c:pt>
                <c:pt idx="51434">
                  <c:v>0</c:v>
                </c:pt>
                <c:pt idx="51435">
                  <c:v>0</c:v>
                </c:pt>
                <c:pt idx="51436">
                  <c:v>0</c:v>
                </c:pt>
                <c:pt idx="51437">
                  <c:v>0</c:v>
                </c:pt>
                <c:pt idx="51438">
                  <c:v>0</c:v>
                </c:pt>
                <c:pt idx="51439">
                  <c:v>0</c:v>
                </c:pt>
                <c:pt idx="51440">
                  <c:v>0</c:v>
                </c:pt>
                <c:pt idx="51441">
                  <c:v>0</c:v>
                </c:pt>
                <c:pt idx="51442">
                  <c:v>0</c:v>
                </c:pt>
                <c:pt idx="51443">
                  <c:v>0</c:v>
                </c:pt>
                <c:pt idx="51444">
                  <c:v>0</c:v>
                </c:pt>
                <c:pt idx="51445">
                  <c:v>0</c:v>
                </c:pt>
                <c:pt idx="51446">
                  <c:v>0</c:v>
                </c:pt>
                <c:pt idx="51447">
                  <c:v>0</c:v>
                </c:pt>
                <c:pt idx="51448">
                  <c:v>0</c:v>
                </c:pt>
                <c:pt idx="51449">
                  <c:v>0</c:v>
                </c:pt>
                <c:pt idx="51450">
                  <c:v>0</c:v>
                </c:pt>
                <c:pt idx="51451">
                  <c:v>0</c:v>
                </c:pt>
                <c:pt idx="51452">
                  <c:v>0</c:v>
                </c:pt>
                <c:pt idx="51453">
                  <c:v>0</c:v>
                </c:pt>
                <c:pt idx="51454">
                  <c:v>0</c:v>
                </c:pt>
                <c:pt idx="51455">
                  <c:v>0</c:v>
                </c:pt>
                <c:pt idx="51456">
                  <c:v>0</c:v>
                </c:pt>
                <c:pt idx="51457">
                  <c:v>0</c:v>
                </c:pt>
                <c:pt idx="51458">
                  <c:v>0</c:v>
                </c:pt>
                <c:pt idx="51459">
                  <c:v>0</c:v>
                </c:pt>
                <c:pt idx="51460">
                  <c:v>0</c:v>
                </c:pt>
                <c:pt idx="51461">
                  <c:v>0</c:v>
                </c:pt>
                <c:pt idx="51462">
                  <c:v>0</c:v>
                </c:pt>
                <c:pt idx="51463">
                  <c:v>0</c:v>
                </c:pt>
                <c:pt idx="51464">
                  <c:v>0</c:v>
                </c:pt>
                <c:pt idx="51465">
                  <c:v>0</c:v>
                </c:pt>
                <c:pt idx="51466">
                  <c:v>0</c:v>
                </c:pt>
                <c:pt idx="51467">
                  <c:v>0</c:v>
                </c:pt>
                <c:pt idx="51468">
                  <c:v>0</c:v>
                </c:pt>
                <c:pt idx="51469">
                  <c:v>0</c:v>
                </c:pt>
                <c:pt idx="51470">
                  <c:v>0</c:v>
                </c:pt>
                <c:pt idx="51471">
                  <c:v>0</c:v>
                </c:pt>
                <c:pt idx="51472">
                  <c:v>0</c:v>
                </c:pt>
                <c:pt idx="51473">
                  <c:v>0</c:v>
                </c:pt>
                <c:pt idx="51474">
                  <c:v>0</c:v>
                </c:pt>
                <c:pt idx="51475">
                  <c:v>0</c:v>
                </c:pt>
                <c:pt idx="51476">
                  <c:v>0</c:v>
                </c:pt>
                <c:pt idx="51477">
                  <c:v>0</c:v>
                </c:pt>
                <c:pt idx="51478">
                  <c:v>0</c:v>
                </c:pt>
                <c:pt idx="51479">
                  <c:v>0</c:v>
                </c:pt>
                <c:pt idx="51480">
                  <c:v>0</c:v>
                </c:pt>
                <c:pt idx="51481">
                  <c:v>0</c:v>
                </c:pt>
                <c:pt idx="51482">
                  <c:v>0</c:v>
                </c:pt>
                <c:pt idx="51483">
                  <c:v>0</c:v>
                </c:pt>
                <c:pt idx="51484">
                  <c:v>0</c:v>
                </c:pt>
                <c:pt idx="51485">
                  <c:v>0</c:v>
                </c:pt>
                <c:pt idx="51486">
                  <c:v>0</c:v>
                </c:pt>
                <c:pt idx="51487">
                  <c:v>0</c:v>
                </c:pt>
                <c:pt idx="51488">
                  <c:v>0</c:v>
                </c:pt>
                <c:pt idx="51489">
                  <c:v>0</c:v>
                </c:pt>
                <c:pt idx="51490">
                  <c:v>0</c:v>
                </c:pt>
                <c:pt idx="51491">
                  <c:v>0</c:v>
                </c:pt>
                <c:pt idx="51492">
                  <c:v>0</c:v>
                </c:pt>
                <c:pt idx="51493">
                  <c:v>0</c:v>
                </c:pt>
                <c:pt idx="51494">
                  <c:v>0</c:v>
                </c:pt>
                <c:pt idx="51495">
                  <c:v>0</c:v>
                </c:pt>
                <c:pt idx="51496">
                  <c:v>0</c:v>
                </c:pt>
                <c:pt idx="51497">
                  <c:v>0</c:v>
                </c:pt>
                <c:pt idx="51498">
                  <c:v>0</c:v>
                </c:pt>
                <c:pt idx="51499">
                  <c:v>0</c:v>
                </c:pt>
                <c:pt idx="51500">
                  <c:v>0</c:v>
                </c:pt>
                <c:pt idx="51501">
                  <c:v>0</c:v>
                </c:pt>
                <c:pt idx="51502">
                  <c:v>0</c:v>
                </c:pt>
                <c:pt idx="51503">
                  <c:v>0</c:v>
                </c:pt>
                <c:pt idx="51504">
                  <c:v>0</c:v>
                </c:pt>
                <c:pt idx="51505">
                  <c:v>0</c:v>
                </c:pt>
                <c:pt idx="51506">
                  <c:v>0</c:v>
                </c:pt>
                <c:pt idx="51507">
                  <c:v>0</c:v>
                </c:pt>
                <c:pt idx="51508">
                  <c:v>0</c:v>
                </c:pt>
                <c:pt idx="51509">
                  <c:v>0</c:v>
                </c:pt>
                <c:pt idx="51510">
                  <c:v>0</c:v>
                </c:pt>
                <c:pt idx="51511">
                  <c:v>0</c:v>
                </c:pt>
                <c:pt idx="51512">
                  <c:v>0</c:v>
                </c:pt>
                <c:pt idx="51513">
                  <c:v>0</c:v>
                </c:pt>
                <c:pt idx="51514">
                  <c:v>0</c:v>
                </c:pt>
                <c:pt idx="51515">
                  <c:v>0</c:v>
                </c:pt>
                <c:pt idx="51516">
                  <c:v>0</c:v>
                </c:pt>
                <c:pt idx="51517">
                  <c:v>0</c:v>
                </c:pt>
                <c:pt idx="51518">
                  <c:v>0</c:v>
                </c:pt>
                <c:pt idx="51519">
                  <c:v>0</c:v>
                </c:pt>
                <c:pt idx="51520">
                  <c:v>0</c:v>
                </c:pt>
                <c:pt idx="51521">
                  <c:v>0</c:v>
                </c:pt>
                <c:pt idx="51522">
                  <c:v>0</c:v>
                </c:pt>
                <c:pt idx="51523">
                  <c:v>0</c:v>
                </c:pt>
                <c:pt idx="51524">
                  <c:v>0</c:v>
                </c:pt>
                <c:pt idx="51525">
                  <c:v>0</c:v>
                </c:pt>
                <c:pt idx="51526">
                  <c:v>0</c:v>
                </c:pt>
                <c:pt idx="51527">
                  <c:v>0</c:v>
                </c:pt>
                <c:pt idx="51528">
                  <c:v>0</c:v>
                </c:pt>
                <c:pt idx="51529">
                  <c:v>0</c:v>
                </c:pt>
                <c:pt idx="51530">
                  <c:v>0</c:v>
                </c:pt>
                <c:pt idx="51531">
                  <c:v>0</c:v>
                </c:pt>
                <c:pt idx="51532">
                  <c:v>0</c:v>
                </c:pt>
                <c:pt idx="51533">
                  <c:v>0</c:v>
                </c:pt>
                <c:pt idx="51534">
                  <c:v>0</c:v>
                </c:pt>
                <c:pt idx="51535">
                  <c:v>0</c:v>
                </c:pt>
                <c:pt idx="51536">
                  <c:v>0</c:v>
                </c:pt>
                <c:pt idx="51537">
                  <c:v>0</c:v>
                </c:pt>
                <c:pt idx="51538">
                  <c:v>0</c:v>
                </c:pt>
                <c:pt idx="51539">
                  <c:v>0</c:v>
                </c:pt>
                <c:pt idx="51540">
                  <c:v>0</c:v>
                </c:pt>
                <c:pt idx="51541">
                  <c:v>0</c:v>
                </c:pt>
                <c:pt idx="51542">
                  <c:v>0</c:v>
                </c:pt>
                <c:pt idx="51543">
                  <c:v>0</c:v>
                </c:pt>
                <c:pt idx="51544">
                  <c:v>0</c:v>
                </c:pt>
                <c:pt idx="51545">
                  <c:v>0</c:v>
                </c:pt>
                <c:pt idx="51546">
                  <c:v>0</c:v>
                </c:pt>
                <c:pt idx="51547">
                  <c:v>0</c:v>
                </c:pt>
                <c:pt idx="51548">
                  <c:v>0</c:v>
                </c:pt>
                <c:pt idx="51549">
                  <c:v>0</c:v>
                </c:pt>
                <c:pt idx="51550">
                  <c:v>0</c:v>
                </c:pt>
                <c:pt idx="51551">
                  <c:v>0</c:v>
                </c:pt>
                <c:pt idx="51552">
                  <c:v>0</c:v>
                </c:pt>
                <c:pt idx="51553">
                  <c:v>0</c:v>
                </c:pt>
                <c:pt idx="51554">
                  <c:v>0</c:v>
                </c:pt>
                <c:pt idx="51555">
                  <c:v>0</c:v>
                </c:pt>
                <c:pt idx="51556">
                  <c:v>0</c:v>
                </c:pt>
                <c:pt idx="51557">
                  <c:v>0</c:v>
                </c:pt>
                <c:pt idx="51558">
                  <c:v>0</c:v>
                </c:pt>
                <c:pt idx="51559">
                  <c:v>0</c:v>
                </c:pt>
                <c:pt idx="51560">
                  <c:v>0</c:v>
                </c:pt>
                <c:pt idx="51561">
                  <c:v>0</c:v>
                </c:pt>
                <c:pt idx="51562">
                  <c:v>0</c:v>
                </c:pt>
                <c:pt idx="51563">
                  <c:v>0</c:v>
                </c:pt>
                <c:pt idx="51564">
                  <c:v>0</c:v>
                </c:pt>
                <c:pt idx="51565">
                  <c:v>0</c:v>
                </c:pt>
                <c:pt idx="51566">
                  <c:v>0</c:v>
                </c:pt>
                <c:pt idx="51567">
                  <c:v>0</c:v>
                </c:pt>
                <c:pt idx="51568">
                  <c:v>0</c:v>
                </c:pt>
                <c:pt idx="51569">
                  <c:v>0</c:v>
                </c:pt>
                <c:pt idx="51570">
                  <c:v>0</c:v>
                </c:pt>
                <c:pt idx="51571">
                  <c:v>0</c:v>
                </c:pt>
                <c:pt idx="51572">
                  <c:v>0</c:v>
                </c:pt>
                <c:pt idx="51573">
                  <c:v>0</c:v>
                </c:pt>
                <c:pt idx="51574">
                  <c:v>0</c:v>
                </c:pt>
                <c:pt idx="51575">
                  <c:v>0</c:v>
                </c:pt>
                <c:pt idx="51576">
                  <c:v>0</c:v>
                </c:pt>
                <c:pt idx="51577">
                  <c:v>0</c:v>
                </c:pt>
                <c:pt idx="51578">
                  <c:v>0</c:v>
                </c:pt>
                <c:pt idx="51579">
                  <c:v>0</c:v>
                </c:pt>
                <c:pt idx="51580">
                  <c:v>0</c:v>
                </c:pt>
                <c:pt idx="51581">
                  <c:v>0</c:v>
                </c:pt>
                <c:pt idx="51582">
                  <c:v>0</c:v>
                </c:pt>
                <c:pt idx="51583">
                  <c:v>0</c:v>
                </c:pt>
                <c:pt idx="51584">
                  <c:v>0</c:v>
                </c:pt>
                <c:pt idx="51585">
                  <c:v>0</c:v>
                </c:pt>
                <c:pt idx="51586">
                  <c:v>0</c:v>
                </c:pt>
                <c:pt idx="51587">
                  <c:v>0</c:v>
                </c:pt>
                <c:pt idx="51588">
                  <c:v>0</c:v>
                </c:pt>
                <c:pt idx="51589">
                  <c:v>0</c:v>
                </c:pt>
                <c:pt idx="51590">
                  <c:v>0</c:v>
                </c:pt>
                <c:pt idx="51591">
                  <c:v>0</c:v>
                </c:pt>
                <c:pt idx="51592">
                  <c:v>0</c:v>
                </c:pt>
                <c:pt idx="51593">
                  <c:v>0</c:v>
                </c:pt>
                <c:pt idx="51594">
                  <c:v>0</c:v>
                </c:pt>
                <c:pt idx="51595">
                  <c:v>0</c:v>
                </c:pt>
                <c:pt idx="51596">
                  <c:v>0</c:v>
                </c:pt>
                <c:pt idx="51597">
                  <c:v>0</c:v>
                </c:pt>
                <c:pt idx="51598">
                  <c:v>0</c:v>
                </c:pt>
                <c:pt idx="51599">
                  <c:v>0</c:v>
                </c:pt>
                <c:pt idx="51600">
                  <c:v>0</c:v>
                </c:pt>
                <c:pt idx="51601">
                  <c:v>0</c:v>
                </c:pt>
                <c:pt idx="51602">
                  <c:v>0</c:v>
                </c:pt>
                <c:pt idx="51603">
                  <c:v>0</c:v>
                </c:pt>
                <c:pt idx="51604">
                  <c:v>0</c:v>
                </c:pt>
                <c:pt idx="51605">
                  <c:v>0</c:v>
                </c:pt>
                <c:pt idx="51606">
                  <c:v>0</c:v>
                </c:pt>
                <c:pt idx="51607">
                  <c:v>0</c:v>
                </c:pt>
                <c:pt idx="51608">
                  <c:v>0</c:v>
                </c:pt>
                <c:pt idx="51609">
                  <c:v>0</c:v>
                </c:pt>
                <c:pt idx="51610">
                  <c:v>0</c:v>
                </c:pt>
                <c:pt idx="51611">
                  <c:v>0</c:v>
                </c:pt>
                <c:pt idx="51612">
                  <c:v>0</c:v>
                </c:pt>
                <c:pt idx="51613">
                  <c:v>0</c:v>
                </c:pt>
                <c:pt idx="51614">
                  <c:v>0</c:v>
                </c:pt>
                <c:pt idx="51615">
                  <c:v>0</c:v>
                </c:pt>
                <c:pt idx="51616">
                  <c:v>0</c:v>
                </c:pt>
                <c:pt idx="51617">
                  <c:v>0</c:v>
                </c:pt>
                <c:pt idx="51618">
                  <c:v>0</c:v>
                </c:pt>
                <c:pt idx="51619">
                  <c:v>0</c:v>
                </c:pt>
                <c:pt idx="51620">
                  <c:v>0</c:v>
                </c:pt>
                <c:pt idx="51621">
                  <c:v>0</c:v>
                </c:pt>
                <c:pt idx="51622">
                  <c:v>0</c:v>
                </c:pt>
                <c:pt idx="51623">
                  <c:v>0</c:v>
                </c:pt>
                <c:pt idx="51624">
                  <c:v>0</c:v>
                </c:pt>
                <c:pt idx="51625">
                  <c:v>0</c:v>
                </c:pt>
                <c:pt idx="51626">
                  <c:v>0</c:v>
                </c:pt>
                <c:pt idx="51627">
                  <c:v>0</c:v>
                </c:pt>
                <c:pt idx="51628">
                  <c:v>0</c:v>
                </c:pt>
                <c:pt idx="51629">
                  <c:v>0</c:v>
                </c:pt>
                <c:pt idx="51630">
                  <c:v>0</c:v>
                </c:pt>
                <c:pt idx="51631">
                  <c:v>0</c:v>
                </c:pt>
                <c:pt idx="51632">
                  <c:v>0</c:v>
                </c:pt>
                <c:pt idx="51633">
                  <c:v>0</c:v>
                </c:pt>
                <c:pt idx="51634">
                  <c:v>0</c:v>
                </c:pt>
                <c:pt idx="51635">
                  <c:v>0</c:v>
                </c:pt>
                <c:pt idx="51636">
                  <c:v>0</c:v>
                </c:pt>
                <c:pt idx="51637">
                  <c:v>0</c:v>
                </c:pt>
                <c:pt idx="51638">
                  <c:v>0</c:v>
                </c:pt>
                <c:pt idx="51639">
                  <c:v>0</c:v>
                </c:pt>
                <c:pt idx="51640">
                  <c:v>0</c:v>
                </c:pt>
                <c:pt idx="51641">
                  <c:v>0</c:v>
                </c:pt>
                <c:pt idx="51642">
                  <c:v>0</c:v>
                </c:pt>
                <c:pt idx="51643">
                  <c:v>0</c:v>
                </c:pt>
                <c:pt idx="51644">
                  <c:v>0</c:v>
                </c:pt>
                <c:pt idx="51645">
                  <c:v>0</c:v>
                </c:pt>
                <c:pt idx="51646">
                  <c:v>0</c:v>
                </c:pt>
                <c:pt idx="51647">
                  <c:v>0</c:v>
                </c:pt>
                <c:pt idx="51648">
                  <c:v>0</c:v>
                </c:pt>
                <c:pt idx="51649">
                  <c:v>0</c:v>
                </c:pt>
                <c:pt idx="51650">
                  <c:v>0</c:v>
                </c:pt>
                <c:pt idx="51651">
                  <c:v>0</c:v>
                </c:pt>
                <c:pt idx="51652">
                  <c:v>0</c:v>
                </c:pt>
                <c:pt idx="51653">
                  <c:v>0</c:v>
                </c:pt>
                <c:pt idx="51654">
                  <c:v>0</c:v>
                </c:pt>
                <c:pt idx="51655">
                  <c:v>0</c:v>
                </c:pt>
                <c:pt idx="51656">
                  <c:v>0</c:v>
                </c:pt>
                <c:pt idx="51657">
                  <c:v>0</c:v>
                </c:pt>
                <c:pt idx="51658">
                  <c:v>0</c:v>
                </c:pt>
                <c:pt idx="51659">
                  <c:v>0</c:v>
                </c:pt>
                <c:pt idx="51660">
                  <c:v>0</c:v>
                </c:pt>
                <c:pt idx="51661">
                  <c:v>0</c:v>
                </c:pt>
                <c:pt idx="51662">
                  <c:v>0</c:v>
                </c:pt>
                <c:pt idx="51663">
                  <c:v>0</c:v>
                </c:pt>
                <c:pt idx="51664">
                  <c:v>0</c:v>
                </c:pt>
                <c:pt idx="51665">
                  <c:v>0</c:v>
                </c:pt>
                <c:pt idx="51666">
                  <c:v>0</c:v>
                </c:pt>
                <c:pt idx="51667">
                  <c:v>0</c:v>
                </c:pt>
                <c:pt idx="51668">
                  <c:v>0</c:v>
                </c:pt>
                <c:pt idx="51669">
                  <c:v>0</c:v>
                </c:pt>
                <c:pt idx="51670">
                  <c:v>0</c:v>
                </c:pt>
                <c:pt idx="51671">
                  <c:v>0</c:v>
                </c:pt>
                <c:pt idx="51672">
                  <c:v>0</c:v>
                </c:pt>
                <c:pt idx="51673">
                  <c:v>0</c:v>
                </c:pt>
                <c:pt idx="51674">
                  <c:v>0</c:v>
                </c:pt>
                <c:pt idx="51675">
                  <c:v>0</c:v>
                </c:pt>
                <c:pt idx="51676">
                  <c:v>0</c:v>
                </c:pt>
                <c:pt idx="51677">
                  <c:v>0</c:v>
                </c:pt>
                <c:pt idx="51678">
                  <c:v>0</c:v>
                </c:pt>
                <c:pt idx="51679">
                  <c:v>0</c:v>
                </c:pt>
                <c:pt idx="51680">
                  <c:v>0</c:v>
                </c:pt>
                <c:pt idx="51681">
                  <c:v>0</c:v>
                </c:pt>
                <c:pt idx="51682">
                  <c:v>0</c:v>
                </c:pt>
                <c:pt idx="51683">
                  <c:v>0</c:v>
                </c:pt>
                <c:pt idx="51684">
                  <c:v>0</c:v>
                </c:pt>
                <c:pt idx="51685">
                  <c:v>0</c:v>
                </c:pt>
                <c:pt idx="51686">
                  <c:v>0</c:v>
                </c:pt>
                <c:pt idx="51687">
                  <c:v>0</c:v>
                </c:pt>
                <c:pt idx="51688">
                  <c:v>0</c:v>
                </c:pt>
                <c:pt idx="51689">
                  <c:v>0</c:v>
                </c:pt>
                <c:pt idx="51690">
                  <c:v>0</c:v>
                </c:pt>
                <c:pt idx="51691">
                  <c:v>0</c:v>
                </c:pt>
                <c:pt idx="51692">
                  <c:v>0</c:v>
                </c:pt>
                <c:pt idx="51693">
                  <c:v>0</c:v>
                </c:pt>
                <c:pt idx="51694">
                  <c:v>0</c:v>
                </c:pt>
                <c:pt idx="51695">
                  <c:v>0</c:v>
                </c:pt>
                <c:pt idx="51696">
                  <c:v>0</c:v>
                </c:pt>
                <c:pt idx="51697">
                  <c:v>0</c:v>
                </c:pt>
                <c:pt idx="51698">
                  <c:v>0</c:v>
                </c:pt>
                <c:pt idx="51699">
                  <c:v>0</c:v>
                </c:pt>
                <c:pt idx="51700">
                  <c:v>0</c:v>
                </c:pt>
                <c:pt idx="51701">
                  <c:v>0</c:v>
                </c:pt>
                <c:pt idx="51702">
                  <c:v>0</c:v>
                </c:pt>
                <c:pt idx="51703">
                  <c:v>0</c:v>
                </c:pt>
                <c:pt idx="51704">
                  <c:v>0</c:v>
                </c:pt>
                <c:pt idx="51705">
                  <c:v>0</c:v>
                </c:pt>
                <c:pt idx="51706">
                  <c:v>0</c:v>
                </c:pt>
                <c:pt idx="51707">
                  <c:v>0</c:v>
                </c:pt>
                <c:pt idx="51708">
                  <c:v>0</c:v>
                </c:pt>
                <c:pt idx="51709">
                  <c:v>0</c:v>
                </c:pt>
                <c:pt idx="51710">
                  <c:v>0</c:v>
                </c:pt>
                <c:pt idx="51711">
                  <c:v>0</c:v>
                </c:pt>
                <c:pt idx="51712">
                  <c:v>0</c:v>
                </c:pt>
                <c:pt idx="51713">
                  <c:v>0</c:v>
                </c:pt>
                <c:pt idx="51714">
                  <c:v>0</c:v>
                </c:pt>
                <c:pt idx="51715">
                  <c:v>0</c:v>
                </c:pt>
                <c:pt idx="51716">
                  <c:v>0</c:v>
                </c:pt>
                <c:pt idx="51717">
                  <c:v>0</c:v>
                </c:pt>
                <c:pt idx="51718">
                  <c:v>0</c:v>
                </c:pt>
                <c:pt idx="51719">
                  <c:v>0</c:v>
                </c:pt>
                <c:pt idx="51720">
                  <c:v>0</c:v>
                </c:pt>
                <c:pt idx="51721">
                  <c:v>0</c:v>
                </c:pt>
                <c:pt idx="51722">
                  <c:v>0</c:v>
                </c:pt>
                <c:pt idx="51723">
                  <c:v>0</c:v>
                </c:pt>
                <c:pt idx="51724">
                  <c:v>0</c:v>
                </c:pt>
                <c:pt idx="51725">
                  <c:v>0</c:v>
                </c:pt>
                <c:pt idx="51726">
                  <c:v>0</c:v>
                </c:pt>
                <c:pt idx="51727">
                  <c:v>0</c:v>
                </c:pt>
                <c:pt idx="51728">
                  <c:v>0</c:v>
                </c:pt>
                <c:pt idx="51729">
                  <c:v>0</c:v>
                </c:pt>
                <c:pt idx="51730">
                  <c:v>0</c:v>
                </c:pt>
                <c:pt idx="51731">
                  <c:v>0</c:v>
                </c:pt>
                <c:pt idx="51732">
                  <c:v>0</c:v>
                </c:pt>
                <c:pt idx="51733">
                  <c:v>0</c:v>
                </c:pt>
                <c:pt idx="51734">
                  <c:v>0</c:v>
                </c:pt>
                <c:pt idx="51735">
                  <c:v>0</c:v>
                </c:pt>
                <c:pt idx="51736">
                  <c:v>0</c:v>
                </c:pt>
                <c:pt idx="51737">
                  <c:v>0</c:v>
                </c:pt>
                <c:pt idx="51738">
                  <c:v>0</c:v>
                </c:pt>
                <c:pt idx="51739">
                  <c:v>0</c:v>
                </c:pt>
                <c:pt idx="51740">
                  <c:v>0</c:v>
                </c:pt>
                <c:pt idx="51741">
                  <c:v>0</c:v>
                </c:pt>
                <c:pt idx="51742">
                  <c:v>0</c:v>
                </c:pt>
                <c:pt idx="51743">
                  <c:v>0</c:v>
                </c:pt>
                <c:pt idx="51744">
                  <c:v>0</c:v>
                </c:pt>
                <c:pt idx="51745">
                  <c:v>0</c:v>
                </c:pt>
                <c:pt idx="51746">
                  <c:v>0</c:v>
                </c:pt>
                <c:pt idx="51747">
                  <c:v>0</c:v>
                </c:pt>
                <c:pt idx="51748">
                  <c:v>0</c:v>
                </c:pt>
                <c:pt idx="51749">
                  <c:v>0</c:v>
                </c:pt>
                <c:pt idx="51750">
                  <c:v>0</c:v>
                </c:pt>
                <c:pt idx="51751">
                  <c:v>0</c:v>
                </c:pt>
                <c:pt idx="51752">
                  <c:v>0</c:v>
                </c:pt>
                <c:pt idx="51753">
                  <c:v>0</c:v>
                </c:pt>
                <c:pt idx="51754">
                  <c:v>0</c:v>
                </c:pt>
                <c:pt idx="51755">
                  <c:v>0</c:v>
                </c:pt>
                <c:pt idx="51756">
                  <c:v>0</c:v>
                </c:pt>
                <c:pt idx="51757">
                  <c:v>0</c:v>
                </c:pt>
                <c:pt idx="51758">
                  <c:v>0</c:v>
                </c:pt>
                <c:pt idx="51759">
                  <c:v>0</c:v>
                </c:pt>
                <c:pt idx="51760">
                  <c:v>0</c:v>
                </c:pt>
                <c:pt idx="51761">
                  <c:v>0</c:v>
                </c:pt>
                <c:pt idx="51762">
                  <c:v>0</c:v>
                </c:pt>
                <c:pt idx="51763">
                  <c:v>0</c:v>
                </c:pt>
                <c:pt idx="51764">
                  <c:v>0</c:v>
                </c:pt>
                <c:pt idx="51765">
                  <c:v>0</c:v>
                </c:pt>
                <c:pt idx="51766">
                  <c:v>0</c:v>
                </c:pt>
                <c:pt idx="51767">
                  <c:v>0</c:v>
                </c:pt>
                <c:pt idx="51768">
                  <c:v>0</c:v>
                </c:pt>
                <c:pt idx="51769">
                  <c:v>0</c:v>
                </c:pt>
                <c:pt idx="51770">
                  <c:v>0</c:v>
                </c:pt>
                <c:pt idx="51771">
                  <c:v>0</c:v>
                </c:pt>
                <c:pt idx="51772">
                  <c:v>0</c:v>
                </c:pt>
                <c:pt idx="51773">
                  <c:v>0</c:v>
                </c:pt>
                <c:pt idx="51774">
                  <c:v>0</c:v>
                </c:pt>
                <c:pt idx="51775">
                  <c:v>0</c:v>
                </c:pt>
                <c:pt idx="51776">
                  <c:v>0</c:v>
                </c:pt>
                <c:pt idx="51777">
                  <c:v>0</c:v>
                </c:pt>
                <c:pt idx="51778">
                  <c:v>0</c:v>
                </c:pt>
                <c:pt idx="51779">
                  <c:v>0</c:v>
                </c:pt>
                <c:pt idx="51780">
                  <c:v>0</c:v>
                </c:pt>
                <c:pt idx="51781">
                  <c:v>0</c:v>
                </c:pt>
                <c:pt idx="51782">
                  <c:v>0</c:v>
                </c:pt>
                <c:pt idx="51783">
                  <c:v>0</c:v>
                </c:pt>
                <c:pt idx="51784">
                  <c:v>0</c:v>
                </c:pt>
                <c:pt idx="51785">
                  <c:v>0</c:v>
                </c:pt>
                <c:pt idx="51786">
                  <c:v>0</c:v>
                </c:pt>
                <c:pt idx="51787">
                  <c:v>0</c:v>
                </c:pt>
                <c:pt idx="51788">
                  <c:v>0</c:v>
                </c:pt>
                <c:pt idx="51789">
                  <c:v>0</c:v>
                </c:pt>
                <c:pt idx="51790">
                  <c:v>0</c:v>
                </c:pt>
                <c:pt idx="51791">
                  <c:v>0</c:v>
                </c:pt>
                <c:pt idx="51792">
                  <c:v>0</c:v>
                </c:pt>
                <c:pt idx="51793">
                  <c:v>0</c:v>
                </c:pt>
                <c:pt idx="51794">
                  <c:v>0</c:v>
                </c:pt>
                <c:pt idx="51795">
                  <c:v>0</c:v>
                </c:pt>
                <c:pt idx="51796">
                  <c:v>0</c:v>
                </c:pt>
                <c:pt idx="51797">
                  <c:v>0</c:v>
                </c:pt>
                <c:pt idx="51798">
                  <c:v>0</c:v>
                </c:pt>
                <c:pt idx="51799">
                  <c:v>0</c:v>
                </c:pt>
                <c:pt idx="51800">
                  <c:v>0</c:v>
                </c:pt>
                <c:pt idx="51801">
                  <c:v>0</c:v>
                </c:pt>
                <c:pt idx="51802">
                  <c:v>0</c:v>
                </c:pt>
                <c:pt idx="51803">
                  <c:v>0</c:v>
                </c:pt>
                <c:pt idx="51804">
                  <c:v>0</c:v>
                </c:pt>
                <c:pt idx="51805">
                  <c:v>0</c:v>
                </c:pt>
                <c:pt idx="51806">
                  <c:v>0</c:v>
                </c:pt>
                <c:pt idx="51807">
                  <c:v>0</c:v>
                </c:pt>
                <c:pt idx="51808">
                  <c:v>0</c:v>
                </c:pt>
                <c:pt idx="51809">
                  <c:v>0</c:v>
                </c:pt>
                <c:pt idx="51810">
                  <c:v>0</c:v>
                </c:pt>
                <c:pt idx="51811">
                  <c:v>0</c:v>
                </c:pt>
                <c:pt idx="51812">
                  <c:v>0</c:v>
                </c:pt>
                <c:pt idx="51813">
                  <c:v>0</c:v>
                </c:pt>
                <c:pt idx="51814">
                  <c:v>0</c:v>
                </c:pt>
                <c:pt idx="51815">
                  <c:v>0</c:v>
                </c:pt>
                <c:pt idx="51816">
                  <c:v>0</c:v>
                </c:pt>
                <c:pt idx="51817">
                  <c:v>0</c:v>
                </c:pt>
                <c:pt idx="51818">
                  <c:v>0</c:v>
                </c:pt>
                <c:pt idx="51819">
                  <c:v>0</c:v>
                </c:pt>
                <c:pt idx="51820">
                  <c:v>0</c:v>
                </c:pt>
                <c:pt idx="51821">
                  <c:v>0</c:v>
                </c:pt>
                <c:pt idx="51822">
                  <c:v>0</c:v>
                </c:pt>
                <c:pt idx="51823">
                  <c:v>0</c:v>
                </c:pt>
                <c:pt idx="51824">
                  <c:v>0</c:v>
                </c:pt>
                <c:pt idx="51825">
                  <c:v>0</c:v>
                </c:pt>
                <c:pt idx="51826">
                  <c:v>0</c:v>
                </c:pt>
                <c:pt idx="51827">
                  <c:v>0</c:v>
                </c:pt>
                <c:pt idx="51828">
                  <c:v>0</c:v>
                </c:pt>
                <c:pt idx="51829">
                  <c:v>0</c:v>
                </c:pt>
                <c:pt idx="51830">
                  <c:v>0</c:v>
                </c:pt>
                <c:pt idx="51831">
                  <c:v>0</c:v>
                </c:pt>
                <c:pt idx="51832">
                  <c:v>0</c:v>
                </c:pt>
                <c:pt idx="51833">
                  <c:v>0</c:v>
                </c:pt>
                <c:pt idx="51834">
                  <c:v>0</c:v>
                </c:pt>
                <c:pt idx="51835">
                  <c:v>0</c:v>
                </c:pt>
                <c:pt idx="51836">
                  <c:v>0</c:v>
                </c:pt>
                <c:pt idx="51837">
                  <c:v>0</c:v>
                </c:pt>
                <c:pt idx="51838">
                  <c:v>0</c:v>
                </c:pt>
                <c:pt idx="51839">
                  <c:v>0</c:v>
                </c:pt>
                <c:pt idx="51840">
                  <c:v>0</c:v>
                </c:pt>
                <c:pt idx="51841">
                  <c:v>0</c:v>
                </c:pt>
                <c:pt idx="51842">
                  <c:v>0</c:v>
                </c:pt>
                <c:pt idx="51843">
                  <c:v>0</c:v>
                </c:pt>
                <c:pt idx="51844">
                  <c:v>0</c:v>
                </c:pt>
                <c:pt idx="51845">
                  <c:v>0</c:v>
                </c:pt>
                <c:pt idx="51846">
                  <c:v>0</c:v>
                </c:pt>
                <c:pt idx="51847">
                  <c:v>0</c:v>
                </c:pt>
                <c:pt idx="51848">
                  <c:v>0</c:v>
                </c:pt>
                <c:pt idx="51849">
                  <c:v>0</c:v>
                </c:pt>
                <c:pt idx="51850">
                  <c:v>0</c:v>
                </c:pt>
                <c:pt idx="51851">
                  <c:v>0</c:v>
                </c:pt>
                <c:pt idx="51852">
                  <c:v>0</c:v>
                </c:pt>
                <c:pt idx="51853">
                  <c:v>0</c:v>
                </c:pt>
                <c:pt idx="51854">
                  <c:v>0</c:v>
                </c:pt>
                <c:pt idx="51855">
                  <c:v>0</c:v>
                </c:pt>
                <c:pt idx="51856">
                  <c:v>0</c:v>
                </c:pt>
                <c:pt idx="51857">
                  <c:v>0</c:v>
                </c:pt>
                <c:pt idx="51858">
                  <c:v>0</c:v>
                </c:pt>
                <c:pt idx="51859">
                  <c:v>0</c:v>
                </c:pt>
                <c:pt idx="51860">
                  <c:v>0</c:v>
                </c:pt>
                <c:pt idx="51861">
                  <c:v>0</c:v>
                </c:pt>
                <c:pt idx="51862">
                  <c:v>0</c:v>
                </c:pt>
                <c:pt idx="51863">
                  <c:v>0</c:v>
                </c:pt>
                <c:pt idx="51864">
                  <c:v>0</c:v>
                </c:pt>
                <c:pt idx="51865">
                  <c:v>0</c:v>
                </c:pt>
                <c:pt idx="51866">
                  <c:v>0</c:v>
                </c:pt>
                <c:pt idx="51867">
                  <c:v>0</c:v>
                </c:pt>
                <c:pt idx="51868">
                  <c:v>0</c:v>
                </c:pt>
                <c:pt idx="51869">
                  <c:v>0</c:v>
                </c:pt>
                <c:pt idx="51870">
                  <c:v>0</c:v>
                </c:pt>
                <c:pt idx="51871">
                  <c:v>0</c:v>
                </c:pt>
                <c:pt idx="51872">
                  <c:v>0</c:v>
                </c:pt>
                <c:pt idx="51873">
                  <c:v>0</c:v>
                </c:pt>
                <c:pt idx="51874">
                  <c:v>0</c:v>
                </c:pt>
                <c:pt idx="51875">
                  <c:v>0</c:v>
                </c:pt>
                <c:pt idx="51876">
                  <c:v>0</c:v>
                </c:pt>
                <c:pt idx="51877">
                  <c:v>0</c:v>
                </c:pt>
                <c:pt idx="51878">
                  <c:v>0</c:v>
                </c:pt>
                <c:pt idx="51879">
                  <c:v>0</c:v>
                </c:pt>
                <c:pt idx="51880">
                  <c:v>0</c:v>
                </c:pt>
                <c:pt idx="51881">
                  <c:v>0</c:v>
                </c:pt>
                <c:pt idx="51882">
                  <c:v>0</c:v>
                </c:pt>
                <c:pt idx="51883">
                  <c:v>0</c:v>
                </c:pt>
                <c:pt idx="51884">
                  <c:v>0</c:v>
                </c:pt>
                <c:pt idx="51885">
                  <c:v>0</c:v>
                </c:pt>
                <c:pt idx="51886">
                  <c:v>0</c:v>
                </c:pt>
                <c:pt idx="51887">
                  <c:v>0</c:v>
                </c:pt>
                <c:pt idx="51888">
                  <c:v>0</c:v>
                </c:pt>
                <c:pt idx="51889">
                  <c:v>0</c:v>
                </c:pt>
                <c:pt idx="51890">
                  <c:v>0</c:v>
                </c:pt>
                <c:pt idx="51891">
                  <c:v>0</c:v>
                </c:pt>
                <c:pt idx="51892">
                  <c:v>0</c:v>
                </c:pt>
                <c:pt idx="51893">
                  <c:v>0</c:v>
                </c:pt>
                <c:pt idx="51894">
                  <c:v>0</c:v>
                </c:pt>
                <c:pt idx="51895">
                  <c:v>0</c:v>
                </c:pt>
                <c:pt idx="51896">
                  <c:v>0</c:v>
                </c:pt>
                <c:pt idx="51897">
                  <c:v>0</c:v>
                </c:pt>
                <c:pt idx="51898">
                  <c:v>0</c:v>
                </c:pt>
                <c:pt idx="51899">
                  <c:v>0</c:v>
                </c:pt>
                <c:pt idx="51900">
                  <c:v>0</c:v>
                </c:pt>
                <c:pt idx="51901">
                  <c:v>0</c:v>
                </c:pt>
                <c:pt idx="51902">
                  <c:v>0</c:v>
                </c:pt>
                <c:pt idx="51903">
                  <c:v>0</c:v>
                </c:pt>
                <c:pt idx="51904">
                  <c:v>0</c:v>
                </c:pt>
                <c:pt idx="51905">
                  <c:v>0</c:v>
                </c:pt>
                <c:pt idx="51906">
                  <c:v>0</c:v>
                </c:pt>
                <c:pt idx="51907">
                  <c:v>0</c:v>
                </c:pt>
                <c:pt idx="51908">
                  <c:v>0</c:v>
                </c:pt>
                <c:pt idx="51909">
                  <c:v>0</c:v>
                </c:pt>
                <c:pt idx="51910">
                  <c:v>0</c:v>
                </c:pt>
                <c:pt idx="51911">
                  <c:v>0</c:v>
                </c:pt>
                <c:pt idx="51912">
                  <c:v>0</c:v>
                </c:pt>
                <c:pt idx="51913">
                  <c:v>0</c:v>
                </c:pt>
                <c:pt idx="51914">
                  <c:v>0</c:v>
                </c:pt>
                <c:pt idx="51915">
                  <c:v>0</c:v>
                </c:pt>
                <c:pt idx="51916">
                  <c:v>0</c:v>
                </c:pt>
                <c:pt idx="51917">
                  <c:v>0</c:v>
                </c:pt>
                <c:pt idx="51918">
                  <c:v>0</c:v>
                </c:pt>
                <c:pt idx="51919">
                  <c:v>0</c:v>
                </c:pt>
                <c:pt idx="51920">
                  <c:v>0</c:v>
                </c:pt>
                <c:pt idx="51921">
                  <c:v>0</c:v>
                </c:pt>
                <c:pt idx="51922">
                  <c:v>0</c:v>
                </c:pt>
                <c:pt idx="51923">
                  <c:v>0</c:v>
                </c:pt>
                <c:pt idx="51924">
                  <c:v>0</c:v>
                </c:pt>
                <c:pt idx="51925">
                  <c:v>0</c:v>
                </c:pt>
                <c:pt idx="51926">
                  <c:v>0</c:v>
                </c:pt>
                <c:pt idx="51927">
                  <c:v>0</c:v>
                </c:pt>
                <c:pt idx="51928">
                  <c:v>0</c:v>
                </c:pt>
                <c:pt idx="51929">
                  <c:v>0</c:v>
                </c:pt>
                <c:pt idx="51930">
                  <c:v>0</c:v>
                </c:pt>
                <c:pt idx="51931">
                  <c:v>0</c:v>
                </c:pt>
                <c:pt idx="51932">
                  <c:v>0</c:v>
                </c:pt>
                <c:pt idx="51933">
                  <c:v>0</c:v>
                </c:pt>
                <c:pt idx="51934">
                  <c:v>0</c:v>
                </c:pt>
                <c:pt idx="51935">
                  <c:v>0</c:v>
                </c:pt>
                <c:pt idx="51936">
                  <c:v>0</c:v>
                </c:pt>
                <c:pt idx="51937">
                  <c:v>0</c:v>
                </c:pt>
                <c:pt idx="51938">
                  <c:v>0</c:v>
                </c:pt>
                <c:pt idx="51939">
                  <c:v>0</c:v>
                </c:pt>
                <c:pt idx="51940">
                  <c:v>0</c:v>
                </c:pt>
                <c:pt idx="51941">
                  <c:v>0</c:v>
                </c:pt>
                <c:pt idx="51942">
                  <c:v>0</c:v>
                </c:pt>
                <c:pt idx="51943">
                  <c:v>0</c:v>
                </c:pt>
                <c:pt idx="51944">
                  <c:v>0</c:v>
                </c:pt>
                <c:pt idx="51945">
                  <c:v>0</c:v>
                </c:pt>
                <c:pt idx="51946">
                  <c:v>0</c:v>
                </c:pt>
                <c:pt idx="51947">
                  <c:v>0</c:v>
                </c:pt>
                <c:pt idx="51948">
                  <c:v>0</c:v>
                </c:pt>
                <c:pt idx="51949">
                  <c:v>0</c:v>
                </c:pt>
                <c:pt idx="51950">
                  <c:v>0</c:v>
                </c:pt>
                <c:pt idx="51951">
                  <c:v>0</c:v>
                </c:pt>
                <c:pt idx="51952">
                  <c:v>0</c:v>
                </c:pt>
                <c:pt idx="51953">
                  <c:v>0</c:v>
                </c:pt>
                <c:pt idx="51954">
                  <c:v>0</c:v>
                </c:pt>
                <c:pt idx="51955">
                  <c:v>0</c:v>
                </c:pt>
                <c:pt idx="51956">
                  <c:v>0</c:v>
                </c:pt>
                <c:pt idx="51957">
                  <c:v>0</c:v>
                </c:pt>
                <c:pt idx="51958">
                  <c:v>0</c:v>
                </c:pt>
                <c:pt idx="51959">
                  <c:v>0</c:v>
                </c:pt>
                <c:pt idx="51960">
                  <c:v>0</c:v>
                </c:pt>
                <c:pt idx="51961">
                  <c:v>0</c:v>
                </c:pt>
                <c:pt idx="51962">
                  <c:v>0</c:v>
                </c:pt>
                <c:pt idx="51963">
                  <c:v>0</c:v>
                </c:pt>
                <c:pt idx="51964">
                  <c:v>0</c:v>
                </c:pt>
                <c:pt idx="51965">
                  <c:v>0</c:v>
                </c:pt>
                <c:pt idx="51966">
                  <c:v>0</c:v>
                </c:pt>
                <c:pt idx="51967">
                  <c:v>0</c:v>
                </c:pt>
                <c:pt idx="51968">
                  <c:v>0</c:v>
                </c:pt>
                <c:pt idx="51969">
                  <c:v>0</c:v>
                </c:pt>
                <c:pt idx="51970">
                  <c:v>0</c:v>
                </c:pt>
                <c:pt idx="51971">
                  <c:v>0</c:v>
                </c:pt>
                <c:pt idx="51972">
                  <c:v>0</c:v>
                </c:pt>
                <c:pt idx="51973">
                  <c:v>0</c:v>
                </c:pt>
                <c:pt idx="51974">
                  <c:v>0</c:v>
                </c:pt>
                <c:pt idx="51975">
                  <c:v>0</c:v>
                </c:pt>
                <c:pt idx="51976">
                  <c:v>0</c:v>
                </c:pt>
                <c:pt idx="51977">
                  <c:v>0</c:v>
                </c:pt>
                <c:pt idx="51978">
                  <c:v>0</c:v>
                </c:pt>
                <c:pt idx="51979">
                  <c:v>0</c:v>
                </c:pt>
                <c:pt idx="51980">
                  <c:v>0</c:v>
                </c:pt>
                <c:pt idx="51981">
                  <c:v>0</c:v>
                </c:pt>
                <c:pt idx="51982">
                  <c:v>0</c:v>
                </c:pt>
                <c:pt idx="51983">
                  <c:v>0</c:v>
                </c:pt>
                <c:pt idx="51984">
                  <c:v>0</c:v>
                </c:pt>
                <c:pt idx="51985">
                  <c:v>0</c:v>
                </c:pt>
                <c:pt idx="51986">
                  <c:v>0</c:v>
                </c:pt>
                <c:pt idx="51987">
                  <c:v>0</c:v>
                </c:pt>
                <c:pt idx="51988">
                  <c:v>0</c:v>
                </c:pt>
                <c:pt idx="51989">
                  <c:v>0</c:v>
                </c:pt>
                <c:pt idx="51990">
                  <c:v>0</c:v>
                </c:pt>
                <c:pt idx="51991">
                  <c:v>0</c:v>
                </c:pt>
                <c:pt idx="51992">
                  <c:v>0</c:v>
                </c:pt>
                <c:pt idx="51993">
                  <c:v>0</c:v>
                </c:pt>
                <c:pt idx="51994">
                  <c:v>0</c:v>
                </c:pt>
                <c:pt idx="51995">
                  <c:v>0</c:v>
                </c:pt>
                <c:pt idx="51996">
                  <c:v>0</c:v>
                </c:pt>
                <c:pt idx="51997">
                  <c:v>0</c:v>
                </c:pt>
                <c:pt idx="51998">
                  <c:v>0</c:v>
                </c:pt>
                <c:pt idx="51999">
                  <c:v>0</c:v>
                </c:pt>
                <c:pt idx="52000">
                  <c:v>0</c:v>
                </c:pt>
                <c:pt idx="52001">
                  <c:v>0</c:v>
                </c:pt>
                <c:pt idx="52002">
                  <c:v>0</c:v>
                </c:pt>
                <c:pt idx="52003">
                  <c:v>0</c:v>
                </c:pt>
                <c:pt idx="52004">
                  <c:v>0</c:v>
                </c:pt>
                <c:pt idx="52005">
                  <c:v>0</c:v>
                </c:pt>
                <c:pt idx="52006">
                  <c:v>0</c:v>
                </c:pt>
                <c:pt idx="52007">
                  <c:v>0</c:v>
                </c:pt>
                <c:pt idx="52008">
                  <c:v>0</c:v>
                </c:pt>
                <c:pt idx="52009">
                  <c:v>0</c:v>
                </c:pt>
                <c:pt idx="52010">
                  <c:v>0</c:v>
                </c:pt>
                <c:pt idx="52011">
                  <c:v>8.4033613445377799E-4</c:v>
                </c:pt>
                <c:pt idx="52012">
                  <c:v>8.4033613445377799E-4</c:v>
                </c:pt>
                <c:pt idx="52013">
                  <c:v>8.4033613445377799E-4</c:v>
                </c:pt>
                <c:pt idx="52014">
                  <c:v>8.4033613445377799E-4</c:v>
                </c:pt>
                <c:pt idx="52015">
                  <c:v>8.4033613445377799E-4</c:v>
                </c:pt>
                <c:pt idx="52016">
                  <c:v>8.4033613445377799E-4</c:v>
                </c:pt>
                <c:pt idx="52017">
                  <c:v>8.4033613445377799E-4</c:v>
                </c:pt>
                <c:pt idx="52018">
                  <c:v>8.4033613445377799E-4</c:v>
                </c:pt>
                <c:pt idx="52019">
                  <c:v>8.4033613445377799E-4</c:v>
                </c:pt>
                <c:pt idx="52020">
                  <c:v>8.4033613445377799E-4</c:v>
                </c:pt>
                <c:pt idx="52021">
                  <c:v>8.4033613445377799E-4</c:v>
                </c:pt>
                <c:pt idx="52022">
                  <c:v>8.4033613445377799E-4</c:v>
                </c:pt>
                <c:pt idx="52023">
                  <c:v>8.4033613445377799E-4</c:v>
                </c:pt>
                <c:pt idx="52024">
                  <c:v>8.4033613445377799E-4</c:v>
                </c:pt>
                <c:pt idx="52025">
                  <c:v>8.4033613445377799E-4</c:v>
                </c:pt>
                <c:pt idx="52026">
                  <c:v>8.4033613445377799E-4</c:v>
                </c:pt>
                <c:pt idx="52027">
                  <c:v>8.4033613445377799E-4</c:v>
                </c:pt>
                <c:pt idx="52028">
                  <c:v>8.4033613445377799E-4</c:v>
                </c:pt>
                <c:pt idx="52029">
                  <c:v>8.4033613445377799E-4</c:v>
                </c:pt>
                <c:pt idx="52030">
                  <c:v>8.4033613445377799E-4</c:v>
                </c:pt>
                <c:pt idx="52031">
                  <c:v>8.4033613445377799E-4</c:v>
                </c:pt>
                <c:pt idx="52032">
                  <c:v>8.4033613445377799E-4</c:v>
                </c:pt>
                <c:pt idx="52033">
                  <c:v>8.4033613445377799E-4</c:v>
                </c:pt>
                <c:pt idx="52034">
                  <c:v>8.4033613445377799E-4</c:v>
                </c:pt>
                <c:pt idx="52035">
                  <c:v>8.4033613445377799E-4</c:v>
                </c:pt>
                <c:pt idx="52036">
                  <c:v>8.4033613445377799E-4</c:v>
                </c:pt>
                <c:pt idx="52037">
                  <c:v>8.4033613445377799E-4</c:v>
                </c:pt>
                <c:pt idx="52038">
                  <c:v>8.4033613445377799E-4</c:v>
                </c:pt>
                <c:pt idx="52039">
                  <c:v>8.4033613445377799E-4</c:v>
                </c:pt>
                <c:pt idx="52040">
                  <c:v>8.4033613445377799E-4</c:v>
                </c:pt>
                <c:pt idx="52041">
                  <c:v>8.4033613445377799E-4</c:v>
                </c:pt>
                <c:pt idx="52042">
                  <c:v>8.4033613445377799E-4</c:v>
                </c:pt>
                <c:pt idx="52043">
                  <c:v>8.4033613445377799E-4</c:v>
                </c:pt>
                <c:pt idx="52044">
                  <c:v>8.4033613445377799E-4</c:v>
                </c:pt>
                <c:pt idx="52045">
                  <c:v>8.4033613445377799E-4</c:v>
                </c:pt>
                <c:pt idx="52046">
                  <c:v>8.4033613445377799E-4</c:v>
                </c:pt>
                <c:pt idx="52047">
                  <c:v>8.4033613445377799E-4</c:v>
                </c:pt>
                <c:pt idx="52048">
                  <c:v>8.4033613445377799E-4</c:v>
                </c:pt>
                <c:pt idx="52049">
                  <c:v>8.4033613445377799E-4</c:v>
                </c:pt>
                <c:pt idx="52050">
                  <c:v>8.4033613445377799E-4</c:v>
                </c:pt>
                <c:pt idx="52051">
                  <c:v>8.4033613445377799E-4</c:v>
                </c:pt>
                <c:pt idx="52052">
                  <c:v>8.4033613445377799E-4</c:v>
                </c:pt>
                <c:pt idx="52053">
                  <c:v>8.4033613445377799E-4</c:v>
                </c:pt>
                <c:pt idx="52054">
                  <c:v>8.4033613445377799E-4</c:v>
                </c:pt>
                <c:pt idx="52055">
                  <c:v>8.4033613445377799E-4</c:v>
                </c:pt>
                <c:pt idx="52056">
                  <c:v>8.4033613445377799E-4</c:v>
                </c:pt>
                <c:pt idx="52057">
                  <c:v>8.4033613445377799E-4</c:v>
                </c:pt>
                <c:pt idx="52058">
                  <c:v>8.4033613445377799E-4</c:v>
                </c:pt>
                <c:pt idx="52059">
                  <c:v>8.4033613445377799E-4</c:v>
                </c:pt>
                <c:pt idx="52060">
                  <c:v>8.4033613445377799E-4</c:v>
                </c:pt>
                <c:pt idx="52061">
                  <c:v>8.4033613445377799E-4</c:v>
                </c:pt>
                <c:pt idx="52062">
                  <c:v>8.4033613445377799E-4</c:v>
                </c:pt>
                <c:pt idx="52063">
                  <c:v>8.4033613445377799E-4</c:v>
                </c:pt>
                <c:pt idx="52064">
                  <c:v>8.4033613445377799E-4</c:v>
                </c:pt>
                <c:pt idx="52065">
                  <c:v>8.4033613445377799E-4</c:v>
                </c:pt>
                <c:pt idx="52066">
                  <c:v>8.4033613445377799E-4</c:v>
                </c:pt>
                <c:pt idx="52067">
                  <c:v>8.4033613445377799E-4</c:v>
                </c:pt>
                <c:pt idx="52068">
                  <c:v>8.4033613445377799E-4</c:v>
                </c:pt>
                <c:pt idx="52069">
                  <c:v>8.4033613445377799E-4</c:v>
                </c:pt>
                <c:pt idx="52070">
                  <c:v>8.4033613445377799E-4</c:v>
                </c:pt>
                <c:pt idx="52071">
                  <c:v>8.4033613445377799E-4</c:v>
                </c:pt>
                <c:pt idx="52072">
                  <c:v>8.4033613445377799E-4</c:v>
                </c:pt>
                <c:pt idx="52073">
                  <c:v>8.4033613445377799E-4</c:v>
                </c:pt>
                <c:pt idx="52074">
                  <c:v>8.4033613445377799E-4</c:v>
                </c:pt>
                <c:pt idx="52075">
                  <c:v>8.4033613445377799E-4</c:v>
                </c:pt>
                <c:pt idx="52076">
                  <c:v>8.4033613445377799E-4</c:v>
                </c:pt>
                <c:pt idx="52077">
                  <c:v>8.4033613445377799E-4</c:v>
                </c:pt>
                <c:pt idx="52078">
                  <c:v>8.4033613445377799E-4</c:v>
                </c:pt>
                <c:pt idx="52079">
                  <c:v>8.4033613445377799E-4</c:v>
                </c:pt>
                <c:pt idx="52080">
                  <c:v>8.4033613445377799E-4</c:v>
                </c:pt>
                <c:pt idx="52081">
                  <c:v>8.4033613445377799E-4</c:v>
                </c:pt>
                <c:pt idx="52082">
                  <c:v>8.4033613445377799E-4</c:v>
                </c:pt>
                <c:pt idx="52083">
                  <c:v>8.4033613445377799E-4</c:v>
                </c:pt>
                <c:pt idx="52084">
                  <c:v>8.4033613445377799E-4</c:v>
                </c:pt>
                <c:pt idx="52085">
                  <c:v>8.4033613445377799E-4</c:v>
                </c:pt>
                <c:pt idx="52086">
                  <c:v>8.4033613445377799E-4</c:v>
                </c:pt>
                <c:pt idx="52087">
                  <c:v>8.4033613445377799E-4</c:v>
                </c:pt>
                <c:pt idx="52088">
                  <c:v>8.4033613445377799E-4</c:v>
                </c:pt>
                <c:pt idx="52089">
                  <c:v>8.4033613445377799E-4</c:v>
                </c:pt>
                <c:pt idx="52090">
                  <c:v>8.4033613445377799E-4</c:v>
                </c:pt>
                <c:pt idx="52091">
                  <c:v>8.4033613445377799E-4</c:v>
                </c:pt>
                <c:pt idx="52092">
                  <c:v>8.4033613445377799E-4</c:v>
                </c:pt>
                <c:pt idx="52093">
                  <c:v>8.4033613445377799E-4</c:v>
                </c:pt>
                <c:pt idx="52094">
                  <c:v>8.4033613445377799E-4</c:v>
                </c:pt>
                <c:pt idx="52095">
                  <c:v>8.4033613445377799E-4</c:v>
                </c:pt>
                <c:pt idx="52096">
                  <c:v>8.4033613445377799E-4</c:v>
                </c:pt>
                <c:pt idx="52097">
                  <c:v>8.4033613445377799E-4</c:v>
                </c:pt>
                <c:pt idx="52098">
                  <c:v>8.4033613445377799E-4</c:v>
                </c:pt>
                <c:pt idx="52099">
                  <c:v>8.4033613445377799E-4</c:v>
                </c:pt>
                <c:pt idx="52100">
                  <c:v>8.4033613445377799E-4</c:v>
                </c:pt>
                <c:pt idx="52101">
                  <c:v>8.4033613445377799E-4</c:v>
                </c:pt>
                <c:pt idx="52102">
                  <c:v>8.4033613445377799E-4</c:v>
                </c:pt>
                <c:pt idx="52103">
                  <c:v>8.4033613445377799E-4</c:v>
                </c:pt>
                <c:pt idx="52104">
                  <c:v>8.4033613445377799E-4</c:v>
                </c:pt>
                <c:pt idx="52105">
                  <c:v>8.4033613445377799E-4</c:v>
                </c:pt>
                <c:pt idx="52106">
                  <c:v>8.4033613445377799E-4</c:v>
                </c:pt>
                <c:pt idx="52107">
                  <c:v>8.4033613445377799E-4</c:v>
                </c:pt>
                <c:pt idx="52108">
                  <c:v>8.4033613445377799E-4</c:v>
                </c:pt>
                <c:pt idx="52109">
                  <c:v>8.4033613445377799E-4</c:v>
                </c:pt>
                <c:pt idx="52110">
                  <c:v>8.4033613445377799E-4</c:v>
                </c:pt>
                <c:pt idx="52111">
                  <c:v>8.4033613445377799E-4</c:v>
                </c:pt>
                <c:pt idx="52112">
                  <c:v>8.4033613445377799E-4</c:v>
                </c:pt>
                <c:pt idx="52113">
                  <c:v>8.4033613445377799E-4</c:v>
                </c:pt>
                <c:pt idx="52114">
                  <c:v>8.4033613445377799E-4</c:v>
                </c:pt>
                <c:pt idx="52115">
                  <c:v>8.4033613445377799E-4</c:v>
                </c:pt>
                <c:pt idx="52116">
                  <c:v>8.4033613445377799E-4</c:v>
                </c:pt>
                <c:pt idx="52117">
                  <c:v>8.4033613445377799E-4</c:v>
                </c:pt>
                <c:pt idx="52118">
                  <c:v>8.4033613445377799E-4</c:v>
                </c:pt>
                <c:pt idx="52119">
                  <c:v>8.4033613445377799E-4</c:v>
                </c:pt>
                <c:pt idx="52120">
                  <c:v>8.4033613445377799E-4</c:v>
                </c:pt>
                <c:pt idx="52121">
                  <c:v>8.4033613445377799E-4</c:v>
                </c:pt>
                <c:pt idx="52122">
                  <c:v>8.4033613445377799E-4</c:v>
                </c:pt>
                <c:pt idx="52123">
                  <c:v>8.4033613445377799E-4</c:v>
                </c:pt>
                <c:pt idx="52124">
                  <c:v>8.4033613445377799E-4</c:v>
                </c:pt>
                <c:pt idx="52125">
                  <c:v>8.4033613445377799E-4</c:v>
                </c:pt>
                <c:pt idx="52126">
                  <c:v>8.4033613445377799E-4</c:v>
                </c:pt>
                <c:pt idx="52127">
                  <c:v>8.4033613445377799E-4</c:v>
                </c:pt>
                <c:pt idx="52128">
                  <c:v>8.4033613445377799E-4</c:v>
                </c:pt>
                <c:pt idx="52129">
                  <c:v>8.4033613445377799E-4</c:v>
                </c:pt>
                <c:pt idx="52130">
                  <c:v>8.4033613445377799E-4</c:v>
                </c:pt>
                <c:pt idx="52131">
                  <c:v>8.4033613445377799E-4</c:v>
                </c:pt>
                <c:pt idx="52132">
                  <c:v>8.4033613445377799E-4</c:v>
                </c:pt>
                <c:pt idx="52133">
                  <c:v>8.4033613445377799E-4</c:v>
                </c:pt>
                <c:pt idx="52134">
                  <c:v>8.4033613445377799E-4</c:v>
                </c:pt>
                <c:pt idx="52135">
                  <c:v>8.4033613445377799E-4</c:v>
                </c:pt>
                <c:pt idx="52136">
                  <c:v>8.4033613445377799E-4</c:v>
                </c:pt>
                <c:pt idx="52137">
                  <c:v>8.4033613445377799E-4</c:v>
                </c:pt>
                <c:pt idx="52138">
                  <c:v>8.4033613445377799E-4</c:v>
                </c:pt>
                <c:pt idx="52139">
                  <c:v>8.4033613445377799E-4</c:v>
                </c:pt>
                <c:pt idx="52140">
                  <c:v>8.4033613445377799E-4</c:v>
                </c:pt>
                <c:pt idx="52141">
                  <c:v>8.4033613445377799E-4</c:v>
                </c:pt>
                <c:pt idx="52142">
                  <c:v>8.4033613445377799E-4</c:v>
                </c:pt>
                <c:pt idx="52143">
                  <c:v>8.4033613445377799E-4</c:v>
                </c:pt>
                <c:pt idx="52144">
                  <c:v>8.4033613445377799E-4</c:v>
                </c:pt>
                <c:pt idx="52145">
                  <c:v>8.4033613445377799E-4</c:v>
                </c:pt>
                <c:pt idx="52146">
                  <c:v>8.4033613445377799E-4</c:v>
                </c:pt>
                <c:pt idx="52147">
                  <c:v>8.4033613445377799E-4</c:v>
                </c:pt>
                <c:pt idx="52148">
                  <c:v>8.4033613445377799E-4</c:v>
                </c:pt>
                <c:pt idx="52149">
                  <c:v>8.4033613445377799E-4</c:v>
                </c:pt>
                <c:pt idx="52150">
                  <c:v>8.4033613445377799E-4</c:v>
                </c:pt>
                <c:pt idx="52151">
                  <c:v>8.4033613445377799E-4</c:v>
                </c:pt>
                <c:pt idx="52152">
                  <c:v>8.4033613445377799E-4</c:v>
                </c:pt>
                <c:pt idx="52153">
                  <c:v>8.4033613445377799E-4</c:v>
                </c:pt>
                <c:pt idx="52154">
                  <c:v>8.4033613445377799E-4</c:v>
                </c:pt>
                <c:pt idx="52155">
                  <c:v>8.4033613445377799E-4</c:v>
                </c:pt>
                <c:pt idx="52156">
                  <c:v>8.4033613445377799E-4</c:v>
                </c:pt>
                <c:pt idx="52157">
                  <c:v>8.4033613445377799E-4</c:v>
                </c:pt>
                <c:pt idx="52158">
                  <c:v>8.4033613445377799E-4</c:v>
                </c:pt>
                <c:pt idx="52159">
                  <c:v>8.4033613445377799E-4</c:v>
                </c:pt>
                <c:pt idx="52160">
                  <c:v>8.4033613445377799E-4</c:v>
                </c:pt>
                <c:pt idx="52161">
                  <c:v>8.4033613445377799E-4</c:v>
                </c:pt>
                <c:pt idx="52162">
                  <c:v>8.4033613445377799E-4</c:v>
                </c:pt>
                <c:pt idx="52163">
                  <c:v>8.4033613445377799E-4</c:v>
                </c:pt>
                <c:pt idx="52164">
                  <c:v>8.4033613445377799E-4</c:v>
                </c:pt>
                <c:pt idx="52165">
                  <c:v>8.4033613445377799E-4</c:v>
                </c:pt>
                <c:pt idx="52166">
                  <c:v>8.4033613445377799E-4</c:v>
                </c:pt>
                <c:pt idx="52167">
                  <c:v>8.4033613445377799E-4</c:v>
                </c:pt>
                <c:pt idx="52168">
                  <c:v>8.4033613445377799E-4</c:v>
                </c:pt>
                <c:pt idx="52169">
                  <c:v>8.4033613445377799E-4</c:v>
                </c:pt>
                <c:pt idx="52170">
                  <c:v>8.4033613445377799E-4</c:v>
                </c:pt>
                <c:pt idx="52171">
                  <c:v>8.4033613445377799E-4</c:v>
                </c:pt>
                <c:pt idx="52172">
                  <c:v>8.4033613445377799E-4</c:v>
                </c:pt>
                <c:pt idx="52173">
                  <c:v>8.4033613445377799E-4</c:v>
                </c:pt>
                <c:pt idx="52174">
                  <c:v>8.4033613445377799E-4</c:v>
                </c:pt>
                <c:pt idx="52175">
                  <c:v>8.4033613445377799E-4</c:v>
                </c:pt>
                <c:pt idx="52176">
                  <c:v>8.4033613445377799E-4</c:v>
                </c:pt>
                <c:pt idx="52177">
                  <c:v>8.4033613445377799E-4</c:v>
                </c:pt>
                <c:pt idx="52178">
                  <c:v>8.4033613445377799E-4</c:v>
                </c:pt>
                <c:pt idx="52179">
                  <c:v>8.4033613445377799E-4</c:v>
                </c:pt>
                <c:pt idx="52180">
                  <c:v>8.4033613445377799E-4</c:v>
                </c:pt>
                <c:pt idx="52181">
                  <c:v>8.4033613445377799E-4</c:v>
                </c:pt>
                <c:pt idx="52182">
                  <c:v>8.4033613445377799E-4</c:v>
                </c:pt>
                <c:pt idx="52183">
                  <c:v>8.4033613445377799E-4</c:v>
                </c:pt>
                <c:pt idx="52184">
                  <c:v>8.4033613445377799E-4</c:v>
                </c:pt>
                <c:pt idx="52185">
                  <c:v>8.4033613445377799E-4</c:v>
                </c:pt>
                <c:pt idx="52186">
                  <c:v>8.4033613445377799E-4</c:v>
                </c:pt>
                <c:pt idx="52187">
                  <c:v>8.4033613445377799E-4</c:v>
                </c:pt>
                <c:pt idx="52188">
                  <c:v>8.4033613445377799E-4</c:v>
                </c:pt>
                <c:pt idx="52189">
                  <c:v>8.4033613445377799E-4</c:v>
                </c:pt>
                <c:pt idx="52190">
                  <c:v>8.4033613445377799E-4</c:v>
                </c:pt>
                <c:pt idx="52191">
                  <c:v>8.4033613445377799E-4</c:v>
                </c:pt>
                <c:pt idx="52192">
                  <c:v>8.4033613445377799E-4</c:v>
                </c:pt>
                <c:pt idx="52193">
                  <c:v>8.4033613445377799E-4</c:v>
                </c:pt>
                <c:pt idx="52194">
                  <c:v>8.4033613445377799E-4</c:v>
                </c:pt>
                <c:pt idx="52195">
                  <c:v>8.4033613445377799E-4</c:v>
                </c:pt>
                <c:pt idx="52196">
                  <c:v>8.4033613445377799E-4</c:v>
                </c:pt>
                <c:pt idx="52197">
                  <c:v>8.4033613445377799E-4</c:v>
                </c:pt>
                <c:pt idx="52198">
                  <c:v>8.4033613445377799E-4</c:v>
                </c:pt>
                <c:pt idx="52199">
                  <c:v>8.4033613445377799E-4</c:v>
                </c:pt>
                <c:pt idx="52200">
                  <c:v>8.4033613445377799E-4</c:v>
                </c:pt>
                <c:pt idx="52201">
                  <c:v>8.4033613445377799E-4</c:v>
                </c:pt>
                <c:pt idx="52202">
                  <c:v>8.4033613445377799E-4</c:v>
                </c:pt>
                <c:pt idx="52203">
                  <c:v>8.4033613445377799E-4</c:v>
                </c:pt>
                <c:pt idx="52204">
                  <c:v>8.4033613445377799E-4</c:v>
                </c:pt>
                <c:pt idx="52205">
                  <c:v>8.4033613445377799E-4</c:v>
                </c:pt>
                <c:pt idx="52206">
                  <c:v>8.4033613445377799E-4</c:v>
                </c:pt>
                <c:pt idx="52207">
                  <c:v>8.4033613445377799E-4</c:v>
                </c:pt>
                <c:pt idx="52208">
                  <c:v>8.4033613445377799E-4</c:v>
                </c:pt>
                <c:pt idx="52209">
                  <c:v>8.4033613445377799E-4</c:v>
                </c:pt>
                <c:pt idx="52210">
                  <c:v>8.4033613445377799E-4</c:v>
                </c:pt>
                <c:pt idx="52211">
                  <c:v>8.4033613445377799E-4</c:v>
                </c:pt>
                <c:pt idx="52212">
                  <c:v>8.4033613445377799E-4</c:v>
                </c:pt>
                <c:pt idx="52213">
                  <c:v>8.4033613445377799E-4</c:v>
                </c:pt>
                <c:pt idx="52214">
                  <c:v>8.4033613445377799E-4</c:v>
                </c:pt>
                <c:pt idx="52215">
                  <c:v>8.4033613445377799E-4</c:v>
                </c:pt>
                <c:pt idx="52216">
                  <c:v>8.4033613445377799E-4</c:v>
                </c:pt>
                <c:pt idx="52217">
                  <c:v>8.4033613445377799E-4</c:v>
                </c:pt>
                <c:pt idx="52218">
                  <c:v>8.4033613445377799E-4</c:v>
                </c:pt>
                <c:pt idx="52219">
                  <c:v>8.4033613445377799E-4</c:v>
                </c:pt>
                <c:pt idx="52220">
                  <c:v>8.4033613445377799E-4</c:v>
                </c:pt>
                <c:pt idx="52221">
                  <c:v>8.4033613445377799E-4</c:v>
                </c:pt>
                <c:pt idx="52222">
                  <c:v>8.4033613445377799E-4</c:v>
                </c:pt>
                <c:pt idx="52223">
                  <c:v>8.4033613445377799E-4</c:v>
                </c:pt>
                <c:pt idx="52224">
                  <c:v>8.4033613445377799E-4</c:v>
                </c:pt>
                <c:pt idx="52225">
                  <c:v>8.4033613445377799E-4</c:v>
                </c:pt>
                <c:pt idx="52226">
                  <c:v>8.4033613445377799E-4</c:v>
                </c:pt>
                <c:pt idx="52227">
                  <c:v>8.4033613445377799E-4</c:v>
                </c:pt>
                <c:pt idx="52228">
                  <c:v>8.4033613445377799E-4</c:v>
                </c:pt>
                <c:pt idx="52229">
                  <c:v>8.4033613445377799E-4</c:v>
                </c:pt>
                <c:pt idx="52230">
                  <c:v>8.4033613445377799E-4</c:v>
                </c:pt>
                <c:pt idx="52231">
                  <c:v>8.4033613445377799E-4</c:v>
                </c:pt>
                <c:pt idx="52232">
                  <c:v>8.4033613445377799E-4</c:v>
                </c:pt>
                <c:pt idx="52233">
                  <c:v>8.4033613445377799E-4</c:v>
                </c:pt>
                <c:pt idx="52234">
                  <c:v>8.4033613445377799E-4</c:v>
                </c:pt>
                <c:pt idx="52235">
                  <c:v>8.4033613445377799E-4</c:v>
                </c:pt>
                <c:pt idx="52236">
                  <c:v>8.4033613445377799E-4</c:v>
                </c:pt>
                <c:pt idx="52237">
                  <c:v>8.4033613445377799E-4</c:v>
                </c:pt>
                <c:pt idx="52238">
                  <c:v>8.4033613445377799E-4</c:v>
                </c:pt>
                <c:pt idx="52239">
                  <c:v>8.4033613445377799E-4</c:v>
                </c:pt>
                <c:pt idx="52240">
                  <c:v>8.4033613445377799E-4</c:v>
                </c:pt>
                <c:pt idx="52241">
                  <c:v>8.4033613445377799E-4</c:v>
                </c:pt>
                <c:pt idx="52242">
                  <c:v>8.4033613445377799E-4</c:v>
                </c:pt>
                <c:pt idx="52243">
                  <c:v>8.4033613445377799E-4</c:v>
                </c:pt>
                <c:pt idx="52244">
                  <c:v>8.4033613445377799E-4</c:v>
                </c:pt>
                <c:pt idx="52245">
                  <c:v>8.4033613445377799E-4</c:v>
                </c:pt>
                <c:pt idx="52246">
                  <c:v>8.4033613445377799E-4</c:v>
                </c:pt>
                <c:pt idx="52247">
                  <c:v>8.4033613445377799E-4</c:v>
                </c:pt>
                <c:pt idx="52248">
                  <c:v>8.4033613445377799E-4</c:v>
                </c:pt>
                <c:pt idx="52249">
                  <c:v>8.4033613445377799E-4</c:v>
                </c:pt>
                <c:pt idx="52250">
                  <c:v>8.4033613445377799E-4</c:v>
                </c:pt>
                <c:pt idx="52251">
                  <c:v>8.4033613445377799E-4</c:v>
                </c:pt>
                <c:pt idx="52252">
                  <c:v>8.4033613445377799E-4</c:v>
                </c:pt>
                <c:pt idx="52253">
                  <c:v>8.4033613445377799E-4</c:v>
                </c:pt>
                <c:pt idx="52254">
                  <c:v>8.4033613445377799E-4</c:v>
                </c:pt>
                <c:pt idx="52255">
                  <c:v>8.4033613445377799E-4</c:v>
                </c:pt>
                <c:pt idx="52256">
                  <c:v>8.4033613445377799E-4</c:v>
                </c:pt>
                <c:pt idx="52257">
                  <c:v>8.4033613445377799E-4</c:v>
                </c:pt>
                <c:pt idx="52258">
                  <c:v>8.4033613445377799E-4</c:v>
                </c:pt>
                <c:pt idx="52259">
                  <c:v>8.4033613445377799E-4</c:v>
                </c:pt>
                <c:pt idx="52260">
                  <c:v>8.4033613445377799E-4</c:v>
                </c:pt>
                <c:pt idx="52261">
                  <c:v>8.4033613445377799E-4</c:v>
                </c:pt>
                <c:pt idx="52262">
                  <c:v>8.4033613445377799E-4</c:v>
                </c:pt>
                <c:pt idx="52263">
                  <c:v>8.4033613445377799E-4</c:v>
                </c:pt>
                <c:pt idx="52264">
                  <c:v>8.4033613445377799E-4</c:v>
                </c:pt>
                <c:pt idx="52265">
                  <c:v>8.4033613445377799E-4</c:v>
                </c:pt>
                <c:pt idx="52266">
                  <c:v>8.4033613445377799E-4</c:v>
                </c:pt>
                <c:pt idx="52267">
                  <c:v>8.4033613445377799E-4</c:v>
                </c:pt>
                <c:pt idx="52268">
                  <c:v>8.4033613445377799E-4</c:v>
                </c:pt>
                <c:pt idx="52269">
                  <c:v>8.4033613445377799E-4</c:v>
                </c:pt>
                <c:pt idx="52270">
                  <c:v>8.4033613445377799E-4</c:v>
                </c:pt>
                <c:pt idx="52271">
                  <c:v>8.4033613445377799E-4</c:v>
                </c:pt>
                <c:pt idx="52272">
                  <c:v>8.4033613445377799E-4</c:v>
                </c:pt>
                <c:pt idx="52273">
                  <c:v>8.4033613445377799E-4</c:v>
                </c:pt>
                <c:pt idx="52274">
                  <c:v>8.4033613445377799E-4</c:v>
                </c:pt>
                <c:pt idx="52275">
                  <c:v>8.4033613445377799E-4</c:v>
                </c:pt>
                <c:pt idx="52276">
                  <c:v>8.4033613445377799E-4</c:v>
                </c:pt>
                <c:pt idx="52277">
                  <c:v>8.4033613445377799E-4</c:v>
                </c:pt>
                <c:pt idx="52278">
                  <c:v>8.4033613445377799E-4</c:v>
                </c:pt>
                <c:pt idx="52279">
                  <c:v>8.4033613445377799E-4</c:v>
                </c:pt>
                <c:pt idx="52280">
                  <c:v>8.4033613445377799E-4</c:v>
                </c:pt>
                <c:pt idx="52281">
                  <c:v>8.4033613445377799E-4</c:v>
                </c:pt>
                <c:pt idx="52282">
                  <c:v>8.4033613445377799E-4</c:v>
                </c:pt>
                <c:pt idx="52283">
                  <c:v>8.4033613445377799E-4</c:v>
                </c:pt>
                <c:pt idx="52284">
                  <c:v>8.4033613445377799E-4</c:v>
                </c:pt>
                <c:pt idx="52285">
                  <c:v>8.4033613445377799E-4</c:v>
                </c:pt>
                <c:pt idx="52286">
                  <c:v>8.4033613445377799E-4</c:v>
                </c:pt>
                <c:pt idx="52287">
                  <c:v>8.4033613445377799E-4</c:v>
                </c:pt>
                <c:pt idx="52288">
                  <c:v>8.4033613445377799E-4</c:v>
                </c:pt>
                <c:pt idx="52289">
                  <c:v>8.4033613445377799E-4</c:v>
                </c:pt>
                <c:pt idx="52290">
                  <c:v>8.4033613445377799E-4</c:v>
                </c:pt>
                <c:pt idx="52291">
                  <c:v>8.4033613445377799E-4</c:v>
                </c:pt>
                <c:pt idx="52292">
                  <c:v>8.4033613445377799E-4</c:v>
                </c:pt>
                <c:pt idx="52293">
                  <c:v>8.4033613445377799E-4</c:v>
                </c:pt>
                <c:pt idx="52294">
                  <c:v>8.4033613445377799E-4</c:v>
                </c:pt>
                <c:pt idx="52295">
                  <c:v>8.4033613445377799E-4</c:v>
                </c:pt>
                <c:pt idx="52296">
                  <c:v>8.4033613445377799E-4</c:v>
                </c:pt>
                <c:pt idx="52297">
                  <c:v>8.4033613445377799E-4</c:v>
                </c:pt>
                <c:pt idx="52298">
                  <c:v>8.4033613445377799E-4</c:v>
                </c:pt>
                <c:pt idx="52299">
                  <c:v>8.4033613445377799E-4</c:v>
                </c:pt>
                <c:pt idx="52300">
                  <c:v>8.4033613445377799E-4</c:v>
                </c:pt>
                <c:pt idx="52301">
                  <c:v>8.4033613445377799E-4</c:v>
                </c:pt>
                <c:pt idx="52302">
                  <c:v>8.4033613445377799E-4</c:v>
                </c:pt>
                <c:pt idx="52303">
                  <c:v>8.4033613445377799E-4</c:v>
                </c:pt>
                <c:pt idx="52304">
                  <c:v>8.4033613445377799E-4</c:v>
                </c:pt>
                <c:pt idx="52305">
                  <c:v>8.4033613445377799E-4</c:v>
                </c:pt>
                <c:pt idx="52306">
                  <c:v>8.4033613445377799E-4</c:v>
                </c:pt>
                <c:pt idx="52307">
                  <c:v>8.4033613445377799E-4</c:v>
                </c:pt>
                <c:pt idx="52308">
                  <c:v>8.4033613445377799E-4</c:v>
                </c:pt>
                <c:pt idx="52309">
                  <c:v>8.4033613445377799E-4</c:v>
                </c:pt>
                <c:pt idx="52310">
                  <c:v>8.4033613445377799E-4</c:v>
                </c:pt>
                <c:pt idx="52311">
                  <c:v>8.4033613445377799E-4</c:v>
                </c:pt>
                <c:pt idx="52312">
                  <c:v>8.4033613445377799E-4</c:v>
                </c:pt>
                <c:pt idx="52313">
                  <c:v>8.4033613445377799E-4</c:v>
                </c:pt>
                <c:pt idx="52314">
                  <c:v>8.4033613445377799E-4</c:v>
                </c:pt>
                <c:pt idx="52315">
                  <c:v>8.4033613445377799E-4</c:v>
                </c:pt>
                <c:pt idx="52316">
                  <c:v>8.4033613445377799E-4</c:v>
                </c:pt>
                <c:pt idx="52317">
                  <c:v>8.4033613445377799E-4</c:v>
                </c:pt>
                <c:pt idx="52318">
                  <c:v>8.4033613445377799E-4</c:v>
                </c:pt>
                <c:pt idx="52319">
                  <c:v>8.4033613445377799E-4</c:v>
                </c:pt>
                <c:pt idx="52320">
                  <c:v>8.4033613445377799E-4</c:v>
                </c:pt>
                <c:pt idx="52321">
                  <c:v>8.4033613445377799E-4</c:v>
                </c:pt>
                <c:pt idx="52322">
                  <c:v>8.4033613445377799E-4</c:v>
                </c:pt>
                <c:pt idx="52323">
                  <c:v>8.4033613445377799E-4</c:v>
                </c:pt>
                <c:pt idx="52324">
                  <c:v>8.4033613445377799E-4</c:v>
                </c:pt>
                <c:pt idx="52325">
                  <c:v>8.4033613445377799E-4</c:v>
                </c:pt>
                <c:pt idx="52326">
                  <c:v>8.4033613445377799E-4</c:v>
                </c:pt>
                <c:pt idx="52327">
                  <c:v>8.4033613445377799E-4</c:v>
                </c:pt>
                <c:pt idx="52328">
                  <c:v>8.4033613445377799E-4</c:v>
                </c:pt>
                <c:pt idx="52329">
                  <c:v>8.4033613445377799E-4</c:v>
                </c:pt>
                <c:pt idx="52330">
                  <c:v>8.4033613445377799E-4</c:v>
                </c:pt>
                <c:pt idx="52331">
                  <c:v>8.4033613445377799E-4</c:v>
                </c:pt>
                <c:pt idx="52332">
                  <c:v>8.4033613445377799E-4</c:v>
                </c:pt>
                <c:pt idx="52333">
                  <c:v>8.4033613445377799E-4</c:v>
                </c:pt>
                <c:pt idx="52334">
                  <c:v>8.4033613445377799E-4</c:v>
                </c:pt>
                <c:pt idx="52335">
                  <c:v>8.4033613445377799E-4</c:v>
                </c:pt>
                <c:pt idx="52336">
                  <c:v>8.4033613445377799E-4</c:v>
                </c:pt>
                <c:pt idx="52337">
                  <c:v>8.4033613445377799E-4</c:v>
                </c:pt>
                <c:pt idx="52338">
                  <c:v>8.4033613445377799E-4</c:v>
                </c:pt>
                <c:pt idx="52339">
                  <c:v>8.4033613445377799E-4</c:v>
                </c:pt>
                <c:pt idx="52340">
                  <c:v>8.4033613445377799E-4</c:v>
                </c:pt>
                <c:pt idx="52341">
                  <c:v>8.4033613445377799E-4</c:v>
                </c:pt>
                <c:pt idx="52342">
                  <c:v>8.4033613445377799E-4</c:v>
                </c:pt>
                <c:pt idx="52343">
                  <c:v>8.4033613445377799E-4</c:v>
                </c:pt>
                <c:pt idx="52344">
                  <c:v>8.4033613445377799E-4</c:v>
                </c:pt>
                <c:pt idx="52345">
                  <c:v>8.4033613445377799E-4</c:v>
                </c:pt>
                <c:pt idx="52346">
                  <c:v>8.4033613445377799E-4</c:v>
                </c:pt>
                <c:pt idx="52347">
                  <c:v>8.4033613445377799E-4</c:v>
                </c:pt>
                <c:pt idx="52348">
                  <c:v>8.4033613445377799E-4</c:v>
                </c:pt>
                <c:pt idx="52349">
                  <c:v>8.4033613445377799E-4</c:v>
                </c:pt>
                <c:pt idx="52350">
                  <c:v>8.4033613445377799E-4</c:v>
                </c:pt>
                <c:pt idx="52351">
                  <c:v>8.4033613445377799E-4</c:v>
                </c:pt>
                <c:pt idx="52352">
                  <c:v>8.4033613445377799E-4</c:v>
                </c:pt>
                <c:pt idx="52353">
                  <c:v>8.4033613445377799E-4</c:v>
                </c:pt>
                <c:pt idx="52354">
                  <c:v>8.4033613445377799E-4</c:v>
                </c:pt>
                <c:pt idx="52355">
                  <c:v>8.4033613445377799E-4</c:v>
                </c:pt>
                <c:pt idx="52356">
                  <c:v>8.4033613445377799E-4</c:v>
                </c:pt>
                <c:pt idx="52357">
                  <c:v>8.4033613445377799E-4</c:v>
                </c:pt>
                <c:pt idx="52358">
                  <c:v>8.4033613445377799E-4</c:v>
                </c:pt>
                <c:pt idx="52359">
                  <c:v>8.4033613445377799E-4</c:v>
                </c:pt>
                <c:pt idx="52360">
                  <c:v>8.4033613445377799E-4</c:v>
                </c:pt>
                <c:pt idx="52361">
                  <c:v>8.4033613445377799E-4</c:v>
                </c:pt>
                <c:pt idx="52362">
                  <c:v>8.4033613445377799E-4</c:v>
                </c:pt>
                <c:pt idx="52363">
                  <c:v>8.4033613445377799E-4</c:v>
                </c:pt>
                <c:pt idx="52364">
                  <c:v>8.4033613445377799E-4</c:v>
                </c:pt>
                <c:pt idx="52365">
                  <c:v>8.4033613445377799E-4</c:v>
                </c:pt>
                <c:pt idx="52366">
                  <c:v>8.4033613445377799E-4</c:v>
                </c:pt>
                <c:pt idx="52367">
                  <c:v>8.4033613445377799E-4</c:v>
                </c:pt>
                <c:pt idx="52368">
                  <c:v>8.4033613445377799E-4</c:v>
                </c:pt>
                <c:pt idx="52369">
                  <c:v>8.4033613445377799E-4</c:v>
                </c:pt>
                <c:pt idx="52370">
                  <c:v>8.4033613445377799E-4</c:v>
                </c:pt>
                <c:pt idx="52371">
                  <c:v>8.4033613445377799E-4</c:v>
                </c:pt>
                <c:pt idx="52372">
                  <c:v>8.4033613445377799E-4</c:v>
                </c:pt>
                <c:pt idx="52373">
                  <c:v>8.4033613445377799E-4</c:v>
                </c:pt>
                <c:pt idx="52374">
                  <c:v>8.4033613445377799E-4</c:v>
                </c:pt>
                <c:pt idx="52375">
                  <c:v>8.4033613445377799E-4</c:v>
                </c:pt>
                <c:pt idx="52376">
                  <c:v>8.4033613445377799E-4</c:v>
                </c:pt>
                <c:pt idx="52377">
                  <c:v>8.4033613445377799E-4</c:v>
                </c:pt>
                <c:pt idx="52378">
                  <c:v>8.4033613445377799E-4</c:v>
                </c:pt>
                <c:pt idx="52379">
                  <c:v>8.4033613445377799E-4</c:v>
                </c:pt>
                <c:pt idx="52380">
                  <c:v>8.4033613445377799E-4</c:v>
                </c:pt>
                <c:pt idx="52381">
                  <c:v>8.4033613445377799E-4</c:v>
                </c:pt>
                <c:pt idx="52382">
                  <c:v>8.4033613445377799E-4</c:v>
                </c:pt>
                <c:pt idx="52383">
                  <c:v>8.4033613445377799E-4</c:v>
                </c:pt>
                <c:pt idx="52384">
                  <c:v>8.4033613445377799E-4</c:v>
                </c:pt>
                <c:pt idx="52385">
                  <c:v>8.4033613445377799E-4</c:v>
                </c:pt>
                <c:pt idx="52386">
                  <c:v>8.4033613445377799E-4</c:v>
                </c:pt>
                <c:pt idx="52387">
                  <c:v>8.4033613445377799E-4</c:v>
                </c:pt>
                <c:pt idx="52388">
                  <c:v>8.4033613445377799E-4</c:v>
                </c:pt>
                <c:pt idx="52389">
                  <c:v>8.4033613445377799E-4</c:v>
                </c:pt>
                <c:pt idx="52390">
                  <c:v>8.4033613445377799E-4</c:v>
                </c:pt>
                <c:pt idx="52391">
                  <c:v>8.4033613445377799E-4</c:v>
                </c:pt>
                <c:pt idx="52392">
                  <c:v>8.4033613445377799E-4</c:v>
                </c:pt>
                <c:pt idx="52393">
                  <c:v>8.4033613445377799E-4</c:v>
                </c:pt>
                <c:pt idx="52394">
                  <c:v>8.4033613445377799E-4</c:v>
                </c:pt>
                <c:pt idx="52395">
                  <c:v>8.4033613445377799E-4</c:v>
                </c:pt>
                <c:pt idx="52396">
                  <c:v>8.4033613445377799E-4</c:v>
                </c:pt>
                <c:pt idx="52397">
                  <c:v>8.4033613445377799E-4</c:v>
                </c:pt>
                <c:pt idx="52398">
                  <c:v>8.4033613445377799E-4</c:v>
                </c:pt>
                <c:pt idx="52399">
                  <c:v>8.4033613445377799E-4</c:v>
                </c:pt>
                <c:pt idx="52400">
                  <c:v>8.4033613445377799E-4</c:v>
                </c:pt>
                <c:pt idx="52401">
                  <c:v>8.4033613445377799E-4</c:v>
                </c:pt>
                <c:pt idx="52402">
                  <c:v>8.4033613445377799E-4</c:v>
                </c:pt>
                <c:pt idx="52403">
                  <c:v>8.4033613445377799E-4</c:v>
                </c:pt>
                <c:pt idx="52404">
                  <c:v>8.4033613445377799E-4</c:v>
                </c:pt>
                <c:pt idx="52405">
                  <c:v>8.4033613445377799E-4</c:v>
                </c:pt>
                <c:pt idx="52406">
                  <c:v>8.4033613445377799E-4</c:v>
                </c:pt>
                <c:pt idx="52407">
                  <c:v>8.4033613445377799E-4</c:v>
                </c:pt>
                <c:pt idx="52408">
                  <c:v>8.4033613445377799E-4</c:v>
                </c:pt>
                <c:pt idx="52409">
                  <c:v>8.4033613445377799E-4</c:v>
                </c:pt>
                <c:pt idx="52410">
                  <c:v>8.4033613445377799E-4</c:v>
                </c:pt>
                <c:pt idx="52411">
                  <c:v>8.4033613445377799E-4</c:v>
                </c:pt>
                <c:pt idx="52412">
                  <c:v>8.4033613445377799E-4</c:v>
                </c:pt>
                <c:pt idx="52413">
                  <c:v>8.4033613445377799E-4</c:v>
                </c:pt>
                <c:pt idx="52414">
                  <c:v>8.4033613445377799E-4</c:v>
                </c:pt>
                <c:pt idx="52415">
                  <c:v>8.4033613445377799E-4</c:v>
                </c:pt>
                <c:pt idx="52416">
                  <c:v>8.4033613445377799E-4</c:v>
                </c:pt>
                <c:pt idx="52417">
                  <c:v>8.4033613445377799E-4</c:v>
                </c:pt>
                <c:pt idx="52418">
                  <c:v>8.4033613445377799E-4</c:v>
                </c:pt>
                <c:pt idx="52419">
                  <c:v>8.4033613445377799E-4</c:v>
                </c:pt>
                <c:pt idx="52420">
                  <c:v>8.4033613445377799E-4</c:v>
                </c:pt>
                <c:pt idx="52421">
                  <c:v>8.4033613445377799E-4</c:v>
                </c:pt>
                <c:pt idx="52422">
                  <c:v>8.4033613445377799E-4</c:v>
                </c:pt>
                <c:pt idx="52423">
                  <c:v>8.4033613445377799E-4</c:v>
                </c:pt>
                <c:pt idx="52424">
                  <c:v>8.4033613445377799E-4</c:v>
                </c:pt>
                <c:pt idx="52425">
                  <c:v>8.4033613445377799E-4</c:v>
                </c:pt>
                <c:pt idx="52426">
                  <c:v>8.4033613445377799E-4</c:v>
                </c:pt>
                <c:pt idx="52427">
                  <c:v>8.4033613445377799E-4</c:v>
                </c:pt>
                <c:pt idx="52428">
                  <c:v>8.4033613445377799E-4</c:v>
                </c:pt>
                <c:pt idx="52429">
                  <c:v>8.4033613445377799E-4</c:v>
                </c:pt>
                <c:pt idx="52430">
                  <c:v>8.4033613445377799E-4</c:v>
                </c:pt>
                <c:pt idx="52431">
                  <c:v>8.4033613445377799E-4</c:v>
                </c:pt>
                <c:pt idx="52432">
                  <c:v>8.4033613445377799E-4</c:v>
                </c:pt>
                <c:pt idx="52433">
                  <c:v>8.4033613445377799E-4</c:v>
                </c:pt>
                <c:pt idx="52434">
                  <c:v>8.4033613445377799E-4</c:v>
                </c:pt>
                <c:pt idx="52435">
                  <c:v>8.4033613445377799E-4</c:v>
                </c:pt>
                <c:pt idx="52436">
                  <c:v>8.4033613445377799E-4</c:v>
                </c:pt>
                <c:pt idx="52437">
                  <c:v>8.4033613445377799E-4</c:v>
                </c:pt>
                <c:pt idx="52438">
                  <c:v>8.4033613445377799E-4</c:v>
                </c:pt>
                <c:pt idx="52439">
                  <c:v>8.4033613445377799E-4</c:v>
                </c:pt>
                <c:pt idx="52440">
                  <c:v>8.4033613445377799E-4</c:v>
                </c:pt>
                <c:pt idx="52441">
                  <c:v>8.4033613445377799E-4</c:v>
                </c:pt>
                <c:pt idx="52442">
                  <c:v>8.4033613445377799E-4</c:v>
                </c:pt>
                <c:pt idx="52443">
                  <c:v>8.4033613445377799E-4</c:v>
                </c:pt>
                <c:pt idx="52444">
                  <c:v>8.4033613445377799E-4</c:v>
                </c:pt>
                <c:pt idx="52445">
                  <c:v>8.4033613445377799E-4</c:v>
                </c:pt>
                <c:pt idx="52446">
                  <c:v>8.4033613445377799E-4</c:v>
                </c:pt>
                <c:pt idx="52447">
                  <c:v>8.4033613445377799E-4</c:v>
                </c:pt>
                <c:pt idx="52448">
                  <c:v>8.4033613445377799E-4</c:v>
                </c:pt>
                <c:pt idx="52449">
                  <c:v>8.4033613445377799E-4</c:v>
                </c:pt>
                <c:pt idx="52450">
                  <c:v>8.4033613445377799E-4</c:v>
                </c:pt>
                <c:pt idx="52451">
                  <c:v>8.4033613445377799E-4</c:v>
                </c:pt>
                <c:pt idx="52452">
                  <c:v>8.4033613445377799E-4</c:v>
                </c:pt>
                <c:pt idx="52453">
                  <c:v>8.4033613445377799E-4</c:v>
                </c:pt>
                <c:pt idx="52454">
                  <c:v>8.4033613445377799E-4</c:v>
                </c:pt>
                <c:pt idx="52455">
                  <c:v>8.4033613445377799E-4</c:v>
                </c:pt>
                <c:pt idx="52456">
                  <c:v>8.4033613445377799E-4</c:v>
                </c:pt>
                <c:pt idx="52457">
                  <c:v>8.4033613445377799E-4</c:v>
                </c:pt>
                <c:pt idx="52458">
                  <c:v>8.4033613445377799E-4</c:v>
                </c:pt>
                <c:pt idx="52459">
                  <c:v>8.4033613445377799E-4</c:v>
                </c:pt>
                <c:pt idx="52460">
                  <c:v>8.4033613445377799E-4</c:v>
                </c:pt>
                <c:pt idx="52461">
                  <c:v>8.4033613445377799E-4</c:v>
                </c:pt>
                <c:pt idx="52462">
                  <c:v>8.4033613445377799E-4</c:v>
                </c:pt>
                <c:pt idx="52463">
                  <c:v>8.4033613445377799E-4</c:v>
                </c:pt>
                <c:pt idx="52464">
                  <c:v>8.4033613445377799E-4</c:v>
                </c:pt>
                <c:pt idx="52465">
                  <c:v>8.4033613445377799E-4</c:v>
                </c:pt>
                <c:pt idx="52466">
                  <c:v>8.4033613445377799E-4</c:v>
                </c:pt>
                <c:pt idx="52467">
                  <c:v>8.4033613445377799E-4</c:v>
                </c:pt>
                <c:pt idx="52468">
                  <c:v>8.4033613445377799E-4</c:v>
                </c:pt>
                <c:pt idx="52469">
                  <c:v>8.4033613445377799E-4</c:v>
                </c:pt>
                <c:pt idx="52470">
                  <c:v>8.4033613445377799E-4</c:v>
                </c:pt>
                <c:pt idx="52471">
                  <c:v>8.4033613445377799E-4</c:v>
                </c:pt>
                <c:pt idx="52472">
                  <c:v>8.4033613445377799E-4</c:v>
                </c:pt>
                <c:pt idx="52473">
                  <c:v>8.4033613445377799E-4</c:v>
                </c:pt>
                <c:pt idx="52474">
                  <c:v>8.4033613445377799E-4</c:v>
                </c:pt>
                <c:pt idx="52475">
                  <c:v>8.4033613445377799E-4</c:v>
                </c:pt>
                <c:pt idx="52476">
                  <c:v>8.4033613445377799E-4</c:v>
                </c:pt>
                <c:pt idx="52477">
                  <c:v>8.4033613445377799E-4</c:v>
                </c:pt>
                <c:pt idx="52478">
                  <c:v>8.4033613445377799E-4</c:v>
                </c:pt>
                <c:pt idx="52479">
                  <c:v>8.4033613445377799E-4</c:v>
                </c:pt>
                <c:pt idx="52480">
                  <c:v>8.4033613445377799E-4</c:v>
                </c:pt>
                <c:pt idx="52481">
                  <c:v>8.4033613445377799E-4</c:v>
                </c:pt>
                <c:pt idx="52482">
                  <c:v>8.4033613445377799E-4</c:v>
                </c:pt>
                <c:pt idx="52483">
                  <c:v>8.4033613445377799E-4</c:v>
                </c:pt>
                <c:pt idx="52484">
                  <c:v>8.4033613445377799E-4</c:v>
                </c:pt>
                <c:pt idx="52485">
                  <c:v>8.4033613445377799E-4</c:v>
                </c:pt>
                <c:pt idx="52486">
                  <c:v>8.4033613445377799E-4</c:v>
                </c:pt>
                <c:pt idx="52487">
                  <c:v>8.4033613445377799E-4</c:v>
                </c:pt>
                <c:pt idx="52488">
                  <c:v>8.4033613445377799E-4</c:v>
                </c:pt>
                <c:pt idx="52489">
                  <c:v>8.4033613445377799E-4</c:v>
                </c:pt>
                <c:pt idx="52490">
                  <c:v>8.4033613445377799E-4</c:v>
                </c:pt>
                <c:pt idx="52491">
                  <c:v>8.4033613445377799E-4</c:v>
                </c:pt>
                <c:pt idx="52492">
                  <c:v>8.4033613445377799E-4</c:v>
                </c:pt>
                <c:pt idx="52493">
                  <c:v>8.4033613445377799E-4</c:v>
                </c:pt>
                <c:pt idx="52494">
                  <c:v>8.4033613445377799E-4</c:v>
                </c:pt>
                <c:pt idx="52495">
                  <c:v>8.4033613445377799E-4</c:v>
                </c:pt>
                <c:pt idx="52496">
                  <c:v>8.4033613445377799E-4</c:v>
                </c:pt>
                <c:pt idx="52497">
                  <c:v>8.4033613445377799E-4</c:v>
                </c:pt>
                <c:pt idx="52498">
                  <c:v>8.4033613445377799E-4</c:v>
                </c:pt>
                <c:pt idx="52499">
                  <c:v>8.4033613445377799E-4</c:v>
                </c:pt>
                <c:pt idx="52500">
                  <c:v>8.4033613445377799E-4</c:v>
                </c:pt>
                <c:pt idx="52501">
                  <c:v>8.4033613445377799E-4</c:v>
                </c:pt>
                <c:pt idx="52502">
                  <c:v>8.4033613445377799E-4</c:v>
                </c:pt>
                <c:pt idx="52503">
                  <c:v>8.4033613445377799E-4</c:v>
                </c:pt>
                <c:pt idx="52504">
                  <c:v>8.4033613445377799E-4</c:v>
                </c:pt>
                <c:pt idx="52505">
                  <c:v>8.4033613445377799E-4</c:v>
                </c:pt>
                <c:pt idx="52506">
                  <c:v>8.4033613445377799E-4</c:v>
                </c:pt>
                <c:pt idx="52507">
                  <c:v>8.4033613445377799E-4</c:v>
                </c:pt>
                <c:pt idx="52508">
                  <c:v>8.4033613445377799E-4</c:v>
                </c:pt>
                <c:pt idx="52509">
                  <c:v>8.4033613445377799E-4</c:v>
                </c:pt>
                <c:pt idx="52510">
                  <c:v>8.4033613445377799E-4</c:v>
                </c:pt>
                <c:pt idx="52511">
                  <c:v>8.4033613445377799E-4</c:v>
                </c:pt>
                <c:pt idx="52512">
                  <c:v>8.4033613445377799E-4</c:v>
                </c:pt>
                <c:pt idx="52513">
                  <c:v>8.4033613445377799E-4</c:v>
                </c:pt>
                <c:pt idx="52514">
                  <c:v>8.4033613445377799E-4</c:v>
                </c:pt>
                <c:pt idx="52515">
                  <c:v>8.4033613445377799E-4</c:v>
                </c:pt>
                <c:pt idx="52516">
                  <c:v>8.4033613445377799E-4</c:v>
                </c:pt>
                <c:pt idx="52517">
                  <c:v>8.4033613445377799E-4</c:v>
                </c:pt>
                <c:pt idx="52518">
                  <c:v>8.4033613445377799E-4</c:v>
                </c:pt>
                <c:pt idx="52519">
                  <c:v>8.4033613445377799E-4</c:v>
                </c:pt>
                <c:pt idx="52520">
                  <c:v>8.4033613445377799E-4</c:v>
                </c:pt>
                <c:pt idx="52521">
                  <c:v>8.4033613445377799E-4</c:v>
                </c:pt>
                <c:pt idx="52522">
                  <c:v>8.4033613445377799E-4</c:v>
                </c:pt>
                <c:pt idx="52523">
                  <c:v>8.4033613445377799E-4</c:v>
                </c:pt>
                <c:pt idx="52524">
                  <c:v>8.4033613445377799E-4</c:v>
                </c:pt>
                <c:pt idx="52525">
                  <c:v>8.4033613445377799E-4</c:v>
                </c:pt>
                <c:pt idx="52526">
                  <c:v>8.4033613445377799E-4</c:v>
                </c:pt>
                <c:pt idx="52527">
                  <c:v>8.4033613445377799E-4</c:v>
                </c:pt>
                <c:pt idx="52528">
                  <c:v>8.4033613445377799E-4</c:v>
                </c:pt>
                <c:pt idx="52529">
                  <c:v>8.4033613445377799E-4</c:v>
                </c:pt>
                <c:pt idx="52530">
                  <c:v>8.4033613445377799E-4</c:v>
                </c:pt>
                <c:pt idx="52531">
                  <c:v>8.4033613445377799E-4</c:v>
                </c:pt>
                <c:pt idx="52532">
                  <c:v>8.4033613445377799E-4</c:v>
                </c:pt>
                <c:pt idx="52533">
                  <c:v>8.4033613445377799E-4</c:v>
                </c:pt>
                <c:pt idx="52534">
                  <c:v>8.4033613445377799E-4</c:v>
                </c:pt>
                <c:pt idx="52535">
                  <c:v>8.4033613445377799E-4</c:v>
                </c:pt>
                <c:pt idx="52536">
                  <c:v>8.4033613445377799E-4</c:v>
                </c:pt>
                <c:pt idx="52537">
                  <c:v>8.4033613445377799E-4</c:v>
                </c:pt>
                <c:pt idx="52538">
                  <c:v>8.4033613445377799E-4</c:v>
                </c:pt>
                <c:pt idx="52539">
                  <c:v>8.4033613445377799E-4</c:v>
                </c:pt>
                <c:pt idx="52540">
                  <c:v>8.4033613445377799E-4</c:v>
                </c:pt>
                <c:pt idx="52541">
                  <c:v>8.4033613445377799E-4</c:v>
                </c:pt>
                <c:pt idx="52542">
                  <c:v>8.4033613445377799E-4</c:v>
                </c:pt>
                <c:pt idx="52543">
                  <c:v>8.4033613445377799E-4</c:v>
                </c:pt>
                <c:pt idx="52544">
                  <c:v>8.4033613445377799E-4</c:v>
                </c:pt>
                <c:pt idx="52545">
                  <c:v>8.4033613445377799E-4</c:v>
                </c:pt>
                <c:pt idx="52546">
                  <c:v>8.4033613445377799E-4</c:v>
                </c:pt>
                <c:pt idx="52547">
                  <c:v>8.4033613445377799E-4</c:v>
                </c:pt>
                <c:pt idx="52548">
                  <c:v>8.4033613445377799E-4</c:v>
                </c:pt>
                <c:pt idx="52549">
                  <c:v>8.4033613445377799E-4</c:v>
                </c:pt>
                <c:pt idx="52550">
                  <c:v>8.4033613445377799E-4</c:v>
                </c:pt>
                <c:pt idx="52551">
                  <c:v>8.4033613445377799E-4</c:v>
                </c:pt>
                <c:pt idx="52552">
                  <c:v>8.4033613445377799E-4</c:v>
                </c:pt>
                <c:pt idx="52553">
                  <c:v>8.4033613445377799E-4</c:v>
                </c:pt>
                <c:pt idx="52554">
                  <c:v>8.4033613445377799E-4</c:v>
                </c:pt>
                <c:pt idx="52555">
                  <c:v>8.4033613445377799E-4</c:v>
                </c:pt>
                <c:pt idx="52556">
                  <c:v>8.4033613445377799E-4</c:v>
                </c:pt>
                <c:pt idx="52557">
                  <c:v>8.4033613445377799E-4</c:v>
                </c:pt>
                <c:pt idx="52558">
                  <c:v>8.4033613445377799E-4</c:v>
                </c:pt>
                <c:pt idx="52559">
                  <c:v>8.4033613445377799E-4</c:v>
                </c:pt>
                <c:pt idx="52560">
                  <c:v>8.4033613445377799E-4</c:v>
                </c:pt>
                <c:pt idx="52561">
                  <c:v>8.4033613445377799E-4</c:v>
                </c:pt>
                <c:pt idx="52562">
                  <c:v>8.4033613445377799E-4</c:v>
                </c:pt>
                <c:pt idx="52563">
                  <c:v>8.4033613445377799E-4</c:v>
                </c:pt>
                <c:pt idx="52564">
                  <c:v>8.4033613445377799E-4</c:v>
                </c:pt>
                <c:pt idx="52565">
                  <c:v>8.4033613445377799E-4</c:v>
                </c:pt>
                <c:pt idx="52566">
                  <c:v>8.4033613445377799E-4</c:v>
                </c:pt>
                <c:pt idx="52567">
                  <c:v>8.4033613445377799E-4</c:v>
                </c:pt>
                <c:pt idx="52568">
                  <c:v>8.4033613445377799E-4</c:v>
                </c:pt>
                <c:pt idx="52569">
                  <c:v>8.4033613445377799E-4</c:v>
                </c:pt>
                <c:pt idx="52570">
                  <c:v>8.4033613445377799E-4</c:v>
                </c:pt>
                <c:pt idx="52571">
                  <c:v>8.4033613445377799E-4</c:v>
                </c:pt>
                <c:pt idx="52572">
                  <c:v>8.4033613445377799E-4</c:v>
                </c:pt>
                <c:pt idx="52573">
                  <c:v>8.4033613445377799E-4</c:v>
                </c:pt>
                <c:pt idx="52574">
                  <c:v>8.4033613445377799E-4</c:v>
                </c:pt>
                <c:pt idx="52575">
                  <c:v>8.4033613445377799E-4</c:v>
                </c:pt>
                <c:pt idx="52576">
                  <c:v>8.4033613445377799E-4</c:v>
                </c:pt>
                <c:pt idx="52577">
                  <c:v>8.4033613445377799E-4</c:v>
                </c:pt>
                <c:pt idx="52578">
                  <c:v>8.4033613445377799E-4</c:v>
                </c:pt>
                <c:pt idx="52579">
                  <c:v>8.4033613445377799E-4</c:v>
                </c:pt>
                <c:pt idx="52580">
                  <c:v>8.4033613445377799E-4</c:v>
                </c:pt>
                <c:pt idx="52581">
                  <c:v>8.4033613445377799E-4</c:v>
                </c:pt>
                <c:pt idx="52582">
                  <c:v>8.4033613445377799E-4</c:v>
                </c:pt>
                <c:pt idx="52583">
                  <c:v>8.4033613445377799E-4</c:v>
                </c:pt>
                <c:pt idx="52584">
                  <c:v>8.4033613445377799E-4</c:v>
                </c:pt>
                <c:pt idx="52585">
                  <c:v>8.4033613445377799E-4</c:v>
                </c:pt>
                <c:pt idx="52586">
                  <c:v>8.4033613445377799E-4</c:v>
                </c:pt>
                <c:pt idx="52587">
                  <c:v>8.4033613445377799E-4</c:v>
                </c:pt>
                <c:pt idx="52588">
                  <c:v>8.4033613445377799E-4</c:v>
                </c:pt>
                <c:pt idx="52589">
                  <c:v>8.4033613445377799E-4</c:v>
                </c:pt>
                <c:pt idx="52590">
                  <c:v>8.4033613445377799E-4</c:v>
                </c:pt>
                <c:pt idx="52591">
                  <c:v>8.4033613445377799E-4</c:v>
                </c:pt>
                <c:pt idx="52592">
                  <c:v>8.4033613445377799E-4</c:v>
                </c:pt>
                <c:pt idx="52593">
                  <c:v>8.4033613445377799E-4</c:v>
                </c:pt>
                <c:pt idx="52594">
                  <c:v>8.4033613445377799E-4</c:v>
                </c:pt>
                <c:pt idx="52595">
                  <c:v>8.4033613445377799E-4</c:v>
                </c:pt>
                <c:pt idx="52596">
                  <c:v>8.4033613445377799E-4</c:v>
                </c:pt>
                <c:pt idx="52597">
                  <c:v>8.4033613445377799E-4</c:v>
                </c:pt>
                <c:pt idx="52598">
                  <c:v>8.4033613445377799E-4</c:v>
                </c:pt>
                <c:pt idx="52599">
                  <c:v>8.4033613445377799E-4</c:v>
                </c:pt>
                <c:pt idx="52600">
                  <c:v>8.4033613445377799E-4</c:v>
                </c:pt>
                <c:pt idx="52601">
                  <c:v>8.4033613445377799E-4</c:v>
                </c:pt>
                <c:pt idx="52602">
                  <c:v>8.4033613445377799E-4</c:v>
                </c:pt>
                <c:pt idx="52603">
                  <c:v>8.4033613445377799E-4</c:v>
                </c:pt>
                <c:pt idx="52604">
                  <c:v>8.4033613445377799E-4</c:v>
                </c:pt>
                <c:pt idx="52605">
                  <c:v>8.4033613445377799E-4</c:v>
                </c:pt>
                <c:pt idx="52606">
                  <c:v>8.4033613445377799E-4</c:v>
                </c:pt>
                <c:pt idx="52607">
                  <c:v>8.4033613445377799E-4</c:v>
                </c:pt>
                <c:pt idx="52608">
                  <c:v>8.4033613445377799E-4</c:v>
                </c:pt>
                <c:pt idx="52609">
                  <c:v>8.4033613445377799E-4</c:v>
                </c:pt>
                <c:pt idx="52610">
                  <c:v>8.4033613445377799E-4</c:v>
                </c:pt>
                <c:pt idx="52611">
                  <c:v>8.4033613445377799E-4</c:v>
                </c:pt>
                <c:pt idx="52612">
                  <c:v>8.4033613445377799E-4</c:v>
                </c:pt>
                <c:pt idx="52613">
                  <c:v>8.4033613445377799E-4</c:v>
                </c:pt>
                <c:pt idx="52614">
                  <c:v>8.4033613445377799E-4</c:v>
                </c:pt>
                <c:pt idx="52615">
                  <c:v>8.4033613445377799E-4</c:v>
                </c:pt>
                <c:pt idx="52616">
                  <c:v>8.4033613445377799E-4</c:v>
                </c:pt>
                <c:pt idx="52617">
                  <c:v>8.4033613445377799E-4</c:v>
                </c:pt>
                <c:pt idx="52618">
                  <c:v>8.4033613445377799E-4</c:v>
                </c:pt>
                <c:pt idx="52619">
                  <c:v>8.4033613445377799E-4</c:v>
                </c:pt>
                <c:pt idx="52620">
                  <c:v>8.4033613445377799E-4</c:v>
                </c:pt>
                <c:pt idx="52621">
                  <c:v>8.4033613445377799E-4</c:v>
                </c:pt>
                <c:pt idx="52622">
                  <c:v>8.4033613445377799E-4</c:v>
                </c:pt>
                <c:pt idx="52623">
                  <c:v>8.4033613445377799E-4</c:v>
                </c:pt>
                <c:pt idx="52624">
                  <c:v>8.4033613445377799E-4</c:v>
                </c:pt>
                <c:pt idx="52625">
                  <c:v>8.4033613445377799E-4</c:v>
                </c:pt>
                <c:pt idx="52626">
                  <c:v>8.4033613445377799E-4</c:v>
                </c:pt>
                <c:pt idx="52627">
                  <c:v>0</c:v>
                </c:pt>
                <c:pt idx="52628">
                  <c:v>0</c:v>
                </c:pt>
                <c:pt idx="52629">
                  <c:v>0</c:v>
                </c:pt>
                <c:pt idx="52630">
                  <c:v>0</c:v>
                </c:pt>
                <c:pt idx="52631">
                  <c:v>0</c:v>
                </c:pt>
                <c:pt idx="52632">
                  <c:v>0</c:v>
                </c:pt>
                <c:pt idx="52633">
                  <c:v>0</c:v>
                </c:pt>
                <c:pt idx="52634">
                  <c:v>0</c:v>
                </c:pt>
                <c:pt idx="52635">
                  <c:v>0</c:v>
                </c:pt>
                <c:pt idx="52636">
                  <c:v>0</c:v>
                </c:pt>
                <c:pt idx="52637">
                  <c:v>0</c:v>
                </c:pt>
                <c:pt idx="52638">
                  <c:v>0</c:v>
                </c:pt>
                <c:pt idx="52639">
                  <c:v>0</c:v>
                </c:pt>
                <c:pt idx="52640">
                  <c:v>0</c:v>
                </c:pt>
                <c:pt idx="52641">
                  <c:v>0</c:v>
                </c:pt>
                <c:pt idx="52642">
                  <c:v>0</c:v>
                </c:pt>
                <c:pt idx="52643">
                  <c:v>0</c:v>
                </c:pt>
                <c:pt idx="52644">
                  <c:v>0</c:v>
                </c:pt>
                <c:pt idx="52645">
                  <c:v>0</c:v>
                </c:pt>
                <c:pt idx="52646">
                  <c:v>0</c:v>
                </c:pt>
                <c:pt idx="52647">
                  <c:v>0</c:v>
                </c:pt>
                <c:pt idx="52648">
                  <c:v>0</c:v>
                </c:pt>
                <c:pt idx="52649">
                  <c:v>0</c:v>
                </c:pt>
                <c:pt idx="52650">
                  <c:v>0</c:v>
                </c:pt>
                <c:pt idx="52651">
                  <c:v>0</c:v>
                </c:pt>
                <c:pt idx="52652">
                  <c:v>0</c:v>
                </c:pt>
                <c:pt idx="52653">
                  <c:v>0</c:v>
                </c:pt>
                <c:pt idx="52654">
                  <c:v>0</c:v>
                </c:pt>
                <c:pt idx="52655">
                  <c:v>0</c:v>
                </c:pt>
                <c:pt idx="52656">
                  <c:v>0</c:v>
                </c:pt>
                <c:pt idx="52657">
                  <c:v>0</c:v>
                </c:pt>
                <c:pt idx="52658">
                  <c:v>0</c:v>
                </c:pt>
                <c:pt idx="52659">
                  <c:v>0</c:v>
                </c:pt>
                <c:pt idx="52660">
                  <c:v>0</c:v>
                </c:pt>
                <c:pt idx="52661">
                  <c:v>0</c:v>
                </c:pt>
                <c:pt idx="52662">
                  <c:v>0</c:v>
                </c:pt>
                <c:pt idx="52663">
                  <c:v>0</c:v>
                </c:pt>
                <c:pt idx="52664">
                  <c:v>0</c:v>
                </c:pt>
                <c:pt idx="52665">
                  <c:v>0</c:v>
                </c:pt>
                <c:pt idx="52666">
                  <c:v>0</c:v>
                </c:pt>
                <c:pt idx="52667">
                  <c:v>0</c:v>
                </c:pt>
                <c:pt idx="52668">
                  <c:v>0</c:v>
                </c:pt>
                <c:pt idx="52669">
                  <c:v>0</c:v>
                </c:pt>
                <c:pt idx="52670">
                  <c:v>0</c:v>
                </c:pt>
                <c:pt idx="52671">
                  <c:v>0</c:v>
                </c:pt>
                <c:pt idx="52672">
                  <c:v>0</c:v>
                </c:pt>
                <c:pt idx="52673">
                  <c:v>0</c:v>
                </c:pt>
                <c:pt idx="52674">
                  <c:v>0</c:v>
                </c:pt>
                <c:pt idx="52675">
                  <c:v>0</c:v>
                </c:pt>
                <c:pt idx="52676">
                  <c:v>0</c:v>
                </c:pt>
                <c:pt idx="52677">
                  <c:v>0</c:v>
                </c:pt>
                <c:pt idx="52678">
                  <c:v>0</c:v>
                </c:pt>
                <c:pt idx="52679">
                  <c:v>0</c:v>
                </c:pt>
                <c:pt idx="52680">
                  <c:v>0</c:v>
                </c:pt>
                <c:pt idx="52681">
                  <c:v>0</c:v>
                </c:pt>
                <c:pt idx="52682">
                  <c:v>0</c:v>
                </c:pt>
                <c:pt idx="52683">
                  <c:v>0</c:v>
                </c:pt>
                <c:pt idx="52684">
                  <c:v>0</c:v>
                </c:pt>
                <c:pt idx="52685">
                  <c:v>0</c:v>
                </c:pt>
                <c:pt idx="52686">
                  <c:v>0</c:v>
                </c:pt>
                <c:pt idx="52687">
                  <c:v>0</c:v>
                </c:pt>
                <c:pt idx="52688">
                  <c:v>0</c:v>
                </c:pt>
                <c:pt idx="52689">
                  <c:v>0</c:v>
                </c:pt>
                <c:pt idx="52690">
                  <c:v>0</c:v>
                </c:pt>
                <c:pt idx="52691">
                  <c:v>0</c:v>
                </c:pt>
                <c:pt idx="52692">
                  <c:v>0</c:v>
                </c:pt>
                <c:pt idx="52693">
                  <c:v>0</c:v>
                </c:pt>
                <c:pt idx="52694">
                  <c:v>0</c:v>
                </c:pt>
                <c:pt idx="52695">
                  <c:v>0</c:v>
                </c:pt>
                <c:pt idx="52696">
                  <c:v>0</c:v>
                </c:pt>
                <c:pt idx="52697">
                  <c:v>0</c:v>
                </c:pt>
                <c:pt idx="52698">
                  <c:v>0</c:v>
                </c:pt>
                <c:pt idx="52699">
                  <c:v>0</c:v>
                </c:pt>
                <c:pt idx="52700">
                  <c:v>0</c:v>
                </c:pt>
                <c:pt idx="52701">
                  <c:v>0</c:v>
                </c:pt>
                <c:pt idx="52702">
                  <c:v>0</c:v>
                </c:pt>
                <c:pt idx="52703">
                  <c:v>0</c:v>
                </c:pt>
                <c:pt idx="52704">
                  <c:v>0</c:v>
                </c:pt>
                <c:pt idx="52705">
                  <c:v>0</c:v>
                </c:pt>
                <c:pt idx="52706">
                  <c:v>0</c:v>
                </c:pt>
                <c:pt idx="52707">
                  <c:v>0</c:v>
                </c:pt>
                <c:pt idx="52708">
                  <c:v>0</c:v>
                </c:pt>
                <c:pt idx="52709">
                  <c:v>0</c:v>
                </c:pt>
                <c:pt idx="52710">
                  <c:v>0</c:v>
                </c:pt>
                <c:pt idx="52711">
                  <c:v>0</c:v>
                </c:pt>
                <c:pt idx="52712">
                  <c:v>0</c:v>
                </c:pt>
                <c:pt idx="52713">
                  <c:v>0</c:v>
                </c:pt>
                <c:pt idx="52714">
                  <c:v>0</c:v>
                </c:pt>
                <c:pt idx="52715">
                  <c:v>0</c:v>
                </c:pt>
                <c:pt idx="52716">
                  <c:v>0</c:v>
                </c:pt>
                <c:pt idx="52717">
                  <c:v>0</c:v>
                </c:pt>
                <c:pt idx="52718">
                  <c:v>0</c:v>
                </c:pt>
                <c:pt idx="52719">
                  <c:v>0</c:v>
                </c:pt>
                <c:pt idx="52720">
                  <c:v>0</c:v>
                </c:pt>
                <c:pt idx="52721">
                  <c:v>0</c:v>
                </c:pt>
                <c:pt idx="52722">
                  <c:v>0</c:v>
                </c:pt>
                <c:pt idx="52723">
                  <c:v>0</c:v>
                </c:pt>
                <c:pt idx="52724">
                  <c:v>0</c:v>
                </c:pt>
                <c:pt idx="52725">
                  <c:v>0</c:v>
                </c:pt>
                <c:pt idx="52726">
                  <c:v>0</c:v>
                </c:pt>
                <c:pt idx="52727">
                  <c:v>0</c:v>
                </c:pt>
                <c:pt idx="52728">
                  <c:v>0</c:v>
                </c:pt>
                <c:pt idx="52729">
                  <c:v>0</c:v>
                </c:pt>
                <c:pt idx="52730">
                  <c:v>0</c:v>
                </c:pt>
                <c:pt idx="52731">
                  <c:v>0</c:v>
                </c:pt>
                <c:pt idx="52732">
                  <c:v>0</c:v>
                </c:pt>
                <c:pt idx="52733">
                  <c:v>0</c:v>
                </c:pt>
                <c:pt idx="52734">
                  <c:v>0</c:v>
                </c:pt>
                <c:pt idx="52735">
                  <c:v>0</c:v>
                </c:pt>
                <c:pt idx="52736">
                  <c:v>0</c:v>
                </c:pt>
                <c:pt idx="52737">
                  <c:v>0</c:v>
                </c:pt>
                <c:pt idx="52738">
                  <c:v>0</c:v>
                </c:pt>
                <c:pt idx="52739">
                  <c:v>0</c:v>
                </c:pt>
                <c:pt idx="52740">
                  <c:v>0</c:v>
                </c:pt>
                <c:pt idx="52741">
                  <c:v>0</c:v>
                </c:pt>
                <c:pt idx="52742">
                  <c:v>0</c:v>
                </c:pt>
                <c:pt idx="52743">
                  <c:v>0</c:v>
                </c:pt>
                <c:pt idx="52744">
                  <c:v>0</c:v>
                </c:pt>
                <c:pt idx="52745">
                  <c:v>0</c:v>
                </c:pt>
                <c:pt idx="52746">
                  <c:v>0</c:v>
                </c:pt>
                <c:pt idx="52747">
                  <c:v>0</c:v>
                </c:pt>
                <c:pt idx="52748">
                  <c:v>0</c:v>
                </c:pt>
                <c:pt idx="52749">
                  <c:v>0</c:v>
                </c:pt>
                <c:pt idx="52750">
                  <c:v>0</c:v>
                </c:pt>
                <c:pt idx="52751">
                  <c:v>0</c:v>
                </c:pt>
                <c:pt idx="52752">
                  <c:v>0</c:v>
                </c:pt>
                <c:pt idx="52753">
                  <c:v>0</c:v>
                </c:pt>
                <c:pt idx="52754">
                  <c:v>0</c:v>
                </c:pt>
                <c:pt idx="52755">
                  <c:v>0</c:v>
                </c:pt>
                <c:pt idx="52756">
                  <c:v>0</c:v>
                </c:pt>
                <c:pt idx="52757">
                  <c:v>0</c:v>
                </c:pt>
                <c:pt idx="52758">
                  <c:v>0</c:v>
                </c:pt>
                <c:pt idx="52759">
                  <c:v>0</c:v>
                </c:pt>
                <c:pt idx="52760">
                  <c:v>0</c:v>
                </c:pt>
                <c:pt idx="52761">
                  <c:v>0</c:v>
                </c:pt>
                <c:pt idx="52762">
                  <c:v>0</c:v>
                </c:pt>
                <c:pt idx="52763">
                  <c:v>0</c:v>
                </c:pt>
                <c:pt idx="52764">
                  <c:v>0</c:v>
                </c:pt>
                <c:pt idx="52765">
                  <c:v>0</c:v>
                </c:pt>
                <c:pt idx="52766">
                  <c:v>0</c:v>
                </c:pt>
                <c:pt idx="52767">
                  <c:v>0</c:v>
                </c:pt>
                <c:pt idx="52768">
                  <c:v>0</c:v>
                </c:pt>
                <c:pt idx="52769">
                  <c:v>0</c:v>
                </c:pt>
                <c:pt idx="52770">
                  <c:v>0</c:v>
                </c:pt>
                <c:pt idx="52771">
                  <c:v>0</c:v>
                </c:pt>
                <c:pt idx="52772">
                  <c:v>0</c:v>
                </c:pt>
                <c:pt idx="52773">
                  <c:v>0</c:v>
                </c:pt>
                <c:pt idx="52774">
                  <c:v>0</c:v>
                </c:pt>
                <c:pt idx="52775">
                  <c:v>0</c:v>
                </c:pt>
                <c:pt idx="52776">
                  <c:v>0</c:v>
                </c:pt>
                <c:pt idx="52777">
                  <c:v>0</c:v>
                </c:pt>
                <c:pt idx="52778">
                  <c:v>0</c:v>
                </c:pt>
                <c:pt idx="52779">
                  <c:v>0</c:v>
                </c:pt>
                <c:pt idx="52780">
                  <c:v>0</c:v>
                </c:pt>
                <c:pt idx="52781">
                  <c:v>0</c:v>
                </c:pt>
                <c:pt idx="52782">
                  <c:v>0</c:v>
                </c:pt>
                <c:pt idx="52783">
                  <c:v>0</c:v>
                </c:pt>
                <c:pt idx="52784">
                  <c:v>0</c:v>
                </c:pt>
                <c:pt idx="52785">
                  <c:v>0</c:v>
                </c:pt>
                <c:pt idx="52786">
                  <c:v>0</c:v>
                </c:pt>
                <c:pt idx="52787">
                  <c:v>0</c:v>
                </c:pt>
                <c:pt idx="52788">
                  <c:v>0</c:v>
                </c:pt>
                <c:pt idx="52789">
                  <c:v>0</c:v>
                </c:pt>
                <c:pt idx="52790">
                  <c:v>0</c:v>
                </c:pt>
                <c:pt idx="52791">
                  <c:v>0</c:v>
                </c:pt>
                <c:pt idx="52792">
                  <c:v>0</c:v>
                </c:pt>
                <c:pt idx="52793">
                  <c:v>0</c:v>
                </c:pt>
                <c:pt idx="52794">
                  <c:v>0</c:v>
                </c:pt>
                <c:pt idx="52795">
                  <c:v>0</c:v>
                </c:pt>
                <c:pt idx="52796">
                  <c:v>0</c:v>
                </c:pt>
                <c:pt idx="52797">
                  <c:v>0</c:v>
                </c:pt>
                <c:pt idx="52798">
                  <c:v>0</c:v>
                </c:pt>
                <c:pt idx="52799">
                  <c:v>0</c:v>
                </c:pt>
                <c:pt idx="52800">
                  <c:v>0</c:v>
                </c:pt>
                <c:pt idx="52801">
                  <c:v>0</c:v>
                </c:pt>
                <c:pt idx="52802">
                  <c:v>0</c:v>
                </c:pt>
                <c:pt idx="52803">
                  <c:v>0</c:v>
                </c:pt>
                <c:pt idx="52804">
                  <c:v>0</c:v>
                </c:pt>
                <c:pt idx="52805">
                  <c:v>0</c:v>
                </c:pt>
                <c:pt idx="52806">
                  <c:v>0</c:v>
                </c:pt>
                <c:pt idx="52807">
                  <c:v>0</c:v>
                </c:pt>
                <c:pt idx="52808">
                  <c:v>0</c:v>
                </c:pt>
                <c:pt idx="52809">
                  <c:v>0</c:v>
                </c:pt>
                <c:pt idx="52810">
                  <c:v>0</c:v>
                </c:pt>
                <c:pt idx="52811">
                  <c:v>0</c:v>
                </c:pt>
                <c:pt idx="52812">
                  <c:v>0</c:v>
                </c:pt>
                <c:pt idx="52813">
                  <c:v>0</c:v>
                </c:pt>
                <c:pt idx="52814">
                  <c:v>0</c:v>
                </c:pt>
                <c:pt idx="52815">
                  <c:v>0</c:v>
                </c:pt>
                <c:pt idx="52816">
                  <c:v>0</c:v>
                </c:pt>
                <c:pt idx="52817">
                  <c:v>0</c:v>
                </c:pt>
                <c:pt idx="52818">
                  <c:v>0</c:v>
                </c:pt>
                <c:pt idx="52819">
                  <c:v>0</c:v>
                </c:pt>
                <c:pt idx="52820">
                  <c:v>0</c:v>
                </c:pt>
                <c:pt idx="52821">
                  <c:v>0</c:v>
                </c:pt>
                <c:pt idx="52822">
                  <c:v>0</c:v>
                </c:pt>
                <c:pt idx="52823">
                  <c:v>0</c:v>
                </c:pt>
                <c:pt idx="52824">
                  <c:v>0</c:v>
                </c:pt>
                <c:pt idx="52825">
                  <c:v>0</c:v>
                </c:pt>
                <c:pt idx="52826">
                  <c:v>0</c:v>
                </c:pt>
                <c:pt idx="52827">
                  <c:v>0</c:v>
                </c:pt>
                <c:pt idx="52828">
                  <c:v>0</c:v>
                </c:pt>
                <c:pt idx="52829">
                  <c:v>0</c:v>
                </c:pt>
                <c:pt idx="52830">
                  <c:v>0</c:v>
                </c:pt>
                <c:pt idx="52831">
                  <c:v>0</c:v>
                </c:pt>
                <c:pt idx="52832">
                  <c:v>0</c:v>
                </c:pt>
                <c:pt idx="52833">
                  <c:v>0</c:v>
                </c:pt>
                <c:pt idx="52834">
                  <c:v>0</c:v>
                </c:pt>
                <c:pt idx="52835">
                  <c:v>0</c:v>
                </c:pt>
                <c:pt idx="52836">
                  <c:v>0</c:v>
                </c:pt>
                <c:pt idx="52837">
                  <c:v>0</c:v>
                </c:pt>
                <c:pt idx="52838">
                  <c:v>0</c:v>
                </c:pt>
                <c:pt idx="52839">
                  <c:v>0</c:v>
                </c:pt>
                <c:pt idx="52840">
                  <c:v>0</c:v>
                </c:pt>
                <c:pt idx="52841">
                  <c:v>0</c:v>
                </c:pt>
                <c:pt idx="52842">
                  <c:v>0</c:v>
                </c:pt>
                <c:pt idx="52843">
                  <c:v>0</c:v>
                </c:pt>
                <c:pt idx="52844">
                  <c:v>0</c:v>
                </c:pt>
                <c:pt idx="52845">
                  <c:v>0</c:v>
                </c:pt>
                <c:pt idx="52846">
                  <c:v>0</c:v>
                </c:pt>
                <c:pt idx="52847">
                  <c:v>0</c:v>
                </c:pt>
                <c:pt idx="52848">
                  <c:v>0</c:v>
                </c:pt>
                <c:pt idx="52849">
                  <c:v>0</c:v>
                </c:pt>
                <c:pt idx="52850">
                  <c:v>0</c:v>
                </c:pt>
                <c:pt idx="52851">
                  <c:v>0</c:v>
                </c:pt>
                <c:pt idx="52852">
                  <c:v>0</c:v>
                </c:pt>
                <c:pt idx="52853">
                  <c:v>0</c:v>
                </c:pt>
                <c:pt idx="52854">
                  <c:v>0</c:v>
                </c:pt>
                <c:pt idx="52855">
                  <c:v>0</c:v>
                </c:pt>
                <c:pt idx="52856">
                  <c:v>0</c:v>
                </c:pt>
                <c:pt idx="52857">
                  <c:v>0</c:v>
                </c:pt>
                <c:pt idx="52858">
                  <c:v>0</c:v>
                </c:pt>
                <c:pt idx="52859">
                  <c:v>0</c:v>
                </c:pt>
                <c:pt idx="52860">
                  <c:v>0</c:v>
                </c:pt>
                <c:pt idx="52861">
                  <c:v>0</c:v>
                </c:pt>
                <c:pt idx="52862">
                  <c:v>0</c:v>
                </c:pt>
                <c:pt idx="52863">
                  <c:v>0</c:v>
                </c:pt>
                <c:pt idx="52864">
                  <c:v>0</c:v>
                </c:pt>
                <c:pt idx="52865">
                  <c:v>0</c:v>
                </c:pt>
                <c:pt idx="52866">
                  <c:v>0</c:v>
                </c:pt>
                <c:pt idx="52867">
                  <c:v>0</c:v>
                </c:pt>
                <c:pt idx="52868">
                  <c:v>0</c:v>
                </c:pt>
                <c:pt idx="52869">
                  <c:v>0</c:v>
                </c:pt>
                <c:pt idx="52870">
                  <c:v>0</c:v>
                </c:pt>
                <c:pt idx="52871">
                  <c:v>0</c:v>
                </c:pt>
                <c:pt idx="52872">
                  <c:v>0</c:v>
                </c:pt>
                <c:pt idx="52873">
                  <c:v>0</c:v>
                </c:pt>
                <c:pt idx="52874">
                  <c:v>0</c:v>
                </c:pt>
                <c:pt idx="52875">
                  <c:v>0</c:v>
                </c:pt>
                <c:pt idx="52876">
                  <c:v>0</c:v>
                </c:pt>
                <c:pt idx="52877">
                  <c:v>0</c:v>
                </c:pt>
                <c:pt idx="52878">
                  <c:v>0</c:v>
                </c:pt>
                <c:pt idx="52879">
                  <c:v>0</c:v>
                </c:pt>
                <c:pt idx="52880">
                  <c:v>0</c:v>
                </c:pt>
                <c:pt idx="52881">
                  <c:v>0</c:v>
                </c:pt>
                <c:pt idx="52882">
                  <c:v>0</c:v>
                </c:pt>
                <c:pt idx="52883">
                  <c:v>0</c:v>
                </c:pt>
                <c:pt idx="52884">
                  <c:v>0</c:v>
                </c:pt>
                <c:pt idx="52885">
                  <c:v>0</c:v>
                </c:pt>
                <c:pt idx="52886">
                  <c:v>0</c:v>
                </c:pt>
                <c:pt idx="52887">
                  <c:v>0</c:v>
                </c:pt>
                <c:pt idx="52888">
                  <c:v>0</c:v>
                </c:pt>
                <c:pt idx="52889">
                  <c:v>0</c:v>
                </c:pt>
                <c:pt idx="52890">
                  <c:v>0</c:v>
                </c:pt>
                <c:pt idx="52891">
                  <c:v>0</c:v>
                </c:pt>
                <c:pt idx="52892">
                  <c:v>0</c:v>
                </c:pt>
                <c:pt idx="52893">
                  <c:v>0</c:v>
                </c:pt>
                <c:pt idx="52894">
                  <c:v>0</c:v>
                </c:pt>
                <c:pt idx="52895">
                  <c:v>0</c:v>
                </c:pt>
                <c:pt idx="52896">
                  <c:v>0</c:v>
                </c:pt>
                <c:pt idx="52897">
                  <c:v>0</c:v>
                </c:pt>
                <c:pt idx="52898">
                  <c:v>0</c:v>
                </c:pt>
                <c:pt idx="52899">
                  <c:v>0</c:v>
                </c:pt>
                <c:pt idx="52900">
                  <c:v>0</c:v>
                </c:pt>
                <c:pt idx="52901">
                  <c:v>0</c:v>
                </c:pt>
                <c:pt idx="52902">
                  <c:v>0</c:v>
                </c:pt>
                <c:pt idx="52903">
                  <c:v>0</c:v>
                </c:pt>
                <c:pt idx="52904">
                  <c:v>0</c:v>
                </c:pt>
                <c:pt idx="52905">
                  <c:v>0</c:v>
                </c:pt>
                <c:pt idx="52906">
                  <c:v>0</c:v>
                </c:pt>
                <c:pt idx="52907">
                  <c:v>0</c:v>
                </c:pt>
                <c:pt idx="52908">
                  <c:v>0</c:v>
                </c:pt>
                <c:pt idx="52909">
                  <c:v>0</c:v>
                </c:pt>
                <c:pt idx="52910">
                  <c:v>0</c:v>
                </c:pt>
                <c:pt idx="52911">
                  <c:v>0</c:v>
                </c:pt>
                <c:pt idx="52912">
                  <c:v>0</c:v>
                </c:pt>
                <c:pt idx="52913">
                  <c:v>0</c:v>
                </c:pt>
                <c:pt idx="52914">
                  <c:v>0</c:v>
                </c:pt>
                <c:pt idx="52915">
                  <c:v>0</c:v>
                </c:pt>
                <c:pt idx="52916">
                  <c:v>0</c:v>
                </c:pt>
                <c:pt idx="52917">
                  <c:v>0</c:v>
                </c:pt>
                <c:pt idx="52918">
                  <c:v>0</c:v>
                </c:pt>
                <c:pt idx="52919">
                  <c:v>0</c:v>
                </c:pt>
                <c:pt idx="52920">
                  <c:v>0</c:v>
                </c:pt>
                <c:pt idx="52921">
                  <c:v>0</c:v>
                </c:pt>
                <c:pt idx="52922">
                  <c:v>0</c:v>
                </c:pt>
                <c:pt idx="52923">
                  <c:v>0</c:v>
                </c:pt>
                <c:pt idx="52924">
                  <c:v>0</c:v>
                </c:pt>
                <c:pt idx="52925">
                  <c:v>0</c:v>
                </c:pt>
                <c:pt idx="52926">
                  <c:v>0</c:v>
                </c:pt>
                <c:pt idx="52927">
                  <c:v>0</c:v>
                </c:pt>
                <c:pt idx="52928">
                  <c:v>0</c:v>
                </c:pt>
                <c:pt idx="52929">
                  <c:v>0</c:v>
                </c:pt>
                <c:pt idx="52930">
                  <c:v>0</c:v>
                </c:pt>
                <c:pt idx="52931">
                  <c:v>0</c:v>
                </c:pt>
                <c:pt idx="52932">
                  <c:v>0</c:v>
                </c:pt>
                <c:pt idx="52933">
                  <c:v>0</c:v>
                </c:pt>
                <c:pt idx="52934">
                  <c:v>0</c:v>
                </c:pt>
                <c:pt idx="52935">
                  <c:v>0</c:v>
                </c:pt>
                <c:pt idx="52936">
                  <c:v>0</c:v>
                </c:pt>
                <c:pt idx="52937">
                  <c:v>0</c:v>
                </c:pt>
                <c:pt idx="52938">
                  <c:v>0</c:v>
                </c:pt>
                <c:pt idx="52939">
                  <c:v>0</c:v>
                </c:pt>
                <c:pt idx="52940">
                  <c:v>0</c:v>
                </c:pt>
                <c:pt idx="52941">
                  <c:v>0</c:v>
                </c:pt>
                <c:pt idx="52942">
                  <c:v>0</c:v>
                </c:pt>
                <c:pt idx="52943">
                  <c:v>0</c:v>
                </c:pt>
                <c:pt idx="52944">
                  <c:v>0</c:v>
                </c:pt>
                <c:pt idx="52945">
                  <c:v>0</c:v>
                </c:pt>
                <c:pt idx="52946">
                  <c:v>0</c:v>
                </c:pt>
                <c:pt idx="52947">
                  <c:v>0</c:v>
                </c:pt>
                <c:pt idx="52948">
                  <c:v>0</c:v>
                </c:pt>
                <c:pt idx="52949">
                  <c:v>0</c:v>
                </c:pt>
                <c:pt idx="52950">
                  <c:v>0</c:v>
                </c:pt>
                <c:pt idx="52951">
                  <c:v>0</c:v>
                </c:pt>
                <c:pt idx="52952">
                  <c:v>0</c:v>
                </c:pt>
                <c:pt idx="52953">
                  <c:v>0</c:v>
                </c:pt>
                <c:pt idx="52954">
                  <c:v>0</c:v>
                </c:pt>
                <c:pt idx="52955">
                  <c:v>0</c:v>
                </c:pt>
                <c:pt idx="52956">
                  <c:v>0</c:v>
                </c:pt>
                <c:pt idx="52957">
                  <c:v>0</c:v>
                </c:pt>
                <c:pt idx="52958">
                  <c:v>0</c:v>
                </c:pt>
                <c:pt idx="52959">
                  <c:v>0</c:v>
                </c:pt>
                <c:pt idx="52960">
                  <c:v>0</c:v>
                </c:pt>
                <c:pt idx="52961">
                  <c:v>0</c:v>
                </c:pt>
                <c:pt idx="52962">
                  <c:v>0</c:v>
                </c:pt>
                <c:pt idx="52963">
                  <c:v>0</c:v>
                </c:pt>
                <c:pt idx="52964">
                  <c:v>0</c:v>
                </c:pt>
                <c:pt idx="52965">
                  <c:v>0</c:v>
                </c:pt>
                <c:pt idx="52966">
                  <c:v>0</c:v>
                </c:pt>
                <c:pt idx="52967">
                  <c:v>0</c:v>
                </c:pt>
                <c:pt idx="52968">
                  <c:v>0</c:v>
                </c:pt>
                <c:pt idx="52969">
                  <c:v>0</c:v>
                </c:pt>
                <c:pt idx="52970">
                  <c:v>0</c:v>
                </c:pt>
                <c:pt idx="52971">
                  <c:v>0</c:v>
                </c:pt>
                <c:pt idx="52972">
                  <c:v>0</c:v>
                </c:pt>
                <c:pt idx="52973">
                  <c:v>0</c:v>
                </c:pt>
                <c:pt idx="52974">
                  <c:v>0</c:v>
                </c:pt>
                <c:pt idx="52975">
                  <c:v>0</c:v>
                </c:pt>
                <c:pt idx="52976">
                  <c:v>0</c:v>
                </c:pt>
                <c:pt idx="52977">
                  <c:v>0</c:v>
                </c:pt>
                <c:pt idx="52978">
                  <c:v>0</c:v>
                </c:pt>
                <c:pt idx="52979">
                  <c:v>0</c:v>
                </c:pt>
                <c:pt idx="52980">
                  <c:v>0</c:v>
                </c:pt>
                <c:pt idx="52981">
                  <c:v>0</c:v>
                </c:pt>
                <c:pt idx="52982">
                  <c:v>0</c:v>
                </c:pt>
                <c:pt idx="52983">
                  <c:v>0</c:v>
                </c:pt>
                <c:pt idx="52984">
                  <c:v>0</c:v>
                </c:pt>
                <c:pt idx="52985">
                  <c:v>0</c:v>
                </c:pt>
                <c:pt idx="52986">
                  <c:v>0</c:v>
                </c:pt>
                <c:pt idx="52987">
                  <c:v>0</c:v>
                </c:pt>
                <c:pt idx="52988">
                  <c:v>0</c:v>
                </c:pt>
                <c:pt idx="52989">
                  <c:v>0</c:v>
                </c:pt>
                <c:pt idx="52990">
                  <c:v>0</c:v>
                </c:pt>
                <c:pt idx="52991">
                  <c:v>0</c:v>
                </c:pt>
                <c:pt idx="52992">
                  <c:v>0</c:v>
                </c:pt>
                <c:pt idx="52993">
                  <c:v>0</c:v>
                </c:pt>
                <c:pt idx="52994">
                  <c:v>0</c:v>
                </c:pt>
                <c:pt idx="52995">
                  <c:v>0</c:v>
                </c:pt>
                <c:pt idx="52996">
                  <c:v>0</c:v>
                </c:pt>
                <c:pt idx="52997">
                  <c:v>0</c:v>
                </c:pt>
                <c:pt idx="52998">
                  <c:v>0</c:v>
                </c:pt>
                <c:pt idx="52999">
                  <c:v>0</c:v>
                </c:pt>
                <c:pt idx="53000">
                  <c:v>0</c:v>
                </c:pt>
                <c:pt idx="53001">
                  <c:v>0</c:v>
                </c:pt>
                <c:pt idx="53002">
                  <c:v>0</c:v>
                </c:pt>
                <c:pt idx="53003">
                  <c:v>0</c:v>
                </c:pt>
                <c:pt idx="53004">
                  <c:v>0</c:v>
                </c:pt>
                <c:pt idx="53005">
                  <c:v>0</c:v>
                </c:pt>
                <c:pt idx="53006">
                  <c:v>0</c:v>
                </c:pt>
                <c:pt idx="53007">
                  <c:v>0</c:v>
                </c:pt>
                <c:pt idx="53008">
                  <c:v>0</c:v>
                </c:pt>
                <c:pt idx="53009">
                  <c:v>0</c:v>
                </c:pt>
                <c:pt idx="53010">
                  <c:v>0</c:v>
                </c:pt>
                <c:pt idx="53011">
                  <c:v>0</c:v>
                </c:pt>
                <c:pt idx="53012">
                  <c:v>0</c:v>
                </c:pt>
                <c:pt idx="53013">
                  <c:v>0</c:v>
                </c:pt>
                <c:pt idx="53014">
                  <c:v>0</c:v>
                </c:pt>
                <c:pt idx="53015">
                  <c:v>0</c:v>
                </c:pt>
                <c:pt idx="53016">
                  <c:v>0</c:v>
                </c:pt>
                <c:pt idx="53017">
                  <c:v>0</c:v>
                </c:pt>
                <c:pt idx="53018">
                  <c:v>0</c:v>
                </c:pt>
                <c:pt idx="53019">
                  <c:v>0</c:v>
                </c:pt>
                <c:pt idx="53020">
                  <c:v>0</c:v>
                </c:pt>
                <c:pt idx="53021">
                  <c:v>0</c:v>
                </c:pt>
                <c:pt idx="53022">
                  <c:v>0</c:v>
                </c:pt>
                <c:pt idx="53023">
                  <c:v>0</c:v>
                </c:pt>
                <c:pt idx="53024">
                  <c:v>0</c:v>
                </c:pt>
                <c:pt idx="53025">
                  <c:v>0</c:v>
                </c:pt>
                <c:pt idx="53026">
                  <c:v>0</c:v>
                </c:pt>
                <c:pt idx="53027">
                  <c:v>0</c:v>
                </c:pt>
                <c:pt idx="53028">
                  <c:v>0</c:v>
                </c:pt>
                <c:pt idx="53029">
                  <c:v>0</c:v>
                </c:pt>
                <c:pt idx="53030">
                  <c:v>0</c:v>
                </c:pt>
                <c:pt idx="53031">
                  <c:v>0</c:v>
                </c:pt>
                <c:pt idx="53032">
                  <c:v>0</c:v>
                </c:pt>
                <c:pt idx="53033">
                  <c:v>0</c:v>
                </c:pt>
                <c:pt idx="53034">
                  <c:v>0</c:v>
                </c:pt>
                <c:pt idx="53035">
                  <c:v>0</c:v>
                </c:pt>
                <c:pt idx="53036">
                  <c:v>0</c:v>
                </c:pt>
                <c:pt idx="53037">
                  <c:v>0</c:v>
                </c:pt>
                <c:pt idx="53038">
                  <c:v>0</c:v>
                </c:pt>
                <c:pt idx="53039">
                  <c:v>0</c:v>
                </c:pt>
                <c:pt idx="53040">
                  <c:v>0</c:v>
                </c:pt>
                <c:pt idx="53041">
                  <c:v>0</c:v>
                </c:pt>
                <c:pt idx="53042">
                  <c:v>0</c:v>
                </c:pt>
                <c:pt idx="53043">
                  <c:v>0</c:v>
                </c:pt>
                <c:pt idx="53044">
                  <c:v>0</c:v>
                </c:pt>
                <c:pt idx="53045">
                  <c:v>0</c:v>
                </c:pt>
                <c:pt idx="53046">
                  <c:v>0</c:v>
                </c:pt>
                <c:pt idx="53047">
                  <c:v>0</c:v>
                </c:pt>
                <c:pt idx="53048">
                  <c:v>0</c:v>
                </c:pt>
                <c:pt idx="53049">
                  <c:v>0</c:v>
                </c:pt>
                <c:pt idx="53050">
                  <c:v>0</c:v>
                </c:pt>
                <c:pt idx="53051">
                  <c:v>0</c:v>
                </c:pt>
                <c:pt idx="53052">
                  <c:v>0</c:v>
                </c:pt>
                <c:pt idx="53053">
                  <c:v>0</c:v>
                </c:pt>
                <c:pt idx="53054">
                  <c:v>0</c:v>
                </c:pt>
                <c:pt idx="53055">
                  <c:v>0</c:v>
                </c:pt>
                <c:pt idx="53056">
                  <c:v>0</c:v>
                </c:pt>
                <c:pt idx="53057">
                  <c:v>0</c:v>
                </c:pt>
                <c:pt idx="53058">
                  <c:v>0</c:v>
                </c:pt>
                <c:pt idx="53059">
                  <c:v>0</c:v>
                </c:pt>
                <c:pt idx="53060">
                  <c:v>0</c:v>
                </c:pt>
                <c:pt idx="53061">
                  <c:v>0</c:v>
                </c:pt>
                <c:pt idx="53062">
                  <c:v>0</c:v>
                </c:pt>
                <c:pt idx="53063">
                  <c:v>0</c:v>
                </c:pt>
                <c:pt idx="53064">
                  <c:v>0</c:v>
                </c:pt>
                <c:pt idx="53065">
                  <c:v>0</c:v>
                </c:pt>
                <c:pt idx="53066">
                  <c:v>0</c:v>
                </c:pt>
                <c:pt idx="53067">
                  <c:v>0</c:v>
                </c:pt>
                <c:pt idx="53068">
                  <c:v>0</c:v>
                </c:pt>
                <c:pt idx="53069">
                  <c:v>0</c:v>
                </c:pt>
                <c:pt idx="53070">
                  <c:v>0</c:v>
                </c:pt>
                <c:pt idx="53071">
                  <c:v>0</c:v>
                </c:pt>
                <c:pt idx="53072">
                  <c:v>0</c:v>
                </c:pt>
                <c:pt idx="53073">
                  <c:v>0</c:v>
                </c:pt>
                <c:pt idx="53074">
                  <c:v>0</c:v>
                </c:pt>
                <c:pt idx="53075">
                  <c:v>0</c:v>
                </c:pt>
                <c:pt idx="53076">
                  <c:v>0</c:v>
                </c:pt>
                <c:pt idx="53077">
                  <c:v>0</c:v>
                </c:pt>
                <c:pt idx="53078">
                  <c:v>0</c:v>
                </c:pt>
                <c:pt idx="53079">
                  <c:v>0</c:v>
                </c:pt>
                <c:pt idx="53080">
                  <c:v>0</c:v>
                </c:pt>
                <c:pt idx="53081">
                  <c:v>0</c:v>
                </c:pt>
                <c:pt idx="53082">
                  <c:v>0</c:v>
                </c:pt>
                <c:pt idx="53083">
                  <c:v>0</c:v>
                </c:pt>
                <c:pt idx="53084">
                  <c:v>0</c:v>
                </c:pt>
                <c:pt idx="53085">
                  <c:v>0</c:v>
                </c:pt>
                <c:pt idx="53086">
                  <c:v>0</c:v>
                </c:pt>
                <c:pt idx="53087">
                  <c:v>0</c:v>
                </c:pt>
                <c:pt idx="53088">
                  <c:v>0</c:v>
                </c:pt>
                <c:pt idx="53089">
                  <c:v>0</c:v>
                </c:pt>
                <c:pt idx="53090">
                  <c:v>0</c:v>
                </c:pt>
                <c:pt idx="53091">
                  <c:v>0</c:v>
                </c:pt>
                <c:pt idx="53092">
                  <c:v>0</c:v>
                </c:pt>
                <c:pt idx="53093">
                  <c:v>0</c:v>
                </c:pt>
                <c:pt idx="53094">
                  <c:v>0</c:v>
                </c:pt>
                <c:pt idx="53095">
                  <c:v>0</c:v>
                </c:pt>
                <c:pt idx="53096">
                  <c:v>0</c:v>
                </c:pt>
                <c:pt idx="53097">
                  <c:v>0</c:v>
                </c:pt>
                <c:pt idx="53098">
                  <c:v>0</c:v>
                </c:pt>
                <c:pt idx="53099">
                  <c:v>0</c:v>
                </c:pt>
                <c:pt idx="53100">
                  <c:v>0</c:v>
                </c:pt>
                <c:pt idx="53101">
                  <c:v>0</c:v>
                </c:pt>
                <c:pt idx="53102">
                  <c:v>0</c:v>
                </c:pt>
                <c:pt idx="53103">
                  <c:v>0</c:v>
                </c:pt>
                <c:pt idx="53104">
                  <c:v>0</c:v>
                </c:pt>
                <c:pt idx="53105">
                  <c:v>0</c:v>
                </c:pt>
                <c:pt idx="53106">
                  <c:v>0</c:v>
                </c:pt>
                <c:pt idx="53107">
                  <c:v>0</c:v>
                </c:pt>
                <c:pt idx="53108">
                  <c:v>0</c:v>
                </c:pt>
                <c:pt idx="53109">
                  <c:v>0</c:v>
                </c:pt>
                <c:pt idx="53110">
                  <c:v>0</c:v>
                </c:pt>
                <c:pt idx="53111">
                  <c:v>0</c:v>
                </c:pt>
                <c:pt idx="53112">
                  <c:v>0</c:v>
                </c:pt>
                <c:pt idx="53113">
                  <c:v>0</c:v>
                </c:pt>
                <c:pt idx="53114">
                  <c:v>0</c:v>
                </c:pt>
                <c:pt idx="53115">
                  <c:v>0</c:v>
                </c:pt>
                <c:pt idx="53116">
                  <c:v>0</c:v>
                </c:pt>
                <c:pt idx="53117">
                  <c:v>0</c:v>
                </c:pt>
                <c:pt idx="53118">
                  <c:v>0</c:v>
                </c:pt>
                <c:pt idx="53119">
                  <c:v>0</c:v>
                </c:pt>
                <c:pt idx="53120">
                  <c:v>0</c:v>
                </c:pt>
                <c:pt idx="53121">
                  <c:v>0</c:v>
                </c:pt>
                <c:pt idx="53122">
                  <c:v>0</c:v>
                </c:pt>
                <c:pt idx="53123">
                  <c:v>0</c:v>
                </c:pt>
                <c:pt idx="53124">
                  <c:v>0</c:v>
                </c:pt>
                <c:pt idx="53125">
                  <c:v>0</c:v>
                </c:pt>
                <c:pt idx="53126">
                  <c:v>0</c:v>
                </c:pt>
                <c:pt idx="53127">
                  <c:v>0</c:v>
                </c:pt>
                <c:pt idx="53128">
                  <c:v>0</c:v>
                </c:pt>
                <c:pt idx="53129">
                  <c:v>0</c:v>
                </c:pt>
                <c:pt idx="53130">
                  <c:v>0</c:v>
                </c:pt>
                <c:pt idx="53131">
                  <c:v>0</c:v>
                </c:pt>
                <c:pt idx="53132">
                  <c:v>0</c:v>
                </c:pt>
                <c:pt idx="53133">
                  <c:v>0</c:v>
                </c:pt>
                <c:pt idx="53134">
                  <c:v>0</c:v>
                </c:pt>
                <c:pt idx="53135">
                  <c:v>0</c:v>
                </c:pt>
                <c:pt idx="53136">
                  <c:v>0</c:v>
                </c:pt>
                <c:pt idx="53137">
                  <c:v>0</c:v>
                </c:pt>
                <c:pt idx="53138">
                  <c:v>0</c:v>
                </c:pt>
                <c:pt idx="53139">
                  <c:v>0</c:v>
                </c:pt>
                <c:pt idx="53140">
                  <c:v>0</c:v>
                </c:pt>
                <c:pt idx="53141">
                  <c:v>0</c:v>
                </c:pt>
                <c:pt idx="53142">
                  <c:v>0</c:v>
                </c:pt>
                <c:pt idx="53143">
                  <c:v>0</c:v>
                </c:pt>
                <c:pt idx="53144">
                  <c:v>0</c:v>
                </c:pt>
                <c:pt idx="53145">
                  <c:v>0</c:v>
                </c:pt>
                <c:pt idx="53146">
                  <c:v>0</c:v>
                </c:pt>
                <c:pt idx="53147">
                  <c:v>0</c:v>
                </c:pt>
                <c:pt idx="53148">
                  <c:v>0</c:v>
                </c:pt>
                <c:pt idx="53149">
                  <c:v>0</c:v>
                </c:pt>
                <c:pt idx="53150">
                  <c:v>0</c:v>
                </c:pt>
                <c:pt idx="53151">
                  <c:v>0</c:v>
                </c:pt>
                <c:pt idx="53152">
                  <c:v>0</c:v>
                </c:pt>
                <c:pt idx="53153">
                  <c:v>0</c:v>
                </c:pt>
                <c:pt idx="53154">
                  <c:v>0</c:v>
                </c:pt>
                <c:pt idx="53155">
                  <c:v>0</c:v>
                </c:pt>
                <c:pt idx="53156">
                  <c:v>0</c:v>
                </c:pt>
                <c:pt idx="53157">
                  <c:v>0</c:v>
                </c:pt>
                <c:pt idx="53158">
                  <c:v>0</c:v>
                </c:pt>
                <c:pt idx="53159">
                  <c:v>0</c:v>
                </c:pt>
                <c:pt idx="53160">
                  <c:v>0</c:v>
                </c:pt>
                <c:pt idx="53161">
                  <c:v>0</c:v>
                </c:pt>
                <c:pt idx="53162">
                  <c:v>0</c:v>
                </c:pt>
                <c:pt idx="53163">
                  <c:v>0</c:v>
                </c:pt>
                <c:pt idx="53164">
                  <c:v>0</c:v>
                </c:pt>
                <c:pt idx="53165">
                  <c:v>0</c:v>
                </c:pt>
                <c:pt idx="53166">
                  <c:v>0</c:v>
                </c:pt>
                <c:pt idx="53167">
                  <c:v>0</c:v>
                </c:pt>
                <c:pt idx="53168">
                  <c:v>0</c:v>
                </c:pt>
                <c:pt idx="53169">
                  <c:v>0</c:v>
                </c:pt>
                <c:pt idx="53170">
                  <c:v>0</c:v>
                </c:pt>
                <c:pt idx="53171">
                  <c:v>0</c:v>
                </c:pt>
                <c:pt idx="53172">
                  <c:v>0</c:v>
                </c:pt>
                <c:pt idx="53173">
                  <c:v>0</c:v>
                </c:pt>
                <c:pt idx="53174">
                  <c:v>0</c:v>
                </c:pt>
                <c:pt idx="53175">
                  <c:v>0</c:v>
                </c:pt>
                <c:pt idx="53176">
                  <c:v>0</c:v>
                </c:pt>
                <c:pt idx="53177">
                  <c:v>0</c:v>
                </c:pt>
                <c:pt idx="53178">
                  <c:v>0</c:v>
                </c:pt>
                <c:pt idx="53179">
                  <c:v>0</c:v>
                </c:pt>
                <c:pt idx="53180">
                  <c:v>0</c:v>
                </c:pt>
                <c:pt idx="53181">
                  <c:v>0</c:v>
                </c:pt>
                <c:pt idx="53182">
                  <c:v>0</c:v>
                </c:pt>
                <c:pt idx="53183">
                  <c:v>0</c:v>
                </c:pt>
                <c:pt idx="53184">
                  <c:v>0</c:v>
                </c:pt>
                <c:pt idx="53185">
                  <c:v>0</c:v>
                </c:pt>
                <c:pt idx="53186">
                  <c:v>0</c:v>
                </c:pt>
                <c:pt idx="53187">
                  <c:v>0</c:v>
                </c:pt>
                <c:pt idx="53188">
                  <c:v>0</c:v>
                </c:pt>
                <c:pt idx="53189">
                  <c:v>0</c:v>
                </c:pt>
                <c:pt idx="53190">
                  <c:v>0</c:v>
                </c:pt>
                <c:pt idx="53191">
                  <c:v>0</c:v>
                </c:pt>
                <c:pt idx="53192">
                  <c:v>0</c:v>
                </c:pt>
                <c:pt idx="53193">
                  <c:v>0</c:v>
                </c:pt>
                <c:pt idx="53194">
                  <c:v>0</c:v>
                </c:pt>
                <c:pt idx="53195">
                  <c:v>0</c:v>
                </c:pt>
                <c:pt idx="53196">
                  <c:v>0</c:v>
                </c:pt>
                <c:pt idx="53197">
                  <c:v>0</c:v>
                </c:pt>
                <c:pt idx="53198">
                  <c:v>0</c:v>
                </c:pt>
                <c:pt idx="53199">
                  <c:v>0</c:v>
                </c:pt>
                <c:pt idx="53200">
                  <c:v>0</c:v>
                </c:pt>
                <c:pt idx="53201">
                  <c:v>0</c:v>
                </c:pt>
                <c:pt idx="53202">
                  <c:v>0</c:v>
                </c:pt>
                <c:pt idx="53203">
                  <c:v>0</c:v>
                </c:pt>
                <c:pt idx="53204">
                  <c:v>0</c:v>
                </c:pt>
                <c:pt idx="53205">
                  <c:v>0</c:v>
                </c:pt>
                <c:pt idx="53206">
                  <c:v>0</c:v>
                </c:pt>
                <c:pt idx="53207">
                  <c:v>0</c:v>
                </c:pt>
                <c:pt idx="53208">
                  <c:v>0</c:v>
                </c:pt>
                <c:pt idx="53209">
                  <c:v>0</c:v>
                </c:pt>
                <c:pt idx="53210">
                  <c:v>0</c:v>
                </c:pt>
                <c:pt idx="53211">
                  <c:v>0</c:v>
                </c:pt>
                <c:pt idx="53212">
                  <c:v>0</c:v>
                </c:pt>
                <c:pt idx="53213">
                  <c:v>0</c:v>
                </c:pt>
                <c:pt idx="53214">
                  <c:v>0</c:v>
                </c:pt>
                <c:pt idx="53215">
                  <c:v>0</c:v>
                </c:pt>
                <c:pt idx="53216">
                  <c:v>0</c:v>
                </c:pt>
                <c:pt idx="53217">
                  <c:v>0</c:v>
                </c:pt>
                <c:pt idx="53218">
                  <c:v>0</c:v>
                </c:pt>
                <c:pt idx="53219">
                  <c:v>0</c:v>
                </c:pt>
                <c:pt idx="53220">
                  <c:v>0</c:v>
                </c:pt>
                <c:pt idx="53221">
                  <c:v>0</c:v>
                </c:pt>
                <c:pt idx="53222">
                  <c:v>0</c:v>
                </c:pt>
                <c:pt idx="53223">
                  <c:v>0</c:v>
                </c:pt>
                <c:pt idx="53224">
                  <c:v>0</c:v>
                </c:pt>
                <c:pt idx="53225">
                  <c:v>0</c:v>
                </c:pt>
                <c:pt idx="53226">
                  <c:v>0</c:v>
                </c:pt>
                <c:pt idx="53227">
                  <c:v>0</c:v>
                </c:pt>
                <c:pt idx="53228">
                  <c:v>0</c:v>
                </c:pt>
                <c:pt idx="53229">
                  <c:v>0</c:v>
                </c:pt>
                <c:pt idx="53230">
                  <c:v>0</c:v>
                </c:pt>
                <c:pt idx="53231">
                  <c:v>0</c:v>
                </c:pt>
                <c:pt idx="53232">
                  <c:v>0</c:v>
                </c:pt>
                <c:pt idx="53233">
                  <c:v>0</c:v>
                </c:pt>
                <c:pt idx="53234">
                  <c:v>0</c:v>
                </c:pt>
                <c:pt idx="53235">
                  <c:v>0</c:v>
                </c:pt>
                <c:pt idx="53236">
                  <c:v>0</c:v>
                </c:pt>
                <c:pt idx="53237">
                  <c:v>0</c:v>
                </c:pt>
                <c:pt idx="53238">
                  <c:v>0</c:v>
                </c:pt>
                <c:pt idx="53239">
                  <c:v>0</c:v>
                </c:pt>
                <c:pt idx="53240">
                  <c:v>0</c:v>
                </c:pt>
                <c:pt idx="53241">
                  <c:v>0</c:v>
                </c:pt>
                <c:pt idx="53242">
                  <c:v>0</c:v>
                </c:pt>
                <c:pt idx="53243">
                  <c:v>0</c:v>
                </c:pt>
                <c:pt idx="53244">
                  <c:v>0</c:v>
                </c:pt>
                <c:pt idx="53245">
                  <c:v>0</c:v>
                </c:pt>
                <c:pt idx="53246">
                  <c:v>0</c:v>
                </c:pt>
                <c:pt idx="53247">
                  <c:v>0</c:v>
                </c:pt>
                <c:pt idx="53248">
                  <c:v>0</c:v>
                </c:pt>
                <c:pt idx="53249">
                  <c:v>0</c:v>
                </c:pt>
                <c:pt idx="53250">
                  <c:v>0</c:v>
                </c:pt>
                <c:pt idx="53251">
                  <c:v>0</c:v>
                </c:pt>
                <c:pt idx="53252">
                  <c:v>0</c:v>
                </c:pt>
                <c:pt idx="53253">
                  <c:v>0</c:v>
                </c:pt>
                <c:pt idx="53254">
                  <c:v>0</c:v>
                </c:pt>
                <c:pt idx="53255">
                  <c:v>0</c:v>
                </c:pt>
                <c:pt idx="53256">
                  <c:v>0</c:v>
                </c:pt>
                <c:pt idx="53257">
                  <c:v>0</c:v>
                </c:pt>
                <c:pt idx="53258">
                  <c:v>0</c:v>
                </c:pt>
                <c:pt idx="53259">
                  <c:v>0</c:v>
                </c:pt>
                <c:pt idx="53260">
                  <c:v>0</c:v>
                </c:pt>
                <c:pt idx="53261">
                  <c:v>0</c:v>
                </c:pt>
                <c:pt idx="53262">
                  <c:v>0</c:v>
                </c:pt>
                <c:pt idx="53263">
                  <c:v>0</c:v>
                </c:pt>
                <c:pt idx="53264">
                  <c:v>0</c:v>
                </c:pt>
                <c:pt idx="53265">
                  <c:v>0</c:v>
                </c:pt>
                <c:pt idx="53266">
                  <c:v>0</c:v>
                </c:pt>
                <c:pt idx="53267">
                  <c:v>0</c:v>
                </c:pt>
                <c:pt idx="53268">
                  <c:v>0</c:v>
                </c:pt>
                <c:pt idx="53269">
                  <c:v>0</c:v>
                </c:pt>
                <c:pt idx="53270">
                  <c:v>0</c:v>
                </c:pt>
                <c:pt idx="53271">
                  <c:v>0</c:v>
                </c:pt>
                <c:pt idx="53272">
                  <c:v>0</c:v>
                </c:pt>
                <c:pt idx="53273">
                  <c:v>0</c:v>
                </c:pt>
                <c:pt idx="53274">
                  <c:v>0</c:v>
                </c:pt>
                <c:pt idx="53275">
                  <c:v>0</c:v>
                </c:pt>
                <c:pt idx="53276">
                  <c:v>0</c:v>
                </c:pt>
                <c:pt idx="53277">
                  <c:v>0</c:v>
                </c:pt>
                <c:pt idx="53278">
                  <c:v>0</c:v>
                </c:pt>
                <c:pt idx="53279">
                  <c:v>0</c:v>
                </c:pt>
                <c:pt idx="53280">
                  <c:v>0</c:v>
                </c:pt>
                <c:pt idx="53281">
                  <c:v>0</c:v>
                </c:pt>
                <c:pt idx="53282">
                  <c:v>0</c:v>
                </c:pt>
                <c:pt idx="53283">
                  <c:v>0</c:v>
                </c:pt>
                <c:pt idx="53284">
                  <c:v>0</c:v>
                </c:pt>
                <c:pt idx="53285">
                  <c:v>0</c:v>
                </c:pt>
                <c:pt idx="53286">
                  <c:v>0</c:v>
                </c:pt>
                <c:pt idx="53287">
                  <c:v>0</c:v>
                </c:pt>
                <c:pt idx="53288">
                  <c:v>0</c:v>
                </c:pt>
                <c:pt idx="53289">
                  <c:v>0</c:v>
                </c:pt>
                <c:pt idx="53290">
                  <c:v>0</c:v>
                </c:pt>
                <c:pt idx="53291">
                  <c:v>0</c:v>
                </c:pt>
                <c:pt idx="53292">
                  <c:v>0</c:v>
                </c:pt>
                <c:pt idx="53293">
                  <c:v>0</c:v>
                </c:pt>
                <c:pt idx="53294">
                  <c:v>0</c:v>
                </c:pt>
                <c:pt idx="53295">
                  <c:v>0</c:v>
                </c:pt>
                <c:pt idx="53296">
                  <c:v>0</c:v>
                </c:pt>
                <c:pt idx="53297">
                  <c:v>0</c:v>
                </c:pt>
                <c:pt idx="53298">
                  <c:v>0</c:v>
                </c:pt>
                <c:pt idx="53299">
                  <c:v>0</c:v>
                </c:pt>
                <c:pt idx="53300">
                  <c:v>0</c:v>
                </c:pt>
                <c:pt idx="53301">
                  <c:v>0</c:v>
                </c:pt>
                <c:pt idx="53302">
                  <c:v>0</c:v>
                </c:pt>
                <c:pt idx="53303">
                  <c:v>0</c:v>
                </c:pt>
                <c:pt idx="53304">
                  <c:v>0</c:v>
                </c:pt>
                <c:pt idx="53305">
                  <c:v>0</c:v>
                </c:pt>
                <c:pt idx="53306">
                  <c:v>0</c:v>
                </c:pt>
                <c:pt idx="53307">
                  <c:v>0</c:v>
                </c:pt>
                <c:pt idx="53308">
                  <c:v>0</c:v>
                </c:pt>
                <c:pt idx="53309">
                  <c:v>0</c:v>
                </c:pt>
                <c:pt idx="53310">
                  <c:v>0</c:v>
                </c:pt>
                <c:pt idx="53311">
                  <c:v>0</c:v>
                </c:pt>
                <c:pt idx="53312">
                  <c:v>0</c:v>
                </c:pt>
                <c:pt idx="53313">
                  <c:v>0</c:v>
                </c:pt>
                <c:pt idx="53314">
                  <c:v>0</c:v>
                </c:pt>
                <c:pt idx="53315">
                  <c:v>0</c:v>
                </c:pt>
                <c:pt idx="53316">
                  <c:v>0</c:v>
                </c:pt>
                <c:pt idx="53317">
                  <c:v>0</c:v>
                </c:pt>
                <c:pt idx="53318">
                  <c:v>0</c:v>
                </c:pt>
                <c:pt idx="53319">
                  <c:v>0</c:v>
                </c:pt>
                <c:pt idx="53320">
                  <c:v>0</c:v>
                </c:pt>
                <c:pt idx="53321">
                  <c:v>0</c:v>
                </c:pt>
                <c:pt idx="53322">
                  <c:v>0</c:v>
                </c:pt>
                <c:pt idx="53323">
                  <c:v>0</c:v>
                </c:pt>
                <c:pt idx="53324">
                  <c:v>0</c:v>
                </c:pt>
                <c:pt idx="53325">
                  <c:v>0</c:v>
                </c:pt>
                <c:pt idx="53326">
                  <c:v>0</c:v>
                </c:pt>
                <c:pt idx="53327">
                  <c:v>0</c:v>
                </c:pt>
                <c:pt idx="53328">
                  <c:v>0</c:v>
                </c:pt>
                <c:pt idx="53329">
                  <c:v>0</c:v>
                </c:pt>
                <c:pt idx="53330">
                  <c:v>0</c:v>
                </c:pt>
                <c:pt idx="53331">
                  <c:v>0</c:v>
                </c:pt>
                <c:pt idx="53332">
                  <c:v>0</c:v>
                </c:pt>
                <c:pt idx="53333">
                  <c:v>0</c:v>
                </c:pt>
                <c:pt idx="53334">
                  <c:v>0</c:v>
                </c:pt>
                <c:pt idx="53335">
                  <c:v>0</c:v>
                </c:pt>
                <c:pt idx="53336">
                  <c:v>0</c:v>
                </c:pt>
                <c:pt idx="53337">
                  <c:v>0</c:v>
                </c:pt>
                <c:pt idx="53338">
                  <c:v>0</c:v>
                </c:pt>
                <c:pt idx="53339">
                  <c:v>0</c:v>
                </c:pt>
                <c:pt idx="53340">
                  <c:v>0</c:v>
                </c:pt>
                <c:pt idx="53341">
                  <c:v>0</c:v>
                </c:pt>
                <c:pt idx="53342">
                  <c:v>0</c:v>
                </c:pt>
                <c:pt idx="53343">
                  <c:v>0</c:v>
                </c:pt>
                <c:pt idx="53344">
                  <c:v>0</c:v>
                </c:pt>
                <c:pt idx="53345">
                  <c:v>0</c:v>
                </c:pt>
                <c:pt idx="53346">
                  <c:v>0</c:v>
                </c:pt>
                <c:pt idx="53347">
                  <c:v>0</c:v>
                </c:pt>
                <c:pt idx="53348">
                  <c:v>0</c:v>
                </c:pt>
                <c:pt idx="53349">
                  <c:v>0</c:v>
                </c:pt>
                <c:pt idx="53350">
                  <c:v>0</c:v>
                </c:pt>
                <c:pt idx="53351">
                  <c:v>0</c:v>
                </c:pt>
                <c:pt idx="53352">
                  <c:v>0</c:v>
                </c:pt>
                <c:pt idx="53353">
                  <c:v>0</c:v>
                </c:pt>
                <c:pt idx="53354">
                  <c:v>0</c:v>
                </c:pt>
                <c:pt idx="53355">
                  <c:v>0</c:v>
                </c:pt>
                <c:pt idx="53356">
                  <c:v>0</c:v>
                </c:pt>
                <c:pt idx="53357">
                  <c:v>0</c:v>
                </c:pt>
                <c:pt idx="53358">
                  <c:v>0</c:v>
                </c:pt>
                <c:pt idx="53359">
                  <c:v>0</c:v>
                </c:pt>
                <c:pt idx="53360">
                  <c:v>0</c:v>
                </c:pt>
                <c:pt idx="53361">
                  <c:v>0</c:v>
                </c:pt>
                <c:pt idx="53362">
                  <c:v>0</c:v>
                </c:pt>
                <c:pt idx="53363">
                  <c:v>0</c:v>
                </c:pt>
                <c:pt idx="53364">
                  <c:v>0</c:v>
                </c:pt>
                <c:pt idx="53365">
                  <c:v>0</c:v>
                </c:pt>
                <c:pt idx="53366">
                  <c:v>0</c:v>
                </c:pt>
                <c:pt idx="53367">
                  <c:v>0</c:v>
                </c:pt>
                <c:pt idx="53368">
                  <c:v>0</c:v>
                </c:pt>
                <c:pt idx="53369">
                  <c:v>0</c:v>
                </c:pt>
                <c:pt idx="53370">
                  <c:v>0</c:v>
                </c:pt>
                <c:pt idx="53371">
                  <c:v>0</c:v>
                </c:pt>
                <c:pt idx="53372">
                  <c:v>0</c:v>
                </c:pt>
                <c:pt idx="53373">
                  <c:v>0</c:v>
                </c:pt>
                <c:pt idx="53374">
                  <c:v>0</c:v>
                </c:pt>
                <c:pt idx="53375">
                  <c:v>0</c:v>
                </c:pt>
                <c:pt idx="53376">
                  <c:v>0</c:v>
                </c:pt>
                <c:pt idx="53377">
                  <c:v>0</c:v>
                </c:pt>
                <c:pt idx="53378">
                  <c:v>0</c:v>
                </c:pt>
                <c:pt idx="53379">
                  <c:v>0</c:v>
                </c:pt>
                <c:pt idx="53380">
                  <c:v>0</c:v>
                </c:pt>
                <c:pt idx="53381">
                  <c:v>0</c:v>
                </c:pt>
                <c:pt idx="53382">
                  <c:v>0</c:v>
                </c:pt>
                <c:pt idx="53383">
                  <c:v>0</c:v>
                </c:pt>
                <c:pt idx="53384">
                  <c:v>0</c:v>
                </c:pt>
                <c:pt idx="53385">
                  <c:v>0</c:v>
                </c:pt>
                <c:pt idx="53386">
                  <c:v>0</c:v>
                </c:pt>
                <c:pt idx="53387">
                  <c:v>0</c:v>
                </c:pt>
                <c:pt idx="53388">
                  <c:v>0</c:v>
                </c:pt>
                <c:pt idx="53389">
                  <c:v>0</c:v>
                </c:pt>
                <c:pt idx="53390">
                  <c:v>0</c:v>
                </c:pt>
                <c:pt idx="53391">
                  <c:v>0</c:v>
                </c:pt>
                <c:pt idx="53392">
                  <c:v>0</c:v>
                </c:pt>
                <c:pt idx="53393">
                  <c:v>0</c:v>
                </c:pt>
                <c:pt idx="53394">
                  <c:v>0</c:v>
                </c:pt>
                <c:pt idx="53395">
                  <c:v>0</c:v>
                </c:pt>
                <c:pt idx="53396">
                  <c:v>0</c:v>
                </c:pt>
                <c:pt idx="53397">
                  <c:v>0</c:v>
                </c:pt>
                <c:pt idx="53398">
                  <c:v>0</c:v>
                </c:pt>
                <c:pt idx="53399">
                  <c:v>0</c:v>
                </c:pt>
                <c:pt idx="53400">
                  <c:v>0</c:v>
                </c:pt>
                <c:pt idx="53401">
                  <c:v>0</c:v>
                </c:pt>
                <c:pt idx="53402">
                  <c:v>0</c:v>
                </c:pt>
                <c:pt idx="53403">
                  <c:v>0</c:v>
                </c:pt>
                <c:pt idx="53404">
                  <c:v>0</c:v>
                </c:pt>
                <c:pt idx="53405">
                  <c:v>0</c:v>
                </c:pt>
                <c:pt idx="53406">
                  <c:v>0</c:v>
                </c:pt>
                <c:pt idx="53407">
                  <c:v>0</c:v>
                </c:pt>
                <c:pt idx="53408">
                  <c:v>0</c:v>
                </c:pt>
                <c:pt idx="53409">
                  <c:v>0</c:v>
                </c:pt>
                <c:pt idx="53410">
                  <c:v>0</c:v>
                </c:pt>
                <c:pt idx="53411">
                  <c:v>0</c:v>
                </c:pt>
                <c:pt idx="53412">
                  <c:v>0</c:v>
                </c:pt>
                <c:pt idx="53413">
                  <c:v>0</c:v>
                </c:pt>
                <c:pt idx="53414">
                  <c:v>0</c:v>
                </c:pt>
                <c:pt idx="53415">
                  <c:v>0</c:v>
                </c:pt>
                <c:pt idx="53416">
                  <c:v>0</c:v>
                </c:pt>
                <c:pt idx="53417">
                  <c:v>0</c:v>
                </c:pt>
                <c:pt idx="53418">
                  <c:v>0</c:v>
                </c:pt>
                <c:pt idx="53419">
                  <c:v>0</c:v>
                </c:pt>
                <c:pt idx="53420">
                  <c:v>0</c:v>
                </c:pt>
                <c:pt idx="53421">
                  <c:v>0</c:v>
                </c:pt>
                <c:pt idx="53422">
                  <c:v>0</c:v>
                </c:pt>
                <c:pt idx="53423">
                  <c:v>0</c:v>
                </c:pt>
                <c:pt idx="53424">
                  <c:v>0</c:v>
                </c:pt>
                <c:pt idx="53425">
                  <c:v>0</c:v>
                </c:pt>
                <c:pt idx="53426">
                  <c:v>0</c:v>
                </c:pt>
                <c:pt idx="53427">
                  <c:v>0</c:v>
                </c:pt>
                <c:pt idx="53428">
                  <c:v>0</c:v>
                </c:pt>
                <c:pt idx="53429">
                  <c:v>0</c:v>
                </c:pt>
                <c:pt idx="53430">
                  <c:v>0</c:v>
                </c:pt>
                <c:pt idx="53431">
                  <c:v>0</c:v>
                </c:pt>
                <c:pt idx="53432">
                  <c:v>0</c:v>
                </c:pt>
                <c:pt idx="53433">
                  <c:v>0</c:v>
                </c:pt>
                <c:pt idx="53434">
                  <c:v>0</c:v>
                </c:pt>
                <c:pt idx="53435">
                  <c:v>0</c:v>
                </c:pt>
                <c:pt idx="53436">
                  <c:v>0</c:v>
                </c:pt>
                <c:pt idx="53437">
                  <c:v>0</c:v>
                </c:pt>
                <c:pt idx="53438">
                  <c:v>0</c:v>
                </c:pt>
                <c:pt idx="53439">
                  <c:v>0</c:v>
                </c:pt>
                <c:pt idx="53440">
                  <c:v>0</c:v>
                </c:pt>
                <c:pt idx="53441">
                  <c:v>0</c:v>
                </c:pt>
                <c:pt idx="53442">
                  <c:v>0</c:v>
                </c:pt>
                <c:pt idx="53443">
                  <c:v>0</c:v>
                </c:pt>
                <c:pt idx="53444">
                  <c:v>0</c:v>
                </c:pt>
                <c:pt idx="53445">
                  <c:v>0</c:v>
                </c:pt>
                <c:pt idx="53446">
                  <c:v>0</c:v>
                </c:pt>
                <c:pt idx="53447">
                  <c:v>0</c:v>
                </c:pt>
                <c:pt idx="53448">
                  <c:v>0</c:v>
                </c:pt>
                <c:pt idx="53449">
                  <c:v>0</c:v>
                </c:pt>
                <c:pt idx="53450">
                  <c:v>0</c:v>
                </c:pt>
                <c:pt idx="53451">
                  <c:v>0</c:v>
                </c:pt>
                <c:pt idx="53452">
                  <c:v>0</c:v>
                </c:pt>
                <c:pt idx="53453">
                  <c:v>0</c:v>
                </c:pt>
                <c:pt idx="53454">
                  <c:v>0</c:v>
                </c:pt>
                <c:pt idx="53455">
                  <c:v>0</c:v>
                </c:pt>
                <c:pt idx="53456">
                  <c:v>0</c:v>
                </c:pt>
                <c:pt idx="53457">
                  <c:v>0</c:v>
                </c:pt>
                <c:pt idx="53458">
                  <c:v>0</c:v>
                </c:pt>
                <c:pt idx="53459">
                  <c:v>0</c:v>
                </c:pt>
                <c:pt idx="53460">
                  <c:v>0</c:v>
                </c:pt>
                <c:pt idx="53461">
                  <c:v>0</c:v>
                </c:pt>
                <c:pt idx="53462">
                  <c:v>0</c:v>
                </c:pt>
                <c:pt idx="53463">
                  <c:v>0</c:v>
                </c:pt>
                <c:pt idx="53464">
                  <c:v>0</c:v>
                </c:pt>
                <c:pt idx="53465">
                  <c:v>0</c:v>
                </c:pt>
                <c:pt idx="53466">
                  <c:v>0</c:v>
                </c:pt>
                <c:pt idx="53467">
                  <c:v>0</c:v>
                </c:pt>
                <c:pt idx="53468">
                  <c:v>0</c:v>
                </c:pt>
                <c:pt idx="53469">
                  <c:v>0</c:v>
                </c:pt>
                <c:pt idx="53470">
                  <c:v>0</c:v>
                </c:pt>
                <c:pt idx="53471">
                  <c:v>0</c:v>
                </c:pt>
                <c:pt idx="53472">
                  <c:v>0</c:v>
                </c:pt>
                <c:pt idx="53473">
                  <c:v>0</c:v>
                </c:pt>
                <c:pt idx="53474">
                  <c:v>0</c:v>
                </c:pt>
                <c:pt idx="53475">
                  <c:v>0</c:v>
                </c:pt>
                <c:pt idx="53476">
                  <c:v>0</c:v>
                </c:pt>
                <c:pt idx="53477">
                  <c:v>0</c:v>
                </c:pt>
                <c:pt idx="53478">
                  <c:v>0</c:v>
                </c:pt>
                <c:pt idx="53479">
                  <c:v>0</c:v>
                </c:pt>
                <c:pt idx="53480">
                  <c:v>0</c:v>
                </c:pt>
                <c:pt idx="53481">
                  <c:v>0</c:v>
                </c:pt>
                <c:pt idx="53482">
                  <c:v>0</c:v>
                </c:pt>
                <c:pt idx="53483">
                  <c:v>0</c:v>
                </c:pt>
                <c:pt idx="53484">
                  <c:v>0</c:v>
                </c:pt>
                <c:pt idx="53485">
                  <c:v>0</c:v>
                </c:pt>
                <c:pt idx="53486">
                  <c:v>0</c:v>
                </c:pt>
                <c:pt idx="53487">
                  <c:v>0</c:v>
                </c:pt>
                <c:pt idx="53488">
                  <c:v>0</c:v>
                </c:pt>
                <c:pt idx="53489">
                  <c:v>0</c:v>
                </c:pt>
                <c:pt idx="53490">
                  <c:v>0</c:v>
                </c:pt>
                <c:pt idx="53491">
                  <c:v>0</c:v>
                </c:pt>
                <c:pt idx="53492">
                  <c:v>0</c:v>
                </c:pt>
                <c:pt idx="53493">
                  <c:v>0</c:v>
                </c:pt>
                <c:pt idx="53494">
                  <c:v>0</c:v>
                </c:pt>
                <c:pt idx="53495">
                  <c:v>0</c:v>
                </c:pt>
                <c:pt idx="53496">
                  <c:v>0</c:v>
                </c:pt>
                <c:pt idx="53497">
                  <c:v>0</c:v>
                </c:pt>
                <c:pt idx="53498">
                  <c:v>0</c:v>
                </c:pt>
                <c:pt idx="53499">
                  <c:v>0</c:v>
                </c:pt>
                <c:pt idx="53500">
                  <c:v>0</c:v>
                </c:pt>
                <c:pt idx="53501">
                  <c:v>0</c:v>
                </c:pt>
                <c:pt idx="53502">
                  <c:v>0</c:v>
                </c:pt>
                <c:pt idx="53503">
                  <c:v>0</c:v>
                </c:pt>
                <c:pt idx="53504">
                  <c:v>0</c:v>
                </c:pt>
                <c:pt idx="53505">
                  <c:v>0</c:v>
                </c:pt>
                <c:pt idx="53506">
                  <c:v>0</c:v>
                </c:pt>
                <c:pt idx="53507">
                  <c:v>0</c:v>
                </c:pt>
                <c:pt idx="53508">
                  <c:v>0</c:v>
                </c:pt>
                <c:pt idx="53509">
                  <c:v>0</c:v>
                </c:pt>
                <c:pt idx="53510">
                  <c:v>0</c:v>
                </c:pt>
                <c:pt idx="53511">
                  <c:v>0</c:v>
                </c:pt>
                <c:pt idx="53512">
                  <c:v>0</c:v>
                </c:pt>
                <c:pt idx="53513">
                  <c:v>0</c:v>
                </c:pt>
                <c:pt idx="53514">
                  <c:v>0</c:v>
                </c:pt>
                <c:pt idx="53515">
                  <c:v>0</c:v>
                </c:pt>
                <c:pt idx="53516">
                  <c:v>0</c:v>
                </c:pt>
                <c:pt idx="53517">
                  <c:v>0</c:v>
                </c:pt>
                <c:pt idx="53518">
                  <c:v>0</c:v>
                </c:pt>
                <c:pt idx="53519">
                  <c:v>0</c:v>
                </c:pt>
                <c:pt idx="53520">
                  <c:v>0</c:v>
                </c:pt>
                <c:pt idx="53521">
                  <c:v>0</c:v>
                </c:pt>
                <c:pt idx="53522">
                  <c:v>0</c:v>
                </c:pt>
                <c:pt idx="53523">
                  <c:v>0</c:v>
                </c:pt>
                <c:pt idx="53524">
                  <c:v>0</c:v>
                </c:pt>
                <c:pt idx="53525">
                  <c:v>0</c:v>
                </c:pt>
                <c:pt idx="53526">
                  <c:v>0</c:v>
                </c:pt>
                <c:pt idx="53527">
                  <c:v>0</c:v>
                </c:pt>
                <c:pt idx="53528">
                  <c:v>0</c:v>
                </c:pt>
                <c:pt idx="53529">
                  <c:v>0</c:v>
                </c:pt>
                <c:pt idx="53530">
                  <c:v>0</c:v>
                </c:pt>
                <c:pt idx="53531">
                  <c:v>0</c:v>
                </c:pt>
                <c:pt idx="53532">
                  <c:v>0</c:v>
                </c:pt>
                <c:pt idx="53533">
                  <c:v>0</c:v>
                </c:pt>
                <c:pt idx="53534">
                  <c:v>0</c:v>
                </c:pt>
                <c:pt idx="53535">
                  <c:v>0</c:v>
                </c:pt>
                <c:pt idx="53536">
                  <c:v>0</c:v>
                </c:pt>
                <c:pt idx="53537">
                  <c:v>0</c:v>
                </c:pt>
                <c:pt idx="53538">
                  <c:v>0</c:v>
                </c:pt>
                <c:pt idx="53539">
                  <c:v>0</c:v>
                </c:pt>
                <c:pt idx="53540">
                  <c:v>0</c:v>
                </c:pt>
                <c:pt idx="53541">
                  <c:v>0</c:v>
                </c:pt>
                <c:pt idx="53542">
                  <c:v>0</c:v>
                </c:pt>
                <c:pt idx="53543">
                  <c:v>0</c:v>
                </c:pt>
                <c:pt idx="53544">
                  <c:v>0</c:v>
                </c:pt>
                <c:pt idx="53545">
                  <c:v>0</c:v>
                </c:pt>
                <c:pt idx="53546">
                  <c:v>0</c:v>
                </c:pt>
                <c:pt idx="53547">
                  <c:v>0</c:v>
                </c:pt>
                <c:pt idx="53548">
                  <c:v>0</c:v>
                </c:pt>
                <c:pt idx="53549">
                  <c:v>0</c:v>
                </c:pt>
                <c:pt idx="53550">
                  <c:v>0</c:v>
                </c:pt>
                <c:pt idx="53551">
                  <c:v>0</c:v>
                </c:pt>
                <c:pt idx="53552">
                  <c:v>0</c:v>
                </c:pt>
                <c:pt idx="53553">
                  <c:v>0</c:v>
                </c:pt>
                <c:pt idx="53554">
                  <c:v>0</c:v>
                </c:pt>
                <c:pt idx="53555">
                  <c:v>0</c:v>
                </c:pt>
                <c:pt idx="53556">
                  <c:v>0</c:v>
                </c:pt>
                <c:pt idx="53557">
                  <c:v>0</c:v>
                </c:pt>
                <c:pt idx="53558">
                  <c:v>0</c:v>
                </c:pt>
                <c:pt idx="53559">
                  <c:v>0</c:v>
                </c:pt>
                <c:pt idx="53560">
                  <c:v>0</c:v>
                </c:pt>
                <c:pt idx="53561">
                  <c:v>0</c:v>
                </c:pt>
                <c:pt idx="53562">
                  <c:v>0</c:v>
                </c:pt>
                <c:pt idx="53563">
                  <c:v>0</c:v>
                </c:pt>
                <c:pt idx="53564">
                  <c:v>0</c:v>
                </c:pt>
                <c:pt idx="53565">
                  <c:v>0</c:v>
                </c:pt>
                <c:pt idx="53566">
                  <c:v>0</c:v>
                </c:pt>
                <c:pt idx="53567">
                  <c:v>0</c:v>
                </c:pt>
                <c:pt idx="53568">
                  <c:v>0</c:v>
                </c:pt>
                <c:pt idx="53569">
                  <c:v>0</c:v>
                </c:pt>
                <c:pt idx="53570">
                  <c:v>0</c:v>
                </c:pt>
                <c:pt idx="53571">
                  <c:v>0</c:v>
                </c:pt>
                <c:pt idx="53572">
                  <c:v>0</c:v>
                </c:pt>
                <c:pt idx="53573">
                  <c:v>0</c:v>
                </c:pt>
                <c:pt idx="53574">
                  <c:v>0</c:v>
                </c:pt>
                <c:pt idx="53575">
                  <c:v>0</c:v>
                </c:pt>
                <c:pt idx="53576">
                  <c:v>0</c:v>
                </c:pt>
                <c:pt idx="53577">
                  <c:v>0</c:v>
                </c:pt>
                <c:pt idx="53578">
                  <c:v>0</c:v>
                </c:pt>
                <c:pt idx="53579">
                  <c:v>0</c:v>
                </c:pt>
                <c:pt idx="53580">
                  <c:v>0</c:v>
                </c:pt>
                <c:pt idx="53581">
                  <c:v>0</c:v>
                </c:pt>
                <c:pt idx="53582">
                  <c:v>0</c:v>
                </c:pt>
                <c:pt idx="53583">
                  <c:v>0</c:v>
                </c:pt>
                <c:pt idx="53584">
                  <c:v>0</c:v>
                </c:pt>
                <c:pt idx="53585">
                  <c:v>0</c:v>
                </c:pt>
                <c:pt idx="53586">
                  <c:v>0</c:v>
                </c:pt>
                <c:pt idx="53587">
                  <c:v>0</c:v>
                </c:pt>
                <c:pt idx="53588">
                  <c:v>0</c:v>
                </c:pt>
                <c:pt idx="53589">
                  <c:v>0</c:v>
                </c:pt>
                <c:pt idx="53590">
                  <c:v>0</c:v>
                </c:pt>
                <c:pt idx="53591">
                  <c:v>0</c:v>
                </c:pt>
                <c:pt idx="53592">
                  <c:v>0</c:v>
                </c:pt>
                <c:pt idx="53593">
                  <c:v>0</c:v>
                </c:pt>
                <c:pt idx="53594">
                  <c:v>0</c:v>
                </c:pt>
                <c:pt idx="53595">
                  <c:v>0</c:v>
                </c:pt>
                <c:pt idx="53596">
                  <c:v>0</c:v>
                </c:pt>
                <c:pt idx="53597">
                  <c:v>0</c:v>
                </c:pt>
                <c:pt idx="53598">
                  <c:v>0</c:v>
                </c:pt>
                <c:pt idx="53599">
                  <c:v>0</c:v>
                </c:pt>
                <c:pt idx="53600">
                  <c:v>0</c:v>
                </c:pt>
                <c:pt idx="53601">
                  <c:v>0</c:v>
                </c:pt>
                <c:pt idx="53602">
                  <c:v>0</c:v>
                </c:pt>
                <c:pt idx="53603">
                  <c:v>0</c:v>
                </c:pt>
                <c:pt idx="53604">
                  <c:v>0</c:v>
                </c:pt>
                <c:pt idx="53605">
                  <c:v>0</c:v>
                </c:pt>
                <c:pt idx="53606">
                  <c:v>0</c:v>
                </c:pt>
                <c:pt idx="53607">
                  <c:v>0</c:v>
                </c:pt>
                <c:pt idx="53608">
                  <c:v>0</c:v>
                </c:pt>
                <c:pt idx="53609">
                  <c:v>0</c:v>
                </c:pt>
                <c:pt idx="53610">
                  <c:v>0</c:v>
                </c:pt>
                <c:pt idx="53611">
                  <c:v>0</c:v>
                </c:pt>
                <c:pt idx="53612">
                  <c:v>0</c:v>
                </c:pt>
                <c:pt idx="53613">
                  <c:v>0</c:v>
                </c:pt>
                <c:pt idx="53614">
                  <c:v>0</c:v>
                </c:pt>
                <c:pt idx="53615">
                  <c:v>0</c:v>
                </c:pt>
                <c:pt idx="53616">
                  <c:v>0</c:v>
                </c:pt>
                <c:pt idx="53617">
                  <c:v>0</c:v>
                </c:pt>
                <c:pt idx="53618">
                  <c:v>0</c:v>
                </c:pt>
                <c:pt idx="53619">
                  <c:v>0</c:v>
                </c:pt>
                <c:pt idx="53620">
                  <c:v>0</c:v>
                </c:pt>
                <c:pt idx="53621">
                  <c:v>0</c:v>
                </c:pt>
                <c:pt idx="53622">
                  <c:v>0</c:v>
                </c:pt>
                <c:pt idx="53623">
                  <c:v>0</c:v>
                </c:pt>
                <c:pt idx="53624">
                  <c:v>0</c:v>
                </c:pt>
                <c:pt idx="53625">
                  <c:v>0</c:v>
                </c:pt>
                <c:pt idx="53626">
                  <c:v>0</c:v>
                </c:pt>
                <c:pt idx="53627">
                  <c:v>0</c:v>
                </c:pt>
                <c:pt idx="53628">
                  <c:v>0</c:v>
                </c:pt>
                <c:pt idx="53629">
                  <c:v>0</c:v>
                </c:pt>
                <c:pt idx="53630">
                  <c:v>0</c:v>
                </c:pt>
                <c:pt idx="53631">
                  <c:v>0</c:v>
                </c:pt>
                <c:pt idx="53632">
                  <c:v>0</c:v>
                </c:pt>
                <c:pt idx="53633">
                  <c:v>0</c:v>
                </c:pt>
                <c:pt idx="53634">
                  <c:v>0</c:v>
                </c:pt>
                <c:pt idx="53635">
                  <c:v>0</c:v>
                </c:pt>
                <c:pt idx="53636">
                  <c:v>0</c:v>
                </c:pt>
                <c:pt idx="53637">
                  <c:v>0</c:v>
                </c:pt>
                <c:pt idx="53638">
                  <c:v>0</c:v>
                </c:pt>
                <c:pt idx="53639">
                  <c:v>0</c:v>
                </c:pt>
                <c:pt idx="53640">
                  <c:v>0</c:v>
                </c:pt>
                <c:pt idx="53641">
                  <c:v>0</c:v>
                </c:pt>
                <c:pt idx="53642">
                  <c:v>0</c:v>
                </c:pt>
                <c:pt idx="53643">
                  <c:v>0</c:v>
                </c:pt>
                <c:pt idx="53644">
                  <c:v>0</c:v>
                </c:pt>
                <c:pt idx="53645">
                  <c:v>0</c:v>
                </c:pt>
                <c:pt idx="53646">
                  <c:v>0</c:v>
                </c:pt>
                <c:pt idx="53647">
                  <c:v>0</c:v>
                </c:pt>
                <c:pt idx="53648">
                  <c:v>0</c:v>
                </c:pt>
                <c:pt idx="53649">
                  <c:v>0</c:v>
                </c:pt>
                <c:pt idx="53650">
                  <c:v>0</c:v>
                </c:pt>
                <c:pt idx="53651">
                  <c:v>0</c:v>
                </c:pt>
                <c:pt idx="53652">
                  <c:v>0</c:v>
                </c:pt>
                <c:pt idx="53653">
                  <c:v>0</c:v>
                </c:pt>
                <c:pt idx="53654">
                  <c:v>0</c:v>
                </c:pt>
                <c:pt idx="53655">
                  <c:v>0</c:v>
                </c:pt>
                <c:pt idx="53656">
                  <c:v>0</c:v>
                </c:pt>
                <c:pt idx="53657">
                  <c:v>0</c:v>
                </c:pt>
                <c:pt idx="53658">
                  <c:v>0</c:v>
                </c:pt>
                <c:pt idx="53659">
                  <c:v>0</c:v>
                </c:pt>
                <c:pt idx="53660">
                  <c:v>0</c:v>
                </c:pt>
                <c:pt idx="53661">
                  <c:v>0</c:v>
                </c:pt>
                <c:pt idx="53662">
                  <c:v>0</c:v>
                </c:pt>
                <c:pt idx="53663">
                  <c:v>0</c:v>
                </c:pt>
                <c:pt idx="53664">
                  <c:v>0</c:v>
                </c:pt>
                <c:pt idx="53665">
                  <c:v>0</c:v>
                </c:pt>
                <c:pt idx="53666">
                  <c:v>0</c:v>
                </c:pt>
                <c:pt idx="53667">
                  <c:v>0</c:v>
                </c:pt>
                <c:pt idx="53668">
                  <c:v>0</c:v>
                </c:pt>
                <c:pt idx="53669">
                  <c:v>0</c:v>
                </c:pt>
                <c:pt idx="53670">
                  <c:v>0</c:v>
                </c:pt>
                <c:pt idx="53671">
                  <c:v>0</c:v>
                </c:pt>
                <c:pt idx="53672">
                  <c:v>0</c:v>
                </c:pt>
                <c:pt idx="53673">
                  <c:v>0</c:v>
                </c:pt>
                <c:pt idx="53674">
                  <c:v>0</c:v>
                </c:pt>
                <c:pt idx="53675">
                  <c:v>0</c:v>
                </c:pt>
                <c:pt idx="53676">
                  <c:v>0</c:v>
                </c:pt>
                <c:pt idx="53677">
                  <c:v>0</c:v>
                </c:pt>
                <c:pt idx="53678">
                  <c:v>0</c:v>
                </c:pt>
                <c:pt idx="53679">
                  <c:v>0</c:v>
                </c:pt>
                <c:pt idx="53680">
                  <c:v>0</c:v>
                </c:pt>
                <c:pt idx="53681">
                  <c:v>0</c:v>
                </c:pt>
                <c:pt idx="53682">
                  <c:v>0</c:v>
                </c:pt>
                <c:pt idx="53683">
                  <c:v>0</c:v>
                </c:pt>
                <c:pt idx="53684">
                  <c:v>0</c:v>
                </c:pt>
                <c:pt idx="53685">
                  <c:v>0</c:v>
                </c:pt>
                <c:pt idx="53686">
                  <c:v>0</c:v>
                </c:pt>
                <c:pt idx="53687">
                  <c:v>0</c:v>
                </c:pt>
                <c:pt idx="53688">
                  <c:v>0</c:v>
                </c:pt>
                <c:pt idx="53689">
                  <c:v>0</c:v>
                </c:pt>
                <c:pt idx="53690">
                  <c:v>0</c:v>
                </c:pt>
                <c:pt idx="53691">
                  <c:v>0</c:v>
                </c:pt>
                <c:pt idx="53692">
                  <c:v>0</c:v>
                </c:pt>
                <c:pt idx="53693">
                  <c:v>0</c:v>
                </c:pt>
                <c:pt idx="53694">
                  <c:v>0</c:v>
                </c:pt>
                <c:pt idx="53695">
                  <c:v>0</c:v>
                </c:pt>
                <c:pt idx="53696">
                  <c:v>0</c:v>
                </c:pt>
                <c:pt idx="53697">
                  <c:v>0</c:v>
                </c:pt>
                <c:pt idx="53698">
                  <c:v>0</c:v>
                </c:pt>
                <c:pt idx="53699">
                  <c:v>0</c:v>
                </c:pt>
                <c:pt idx="53700">
                  <c:v>0</c:v>
                </c:pt>
                <c:pt idx="53701">
                  <c:v>0</c:v>
                </c:pt>
                <c:pt idx="53702">
                  <c:v>0</c:v>
                </c:pt>
                <c:pt idx="53703">
                  <c:v>0</c:v>
                </c:pt>
                <c:pt idx="53704">
                  <c:v>0</c:v>
                </c:pt>
                <c:pt idx="53705">
                  <c:v>0</c:v>
                </c:pt>
                <c:pt idx="53706">
                  <c:v>0</c:v>
                </c:pt>
                <c:pt idx="53707">
                  <c:v>0</c:v>
                </c:pt>
                <c:pt idx="53708">
                  <c:v>0</c:v>
                </c:pt>
                <c:pt idx="53709">
                  <c:v>0</c:v>
                </c:pt>
                <c:pt idx="53710">
                  <c:v>0</c:v>
                </c:pt>
                <c:pt idx="53711">
                  <c:v>0</c:v>
                </c:pt>
                <c:pt idx="53712">
                  <c:v>0</c:v>
                </c:pt>
                <c:pt idx="53713">
                  <c:v>0</c:v>
                </c:pt>
                <c:pt idx="53714">
                  <c:v>0</c:v>
                </c:pt>
                <c:pt idx="53715">
                  <c:v>0</c:v>
                </c:pt>
                <c:pt idx="53716">
                  <c:v>0</c:v>
                </c:pt>
                <c:pt idx="53717">
                  <c:v>0</c:v>
                </c:pt>
                <c:pt idx="53718">
                  <c:v>0</c:v>
                </c:pt>
                <c:pt idx="53719">
                  <c:v>0</c:v>
                </c:pt>
                <c:pt idx="53720">
                  <c:v>0</c:v>
                </c:pt>
                <c:pt idx="53721">
                  <c:v>0</c:v>
                </c:pt>
                <c:pt idx="53722">
                  <c:v>0</c:v>
                </c:pt>
                <c:pt idx="53723">
                  <c:v>0</c:v>
                </c:pt>
                <c:pt idx="53724">
                  <c:v>0</c:v>
                </c:pt>
                <c:pt idx="53725">
                  <c:v>0</c:v>
                </c:pt>
                <c:pt idx="53726">
                  <c:v>0</c:v>
                </c:pt>
                <c:pt idx="53727">
                  <c:v>0</c:v>
                </c:pt>
                <c:pt idx="53728">
                  <c:v>0</c:v>
                </c:pt>
                <c:pt idx="53729">
                  <c:v>0</c:v>
                </c:pt>
                <c:pt idx="53730">
                  <c:v>0</c:v>
                </c:pt>
                <c:pt idx="53731">
                  <c:v>0</c:v>
                </c:pt>
                <c:pt idx="53732">
                  <c:v>0</c:v>
                </c:pt>
                <c:pt idx="53733">
                  <c:v>0</c:v>
                </c:pt>
                <c:pt idx="53734">
                  <c:v>0</c:v>
                </c:pt>
                <c:pt idx="53735">
                  <c:v>0</c:v>
                </c:pt>
                <c:pt idx="53736">
                  <c:v>0</c:v>
                </c:pt>
                <c:pt idx="53737">
                  <c:v>0</c:v>
                </c:pt>
                <c:pt idx="53738">
                  <c:v>0</c:v>
                </c:pt>
                <c:pt idx="53739">
                  <c:v>0</c:v>
                </c:pt>
                <c:pt idx="53740">
                  <c:v>0</c:v>
                </c:pt>
                <c:pt idx="53741">
                  <c:v>0</c:v>
                </c:pt>
                <c:pt idx="53742">
                  <c:v>0</c:v>
                </c:pt>
                <c:pt idx="53743">
                  <c:v>0</c:v>
                </c:pt>
                <c:pt idx="53744">
                  <c:v>0</c:v>
                </c:pt>
                <c:pt idx="53745">
                  <c:v>0</c:v>
                </c:pt>
                <c:pt idx="53746">
                  <c:v>0</c:v>
                </c:pt>
                <c:pt idx="53747">
                  <c:v>0</c:v>
                </c:pt>
                <c:pt idx="53748">
                  <c:v>0</c:v>
                </c:pt>
                <c:pt idx="53749">
                  <c:v>0</c:v>
                </c:pt>
                <c:pt idx="53750">
                  <c:v>0</c:v>
                </c:pt>
                <c:pt idx="53751">
                  <c:v>0</c:v>
                </c:pt>
                <c:pt idx="53752">
                  <c:v>0</c:v>
                </c:pt>
                <c:pt idx="53753">
                  <c:v>0</c:v>
                </c:pt>
                <c:pt idx="53754">
                  <c:v>0</c:v>
                </c:pt>
                <c:pt idx="53755">
                  <c:v>0</c:v>
                </c:pt>
                <c:pt idx="53756">
                  <c:v>0</c:v>
                </c:pt>
                <c:pt idx="53757">
                  <c:v>0</c:v>
                </c:pt>
                <c:pt idx="53758">
                  <c:v>0</c:v>
                </c:pt>
                <c:pt idx="53759">
                  <c:v>0</c:v>
                </c:pt>
                <c:pt idx="53760">
                  <c:v>0</c:v>
                </c:pt>
                <c:pt idx="53761">
                  <c:v>0</c:v>
                </c:pt>
                <c:pt idx="53762">
                  <c:v>0</c:v>
                </c:pt>
                <c:pt idx="53763">
                  <c:v>0</c:v>
                </c:pt>
                <c:pt idx="53764">
                  <c:v>0</c:v>
                </c:pt>
                <c:pt idx="53765">
                  <c:v>0</c:v>
                </c:pt>
                <c:pt idx="53766">
                  <c:v>0</c:v>
                </c:pt>
                <c:pt idx="53767">
                  <c:v>0</c:v>
                </c:pt>
                <c:pt idx="53768">
                  <c:v>0</c:v>
                </c:pt>
                <c:pt idx="53769">
                  <c:v>0</c:v>
                </c:pt>
                <c:pt idx="53770">
                  <c:v>0</c:v>
                </c:pt>
                <c:pt idx="53771">
                  <c:v>0</c:v>
                </c:pt>
                <c:pt idx="53772">
                  <c:v>0</c:v>
                </c:pt>
                <c:pt idx="53773">
                  <c:v>0</c:v>
                </c:pt>
                <c:pt idx="53774">
                  <c:v>0</c:v>
                </c:pt>
                <c:pt idx="53775">
                  <c:v>0</c:v>
                </c:pt>
                <c:pt idx="53776">
                  <c:v>0</c:v>
                </c:pt>
                <c:pt idx="53777">
                  <c:v>0</c:v>
                </c:pt>
                <c:pt idx="53778">
                  <c:v>0</c:v>
                </c:pt>
                <c:pt idx="53779">
                  <c:v>0</c:v>
                </c:pt>
                <c:pt idx="53780">
                  <c:v>0</c:v>
                </c:pt>
                <c:pt idx="53781">
                  <c:v>0</c:v>
                </c:pt>
                <c:pt idx="53782">
                  <c:v>0</c:v>
                </c:pt>
                <c:pt idx="53783">
                  <c:v>0</c:v>
                </c:pt>
                <c:pt idx="53784">
                  <c:v>0</c:v>
                </c:pt>
                <c:pt idx="53785">
                  <c:v>0</c:v>
                </c:pt>
                <c:pt idx="53786">
                  <c:v>0</c:v>
                </c:pt>
                <c:pt idx="53787">
                  <c:v>0</c:v>
                </c:pt>
                <c:pt idx="53788">
                  <c:v>0</c:v>
                </c:pt>
                <c:pt idx="53789">
                  <c:v>0</c:v>
                </c:pt>
                <c:pt idx="53790">
                  <c:v>0</c:v>
                </c:pt>
                <c:pt idx="53791">
                  <c:v>0</c:v>
                </c:pt>
                <c:pt idx="53792">
                  <c:v>0</c:v>
                </c:pt>
                <c:pt idx="53793">
                  <c:v>0</c:v>
                </c:pt>
                <c:pt idx="53794">
                  <c:v>0</c:v>
                </c:pt>
                <c:pt idx="53795">
                  <c:v>0</c:v>
                </c:pt>
                <c:pt idx="53796">
                  <c:v>0</c:v>
                </c:pt>
                <c:pt idx="53797">
                  <c:v>0</c:v>
                </c:pt>
                <c:pt idx="53798">
                  <c:v>0</c:v>
                </c:pt>
                <c:pt idx="53799">
                  <c:v>0</c:v>
                </c:pt>
                <c:pt idx="53800">
                  <c:v>0</c:v>
                </c:pt>
                <c:pt idx="53801">
                  <c:v>0</c:v>
                </c:pt>
                <c:pt idx="53802">
                  <c:v>0</c:v>
                </c:pt>
                <c:pt idx="53803">
                  <c:v>0</c:v>
                </c:pt>
                <c:pt idx="53804">
                  <c:v>0</c:v>
                </c:pt>
                <c:pt idx="53805">
                  <c:v>0</c:v>
                </c:pt>
                <c:pt idx="53806">
                  <c:v>0</c:v>
                </c:pt>
                <c:pt idx="53807">
                  <c:v>0</c:v>
                </c:pt>
                <c:pt idx="53808">
                  <c:v>0</c:v>
                </c:pt>
                <c:pt idx="53809">
                  <c:v>0</c:v>
                </c:pt>
                <c:pt idx="53810">
                  <c:v>0</c:v>
                </c:pt>
                <c:pt idx="53811">
                  <c:v>0</c:v>
                </c:pt>
                <c:pt idx="53812">
                  <c:v>0</c:v>
                </c:pt>
                <c:pt idx="53813">
                  <c:v>0</c:v>
                </c:pt>
                <c:pt idx="53814">
                  <c:v>0</c:v>
                </c:pt>
                <c:pt idx="53815">
                  <c:v>0</c:v>
                </c:pt>
                <c:pt idx="53816">
                  <c:v>0</c:v>
                </c:pt>
                <c:pt idx="53817">
                  <c:v>0</c:v>
                </c:pt>
                <c:pt idx="53818">
                  <c:v>0</c:v>
                </c:pt>
                <c:pt idx="53819">
                  <c:v>0</c:v>
                </c:pt>
                <c:pt idx="53820">
                  <c:v>0</c:v>
                </c:pt>
                <c:pt idx="53821">
                  <c:v>0</c:v>
                </c:pt>
                <c:pt idx="53822">
                  <c:v>0</c:v>
                </c:pt>
                <c:pt idx="53823">
                  <c:v>0</c:v>
                </c:pt>
                <c:pt idx="53824">
                  <c:v>0</c:v>
                </c:pt>
                <c:pt idx="53825">
                  <c:v>0</c:v>
                </c:pt>
                <c:pt idx="53826">
                  <c:v>0</c:v>
                </c:pt>
                <c:pt idx="53827">
                  <c:v>0</c:v>
                </c:pt>
                <c:pt idx="53828">
                  <c:v>0</c:v>
                </c:pt>
                <c:pt idx="53829">
                  <c:v>0</c:v>
                </c:pt>
                <c:pt idx="53830">
                  <c:v>0</c:v>
                </c:pt>
                <c:pt idx="53831">
                  <c:v>0</c:v>
                </c:pt>
                <c:pt idx="53832">
                  <c:v>0</c:v>
                </c:pt>
                <c:pt idx="53833">
                  <c:v>0</c:v>
                </c:pt>
                <c:pt idx="53834">
                  <c:v>0</c:v>
                </c:pt>
                <c:pt idx="53835">
                  <c:v>0</c:v>
                </c:pt>
                <c:pt idx="53836">
                  <c:v>0</c:v>
                </c:pt>
                <c:pt idx="53837">
                  <c:v>0</c:v>
                </c:pt>
                <c:pt idx="53838">
                  <c:v>0</c:v>
                </c:pt>
                <c:pt idx="53839">
                  <c:v>0</c:v>
                </c:pt>
                <c:pt idx="53840">
                  <c:v>0</c:v>
                </c:pt>
                <c:pt idx="53841">
                  <c:v>0</c:v>
                </c:pt>
                <c:pt idx="53842">
                  <c:v>0</c:v>
                </c:pt>
                <c:pt idx="53843">
                  <c:v>0</c:v>
                </c:pt>
                <c:pt idx="53844">
                  <c:v>0</c:v>
                </c:pt>
                <c:pt idx="53845">
                  <c:v>0</c:v>
                </c:pt>
                <c:pt idx="53846">
                  <c:v>0</c:v>
                </c:pt>
                <c:pt idx="53847">
                  <c:v>0</c:v>
                </c:pt>
                <c:pt idx="53848">
                  <c:v>0</c:v>
                </c:pt>
                <c:pt idx="53849">
                  <c:v>0</c:v>
                </c:pt>
                <c:pt idx="53850">
                  <c:v>0</c:v>
                </c:pt>
                <c:pt idx="53851">
                  <c:v>0</c:v>
                </c:pt>
                <c:pt idx="53852">
                  <c:v>0</c:v>
                </c:pt>
                <c:pt idx="53853">
                  <c:v>0</c:v>
                </c:pt>
                <c:pt idx="53854">
                  <c:v>0</c:v>
                </c:pt>
                <c:pt idx="53855">
                  <c:v>0</c:v>
                </c:pt>
                <c:pt idx="53856">
                  <c:v>0</c:v>
                </c:pt>
                <c:pt idx="53857">
                  <c:v>0</c:v>
                </c:pt>
                <c:pt idx="53858">
                  <c:v>0</c:v>
                </c:pt>
                <c:pt idx="53859">
                  <c:v>0</c:v>
                </c:pt>
                <c:pt idx="53860">
                  <c:v>0</c:v>
                </c:pt>
                <c:pt idx="53861">
                  <c:v>0</c:v>
                </c:pt>
                <c:pt idx="53862">
                  <c:v>0</c:v>
                </c:pt>
                <c:pt idx="53863">
                  <c:v>0</c:v>
                </c:pt>
                <c:pt idx="53864">
                  <c:v>0</c:v>
                </c:pt>
                <c:pt idx="53865">
                  <c:v>0</c:v>
                </c:pt>
                <c:pt idx="53866">
                  <c:v>0</c:v>
                </c:pt>
                <c:pt idx="53867">
                  <c:v>0</c:v>
                </c:pt>
                <c:pt idx="53868">
                  <c:v>0</c:v>
                </c:pt>
                <c:pt idx="53869">
                  <c:v>0</c:v>
                </c:pt>
                <c:pt idx="53870">
                  <c:v>0</c:v>
                </c:pt>
                <c:pt idx="53871">
                  <c:v>0</c:v>
                </c:pt>
                <c:pt idx="53872">
                  <c:v>0</c:v>
                </c:pt>
                <c:pt idx="53873">
                  <c:v>0</c:v>
                </c:pt>
                <c:pt idx="53874">
                  <c:v>0</c:v>
                </c:pt>
                <c:pt idx="53875">
                  <c:v>0</c:v>
                </c:pt>
                <c:pt idx="53876">
                  <c:v>0</c:v>
                </c:pt>
                <c:pt idx="53877">
                  <c:v>0</c:v>
                </c:pt>
                <c:pt idx="53878">
                  <c:v>0</c:v>
                </c:pt>
                <c:pt idx="53879">
                  <c:v>0</c:v>
                </c:pt>
                <c:pt idx="53880">
                  <c:v>0</c:v>
                </c:pt>
                <c:pt idx="53881">
                  <c:v>0</c:v>
                </c:pt>
                <c:pt idx="53882">
                  <c:v>0</c:v>
                </c:pt>
                <c:pt idx="53883">
                  <c:v>0</c:v>
                </c:pt>
                <c:pt idx="53884">
                  <c:v>0</c:v>
                </c:pt>
                <c:pt idx="53885">
                  <c:v>0</c:v>
                </c:pt>
                <c:pt idx="53886">
                  <c:v>0</c:v>
                </c:pt>
                <c:pt idx="53887">
                  <c:v>0</c:v>
                </c:pt>
                <c:pt idx="53888">
                  <c:v>0</c:v>
                </c:pt>
                <c:pt idx="53889">
                  <c:v>0</c:v>
                </c:pt>
                <c:pt idx="53890">
                  <c:v>0</c:v>
                </c:pt>
                <c:pt idx="53891">
                  <c:v>0</c:v>
                </c:pt>
                <c:pt idx="53892">
                  <c:v>0</c:v>
                </c:pt>
                <c:pt idx="53893">
                  <c:v>0</c:v>
                </c:pt>
                <c:pt idx="53894">
                  <c:v>0</c:v>
                </c:pt>
                <c:pt idx="53895">
                  <c:v>0</c:v>
                </c:pt>
                <c:pt idx="53896">
                  <c:v>0</c:v>
                </c:pt>
                <c:pt idx="53897">
                  <c:v>0</c:v>
                </c:pt>
                <c:pt idx="53898">
                  <c:v>0</c:v>
                </c:pt>
                <c:pt idx="53899">
                  <c:v>0</c:v>
                </c:pt>
                <c:pt idx="53900">
                  <c:v>0</c:v>
                </c:pt>
                <c:pt idx="53901">
                  <c:v>0</c:v>
                </c:pt>
                <c:pt idx="53902">
                  <c:v>0</c:v>
                </c:pt>
                <c:pt idx="53903">
                  <c:v>0</c:v>
                </c:pt>
                <c:pt idx="53904">
                  <c:v>0</c:v>
                </c:pt>
                <c:pt idx="53905">
                  <c:v>0</c:v>
                </c:pt>
                <c:pt idx="53906">
                  <c:v>0</c:v>
                </c:pt>
                <c:pt idx="53907">
                  <c:v>0</c:v>
                </c:pt>
                <c:pt idx="53908">
                  <c:v>0</c:v>
                </c:pt>
                <c:pt idx="53909">
                  <c:v>0</c:v>
                </c:pt>
                <c:pt idx="53910">
                  <c:v>0</c:v>
                </c:pt>
                <c:pt idx="53911">
                  <c:v>0</c:v>
                </c:pt>
                <c:pt idx="53912">
                  <c:v>0</c:v>
                </c:pt>
                <c:pt idx="53913">
                  <c:v>0</c:v>
                </c:pt>
                <c:pt idx="53914">
                  <c:v>0</c:v>
                </c:pt>
                <c:pt idx="53915">
                  <c:v>0</c:v>
                </c:pt>
                <c:pt idx="53916">
                  <c:v>0</c:v>
                </c:pt>
                <c:pt idx="53917">
                  <c:v>0</c:v>
                </c:pt>
                <c:pt idx="53918">
                  <c:v>0</c:v>
                </c:pt>
                <c:pt idx="53919">
                  <c:v>0</c:v>
                </c:pt>
                <c:pt idx="53920">
                  <c:v>0</c:v>
                </c:pt>
                <c:pt idx="53921">
                  <c:v>0</c:v>
                </c:pt>
                <c:pt idx="53922">
                  <c:v>0</c:v>
                </c:pt>
                <c:pt idx="53923">
                  <c:v>0</c:v>
                </c:pt>
                <c:pt idx="53924">
                  <c:v>0</c:v>
                </c:pt>
                <c:pt idx="53925">
                  <c:v>0</c:v>
                </c:pt>
                <c:pt idx="53926">
                  <c:v>0</c:v>
                </c:pt>
                <c:pt idx="53927">
                  <c:v>0</c:v>
                </c:pt>
                <c:pt idx="53928">
                  <c:v>0</c:v>
                </c:pt>
                <c:pt idx="53929">
                  <c:v>0</c:v>
                </c:pt>
                <c:pt idx="53930">
                  <c:v>0</c:v>
                </c:pt>
                <c:pt idx="53931">
                  <c:v>0</c:v>
                </c:pt>
                <c:pt idx="53932">
                  <c:v>0</c:v>
                </c:pt>
                <c:pt idx="53933">
                  <c:v>0</c:v>
                </c:pt>
                <c:pt idx="53934">
                  <c:v>0</c:v>
                </c:pt>
                <c:pt idx="53935">
                  <c:v>0</c:v>
                </c:pt>
                <c:pt idx="53936">
                  <c:v>0</c:v>
                </c:pt>
                <c:pt idx="53937">
                  <c:v>0</c:v>
                </c:pt>
                <c:pt idx="53938">
                  <c:v>0</c:v>
                </c:pt>
                <c:pt idx="53939">
                  <c:v>0</c:v>
                </c:pt>
                <c:pt idx="53940">
                  <c:v>0</c:v>
                </c:pt>
                <c:pt idx="53941">
                  <c:v>0</c:v>
                </c:pt>
                <c:pt idx="53942">
                  <c:v>0</c:v>
                </c:pt>
                <c:pt idx="53943">
                  <c:v>0</c:v>
                </c:pt>
                <c:pt idx="53944">
                  <c:v>0</c:v>
                </c:pt>
                <c:pt idx="53945">
                  <c:v>0</c:v>
                </c:pt>
                <c:pt idx="53946">
                  <c:v>0</c:v>
                </c:pt>
                <c:pt idx="53947">
                  <c:v>0</c:v>
                </c:pt>
                <c:pt idx="53948">
                  <c:v>0</c:v>
                </c:pt>
                <c:pt idx="53949">
                  <c:v>0</c:v>
                </c:pt>
                <c:pt idx="53950">
                  <c:v>0</c:v>
                </c:pt>
                <c:pt idx="53951">
                  <c:v>0</c:v>
                </c:pt>
                <c:pt idx="53952">
                  <c:v>0</c:v>
                </c:pt>
                <c:pt idx="53953">
                  <c:v>0</c:v>
                </c:pt>
                <c:pt idx="53954">
                  <c:v>0</c:v>
                </c:pt>
                <c:pt idx="53955">
                  <c:v>0</c:v>
                </c:pt>
                <c:pt idx="53956">
                  <c:v>0</c:v>
                </c:pt>
                <c:pt idx="53957">
                  <c:v>0</c:v>
                </c:pt>
                <c:pt idx="53958">
                  <c:v>0</c:v>
                </c:pt>
                <c:pt idx="53959">
                  <c:v>0</c:v>
                </c:pt>
                <c:pt idx="53960">
                  <c:v>0</c:v>
                </c:pt>
                <c:pt idx="53961">
                  <c:v>0</c:v>
                </c:pt>
                <c:pt idx="53962">
                  <c:v>0</c:v>
                </c:pt>
                <c:pt idx="53963">
                  <c:v>0</c:v>
                </c:pt>
                <c:pt idx="53964">
                  <c:v>0</c:v>
                </c:pt>
                <c:pt idx="53965">
                  <c:v>0</c:v>
                </c:pt>
                <c:pt idx="53966">
                  <c:v>0</c:v>
                </c:pt>
                <c:pt idx="53967">
                  <c:v>0</c:v>
                </c:pt>
                <c:pt idx="53968">
                  <c:v>0</c:v>
                </c:pt>
                <c:pt idx="53969">
                  <c:v>0</c:v>
                </c:pt>
                <c:pt idx="53970">
                  <c:v>0</c:v>
                </c:pt>
                <c:pt idx="53971">
                  <c:v>0</c:v>
                </c:pt>
                <c:pt idx="53972">
                  <c:v>0</c:v>
                </c:pt>
                <c:pt idx="53973">
                  <c:v>0</c:v>
                </c:pt>
                <c:pt idx="53974">
                  <c:v>0</c:v>
                </c:pt>
                <c:pt idx="53975">
                  <c:v>0</c:v>
                </c:pt>
                <c:pt idx="53976">
                  <c:v>0</c:v>
                </c:pt>
                <c:pt idx="53977">
                  <c:v>0</c:v>
                </c:pt>
                <c:pt idx="53978">
                  <c:v>0</c:v>
                </c:pt>
                <c:pt idx="53979">
                  <c:v>0</c:v>
                </c:pt>
                <c:pt idx="53980">
                  <c:v>0</c:v>
                </c:pt>
                <c:pt idx="53981">
                  <c:v>0</c:v>
                </c:pt>
                <c:pt idx="53982">
                  <c:v>0</c:v>
                </c:pt>
                <c:pt idx="53983">
                  <c:v>0</c:v>
                </c:pt>
                <c:pt idx="53984">
                  <c:v>0</c:v>
                </c:pt>
                <c:pt idx="53985">
                  <c:v>0</c:v>
                </c:pt>
                <c:pt idx="53986">
                  <c:v>0</c:v>
                </c:pt>
                <c:pt idx="53987">
                  <c:v>0</c:v>
                </c:pt>
                <c:pt idx="53988">
                  <c:v>0</c:v>
                </c:pt>
                <c:pt idx="53989">
                  <c:v>0</c:v>
                </c:pt>
                <c:pt idx="53990">
                  <c:v>0</c:v>
                </c:pt>
                <c:pt idx="53991">
                  <c:v>0</c:v>
                </c:pt>
                <c:pt idx="53992">
                  <c:v>0</c:v>
                </c:pt>
                <c:pt idx="53993">
                  <c:v>0</c:v>
                </c:pt>
                <c:pt idx="53994">
                  <c:v>0</c:v>
                </c:pt>
                <c:pt idx="53995">
                  <c:v>0</c:v>
                </c:pt>
                <c:pt idx="53996">
                  <c:v>0</c:v>
                </c:pt>
                <c:pt idx="53997">
                  <c:v>0</c:v>
                </c:pt>
                <c:pt idx="53998">
                  <c:v>0</c:v>
                </c:pt>
                <c:pt idx="53999">
                  <c:v>0</c:v>
                </c:pt>
                <c:pt idx="54000">
                  <c:v>0</c:v>
                </c:pt>
                <c:pt idx="54001">
                  <c:v>0</c:v>
                </c:pt>
                <c:pt idx="54002">
                  <c:v>0</c:v>
                </c:pt>
                <c:pt idx="54003">
                  <c:v>0</c:v>
                </c:pt>
                <c:pt idx="54004">
                  <c:v>0</c:v>
                </c:pt>
                <c:pt idx="54005">
                  <c:v>0</c:v>
                </c:pt>
                <c:pt idx="54006">
                  <c:v>0</c:v>
                </c:pt>
                <c:pt idx="54007">
                  <c:v>0</c:v>
                </c:pt>
                <c:pt idx="54008">
                  <c:v>0</c:v>
                </c:pt>
                <c:pt idx="54009">
                  <c:v>0</c:v>
                </c:pt>
                <c:pt idx="54010">
                  <c:v>0</c:v>
                </c:pt>
                <c:pt idx="54011">
                  <c:v>0</c:v>
                </c:pt>
                <c:pt idx="54012">
                  <c:v>0</c:v>
                </c:pt>
                <c:pt idx="54013">
                  <c:v>0</c:v>
                </c:pt>
                <c:pt idx="54014">
                  <c:v>0</c:v>
                </c:pt>
                <c:pt idx="54015">
                  <c:v>0</c:v>
                </c:pt>
                <c:pt idx="54016">
                  <c:v>0</c:v>
                </c:pt>
                <c:pt idx="54017">
                  <c:v>0</c:v>
                </c:pt>
                <c:pt idx="54018">
                  <c:v>0</c:v>
                </c:pt>
                <c:pt idx="54019">
                  <c:v>0</c:v>
                </c:pt>
                <c:pt idx="54020">
                  <c:v>0</c:v>
                </c:pt>
                <c:pt idx="54021">
                  <c:v>0</c:v>
                </c:pt>
                <c:pt idx="54022">
                  <c:v>0</c:v>
                </c:pt>
                <c:pt idx="54023">
                  <c:v>0</c:v>
                </c:pt>
                <c:pt idx="54024">
                  <c:v>0</c:v>
                </c:pt>
                <c:pt idx="54025">
                  <c:v>0</c:v>
                </c:pt>
                <c:pt idx="54026">
                  <c:v>0</c:v>
                </c:pt>
                <c:pt idx="54027">
                  <c:v>0</c:v>
                </c:pt>
                <c:pt idx="54028">
                  <c:v>0</c:v>
                </c:pt>
                <c:pt idx="54029">
                  <c:v>0</c:v>
                </c:pt>
                <c:pt idx="54030">
                  <c:v>0</c:v>
                </c:pt>
                <c:pt idx="54031">
                  <c:v>0</c:v>
                </c:pt>
                <c:pt idx="54032">
                  <c:v>0</c:v>
                </c:pt>
                <c:pt idx="54033">
                  <c:v>0</c:v>
                </c:pt>
                <c:pt idx="54034">
                  <c:v>0</c:v>
                </c:pt>
                <c:pt idx="54035">
                  <c:v>0</c:v>
                </c:pt>
                <c:pt idx="54036">
                  <c:v>0</c:v>
                </c:pt>
                <c:pt idx="54037">
                  <c:v>0</c:v>
                </c:pt>
                <c:pt idx="54038">
                  <c:v>0</c:v>
                </c:pt>
                <c:pt idx="54039">
                  <c:v>0</c:v>
                </c:pt>
                <c:pt idx="54040">
                  <c:v>0</c:v>
                </c:pt>
                <c:pt idx="54041">
                  <c:v>0</c:v>
                </c:pt>
                <c:pt idx="54042">
                  <c:v>0</c:v>
                </c:pt>
                <c:pt idx="54043">
                  <c:v>0</c:v>
                </c:pt>
                <c:pt idx="54044">
                  <c:v>0</c:v>
                </c:pt>
                <c:pt idx="54045">
                  <c:v>0</c:v>
                </c:pt>
                <c:pt idx="54046">
                  <c:v>0</c:v>
                </c:pt>
                <c:pt idx="54047">
                  <c:v>0</c:v>
                </c:pt>
                <c:pt idx="54048">
                  <c:v>0</c:v>
                </c:pt>
                <c:pt idx="54049">
                  <c:v>0</c:v>
                </c:pt>
                <c:pt idx="54050">
                  <c:v>0</c:v>
                </c:pt>
                <c:pt idx="54051">
                  <c:v>0</c:v>
                </c:pt>
                <c:pt idx="54052">
                  <c:v>0</c:v>
                </c:pt>
                <c:pt idx="54053">
                  <c:v>0</c:v>
                </c:pt>
                <c:pt idx="54054">
                  <c:v>0</c:v>
                </c:pt>
                <c:pt idx="54055">
                  <c:v>0</c:v>
                </c:pt>
                <c:pt idx="54056">
                  <c:v>0</c:v>
                </c:pt>
                <c:pt idx="54057">
                  <c:v>0</c:v>
                </c:pt>
                <c:pt idx="54058">
                  <c:v>0</c:v>
                </c:pt>
                <c:pt idx="54059">
                  <c:v>0</c:v>
                </c:pt>
                <c:pt idx="54060">
                  <c:v>0</c:v>
                </c:pt>
                <c:pt idx="54061">
                  <c:v>0</c:v>
                </c:pt>
                <c:pt idx="54062">
                  <c:v>0</c:v>
                </c:pt>
                <c:pt idx="54063">
                  <c:v>0</c:v>
                </c:pt>
                <c:pt idx="54064">
                  <c:v>0</c:v>
                </c:pt>
                <c:pt idx="54065">
                  <c:v>0</c:v>
                </c:pt>
                <c:pt idx="54066">
                  <c:v>0</c:v>
                </c:pt>
                <c:pt idx="54067">
                  <c:v>0</c:v>
                </c:pt>
                <c:pt idx="54068">
                  <c:v>0</c:v>
                </c:pt>
                <c:pt idx="54069">
                  <c:v>0</c:v>
                </c:pt>
                <c:pt idx="54070">
                  <c:v>0</c:v>
                </c:pt>
                <c:pt idx="54071">
                  <c:v>0</c:v>
                </c:pt>
                <c:pt idx="54072">
                  <c:v>0</c:v>
                </c:pt>
                <c:pt idx="54073">
                  <c:v>0</c:v>
                </c:pt>
                <c:pt idx="54074">
                  <c:v>0</c:v>
                </c:pt>
                <c:pt idx="54075">
                  <c:v>0</c:v>
                </c:pt>
                <c:pt idx="54076">
                  <c:v>0</c:v>
                </c:pt>
                <c:pt idx="54077">
                  <c:v>0</c:v>
                </c:pt>
                <c:pt idx="54078">
                  <c:v>0</c:v>
                </c:pt>
                <c:pt idx="54079">
                  <c:v>0</c:v>
                </c:pt>
                <c:pt idx="54080">
                  <c:v>0</c:v>
                </c:pt>
                <c:pt idx="54081">
                  <c:v>0</c:v>
                </c:pt>
                <c:pt idx="54082">
                  <c:v>0</c:v>
                </c:pt>
                <c:pt idx="54083">
                  <c:v>0</c:v>
                </c:pt>
                <c:pt idx="54084">
                  <c:v>0</c:v>
                </c:pt>
                <c:pt idx="54085">
                  <c:v>0</c:v>
                </c:pt>
                <c:pt idx="54086">
                  <c:v>0</c:v>
                </c:pt>
                <c:pt idx="54087">
                  <c:v>0</c:v>
                </c:pt>
                <c:pt idx="54088">
                  <c:v>0</c:v>
                </c:pt>
                <c:pt idx="54089">
                  <c:v>0</c:v>
                </c:pt>
                <c:pt idx="54090">
                  <c:v>0</c:v>
                </c:pt>
                <c:pt idx="54091">
                  <c:v>0</c:v>
                </c:pt>
                <c:pt idx="54092">
                  <c:v>0</c:v>
                </c:pt>
                <c:pt idx="54093">
                  <c:v>0</c:v>
                </c:pt>
                <c:pt idx="54094">
                  <c:v>0</c:v>
                </c:pt>
                <c:pt idx="54095">
                  <c:v>0</c:v>
                </c:pt>
                <c:pt idx="54096">
                  <c:v>0</c:v>
                </c:pt>
                <c:pt idx="54097">
                  <c:v>0</c:v>
                </c:pt>
                <c:pt idx="54098">
                  <c:v>0</c:v>
                </c:pt>
                <c:pt idx="54099">
                  <c:v>0</c:v>
                </c:pt>
                <c:pt idx="54100">
                  <c:v>0</c:v>
                </c:pt>
                <c:pt idx="54101">
                  <c:v>0</c:v>
                </c:pt>
                <c:pt idx="54102">
                  <c:v>0</c:v>
                </c:pt>
                <c:pt idx="54103">
                  <c:v>0</c:v>
                </c:pt>
                <c:pt idx="54104">
                  <c:v>0</c:v>
                </c:pt>
                <c:pt idx="54105">
                  <c:v>0</c:v>
                </c:pt>
                <c:pt idx="54106">
                  <c:v>0</c:v>
                </c:pt>
                <c:pt idx="54107">
                  <c:v>0</c:v>
                </c:pt>
                <c:pt idx="54108">
                  <c:v>0</c:v>
                </c:pt>
                <c:pt idx="54109">
                  <c:v>0</c:v>
                </c:pt>
                <c:pt idx="54110">
                  <c:v>0</c:v>
                </c:pt>
                <c:pt idx="54111">
                  <c:v>0</c:v>
                </c:pt>
                <c:pt idx="54112">
                  <c:v>0</c:v>
                </c:pt>
                <c:pt idx="54113">
                  <c:v>0</c:v>
                </c:pt>
                <c:pt idx="54114">
                  <c:v>0</c:v>
                </c:pt>
                <c:pt idx="54115">
                  <c:v>0</c:v>
                </c:pt>
                <c:pt idx="54116">
                  <c:v>0</c:v>
                </c:pt>
                <c:pt idx="54117">
                  <c:v>0</c:v>
                </c:pt>
                <c:pt idx="54118">
                  <c:v>0</c:v>
                </c:pt>
                <c:pt idx="54119">
                  <c:v>0</c:v>
                </c:pt>
                <c:pt idx="54120">
                  <c:v>0</c:v>
                </c:pt>
                <c:pt idx="54121">
                  <c:v>0</c:v>
                </c:pt>
                <c:pt idx="54122">
                  <c:v>0</c:v>
                </c:pt>
                <c:pt idx="54123">
                  <c:v>0</c:v>
                </c:pt>
                <c:pt idx="54124">
                  <c:v>0</c:v>
                </c:pt>
                <c:pt idx="54125">
                  <c:v>0</c:v>
                </c:pt>
                <c:pt idx="54126">
                  <c:v>0</c:v>
                </c:pt>
                <c:pt idx="54127">
                  <c:v>0</c:v>
                </c:pt>
                <c:pt idx="54128">
                  <c:v>0</c:v>
                </c:pt>
                <c:pt idx="54129">
                  <c:v>0</c:v>
                </c:pt>
                <c:pt idx="54130">
                  <c:v>0</c:v>
                </c:pt>
                <c:pt idx="54131">
                  <c:v>0</c:v>
                </c:pt>
                <c:pt idx="54132">
                  <c:v>0</c:v>
                </c:pt>
                <c:pt idx="54133">
                  <c:v>0</c:v>
                </c:pt>
                <c:pt idx="54134">
                  <c:v>0</c:v>
                </c:pt>
                <c:pt idx="54135">
                  <c:v>0</c:v>
                </c:pt>
                <c:pt idx="54136">
                  <c:v>0</c:v>
                </c:pt>
                <c:pt idx="54137">
                  <c:v>0</c:v>
                </c:pt>
                <c:pt idx="54138">
                  <c:v>0</c:v>
                </c:pt>
                <c:pt idx="54139">
                  <c:v>0</c:v>
                </c:pt>
                <c:pt idx="54140">
                  <c:v>0</c:v>
                </c:pt>
                <c:pt idx="54141">
                  <c:v>0</c:v>
                </c:pt>
                <c:pt idx="54142">
                  <c:v>0</c:v>
                </c:pt>
                <c:pt idx="54143">
                  <c:v>0</c:v>
                </c:pt>
                <c:pt idx="54144">
                  <c:v>0</c:v>
                </c:pt>
                <c:pt idx="54145">
                  <c:v>0</c:v>
                </c:pt>
                <c:pt idx="54146">
                  <c:v>0</c:v>
                </c:pt>
                <c:pt idx="54147">
                  <c:v>0</c:v>
                </c:pt>
                <c:pt idx="54148">
                  <c:v>0</c:v>
                </c:pt>
                <c:pt idx="54149">
                  <c:v>0</c:v>
                </c:pt>
                <c:pt idx="54150">
                  <c:v>0</c:v>
                </c:pt>
                <c:pt idx="54151">
                  <c:v>0</c:v>
                </c:pt>
                <c:pt idx="54152">
                  <c:v>0</c:v>
                </c:pt>
                <c:pt idx="54153">
                  <c:v>0</c:v>
                </c:pt>
                <c:pt idx="54154">
                  <c:v>0</c:v>
                </c:pt>
                <c:pt idx="54155">
                  <c:v>0</c:v>
                </c:pt>
                <c:pt idx="54156">
                  <c:v>0</c:v>
                </c:pt>
                <c:pt idx="54157">
                  <c:v>0</c:v>
                </c:pt>
                <c:pt idx="54158">
                  <c:v>0</c:v>
                </c:pt>
                <c:pt idx="54159">
                  <c:v>0</c:v>
                </c:pt>
                <c:pt idx="54160">
                  <c:v>0</c:v>
                </c:pt>
                <c:pt idx="54161">
                  <c:v>0</c:v>
                </c:pt>
                <c:pt idx="54162">
                  <c:v>0</c:v>
                </c:pt>
                <c:pt idx="54163">
                  <c:v>0</c:v>
                </c:pt>
                <c:pt idx="54164">
                  <c:v>0</c:v>
                </c:pt>
                <c:pt idx="54165">
                  <c:v>0</c:v>
                </c:pt>
                <c:pt idx="54166">
                  <c:v>0</c:v>
                </c:pt>
                <c:pt idx="54167">
                  <c:v>0</c:v>
                </c:pt>
                <c:pt idx="54168">
                  <c:v>0</c:v>
                </c:pt>
                <c:pt idx="54169">
                  <c:v>0</c:v>
                </c:pt>
                <c:pt idx="54170">
                  <c:v>0</c:v>
                </c:pt>
                <c:pt idx="54171">
                  <c:v>0</c:v>
                </c:pt>
                <c:pt idx="54172">
                  <c:v>0</c:v>
                </c:pt>
                <c:pt idx="54173">
                  <c:v>0</c:v>
                </c:pt>
                <c:pt idx="54174">
                  <c:v>0</c:v>
                </c:pt>
                <c:pt idx="54175">
                  <c:v>0</c:v>
                </c:pt>
                <c:pt idx="54176">
                  <c:v>0</c:v>
                </c:pt>
                <c:pt idx="54177">
                  <c:v>0</c:v>
                </c:pt>
                <c:pt idx="54178">
                  <c:v>0</c:v>
                </c:pt>
                <c:pt idx="54179">
                  <c:v>0</c:v>
                </c:pt>
                <c:pt idx="54180">
                  <c:v>0</c:v>
                </c:pt>
                <c:pt idx="54181">
                  <c:v>0</c:v>
                </c:pt>
                <c:pt idx="54182">
                  <c:v>0</c:v>
                </c:pt>
                <c:pt idx="54183">
                  <c:v>0</c:v>
                </c:pt>
                <c:pt idx="54184">
                  <c:v>0</c:v>
                </c:pt>
                <c:pt idx="54185">
                  <c:v>0</c:v>
                </c:pt>
                <c:pt idx="54186">
                  <c:v>0</c:v>
                </c:pt>
                <c:pt idx="54187">
                  <c:v>0</c:v>
                </c:pt>
                <c:pt idx="54188">
                  <c:v>0</c:v>
                </c:pt>
                <c:pt idx="54189">
                  <c:v>0</c:v>
                </c:pt>
                <c:pt idx="54190">
                  <c:v>0</c:v>
                </c:pt>
                <c:pt idx="54191">
                  <c:v>0</c:v>
                </c:pt>
                <c:pt idx="54192">
                  <c:v>0</c:v>
                </c:pt>
                <c:pt idx="54193">
                  <c:v>0</c:v>
                </c:pt>
                <c:pt idx="54194">
                  <c:v>0</c:v>
                </c:pt>
                <c:pt idx="54195">
                  <c:v>0</c:v>
                </c:pt>
                <c:pt idx="54196">
                  <c:v>0</c:v>
                </c:pt>
                <c:pt idx="54197">
                  <c:v>0</c:v>
                </c:pt>
                <c:pt idx="54198">
                  <c:v>0</c:v>
                </c:pt>
                <c:pt idx="54199">
                  <c:v>0</c:v>
                </c:pt>
                <c:pt idx="54200">
                  <c:v>0</c:v>
                </c:pt>
                <c:pt idx="54201">
                  <c:v>0</c:v>
                </c:pt>
                <c:pt idx="54202">
                  <c:v>0</c:v>
                </c:pt>
                <c:pt idx="54203">
                  <c:v>0</c:v>
                </c:pt>
                <c:pt idx="54204">
                  <c:v>0</c:v>
                </c:pt>
                <c:pt idx="54205">
                  <c:v>0</c:v>
                </c:pt>
                <c:pt idx="54206">
                  <c:v>0</c:v>
                </c:pt>
                <c:pt idx="54207">
                  <c:v>0</c:v>
                </c:pt>
                <c:pt idx="54208">
                  <c:v>0</c:v>
                </c:pt>
                <c:pt idx="54209">
                  <c:v>0</c:v>
                </c:pt>
                <c:pt idx="54210">
                  <c:v>0</c:v>
                </c:pt>
                <c:pt idx="54211">
                  <c:v>0</c:v>
                </c:pt>
                <c:pt idx="54212">
                  <c:v>0</c:v>
                </c:pt>
                <c:pt idx="54213">
                  <c:v>0</c:v>
                </c:pt>
                <c:pt idx="54214">
                  <c:v>0</c:v>
                </c:pt>
                <c:pt idx="54215">
                  <c:v>0</c:v>
                </c:pt>
                <c:pt idx="54216">
                  <c:v>0</c:v>
                </c:pt>
                <c:pt idx="54217">
                  <c:v>0</c:v>
                </c:pt>
                <c:pt idx="54218">
                  <c:v>0</c:v>
                </c:pt>
                <c:pt idx="54219">
                  <c:v>0</c:v>
                </c:pt>
                <c:pt idx="54220">
                  <c:v>0</c:v>
                </c:pt>
                <c:pt idx="54221">
                  <c:v>0</c:v>
                </c:pt>
                <c:pt idx="54222">
                  <c:v>0</c:v>
                </c:pt>
                <c:pt idx="54223">
                  <c:v>0</c:v>
                </c:pt>
                <c:pt idx="54224">
                  <c:v>0</c:v>
                </c:pt>
                <c:pt idx="54225">
                  <c:v>0</c:v>
                </c:pt>
                <c:pt idx="54226">
                  <c:v>0</c:v>
                </c:pt>
                <c:pt idx="54227">
                  <c:v>0</c:v>
                </c:pt>
                <c:pt idx="54228">
                  <c:v>0</c:v>
                </c:pt>
                <c:pt idx="54229">
                  <c:v>0</c:v>
                </c:pt>
                <c:pt idx="54230">
                  <c:v>0</c:v>
                </c:pt>
                <c:pt idx="54231">
                  <c:v>0</c:v>
                </c:pt>
                <c:pt idx="54232">
                  <c:v>0</c:v>
                </c:pt>
                <c:pt idx="54233">
                  <c:v>0</c:v>
                </c:pt>
                <c:pt idx="54234">
                  <c:v>0</c:v>
                </c:pt>
                <c:pt idx="54235">
                  <c:v>0</c:v>
                </c:pt>
                <c:pt idx="54236">
                  <c:v>0</c:v>
                </c:pt>
                <c:pt idx="54237">
                  <c:v>0</c:v>
                </c:pt>
                <c:pt idx="54238">
                  <c:v>0</c:v>
                </c:pt>
                <c:pt idx="54239">
                  <c:v>0</c:v>
                </c:pt>
                <c:pt idx="54240">
                  <c:v>0</c:v>
                </c:pt>
                <c:pt idx="54241">
                  <c:v>0</c:v>
                </c:pt>
                <c:pt idx="54242">
                  <c:v>0</c:v>
                </c:pt>
                <c:pt idx="54243">
                  <c:v>0</c:v>
                </c:pt>
                <c:pt idx="54244">
                  <c:v>0</c:v>
                </c:pt>
                <c:pt idx="54245">
                  <c:v>0</c:v>
                </c:pt>
                <c:pt idx="54246">
                  <c:v>0</c:v>
                </c:pt>
                <c:pt idx="54247">
                  <c:v>0</c:v>
                </c:pt>
                <c:pt idx="54248">
                  <c:v>0</c:v>
                </c:pt>
                <c:pt idx="54249">
                  <c:v>0</c:v>
                </c:pt>
                <c:pt idx="54250">
                  <c:v>0</c:v>
                </c:pt>
                <c:pt idx="54251">
                  <c:v>0</c:v>
                </c:pt>
                <c:pt idx="54252">
                  <c:v>0</c:v>
                </c:pt>
                <c:pt idx="54253">
                  <c:v>0</c:v>
                </c:pt>
                <c:pt idx="54254">
                  <c:v>0</c:v>
                </c:pt>
                <c:pt idx="54255">
                  <c:v>0</c:v>
                </c:pt>
                <c:pt idx="54256">
                  <c:v>0</c:v>
                </c:pt>
                <c:pt idx="54257">
                  <c:v>0</c:v>
                </c:pt>
                <c:pt idx="54258">
                  <c:v>0</c:v>
                </c:pt>
                <c:pt idx="54259">
                  <c:v>0</c:v>
                </c:pt>
                <c:pt idx="54260">
                  <c:v>0</c:v>
                </c:pt>
                <c:pt idx="54261">
                  <c:v>0</c:v>
                </c:pt>
                <c:pt idx="54262">
                  <c:v>0</c:v>
                </c:pt>
                <c:pt idx="54263">
                  <c:v>0</c:v>
                </c:pt>
                <c:pt idx="54264">
                  <c:v>0</c:v>
                </c:pt>
                <c:pt idx="54265">
                  <c:v>0</c:v>
                </c:pt>
                <c:pt idx="54266">
                  <c:v>0</c:v>
                </c:pt>
                <c:pt idx="54267">
                  <c:v>0</c:v>
                </c:pt>
                <c:pt idx="54268">
                  <c:v>0</c:v>
                </c:pt>
                <c:pt idx="54269">
                  <c:v>0</c:v>
                </c:pt>
                <c:pt idx="54270">
                  <c:v>0</c:v>
                </c:pt>
                <c:pt idx="54271">
                  <c:v>0</c:v>
                </c:pt>
                <c:pt idx="54272">
                  <c:v>0</c:v>
                </c:pt>
                <c:pt idx="54273">
                  <c:v>0</c:v>
                </c:pt>
                <c:pt idx="54274">
                  <c:v>0</c:v>
                </c:pt>
                <c:pt idx="54275">
                  <c:v>0</c:v>
                </c:pt>
                <c:pt idx="54276">
                  <c:v>0</c:v>
                </c:pt>
                <c:pt idx="54277">
                  <c:v>0</c:v>
                </c:pt>
                <c:pt idx="54278">
                  <c:v>0</c:v>
                </c:pt>
                <c:pt idx="54279">
                  <c:v>0</c:v>
                </c:pt>
                <c:pt idx="54280">
                  <c:v>0</c:v>
                </c:pt>
                <c:pt idx="54281">
                  <c:v>0</c:v>
                </c:pt>
                <c:pt idx="54282">
                  <c:v>0</c:v>
                </c:pt>
                <c:pt idx="54283">
                  <c:v>0</c:v>
                </c:pt>
                <c:pt idx="54284">
                  <c:v>0</c:v>
                </c:pt>
                <c:pt idx="54285">
                  <c:v>0</c:v>
                </c:pt>
                <c:pt idx="54286">
                  <c:v>0</c:v>
                </c:pt>
                <c:pt idx="54287">
                  <c:v>0</c:v>
                </c:pt>
                <c:pt idx="54288">
                  <c:v>0</c:v>
                </c:pt>
                <c:pt idx="54289">
                  <c:v>0</c:v>
                </c:pt>
                <c:pt idx="54290">
                  <c:v>0</c:v>
                </c:pt>
                <c:pt idx="54291">
                  <c:v>0</c:v>
                </c:pt>
                <c:pt idx="54292">
                  <c:v>0</c:v>
                </c:pt>
                <c:pt idx="54293">
                  <c:v>0</c:v>
                </c:pt>
                <c:pt idx="54294">
                  <c:v>0</c:v>
                </c:pt>
                <c:pt idx="54295">
                  <c:v>0</c:v>
                </c:pt>
                <c:pt idx="54296">
                  <c:v>0</c:v>
                </c:pt>
                <c:pt idx="54297">
                  <c:v>0</c:v>
                </c:pt>
                <c:pt idx="54298">
                  <c:v>0</c:v>
                </c:pt>
                <c:pt idx="54299">
                  <c:v>0</c:v>
                </c:pt>
                <c:pt idx="54300">
                  <c:v>0</c:v>
                </c:pt>
                <c:pt idx="54301">
                  <c:v>0</c:v>
                </c:pt>
                <c:pt idx="54302">
                  <c:v>0</c:v>
                </c:pt>
                <c:pt idx="54303">
                  <c:v>0</c:v>
                </c:pt>
                <c:pt idx="54304">
                  <c:v>0</c:v>
                </c:pt>
                <c:pt idx="54305">
                  <c:v>0</c:v>
                </c:pt>
                <c:pt idx="54306">
                  <c:v>0</c:v>
                </c:pt>
                <c:pt idx="54307">
                  <c:v>0</c:v>
                </c:pt>
                <c:pt idx="54308">
                  <c:v>0</c:v>
                </c:pt>
                <c:pt idx="54309">
                  <c:v>0</c:v>
                </c:pt>
                <c:pt idx="54310">
                  <c:v>0</c:v>
                </c:pt>
                <c:pt idx="54311">
                  <c:v>0</c:v>
                </c:pt>
                <c:pt idx="54312">
                  <c:v>0</c:v>
                </c:pt>
                <c:pt idx="54313">
                  <c:v>0</c:v>
                </c:pt>
                <c:pt idx="54314">
                  <c:v>0</c:v>
                </c:pt>
                <c:pt idx="54315">
                  <c:v>0</c:v>
                </c:pt>
                <c:pt idx="54316">
                  <c:v>0</c:v>
                </c:pt>
                <c:pt idx="54317">
                  <c:v>0</c:v>
                </c:pt>
                <c:pt idx="54318">
                  <c:v>0</c:v>
                </c:pt>
                <c:pt idx="54319">
                  <c:v>0</c:v>
                </c:pt>
                <c:pt idx="54320">
                  <c:v>0</c:v>
                </c:pt>
                <c:pt idx="54321">
                  <c:v>0</c:v>
                </c:pt>
                <c:pt idx="54322">
                  <c:v>0</c:v>
                </c:pt>
                <c:pt idx="54323">
                  <c:v>0</c:v>
                </c:pt>
                <c:pt idx="54324">
                  <c:v>0</c:v>
                </c:pt>
                <c:pt idx="54325">
                  <c:v>0</c:v>
                </c:pt>
                <c:pt idx="54326">
                  <c:v>0</c:v>
                </c:pt>
                <c:pt idx="54327">
                  <c:v>0</c:v>
                </c:pt>
                <c:pt idx="54328">
                  <c:v>0</c:v>
                </c:pt>
                <c:pt idx="54329">
                  <c:v>0</c:v>
                </c:pt>
                <c:pt idx="54330">
                  <c:v>0</c:v>
                </c:pt>
                <c:pt idx="54331">
                  <c:v>0</c:v>
                </c:pt>
                <c:pt idx="54332">
                  <c:v>0</c:v>
                </c:pt>
                <c:pt idx="54333">
                  <c:v>0</c:v>
                </c:pt>
                <c:pt idx="54334">
                  <c:v>0</c:v>
                </c:pt>
                <c:pt idx="54335">
                  <c:v>0</c:v>
                </c:pt>
                <c:pt idx="54336">
                  <c:v>0</c:v>
                </c:pt>
                <c:pt idx="54337">
                  <c:v>0</c:v>
                </c:pt>
                <c:pt idx="54338">
                  <c:v>0</c:v>
                </c:pt>
                <c:pt idx="54339">
                  <c:v>0</c:v>
                </c:pt>
                <c:pt idx="54340">
                  <c:v>0</c:v>
                </c:pt>
                <c:pt idx="54341">
                  <c:v>0</c:v>
                </c:pt>
                <c:pt idx="54342">
                  <c:v>0</c:v>
                </c:pt>
                <c:pt idx="54343">
                  <c:v>0</c:v>
                </c:pt>
                <c:pt idx="54344">
                  <c:v>0</c:v>
                </c:pt>
                <c:pt idx="54345">
                  <c:v>0</c:v>
                </c:pt>
                <c:pt idx="54346">
                  <c:v>0</c:v>
                </c:pt>
                <c:pt idx="54347">
                  <c:v>0</c:v>
                </c:pt>
                <c:pt idx="54348">
                  <c:v>0</c:v>
                </c:pt>
                <c:pt idx="54349">
                  <c:v>0</c:v>
                </c:pt>
                <c:pt idx="54350">
                  <c:v>0</c:v>
                </c:pt>
                <c:pt idx="54351">
                  <c:v>0</c:v>
                </c:pt>
                <c:pt idx="54352">
                  <c:v>0</c:v>
                </c:pt>
                <c:pt idx="54353">
                  <c:v>0</c:v>
                </c:pt>
                <c:pt idx="54354">
                  <c:v>0</c:v>
                </c:pt>
                <c:pt idx="54355">
                  <c:v>0</c:v>
                </c:pt>
                <c:pt idx="54356">
                  <c:v>0</c:v>
                </c:pt>
                <c:pt idx="54357">
                  <c:v>0</c:v>
                </c:pt>
                <c:pt idx="54358">
                  <c:v>0</c:v>
                </c:pt>
                <c:pt idx="54359">
                  <c:v>0</c:v>
                </c:pt>
                <c:pt idx="54360">
                  <c:v>0</c:v>
                </c:pt>
                <c:pt idx="54361">
                  <c:v>0</c:v>
                </c:pt>
                <c:pt idx="54362">
                  <c:v>0</c:v>
                </c:pt>
                <c:pt idx="54363">
                  <c:v>0</c:v>
                </c:pt>
                <c:pt idx="54364">
                  <c:v>0</c:v>
                </c:pt>
                <c:pt idx="54365">
                  <c:v>0</c:v>
                </c:pt>
                <c:pt idx="54366">
                  <c:v>0</c:v>
                </c:pt>
                <c:pt idx="54367">
                  <c:v>0</c:v>
                </c:pt>
                <c:pt idx="54368">
                  <c:v>0</c:v>
                </c:pt>
                <c:pt idx="54369">
                  <c:v>0</c:v>
                </c:pt>
                <c:pt idx="54370">
                  <c:v>0</c:v>
                </c:pt>
                <c:pt idx="54371">
                  <c:v>0</c:v>
                </c:pt>
                <c:pt idx="54372">
                  <c:v>0</c:v>
                </c:pt>
                <c:pt idx="54373">
                  <c:v>0</c:v>
                </c:pt>
                <c:pt idx="54374">
                  <c:v>0</c:v>
                </c:pt>
                <c:pt idx="54375">
                  <c:v>0</c:v>
                </c:pt>
                <c:pt idx="54376">
                  <c:v>0</c:v>
                </c:pt>
                <c:pt idx="54377">
                  <c:v>0</c:v>
                </c:pt>
                <c:pt idx="54378">
                  <c:v>0</c:v>
                </c:pt>
                <c:pt idx="54379">
                  <c:v>0</c:v>
                </c:pt>
                <c:pt idx="54380">
                  <c:v>0</c:v>
                </c:pt>
                <c:pt idx="54381">
                  <c:v>0</c:v>
                </c:pt>
                <c:pt idx="54382">
                  <c:v>0</c:v>
                </c:pt>
                <c:pt idx="54383">
                  <c:v>0</c:v>
                </c:pt>
                <c:pt idx="54384">
                  <c:v>0</c:v>
                </c:pt>
                <c:pt idx="54385">
                  <c:v>0</c:v>
                </c:pt>
                <c:pt idx="54386">
                  <c:v>0</c:v>
                </c:pt>
                <c:pt idx="54387">
                  <c:v>0</c:v>
                </c:pt>
                <c:pt idx="54388">
                  <c:v>0</c:v>
                </c:pt>
                <c:pt idx="54389">
                  <c:v>0</c:v>
                </c:pt>
                <c:pt idx="54390">
                  <c:v>0</c:v>
                </c:pt>
                <c:pt idx="54391">
                  <c:v>0</c:v>
                </c:pt>
                <c:pt idx="54392">
                  <c:v>0</c:v>
                </c:pt>
                <c:pt idx="54393">
                  <c:v>0</c:v>
                </c:pt>
                <c:pt idx="54394">
                  <c:v>0</c:v>
                </c:pt>
                <c:pt idx="54395">
                  <c:v>0</c:v>
                </c:pt>
                <c:pt idx="54396">
                  <c:v>0</c:v>
                </c:pt>
                <c:pt idx="54397">
                  <c:v>0</c:v>
                </c:pt>
                <c:pt idx="54398">
                  <c:v>0</c:v>
                </c:pt>
                <c:pt idx="54399">
                  <c:v>0</c:v>
                </c:pt>
                <c:pt idx="54400">
                  <c:v>0</c:v>
                </c:pt>
                <c:pt idx="54401">
                  <c:v>0</c:v>
                </c:pt>
                <c:pt idx="54402">
                  <c:v>0</c:v>
                </c:pt>
                <c:pt idx="54403">
                  <c:v>0</c:v>
                </c:pt>
                <c:pt idx="54404">
                  <c:v>0</c:v>
                </c:pt>
                <c:pt idx="54405">
                  <c:v>0</c:v>
                </c:pt>
                <c:pt idx="54406">
                  <c:v>0</c:v>
                </c:pt>
                <c:pt idx="54407">
                  <c:v>0</c:v>
                </c:pt>
                <c:pt idx="54408">
                  <c:v>0</c:v>
                </c:pt>
                <c:pt idx="54409">
                  <c:v>0</c:v>
                </c:pt>
                <c:pt idx="54410">
                  <c:v>0</c:v>
                </c:pt>
                <c:pt idx="54411">
                  <c:v>0</c:v>
                </c:pt>
                <c:pt idx="54412">
                  <c:v>0</c:v>
                </c:pt>
                <c:pt idx="54413">
                  <c:v>0</c:v>
                </c:pt>
                <c:pt idx="54414">
                  <c:v>0</c:v>
                </c:pt>
                <c:pt idx="54415">
                  <c:v>0</c:v>
                </c:pt>
                <c:pt idx="54416">
                  <c:v>0</c:v>
                </c:pt>
                <c:pt idx="54417">
                  <c:v>0</c:v>
                </c:pt>
                <c:pt idx="54418">
                  <c:v>0</c:v>
                </c:pt>
                <c:pt idx="54419">
                  <c:v>0</c:v>
                </c:pt>
                <c:pt idx="54420">
                  <c:v>0</c:v>
                </c:pt>
                <c:pt idx="54421">
                  <c:v>0</c:v>
                </c:pt>
                <c:pt idx="54422">
                  <c:v>0</c:v>
                </c:pt>
                <c:pt idx="54423">
                  <c:v>0</c:v>
                </c:pt>
                <c:pt idx="54424">
                  <c:v>0</c:v>
                </c:pt>
                <c:pt idx="54425">
                  <c:v>0</c:v>
                </c:pt>
                <c:pt idx="54426">
                  <c:v>0</c:v>
                </c:pt>
                <c:pt idx="54427">
                  <c:v>0</c:v>
                </c:pt>
                <c:pt idx="54428">
                  <c:v>0</c:v>
                </c:pt>
                <c:pt idx="54429">
                  <c:v>0</c:v>
                </c:pt>
                <c:pt idx="54430">
                  <c:v>0</c:v>
                </c:pt>
                <c:pt idx="54431">
                  <c:v>0</c:v>
                </c:pt>
                <c:pt idx="54432">
                  <c:v>0</c:v>
                </c:pt>
                <c:pt idx="54433">
                  <c:v>0</c:v>
                </c:pt>
                <c:pt idx="54434">
                  <c:v>0</c:v>
                </c:pt>
                <c:pt idx="54435">
                  <c:v>0</c:v>
                </c:pt>
                <c:pt idx="54436">
                  <c:v>0</c:v>
                </c:pt>
                <c:pt idx="54437">
                  <c:v>0</c:v>
                </c:pt>
                <c:pt idx="54438">
                  <c:v>0</c:v>
                </c:pt>
                <c:pt idx="54439">
                  <c:v>0</c:v>
                </c:pt>
                <c:pt idx="54440">
                  <c:v>0</c:v>
                </c:pt>
                <c:pt idx="54441">
                  <c:v>0</c:v>
                </c:pt>
                <c:pt idx="54442">
                  <c:v>0</c:v>
                </c:pt>
                <c:pt idx="54443">
                  <c:v>0</c:v>
                </c:pt>
                <c:pt idx="54444">
                  <c:v>0</c:v>
                </c:pt>
                <c:pt idx="54445">
                  <c:v>0</c:v>
                </c:pt>
                <c:pt idx="54446">
                  <c:v>0</c:v>
                </c:pt>
                <c:pt idx="54447">
                  <c:v>0</c:v>
                </c:pt>
                <c:pt idx="54448">
                  <c:v>0</c:v>
                </c:pt>
                <c:pt idx="54449">
                  <c:v>0</c:v>
                </c:pt>
                <c:pt idx="54450">
                  <c:v>0</c:v>
                </c:pt>
                <c:pt idx="54451">
                  <c:v>0</c:v>
                </c:pt>
                <c:pt idx="54452">
                  <c:v>0</c:v>
                </c:pt>
                <c:pt idx="54453">
                  <c:v>0</c:v>
                </c:pt>
                <c:pt idx="54454">
                  <c:v>0</c:v>
                </c:pt>
                <c:pt idx="54455">
                  <c:v>0</c:v>
                </c:pt>
                <c:pt idx="54456">
                  <c:v>0</c:v>
                </c:pt>
                <c:pt idx="54457">
                  <c:v>0</c:v>
                </c:pt>
                <c:pt idx="54458">
                  <c:v>0</c:v>
                </c:pt>
                <c:pt idx="54459">
                  <c:v>0</c:v>
                </c:pt>
                <c:pt idx="54460">
                  <c:v>0</c:v>
                </c:pt>
                <c:pt idx="54461">
                  <c:v>0</c:v>
                </c:pt>
                <c:pt idx="54462">
                  <c:v>0</c:v>
                </c:pt>
                <c:pt idx="54463">
                  <c:v>0</c:v>
                </c:pt>
                <c:pt idx="54464">
                  <c:v>0</c:v>
                </c:pt>
                <c:pt idx="54465">
                  <c:v>0</c:v>
                </c:pt>
                <c:pt idx="54466">
                  <c:v>0</c:v>
                </c:pt>
                <c:pt idx="54467">
                  <c:v>0</c:v>
                </c:pt>
                <c:pt idx="54468">
                  <c:v>0</c:v>
                </c:pt>
                <c:pt idx="54469">
                  <c:v>0</c:v>
                </c:pt>
                <c:pt idx="54470">
                  <c:v>0</c:v>
                </c:pt>
                <c:pt idx="54471">
                  <c:v>0</c:v>
                </c:pt>
                <c:pt idx="54472">
                  <c:v>0</c:v>
                </c:pt>
                <c:pt idx="54473">
                  <c:v>0</c:v>
                </c:pt>
                <c:pt idx="54474">
                  <c:v>0</c:v>
                </c:pt>
                <c:pt idx="54475">
                  <c:v>0</c:v>
                </c:pt>
                <c:pt idx="54476">
                  <c:v>0</c:v>
                </c:pt>
                <c:pt idx="54477">
                  <c:v>0</c:v>
                </c:pt>
                <c:pt idx="54478">
                  <c:v>0</c:v>
                </c:pt>
                <c:pt idx="54479">
                  <c:v>0</c:v>
                </c:pt>
                <c:pt idx="54480">
                  <c:v>0</c:v>
                </c:pt>
                <c:pt idx="54481">
                  <c:v>0</c:v>
                </c:pt>
                <c:pt idx="54482">
                  <c:v>0</c:v>
                </c:pt>
                <c:pt idx="54483">
                  <c:v>0</c:v>
                </c:pt>
                <c:pt idx="54484">
                  <c:v>0</c:v>
                </c:pt>
                <c:pt idx="54485">
                  <c:v>0</c:v>
                </c:pt>
                <c:pt idx="54486">
                  <c:v>0</c:v>
                </c:pt>
                <c:pt idx="54487">
                  <c:v>0</c:v>
                </c:pt>
                <c:pt idx="54488">
                  <c:v>0</c:v>
                </c:pt>
                <c:pt idx="54489">
                  <c:v>0</c:v>
                </c:pt>
                <c:pt idx="54490">
                  <c:v>0</c:v>
                </c:pt>
                <c:pt idx="54491">
                  <c:v>0</c:v>
                </c:pt>
                <c:pt idx="54492">
                  <c:v>0</c:v>
                </c:pt>
                <c:pt idx="54493">
                  <c:v>0</c:v>
                </c:pt>
                <c:pt idx="54494">
                  <c:v>0</c:v>
                </c:pt>
                <c:pt idx="54495">
                  <c:v>0</c:v>
                </c:pt>
                <c:pt idx="54496">
                  <c:v>0</c:v>
                </c:pt>
                <c:pt idx="54497">
                  <c:v>0</c:v>
                </c:pt>
                <c:pt idx="54498">
                  <c:v>0</c:v>
                </c:pt>
                <c:pt idx="54499">
                  <c:v>0</c:v>
                </c:pt>
                <c:pt idx="54500">
                  <c:v>0</c:v>
                </c:pt>
                <c:pt idx="54501">
                  <c:v>0</c:v>
                </c:pt>
                <c:pt idx="54502">
                  <c:v>0</c:v>
                </c:pt>
                <c:pt idx="54503">
                  <c:v>0</c:v>
                </c:pt>
                <c:pt idx="54504">
                  <c:v>0</c:v>
                </c:pt>
                <c:pt idx="54505">
                  <c:v>0</c:v>
                </c:pt>
                <c:pt idx="54506">
                  <c:v>0</c:v>
                </c:pt>
                <c:pt idx="54507">
                  <c:v>0</c:v>
                </c:pt>
                <c:pt idx="54508">
                  <c:v>0</c:v>
                </c:pt>
                <c:pt idx="54509">
                  <c:v>0</c:v>
                </c:pt>
                <c:pt idx="54510">
                  <c:v>0</c:v>
                </c:pt>
                <c:pt idx="54511">
                  <c:v>0</c:v>
                </c:pt>
                <c:pt idx="54512">
                  <c:v>0</c:v>
                </c:pt>
                <c:pt idx="54513">
                  <c:v>0</c:v>
                </c:pt>
                <c:pt idx="54514">
                  <c:v>0</c:v>
                </c:pt>
                <c:pt idx="54515">
                  <c:v>0</c:v>
                </c:pt>
                <c:pt idx="54516">
                  <c:v>0</c:v>
                </c:pt>
                <c:pt idx="54517">
                  <c:v>0</c:v>
                </c:pt>
                <c:pt idx="54518">
                  <c:v>0</c:v>
                </c:pt>
                <c:pt idx="54519">
                  <c:v>0</c:v>
                </c:pt>
                <c:pt idx="54520">
                  <c:v>0</c:v>
                </c:pt>
                <c:pt idx="54521">
                  <c:v>0</c:v>
                </c:pt>
                <c:pt idx="54522">
                  <c:v>0</c:v>
                </c:pt>
                <c:pt idx="54523">
                  <c:v>0</c:v>
                </c:pt>
                <c:pt idx="54524">
                  <c:v>0</c:v>
                </c:pt>
                <c:pt idx="54525">
                  <c:v>0</c:v>
                </c:pt>
                <c:pt idx="54526">
                  <c:v>0</c:v>
                </c:pt>
                <c:pt idx="54527">
                  <c:v>0</c:v>
                </c:pt>
                <c:pt idx="54528">
                  <c:v>0</c:v>
                </c:pt>
                <c:pt idx="54529">
                  <c:v>0</c:v>
                </c:pt>
                <c:pt idx="54530">
                  <c:v>0</c:v>
                </c:pt>
                <c:pt idx="54531">
                  <c:v>0</c:v>
                </c:pt>
                <c:pt idx="54532">
                  <c:v>0</c:v>
                </c:pt>
                <c:pt idx="54533">
                  <c:v>0</c:v>
                </c:pt>
                <c:pt idx="54534">
                  <c:v>0</c:v>
                </c:pt>
                <c:pt idx="54535">
                  <c:v>0</c:v>
                </c:pt>
                <c:pt idx="54536">
                  <c:v>0</c:v>
                </c:pt>
                <c:pt idx="54537">
                  <c:v>0</c:v>
                </c:pt>
                <c:pt idx="54538">
                  <c:v>0</c:v>
                </c:pt>
                <c:pt idx="54539">
                  <c:v>0</c:v>
                </c:pt>
                <c:pt idx="54540">
                  <c:v>0</c:v>
                </c:pt>
                <c:pt idx="54541">
                  <c:v>0</c:v>
                </c:pt>
                <c:pt idx="54542">
                  <c:v>0</c:v>
                </c:pt>
                <c:pt idx="54543">
                  <c:v>0</c:v>
                </c:pt>
                <c:pt idx="54544">
                  <c:v>0</c:v>
                </c:pt>
                <c:pt idx="54545">
                  <c:v>0</c:v>
                </c:pt>
                <c:pt idx="54546">
                  <c:v>0</c:v>
                </c:pt>
                <c:pt idx="54547">
                  <c:v>0</c:v>
                </c:pt>
                <c:pt idx="54548">
                  <c:v>0</c:v>
                </c:pt>
                <c:pt idx="54549">
                  <c:v>0</c:v>
                </c:pt>
                <c:pt idx="54550">
                  <c:v>0</c:v>
                </c:pt>
                <c:pt idx="54551">
                  <c:v>0</c:v>
                </c:pt>
                <c:pt idx="54552">
                  <c:v>0</c:v>
                </c:pt>
                <c:pt idx="54553">
                  <c:v>0</c:v>
                </c:pt>
                <c:pt idx="54554">
                  <c:v>0</c:v>
                </c:pt>
                <c:pt idx="54555">
                  <c:v>0</c:v>
                </c:pt>
                <c:pt idx="54556">
                  <c:v>0</c:v>
                </c:pt>
                <c:pt idx="54557">
                  <c:v>0</c:v>
                </c:pt>
                <c:pt idx="54558">
                  <c:v>0</c:v>
                </c:pt>
                <c:pt idx="54559">
                  <c:v>0</c:v>
                </c:pt>
                <c:pt idx="54560">
                  <c:v>0</c:v>
                </c:pt>
                <c:pt idx="54561">
                  <c:v>0</c:v>
                </c:pt>
                <c:pt idx="54562">
                  <c:v>0</c:v>
                </c:pt>
                <c:pt idx="54563">
                  <c:v>0</c:v>
                </c:pt>
                <c:pt idx="54564">
                  <c:v>0</c:v>
                </c:pt>
                <c:pt idx="54565">
                  <c:v>0</c:v>
                </c:pt>
                <c:pt idx="54566">
                  <c:v>0</c:v>
                </c:pt>
                <c:pt idx="54567">
                  <c:v>0</c:v>
                </c:pt>
                <c:pt idx="54568">
                  <c:v>0</c:v>
                </c:pt>
                <c:pt idx="54569">
                  <c:v>0</c:v>
                </c:pt>
                <c:pt idx="54570">
                  <c:v>0</c:v>
                </c:pt>
                <c:pt idx="54571">
                  <c:v>0</c:v>
                </c:pt>
                <c:pt idx="54572">
                  <c:v>0</c:v>
                </c:pt>
                <c:pt idx="54573">
                  <c:v>0</c:v>
                </c:pt>
                <c:pt idx="54574">
                  <c:v>0</c:v>
                </c:pt>
                <c:pt idx="54575">
                  <c:v>0</c:v>
                </c:pt>
                <c:pt idx="54576">
                  <c:v>0</c:v>
                </c:pt>
                <c:pt idx="54577">
                  <c:v>0</c:v>
                </c:pt>
                <c:pt idx="54578">
                  <c:v>0</c:v>
                </c:pt>
                <c:pt idx="54579">
                  <c:v>0</c:v>
                </c:pt>
                <c:pt idx="54580">
                  <c:v>0</c:v>
                </c:pt>
                <c:pt idx="54581">
                  <c:v>0</c:v>
                </c:pt>
                <c:pt idx="54582">
                  <c:v>0</c:v>
                </c:pt>
                <c:pt idx="54583">
                  <c:v>0</c:v>
                </c:pt>
                <c:pt idx="54584">
                  <c:v>0</c:v>
                </c:pt>
                <c:pt idx="54585">
                  <c:v>0</c:v>
                </c:pt>
                <c:pt idx="54586">
                  <c:v>0</c:v>
                </c:pt>
                <c:pt idx="54587">
                  <c:v>0</c:v>
                </c:pt>
                <c:pt idx="54588">
                  <c:v>0</c:v>
                </c:pt>
                <c:pt idx="54589">
                  <c:v>0</c:v>
                </c:pt>
                <c:pt idx="54590">
                  <c:v>0</c:v>
                </c:pt>
                <c:pt idx="54591">
                  <c:v>0</c:v>
                </c:pt>
                <c:pt idx="54592">
                  <c:v>0</c:v>
                </c:pt>
                <c:pt idx="54593">
                  <c:v>0</c:v>
                </c:pt>
                <c:pt idx="54594">
                  <c:v>0</c:v>
                </c:pt>
                <c:pt idx="54595">
                  <c:v>0</c:v>
                </c:pt>
                <c:pt idx="54596">
                  <c:v>0</c:v>
                </c:pt>
                <c:pt idx="54597">
                  <c:v>0</c:v>
                </c:pt>
                <c:pt idx="54598">
                  <c:v>0</c:v>
                </c:pt>
                <c:pt idx="54599">
                  <c:v>0</c:v>
                </c:pt>
                <c:pt idx="54600">
                  <c:v>0</c:v>
                </c:pt>
                <c:pt idx="54601">
                  <c:v>0</c:v>
                </c:pt>
                <c:pt idx="54602">
                  <c:v>0</c:v>
                </c:pt>
                <c:pt idx="54603">
                  <c:v>0</c:v>
                </c:pt>
                <c:pt idx="54604">
                  <c:v>0</c:v>
                </c:pt>
                <c:pt idx="54605">
                  <c:v>0</c:v>
                </c:pt>
                <c:pt idx="54606">
                  <c:v>0</c:v>
                </c:pt>
                <c:pt idx="54607">
                  <c:v>0</c:v>
                </c:pt>
                <c:pt idx="54608">
                  <c:v>0</c:v>
                </c:pt>
                <c:pt idx="54609">
                  <c:v>0</c:v>
                </c:pt>
                <c:pt idx="54610">
                  <c:v>0</c:v>
                </c:pt>
                <c:pt idx="54611">
                  <c:v>0</c:v>
                </c:pt>
                <c:pt idx="54612">
                  <c:v>0</c:v>
                </c:pt>
                <c:pt idx="54613">
                  <c:v>0</c:v>
                </c:pt>
                <c:pt idx="54614">
                  <c:v>0</c:v>
                </c:pt>
                <c:pt idx="54615">
                  <c:v>0</c:v>
                </c:pt>
                <c:pt idx="54616">
                  <c:v>0</c:v>
                </c:pt>
                <c:pt idx="54617">
                  <c:v>0</c:v>
                </c:pt>
                <c:pt idx="54618">
                  <c:v>0</c:v>
                </c:pt>
                <c:pt idx="54619">
                  <c:v>0</c:v>
                </c:pt>
                <c:pt idx="54620">
                  <c:v>0</c:v>
                </c:pt>
                <c:pt idx="54621">
                  <c:v>0</c:v>
                </c:pt>
                <c:pt idx="54622">
                  <c:v>0</c:v>
                </c:pt>
                <c:pt idx="54623">
                  <c:v>0</c:v>
                </c:pt>
                <c:pt idx="54624">
                  <c:v>0</c:v>
                </c:pt>
                <c:pt idx="54625">
                  <c:v>0</c:v>
                </c:pt>
                <c:pt idx="54626">
                  <c:v>0</c:v>
                </c:pt>
                <c:pt idx="54627">
                  <c:v>0</c:v>
                </c:pt>
                <c:pt idx="54628">
                  <c:v>0</c:v>
                </c:pt>
                <c:pt idx="54629">
                  <c:v>0</c:v>
                </c:pt>
                <c:pt idx="54630">
                  <c:v>0</c:v>
                </c:pt>
                <c:pt idx="54631">
                  <c:v>0</c:v>
                </c:pt>
                <c:pt idx="54632">
                  <c:v>0</c:v>
                </c:pt>
                <c:pt idx="54633">
                  <c:v>0</c:v>
                </c:pt>
                <c:pt idx="54634">
                  <c:v>0</c:v>
                </c:pt>
                <c:pt idx="54635">
                  <c:v>0</c:v>
                </c:pt>
                <c:pt idx="54636">
                  <c:v>0</c:v>
                </c:pt>
                <c:pt idx="54637">
                  <c:v>0</c:v>
                </c:pt>
                <c:pt idx="54638">
                  <c:v>0</c:v>
                </c:pt>
                <c:pt idx="54639">
                  <c:v>0</c:v>
                </c:pt>
                <c:pt idx="54640">
                  <c:v>0</c:v>
                </c:pt>
                <c:pt idx="54641">
                  <c:v>0</c:v>
                </c:pt>
                <c:pt idx="54642">
                  <c:v>0</c:v>
                </c:pt>
                <c:pt idx="54643">
                  <c:v>0</c:v>
                </c:pt>
                <c:pt idx="54644">
                  <c:v>0</c:v>
                </c:pt>
                <c:pt idx="54645">
                  <c:v>0</c:v>
                </c:pt>
                <c:pt idx="54646">
                  <c:v>0</c:v>
                </c:pt>
                <c:pt idx="54647">
                  <c:v>0</c:v>
                </c:pt>
                <c:pt idx="54648">
                  <c:v>0</c:v>
                </c:pt>
                <c:pt idx="54649">
                  <c:v>0</c:v>
                </c:pt>
                <c:pt idx="54650">
                  <c:v>0</c:v>
                </c:pt>
                <c:pt idx="54651">
                  <c:v>0</c:v>
                </c:pt>
                <c:pt idx="54652">
                  <c:v>0</c:v>
                </c:pt>
                <c:pt idx="54653">
                  <c:v>0</c:v>
                </c:pt>
                <c:pt idx="54654">
                  <c:v>0</c:v>
                </c:pt>
                <c:pt idx="54655">
                  <c:v>0</c:v>
                </c:pt>
                <c:pt idx="54656">
                  <c:v>0</c:v>
                </c:pt>
                <c:pt idx="54657">
                  <c:v>0</c:v>
                </c:pt>
                <c:pt idx="54658">
                  <c:v>0</c:v>
                </c:pt>
                <c:pt idx="54659">
                  <c:v>0</c:v>
                </c:pt>
                <c:pt idx="54660">
                  <c:v>0</c:v>
                </c:pt>
                <c:pt idx="54661">
                  <c:v>0</c:v>
                </c:pt>
                <c:pt idx="54662">
                  <c:v>0</c:v>
                </c:pt>
                <c:pt idx="54663">
                  <c:v>0</c:v>
                </c:pt>
                <c:pt idx="54664">
                  <c:v>0</c:v>
                </c:pt>
                <c:pt idx="54665">
                  <c:v>0</c:v>
                </c:pt>
                <c:pt idx="54666">
                  <c:v>0</c:v>
                </c:pt>
                <c:pt idx="54667">
                  <c:v>0</c:v>
                </c:pt>
                <c:pt idx="54668">
                  <c:v>0</c:v>
                </c:pt>
                <c:pt idx="54669">
                  <c:v>0</c:v>
                </c:pt>
                <c:pt idx="54670">
                  <c:v>0</c:v>
                </c:pt>
                <c:pt idx="54671">
                  <c:v>0</c:v>
                </c:pt>
                <c:pt idx="54672">
                  <c:v>0</c:v>
                </c:pt>
                <c:pt idx="54673">
                  <c:v>0</c:v>
                </c:pt>
                <c:pt idx="54674">
                  <c:v>0</c:v>
                </c:pt>
                <c:pt idx="54675">
                  <c:v>0</c:v>
                </c:pt>
                <c:pt idx="54676">
                  <c:v>0</c:v>
                </c:pt>
                <c:pt idx="54677">
                  <c:v>0</c:v>
                </c:pt>
                <c:pt idx="54678">
                  <c:v>0</c:v>
                </c:pt>
                <c:pt idx="54679">
                  <c:v>0</c:v>
                </c:pt>
                <c:pt idx="54680">
                  <c:v>0</c:v>
                </c:pt>
                <c:pt idx="54681">
                  <c:v>0</c:v>
                </c:pt>
                <c:pt idx="54682">
                  <c:v>0</c:v>
                </c:pt>
                <c:pt idx="54683">
                  <c:v>0</c:v>
                </c:pt>
                <c:pt idx="54684">
                  <c:v>0</c:v>
                </c:pt>
                <c:pt idx="54685">
                  <c:v>0</c:v>
                </c:pt>
                <c:pt idx="54686">
                  <c:v>0</c:v>
                </c:pt>
                <c:pt idx="54687">
                  <c:v>0</c:v>
                </c:pt>
                <c:pt idx="54688">
                  <c:v>0</c:v>
                </c:pt>
                <c:pt idx="54689">
                  <c:v>0</c:v>
                </c:pt>
                <c:pt idx="54690">
                  <c:v>0</c:v>
                </c:pt>
                <c:pt idx="54691">
                  <c:v>0</c:v>
                </c:pt>
                <c:pt idx="54692">
                  <c:v>0</c:v>
                </c:pt>
                <c:pt idx="54693">
                  <c:v>0</c:v>
                </c:pt>
                <c:pt idx="54694">
                  <c:v>0</c:v>
                </c:pt>
                <c:pt idx="54695">
                  <c:v>0</c:v>
                </c:pt>
                <c:pt idx="54696">
                  <c:v>0</c:v>
                </c:pt>
                <c:pt idx="54697">
                  <c:v>0</c:v>
                </c:pt>
                <c:pt idx="54698">
                  <c:v>0</c:v>
                </c:pt>
                <c:pt idx="54699">
                  <c:v>0</c:v>
                </c:pt>
                <c:pt idx="54700">
                  <c:v>0</c:v>
                </c:pt>
                <c:pt idx="54701">
                  <c:v>0</c:v>
                </c:pt>
                <c:pt idx="54702">
                  <c:v>0</c:v>
                </c:pt>
                <c:pt idx="54703">
                  <c:v>0</c:v>
                </c:pt>
                <c:pt idx="54704">
                  <c:v>0</c:v>
                </c:pt>
                <c:pt idx="54705">
                  <c:v>0</c:v>
                </c:pt>
                <c:pt idx="54706">
                  <c:v>0</c:v>
                </c:pt>
                <c:pt idx="54707">
                  <c:v>0</c:v>
                </c:pt>
                <c:pt idx="54708">
                  <c:v>0</c:v>
                </c:pt>
                <c:pt idx="54709">
                  <c:v>0</c:v>
                </c:pt>
                <c:pt idx="54710">
                  <c:v>0</c:v>
                </c:pt>
                <c:pt idx="54711">
                  <c:v>0</c:v>
                </c:pt>
                <c:pt idx="54712">
                  <c:v>0</c:v>
                </c:pt>
                <c:pt idx="54713">
                  <c:v>0</c:v>
                </c:pt>
                <c:pt idx="54714">
                  <c:v>0</c:v>
                </c:pt>
                <c:pt idx="54715">
                  <c:v>0</c:v>
                </c:pt>
                <c:pt idx="54716">
                  <c:v>0</c:v>
                </c:pt>
                <c:pt idx="54717">
                  <c:v>0</c:v>
                </c:pt>
                <c:pt idx="54718">
                  <c:v>0</c:v>
                </c:pt>
                <c:pt idx="54719">
                  <c:v>0</c:v>
                </c:pt>
                <c:pt idx="54720">
                  <c:v>0</c:v>
                </c:pt>
                <c:pt idx="54721">
                  <c:v>0</c:v>
                </c:pt>
                <c:pt idx="54722">
                  <c:v>0</c:v>
                </c:pt>
                <c:pt idx="54723">
                  <c:v>0</c:v>
                </c:pt>
                <c:pt idx="54724">
                  <c:v>0</c:v>
                </c:pt>
                <c:pt idx="54725">
                  <c:v>0</c:v>
                </c:pt>
                <c:pt idx="54726">
                  <c:v>0</c:v>
                </c:pt>
                <c:pt idx="54727">
                  <c:v>0</c:v>
                </c:pt>
                <c:pt idx="54728">
                  <c:v>0</c:v>
                </c:pt>
                <c:pt idx="54729">
                  <c:v>0</c:v>
                </c:pt>
                <c:pt idx="54730">
                  <c:v>0</c:v>
                </c:pt>
                <c:pt idx="54731">
                  <c:v>0</c:v>
                </c:pt>
                <c:pt idx="54732">
                  <c:v>0</c:v>
                </c:pt>
                <c:pt idx="54733">
                  <c:v>0</c:v>
                </c:pt>
                <c:pt idx="54734">
                  <c:v>0</c:v>
                </c:pt>
                <c:pt idx="54735">
                  <c:v>0</c:v>
                </c:pt>
                <c:pt idx="54736">
                  <c:v>0</c:v>
                </c:pt>
                <c:pt idx="54737">
                  <c:v>0</c:v>
                </c:pt>
                <c:pt idx="54738">
                  <c:v>0</c:v>
                </c:pt>
                <c:pt idx="54739">
                  <c:v>0</c:v>
                </c:pt>
                <c:pt idx="54740">
                  <c:v>0</c:v>
                </c:pt>
                <c:pt idx="54741">
                  <c:v>0</c:v>
                </c:pt>
                <c:pt idx="54742">
                  <c:v>0</c:v>
                </c:pt>
                <c:pt idx="54743">
                  <c:v>0</c:v>
                </c:pt>
                <c:pt idx="54744">
                  <c:v>0</c:v>
                </c:pt>
                <c:pt idx="54745">
                  <c:v>0</c:v>
                </c:pt>
                <c:pt idx="54746">
                  <c:v>0</c:v>
                </c:pt>
                <c:pt idx="54747">
                  <c:v>0</c:v>
                </c:pt>
                <c:pt idx="54748">
                  <c:v>0</c:v>
                </c:pt>
                <c:pt idx="54749">
                  <c:v>0</c:v>
                </c:pt>
                <c:pt idx="54750">
                  <c:v>0</c:v>
                </c:pt>
                <c:pt idx="54751">
                  <c:v>0</c:v>
                </c:pt>
                <c:pt idx="54752">
                  <c:v>0</c:v>
                </c:pt>
                <c:pt idx="54753">
                  <c:v>0</c:v>
                </c:pt>
                <c:pt idx="54754">
                  <c:v>0</c:v>
                </c:pt>
                <c:pt idx="54755">
                  <c:v>0</c:v>
                </c:pt>
                <c:pt idx="54756">
                  <c:v>0</c:v>
                </c:pt>
                <c:pt idx="54757">
                  <c:v>0</c:v>
                </c:pt>
                <c:pt idx="54758">
                  <c:v>0</c:v>
                </c:pt>
                <c:pt idx="54759">
                  <c:v>0</c:v>
                </c:pt>
                <c:pt idx="54760">
                  <c:v>0</c:v>
                </c:pt>
                <c:pt idx="54761">
                  <c:v>0</c:v>
                </c:pt>
                <c:pt idx="54762">
                  <c:v>0</c:v>
                </c:pt>
                <c:pt idx="54763">
                  <c:v>0</c:v>
                </c:pt>
                <c:pt idx="54764">
                  <c:v>0</c:v>
                </c:pt>
                <c:pt idx="54765">
                  <c:v>0</c:v>
                </c:pt>
                <c:pt idx="54766">
                  <c:v>0</c:v>
                </c:pt>
                <c:pt idx="54767">
                  <c:v>0</c:v>
                </c:pt>
                <c:pt idx="54768">
                  <c:v>0</c:v>
                </c:pt>
                <c:pt idx="54769">
                  <c:v>0</c:v>
                </c:pt>
                <c:pt idx="54770">
                  <c:v>0</c:v>
                </c:pt>
                <c:pt idx="54771">
                  <c:v>0</c:v>
                </c:pt>
                <c:pt idx="54772">
                  <c:v>0</c:v>
                </c:pt>
                <c:pt idx="54773">
                  <c:v>0</c:v>
                </c:pt>
                <c:pt idx="54774">
                  <c:v>0</c:v>
                </c:pt>
                <c:pt idx="54775">
                  <c:v>0</c:v>
                </c:pt>
                <c:pt idx="54776">
                  <c:v>0</c:v>
                </c:pt>
                <c:pt idx="54777">
                  <c:v>0</c:v>
                </c:pt>
                <c:pt idx="54778">
                  <c:v>0</c:v>
                </c:pt>
                <c:pt idx="54779">
                  <c:v>0</c:v>
                </c:pt>
                <c:pt idx="54780">
                  <c:v>0</c:v>
                </c:pt>
                <c:pt idx="54781">
                  <c:v>0</c:v>
                </c:pt>
                <c:pt idx="54782">
                  <c:v>0</c:v>
                </c:pt>
                <c:pt idx="54783">
                  <c:v>0</c:v>
                </c:pt>
                <c:pt idx="54784">
                  <c:v>0</c:v>
                </c:pt>
                <c:pt idx="54785">
                  <c:v>0</c:v>
                </c:pt>
                <c:pt idx="54786">
                  <c:v>0</c:v>
                </c:pt>
                <c:pt idx="54787">
                  <c:v>0</c:v>
                </c:pt>
                <c:pt idx="54788">
                  <c:v>0</c:v>
                </c:pt>
                <c:pt idx="54789">
                  <c:v>0</c:v>
                </c:pt>
                <c:pt idx="54790">
                  <c:v>0</c:v>
                </c:pt>
                <c:pt idx="54791">
                  <c:v>0</c:v>
                </c:pt>
                <c:pt idx="54792">
                  <c:v>0</c:v>
                </c:pt>
                <c:pt idx="54793">
                  <c:v>0</c:v>
                </c:pt>
                <c:pt idx="54794">
                  <c:v>0</c:v>
                </c:pt>
                <c:pt idx="54795">
                  <c:v>0</c:v>
                </c:pt>
                <c:pt idx="54796">
                  <c:v>0</c:v>
                </c:pt>
                <c:pt idx="54797">
                  <c:v>0</c:v>
                </c:pt>
                <c:pt idx="54798">
                  <c:v>0</c:v>
                </c:pt>
                <c:pt idx="54799">
                  <c:v>0</c:v>
                </c:pt>
                <c:pt idx="54800">
                  <c:v>0</c:v>
                </c:pt>
                <c:pt idx="54801">
                  <c:v>0</c:v>
                </c:pt>
                <c:pt idx="54802">
                  <c:v>0</c:v>
                </c:pt>
                <c:pt idx="54803">
                  <c:v>0</c:v>
                </c:pt>
                <c:pt idx="54804">
                  <c:v>0</c:v>
                </c:pt>
                <c:pt idx="54805">
                  <c:v>0</c:v>
                </c:pt>
                <c:pt idx="54806">
                  <c:v>0</c:v>
                </c:pt>
                <c:pt idx="54807">
                  <c:v>0</c:v>
                </c:pt>
                <c:pt idx="54808">
                  <c:v>0</c:v>
                </c:pt>
                <c:pt idx="54809">
                  <c:v>0</c:v>
                </c:pt>
                <c:pt idx="54810">
                  <c:v>0</c:v>
                </c:pt>
                <c:pt idx="54811">
                  <c:v>0</c:v>
                </c:pt>
                <c:pt idx="54812">
                  <c:v>0</c:v>
                </c:pt>
                <c:pt idx="54813">
                  <c:v>0</c:v>
                </c:pt>
                <c:pt idx="54814">
                  <c:v>0</c:v>
                </c:pt>
                <c:pt idx="54815">
                  <c:v>0</c:v>
                </c:pt>
                <c:pt idx="54816">
                  <c:v>0</c:v>
                </c:pt>
                <c:pt idx="54817">
                  <c:v>0</c:v>
                </c:pt>
                <c:pt idx="54818">
                  <c:v>0</c:v>
                </c:pt>
                <c:pt idx="54819">
                  <c:v>0</c:v>
                </c:pt>
                <c:pt idx="54820">
                  <c:v>0</c:v>
                </c:pt>
                <c:pt idx="54821">
                  <c:v>0</c:v>
                </c:pt>
                <c:pt idx="54822">
                  <c:v>0</c:v>
                </c:pt>
                <c:pt idx="54823">
                  <c:v>0</c:v>
                </c:pt>
                <c:pt idx="54824">
                  <c:v>0</c:v>
                </c:pt>
                <c:pt idx="54825">
                  <c:v>0</c:v>
                </c:pt>
                <c:pt idx="54826">
                  <c:v>0</c:v>
                </c:pt>
                <c:pt idx="54827">
                  <c:v>0</c:v>
                </c:pt>
                <c:pt idx="54828">
                  <c:v>0</c:v>
                </c:pt>
                <c:pt idx="54829">
                  <c:v>0</c:v>
                </c:pt>
                <c:pt idx="54830">
                  <c:v>0</c:v>
                </c:pt>
                <c:pt idx="54831">
                  <c:v>0</c:v>
                </c:pt>
                <c:pt idx="54832">
                  <c:v>0</c:v>
                </c:pt>
                <c:pt idx="54833">
                  <c:v>0</c:v>
                </c:pt>
                <c:pt idx="54834">
                  <c:v>0</c:v>
                </c:pt>
                <c:pt idx="54835">
                  <c:v>0</c:v>
                </c:pt>
                <c:pt idx="54836">
                  <c:v>0</c:v>
                </c:pt>
                <c:pt idx="54837">
                  <c:v>0</c:v>
                </c:pt>
                <c:pt idx="54838">
                  <c:v>0</c:v>
                </c:pt>
                <c:pt idx="54839">
                  <c:v>0</c:v>
                </c:pt>
                <c:pt idx="54840">
                  <c:v>0</c:v>
                </c:pt>
                <c:pt idx="54841">
                  <c:v>0</c:v>
                </c:pt>
                <c:pt idx="54842">
                  <c:v>0</c:v>
                </c:pt>
                <c:pt idx="54843">
                  <c:v>0</c:v>
                </c:pt>
                <c:pt idx="54844">
                  <c:v>0</c:v>
                </c:pt>
                <c:pt idx="54845">
                  <c:v>0</c:v>
                </c:pt>
                <c:pt idx="54846">
                  <c:v>0</c:v>
                </c:pt>
                <c:pt idx="54847">
                  <c:v>0</c:v>
                </c:pt>
                <c:pt idx="54848">
                  <c:v>0</c:v>
                </c:pt>
                <c:pt idx="54849">
                  <c:v>0</c:v>
                </c:pt>
                <c:pt idx="54850">
                  <c:v>0</c:v>
                </c:pt>
                <c:pt idx="54851">
                  <c:v>0</c:v>
                </c:pt>
                <c:pt idx="54852">
                  <c:v>0</c:v>
                </c:pt>
                <c:pt idx="54853">
                  <c:v>0</c:v>
                </c:pt>
                <c:pt idx="54854">
                  <c:v>0</c:v>
                </c:pt>
                <c:pt idx="54855">
                  <c:v>0</c:v>
                </c:pt>
                <c:pt idx="54856">
                  <c:v>0</c:v>
                </c:pt>
                <c:pt idx="54857">
                  <c:v>0</c:v>
                </c:pt>
                <c:pt idx="54858">
                  <c:v>0</c:v>
                </c:pt>
                <c:pt idx="54859">
                  <c:v>0</c:v>
                </c:pt>
                <c:pt idx="54860">
                  <c:v>0</c:v>
                </c:pt>
                <c:pt idx="54861">
                  <c:v>0</c:v>
                </c:pt>
                <c:pt idx="54862">
                  <c:v>0</c:v>
                </c:pt>
                <c:pt idx="54863">
                  <c:v>0</c:v>
                </c:pt>
                <c:pt idx="54864">
                  <c:v>0</c:v>
                </c:pt>
                <c:pt idx="54865">
                  <c:v>0</c:v>
                </c:pt>
                <c:pt idx="54866">
                  <c:v>0</c:v>
                </c:pt>
                <c:pt idx="54867">
                  <c:v>0</c:v>
                </c:pt>
                <c:pt idx="54868">
                  <c:v>0</c:v>
                </c:pt>
                <c:pt idx="54869">
                  <c:v>0</c:v>
                </c:pt>
                <c:pt idx="54870">
                  <c:v>0</c:v>
                </c:pt>
                <c:pt idx="54871">
                  <c:v>0</c:v>
                </c:pt>
                <c:pt idx="54872">
                  <c:v>0</c:v>
                </c:pt>
                <c:pt idx="54873">
                  <c:v>0</c:v>
                </c:pt>
                <c:pt idx="54874">
                  <c:v>0</c:v>
                </c:pt>
                <c:pt idx="54875">
                  <c:v>0</c:v>
                </c:pt>
                <c:pt idx="54876">
                  <c:v>0</c:v>
                </c:pt>
                <c:pt idx="54877">
                  <c:v>0</c:v>
                </c:pt>
                <c:pt idx="54878">
                  <c:v>0</c:v>
                </c:pt>
                <c:pt idx="54879">
                  <c:v>0</c:v>
                </c:pt>
                <c:pt idx="54880">
                  <c:v>0</c:v>
                </c:pt>
                <c:pt idx="54881">
                  <c:v>0</c:v>
                </c:pt>
                <c:pt idx="54882">
                  <c:v>0</c:v>
                </c:pt>
                <c:pt idx="54883">
                  <c:v>0</c:v>
                </c:pt>
                <c:pt idx="54884">
                  <c:v>0</c:v>
                </c:pt>
                <c:pt idx="54885">
                  <c:v>0</c:v>
                </c:pt>
                <c:pt idx="54886">
                  <c:v>0</c:v>
                </c:pt>
                <c:pt idx="54887">
                  <c:v>0</c:v>
                </c:pt>
                <c:pt idx="54888">
                  <c:v>0</c:v>
                </c:pt>
                <c:pt idx="54889">
                  <c:v>0</c:v>
                </c:pt>
                <c:pt idx="54890">
                  <c:v>0</c:v>
                </c:pt>
                <c:pt idx="54891">
                  <c:v>0</c:v>
                </c:pt>
                <c:pt idx="54892">
                  <c:v>0</c:v>
                </c:pt>
                <c:pt idx="54893">
                  <c:v>0</c:v>
                </c:pt>
                <c:pt idx="54894">
                  <c:v>0</c:v>
                </c:pt>
                <c:pt idx="54895">
                  <c:v>0</c:v>
                </c:pt>
                <c:pt idx="54896">
                  <c:v>0</c:v>
                </c:pt>
                <c:pt idx="54897">
                  <c:v>0</c:v>
                </c:pt>
                <c:pt idx="54898">
                  <c:v>0</c:v>
                </c:pt>
                <c:pt idx="54899">
                  <c:v>0</c:v>
                </c:pt>
                <c:pt idx="54900">
                  <c:v>0</c:v>
                </c:pt>
                <c:pt idx="54901">
                  <c:v>0</c:v>
                </c:pt>
                <c:pt idx="54902">
                  <c:v>0</c:v>
                </c:pt>
                <c:pt idx="54903">
                  <c:v>0</c:v>
                </c:pt>
                <c:pt idx="54904">
                  <c:v>0</c:v>
                </c:pt>
                <c:pt idx="54905">
                  <c:v>0</c:v>
                </c:pt>
                <c:pt idx="54906">
                  <c:v>0</c:v>
                </c:pt>
                <c:pt idx="54907">
                  <c:v>0</c:v>
                </c:pt>
                <c:pt idx="54908">
                  <c:v>0</c:v>
                </c:pt>
                <c:pt idx="54909">
                  <c:v>0</c:v>
                </c:pt>
                <c:pt idx="54910">
                  <c:v>0</c:v>
                </c:pt>
                <c:pt idx="54911">
                  <c:v>0</c:v>
                </c:pt>
                <c:pt idx="54912">
                  <c:v>0</c:v>
                </c:pt>
                <c:pt idx="54913">
                  <c:v>0</c:v>
                </c:pt>
                <c:pt idx="54914">
                  <c:v>0</c:v>
                </c:pt>
                <c:pt idx="54915">
                  <c:v>0</c:v>
                </c:pt>
                <c:pt idx="54916">
                  <c:v>0</c:v>
                </c:pt>
                <c:pt idx="54917">
                  <c:v>0</c:v>
                </c:pt>
                <c:pt idx="54918">
                  <c:v>0</c:v>
                </c:pt>
                <c:pt idx="54919">
                  <c:v>0</c:v>
                </c:pt>
                <c:pt idx="54920">
                  <c:v>0</c:v>
                </c:pt>
                <c:pt idx="54921">
                  <c:v>0</c:v>
                </c:pt>
                <c:pt idx="54922">
                  <c:v>0</c:v>
                </c:pt>
                <c:pt idx="54923">
                  <c:v>0</c:v>
                </c:pt>
                <c:pt idx="54924">
                  <c:v>0</c:v>
                </c:pt>
                <c:pt idx="54925">
                  <c:v>0</c:v>
                </c:pt>
                <c:pt idx="54926">
                  <c:v>0</c:v>
                </c:pt>
                <c:pt idx="54927">
                  <c:v>0</c:v>
                </c:pt>
                <c:pt idx="54928">
                  <c:v>0</c:v>
                </c:pt>
                <c:pt idx="54929">
                  <c:v>0</c:v>
                </c:pt>
                <c:pt idx="54930">
                  <c:v>0</c:v>
                </c:pt>
                <c:pt idx="54931">
                  <c:v>0</c:v>
                </c:pt>
                <c:pt idx="54932">
                  <c:v>0</c:v>
                </c:pt>
                <c:pt idx="54933">
                  <c:v>0</c:v>
                </c:pt>
                <c:pt idx="54934">
                  <c:v>0</c:v>
                </c:pt>
                <c:pt idx="54935">
                  <c:v>0</c:v>
                </c:pt>
                <c:pt idx="54936">
                  <c:v>0</c:v>
                </c:pt>
                <c:pt idx="54937">
                  <c:v>0</c:v>
                </c:pt>
                <c:pt idx="54938">
                  <c:v>0</c:v>
                </c:pt>
                <c:pt idx="54939">
                  <c:v>0</c:v>
                </c:pt>
                <c:pt idx="54940">
                  <c:v>0</c:v>
                </c:pt>
                <c:pt idx="54941">
                  <c:v>0</c:v>
                </c:pt>
                <c:pt idx="54942">
                  <c:v>0</c:v>
                </c:pt>
                <c:pt idx="54943">
                  <c:v>0</c:v>
                </c:pt>
                <c:pt idx="54944">
                  <c:v>0</c:v>
                </c:pt>
                <c:pt idx="54945">
                  <c:v>0</c:v>
                </c:pt>
                <c:pt idx="54946">
                  <c:v>0</c:v>
                </c:pt>
                <c:pt idx="54947">
                  <c:v>0</c:v>
                </c:pt>
                <c:pt idx="54948">
                  <c:v>0</c:v>
                </c:pt>
                <c:pt idx="54949">
                  <c:v>0</c:v>
                </c:pt>
                <c:pt idx="54950">
                  <c:v>0</c:v>
                </c:pt>
                <c:pt idx="54951">
                  <c:v>0</c:v>
                </c:pt>
                <c:pt idx="54952">
                  <c:v>0</c:v>
                </c:pt>
                <c:pt idx="54953">
                  <c:v>0</c:v>
                </c:pt>
                <c:pt idx="54954">
                  <c:v>0</c:v>
                </c:pt>
                <c:pt idx="54955">
                  <c:v>0</c:v>
                </c:pt>
                <c:pt idx="54956">
                  <c:v>0</c:v>
                </c:pt>
                <c:pt idx="54957">
                  <c:v>0</c:v>
                </c:pt>
                <c:pt idx="54958">
                  <c:v>0</c:v>
                </c:pt>
                <c:pt idx="54959">
                  <c:v>0</c:v>
                </c:pt>
                <c:pt idx="54960">
                  <c:v>0</c:v>
                </c:pt>
                <c:pt idx="54961">
                  <c:v>0</c:v>
                </c:pt>
                <c:pt idx="54962">
                  <c:v>0</c:v>
                </c:pt>
                <c:pt idx="54963">
                  <c:v>0</c:v>
                </c:pt>
                <c:pt idx="54964">
                  <c:v>0</c:v>
                </c:pt>
                <c:pt idx="54965">
                  <c:v>0</c:v>
                </c:pt>
                <c:pt idx="54966">
                  <c:v>0</c:v>
                </c:pt>
                <c:pt idx="54967">
                  <c:v>0</c:v>
                </c:pt>
                <c:pt idx="54968">
                  <c:v>0</c:v>
                </c:pt>
                <c:pt idx="54969">
                  <c:v>0</c:v>
                </c:pt>
                <c:pt idx="54970">
                  <c:v>0</c:v>
                </c:pt>
                <c:pt idx="54971">
                  <c:v>0</c:v>
                </c:pt>
                <c:pt idx="54972">
                  <c:v>0</c:v>
                </c:pt>
                <c:pt idx="54973">
                  <c:v>0</c:v>
                </c:pt>
                <c:pt idx="54974">
                  <c:v>0</c:v>
                </c:pt>
                <c:pt idx="54975">
                  <c:v>0</c:v>
                </c:pt>
                <c:pt idx="54976">
                  <c:v>0</c:v>
                </c:pt>
                <c:pt idx="54977">
                  <c:v>0</c:v>
                </c:pt>
                <c:pt idx="54978">
                  <c:v>0</c:v>
                </c:pt>
                <c:pt idx="54979">
                  <c:v>0</c:v>
                </c:pt>
                <c:pt idx="54980">
                  <c:v>0</c:v>
                </c:pt>
                <c:pt idx="54981">
                  <c:v>0</c:v>
                </c:pt>
                <c:pt idx="54982">
                  <c:v>0</c:v>
                </c:pt>
                <c:pt idx="54983">
                  <c:v>0</c:v>
                </c:pt>
                <c:pt idx="54984">
                  <c:v>0</c:v>
                </c:pt>
                <c:pt idx="54985">
                  <c:v>0</c:v>
                </c:pt>
                <c:pt idx="54986">
                  <c:v>0</c:v>
                </c:pt>
                <c:pt idx="54987">
                  <c:v>0</c:v>
                </c:pt>
                <c:pt idx="54988">
                  <c:v>0</c:v>
                </c:pt>
                <c:pt idx="54989">
                  <c:v>0</c:v>
                </c:pt>
                <c:pt idx="54990">
                  <c:v>0</c:v>
                </c:pt>
                <c:pt idx="54991">
                  <c:v>0</c:v>
                </c:pt>
                <c:pt idx="54992">
                  <c:v>0</c:v>
                </c:pt>
                <c:pt idx="54993">
                  <c:v>0</c:v>
                </c:pt>
                <c:pt idx="54994">
                  <c:v>0</c:v>
                </c:pt>
                <c:pt idx="54995">
                  <c:v>0</c:v>
                </c:pt>
                <c:pt idx="54996">
                  <c:v>0</c:v>
                </c:pt>
                <c:pt idx="54997">
                  <c:v>0</c:v>
                </c:pt>
                <c:pt idx="54998">
                  <c:v>0</c:v>
                </c:pt>
                <c:pt idx="54999">
                  <c:v>0</c:v>
                </c:pt>
                <c:pt idx="55000">
                  <c:v>0</c:v>
                </c:pt>
                <c:pt idx="55001">
                  <c:v>0</c:v>
                </c:pt>
                <c:pt idx="55002">
                  <c:v>0</c:v>
                </c:pt>
                <c:pt idx="55003">
                  <c:v>0</c:v>
                </c:pt>
                <c:pt idx="55004">
                  <c:v>0</c:v>
                </c:pt>
                <c:pt idx="55005">
                  <c:v>0</c:v>
                </c:pt>
                <c:pt idx="55006">
                  <c:v>0</c:v>
                </c:pt>
                <c:pt idx="55007">
                  <c:v>0</c:v>
                </c:pt>
                <c:pt idx="55008">
                  <c:v>0</c:v>
                </c:pt>
                <c:pt idx="55009">
                  <c:v>0</c:v>
                </c:pt>
                <c:pt idx="55010">
                  <c:v>0</c:v>
                </c:pt>
                <c:pt idx="55011">
                  <c:v>0</c:v>
                </c:pt>
                <c:pt idx="55012">
                  <c:v>0</c:v>
                </c:pt>
                <c:pt idx="55013">
                  <c:v>0</c:v>
                </c:pt>
                <c:pt idx="55014">
                  <c:v>0</c:v>
                </c:pt>
                <c:pt idx="55015">
                  <c:v>0</c:v>
                </c:pt>
                <c:pt idx="55016">
                  <c:v>0</c:v>
                </c:pt>
                <c:pt idx="55017">
                  <c:v>0</c:v>
                </c:pt>
                <c:pt idx="55018">
                  <c:v>0</c:v>
                </c:pt>
                <c:pt idx="55019">
                  <c:v>0</c:v>
                </c:pt>
                <c:pt idx="55020">
                  <c:v>0</c:v>
                </c:pt>
                <c:pt idx="55021">
                  <c:v>0</c:v>
                </c:pt>
                <c:pt idx="55022">
                  <c:v>0</c:v>
                </c:pt>
                <c:pt idx="55023">
                  <c:v>0</c:v>
                </c:pt>
                <c:pt idx="55024">
                  <c:v>0</c:v>
                </c:pt>
                <c:pt idx="55025">
                  <c:v>0</c:v>
                </c:pt>
                <c:pt idx="55026">
                  <c:v>0</c:v>
                </c:pt>
                <c:pt idx="55027">
                  <c:v>0</c:v>
                </c:pt>
                <c:pt idx="55028">
                  <c:v>0</c:v>
                </c:pt>
                <c:pt idx="55029">
                  <c:v>0</c:v>
                </c:pt>
                <c:pt idx="55030">
                  <c:v>0</c:v>
                </c:pt>
                <c:pt idx="55031">
                  <c:v>0</c:v>
                </c:pt>
                <c:pt idx="55032">
                  <c:v>0</c:v>
                </c:pt>
                <c:pt idx="55033">
                  <c:v>0</c:v>
                </c:pt>
                <c:pt idx="55034">
                  <c:v>0</c:v>
                </c:pt>
                <c:pt idx="55035">
                  <c:v>0</c:v>
                </c:pt>
                <c:pt idx="55036">
                  <c:v>0</c:v>
                </c:pt>
                <c:pt idx="55037">
                  <c:v>0</c:v>
                </c:pt>
                <c:pt idx="55038">
                  <c:v>0</c:v>
                </c:pt>
                <c:pt idx="55039">
                  <c:v>0</c:v>
                </c:pt>
                <c:pt idx="55040">
                  <c:v>0</c:v>
                </c:pt>
                <c:pt idx="55041">
                  <c:v>0</c:v>
                </c:pt>
                <c:pt idx="55042">
                  <c:v>0</c:v>
                </c:pt>
                <c:pt idx="55043">
                  <c:v>0</c:v>
                </c:pt>
                <c:pt idx="55044">
                  <c:v>0</c:v>
                </c:pt>
                <c:pt idx="55045">
                  <c:v>0</c:v>
                </c:pt>
                <c:pt idx="55046">
                  <c:v>0</c:v>
                </c:pt>
                <c:pt idx="55047">
                  <c:v>0</c:v>
                </c:pt>
                <c:pt idx="55048">
                  <c:v>0</c:v>
                </c:pt>
                <c:pt idx="55049">
                  <c:v>0</c:v>
                </c:pt>
                <c:pt idx="55050">
                  <c:v>0</c:v>
                </c:pt>
                <c:pt idx="55051">
                  <c:v>0</c:v>
                </c:pt>
                <c:pt idx="55052">
                  <c:v>0</c:v>
                </c:pt>
                <c:pt idx="55053">
                  <c:v>0</c:v>
                </c:pt>
                <c:pt idx="55054">
                  <c:v>0</c:v>
                </c:pt>
                <c:pt idx="55055">
                  <c:v>0</c:v>
                </c:pt>
                <c:pt idx="55056">
                  <c:v>0</c:v>
                </c:pt>
                <c:pt idx="55057">
                  <c:v>0</c:v>
                </c:pt>
                <c:pt idx="55058">
                  <c:v>0</c:v>
                </c:pt>
                <c:pt idx="55059">
                  <c:v>0</c:v>
                </c:pt>
                <c:pt idx="55060">
                  <c:v>0</c:v>
                </c:pt>
                <c:pt idx="55061">
                  <c:v>0</c:v>
                </c:pt>
                <c:pt idx="55062">
                  <c:v>0</c:v>
                </c:pt>
                <c:pt idx="55063">
                  <c:v>0</c:v>
                </c:pt>
                <c:pt idx="55064">
                  <c:v>0</c:v>
                </c:pt>
                <c:pt idx="55065">
                  <c:v>0</c:v>
                </c:pt>
                <c:pt idx="55066">
                  <c:v>0</c:v>
                </c:pt>
                <c:pt idx="55067">
                  <c:v>0</c:v>
                </c:pt>
                <c:pt idx="55068">
                  <c:v>0</c:v>
                </c:pt>
                <c:pt idx="55069">
                  <c:v>0</c:v>
                </c:pt>
                <c:pt idx="55070">
                  <c:v>0</c:v>
                </c:pt>
                <c:pt idx="55071">
                  <c:v>0</c:v>
                </c:pt>
                <c:pt idx="55072">
                  <c:v>0</c:v>
                </c:pt>
                <c:pt idx="55073">
                  <c:v>0</c:v>
                </c:pt>
                <c:pt idx="55074">
                  <c:v>0</c:v>
                </c:pt>
                <c:pt idx="55075">
                  <c:v>0</c:v>
                </c:pt>
                <c:pt idx="55076">
                  <c:v>0</c:v>
                </c:pt>
                <c:pt idx="55077">
                  <c:v>0</c:v>
                </c:pt>
                <c:pt idx="55078">
                  <c:v>0</c:v>
                </c:pt>
                <c:pt idx="55079">
                  <c:v>0</c:v>
                </c:pt>
                <c:pt idx="55080">
                  <c:v>0</c:v>
                </c:pt>
                <c:pt idx="55081">
                  <c:v>0</c:v>
                </c:pt>
                <c:pt idx="55082">
                  <c:v>0</c:v>
                </c:pt>
                <c:pt idx="55083">
                  <c:v>0</c:v>
                </c:pt>
                <c:pt idx="55084">
                  <c:v>0</c:v>
                </c:pt>
                <c:pt idx="55085">
                  <c:v>0</c:v>
                </c:pt>
                <c:pt idx="55086">
                  <c:v>0</c:v>
                </c:pt>
                <c:pt idx="55087">
                  <c:v>0</c:v>
                </c:pt>
                <c:pt idx="55088">
                  <c:v>0</c:v>
                </c:pt>
                <c:pt idx="55089">
                  <c:v>0</c:v>
                </c:pt>
                <c:pt idx="55090">
                  <c:v>0</c:v>
                </c:pt>
                <c:pt idx="55091">
                  <c:v>0</c:v>
                </c:pt>
                <c:pt idx="55092">
                  <c:v>0</c:v>
                </c:pt>
                <c:pt idx="55093">
                  <c:v>0</c:v>
                </c:pt>
                <c:pt idx="55094">
                  <c:v>0</c:v>
                </c:pt>
                <c:pt idx="55095">
                  <c:v>0</c:v>
                </c:pt>
                <c:pt idx="55096">
                  <c:v>0</c:v>
                </c:pt>
                <c:pt idx="55097">
                  <c:v>0</c:v>
                </c:pt>
                <c:pt idx="55098">
                  <c:v>0</c:v>
                </c:pt>
                <c:pt idx="55099">
                  <c:v>0</c:v>
                </c:pt>
                <c:pt idx="55100">
                  <c:v>0</c:v>
                </c:pt>
                <c:pt idx="55101">
                  <c:v>0</c:v>
                </c:pt>
                <c:pt idx="55102">
                  <c:v>0</c:v>
                </c:pt>
                <c:pt idx="55103">
                  <c:v>0</c:v>
                </c:pt>
                <c:pt idx="55104">
                  <c:v>0</c:v>
                </c:pt>
                <c:pt idx="55105">
                  <c:v>0</c:v>
                </c:pt>
                <c:pt idx="55106">
                  <c:v>0</c:v>
                </c:pt>
                <c:pt idx="55107">
                  <c:v>0</c:v>
                </c:pt>
                <c:pt idx="55108">
                  <c:v>0</c:v>
                </c:pt>
                <c:pt idx="55109">
                  <c:v>0</c:v>
                </c:pt>
                <c:pt idx="55110">
                  <c:v>0</c:v>
                </c:pt>
                <c:pt idx="55111">
                  <c:v>0</c:v>
                </c:pt>
                <c:pt idx="55112">
                  <c:v>0</c:v>
                </c:pt>
                <c:pt idx="55113">
                  <c:v>0</c:v>
                </c:pt>
                <c:pt idx="55114">
                  <c:v>0</c:v>
                </c:pt>
                <c:pt idx="55115">
                  <c:v>0</c:v>
                </c:pt>
                <c:pt idx="55116">
                  <c:v>0</c:v>
                </c:pt>
                <c:pt idx="55117">
                  <c:v>0</c:v>
                </c:pt>
                <c:pt idx="55118">
                  <c:v>0</c:v>
                </c:pt>
                <c:pt idx="55119">
                  <c:v>0</c:v>
                </c:pt>
                <c:pt idx="55120">
                  <c:v>0</c:v>
                </c:pt>
                <c:pt idx="55121">
                  <c:v>0</c:v>
                </c:pt>
                <c:pt idx="55122">
                  <c:v>0</c:v>
                </c:pt>
                <c:pt idx="55123">
                  <c:v>0</c:v>
                </c:pt>
                <c:pt idx="55124">
                  <c:v>0</c:v>
                </c:pt>
                <c:pt idx="55125">
                  <c:v>0</c:v>
                </c:pt>
                <c:pt idx="55126">
                  <c:v>0</c:v>
                </c:pt>
                <c:pt idx="55127">
                  <c:v>0</c:v>
                </c:pt>
                <c:pt idx="55128">
                  <c:v>0</c:v>
                </c:pt>
                <c:pt idx="55129">
                  <c:v>0</c:v>
                </c:pt>
                <c:pt idx="55130">
                  <c:v>0</c:v>
                </c:pt>
                <c:pt idx="55131">
                  <c:v>0</c:v>
                </c:pt>
                <c:pt idx="55132">
                  <c:v>0</c:v>
                </c:pt>
                <c:pt idx="55133">
                  <c:v>0</c:v>
                </c:pt>
                <c:pt idx="55134">
                  <c:v>0</c:v>
                </c:pt>
                <c:pt idx="55135">
                  <c:v>0</c:v>
                </c:pt>
                <c:pt idx="55136">
                  <c:v>0</c:v>
                </c:pt>
                <c:pt idx="55137">
                  <c:v>0</c:v>
                </c:pt>
                <c:pt idx="55138">
                  <c:v>0</c:v>
                </c:pt>
                <c:pt idx="55139">
                  <c:v>0</c:v>
                </c:pt>
                <c:pt idx="55140">
                  <c:v>0</c:v>
                </c:pt>
                <c:pt idx="55141">
                  <c:v>0</c:v>
                </c:pt>
                <c:pt idx="55142">
                  <c:v>0</c:v>
                </c:pt>
                <c:pt idx="55143">
                  <c:v>0</c:v>
                </c:pt>
                <c:pt idx="55144">
                  <c:v>0</c:v>
                </c:pt>
                <c:pt idx="55145">
                  <c:v>0</c:v>
                </c:pt>
                <c:pt idx="55146">
                  <c:v>0</c:v>
                </c:pt>
                <c:pt idx="55147">
                  <c:v>0</c:v>
                </c:pt>
                <c:pt idx="55148">
                  <c:v>0</c:v>
                </c:pt>
                <c:pt idx="55149">
                  <c:v>0</c:v>
                </c:pt>
                <c:pt idx="55150">
                  <c:v>0</c:v>
                </c:pt>
                <c:pt idx="55151">
                  <c:v>0</c:v>
                </c:pt>
                <c:pt idx="55152">
                  <c:v>0</c:v>
                </c:pt>
                <c:pt idx="55153">
                  <c:v>0</c:v>
                </c:pt>
                <c:pt idx="55154">
                  <c:v>0</c:v>
                </c:pt>
                <c:pt idx="55155">
                  <c:v>0</c:v>
                </c:pt>
                <c:pt idx="55156">
                  <c:v>0</c:v>
                </c:pt>
                <c:pt idx="55157">
                  <c:v>0</c:v>
                </c:pt>
                <c:pt idx="55158">
                  <c:v>0</c:v>
                </c:pt>
                <c:pt idx="55159">
                  <c:v>0</c:v>
                </c:pt>
                <c:pt idx="55160">
                  <c:v>0</c:v>
                </c:pt>
                <c:pt idx="55161">
                  <c:v>0</c:v>
                </c:pt>
                <c:pt idx="55162">
                  <c:v>0</c:v>
                </c:pt>
                <c:pt idx="55163">
                  <c:v>0</c:v>
                </c:pt>
                <c:pt idx="55164">
                  <c:v>0</c:v>
                </c:pt>
                <c:pt idx="55165">
                  <c:v>0</c:v>
                </c:pt>
                <c:pt idx="55166">
                  <c:v>0</c:v>
                </c:pt>
                <c:pt idx="55167">
                  <c:v>0</c:v>
                </c:pt>
                <c:pt idx="55168">
                  <c:v>0</c:v>
                </c:pt>
                <c:pt idx="55169">
                  <c:v>0</c:v>
                </c:pt>
                <c:pt idx="55170">
                  <c:v>0</c:v>
                </c:pt>
                <c:pt idx="55171">
                  <c:v>0</c:v>
                </c:pt>
                <c:pt idx="55172">
                  <c:v>0</c:v>
                </c:pt>
                <c:pt idx="55173">
                  <c:v>0</c:v>
                </c:pt>
                <c:pt idx="55174">
                  <c:v>0</c:v>
                </c:pt>
                <c:pt idx="55175">
                  <c:v>0</c:v>
                </c:pt>
                <c:pt idx="55176">
                  <c:v>0</c:v>
                </c:pt>
                <c:pt idx="55177">
                  <c:v>0</c:v>
                </c:pt>
                <c:pt idx="55178">
                  <c:v>0</c:v>
                </c:pt>
                <c:pt idx="55179">
                  <c:v>0</c:v>
                </c:pt>
                <c:pt idx="55180">
                  <c:v>0</c:v>
                </c:pt>
                <c:pt idx="55181">
                  <c:v>0</c:v>
                </c:pt>
                <c:pt idx="55182">
                  <c:v>0</c:v>
                </c:pt>
                <c:pt idx="55183">
                  <c:v>0</c:v>
                </c:pt>
                <c:pt idx="55184">
                  <c:v>0</c:v>
                </c:pt>
                <c:pt idx="55185">
                  <c:v>0</c:v>
                </c:pt>
                <c:pt idx="55186">
                  <c:v>0</c:v>
                </c:pt>
                <c:pt idx="55187">
                  <c:v>0</c:v>
                </c:pt>
                <c:pt idx="55188">
                  <c:v>0</c:v>
                </c:pt>
                <c:pt idx="55189">
                  <c:v>0</c:v>
                </c:pt>
                <c:pt idx="55190">
                  <c:v>0</c:v>
                </c:pt>
                <c:pt idx="55191">
                  <c:v>0</c:v>
                </c:pt>
                <c:pt idx="55192">
                  <c:v>0</c:v>
                </c:pt>
                <c:pt idx="55193">
                  <c:v>0</c:v>
                </c:pt>
                <c:pt idx="55194">
                  <c:v>0</c:v>
                </c:pt>
                <c:pt idx="55195">
                  <c:v>0</c:v>
                </c:pt>
                <c:pt idx="55196">
                  <c:v>0</c:v>
                </c:pt>
                <c:pt idx="55197">
                  <c:v>0</c:v>
                </c:pt>
                <c:pt idx="55198">
                  <c:v>0</c:v>
                </c:pt>
                <c:pt idx="55199">
                  <c:v>0</c:v>
                </c:pt>
                <c:pt idx="55200">
                  <c:v>0</c:v>
                </c:pt>
                <c:pt idx="55201">
                  <c:v>0</c:v>
                </c:pt>
                <c:pt idx="55202">
                  <c:v>0</c:v>
                </c:pt>
                <c:pt idx="55203">
                  <c:v>0</c:v>
                </c:pt>
                <c:pt idx="55204">
                  <c:v>0</c:v>
                </c:pt>
                <c:pt idx="55205">
                  <c:v>0</c:v>
                </c:pt>
                <c:pt idx="55206">
                  <c:v>0</c:v>
                </c:pt>
                <c:pt idx="55207">
                  <c:v>0</c:v>
                </c:pt>
                <c:pt idx="55208">
                  <c:v>0</c:v>
                </c:pt>
                <c:pt idx="55209">
                  <c:v>0</c:v>
                </c:pt>
                <c:pt idx="55210">
                  <c:v>0</c:v>
                </c:pt>
                <c:pt idx="55211">
                  <c:v>0</c:v>
                </c:pt>
                <c:pt idx="55212">
                  <c:v>0</c:v>
                </c:pt>
                <c:pt idx="55213">
                  <c:v>0</c:v>
                </c:pt>
                <c:pt idx="55214">
                  <c:v>0</c:v>
                </c:pt>
                <c:pt idx="55215">
                  <c:v>0</c:v>
                </c:pt>
                <c:pt idx="55216">
                  <c:v>0</c:v>
                </c:pt>
                <c:pt idx="55217">
                  <c:v>0</c:v>
                </c:pt>
                <c:pt idx="55218">
                  <c:v>0</c:v>
                </c:pt>
                <c:pt idx="55219">
                  <c:v>0</c:v>
                </c:pt>
                <c:pt idx="55220">
                  <c:v>0</c:v>
                </c:pt>
                <c:pt idx="55221">
                  <c:v>0</c:v>
                </c:pt>
                <c:pt idx="55222">
                  <c:v>0</c:v>
                </c:pt>
                <c:pt idx="55223">
                  <c:v>0</c:v>
                </c:pt>
                <c:pt idx="55224">
                  <c:v>0</c:v>
                </c:pt>
                <c:pt idx="55225">
                  <c:v>0</c:v>
                </c:pt>
                <c:pt idx="55226">
                  <c:v>0</c:v>
                </c:pt>
                <c:pt idx="55227">
                  <c:v>0</c:v>
                </c:pt>
                <c:pt idx="55228">
                  <c:v>0</c:v>
                </c:pt>
                <c:pt idx="55229">
                  <c:v>0</c:v>
                </c:pt>
                <c:pt idx="55230">
                  <c:v>0</c:v>
                </c:pt>
                <c:pt idx="55231">
                  <c:v>0</c:v>
                </c:pt>
                <c:pt idx="55232">
                  <c:v>0</c:v>
                </c:pt>
                <c:pt idx="55233">
                  <c:v>0</c:v>
                </c:pt>
                <c:pt idx="55234">
                  <c:v>0</c:v>
                </c:pt>
                <c:pt idx="55235">
                  <c:v>0</c:v>
                </c:pt>
                <c:pt idx="55236">
                  <c:v>0</c:v>
                </c:pt>
                <c:pt idx="55237">
                  <c:v>0</c:v>
                </c:pt>
                <c:pt idx="55238">
                  <c:v>0</c:v>
                </c:pt>
                <c:pt idx="55239">
                  <c:v>0</c:v>
                </c:pt>
                <c:pt idx="55240">
                  <c:v>0</c:v>
                </c:pt>
                <c:pt idx="55241">
                  <c:v>0</c:v>
                </c:pt>
                <c:pt idx="55242">
                  <c:v>0</c:v>
                </c:pt>
                <c:pt idx="55243">
                  <c:v>0</c:v>
                </c:pt>
                <c:pt idx="55244">
                  <c:v>0</c:v>
                </c:pt>
                <c:pt idx="55245">
                  <c:v>0</c:v>
                </c:pt>
                <c:pt idx="55246">
                  <c:v>0</c:v>
                </c:pt>
                <c:pt idx="55247">
                  <c:v>0</c:v>
                </c:pt>
                <c:pt idx="55248">
                  <c:v>0</c:v>
                </c:pt>
                <c:pt idx="55249">
                  <c:v>0</c:v>
                </c:pt>
                <c:pt idx="55250">
                  <c:v>0</c:v>
                </c:pt>
                <c:pt idx="55251">
                  <c:v>0</c:v>
                </c:pt>
                <c:pt idx="55252">
                  <c:v>0</c:v>
                </c:pt>
                <c:pt idx="55253">
                  <c:v>0</c:v>
                </c:pt>
                <c:pt idx="55254">
                  <c:v>0</c:v>
                </c:pt>
                <c:pt idx="55255">
                  <c:v>0</c:v>
                </c:pt>
                <c:pt idx="55256">
                  <c:v>0</c:v>
                </c:pt>
                <c:pt idx="55257">
                  <c:v>0</c:v>
                </c:pt>
                <c:pt idx="55258">
                  <c:v>0</c:v>
                </c:pt>
                <c:pt idx="55259">
                  <c:v>0</c:v>
                </c:pt>
                <c:pt idx="55260">
                  <c:v>0</c:v>
                </c:pt>
                <c:pt idx="55261">
                  <c:v>0</c:v>
                </c:pt>
                <c:pt idx="55262">
                  <c:v>0</c:v>
                </c:pt>
                <c:pt idx="55263">
                  <c:v>0</c:v>
                </c:pt>
                <c:pt idx="55264">
                  <c:v>0</c:v>
                </c:pt>
                <c:pt idx="55265">
                  <c:v>0</c:v>
                </c:pt>
                <c:pt idx="55266">
                  <c:v>0</c:v>
                </c:pt>
                <c:pt idx="55267">
                  <c:v>0</c:v>
                </c:pt>
                <c:pt idx="55268">
                  <c:v>0</c:v>
                </c:pt>
                <c:pt idx="55269">
                  <c:v>0</c:v>
                </c:pt>
                <c:pt idx="55270">
                  <c:v>0</c:v>
                </c:pt>
                <c:pt idx="55271">
                  <c:v>0</c:v>
                </c:pt>
                <c:pt idx="55272">
                  <c:v>0</c:v>
                </c:pt>
                <c:pt idx="55273">
                  <c:v>0</c:v>
                </c:pt>
                <c:pt idx="55274">
                  <c:v>0</c:v>
                </c:pt>
                <c:pt idx="55275">
                  <c:v>0</c:v>
                </c:pt>
                <c:pt idx="55276">
                  <c:v>0</c:v>
                </c:pt>
                <c:pt idx="55277">
                  <c:v>0</c:v>
                </c:pt>
                <c:pt idx="55278">
                  <c:v>0</c:v>
                </c:pt>
                <c:pt idx="55279">
                  <c:v>0</c:v>
                </c:pt>
                <c:pt idx="55280">
                  <c:v>0</c:v>
                </c:pt>
                <c:pt idx="55281">
                  <c:v>0</c:v>
                </c:pt>
                <c:pt idx="55282">
                  <c:v>0</c:v>
                </c:pt>
                <c:pt idx="55283">
                  <c:v>0</c:v>
                </c:pt>
                <c:pt idx="55284">
                  <c:v>0</c:v>
                </c:pt>
                <c:pt idx="55285">
                  <c:v>0</c:v>
                </c:pt>
                <c:pt idx="55286">
                  <c:v>0</c:v>
                </c:pt>
                <c:pt idx="55287">
                  <c:v>0</c:v>
                </c:pt>
                <c:pt idx="55288">
                  <c:v>0</c:v>
                </c:pt>
                <c:pt idx="55289">
                  <c:v>0</c:v>
                </c:pt>
                <c:pt idx="55290">
                  <c:v>0</c:v>
                </c:pt>
                <c:pt idx="55291">
                  <c:v>0</c:v>
                </c:pt>
                <c:pt idx="55292">
                  <c:v>0</c:v>
                </c:pt>
                <c:pt idx="55293">
                  <c:v>0</c:v>
                </c:pt>
                <c:pt idx="55294">
                  <c:v>0</c:v>
                </c:pt>
                <c:pt idx="55295">
                  <c:v>0</c:v>
                </c:pt>
                <c:pt idx="55296">
                  <c:v>0</c:v>
                </c:pt>
                <c:pt idx="55297">
                  <c:v>0</c:v>
                </c:pt>
                <c:pt idx="55298">
                  <c:v>0</c:v>
                </c:pt>
                <c:pt idx="55299">
                  <c:v>0</c:v>
                </c:pt>
                <c:pt idx="55300">
                  <c:v>0</c:v>
                </c:pt>
                <c:pt idx="55301">
                  <c:v>0</c:v>
                </c:pt>
                <c:pt idx="55302">
                  <c:v>0</c:v>
                </c:pt>
                <c:pt idx="55303">
                  <c:v>0</c:v>
                </c:pt>
                <c:pt idx="55304">
                  <c:v>0</c:v>
                </c:pt>
                <c:pt idx="55305">
                  <c:v>0</c:v>
                </c:pt>
                <c:pt idx="55306">
                  <c:v>0</c:v>
                </c:pt>
                <c:pt idx="55307">
                  <c:v>0</c:v>
                </c:pt>
                <c:pt idx="55308">
                  <c:v>0</c:v>
                </c:pt>
                <c:pt idx="55309">
                  <c:v>0</c:v>
                </c:pt>
                <c:pt idx="55310">
                  <c:v>0</c:v>
                </c:pt>
                <c:pt idx="55311">
                  <c:v>0</c:v>
                </c:pt>
                <c:pt idx="55312">
                  <c:v>0</c:v>
                </c:pt>
                <c:pt idx="55313">
                  <c:v>0</c:v>
                </c:pt>
                <c:pt idx="55314">
                  <c:v>0</c:v>
                </c:pt>
                <c:pt idx="55315">
                  <c:v>0</c:v>
                </c:pt>
                <c:pt idx="55316">
                  <c:v>0</c:v>
                </c:pt>
                <c:pt idx="55317">
                  <c:v>0</c:v>
                </c:pt>
                <c:pt idx="55318">
                  <c:v>0</c:v>
                </c:pt>
                <c:pt idx="55319">
                  <c:v>0</c:v>
                </c:pt>
                <c:pt idx="55320">
                  <c:v>0</c:v>
                </c:pt>
                <c:pt idx="55321">
                  <c:v>0</c:v>
                </c:pt>
                <c:pt idx="55322">
                  <c:v>0</c:v>
                </c:pt>
                <c:pt idx="55323">
                  <c:v>0</c:v>
                </c:pt>
                <c:pt idx="55324">
                  <c:v>0</c:v>
                </c:pt>
                <c:pt idx="55325">
                  <c:v>0</c:v>
                </c:pt>
                <c:pt idx="55326">
                  <c:v>0</c:v>
                </c:pt>
                <c:pt idx="55327">
                  <c:v>0</c:v>
                </c:pt>
                <c:pt idx="55328">
                  <c:v>0</c:v>
                </c:pt>
                <c:pt idx="55329">
                  <c:v>0</c:v>
                </c:pt>
                <c:pt idx="55330">
                  <c:v>0</c:v>
                </c:pt>
                <c:pt idx="55331">
                  <c:v>0</c:v>
                </c:pt>
                <c:pt idx="55332">
                  <c:v>0</c:v>
                </c:pt>
                <c:pt idx="55333">
                  <c:v>0</c:v>
                </c:pt>
                <c:pt idx="55334">
                  <c:v>0</c:v>
                </c:pt>
                <c:pt idx="55335">
                  <c:v>0</c:v>
                </c:pt>
                <c:pt idx="55336">
                  <c:v>0</c:v>
                </c:pt>
                <c:pt idx="55337">
                  <c:v>0</c:v>
                </c:pt>
                <c:pt idx="55338">
                  <c:v>0</c:v>
                </c:pt>
                <c:pt idx="55339">
                  <c:v>0</c:v>
                </c:pt>
                <c:pt idx="55340">
                  <c:v>0</c:v>
                </c:pt>
                <c:pt idx="55341">
                  <c:v>0</c:v>
                </c:pt>
                <c:pt idx="55342">
                  <c:v>0</c:v>
                </c:pt>
                <c:pt idx="55343">
                  <c:v>0</c:v>
                </c:pt>
                <c:pt idx="55344">
                  <c:v>0</c:v>
                </c:pt>
                <c:pt idx="55345">
                  <c:v>0</c:v>
                </c:pt>
                <c:pt idx="55346">
                  <c:v>0</c:v>
                </c:pt>
                <c:pt idx="55347">
                  <c:v>0</c:v>
                </c:pt>
                <c:pt idx="55348">
                  <c:v>0</c:v>
                </c:pt>
                <c:pt idx="55349">
                  <c:v>0</c:v>
                </c:pt>
                <c:pt idx="55350">
                  <c:v>0</c:v>
                </c:pt>
                <c:pt idx="55351">
                  <c:v>0</c:v>
                </c:pt>
                <c:pt idx="55352">
                  <c:v>0</c:v>
                </c:pt>
                <c:pt idx="55353">
                  <c:v>0</c:v>
                </c:pt>
                <c:pt idx="55354">
                  <c:v>0</c:v>
                </c:pt>
                <c:pt idx="55355">
                  <c:v>0</c:v>
                </c:pt>
                <c:pt idx="55356">
                  <c:v>0</c:v>
                </c:pt>
                <c:pt idx="55357">
                  <c:v>0</c:v>
                </c:pt>
                <c:pt idx="55358">
                  <c:v>0</c:v>
                </c:pt>
                <c:pt idx="55359">
                  <c:v>0</c:v>
                </c:pt>
                <c:pt idx="55360">
                  <c:v>0</c:v>
                </c:pt>
                <c:pt idx="55361">
                  <c:v>0</c:v>
                </c:pt>
                <c:pt idx="55362">
                  <c:v>0</c:v>
                </c:pt>
                <c:pt idx="55363">
                  <c:v>0</c:v>
                </c:pt>
                <c:pt idx="55364">
                  <c:v>0</c:v>
                </c:pt>
                <c:pt idx="55365">
                  <c:v>0</c:v>
                </c:pt>
                <c:pt idx="55366">
                  <c:v>0</c:v>
                </c:pt>
                <c:pt idx="55367">
                  <c:v>0</c:v>
                </c:pt>
                <c:pt idx="55368">
                  <c:v>0</c:v>
                </c:pt>
                <c:pt idx="55369">
                  <c:v>0</c:v>
                </c:pt>
                <c:pt idx="55370">
                  <c:v>0</c:v>
                </c:pt>
                <c:pt idx="55371">
                  <c:v>0</c:v>
                </c:pt>
                <c:pt idx="55372">
                  <c:v>0</c:v>
                </c:pt>
                <c:pt idx="55373">
                  <c:v>0</c:v>
                </c:pt>
                <c:pt idx="55374">
                  <c:v>0</c:v>
                </c:pt>
                <c:pt idx="55375">
                  <c:v>0</c:v>
                </c:pt>
                <c:pt idx="55376">
                  <c:v>0</c:v>
                </c:pt>
                <c:pt idx="55377">
                  <c:v>0</c:v>
                </c:pt>
                <c:pt idx="55378">
                  <c:v>0</c:v>
                </c:pt>
                <c:pt idx="55379">
                  <c:v>0</c:v>
                </c:pt>
                <c:pt idx="55380">
                  <c:v>0</c:v>
                </c:pt>
                <c:pt idx="55381">
                  <c:v>0</c:v>
                </c:pt>
                <c:pt idx="55382">
                  <c:v>0</c:v>
                </c:pt>
                <c:pt idx="55383">
                  <c:v>0</c:v>
                </c:pt>
                <c:pt idx="55384">
                  <c:v>0</c:v>
                </c:pt>
                <c:pt idx="55385">
                  <c:v>0</c:v>
                </c:pt>
                <c:pt idx="55386">
                  <c:v>0</c:v>
                </c:pt>
                <c:pt idx="55387">
                  <c:v>0</c:v>
                </c:pt>
                <c:pt idx="55388">
                  <c:v>0</c:v>
                </c:pt>
                <c:pt idx="55389">
                  <c:v>0</c:v>
                </c:pt>
                <c:pt idx="55390">
                  <c:v>0</c:v>
                </c:pt>
                <c:pt idx="55391">
                  <c:v>0</c:v>
                </c:pt>
                <c:pt idx="55392">
                  <c:v>0</c:v>
                </c:pt>
                <c:pt idx="55393">
                  <c:v>0</c:v>
                </c:pt>
                <c:pt idx="55394">
                  <c:v>0</c:v>
                </c:pt>
                <c:pt idx="55395">
                  <c:v>0</c:v>
                </c:pt>
                <c:pt idx="55396">
                  <c:v>0</c:v>
                </c:pt>
                <c:pt idx="55397">
                  <c:v>0</c:v>
                </c:pt>
                <c:pt idx="55398">
                  <c:v>0</c:v>
                </c:pt>
                <c:pt idx="55399">
                  <c:v>0</c:v>
                </c:pt>
                <c:pt idx="55400">
                  <c:v>0</c:v>
                </c:pt>
                <c:pt idx="55401">
                  <c:v>0</c:v>
                </c:pt>
                <c:pt idx="55402">
                  <c:v>0</c:v>
                </c:pt>
                <c:pt idx="55403">
                  <c:v>0</c:v>
                </c:pt>
                <c:pt idx="55404">
                  <c:v>0</c:v>
                </c:pt>
                <c:pt idx="55405">
                  <c:v>0</c:v>
                </c:pt>
                <c:pt idx="55406">
                  <c:v>0</c:v>
                </c:pt>
                <c:pt idx="55407">
                  <c:v>0</c:v>
                </c:pt>
                <c:pt idx="55408">
                  <c:v>0</c:v>
                </c:pt>
                <c:pt idx="55409">
                  <c:v>0</c:v>
                </c:pt>
                <c:pt idx="55410">
                  <c:v>0</c:v>
                </c:pt>
                <c:pt idx="55411">
                  <c:v>0</c:v>
                </c:pt>
                <c:pt idx="55412">
                  <c:v>0</c:v>
                </c:pt>
                <c:pt idx="55413">
                  <c:v>0</c:v>
                </c:pt>
                <c:pt idx="55414">
                  <c:v>0</c:v>
                </c:pt>
                <c:pt idx="55415">
                  <c:v>0</c:v>
                </c:pt>
                <c:pt idx="55416">
                  <c:v>0</c:v>
                </c:pt>
                <c:pt idx="55417">
                  <c:v>0</c:v>
                </c:pt>
                <c:pt idx="55418">
                  <c:v>0</c:v>
                </c:pt>
                <c:pt idx="55419">
                  <c:v>0</c:v>
                </c:pt>
                <c:pt idx="55420">
                  <c:v>0</c:v>
                </c:pt>
                <c:pt idx="55421">
                  <c:v>0</c:v>
                </c:pt>
                <c:pt idx="55422">
                  <c:v>0</c:v>
                </c:pt>
                <c:pt idx="55423">
                  <c:v>0</c:v>
                </c:pt>
                <c:pt idx="55424">
                  <c:v>0</c:v>
                </c:pt>
                <c:pt idx="55425">
                  <c:v>0</c:v>
                </c:pt>
                <c:pt idx="55426">
                  <c:v>0</c:v>
                </c:pt>
                <c:pt idx="55427">
                  <c:v>0</c:v>
                </c:pt>
                <c:pt idx="55428">
                  <c:v>0</c:v>
                </c:pt>
                <c:pt idx="55429">
                  <c:v>0</c:v>
                </c:pt>
                <c:pt idx="55430">
                  <c:v>0</c:v>
                </c:pt>
                <c:pt idx="55431">
                  <c:v>0</c:v>
                </c:pt>
                <c:pt idx="55432">
                  <c:v>0</c:v>
                </c:pt>
                <c:pt idx="55433">
                  <c:v>0</c:v>
                </c:pt>
                <c:pt idx="55434">
                  <c:v>0</c:v>
                </c:pt>
                <c:pt idx="55435">
                  <c:v>0</c:v>
                </c:pt>
                <c:pt idx="55436">
                  <c:v>0</c:v>
                </c:pt>
                <c:pt idx="55437">
                  <c:v>0</c:v>
                </c:pt>
                <c:pt idx="55438">
                  <c:v>0</c:v>
                </c:pt>
                <c:pt idx="55439">
                  <c:v>0</c:v>
                </c:pt>
                <c:pt idx="55440">
                  <c:v>0</c:v>
                </c:pt>
                <c:pt idx="55441">
                  <c:v>0</c:v>
                </c:pt>
                <c:pt idx="55442">
                  <c:v>0</c:v>
                </c:pt>
                <c:pt idx="55443">
                  <c:v>0</c:v>
                </c:pt>
                <c:pt idx="55444">
                  <c:v>0</c:v>
                </c:pt>
                <c:pt idx="55445">
                  <c:v>0</c:v>
                </c:pt>
                <c:pt idx="55446">
                  <c:v>0</c:v>
                </c:pt>
                <c:pt idx="55447">
                  <c:v>0</c:v>
                </c:pt>
                <c:pt idx="55448">
                  <c:v>0</c:v>
                </c:pt>
                <c:pt idx="55449">
                  <c:v>0</c:v>
                </c:pt>
                <c:pt idx="55450">
                  <c:v>0</c:v>
                </c:pt>
                <c:pt idx="55451">
                  <c:v>0</c:v>
                </c:pt>
                <c:pt idx="55452">
                  <c:v>0</c:v>
                </c:pt>
                <c:pt idx="55453">
                  <c:v>0</c:v>
                </c:pt>
                <c:pt idx="55454">
                  <c:v>0</c:v>
                </c:pt>
                <c:pt idx="55455">
                  <c:v>0</c:v>
                </c:pt>
                <c:pt idx="55456">
                  <c:v>0</c:v>
                </c:pt>
                <c:pt idx="55457">
                  <c:v>0</c:v>
                </c:pt>
                <c:pt idx="55458">
                  <c:v>0</c:v>
                </c:pt>
                <c:pt idx="55459">
                  <c:v>0</c:v>
                </c:pt>
                <c:pt idx="55460">
                  <c:v>0</c:v>
                </c:pt>
                <c:pt idx="55461">
                  <c:v>0</c:v>
                </c:pt>
                <c:pt idx="55462">
                  <c:v>0</c:v>
                </c:pt>
                <c:pt idx="55463">
                  <c:v>0</c:v>
                </c:pt>
                <c:pt idx="55464">
                  <c:v>0</c:v>
                </c:pt>
                <c:pt idx="55465">
                  <c:v>0</c:v>
                </c:pt>
                <c:pt idx="55466">
                  <c:v>0</c:v>
                </c:pt>
                <c:pt idx="55467">
                  <c:v>0</c:v>
                </c:pt>
                <c:pt idx="55468">
                  <c:v>0</c:v>
                </c:pt>
                <c:pt idx="55469">
                  <c:v>0</c:v>
                </c:pt>
                <c:pt idx="55470">
                  <c:v>0</c:v>
                </c:pt>
                <c:pt idx="55471">
                  <c:v>0</c:v>
                </c:pt>
                <c:pt idx="55472">
                  <c:v>0</c:v>
                </c:pt>
                <c:pt idx="55473">
                  <c:v>0</c:v>
                </c:pt>
                <c:pt idx="55474">
                  <c:v>0</c:v>
                </c:pt>
                <c:pt idx="55475">
                  <c:v>0</c:v>
                </c:pt>
                <c:pt idx="55476">
                  <c:v>0</c:v>
                </c:pt>
                <c:pt idx="55477">
                  <c:v>0</c:v>
                </c:pt>
                <c:pt idx="55478">
                  <c:v>0</c:v>
                </c:pt>
                <c:pt idx="55479">
                  <c:v>0</c:v>
                </c:pt>
                <c:pt idx="55480">
                  <c:v>0</c:v>
                </c:pt>
                <c:pt idx="55481">
                  <c:v>0</c:v>
                </c:pt>
                <c:pt idx="55482">
                  <c:v>0</c:v>
                </c:pt>
                <c:pt idx="55483">
                  <c:v>0</c:v>
                </c:pt>
                <c:pt idx="55484">
                  <c:v>0</c:v>
                </c:pt>
                <c:pt idx="55485">
                  <c:v>0</c:v>
                </c:pt>
                <c:pt idx="55486">
                  <c:v>0</c:v>
                </c:pt>
                <c:pt idx="55487">
                  <c:v>0</c:v>
                </c:pt>
                <c:pt idx="55488">
                  <c:v>0</c:v>
                </c:pt>
                <c:pt idx="55489">
                  <c:v>0</c:v>
                </c:pt>
                <c:pt idx="55490">
                  <c:v>0</c:v>
                </c:pt>
                <c:pt idx="55491">
                  <c:v>0</c:v>
                </c:pt>
                <c:pt idx="55492">
                  <c:v>0</c:v>
                </c:pt>
                <c:pt idx="55493">
                  <c:v>0</c:v>
                </c:pt>
                <c:pt idx="55494">
                  <c:v>0</c:v>
                </c:pt>
                <c:pt idx="55495">
                  <c:v>0</c:v>
                </c:pt>
                <c:pt idx="55496">
                  <c:v>0</c:v>
                </c:pt>
                <c:pt idx="55497">
                  <c:v>0</c:v>
                </c:pt>
                <c:pt idx="55498">
                  <c:v>0</c:v>
                </c:pt>
                <c:pt idx="55499">
                  <c:v>0</c:v>
                </c:pt>
                <c:pt idx="55500">
                  <c:v>0</c:v>
                </c:pt>
                <c:pt idx="55501">
                  <c:v>0</c:v>
                </c:pt>
                <c:pt idx="55502">
                  <c:v>0</c:v>
                </c:pt>
                <c:pt idx="55503">
                  <c:v>0</c:v>
                </c:pt>
                <c:pt idx="55504">
                  <c:v>0</c:v>
                </c:pt>
                <c:pt idx="55505">
                  <c:v>0</c:v>
                </c:pt>
                <c:pt idx="55506">
                  <c:v>0</c:v>
                </c:pt>
                <c:pt idx="55507">
                  <c:v>0</c:v>
                </c:pt>
                <c:pt idx="55508">
                  <c:v>0</c:v>
                </c:pt>
                <c:pt idx="55509">
                  <c:v>0</c:v>
                </c:pt>
                <c:pt idx="55510">
                  <c:v>0</c:v>
                </c:pt>
                <c:pt idx="55511">
                  <c:v>0</c:v>
                </c:pt>
                <c:pt idx="55512">
                  <c:v>0</c:v>
                </c:pt>
                <c:pt idx="55513">
                  <c:v>0</c:v>
                </c:pt>
                <c:pt idx="55514">
                  <c:v>0</c:v>
                </c:pt>
                <c:pt idx="55515">
                  <c:v>0</c:v>
                </c:pt>
                <c:pt idx="55516">
                  <c:v>0</c:v>
                </c:pt>
                <c:pt idx="55517">
                  <c:v>0</c:v>
                </c:pt>
                <c:pt idx="55518">
                  <c:v>0</c:v>
                </c:pt>
                <c:pt idx="55519">
                  <c:v>0</c:v>
                </c:pt>
                <c:pt idx="55520">
                  <c:v>0</c:v>
                </c:pt>
                <c:pt idx="55521">
                  <c:v>0</c:v>
                </c:pt>
                <c:pt idx="55522">
                  <c:v>0</c:v>
                </c:pt>
                <c:pt idx="55523">
                  <c:v>0</c:v>
                </c:pt>
                <c:pt idx="55524">
                  <c:v>0</c:v>
                </c:pt>
                <c:pt idx="55525">
                  <c:v>0</c:v>
                </c:pt>
                <c:pt idx="55526">
                  <c:v>0</c:v>
                </c:pt>
                <c:pt idx="55527">
                  <c:v>0</c:v>
                </c:pt>
                <c:pt idx="55528">
                  <c:v>0</c:v>
                </c:pt>
                <c:pt idx="55529">
                  <c:v>0</c:v>
                </c:pt>
                <c:pt idx="55530">
                  <c:v>0</c:v>
                </c:pt>
                <c:pt idx="55531">
                  <c:v>0</c:v>
                </c:pt>
                <c:pt idx="55532">
                  <c:v>0</c:v>
                </c:pt>
                <c:pt idx="55533">
                  <c:v>0</c:v>
                </c:pt>
                <c:pt idx="55534">
                  <c:v>0</c:v>
                </c:pt>
                <c:pt idx="55535">
                  <c:v>0</c:v>
                </c:pt>
                <c:pt idx="55536">
                  <c:v>0</c:v>
                </c:pt>
                <c:pt idx="55537">
                  <c:v>0</c:v>
                </c:pt>
                <c:pt idx="55538">
                  <c:v>0</c:v>
                </c:pt>
                <c:pt idx="55539">
                  <c:v>0</c:v>
                </c:pt>
                <c:pt idx="55540">
                  <c:v>0</c:v>
                </c:pt>
                <c:pt idx="55541">
                  <c:v>0</c:v>
                </c:pt>
                <c:pt idx="55542">
                  <c:v>0</c:v>
                </c:pt>
                <c:pt idx="55543">
                  <c:v>0</c:v>
                </c:pt>
                <c:pt idx="55544">
                  <c:v>0</c:v>
                </c:pt>
                <c:pt idx="55545">
                  <c:v>0</c:v>
                </c:pt>
                <c:pt idx="55546">
                  <c:v>0</c:v>
                </c:pt>
                <c:pt idx="55547">
                  <c:v>0</c:v>
                </c:pt>
                <c:pt idx="55548">
                  <c:v>0</c:v>
                </c:pt>
                <c:pt idx="55549">
                  <c:v>0</c:v>
                </c:pt>
                <c:pt idx="55550">
                  <c:v>0</c:v>
                </c:pt>
                <c:pt idx="55551">
                  <c:v>0</c:v>
                </c:pt>
                <c:pt idx="55552">
                  <c:v>0</c:v>
                </c:pt>
                <c:pt idx="55553">
                  <c:v>0</c:v>
                </c:pt>
                <c:pt idx="55554">
                  <c:v>0</c:v>
                </c:pt>
                <c:pt idx="55555">
                  <c:v>0</c:v>
                </c:pt>
                <c:pt idx="55556">
                  <c:v>0</c:v>
                </c:pt>
                <c:pt idx="55557">
                  <c:v>0</c:v>
                </c:pt>
                <c:pt idx="55558">
                  <c:v>0</c:v>
                </c:pt>
                <c:pt idx="55559">
                  <c:v>0</c:v>
                </c:pt>
                <c:pt idx="55560">
                  <c:v>0</c:v>
                </c:pt>
                <c:pt idx="55561">
                  <c:v>0</c:v>
                </c:pt>
                <c:pt idx="55562">
                  <c:v>0</c:v>
                </c:pt>
                <c:pt idx="55563">
                  <c:v>0</c:v>
                </c:pt>
                <c:pt idx="55564">
                  <c:v>0</c:v>
                </c:pt>
                <c:pt idx="55565">
                  <c:v>0</c:v>
                </c:pt>
                <c:pt idx="55566">
                  <c:v>0</c:v>
                </c:pt>
                <c:pt idx="55567">
                  <c:v>0</c:v>
                </c:pt>
                <c:pt idx="55568">
                  <c:v>0</c:v>
                </c:pt>
                <c:pt idx="55569">
                  <c:v>0</c:v>
                </c:pt>
                <c:pt idx="55570">
                  <c:v>0</c:v>
                </c:pt>
                <c:pt idx="55571">
                  <c:v>0</c:v>
                </c:pt>
                <c:pt idx="55572">
                  <c:v>0</c:v>
                </c:pt>
                <c:pt idx="55573">
                  <c:v>0</c:v>
                </c:pt>
                <c:pt idx="55574">
                  <c:v>0</c:v>
                </c:pt>
                <c:pt idx="55575">
                  <c:v>0</c:v>
                </c:pt>
                <c:pt idx="55576">
                  <c:v>0</c:v>
                </c:pt>
                <c:pt idx="55577">
                  <c:v>0</c:v>
                </c:pt>
                <c:pt idx="55578">
                  <c:v>0</c:v>
                </c:pt>
                <c:pt idx="55579">
                  <c:v>0</c:v>
                </c:pt>
                <c:pt idx="55580">
                  <c:v>0</c:v>
                </c:pt>
                <c:pt idx="55581">
                  <c:v>0</c:v>
                </c:pt>
                <c:pt idx="55582">
                  <c:v>0</c:v>
                </c:pt>
                <c:pt idx="55583">
                  <c:v>0</c:v>
                </c:pt>
                <c:pt idx="55584">
                  <c:v>0</c:v>
                </c:pt>
                <c:pt idx="55585">
                  <c:v>0</c:v>
                </c:pt>
                <c:pt idx="55586">
                  <c:v>0</c:v>
                </c:pt>
                <c:pt idx="55587">
                  <c:v>0</c:v>
                </c:pt>
                <c:pt idx="55588">
                  <c:v>0</c:v>
                </c:pt>
                <c:pt idx="55589">
                  <c:v>0</c:v>
                </c:pt>
                <c:pt idx="55590">
                  <c:v>0</c:v>
                </c:pt>
                <c:pt idx="55591">
                  <c:v>0</c:v>
                </c:pt>
                <c:pt idx="55592">
                  <c:v>0</c:v>
                </c:pt>
                <c:pt idx="55593">
                  <c:v>0</c:v>
                </c:pt>
                <c:pt idx="55594">
                  <c:v>0</c:v>
                </c:pt>
                <c:pt idx="55595">
                  <c:v>0</c:v>
                </c:pt>
                <c:pt idx="55596">
                  <c:v>0</c:v>
                </c:pt>
                <c:pt idx="55597">
                  <c:v>0</c:v>
                </c:pt>
                <c:pt idx="55598">
                  <c:v>0</c:v>
                </c:pt>
                <c:pt idx="55599">
                  <c:v>0</c:v>
                </c:pt>
                <c:pt idx="55600">
                  <c:v>0</c:v>
                </c:pt>
                <c:pt idx="55601">
                  <c:v>0</c:v>
                </c:pt>
                <c:pt idx="55602">
                  <c:v>0</c:v>
                </c:pt>
                <c:pt idx="55603">
                  <c:v>0</c:v>
                </c:pt>
                <c:pt idx="55604">
                  <c:v>0</c:v>
                </c:pt>
                <c:pt idx="55605">
                  <c:v>0</c:v>
                </c:pt>
                <c:pt idx="55606">
                  <c:v>0</c:v>
                </c:pt>
                <c:pt idx="55607">
                  <c:v>0</c:v>
                </c:pt>
                <c:pt idx="55608">
                  <c:v>0</c:v>
                </c:pt>
                <c:pt idx="55609">
                  <c:v>0</c:v>
                </c:pt>
                <c:pt idx="55610">
                  <c:v>0</c:v>
                </c:pt>
                <c:pt idx="55611">
                  <c:v>0</c:v>
                </c:pt>
                <c:pt idx="55612">
                  <c:v>0</c:v>
                </c:pt>
                <c:pt idx="55613">
                  <c:v>0</c:v>
                </c:pt>
                <c:pt idx="55614">
                  <c:v>0</c:v>
                </c:pt>
                <c:pt idx="55615">
                  <c:v>0</c:v>
                </c:pt>
                <c:pt idx="55616">
                  <c:v>0</c:v>
                </c:pt>
                <c:pt idx="55617">
                  <c:v>0</c:v>
                </c:pt>
                <c:pt idx="55618">
                  <c:v>0</c:v>
                </c:pt>
                <c:pt idx="55619">
                  <c:v>0</c:v>
                </c:pt>
                <c:pt idx="55620">
                  <c:v>0</c:v>
                </c:pt>
                <c:pt idx="55621">
                  <c:v>0</c:v>
                </c:pt>
                <c:pt idx="55622">
                  <c:v>0</c:v>
                </c:pt>
                <c:pt idx="55623">
                  <c:v>0</c:v>
                </c:pt>
                <c:pt idx="55624">
                  <c:v>0</c:v>
                </c:pt>
                <c:pt idx="55625">
                  <c:v>0</c:v>
                </c:pt>
                <c:pt idx="55626">
                  <c:v>0</c:v>
                </c:pt>
                <c:pt idx="55627">
                  <c:v>0</c:v>
                </c:pt>
                <c:pt idx="55628">
                  <c:v>0</c:v>
                </c:pt>
                <c:pt idx="55629">
                  <c:v>0</c:v>
                </c:pt>
                <c:pt idx="55630">
                  <c:v>0</c:v>
                </c:pt>
                <c:pt idx="55631">
                  <c:v>0</c:v>
                </c:pt>
                <c:pt idx="55632">
                  <c:v>0</c:v>
                </c:pt>
                <c:pt idx="55633">
                  <c:v>0</c:v>
                </c:pt>
                <c:pt idx="55634">
                  <c:v>0</c:v>
                </c:pt>
                <c:pt idx="55635">
                  <c:v>0</c:v>
                </c:pt>
                <c:pt idx="55636">
                  <c:v>0</c:v>
                </c:pt>
                <c:pt idx="55637">
                  <c:v>0</c:v>
                </c:pt>
                <c:pt idx="55638">
                  <c:v>0</c:v>
                </c:pt>
                <c:pt idx="55639">
                  <c:v>0</c:v>
                </c:pt>
                <c:pt idx="55640">
                  <c:v>0</c:v>
                </c:pt>
                <c:pt idx="55641">
                  <c:v>0</c:v>
                </c:pt>
                <c:pt idx="55642">
                  <c:v>0</c:v>
                </c:pt>
                <c:pt idx="55643">
                  <c:v>0</c:v>
                </c:pt>
                <c:pt idx="55644">
                  <c:v>0</c:v>
                </c:pt>
                <c:pt idx="55645">
                  <c:v>0</c:v>
                </c:pt>
                <c:pt idx="55646">
                  <c:v>0</c:v>
                </c:pt>
                <c:pt idx="55647">
                  <c:v>0</c:v>
                </c:pt>
                <c:pt idx="55648">
                  <c:v>0</c:v>
                </c:pt>
                <c:pt idx="55649">
                  <c:v>0</c:v>
                </c:pt>
                <c:pt idx="55650">
                  <c:v>0</c:v>
                </c:pt>
                <c:pt idx="55651">
                  <c:v>0</c:v>
                </c:pt>
                <c:pt idx="55652">
                  <c:v>0</c:v>
                </c:pt>
                <c:pt idx="55653">
                  <c:v>0</c:v>
                </c:pt>
                <c:pt idx="55654">
                  <c:v>0</c:v>
                </c:pt>
                <c:pt idx="55655">
                  <c:v>0</c:v>
                </c:pt>
                <c:pt idx="55656">
                  <c:v>0</c:v>
                </c:pt>
                <c:pt idx="55657">
                  <c:v>0</c:v>
                </c:pt>
                <c:pt idx="55658">
                  <c:v>0</c:v>
                </c:pt>
                <c:pt idx="55659">
                  <c:v>0</c:v>
                </c:pt>
                <c:pt idx="55660">
                  <c:v>0</c:v>
                </c:pt>
                <c:pt idx="55661">
                  <c:v>0</c:v>
                </c:pt>
                <c:pt idx="55662">
                  <c:v>0</c:v>
                </c:pt>
                <c:pt idx="55663">
                  <c:v>0</c:v>
                </c:pt>
                <c:pt idx="55664">
                  <c:v>0</c:v>
                </c:pt>
                <c:pt idx="55665">
                  <c:v>0</c:v>
                </c:pt>
                <c:pt idx="55666">
                  <c:v>0</c:v>
                </c:pt>
                <c:pt idx="55667">
                  <c:v>0</c:v>
                </c:pt>
                <c:pt idx="55668">
                  <c:v>0</c:v>
                </c:pt>
                <c:pt idx="55669">
                  <c:v>0</c:v>
                </c:pt>
                <c:pt idx="55670">
                  <c:v>0</c:v>
                </c:pt>
                <c:pt idx="55671">
                  <c:v>0</c:v>
                </c:pt>
                <c:pt idx="55672">
                  <c:v>0</c:v>
                </c:pt>
                <c:pt idx="55673">
                  <c:v>0</c:v>
                </c:pt>
                <c:pt idx="55674">
                  <c:v>0</c:v>
                </c:pt>
                <c:pt idx="55675">
                  <c:v>0</c:v>
                </c:pt>
                <c:pt idx="55676">
                  <c:v>0</c:v>
                </c:pt>
                <c:pt idx="55677">
                  <c:v>0</c:v>
                </c:pt>
                <c:pt idx="55678">
                  <c:v>0</c:v>
                </c:pt>
                <c:pt idx="55679">
                  <c:v>0</c:v>
                </c:pt>
                <c:pt idx="55680">
                  <c:v>0</c:v>
                </c:pt>
                <c:pt idx="55681">
                  <c:v>0</c:v>
                </c:pt>
                <c:pt idx="55682">
                  <c:v>0</c:v>
                </c:pt>
                <c:pt idx="55683">
                  <c:v>0</c:v>
                </c:pt>
                <c:pt idx="55684">
                  <c:v>0</c:v>
                </c:pt>
                <c:pt idx="55685">
                  <c:v>0</c:v>
                </c:pt>
                <c:pt idx="55686">
                  <c:v>0</c:v>
                </c:pt>
                <c:pt idx="55687">
                  <c:v>0</c:v>
                </c:pt>
                <c:pt idx="55688">
                  <c:v>0</c:v>
                </c:pt>
                <c:pt idx="55689">
                  <c:v>0</c:v>
                </c:pt>
                <c:pt idx="55690">
                  <c:v>0</c:v>
                </c:pt>
                <c:pt idx="55691">
                  <c:v>0</c:v>
                </c:pt>
                <c:pt idx="55692">
                  <c:v>0</c:v>
                </c:pt>
                <c:pt idx="55693">
                  <c:v>0</c:v>
                </c:pt>
                <c:pt idx="55694">
                  <c:v>0</c:v>
                </c:pt>
                <c:pt idx="55695">
                  <c:v>0</c:v>
                </c:pt>
                <c:pt idx="55696">
                  <c:v>0</c:v>
                </c:pt>
                <c:pt idx="55697">
                  <c:v>0</c:v>
                </c:pt>
                <c:pt idx="55698">
                  <c:v>0</c:v>
                </c:pt>
                <c:pt idx="55699">
                  <c:v>0</c:v>
                </c:pt>
                <c:pt idx="55700">
                  <c:v>0</c:v>
                </c:pt>
                <c:pt idx="55701">
                  <c:v>0</c:v>
                </c:pt>
                <c:pt idx="55702">
                  <c:v>0</c:v>
                </c:pt>
                <c:pt idx="55703">
                  <c:v>0</c:v>
                </c:pt>
                <c:pt idx="55704">
                  <c:v>0</c:v>
                </c:pt>
                <c:pt idx="55705">
                  <c:v>0</c:v>
                </c:pt>
                <c:pt idx="55706">
                  <c:v>0</c:v>
                </c:pt>
                <c:pt idx="55707">
                  <c:v>0</c:v>
                </c:pt>
                <c:pt idx="55708">
                  <c:v>0</c:v>
                </c:pt>
                <c:pt idx="55709">
                  <c:v>0</c:v>
                </c:pt>
                <c:pt idx="55710">
                  <c:v>0</c:v>
                </c:pt>
                <c:pt idx="55711">
                  <c:v>0</c:v>
                </c:pt>
                <c:pt idx="55712">
                  <c:v>0</c:v>
                </c:pt>
                <c:pt idx="55713">
                  <c:v>0</c:v>
                </c:pt>
                <c:pt idx="55714">
                  <c:v>0</c:v>
                </c:pt>
                <c:pt idx="55715">
                  <c:v>0</c:v>
                </c:pt>
                <c:pt idx="55716">
                  <c:v>0</c:v>
                </c:pt>
                <c:pt idx="55717">
                  <c:v>0</c:v>
                </c:pt>
                <c:pt idx="55718">
                  <c:v>0</c:v>
                </c:pt>
                <c:pt idx="55719">
                  <c:v>0</c:v>
                </c:pt>
                <c:pt idx="55720">
                  <c:v>0</c:v>
                </c:pt>
                <c:pt idx="55721">
                  <c:v>0</c:v>
                </c:pt>
                <c:pt idx="55722">
                  <c:v>0</c:v>
                </c:pt>
                <c:pt idx="55723">
                  <c:v>0</c:v>
                </c:pt>
                <c:pt idx="55724">
                  <c:v>0</c:v>
                </c:pt>
                <c:pt idx="55725">
                  <c:v>0</c:v>
                </c:pt>
                <c:pt idx="55726">
                  <c:v>0</c:v>
                </c:pt>
                <c:pt idx="55727">
                  <c:v>0</c:v>
                </c:pt>
                <c:pt idx="55728">
                  <c:v>0</c:v>
                </c:pt>
                <c:pt idx="55729">
                  <c:v>0</c:v>
                </c:pt>
                <c:pt idx="55730">
                  <c:v>0</c:v>
                </c:pt>
                <c:pt idx="55731">
                  <c:v>0</c:v>
                </c:pt>
                <c:pt idx="55732">
                  <c:v>0</c:v>
                </c:pt>
                <c:pt idx="55733">
                  <c:v>0</c:v>
                </c:pt>
                <c:pt idx="55734">
                  <c:v>0</c:v>
                </c:pt>
                <c:pt idx="55735">
                  <c:v>0</c:v>
                </c:pt>
                <c:pt idx="55736">
                  <c:v>0</c:v>
                </c:pt>
                <c:pt idx="55737">
                  <c:v>0</c:v>
                </c:pt>
                <c:pt idx="55738">
                  <c:v>0</c:v>
                </c:pt>
                <c:pt idx="55739">
                  <c:v>0</c:v>
                </c:pt>
                <c:pt idx="55740">
                  <c:v>0</c:v>
                </c:pt>
                <c:pt idx="55741">
                  <c:v>0</c:v>
                </c:pt>
                <c:pt idx="55742">
                  <c:v>0</c:v>
                </c:pt>
                <c:pt idx="55743">
                  <c:v>0</c:v>
                </c:pt>
                <c:pt idx="55744">
                  <c:v>0</c:v>
                </c:pt>
                <c:pt idx="55745">
                  <c:v>0</c:v>
                </c:pt>
                <c:pt idx="55746">
                  <c:v>0</c:v>
                </c:pt>
                <c:pt idx="55747">
                  <c:v>0</c:v>
                </c:pt>
                <c:pt idx="55748">
                  <c:v>0</c:v>
                </c:pt>
                <c:pt idx="55749">
                  <c:v>0</c:v>
                </c:pt>
                <c:pt idx="55750">
                  <c:v>0</c:v>
                </c:pt>
                <c:pt idx="55751">
                  <c:v>0</c:v>
                </c:pt>
                <c:pt idx="55752">
                  <c:v>0</c:v>
                </c:pt>
                <c:pt idx="55753">
                  <c:v>0</c:v>
                </c:pt>
                <c:pt idx="55754">
                  <c:v>0</c:v>
                </c:pt>
                <c:pt idx="55755">
                  <c:v>0</c:v>
                </c:pt>
                <c:pt idx="55756">
                  <c:v>0</c:v>
                </c:pt>
                <c:pt idx="55757">
                  <c:v>0</c:v>
                </c:pt>
                <c:pt idx="55758">
                  <c:v>0</c:v>
                </c:pt>
                <c:pt idx="55759">
                  <c:v>0</c:v>
                </c:pt>
                <c:pt idx="55760">
                  <c:v>0</c:v>
                </c:pt>
                <c:pt idx="55761">
                  <c:v>0</c:v>
                </c:pt>
                <c:pt idx="55762">
                  <c:v>0</c:v>
                </c:pt>
                <c:pt idx="55763">
                  <c:v>0</c:v>
                </c:pt>
                <c:pt idx="55764">
                  <c:v>0</c:v>
                </c:pt>
                <c:pt idx="55765">
                  <c:v>0</c:v>
                </c:pt>
                <c:pt idx="55766">
                  <c:v>0</c:v>
                </c:pt>
                <c:pt idx="55767">
                  <c:v>0</c:v>
                </c:pt>
                <c:pt idx="55768">
                  <c:v>0</c:v>
                </c:pt>
                <c:pt idx="55769">
                  <c:v>0</c:v>
                </c:pt>
                <c:pt idx="55770">
                  <c:v>0</c:v>
                </c:pt>
                <c:pt idx="55771">
                  <c:v>0</c:v>
                </c:pt>
                <c:pt idx="55772">
                  <c:v>0</c:v>
                </c:pt>
                <c:pt idx="55773">
                  <c:v>0</c:v>
                </c:pt>
                <c:pt idx="55774">
                  <c:v>0</c:v>
                </c:pt>
                <c:pt idx="55775">
                  <c:v>0</c:v>
                </c:pt>
                <c:pt idx="55776">
                  <c:v>0</c:v>
                </c:pt>
                <c:pt idx="55777">
                  <c:v>0</c:v>
                </c:pt>
                <c:pt idx="55778">
                  <c:v>0</c:v>
                </c:pt>
                <c:pt idx="55779">
                  <c:v>0</c:v>
                </c:pt>
                <c:pt idx="55780">
                  <c:v>0</c:v>
                </c:pt>
                <c:pt idx="55781">
                  <c:v>0</c:v>
                </c:pt>
                <c:pt idx="55782">
                  <c:v>0</c:v>
                </c:pt>
                <c:pt idx="55783">
                  <c:v>0</c:v>
                </c:pt>
                <c:pt idx="55784">
                  <c:v>0</c:v>
                </c:pt>
                <c:pt idx="55785">
                  <c:v>0</c:v>
                </c:pt>
                <c:pt idx="55786">
                  <c:v>0</c:v>
                </c:pt>
                <c:pt idx="55787">
                  <c:v>0</c:v>
                </c:pt>
                <c:pt idx="55788">
                  <c:v>0</c:v>
                </c:pt>
                <c:pt idx="55789">
                  <c:v>0</c:v>
                </c:pt>
                <c:pt idx="55790">
                  <c:v>0</c:v>
                </c:pt>
                <c:pt idx="55791">
                  <c:v>0</c:v>
                </c:pt>
                <c:pt idx="55792">
                  <c:v>0</c:v>
                </c:pt>
                <c:pt idx="55793">
                  <c:v>0</c:v>
                </c:pt>
                <c:pt idx="55794">
                  <c:v>0</c:v>
                </c:pt>
                <c:pt idx="55795">
                  <c:v>0</c:v>
                </c:pt>
                <c:pt idx="55796">
                  <c:v>0</c:v>
                </c:pt>
                <c:pt idx="55797">
                  <c:v>0</c:v>
                </c:pt>
                <c:pt idx="55798">
                  <c:v>0</c:v>
                </c:pt>
                <c:pt idx="55799">
                  <c:v>0</c:v>
                </c:pt>
                <c:pt idx="55800">
                  <c:v>0</c:v>
                </c:pt>
                <c:pt idx="55801">
                  <c:v>0</c:v>
                </c:pt>
                <c:pt idx="55802">
                  <c:v>0</c:v>
                </c:pt>
                <c:pt idx="55803">
                  <c:v>0</c:v>
                </c:pt>
                <c:pt idx="55804">
                  <c:v>0</c:v>
                </c:pt>
                <c:pt idx="55805">
                  <c:v>0</c:v>
                </c:pt>
                <c:pt idx="55806">
                  <c:v>0</c:v>
                </c:pt>
                <c:pt idx="55807">
                  <c:v>0</c:v>
                </c:pt>
                <c:pt idx="55808">
                  <c:v>0</c:v>
                </c:pt>
                <c:pt idx="55809">
                  <c:v>0</c:v>
                </c:pt>
                <c:pt idx="55810">
                  <c:v>0</c:v>
                </c:pt>
                <c:pt idx="55811">
                  <c:v>0</c:v>
                </c:pt>
                <c:pt idx="55812">
                  <c:v>0</c:v>
                </c:pt>
                <c:pt idx="55813">
                  <c:v>0</c:v>
                </c:pt>
                <c:pt idx="55814">
                  <c:v>0</c:v>
                </c:pt>
                <c:pt idx="55815">
                  <c:v>0</c:v>
                </c:pt>
                <c:pt idx="55816">
                  <c:v>0</c:v>
                </c:pt>
                <c:pt idx="55817">
                  <c:v>0</c:v>
                </c:pt>
                <c:pt idx="55818">
                  <c:v>0</c:v>
                </c:pt>
                <c:pt idx="55819">
                  <c:v>0</c:v>
                </c:pt>
                <c:pt idx="55820">
                  <c:v>0</c:v>
                </c:pt>
                <c:pt idx="55821">
                  <c:v>0</c:v>
                </c:pt>
                <c:pt idx="55822">
                  <c:v>0</c:v>
                </c:pt>
                <c:pt idx="55823">
                  <c:v>0</c:v>
                </c:pt>
                <c:pt idx="55824">
                  <c:v>0</c:v>
                </c:pt>
                <c:pt idx="55825">
                  <c:v>0</c:v>
                </c:pt>
                <c:pt idx="55826">
                  <c:v>0</c:v>
                </c:pt>
                <c:pt idx="55827">
                  <c:v>0</c:v>
                </c:pt>
                <c:pt idx="55828">
                  <c:v>0</c:v>
                </c:pt>
                <c:pt idx="55829">
                  <c:v>0</c:v>
                </c:pt>
                <c:pt idx="55830">
                  <c:v>0</c:v>
                </c:pt>
                <c:pt idx="55831">
                  <c:v>0</c:v>
                </c:pt>
                <c:pt idx="55832">
                  <c:v>0</c:v>
                </c:pt>
                <c:pt idx="55833">
                  <c:v>0</c:v>
                </c:pt>
                <c:pt idx="55834">
                  <c:v>0</c:v>
                </c:pt>
                <c:pt idx="55835">
                  <c:v>0</c:v>
                </c:pt>
                <c:pt idx="55836">
                  <c:v>0</c:v>
                </c:pt>
                <c:pt idx="55837">
                  <c:v>0</c:v>
                </c:pt>
                <c:pt idx="55838">
                  <c:v>0</c:v>
                </c:pt>
                <c:pt idx="55839">
                  <c:v>0</c:v>
                </c:pt>
                <c:pt idx="55840">
                  <c:v>0</c:v>
                </c:pt>
                <c:pt idx="55841">
                  <c:v>0</c:v>
                </c:pt>
                <c:pt idx="55842">
                  <c:v>0</c:v>
                </c:pt>
                <c:pt idx="55843">
                  <c:v>0</c:v>
                </c:pt>
                <c:pt idx="55844">
                  <c:v>0</c:v>
                </c:pt>
                <c:pt idx="55845">
                  <c:v>0</c:v>
                </c:pt>
                <c:pt idx="55846">
                  <c:v>0</c:v>
                </c:pt>
                <c:pt idx="55847">
                  <c:v>0</c:v>
                </c:pt>
                <c:pt idx="55848">
                  <c:v>0</c:v>
                </c:pt>
                <c:pt idx="55849">
                  <c:v>0</c:v>
                </c:pt>
                <c:pt idx="55850">
                  <c:v>0</c:v>
                </c:pt>
                <c:pt idx="55851">
                  <c:v>0</c:v>
                </c:pt>
                <c:pt idx="55852">
                  <c:v>0</c:v>
                </c:pt>
                <c:pt idx="55853">
                  <c:v>0</c:v>
                </c:pt>
                <c:pt idx="55854">
                  <c:v>0</c:v>
                </c:pt>
                <c:pt idx="55855">
                  <c:v>0</c:v>
                </c:pt>
                <c:pt idx="55856">
                  <c:v>0</c:v>
                </c:pt>
                <c:pt idx="55857">
                  <c:v>0</c:v>
                </c:pt>
                <c:pt idx="55858">
                  <c:v>0</c:v>
                </c:pt>
                <c:pt idx="55859">
                  <c:v>0</c:v>
                </c:pt>
                <c:pt idx="55860">
                  <c:v>0</c:v>
                </c:pt>
                <c:pt idx="55861">
                  <c:v>0</c:v>
                </c:pt>
                <c:pt idx="55862">
                  <c:v>0</c:v>
                </c:pt>
                <c:pt idx="55863">
                  <c:v>0</c:v>
                </c:pt>
                <c:pt idx="55864">
                  <c:v>0</c:v>
                </c:pt>
                <c:pt idx="55865">
                  <c:v>0</c:v>
                </c:pt>
                <c:pt idx="55866">
                  <c:v>0</c:v>
                </c:pt>
                <c:pt idx="55867">
                  <c:v>0</c:v>
                </c:pt>
                <c:pt idx="55868">
                  <c:v>0</c:v>
                </c:pt>
                <c:pt idx="55869">
                  <c:v>0</c:v>
                </c:pt>
                <c:pt idx="55870">
                  <c:v>0</c:v>
                </c:pt>
                <c:pt idx="55871">
                  <c:v>0</c:v>
                </c:pt>
                <c:pt idx="55872">
                  <c:v>0</c:v>
                </c:pt>
                <c:pt idx="55873">
                  <c:v>0</c:v>
                </c:pt>
                <c:pt idx="55874">
                  <c:v>0</c:v>
                </c:pt>
                <c:pt idx="55875">
                  <c:v>0</c:v>
                </c:pt>
                <c:pt idx="55876">
                  <c:v>0</c:v>
                </c:pt>
                <c:pt idx="55877">
                  <c:v>0</c:v>
                </c:pt>
                <c:pt idx="55878">
                  <c:v>0</c:v>
                </c:pt>
                <c:pt idx="55879">
                  <c:v>0</c:v>
                </c:pt>
                <c:pt idx="55880">
                  <c:v>0</c:v>
                </c:pt>
                <c:pt idx="55881">
                  <c:v>0</c:v>
                </c:pt>
                <c:pt idx="55882">
                  <c:v>0</c:v>
                </c:pt>
                <c:pt idx="55883">
                  <c:v>0</c:v>
                </c:pt>
                <c:pt idx="55884">
                  <c:v>0</c:v>
                </c:pt>
                <c:pt idx="55885">
                  <c:v>0</c:v>
                </c:pt>
                <c:pt idx="55886">
                  <c:v>0</c:v>
                </c:pt>
                <c:pt idx="55887">
                  <c:v>0</c:v>
                </c:pt>
                <c:pt idx="55888">
                  <c:v>0</c:v>
                </c:pt>
                <c:pt idx="55889">
                  <c:v>0</c:v>
                </c:pt>
                <c:pt idx="55890">
                  <c:v>0</c:v>
                </c:pt>
                <c:pt idx="55891">
                  <c:v>0</c:v>
                </c:pt>
                <c:pt idx="55892">
                  <c:v>0</c:v>
                </c:pt>
                <c:pt idx="55893">
                  <c:v>0</c:v>
                </c:pt>
                <c:pt idx="55894">
                  <c:v>0</c:v>
                </c:pt>
                <c:pt idx="55895">
                  <c:v>0</c:v>
                </c:pt>
                <c:pt idx="55896">
                  <c:v>0</c:v>
                </c:pt>
                <c:pt idx="55897">
                  <c:v>0</c:v>
                </c:pt>
                <c:pt idx="55898">
                  <c:v>0</c:v>
                </c:pt>
                <c:pt idx="55899">
                  <c:v>0</c:v>
                </c:pt>
                <c:pt idx="55900">
                  <c:v>0</c:v>
                </c:pt>
                <c:pt idx="55901">
                  <c:v>0</c:v>
                </c:pt>
                <c:pt idx="55902">
                  <c:v>0</c:v>
                </c:pt>
                <c:pt idx="55903">
                  <c:v>0</c:v>
                </c:pt>
                <c:pt idx="55904">
                  <c:v>0</c:v>
                </c:pt>
                <c:pt idx="55905">
                  <c:v>0</c:v>
                </c:pt>
                <c:pt idx="55906">
                  <c:v>0</c:v>
                </c:pt>
                <c:pt idx="55907">
                  <c:v>0</c:v>
                </c:pt>
                <c:pt idx="55908">
                  <c:v>0</c:v>
                </c:pt>
                <c:pt idx="55909">
                  <c:v>0</c:v>
                </c:pt>
                <c:pt idx="55910">
                  <c:v>0</c:v>
                </c:pt>
                <c:pt idx="55911">
                  <c:v>0</c:v>
                </c:pt>
                <c:pt idx="55912">
                  <c:v>0</c:v>
                </c:pt>
                <c:pt idx="55913">
                  <c:v>0</c:v>
                </c:pt>
                <c:pt idx="55914">
                  <c:v>0</c:v>
                </c:pt>
                <c:pt idx="55915">
                  <c:v>0</c:v>
                </c:pt>
                <c:pt idx="55916">
                  <c:v>0</c:v>
                </c:pt>
                <c:pt idx="55917">
                  <c:v>0</c:v>
                </c:pt>
                <c:pt idx="55918">
                  <c:v>0</c:v>
                </c:pt>
                <c:pt idx="55919">
                  <c:v>0</c:v>
                </c:pt>
                <c:pt idx="55920">
                  <c:v>0</c:v>
                </c:pt>
                <c:pt idx="55921">
                  <c:v>0</c:v>
                </c:pt>
                <c:pt idx="55922">
                  <c:v>0</c:v>
                </c:pt>
                <c:pt idx="55923">
                  <c:v>0</c:v>
                </c:pt>
                <c:pt idx="55924">
                  <c:v>0</c:v>
                </c:pt>
                <c:pt idx="55925">
                  <c:v>0</c:v>
                </c:pt>
                <c:pt idx="55926">
                  <c:v>0</c:v>
                </c:pt>
                <c:pt idx="55927">
                  <c:v>0</c:v>
                </c:pt>
                <c:pt idx="55928">
                  <c:v>0</c:v>
                </c:pt>
                <c:pt idx="55929">
                  <c:v>0</c:v>
                </c:pt>
                <c:pt idx="55930">
                  <c:v>0</c:v>
                </c:pt>
                <c:pt idx="55931">
                  <c:v>0</c:v>
                </c:pt>
                <c:pt idx="55932">
                  <c:v>0</c:v>
                </c:pt>
                <c:pt idx="55933">
                  <c:v>0</c:v>
                </c:pt>
                <c:pt idx="55934">
                  <c:v>0</c:v>
                </c:pt>
                <c:pt idx="55935">
                  <c:v>0</c:v>
                </c:pt>
                <c:pt idx="55936">
                  <c:v>0</c:v>
                </c:pt>
                <c:pt idx="55937">
                  <c:v>0</c:v>
                </c:pt>
                <c:pt idx="55938">
                  <c:v>0</c:v>
                </c:pt>
                <c:pt idx="55939">
                  <c:v>0</c:v>
                </c:pt>
                <c:pt idx="55940">
                  <c:v>0</c:v>
                </c:pt>
                <c:pt idx="55941">
                  <c:v>0</c:v>
                </c:pt>
                <c:pt idx="55942">
                  <c:v>0</c:v>
                </c:pt>
                <c:pt idx="55943">
                  <c:v>0</c:v>
                </c:pt>
                <c:pt idx="55944">
                  <c:v>0</c:v>
                </c:pt>
                <c:pt idx="55945">
                  <c:v>0</c:v>
                </c:pt>
                <c:pt idx="55946">
                  <c:v>0</c:v>
                </c:pt>
                <c:pt idx="55947">
                  <c:v>0</c:v>
                </c:pt>
                <c:pt idx="55948">
                  <c:v>0</c:v>
                </c:pt>
                <c:pt idx="55949">
                  <c:v>0</c:v>
                </c:pt>
                <c:pt idx="55950">
                  <c:v>0</c:v>
                </c:pt>
                <c:pt idx="55951">
                  <c:v>0</c:v>
                </c:pt>
                <c:pt idx="55952">
                  <c:v>0</c:v>
                </c:pt>
                <c:pt idx="55953">
                  <c:v>0</c:v>
                </c:pt>
                <c:pt idx="55954">
                  <c:v>0</c:v>
                </c:pt>
                <c:pt idx="55955">
                  <c:v>0</c:v>
                </c:pt>
                <c:pt idx="55956">
                  <c:v>0</c:v>
                </c:pt>
                <c:pt idx="55957">
                  <c:v>0</c:v>
                </c:pt>
                <c:pt idx="55958">
                  <c:v>0</c:v>
                </c:pt>
                <c:pt idx="55959">
                  <c:v>0</c:v>
                </c:pt>
                <c:pt idx="55960">
                  <c:v>0</c:v>
                </c:pt>
                <c:pt idx="55961">
                  <c:v>0</c:v>
                </c:pt>
                <c:pt idx="55962">
                  <c:v>0</c:v>
                </c:pt>
                <c:pt idx="55963">
                  <c:v>0</c:v>
                </c:pt>
                <c:pt idx="55964">
                  <c:v>0</c:v>
                </c:pt>
                <c:pt idx="55965">
                  <c:v>0</c:v>
                </c:pt>
                <c:pt idx="55966">
                  <c:v>0</c:v>
                </c:pt>
                <c:pt idx="55967">
                  <c:v>0</c:v>
                </c:pt>
                <c:pt idx="55968">
                  <c:v>0</c:v>
                </c:pt>
                <c:pt idx="55969">
                  <c:v>0</c:v>
                </c:pt>
                <c:pt idx="55970">
                  <c:v>0</c:v>
                </c:pt>
                <c:pt idx="55971">
                  <c:v>0</c:v>
                </c:pt>
                <c:pt idx="55972">
                  <c:v>0</c:v>
                </c:pt>
                <c:pt idx="55973">
                  <c:v>0</c:v>
                </c:pt>
                <c:pt idx="55974">
                  <c:v>0</c:v>
                </c:pt>
                <c:pt idx="55975">
                  <c:v>0</c:v>
                </c:pt>
                <c:pt idx="55976">
                  <c:v>0</c:v>
                </c:pt>
                <c:pt idx="55977">
                  <c:v>0</c:v>
                </c:pt>
                <c:pt idx="55978">
                  <c:v>0</c:v>
                </c:pt>
                <c:pt idx="55979">
                  <c:v>0</c:v>
                </c:pt>
                <c:pt idx="55980">
                  <c:v>0</c:v>
                </c:pt>
                <c:pt idx="55981">
                  <c:v>0</c:v>
                </c:pt>
                <c:pt idx="55982">
                  <c:v>0</c:v>
                </c:pt>
                <c:pt idx="55983">
                  <c:v>0</c:v>
                </c:pt>
                <c:pt idx="55984">
                  <c:v>0</c:v>
                </c:pt>
                <c:pt idx="55985">
                  <c:v>0</c:v>
                </c:pt>
                <c:pt idx="55986">
                  <c:v>0</c:v>
                </c:pt>
                <c:pt idx="55987">
                  <c:v>0</c:v>
                </c:pt>
                <c:pt idx="55988">
                  <c:v>0</c:v>
                </c:pt>
                <c:pt idx="55989">
                  <c:v>0</c:v>
                </c:pt>
                <c:pt idx="55990">
                  <c:v>0</c:v>
                </c:pt>
                <c:pt idx="55991">
                  <c:v>0</c:v>
                </c:pt>
                <c:pt idx="55992">
                  <c:v>0</c:v>
                </c:pt>
                <c:pt idx="55993">
                  <c:v>0</c:v>
                </c:pt>
                <c:pt idx="55994">
                  <c:v>0</c:v>
                </c:pt>
                <c:pt idx="55995">
                  <c:v>0</c:v>
                </c:pt>
                <c:pt idx="55996">
                  <c:v>0</c:v>
                </c:pt>
                <c:pt idx="55997">
                  <c:v>0</c:v>
                </c:pt>
                <c:pt idx="55998">
                  <c:v>0</c:v>
                </c:pt>
                <c:pt idx="55999">
                  <c:v>0</c:v>
                </c:pt>
                <c:pt idx="56000">
                  <c:v>0</c:v>
                </c:pt>
                <c:pt idx="56001">
                  <c:v>0</c:v>
                </c:pt>
                <c:pt idx="56002">
                  <c:v>0</c:v>
                </c:pt>
                <c:pt idx="56003">
                  <c:v>0</c:v>
                </c:pt>
                <c:pt idx="56004">
                  <c:v>0</c:v>
                </c:pt>
                <c:pt idx="56005">
                  <c:v>0</c:v>
                </c:pt>
                <c:pt idx="56006">
                  <c:v>0</c:v>
                </c:pt>
                <c:pt idx="56007">
                  <c:v>0</c:v>
                </c:pt>
                <c:pt idx="56008">
                  <c:v>0</c:v>
                </c:pt>
                <c:pt idx="56009">
                  <c:v>0</c:v>
                </c:pt>
                <c:pt idx="56010">
                  <c:v>0</c:v>
                </c:pt>
                <c:pt idx="56011">
                  <c:v>0</c:v>
                </c:pt>
                <c:pt idx="56012">
                  <c:v>0</c:v>
                </c:pt>
                <c:pt idx="56013">
                  <c:v>0</c:v>
                </c:pt>
                <c:pt idx="56014">
                  <c:v>0</c:v>
                </c:pt>
                <c:pt idx="56015">
                  <c:v>0</c:v>
                </c:pt>
                <c:pt idx="56016">
                  <c:v>0</c:v>
                </c:pt>
                <c:pt idx="56017">
                  <c:v>0</c:v>
                </c:pt>
                <c:pt idx="56018">
                  <c:v>0</c:v>
                </c:pt>
                <c:pt idx="56019">
                  <c:v>0</c:v>
                </c:pt>
                <c:pt idx="56020">
                  <c:v>0</c:v>
                </c:pt>
                <c:pt idx="56021">
                  <c:v>0</c:v>
                </c:pt>
                <c:pt idx="56022">
                  <c:v>0</c:v>
                </c:pt>
                <c:pt idx="56023">
                  <c:v>0</c:v>
                </c:pt>
                <c:pt idx="56024">
                  <c:v>0</c:v>
                </c:pt>
                <c:pt idx="56025">
                  <c:v>0</c:v>
                </c:pt>
                <c:pt idx="56026">
                  <c:v>0</c:v>
                </c:pt>
                <c:pt idx="56027">
                  <c:v>0</c:v>
                </c:pt>
                <c:pt idx="56028">
                  <c:v>0</c:v>
                </c:pt>
                <c:pt idx="56029">
                  <c:v>0</c:v>
                </c:pt>
                <c:pt idx="56030">
                  <c:v>0</c:v>
                </c:pt>
                <c:pt idx="56031">
                  <c:v>0</c:v>
                </c:pt>
                <c:pt idx="56032">
                  <c:v>0</c:v>
                </c:pt>
                <c:pt idx="56033">
                  <c:v>0</c:v>
                </c:pt>
                <c:pt idx="56034">
                  <c:v>0</c:v>
                </c:pt>
                <c:pt idx="56035">
                  <c:v>0</c:v>
                </c:pt>
                <c:pt idx="56036">
                  <c:v>0</c:v>
                </c:pt>
                <c:pt idx="56037">
                  <c:v>0</c:v>
                </c:pt>
                <c:pt idx="56038">
                  <c:v>0</c:v>
                </c:pt>
                <c:pt idx="56039">
                  <c:v>0</c:v>
                </c:pt>
                <c:pt idx="56040">
                  <c:v>0</c:v>
                </c:pt>
                <c:pt idx="56041">
                  <c:v>0</c:v>
                </c:pt>
                <c:pt idx="56042">
                  <c:v>0</c:v>
                </c:pt>
                <c:pt idx="56043">
                  <c:v>0</c:v>
                </c:pt>
                <c:pt idx="56044">
                  <c:v>0</c:v>
                </c:pt>
                <c:pt idx="56045">
                  <c:v>0</c:v>
                </c:pt>
                <c:pt idx="56046">
                  <c:v>0</c:v>
                </c:pt>
                <c:pt idx="56047">
                  <c:v>0</c:v>
                </c:pt>
                <c:pt idx="56048">
                  <c:v>0</c:v>
                </c:pt>
                <c:pt idx="56049">
                  <c:v>0</c:v>
                </c:pt>
                <c:pt idx="56050">
                  <c:v>0</c:v>
                </c:pt>
                <c:pt idx="56051">
                  <c:v>0</c:v>
                </c:pt>
                <c:pt idx="56052">
                  <c:v>0</c:v>
                </c:pt>
                <c:pt idx="56053">
                  <c:v>0</c:v>
                </c:pt>
                <c:pt idx="56054">
                  <c:v>0</c:v>
                </c:pt>
                <c:pt idx="56055">
                  <c:v>0</c:v>
                </c:pt>
                <c:pt idx="56056">
                  <c:v>0</c:v>
                </c:pt>
                <c:pt idx="56057">
                  <c:v>0</c:v>
                </c:pt>
                <c:pt idx="56058">
                  <c:v>0</c:v>
                </c:pt>
                <c:pt idx="56059">
                  <c:v>0</c:v>
                </c:pt>
                <c:pt idx="56060">
                  <c:v>0</c:v>
                </c:pt>
                <c:pt idx="56061">
                  <c:v>0</c:v>
                </c:pt>
                <c:pt idx="56062">
                  <c:v>0</c:v>
                </c:pt>
                <c:pt idx="56063">
                  <c:v>0</c:v>
                </c:pt>
                <c:pt idx="56064">
                  <c:v>0</c:v>
                </c:pt>
                <c:pt idx="56065">
                  <c:v>0</c:v>
                </c:pt>
                <c:pt idx="56066">
                  <c:v>0</c:v>
                </c:pt>
                <c:pt idx="56067">
                  <c:v>0</c:v>
                </c:pt>
                <c:pt idx="56068">
                  <c:v>0</c:v>
                </c:pt>
                <c:pt idx="56069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6FD-4758-903B-B68F964CC64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aussian Copula</c:v>
                </c:pt>
              </c:strCache>
            </c:strRef>
          </c:tx>
          <c:spPr>
            <a:ln w="28575" cap="rnd">
              <a:solidFill>
                <a:srgbClr val="EF553A"/>
              </a:solidFill>
              <a:round/>
            </a:ln>
            <a:effectLst/>
          </c:spPr>
          <c:marker>
            <c:symbol val="none"/>
          </c:marker>
          <c:cat>
            <c:numRef>
              <c:f>Sheet1!$A$2:$A$56071</c:f>
              <c:numCache>
                <c:formatCode>0%</c:formatCode>
                <c:ptCount val="56070"/>
                <c:pt idx="0">
                  <c:v>0</c:v>
                </c:pt>
                <c:pt idx="1">
                  <c:v>1.78348492955234E-5</c:v>
                </c:pt>
                <c:pt idx="2">
                  <c:v>3.5669698591046902E-5</c:v>
                </c:pt>
                <c:pt idx="3">
                  <c:v>5.3504547886570302E-5</c:v>
                </c:pt>
                <c:pt idx="4">
                  <c:v>7.1339397182093803E-5</c:v>
                </c:pt>
                <c:pt idx="5">
                  <c:v>8.9174246477617203E-5</c:v>
                </c:pt>
                <c:pt idx="6">
                  <c:v>1.0700909577313999E-4</c:v>
                </c:pt>
                <c:pt idx="7">
                  <c:v>1.24843945068664E-4</c:v>
                </c:pt>
                <c:pt idx="8">
                  <c:v>1.4267879436418701E-4</c:v>
                </c:pt>
                <c:pt idx="9">
                  <c:v>1.6051364365971099E-4</c:v>
                </c:pt>
                <c:pt idx="10">
                  <c:v>1.78348492955234E-4</c:v>
                </c:pt>
                <c:pt idx="11">
                  <c:v>1.9618334225075701E-4</c:v>
                </c:pt>
                <c:pt idx="12">
                  <c:v>2.1401819154628099E-4</c:v>
                </c:pt>
                <c:pt idx="13">
                  <c:v>2.31853040841804E-4</c:v>
                </c:pt>
                <c:pt idx="14">
                  <c:v>2.4968789013732801E-4</c:v>
                </c:pt>
                <c:pt idx="15">
                  <c:v>2.6752273943285101E-4</c:v>
                </c:pt>
                <c:pt idx="16">
                  <c:v>2.85357588728375E-4</c:v>
                </c:pt>
                <c:pt idx="17">
                  <c:v>3.03192438023898E-4</c:v>
                </c:pt>
                <c:pt idx="18">
                  <c:v>3.2102728731942199E-4</c:v>
                </c:pt>
                <c:pt idx="19">
                  <c:v>3.3886213661494499E-4</c:v>
                </c:pt>
                <c:pt idx="20">
                  <c:v>3.5669698591046898E-4</c:v>
                </c:pt>
                <c:pt idx="21">
                  <c:v>3.7453183520599198E-4</c:v>
                </c:pt>
                <c:pt idx="22">
                  <c:v>3.9236668450151499E-4</c:v>
                </c:pt>
                <c:pt idx="23">
                  <c:v>4.1020153379703903E-4</c:v>
                </c:pt>
                <c:pt idx="24">
                  <c:v>4.2803638309256198E-4</c:v>
                </c:pt>
                <c:pt idx="25">
                  <c:v>4.4587123238808602E-4</c:v>
                </c:pt>
                <c:pt idx="26">
                  <c:v>4.6370608168360902E-4</c:v>
                </c:pt>
                <c:pt idx="27">
                  <c:v>4.8154093097913301E-4</c:v>
                </c:pt>
                <c:pt idx="28">
                  <c:v>4.9937578027465601E-4</c:v>
                </c:pt>
                <c:pt idx="29">
                  <c:v>5.1721062957018E-4</c:v>
                </c:pt>
                <c:pt idx="30">
                  <c:v>5.35045478865703E-4</c:v>
                </c:pt>
                <c:pt idx="31">
                  <c:v>5.5288032816122698E-4</c:v>
                </c:pt>
                <c:pt idx="32">
                  <c:v>5.7071517745674999E-4</c:v>
                </c:pt>
                <c:pt idx="33">
                  <c:v>5.8855002675227397E-4</c:v>
                </c:pt>
                <c:pt idx="34">
                  <c:v>6.0638487604779698E-4</c:v>
                </c:pt>
                <c:pt idx="35">
                  <c:v>6.2421972534331999E-4</c:v>
                </c:pt>
                <c:pt idx="36">
                  <c:v>6.4205457463884397E-4</c:v>
                </c:pt>
                <c:pt idx="37">
                  <c:v>6.5988942393436698E-4</c:v>
                </c:pt>
                <c:pt idx="38">
                  <c:v>6.7772427322989096E-4</c:v>
                </c:pt>
                <c:pt idx="39">
                  <c:v>6.9555912252541397E-4</c:v>
                </c:pt>
                <c:pt idx="40">
                  <c:v>7.1339397182093795E-4</c:v>
                </c:pt>
                <c:pt idx="41">
                  <c:v>7.3122882111646096E-4</c:v>
                </c:pt>
                <c:pt idx="42">
                  <c:v>7.4906367041198505E-4</c:v>
                </c:pt>
                <c:pt idx="43">
                  <c:v>7.6689851970750795E-4</c:v>
                </c:pt>
                <c:pt idx="44">
                  <c:v>7.8473336900303095E-4</c:v>
                </c:pt>
                <c:pt idx="45">
                  <c:v>8.0256821829855505E-4</c:v>
                </c:pt>
                <c:pt idx="46">
                  <c:v>8.2040306759407805E-4</c:v>
                </c:pt>
                <c:pt idx="47">
                  <c:v>8.3823791688960203E-4</c:v>
                </c:pt>
                <c:pt idx="48">
                  <c:v>8.5607276618512504E-4</c:v>
                </c:pt>
                <c:pt idx="49">
                  <c:v>8.7390761548064902E-4</c:v>
                </c:pt>
                <c:pt idx="50">
                  <c:v>8.9174246477617203E-4</c:v>
                </c:pt>
                <c:pt idx="51">
                  <c:v>9.0957731407169601E-4</c:v>
                </c:pt>
                <c:pt idx="52">
                  <c:v>9.2741216336721902E-4</c:v>
                </c:pt>
                <c:pt idx="53">
                  <c:v>9.45247012662743E-4</c:v>
                </c:pt>
                <c:pt idx="54">
                  <c:v>9.6308186195826601E-4</c:v>
                </c:pt>
                <c:pt idx="55">
                  <c:v>9.8091671125378902E-4</c:v>
                </c:pt>
                <c:pt idx="56">
                  <c:v>9.9875156054931289E-4</c:v>
                </c:pt>
                <c:pt idx="57">
                  <c:v>1.01658640984483E-3</c:v>
                </c:pt>
                <c:pt idx="58">
                  <c:v>1.03442125914036E-3</c:v>
                </c:pt>
                <c:pt idx="59">
                  <c:v>1.05225610843588E-3</c:v>
                </c:pt>
                <c:pt idx="60">
                  <c:v>1.0700909577313999E-3</c:v>
                </c:pt>
                <c:pt idx="61">
                  <c:v>1.0879258070269301E-3</c:v>
                </c:pt>
                <c:pt idx="62">
                  <c:v>1.1057606563224501E-3</c:v>
                </c:pt>
                <c:pt idx="63">
                  <c:v>1.12359550561797E-3</c:v>
                </c:pt>
                <c:pt idx="64">
                  <c:v>1.1414303549135E-3</c:v>
                </c:pt>
                <c:pt idx="65">
                  <c:v>1.15926520420902E-3</c:v>
                </c:pt>
                <c:pt idx="66">
                  <c:v>1.1771000535045399E-3</c:v>
                </c:pt>
                <c:pt idx="67">
                  <c:v>1.1949349028000701E-3</c:v>
                </c:pt>
                <c:pt idx="68">
                  <c:v>1.2127697520955901E-3</c:v>
                </c:pt>
                <c:pt idx="69">
                  <c:v>1.23060460139111E-3</c:v>
                </c:pt>
                <c:pt idx="70">
                  <c:v>1.24843945068664E-3</c:v>
                </c:pt>
                <c:pt idx="71">
                  <c:v>1.2662742999821599E-3</c:v>
                </c:pt>
                <c:pt idx="72">
                  <c:v>1.2841091492776799E-3</c:v>
                </c:pt>
                <c:pt idx="73">
                  <c:v>1.3019439985732101E-3</c:v>
                </c:pt>
                <c:pt idx="74">
                  <c:v>1.3197788478687301E-3</c:v>
                </c:pt>
                <c:pt idx="75">
                  <c:v>1.33761369716425E-3</c:v>
                </c:pt>
                <c:pt idx="76">
                  <c:v>1.35544854645978E-3</c:v>
                </c:pt>
                <c:pt idx="77">
                  <c:v>1.3732833957552999E-3</c:v>
                </c:pt>
                <c:pt idx="78">
                  <c:v>1.3911182450508199E-3</c:v>
                </c:pt>
                <c:pt idx="79">
                  <c:v>1.4089530943463501E-3</c:v>
                </c:pt>
                <c:pt idx="80">
                  <c:v>1.42678794364187E-3</c:v>
                </c:pt>
                <c:pt idx="81">
                  <c:v>1.44462279293739E-3</c:v>
                </c:pt>
                <c:pt idx="82">
                  <c:v>1.46245764223292E-3</c:v>
                </c:pt>
                <c:pt idx="83">
                  <c:v>1.4802924915284399E-3</c:v>
                </c:pt>
                <c:pt idx="84">
                  <c:v>1.4981273408239701E-3</c:v>
                </c:pt>
                <c:pt idx="85">
                  <c:v>1.5159621901194901E-3</c:v>
                </c:pt>
                <c:pt idx="86">
                  <c:v>1.53379703941501E-3</c:v>
                </c:pt>
                <c:pt idx="87">
                  <c:v>1.55163188871054E-3</c:v>
                </c:pt>
                <c:pt idx="88">
                  <c:v>1.56946673800606E-3</c:v>
                </c:pt>
                <c:pt idx="89">
                  <c:v>1.5873015873015799E-3</c:v>
                </c:pt>
                <c:pt idx="90">
                  <c:v>1.6051364365971101E-3</c:v>
                </c:pt>
                <c:pt idx="91">
                  <c:v>1.6229712858926301E-3</c:v>
                </c:pt>
                <c:pt idx="92">
                  <c:v>1.64080613518815E-3</c:v>
                </c:pt>
                <c:pt idx="93">
                  <c:v>1.65864098448368E-3</c:v>
                </c:pt>
                <c:pt idx="94">
                  <c:v>1.6764758337791999E-3</c:v>
                </c:pt>
                <c:pt idx="95">
                  <c:v>1.6943106830747199E-3</c:v>
                </c:pt>
                <c:pt idx="96">
                  <c:v>1.7121455323702501E-3</c:v>
                </c:pt>
                <c:pt idx="97">
                  <c:v>1.7299803816657701E-3</c:v>
                </c:pt>
                <c:pt idx="98">
                  <c:v>1.74781523096129E-3</c:v>
                </c:pt>
                <c:pt idx="99">
                  <c:v>1.76565008025682E-3</c:v>
                </c:pt>
                <c:pt idx="100">
                  <c:v>1.7834849295523399E-3</c:v>
                </c:pt>
                <c:pt idx="101">
                  <c:v>1.8013197788478599E-3</c:v>
                </c:pt>
                <c:pt idx="102">
                  <c:v>1.8191546281433901E-3</c:v>
                </c:pt>
                <c:pt idx="103">
                  <c:v>1.83698947743891E-3</c:v>
                </c:pt>
                <c:pt idx="104">
                  <c:v>1.85482432673443E-3</c:v>
                </c:pt>
                <c:pt idx="105">
                  <c:v>1.87265917602996E-3</c:v>
                </c:pt>
                <c:pt idx="106">
                  <c:v>1.8904940253254799E-3</c:v>
                </c:pt>
                <c:pt idx="107">
                  <c:v>1.9083288746209999E-3</c:v>
                </c:pt>
                <c:pt idx="108">
                  <c:v>1.9261637239165301E-3</c:v>
                </c:pt>
                <c:pt idx="109">
                  <c:v>1.94399857321205E-3</c:v>
                </c:pt>
                <c:pt idx="110">
                  <c:v>1.9618334225075698E-3</c:v>
                </c:pt>
                <c:pt idx="111">
                  <c:v>1.9796682718031E-3</c:v>
                </c:pt>
                <c:pt idx="112">
                  <c:v>1.9975031210986201E-3</c:v>
                </c:pt>
                <c:pt idx="113">
                  <c:v>2.0153379703941499E-3</c:v>
                </c:pt>
                <c:pt idx="114">
                  <c:v>2.0331728196896701E-3</c:v>
                </c:pt>
                <c:pt idx="115">
                  <c:v>2.0510076689851898E-3</c:v>
                </c:pt>
                <c:pt idx="116">
                  <c:v>2.06884251828072E-3</c:v>
                </c:pt>
                <c:pt idx="117">
                  <c:v>2.0866773675762402E-3</c:v>
                </c:pt>
                <c:pt idx="118">
                  <c:v>2.1045122168717599E-3</c:v>
                </c:pt>
                <c:pt idx="119">
                  <c:v>2.1223470661672901E-3</c:v>
                </c:pt>
                <c:pt idx="120">
                  <c:v>2.1401819154628098E-3</c:v>
                </c:pt>
                <c:pt idx="121">
                  <c:v>2.15801676475833E-3</c:v>
                </c:pt>
                <c:pt idx="122">
                  <c:v>2.1758516140538602E-3</c:v>
                </c:pt>
                <c:pt idx="123">
                  <c:v>2.1936864633493799E-3</c:v>
                </c:pt>
                <c:pt idx="124">
                  <c:v>2.2115213126449001E-3</c:v>
                </c:pt>
                <c:pt idx="125">
                  <c:v>2.2293561619404299E-3</c:v>
                </c:pt>
                <c:pt idx="126">
                  <c:v>2.24719101123595E-3</c:v>
                </c:pt>
                <c:pt idx="127">
                  <c:v>2.2650258605314698E-3</c:v>
                </c:pt>
                <c:pt idx="128">
                  <c:v>2.282860709827E-3</c:v>
                </c:pt>
                <c:pt idx="129">
                  <c:v>2.3006955591225202E-3</c:v>
                </c:pt>
                <c:pt idx="130">
                  <c:v>2.3185304084180399E-3</c:v>
                </c:pt>
                <c:pt idx="131">
                  <c:v>2.3363652577135701E-3</c:v>
                </c:pt>
                <c:pt idx="132">
                  <c:v>2.3542001070090898E-3</c:v>
                </c:pt>
                <c:pt idx="133">
                  <c:v>2.37203495630461E-3</c:v>
                </c:pt>
                <c:pt idx="134">
                  <c:v>2.3898698056001402E-3</c:v>
                </c:pt>
                <c:pt idx="135">
                  <c:v>2.4077046548956599E-3</c:v>
                </c:pt>
                <c:pt idx="136">
                  <c:v>2.4255395041911801E-3</c:v>
                </c:pt>
                <c:pt idx="137">
                  <c:v>2.4433743534867098E-3</c:v>
                </c:pt>
                <c:pt idx="138">
                  <c:v>2.46120920278223E-3</c:v>
                </c:pt>
                <c:pt idx="139">
                  <c:v>2.4790440520777498E-3</c:v>
                </c:pt>
                <c:pt idx="140">
                  <c:v>2.49687890137328E-3</c:v>
                </c:pt>
                <c:pt idx="141">
                  <c:v>2.5147137506688001E-3</c:v>
                </c:pt>
                <c:pt idx="142">
                  <c:v>2.5325485999643299E-3</c:v>
                </c:pt>
                <c:pt idx="143">
                  <c:v>2.5503834492598501E-3</c:v>
                </c:pt>
                <c:pt idx="144">
                  <c:v>2.5682182985553698E-3</c:v>
                </c:pt>
                <c:pt idx="145">
                  <c:v>2.5860531478509E-3</c:v>
                </c:pt>
                <c:pt idx="146">
                  <c:v>2.6038879971464202E-3</c:v>
                </c:pt>
                <c:pt idx="147">
                  <c:v>2.6217228464419399E-3</c:v>
                </c:pt>
                <c:pt idx="148">
                  <c:v>2.6395576957374701E-3</c:v>
                </c:pt>
                <c:pt idx="149">
                  <c:v>2.6573925450329898E-3</c:v>
                </c:pt>
                <c:pt idx="150">
                  <c:v>2.67522739432851E-3</c:v>
                </c:pt>
                <c:pt idx="151">
                  <c:v>2.6930622436240402E-3</c:v>
                </c:pt>
                <c:pt idx="152">
                  <c:v>2.7108970929195599E-3</c:v>
                </c:pt>
                <c:pt idx="153">
                  <c:v>2.7287319422150801E-3</c:v>
                </c:pt>
                <c:pt idx="154">
                  <c:v>2.7465667915106099E-3</c:v>
                </c:pt>
                <c:pt idx="155">
                  <c:v>2.76440164080613E-3</c:v>
                </c:pt>
                <c:pt idx="156">
                  <c:v>2.7822364901016498E-3</c:v>
                </c:pt>
                <c:pt idx="157">
                  <c:v>2.80007133939718E-3</c:v>
                </c:pt>
                <c:pt idx="158">
                  <c:v>2.8179061886927001E-3</c:v>
                </c:pt>
                <c:pt idx="159">
                  <c:v>2.8357410379882199E-3</c:v>
                </c:pt>
                <c:pt idx="160">
                  <c:v>2.8535758872837501E-3</c:v>
                </c:pt>
                <c:pt idx="161">
                  <c:v>2.8714107365792698E-3</c:v>
                </c:pt>
                <c:pt idx="162">
                  <c:v>2.88924558587479E-3</c:v>
                </c:pt>
                <c:pt idx="163">
                  <c:v>2.9070804351703202E-3</c:v>
                </c:pt>
                <c:pt idx="164">
                  <c:v>2.9249152844658399E-3</c:v>
                </c:pt>
                <c:pt idx="165">
                  <c:v>2.9427501337613601E-3</c:v>
                </c:pt>
                <c:pt idx="166">
                  <c:v>2.9605849830568898E-3</c:v>
                </c:pt>
                <c:pt idx="167">
                  <c:v>2.97841983235241E-3</c:v>
                </c:pt>
                <c:pt idx="168">
                  <c:v>2.9962546816479402E-3</c:v>
                </c:pt>
                <c:pt idx="169">
                  <c:v>3.0140895309434599E-3</c:v>
                </c:pt>
                <c:pt idx="170">
                  <c:v>3.0319243802389801E-3</c:v>
                </c:pt>
                <c:pt idx="171">
                  <c:v>3.0497592295345099E-3</c:v>
                </c:pt>
                <c:pt idx="172">
                  <c:v>3.0675940788300301E-3</c:v>
                </c:pt>
                <c:pt idx="173">
                  <c:v>3.0854289281255498E-3</c:v>
                </c:pt>
                <c:pt idx="174">
                  <c:v>3.10326377742108E-3</c:v>
                </c:pt>
                <c:pt idx="175">
                  <c:v>3.1210986267166002E-3</c:v>
                </c:pt>
                <c:pt idx="176">
                  <c:v>3.1389334760121199E-3</c:v>
                </c:pt>
                <c:pt idx="177">
                  <c:v>3.1567683253076501E-3</c:v>
                </c:pt>
                <c:pt idx="178">
                  <c:v>3.1746031746031698E-3</c:v>
                </c:pt>
                <c:pt idx="179">
                  <c:v>3.19243802389869E-3</c:v>
                </c:pt>
                <c:pt idx="180">
                  <c:v>3.2102728731942202E-3</c:v>
                </c:pt>
                <c:pt idx="181">
                  <c:v>3.2281077224897399E-3</c:v>
                </c:pt>
                <c:pt idx="182">
                  <c:v>3.2459425717852601E-3</c:v>
                </c:pt>
                <c:pt idx="183">
                  <c:v>3.2637774210807899E-3</c:v>
                </c:pt>
                <c:pt idx="184">
                  <c:v>3.28161227037631E-3</c:v>
                </c:pt>
                <c:pt idx="185">
                  <c:v>3.2994471196718298E-3</c:v>
                </c:pt>
                <c:pt idx="186">
                  <c:v>3.31728196896736E-3</c:v>
                </c:pt>
                <c:pt idx="187">
                  <c:v>3.3351168182628801E-3</c:v>
                </c:pt>
                <c:pt idx="188">
                  <c:v>3.3529516675583999E-3</c:v>
                </c:pt>
                <c:pt idx="189">
                  <c:v>3.3707865168539301E-3</c:v>
                </c:pt>
                <c:pt idx="190">
                  <c:v>3.3886213661494498E-3</c:v>
                </c:pt>
                <c:pt idx="191">
                  <c:v>3.40645621544497E-3</c:v>
                </c:pt>
                <c:pt idx="192">
                  <c:v>3.4242910647405002E-3</c:v>
                </c:pt>
                <c:pt idx="193">
                  <c:v>3.4421259140360199E-3</c:v>
                </c:pt>
                <c:pt idx="194">
                  <c:v>3.4599607633315401E-3</c:v>
                </c:pt>
                <c:pt idx="195">
                  <c:v>3.4777956126270698E-3</c:v>
                </c:pt>
                <c:pt idx="196">
                  <c:v>3.49563046192259E-3</c:v>
                </c:pt>
                <c:pt idx="197">
                  <c:v>3.5134653112181202E-3</c:v>
                </c:pt>
                <c:pt idx="198">
                  <c:v>3.5313001605136399E-3</c:v>
                </c:pt>
                <c:pt idx="199">
                  <c:v>3.5491350098091601E-3</c:v>
                </c:pt>
                <c:pt idx="200">
                  <c:v>3.5669698591046899E-3</c:v>
                </c:pt>
                <c:pt idx="201">
                  <c:v>3.58480470840021E-3</c:v>
                </c:pt>
                <c:pt idx="202">
                  <c:v>3.6026395576957298E-3</c:v>
                </c:pt>
                <c:pt idx="203">
                  <c:v>3.62047440699126E-3</c:v>
                </c:pt>
                <c:pt idx="204">
                  <c:v>3.6383092562867802E-3</c:v>
                </c:pt>
                <c:pt idx="205">
                  <c:v>3.6561441055822999E-3</c:v>
                </c:pt>
                <c:pt idx="206">
                  <c:v>3.6739789548778301E-3</c:v>
                </c:pt>
                <c:pt idx="207">
                  <c:v>3.6918138041733498E-3</c:v>
                </c:pt>
                <c:pt idx="208">
                  <c:v>3.70964865346887E-3</c:v>
                </c:pt>
                <c:pt idx="209">
                  <c:v>3.7274835027644002E-3</c:v>
                </c:pt>
                <c:pt idx="210">
                  <c:v>3.7453183520599199E-3</c:v>
                </c:pt>
                <c:pt idx="211">
                  <c:v>3.7631532013554401E-3</c:v>
                </c:pt>
                <c:pt idx="212">
                  <c:v>3.7809880506509698E-3</c:v>
                </c:pt>
                <c:pt idx="213">
                  <c:v>3.79882289994649E-3</c:v>
                </c:pt>
                <c:pt idx="214">
                  <c:v>3.8166577492420098E-3</c:v>
                </c:pt>
                <c:pt idx="215">
                  <c:v>3.83449259853754E-3</c:v>
                </c:pt>
                <c:pt idx="216">
                  <c:v>3.8523274478330601E-3</c:v>
                </c:pt>
                <c:pt idx="217">
                  <c:v>3.8701622971285799E-3</c:v>
                </c:pt>
                <c:pt idx="218">
                  <c:v>3.8879971464241101E-3</c:v>
                </c:pt>
                <c:pt idx="219">
                  <c:v>3.9058319957196298E-3</c:v>
                </c:pt>
                <c:pt idx="220">
                  <c:v>3.92366684501515E-3</c:v>
                </c:pt>
                <c:pt idx="221">
                  <c:v>3.9415016943106802E-3</c:v>
                </c:pt>
                <c:pt idx="222">
                  <c:v>3.9593365436061999E-3</c:v>
                </c:pt>
                <c:pt idx="223">
                  <c:v>3.9771713929017301E-3</c:v>
                </c:pt>
                <c:pt idx="224">
                  <c:v>3.9950062421972498E-3</c:v>
                </c:pt>
                <c:pt idx="225">
                  <c:v>4.0128410914927696E-3</c:v>
                </c:pt>
                <c:pt idx="226">
                  <c:v>4.0306759407882998E-3</c:v>
                </c:pt>
                <c:pt idx="227">
                  <c:v>4.0485107900838204E-3</c:v>
                </c:pt>
                <c:pt idx="228">
                  <c:v>4.0663456393793401E-3</c:v>
                </c:pt>
                <c:pt idx="229">
                  <c:v>4.0841804886748703E-3</c:v>
                </c:pt>
                <c:pt idx="230">
                  <c:v>4.10201533797039E-3</c:v>
                </c:pt>
                <c:pt idx="231">
                  <c:v>4.1198501872659098E-3</c:v>
                </c:pt>
                <c:pt idx="232">
                  <c:v>4.13768503656144E-3</c:v>
                </c:pt>
                <c:pt idx="233">
                  <c:v>4.1555198858569597E-3</c:v>
                </c:pt>
                <c:pt idx="234">
                  <c:v>4.1733547351524803E-3</c:v>
                </c:pt>
                <c:pt idx="235">
                  <c:v>4.1911895844480096E-3</c:v>
                </c:pt>
                <c:pt idx="236">
                  <c:v>4.2090244337435303E-3</c:v>
                </c:pt>
                <c:pt idx="237">
                  <c:v>4.22685928303905E-3</c:v>
                </c:pt>
                <c:pt idx="238">
                  <c:v>4.2446941323345802E-3</c:v>
                </c:pt>
                <c:pt idx="239">
                  <c:v>4.2625289816300999E-3</c:v>
                </c:pt>
                <c:pt idx="240">
                  <c:v>4.2803638309256197E-3</c:v>
                </c:pt>
                <c:pt idx="241">
                  <c:v>4.2981986802211498E-3</c:v>
                </c:pt>
                <c:pt idx="242">
                  <c:v>4.3160335295166696E-3</c:v>
                </c:pt>
                <c:pt idx="243">
                  <c:v>4.3338683788121902E-3</c:v>
                </c:pt>
                <c:pt idx="244">
                  <c:v>4.3517032281077204E-3</c:v>
                </c:pt>
                <c:pt idx="245">
                  <c:v>4.3695380774032401E-3</c:v>
                </c:pt>
                <c:pt idx="246">
                  <c:v>4.3873729266987599E-3</c:v>
                </c:pt>
                <c:pt idx="247">
                  <c:v>4.4052077759942901E-3</c:v>
                </c:pt>
                <c:pt idx="248">
                  <c:v>4.4230426252898098E-3</c:v>
                </c:pt>
                <c:pt idx="249">
                  <c:v>4.44087747458534E-3</c:v>
                </c:pt>
                <c:pt idx="250">
                  <c:v>4.4587123238808597E-3</c:v>
                </c:pt>
                <c:pt idx="251">
                  <c:v>4.4765471731763803E-3</c:v>
                </c:pt>
                <c:pt idx="252">
                  <c:v>4.4943820224719096E-3</c:v>
                </c:pt>
                <c:pt idx="253">
                  <c:v>4.5122168717674303E-3</c:v>
                </c:pt>
                <c:pt idx="254">
                  <c:v>4.53005172106295E-3</c:v>
                </c:pt>
                <c:pt idx="255">
                  <c:v>4.5478865703584802E-3</c:v>
                </c:pt>
                <c:pt idx="256">
                  <c:v>4.5657214196539999E-3</c:v>
                </c:pt>
                <c:pt idx="257">
                  <c:v>4.5835562689495197E-3</c:v>
                </c:pt>
                <c:pt idx="258">
                  <c:v>4.6013911182450499E-3</c:v>
                </c:pt>
                <c:pt idx="259">
                  <c:v>4.6192259675405696E-3</c:v>
                </c:pt>
                <c:pt idx="260">
                  <c:v>4.6370608168360902E-3</c:v>
                </c:pt>
                <c:pt idx="261">
                  <c:v>4.6548956661316204E-3</c:v>
                </c:pt>
                <c:pt idx="262">
                  <c:v>4.6727305154271401E-3</c:v>
                </c:pt>
                <c:pt idx="263">
                  <c:v>4.6905653647226599E-3</c:v>
                </c:pt>
                <c:pt idx="264">
                  <c:v>4.7084002140181901E-3</c:v>
                </c:pt>
                <c:pt idx="265">
                  <c:v>4.7262350633137098E-3</c:v>
                </c:pt>
                <c:pt idx="266">
                  <c:v>4.7440699126092296E-3</c:v>
                </c:pt>
                <c:pt idx="267">
                  <c:v>4.7619047619047597E-3</c:v>
                </c:pt>
                <c:pt idx="268">
                  <c:v>4.7797396112002804E-3</c:v>
                </c:pt>
                <c:pt idx="269">
                  <c:v>4.7975744604958001E-3</c:v>
                </c:pt>
                <c:pt idx="270">
                  <c:v>4.8154093097913303E-3</c:v>
                </c:pt>
                <c:pt idx="271">
                  <c:v>4.83324415908685E-3</c:v>
                </c:pt>
                <c:pt idx="272">
                  <c:v>4.8510790083823698E-3</c:v>
                </c:pt>
                <c:pt idx="273">
                  <c:v>4.8689138576778999E-3</c:v>
                </c:pt>
                <c:pt idx="274">
                  <c:v>4.8867487069734197E-3</c:v>
                </c:pt>
                <c:pt idx="275">
                  <c:v>4.9045835562689499E-3</c:v>
                </c:pt>
                <c:pt idx="276">
                  <c:v>4.9224184055644696E-3</c:v>
                </c:pt>
                <c:pt idx="277">
                  <c:v>4.9402532548599902E-3</c:v>
                </c:pt>
                <c:pt idx="278">
                  <c:v>4.95808810415551E-3</c:v>
                </c:pt>
                <c:pt idx="279">
                  <c:v>4.9759229534510402E-3</c:v>
                </c:pt>
                <c:pt idx="280">
                  <c:v>4.9937578027465599E-3</c:v>
                </c:pt>
                <c:pt idx="281">
                  <c:v>5.0115926520420901E-3</c:v>
                </c:pt>
                <c:pt idx="282">
                  <c:v>5.0294275013376098E-3</c:v>
                </c:pt>
                <c:pt idx="283">
                  <c:v>5.0472623506331296E-3</c:v>
                </c:pt>
                <c:pt idx="284">
                  <c:v>5.0650971999286597E-3</c:v>
                </c:pt>
                <c:pt idx="285">
                  <c:v>5.0829320492241804E-3</c:v>
                </c:pt>
                <c:pt idx="286">
                  <c:v>5.1007668985197001E-3</c:v>
                </c:pt>
                <c:pt idx="287">
                  <c:v>5.1186017478152303E-3</c:v>
                </c:pt>
                <c:pt idx="288">
                  <c:v>5.13643659711075E-3</c:v>
                </c:pt>
                <c:pt idx="289">
                  <c:v>5.1542714464062698E-3</c:v>
                </c:pt>
                <c:pt idx="290">
                  <c:v>5.1721062957018E-3</c:v>
                </c:pt>
                <c:pt idx="291">
                  <c:v>5.1899411449973197E-3</c:v>
                </c:pt>
                <c:pt idx="292">
                  <c:v>5.2077759942928403E-3</c:v>
                </c:pt>
                <c:pt idx="293">
                  <c:v>5.2256108435883696E-3</c:v>
                </c:pt>
                <c:pt idx="294">
                  <c:v>5.2434456928838902E-3</c:v>
                </c:pt>
                <c:pt idx="295">
                  <c:v>5.26128054217941E-3</c:v>
                </c:pt>
                <c:pt idx="296">
                  <c:v>5.2791153914749402E-3</c:v>
                </c:pt>
                <c:pt idx="297">
                  <c:v>5.2969502407704599E-3</c:v>
                </c:pt>
                <c:pt idx="298">
                  <c:v>5.3147850900659797E-3</c:v>
                </c:pt>
                <c:pt idx="299">
                  <c:v>5.3326199393615098E-3</c:v>
                </c:pt>
                <c:pt idx="300">
                  <c:v>5.3504547886570296E-3</c:v>
                </c:pt>
                <c:pt idx="301">
                  <c:v>5.3682896379525502E-3</c:v>
                </c:pt>
                <c:pt idx="302">
                  <c:v>5.3861244872480804E-3</c:v>
                </c:pt>
                <c:pt idx="303">
                  <c:v>5.4039593365436001E-3</c:v>
                </c:pt>
                <c:pt idx="304">
                  <c:v>5.4217941858391199E-3</c:v>
                </c:pt>
                <c:pt idx="305">
                  <c:v>5.43962903513465E-3</c:v>
                </c:pt>
                <c:pt idx="306">
                  <c:v>5.4574638844301698E-3</c:v>
                </c:pt>
                <c:pt idx="307">
                  <c:v>5.4752987337257E-3</c:v>
                </c:pt>
                <c:pt idx="308">
                  <c:v>5.4931335830212197E-3</c:v>
                </c:pt>
                <c:pt idx="309">
                  <c:v>5.5109684323167403E-3</c:v>
                </c:pt>
                <c:pt idx="310">
                  <c:v>5.5288032816122696E-3</c:v>
                </c:pt>
                <c:pt idx="311">
                  <c:v>5.5466381309077903E-3</c:v>
                </c:pt>
                <c:pt idx="312">
                  <c:v>5.56447298020331E-3</c:v>
                </c:pt>
                <c:pt idx="313">
                  <c:v>5.5823078294988402E-3</c:v>
                </c:pt>
                <c:pt idx="314">
                  <c:v>5.6001426787943599E-3</c:v>
                </c:pt>
                <c:pt idx="315">
                  <c:v>5.6179775280898797E-3</c:v>
                </c:pt>
                <c:pt idx="316">
                  <c:v>5.6358123773854098E-3</c:v>
                </c:pt>
                <c:pt idx="317">
                  <c:v>5.6536472266809296E-3</c:v>
                </c:pt>
                <c:pt idx="318">
                  <c:v>5.6714820759764502E-3</c:v>
                </c:pt>
                <c:pt idx="319">
                  <c:v>5.6893169252719804E-3</c:v>
                </c:pt>
                <c:pt idx="320">
                  <c:v>5.7071517745675001E-3</c:v>
                </c:pt>
                <c:pt idx="321">
                  <c:v>5.7249866238630199E-3</c:v>
                </c:pt>
                <c:pt idx="322">
                  <c:v>5.7428214731585501E-3</c:v>
                </c:pt>
                <c:pt idx="323">
                  <c:v>5.7606563224540698E-3</c:v>
                </c:pt>
                <c:pt idx="324">
                  <c:v>5.7784911717495904E-3</c:v>
                </c:pt>
                <c:pt idx="325">
                  <c:v>5.7963260210451197E-3</c:v>
                </c:pt>
                <c:pt idx="326">
                  <c:v>5.8141608703406403E-3</c:v>
                </c:pt>
                <c:pt idx="327">
                  <c:v>5.8319957196361601E-3</c:v>
                </c:pt>
                <c:pt idx="328">
                  <c:v>5.8498305689316903E-3</c:v>
                </c:pt>
                <c:pt idx="329">
                  <c:v>5.86766541822721E-3</c:v>
                </c:pt>
                <c:pt idx="330">
                  <c:v>5.8855002675227298E-3</c:v>
                </c:pt>
                <c:pt idx="331">
                  <c:v>5.9033351168182599E-3</c:v>
                </c:pt>
                <c:pt idx="332">
                  <c:v>5.9211699661137797E-3</c:v>
                </c:pt>
                <c:pt idx="333">
                  <c:v>5.9390048154093098E-3</c:v>
                </c:pt>
                <c:pt idx="334">
                  <c:v>5.9568396647048296E-3</c:v>
                </c:pt>
                <c:pt idx="335">
                  <c:v>5.9746745140003502E-3</c:v>
                </c:pt>
                <c:pt idx="336">
                  <c:v>5.9925093632958804E-3</c:v>
                </c:pt>
                <c:pt idx="337">
                  <c:v>6.0103442125914001E-3</c:v>
                </c:pt>
                <c:pt idx="338">
                  <c:v>6.0281790618869199E-3</c:v>
                </c:pt>
                <c:pt idx="339">
                  <c:v>6.0460139111824501E-3</c:v>
                </c:pt>
                <c:pt idx="340">
                  <c:v>6.0638487604779698E-3</c:v>
                </c:pt>
                <c:pt idx="341">
                  <c:v>6.0816836097734896E-3</c:v>
                </c:pt>
                <c:pt idx="342">
                  <c:v>6.0995184590690197E-3</c:v>
                </c:pt>
                <c:pt idx="343">
                  <c:v>6.1173533083645404E-3</c:v>
                </c:pt>
                <c:pt idx="344">
                  <c:v>6.1351881576600601E-3</c:v>
                </c:pt>
                <c:pt idx="345">
                  <c:v>6.1530230069555903E-3</c:v>
                </c:pt>
                <c:pt idx="346">
                  <c:v>6.17085785625111E-3</c:v>
                </c:pt>
                <c:pt idx="347">
                  <c:v>6.1886927055466298E-3</c:v>
                </c:pt>
                <c:pt idx="348">
                  <c:v>6.2065275548421599E-3</c:v>
                </c:pt>
                <c:pt idx="349">
                  <c:v>6.2243624041376797E-3</c:v>
                </c:pt>
                <c:pt idx="350">
                  <c:v>6.2421972534332003E-3</c:v>
                </c:pt>
                <c:pt idx="351">
                  <c:v>6.2600321027287296E-3</c:v>
                </c:pt>
                <c:pt idx="352">
                  <c:v>6.2778669520242502E-3</c:v>
                </c:pt>
                <c:pt idx="353">
                  <c:v>6.29570180131977E-3</c:v>
                </c:pt>
                <c:pt idx="354">
                  <c:v>6.3135366506153002E-3</c:v>
                </c:pt>
                <c:pt idx="355">
                  <c:v>6.3313714999108199E-3</c:v>
                </c:pt>
                <c:pt idx="356">
                  <c:v>6.3492063492063397E-3</c:v>
                </c:pt>
                <c:pt idx="357">
                  <c:v>6.3670411985018698E-3</c:v>
                </c:pt>
                <c:pt idx="358">
                  <c:v>6.3848760477973896E-3</c:v>
                </c:pt>
                <c:pt idx="359">
                  <c:v>6.4027108970929197E-3</c:v>
                </c:pt>
                <c:pt idx="360">
                  <c:v>6.4205457463884404E-3</c:v>
                </c:pt>
                <c:pt idx="361">
                  <c:v>6.4383805956839601E-3</c:v>
                </c:pt>
                <c:pt idx="362">
                  <c:v>6.4562154449794903E-3</c:v>
                </c:pt>
                <c:pt idx="363">
                  <c:v>6.47405029427501E-3</c:v>
                </c:pt>
                <c:pt idx="364">
                  <c:v>6.4918851435705298E-3</c:v>
                </c:pt>
                <c:pt idx="365">
                  <c:v>6.5097199928660599E-3</c:v>
                </c:pt>
                <c:pt idx="366">
                  <c:v>6.5275548421615797E-3</c:v>
                </c:pt>
                <c:pt idx="367">
                  <c:v>6.5453896914571003E-3</c:v>
                </c:pt>
                <c:pt idx="368">
                  <c:v>6.5632245407526296E-3</c:v>
                </c:pt>
                <c:pt idx="369">
                  <c:v>6.5810593900481502E-3</c:v>
                </c:pt>
                <c:pt idx="370">
                  <c:v>6.59889423934367E-3</c:v>
                </c:pt>
                <c:pt idx="371">
                  <c:v>6.6167290886392002E-3</c:v>
                </c:pt>
                <c:pt idx="372">
                  <c:v>6.6345639379347199E-3</c:v>
                </c:pt>
                <c:pt idx="373">
                  <c:v>6.6523987872302397E-3</c:v>
                </c:pt>
                <c:pt idx="374">
                  <c:v>6.6702336365257698E-3</c:v>
                </c:pt>
                <c:pt idx="375">
                  <c:v>6.6880684858212896E-3</c:v>
                </c:pt>
                <c:pt idx="376">
                  <c:v>6.7059033351168102E-3</c:v>
                </c:pt>
                <c:pt idx="377">
                  <c:v>6.7237381844123404E-3</c:v>
                </c:pt>
                <c:pt idx="378">
                  <c:v>6.7415730337078601E-3</c:v>
                </c:pt>
                <c:pt idx="379">
                  <c:v>6.7594078830033799E-3</c:v>
                </c:pt>
                <c:pt idx="380">
                  <c:v>6.77724273229891E-3</c:v>
                </c:pt>
                <c:pt idx="381">
                  <c:v>6.7950775815944298E-3</c:v>
                </c:pt>
                <c:pt idx="382">
                  <c:v>6.8129124308899504E-3</c:v>
                </c:pt>
                <c:pt idx="383">
                  <c:v>6.8307472801854797E-3</c:v>
                </c:pt>
                <c:pt idx="384">
                  <c:v>6.8485821294810003E-3</c:v>
                </c:pt>
                <c:pt idx="385">
                  <c:v>6.8664169787765296E-3</c:v>
                </c:pt>
                <c:pt idx="386">
                  <c:v>6.8842518280720503E-3</c:v>
                </c:pt>
                <c:pt idx="387">
                  <c:v>6.90208667736757E-3</c:v>
                </c:pt>
                <c:pt idx="388">
                  <c:v>6.9199215266630898E-3</c:v>
                </c:pt>
                <c:pt idx="389">
                  <c:v>6.9377563759586199E-3</c:v>
                </c:pt>
                <c:pt idx="390">
                  <c:v>6.9555912252541397E-3</c:v>
                </c:pt>
                <c:pt idx="391">
                  <c:v>6.9734260745496698E-3</c:v>
                </c:pt>
                <c:pt idx="392">
                  <c:v>6.9912609238451896E-3</c:v>
                </c:pt>
                <c:pt idx="393">
                  <c:v>7.0090957731407102E-3</c:v>
                </c:pt>
                <c:pt idx="394">
                  <c:v>7.0269306224362404E-3</c:v>
                </c:pt>
                <c:pt idx="395">
                  <c:v>7.0447654717317601E-3</c:v>
                </c:pt>
                <c:pt idx="396">
                  <c:v>7.0626003210272799E-3</c:v>
                </c:pt>
                <c:pt idx="397">
                  <c:v>7.08043517032281E-3</c:v>
                </c:pt>
                <c:pt idx="398">
                  <c:v>7.0982700196183298E-3</c:v>
                </c:pt>
                <c:pt idx="399">
                  <c:v>7.1161048689138504E-3</c:v>
                </c:pt>
                <c:pt idx="400">
                  <c:v>7.1339397182093797E-3</c:v>
                </c:pt>
                <c:pt idx="401">
                  <c:v>7.1517745675049003E-3</c:v>
                </c:pt>
                <c:pt idx="402">
                  <c:v>7.1696094168004201E-3</c:v>
                </c:pt>
                <c:pt idx="403">
                  <c:v>7.1874442660959503E-3</c:v>
                </c:pt>
                <c:pt idx="404">
                  <c:v>7.20527911539147E-3</c:v>
                </c:pt>
                <c:pt idx="405">
                  <c:v>7.2231139646869898E-3</c:v>
                </c:pt>
                <c:pt idx="406">
                  <c:v>7.2409488139825199E-3</c:v>
                </c:pt>
                <c:pt idx="407">
                  <c:v>7.2587836632780397E-3</c:v>
                </c:pt>
                <c:pt idx="408">
                  <c:v>7.2766185125735603E-3</c:v>
                </c:pt>
                <c:pt idx="409">
                  <c:v>7.2944533618690896E-3</c:v>
                </c:pt>
                <c:pt idx="410">
                  <c:v>7.3122882111646102E-3</c:v>
                </c:pt>
                <c:pt idx="411">
                  <c:v>7.33012306046013E-3</c:v>
                </c:pt>
                <c:pt idx="412">
                  <c:v>7.3479579097556601E-3</c:v>
                </c:pt>
                <c:pt idx="413">
                  <c:v>7.3657927590511799E-3</c:v>
                </c:pt>
                <c:pt idx="414">
                  <c:v>7.3836276083466997E-3</c:v>
                </c:pt>
                <c:pt idx="415">
                  <c:v>7.4014624576422298E-3</c:v>
                </c:pt>
                <c:pt idx="416">
                  <c:v>7.4192973069377496E-3</c:v>
                </c:pt>
                <c:pt idx="417">
                  <c:v>7.4371321562332797E-3</c:v>
                </c:pt>
                <c:pt idx="418">
                  <c:v>7.4549670055288004E-3</c:v>
                </c:pt>
                <c:pt idx="419">
                  <c:v>7.4728018548243201E-3</c:v>
                </c:pt>
                <c:pt idx="420">
                  <c:v>7.4906367041198503E-3</c:v>
                </c:pt>
                <c:pt idx="421">
                  <c:v>7.50847155341537E-3</c:v>
                </c:pt>
                <c:pt idx="422">
                  <c:v>7.5263064027108898E-3</c:v>
                </c:pt>
                <c:pt idx="423">
                  <c:v>7.5441412520064199E-3</c:v>
                </c:pt>
                <c:pt idx="424">
                  <c:v>7.5619761013019397E-3</c:v>
                </c:pt>
                <c:pt idx="425">
                  <c:v>7.5798109505974603E-3</c:v>
                </c:pt>
                <c:pt idx="426">
                  <c:v>7.5976457998929896E-3</c:v>
                </c:pt>
                <c:pt idx="427">
                  <c:v>7.6154806491885102E-3</c:v>
                </c:pt>
                <c:pt idx="428">
                  <c:v>7.63331549848403E-3</c:v>
                </c:pt>
                <c:pt idx="429">
                  <c:v>7.6511503477795601E-3</c:v>
                </c:pt>
                <c:pt idx="430">
                  <c:v>7.6689851970750799E-3</c:v>
                </c:pt>
                <c:pt idx="431">
                  <c:v>7.6868200463705997E-3</c:v>
                </c:pt>
                <c:pt idx="432">
                  <c:v>7.7046548956661298E-3</c:v>
                </c:pt>
                <c:pt idx="433">
                  <c:v>7.7224897449616496E-3</c:v>
                </c:pt>
                <c:pt idx="434">
                  <c:v>7.7403245942571702E-3</c:v>
                </c:pt>
                <c:pt idx="435">
                  <c:v>7.7581594435527004E-3</c:v>
                </c:pt>
                <c:pt idx="436">
                  <c:v>7.7759942928482201E-3</c:v>
                </c:pt>
                <c:pt idx="437">
                  <c:v>7.7938291421437399E-3</c:v>
                </c:pt>
                <c:pt idx="438">
                  <c:v>7.81166399143927E-3</c:v>
                </c:pt>
                <c:pt idx="439">
                  <c:v>7.8294988407347898E-3</c:v>
                </c:pt>
                <c:pt idx="440">
                  <c:v>7.8473336900303104E-3</c:v>
                </c:pt>
                <c:pt idx="441">
                  <c:v>7.8651685393258397E-3</c:v>
                </c:pt>
                <c:pt idx="442">
                  <c:v>7.8830033886213603E-3</c:v>
                </c:pt>
                <c:pt idx="443">
                  <c:v>7.9008382379168896E-3</c:v>
                </c:pt>
                <c:pt idx="444">
                  <c:v>7.9186730872124102E-3</c:v>
                </c:pt>
                <c:pt idx="445">
                  <c:v>7.9365079365079309E-3</c:v>
                </c:pt>
                <c:pt idx="446">
                  <c:v>7.9543427858034602E-3</c:v>
                </c:pt>
                <c:pt idx="447">
                  <c:v>7.9721776350989808E-3</c:v>
                </c:pt>
                <c:pt idx="448">
                  <c:v>7.9900124843944997E-3</c:v>
                </c:pt>
                <c:pt idx="449">
                  <c:v>8.0078473336900307E-3</c:v>
                </c:pt>
                <c:pt idx="450">
                  <c:v>8.0256821829855496E-3</c:v>
                </c:pt>
                <c:pt idx="451">
                  <c:v>8.0435170322810702E-3</c:v>
                </c:pt>
                <c:pt idx="452">
                  <c:v>8.0613518815765995E-3</c:v>
                </c:pt>
                <c:pt idx="453">
                  <c:v>8.0791867308721201E-3</c:v>
                </c:pt>
                <c:pt idx="454">
                  <c:v>8.0970215801676407E-3</c:v>
                </c:pt>
                <c:pt idx="455">
                  <c:v>8.11485642946317E-3</c:v>
                </c:pt>
                <c:pt idx="456">
                  <c:v>8.1326912787586907E-3</c:v>
                </c:pt>
                <c:pt idx="457">
                  <c:v>8.1505261280542095E-3</c:v>
                </c:pt>
                <c:pt idx="458">
                  <c:v>8.1683609773497406E-3</c:v>
                </c:pt>
                <c:pt idx="459">
                  <c:v>8.1861958266452595E-3</c:v>
                </c:pt>
                <c:pt idx="460">
                  <c:v>8.2040306759407801E-3</c:v>
                </c:pt>
                <c:pt idx="461">
                  <c:v>8.2218655252363094E-3</c:v>
                </c:pt>
                <c:pt idx="462">
                  <c:v>8.23970037453183E-3</c:v>
                </c:pt>
                <c:pt idx="463">
                  <c:v>8.2575352238273593E-3</c:v>
                </c:pt>
                <c:pt idx="464">
                  <c:v>8.2753700731228799E-3</c:v>
                </c:pt>
                <c:pt idx="465">
                  <c:v>8.2932049224184005E-3</c:v>
                </c:pt>
                <c:pt idx="466">
                  <c:v>8.3110397717139298E-3</c:v>
                </c:pt>
                <c:pt idx="467">
                  <c:v>8.3288746210094505E-3</c:v>
                </c:pt>
                <c:pt idx="468">
                  <c:v>8.3467094703049693E-3</c:v>
                </c:pt>
                <c:pt idx="469">
                  <c:v>8.36454431960049E-3</c:v>
                </c:pt>
                <c:pt idx="470">
                  <c:v>8.3823791688960193E-3</c:v>
                </c:pt>
                <c:pt idx="471">
                  <c:v>8.4002140181915399E-3</c:v>
                </c:pt>
                <c:pt idx="472">
                  <c:v>8.4180488674870692E-3</c:v>
                </c:pt>
                <c:pt idx="473">
                  <c:v>8.4358837167825898E-3</c:v>
                </c:pt>
                <c:pt idx="474">
                  <c:v>8.4537185660781104E-3</c:v>
                </c:pt>
                <c:pt idx="475">
                  <c:v>8.4715534153736397E-3</c:v>
                </c:pt>
                <c:pt idx="476">
                  <c:v>8.4893882646691603E-3</c:v>
                </c:pt>
                <c:pt idx="477">
                  <c:v>8.5072231139646792E-3</c:v>
                </c:pt>
                <c:pt idx="478">
                  <c:v>8.5250579632602103E-3</c:v>
                </c:pt>
                <c:pt idx="479">
                  <c:v>8.5428928125557291E-3</c:v>
                </c:pt>
                <c:pt idx="480">
                  <c:v>8.5607276618512498E-3</c:v>
                </c:pt>
                <c:pt idx="481">
                  <c:v>8.5785625111467808E-3</c:v>
                </c:pt>
                <c:pt idx="482">
                  <c:v>8.5963973604422997E-3</c:v>
                </c:pt>
                <c:pt idx="483">
                  <c:v>8.6142322097378203E-3</c:v>
                </c:pt>
                <c:pt idx="484">
                  <c:v>8.6320670590333496E-3</c:v>
                </c:pt>
                <c:pt idx="485">
                  <c:v>8.6499019083288702E-3</c:v>
                </c:pt>
                <c:pt idx="486">
                  <c:v>8.6677367576243908E-3</c:v>
                </c:pt>
                <c:pt idx="487">
                  <c:v>8.6855716069199201E-3</c:v>
                </c:pt>
                <c:pt idx="488">
                  <c:v>8.7034064562154408E-3</c:v>
                </c:pt>
                <c:pt idx="489">
                  <c:v>8.7212413055109596E-3</c:v>
                </c:pt>
                <c:pt idx="490">
                  <c:v>8.7390761548064907E-3</c:v>
                </c:pt>
                <c:pt idx="491">
                  <c:v>8.7569110041020096E-3</c:v>
                </c:pt>
                <c:pt idx="492">
                  <c:v>8.7747458533975302E-3</c:v>
                </c:pt>
                <c:pt idx="493">
                  <c:v>8.7925807026930595E-3</c:v>
                </c:pt>
                <c:pt idx="494">
                  <c:v>8.8104155519885801E-3</c:v>
                </c:pt>
                <c:pt idx="495">
                  <c:v>8.8282504012841094E-3</c:v>
                </c:pt>
                <c:pt idx="496">
                  <c:v>8.84608525057963E-3</c:v>
                </c:pt>
                <c:pt idx="497">
                  <c:v>8.8639200998751506E-3</c:v>
                </c:pt>
                <c:pt idx="498">
                  <c:v>8.8817549491706799E-3</c:v>
                </c:pt>
                <c:pt idx="499">
                  <c:v>8.8995897984662006E-3</c:v>
                </c:pt>
                <c:pt idx="500">
                  <c:v>8.9174246477617194E-3</c:v>
                </c:pt>
                <c:pt idx="501">
                  <c:v>8.9352594970572505E-3</c:v>
                </c:pt>
                <c:pt idx="502">
                  <c:v>8.9530943463527694E-3</c:v>
                </c:pt>
                <c:pt idx="503">
                  <c:v>8.97092919564829E-3</c:v>
                </c:pt>
                <c:pt idx="504">
                  <c:v>8.9887640449438193E-3</c:v>
                </c:pt>
                <c:pt idx="505">
                  <c:v>9.0065988942393399E-3</c:v>
                </c:pt>
                <c:pt idx="506">
                  <c:v>9.0244337435348605E-3</c:v>
                </c:pt>
                <c:pt idx="507">
                  <c:v>9.0422685928303898E-3</c:v>
                </c:pt>
                <c:pt idx="508">
                  <c:v>9.0601034421259104E-3</c:v>
                </c:pt>
                <c:pt idx="509">
                  <c:v>9.0779382914214293E-3</c:v>
                </c:pt>
                <c:pt idx="510">
                  <c:v>9.0957731407169604E-3</c:v>
                </c:pt>
                <c:pt idx="511">
                  <c:v>9.1136079900124792E-3</c:v>
                </c:pt>
                <c:pt idx="512">
                  <c:v>9.1314428393079999E-3</c:v>
                </c:pt>
                <c:pt idx="513">
                  <c:v>9.1492776886035292E-3</c:v>
                </c:pt>
                <c:pt idx="514">
                  <c:v>9.1671125378990498E-3</c:v>
                </c:pt>
                <c:pt idx="515">
                  <c:v>9.1849473871945704E-3</c:v>
                </c:pt>
                <c:pt idx="516">
                  <c:v>9.2027822364900997E-3</c:v>
                </c:pt>
                <c:pt idx="517">
                  <c:v>9.2206170857856203E-3</c:v>
                </c:pt>
                <c:pt idx="518">
                  <c:v>9.2384519350811392E-3</c:v>
                </c:pt>
                <c:pt idx="519">
                  <c:v>9.2562867843766702E-3</c:v>
                </c:pt>
                <c:pt idx="520">
                  <c:v>9.2741216336721909E-3</c:v>
                </c:pt>
                <c:pt idx="521">
                  <c:v>9.2919564829677097E-3</c:v>
                </c:pt>
                <c:pt idx="522">
                  <c:v>9.3097913322632408E-3</c:v>
                </c:pt>
                <c:pt idx="523">
                  <c:v>9.3276261815587597E-3</c:v>
                </c:pt>
                <c:pt idx="524">
                  <c:v>9.3454610308542803E-3</c:v>
                </c:pt>
                <c:pt idx="525">
                  <c:v>9.3632958801498096E-3</c:v>
                </c:pt>
                <c:pt idx="526">
                  <c:v>9.3811307294453302E-3</c:v>
                </c:pt>
                <c:pt idx="527">
                  <c:v>9.3989655787408595E-3</c:v>
                </c:pt>
                <c:pt idx="528">
                  <c:v>9.4168004280363801E-3</c:v>
                </c:pt>
                <c:pt idx="529">
                  <c:v>9.4346352773319007E-3</c:v>
                </c:pt>
                <c:pt idx="530">
                  <c:v>9.45247012662743E-3</c:v>
                </c:pt>
                <c:pt idx="531">
                  <c:v>9.4703049759229507E-3</c:v>
                </c:pt>
                <c:pt idx="532">
                  <c:v>9.4881398252184695E-3</c:v>
                </c:pt>
                <c:pt idx="533">
                  <c:v>9.5059746745140006E-3</c:v>
                </c:pt>
                <c:pt idx="534">
                  <c:v>9.5238095238095195E-3</c:v>
                </c:pt>
                <c:pt idx="535">
                  <c:v>9.5416443731050401E-3</c:v>
                </c:pt>
                <c:pt idx="536">
                  <c:v>9.5594792224005694E-3</c:v>
                </c:pt>
                <c:pt idx="537">
                  <c:v>9.57731407169609E-3</c:v>
                </c:pt>
                <c:pt idx="538">
                  <c:v>9.5951489209916106E-3</c:v>
                </c:pt>
                <c:pt idx="539">
                  <c:v>9.6129837702871399E-3</c:v>
                </c:pt>
                <c:pt idx="540">
                  <c:v>9.6308186195826605E-3</c:v>
                </c:pt>
                <c:pt idx="541">
                  <c:v>9.6486534688781794E-3</c:v>
                </c:pt>
                <c:pt idx="542">
                  <c:v>9.6664883181737105E-3</c:v>
                </c:pt>
                <c:pt idx="543">
                  <c:v>9.6843231674692293E-3</c:v>
                </c:pt>
                <c:pt idx="544">
                  <c:v>9.70215801676475E-3</c:v>
                </c:pt>
                <c:pt idx="545">
                  <c:v>9.7199928660602793E-3</c:v>
                </c:pt>
                <c:pt idx="546">
                  <c:v>9.7378277153557999E-3</c:v>
                </c:pt>
                <c:pt idx="547">
                  <c:v>9.7556625646513292E-3</c:v>
                </c:pt>
                <c:pt idx="548">
                  <c:v>9.7734974139468498E-3</c:v>
                </c:pt>
                <c:pt idx="549">
                  <c:v>9.7913322632423704E-3</c:v>
                </c:pt>
                <c:pt idx="550">
                  <c:v>9.8091671125378997E-3</c:v>
                </c:pt>
                <c:pt idx="551">
                  <c:v>9.8270019618334203E-3</c:v>
                </c:pt>
                <c:pt idx="552">
                  <c:v>9.8448368111289392E-3</c:v>
                </c:pt>
                <c:pt idx="553">
                  <c:v>9.8626716604244703E-3</c:v>
                </c:pt>
                <c:pt idx="554">
                  <c:v>9.8805065097199891E-3</c:v>
                </c:pt>
                <c:pt idx="555">
                  <c:v>9.8983413590155098E-3</c:v>
                </c:pt>
                <c:pt idx="556">
                  <c:v>9.9161762083110304E-3</c:v>
                </c:pt>
                <c:pt idx="557">
                  <c:v>9.9340110576065597E-3</c:v>
                </c:pt>
                <c:pt idx="558">
                  <c:v>9.9518459069020803E-3</c:v>
                </c:pt>
                <c:pt idx="559">
                  <c:v>9.9696807561976096E-3</c:v>
                </c:pt>
                <c:pt idx="560">
                  <c:v>9.9875156054931302E-3</c:v>
                </c:pt>
                <c:pt idx="561">
                  <c:v>1.0005350454788601E-2</c:v>
                </c:pt>
                <c:pt idx="562">
                  <c:v>1.00231853040841E-2</c:v>
                </c:pt>
                <c:pt idx="563">
                  <c:v>1.0041020153379701E-2</c:v>
                </c:pt>
                <c:pt idx="564">
                  <c:v>1.0058855002675201E-2</c:v>
                </c:pt>
                <c:pt idx="565">
                  <c:v>1.00766898519707E-2</c:v>
                </c:pt>
                <c:pt idx="566">
                  <c:v>1.00945247012662E-2</c:v>
                </c:pt>
                <c:pt idx="567">
                  <c:v>1.01123595505617E-2</c:v>
                </c:pt>
                <c:pt idx="568">
                  <c:v>1.01301943998573E-2</c:v>
                </c:pt>
                <c:pt idx="569">
                  <c:v>1.01480292491528E-2</c:v>
                </c:pt>
                <c:pt idx="570">
                  <c:v>1.01658640984483E-2</c:v>
                </c:pt>
                <c:pt idx="571">
                  <c:v>1.01836989477438E-2</c:v>
                </c:pt>
                <c:pt idx="572">
                  <c:v>1.02015337970394E-2</c:v>
                </c:pt>
                <c:pt idx="573">
                  <c:v>1.02193686463349E-2</c:v>
                </c:pt>
                <c:pt idx="574">
                  <c:v>1.02372034956304E-2</c:v>
                </c:pt>
                <c:pt idx="575">
                  <c:v>1.02550383449259E-2</c:v>
                </c:pt>
                <c:pt idx="576">
                  <c:v>1.02728731942215E-2</c:v>
                </c:pt>
                <c:pt idx="577">
                  <c:v>1.0290708043517E-2</c:v>
                </c:pt>
                <c:pt idx="578">
                  <c:v>1.03085428928125E-2</c:v>
                </c:pt>
                <c:pt idx="579">
                  <c:v>1.0326377742107999E-2</c:v>
                </c:pt>
                <c:pt idx="580">
                  <c:v>1.03442125914036E-2</c:v>
                </c:pt>
                <c:pt idx="581">
                  <c:v>1.03620474406991E-2</c:v>
                </c:pt>
                <c:pt idx="582">
                  <c:v>1.03798822899946E-2</c:v>
                </c:pt>
                <c:pt idx="583">
                  <c:v>1.0397717139290099E-2</c:v>
                </c:pt>
                <c:pt idx="584">
                  <c:v>1.0415551988585601E-2</c:v>
                </c:pt>
                <c:pt idx="585">
                  <c:v>1.04333868378812E-2</c:v>
                </c:pt>
                <c:pt idx="586">
                  <c:v>1.0451221687176699E-2</c:v>
                </c:pt>
                <c:pt idx="587">
                  <c:v>1.0469056536472199E-2</c:v>
                </c:pt>
                <c:pt idx="588">
                  <c:v>1.0486891385767701E-2</c:v>
                </c:pt>
                <c:pt idx="589">
                  <c:v>1.0504726235063299E-2</c:v>
                </c:pt>
                <c:pt idx="590">
                  <c:v>1.0522561084358799E-2</c:v>
                </c:pt>
                <c:pt idx="591">
                  <c:v>1.0540395933654301E-2</c:v>
                </c:pt>
                <c:pt idx="592">
                  <c:v>1.0558230782949801E-2</c:v>
                </c:pt>
                <c:pt idx="593">
                  <c:v>1.0576065632245399E-2</c:v>
                </c:pt>
                <c:pt idx="594">
                  <c:v>1.0593900481540901E-2</c:v>
                </c:pt>
                <c:pt idx="595">
                  <c:v>1.0611735330836401E-2</c:v>
                </c:pt>
                <c:pt idx="596">
                  <c:v>1.06295701801319E-2</c:v>
                </c:pt>
                <c:pt idx="597">
                  <c:v>1.0647405029427501E-2</c:v>
                </c:pt>
                <c:pt idx="598">
                  <c:v>1.0665239878723001E-2</c:v>
                </c:pt>
                <c:pt idx="599">
                  <c:v>1.06830747280185E-2</c:v>
                </c:pt>
                <c:pt idx="600">
                  <c:v>1.0700909577314E-2</c:v>
                </c:pt>
                <c:pt idx="601">
                  <c:v>1.07187444266095E-2</c:v>
                </c:pt>
                <c:pt idx="602">
                  <c:v>1.07365792759051E-2</c:v>
                </c:pt>
                <c:pt idx="603">
                  <c:v>1.07544141252006E-2</c:v>
                </c:pt>
                <c:pt idx="604">
                  <c:v>1.07722489744961E-2</c:v>
                </c:pt>
                <c:pt idx="605">
                  <c:v>1.07900838237916E-2</c:v>
                </c:pt>
                <c:pt idx="606">
                  <c:v>1.08079186730872E-2</c:v>
                </c:pt>
                <c:pt idx="607">
                  <c:v>1.08257535223827E-2</c:v>
                </c:pt>
                <c:pt idx="608">
                  <c:v>1.08435883716782E-2</c:v>
                </c:pt>
                <c:pt idx="609">
                  <c:v>1.08614232209737E-2</c:v>
                </c:pt>
                <c:pt idx="610">
                  <c:v>1.08792580702693E-2</c:v>
                </c:pt>
                <c:pt idx="611">
                  <c:v>1.08970929195648E-2</c:v>
                </c:pt>
                <c:pt idx="612">
                  <c:v>1.09149277688603E-2</c:v>
                </c:pt>
                <c:pt idx="613">
                  <c:v>1.0932762618155799E-2</c:v>
                </c:pt>
                <c:pt idx="614">
                  <c:v>1.09505974674514E-2</c:v>
                </c:pt>
                <c:pt idx="615">
                  <c:v>1.09684323167469E-2</c:v>
                </c:pt>
                <c:pt idx="616">
                  <c:v>1.09862671660424E-2</c:v>
                </c:pt>
                <c:pt idx="617">
                  <c:v>1.1004102015337899E-2</c:v>
                </c:pt>
                <c:pt idx="618">
                  <c:v>1.1021936864633399E-2</c:v>
                </c:pt>
                <c:pt idx="619">
                  <c:v>1.1039771713929E-2</c:v>
                </c:pt>
                <c:pt idx="620">
                  <c:v>1.1057606563224499E-2</c:v>
                </c:pt>
                <c:pt idx="621">
                  <c:v>1.1075441412519999E-2</c:v>
                </c:pt>
                <c:pt idx="622">
                  <c:v>1.1093276261815501E-2</c:v>
                </c:pt>
                <c:pt idx="623">
                  <c:v>1.1111111111111099E-2</c:v>
                </c:pt>
                <c:pt idx="624">
                  <c:v>1.1128945960406599E-2</c:v>
                </c:pt>
                <c:pt idx="625">
                  <c:v>1.1146780809702101E-2</c:v>
                </c:pt>
                <c:pt idx="626">
                  <c:v>1.1164615658997601E-2</c:v>
                </c:pt>
                <c:pt idx="627">
                  <c:v>1.1182450508293199E-2</c:v>
                </c:pt>
                <c:pt idx="628">
                  <c:v>1.1200285357588701E-2</c:v>
                </c:pt>
                <c:pt idx="629">
                  <c:v>1.1218120206884201E-2</c:v>
                </c:pt>
                <c:pt idx="630">
                  <c:v>1.12359550561797E-2</c:v>
                </c:pt>
                <c:pt idx="631">
                  <c:v>1.12537899054752E-2</c:v>
                </c:pt>
                <c:pt idx="632">
                  <c:v>1.1271624754770801E-2</c:v>
                </c:pt>
                <c:pt idx="633">
                  <c:v>1.12894596040663E-2</c:v>
                </c:pt>
                <c:pt idx="634">
                  <c:v>1.13072944533618E-2</c:v>
                </c:pt>
                <c:pt idx="635">
                  <c:v>1.13251293026573E-2</c:v>
                </c:pt>
                <c:pt idx="636">
                  <c:v>1.13429641519529E-2</c:v>
                </c:pt>
                <c:pt idx="637">
                  <c:v>1.13607990012484E-2</c:v>
                </c:pt>
                <c:pt idx="638">
                  <c:v>1.13786338505439E-2</c:v>
                </c:pt>
                <c:pt idx="639">
                  <c:v>1.13964686998394E-2</c:v>
                </c:pt>
                <c:pt idx="640">
                  <c:v>1.1414303549135E-2</c:v>
                </c:pt>
                <c:pt idx="641">
                  <c:v>1.14321383984305E-2</c:v>
                </c:pt>
                <c:pt idx="642">
                  <c:v>1.1449973247726E-2</c:v>
                </c:pt>
                <c:pt idx="643">
                  <c:v>1.14678080970215E-2</c:v>
                </c:pt>
                <c:pt idx="644">
                  <c:v>1.14856429463171E-2</c:v>
                </c:pt>
                <c:pt idx="645">
                  <c:v>1.15034777956126E-2</c:v>
                </c:pt>
                <c:pt idx="646">
                  <c:v>1.15213126449081E-2</c:v>
                </c:pt>
                <c:pt idx="647">
                  <c:v>1.15391474942036E-2</c:v>
                </c:pt>
                <c:pt idx="648">
                  <c:v>1.1556982343499099E-2</c:v>
                </c:pt>
                <c:pt idx="649">
                  <c:v>1.15748171927947E-2</c:v>
                </c:pt>
                <c:pt idx="650">
                  <c:v>1.15926520420902E-2</c:v>
                </c:pt>
                <c:pt idx="651">
                  <c:v>1.1610486891385699E-2</c:v>
                </c:pt>
                <c:pt idx="652">
                  <c:v>1.1628321740681199E-2</c:v>
                </c:pt>
                <c:pt idx="653">
                  <c:v>1.16461565899768E-2</c:v>
                </c:pt>
                <c:pt idx="654">
                  <c:v>1.1663991439272299E-2</c:v>
                </c:pt>
                <c:pt idx="655">
                  <c:v>1.1681826288567799E-2</c:v>
                </c:pt>
                <c:pt idx="656">
                  <c:v>1.1699661137863301E-2</c:v>
                </c:pt>
                <c:pt idx="657">
                  <c:v>1.1717495987158899E-2</c:v>
                </c:pt>
                <c:pt idx="658">
                  <c:v>1.1735330836454399E-2</c:v>
                </c:pt>
                <c:pt idx="659">
                  <c:v>1.1753165685749901E-2</c:v>
                </c:pt>
                <c:pt idx="660">
                  <c:v>1.1771000535045401E-2</c:v>
                </c:pt>
                <c:pt idx="661">
                  <c:v>1.1788835384340999E-2</c:v>
                </c:pt>
                <c:pt idx="662">
                  <c:v>1.1806670233636501E-2</c:v>
                </c:pt>
                <c:pt idx="663">
                  <c:v>1.1824505082932001E-2</c:v>
                </c:pt>
                <c:pt idx="664">
                  <c:v>1.18423399322275E-2</c:v>
                </c:pt>
                <c:pt idx="665">
                  <c:v>1.1860174781523E-2</c:v>
                </c:pt>
                <c:pt idx="666">
                  <c:v>1.1878009630818601E-2</c:v>
                </c:pt>
                <c:pt idx="667">
                  <c:v>1.18958444801141E-2</c:v>
                </c:pt>
                <c:pt idx="668">
                  <c:v>1.19136793294096E-2</c:v>
                </c:pt>
                <c:pt idx="669">
                  <c:v>1.19315141787051E-2</c:v>
                </c:pt>
                <c:pt idx="670">
                  <c:v>1.19493490280007E-2</c:v>
                </c:pt>
                <c:pt idx="671">
                  <c:v>1.19671838772962E-2</c:v>
                </c:pt>
                <c:pt idx="672">
                  <c:v>1.19850187265917E-2</c:v>
                </c:pt>
                <c:pt idx="673">
                  <c:v>1.20028535758872E-2</c:v>
                </c:pt>
                <c:pt idx="674">
                  <c:v>1.20206884251828E-2</c:v>
                </c:pt>
                <c:pt idx="675">
                  <c:v>1.20385232744783E-2</c:v>
                </c:pt>
                <c:pt idx="676">
                  <c:v>1.20563581237738E-2</c:v>
                </c:pt>
                <c:pt idx="677">
                  <c:v>1.20741929730693E-2</c:v>
                </c:pt>
                <c:pt idx="678">
                  <c:v>1.20920278223649E-2</c:v>
                </c:pt>
                <c:pt idx="679">
                  <c:v>1.21098626716604E-2</c:v>
                </c:pt>
                <c:pt idx="680">
                  <c:v>1.21276975209559E-2</c:v>
                </c:pt>
                <c:pt idx="681">
                  <c:v>1.21455323702514E-2</c:v>
                </c:pt>
                <c:pt idx="682">
                  <c:v>1.2163367219546899E-2</c:v>
                </c:pt>
                <c:pt idx="683">
                  <c:v>1.21812020688425E-2</c:v>
                </c:pt>
                <c:pt idx="684">
                  <c:v>1.2199036918138E-2</c:v>
                </c:pt>
                <c:pt idx="685">
                  <c:v>1.2216871767433499E-2</c:v>
                </c:pt>
                <c:pt idx="686">
                  <c:v>1.2234706616728999E-2</c:v>
                </c:pt>
                <c:pt idx="687">
                  <c:v>1.22525414660246E-2</c:v>
                </c:pt>
                <c:pt idx="688">
                  <c:v>1.2270376315320099E-2</c:v>
                </c:pt>
                <c:pt idx="689">
                  <c:v>1.2288211164615599E-2</c:v>
                </c:pt>
                <c:pt idx="690">
                  <c:v>1.2306046013911101E-2</c:v>
                </c:pt>
                <c:pt idx="691">
                  <c:v>1.2323880863206699E-2</c:v>
                </c:pt>
                <c:pt idx="692">
                  <c:v>1.2341715712502199E-2</c:v>
                </c:pt>
                <c:pt idx="693">
                  <c:v>1.2359550561797701E-2</c:v>
                </c:pt>
                <c:pt idx="694">
                  <c:v>1.2377385411093201E-2</c:v>
                </c:pt>
                <c:pt idx="695">
                  <c:v>1.2395220260388799E-2</c:v>
                </c:pt>
                <c:pt idx="696">
                  <c:v>1.2413055109684301E-2</c:v>
                </c:pt>
                <c:pt idx="697">
                  <c:v>1.2430889958979801E-2</c:v>
                </c:pt>
                <c:pt idx="698">
                  <c:v>1.24487248082753E-2</c:v>
                </c:pt>
                <c:pt idx="699">
                  <c:v>1.24665596575708E-2</c:v>
                </c:pt>
                <c:pt idx="700">
                  <c:v>1.2484394506866401E-2</c:v>
                </c:pt>
                <c:pt idx="701">
                  <c:v>1.25022293561619E-2</c:v>
                </c:pt>
                <c:pt idx="702">
                  <c:v>1.25200642054574E-2</c:v>
                </c:pt>
                <c:pt idx="703">
                  <c:v>1.25378990547529E-2</c:v>
                </c:pt>
                <c:pt idx="704">
                  <c:v>1.25557339040485E-2</c:v>
                </c:pt>
                <c:pt idx="705">
                  <c:v>1.2573568753344E-2</c:v>
                </c:pt>
                <c:pt idx="706">
                  <c:v>1.25914036026395E-2</c:v>
                </c:pt>
                <c:pt idx="707">
                  <c:v>1.2609238451935E-2</c:v>
                </c:pt>
                <c:pt idx="708">
                  <c:v>1.26270733012306E-2</c:v>
                </c:pt>
                <c:pt idx="709">
                  <c:v>1.26449081505261E-2</c:v>
                </c:pt>
                <c:pt idx="710">
                  <c:v>1.26627429998216E-2</c:v>
                </c:pt>
                <c:pt idx="711">
                  <c:v>1.26805778491171E-2</c:v>
                </c:pt>
                <c:pt idx="712">
                  <c:v>1.26984126984126E-2</c:v>
                </c:pt>
                <c:pt idx="713">
                  <c:v>1.27162475477082E-2</c:v>
                </c:pt>
                <c:pt idx="714">
                  <c:v>1.27340823970037E-2</c:v>
                </c:pt>
                <c:pt idx="715">
                  <c:v>1.27519172462992E-2</c:v>
                </c:pt>
                <c:pt idx="716">
                  <c:v>1.2769752095594699E-2</c:v>
                </c:pt>
                <c:pt idx="717">
                  <c:v>1.27875869448903E-2</c:v>
                </c:pt>
                <c:pt idx="718">
                  <c:v>1.28054217941858E-2</c:v>
                </c:pt>
                <c:pt idx="719">
                  <c:v>1.2823256643481299E-2</c:v>
                </c:pt>
                <c:pt idx="720">
                  <c:v>1.2841091492776799E-2</c:v>
                </c:pt>
                <c:pt idx="721">
                  <c:v>1.28589263420724E-2</c:v>
                </c:pt>
                <c:pt idx="722">
                  <c:v>1.2876761191367899E-2</c:v>
                </c:pt>
                <c:pt idx="723">
                  <c:v>1.2894596040663399E-2</c:v>
                </c:pt>
                <c:pt idx="724">
                  <c:v>1.2912430889958901E-2</c:v>
                </c:pt>
                <c:pt idx="725">
                  <c:v>1.2930265739254499E-2</c:v>
                </c:pt>
                <c:pt idx="726">
                  <c:v>1.2948100588549999E-2</c:v>
                </c:pt>
                <c:pt idx="727">
                  <c:v>1.2965935437845501E-2</c:v>
                </c:pt>
                <c:pt idx="728">
                  <c:v>1.2983770287141001E-2</c:v>
                </c:pt>
                <c:pt idx="729">
                  <c:v>1.30016051364365E-2</c:v>
                </c:pt>
                <c:pt idx="730">
                  <c:v>1.3019439985732101E-2</c:v>
                </c:pt>
                <c:pt idx="731">
                  <c:v>1.3037274835027601E-2</c:v>
                </c:pt>
                <c:pt idx="732">
                  <c:v>1.30551096843231E-2</c:v>
                </c:pt>
                <c:pt idx="733">
                  <c:v>1.30729445336186E-2</c:v>
                </c:pt>
                <c:pt idx="734">
                  <c:v>1.3090779382914201E-2</c:v>
                </c:pt>
                <c:pt idx="735">
                  <c:v>1.31086142322097E-2</c:v>
                </c:pt>
                <c:pt idx="736">
                  <c:v>1.31264490815052E-2</c:v>
                </c:pt>
                <c:pt idx="737">
                  <c:v>1.31442839308007E-2</c:v>
                </c:pt>
                <c:pt idx="738">
                  <c:v>1.31621187800963E-2</c:v>
                </c:pt>
                <c:pt idx="739">
                  <c:v>1.31799536293918E-2</c:v>
                </c:pt>
                <c:pt idx="740">
                  <c:v>1.31977884786873E-2</c:v>
                </c:pt>
                <c:pt idx="741">
                  <c:v>1.32156233279828E-2</c:v>
                </c:pt>
                <c:pt idx="742">
                  <c:v>1.32334581772784E-2</c:v>
                </c:pt>
                <c:pt idx="743">
                  <c:v>1.32512930265739E-2</c:v>
                </c:pt>
                <c:pt idx="744">
                  <c:v>1.32691278758694E-2</c:v>
                </c:pt>
                <c:pt idx="745">
                  <c:v>1.32869627251649E-2</c:v>
                </c:pt>
                <c:pt idx="746">
                  <c:v>1.33047975744604E-2</c:v>
                </c:pt>
                <c:pt idx="747">
                  <c:v>1.3322632423756E-2</c:v>
                </c:pt>
                <c:pt idx="748">
                  <c:v>1.33404672730515E-2</c:v>
                </c:pt>
                <c:pt idx="749">
                  <c:v>1.3358302122347E-2</c:v>
                </c:pt>
                <c:pt idx="750">
                  <c:v>1.3376136971642499E-2</c:v>
                </c:pt>
                <c:pt idx="751">
                  <c:v>1.33939718209381E-2</c:v>
                </c:pt>
                <c:pt idx="752">
                  <c:v>1.34118066702336E-2</c:v>
                </c:pt>
                <c:pt idx="753">
                  <c:v>1.3429641519529099E-2</c:v>
                </c:pt>
                <c:pt idx="754">
                  <c:v>1.3447476368824599E-2</c:v>
                </c:pt>
                <c:pt idx="755">
                  <c:v>1.34653112181202E-2</c:v>
                </c:pt>
                <c:pt idx="756">
                  <c:v>1.3483146067415699E-2</c:v>
                </c:pt>
                <c:pt idx="757">
                  <c:v>1.3500980916711199E-2</c:v>
                </c:pt>
                <c:pt idx="758">
                  <c:v>1.3518815766006701E-2</c:v>
                </c:pt>
                <c:pt idx="759">
                  <c:v>1.3536650615302299E-2</c:v>
                </c:pt>
                <c:pt idx="760">
                  <c:v>1.3554485464597799E-2</c:v>
                </c:pt>
                <c:pt idx="761">
                  <c:v>1.3572320313893301E-2</c:v>
                </c:pt>
                <c:pt idx="762">
                  <c:v>1.3590155163188801E-2</c:v>
                </c:pt>
                <c:pt idx="763">
                  <c:v>1.36079900124843E-2</c:v>
                </c:pt>
                <c:pt idx="764">
                  <c:v>1.3625824861779901E-2</c:v>
                </c:pt>
                <c:pt idx="765">
                  <c:v>1.3643659711075401E-2</c:v>
                </c:pt>
                <c:pt idx="766">
                  <c:v>1.36614945603709E-2</c:v>
                </c:pt>
                <c:pt idx="767">
                  <c:v>1.36793294096664E-2</c:v>
                </c:pt>
                <c:pt idx="768">
                  <c:v>1.3697164258962001E-2</c:v>
                </c:pt>
                <c:pt idx="769">
                  <c:v>1.37149991082575E-2</c:v>
                </c:pt>
                <c:pt idx="770">
                  <c:v>1.3732833957553E-2</c:v>
                </c:pt>
                <c:pt idx="771">
                  <c:v>1.37506688068485E-2</c:v>
                </c:pt>
                <c:pt idx="772">
                  <c:v>1.3768503656144101E-2</c:v>
                </c:pt>
                <c:pt idx="773">
                  <c:v>1.37863385054396E-2</c:v>
                </c:pt>
                <c:pt idx="774">
                  <c:v>1.38041733547351E-2</c:v>
                </c:pt>
                <c:pt idx="775">
                  <c:v>1.38220082040306E-2</c:v>
                </c:pt>
                <c:pt idx="776">
                  <c:v>1.38398430533261E-2</c:v>
                </c:pt>
                <c:pt idx="777">
                  <c:v>1.38576779026217E-2</c:v>
                </c:pt>
                <c:pt idx="778">
                  <c:v>1.38755127519172E-2</c:v>
                </c:pt>
                <c:pt idx="779">
                  <c:v>1.38933476012127E-2</c:v>
                </c:pt>
                <c:pt idx="780">
                  <c:v>1.39111824505082E-2</c:v>
                </c:pt>
                <c:pt idx="781">
                  <c:v>1.39290172998038E-2</c:v>
                </c:pt>
                <c:pt idx="782">
                  <c:v>1.39468521490993E-2</c:v>
                </c:pt>
                <c:pt idx="783">
                  <c:v>1.39646869983948E-2</c:v>
                </c:pt>
                <c:pt idx="784">
                  <c:v>1.3982521847690299E-2</c:v>
                </c:pt>
                <c:pt idx="785">
                  <c:v>1.40003566969859E-2</c:v>
                </c:pt>
                <c:pt idx="786">
                  <c:v>1.40181915462814E-2</c:v>
                </c:pt>
                <c:pt idx="787">
                  <c:v>1.4036026395576899E-2</c:v>
                </c:pt>
                <c:pt idx="788">
                  <c:v>1.4053861244872399E-2</c:v>
                </c:pt>
                <c:pt idx="789">
                  <c:v>1.4071696094168E-2</c:v>
                </c:pt>
                <c:pt idx="790">
                  <c:v>1.4089530943463499E-2</c:v>
                </c:pt>
                <c:pt idx="791">
                  <c:v>1.4107365792758999E-2</c:v>
                </c:pt>
                <c:pt idx="792">
                  <c:v>1.4125200642054501E-2</c:v>
                </c:pt>
                <c:pt idx="793">
                  <c:v>1.4143035491350001E-2</c:v>
                </c:pt>
                <c:pt idx="794">
                  <c:v>1.4160870340645599E-2</c:v>
                </c:pt>
                <c:pt idx="795">
                  <c:v>1.4178705189941101E-2</c:v>
                </c:pt>
                <c:pt idx="796">
                  <c:v>1.4196540039236601E-2</c:v>
                </c:pt>
                <c:pt idx="797">
                  <c:v>1.42143748885321E-2</c:v>
                </c:pt>
                <c:pt idx="798">
                  <c:v>1.4232209737827701E-2</c:v>
                </c:pt>
                <c:pt idx="799">
                  <c:v>1.4250044587123201E-2</c:v>
                </c:pt>
                <c:pt idx="800">
                  <c:v>1.42678794364187E-2</c:v>
                </c:pt>
                <c:pt idx="801">
                  <c:v>1.42857142857142E-2</c:v>
                </c:pt>
                <c:pt idx="802">
                  <c:v>1.4303549135009801E-2</c:v>
                </c:pt>
                <c:pt idx="803">
                  <c:v>1.43213839843053E-2</c:v>
                </c:pt>
                <c:pt idx="804">
                  <c:v>1.43392188336008E-2</c:v>
                </c:pt>
                <c:pt idx="805">
                  <c:v>1.43570536828963E-2</c:v>
                </c:pt>
                <c:pt idx="806">
                  <c:v>1.4374888532191901E-2</c:v>
                </c:pt>
                <c:pt idx="807">
                  <c:v>1.43927233814874E-2</c:v>
                </c:pt>
                <c:pt idx="808">
                  <c:v>1.44105582307829E-2</c:v>
                </c:pt>
                <c:pt idx="809">
                  <c:v>1.44283930800784E-2</c:v>
                </c:pt>
                <c:pt idx="810">
                  <c:v>1.44462279293739E-2</c:v>
                </c:pt>
                <c:pt idx="811">
                  <c:v>1.44640627786695E-2</c:v>
                </c:pt>
                <c:pt idx="812">
                  <c:v>1.4481897627965E-2</c:v>
                </c:pt>
                <c:pt idx="813">
                  <c:v>1.44997324772605E-2</c:v>
                </c:pt>
                <c:pt idx="814">
                  <c:v>1.4517567326556E-2</c:v>
                </c:pt>
                <c:pt idx="815">
                  <c:v>1.45354021758516E-2</c:v>
                </c:pt>
                <c:pt idx="816">
                  <c:v>1.45532370251471E-2</c:v>
                </c:pt>
                <c:pt idx="817">
                  <c:v>1.45710718744426E-2</c:v>
                </c:pt>
                <c:pt idx="818">
                  <c:v>1.4588906723738099E-2</c:v>
                </c:pt>
                <c:pt idx="819">
                  <c:v>1.46067415730337E-2</c:v>
                </c:pt>
                <c:pt idx="820">
                  <c:v>1.46245764223292E-2</c:v>
                </c:pt>
                <c:pt idx="821">
                  <c:v>1.4642411271624699E-2</c:v>
                </c:pt>
                <c:pt idx="822">
                  <c:v>1.4660246120920199E-2</c:v>
                </c:pt>
                <c:pt idx="823">
                  <c:v>1.46780809702158E-2</c:v>
                </c:pt>
                <c:pt idx="824">
                  <c:v>1.4695915819511299E-2</c:v>
                </c:pt>
                <c:pt idx="825">
                  <c:v>1.4713750668806799E-2</c:v>
                </c:pt>
                <c:pt idx="826">
                  <c:v>1.4731585518102301E-2</c:v>
                </c:pt>
                <c:pt idx="827">
                  <c:v>1.4749420367397801E-2</c:v>
                </c:pt>
                <c:pt idx="828">
                  <c:v>1.4767255216693399E-2</c:v>
                </c:pt>
                <c:pt idx="829">
                  <c:v>1.4785090065988901E-2</c:v>
                </c:pt>
                <c:pt idx="830">
                  <c:v>1.4802924915284401E-2</c:v>
                </c:pt>
                <c:pt idx="831">
                  <c:v>1.48207597645799E-2</c:v>
                </c:pt>
                <c:pt idx="832">
                  <c:v>1.4838594613875499E-2</c:v>
                </c:pt>
                <c:pt idx="833">
                  <c:v>1.4856429463171001E-2</c:v>
                </c:pt>
                <c:pt idx="834">
                  <c:v>1.48742643124665E-2</c:v>
                </c:pt>
                <c:pt idx="835">
                  <c:v>1.4892099161762E-2</c:v>
                </c:pt>
                <c:pt idx="836">
                  <c:v>1.4909934011057601E-2</c:v>
                </c:pt>
                <c:pt idx="837">
                  <c:v>1.4927768860353101E-2</c:v>
                </c:pt>
                <c:pt idx="838">
                  <c:v>1.49456037096486E-2</c:v>
                </c:pt>
                <c:pt idx="839">
                  <c:v>1.49634385589441E-2</c:v>
                </c:pt>
                <c:pt idx="840">
                  <c:v>1.4981273408239701E-2</c:v>
                </c:pt>
                <c:pt idx="841">
                  <c:v>1.49991082575352E-2</c:v>
                </c:pt>
                <c:pt idx="842">
                  <c:v>1.50169431068307E-2</c:v>
                </c:pt>
                <c:pt idx="843">
                  <c:v>1.50347779561262E-2</c:v>
                </c:pt>
                <c:pt idx="844">
                  <c:v>1.50526128054217E-2</c:v>
                </c:pt>
                <c:pt idx="845">
                  <c:v>1.50704476547173E-2</c:v>
                </c:pt>
                <c:pt idx="846">
                  <c:v>1.50882825040128E-2</c:v>
                </c:pt>
                <c:pt idx="847">
                  <c:v>1.51061173533083E-2</c:v>
                </c:pt>
                <c:pt idx="848">
                  <c:v>1.51239522026038E-2</c:v>
                </c:pt>
                <c:pt idx="849">
                  <c:v>1.51417870518994E-2</c:v>
                </c:pt>
                <c:pt idx="850">
                  <c:v>1.51596219011949E-2</c:v>
                </c:pt>
                <c:pt idx="851">
                  <c:v>1.51774567504904E-2</c:v>
                </c:pt>
                <c:pt idx="852">
                  <c:v>1.5195291599785899E-2</c:v>
                </c:pt>
                <c:pt idx="853">
                  <c:v>1.52131264490815E-2</c:v>
                </c:pt>
                <c:pt idx="854">
                  <c:v>1.5230961298377E-2</c:v>
                </c:pt>
                <c:pt idx="855">
                  <c:v>1.5248796147672499E-2</c:v>
                </c:pt>
                <c:pt idx="856">
                  <c:v>1.5266630996967999E-2</c:v>
                </c:pt>
                <c:pt idx="857">
                  <c:v>1.52844658462636E-2</c:v>
                </c:pt>
                <c:pt idx="858">
                  <c:v>1.5302300695559099E-2</c:v>
                </c:pt>
                <c:pt idx="859">
                  <c:v>1.5320135544854599E-2</c:v>
                </c:pt>
                <c:pt idx="860">
                  <c:v>1.5337970394150101E-2</c:v>
                </c:pt>
                <c:pt idx="861">
                  <c:v>1.5355805243445601E-2</c:v>
                </c:pt>
                <c:pt idx="862">
                  <c:v>1.5373640092741199E-2</c:v>
                </c:pt>
                <c:pt idx="863">
                  <c:v>1.5391474942036701E-2</c:v>
                </c:pt>
                <c:pt idx="864">
                  <c:v>1.5409309791332201E-2</c:v>
                </c:pt>
                <c:pt idx="865">
                  <c:v>1.54271446406277E-2</c:v>
                </c:pt>
                <c:pt idx="866">
                  <c:v>1.5444979489923299E-2</c:v>
                </c:pt>
                <c:pt idx="867">
                  <c:v>1.5462814339218801E-2</c:v>
                </c:pt>
                <c:pt idx="868">
                  <c:v>1.54806491885143E-2</c:v>
                </c:pt>
                <c:pt idx="869">
                  <c:v>1.54984840378098E-2</c:v>
                </c:pt>
                <c:pt idx="870">
                  <c:v>1.5516318887105401E-2</c:v>
                </c:pt>
                <c:pt idx="871">
                  <c:v>1.5534153736400901E-2</c:v>
                </c:pt>
                <c:pt idx="872">
                  <c:v>1.55519885856964E-2</c:v>
                </c:pt>
                <c:pt idx="873">
                  <c:v>1.55698234349919E-2</c:v>
                </c:pt>
                <c:pt idx="874">
                  <c:v>1.55876582842874E-2</c:v>
                </c:pt>
                <c:pt idx="875">
                  <c:v>1.5605493133583E-2</c:v>
                </c:pt>
                <c:pt idx="876">
                  <c:v>1.56233279828785E-2</c:v>
                </c:pt>
                <c:pt idx="877">
                  <c:v>1.5641162832174E-2</c:v>
                </c:pt>
                <c:pt idx="878">
                  <c:v>1.56589976814695E-2</c:v>
                </c:pt>
                <c:pt idx="879">
                  <c:v>1.56768325307651E-2</c:v>
                </c:pt>
                <c:pt idx="880">
                  <c:v>1.56946673800606E-2</c:v>
                </c:pt>
                <c:pt idx="881">
                  <c:v>1.57125022293561E-2</c:v>
                </c:pt>
                <c:pt idx="882">
                  <c:v>1.57303370786516E-2</c:v>
                </c:pt>
                <c:pt idx="883">
                  <c:v>1.57481719279472E-2</c:v>
                </c:pt>
                <c:pt idx="884">
                  <c:v>1.57660067772427E-2</c:v>
                </c:pt>
                <c:pt idx="885">
                  <c:v>1.57838416265382E-2</c:v>
                </c:pt>
                <c:pt idx="886">
                  <c:v>1.5801676475833699E-2</c:v>
                </c:pt>
                <c:pt idx="887">
                  <c:v>1.58195113251293E-2</c:v>
                </c:pt>
                <c:pt idx="888">
                  <c:v>1.58373461744248E-2</c:v>
                </c:pt>
                <c:pt idx="889">
                  <c:v>1.5855181023720299E-2</c:v>
                </c:pt>
                <c:pt idx="890">
                  <c:v>1.5873015873015799E-2</c:v>
                </c:pt>
                <c:pt idx="891">
                  <c:v>1.5890850722311299E-2</c:v>
                </c:pt>
                <c:pt idx="892">
                  <c:v>1.59086855716069E-2</c:v>
                </c:pt>
                <c:pt idx="893">
                  <c:v>1.5926520420902399E-2</c:v>
                </c:pt>
                <c:pt idx="894">
                  <c:v>1.5944355270197899E-2</c:v>
                </c:pt>
                <c:pt idx="895">
                  <c:v>1.5962190119493399E-2</c:v>
                </c:pt>
                <c:pt idx="896">
                  <c:v>1.5980024968788999E-2</c:v>
                </c:pt>
                <c:pt idx="897">
                  <c:v>1.5997859818084499E-2</c:v>
                </c:pt>
                <c:pt idx="898">
                  <c:v>1.6015694667379999E-2</c:v>
                </c:pt>
                <c:pt idx="899">
                  <c:v>1.6033529516675499E-2</c:v>
                </c:pt>
                <c:pt idx="900">
                  <c:v>1.6051364365971099E-2</c:v>
                </c:pt>
                <c:pt idx="901">
                  <c:v>1.6069199215266599E-2</c:v>
                </c:pt>
                <c:pt idx="902">
                  <c:v>1.6087034064562099E-2</c:v>
                </c:pt>
                <c:pt idx="903">
                  <c:v>1.6104868913857599E-2</c:v>
                </c:pt>
                <c:pt idx="904">
                  <c:v>1.6122703763153199E-2</c:v>
                </c:pt>
                <c:pt idx="905">
                  <c:v>1.6140538612448699E-2</c:v>
                </c:pt>
                <c:pt idx="906">
                  <c:v>1.6158373461744199E-2</c:v>
                </c:pt>
                <c:pt idx="907">
                  <c:v>1.6176208311039698E-2</c:v>
                </c:pt>
                <c:pt idx="908">
                  <c:v>1.6194043160335202E-2</c:v>
                </c:pt>
                <c:pt idx="909">
                  <c:v>1.6211878009630799E-2</c:v>
                </c:pt>
                <c:pt idx="910">
                  <c:v>1.6229712858926298E-2</c:v>
                </c:pt>
                <c:pt idx="911">
                  <c:v>1.6247547708221802E-2</c:v>
                </c:pt>
                <c:pt idx="912">
                  <c:v>1.6265382557517302E-2</c:v>
                </c:pt>
                <c:pt idx="913">
                  <c:v>1.6283217406812898E-2</c:v>
                </c:pt>
                <c:pt idx="914">
                  <c:v>1.6301052256108398E-2</c:v>
                </c:pt>
                <c:pt idx="915">
                  <c:v>1.6318887105403902E-2</c:v>
                </c:pt>
                <c:pt idx="916">
                  <c:v>1.6336721954699401E-2</c:v>
                </c:pt>
                <c:pt idx="917">
                  <c:v>1.6354556803994998E-2</c:v>
                </c:pt>
                <c:pt idx="918">
                  <c:v>1.6372391653290502E-2</c:v>
                </c:pt>
                <c:pt idx="919">
                  <c:v>1.6390226502586001E-2</c:v>
                </c:pt>
                <c:pt idx="920">
                  <c:v>1.6408061351881501E-2</c:v>
                </c:pt>
                <c:pt idx="921">
                  <c:v>1.6425896201177102E-2</c:v>
                </c:pt>
                <c:pt idx="922">
                  <c:v>1.6443731050472601E-2</c:v>
                </c:pt>
                <c:pt idx="923">
                  <c:v>1.6461565899768101E-2</c:v>
                </c:pt>
                <c:pt idx="924">
                  <c:v>1.6479400749063601E-2</c:v>
                </c:pt>
                <c:pt idx="925">
                  <c:v>1.6497235598359101E-2</c:v>
                </c:pt>
                <c:pt idx="926">
                  <c:v>1.6515070447654701E-2</c:v>
                </c:pt>
                <c:pt idx="927">
                  <c:v>1.6532905296950201E-2</c:v>
                </c:pt>
                <c:pt idx="928">
                  <c:v>1.6550740146245701E-2</c:v>
                </c:pt>
                <c:pt idx="929">
                  <c:v>1.6568574995541201E-2</c:v>
                </c:pt>
                <c:pt idx="930">
                  <c:v>1.6586409844836801E-2</c:v>
                </c:pt>
                <c:pt idx="931">
                  <c:v>1.6604244694132301E-2</c:v>
                </c:pt>
                <c:pt idx="932">
                  <c:v>1.6622079543427801E-2</c:v>
                </c:pt>
                <c:pt idx="933">
                  <c:v>1.6639914392723301E-2</c:v>
                </c:pt>
                <c:pt idx="934">
                  <c:v>1.6657749242018901E-2</c:v>
                </c:pt>
                <c:pt idx="935">
                  <c:v>1.6675584091314401E-2</c:v>
                </c:pt>
                <c:pt idx="936">
                  <c:v>1.6693418940609901E-2</c:v>
                </c:pt>
                <c:pt idx="937">
                  <c:v>1.67112537899054E-2</c:v>
                </c:pt>
                <c:pt idx="938">
                  <c:v>1.67290886392009E-2</c:v>
                </c:pt>
                <c:pt idx="939">
                  <c:v>1.6746923488496501E-2</c:v>
                </c:pt>
                <c:pt idx="940">
                  <c:v>1.6764758337792E-2</c:v>
                </c:pt>
                <c:pt idx="941">
                  <c:v>1.67825931870875E-2</c:v>
                </c:pt>
                <c:pt idx="942">
                  <c:v>1.6800428036383E-2</c:v>
                </c:pt>
                <c:pt idx="943">
                  <c:v>1.68182628856786E-2</c:v>
                </c:pt>
                <c:pt idx="944">
                  <c:v>1.68360977349741E-2</c:v>
                </c:pt>
                <c:pt idx="945">
                  <c:v>1.68539325842696E-2</c:v>
                </c:pt>
                <c:pt idx="946">
                  <c:v>1.68717674335651E-2</c:v>
                </c:pt>
                <c:pt idx="947">
                  <c:v>1.68896022828607E-2</c:v>
                </c:pt>
                <c:pt idx="948">
                  <c:v>1.69074371321562E-2</c:v>
                </c:pt>
                <c:pt idx="949">
                  <c:v>1.69252719814517E-2</c:v>
                </c:pt>
                <c:pt idx="950">
                  <c:v>1.69431068307472E-2</c:v>
                </c:pt>
                <c:pt idx="951">
                  <c:v>1.69609416800428E-2</c:v>
                </c:pt>
                <c:pt idx="952">
                  <c:v>1.69787765293383E-2</c:v>
                </c:pt>
                <c:pt idx="953">
                  <c:v>1.69966113786338E-2</c:v>
                </c:pt>
                <c:pt idx="954">
                  <c:v>1.7014446227929299E-2</c:v>
                </c:pt>
                <c:pt idx="955">
                  <c:v>1.7032281077224799E-2</c:v>
                </c:pt>
                <c:pt idx="956">
                  <c:v>1.70501159265204E-2</c:v>
                </c:pt>
                <c:pt idx="957">
                  <c:v>1.70679507758159E-2</c:v>
                </c:pt>
                <c:pt idx="958">
                  <c:v>1.7085785625111399E-2</c:v>
                </c:pt>
                <c:pt idx="959">
                  <c:v>1.7103620474406899E-2</c:v>
                </c:pt>
                <c:pt idx="960">
                  <c:v>1.71214553237025E-2</c:v>
                </c:pt>
                <c:pt idx="961">
                  <c:v>1.7139290172997999E-2</c:v>
                </c:pt>
                <c:pt idx="962">
                  <c:v>1.7157125022293499E-2</c:v>
                </c:pt>
                <c:pt idx="963">
                  <c:v>1.7174959871588999E-2</c:v>
                </c:pt>
                <c:pt idx="964">
                  <c:v>1.7192794720884599E-2</c:v>
                </c:pt>
                <c:pt idx="965">
                  <c:v>1.7210629570180099E-2</c:v>
                </c:pt>
                <c:pt idx="966">
                  <c:v>1.7228464419475599E-2</c:v>
                </c:pt>
                <c:pt idx="967">
                  <c:v>1.7246299268771099E-2</c:v>
                </c:pt>
                <c:pt idx="968">
                  <c:v>1.7264134118066699E-2</c:v>
                </c:pt>
                <c:pt idx="969">
                  <c:v>1.7281968967362199E-2</c:v>
                </c:pt>
                <c:pt idx="970">
                  <c:v>1.7299803816657699E-2</c:v>
                </c:pt>
                <c:pt idx="971">
                  <c:v>1.7317638665953199E-2</c:v>
                </c:pt>
                <c:pt idx="972">
                  <c:v>1.7335473515248698E-2</c:v>
                </c:pt>
                <c:pt idx="973">
                  <c:v>1.7353308364544299E-2</c:v>
                </c:pt>
                <c:pt idx="974">
                  <c:v>1.7371143213839799E-2</c:v>
                </c:pt>
                <c:pt idx="975">
                  <c:v>1.7388978063135298E-2</c:v>
                </c:pt>
                <c:pt idx="976">
                  <c:v>1.7406812912430802E-2</c:v>
                </c:pt>
                <c:pt idx="977">
                  <c:v>1.7424647761726399E-2</c:v>
                </c:pt>
                <c:pt idx="978">
                  <c:v>1.7442482611021898E-2</c:v>
                </c:pt>
                <c:pt idx="979">
                  <c:v>1.7460317460317398E-2</c:v>
                </c:pt>
                <c:pt idx="980">
                  <c:v>1.7478152309612902E-2</c:v>
                </c:pt>
                <c:pt idx="981">
                  <c:v>1.7495987158908499E-2</c:v>
                </c:pt>
                <c:pt idx="982">
                  <c:v>1.7513822008203998E-2</c:v>
                </c:pt>
                <c:pt idx="983">
                  <c:v>1.7531656857499502E-2</c:v>
                </c:pt>
                <c:pt idx="984">
                  <c:v>1.7549491706795001E-2</c:v>
                </c:pt>
                <c:pt idx="985">
                  <c:v>1.7567326556090598E-2</c:v>
                </c:pt>
                <c:pt idx="986">
                  <c:v>1.7585161405386102E-2</c:v>
                </c:pt>
                <c:pt idx="987">
                  <c:v>1.7602996254681601E-2</c:v>
                </c:pt>
                <c:pt idx="988">
                  <c:v>1.7620831103977101E-2</c:v>
                </c:pt>
                <c:pt idx="989">
                  <c:v>1.7638665953272601E-2</c:v>
                </c:pt>
                <c:pt idx="990">
                  <c:v>1.7656500802568201E-2</c:v>
                </c:pt>
                <c:pt idx="991">
                  <c:v>1.7674335651863701E-2</c:v>
                </c:pt>
                <c:pt idx="992">
                  <c:v>1.7692170501159201E-2</c:v>
                </c:pt>
                <c:pt idx="993">
                  <c:v>1.7710005350454701E-2</c:v>
                </c:pt>
                <c:pt idx="994">
                  <c:v>1.7727840199750301E-2</c:v>
                </c:pt>
                <c:pt idx="995">
                  <c:v>1.7745675049045801E-2</c:v>
                </c:pt>
                <c:pt idx="996">
                  <c:v>1.7763509898341301E-2</c:v>
                </c:pt>
                <c:pt idx="997">
                  <c:v>1.7781344747636801E-2</c:v>
                </c:pt>
                <c:pt idx="998">
                  <c:v>1.7799179596932401E-2</c:v>
                </c:pt>
                <c:pt idx="999">
                  <c:v>1.7817014446227901E-2</c:v>
                </c:pt>
                <c:pt idx="1000">
                  <c:v>1.7834849295523401E-2</c:v>
                </c:pt>
                <c:pt idx="1001">
                  <c:v>1.7852684144818901E-2</c:v>
                </c:pt>
                <c:pt idx="1002">
                  <c:v>1.7870518994114501E-2</c:v>
                </c:pt>
                <c:pt idx="1003">
                  <c:v>1.7888353843410001E-2</c:v>
                </c:pt>
                <c:pt idx="1004">
                  <c:v>1.7906188692705501E-2</c:v>
                </c:pt>
                <c:pt idx="1005">
                  <c:v>1.7924023542001E-2</c:v>
                </c:pt>
                <c:pt idx="1006">
                  <c:v>1.79418583912965E-2</c:v>
                </c:pt>
                <c:pt idx="1007">
                  <c:v>1.7959693240592101E-2</c:v>
                </c:pt>
                <c:pt idx="1008">
                  <c:v>1.79775280898876E-2</c:v>
                </c:pt>
                <c:pt idx="1009">
                  <c:v>1.79953629391831E-2</c:v>
                </c:pt>
                <c:pt idx="1010">
                  <c:v>1.80131977884786E-2</c:v>
                </c:pt>
                <c:pt idx="1011">
                  <c:v>1.80310326377742E-2</c:v>
                </c:pt>
                <c:pt idx="1012">
                  <c:v>1.80488674870697E-2</c:v>
                </c:pt>
                <c:pt idx="1013">
                  <c:v>1.80667023363652E-2</c:v>
                </c:pt>
                <c:pt idx="1014">
                  <c:v>1.80845371856607E-2</c:v>
                </c:pt>
                <c:pt idx="1015">
                  <c:v>1.81023720349563E-2</c:v>
                </c:pt>
                <c:pt idx="1016">
                  <c:v>1.81202068842518E-2</c:v>
                </c:pt>
                <c:pt idx="1017">
                  <c:v>1.81380417335473E-2</c:v>
                </c:pt>
                <c:pt idx="1018">
                  <c:v>1.81558765828428E-2</c:v>
                </c:pt>
                <c:pt idx="1019">
                  <c:v>1.81737114321384E-2</c:v>
                </c:pt>
                <c:pt idx="1020">
                  <c:v>1.81915462814339E-2</c:v>
                </c:pt>
                <c:pt idx="1021">
                  <c:v>1.82093811307294E-2</c:v>
                </c:pt>
                <c:pt idx="1022">
                  <c:v>1.82272159800249E-2</c:v>
                </c:pt>
                <c:pt idx="1023">
                  <c:v>1.8245050829320399E-2</c:v>
                </c:pt>
                <c:pt idx="1024">
                  <c:v>1.8262885678616E-2</c:v>
                </c:pt>
                <c:pt idx="1025">
                  <c:v>1.82807205279115E-2</c:v>
                </c:pt>
                <c:pt idx="1026">
                  <c:v>1.8298555377206999E-2</c:v>
                </c:pt>
                <c:pt idx="1027">
                  <c:v>1.8316390226502499E-2</c:v>
                </c:pt>
                <c:pt idx="1028">
                  <c:v>1.83342250757981E-2</c:v>
                </c:pt>
                <c:pt idx="1029">
                  <c:v>1.8352059925093599E-2</c:v>
                </c:pt>
                <c:pt idx="1030">
                  <c:v>1.8369894774389099E-2</c:v>
                </c:pt>
                <c:pt idx="1031">
                  <c:v>1.8387729623684599E-2</c:v>
                </c:pt>
                <c:pt idx="1032">
                  <c:v>1.8405564472980199E-2</c:v>
                </c:pt>
                <c:pt idx="1033">
                  <c:v>1.8423399322275699E-2</c:v>
                </c:pt>
                <c:pt idx="1034">
                  <c:v>1.8441234171571199E-2</c:v>
                </c:pt>
                <c:pt idx="1035">
                  <c:v>1.8459069020866699E-2</c:v>
                </c:pt>
                <c:pt idx="1036">
                  <c:v>1.8476903870162199E-2</c:v>
                </c:pt>
                <c:pt idx="1037">
                  <c:v>1.8494738719457799E-2</c:v>
                </c:pt>
                <c:pt idx="1038">
                  <c:v>1.8512573568753299E-2</c:v>
                </c:pt>
                <c:pt idx="1039">
                  <c:v>1.8530408418048799E-2</c:v>
                </c:pt>
                <c:pt idx="1040">
                  <c:v>1.8548243267344298E-2</c:v>
                </c:pt>
                <c:pt idx="1041">
                  <c:v>1.8566078116639899E-2</c:v>
                </c:pt>
                <c:pt idx="1042">
                  <c:v>1.8583912965935399E-2</c:v>
                </c:pt>
                <c:pt idx="1043">
                  <c:v>1.8601747815230898E-2</c:v>
                </c:pt>
                <c:pt idx="1044">
                  <c:v>1.8619582664526398E-2</c:v>
                </c:pt>
                <c:pt idx="1045">
                  <c:v>1.8637417513821999E-2</c:v>
                </c:pt>
                <c:pt idx="1046">
                  <c:v>1.8655252363117499E-2</c:v>
                </c:pt>
                <c:pt idx="1047">
                  <c:v>1.8673087212412998E-2</c:v>
                </c:pt>
                <c:pt idx="1048">
                  <c:v>1.8690922061708502E-2</c:v>
                </c:pt>
                <c:pt idx="1049">
                  <c:v>1.8708756911004099E-2</c:v>
                </c:pt>
                <c:pt idx="1050">
                  <c:v>1.8726591760299598E-2</c:v>
                </c:pt>
                <c:pt idx="1051">
                  <c:v>1.8744426609595102E-2</c:v>
                </c:pt>
                <c:pt idx="1052">
                  <c:v>1.8762261458890601E-2</c:v>
                </c:pt>
                <c:pt idx="1053">
                  <c:v>1.8780096308186101E-2</c:v>
                </c:pt>
                <c:pt idx="1054">
                  <c:v>1.8797931157481702E-2</c:v>
                </c:pt>
                <c:pt idx="1055">
                  <c:v>1.8815766006777201E-2</c:v>
                </c:pt>
                <c:pt idx="1056">
                  <c:v>1.8833600856072701E-2</c:v>
                </c:pt>
                <c:pt idx="1057">
                  <c:v>1.8851435705368201E-2</c:v>
                </c:pt>
                <c:pt idx="1058">
                  <c:v>1.8869270554663801E-2</c:v>
                </c:pt>
                <c:pt idx="1059">
                  <c:v>1.8887105403959301E-2</c:v>
                </c:pt>
                <c:pt idx="1060">
                  <c:v>1.8904940253254801E-2</c:v>
                </c:pt>
                <c:pt idx="1061">
                  <c:v>1.8922775102550301E-2</c:v>
                </c:pt>
                <c:pt idx="1062">
                  <c:v>1.8940609951845901E-2</c:v>
                </c:pt>
                <c:pt idx="1063">
                  <c:v>1.8958444801141401E-2</c:v>
                </c:pt>
                <c:pt idx="1064">
                  <c:v>1.8976279650436901E-2</c:v>
                </c:pt>
                <c:pt idx="1065">
                  <c:v>1.8994114499732401E-2</c:v>
                </c:pt>
                <c:pt idx="1066">
                  <c:v>1.9011949349028001E-2</c:v>
                </c:pt>
                <c:pt idx="1067">
                  <c:v>1.9029784198323501E-2</c:v>
                </c:pt>
                <c:pt idx="1068">
                  <c:v>1.9047619047619001E-2</c:v>
                </c:pt>
                <c:pt idx="1069">
                  <c:v>1.9065453896914501E-2</c:v>
                </c:pt>
                <c:pt idx="1070">
                  <c:v>1.908328874621E-2</c:v>
                </c:pt>
                <c:pt idx="1071">
                  <c:v>1.9101123595505601E-2</c:v>
                </c:pt>
                <c:pt idx="1072">
                  <c:v>1.9118958444801101E-2</c:v>
                </c:pt>
                <c:pt idx="1073">
                  <c:v>1.91367932940966E-2</c:v>
                </c:pt>
                <c:pt idx="1074">
                  <c:v>1.91546281433921E-2</c:v>
                </c:pt>
                <c:pt idx="1075">
                  <c:v>1.9172462992687701E-2</c:v>
                </c:pt>
                <c:pt idx="1076">
                  <c:v>1.91902978419832E-2</c:v>
                </c:pt>
                <c:pt idx="1077">
                  <c:v>1.92081326912787E-2</c:v>
                </c:pt>
                <c:pt idx="1078">
                  <c:v>1.92259675405742E-2</c:v>
                </c:pt>
                <c:pt idx="1079">
                  <c:v>1.92438023898698E-2</c:v>
                </c:pt>
                <c:pt idx="1080">
                  <c:v>1.92616372391653E-2</c:v>
                </c:pt>
                <c:pt idx="1081">
                  <c:v>1.92794720884608E-2</c:v>
                </c:pt>
                <c:pt idx="1082">
                  <c:v>1.92973069377563E-2</c:v>
                </c:pt>
                <c:pt idx="1083">
                  <c:v>1.93151417870519E-2</c:v>
                </c:pt>
                <c:pt idx="1084">
                  <c:v>1.93329766363474E-2</c:v>
                </c:pt>
                <c:pt idx="1085">
                  <c:v>1.93508114856429E-2</c:v>
                </c:pt>
                <c:pt idx="1086">
                  <c:v>1.93686463349384E-2</c:v>
                </c:pt>
                <c:pt idx="1087">
                  <c:v>1.93864811842339E-2</c:v>
                </c:pt>
                <c:pt idx="1088">
                  <c:v>1.94043160335295E-2</c:v>
                </c:pt>
                <c:pt idx="1089">
                  <c:v>1.9422150882825E-2</c:v>
                </c:pt>
                <c:pt idx="1090">
                  <c:v>1.94399857321205E-2</c:v>
                </c:pt>
                <c:pt idx="1091">
                  <c:v>1.9457820581415999E-2</c:v>
                </c:pt>
                <c:pt idx="1092">
                  <c:v>1.94756554307116E-2</c:v>
                </c:pt>
                <c:pt idx="1093">
                  <c:v>1.94934902800071E-2</c:v>
                </c:pt>
                <c:pt idx="1094">
                  <c:v>1.9511325129302599E-2</c:v>
                </c:pt>
                <c:pt idx="1095">
                  <c:v>1.9529159978598099E-2</c:v>
                </c:pt>
                <c:pt idx="1096">
                  <c:v>1.95469948278937E-2</c:v>
                </c:pt>
                <c:pt idx="1097">
                  <c:v>1.9564829677189199E-2</c:v>
                </c:pt>
                <c:pt idx="1098">
                  <c:v>1.9582664526484699E-2</c:v>
                </c:pt>
                <c:pt idx="1099">
                  <c:v>1.9600499375780199E-2</c:v>
                </c:pt>
                <c:pt idx="1100">
                  <c:v>1.9618334225075799E-2</c:v>
                </c:pt>
                <c:pt idx="1101">
                  <c:v>1.9636169074371299E-2</c:v>
                </c:pt>
                <c:pt idx="1102">
                  <c:v>1.9654003923666799E-2</c:v>
                </c:pt>
                <c:pt idx="1103">
                  <c:v>1.9671838772962299E-2</c:v>
                </c:pt>
                <c:pt idx="1104">
                  <c:v>1.9689673622257799E-2</c:v>
                </c:pt>
                <c:pt idx="1105">
                  <c:v>1.9707508471553399E-2</c:v>
                </c:pt>
                <c:pt idx="1106">
                  <c:v>1.9725343320848899E-2</c:v>
                </c:pt>
                <c:pt idx="1107">
                  <c:v>1.9743178170144399E-2</c:v>
                </c:pt>
                <c:pt idx="1108">
                  <c:v>1.9761013019439898E-2</c:v>
                </c:pt>
                <c:pt idx="1109">
                  <c:v>1.9778847868735499E-2</c:v>
                </c:pt>
                <c:pt idx="1110">
                  <c:v>1.9796682718030999E-2</c:v>
                </c:pt>
                <c:pt idx="1111">
                  <c:v>1.9814517567326499E-2</c:v>
                </c:pt>
                <c:pt idx="1112">
                  <c:v>1.9832352416621998E-2</c:v>
                </c:pt>
                <c:pt idx="1113">
                  <c:v>1.9850187265917599E-2</c:v>
                </c:pt>
                <c:pt idx="1114">
                  <c:v>1.9868022115213099E-2</c:v>
                </c:pt>
                <c:pt idx="1115">
                  <c:v>1.9885856964508598E-2</c:v>
                </c:pt>
                <c:pt idx="1116">
                  <c:v>1.9903691813804102E-2</c:v>
                </c:pt>
                <c:pt idx="1117">
                  <c:v>1.9921526663099601E-2</c:v>
                </c:pt>
                <c:pt idx="1118">
                  <c:v>1.9939361512395198E-2</c:v>
                </c:pt>
                <c:pt idx="1119">
                  <c:v>1.9957196361690702E-2</c:v>
                </c:pt>
                <c:pt idx="1120">
                  <c:v>1.9975031210986201E-2</c:v>
                </c:pt>
                <c:pt idx="1121">
                  <c:v>1.9992866060281701E-2</c:v>
                </c:pt>
                <c:pt idx="1122">
                  <c:v>2.0010700909577302E-2</c:v>
                </c:pt>
                <c:pt idx="1123">
                  <c:v>2.0028535758872801E-2</c:v>
                </c:pt>
                <c:pt idx="1124">
                  <c:v>2.0046370608168301E-2</c:v>
                </c:pt>
                <c:pt idx="1125">
                  <c:v>2.0064205457463801E-2</c:v>
                </c:pt>
                <c:pt idx="1126">
                  <c:v>2.0082040306759402E-2</c:v>
                </c:pt>
                <c:pt idx="1127">
                  <c:v>2.0099875156054901E-2</c:v>
                </c:pt>
                <c:pt idx="1128">
                  <c:v>2.0117710005350401E-2</c:v>
                </c:pt>
                <c:pt idx="1129">
                  <c:v>2.0135544854645901E-2</c:v>
                </c:pt>
                <c:pt idx="1130">
                  <c:v>2.0153379703941501E-2</c:v>
                </c:pt>
                <c:pt idx="1131">
                  <c:v>2.0171214553237001E-2</c:v>
                </c:pt>
                <c:pt idx="1132">
                  <c:v>2.0189049402532501E-2</c:v>
                </c:pt>
                <c:pt idx="1133">
                  <c:v>2.0206884251828001E-2</c:v>
                </c:pt>
                <c:pt idx="1134">
                  <c:v>2.0224719101123501E-2</c:v>
                </c:pt>
                <c:pt idx="1135">
                  <c:v>2.0242553950419101E-2</c:v>
                </c:pt>
                <c:pt idx="1136">
                  <c:v>2.0260388799714601E-2</c:v>
                </c:pt>
                <c:pt idx="1137">
                  <c:v>2.0278223649010101E-2</c:v>
                </c:pt>
                <c:pt idx="1138">
                  <c:v>2.02960584983056E-2</c:v>
                </c:pt>
                <c:pt idx="1139">
                  <c:v>2.0313893347601201E-2</c:v>
                </c:pt>
                <c:pt idx="1140">
                  <c:v>2.0331728196896701E-2</c:v>
                </c:pt>
                <c:pt idx="1141">
                  <c:v>2.03495630461922E-2</c:v>
                </c:pt>
                <c:pt idx="1142">
                  <c:v>2.03673978954877E-2</c:v>
                </c:pt>
                <c:pt idx="1143">
                  <c:v>2.0385232744783301E-2</c:v>
                </c:pt>
                <c:pt idx="1144">
                  <c:v>2.04030675940788E-2</c:v>
                </c:pt>
                <c:pt idx="1145">
                  <c:v>2.04209024433743E-2</c:v>
                </c:pt>
                <c:pt idx="1146">
                  <c:v>2.04387372926698E-2</c:v>
                </c:pt>
                <c:pt idx="1147">
                  <c:v>2.04565721419654E-2</c:v>
                </c:pt>
                <c:pt idx="1148">
                  <c:v>2.04744069912609E-2</c:v>
                </c:pt>
                <c:pt idx="1149">
                  <c:v>2.04922418405564E-2</c:v>
                </c:pt>
                <c:pt idx="1150">
                  <c:v>2.05100766898519E-2</c:v>
                </c:pt>
                <c:pt idx="1151">
                  <c:v>2.05279115391474E-2</c:v>
                </c:pt>
                <c:pt idx="1152">
                  <c:v>2.0545746388443E-2</c:v>
                </c:pt>
                <c:pt idx="1153">
                  <c:v>2.05635812377385E-2</c:v>
                </c:pt>
                <c:pt idx="1154">
                  <c:v>2.0581416087034E-2</c:v>
                </c:pt>
                <c:pt idx="1155">
                  <c:v>2.05992509363295E-2</c:v>
                </c:pt>
                <c:pt idx="1156">
                  <c:v>2.06170857856251E-2</c:v>
                </c:pt>
                <c:pt idx="1157">
                  <c:v>2.06349206349206E-2</c:v>
                </c:pt>
                <c:pt idx="1158">
                  <c:v>2.06527554842161E-2</c:v>
                </c:pt>
                <c:pt idx="1159">
                  <c:v>2.0670590333511599E-2</c:v>
                </c:pt>
                <c:pt idx="1160">
                  <c:v>2.06884251828072E-2</c:v>
                </c:pt>
                <c:pt idx="1161">
                  <c:v>2.07062600321027E-2</c:v>
                </c:pt>
                <c:pt idx="1162">
                  <c:v>2.0724094881398199E-2</c:v>
                </c:pt>
                <c:pt idx="1163">
                  <c:v>2.0741929730693699E-2</c:v>
                </c:pt>
                <c:pt idx="1164">
                  <c:v>2.07597645799893E-2</c:v>
                </c:pt>
                <c:pt idx="1165">
                  <c:v>2.0777599429284799E-2</c:v>
                </c:pt>
                <c:pt idx="1166">
                  <c:v>2.0795434278580299E-2</c:v>
                </c:pt>
                <c:pt idx="1167">
                  <c:v>2.0813269127875799E-2</c:v>
                </c:pt>
                <c:pt idx="1168">
                  <c:v>2.0831103977171299E-2</c:v>
                </c:pt>
                <c:pt idx="1169">
                  <c:v>2.0848938826466899E-2</c:v>
                </c:pt>
                <c:pt idx="1170">
                  <c:v>2.0866773675762399E-2</c:v>
                </c:pt>
                <c:pt idx="1171">
                  <c:v>2.0884608525057899E-2</c:v>
                </c:pt>
                <c:pt idx="1172">
                  <c:v>2.0902443374353399E-2</c:v>
                </c:pt>
                <c:pt idx="1173">
                  <c:v>2.0920278223648999E-2</c:v>
                </c:pt>
                <c:pt idx="1174">
                  <c:v>2.0938113072944499E-2</c:v>
                </c:pt>
                <c:pt idx="1175">
                  <c:v>2.0955947922239999E-2</c:v>
                </c:pt>
                <c:pt idx="1176">
                  <c:v>2.0973782771535499E-2</c:v>
                </c:pt>
                <c:pt idx="1177">
                  <c:v>2.0991617620831099E-2</c:v>
                </c:pt>
                <c:pt idx="1178">
                  <c:v>2.1009452470126599E-2</c:v>
                </c:pt>
                <c:pt idx="1179">
                  <c:v>2.1027287319422099E-2</c:v>
                </c:pt>
                <c:pt idx="1180">
                  <c:v>2.1045122168717598E-2</c:v>
                </c:pt>
                <c:pt idx="1181">
                  <c:v>2.1062957018013199E-2</c:v>
                </c:pt>
                <c:pt idx="1182">
                  <c:v>2.1080791867308699E-2</c:v>
                </c:pt>
                <c:pt idx="1183">
                  <c:v>2.1098626716604198E-2</c:v>
                </c:pt>
                <c:pt idx="1184">
                  <c:v>2.1116461565899702E-2</c:v>
                </c:pt>
                <c:pt idx="1185">
                  <c:v>2.1134296415195201E-2</c:v>
                </c:pt>
                <c:pt idx="1186">
                  <c:v>2.1152131264490798E-2</c:v>
                </c:pt>
                <c:pt idx="1187">
                  <c:v>2.1169966113786302E-2</c:v>
                </c:pt>
                <c:pt idx="1188">
                  <c:v>2.1187800963081801E-2</c:v>
                </c:pt>
                <c:pt idx="1189">
                  <c:v>2.1205635812377301E-2</c:v>
                </c:pt>
                <c:pt idx="1190">
                  <c:v>2.1223470661672902E-2</c:v>
                </c:pt>
                <c:pt idx="1191">
                  <c:v>2.1241305510968402E-2</c:v>
                </c:pt>
                <c:pt idx="1192">
                  <c:v>2.1259140360263901E-2</c:v>
                </c:pt>
                <c:pt idx="1193">
                  <c:v>2.1276975209559401E-2</c:v>
                </c:pt>
                <c:pt idx="1194">
                  <c:v>2.1294810058855002E-2</c:v>
                </c:pt>
                <c:pt idx="1195">
                  <c:v>2.1312644908150501E-2</c:v>
                </c:pt>
                <c:pt idx="1196">
                  <c:v>2.1330479757446001E-2</c:v>
                </c:pt>
                <c:pt idx="1197">
                  <c:v>2.1348314606741501E-2</c:v>
                </c:pt>
                <c:pt idx="1198">
                  <c:v>2.1366149456037001E-2</c:v>
                </c:pt>
                <c:pt idx="1199">
                  <c:v>2.1383984305332601E-2</c:v>
                </c:pt>
                <c:pt idx="1200">
                  <c:v>2.1401819154628101E-2</c:v>
                </c:pt>
                <c:pt idx="1201">
                  <c:v>2.1419654003923601E-2</c:v>
                </c:pt>
                <c:pt idx="1202">
                  <c:v>2.1437488853219101E-2</c:v>
                </c:pt>
                <c:pt idx="1203">
                  <c:v>2.1455323702514701E-2</c:v>
                </c:pt>
                <c:pt idx="1204">
                  <c:v>2.1473158551810201E-2</c:v>
                </c:pt>
                <c:pt idx="1205">
                  <c:v>2.1490993401105701E-2</c:v>
                </c:pt>
                <c:pt idx="1206">
                  <c:v>2.15088282504012E-2</c:v>
                </c:pt>
                <c:pt idx="1207">
                  <c:v>2.1526663099696801E-2</c:v>
                </c:pt>
                <c:pt idx="1208">
                  <c:v>2.1544497948992301E-2</c:v>
                </c:pt>
                <c:pt idx="1209">
                  <c:v>2.15623327982878E-2</c:v>
                </c:pt>
                <c:pt idx="1210">
                  <c:v>2.15801676475833E-2</c:v>
                </c:pt>
                <c:pt idx="1211">
                  <c:v>2.1598002496878901E-2</c:v>
                </c:pt>
                <c:pt idx="1212">
                  <c:v>2.1615837346174401E-2</c:v>
                </c:pt>
                <c:pt idx="1213">
                  <c:v>2.16336721954699E-2</c:v>
                </c:pt>
                <c:pt idx="1214">
                  <c:v>2.16515070447654E-2</c:v>
                </c:pt>
                <c:pt idx="1215">
                  <c:v>2.16693418940609E-2</c:v>
                </c:pt>
                <c:pt idx="1216">
                  <c:v>2.16871767433565E-2</c:v>
                </c:pt>
                <c:pt idx="1217">
                  <c:v>2.1705011592652E-2</c:v>
                </c:pt>
                <c:pt idx="1218">
                  <c:v>2.17228464419475E-2</c:v>
                </c:pt>
                <c:pt idx="1219">
                  <c:v>2.1740681291243E-2</c:v>
                </c:pt>
                <c:pt idx="1220">
                  <c:v>2.17585161405386E-2</c:v>
                </c:pt>
                <c:pt idx="1221">
                  <c:v>2.17763509898341E-2</c:v>
                </c:pt>
                <c:pt idx="1222">
                  <c:v>2.17941858391296E-2</c:v>
                </c:pt>
                <c:pt idx="1223">
                  <c:v>2.18120206884251E-2</c:v>
                </c:pt>
                <c:pt idx="1224">
                  <c:v>2.18298555377207E-2</c:v>
                </c:pt>
                <c:pt idx="1225">
                  <c:v>2.18476903870162E-2</c:v>
                </c:pt>
                <c:pt idx="1226">
                  <c:v>2.18655252363117E-2</c:v>
                </c:pt>
                <c:pt idx="1227">
                  <c:v>2.1883360085607199E-2</c:v>
                </c:pt>
                <c:pt idx="1228">
                  <c:v>2.19011949349028E-2</c:v>
                </c:pt>
                <c:pt idx="1229">
                  <c:v>2.19190297841983E-2</c:v>
                </c:pt>
                <c:pt idx="1230">
                  <c:v>2.1936864633493799E-2</c:v>
                </c:pt>
                <c:pt idx="1231">
                  <c:v>2.1954699482789299E-2</c:v>
                </c:pt>
                <c:pt idx="1232">
                  <c:v>2.1972534332084799E-2</c:v>
                </c:pt>
                <c:pt idx="1233">
                  <c:v>2.1990369181380399E-2</c:v>
                </c:pt>
                <c:pt idx="1234">
                  <c:v>2.2008204030675899E-2</c:v>
                </c:pt>
                <c:pt idx="1235">
                  <c:v>2.2026038879971399E-2</c:v>
                </c:pt>
                <c:pt idx="1236">
                  <c:v>2.2043873729266899E-2</c:v>
                </c:pt>
                <c:pt idx="1237">
                  <c:v>2.2061708578562499E-2</c:v>
                </c:pt>
                <c:pt idx="1238">
                  <c:v>2.2079543427857999E-2</c:v>
                </c:pt>
                <c:pt idx="1239">
                  <c:v>2.2097378277153499E-2</c:v>
                </c:pt>
                <c:pt idx="1240">
                  <c:v>2.2115213126448999E-2</c:v>
                </c:pt>
                <c:pt idx="1241">
                  <c:v>2.2133047975744599E-2</c:v>
                </c:pt>
                <c:pt idx="1242">
                  <c:v>2.2150882825040099E-2</c:v>
                </c:pt>
                <c:pt idx="1243">
                  <c:v>2.2168717674335599E-2</c:v>
                </c:pt>
                <c:pt idx="1244">
                  <c:v>2.2186552523631099E-2</c:v>
                </c:pt>
                <c:pt idx="1245">
                  <c:v>2.2204387372926699E-2</c:v>
                </c:pt>
                <c:pt idx="1246">
                  <c:v>2.2222222222222199E-2</c:v>
                </c:pt>
                <c:pt idx="1247">
                  <c:v>2.2240057071517699E-2</c:v>
                </c:pt>
                <c:pt idx="1248">
                  <c:v>2.2257891920813198E-2</c:v>
                </c:pt>
                <c:pt idx="1249">
                  <c:v>2.2275726770108702E-2</c:v>
                </c:pt>
                <c:pt idx="1250">
                  <c:v>2.2293561619404299E-2</c:v>
                </c:pt>
                <c:pt idx="1251">
                  <c:v>2.2311396468699798E-2</c:v>
                </c:pt>
                <c:pt idx="1252">
                  <c:v>2.2329231317995302E-2</c:v>
                </c:pt>
                <c:pt idx="1253">
                  <c:v>2.2347066167290802E-2</c:v>
                </c:pt>
                <c:pt idx="1254">
                  <c:v>2.2364901016586398E-2</c:v>
                </c:pt>
                <c:pt idx="1255">
                  <c:v>2.2382735865881902E-2</c:v>
                </c:pt>
                <c:pt idx="1256">
                  <c:v>2.2400570715177402E-2</c:v>
                </c:pt>
                <c:pt idx="1257">
                  <c:v>2.2418405564472901E-2</c:v>
                </c:pt>
                <c:pt idx="1258">
                  <c:v>2.2436240413768498E-2</c:v>
                </c:pt>
                <c:pt idx="1259">
                  <c:v>2.2454075263064002E-2</c:v>
                </c:pt>
                <c:pt idx="1260">
                  <c:v>2.2471910112359501E-2</c:v>
                </c:pt>
                <c:pt idx="1261">
                  <c:v>2.2489744961655001E-2</c:v>
                </c:pt>
                <c:pt idx="1262">
                  <c:v>2.2507579810950501E-2</c:v>
                </c:pt>
                <c:pt idx="1263">
                  <c:v>2.2525414660246101E-2</c:v>
                </c:pt>
                <c:pt idx="1264">
                  <c:v>2.2543249509541601E-2</c:v>
                </c:pt>
                <c:pt idx="1265">
                  <c:v>2.2561084358837101E-2</c:v>
                </c:pt>
                <c:pt idx="1266">
                  <c:v>2.2578919208132601E-2</c:v>
                </c:pt>
                <c:pt idx="1267">
                  <c:v>2.2596754057428201E-2</c:v>
                </c:pt>
                <c:pt idx="1268">
                  <c:v>2.2614588906723701E-2</c:v>
                </c:pt>
                <c:pt idx="1269">
                  <c:v>2.2632423756019201E-2</c:v>
                </c:pt>
                <c:pt idx="1270">
                  <c:v>2.2650258605314701E-2</c:v>
                </c:pt>
                <c:pt idx="1271">
                  <c:v>2.2668093454610301E-2</c:v>
                </c:pt>
                <c:pt idx="1272">
                  <c:v>2.2685928303905801E-2</c:v>
                </c:pt>
                <c:pt idx="1273">
                  <c:v>2.2703763153201301E-2</c:v>
                </c:pt>
                <c:pt idx="1274">
                  <c:v>2.27215980024968E-2</c:v>
                </c:pt>
                <c:pt idx="1275">
                  <c:v>2.2739432851792401E-2</c:v>
                </c:pt>
                <c:pt idx="1276">
                  <c:v>2.2757267701087901E-2</c:v>
                </c:pt>
                <c:pt idx="1277">
                  <c:v>2.2775102550383401E-2</c:v>
                </c:pt>
                <c:pt idx="1278">
                  <c:v>2.27929373996789E-2</c:v>
                </c:pt>
                <c:pt idx="1279">
                  <c:v>2.28107722489744E-2</c:v>
                </c:pt>
                <c:pt idx="1280">
                  <c:v>2.2828607098270001E-2</c:v>
                </c:pt>
                <c:pt idx="1281">
                  <c:v>2.28464419475655E-2</c:v>
                </c:pt>
                <c:pt idx="1282">
                  <c:v>2.2864276796861E-2</c:v>
                </c:pt>
                <c:pt idx="1283">
                  <c:v>2.28821116461565E-2</c:v>
                </c:pt>
                <c:pt idx="1284">
                  <c:v>2.28999464954521E-2</c:v>
                </c:pt>
                <c:pt idx="1285">
                  <c:v>2.29177813447476E-2</c:v>
                </c:pt>
                <c:pt idx="1286">
                  <c:v>2.29356161940431E-2</c:v>
                </c:pt>
                <c:pt idx="1287">
                  <c:v>2.29534510433386E-2</c:v>
                </c:pt>
                <c:pt idx="1288">
                  <c:v>2.29712858926342E-2</c:v>
                </c:pt>
                <c:pt idx="1289">
                  <c:v>2.29891207419297E-2</c:v>
                </c:pt>
                <c:pt idx="1290">
                  <c:v>2.30069555912252E-2</c:v>
                </c:pt>
                <c:pt idx="1291">
                  <c:v>2.30247904405207E-2</c:v>
                </c:pt>
                <c:pt idx="1292">
                  <c:v>2.30426252898163E-2</c:v>
                </c:pt>
                <c:pt idx="1293">
                  <c:v>2.30604601391118E-2</c:v>
                </c:pt>
                <c:pt idx="1294">
                  <c:v>2.30782949884073E-2</c:v>
                </c:pt>
                <c:pt idx="1295">
                  <c:v>2.3096129837702799E-2</c:v>
                </c:pt>
                <c:pt idx="1296">
                  <c:v>2.3113964686998299E-2</c:v>
                </c:pt>
                <c:pt idx="1297">
                  <c:v>2.31317995362939E-2</c:v>
                </c:pt>
                <c:pt idx="1298">
                  <c:v>2.3149634385589399E-2</c:v>
                </c:pt>
                <c:pt idx="1299">
                  <c:v>2.3167469234884899E-2</c:v>
                </c:pt>
                <c:pt idx="1300">
                  <c:v>2.3185304084180399E-2</c:v>
                </c:pt>
                <c:pt idx="1301">
                  <c:v>2.3203138933476E-2</c:v>
                </c:pt>
                <c:pt idx="1302">
                  <c:v>2.3220973782771499E-2</c:v>
                </c:pt>
                <c:pt idx="1303">
                  <c:v>2.3238808632066999E-2</c:v>
                </c:pt>
                <c:pt idx="1304">
                  <c:v>2.3256643481362499E-2</c:v>
                </c:pt>
                <c:pt idx="1305">
                  <c:v>2.3274478330658099E-2</c:v>
                </c:pt>
                <c:pt idx="1306">
                  <c:v>2.3292313179953599E-2</c:v>
                </c:pt>
                <c:pt idx="1307">
                  <c:v>2.3310148029249099E-2</c:v>
                </c:pt>
                <c:pt idx="1308">
                  <c:v>2.3327982878544599E-2</c:v>
                </c:pt>
                <c:pt idx="1309">
                  <c:v>2.3345817727840199E-2</c:v>
                </c:pt>
                <c:pt idx="1310">
                  <c:v>2.3363652577135699E-2</c:v>
                </c:pt>
                <c:pt idx="1311">
                  <c:v>2.3381487426431199E-2</c:v>
                </c:pt>
                <c:pt idx="1312">
                  <c:v>2.3399322275726699E-2</c:v>
                </c:pt>
                <c:pt idx="1313">
                  <c:v>2.3417157125022198E-2</c:v>
                </c:pt>
                <c:pt idx="1314">
                  <c:v>2.3434991974317799E-2</c:v>
                </c:pt>
                <c:pt idx="1315">
                  <c:v>2.3452826823613299E-2</c:v>
                </c:pt>
                <c:pt idx="1316">
                  <c:v>2.3470661672908798E-2</c:v>
                </c:pt>
                <c:pt idx="1317">
                  <c:v>2.3488496522204302E-2</c:v>
                </c:pt>
                <c:pt idx="1318">
                  <c:v>2.3506331371499899E-2</c:v>
                </c:pt>
                <c:pt idx="1319">
                  <c:v>2.3524166220795398E-2</c:v>
                </c:pt>
                <c:pt idx="1320">
                  <c:v>2.3542001070090902E-2</c:v>
                </c:pt>
                <c:pt idx="1321">
                  <c:v>2.3559835919386402E-2</c:v>
                </c:pt>
                <c:pt idx="1322">
                  <c:v>2.3577670768681998E-2</c:v>
                </c:pt>
                <c:pt idx="1323">
                  <c:v>2.3595505617977498E-2</c:v>
                </c:pt>
                <c:pt idx="1324">
                  <c:v>2.3613340467273002E-2</c:v>
                </c:pt>
                <c:pt idx="1325">
                  <c:v>2.3631175316568501E-2</c:v>
                </c:pt>
                <c:pt idx="1326">
                  <c:v>2.3649010165864098E-2</c:v>
                </c:pt>
                <c:pt idx="1327">
                  <c:v>2.3666845015159602E-2</c:v>
                </c:pt>
                <c:pt idx="1328">
                  <c:v>2.3684679864455101E-2</c:v>
                </c:pt>
                <c:pt idx="1329">
                  <c:v>2.3702514713750601E-2</c:v>
                </c:pt>
                <c:pt idx="1330">
                  <c:v>2.3720349563046101E-2</c:v>
                </c:pt>
                <c:pt idx="1331">
                  <c:v>2.3738184412341701E-2</c:v>
                </c:pt>
                <c:pt idx="1332">
                  <c:v>2.3756019261637201E-2</c:v>
                </c:pt>
                <c:pt idx="1333">
                  <c:v>2.3773854110932701E-2</c:v>
                </c:pt>
                <c:pt idx="1334">
                  <c:v>2.3791688960228201E-2</c:v>
                </c:pt>
                <c:pt idx="1335">
                  <c:v>2.3809523809523801E-2</c:v>
                </c:pt>
                <c:pt idx="1336">
                  <c:v>2.3827358658819301E-2</c:v>
                </c:pt>
                <c:pt idx="1337">
                  <c:v>2.3845193508114801E-2</c:v>
                </c:pt>
                <c:pt idx="1338">
                  <c:v>2.3863028357410301E-2</c:v>
                </c:pt>
                <c:pt idx="1339">
                  <c:v>2.3880863206705901E-2</c:v>
                </c:pt>
                <c:pt idx="1340">
                  <c:v>2.3898698056001401E-2</c:v>
                </c:pt>
                <c:pt idx="1341">
                  <c:v>2.3916532905296901E-2</c:v>
                </c:pt>
                <c:pt idx="1342">
                  <c:v>2.3934367754592401E-2</c:v>
                </c:pt>
                <c:pt idx="1343">
                  <c:v>2.39522026038879E-2</c:v>
                </c:pt>
                <c:pt idx="1344">
                  <c:v>2.3970037453183501E-2</c:v>
                </c:pt>
                <c:pt idx="1345">
                  <c:v>2.3987872302479001E-2</c:v>
                </c:pt>
                <c:pt idx="1346">
                  <c:v>2.40057071517745E-2</c:v>
                </c:pt>
                <c:pt idx="1347">
                  <c:v>2.402354200107E-2</c:v>
                </c:pt>
                <c:pt idx="1348">
                  <c:v>2.4041376850365601E-2</c:v>
                </c:pt>
                <c:pt idx="1349">
                  <c:v>2.40592116996611E-2</c:v>
                </c:pt>
                <c:pt idx="1350">
                  <c:v>2.40770465489566E-2</c:v>
                </c:pt>
                <c:pt idx="1351">
                  <c:v>2.40948813982521E-2</c:v>
                </c:pt>
                <c:pt idx="1352">
                  <c:v>2.41127162475477E-2</c:v>
                </c:pt>
                <c:pt idx="1353">
                  <c:v>2.41305510968432E-2</c:v>
                </c:pt>
                <c:pt idx="1354">
                  <c:v>2.41483859461387E-2</c:v>
                </c:pt>
                <c:pt idx="1355">
                  <c:v>2.41662207954342E-2</c:v>
                </c:pt>
                <c:pt idx="1356">
                  <c:v>2.41840556447298E-2</c:v>
                </c:pt>
                <c:pt idx="1357">
                  <c:v>2.42018904940253E-2</c:v>
                </c:pt>
                <c:pt idx="1358">
                  <c:v>2.42197253433208E-2</c:v>
                </c:pt>
                <c:pt idx="1359">
                  <c:v>2.42375601926163E-2</c:v>
                </c:pt>
                <c:pt idx="1360">
                  <c:v>2.4255395041911799E-2</c:v>
                </c:pt>
                <c:pt idx="1361">
                  <c:v>2.42732298912074E-2</c:v>
                </c:pt>
                <c:pt idx="1362">
                  <c:v>2.42910647405029E-2</c:v>
                </c:pt>
                <c:pt idx="1363">
                  <c:v>2.4308899589798399E-2</c:v>
                </c:pt>
                <c:pt idx="1364">
                  <c:v>2.4326734439093899E-2</c:v>
                </c:pt>
                <c:pt idx="1365">
                  <c:v>2.43445692883895E-2</c:v>
                </c:pt>
                <c:pt idx="1366">
                  <c:v>2.4362404137685E-2</c:v>
                </c:pt>
                <c:pt idx="1367">
                  <c:v>2.4380238986980499E-2</c:v>
                </c:pt>
                <c:pt idx="1368">
                  <c:v>2.4398073836275999E-2</c:v>
                </c:pt>
                <c:pt idx="1369">
                  <c:v>2.44159086855716E-2</c:v>
                </c:pt>
                <c:pt idx="1370">
                  <c:v>2.4433743534867099E-2</c:v>
                </c:pt>
                <c:pt idx="1371">
                  <c:v>2.4451578384162599E-2</c:v>
                </c:pt>
                <c:pt idx="1372">
                  <c:v>2.4469413233458099E-2</c:v>
                </c:pt>
                <c:pt idx="1373">
                  <c:v>2.4487248082753699E-2</c:v>
                </c:pt>
                <c:pt idx="1374">
                  <c:v>2.4505082932049199E-2</c:v>
                </c:pt>
                <c:pt idx="1375">
                  <c:v>2.4522917781344699E-2</c:v>
                </c:pt>
                <c:pt idx="1376">
                  <c:v>2.4540752630640199E-2</c:v>
                </c:pt>
                <c:pt idx="1377">
                  <c:v>2.4558587479935699E-2</c:v>
                </c:pt>
                <c:pt idx="1378">
                  <c:v>2.4576422329231299E-2</c:v>
                </c:pt>
                <c:pt idx="1379">
                  <c:v>2.4594257178526799E-2</c:v>
                </c:pt>
                <c:pt idx="1380">
                  <c:v>2.4612092027822299E-2</c:v>
                </c:pt>
                <c:pt idx="1381">
                  <c:v>2.4629926877117798E-2</c:v>
                </c:pt>
                <c:pt idx="1382">
                  <c:v>2.4647761726413399E-2</c:v>
                </c:pt>
                <c:pt idx="1383">
                  <c:v>2.4665596575708899E-2</c:v>
                </c:pt>
                <c:pt idx="1384">
                  <c:v>2.4683431425004398E-2</c:v>
                </c:pt>
                <c:pt idx="1385">
                  <c:v>2.4701266274299898E-2</c:v>
                </c:pt>
                <c:pt idx="1386">
                  <c:v>2.4719101123595499E-2</c:v>
                </c:pt>
                <c:pt idx="1387">
                  <c:v>2.4736935972890998E-2</c:v>
                </c:pt>
                <c:pt idx="1388">
                  <c:v>2.4754770822186498E-2</c:v>
                </c:pt>
                <c:pt idx="1389">
                  <c:v>2.4772605671482002E-2</c:v>
                </c:pt>
                <c:pt idx="1390">
                  <c:v>2.4790440520777599E-2</c:v>
                </c:pt>
                <c:pt idx="1391">
                  <c:v>2.4808275370073098E-2</c:v>
                </c:pt>
                <c:pt idx="1392">
                  <c:v>2.4826110219368602E-2</c:v>
                </c:pt>
                <c:pt idx="1393">
                  <c:v>2.4843945068664101E-2</c:v>
                </c:pt>
                <c:pt idx="1394">
                  <c:v>2.4861779917959601E-2</c:v>
                </c:pt>
                <c:pt idx="1395">
                  <c:v>2.4879614767255202E-2</c:v>
                </c:pt>
                <c:pt idx="1396">
                  <c:v>2.4897449616550701E-2</c:v>
                </c:pt>
                <c:pt idx="1397">
                  <c:v>2.4915284465846201E-2</c:v>
                </c:pt>
                <c:pt idx="1398">
                  <c:v>2.4933119315141701E-2</c:v>
                </c:pt>
                <c:pt idx="1399">
                  <c:v>2.4950954164437301E-2</c:v>
                </c:pt>
                <c:pt idx="1400">
                  <c:v>2.4968789013732801E-2</c:v>
                </c:pt>
                <c:pt idx="1401">
                  <c:v>2.4986623863028301E-2</c:v>
                </c:pt>
                <c:pt idx="1402">
                  <c:v>2.5004458712323801E-2</c:v>
                </c:pt>
                <c:pt idx="1403">
                  <c:v>2.5022293561619401E-2</c:v>
                </c:pt>
                <c:pt idx="1404">
                  <c:v>2.5040128410914901E-2</c:v>
                </c:pt>
                <c:pt idx="1405">
                  <c:v>2.5057963260210401E-2</c:v>
                </c:pt>
                <c:pt idx="1406">
                  <c:v>2.5075798109505901E-2</c:v>
                </c:pt>
                <c:pt idx="1407">
                  <c:v>2.5093632958801401E-2</c:v>
                </c:pt>
                <c:pt idx="1408">
                  <c:v>2.5111467808097001E-2</c:v>
                </c:pt>
                <c:pt idx="1409">
                  <c:v>2.5129302657392501E-2</c:v>
                </c:pt>
                <c:pt idx="1410">
                  <c:v>2.5147137506688001E-2</c:v>
                </c:pt>
                <c:pt idx="1411">
                  <c:v>2.51649723559835E-2</c:v>
                </c:pt>
                <c:pt idx="1412">
                  <c:v>2.5182807205279101E-2</c:v>
                </c:pt>
                <c:pt idx="1413">
                  <c:v>2.5200642054574601E-2</c:v>
                </c:pt>
                <c:pt idx="1414">
                  <c:v>2.52184769038701E-2</c:v>
                </c:pt>
                <c:pt idx="1415">
                  <c:v>2.52363117531656E-2</c:v>
                </c:pt>
                <c:pt idx="1416">
                  <c:v>2.5254146602461201E-2</c:v>
                </c:pt>
                <c:pt idx="1417">
                  <c:v>2.52719814517567E-2</c:v>
                </c:pt>
                <c:pt idx="1418">
                  <c:v>2.52898163010522E-2</c:v>
                </c:pt>
                <c:pt idx="1419">
                  <c:v>2.53076511503477E-2</c:v>
                </c:pt>
                <c:pt idx="1420">
                  <c:v>2.53254859996433E-2</c:v>
                </c:pt>
                <c:pt idx="1421">
                  <c:v>2.53433208489388E-2</c:v>
                </c:pt>
                <c:pt idx="1422">
                  <c:v>2.53611556982343E-2</c:v>
                </c:pt>
                <c:pt idx="1423">
                  <c:v>2.53789905475298E-2</c:v>
                </c:pt>
                <c:pt idx="1424">
                  <c:v>2.53968253968253E-2</c:v>
                </c:pt>
                <c:pt idx="1425">
                  <c:v>2.54146602461209E-2</c:v>
                </c:pt>
                <c:pt idx="1426">
                  <c:v>2.54324950954164E-2</c:v>
                </c:pt>
                <c:pt idx="1427">
                  <c:v>2.54503299447119E-2</c:v>
                </c:pt>
                <c:pt idx="1428">
                  <c:v>2.5468164794007399E-2</c:v>
                </c:pt>
                <c:pt idx="1429">
                  <c:v>2.5485999643303E-2</c:v>
                </c:pt>
                <c:pt idx="1430">
                  <c:v>2.55038344925985E-2</c:v>
                </c:pt>
                <c:pt idx="1431">
                  <c:v>2.5521669341894E-2</c:v>
                </c:pt>
                <c:pt idx="1432">
                  <c:v>2.5539504191189499E-2</c:v>
                </c:pt>
                <c:pt idx="1433">
                  <c:v>2.55573390404851E-2</c:v>
                </c:pt>
                <c:pt idx="1434">
                  <c:v>2.55751738897806E-2</c:v>
                </c:pt>
                <c:pt idx="1435">
                  <c:v>2.5593008739076099E-2</c:v>
                </c:pt>
                <c:pt idx="1436">
                  <c:v>2.5610843588371599E-2</c:v>
                </c:pt>
                <c:pt idx="1437">
                  <c:v>2.56286784376672E-2</c:v>
                </c:pt>
                <c:pt idx="1438">
                  <c:v>2.5646513286962699E-2</c:v>
                </c:pt>
                <c:pt idx="1439">
                  <c:v>2.5664348136258199E-2</c:v>
                </c:pt>
                <c:pt idx="1440">
                  <c:v>2.5682182985553699E-2</c:v>
                </c:pt>
                <c:pt idx="1441">
                  <c:v>2.5700017834849199E-2</c:v>
                </c:pt>
                <c:pt idx="1442">
                  <c:v>2.5717852684144799E-2</c:v>
                </c:pt>
                <c:pt idx="1443">
                  <c:v>2.5735687533440299E-2</c:v>
                </c:pt>
                <c:pt idx="1444">
                  <c:v>2.5753522382735799E-2</c:v>
                </c:pt>
                <c:pt idx="1445">
                  <c:v>2.5771357232031299E-2</c:v>
                </c:pt>
                <c:pt idx="1446">
                  <c:v>2.5789192081326899E-2</c:v>
                </c:pt>
                <c:pt idx="1447">
                  <c:v>2.5807026930622399E-2</c:v>
                </c:pt>
                <c:pt idx="1448">
                  <c:v>2.5824861779917899E-2</c:v>
                </c:pt>
                <c:pt idx="1449">
                  <c:v>2.5842696629213398E-2</c:v>
                </c:pt>
                <c:pt idx="1450">
                  <c:v>2.5860531478508999E-2</c:v>
                </c:pt>
                <c:pt idx="1451">
                  <c:v>2.5878366327804499E-2</c:v>
                </c:pt>
                <c:pt idx="1452">
                  <c:v>2.5896201177099998E-2</c:v>
                </c:pt>
                <c:pt idx="1453">
                  <c:v>2.5914036026395498E-2</c:v>
                </c:pt>
                <c:pt idx="1454">
                  <c:v>2.5931870875691099E-2</c:v>
                </c:pt>
                <c:pt idx="1455">
                  <c:v>2.5949705724986599E-2</c:v>
                </c:pt>
                <c:pt idx="1456">
                  <c:v>2.5967540574282098E-2</c:v>
                </c:pt>
                <c:pt idx="1457">
                  <c:v>2.5985375423577602E-2</c:v>
                </c:pt>
                <c:pt idx="1458">
                  <c:v>2.6003210272873101E-2</c:v>
                </c:pt>
                <c:pt idx="1459">
                  <c:v>2.6021045122168698E-2</c:v>
                </c:pt>
                <c:pt idx="1460">
                  <c:v>2.6038879971464202E-2</c:v>
                </c:pt>
                <c:pt idx="1461">
                  <c:v>2.6056714820759701E-2</c:v>
                </c:pt>
                <c:pt idx="1462">
                  <c:v>2.6074549670055201E-2</c:v>
                </c:pt>
                <c:pt idx="1463">
                  <c:v>2.6092384519350802E-2</c:v>
                </c:pt>
                <c:pt idx="1464">
                  <c:v>2.6110219368646301E-2</c:v>
                </c:pt>
                <c:pt idx="1465">
                  <c:v>2.6128054217941801E-2</c:v>
                </c:pt>
                <c:pt idx="1466">
                  <c:v>2.6145889067237301E-2</c:v>
                </c:pt>
                <c:pt idx="1467">
                  <c:v>2.6163723916532901E-2</c:v>
                </c:pt>
                <c:pt idx="1468">
                  <c:v>2.6181558765828401E-2</c:v>
                </c:pt>
                <c:pt idx="1469">
                  <c:v>2.6199393615123901E-2</c:v>
                </c:pt>
                <c:pt idx="1470">
                  <c:v>2.6217228464419401E-2</c:v>
                </c:pt>
                <c:pt idx="1471">
                  <c:v>2.6235063313714901E-2</c:v>
                </c:pt>
                <c:pt idx="1472">
                  <c:v>2.6252898163010501E-2</c:v>
                </c:pt>
                <c:pt idx="1473">
                  <c:v>2.6270733012306001E-2</c:v>
                </c:pt>
                <c:pt idx="1474">
                  <c:v>2.6288567861601501E-2</c:v>
                </c:pt>
                <c:pt idx="1475">
                  <c:v>2.6306402710897001E-2</c:v>
                </c:pt>
                <c:pt idx="1476">
                  <c:v>2.6324237560192601E-2</c:v>
                </c:pt>
                <c:pt idx="1477">
                  <c:v>2.6342072409488101E-2</c:v>
                </c:pt>
                <c:pt idx="1478">
                  <c:v>2.6359907258783601E-2</c:v>
                </c:pt>
                <c:pt idx="1479">
                  <c:v>2.63777421080791E-2</c:v>
                </c:pt>
                <c:pt idx="1480">
                  <c:v>2.6395576957374701E-2</c:v>
                </c:pt>
                <c:pt idx="1481">
                  <c:v>2.6413411806670201E-2</c:v>
                </c:pt>
                <c:pt idx="1482">
                  <c:v>2.64312466559657E-2</c:v>
                </c:pt>
                <c:pt idx="1483">
                  <c:v>2.64490815052612E-2</c:v>
                </c:pt>
                <c:pt idx="1484">
                  <c:v>2.6466916354556801E-2</c:v>
                </c:pt>
                <c:pt idx="1485">
                  <c:v>2.64847512038523E-2</c:v>
                </c:pt>
                <c:pt idx="1486">
                  <c:v>2.65025860531478E-2</c:v>
                </c:pt>
                <c:pt idx="1487">
                  <c:v>2.65204209024433E-2</c:v>
                </c:pt>
                <c:pt idx="1488">
                  <c:v>2.65382557517388E-2</c:v>
                </c:pt>
                <c:pt idx="1489">
                  <c:v>2.65560906010344E-2</c:v>
                </c:pt>
                <c:pt idx="1490">
                  <c:v>2.65739254503299E-2</c:v>
                </c:pt>
                <c:pt idx="1491">
                  <c:v>2.65917602996254E-2</c:v>
                </c:pt>
                <c:pt idx="1492">
                  <c:v>2.66095951489209E-2</c:v>
                </c:pt>
                <c:pt idx="1493">
                  <c:v>2.66274299982165E-2</c:v>
                </c:pt>
                <c:pt idx="1494">
                  <c:v>2.6645264847512E-2</c:v>
                </c:pt>
                <c:pt idx="1495">
                  <c:v>2.66630996968075E-2</c:v>
                </c:pt>
                <c:pt idx="1496">
                  <c:v>2.6680934546103E-2</c:v>
                </c:pt>
                <c:pt idx="1497">
                  <c:v>2.66987693953986E-2</c:v>
                </c:pt>
                <c:pt idx="1498">
                  <c:v>2.67166042446941E-2</c:v>
                </c:pt>
                <c:pt idx="1499">
                  <c:v>2.67344390939896E-2</c:v>
                </c:pt>
                <c:pt idx="1500">
                  <c:v>2.6752273943285099E-2</c:v>
                </c:pt>
                <c:pt idx="1501">
                  <c:v>2.67701087925807E-2</c:v>
                </c:pt>
                <c:pt idx="1502">
                  <c:v>2.67879436418762E-2</c:v>
                </c:pt>
                <c:pt idx="1503">
                  <c:v>2.6805778491171699E-2</c:v>
                </c:pt>
                <c:pt idx="1504">
                  <c:v>2.6823613340467199E-2</c:v>
                </c:pt>
                <c:pt idx="1505">
                  <c:v>2.6841448189762699E-2</c:v>
                </c:pt>
                <c:pt idx="1506">
                  <c:v>2.6859283039058299E-2</c:v>
                </c:pt>
                <c:pt idx="1507">
                  <c:v>2.6877117888353799E-2</c:v>
                </c:pt>
                <c:pt idx="1508">
                  <c:v>2.6894952737649299E-2</c:v>
                </c:pt>
                <c:pt idx="1509">
                  <c:v>2.6912787586944799E-2</c:v>
                </c:pt>
                <c:pt idx="1510">
                  <c:v>2.6930622436240399E-2</c:v>
                </c:pt>
                <c:pt idx="1511">
                  <c:v>2.6948457285535899E-2</c:v>
                </c:pt>
                <c:pt idx="1512">
                  <c:v>2.6966292134831399E-2</c:v>
                </c:pt>
                <c:pt idx="1513">
                  <c:v>2.6984126984126899E-2</c:v>
                </c:pt>
                <c:pt idx="1514">
                  <c:v>2.7001961833422499E-2</c:v>
                </c:pt>
                <c:pt idx="1515">
                  <c:v>2.7019796682717999E-2</c:v>
                </c:pt>
                <c:pt idx="1516">
                  <c:v>2.7037631532013499E-2</c:v>
                </c:pt>
                <c:pt idx="1517">
                  <c:v>2.7055466381308999E-2</c:v>
                </c:pt>
                <c:pt idx="1518">
                  <c:v>2.7073301230604599E-2</c:v>
                </c:pt>
                <c:pt idx="1519">
                  <c:v>2.7091136079900099E-2</c:v>
                </c:pt>
                <c:pt idx="1520">
                  <c:v>2.7108970929195599E-2</c:v>
                </c:pt>
                <c:pt idx="1521">
                  <c:v>2.7126805778491098E-2</c:v>
                </c:pt>
                <c:pt idx="1522">
                  <c:v>2.7144640627786602E-2</c:v>
                </c:pt>
                <c:pt idx="1523">
                  <c:v>2.7162475477082199E-2</c:v>
                </c:pt>
                <c:pt idx="1524">
                  <c:v>2.7180310326377698E-2</c:v>
                </c:pt>
                <c:pt idx="1525">
                  <c:v>2.7198145175673202E-2</c:v>
                </c:pt>
                <c:pt idx="1526">
                  <c:v>2.7215980024968701E-2</c:v>
                </c:pt>
                <c:pt idx="1527">
                  <c:v>2.7233814874264298E-2</c:v>
                </c:pt>
                <c:pt idx="1528">
                  <c:v>2.7251649723559802E-2</c:v>
                </c:pt>
                <c:pt idx="1529">
                  <c:v>2.7269484572855301E-2</c:v>
                </c:pt>
                <c:pt idx="1530">
                  <c:v>2.7287319422150801E-2</c:v>
                </c:pt>
                <c:pt idx="1531">
                  <c:v>2.7305154271446402E-2</c:v>
                </c:pt>
                <c:pt idx="1532">
                  <c:v>2.7322989120741902E-2</c:v>
                </c:pt>
                <c:pt idx="1533">
                  <c:v>2.7340823970037401E-2</c:v>
                </c:pt>
                <c:pt idx="1534">
                  <c:v>2.7358658819332901E-2</c:v>
                </c:pt>
                <c:pt idx="1535">
                  <c:v>2.7376493668628502E-2</c:v>
                </c:pt>
                <c:pt idx="1536">
                  <c:v>2.7394328517924001E-2</c:v>
                </c:pt>
                <c:pt idx="1537">
                  <c:v>2.7412163367219501E-2</c:v>
                </c:pt>
                <c:pt idx="1538">
                  <c:v>2.7429998216515001E-2</c:v>
                </c:pt>
                <c:pt idx="1539">
                  <c:v>2.7447833065810501E-2</c:v>
                </c:pt>
                <c:pt idx="1540">
                  <c:v>2.7465667915106101E-2</c:v>
                </c:pt>
                <c:pt idx="1541">
                  <c:v>2.7483502764401601E-2</c:v>
                </c:pt>
                <c:pt idx="1542">
                  <c:v>2.7501337613697101E-2</c:v>
                </c:pt>
                <c:pt idx="1543">
                  <c:v>2.7519172462992601E-2</c:v>
                </c:pt>
                <c:pt idx="1544">
                  <c:v>2.7537007312288201E-2</c:v>
                </c:pt>
                <c:pt idx="1545">
                  <c:v>2.7554842161583701E-2</c:v>
                </c:pt>
                <c:pt idx="1546">
                  <c:v>2.7572677010879201E-2</c:v>
                </c:pt>
                <c:pt idx="1547">
                  <c:v>2.75905118601747E-2</c:v>
                </c:pt>
                <c:pt idx="1548">
                  <c:v>2.7608346709470301E-2</c:v>
                </c:pt>
                <c:pt idx="1549">
                  <c:v>2.7626181558765801E-2</c:v>
                </c:pt>
                <c:pt idx="1550">
                  <c:v>2.76440164080613E-2</c:v>
                </c:pt>
                <c:pt idx="1551">
                  <c:v>2.76618512573568E-2</c:v>
                </c:pt>
                <c:pt idx="1552">
                  <c:v>2.76796861066523E-2</c:v>
                </c:pt>
                <c:pt idx="1553">
                  <c:v>2.76975209559479E-2</c:v>
                </c:pt>
                <c:pt idx="1554">
                  <c:v>2.77153558052434E-2</c:v>
                </c:pt>
                <c:pt idx="1555">
                  <c:v>2.77331906545389E-2</c:v>
                </c:pt>
                <c:pt idx="1556">
                  <c:v>2.77510255038344E-2</c:v>
                </c:pt>
                <c:pt idx="1557">
                  <c:v>2.776886035313E-2</c:v>
                </c:pt>
                <c:pt idx="1558">
                  <c:v>2.77866952024255E-2</c:v>
                </c:pt>
                <c:pt idx="1559">
                  <c:v>2.7804530051721E-2</c:v>
                </c:pt>
                <c:pt idx="1560">
                  <c:v>2.78223649010165E-2</c:v>
                </c:pt>
                <c:pt idx="1561">
                  <c:v>2.78401997503121E-2</c:v>
                </c:pt>
                <c:pt idx="1562">
                  <c:v>2.78580345996076E-2</c:v>
                </c:pt>
                <c:pt idx="1563">
                  <c:v>2.78758694489031E-2</c:v>
                </c:pt>
                <c:pt idx="1564">
                  <c:v>2.78937042981986E-2</c:v>
                </c:pt>
                <c:pt idx="1565">
                  <c:v>2.79115391474942E-2</c:v>
                </c:pt>
                <c:pt idx="1566">
                  <c:v>2.79293739967897E-2</c:v>
                </c:pt>
                <c:pt idx="1567">
                  <c:v>2.79472088460852E-2</c:v>
                </c:pt>
                <c:pt idx="1568">
                  <c:v>2.7965043695380699E-2</c:v>
                </c:pt>
                <c:pt idx="1569">
                  <c:v>2.7982878544676199E-2</c:v>
                </c:pt>
                <c:pt idx="1570">
                  <c:v>2.80007133939718E-2</c:v>
                </c:pt>
                <c:pt idx="1571">
                  <c:v>2.8018548243267299E-2</c:v>
                </c:pt>
                <c:pt idx="1572">
                  <c:v>2.8036383092562799E-2</c:v>
                </c:pt>
                <c:pt idx="1573">
                  <c:v>2.8054217941858299E-2</c:v>
                </c:pt>
                <c:pt idx="1574">
                  <c:v>2.8072052791153899E-2</c:v>
                </c:pt>
                <c:pt idx="1575">
                  <c:v>2.8089887640449399E-2</c:v>
                </c:pt>
                <c:pt idx="1576">
                  <c:v>2.8107722489744899E-2</c:v>
                </c:pt>
                <c:pt idx="1577">
                  <c:v>2.8125557339040399E-2</c:v>
                </c:pt>
                <c:pt idx="1578">
                  <c:v>2.8143392188335999E-2</c:v>
                </c:pt>
                <c:pt idx="1579">
                  <c:v>2.8161227037631499E-2</c:v>
                </c:pt>
                <c:pt idx="1580">
                  <c:v>2.8179061886926999E-2</c:v>
                </c:pt>
                <c:pt idx="1581">
                  <c:v>2.8196896736222499E-2</c:v>
                </c:pt>
                <c:pt idx="1582">
                  <c:v>2.8214731585518099E-2</c:v>
                </c:pt>
                <c:pt idx="1583">
                  <c:v>2.8232566434813599E-2</c:v>
                </c:pt>
                <c:pt idx="1584">
                  <c:v>2.8250401284109099E-2</c:v>
                </c:pt>
                <c:pt idx="1585">
                  <c:v>2.8268236133404599E-2</c:v>
                </c:pt>
                <c:pt idx="1586">
                  <c:v>2.8286070982700098E-2</c:v>
                </c:pt>
                <c:pt idx="1587">
                  <c:v>2.8303905831995699E-2</c:v>
                </c:pt>
                <c:pt idx="1588">
                  <c:v>2.8321740681291199E-2</c:v>
                </c:pt>
                <c:pt idx="1589">
                  <c:v>2.8339575530586698E-2</c:v>
                </c:pt>
                <c:pt idx="1590">
                  <c:v>2.8357410379882202E-2</c:v>
                </c:pt>
                <c:pt idx="1591">
                  <c:v>2.8375245229177799E-2</c:v>
                </c:pt>
                <c:pt idx="1592">
                  <c:v>2.8393080078473298E-2</c:v>
                </c:pt>
                <c:pt idx="1593">
                  <c:v>2.8410914927768802E-2</c:v>
                </c:pt>
                <c:pt idx="1594">
                  <c:v>2.8428749777064301E-2</c:v>
                </c:pt>
                <c:pt idx="1595">
                  <c:v>2.8446584626359898E-2</c:v>
                </c:pt>
                <c:pt idx="1596">
                  <c:v>2.8464419475655402E-2</c:v>
                </c:pt>
                <c:pt idx="1597">
                  <c:v>2.8482254324950902E-2</c:v>
                </c:pt>
                <c:pt idx="1598">
                  <c:v>2.8500089174246401E-2</c:v>
                </c:pt>
                <c:pt idx="1599">
                  <c:v>2.8517924023542002E-2</c:v>
                </c:pt>
                <c:pt idx="1600">
                  <c:v>2.8535758872837502E-2</c:v>
                </c:pt>
                <c:pt idx="1601">
                  <c:v>2.8553593722133001E-2</c:v>
                </c:pt>
                <c:pt idx="1602">
                  <c:v>2.8571428571428501E-2</c:v>
                </c:pt>
                <c:pt idx="1603">
                  <c:v>2.8589263420724001E-2</c:v>
                </c:pt>
                <c:pt idx="1604">
                  <c:v>2.8607098270019601E-2</c:v>
                </c:pt>
                <c:pt idx="1605">
                  <c:v>2.8624933119315101E-2</c:v>
                </c:pt>
                <c:pt idx="1606">
                  <c:v>2.8642767968610601E-2</c:v>
                </c:pt>
                <c:pt idx="1607">
                  <c:v>2.8660602817906101E-2</c:v>
                </c:pt>
                <c:pt idx="1608">
                  <c:v>2.8678437667201701E-2</c:v>
                </c:pt>
                <c:pt idx="1609">
                  <c:v>2.8696272516497201E-2</c:v>
                </c:pt>
                <c:pt idx="1610">
                  <c:v>2.8714107365792701E-2</c:v>
                </c:pt>
                <c:pt idx="1611">
                  <c:v>2.8731942215088201E-2</c:v>
                </c:pt>
                <c:pt idx="1612">
                  <c:v>2.8749777064383801E-2</c:v>
                </c:pt>
                <c:pt idx="1613">
                  <c:v>2.8767611913679301E-2</c:v>
                </c:pt>
                <c:pt idx="1614">
                  <c:v>2.8785446762974801E-2</c:v>
                </c:pt>
                <c:pt idx="1615">
                  <c:v>2.88032816122703E-2</c:v>
                </c:pt>
                <c:pt idx="1616">
                  <c:v>2.8821116461565901E-2</c:v>
                </c:pt>
                <c:pt idx="1617">
                  <c:v>2.8838951310861401E-2</c:v>
                </c:pt>
                <c:pt idx="1618">
                  <c:v>2.88567861601569E-2</c:v>
                </c:pt>
                <c:pt idx="1619">
                  <c:v>2.88746210094524E-2</c:v>
                </c:pt>
                <c:pt idx="1620">
                  <c:v>2.88924558587479E-2</c:v>
                </c:pt>
                <c:pt idx="1621">
                  <c:v>2.8910290708043501E-2</c:v>
                </c:pt>
                <c:pt idx="1622">
                  <c:v>2.8928125557339E-2</c:v>
                </c:pt>
                <c:pt idx="1623">
                  <c:v>2.89459604066345E-2</c:v>
                </c:pt>
                <c:pt idx="1624">
                  <c:v>2.896379525593E-2</c:v>
                </c:pt>
                <c:pt idx="1625">
                  <c:v>2.89816301052256E-2</c:v>
                </c:pt>
                <c:pt idx="1626">
                  <c:v>2.89994649545211E-2</c:v>
                </c:pt>
                <c:pt idx="1627">
                  <c:v>2.90172998038166E-2</c:v>
                </c:pt>
                <c:pt idx="1628">
                  <c:v>2.90351346531121E-2</c:v>
                </c:pt>
                <c:pt idx="1629">
                  <c:v>2.90529695024077E-2</c:v>
                </c:pt>
                <c:pt idx="1630">
                  <c:v>2.90708043517032E-2</c:v>
                </c:pt>
                <c:pt idx="1631">
                  <c:v>2.90886392009987E-2</c:v>
                </c:pt>
                <c:pt idx="1632">
                  <c:v>2.91064740502942E-2</c:v>
                </c:pt>
                <c:pt idx="1633">
                  <c:v>2.91243088995898E-2</c:v>
                </c:pt>
                <c:pt idx="1634">
                  <c:v>2.91421437488853E-2</c:v>
                </c:pt>
                <c:pt idx="1635">
                  <c:v>2.91599785981808E-2</c:v>
                </c:pt>
                <c:pt idx="1636">
                  <c:v>2.9177813447476299E-2</c:v>
                </c:pt>
                <c:pt idx="1637">
                  <c:v>2.9195648296771799E-2</c:v>
                </c:pt>
                <c:pt idx="1638">
                  <c:v>2.92134831460674E-2</c:v>
                </c:pt>
                <c:pt idx="1639">
                  <c:v>2.9231317995362899E-2</c:v>
                </c:pt>
                <c:pt idx="1640">
                  <c:v>2.9249152844658399E-2</c:v>
                </c:pt>
                <c:pt idx="1641">
                  <c:v>2.9266987693953899E-2</c:v>
                </c:pt>
                <c:pt idx="1642">
                  <c:v>2.9284822543249499E-2</c:v>
                </c:pt>
                <c:pt idx="1643">
                  <c:v>2.9302657392544999E-2</c:v>
                </c:pt>
                <c:pt idx="1644">
                  <c:v>2.9320492241840499E-2</c:v>
                </c:pt>
                <c:pt idx="1645">
                  <c:v>2.9338327091135999E-2</c:v>
                </c:pt>
                <c:pt idx="1646">
                  <c:v>2.9356161940431599E-2</c:v>
                </c:pt>
                <c:pt idx="1647">
                  <c:v>2.9373996789727099E-2</c:v>
                </c:pt>
                <c:pt idx="1648">
                  <c:v>2.9391831639022599E-2</c:v>
                </c:pt>
                <c:pt idx="1649">
                  <c:v>2.9409666488318099E-2</c:v>
                </c:pt>
                <c:pt idx="1650">
                  <c:v>2.9427501337613599E-2</c:v>
                </c:pt>
                <c:pt idx="1651">
                  <c:v>2.9445336186909199E-2</c:v>
                </c:pt>
                <c:pt idx="1652">
                  <c:v>2.9463171036204699E-2</c:v>
                </c:pt>
                <c:pt idx="1653">
                  <c:v>2.9481005885500199E-2</c:v>
                </c:pt>
                <c:pt idx="1654">
                  <c:v>2.9498840734795698E-2</c:v>
                </c:pt>
                <c:pt idx="1655">
                  <c:v>2.9516675584091299E-2</c:v>
                </c:pt>
                <c:pt idx="1656">
                  <c:v>2.9534510433386799E-2</c:v>
                </c:pt>
                <c:pt idx="1657">
                  <c:v>2.9552345282682298E-2</c:v>
                </c:pt>
                <c:pt idx="1658">
                  <c:v>2.9570180131977802E-2</c:v>
                </c:pt>
                <c:pt idx="1659">
                  <c:v>2.9588014981273399E-2</c:v>
                </c:pt>
                <c:pt idx="1660">
                  <c:v>2.9605849830568898E-2</c:v>
                </c:pt>
                <c:pt idx="1661">
                  <c:v>2.9623684679864402E-2</c:v>
                </c:pt>
                <c:pt idx="1662">
                  <c:v>2.9641519529159902E-2</c:v>
                </c:pt>
                <c:pt idx="1663">
                  <c:v>2.9659354378455498E-2</c:v>
                </c:pt>
                <c:pt idx="1664">
                  <c:v>2.9677189227750998E-2</c:v>
                </c:pt>
                <c:pt idx="1665">
                  <c:v>2.9695024077046502E-2</c:v>
                </c:pt>
                <c:pt idx="1666">
                  <c:v>2.9712858926342001E-2</c:v>
                </c:pt>
                <c:pt idx="1667">
                  <c:v>2.9730693775637501E-2</c:v>
                </c:pt>
                <c:pt idx="1668">
                  <c:v>2.9748528624933102E-2</c:v>
                </c:pt>
                <c:pt idx="1669">
                  <c:v>2.9766363474228601E-2</c:v>
                </c:pt>
                <c:pt idx="1670">
                  <c:v>2.9784198323524101E-2</c:v>
                </c:pt>
                <c:pt idx="1671">
                  <c:v>2.9802033172819601E-2</c:v>
                </c:pt>
                <c:pt idx="1672">
                  <c:v>2.9819868022115201E-2</c:v>
                </c:pt>
                <c:pt idx="1673">
                  <c:v>2.9837702871410701E-2</c:v>
                </c:pt>
                <c:pt idx="1674">
                  <c:v>2.9855537720706201E-2</c:v>
                </c:pt>
                <c:pt idx="1675">
                  <c:v>2.9873372570001701E-2</c:v>
                </c:pt>
                <c:pt idx="1676">
                  <c:v>2.9891207419297301E-2</c:v>
                </c:pt>
                <c:pt idx="1677">
                  <c:v>2.9909042268592801E-2</c:v>
                </c:pt>
                <c:pt idx="1678">
                  <c:v>2.9926877117888301E-2</c:v>
                </c:pt>
                <c:pt idx="1679">
                  <c:v>2.9944711967183801E-2</c:v>
                </c:pt>
                <c:pt idx="1680">
                  <c:v>2.9962546816479401E-2</c:v>
                </c:pt>
                <c:pt idx="1681">
                  <c:v>2.9980381665774901E-2</c:v>
                </c:pt>
                <c:pt idx="1682">
                  <c:v>2.9998216515070401E-2</c:v>
                </c:pt>
                <c:pt idx="1683">
                  <c:v>3.00160513643659E-2</c:v>
                </c:pt>
                <c:pt idx="1684">
                  <c:v>3.00338862136614E-2</c:v>
                </c:pt>
                <c:pt idx="1685">
                  <c:v>3.0051721062957001E-2</c:v>
                </c:pt>
                <c:pt idx="1686">
                  <c:v>3.0069555912252501E-2</c:v>
                </c:pt>
                <c:pt idx="1687">
                  <c:v>3.0087390761548E-2</c:v>
                </c:pt>
                <c:pt idx="1688">
                  <c:v>3.01052256108435E-2</c:v>
                </c:pt>
                <c:pt idx="1689">
                  <c:v>3.0123060460139101E-2</c:v>
                </c:pt>
                <c:pt idx="1690">
                  <c:v>3.01408953094346E-2</c:v>
                </c:pt>
                <c:pt idx="1691">
                  <c:v>3.01587301587301E-2</c:v>
                </c:pt>
                <c:pt idx="1692">
                  <c:v>3.01765650080256E-2</c:v>
                </c:pt>
                <c:pt idx="1693">
                  <c:v>3.01943998573212E-2</c:v>
                </c:pt>
                <c:pt idx="1694">
                  <c:v>3.02122347066167E-2</c:v>
                </c:pt>
                <c:pt idx="1695">
                  <c:v>3.02300695559122E-2</c:v>
                </c:pt>
                <c:pt idx="1696">
                  <c:v>3.02479044052077E-2</c:v>
                </c:pt>
                <c:pt idx="1697">
                  <c:v>3.02657392545033E-2</c:v>
                </c:pt>
                <c:pt idx="1698">
                  <c:v>3.02835741037988E-2</c:v>
                </c:pt>
                <c:pt idx="1699">
                  <c:v>3.03014089530943E-2</c:v>
                </c:pt>
                <c:pt idx="1700">
                  <c:v>3.03192438023898E-2</c:v>
                </c:pt>
                <c:pt idx="1701">
                  <c:v>3.0337078651685299E-2</c:v>
                </c:pt>
                <c:pt idx="1702">
                  <c:v>3.03549135009809E-2</c:v>
                </c:pt>
                <c:pt idx="1703">
                  <c:v>3.03727483502764E-2</c:v>
                </c:pt>
                <c:pt idx="1704">
                  <c:v>3.0390583199571899E-2</c:v>
                </c:pt>
                <c:pt idx="1705">
                  <c:v>3.0408418048867399E-2</c:v>
                </c:pt>
                <c:pt idx="1706">
                  <c:v>3.0426252898163E-2</c:v>
                </c:pt>
                <c:pt idx="1707">
                  <c:v>3.0444087747458499E-2</c:v>
                </c:pt>
                <c:pt idx="1708">
                  <c:v>3.0461922596753999E-2</c:v>
                </c:pt>
                <c:pt idx="1709">
                  <c:v>3.0479757446049499E-2</c:v>
                </c:pt>
                <c:pt idx="1710">
                  <c:v>3.04975922953451E-2</c:v>
                </c:pt>
                <c:pt idx="1711">
                  <c:v>3.0515427144640599E-2</c:v>
                </c:pt>
                <c:pt idx="1712">
                  <c:v>3.0533261993936099E-2</c:v>
                </c:pt>
                <c:pt idx="1713">
                  <c:v>3.0551096843231599E-2</c:v>
                </c:pt>
                <c:pt idx="1714">
                  <c:v>3.0568931692527199E-2</c:v>
                </c:pt>
                <c:pt idx="1715">
                  <c:v>3.0586766541822699E-2</c:v>
                </c:pt>
                <c:pt idx="1716">
                  <c:v>3.0604601391118199E-2</c:v>
                </c:pt>
                <c:pt idx="1717">
                  <c:v>3.0622436240413699E-2</c:v>
                </c:pt>
                <c:pt idx="1718">
                  <c:v>3.0640271089709199E-2</c:v>
                </c:pt>
                <c:pt idx="1719">
                  <c:v>3.0658105939004799E-2</c:v>
                </c:pt>
                <c:pt idx="1720">
                  <c:v>3.0675940788300299E-2</c:v>
                </c:pt>
                <c:pt idx="1721">
                  <c:v>3.0693775637595799E-2</c:v>
                </c:pt>
                <c:pt idx="1722">
                  <c:v>3.0711610486891298E-2</c:v>
                </c:pt>
                <c:pt idx="1723">
                  <c:v>3.0729445336186899E-2</c:v>
                </c:pt>
                <c:pt idx="1724">
                  <c:v>3.0747280185482399E-2</c:v>
                </c:pt>
                <c:pt idx="1725">
                  <c:v>3.0765115034777898E-2</c:v>
                </c:pt>
                <c:pt idx="1726">
                  <c:v>3.0782949884073402E-2</c:v>
                </c:pt>
                <c:pt idx="1727">
                  <c:v>3.0800784733368999E-2</c:v>
                </c:pt>
                <c:pt idx="1728">
                  <c:v>3.0818619582664498E-2</c:v>
                </c:pt>
                <c:pt idx="1729">
                  <c:v>3.0836454431959998E-2</c:v>
                </c:pt>
                <c:pt idx="1730">
                  <c:v>3.0854289281255502E-2</c:v>
                </c:pt>
                <c:pt idx="1731">
                  <c:v>3.0872124130551098E-2</c:v>
                </c:pt>
                <c:pt idx="1732">
                  <c:v>3.0889958979846598E-2</c:v>
                </c:pt>
                <c:pt idx="1733">
                  <c:v>3.0907793829142102E-2</c:v>
                </c:pt>
                <c:pt idx="1734">
                  <c:v>3.0925628678437601E-2</c:v>
                </c:pt>
                <c:pt idx="1735">
                  <c:v>3.0943463527733101E-2</c:v>
                </c:pt>
                <c:pt idx="1736">
                  <c:v>3.0961298377028702E-2</c:v>
                </c:pt>
                <c:pt idx="1737">
                  <c:v>3.0979133226324201E-2</c:v>
                </c:pt>
                <c:pt idx="1738">
                  <c:v>3.0996968075619701E-2</c:v>
                </c:pt>
                <c:pt idx="1739">
                  <c:v>3.1014802924915201E-2</c:v>
                </c:pt>
                <c:pt idx="1740">
                  <c:v>3.1032637774210801E-2</c:v>
                </c:pt>
                <c:pt idx="1741">
                  <c:v>3.1050472623506301E-2</c:v>
                </c:pt>
                <c:pt idx="1742">
                  <c:v>3.1068307472801801E-2</c:v>
                </c:pt>
                <c:pt idx="1743">
                  <c:v>3.1086142322097301E-2</c:v>
                </c:pt>
                <c:pt idx="1744">
                  <c:v>3.1103977171392901E-2</c:v>
                </c:pt>
                <c:pt idx="1745">
                  <c:v>3.1121812020688401E-2</c:v>
                </c:pt>
                <c:pt idx="1746">
                  <c:v>3.1139646869983901E-2</c:v>
                </c:pt>
                <c:pt idx="1747">
                  <c:v>3.1157481719279401E-2</c:v>
                </c:pt>
                <c:pt idx="1748">
                  <c:v>3.11753165685749E-2</c:v>
                </c:pt>
                <c:pt idx="1749">
                  <c:v>3.1193151417870501E-2</c:v>
                </c:pt>
                <c:pt idx="1750">
                  <c:v>3.1210986267166001E-2</c:v>
                </c:pt>
                <c:pt idx="1751">
                  <c:v>3.1228821116461501E-2</c:v>
                </c:pt>
                <c:pt idx="1752">
                  <c:v>3.1246655965757E-2</c:v>
                </c:pt>
                <c:pt idx="1753">
                  <c:v>3.1264490815052601E-2</c:v>
                </c:pt>
                <c:pt idx="1754">
                  <c:v>3.1282325664348097E-2</c:v>
                </c:pt>
                <c:pt idx="1755">
                  <c:v>3.13001605136436E-2</c:v>
                </c:pt>
                <c:pt idx="1756">
                  <c:v>3.1317995362939097E-2</c:v>
                </c:pt>
                <c:pt idx="1757">
                  <c:v>3.1335830212234697E-2</c:v>
                </c:pt>
                <c:pt idx="1758">
                  <c:v>3.13536650615302E-2</c:v>
                </c:pt>
                <c:pt idx="1759">
                  <c:v>3.1371499910825697E-2</c:v>
                </c:pt>
                <c:pt idx="1760">
                  <c:v>3.13893347601212E-2</c:v>
                </c:pt>
                <c:pt idx="1761">
                  <c:v>3.14071696094168E-2</c:v>
                </c:pt>
                <c:pt idx="1762">
                  <c:v>3.1425004458712297E-2</c:v>
                </c:pt>
                <c:pt idx="1763">
                  <c:v>3.14428393080078E-2</c:v>
                </c:pt>
                <c:pt idx="1764">
                  <c:v>3.1460674157303303E-2</c:v>
                </c:pt>
                <c:pt idx="1765">
                  <c:v>3.1478509006598897E-2</c:v>
                </c:pt>
                <c:pt idx="1766">
                  <c:v>3.14963438558944E-2</c:v>
                </c:pt>
                <c:pt idx="1767">
                  <c:v>3.1514178705189903E-2</c:v>
                </c:pt>
                <c:pt idx="1768">
                  <c:v>3.15320135544854E-2</c:v>
                </c:pt>
                <c:pt idx="1769">
                  <c:v>3.1549848403780903E-2</c:v>
                </c:pt>
                <c:pt idx="1770">
                  <c:v>3.1567683253076503E-2</c:v>
                </c:pt>
                <c:pt idx="1771">
                  <c:v>3.1585518102372E-2</c:v>
                </c:pt>
                <c:pt idx="1772">
                  <c:v>3.1603352951667503E-2</c:v>
                </c:pt>
                <c:pt idx="1773">
                  <c:v>3.1621187800962999E-2</c:v>
                </c:pt>
                <c:pt idx="1774">
                  <c:v>3.16390226502586E-2</c:v>
                </c:pt>
                <c:pt idx="1775">
                  <c:v>3.1656857499554103E-2</c:v>
                </c:pt>
                <c:pt idx="1776">
                  <c:v>3.1674692348849599E-2</c:v>
                </c:pt>
                <c:pt idx="1777">
                  <c:v>3.1692527198145103E-2</c:v>
                </c:pt>
                <c:pt idx="1778">
                  <c:v>3.1710362047440599E-2</c:v>
                </c:pt>
                <c:pt idx="1779">
                  <c:v>3.1728196896736199E-2</c:v>
                </c:pt>
                <c:pt idx="1780">
                  <c:v>3.1746031746031703E-2</c:v>
                </c:pt>
                <c:pt idx="1781">
                  <c:v>3.1763866595327199E-2</c:v>
                </c:pt>
                <c:pt idx="1782">
                  <c:v>3.1781701444622702E-2</c:v>
                </c:pt>
                <c:pt idx="1783">
                  <c:v>3.1799536293918303E-2</c:v>
                </c:pt>
                <c:pt idx="1784">
                  <c:v>3.1817371143213799E-2</c:v>
                </c:pt>
                <c:pt idx="1785">
                  <c:v>3.1835205992509302E-2</c:v>
                </c:pt>
                <c:pt idx="1786">
                  <c:v>3.1853040841804799E-2</c:v>
                </c:pt>
                <c:pt idx="1787">
                  <c:v>3.1870875691100399E-2</c:v>
                </c:pt>
                <c:pt idx="1788">
                  <c:v>3.1888710540395902E-2</c:v>
                </c:pt>
                <c:pt idx="1789">
                  <c:v>3.1906545389691399E-2</c:v>
                </c:pt>
                <c:pt idx="1790">
                  <c:v>3.1924380238986902E-2</c:v>
                </c:pt>
                <c:pt idx="1791">
                  <c:v>3.1942215088282502E-2</c:v>
                </c:pt>
                <c:pt idx="1792">
                  <c:v>3.1960049937577999E-2</c:v>
                </c:pt>
                <c:pt idx="1793">
                  <c:v>3.1977884786873502E-2</c:v>
                </c:pt>
                <c:pt idx="1794">
                  <c:v>3.1995719636168998E-2</c:v>
                </c:pt>
                <c:pt idx="1795">
                  <c:v>3.2013554485464599E-2</c:v>
                </c:pt>
                <c:pt idx="1796">
                  <c:v>3.2031389334760102E-2</c:v>
                </c:pt>
                <c:pt idx="1797">
                  <c:v>3.2049224184055598E-2</c:v>
                </c:pt>
                <c:pt idx="1798">
                  <c:v>3.2067059033351102E-2</c:v>
                </c:pt>
                <c:pt idx="1799">
                  <c:v>3.2084893882646598E-2</c:v>
                </c:pt>
                <c:pt idx="1800">
                  <c:v>3.2102728731942198E-2</c:v>
                </c:pt>
                <c:pt idx="1801">
                  <c:v>3.2120563581237702E-2</c:v>
                </c:pt>
                <c:pt idx="1802">
                  <c:v>3.2138398430533198E-2</c:v>
                </c:pt>
                <c:pt idx="1803">
                  <c:v>3.2156233279828701E-2</c:v>
                </c:pt>
                <c:pt idx="1804">
                  <c:v>3.2174068129124302E-2</c:v>
                </c:pt>
                <c:pt idx="1805">
                  <c:v>3.2191902978419798E-2</c:v>
                </c:pt>
                <c:pt idx="1806">
                  <c:v>3.2209737827715301E-2</c:v>
                </c:pt>
                <c:pt idx="1807">
                  <c:v>3.2227572677010798E-2</c:v>
                </c:pt>
                <c:pt idx="1808">
                  <c:v>3.2245407526306398E-2</c:v>
                </c:pt>
                <c:pt idx="1809">
                  <c:v>3.2263242375601901E-2</c:v>
                </c:pt>
                <c:pt idx="1810">
                  <c:v>3.2281077224897398E-2</c:v>
                </c:pt>
                <c:pt idx="1811">
                  <c:v>3.2298912074192901E-2</c:v>
                </c:pt>
                <c:pt idx="1812">
                  <c:v>3.2316746923488397E-2</c:v>
                </c:pt>
                <c:pt idx="1813">
                  <c:v>3.2334581772783998E-2</c:v>
                </c:pt>
                <c:pt idx="1814">
                  <c:v>3.2352416622079501E-2</c:v>
                </c:pt>
                <c:pt idx="1815">
                  <c:v>3.2370251471374997E-2</c:v>
                </c:pt>
                <c:pt idx="1816">
                  <c:v>3.2388086320670501E-2</c:v>
                </c:pt>
                <c:pt idx="1817">
                  <c:v>3.2405921169966101E-2</c:v>
                </c:pt>
                <c:pt idx="1818">
                  <c:v>3.2423756019261597E-2</c:v>
                </c:pt>
                <c:pt idx="1819">
                  <c:v>3.2441590868557101E-2</c:v>
                </c:pt>
                <c:pt idx="1820">
                  <c:v>3.2459425717852597E-2</c:v>
                </c:pt>
                <c:pt idx="1821">
                  <c:v>3.2477260567148197E-2</c:v>
                </c:pt>
                <c:pt idx="1822">
                  <c:v>3.2495095416443701E-2</c:v>
                </c:pt>
                <c:pt idx="1823">
                  <c:v>3.2512930265739197E-2</c:v>
                </c:pt>
                <c:pt idx="1824">
                  <c:v>3.25307651150347E-2</c:v>
                </c:pt>
                <c:pt idx="1825">
                  <c:v>3.2548599964330301E-2</c:v>
                </c:pt>
                <c:pt idx="1826">
                  <c:v>3.2566434813625797E-2</c:v>
                </c:pt>
                <c:pt idx="1827">
                  <c:v>3.25842696629213E-2</c:v>
                </c:pt>
                <c:pt idx="1828">
                  <c:v>3.2602104512216797E-2</c:v>
                </c:pt>
                <c:pt idx="1829">
                  <c:v>3.2619939361512397E-2</c:v>
                </c:pt>
                <c:pt idx="1830">
                  <c:v>3.26377742108079E-2</c:v>
                </c:pt>
                <c:pt idx="1831">
                  <c:v>3.2655609060103397E-2</c:v>
                </c:pt>
                <c:pt idx="1832">
                  <c:v>3.26734439093989E-2</c:v>
                </c:pt>
                <c:pt idx="1833">
                  <c:v>3.2691278758694403E-2</c:v>
                </c:pt>
                <c:pt idx="1834">
                  <c:v>3.2709113607989997E-2</c:v>
                </c:pt>
                <c:pt idx="1835">
                  <c:v>3.27269484572855E-2</c:v>
                </c:pt>
                <c:pt idx="1836">
                  <c:v>3.2744783306581003E-2</c:v>
                </c:pt>
                <c:pt idx="1837">
                  <c:v>3.27626181558765E-2</c:v>
                </c:pt>
                <c:pt idx="1838">
                  <c:v>3.27804530051721E-2</c:v>
                </c:pt>
                <c:pt idx="1839">
                  <c:v>3.2798287854467603E-2</c:v>
                </c:pt>
                <c:pt idx="1840">
                  <c:v>3.28161227037631E-2</c:v>
                </c:pt>
                <c:pt idx="1841">
                  <c:v>3.2833957553058603E-2</c:v>
                </c:pt>
                <c:pt idx="1842">
                  <c:v>3.2851792402354203E-2</c:v>
                </c:pt>
                <c:pt idx="1843">
                  <c:v>3.28696272516497E-2</c:v>
                </c:pt>
                <c:pt idx="1844">
                  <c:v>3.2887462100945203E-2</c:v>
                </c:pt>
                <c:pt idx="1845">
                  <c:v>3.2905296950240699E-2</c:v>
                </c:pt>
                <c:pt idx="1846">
                  <c:v>3.2923131799536202E-2</c:v>
                </c:pt>
                <c:pt idx="1847">
                  <c:v>3.2940966648831803E-2</c:v>
                </c:pt>
                <c:pt idx="1848">
                  <c:v>3.2958801498127299E-2</c:v>
                </c:pt>
                <c:pt idx="1849">
                  <c:v>3.2976636347422802E-2</c:v>
                </c:pt>
                <c:pt idx="1850">
                  <c:v>3.2994471196718299E-2</c:v>
                </c:pt>
                <c:pt idx="1851">
                  <c:v>3.3012306046013899E-2</c:v>
                </c:pt>
                <c:pt idx="1852">
                  <c:v>3.3030140895309403E-2</c:v>
                </c:pt>
                <c:pt idx="1853">
                  <c:v>3.3047975744604899E-2</c:v>
                </c:pt>
                <c:pt idx="1854">
                  <c:v>3.3065810593900402E-2</c:v>
                </c:pt>
                <c:pt idx="1855">
                  <c:v>3.3083645443196003E-2</c:v>
                </c:pt>
                <c:pt idx="1856">
                  <c:v>3.3101480292491499E-2</c:v>
                </c:pt>
                <c:pt idx="1857">
                  <c:v>3.3119315141787002E-2</c:v>
                </c:pt>
                <c:pt idx="1858">
                  <c:v>3.3137149991082498E-2</c:v>
                </c:pt>
                <c:pt idx="1859">
                  <c:v>3.3154984840378099E-2</c:v>
                </c:pt>
                <c:pt idx="1860">
                  <c:v>3.3172819689673602E-2</c:v>
                </c:pt>
                <c:pt idx="1861">
                  <c:v>3.3190654538969099E-2</c:v>
                </c:pt>
                <c:pt idx="1862">
                  <c:v>3.3208489388264602E-2</c:v>
                </c:pt>
                <c:pt idx="1863">
                  <c:v>3.3226324237560098E-2</c:v>
                </c:pt>
                <c:pt idx="1864">
                  <c:v>3.3244159086855699E-2</c:v>
                </c:pt>
                <c:pt idx="1865">
                  <c:v>3.3261993936151202E-2</c:v>
                </c:pt>
                <c:pt idx="1866">
                  <c:v>3.3279828785446698E-2</c:v>
                </c:pt>
                <c:pt idx="1867">
                  <c:v>3.3297663634742201E-2</c:v>
                </c:pt>
                <c:pt idx="1868">
                  <c:v>3.3315498484037802E-2</c:v>
                </c:pt>
                <c:pt idx="1869">
                  <c:v>3.3333333333333298E-2</c:v>
                </c:pt>
                <c:pt idx="1870">
                  <c:v>3.3351168182628801E-2</c:v>
                </c:pt>
                <c:pt idx="1871">
                  <c:v>3.3369003031924298E-2</c:v>
                </c:pt>
                <c:pt idx="1872">
                  <c:v>3.3386837881219898E-2</c:v>
                </c:pt>
                <c:pt idx="1873">
                  <c:v>3.3404672730515401E-2</c:v>
                </c:pt>
                <c:pt idx="1874">
                  <c:v>3.3422507579810898E-2</c:v>
                </c:pt>
                <c:pt idx="1875">
                  <c:v>3.3440342429106401E-2</c:v>
                </c:pt>
                <c:pt idx="1876">
                  <c:v>3.3458177278401897E-2</c:v>
                </c:pt>
                <c:pt idx="1877">
                  <c:v>3.3476012127697498E-2</c:v>
                </c:pt>
                <c:pt idx="1878">
                  <c:v>3.3493846976993001E-2</c:v>
                </c:pt>
                <c:pt idx="1879">
                  <c:v>3.3511681826288497E-2</c:v>
                </c:pt>
                <c:pt idx="1880">
                  <c:v>3.3529516675584001E-2</c:v>
                </c:pt>
                <c:pt idx="1881">
                  <c:v>3.3547351524879601E-2</c:v>
                </c:pt>
                <c:pt idx="1882">
                  <c:v>3.3565186374175097E-2</c:v>
                </c:pt>
                <c:pt idx="1883">
                  <c:v>3.3583021223470601E-2</c:v>
                </c:pt>
                <c:pt idx="1884">
                  <c:v>3.3600856072766097E-2</c:v>
                </c:pt>
                <c:pt idx="1885">
                  <c:v>3.3618690922061698E-2</c:v>
                </c:pt>
                <c:pt idx="1886">
                  <c:v>3.3636525771357201E-2</c:v>
                </c:pt>
                <c:pt idx="1887">
                  <c:v>3.3654360620652697E-2</c:v>
                </c:pt>
                <c:pt idx="1888">
                  <c:v>3.36721954699482E-2</c:v>
                </c:pt>
                <c:pt idx="1889">
                  <c:v>3.3690030319243801E-2</c:v>
                </c:pt>
                <c:pt idx="1890">
                  <c:v>3.3707865168539297E-2</c:v>
                </c:pt>
                <c:pt idx="1891">
                  <c:v>3.37257000178348E-2</c:v>
                </c:pt>
                <c:pt idx="1892">
                  <c:v>3.3743534867130297E-2</c:v>
                </c:pt>
                <c:pt idx="1893">
                  <c:v>3.3761369716425897E-2</c:v>
                </c:pt>
                <c:pt idx="1894">
                  <c:v>3.37792045657214E-2</c:v>
                </c:pt>
                <c:pt idx="1895">
                  <c:v>3.3797039415016897E-2</c:v>
                </c:pt>
                <c:pt idx="1896">
                  <c:v>3.38148742643124E-2</c:v>
                </c:pt>
                <c:pt idx="1897">
                  <c:v>3.3832709113607903E-2</c:v>
                </c:pt>
                <c:pt idx="1898">
                  <c:v>3.3850543962903497E-2</c:v>
                </c:pt>
                <c:pt idx="1899">
                  <c:v>3.3868378812199E-2</c:v>
                </c:pt>
                <c:pt idx="1900">
                  <c:v>3.3886213661494503E-2</c:v>
                </c:pt>
                <c:pt idx="1901">
                  <c:v>3.390404851079E-2</c:v>
                </c:pt>
                <c:pt idx="1902">
                  <c:v>3.39218833600856E-2</c:v>
                </c:pt>
                <c:pt idx="1903">
                  <c:v>3.3939718209381103E-2</c:v>
                </c:pt>
                <c:pt idx="1904">
                  <c:v>3.39575530586766E-2</c:v>
                </c:pt>
                <c:pt idx="1905">
                  <c:v>3.3975387907972103E-2</c:v>
                </c:pt>
                <c:pt idx="1906">
                  <c:v>3.3993222757267703E-2</c:v>
                </c:pt>
                <c:pt idx="1907">
                  <c:v>3.40110576065632E-2</c:v>
                </c:pt>
                <c:pt idx="1908">
                  <c:v>3.4028892455858703E-2</c:v>
                </c:pt>
                <c:pt idx="1909">
                  <c:v>3.4046727305154199E-2</c:v>
                </c:pt>
                <c:pt idx="1910">
                  <c:v>3.4064562154449703E-2</c:v>
                </c:pt>
                <c:pt idx="1911">
                  <c:v>3.4082397003745303E-2</c:v>
                </c:pt>
                <c:pt idx="1912">
                  <c:v>3.4100231853040799E-2</c:v>
                </c:pt>
                <c:pt idx="1913">
                  <c:v>3.4118066702336303E-2</c:v>
                </c:pt>
                <c:pt idx="1914">
                  <c:v>3.4135901551631799E-2</c:v>
                </c:pt>
                <c:pt idx="1915">
                  <c:v>3.4153736400927399E-2</c:v>
                </c:pt>
                <c:pt idx="1916">
                  <c:v>3.4171571250222903E-2</c:v>
                </c:pt>
                <c:pt idx="1917">
                  <c:v>3.4189406099518399E-2</c:v>
                </c:pt>
                <c:pt idx="1918">
                  <c:v>3.4207240948813902E-2</c:v>
                </c:pt>
                <c:pt idx="1919">
                  <c:v>3.4225075798109503E-2</c:v>
                </c:pt>
                <c:pt idx="1920">
                  <c:v>3.4242910647404999E-2</c:v>
                </c:pt>
                <c:pt idx="1921">
                  <c:v>3.4260745496700502E-2</c:v>
                </c:pt>
                <c:pt idx="1922">
                  <c:v>3.4278580345995999E-2</c:v>
                </c:pt>
                <c:pt idx="1923">
                  <c:v>3.4296415195291599E-2</c:v>
                </c:pt>
                <c:pt idx="1924">
                  <c:v>3.4314250044587102E-2</c:v>
                </c:pt>
                <c:pt idx="1925">
                  <c:v>3.4332084893882599E-2</c:v>
                </c:pt>
                <c:pt idx="1926">
                  <c:v>3.4349919743178102E-2</c:v>
                </c:pt>
                <c:pt idx="1927">
                  <c:v>3.4367754592473598E-2</c:v>
                </c:pt>
                <c:pt idx="1928">
                  <c:v>3.4385589441769199E-2</c:v>
                </c:pt>
                <c:pt idx="1929">
                  <c:v>3.4403424291064702E-2</c:v>
                </c:pt>
                <c:pt idx="1930">
                  <c:v>3.4421259140360198E-2</c:v>
                </c:pt>
                <c:pt idx="1931">
                  <c:v>3.4439093989655702E-2</c:v>
                </c:pt>
                <c:pt idx="1932">
                  <c:v>3.4456928838951302E-2</c:v>
                </c:pt>
                <c:pt idx="1933">
                  <c:v>3.4474763688246798E-2</c:v>
                </c:pt>
                <c:pt idx="1934">
                  <c:v>3.4492598537542302E-2</c:v>
                </c:pt>
                <c:pt idx="1935">
                  <c:v>3.4510433386837798E-2</c:v>
                </c:pt>
                <c:pt idx="1936">
                  <c:v>3.4528268236133398E-2</c:v>
                </c:pt>
                <c:pt idx="1937">
                  <c:v>3.4546103085428902E-2</c:v>
                </c:pt>
                <c:pt idx="1938">
                  <c:v>3.4563937934724398E-2</c:v>
                </c:pt>
                <c:pt idx="1939">
                  <c:v>3.4581772784019901E-2</c:v>
                </c:pt>
                <c:pt idx="1940">
                  <c:v>3.4599607633315502E-2</c:v>
                </c:pt>
                <c:pt idx="1941">
                  <c:v>3.4617442482610998E-2</c:v>
                </c:pt>
                <c:pt idx="1942">
                  <c:v>3.4635277331906501E-2</c:v>
                </c:pt>
                <c:pt idx="1943">
                  <c:v>3.4653112181201998E-2</c:v>
                </c:pt>
                <c:pt idx="1944">
                  <c:v>3.4670947030497501E-2</c:v>
                </c:pt>
                <c:pt idx="1945">
                  <c:v>3.4688781879793101E-2</c:v>
                </c:pt>
                <c:pt idx="1946">
                  <c:v>3.4706616729088598E-2</c:v>
                </c:pt>
                <c:pt idx="1947">
                  <c:v>3.4724451578384101E-2</c:v>
                </c:pt>
                <c:pt idx="1948">
                  <c:v>3.4742286427679597E-2</c:v>
                </c:pt>
                <c:pt idx="1949">
                  <c:v>3.4760121276975198E-2</c:v>
                </c:pt>
                <c:pt idx="1950">
                  <c:v>3.4777956126270701E-2</c:v>
                </c:pt>
                <c:pt idx="1951">
                  <c:v>3.4795790975566197E-2</c:v>
                </c:pt>
                <c:pt idx="1952">
                  <c:v>3.4813625824861701E-2</c:v>
                </c:pt>
                <c:pt idx="1953">
                  <c:v>3.4831460674157301E-2</c:v>
                </c:pt>
                <c:pt idx="1954">
                  <c:v>3.4849295523452797E-2</c:v>
                </c:pt>
                <c:pt idx="1955">
                  <c:v>3.4867130372748301E-2</c:v>
                </c:pt>
                <c:pt idx="1956">
                  <c:v>3.4884965222043797E-2</c:v>
                </c:pt>
                <c:pt idx="1957">
                  <c:v>3.4902800071339397E-2</c:v>
                </c:pt>
                <c:pt idx="1958">
                  <c:v>3.4920634920634901E-2</c:v>
                </c:pt>
                <c:pt idx="1959">
                  <c:v>3.4938469769930397E-2</c:v>
                </c:pt>
                <c:pt idx="1960">
                  <c:v>3.49563046192259E-2</c:v>
                </c:pt>
                <c:pt idx="1961">
                  <c:v>3.4974139468521397E-2</c:v>
                </c:pt>
                <c:pt idx="1962">
                  <c:v>3.4991974317816997E-2</c:v>
                </c:pt>
                <c:pt idx="1963">
                  <c:v>3.50098091671125E-2</c:v>
                </c:pt>
                <c:pt idx="1964">
                  <c:v>3.5027644016407997E-2</c:v>
                </c:pt>
                <c:pt idx="1965">
                  <c:v>3.50454788657035E-2</c:v>
                </c:pt>
                <c:pt idx="1966">
                  <c:v>3.50633137149991E-2</c:v>
                </c:pt>
                <c:pt idx="1967">
                  <c:v>3.5081148564294597E-2</c:v>
                </c:pt>
                <c:pt idx="1968">
                  <c:v>3.50989834135901E-2</c:v>
                </c:pt>
                <c:pt idx="1969">
                  <c:v>3.5116818262885603E-2</c:v>
                </c:pt>
                <c:pt idx="1970">
                  <c:v>3.5134653112181197E-2</c:v>
                </c:pt>
                <c:pt idx="1971">
                  <c:v>3.51524879614767E-2</c:v>
                </c:pt>
                <c:pt idx="1972">
                  <c:v>3.5170322810772203E-2</c:v>
                </c:pt>
                <c:pt idx="1973">
                  <c:v>3.51881576600677E-2</c:v>
                </c:pt>
                <c:pt idx="1974">
                  <c:v>3.5205992509363203E-2</c:v>
                </c:pt>
                <c:pt idx="1975">
                  <c:v>3.5223827358658803E-2</c:v>
                </c:pt>
                <c:pt idx="1976">
                  <c:v>3.52416622079543E-2</c:v>
                </c:pt>
                <c:pt idx="1977">
                  <c:v>3.5259497057249803E-2</c:v>
                </c:pt>
                <c:pt idx="1978">
                  <c:v>3.5277331906545299E-2</c:v>
                </c:pt>
                <c:pt idx="1979">
                  <c:v>3.52951667558409E-2</c:v>
                </c:pt>
                <c:pt idx="1980">
                  <c:v>3.5313001605136403E-2</c:v>
                </c:pt>
                <c:pt idx="1981">
                  <c:v>3.5330836454431899E-2</c:v>
                </c:pt>
                <c:pt idx="1982">
                  <c:v>3.5348671303727403E-2</c:v>
                </c:pt>
                <c:pt idx="1983">
                  <c:v>3.5366506153023003E-2</c:v>
                </c:pt>
                <c:pt idx="1984">
                  <c:v>3.5384341002318499E-2</c:v>
                </c:pt>
                <c:pt idx="1985">
                  <c:v>3.5402175851614003E-2</c:v>
                </c:pt>
                <c:pt idx="1986">
                  <c:v>3.5420010700909499E-2</c:v>
                </c:pt>
                <c:pt idx="1987">
                  <c:v>3.5437845550205099E-2</c:v>
                </c:pt>
                <c:pt idx="1988">
                  <c:v>3.5455680399500603E-2</c:v>
                </c:pt>
                <c:pt idx="1989">
                  <c:v>3.5473515248796099E-2</c:v>
                </c:pt>
                <c:pt idx="1990">
                  <c:v>3.5491350098091602E-2</c:v>
                </c:pt>
                <c:pt idx="1991">
                  <c:v>3.5509184947387099E-2</c:v>
                </c:pt>
                <c:pt idx="1992">
                  <c:v>3.5527019796682699E-2</c:v>
                </c:pt>
                <c:pt idx="1993">
                  <c:v>3.5544854645978202E-2</c:v>
                </c:pt>
                <c:pt idx="1994">
                  <c:v>3.5562689495273699E-2</c:v>
                </c:pt>
                <c:pt idx="1995">
                  <c:v>3.5580524344569202E-2</c:v>
                </c:pt>
                <c:pt idx="1996">
                  <c:v>3.5598359193864802E-2</c:v>
                </c:pt>
                <c:pt idx="1997">
                  <c:v>3.5616194043160299E-2</c:v>
                </c:pt>
                <c:pt idx="1998">
                  <c:v>3.5634028892455802E-2</c:v>
                </c:pt>
                <c:pt idx="1999">
                  <c:v>3.5651863741751298E-2</c:v>
                </c:pt>
                <c:pt idx="2000">
                  <c:v>3.5669698591046899E-2</c:v>
                </c:pt>
                <c:pt idx="2001">
                  <c:v>3.5687533440342402E-2</c:v>
                </c:pt>
                <c:pt idx="2002">
                  <c:v>3.5705368289637898E-2</c:v>
                </c:pt>
                <c:pt idx="2003">
                  <c:v>3.5723203138933401E-2</c:v>
                </c:pt>
                <c:pt idx="2004">
                  <c:v>3.5741037988229002E-2</c:v>
                </c:pt>
                <c:pt idx="2005">
                  <c:v>3.5758872837524498E-2</c:v>
                </c:pt>
                <c:pt idx="2006">
                  <c:v>3.5776707686820002E-2</c:v>
                </c:pt>
                <c:pt idx="2007">
                  <c:v>3.5794542536115498E-2</c:v>
                </c:pt>
                <c:pt idx="2008">
                  <c:v>3.5812377385411001E-2</c:v>
                </c:pt>
                <c:pt idx="2009">
                  <c:v>3.5830212234706602E-2</c:v>
                </c:pt>
                <c:pt idx="2010">
                  <c:v>3.5848047084002098E-2</c:v>
                </c:pt>
                <c:pt idx="2011">
                  <c:v>3.5865881933297601E-2</c:v>
                </c:pt>
                <c:pt idx="2012">
                  <c:v>3.5883716782593097E-2</c:v>
                </c:pt>
                <c:pt idx="2013">
                  <c:v>3.5901551631888698E-2</c:v>
                </c:pt>
                <c:pt idx="2014">
                  <c:v>3.5919386481184201E-2</c:v>
                </c:pt>
                <c:pt idx="2015">
                  <c:v>3.5937221330479698E-2</c:v>
                </c:pt>
                <c:pt idx="2016">
                  <c:v>3.5955056179775201E-2</c:v>
                </c:pt>
                <c:pt idx="2017">
                  <c:v>3.5972891029070801E-2</c:v>
                </c:pt>
                <c:pt idx="2018">
                  <c:v>3.5990725878366298E-2</c:v>
                </c:pt>
                <c:pt idx="2019">
                  <c:v>3.6008560727661801E-2</c:v>
                </c:pt>
                <c:pt idx="2020">
                  <c:v>3.6026395576957297E-2</c:v>
                </c:pt>
                <c:pt idx="2021">
                  <c:v>3.6044230426252898E-2</c:v>
                </c:pt>
                <c:pt idx="2022">
                  <c:v>3.6062065275548401E-2</c:v>
                </c:pt>
                <c:pt idx="2023">
                  <c:v>3.6079900124843897E-2</c:v>
                </c:pt>
                <c:pt idx="2024">
                  <c:v>3.60977349741394E-2</c:v>
                </c:pt>
                <c:pt idx="2025">
                  <c:v>3.6115569823434897E-2</c:v>
                </c:pt>
                <c:pt idx="2026">
                  <c:v>3.6133404672730497E-2</c:v>
                </c:pt>
                <c:pt idx="2027">
                  <c:v>3.6151239522026E-2</c:v>
                </c:pt>
                <c:pt idx="2028">
                  <c:v>3.6169074371321497E-2</c:v>
                </c:pt>
                <c:pt idx="2029">
                  <c:v>3.6186909220617E-2</c:v>
                </c:pt>
                <c:pt idx="2030">
                  <c:v>3.6204744069912601E-2</c:v>
                </c:pt>
                <c:pt idx="2031">
                  <c:v>3.6222578919208097E-2</c:v>
                </c:pt>
                <c:pt idx="2032">
                  <c:v>3.62404137685036E-2</c:v>
                </c:pt>
                <c:pt idx="2033">
                  <c:v>3.6258248617799103E-2</c:v>
                </c:pt>
                <c:pt idx="2034">
                  <c:v>3.6276083467094697E-2</c:v>
                </c:pt>
                <c:pt idx="2035">
                  <c:v>3.62939183163902E-2</c:v>
                </c:pt>
                <c:pt idx="2036">
                  <c:v>3.6311753165685703E-2</c:v>
                </c:pt>
                <c:pt idx="2037">
                  <c:v>3.63295880149812E-2</c:v>
                </c:pt>
                <c:pt idx="2038">
                  <c:v>3.63474228642768E-2</c:v>
                </c:pt>
                <c:pt idx="2039">
                  <c:v>3.6365257713572303E-2</c:v>
                </c:pt>
                <c:pt idx="2040">
                  <c:v>3.63830925628678E-2</c:v>
                </c:pt>
                <c:pt idx="2041">
                  <c:v>3.6400927412163303E-2</c:v>
                </c:pt>
                <c:pt idx="2042">
                  <c:v>3.6418762261458799E-2</c:v>
                </c:pt>
                <c:pt idx="2043">
                  <c:v>3.64365971107544E-2</c:v>
                </c:pt>
                <c:pt idx="2044">
                  <c:v>3.6454431960049903E-2</c:v>
                </c:pt>
                <c:pt idx="2045">
                  <c:v>3.6472266809345399E-2</c:v>
                </c:pt>
                <c:pt idx="2046">
                  <c:v>3.6490101658640903E-2</c:v>
                </c:pt>
                <c:pt idx="2047">
                  <c:v>3.6507936507936503E-2</c:v>
                </c:pt>
                <c:pt idx="2048">
                  <c:v>3.6525771357231999E-2</c:v>
                </c:pt>
                <c:pt idx="2049">
                  <c:v>3.6543606206527503E-2</c:v>
                </c:pt>
                <c:pt idx="2050">
                  <c:v>3.6561441055822999E-2</c:v>
                </c:pt>
                <c:pt idx="2051">
                  <c:v>3.6579275905118599E-2</c:v>
                </c:pt>
                <c:pt idx="2052">
                  <c:v>3.6597110754414103E-2</c:v>
                </c:pt>
                <c:pt idx="2053">
                  <c:v>3.6614945603709599E-2</c:v>
                </c:pt>
                <c:pt idx="2054">
                  <c:v>3.6632780453005102E-2</c:v>
                </c:pt>
                <c:pt idx="2055">
                  <c:v>3.6650615302300599E-2</c:v>
                </c:pt>
                <c:pt idx="2056">
                  <c:v>3.6668450151596199E-2</c:v>
                </c:pt>
                <c:pt idx="2057">
                  <c:v>3.6686285000891702E-2</c:v>
                </c:pt>
                <c:pt idx="2058">
                  <c:v>3.6704119850187199E-2</c:v>
                </c:pt>
                <c:pt idx="2059">
                  <c:v>3.6721954699482702E-2</c:v>
                </c:pt>
                <c:pt idx="2060">
                  <c:v>3.6739789548778302E-2</c:v>
                </c:pt>
                <c:pt idx="2061">
                  <c:v>3.6757624398073799E-2</c:v>
                </c:pt>
                <c:pt idx="2062">
                  <c:v>3.6775459247369302E-2</c:v>
                </c:pt>
                <c:pt idx="2063">
                  <c:v>3.6793294096664798E-2</c:v>
                </c:pt>
                <c:pt idx="2064">
                  <c:v>3.6811128945960399E-2</c:v>
                </c:pt>
                <c:pt idx="2065">
                  <c:v>3.6828963795255902E-2</c:v>
                </c:pt>
                <c:pt idx="2066">
                  <c:v>3.6846798644551398E-2</c:v>
                </c:pt>
                <c:pt idx="2067">
                  <c:v>3.6864633493846902E-2</c:v>
                </c:pt>
                <c:pt idx="2068">
                  <c:v>3.6882468343142502E-2</c:v>
                </c:pt>
                <c:pt idx="2069">
                  <c:v>3.6900303192437998E-2</c:v>
                </c:pt>
                <c:pt idx="2070">
                  <c:v>3.6918138041733502E-2</c:v>
                </c:pt>
                <c:pt idx="2071">
                  <c:v>3.6935972891028998E-2</c:v>
                </c:pt>
                <c:pt idx="2072">
                  <c:v>3.6953807740324501E-2</c:v>
                </c:pt>
                <c:pt idx="2073">
                  <c:v>3.6971642589620102E-2</c:v>
                </c:pt>
                <c:pt idx="2074">
                  <c:v>3.6989477438915598E-2</c:v>
                </c:pt>
                <c:pt idx="2075">
                  <c:v>3.7007312288211101E-2</c:v>
                </c:pt>
                <c:pt idx="2076">
                  <c:v>3.7025147137506598E-2</c:v>
                </c:pt>
                <c:pt idx="2077">
                  <c:v>3.7042981986802198E-2</c:v>
                </c:pt>
                <c:pt idx="2078">
                  <c:v>3.7060816836097701E-2</c:v>
                </c:pt>
                <c:pt idx="2079">
                  <c:v>3.7078651685393198E-2</c:v>
                </c:pt>
                <c:pt idx="2080">
                  <c:v>3.7096486534688701E-2</c:v>
                </c:pt>
                <c:pt idx="2081">
                  <c:v>3.7114321383984301E-2</c:v>
                </c:pt>
                <c:pt idx="2082">
                  <c:v>3.7132156233279798E-2</c:v>
                </c:pt>
                <c:pt idx="2083">
                  <c:v>3.7149991082575301E-2</c:v>
                </c:pt>
                <c:pt idx="2084">
                  <c:v>3.7167825931870797E-2</c:v>
                </c:pt>
                <c:pt idx="2085">
                  <c:v>3.7185660781166398E-2</c:v>
                </c:pt>
                <c:pt idx="2086">
                  <c:v>3.7203495630461901E-2</c:v>
                </c:pt>
                <c:pt idx="2087">
                  <c:v>3.7221330479757397E-2</c:v>
                </c:pt>
                <c:pt idx="2088">
                  <c:v>3.7239165329052901E-2</c:v>
                </c:pt>
                <c:pt idx="2089">
                  <c:v>3.7257000178348397E-2</c:v>
                </c:pt>
                <c:pt idx="2090">
                  <c:v>3.7274835027643997E-2</c:v>
                </c:pt>
                <c:pt idx="2091">
                  <c:v>3.7292669876939501E-2</c:v>
                </c:pt>
                <c:pt idx="2092">
                  <c:v>3.7310504726234997E-2</c:v>
                </c:pt>
                <c:pt idx="2093">
                  <c:v>3.73283395755305E-2</c:v>
                </c:pt>
                <c:pt idx="2094">
                  <c:v>3.7346174424826101E-2</c:v>
                </c:pt>
                <c:pt idx="2095">
                  <c:v>3.7364009274121597E-2</c:v>
                </c:pt>
                <c:pt idx="2096">
                  <c:v>3.73818441234171E-2</c:v>
                </c:pt>
                <c:pt idx="2097">
                  <c:v>3.7399678972712597E-2</c:v>
                </c:pt>
                <c:pt idx="2098">
                  <c:v>3.7417513822008197E-2</c:v>
                </c:pt>
                <c:pt idx="2099">
                  <c:v>3.74353486713037E-2</c:v>
                </c:pt>
                <c:pt idx="2100">
                  <c:v>3.7453183520599197E-2</c:v>
                </c:pt>
                <c:pt idx="2101">
                  <c:v>3.74710183698947E-2</c:v>
                </c:pt>
                <c:pt idx="2102">
                  <c:v>3.74888532191903E-2</c:v>
                </c:pt>
                <c:pt idx="2103">
                  <c:v>3.7506688068485797E-2</c:v>
                </c:pt>
                <c:pt idx="2104">
                  <c:v>3.75245229177813E-2</c:v>
                </c:pt>
                <c:pt idx="2105">
                  <c:v>3.7542357767076803E-2</c:v>
                </c:pt>
                <c:pt idx="2106">
                  <c:v>3.75601926163723E-2</c:v>
                </c:pt>
                <c:pt idx="2107">
                  <c:v>3.75780274656679E-2</c:v>
                </c:pt>
                <c:pt idx="2108">
                  <c:v>3.7595862314963403E-2</c:v>
                </c:pt>
                <c:pt idx="2109">
                  <c:v>3.76136971642589E-2</c:v>
                </c:pt>
                <c:pt idx="2110">
                  <c:v>3.7631532013554403E-2</c:v>
                </c:pt>
                <c:pt idx="2111">
                  <c:v>3.7649366862850003E-2</c:v>
                </c:pt>
                <c:pt idx="2112">
                  <c:v>3.76672017121455E-2</c:v>
                </c:pt>
                <c:pt idx="2113">
                  <c:v>3.7685036561441003E-2</c:v>
                </c:pt>
                <c:pt idx="2114">
                  <c:v>3.7702871410736499E-2</c:v>
                </c:pt>
                <c:pt idx="2115">
                  <c:v>3.77207062600321E-2</c:v>
                </c:pt>
                <c:pt idx="2116">
                  <c:v>3.7738541109327603E-2</c:v>
                </c:pt>
                <c:pt idx="2117">
                  <c:v>3.7756375958623099E-2</c:v>
                </c:pt>
                <c:pt idx="2118">
                  <c:v>3.7774210807918603E-2</c:v>
                </c:pt>
                <c:pt idx="2119">
                  <c:v>3.7792045657214099E-2</c:v>
                </c:pt>
                <c:pt idx="2120">
                  <c:v>3.7809880506509699E-2</c:v>
                </c:pt>
                <c:pt idx="2121">
                  <c:v>3.7827715355805203E-2</c:v>
                </c:pt>
                <c:pt idx="2122">
                  <c:v>3.7845550205100699E-2</c:v>
                </c:pt>
                <c:pt idx="2123">
                  <c:v>3.7863385054396202E-2</c:v>
                </c:pt>
                <c:pt idx="2124">
                  <c:v>3.7881219903691803E-2</c:v>
                </c:pt>
                <c:pt idx="2125">
                  <c:v>3.7899054752987299E-2</c:v>
                </c:pt>
                <c:pt idx="2126">
                  <c:v>3.7916889602282802E-2</c:v>
                </c:pt>
                <c:pt idx="2127">
                  <c:v>3.7934724451578299E-2</c:v>
                </c:pt>
                <c:pt idx="2128">
                  <c:v>3.7952559300873899E-2</c:v>
                </c:pt>
                <c:pt idx="2129">
                  <c:v>3.7970394150169402E-2</c:v>
                </c:pt>
                <c:pt idx="2130">
                  <c:v>3.7988228999464899E-2</c:v>
                </c:pt>
                <c:pt idx="2131">
                  <c:v>3.8006063848760402E-2</c:v>
                </c:pt>
                <c:pt idx="2132">
                  <c:v>3.8023898698056002E-2</c:v>
                </c:pt>
                <c:pt idx="2133">
                  <c:v>3.8041733547351499E-2</c:v>
                </c:pt>
                <c:pt idx="2134">
                  <c:v>3.8059568396647002E-2</c:v>
                </c:pt>
                <c:pt idx="2135">
                  <c:v>3.8077403245942498E-2</c:v>
                </c:pt>
                <c:pt idx="2136">
                  <c:v>3.8095238095238099E-2</c:v>
                </c:pt>
                <c:pt idx="2137">
                  <c:v>3.8113072944533602E-2</c:v>
                </c:pt>
                <c:pt idx="2138">
                  <c:v>3.8130907793829098E-2</c:v>
                </c:pt>
                <c:pt idx="2139">
                  <c:v>3.8148742643124602E-2</c:v>
                </c:pt>
                <c:pt idx="2140">
                  <c:v>3.8166577492420098E-2</c:v>
                </c:pt>
                <c:pt idx="2141">
                  <c:v>3.8184412341715698E-2</c:v>
                </c:pt>
                <c:pt idx="2142">
                  <c:v>3.8202247191011202E-2</c:v>
                </c:pt>
                <c:pt idx="2143">
                  <c:v>3.8220082040306698E-2</c:v>
                </c:pt>
                <c:pt idx="2144">
                  <c:v>3.8237916889602201E-2</c:v>
                </c:pt>
                <c:pt idx="2145">
                  <c:v>3.8255751738897802E-2</c:v>
                </c:pt>
                <c:pt idx="2146">
                  <c:v>3.8273586588193298E-2</c:v>
                </c:pt>
                <c:pt idx="2147">
                  <c:v>3.8291421437488801E-2</c:v>
                </c:pt>
                <c:pt idx="2148">
                  <c:v>3.8309256286784298E-2</c:v>
                </c:pt>
                <c:pt idx="2149">
                  <c:v>3.8327091136079898E-2</c:v>
                </c:pt>
                <c:pt idx="2150">
                  <c:v>3.8344925985375401E-2</c:v>
                </c:pt>
                <c:pt idx="2151">
                  <c:v>3.8362760834670898E-2</c:v>
                </c:pt>
                <c:pt idx="2152">
                  <c:v>3.8380595683966401E-2</c:v>
                </c:pt>
                <c:pt idx="2153">
                  <c:v>3.8398430533261897E-2</c:v>
                </c:pt>
                <c:pt idx="2154">
                  <c:v>3.8416265382557498E-2</c:v>
                </c:pt>
                <c:pt idx="2155">
                  <c:v>3.8434100231853001E-2</c:v>
                </c:pt>
                <c:pt idx="2156">
                  <c:v>3.8451935081148497E-2</c:v>
                </c:pt>
                <c:pt idx="2157">
                  <c:v>3.8469769930444001E-2</c:v>
                </c:pt>
                <c:pt idx="2158">
                  <c:v>3.8487604779739601E-2</c:v>
                </c:pt>
                <c:pt idx="2159">
                  <c:v>3.8505439629035097E-2</c:v>
                </c:pt>
                <c:pt idx="2160">
                  <c:v>3.8523274478330601E-2</c:v>
                </c:pt>
                <c:pt idx="2161">
                  <c:v>3.8541109327626097E-2</c:v>
                </c:pt>
                <c:pt idx="2162">
                  <c:v>3.8558944176921697E-2</c:v>
                </c:pt>
                <c:pt idx="2163">
                  <c:v>3.8576779026217201E-2</c:v>
                </c:pt>
                <c:pt idx="2164">
                  <c:v>3.8594613875512697E-2</c:v>
                </c:pt>
                <c:pt idx="2165">
                  <c:v>3.86124487248082E-2</c:v>
                </c:pt>
                <c:pt idx="2166">
                  <c:v>3.8630283574103801E-2</c:v>
                </c:pt>
                <c:pt idx="2167">
                  <c:v>3.8648118423399297E-2</c:v>
                </c:pt>
                <c:pt idx="2168">
                  <c:v>3.86659532726948E-2</c:v>
                </c:pt>
                <c:pt idx="2169">
                  <c:v>3.8683788121990297E-2</c:v>
                </c:pt>
                <c:pt idx="2170">
                  <c:v>3.87016229712858E-2</c:v>
                </c:pt>
                <c:pt idx="2171">
                  <c:v>3.87194578205814E-2</c:v>
                </c:pt>
                <c:pt idx="2172">
                  <c:v>3.8737292669876897E-2</c:v>
                </c:pt>
                <c:pt idx="2173">
                  <c:v>3.87551275191724E-2</c:v>
                </c:pt>
                <c:pt idx="2174">
                  <c:v>3.8772962368467903E-2</c:v>
                </c:pt>
                <c:pt idx="2175">
                  <c:v>3.8790797217763497E-2</c:v>
                </c:pt>
                <c:pt idx="2176">
                  <c:v>3.8808632067059E-2</c:v>
                </c:pt>
                <c:pt idx="2177">
                  <c:v>3.8826466916354503E-2</c:v>
                </c:pt>
                <c:pt idx="2178">
                  <c:v>3.8844301765649999E-2</c:v>
                </c:pt>
                <c:pt idx="2179">
                  <c:v>3.88621366149456E-2</c:v>
                </c:pt>
                <c:pt idx="2180">
                  <c:v>3.8879971464241103E-2</c:v>
                </c:pt>
                <c:pt idx="2181">
                  <c:v>3.88978063135366E-2</c:v>
                </c:pt>
                <c:pt idx="2182">
                  <c:v>3.8915641162832103E-2</c:v>
                </c:pt>
                <c:pt idx="2183">
                  <c:v>3.8933476012127599E-2</c:v>
                </c:pt>
                <c:pt idx="2184">
                  <c:v>3.89513108614232E-2</c:v>
                </c:pt>
                <c:pt idx="2185">
                  <c:v>3.8969145710718703E-2</c:v>
                </c:pt>
                <c:pt idx="2186">
                  <c:v>3.8986980560014199E-2</c:v>
                </c:pt>
                <c:pt idx="2187">
                  <c:v>3.9004815409309702E-2</c:v>
                </c:pt>
                <c:pt idx="2188">
                  <c:v>3.9022650258605303E-2</c:v>
                </c:pt>
                <c:pt idx="2189">
                  <c:v>3.9040485107900799E-2</c:v>
                </c:pt>
                <c:pt idx="2190">
                  <c:v>3.9058319957196302E-2</c:v>
                </c:pt>
                <c:pt idx="2191">
                  <c:v>3.9076154806491799E-2</c:v>
                </c:pt>
                <c:pt idx="2192">
                  <c:v>3.9093989655787399E-2</c:v>
                </c:pt>
                <c:pt idx="2193">
                  <c:v>3.9111824505082902E-2</c:v>
                </c:pt>
                <c:pt idx="2194">
                  <c:v>3.9129659354378399E-2</c:v>
                </c:pt>
                <c:pt idx="2195">
                  <c:v>3.9147494203673902E-2</c:v>
                </c:pt>
                <c:pt idx="2196">
                  <c:v>3.9165329052969503E-2</c:v>
                </c:pt>
                <c:pt idx="2197">
                  <c:v>3.9183163902264999E-2</c:v>
                </c:pt>
                <c:pt idx="2198">
                  <c:v>3.9200998751560502E-2</c:v>
                </c:pt>
                <c:pt idx="2199">
                  <c:v>3.9218833600855998E-2</c:v>
                </c:pt>
                <c:pt idx="2200">
                  <c:v>3.9236668450151599E-2</c:v>
                </c:pt>
                <c:pt idx="2201">
                  <c:v>3.9254503299447102E-2</c:v>
                </c:pt>
                <c:pt idx="2202">
                  <c:v>3.9272338148742598E-2</c:v>
                </c:pt>
                <c:pt idx="2203">
                  <c:v>3.9290172998038102E-2</c:v>
                </c:pt>
                <c:pt idx="2204">
                  <c:v>3.9308007847333598E-2</c:v>
                </c:pt>
                <c:pt idx="2205">
                  <c:v>3.9325842696629199E-2</c:v>
                </c:pt>
                <c:pt idx="2206">
                  <c:v>3.9343677545924702E-2</c:v>
                </c:pt>
                <c:pt idx="2207">
                  <c:v>3.9361512395220198E-2</c:v>
                </c:pt>
                <c:pt idx="2208">
                  <c:v>3.9379347244515701E-2</c:v>
                </c:pt>
                <c:pt idx="2209">
                  <c:v>3.9397182093811302E-2</c:v>
                </c:pt>
                <c:pt idx="2210">
                  <c:v>3.9415016943106798E-2</c:v>
                </c:pt>
                <c:pt idx="2211">
                  <c:v>3.9432851792402301E-2</c:v>
                </c:pt>
                <c:pt idx="2212">
                  <c:v>3.9450686641697798E-2</c:v>
                </c:pt>
                <c:pt idx="2213">
                  <c:v>3.9468521490993398E-2</c:v>
                </c:pt>
                <c:pt idx="2214">
                  <c:v>3.9486356340288901E-2</c:v>
                </c:pt>
                <c:pt idx="2215">
                  <c:v>3.9504191189584398E-2</c:v>
                </c:pt>
                <c:pt idx="2216">
                  <c:v>3.9522026038879901E-2</c:v>
                </c:pt>
                <c:pt idx="2217">
                  <c:v>3.9539860888175397E-2</c:v>
                </c:pt>
                <c:pt idx="2218">
                  <c:v>3.9557695737470998E-2</c:v>
                </c:pt>
                <c:pt idx="2219">
                  <c:v>3.9575530586766501E-2</c:v>
                </c:pt>
                <c:pt idx="2220">
                  <c:v>3.9593365436061997E-2</c:v>
                </c:pt>
                <c:pt idx="2221">
                  <c:v>3.9611200285357501E-2</c:v>
                </c:pt>
                <c:pt idx="2222">
                  <c:v>3.9629035134653101E-2</c:v>
                </c:pt>
                <c:pt idx="2223">
                  <c:v>3.9646869983948597E-2</c:v>
                </c:pt>
                <c:pt idx="2224">
                  <c:v>3.9664704833244101E-2</c:v>
                </c:pt>
                <c:pt idx="2225">
                  <c:v>3.9682539682539597E-2</c:v>
                </c:pt>
                <c:pt idx="2226">
                  <c:v>3.9700374531835197E-2</c:v>
                </c:pt>
                <c:pt idx="2227">
                  <c:v>3.9718209381130701E-2</c:v>
                </c:pt>
                <c:pt idx="2228">
                  <c:v>3.9736044230426197E-2</c:v>
                </c:pt>
                <c:pt idx="2229">
                  <c:v>3.97538790797217E-2</c:v>
                </c:pt>
                <c:pt idx="2230">
                  <c:v>3.9771713929017301E-2</c:v>
                </c:pt>
                <c:pt idx="2231">
                  <c:v>3.9789548778312797E-2</c:v>
                </c:pt>
                <c:pt idx="2232">
                  <c:v>3.98073836276083E-2</c:v>
                </c:pt>
                <c:pt idx="2233">
                  <c:v>3.9825218476903797E-2</c:v>
                </c:pt>
                <c:pt idx="2234">
                  <c:v>3.98430533261993E-2</c:v>
                </c:pt>
                <c:pt idx="2235">
                  <c:v>3.98608881754949E-2</c:v>
                </c:pt>
                <c:pt idx="2236">
                  <c:v>3.9878723024790397E-2</c:v>
                </c:pt>
                <c:pt idx="2237">
                  <c:v>3.98965578740859E-2</c:v>
                </c:pt>
                <c:pt idx="2238">
                  <c:v>3.9914392723381403E-2</c:v>
                </c:pt>
                <c:pt idx="2239">
                  <c:v>3.9932227572676997E-2</c:v>
                </c:pt>
                <c:pt idx="2240">
                  <c:v>3.99500624219725E-2</c:v>
                </c:pt>
                <c:pt idx="2241">
                  <c:v>3.9967897271268003E-2</c:v>
                </c:pt>
                <c:pt idx="2242">
                  <c:v>3.99857321205635E-2</c:v>
                </c:pt>
                <c:pt idx="2243">
                  <c:v>4.00035669698591E-2</c:v>
                </c:pt>
                <c:pt idx="2244">
                  <c:v>4.0021401819154603E-2</c:v>
                </c:pt>
                <c:pt idx="2245">
                  <c:v>4.00392366684501E-2</c:v>
                </c:pt>
                <c:pt idx="2246">
                  <c:v>4.0057071517745603E-2</c:v>
                </c:pt>
                <c:pt idx="2247">
                  <c:v>4.0074906367041099E-2</c:v>
                </c:pt>
                <c:pt idx="2248">
                  <c:v>4.00927412163367E-2</c:v>
                </c:pt>
                <c:pt idx="2249">
                  <c:v>4.0110576065632203E-2</c:v>
                </c:pt>
                <c:pt idx="2250">
                  <c:v>4.0128410914927699E-2</c:v>
                </c:pt>
                <c:pt idx="2251">
                  <c:v>4.0146245764223203E-2</c:v>
                </c:pt>
                <c:pt idx="2252">
                  <c:v>4.0164080613518803E-2</c:v>
                </c:pt>
                <c:pt idx="2253">
                  <c:v>4.0181915462814299E-2</c:v>
                </c:pt>
                <c:pt idx="2254">
                  <c:v>4.0199750312109803E-2</c:v>
                </c:pt>
                <c:pt idx="2255">
                  <c:v>4.0217585161405299E-2</c:v>
                </c:pt>
                <c:pt idx="2256">
                  <c:v>4.0235420010700899E-2</c:v>
                </c:pt>
                <c:pt idx="2257">
                  <c:v>4.0253254859996403E-2</c:v>
                </c:pt>
                <c:pt idx="2258">
                  <c:v>4.0271089709291899E-2</c:v>
                </c:pt>
                <c:pt idx="2259">
                  <c:v>4.0288924558587402E-2</c:v>
                </c:pt>
                <c:pt idx="2260">
                  <c:v>4.0306759407883003E-2</c:v>
                </c:pt>
                <c:pt idx="2261">
                  <c:v>4.0324594257178499E-2</c:v>
                </c:pt>
                <c:pt idx="2262">
                  <c:v>4.0342429106474002E-2</c:v>
                </c:pt>
                <c:pt idx="2263">
                  <c:v>4.0360263955769499E-2</c:v>
                </c:pt>
                <c:pt idx="2264">
                  <c:v>4.0378098805065099E-2</c:v>
                </c:pt>
                <c:pt idx="2265">
                  <c:v>4.0395933654360602E-2</c:v>
                </c:pt>
                <c:pt idx="2266">
                  <c:v>4.0413768503656099E-2</c:v>
                </c:pt>
                <c:pt idx="2267">
                  <c:v>4.0431603352951602E-2</c:v>
                </c:pt>
                <c:pt idx="2268">
                  <c:v>4.0449438202247098E-2</c:v>
                </c:pt>
                <c:pt idx="2269">
                  <c:v>4.0467273051542699E-2</c:v>
                </c:pt>
                <c:pt idx="2270">
                  <c:v>4.0485107900838202E-2</c:v>
                </c:pt>
                <c:pt idx="2271">
                  <c:v>4.0502942750133698E-2</c:v>
                </c:pt>
                <c:pt idx="2272">
                  <c:v>4.0520777599429202E-2</c:v>
                </c:pt>
                <c:pt idx="2273">
                  <c:v>4.0538612448724802E-2</c:v>
                </c:pt>
                <c:pt idx="2274">
                  <c:v>4.0556447298020298E-2</c:v>
                </c:pt>
                <c:pt idx="2275">
                  <c:v>4.0574282147315802E-2</c:v>
                </c:pt>
                <c:pt idx="2276">
                  <c:v>4.0592116996611298E-2</c:v>
                </c:pt>
                <c:pt idx="2277">
                  <c:v>4.0609951845906898E-2</c:v>
                </c:pt>
                <c:pt idx="2278">
                  <c:v>4.0627786695202402E-2</c:v>
                </c:pt>
                <c:pt idx="2279">
                  <c:v>4.0645621544497898E-2</c:v>
                </c:pt>
                <c:pt idx="2280">
                  <c:v>4.0663456393793401E-2</c:v>
                </c:pt>
                <c:pt idx="2281">
                  <c:v>4.0681291243088898E-2</c:v>
                </c:pt>
                <c:pt idx="2282">
                  <c:v>4.0699126092384498E-2</c:v>
                </c:pt>
                <c:pt idx="2283">
                  <c:v>4.0716960941680001E-2</c:v>
                </c:pt>
                <c:pt idx="2284">
                  <c:v>4.0734795790975498E-2</c:v>
                </c:pt>
                <c:pt idx="2285">
                  <c:v>4.0752630640271001E-2</c:v>
                </c:pt>
                <c:pt idx="2286">
                  <c:v>4.0770465489566601E-2</c:v>
                </c:pt>
                <c:pt idx="2287">
                  <c:v>4.0788300338862098E-2</c:v>
                </c:pt>
                <c:pt idx="2288">
                  <c:v>4.0806135188157601E-2</c:v>
                </c:pt>
                <c:pt idx="2289">
                  <c:v>4.0823970037453097E-2</c:v>
                </c:pt>
                <c:pt idx="2290">
                  <c:v>4.0841804886748698E-2</c:v>
                </c:pt>
                <c:pt idx="2291">
                  <c:v>4.0859639736044201E-2</c:v>
                </c:pt>
                <c:pt idx="2292">
                  <c:v>4.0877474585339697E-2</c:v>
                </c:pt>
                <c:pt idx="2293">
                  <c:v>4.0895309434635201E-2</c:v>
                </c:pt>
                <c:pt idx="2294">
                  <c:v>4.0913144283930801E-2</c:v>
                </c:pt>
                <c:pt idx="2295">
                  <c:v>4.0930979133226297E-2</c:v>
                </c:pt>
                <c:pt idx="2296">
                  <c:v>4.0948813982521801E-2</c:v>
                </c:pt>
                <c:pt idx="2297">
                  <c:v>4.0966648831817297E-2</c:v>
                </c:pt>
                <c:pt idx="2298">
                  <c:v>4.0984483681112897E-2</c:v>
                </c:pt>
                <c:pt idx="2299">
                  <c:v>4.1002318530408401E-2</c:v>
                </c:pt>
                <c:pt idx="2300">
                  <c:v>4.1020153379703897E-2</c:v>
                </c:pt>
                <c:pt idx="2301">
                  <c:v>4.10379882289994E-2</c:v>
                </c:pt>
                <c:pt idx="2302">
                  <c:v>4.1055823078294897E-2</c:v>
                </c:pt>
                <c:pt idx="2303">
                  <c:v>4.1073657927590497E-2</c:v>
                </c:pt>
                <c:pt idx="2304">
                  <c:v>4.1091492776886E-2</c:v>
                </c:pt>
                <c:pt idx="2305">
                  <c:v>4.1109327626181497E-2</c:v>
                </c:pt>
                <c:pt idx="2306">
                  <c:v>4.1127162475477E-2</c:v>
                </c:pt>
                <c:pt idx="2307">
                  <c:v>4.11449973247726E-2</c:v>
                </c:pt>
                <c:pt idx="2308">
                  <c:v>4.1162832174068097E-2</c:v>
                </c:pt>
                <c:pt idx="2309">
                  <c:v>4.11806670233636E-2</c:v>
                </c:pt>
                <c:pt idx="2310">
                  <c:v>4.1198501872659103E-2</c:v>
                </c:pt>
                <c:pt idx="2311">
                  <c:v>4.1216336721954697E-2</c:v>
                </c:pt>
                <c:pt idx="2312">
                  <c:v>4.12341715712502E-2</c:v>
                </c:pt>
                <c:pt idx="2313">
                  <c:v>4.1252006420545703E-2</c:v>
                </c:pt>
                <c:pt idx="2314">
                  <c:v>4.12698412698412E-2</c:v>
                </c:pt>
                <c:pt idx="2315">
                  <c:v>4.1287676119136703E-2</c:v>
                </c:pt>
                <c:pt idx="2316">
                  <c:v>4.1305510968432303E-2</c:v>
                </c:pt>
                <c:pt idx="2317">
                  <c:v>4.13233458177278E-2</c:v>
                </c:pt>
                <c:pt idx="2318">
                  <c:v>4.1341180667023303E-2</c:v>
                </c:pt>
                <c:pt idx="2319">
                  <c:v>4.1359015516318799E-2</c:v>
                </c:pt>
                <c:pt idx="2320">
                  <c:v>4.13768503656144E-2</c:v>
                </c:pt>
                <c:pt idx="2321">
                  <c:v>4.1394685214909903E-2</c:v>
                </c:pt>
                <c:pt idx="2322">
                  <c:v>4.1412520064205399E-2</c:v>
                </c:pt>
                <c:pt idx="2323">
                  <c:v>4.1430354913500902E-2</c:v>
                </c:pt>
                <c:pt idx="2324">
                  <c:v>4.1448189762796503E-2</c:v>
                </c:pt>
                <c:pt idx="2325">
                  <c:v>4.1466024612091999E-2</c:v>
                </c:pt>
                <c:pt idx="2326">
                  <c:v>4.1483859461387503E-2</c:v>
                </c:pt>
                <c:pt idx="2327">
                  <c:v>4.1501694310682999E-2</c:v>
                </c:pt>
                <c:pt idx="2328">
                  <c:v>4.1519529159978599E-2</c:v>
                </c:pt>
                <c:pt idx="2329">
                  <c:v>4.1537364009274103E-2</c:v>
                </c:pt>
                <c:pt idx="2330">
                  <c:v>4.1555198858569599E-2</c:v>
                </c:pt>
                <c:pt idx="2331">
                  <c:v>4.1573033707865102E-2</c:v>
                </c:pt>
                <c:pt idx="2332">
                  <c:v>4.1590868557160598E-2</c:v>
                </c:pt>
                <c:pt idx="2333">
                  <c:v>4.1608703406456199E-2</c:v>
                </c:pt>
                <c:pt idx="2334">
                  <c:v>4.1626538255751702E-2</c:v>
                </c:pt>
                <c:pt idx="2335">
                  <c:v>4.1644373105047199E-2</c:v>
                </c:pt>
                <c:pt idx="2336">
                  <c:v>4.1662207954342702E-2</c:v>
                </c:pt>
                <c:pt idx="2337">
                  <c:v>4.1680042803638302E-2</c:v>
                </c:pt>
                <c:pt idx="2338">
                  <c:v>4.1697877652933799E-2</c:v>
                </c:pt>
                <c:pt idx="2339">
                  <c:v>4.1715712502229302E-2</c:v>
                </c:pt>
                <c:pt idx="2340">
                  <c:v>4.1733547351524798E-2</c:v>
                </c:pt>
                <c:pt idx="2341">
                  <c:v>4.1751382200820399E-2</c:v>
                </c:pt>
                <c:pt idx="2342">
                  <c:v>4.1769217050115902E-2</c:v>
                </c:pt>
                <c:pt idx="2343">
                  <c:v>4.1787051899411398E-2</c:v>
                </c:pt>
                <c:pt idx="2344">
                  <c:v>4.1804886748706901E-2</c:v>
                </c:pt>
                <c:pt idx="2345">
                  <c:v>4.1822721598002398E-2</c:v>
                </c:pt>
                <c:pt idx="2346">
                  <c:v>4.1840556447297998E-2</c:v>
                </c:pt>
                <c:pt idx="2347">
                  <c:v>4.1858391296593501E-2</c:v>
                </c:pt>
                <c:pt idx="2348">
                  <c:v>4.1876226145888998E-2</c:v>
                </c:pt>
                <c:pt idx="2349">
                  <c:v>4.1894060995184501E-2</c:v>
                </c:pt>
                <c:pt idx="2350">
                  <c:v>4.1911895844480102E-2</c:v>
                </c:pt>
                <c:pt idx="2351">
                  <c:v>4.1929730693775598E-2</c:v>
                </c:pt>
                <c:pt idx="2352">
                  <c:v>4.1947565543071101E-2</c:v>
                </c:pt>
                <c:pt idx="2353">
                  <c:v>4.1965400392366597E-2</c:v>
                </c:pt>
                <c:pt idx="2354">
                  <c:v>4.1983235241662198E-2</c:v>
                </c:pt>
                <c:pt idx="2355">
                  <c:v>4.2001070090957701E-2</c:v>
                </c:pt>
                <c:pt idx="2356">
                  <c:v>4.2018904940253197E-2</c:v>
                </c:pt>
                <c:pt idx="2357">
                  <c:v>4.2036739789548701E-2</c:v>
                </c:pt>
                <c:pt idx="2358">
                  <c:v>4.2054574638844301E-2</c:v>
                </c:pt>
                <c:pt idx="2359">
                  <c:v>4.2072409488139798E-2</c:v>
                </c:pt>
                <c:pt idx="2360">
                  <c:v>4.2090244337435301E-2</c:v>
                </c:pt>
                <c:pt idx="2361">
                  <c:v>4.2108079186730797E-2</c:v>
                </c:pt>
                <c:pt idx="2362">
                  <c:v>4.2125914036026398E-2</c:v>
                </c:pt>
                <c:pt idx="2363">
                  <c:v>4.2143748885321901E-2</c:v>
                </c:pt>
                <c:pt idx="2364">
                  <c:v>4.2161583734617397E-2</c:v>
                </c:pt>
                <c:pt idx="2365">
                  <c:v>4.21794185839129E-2</c:v>
                </c:pt>
                <c:pt idx="2366">
                  <c:v>4.2197253433208397E-2</c:v>
                </c:pt>
                <c:pt idx="2367">
                  <c:v>4.2215088282503997E-2</c:v>
                </c:pt>
                <c:pt idx="2368">
                  <c:v>4.22329231317995E-2</c:v>
                </c:pt>
                <c:pt idx="2369">
                  <c:v>4.2250757981094997E-2</c:v>
                </c:pt>
                <c:pt idx="2370">
                  <c:v>4.22685928303905E-2</c:v>
                </c:pt>
                <c:pt idx="2371">
                  <c:v>4.2286427679686101E-2</c:v>
                </c:pt>
                <c:pt idx="2372">
                  <c:v>4.2304262528981597E-2</c:v>
                </c:pt>
                <c:pt idx="2373">
                  <c:v>4.23220973782771E-2</c:v>
                </c:pt>
                <c:pt idx="2374">
                  <c:v>4.2339932227572603E-2</c:v>
                </c:pt>
                <c:pt idx="2375">
                  <c:v>4.2357767076868197E-2</c:v>
                </c:pt>
                <c:pt idx="2376">
                  <c:v>4.23756019261637E-2</c:v>
                </c:pt>
                <c:pt idx="2377">
                  <c:v>4.2393436775459203E-2</c:v>
                </c:pt>
                <c:pt idx="2378">
                  <c:v>4.24112716247547E-2</c:v>
                </c:pt>
                <c:pt idx="2379">
                  <c:v>4.2429106474050203E-2</c:v>
                </c:pt>
                <c:pt idx="2380">
                  <c:v>4.2446941323345803E-2</c:v>
                </c:pt>
                <c:pt idx="2381">
                  <c:v>4.24647761726413E-2</c:v>
                </c:pt>
                <c:pt idx="2382">
                  <c:v>4.2482611021936803E-2</c:v>
                </c:pt>
                <c:pt idx="2383">
                  <c:v>4.2500445871232299E-2</c:v>
                </c:pt>
                <c:pt idx="2384">
                  <c:v>4.25182807205279E-2</c:v>
                </c:pt>
                <c:pt idx="2385">
                  <c:v>4.2536115569823403E-2</c:v>
                </c:pt>
                <c:pt idx="2386">
                  <c:v>4.2553950419118899E-2</c:v>
                </c:pt>
                <c:pt idx="2387">
                  <c:v>4.2571785268414403E-2</c:v>
                </c:pt>
                <c:pt idx="2388">
                  <c:v>4.2589620117710003E-2</c:v>
                </c:pt>
                <c:pt idx="2389">
                  <c:v>4.2607454967005499E-2</c:v>
                </c:pt>
                <c:pt idx="2390">
                  <c:v>4.2625289816301003E-2</c:v>
                </c:pt>
                <c:pt idx="2391">
                  <c:v>4.2643124665596499E-2</c:v>
                </c:pt>
                <c:pt idx="2392">
                  <c:v>4.2660959514892099E-2</c:v>
                </c:pt>
                <c:pt idx="2393">
                  <c:v>4.2678794364187603E-2</c:v>
                </c:pt>
                <c:pt idx="2394">
                  <c:v>4.2696629213483099E-2</c:v>
                </c:pt>
                <c:pt idx="2395">
                  <c:v>4.2714464062778602E-2</c:v>
                </c:pt>
                <c:pt idx="2396">
                  <c:v>4.2732298912074099E-2</c:v>
                </c:pt>
                <c:pt idx="2397">
                  <c:v>4.2750133761369699E-2</c:v>
                </c:pt>
                <c:pt idx="2398">
                  <c:v>4.2767968610665202E-2</c:v>
                </c:pt>
                <c:pt idx="2399">
                  <c:v>4.2785803459960699E-2</c:v>
                </c:pt>
                <c:pt idx="2400">
                  <c:v>4.2803638309256202E-2</c:v>
                </c:pt>
                <c:pt idx="2401">
                  <c:v>4.2821473158551802E-2</c:v>
                </c:pt>
                <c:pt idx="2402">
                  <c:v>4.2839308007847299E-2</c:v>
                </c:pt>
                <c:pt idx="2403">
                  <c:v>4.2857142857142802E-2</c:v>
                </c:pt>
                <c:pt idx="2404">
                  <c:v>4.2874977706438298E-2</c:v>
                </c:pt>
                <c:pt idx="2405">
                  <c:v>4.2892812555733899E-2</c:v>
                </c:pt>
                <c:pt idx="2406">
                  <c:v>4.2910647405029402E-2</c:v>
                </c:pt>
                <c:pt idx="2407">
                  <c:v>4.2928482254324898E-2</c:v>
                </c:pt>
                <c:pt idx="2408">
                  <c:v>4.2946317103620402E-2</c:v>
                </c:pt>
                <c:pt idx="2409">
                  <c:v>4.2964151952915898E-2</c:v>
                </c:pt>
                <c:pt idx="2410">
                  <c:v>4.2981986802211498E-2</c:v>
                </c:pt>
                <c:pt idx="2411">
                  <c:v>4.2999821651507002E-2</c:v>
                </c:pt>
                <c:pt idx="2412">
                  <c:v>4.3017656500802498E-2</c:v>
                </c:pt>
                <c:pt idx="2413">
                  <c:v>4.3035491350098001E-2</c:v>
                </c:pt>
                <c:pt idx="2414">
                  <c:v>4.3053326199393602E-2</c:v>
                </c:pt>
                <c:pt idx="2415">
                  <c:v>4.3071161048689098E-2</c:v>
                </c:pt>
                <c:pt idx="2416">
                  <c:v>4.3088995897984601E-2</c:v>
                </c:pt>
                <c:pt idx="2417">
                  <c:v>4.3106830747280098E-2</c:v>
                </c:pt>
                <c:pt idx="2418">
                  <c:v>4.3124665596575698E-2</c:v>
                </c:pt>
                <c:pt idx="2419">
                  <c:v>4.3142500445871201E-2</c:v>
                </c:pt>
                <c:pt idx="2420">
                  <c:v>4.3160335295166698E-2</c:v>
                </c:pt>
                <c:pt idx="2421">
                  <c:v>4.3178170144462201E-2</c:v>
                </c:pt>
                <c:pt idx="2422">
                  <c:v>4.3196004993757801E-2</c:v>
                </c:pt>
                <c:pt idx="2423">
                  <c:v>4.3213839843053298E-2</c:v>
                </c:pt>
                <c:pt idx="2424">
                  <c:v>4.3231674692348801E-2</c:v>
                </c:pt>
                <c:pt idx="2425">
                  <c:v>4.3249509541644297E-2</c:v>
                </c:pt>
                <c:pt idx="2426">
                  <c:v>4.3267344390939898E-2</c:v>
                </c:pt>
                <c:pt idx="2427">
                  <c:v>4.3285179240235401E-2</c:v>
                </c:pt>
                <c:pt idx="2428">
                  <c:v>4.3303014089530897E-2</c:v>
                </c:pt>
                <c:pt idx="2429">
                  <c:v>4.3320848938826401E-2</c:v>
                </c:pt>
                <c:pt idx="2430">
                  <c:v>4.3338683788121897E-2</c:v>
                </c:pt>
                <c:pt idx="2431">
                  <c:v>4.3356518637417497E-2</c:v>
                </c:pt>
                <c:pt idx="2432">
                  <c:v>4.3374353486713001E-2</c:v>
                </c:pt>
                <c:pt idx="2433">
                  <c:v>4.3392188336008497E-2</c:v>
                </c:pt>
                <c:pt idx="2434">
                  <c:v>4.3410023185304E-2</c:v>
                </c:pt>
                <c:pt idx="2435">
                  <c:v>4.3427858034599601E-2</c:v>
                </c:pt>
                <c:pt idx="2436">
                  <c:v>4.3445692883895097E-2</c:v>
                </c:pt>
                <c:pt idx="2437">
                  <c:v>4.34635277331906E-2</c:v>
                </c:pt>
                <c:pt idx="2438">
                  <c:v>4.3481362582486097E-2</c:v>
                </c:pt>
                <c:pt idx="2439">
                  <c:v>4.3499197431781697E-2</c:v>
                </c:pt>
                <c:pt idx="2440">
                  <c:v>4.35170322810772E-2</c:v>
                </c:pt>
                <c:pt idx="2441">
                  <c:v>4.3534867130372697E-2</c:v>
                </c:pt>
                <c:pt idx="2442">
                  <c:v>4.35527019796682E-2</c:v>
                </c:pt>
                <c:pt idx="2443">
                  <c:v>4.3570536828963703E-2</c:v>
                </c:pt>
                <c:pt idx="2444">
                  <c:v>4.3588371678259297E-2</c:v>
                </c:pt>
                <c:pt idx="2445">
                  <c:v>4.36062065275548E-2</c:v>
                </c:pt>
                <c:pt idx="2446">
                  <c:v>4.3624041376850303E-2</c:v>
                </c:pt>
                <c:pt idx="2447">
                  <c:v>4.36418762261458E-2</c:v>
                </c:pt>
                <c:pt idx="2448">
                  <c:v>4.36597110754414E-2</c:v>
                </c:pt>
                <c:pt idx="2449">
                  <c:v>4.3677545924736903E-2</c:v>
                </c:pt>
                <c:pt idx="2450">
                  <c:v>4.36953807740324E-2</c:v>
                </c:pt>
                <c:pt idx="2451">
                  <c:v>4.3713215623327903E-2</c:v>
                </c:pt>
                <c:pt idx="2452">
                  <c:v>4.3731050472623503E-2</c:v>
                </c:pt>
                <c:pt idx="2453">
                  <c:v>4.3748885321919E-2</c:v>
                </c:pt>
                <c:pt idx="2454">
                  <c:v>4.3766720171214503E-2</c:v>
                </c:pt>
                <c:pt idx="2455">
                  <c:v>4.3784555020509999E-2</c:v>
                </c:pt>
                <c:pt idx="2456">
                  <c:v>4.38023898698056E-2</c:v>
                </c:pt>
                <c:pt idx="2457">
                  <c:v>4.3820224719101103E-2</c:v>
                </c:pt>
                <c:pt idx="2458">
                  <c:v>4.3838059568396599E-2</c:v>
                </c:pt>
                <c:pt idx="2459">
                  <c:v>4.3855894417692103E-2</c:v>
                </c:pt>
                <c:pt idx="2460">
                  <c:v>4.3873729266987599E-2</c:v>
                </c:pt>
                <c:pt idx="2461">
                  <c:v>4.3891564116283199E-2</c:v>
                </c:pt>
                <c:pt idx="2462">
                  <c:v>4.3909398965578703E-2</c:v>
                </c:pt>
                <c:pt idx="2463">
                  <c:v>4.3927233814874199E-2</c:v>
                </c:pt>
                <c:pt idx="2464">
                  <c:v>4.3945068664169702E-2</c:v>
                </c:pt>
                <c:pt idx="2465">
                  <c:v>4.3962903513465303E-2</c:v>
                </c:pt>
                <c:pt idx="2466">
                  <c:v>4.3980738362760799E-2</c:v>
                </c:pt>
                <c:pt idx="2467">
                  <c:v>4.3998573212056302E-2</c:v>
                </c:pt>
                <c:pt idx="2468">
                  <c:v>4.4016408061351799E-2</c:v>
                </c:pt>
                <c:pt idx="2469">
                  <c:v>4.4034242910647399E-2</c:v>
                </c:pt>
                <c:pt idx="2470">
                  <c:v>4.4052077759942902E-2</c:v>
                </c:pt>
                <c:pt idx="2471">
                  <c:v>4.4069912609238399E-2</c:v>
                </c:pt>
                <c:pt idx="2472">
                  <c:v>4.4087747458533902E-2</c:v>
                </c:pt>
                <c:pt idx="2473">
                  <c:v>4.4105582307829502E-2</c:v>
                </c:pt>
                <c:pt idx="2474">
                  <c:v>4.4123417157124999E-2</c:v>
                </c:pt>
                <c:pt idx="2475">
                  <c:v>4.4141252006420502E-2</c:v>
                </c:pt>
                <c:pt idx="2476">
                  <c:v>4.4159086855715998E-2</c:v>
                </c:pt>
                <c:pt idx="2477">
                  <c:v>4.4176921705011502E-2</c:v>
                </c:pt>
                <c:pt idx="2478">
                  <c:v>4.4194756554307102E-2</c:v>
                </c:pt>
                <c:pt idx="2479">
                  <c:v>4.4212591403602598E-2</c:v>
                </c:pt>
                <c:pt idx="2480">
                  <c:v>4.4230426252898102E-2</c:v>
                </c:pt>
                <c:pt idx="2481">
                  <c:v>4.4248261102193598E-2</c:v>
                </c:pt>
                <c:pt idx="2482">
                  <c:v>4.4266095951489198E-2</c:v>
                </c:pt>
                <c:pt idx="2483">
                  <c:v>4.4283930800784702E-2</c:v>
                </c:pt>
                <c:pt idx="2484">
                  <c:v>4.4301765650080198E-2</c:v>
                </c:pt>
                <c:pt idx="2485">
                  <c:v>4.4319600499375701E-2</c:v>
                </c:pt>
                <c:pt idx="2486">
                  <c:v>4.4337435348671302E-2</c:v>
                </c:pt>
                <c:pt idx="2487">
                  <c:v>4.4355270197966798E-2</c:v>
                </c:pt>
                <c:pt idx="2488">
                  <c:v>4.4373105047262301E-2</c:v>
                </c:pt>
                <c:pt idx="2489">
                  <c:v>4.4390939896557798E-2</c:v>
                </c:pt>
                <c:pt idx="2490">
                  <c:v>4.4408774745853398E-2</c:v>
                </c:pt>
                <c:pt idx="2491">
                  <c:v>4.4426609595148901E-2</c:v>
                </c:pt>
                <c:pt idx="2492">
                  <c:v>4.4444444444444398E-2</c:v>
                </c:pt>
                <c:pt idx="2493">
                  <c:v>4.4462279293739901E-2</c:v>
                </c:pt>
                <c:pt idx="2494">
                  <c:v>4.4480114143035397E-2</c:v>
                </c:pt>
                <c:pt idx="2495">
                  <c:v>4.4497948992330998E-2</c:v>
                </c:pt>
                <c:pt idx="2496">
                  <c:v>4.4515783841626501E-2</c:v>
                </c:pt>
                <c:pt idx="2497">
                  <c:v>4.4533618690921997E-2</c:v>
                </c:pt>
                <c:pt idx="2498">
                  <c:v>4.45514535402175E-2</c:v>
                </c:pt>
                <c:pt idx="2499">
                  <c:v>4.4569288389513101E-2</c:v>
                </c:pt>
                <c:pt idx="2500">
                  <c:v>4.4587123238808597E-2</c:v>
                </c:pt>
                <c:pt idx="2501">
                  <c:v>4.4604958088104101E-2</c:v>
                </c:pt>
                <c:pt idx="2502">
                  <c:v>4.4622792937399597E-2</c:v>
                </c:pt>
                <c:pt idx="2503">
                  <c:v>4.4640627786695197E-2</c:v>
                </c:pt>
                <c:pt idx="2504">
                  <c:v>4.4658462635990701E-2</c:v>
                </c:pt>
                <c:pt idx="2505">
                  <c:v>4.4676297485286197E-2</c:v>
                </c:pt>
                <c:pt idx="2506">
                  <c:v>4.46941323345817E-2</c:v>
                </c:pt>
                <c:pt idx="2507">
                  <c:v>4.4711967183877203E-2</c:v>
                </c:pt>
                <c:pt idx="2508">
                  <c:v>4.4729802033172797E-2</c:v>
                </c:pt>
                <c:pt idx="2509">
                  <c:v>4.47476368824683E-2</c:v>
                </c:pt>
                <c:pt idx="2510">
                  <c:v>4.4765471731763803E-2</c:v>
                </c:pt>
                <c:pt idx="2511">
                  <c:v>4.47833065810593E-2</c:v>
                </c:pt>
                <c:pt idx="2512">
                  <c:v>4.48011414303549E-2</c:v>
                </c:pt>
                <c:pt idx="2513">
                  <c:v>4.4818976279650397E-2</c:v>
                </c:pt>
                <c:pt idx="2514">
                  <c:v>4.48368111289459E-2</c:v>
                </c:pt>
                <c:pt idx="2515">
                  <c:v>4.4854645978241403E-2</c:v>
                </c:pt>
                <c:pt idx="2516">
                  <c:v>4.4872480827536997E-2</c:v>
                </c:pt>
                <c:pt idx="2517">
                  <c:v>4.48903156768325E-2</c:v>
                </c:pt>
                <c:pt idx="2518">
                  <c:v>4.4908150526128003E-2</c:v>
                </c:pt>
                <c:pt idx="2519">
                  <c:v>4.4925985375423499E-2</c:v>
                </c:pt>
                <c:pt idx="2520">
                  <c:v>4.49438202247191E-2</c:v>
                </c:pt>
                <c:pt idx="2521">
                  <c:v>4.4961655074014603E-2</c:v>
                </c:pt>
                <c:pt idx="2522">
                  <c:v>4.4979489923310099E-2</c:v>
                </c:pt>
                <c:pt idx="2523">
                  <c:v>4.4997324772605603E-2</c:v>
                </c:pt>
                <c:pt idx="2524">
                  <c:v>4.5015159621901099E-2</c:v>
                </c:pt>
                <c:pt idx="2525">
                  <c:v>4.50329944711967E-2</c:v>
                </c:pt>
                <c:pt idx="2526">
                  <c:v>4.5050829320492203E-2</c:v>
                </c:pt>
                <c:pt idx="2527">
                  <c:v>4.5068664169787699E-2</c:v>
                </c:pt>
                <c:pt idx="2528">
                  <c:v>4.5086499019083202E-2</c:v>
                </c:pt>
                <c:pt idx="2529">
                  <c:v>4.5104333868378803E-2</c:v>
                </c:pt>
                <c:pt idx="2530">
                  <c:v>4.5122168717674299E-2</c:v>
                </c:pt>
                <c:pt idx="2531">
                  <c:v>4.5140003566969802E-2</c:v>
                </c:pt>
                <c:pt idx="2532">
                  <c:v>4.5157838416265299E-2</c:v>
                </c:pt>
                <c:pt idx="2533">
                  <c:v>4.5175673265560899E-2</c:v>
                </c:pt>
                <c:pt idx="2534">
                  <c:v>4.5193508114856402E-2</c:v>
                </c:pt>
                <c:pt idx="2535">
                  <c:v>4.5211342964151899E-2</c:v>
                </c:pt>
                <c:pt idx="2536">
                  <c:v>4.5229177813447402E-2</c:v>
                </c:pt>
                <c:pt idx="2537">
                  <c:v>4.5247012662743002E-2</c:v>
                </c:pt>
                <c:pt idx="2538">
                  <c:v>4.5264847512038499E-2</c:v>
                </c:pt>
                <c:pt idx="2539">
                  <c:v>4.5282682361334002E-2</c:v>
                </c:pt>
                <c:pt idx="2540">
                  <c:v>4.5300517210629498E-2</c:v>
                </c:pt>
                <c:pt idx="2541">
                  <c:v>4.5318352059925002E-2</c:v>
                </c:pt>
                <c:pt idx="2542">
                  <c:v>4.5336186909220602E-2</c:v>
                </c:pt>
                <c:pt idx="2543">
                  <c:v>4.5354021758516098E-2</c:v>
                </c:pt>
                <c:pt idx="2544">
                  <c:v>4.5371856607811602E-2</c:v>
                </c:pt>
                <c:pt idx="2545">
                  <c:v>4.5389691457107098E-2</c:v>
                </c:pt>
                <c:pt idx="2546">
                  <c:v>4.5407526306402698E-2</c:v>
                </c:pt>
                <c:pt idx="2547">
                  <c:v>4.5425361155698202E-2</c:v>
                </c:pt>
                <c:pt idx="2548">
                  <c:v>4.5443196004993698E-2</c:v>
                </c:pt>
                <c:pt idx="2549">
                  <c:v>4.5461030854289201E-2</c:v>
                </c:pt>
                <c:pt idx="2550">
                  <c:v>4.5478865703584802E-2</c:v>
                </c:pt>
                <c:pt idx="2551">
                  <c:v>4.5496700552880298E-2</c:v>
                </c:pt>
                <c:pt idx="2552">
                  <c:v>4.5514535402175801E-2</c:v>
                </c:pt>
                <c:pt idx="2553">
                  <c:v>4.5532370251471298E-2</c:v>
                </c:pt>
                <c:pt idx="2554">
                  <c:v>4.5550205100766898E-2</c:v>
                </c:pt>
                <c:pt idx="2555">
                  <c:v>4.5568039950062401E-2</c:v>
                </c:pt>
                <c:pt idx="2556">
                  <c:v>4.5585874799357898E-2</c:v>
                </c:pt>
                <c:pt idx="2557">
                  <c:v>4.5603709648653401E-2</c:v>
                </c:pt>
                <c:pt idx="2558">
                  <c:v>4.5621544497948897E-2</c:v>
                </c:pt>
                <c:pt idx="2559">
                  <c:v>4.5639379347244498E-2</c:v>
                </c:pt>
                <c:pt idx="2560">
                  <c:v>4.5657214196540001E-2</c:v>
                </c:pt>
                <c:pt idx="2561">
                  <c:v>4.5675049045835497E-2</c:v>
                </c:pt>
                <c:pt idx="2562">
                  <c:v>4.5692883895131001E-2</c:v>
                </c:pt>
                <c:pt idx="2563">
                  <c:v>4.5710718744426601E-2</c:v>
                </c:pt>
                <c:pt idx="2564">
                  <c:v>4.5728553593722097E-2</c:v>
                </c:pt>
                <c:pt idx="2565">
                  <c:v>4.5746388443017601E-2</c:v>
                </c:pt>
                <c:pt idx="2566">
                  <c:v>4.5764223292313097E-2</c:v>
                </c:pt>
                <c:pt idx="2567">
                  <c:v>4.5782058141608697E-2</c:v>
                </c:pt>
                <c:pt idx="2568">
                  <c:v>4.5799892990904201E-2</c:v>
                </c:pt>
                <c:pt idx="2569">
                  <c:v>4.5817727840199697E-2</c:v>
                </c:pt>
                <c:pt idx="2570">
                  <c:v>4.58355626894952E-2</c:v>
                </c:pt>
                <c:pt idx="2571">
                  <c:v>4.5853397538790697E-2</c:v>
                </c:pt>
                <c:pt idx="2572">
                  <c:v>4.5871232388086297E-2</c:v>
                </c:pt>
                <c:pt idx="2573">
                  <c:v>4.58890672373818E-2</c:v>
                </c:pt>
                <c:pt idx="2574">
                  <c:v>4.5906902086677297E-2</c:v>
                </c:pt>
                <c:pt idx="2575">
                  <c:v>4.59247369359728E-2</c:v>
                </c:pt>
                <c:pt idx="2576">
                  <c:v>4.59425717852684E-2</c:v>
                </c:pt>
                <c:pt idx="2577">
                  <c:v>4.5960406634563897E-2</c:v>
                </c:pt>
                <c:pt idx="2578">
                  <c:v>4.59782414838594E-2</c:v>
                </c:pt>
                <c:pt idx="2579">
                  <c:v>4.5996076333154903E-2</c:v>
                </c:pt>
                <c:pt idx="2580">
                  <c:v>4.6013911182450497E-2</c:v>
                </c:pt>
                <c:pt idx="2581">
                  <c:v>4.6031746031746E-2</c:v>
                </c:pt>
                <c:pt idx="2582">
                  <c:v>4.6049580881041503E-2</c:v>
                </c:pt>
                <c:pt idx="2583">
                  <c:v>4.6067415730337E-2</c:v>
                </c:pt>
                <c:pt idx="2584">
                  <c:v>4.60852505796326E-2</c:v>
                </c:pt>
                <c:pt idx="2585">
                  <c:v>4.6103085428928103E-2</c:v>
                </c:pt>
                <c:pt idx="2586">
                  <c:v>4.61209202782236E-2</c:v>
                </c:pt>
                <c:pt idx="2587">
                  <c:v>4.6138755127519103E-2</c:v>
                </c:pt>
                <c:pt idx="2588">
                  <c:v>4.6156589976814599E-2</c:v>
                </c:pt>
                <c:pt idx="2589">
                  <c:v>4.61744248261102E-2</c:v>
                </c:pt>
                <c:pt idx="2590">
                  <c:v>4.6192259675405703E-2</c:v>
                </c:pt>
                <c:pt idx="2591">
                  <c:v>4.6210094524701199E-2</c:v>
                </c:pt>
                <c:pt idx="2592">
                  <c:v>4.6227929373996703E-2</c:v>
                </c:pt>
                <c:pt idx="2593">
                  <c:v>4.6245764223292303E-2</c:v>
                </c:pt>
                <c:pt idx="2594">
                  <c:v>4.6263599072587799E-2</c:v>
                </c:pt>
                <c:pt idx="2595">
                  <c:v>4.6281433921883303E-2</c:v>
                </c:pt>
                <c:pt idx="2596">
                  <c:v>4.6299268771178799E-2</c:v>
                </c:pt>
                <c:pt idx="2597">
                  <c:v>4.6317103620474399E-2</c:v>
                </c:pt>
                <c:pt idx="2598">
                  <c:v>4.6334938469769903E-2</c:v>
                </c:pt>
                <c:pt idx="2599">
                  <c:v>4.6352773319065399E-2</c:v>
                </c:pt>
                <c:pt idx="2600">
                  <c:v>4.6370608168360902E-2</c:v>
                </c:pt>
                <c:pt idx="2601">
                  <c:v>4.6388443017656503E-2</c:v>
                </c:pt>
                <c:pt idx="2602">
                  <c:v>4.6406277866951999E-2</c:v>
                </c:pt>
                <c:pt idx="2603">
                  <c:v>4.6424112716247502E-2</c:v>
                </c:pt>
                <c:pt idx="2604">
                  <c:v>4.6441947565542999E-2</c:v>
                </c:pt>
                <c:pt idx="2605">
                  <c:v>4.6459782414838502E-2</c:v>
                </c:pt>
                <c:pt idx="2606">
                  <c:v>4.6477617264134102E-2</c:v>
                </c:pt>
                <c:pt idx="2607">
                  <c:v>4.6495452113429599E-2</c:v>
                </c:pt>
                <c:pt idx="2608">
                  <c:v>4.6513286962725102E-2</c:v>
                </c:pt>
                <c:pt idx="2609">
                  <c:v>4.6531121812020598E-2</c:v>
                </c:pt>
                <c:pt idx="2610">
                  <c:v>4.6548956661316199E-2</c:v>
                </c:pt>
                <c:pt idx="2611">
                  <c:v>4.6566791510611702E-2</c:v>
                </c:pt>
                <c:pt idx="2612">
                  <c:v>4.6584626359907198E-2</c:v>
                </c:pt>
                <c:pt idx="2613">
                  <c:v>4.6602461209202702E-2</c:v>
                </c:pt>
                <c:pt idx="2614">
                  <c:v>4.6620296058498302E-2</c:v>
                </c:pt>
                <c:pt idx="2615">
                  <c:v>4.6638130907793798E-2</c:v>
                </c:pt>
                <c:pt idx="2616">
                  <c:v>4.6655965757089302E-2</c:v>
                </c:pt>
                <c:pt idx="2617">
                  <c:v>4.6673800606384798E-2</c:v>
                </c:pt>
                <c:pt idx="2618">
                  <c:v>4.6691635455680398E-2</c:v>
                </c:pt>
                <c:pt idx="2619">
                  <c:v>4.6709470304975902E-2</c:v>
                </c:pt>
                <c:pt idx="2620">
                  <c:v>4.6727305154271398E-2</c:v>
                </c:pt>
                <c:pt idx="2621">
                  <c:v>4.6745140003566901E-2</c:v>
                </c:pt>
                <c:pt idx="2622">
                  <c:v>4.6762974852862398E-2</c:v>
                </c:pt>
                <c:pt idx="2623">
                  <c:v>4.6780809702157998E-2</c:v>
                </c:pt>
                <c:pt idx="2624">
                  <c:v>4.6798644551453501E-2</c:v>
                </c:pt>
                <c:pt idx="2625">
                  <c:v>4.6816479400748998E-2</c:v>
                </c:pt>
                <c:pt idx="2626">
                  <c:v>4.6834314250044501E-2</c:v>
                </c:pt>
                <c:pt idx="2627">
                  <c:v>4.6852149099340101E-2</c:v>
                </c:pt>
                <c:pt idx="2628">
                  <c:v>4.6869983948635598E-2</c:v>
                </c:pt>
                <c:pt idx="2629">
                  <c:v>4.6887818797931101E-2</c:v>
                </c:pt>
                <c:pt idx="2630">
                  <c:v>4.6905653647226597E-2</c:v>
                </c:pt>
                <c:pt idx="2631">
                  <c:v>4.6923488496522198E-2</c:v>
                </c:pt>
                <c:pt idx="2632">
                  <c:v>4.6941323345817701E-2</c:v>
                </c:pt>
                <c:pt idx="2633">
                  <c:v>4.6959158195113197E-2</c:v>
                </c:pt>
                <c:pt idx="2634">
                  <c:v>4.6976993044408701E-2</c:v>
                </c:pt>
                <c:pt idx="2635">
                  <c:v>4.6994827893704301E-2</c:v>
                </c:pt>
                <c:pt idx="2636">
                  <c:v>4.7012662742999797E-2</c:v>
                </c:pt>
                <c:pt idx="2637">
                  <c:v>4.7030497592295301E-2</c:v>
                </c:pt>
                <c:pt idx="2638">
                  <c:v>4.7048332441590797E-2</c:v>
                </c:pt>
                <c:pt idx="2639">
                  <c:v>4.70661672908863E-2</c:v>
                </c:pt>
                <c:pt idx="2640">
                  <c:v>4.7084002140181901E-2</c:v>
                </c:pt>
                <c:pt idx="2641">
                  <c:v>4.7101836989477397E-2</c:v>
                </c:pt>
                <c:pt idx="2642">
                  <c:v>4.71196718387729E-2</c:v>
                </c:pt>
                <c:pt idx="2643">
                  <c:v>4.7137506688068397E-2</c:v>
                </c:pt>
                <c:pt idx="2644">
                  <c:v>4.7155341537363997E-2</c:v>
                </c:pt>
                <c:pt idx="2645">
                  <c:v>4.71731763866595E-2</c:v>
                </c:pt>
                <c:pt idx="2646">
                  <c:v>4.7191011235954997E-2</c:v>
                </c:pt>
                <c:pt idx="2647">
                  <c:v>4.72088460852505E-2</c:v>
                </c:pt>
                <c:pt idx="2648">
                  <c:v>4.72266809345461E-2</c:v>
                </c:pt>
                <c:pt idx="2649">
                  <c:v>4.7244515783841597E-2</c:v>
                </c:pt>
                <c:pt idx="2650">
                  <c:v>4.72623506331371E-2</c:v>
                </c:pt>
                <c:pt idx="2651">
                  <c:v>4.7280185482432603E-2</c:v>
                </c:pt>
                <c:pt idx="2652">
                  <c:v>4.7298020331728197E-2</c:v>
                </c:pt>
                <c:pt idx="2653">
                  <c:v>4.73158551810237E-2</c:v>
                </c:pt>
                <c:pt idx="2654">
                  <c:v>4.7333690030319203E-2</c:v>
                </c:pt>
                <c:pt idx="2655">
                  <c:v>4.73515248796147E-2</c:v>
                </c:pt>
                <c:pt idx="2656">
                  <c:v>4.7369359728910203E-2</c:v>
                </c:pt>
                <c:pt idx="2657">
                  <c:v>4.7387194578205803E-2</c:v>
                </c:pt>
                <c:pt idx="2658">
                  <c:v>4.74050294275013E-2</c:v>
                </c:pt>
                <c:pt idx="2659">
                  <c:v>4.7422864276796803E-2</c:v>
                </c:pt>
                <c:pt idx="2660">
                  <c:v>4.7440699126092299E-2</c:v>
                </c:pt>
                <c:pt idx="2661">
                  <c:v>4.74585339753879E-2</c:v>
                </c:pt>
                <c:pt idx="2662">
                  <c:v>4.7476368824683403E-2</c:v>
                </c:pt>
                <c:pt idx="2663">
                  <c:v>4.7494203673978899E-2</c:v>
                </c:pt>
                <c:pt idx="2664">
                  <c:v>4.7512038523274402E-2</c:v>
                </c:pt>
                <c:pt idx="2665">
                  <c:v>4.7529873372570003E-2</c:v>
                </c:pt>
                <c:pt idx="2666">
                  <c:v>4.7547708221865499E-2</c:v>
                </c:pt>
                <c:pt idx="2667">
                  <c:v>4.7565543071161002E-2</c:v>
                </c:pt>
                <c:pt idx="2668">
                  <c:v>4.7583377920456499E-2</c:v>
                </c:pt>
                <c:pt idx="2669">
                  <c:v>4.7601212769752002E-2</c:v>
                </c:pt>
                <c:pt idx="2670">
                  <c:v>4.7619047619047603E-2</c:v>
                </c:pt>
                <c:pt idx="2671">
                  <c:v>4.7636882468343099E-2</c:v>
                </c:pt>
                <c:pt idx="2672">
                  <c:v>4.7654717317638602E-2</c:v>
                </c:pt>
                <c:pt idx="2673">
                  <c:v>4.7672552166934098E-2</c:v>
                </c:pt>
                <c:pt idx="2674">
                  <c:v>4.7690387016229699E-2</c:v>
                </c:pt>
                <c:pt idx="2675">
                  <c:v>4.7708221865525202E-2</c:v>
                </c:pt>
                <c:pt idx="2676">
                  <c:v>4.7726056714820699E-2</c:v>
                </c:pt>
                <c:pt idx="2677">
                  <c:v>4.7743891564116202E-2</c:v>
                </c:pt>
                <c:pt idx="2678">
                  <c:v>4.7761726413411802E-2</c:v>
                </c:pt>
                <c:pt idx="2679">
                  <c:v>4.7779561262707299E-2</c:v>
                </c:pt>
                <c:pt idx="2680">
                  <c:v>4.7797396112002802E-2</c:v>
                </c:pt>
                <c:pt idx="2681">
                  <c:v>4.7815230961298298E-2</c:v>
                </c:pt>
                <c:pt idx="2682">
                  <c:v>4.7833065810593899E-2</c:v>
                </c:pt>
                <c:pt idx="2683">
                  <c:v>4.7850900659889402E-2</c:v>
                </c:pt>
                <c:pt idx="2684">
                  <c:v>4.7868735509184898E-2</c:v>
                </c:pt>
                <c:pt idx="2685">
                  <c:v>4.7886570358480401E-2</c:v>
                </c:pt>
                <c:pt idx="2686">
                  <c:v>4.7904405207775898E-2</c:v>
                </c:pt>
                <c:pt idx="2687">
                  <c:v>4.7922240057071498E-2</c:v>
                </c:pt>
                <c:pt idx="2688">
                  <c:v>4.7940074906367001E-2</c:v>
                </c:pt>
                <c:pt idx="2689">
                  <c:v>4.7957909755662498E-2</c:v>
                </c:pt>
                <c:pt idx="2690">
                  <c:v>4.7975744604958001E-2</c:v>
                </c:pt>
                <c:pt idx="2691">
                  <c:v>4.7993579454253602E-2</c:v>
                </c:pt>
                <c:pt idx="2692">
                  <c:v>4.8011414303549098E-2</c:v>
                </c:pt>
                <c:pt idx="2693">
                  <c:v>4.8029249152844601E-2</c:v>
                </c:pt>
                <c:pt idx="2694">
                  <c:v>4.8047084002140097E-2</c:v>
                </c:pt>
                <c:pt idx="2695">
                  <c:v>4.8064918851435698E-2</c:v>
                </c:pt>
                <c:pt idx="2696">
                  <c:v>4.8082753700731201E-2</c:v>
                </c:pt>
                <c:pt idx="2697">
                  <c:v>4.8100588550026697E-2</c:v>
                </c:pt>
                <c:pt idx="2698">
                  <c:v>4.8118423399322201E-2</c:v>
                </c:pt>
                <c:pt idx="2699">
                  <c:v>4.8136258248617801E-2</c:v>
                </c:pt>
                <c:pt idx="2700">
                  <c:v>4.8154093097913298E-2</c:v>
                </c:pt>
                <c:pt idx="2701">
                  <c:v>4.8171927947208801E-2</c:v>
                </c:pt>
                <c:pt idx="2702">
                  <c:v>4.8189762796504297E-2</c:v>
                </c:pt>
                <c:pt idx="2703">
                  <c:v>4.82075976457998E-2</c:v>
                </c:pt>
                <c:pt idx="2704">
                  <c:v>4.8225432495095401E-2</c:v>
                </c:pt>
                <c:pt idx="2705">
                  <c:v>4.8243267344390897E-2</c:v>
                </c:pt>
                <c:pt idx="2706">
                  <c:v>4.82611021936864E-2</c:v>
                </c:pt>
                <c:pt idx="2707">
                  <c:v>4.8278937042981897E-2</c:v>
                </c:pt>
                <c:pt idx="2708">
                  <c:v>4.8296771892277497E-2</c:v>
                </c:pt>
                <c:pt idx="2709">
                  <c:v>4.8314606741573E-2</c:v>
                </c:pt>
                <c:pt idx="2710">
                  <c:v>4.8332441590868497E-2</c:v>
                </c:pt>
                <c:pt idx="2711">
                  <c:v>4.8350276440164E-2</c:v>
                </c:pt>
                <c:pt idx="2712">
                  <c:v>4.83681112894596E-2</c:v>
                </c:pt>
                <c:pt idx="2713">
                  <c:v>4.8385946138755097E-2</c:v>
                </c:pt>
                <c:pt idx="2714">
                  <c:v>4.84037809880506E-2</c:v>
                </c:pt>
                <c:pt idx="2715">
                  <c:v>4.8421615837346103E-2</c:v>
                </c:pt>
                <c:pt idx="2716">
                  <c:v>4.8439450686641697E-2</c:v>
                </c:pt>
                <c:pt idx="2717">
                  <c:v>4.84572855359372E-2</c:v>
                </c:pt>
                <c:pt idx="2718">
                  <c:v>4.8475120385232703E-2</c:v>
                </c:pt>
                <c:pt idx="2719">
                  <c:v>4.84929552345282E-2</c:v>
                </c:pt>
                <c:pt idx="2720">
                  <c:v>4.8510790083823703E-2</c:v>
                </c:pt>
                <c:pt idx="2721">
                  <c:v>4.8528624933119303E-2</c:v>
                </c:pt>
                <c:pt idx="2722">
                  <c:v>4.85464597824148E-2</c:v>
                </c:pt>
                <c:pt idx="2723">
                  <c:v>4.8564294631710303E-2</c:v>
                </c:pt>
                <c:pt idx="2724">
                  <c:v>4.8582129481005799E-2</c:v>
                </c:pt>
                <c:pt idx="2725">
                  <c:v>4.85999643303014E-2</c:v>
                </c:pt>
                <c:pt idx="2726">
                  <c:v>4.8617799179596903E-2</c:v>
                </c:pt>
                <c:pt idx="2727">
                  <c:v>4.8635634028892399E-2</c:v>
                </c:pt>
                <c:pt idx="2728">
                  <c:v>4.8653468878187903E-2</c:v>
                </c:pt>
                <c:pt idx="2729">
                  <c:v>4.8671303727483503E-2</c:v>
                </c:pt>
                <c:pt idx="2730">
                  <c:v>4.8689138576778999E-2</c:v>
                </c:pt>
                <c:pt idx="2731">
                  <c:v>4.8706973426074503E-2</c:v>
                </c:pt>
                <c:pt idx="2732">
                  <c:v>4.8724808275369999E-2</c:v>
                </c:pt>
                <c:pt idx="2733">
                  <c:v>4.8742643124665599E-2</c:v>
                </c:pt>
                <c:pt idx="2734">
                  <c:v>4.8760477973961103E-2</c:v>
                </c:pt>
                <c:pt idx="2735">
                  <c:v>4.8778312823256599E-2</c:v>
                </c:pt>
                <c:pt idx="2736">
                  <c:v>4.8796147672552102E-2</c:v>
                </c:pt>
                <c:pt idx="2737">
                  <c:v>4.8813982521847599E-2</c:v>
                </c:pt>
                <c:pt idx="2738">
                  <c:v>4.8831817371143199E-2</c:v>
                </c:pt>
                <c:pt idx="2739">
                  <c:v>4.8849652220438702E-2</c:v>
                </c:pt>
                <c:pt idx="2740">
                  <c:v>4.8867487069734199E-2</c:v>
                </c:pt>
                <c:pt idx="2741">
                  <c:v>4.8885321919029702E-2</c:v>
                </c:pt>
                <c:pt idx="2742">
                  <c:v>4.8903156768325302E-2</c:v>
                </c:pt>
                <c:pt idx="2743">
                  <c:v>4.8920991617620799E-2</c:v>
                </c:pt>
                <c:pt idx="2744">
                  <c:v>4.8938826466916302E-2</c:v>
                </c:pt>
                <c:pt idx="2745">
                  <c:v>4.8956661316211798E-2</c:v>
                </c:pt>
                <c:pt idx="2746">
                  <c:v>4.8974496165507399E-2</c:v>
                </c:pt>
                <c:pt idx="2747">
                  <c:v>4.8992331014802902E-2</c:v>
                </c:pt>
                <c:pt idx="2748">
                  <c:v>4.9010165864098398E-2</c:v>
                </c:pt>
                <c:pt idx="2749">
                  <c:v>4.9028000713393902E-2</c:v>
                </c:pt>
                <c:pt idx="2750">
                  <c:v>4.9045835562689398E-2</c:v>
                </c:pt>
                <c:pt idx="2751">
                  <c:v>4.9063670411984998E-2</c:v>
                </c:pt>
                <c:pt idx="2752">
                  <c:v>4.9081505261280502E-2</c:v>
                </c:pt>
                <c:pt idx="2753">
                  <c:v>4.9099340110575998E-2</c:v>
                </c:pt>
                <c:pt idx="2754">
                  <c:v>4.9117174959871501E-2</c:v>
                </c:pt>
                <c:pt idx="2755">
                  <c:v>4.9135009809167102E-2</c:v>
                </c:pt>
                <c:pt idx="2756">
                  <c:v>4.9152844658462598E-2</c:v>
                </c:pt>
                <c:pt idx="2757">
                  <c:v>4.9170679507758101E-2</c:v>
                </c:pt>
                <c:pt idx="2758">
                  <c:v>4.9188514357053598E-2</c:v>
                </c:pt>
                <c:pt idx="2759">
                  <c:v>4.9206349206349198E-2</c:v>
                </c:pt>
                <c:pt idx="2760">
                  <c:v>4.9224184055644701E-2</c:v>
                </c:pt>
                <c:pt idx="2761">
                  <c:v>4.9242018904940198E-2</c:v>
                </c:pt>
                <c:pt idx="2762">
                  <c:v>4.9259853754235701E-2</c:v>
                </c:pt>
                <c:pt idx="2763">
                  <c:v>4.9277688603531301E-2</c:v>
                </c:pt>
                <c:pt idx="2764">
                  <c:v>4.9295523452826798E-2</c:v>
                </c:pt>
                <c:pt idx="2765">
                  <c:v>4.9313358302122301E-2</c:v>
                </c:pt>
                <c:pt idx="2766">
                  <c:v>4.9331193151417797E-2</c:v>
                </c:pt>
                <c:pt idx="2767">
                  <c:v>4.9349028000713301E-2</c:v>
                </c:pt>
                <c:pt idx="2768">
                  <c:v>4.9366862850008901E-2</c:v>
                </c:pt>
                <c:pt idx="2769">
                  <c:v>4.9384697699304397E-2</c:v>
                </c:pt>
                <c:pt idx="2770">
                  <c:v>4.9402532548599901E-2</c:v>
                </c:pt>
                <c:pt idx="2771">
                  <c:v>4.9420367397895397E-2</c:v>
                </c:pt>
                <c:pt idx="2772">
                  <c:v>4.9438202247190997E-2</c:v>
                </c:pt>
                <c:pt idx="2773">
                  <c:v>4.9456037096486501E-2</c:v>
                </c:pt>
                <c:pt idx="2774">
                  <c:v>4.9473871945781997E-2</c:v>
                </c:pt>
                <c:pt idx="2775">
                  <c:v>4.94917067950775E-2</c:v>
                </c:pt>
                <c:pt idx="2776">
                  <c:v>4.9509541644373101E-2</c:v>
                </c:pt>
                <c:pt idx="2777">
                  <c:v>4.9527376493668597E-2</c:v>
                </c:pt>
                <c:pt idx="2778">
                  <c:v>4.95452113429641E-2</c:v>
                </c:pt>
                <c:pt idx="2779">
                  <c:v>4.9563046192259597E-2</c:v>
                </c:pt>
                <c:pt idx="2780">
                  <c:v>4.9580881041555197E-2</c:v>
                </c:pt>
                <c:pt idx="2781">
                  <c:v>4.95987158908507E-2</c:v>
                </c:pt>
                <c:pt idx="2782">
                  <c:v>4.9616550740146197E-2</c:v>
                </c:pt>
                <c:pt idx="2783">
                  <c:v>4.96343855894417E-2</c:v>
                </c:pt>
                <c:pt idx="2784">
                  <c:v>4.9652220438737203E-2</c:v>
                </c:pt>
                <c:pt idx="2785">
                  <c:v>4.9670055288032797E-2</c:v>
                </c:pt>
                <c:pt idx="2786">
                  <c:v>4.96878901373283E-2</c:v>
                </c:pt>
                <c:pt idx="2787">
                  <c:v>4.9705724986623803E-2</c:v>
                </c:pt>
                <c:pt idx="2788">
                  <c:v>4.97235598359193E-2</c:v>
                </c:pt>
                <c:pt idx="2789">
                  <c:v>4.97413946852149E-2</c:v>
                </c:pt>
                <c:pt idx="2790">
                  <c:v>4.9759229534510403E-2</c:v>
                </c:pt>
                <c:pt idx="2791">
                  <c:v>4.97770643838059E-2</c:v>
                </c:pt>
                <c:pt idx="2792">
                  <c:v>4.9794899233101403E-2</c:v>
                </c:pt>
                <c:pt idx="2793">
                  <c:v>4.9812734082397003E-2</c:v>
                </c:pt>
                <c:pt idx="2794">
                  <c:v>4.98305689316925E-2</c:v>
                </c:pt>
                <c:pt idx="2795">
                  <c:v>4.9848403780988003E-2</c:v>
                </c:pt>
                <c:pt idx="2796">
                  <c:v>4.9866238630283499E-2</c:v>
                </c:pt>
                <c:pt idx="2797">
                  <c:v>4.98840734795791E-2</c:v>
                </c:pt>
                <c:pt idx="2798">
                  <c:v>4.9901908328874603E-2</c:v>
                </c:pt>
                <c:pt idx="2799">
                  <c:v>4.9919743178170099E-2</c:v>
                </c:pt>
                <c:pt idx="2800">
                  <c:v>4.9937578027465603E-2</c:v>
                </c:pt>
                <c:pt idx="2801">
                  <c:v>4.9955412876761099E-2</c:v>
                </c:pt>
                <c:pt idx="2802">
                  <c:v>4.9973247726056699E-2</c:v>
                </c:pt>
                <c:pt idx="2803">
                  <c:v>4.9991082575352203E-2</c:v>
                </c:pt>
                <c:pt idx="2804">
                  <c:v>5.0008917424647699E-2</c:v>
                </c:pt>
                <c:pt idx="2805">
                  <c:v>5.0026752273943202E-2</c:v>
                </c:pt>
                <c:pt idx="2806">
                  <c:v>5.0044587123238803E-2</c:v>
                </c:pt>
                <c:pt idx="2807">
                  <c:v>5.0062421972534299E-2</c:v>
                </c:pt>
                <c:pt idx="2808">
                  <c:v>5.0080256821829802E-2</c:v>
                </c:pt>
                <c:pt idx="2809">
                  <c:v>5.0098091671125299E-2</c:v>
                </c:pt>
                <c:pt idx="2810">
                  <c:v>5.0115926520420899E-2</c:v>
                </c:pt>
                <c:pt idx="2811">
                  <c:v>5.0133761369716402E-2</c:v>
                </c:pt>
                <c:pt idx="2812">
                  <c:v>5.0151596219011899E-2</c:v>
                </c:pt>
                <c:pt idx="2813">
                  <c:v>5.0169431068307402E-2</c:v>
                </c:pt>
                <c:pt idx="2814">
                  <c:v>5.0187265917602898E-2</c:v>
                </c:pt>
                <c:pt idx="2815">
                  <c:v>5.0205100766898499E-2</c:v>
                </c:pt>
                <c:pt idx="2816">
                  <c:v>5.0222935616194002E-2</c:v>
                </c:pt>
                <c:pt idx="2817">
                  <c:v>5.0240770465489498E-2</c:v>
                </c:pt>
                <c:pt idx="2818">
                  <c:v>5.0258605314785001E-2</c:v>
                </c:pt>
                <c:pt idx="2819">
                  <c:v>5.0276440164080602E-2</c:v>
                </c:pt>
                <c:pt idx="2820">
                  <c:v>5.0294275013376098E-2</c:v>
                </c:pt>
                <c:pt idx="2821">
                  <c:v>5.0312109862671602E-2</c:v>
                </c:pt>
                <c:pt idx="2822">
                  <c:v>5.0329944711967098E-2</c:v>
                </c:pt>
                <c:pt idx="2823">
                  <c:v>5.0347779561262698E-2</c:v>
                </c:pt>
                <c:pt idx="2824">
                  <c:v>5.0365614410558202E-2</c:v>
                </c:pt>
                <c:pt idx="2825">
                  <c:v>5.0383449259853698E-2</c:v>
                </c:pt>
                <c:pt idx="2826">
                  <c:v>5.0401284109149201E-2</c:v>
                </c:pt>
                <c:pt idx="2827">
                  <c:v>5.0419118958444802E-2</c:v>
                </c:pt>
                <c:pt idx="2828">
                  <c:v>5.0436953807740298E-2</c:v>
                </c:pt>
                <c:pt idx="2829">
                  <c:v>5.0454788657035801E-2</c:v>
                </c:pt>
                <c:pt idx="2830">
                  <c:v>5.0472623506331298E-2</c:v>
                </c:pt>
                <c:pt idx="2831">
                  <c:v>5.0490458355626898E-2</c:v>
                </c:pt>
                <c:pt idx="2832">
                  <c:v>5.0508293204922401E-2</c:v>
                </c:pt>
                <c:pt idx="2833">
                  <c:v>5.0526128054217898E-2</c:v>
                </c:pt>
                <c:pt idx="2834">
                  <c:v>5.0543962903513401E-2</c:v>
                </c:pt>
                <c:pt idx="2835">
                  <c:v>5.0561797752808897E-2</c:v>
                </c:pt>
                <c:pt idx="2836">
                  <c:v>5.0579632602104498E-2</c:v>
                </c:pt>
                <c:pt idx="2837">
                  <c:v>5.0597467451400001E-2</c:v>
                </c:pt>
                <c:pt idx="2838">
                  <c:v>5.0615302300695497E-2</c:v>
                </c:pt>
                <c:pt idx="2839">
                  <c:v>5.0633137149991E-2</c:v>
                </c:pt>
                <c:pt idx="2840">
                  <c:v>5.0650971999286601E-2</c:v>
                </c:pt>
                <c:pt idx="2841">
                  <c:v>5.0668806848582097E-2</c:v>
                </c:pt>
                <c:pt idx="2842">
                  <c:v>5.06866416978776E-2</c:v>
                </c:pt>
                <c:pt idx="2843">
                  <c:v>5.0704476547173097E-2</c:v>
                </c:pt>
                <c:pt idx="2844">
                  <c:v>5.0722311396468697E-2</c:v>
                </c:pt>
                <c:pt idx="2845">
                  <c:v>5.0740146245764201E-2</c:v>
                </c:pt>
                <c:pt idx="2846">
                  <c:v>5.0757981095059697E-2</c:v>
                </c:pt>
                <c:pt idx="2847">
                  <c:v>5.07758159443552E-2</c:v>
                </c:pt>
                <c:pt idx="2848">
                  <c:v>5.0793650793650703E-2</c:v>
                </c:pt>
                <c:pt idx="2849">
                  <c:v>5.0811485642946297E-2</c:v>
                </c:pt>
                <c:pt idx="2850">
                  <c:v>5.08293204922418E-2</c:v>
                </c:pt>
                <c:pt idx="2851">
                  <c:v>5.0847155341537303E-2</c:v>
                </c:pt>
                <c:pt idx="2852">
                  <c:v>5.08649901908328E-2</c:v>
                </c:pt>
                <c:pt idx="2853">
                  <c:v>5.08828250401284E-2</c:v>
                </c:pt>
                <c:pt idx="2854">
                  <c:v>5.0900659889423903E-2</c:v>
                </c:pt>
                <c:pt idx="2855">
                  <c:v>5.09184947387194E-2</c:v>
                </c:pt>
                <c:pt idx="2856">
                  <c:v>5.0936329588014903E-2</c:v>
                </c:pt>
                <c:pt idx="2857">
                  <c:v>5.0954164437310497E-2</c:v>
                </c:pt>
                <c:pt idx="2858">
                  <c:v>5.0971999286606E-2</c:v>
                </c:pt>
                <c:pt idx="2859">
                  <c:v>5.0989834135901503E-2</c:v>
                </c:pt>
                <c:pt idx="2860">
                  <c:v>5.1007668985196999E-2</c:v>
                </c:pt>
                <c:pt idx="2861">
                  <c:v>5.10255038344926E-2</c:v>
                </c:pt>
                <c:pt idx="2862">
                  <c:v>5.1043338683788103E-2</c:v>
                </c:pt>
                <c:pt idx="2863">
                  <c:v>5.1061173533083599E-2</c:v>
                </c:pt>
                <c:pt idx="2864">
                  <c:v>5.1079008382379103E-2</c:v>
                </c:pt>
                <c:pt idx="2865">
                  <c:v>5.1096843231674599E-2</c:v>
                </c:pt>
                <c:pt idx="2866">
                  <c:v>5.1114678080970199E-2</c:v>
                </c:pt>
                <c:pt idx="2867">
                  <c:v>5.1132512930265703E-2</c:v>
                </c:pt>
                <c:pt idx="2868">
                  <c:v>5.1150347779561199E-2</c:v>
                </c:pt>
                <c:pt idx="2869">
                  <c:v>5.1168182628856702E-2</c:v>
                </c:pt>
                <c:pt idx="2870">
                  <c:v>5.1186017478152303E-2</c:v>
                </c:pt>
                <c:pt idx="2871">
                  <c:v>5.1203852327447799E-2</c:v>
                </c:pt>
                <c:pt idx="2872">
                  <c:v>5.1221687176743302E-2</c:v>
                </c:pt>
                <c:pt idx="2873">
                  <c:v>5.1239522026038799E-2</c:v>
                </c:pt>
                <c:pt idx="2874">
                  <c:v>5.1257356875334399E-2</c:v>
                </c:pt>
                <c:pt idx="2875">
                  <c:v>5.1275191724629902E-2</c:v>
                </c:pt>
                <c:pt idx="2876">
                  <c:v>5.1293026573925399E-2</c:v>
                </c:pt>
                <c:pt idx="2877">
                  <c:v>5.1310861423220902E-2</c:v>
                </c:pt>
                <c:pt idx="2878">
                  <c:v>5.1328696272516398E-2</c:v>
                </c:pt>
                <c:pt idx="2879">
                  <c:v>5.1346531121811999E-2</c:v>
                </c:pt>
                <c:pt idx="2880">
                  <c:v>5.1364365971107502E-2</c:v>
                </c:pt>
                <c:pt idx="2881">
                  <c:v>5.1382200820402998E-2</c:v>
                </c:pt>
                <c:pt idx="2882">
                  <c:v>5.1400035669698502E-2</c:v>
                </c:pt>
                <c:pt idx="2883">
                  <c:v>5.1417870518994102E-2</c:v>
                </c:pt>
                <c:pt idx="2884">
                  <c:v>5.1435705368289598E-2</c:v>
                </c:pt>
                <c:pt idx="2885">
                  <c:v>5.1453540217585102E-2</c:v>
                </c:pt>
                <c:pt idx="2886">
                  <c:v>5.1471375066880598E-2</c:v>
                </c:pt>
                <c:pt idx="2887">
                  <c:v>5.1489209916176198E-2</c:v>
                </c:pt>
                <c:pt idx="2888">
                  <c:v>5.1507044765471702E-2</c:v>
                </c:pt>
                <c:pt idx="2889">
                  <c:v>5.1524879614767198E-2</c:v>
                </c:pt>
                <c:pt idx="2890">
                  <c:v>5.1542714464062701E-2</c:v>
                </c:pt>
                <c:pt idx="2891">
                  <c:v>5.1560549313358302E-2</c:v>
                </c:pt>
                <c:pt idx="2892">
                  <c:v>5.1578384162653798E-2</c:v>
                </c:pt>
                <c:pt idx="2893">
                  <c:v>5.1596219011949301E-2</c:v>
                </c:pt>
                <c:pt idx="2894">
                  <c:v>5.1614053861244798E-2</c:v>
                </c:pt>
                <c:pt idx="2895">
                  <c:v>5.1631888710540398E-2</c:v>
                </c:pt>
                <c:pt idx="2896">
                  <c:v>5.1649723559835901E-2</c:v>
                </c:pt>
                <c:pt idx="2897">
                  <c:v>5.1667558409131398E-2</c:v>
                </c:pt>
                <c:pt idx="2898">
                  <c:v>5.1685393258426901E-2</c:v>
                </c:pt>
                <c:pt idx="2899">
                  <c:v>5.1703228107722397E-2</c:v>
                </c:pt>
                <c:pt idx="2900">
                  <c:v>5.1721062957017998E-2</c:v>
                </c:pt>
                <c:pt idx="2901">
                  <c:v>5.1738897806313501E-2</c:v>
                </c:pt>
                <c:pt idx="2902">
                  <c:v>5.1756732655608997E-2</c:v>
                </c:pt>
                <c:pt idx="2903">
                  <c:v>5.1774567504904501E-2</c:v>
                </c:pt>
                <c:pt idx="2904">
                  <c:v>5.1792402354200101E-2</c:v>
                </c:pt>
                <c:pt idx="2905">
                  <c:v>5.1810237203495597E-2</c:v>
                </c:pt>
                <c:pt idx="2906">
                  <c:v>5.1828072052791101E-2</c:v>
                </c:pt>
                <c:pt idx="2907">
                  <c:v>5.1845906902086597E-2</c:v>
                </c:pt>
                <c:pt idx="2908">
                  <c:v>5.1863741751382197E-2</c:v>
                </c:pt>
                <c:pt idx="2909">
                  <c:v>5.1881576600677701E-2</c:v>
                </c:pt>
                <c:pt idx="2910">
                  <c:v>5.1899411449973197E-2</c:v>
                </c:pt>
                <c:pt idx="2911">
                  <c:v>5.19172462992687E-2</c:v>
                </c:pt>
                <c:pt idx="2912">
                  <c:v>5.1935081148564197E-2</c:v>
                </c:pt>
                <c:pt idx="2913">
                  <c:v>5.1952915997859797E-2</c:v>
                </c:pt>
                <c:pt idx="2914">
                  <c:v>5.19707508471553E-2</c:v>
                </c:pt>
                <c:pt idx="2915">
                  <c:v>5.1988585696450797E-2</c:v>
                </c:pt>
                <c:pt idx="2916">
                  <c:v>5.20064205457463E-2</c:v>
                </c:pt>
                <c:pt idx="2917">
                  <c:v>5.20242553950419E-2</c:v>
                </c:pt>
                <c:pt idx="2918">
                  <c:v>5.2042090244337397E-2</c:v>
                </c:pt>
                <c:pt idx="2919">
                  <c:v>5.20599250936329E-2</c:v>
                </c:pt>
                <c:pt idx="2920">
                  <c:v>5.2077759942928403E-2</c:v>
                </c:pt>
                <c:pt idx="2921">
                  <c:v>5.2095594792223997E-2</c:v>
                </c:pt>
                <c:pt idx="2922">
                  <c:v>5.21134296415195E-2</c:v>
                </c:pt>
                <c:pt idx="2923">
                  <c:v>5.2131264490815003E-2</c:v>
                </c:pt>
                <c:pt idx="2924">
                  <c:v>5.21490993401105E-2</c:v>
                </c:pt>
                <c:pt idx="2925">
                  <c:v>5.21669341894061E-2</c:v>
                </c:pt>
                <c:pt idx="2926">
                  <c:v>5.2184769038701603E-2</c:v>
                </c:pt>
                <c:pt idx="2927">
                  <c:v>5.22026038879971E-2</c:v>
                </c:pt>
                <c:pt idx="2928">
                  <c:v>5.2220438737292603E-2</c:v>
                </c:pt>
                <c:pt idx="2929">
                  <c:v>5.2238273586588099E-2</c:v>
                </c:pt>
                <c:pt idx="2930">
                  <c:v>5.22561084358837E-2</c:v>
                </c:pt>
                <c:pt idx="2931">
                  <c:v>5.2273943285179203E-2</c:v>
                </c:pt>
                <c:pt idx="2932">
                  <c:v>5.2291778134474699E-2</c:v>
                </c:pt>
                <c:pt idx="2933">
                  <c:v>5.2309612983770203E-2</c:v>
                </c:pt>
                <c:pt idx="2934">
                  <c:v>5.2327447833065803E-2</c:v>
                </c:pt>
                <c:pt idx="2935">
                  <c:v>5.2345282682361299E-2</c:v>
                </c:pt>
                <c:pt idx="2936">
                  <c:v>5.2363117531656803E-2</c:v>
                </c:pt>
                <c:pt idx="2937">
                  <c:v>5.2380952380952299E-2</c:v>
                </c:pt>
                <c:pt idx="2938">
                  <c:v>5.2398787230247899E-2</c:v>
                </c:pt>
                <c:pt idx="2939">
                  <c:v>5.2416622079543403E-2</c:v>
                </c:pt>
                <c:pt idx="2940">
                  <c:v>5.2434456928838899E-2</c:v>
                </c:pt>
                <c:pt idx="2941">
                  <c:v>5.2452291778134402E-2</c:v>
                </c:pt>
                <c:pt idx="2942">
                  <c:v>5.2470126627429899E-2</c:v>
                </c:pt>
                <c:pt idx="2943">
                  <c:v>5.2487961476725499E-2</c:v>
                </c:pt>
                <c:pt idx="2944">
                  <c:v>5.2505796326021002E-2</c:v>
                </c:pt>
                <c:pt idx="2945">
                  <c:v>5.2523631175316499E-2</c:v>
                </c:pt>
                <c:pt idx="2946">
                  <c:v>5.2541466024612002E-2</c:v>
                </c:pt>
                <c:pt idx="2947">
                  <c:v>5.2559300873907602E-2</c:v>
                </c:pt>
                <c:pt idx="2948">
                  <c:v>5.2577135723203099E-2</c:v>
                </c:pt>
                <c:pt idx="2949">
                  <c:v>5.2594970572498602E-2</c:v>
                </c:pt>
                <c:pt idx="2950">
                  <c:v>5.2612805421794098E-2</c:v>
                </c:pt>
                <c:pt idx="2951">
                  <c:v>5.2630640271089699E-2</c:v>
                </c:pt>
                <c:pt idx="2952">
                  <c:v>5.2648475120385202E-2</c:v>
                </c:pt>
                <c:pt idx="2953">
                  <c:v>5.2666309969680698E-2</c:v>
                </c:pt>
                <c:pt idx="2954">
                  <c:v>5.2684144818976202E-2</c:v>
                </c:pt>
                <c:pt idx="2955">
                  <c:v>5.2701979668271802E-2</c:v>
                </c:pt>
                <c:pt idx="2956">
                  <c:v>5.2719814517567298E-2</c:v>
                </c:pt>
                <c:pt idx="2957">
                  <c:v>5.2737649366862802E-2</c:v>
                </c:pt>
                <c:pt idx="2958">
                  <c:v>5.2755484216158298E-2</c:v>
                </c:pt>
                <c:pt idx="2959">
                  <c:v>5.2773319065453898E-2</c:v>
                </c:pt>
                <c:pt idx="2960">
                  <c:v>5.2791153914749402E-2</c:v>
                </c:pt>
                <c:pt idx="2961">
                  <c:v>5.2808988764044898E-2</c:v>
                </c:pt>
                <c:pt idx="2962">
                  <c:v>5.2826823613340401E-2</c:v>
                </c:pt>
                <c:pt idx="2963">
                  <c:v>5.2844658462635898E-2</c:v>
                </c:pt>
                <c:pt idx="2964">
                  <c:v>5.2862493311931498E-2</c:v>
                </c:pt>
                <c:pt idx="2965">
                  <c:v>5.2880328161227001E-2</c:v>
                </c:pt>
                <c:pt idx="2966">
                  <c:v>5.2898163010522498E-2</c:v>
                </c:pt>
                <c:pt idx="2967">
                  <c:v>5.2915997859818001E-2</c:v>
                </c:pt>
                <c:pt idx="2968">
                  <c:v>5.2933832709113601E-2</c:v>
                </c:pt>
                <c:pt idx="2969">
                  <c:v>5.2951667558409098E-2</c:v>
                </c:pt>
                <c:pt idx="2970">
                  <c:v>5.2969502407704601E-2</c:v>
                </c:pt>
                <c:pt idx="2971">
                  <c:v>5.2987337257000097E-2</c:v>
                </c:pt>
                <c:pt idx="2972">
                  <c:v>5.3005172106295698E-2</c:v>
                </c:pt>
                <c:pt idx="2973">
                  <c:v>5.3023006955591201E-2</c:v>
                </c:pt>
                <c:pt idx="2974">
                  <c:v>5.3040841804886697E-2</c:v>
                </c:pt>
                <c:pt idx="2975">
                  <c:v>5.3058676654182201E-2</c:v>
                </c:pt>
                <c:pt idx="2976">
                  <c:v>5.3076511503477697E-2</c:v>
                </c:pt>
                <c:pt idx="2977">
                  <c:v>5.3094346352773297E-2</c:v>
                </c:pt>
                <c:pt idx="2978">
                  <c:v>5.3112181202068801E-2</c:v>
                </c:pt>
                <c:pt idx="2979">
                  <c:v>5.3130016051364297E-2</c:v>
                </c:pt>
                <c:pt idx="2980">
                  <c:v>5.31478509006598E-2</c:v>
                </c:pt>
                <c:pt idx="2981">
                  <c:v>5.3165685749955401E-2</c:v>
                </c:pt>
                <c:pt idx="2982">
                  <c:v>5.3183520599250897E-2</c:v>
                </c:pt>
                <c:pt idx="2983">
                  <c:v>5.32013554485464E-2</c:v>
                </c:pt>
                <c:pt idx="2984">
                  <c:v>5.3219190297841903E-2</c:v>
                </c:pt>
                <c:pt idx="2985">
                  <c:v>5.3237025147137497E-2</c:v>
                </c:pt>
                <c:pt idx="2986">
                  <c:v>5.3254859996433E-2</c:v>
                </c:pt>
                <c:pt idx="2987">
                  <c:v>5.3272694845728497E-2</c:v>
                </c:pt>
                <c:pt idx="2988">
                  <c:v>5.3290529695024E-2</c:v>
                </c:pt>
                <c:pt idx="2989">
                  <c:v>5.33083645443196E-2</c:v>
                </c:pt>
                <c:pt idx="2990">
                  <c:v>5.3326199393615097E-2</c:v>
                </c:pt>
                <c:pt idx="2991">
                  <c:v>5.33440342429106E-2</c:v>
                </c:pt>
                <c:pt idx="2992">
                  <c:v>5.3361869092206103E-2</c:v>
                </c:pt>
                <c:pt idx="2993">
                  <c:v>5.3379703941501697E-2</c:v>
                </c:pt>
                <c:pt idx="2994">
                  <c:v>5.33975387907972E-2</c:v>
                </c:pt>
                <c:pt idx="2995">
                  <c:v>5.3415373640092703E-2</c:v>
                </c:pt>
                <c:pt idx="2996">
                  <c:v>5.34332084893882E-2</c:v>
                </c:pt>
                <c:pt idx="2997">
                  <c:v>5.3451043338683703E-2</c:v>
                </c:pt>
                <c:pt idx="2998">
                  <c:v>5.3468878187979303E-2</c:v>
                </c:pt>
                <c:pt idx="2999">
                  <c:v>5.34867130372748E-2</c:v>
                </c:pt>
                <c:pt idx="3000">
                  <c:v>5.3504547886570303E-2</c:v>
                </c:pt>
                <c:pt idx="3001">
                  <c:v>5.3522382735865799E-2</c:v>
                </c:pt>
                <c:pt idx="3002">
                  <c:v>5.35402175851614E-2</c:v>
                </c:pt>
                <c:pt idx="3003">
                  <c:v>5.3558052434456903E-2</c:v>
                </c:pt>
                <c:pt idx="3004">
                  <c:v>5.3575887283752399E-2</c:v>
                </c:pt>
                <c:pt idx="3005">
                  <c:v>5.3593722133047902E-2</c:v>
                </c:pt>
                <c:pt idx="3006">
                  <c:v>5.3611556982343399E-2</c:v>
                </c:pt>
                <c:pt idx="3007">
                  <c:v>5.3629391831638999E-2</c:v>
                </c:pt>
                <c:pt idx="3008">
                  <c:v>5.3647226680934502E-2</c:v>
                </c:pt>
                <c:pt idx="3009">
                  <c:v>5.3665061530229999E-2</c:v>
                </c:pt>
                <c:pt idx="3010">
                  <c:v>5.3682896379525502E-2</c:v>
                </c:pt>
                <c:pt idx="3011">
                  <c:v>5.3700731228821103E-2</c:v>
                </c:pt>
                <c:pt idx="3012">
                  <c:v>5.3718566078116599E-2</c:v>
                </c:pt>
                <c:pt idx="3013">
                  <c:v>5.3736400927412102E-2</c:v>
                </c:pt>
                <c:pt idx="3014">
                  <c:v>5.3754235776707598E-2</c:v>
                </c:pt>
                <c:pt idx="3015">
                  <c:v>5.3772070626003199E-2</c:v>
                </c:pt>
                <c:pt idx="3016">
                  <c:v>5.3789905475298702E-2</c:v>
                </c:pt>
                <c:pt idx="3017">
                  <c:v>5.3807740324594198E-2</c:v>
                </c:pt>
                <c:pt idx="3018">
                  <c:v>5.3825575173889702E-2</c:v>
                </c:pt>
                <c:pt idx="3019">
                  <c:v>5.3843410023185302E-2</c:v>
                </c:pt>
                <c:pt idx="3020">
                  <c:v>5.3861244872480799E-2</c:v>
                </c:pt>
                <c:pt idx="3021">
                  <c:v>5.3879079721776302E-2</c:v>
                </c:pt>
                <c:pt idx="3022">
                  <c:v>5.3896914571071798E-2</c:v>
                </c:pt>
                <c:pt idx="3023">
                  <c:v>5.3914749420367399E-2</c:v>
                </c:pt>
                <c:pt idx="3024">
                  <c:v>5.3932584269662902E-2</c:v>
                </c:pt>
                <c:pt idx="3025">
                  <c:v>5.3950419118958398E-2</c:v>
                </c:pt>
                <c:pt idx="3026">
                  <c:v>5.3968253968253901E-2</c:v>
                </c:pt>
                <c:pt idx="3027">
                  <c:v>5.3986088817549398E-2</c:v>
                </c:pt>
                <c:pt idx="3028">
                  <c:v>5.4003923666844998E-2</c:v>
                </c:pt>
                <c:pt idx="3029">
                  <c:v>5.4021758516140501E-2</c:v>
                </c:pt>
                <c:pt idx="3030">
                  <c:v>5.4039593365435998E-2</c:v>
                </c:pt>
                <c:pt idx="3031">
                  <c:v>5.4057428214731501E-2</c:v>
                </c:pt>
                <c:pt idx="3032">
                  <c:v>5.4075263064027101E-2</c:v>
                </c:pt>
                <c:pt idx="3033">
                  <c:v>5.4093097913322598E-2</c:v>
                </c:pt>
                <c:pt idx="3034">
                  <c:v>5.4110932762618101E-2</c:v>
                </c:pt>
                <c:pt idx="3035">
                  <c:v>5.4128767611913597E-2</c:v>
                </c:pt>
                <c:pt idx="3036">
                  <c:v>5.4146602461209198E-2</c:v>
                </c:pt>
                <c:pt idx="3037">
                  <c:v>5.4164437310504701E-2</c:v>
                </c:pt>
                <c:pt idx="3038">
                  <c:v>5.4182272159800197E-2</c:v>
                </c:pt>
                <c:pt idx="3039">
                  <c:v>5.4200107009095701E-2</c:v>
                </c:pt>
                <c:pt idx="3040">
                  <c:v>5.4217941858391197E-2</c:v>
                </c:pt>
                <c:pt idx="3041">
                  <c:v>5.4235776707686797E-2</c:v>
                </c:pt>
                <c:pt idx="3042">
                  <c:v>5.4253611556982301E-2</c:v>
                </c:pt>
                <c:pt idx="3043">
                  <c:v>5.4271446406277797E-2</c:v>
                </c:pt>
                <c:pt idx="3044">
                  <c:v>5.42892812555733E-2</c:v>
                </c:pt>
                <c:pt idx="3045">
                  <c:v>5.4307116104868901E-2</c:v>
                </c:pt>
                <c:pt idx="3046">
                  <c:v>5.4324950954164397E-2</c:v>
                </c:pt>
                <c:pt idx="3047">
                  <c:v>5.43427858034599E-2</c:v>
                </c:pt>
                <c:pt idx="3048">
                  <c:v>5.4360620652755397E-2</c:v>
                </c:pt>
                <c:pt idx="3049">
                  <c:v>5.4378455502050997E-2</c:v>
                </c:pt>
                <c:pt idx="3050">
                  <c:v>5.43962903513465E-2</c:v>
                </c:pt>
                <c:pt idx="3051">
                  <c:v>5.4414125200641997E-2</c:v>
                </c:pt>
                <c:pt idx="3052">
                  <c:v>5.44319600499375E-2</c:v>
                </c:pt>
                <c:pt idx="3053">
                  <c:v>5.44497948992331E-2</c:v>
                </c:pt>
                <c:pt idx="3054">
                  <c:v>5.4467629748528597E-2</c:v>
                </c:pt>
                <c:pt idx="3055">
                  <c:v>5.44854645978241E-2</c:v>
                </c:pt>
                <c:pt idx="3056">
                  <c:v>5.4503299447119603E-2</c:v>
                </c:pt>
                <c:pt idx="3057">
                  <c:v>5.4521134296415197E-2</c:v>
                </c:pt>
                <c:pt idx="3058">
                  <c:v>5.45389691457107E-2</c:v>
                </c:pt>
                <c:pt idx="3059">
                  <c:v>5.4556803995006203E-2</c:v>
                </c:pt>
                <c:pt idx="3060">
                  <c:v>5.45746388443017E-2</c:v>
                </c:pt>
                <c:pt idx="3061">
                  <c:v>5.4592473693597203E-2</c:v>
                </c:pt>
                <c:pt idx="3062">
                  <c:v>5.4610308542892803E-2</c:v>
                </c:pt>
                <c:pt idx="3063">
                  <c:v>5.46281433921883E-2</c:v>
                </c:pt>
                <c:pt idx="3064">
                  <c:v>5.4645978241483803E-2</c:v>
                </c:pt>
                <c:pt idx="3065">
                  <c:v>5.4663813090779299E-2</c:v>
                </c:pt>
                <c:pt idx="3066">
                  <c:v>5.46816479400749E-2</c:v>
                </c:pt>
                <c:pt idx="3067">
                  <c:v>5.4699482789370403E-2</c:v>
                </c:pt>
                <c:pt idx="3068">
                  <c:v>5.4717317638665899E-2</c:v>
                </c:pt>
                <c:pt idx="3069">
                  <c:v>5.4735152487961403E-2</c:v>
                </c:pt>
                <c:pt idx="3070">
                  <c:v>5.4752987337257003E-2</c:v>
                </c:pt>
                <c:pt idx="3071">
                  <c:v>5.4770822186552499E-2</c:v>
                </c:pt>
                <c:pt idx="3072">
                  <c:v>5.4788657035848003E-2</c:v>
                </c:pt>
                <c:pt idx="3073">
                  <c:v>5.4806491885143499E-2</c:v>
                </c:pt>
                <c:pt idx="3074">
                  <c:v>5.4824326734439002E-2</c:v>
                </c:pt>
                <c:pt idx="3075">
                  <c:v>5.4842161583734603E-2</c:v>
                </c:pt>
                <c:pt idx="3076">
                  <c:v>5.4859996433030099E-2</c:v>
                </c:pt>
                <c:pt idx="3077">
                  <c:v>5.4877831282325602E-2</c:v>
                </c:pt>
                <c:pt idx="3078">
                  <c:v>5.4895666131621099E-2</c:v>
                </c:pt>
                <c:pt idx="3079">
                  <c:v>5.4913500980916699E-2</c:v>
                </c:pt>
                <c:pt idx="3080">
                  <c:v>5.4931335830212202E-2</c:v>
                </c:pt>
                <c:pt idx="3081">
                  <c:v>5.4949170679507699E-2</c:v>
                </c:pt>
                <c:pt idx="3082">
                  <c:v>5.4967005528803202E-2</c:v>
                </c:pt>
                <c:pt idx="3083">
                  <c:v>5.4984840378098802E-2</c:v>
                </c:pt>
                <c:pt idx="3084">
                  <c:v>5.5002675227394299E-2</c:v>
                </c:pt>
                <c:pt idx="3085">
                  <c:v>5.5020510076689802E-2</c:v>
                </c:pt>
                <c:pt idx="3086">
                  <c:v>5.5038344925985298E-2</c:v>
                </c:pt>
                <c:pt idx="3087">
                  <c:v>5.5056179775280899E-2</c:v>
                </c:pt>
                <c:pt idx="3088">
                  <c:v>5.5074014624576402E-2</c:v>
                </c:pt>
                <c:pt idx="3089">
                  <c:v>5.5091849473871898E-2</c:v>
                </c:pt>
                <c:pt idx="3090">
                  <c:v>5.5109684323167402E-2</c:v>
                </c:pt>
                <c:pt idx="3091">
                  <c:v>5.5127519172462898E-2</c:v>
                </c:pt>
                <c:pt idx="3092">
                  <c:v>5.5145354021758498E-2</c:v>
                </c:pt>
                <c:pt idx="3093">
                  <c:v>5.5163188871054002E-2</c:v>
                </c:pt>
                <c:pt idx="3094">
                  <c:v>5.5181023720349498E-2</c:v>
                </c:pt>
                <c:pt idx="3095">
                  <c:v>5.5198858569645001E-2</c:v>
                </c:pt>
                <c:pt idx="3096">
                  <c:v>5.5216693418940602E-2</c:v>
                </c:pt>
                <c:pt idx="3097">
                  <c:v>5.5234528268236098E-2</c:v>
                </c:pt>
                <c:pt idx="3098">
                  <c:v>5.5252363117531601E-2</c:v>
                </c:pt>
                <c:pt idx="3099">
                  <c:v>5.5270197966827098E-2</c:v>
                </c:pt>
                <c:pt idx="3100">
                  <c:v>5.5288032816122698E-2</c:v>
                </c:pt>
                <c:pt idx="3101">
                  <c:v>5.5305867665418201E-2</c:v>
                </c:pt>
                <c:pt idx="3102">
                  <c:v>5.5323702514713698E-2</c:v>
                </c:pt>
                <c:pt idx="3103">
                  <c:v>5.5341537364009201E-2</c:v>
                </c:pt>
                <c:pt idx="3104">
                  <c:v>5.5359372213304697E-2</c:v>
                </c:pt>
                <c:pt idx="3105">
                  <c:v>5.5377207062600298E-2</c:v>
                </c:pt>
                <c:pt idx="3106">
                  <c:v>5.5395041911895801E-2</c:v>
                </c:pt>
                <c:pt idx="3107">
                  <c:v>5.5412876761191297E-2</c:v>
                </c:pt>
                <c:pt idx="3108">
                  <c:v>5.5430711610486801E-2</c:v>
                </c:pt>
                <c:pt idx="3109">
                  <c:v>5.5448546459782401E-2</c:v>
                </c:pt>
                <c:pt idx="3110">
                  <c:v>5.5466381309077897E-2</c:v>
                </c:pt>
                <c:pt idx="3111">
                  <c:v>5.5484216158373401E-2</c:v>
                </c:pt>
                <c:pt idx="3112">
                  <c:v>5.5502051007668897E-2</c:v>
                </c:pt>
                <c:pt idx="3113">
                  <c:v>5.5519885856964497E-2</c:v>
                </c:pt>
                <c:pt idx="3114">
                  <c:v>5.5537720706260001E-2</c:v>
                </c:pt>
                <c:pt idx="3115">
                  <c:v>5.5555555555555497E-2</c:v>
                </c:pt>
                <c:pt idx="3116">
                  <c:v>5.5573390404851E-2</c:v>
                </c:pt>
                <c:pt idx="3117">
                  <c:v>5.5591225254146601E-2</c:v>
                </c:pt>
                <c:pt idx="3118">
                  <c:v>5.5609060103442097E-2</c:v>
                </c:pt>
                <c:pt idx="3119">
                  <c:v>5.56268949527376E-2</c:v>
                </c:pt>
                <c:pt idx="3120">
                  <c:v>5.5644729802033097E-2</c:v>
                </c:pt>
                <c:pt idx="3121">
                  <c:v>5.5662564651328697E-2</c:v>
                </c:pt>
                <c:pt idx="3122">
                  <c:v>5.56803995006242E-2</c:v>
                </c:pt>
                <c:pt idx="3123">
                  <c:v>5.5698234349919697E-2</c:v>
                </c:pt>
                <c:pt idx="3124">
                  <c:v>5.57160691992152E-2</c:v>
                </c:pt>
                <c:pt idx="3125">
                  <c:v>5.5733904048510703E-2</c:v>
                </c:pt>
                <c:pt idx="3126">
                  <c:v>5.5751738897806297E-2</c:v>
                </c:pt>
                <c:pt idx="3127">
                  <c:v>5.57695737471018E-2</c:v>
                </c:pt>
                <c:pt idx="3128">
                  <c:v>5.5787408596397303E-2</c:v>
                </c:pt>
                <c:pt idx="3129">
                  <c:v>5.58052434456928E-2</c:v>
                </c:pt>
                <c:pt idx="3130">
                  <c:v>5.58230782949884E-2</c:v>
                </c:pt>
                <c:pt idx="3131">
                  <c:v>5.5840913144283903E-2</c:v>
                </c:pt>
                <c:pt idx="3132">
                  <c:v>5.58587479935794E-2</c:v>
                </c:pt>
                <c:pt idx="3133">
                  <c:v>5.5876582842874903E-2</c:v>
                </c:pt>
                <c:pt idx="3134">
                  <c:v>5.5894417692170503E-2</c:v>
                </c:pt>
                <c:pt idx="3135">
                  <c:v>5.5912252541466E-2</c:v>
                </c:pt>
                <c:pt idx="3136">
                  <c:v>5.5930087390761503E-2</c:v>
                </c:pt>
                <c:pt idx="3137">
                  <c:v>5.5947922240056999E-2</c:v>
                </c:pt>
                <c:pt idx="3138">
                  <c:v>5.5965757089352502E-2</c:v>
                </c:pt>
                <c:pt idx="3139">
                  <c:v>5.5983591938648103E-2</c:v>
                </c:pt>
                <c:pt idx="3140">
                  <c:v>5.6001426787943599E-2</c:v>
                </c:pt>
                <c:pt idx="3141">
                  <c:v>5.6019261637239103E-2</c:v>
                </c:pt>
                <c:pt idx="3142">
                  <c:v>5.6037096486534599E-2</c:v>
                </c:pt>
                <c:pt idx="3143">
                  <c:v>5.6054931335830199E-2</c:v>
                </c:pt>
                <c:pt idx="3144">
                  <c:v>5.6072766185125703E-2</c:v>
                </c:pt>
                <c:pt idx="3145">
                  <c:v>5.6090601034421199E-2</c:v>
                </c:pt>
                <c:pt idx="3146">
                  <c:v>5.6108435883716702E-2</c:v>
                </c:pt>
                <c:pt idx="3147">
                  <c:v>5.6126270733012303E-2</c:v>
                </c:pt>
                <c:pt idx="3148">
                  <c:v>5.6144105582307799E-2</c:v>
                </c:pt>
                <c:pt idx="3149">
                  <c:v>5.6161940431603302E-2</c:v>
                </c:pt>
                <c:pt idx="3150">
                  <c:v>5.6179775280898799E-2</c:v>
                </c:pt>
                <c:pt idx="3151">
                  <c:v>5.6197610130194399E-2</c:v>
                </c:pt>
                <c:pt idx="3152">
                  <c:v>5.6215444979489902E-2</c:v>
                </c:pt>
                <c:pt idx="3153">
                  <c:v>5.6233279828785399E-2</c:v>
                </c:pt>
                <c:pt idx="3154">
                  <c:v>5.6251114678080902E-2</c:v>
                </c:pt>
                <c:pt idx="3155">
                  <c:v>5.6268949527376398E-2</c:v>
                </c:pt>
                <c:pt idx="3156">
                  <c:v>5.6286784376671999E-2</c:v>
                </c:pt>
                <c:pt idx="3157">
                  <c:v>5.6304619225967502E-2</c:v>
                </c:pt>
                <c:pt idx="3158">
                  <c:v>5.6322454075262998E-2</c:v>
                </c:pt>
                <c:pt idx="3159">
                  <c:v>5.6340288924558501E-2</c:v>
                </c:pt>
                <c:pt idx="3160">
                  <c:v>5.6358123773854102E-2</c:v>
                </c:pt>
                <c:pt idx="3161">
                  <c:v>5.6375958623149598E-2</c:v>
                </c:pt>
                <c:pt idx="3162">
                  <c:v>5.6393793472445101E-2</c:v>
                </c:pt>
                <c:pt idx="3163">
                  <c:v>5.6411628321740598E-2</c:v>
                </c:pt>
                <c:pt idx="3164">
                  <c:v>5.6429463171036198E-2</c:v>
                </c:pt>
                <c:pt idx="3165">
                  <c:v>5.6447298020331702E-2</c:v>
                </c:pt>
                <c:pt idx="3166">
                  <c:v>5.6465132869627198E-2</c:v>
                </c:pt>
                <c:pt idx="3167">
                  <c:v>5.6482967718922701E-2</c:v>
                </c:pt>
                <c:pt idx="3168">
                  <c:v>5.6500802568218302E-2</c:v>
                </c:pt>
                <c:pt idx="3169">
                  <c:v>5.6518637417513798E-2</c:v>
                </c:pt>
                <c:pt idx="3170">
                  <c:v>5.6536472266809301E-2</c:v>
                </c:pt>
                <c:pt idx="3171">
                  <c:v>5.6554307116104797E-2</c:v>
                </c:pt>
                <c:pt idx="3172">
                  <c:v>5.6572141965400301E-2</c:v>
                </c:pt>
                <c:pt idx="3173">
                  <c:v>5.6589976814695901E-2</c:v>
                </c:pt>
                <c:pt idx="3174">
                  <c:v>5.6607811663991398E-2</c:v>
                </c:pt>
                <c:pt idx="3175">
                  <c:v>5.6625646513286901E-2</c:v>
                </c:pt>
                <c:pt idx="3176">
                  <c:v>5.6643481362582397E-2</c:v>
                </c:pt>
                <c:pt idx="3177">
                  <c:v>5.6661316211877998E-2</c:v>
                </c:pt>
                <c:pt idx="3178">
                  <c:v>5.6679151061173501E-2</c:v>
                </c:pt>
                <c:pt idx="3179">
                  <c:v>5.6696985910468997E-2</c:v>
                </c:pt>
                <c:pt idx="3180">
                  <c:v>5.67148207597645E-2</c:v>
                </c:pt>
                <c:pt idx="3181">
                  <c:v>5.6732655609060101E-2</c:v>
                </c:pt>
                <c:pt idx="3182">
                  <c:v>5.6750490458355597E-2</c:v>
                </c:pt>
                <c:pt idx="3183">
                  <c:v>5.67683253076511E-2</c:v>
                </c:pt>
                <c:pt idx="3184">
                  <c:v>5.6786160156946597E-2</c:v>
                </c:pt>
                <c:pt idx="3185">
                  <c:v>5.6803995006242197E-2</c:v>
                </c:pt>
                <c:pt idx="3186">
                  <c:v>5.68218298555377E-2</c:v>
                </c:pt>
                <c:pt idx="3187">
                  <c:v>5.6839664704833197E-2</c:v>
                </c:pt>
                <c:pt idx="3188">
                  <c:v>5.68574995541287E-2</c:v>
                </c:pt>
                <c:pt idx="3189">
                  <c:v>5.6875334403424203E-2</c:v>
                </c:pt>
                <c:pt idx="3190">
                  <c:v>5.6893169252719797E-2</c:v>
                </c:pt>
                <c:pt idx="3191">
                  <c:v>5.69110041020153E-2</c:v>
                </c:pt>
                <c:pt idx="3192">
                  <c:v>5.6928838951310803E-2</c:v>
                </c:pt>
                <c:pt idx="3193">
                  <c:v>5.69466738006063E-2</c:v>
                </c:pt>
                <c:pt idx="3194">
                  <c:v>5.69645086499019E-2</c:v>
                </c:pt>
                <c:pt idx="3195">
                  <c:v>5.6982343499197403E-2</c:v>
                </c:pt>
                <c:pt idx="3196">
                  <c:v>5.70001783484929E-2</c:v>
                </c:pt>
                <c:pt idx="3197">
                  <c:v>5.7018013197788403E-2</c:v>
                </c:pt>
                <c:pt idx="3198">
                  <c:v>5.7035848047084003E-2</c:v>
                </c:pt>
                <c:pt idx="3199">
                  <c:v>5.70536828963795E-2</c:v>
                </c:pt>
                <c:pt idx="3200">
                  <c:v>5.7071517745675003E-2</c:v>
                </c:pt>
                <c:pt idx="3201">
                  <c:v>5.7089352594970499E-2</c:v>
                </c:pt>
                <c:pt idx="3202">
                  <c:v>5.7107187444266003E-2</c:v>
                </c:pt>
                <c:pt idx="3203">
                  <c:v>5.7125022293561603E-2</c:v>
                </c:pt>
                <c:pt idx="3204">
                  <c:v>5.7142857142857099E-2</c:v>
                </c:pt>
                <c:pt idx="3205">
                  <c:v>5.7160691992152603E-2</c:v>
                </c:pt>
                <c:pt idx="3206">
                  <c:v>5.7178526841448099E-2</c:v>
                </c:pt>
                <c:pt idx="3207">
                  <c:v>5.7196361690743699E-2</c:v>
                </c:pt>
                <c:pt idx="3208">
                  <c:v>5.7214196540039203E-2</c:v>
                </c:pt>
                <c:pt idx="3209">
                  <c:v>5.7232031389334699E-2</c:v>
                </c:pt>
                <c:pt idx="3210">
                  <c:v>5.7249866238630202E-2</c:v>
                </c:pt>
                <c:pt idx="3211">
                  <c:v>5.7267701087925803E-2</c:v>
                </c:pt>
                <c:pt idx="3212">
                  <c:v>5.7285535937221299E-2</c:v>
                </c:pt>
                <c:pt idx="3213">
                  <c:v>5.7303370786516802E-2</c:v>
                </c:pt>
                <c:pt idx="3214">
                  <c:v>5.7321205635812299E-2</c:v>
                </c:pt>
                <c:pt idx="3215">
                  <c:v>5.7339040485107899E-2</c:v>
                </c:pt>
                <c:pt idx="3216">
                  <c:v>5.7356875334403402E-2</c:v>
                </c:pt>
                <c:pt idx="3217">
                  <c:v>5.7374710183698899E-2</c:v>
                </c:pt>
                <c:pt idx="3218">
                  <c:v>5.7392545032994402E-2</c:v>
                </c:pt>
                <c:pt idx="3219">
                  <c:v>5.7410379882289898E-2</c:v>
                </c:pt>
                <c:pt idx="3220">
                  <c:v>5.7428214731585499E-2</c:v>
                </c:pt>
                <c:pt idx="3221">
                  <c:v>5.7446049580881002E-2</c:v>
                </c:pt>
                <c:pt idx="3222">
                  <c:v>5.7463884430176498E-2</c:v>
                </c:pt>
                <c:pt idx="3223">
                  <c:v>5.7481719279472002E-2</c:v>
                </c:pt>
                <c:pt idx="3224">
                  <c:v>5.7499554128767602E-2</c:v>
                </c:pt>
                <c:pt idx="3225">
                  <c:v>5.7517388978063098E-2</c:v>
                </c:pt>
                <c:pt idx="3226">
                  <c:v>5.7535223827358602E-2</c:v>
                </c:pt>
                <c:pt idx="3227">
                  <c:v>5.7553058676654098E-2</c:v>
                </c:pt>
                <c:pt idx="3228">
                  <c:v>5.7570893525949698E-2</c:v>
                </c:pt>
                <c:pt idx="3229">
                  <c:v>5.7588728375245202E-2</c:v>
                </c:pt>
                <c:pt idx="3230">
                  <c:v>5.7606563224540698E-2</c:v>
                </c:pt>
                <c:pt idx="3231">
                  <c:v>5.7624398073836201E-2</c:v>
                </c:pt>
                <c:pt idx="3232">
                  <c:v>5.7642232923131802E-2</c:v>
                </c:pt>
                <c:pt idx="3233">
                  <c:v>5.7660067772427298E-2</c:v>
                </c:pt>
                <c:pt idx="3234">
                  <c:v>5.7677902621722801E-2</c:v>
                </c:pt>
                <c:pt idx="3235">
                  <c:v>5.7695737471018298E-2</c:v>
                </c:pt>
                <c:pt idx="3236">
                  <c:v>5.7713572320313801E-2</c:v>
                </c:pt>
                <c:pt idx="3237">
                  <c:v>5.7731407169609401E-2</c:v>
                </c:pt>
                <c:pt idx="3238">
                  <c:v>5.7749242018904898E-2</c:v>
                </c:pt>
                <c:pt idx="3239">
                  <c:v>5.7767076868200401E-2</c:v>
                </c:pt>
                <c:pt idx="3240">
                  <c:v>5.7784911717495897E-2</c:v>
                </c:pt>
                <c:pt idx="3241">
                  <c:v>5.7802746566791498E-2</c:v>
                </c:pt>
                <c:pt idx="3242">
                  <c:v>5.7820581416087001E-2</c:v>
                </c:pt>
                <c:pt idx="3243">
                  <c:v>5.7838416265382497E-2</c:v>
                </c:pt>
                <c:pt idx="3244">
                  <c:v>5.7856251114678001E-2</c:v>
                </c:pt>
                <c:pt idx="3245">
                  <c:v>5.7874085963973601E-2</c:v>
                </c:pt>
                <c:pt idx="3246">
                  <c:v>5.7891920813269097E-2</c:v>
                </c:pt>
                <c:pt idx="3247">
                  <c:v>5.7909755662564601E-2</c:v>
                </c:pt>
                <c:pt idx="3248">
                  <c:v>5.7927590511860097E-2</c:v>
                </c:pt>
                <c:pt idx="3249">
                  <c:v>5.7945425361155697E-2</c:v>
                </c:pt>
                <c:pt idx="3250">
                  <c:v>5.7963260210451201E-2</c:v>
                </c:pt>
                <c:pt idx="3251">
                  <c:v>5.7981095059746697E-2</c:v>
                </c:pt>
                <c:pt idx="3252">
                  <c:v>5.79989299090422E-2</c:v>
                </c:pt>
                <c:pt idx="3253">
                  <c:v>5.8016764758337697E-2</c:v>
                </c:pt>
                <c:pt idx="3254">
                  <c:v>5.8034599607633297E-2</c:v>
                </c:pt>
                <c:pt idx="3255">
                  <c:v>5.80524344569288E-2</c:v>
                </c:pt>
                <c:pt idx="3256">
                  <c:v>5.8070269306224297E-2</c:v>
                </c:pt>
                <c:pt idx="3257">
                  <c:v>5.80881041555198E-2</c:v>
                </c:pt>
                <c:pt idx="3258">
                  <c:v>5.81059390048154E-2</c:v>
                </c:pt>
                <c:pt idx="3259">
                  <c:v>5.8123773854110897E-2</c:v>
                </c:pt>
                <c:pt idx="3260">
                  <c:v>5.81416087034064E-2</c:v>
                </c:pt>
                <c:pt idx="3261">
                  <c:v>5.8159443552701903E-2</c:v>
                </c:pt>
                <c:pt idx="3262">
                  <c:v>5.8177278401997497E-2</c:v>
                </c:pt>
                <c:pt idx="3263">
                  <c:v>5.8195113251293E-2</c:v>
                </c:pt>
                <c:pt idx="3264">
                  <c:v>5.8212948100588503E-2</c:v>
                </c:pt>
                <c:pt idx="3265">
                  <c:v>5.8230782949884E-2</c:v>
                </c:pt>
                <c:pt idx="3266">
                  <c:v>5.82486177991796E-2</c:v>
                </c:pt>
                <c:pt idx="3267">
                  <c:v>5.8266452648475103E-2</c:v>
                </c:pt>
                <c:pt idx="3268">
                  <c:v>5.82842874977706E-2</c:v>
                </c:pt>
                <c:pt idx="3269">
                  <c:v>5.8302122347066103E-2</c:v>
                </c:pt>
                <c:pt idx="3270">
                  <c:v>5.8319957196361599E-2</c:v>
                </c:pt>
                <c:pt idx="3271">
                  <c:v>5.83377920456572E-2</c:v>
                </c:pt>
                <c:pt idx="3272">
                  <c:v>5.8355626894952703E-2</c:v>
                </c:pt>
                <c:pt idx="3273">
                  <c:v>5.8373461744248199E-2</c:v>
                </c:pt>
                <c:pt idx="3274">
                  <c:v>5.8391296593543703E-2</c:v>
                </c:pt>
                <c:pt idx="3275">
                  <c:v>5.8409131442839303E-2</c:v>
                </c:pt>
                <c:pt idx="3276">
                  <c:v>5.8426966292134799E-2</c:v>
                </c:pt>
                <c:pt idx="3277">
                  <c:v>5.8444801141430303E-2</c:v>
                </c:pt>
                <c:pt idx="3278">
                  <c:v>5.8462635990725799E-2</c:v>
                </c:pt>
                <c:pt idx="3279">
                  <c:v>5.8480470840021399E-2</c:v>
                </c:pt>
                <c:pt idx="3280">
                  <c:v>5.8498305689316903E-2</c:v>
                </c:pt>
                <c:pt idx="3281">
                  <c:v>5.8516140538612399E-2</c:v>
                </c:pt>
                <c:pt idx="3282">
                  <c:v>5.8533975387907902E-2</c:v>
                </c:pt>
                <c:pt idx="3283">
                  <c:v>5.8551810237203399E-2</c:v>
                </c:pt>
                <c:pt idx="3284">
                  <c:v>5.8569645086498999E-2</c:v>
                </c:pt>
                <c:pt idx="3285">
                  <c:v>5.8587479935794502E-2</c:v>
                </c:pt>
                <c:pt idx="3286">
                  <c:v>5.8605314785089999E-2</c:v>
                </c:pt>
                <c:pt idx="3287">
                  <c:v>5.8623149634385502E-2</c:v>
                </c:pt>
                <c:pt idx="3288">
                  <c:v>5.8640984483681102E-2</c:v>
                </c:pt>
                <c:pt idx="3289">
                  <c:v>5.8658819332976599E-2</c:v>
                </c:pt>
                <c:pt idx="3290">
                  <c:v>5.8676654182272102E-2</c:v>
                </c:pt>
                <c:pt idx="3291">
                  <c:v>5.8694489031567598E-2</c:v>
                </c:pt>
                <c:pt idx="3292">
                  <c:v>5.8712323880863199E-2</c:v>
                </c:pt>
                <c:pt idx="3293">
                  <c:v>5.8730158730158702E-2</c:v>
                </c:pt>
                <c:pt idx="3294">
                  <c:v>5.8747993579454198E-2</c:v>
                </c:pt>
                <c:pt idx="3295">
                  <c:v>5.8765828428749702E-2</c:v>
                </c:pt>
                <c:pt idx="3296">
                  <c:v>5.8783663278045302E-2</c:v>
                </c:pt>
                <c:pt idx="3297">
                  <c:v>5.8801498127340798E-2</c:v>
                </c:pt>
                <c:pt idx="3298">
                  <c:v>5.8819332976636302E-2</c:v>
                </c:pt>
                <c:pt idx="3299">
                  <c:v>5.8837167825931798E-2</c:v>
                </c:pt>
                <c:pt idx="3300">
                  <c:v>5.8855002675227301E-2</c:v>
                </c:pt>
                <c:pt idx="3301">
                  <c:v>5.8872837524522902E-2</c:v>
                </c:pt>
                <c:pt idx="3302">
                  <c:v>5.8890672373818398E-2</c:v>
                </c:pt>
                <c:pt idx="3303">
                  <c:v>5.8908507223113901E-2</c:v>
                </c:pt>
                <c:pt idx="3304">
                  <c:v>5.8926342072409398E-2</c:v>
                </c:pt>
                <c:pt idx="3305">
                  <c:v>5.8944176921704998E-2</c:v>
                </c:pt>
                <c:pt idx="3306">
                  <c:v>5.8962011771000501E-2</c:v>
                </c:pt>
                <c:pt idx="3307">
                  <c:v>5.8979846620295998E-2</c:v>
                </c:pt>
                <c:pt idx="3308">
                  <c:v>5.8997681469591501E-2</c:v>
                </c:pt>
                <c:pt idx="3309">
                  <c:v>5.9015516318887101E-2</c:v>
                </c:pt>
                <c:pt idx="3310">
                  <c:v>5.9033351168182598E-2</c:v>
                </c:pt>
                <c:pt idx="3311">
                  <c:v>5.9051186017478101E-2</c:v>
                </c:pt>
                <c:pt idx="3312">
                  <c:v>5.9069020866773597E-2</c:v>
                </c:pt>
                <c:pt idx="3313">
                  <c:v>5.9086855716069198E-2</c:v>
                </c:pt>
                <c:pt idx="3314">
                  <c:v>5.9104690565364701E-2</c:v>
                </c:pt>
                <c:pt idx="3315">
                  <c:v>5.9122525414660197E-2</c:v>
                </c:pt>
                <c:pt idx="3316">
                  <c:v>5.9140360263955701E-2</c:v>
                </c:pt>
                <c:pt idx="3317">
                  <c:v>5.9158195113251197E-2</c:v>
                </c:pt>
                <c:pt idx="3318">
                  <c:v>5.9176029962546797E-2</c:v>
                </c:pt>
                <c:pt idx="3319">
                  <c:v>5.9193864811842301E-2</c:v>
                </c:pt>
                <c:pt idx="3320">
                  <c:v>5.9211699661137797E-2</c:v>
                </c:pt>
                <c:pt idx="3321">
                  <c:v>5.92295345104333E-2</c:v>
                </c:pt>
                <c:pt idx="3322">
                  <c:v>5.9247369359728901E-2</c:v>
                </c:pt>
                <c:pt idx="3323">
                  <c:v>5.9265204209024397E-2</c:v>
                </c:pt>
                <c:pt idx="3324">
                  <c:v>5.92830390583199E-2</c:v>
                </c:pt>
                <c:pt idx="3325">
                  <c:v>5.9300873907615403E-2</c:v>
                </c:pt>
                <c:pt idx="3326">
                  <c:v>5.9318708756910997E-2</c:v>
                </c:pt>
                <c:pt idx="3327">
                  <c:v>5.93365436062065E-2</c:v>
                </c:pt>
                <c:pt idx="3328">
                  <c:v>5.9354378455501997E-2</c:v>
                </c:pt>
                <c:pt idx="3329">
                  <c:v>5.93722133047975E-2</c:v>
                </c:pt>
                <c:pt idx="3330">
                  <c:v>5.93900481540931E-2</c:v>
                </c:pt>
                <c:pt idx="3331">
                  <c:v>5.9407883003388597E-2</c:v>
                </c:pt>
                <c:pt idx="3332">
                  <c:v>5.94257178526841E-2</c:v>
                </c:pt>
                <c:pt idx="3333">
                  <c:v>5.9443552701979603E-2</c:v>
                </c:pt>
                <c:pt idx="3334">
                  <c:v>5.9461387551275099E-2</c:v>
                </c:pt>
                <c:pt idx="3335">
                  <c:v>5.94792224005707E-2</c:v>
                </c:pt>
                <c:pt idx="3336">
                  <c:v>5.9497057249866203E-2</c:v>
                </c:pt>
                <c:pt idx="3337">
                  <c:v>5.9514892099161699E-2</c:v>
                </c:pt>
                <c:pt idx="3338">
                  <c:v>5.9532726948457203E-2</c:v>
                </c:pt>
                <c:pt idx="3339">
                  <c:v>5.9550561797752803E-2</c:v>
                </c:pt>
                <c:pt idx="3340">
                  <c:v>5.95683966470483E-2</c:v>
                </c:pt>
                <c:pt idx="3341">
                  <c:v>5.9586231496343803E-2</c:v>
                </c:pt>
                <c:pt idx="3342">
                  <c:v>5.9604066345639299E-2</c:v>
                </c:pt>
                <c:pt idx="3343">
                  <c:v>5.96219011949349E-2</c:v>
                </c:pt>
                <c:pt idx="3344">
                  <c:v>5.9639736044230403E-2</c:v>
                </c:pt>
                <c:pt idx="3345">
                  <c:v>5.9657570893525899E-2</c:v>
                </c:pt>
                <c:pt idx="3346">
                  <c:v>5.9675405742821402E-2</c:v>
                </c:pt>
                <c:pt idx="3347">
                  <c:v>5.9693240592116899E-2</c:v>
                </c:pt>
                <c:pt idx="3348">
                  <c:v>5.9711075441412499E-2</c:v>
                </c:pt>
                <c:pt idx="3349">
                  <c:v>5.9728910290708002E-2</c:v>
                </c:pt>
                <c:pt idx="3350">
                  <c:v>5.9746745140003499E-2</c:v>
                </c:pt>
                <c:pt idx="3351">
                  <c:v>5.9764579989299002E-2</c:v>
                </c:pt>
                <c:pt idx="3352">
                  <c:v>5.9782414838594602E-2</c:v>
                </c:pt>
                <c:pt idx="3353">
                  <c:v>5.9800249687890099E-2</c:v>
                </c:pt>
                <c:pt idx="3354">
                  <c:v>5.9818084537185602E-2</c:v>
                </c:pt>
                <c:pt idx="3355">
                  <c:v>5.9835919386481098E-2</c:v>
                </c:pt>
                <c:pt idx="3356">
                  <c:v>5.9853754235776699E-2</c:v>
                </c:pt>
                <c:pt idx="3357">
                  <c:v>5.9871589085072202E-2</c:v>
                </c:pt>
                <c:pt idx="3358">
                  <c:v>5.9889423934367698E-2</c:v>
                </c:pt>
                <c:pt idx="3359">
                  <c:v>5.9907258783663202E-2</c:v>
                </c:pt>
                <c:pt idx="3360">
                  <c:v>5.9925093632958802E-2</c:v>
                </c:pt>
                <c:pt idx="3361">
                  <c:v>5.9942928482254298E-2</c:v>
                </c:pt>
                <c:pt idx="3362">
                  <c:v>5.9960763331549802E-2</c:v>
                </c:pt>
                <c:pt idx="3363">
                  <c:v>5.9978598180845298E-2</c:v>
                </c:pt>
                <c:pt idx="3364">
                  <c:v>5.9996433030140899E-2</c:v>
                </c:pt>
                <c:pt idx="3365">
                  <c:v>6.0014267879436402E-2</c:v>
                </c:pt>
                <c:pt idx="3366">
                  <c:v>6.0032102728731898E-2</c:v>
                </c:pt>
                <c:pt idx="3367">
                  <c:v>6.0049937578027401E-2</c:v>
                </c:pt>
                <c:pt idx="3368">
                  <c:v>6.0067772427322898E-2</c:v>
                </c:pt>
                <c:pt idx="3369">
                  <c:v>6.0085607276618498E-2</c:v>
                </c:pt>
                <c:pt idx="3370">
                  <c:v>6.0103442125914001E-2</c:v>
                </c:pt>
                <c:pt idx="3371">
                  <c:v>6.0121276975209498E-2</c:v>
                </c:pt>
                <c:pt idx="3372">
                  <c:v>6.0139111824505001E-2</c:v>
                </c:pt>
                <c:pt idx="3373">
                  <c:v>6.0156946673800601E-2</c:v>
                </c:pt>
                <c:pt idx="3374">
                  <c:v>6.0174781523096098E-2</c:v>
                </c:pt>
                <c:pt idx="3375">
                  <c:v>6.0192616372391601E-2</c:v>
                </c:pt>
                <c:pt idx="3376">
                  <c:v>6.0210451221687097E-2</c:v>
                </c:pt>
                <c:pt idx="3377">
                  <c:v>6.0228286070982698E-2</c:v>
                </c:pt>
                <c:pt idx="3378">
                  <c:v>6.0246120920278201E-2</c:v>
                </c:pt>
                <c:pt idx="3379">
                  <c:v>6.0263955769573697E-2</c:v>
                </c:pt>
                <c:pt idx="3380">
                  <c:v>6.0281790618869201E-2</c:v>
                </c:pt>
                <c:pt idx="3381">
                  <c:v>6.0299625468164697E-2</c:v>
                </c:pt>
                <c:pt idx="3382">
                  <c:v>6.0317460317460297E-2</c:v>
                </c:pt>
                <c:pt idx="3383">
                  <c:v>6.0335295166755801E-2</c:v>
                </c:pt>
                <c:pt idx="3384">
                  <c:v>6.0353130016051297E-2</c:v>
                </c:pt>
                <c:pt idx="3385">
                  <c:v>6.03709648653468E-2</c:v>
                </c:pt>
                <c:pt idx="3386">
                  <c:v>6.0388799714642401E-2</c:v>
                </c:pt>
                <c:pt idx="3387">
                  <c:v>6.0406634563937897E-2</c:v>
                </c:pt>
                <c:pt idx="3388">
                  <c:v>6.04244694132334E-2</c:v>
                </c:pt>
                <c:pt idx="3389">
                  <c:v>6.0442304262528897E-2</c:v>
                </c:pt>
                <c:pt idx="3390">
                  <c:v>6.0460139111824497E-2</c:v>
                </c:pt>
                <c:pt idx="3391">
                  <c:v>6.047797396112E-2</c:v>
                </c:pt>
                <c:pt idx="3392">
                  <c:v>6.0495808810415497E-2</c:v>
                </c:pt>
                <c:pt idx="3393">
                  <c:v>6.0513643659711E-2</c:v>
                </c:pt>
                <c:pt idx="3394">
                  <c:v>6.05314785090066E-2</c:v>
                </c:pt>
                <c:pt idx="3395">
                  <c:v>6.0549313358302097E-2</c:v>
                </c:pt>
                <c:pt idx="3396">
                  <c:v>6.05671482075976E-2</c:v>
                </c:pt>
                <c:pt idx="3397">
                  <c:v>6.0584983056893103E-2</c:v>
                </c:pt>
                <c:pt idx="3398">
                  <c:v>6.06028179061886E-2</c:v>
                </c:pt>
                <c:pt idx="3399">
                  <c:v>6.06206527554842E-2</c:v>
                </c:pt>
                <c:pt idx="3400">
                  <c:v>6.0638487604779703E-2</c:v>
                </c:pt>
                <c:pt idx="3401">
                  <c:v>6.06563224540752E-2</c:v>
                </c:pt>
                <c:pt idx="3402">
                  <c:v>6.0674157303370703E-2</c:v>
                </c:pt>
                <c:pt idx="3403">
                  <c:v>6.0691992152666303E-2</c:v>
                </c:pt>
                <c:pt idx="3404">
                  <c:v>6.07098270019618E-2</c:v>
                </c:pt>
                <c:pt idx="3405">
                  <c:v>6.0727661851257303E-2</c:v>
                </c:pt>
                <c:pt idx="3406">
                  <c:v>6.0745496700552799E-2</c:v>
                </c:pt>
                <c:pt idx="3407">
                  <c:v>6.07633315498484E-2</c:v>
                </c:pt>
                <c:pt idx="3408">
                  <c:v>6.0781166399143903E-2</c:v>
                </c:pt>
                <c:pt idx="3409">
                  <c:v>6.0799001248439399E-2</c:v>
                </c:pt>
                <c:pt idx="3410">
                  <c:v>6.0816836097734903E-2</c:v>
                </c:pt>
                <c:pt idx="3411">
                  <c:v>6.0834670947030399E-2</c:v>
                </c:pt>
                <c:pt idx="3412">
                  <c:v>6.0852505796325999E-2</c:v>
                </c:pt>
                <c:pt idx="3413">
                  <c:v>6.0870340645621503E-2</c:v>
                </c:pt>
                <c:pt idx="3414">
                  <c:v>6.0888175494916999E-2</c:v>
                </c:pt>
                <c:pt idx="3415">
                  <c:v>6.0906010344212502E-2</c:v>
                </c:pt>
                <c:pt idx="3416">
                  <c:v>6.0923845193508103E-2</c:v>
                </c:pt>
                <c:pt idx="3417">
                  <c:v>6.0941680042803599E-2</c:v>
                </c:pt>
                <c:pt idx="3418">
                  <c:v>6.0959514892099102E-2</c:v>
                </c:pt>
                <c:pt idx="3419">
                  <c:v>6.0977349741394599E-2</c:v>
                </c:pt>
                <c:pt idx="3420">
                  <c:v>6.0995184590690199E-2</c:v>
                </c:pt>
                <c:pt idx="3421">
                  <c:v>6.1013019439985702E-2</c:v>
                </c:pt>
                <c:pt idx="3422">
                  <c:v>6.1030854289281199E-2</c:v>
                </c:pt>
                <c:pt idx="3423">
                  <c:v>6.1048689138576702E-2</c:v>
                </c:pt>
                <c:pt idx="3424">
                  <c:v>6.1066523987872302E-2</c:v>
                </c:pt>
                <c:pt idx="3425">
                  <c:v>6.1084358837167799E-2</c:v>
                </c:pt>
                <c:pt idx="3426">
                  <c:v>6.1102193686463302E-2</c:v>
                </c:pt>
                <c:pt idx="3427">
                  <c:v>6.1120028535758798E-2</c:v>
                </c:pt>
                <c:pt idx="3428">
                  <c:v>6.1137863385054399E-2</c:v>
                </c:pt>
                <c:pt idx="3429">
                  <c:v>6.1155698234349902E-2</c:v>
                </c:pt>
                <c:pt idx="3430">
                  <c:v>6.1173533083645398E-2</c:v>
                </c:pt>
                <c:pt idx="3431">
                  <c:v>6.1191367932940902E-2</c:v>
                </c:pt>
                <c:pt idx="3432">
                  <c:v>6.1209202782236398E-2</c:v>
                </c:pt>
                <c:pt idx="3433">
                  <c:v>6.1227037631531998E-2</c:v>
                </c:pt>
                <c:pt idx="3434">
                  <c:v>6.1244872480827502E-2</c:v>
                </c:pt>
                <c:pt idx="3435">
                  <c:v>6.1262707330122998E-2</c:v>
                </c:pt>
                <c:pt idx="3436">
                  <c:v>6.1280542179418501E-2</c:v>
                </c:pt>
                <c:pt idx="3437">
                  <c:v>6.1298377028714102E-2</c:v>
                </c:pt>
                <c:pt idx="3438">
                  <c:v>6.1316211878009598E-2</c:v>
                </c:pt>
                <c:pt idx="3439">
                  <c:v>6.1334046727305101E-2</c:v>
                </c:pt>
                <c:pt idx="3440">
                  <c:v>6.1351881576600598E-2</c:v>
                </c:pt>
                <c:pt idx="3441">
                  <c:v>6.1369716425896198E-2</c:v>
                </c:pt>
                <c:pt idx="3442">
                  <c:v>6.1387551275191701E-2</c:v>
                </c:pt>
                <c:pt idx="3443">
                  <c:v>6.1405386124487198E-2</c:v>
                </c:pt>
                <c:pt idx="3444">
                  <c:v>6.1423220973782701E-2</c:v>
                </c:pt>
                <c:pt idx="3445">
                  <c:v>6.1441055823078197E-2</c:v>
                </c:pt>
                <c:pt idx="3446">
                  <c:v>6.1458890672373798E-2</c:v>
                </c:pt>
                <c:pt idx="3447">
                  <c:v>6.1476725521669301E-2</c:v>
                </c:pt>
                <c:pt idx="3448">
                  <c:v>6.1494560370964797E-2</c:v>
                </c:pt>
                <c:pt idx="3449">
                  <c:v>6.1512395220260301E-2</c:v>
                </c:pt>
                <c:pt idx="3450">
                  <c:v>6.1530230069555901E-2</c:v>
                </c:pt>
                <c:pt idx="3451">
                  <c:v>6.1548064918851397E-2</c:v>
                </c:pt>
                <c:pt idx="3452">
                  <c:v>6.1565899768146901E-2</c:v>
                </c:pt>
                <c:pt idx="3453">
                  <c:v>6.1583734617442397E-2</c:v>
                </c:pt>
                <c:pt idx="3454">
                  <c:v>6.1601569466737997E-2</c:v>
                </c:pt>
                <c:pt idx="3455">
                  <c:v>6.1619404316033501E-2</c:v>
                </c:pt>
                <c:pt idx="3456">
                  <c:v>6.1637239165328997E-2</c:v>
                </c:pt>
                <c:pt idx="3457">
                  <c:v>6.16550740146245E-2</c:v>
                </c:pt>
                <c:pt idx="3458">
                  <c:v>6.1672908863920101E-2</c:v>
                </c:pt>
                <c:pt idx="3459">
                  <c:v>6.1690743713215597E-2</c:v>
                </c:pt>
                <c:pt idx="3460">
                  <c:v>6.17085785625111E-2</c:v>
                </c:pt>
                <c:pt idx="3461">
                  <c:v>6.1726413411806597E-2</c:v>
                </c:pt>
                <c:pt idx="3462">
                  <c:v>6.1744248261102197E-2</c:v>
                </c:pt>
                <c:pt idx="3463">
                  <c:v>6.17620831103977E-2</c:v>
                </c:pt>
                <c:pt idx="3464">
                  <c:v>6.1779917959693197E-2</c:v>
                </c:pt>
                <c:pt idx="3465">
                  <c:v>6.17977528089887E-2</c:v>
                </c:pt>
                <c:pt idx="3466">
                  <c:v>6.1815587658284203E-2</c:v>
                </c:pt>
                <c:pt idx="3467">
                  <c:v>6.1833422507579797E-2</c:v>
                </c:pt>
                <c:pt idx="3468">
                  <c:v>6.18512573568753E-2</c:v>
                </c:pt>
                <c:pt idx="3469">
                  <c:v>6.1869092206170803E-2</c:v>
                </c:pt>
                <c:pt idx="3470">
                  <c:v>6.18869270554663E-2</c:v>
                </c:pt>
                <c:pt idx="3471">
                  <c:v>6.19047619047619E-2</c:v>
                </c:pt>
                <c:pt idx="3472">
                  <c:v>6.1922596754057403E-2</c:v>
                </c:pt>
                <c:pt idx="3473">
                  <c:v>6.19404316033529E-2</c:v>
                </c:pt>
                <c:pt idx="3474">
                  <c:v>6.1958266452648403E-2</c:v>
                </c:pt>
                <c:pt idx="3475">
                  <c:v>6.1976101301943899E-2</c:v>
                </c:pt>
                <c:pt idx="3476">
                  <c:v>6.19939361512395E-2</c:v>
                </c:pt>
                <c:pt idx="3477">
                  <c:v>6.2011771000535003E-2</c:v>
                </c:pt>
                <c:pt idx="3478">
                  <c:v>6.2029605849830499E-2</c:v>
                </c:pt>
                <c:pt idx="3479">
                  <c:v>6.2047440699126002E-2</c:v>
                </c:pt>
                <c:pt idx="3480">
                  <c:v>6.2065275548421603E-2</c:v>
                </c:pt>
                <c:pt idx="3481">
                  <c:v>6.2083110397717099E-2</c:v>
                </c:pt>
                <c:pt idx="3482">
                  <c:v>6.2100945247012602E-2</c:v>
                </c:pt>
                <c:pt idx="3483">
                  <c:v>6.2118780096308099E-2</c:v>
                </c:pt>
                <c:pt idx="3484">
                  <c:v>6.2136614945603699E-2</c:v>
                </c:pt>
                <c:pt idx="3485">
                  <c:v>6.2154449794899203E-2</c:v>
                </c:pt>
                <c:pt idx="3486">
                  <c:v>6.2172284644194699E-2</c:v>
                </c:pt>
                <c:pt idx="3487">
                  <c:v>6.2190119493490202E-2</c:v>
                </c:pt>
                <c:pt idx="3488">
                  <c:v>6.2207954342785803E-2</c:v>
                </c:pt>
                <c:pt idx="3489">
                  <c:v>6.2225789192081299E-2</c:v>
                </c:pt>
                <c:pt idx="3490">
                  <c:v>6.2243624041376802E-2</c:v>
                </c:pt>
                <c:pt idx="3491">
                  <c:v>6.2261458890672298E-2</c:v>
                </c:pt>
                <c:pt idx="3492">
                  <c:v>6.2279293739967899E-2</c:v>
                </c:pt>
                <c:pt idx="3493">
                  <c:v>6.2297128589263402E-2</c:v>
                </c:pt>
                <c:pt idx="3494">
                  <c:v>6.2314963438558899E-2</c:v>
                </c:pt>
                <c:pt idx="3495">
                  <c:v>6.2332798287854402E-2</c:v>
                </c:pt>
                <c:pt idx="3496">
                  <c:v>6.2350633137149898E-2</c:v>
                </c:pt>
                <c:pt idx="3497">
                  <c:v>6.2368467986445499E-2</c:v>
                </c:pt>
                <c:pt idx="3498">
                  <c:v>6.2386302835741002E-2</c:v>
                </c:pt>
                <c:pt idx="3499">
                  <c:v>6.2404137685036498E-2</c:v>
                </c:pt>
                <c:pt idx="3500">
                  <c:v>6.2421972534332001E-2</c:v>
                </c:pt>
                <c:pt idx="3501">
                  <c:v>6.2439807383627602E-2</c:v>
                </c:pt>
                <c:pt idx="3502">
                  <c:v>6.2457642232923098E-2</c:v>
                </c:pt>
                <c:pt idx="3503">
                  <c:v>6.2475477082218601E-2</c:v>
                </c:pt>
                <c:pt idx="3504">
                  <c:v>6.2493311931514098E-2</c:v>
                </c:pt>
                <c:pt idx="3505">
                  <c:v>6.2511146780809698E-2</c:v>
                </c:pt>
                <c:pt idx="3506">
                  <c:v>6.2528981630105201E-2</c:v>
                </c:pt>
                <c:pt idx="3507">
                  <c:v>6.2546816479400705E-2</c:v>
                </c:pt>
                <c:pt idx="3508">
                  <c:v>6.2564651328696194E-2</c:v>
                </c:pt>
                <c:pt idx="3509">
                  <c:v>6.2582486177991795E-2</c:v>
                </c:pt>
                <c:pt idx="3510">
                  <c:v>6.2600321027287298E-2</c:v>
                </c:pt>
                <c:pt idx="3511">
                  <c:v>6.2618155876582801E-2</c:v>
                </c:pt>
                <c:pt idx="3512">
                  <c:v>6.2635990725878304E-2</c:v>
                </c:pt>
                <c:pt idx="3513">
                  <c:v>6.2653825575173794E-2</c:v>
                </c:pt>
                <c:pt idx="3514">
                  <c:v>6.2671660424469394E-2</c:v>
                </c:pt>
                <c:pt idx="3515">
                  <c:v>6.2689495273764897E-2</c:v>
                </c:pt>
                <c:pt idx="3516">
                  <c:v>6.2707330123060401E-2</c:v>
                </c:pt>
                <c:pt idx="3517">
                  <c:v>6.2725164972355904E-2</c:v>
                </c:pt>
                <c:pt idx="3518">
                  <c:v>6.2742999821651504E-2</c:v>
                </c:pt>
                <c:pt idx="3519">
                  <c:v>6.2760834670946994E-2</c:v>
                </c:pt>
                <c:pt idx="3520">
                  <c:v>6.2778669520242497E-2</c:v>
                </c:pt>
                <c:pt idx="3521">
                  <c:v>6.2796504369538E-2</c:v>
                </c:pt>
                <c:pt idx="3522">
                  <c:v>6.2814339218833601E-2</c:v>
                </c:pt>
                <c:pt idx="3523">
                  <c:v>6.2832174068129104E-2</c:v>
                </c:pt>
                <c:pt idx="3524">
                  <c:v>6.2850008917424594E-2</c:v>
                </c:pt>
                <c:pt idx="3525">
                  <c:v>6.2867843766720097E-2</c:v>
                </c:pt>
                <c:pt idx="3526">
                  <c:v>6.2885678616015697E-2</c:v>
                </c:pt>
                <c:pt idx="3527">
                  <c:v>6.29035134653112E-2</c:v>
                </c:pt>
                <c:pt idx="3528">
                  <c:v>6.2921348314606704E-2</c:v>
                </c:pt>
                <c:pt idx="3529">
                  <c:v>6.2939183163902193E-2</c:v>
                </c:pt>
                <c:pt idx="3530">
                  <c:v>6.2957018013197794E-2</c:v>
                </c:pt>
                <c:pt idx="3531">
                  <c:v>6.2974852862493297E-2</c:v>
                </c:pt>
                <c:pt idx="3532">
                  <c:v>6.29926877117888E-2</c:v>
                </c:pt>
                <c:pt idx="3533">
                  <c:v>6.3010522561084303E-2</c:v>
                </c:pt>
                <c:pt idx="3534">
                  <c:v>6.3028357410379807E-2</c:v>
                </c:pt>
                <c:pt idx="3535">
                  <c:v>6.3046192259675393E-2</c:v>
                </c:pt>
                <c:pt idx="3536">
                  <c:v>6.3064027108970896E-2</c:v>
                </c:pt>
                <c:pt idx="3537">
                  <c:v>6.30818619582664E-2</c:v>
                </c:pt>
                <c:pt idx="3538">
                  <c:v>6.3099696807561903E-2</c:v>
                </c:pt>
                <c:pt idx="3539">
                  <c:v>6.3117531656857503E-2</c:v>
                </c:pt>
                <c:pt idx="3540">
                  <c:v>6.3135366506153007E-2</c:v>
                </c:pt>
                <c:pt idx="3541">
                  <c:v>6.3153201355448496E-2</c:v>
                </c:pt>
                <c:pt idx="3542">
                  <c:v>6.3171036204743999E-2</c:v>
                </c:pt>
                <c:pt idx="3543">
                  <c:v>6.31888710540396E-2</c:v>
                </c:pt>
                <c:pt idx="3544">
                  <c:v>6.3206705903335103E-2</c:v>
                </c:pt>
                <c:pt idx="3545">
                  <c:v>6.3224540752630606E-2</c:v>
                </c:pt>
                <c:pt idx="3546">
                  <c:v>6.3242375601926096E-2</c:v>
                </c:pt>
                <c:pt idx="3547">
                  <c:v>6.3260210451221599E-2</c:v>
                </c:pt>
                <c:pt idx="3548">
                  <c:v>6.3278045300517199E-2</c:v>
                </c:pt>
                <c:pt idx="3549">
                  <c:v>6.3295880149812703E-2</c:v>
                </c:pt>
                <c:pt idx="3550">
                  <c:v>6.3313714999108206E-2</c:v>
                </c:pt>
                <c:pt idx="3551">
                  <c:v>6.3331549848403695E-2</c:v>
                </c:pt>
                <c:pt idx="3552">
                  <c:v>6.3349384697699296E-2</c:v>
                </c:pt>
                <c:pt idx="3553">
                  <c:v>6.3367219546994799E-2</c:v>
                </c:pt>
                <c:pt idx="3554">
                  <c:v>6.3385054396290302E-2</c:v>
                </c:pt>
                <c:pt idx="3555">
                  <c:v>6.3402889245585806E-2</c:v>
                </c:pt>
                <c:pt idx="3556">
                  <c:v>6.3420724094881295E-2</c:v>
                </c:pt>
                <c:pt idx="3557">
                  <c:v>6.3438558944176895E-2</c:v>
                </c:pt>
                <c:pt idx="3558">
                  <c:v>6.3456393793472399E-2</c:v>
                </c:pt>
                <c:pt idx="3559">
                  <c:v>6.3474228642767902E-2</c:v>
                </c:pt>
                <c:pt idx="3560">
                  <c:v>6.3492063492063405E-2</c:v>
                </c:pt>
                <c:pt idx="3561">
                  <c:v>6.3509898341359006E-2</c:v>
                </c:pt>
                <c:pt idx="3562">
                  <c:v>6.3527733190654495E-2</c:v>
                </c:pt>
                <c:pt idx="3563">
                  <c:v>6.3545568039949998E-2</c:v>
                </c:pt>
                <c:pt idx="3564">
                  <c:v>6.3563402889245502E-2</c:v>
                </c:pt>
                <c:pt idx="3565">
                  <c:v>6.3581237738541102E-2</c:v>
                </c:pt>
                <c:pt idx="3566">
                  <c:v>6.3599072587836605E-2</c:v>
                </c:pt>
                <c:pt idx="3567">
                  <c:v>6.3616907437132095E-2</c:v>
                </c:pt>
                <c:pt idx="3568">
                  <c:v>6.3634742286427598E-2</c:v>
                </c:pt>
                <c:pt idx="3569">
                  <c:v>6.3652577135723198E-2</c:v>
                </c:pt>
                <c:pt idx="3570">
                  <c:v>6.3670411985018702E-2</c:v>
                </c:pt>
                <c:pt idx="3571">
                  <c:v>6.3688246834314205E-2</c:v>
                </c:pt>
                <c:pt idx="3572">
                  <c:v>6.3706081683609694E-2</c:v>
                </c:pt>
                <c:pt idx="3573">
                  <c:v>6.3723916532905295E-2</c:v>
                </c:pt>
                <c:pt idx="3574">
                  <c:v>6.3741751382200798E-2</c:v>
                </c:pt>
                <c:pt idx="3575">
                  <c:v>6.3759586231496301E-2</c:v>
                </c:pt>
                <c:pt idx="3576">
                  <c:v>6.3777421080791805E-2</c:v>
                </c:pt>
                <c:pt idx="3577">
                  <c:v>6.3795255930087294E-2</c:v>
                </c:pt>
                <c:pt idx="3578">
                  <c:v>6.3813090779382894E-2</c:v>
                </c:pt>
                <c:pt idx="3579">
                  <c:v>6.3830925628678398E-2</c:v>
                </c:pt>
                <c:pt idx="3580">
                  <c:v>6.3848760477973901E-2</c:v>
                </c:pt>
                <c:pt idx="3581">
                  <c:v>6.3866595327269404E-2</c:v>
                </c:pt>
                <c:pt idx="3582">
                  <c:v>6.3884430176565005E-2</c:v>
                </c:pt>
                <c:pt idx="3583">
                  <c:v>6.3902265025860494E-2</c:v>
                </c:pt>
                <c:pt idx="3584">
                  <c:v>6.3920099875155997E-2</c:v>
                </c:pt>
                <c:pt idx="3585">
                  <c:v>6.3937934724451501E-2</c:v>
                </c:pt>
                <c:pt idx="3586">
                  <c:v>6.3955769573747101E-2</c:v>
                </c:pt>
                <c:pt idx="3587">
                  <c:v>6.3973604423042604E-2</c:v>
                </c:pt>
                <c:pt idx="3588">
                  <c:v>6.3991439272338094E-2</c:v>
                </c:pt>
                <c:pt idx="3589">
                  <c:v>6.4009274121633597E-2</c:v>
                </c:pt>
                <c:pt idx="3590">
                  <c:v>6.4027108970929197E-2</c:v>
                </c:pt>
                <c:pt idx="3591">
                  <c:v>6.4044943820224701E-2</c:v>
                </c:pt>
                <c:pt idx="3592">
                  <c:v>6.4062778669520204E-2</c:v>
                </c:pt>
                <c:pt idx="3593">
                  <c:v>6.4080613518815693E-2</c:v>
                </c:pt>
                <c:pt idx="3594">
                  <c:v>6.4098448368111294E-2</c:v>
                </c:pt>
                <c:pt idx="3595">
                  <c:v>6.4116283217406797E-2</c:v>
                </c:pt>
                <c:pt idx="3596">
                  <c:v>6.41341180667023E-2</c:v>
                </c:pt>
                <c:pt idx="3597">
                  <c:v>6.4151952915997804E-2</c:v>
                </c:pt>
                <c:pt idx="3598">
                  <c:v>6.4169787765293307E-2</c:v>
                </c:pt>
                <c:pt idx="3599">
                  <c:v>6.4187622614588893E-2</c:v>
                </c:pt>
                <c:pt idx="3600">
                  <c:v>6.4205457463884397E-2</c:v>
                </c:pt>
                <c:pt idx="3601">
                  <c:v>6.42232923131799E-2</c:v>
                </c:pt>
                <c:pt idx="3602">
                  <c:v>6.4241127162475403E-2</c:v>
                </c:pt>
                <c:pt idx="3603">
                  <c:v>6.4258962011771004E-2</c:v>
                </c:pt>
                <c:pt idx="3604">
                  <c:v>6.4276796861066507E-2</c:v>
                </c:pt>
                <c:pt idx="3605">
                  <c:v>6.4294631710361996E-2</c:v>
                </c:pt>
                <c:pt idx="3606">
                  <c:v>6.43124665596575E-2</c:v>
                </c:pt>
                <c:pt idx="3607">
                  <c:v>6.43303014089531E-2</c:v>
                </c:pt>
                <c:pt idx="3608">
                  <c:v>6.4348136258248603E-2</c:v>
                </c:pt>
                <c:pt idx="3609">
                  <c:v>6.4365971107544107E-2</c:v>
                </c:pt>
                <c:pt idx="3610">
                  <c:v>6.4383805956839596E-2</c:v>
                </c:pt>
                <c:pt idx="3611">
                  <c:v>6.4401640806135099E-2</c:v>
                </c:pt>
                <c:pt idx="3612">
                  <c:v>6.44194756554307E-2</c:v>
                </c:pt>
                <c:pt idx="3613">
                  <c:v>6.4437310504726203E-2</c:v>
                </c:pt>
                <c:pt idx="3614">
                  <c:v>6.4455145354021706E-2</c:v>
                </c:pt>
                <c:pt idx="3615">
                  <c:v>6.4472980203317196E-2</c:v>
                </c:pt>
                <c:pt idx="3616">
                  <c:v>6.4490815052612796E-2</c:v>
                </c:pt>
                <c:pt idx="3617">
                  <c:v>6.4508649901908299E-2</c:v>
                </c:pt>
                <c:pt idx="3618">
                  <c:v>6.4526484751203803E-2</c:v>
                </c:pt>
                <c:pt idx="3619">
                  <c:v>6.4544319600499306E-2</c:v>
                </c:pt>
                <c:pt idx="3620">
                  <c:v>6.4562154449794795E-2</c:v>
                </c:pt>
                <c:pt idx="3621">
                  <c:v>6.4579989299090396E-2</c:v>
                </c:pt>
                <c:pt idx="3622">
                  <c:v>6.4597824148385899E-2</c:v>
                </c:pt>
                <c:pt idx="3623">
                  <c:v>6.4615658997681402E-2</c:v>
                </c:pt>
                <c:pt idx="3624">
                  <c:v>6.4633493846976905E-2</c:v>
                </c:pt>
                <c:pt idx="3625">
                  <c:v>6.4651328696272506E-2</c:v>
                </c:pt>
                <c:pt idx="3626">
                  <c:v>6.4669163545567995E-2</c:v>
                </c:pt>
                <c:pt idx="3627">
                  <c:v>6.4686998394863499E-2</c:v>
                </c:pt>
                <c:pt idx="3628">
                  <c:v>6.4704833244159002E-2</c:v>
                </c:pt>
                <c:pt idx="3629">
                  <c:v>6.4722668093454602E-2</c:v>
                </c:pt>
                <c:pt idx="3630">
                  <c:v>6.4740502942750106E-2</c:v>
                </c:pt>
                <c:pt idx="3631">
                  <c:v>6.4758337792045595E-2</c:v>
                </c:pt>
                <c:pt idx="3632">
                  <c:v>6.4776172641341098E-2</c:v>
                </c:pt>
                <c:pt idx="3633">
                  <c:v>6.4794007490636699E-2</c:v>
                </c:pt>
                <c:pt idx="3634">
                  <c:v>6.4811842339932202E-2</c:v>
                </c:pt>
                <c:pt idx="3635">
                  <c:v>6.4829677189227705E-2</c:v>
                </c:pt>
                <c:pt idx="3636">
                  <c:v>6.4847512038523195E-2</c:v>
                </c:pt>
                <c:pt idx="3637">
                  <c:v>6.4865346887818795E-2</c:v>
                </c:pt>
                <c:pt idx="3638">
                  <c:v>6.4883181737114298E-2</c:v>
                </c:pt>
                <c:pt idx="3639">
                  <c:v>6.4901016586409802E-2</c:v>
                </c:pt>
                <c:pt idx="3640">
                  <c:v>6.4918851435705305E-2</c:v>
                </c:pt>
                <c:pt idx="3641">
                  <c:v>6.4936686285000794E-2</c:v>
                </c:pt>
                <c:pt idx="3642">
                  <c:v>6.4954521134296395E-2</c:v>
                </c:pt>
                <c:pt idx="3643">
                  <c:v>6.4972355983591898E-2</c:v>
                </c:pt>
                <c:pt idx="3644">
                  <c:v>6.4990190832887401E-2</c:v>
                </c:pt>
                <c:pt idx="3645">
                  <c:v>6.5008025682182904E-2</c:v>
                </c:pt>
                <c:pt idx="3646">
                  <c:v>6.5025860531478505E-2</c:v>
                </c:pt>
                <c:pt idx="3647">
                  <c:v>6.5043695380773994E-2</c:v>
                </c:pt>
                <c:pt idx="3648">
                  <c:v>6.5061530230069498E-2</c:v>
                </c:pt>
                <c:pt idx="3649">
                  <c:v>6.5079365079365001E-2</c:v>
                </c:pt>
                <c:pt idx="3650">
                  <c:v>6.5097199928660601E-2</c:v>
                </c:pt>
                <c:pt idx="3651">
                  <c:v>6.5115034777956105E-2</c:v>
                </c:pt>
                <c:pt idx="3652">
                  <c:v>6.5132869627251594E-2</c:v>
                </c:pt>
                <c:pt idx="3653">
                  <c:v>6.5150704476547097E-2</c:v>
                </c:pt>
                <c:pt idx="3654">
                  <c:v>6.5168539325842698E-2</c:v>
                </c:pt>
                <c:pt idx="3655">
                  <c:v>6.5186374175138201E-2</c:v>
                </c:pt>
                <c:pt idx="3656">
                  <c:v>6.5204209024433704E-2</c:v>
                </c:pt>
                <c:pt idx="3657">
                  <c:v>6.5222043873729194E-2</c:v>
                </c:pt>
                <c:pt idx="3658">
                  <c:v>6.5239878723024794E-2</c:v>
                </c:pt>
                <c:pt idx="3659">
                  <c:v>6.5257713572320297E-2</c:v>
                </c:pt>
                <c:pt idx="3660">
                  <c:v>6.5275548421615801E-2</c:v>
                </c:pt>
                <c:pt idx="3661">
                  <c:v>6.5293383270911304E-2</c:v>
                </c:pt>
                <c:pt idx="3662">
                  <c:v>6.5311218120206793E-2</c:v>
                </c:pt>
                <c:pt idx="3663">
                  <c:v>6.5329052969502394E-2</c:v>
                </c:pt>
                <c:pt idx="3664">
                  <c:v>6.5346887818797897E-2</c:v>
                </c:pt>
                <c:pt idx="3665">
                  <c:v>6.53647226680934E-2</c:v>
                </c:pt>
                <c:pt idx="3666">
                  <c:v>6.5382557517388903E-2</c:v>
                </c:pt>
                <c:pt idx="3667">
                  <c:v>6.5400392366684504E-2</c:v>
                </c:pt>
                <c:pt idx="3668">
                  <c:v>6.5418227215979993E-2</c:v>
                </c:pt>
                <c:pt idx="3669">
                  <c:v>6.5436062065275497E-2</c:v>
                </c:pt>
                <c:pt idx="3670">
                  <c:v>6.5453896914571E-2</c:v>
                </c:pt>
                <c:pt idx="3671">
                  <c:v>6.54717317638666E-2</c:v>
                </c:pt>
                <c:pt idx="3672">
                  <c:v>6.5489566613162103E-2</c:v>
                </c:pt>
                <c:pt idx="3673">
                  <c:v>6.5507401462457607E-2</c:v>
                </c:pt>
                <c:pt idx="3674">
                  <c:v>6.5525236311753096E-2</c:v>
                </c:pt>
                <c:pt idx="3675">
                  <c:v>6.5543071161048599E-2</c:v>
                </c:pt>
                <c:pt idx="3676">
                  <c:v>6.55609060103442E-2</c:v>
                </c:pt>
                <c:pt idx="3677">
                  <c:v>6.5578740859639703E-2</c:v>
                </c:pt>
                <c:pt idx="3678">
                  <c:v>6.5596575708935206E-2</c:v>
                </c:pt>
                <c:pt idx="3679">
                  <c:v>6.5614410558230696E-2</c:v>
                </c:pt>
                <c:pt idx="3680">
                  <c:v>6.5632245407526296E-2</c:v>
                </c:pt>
                <c:pt idx="3681">
                  <c:v>6.5650080256821799E-2</c:v>
                </c:pt>
                <c:pt idx="3682">
                  <c:v>6.5667915106117303E-2</c:v>
                </c:pt>
                <c:pt idx="3683">
                  <c:v>6.5685749955412806E-2</c:v>
                </c:pt>
                <c:pt idx="3684">
                  <c:v>6.5703584804708406E-2</c:v>
                </c:pt>
                <c:pt idx="3685">
                  <c:v>6.5721419654003896E-2</c:v>
                </c:pt>
                <c:pt idx="3686">
                  <c:v>6.5739254503299399E-2</c:v>
                </c:pt>
                <c:pt idx="3687">
                  <c:v>6.5757089352594902E-2</c:v>
                </c:pt>
                <c:pt idx="3688">
                  <c:v>6.5774924201890406E-2</c:v>
                </c:pt>
                <c:pt idx="3689">
                  <c:v>6.5792759051186006E-2</c:v>
                </c:pt>
                <c:pt idx="3690">
                  <c:v>6.5810593900481495E-2</c:v>
                </c:pt>
                <c:pt idx="3691">
                  <c:v>6.5828428749776999E-2</c:v>
                </c:pt>
                <c:pt idx="3692">
                  <c:v>6.5846263599072502E-2</c:v>
                </c:pt>
                <c:pt idx="3693">
                  <c:v>6.5864098448368102E-2</c:v>
                </c:pt>
                <c:pt idx="3694">
                  <c:v>6.5881933297663606E-2</c:v>
                </c:pt>
                <c:pt idx="3695">
                  <c:v>6.5899768146959095E-2</c:v>
                </c:pt>
                <c:pt idx="3696">
                  <c:v>6.5917602996254598E-2</c:v>
                </c:pt>
                <c:pt idx="3697">
                  <c:v>6.5935437845550199E-2</c:v>
                </c:pt>
                <c:pt idx="3698">
                  <c:v>6.5953272694845702E-2</c:v>
                </c:pt>
                <c:pt idx="3699">
                  <c:v>6.5971107544141205E-2</c:v>
                </c:pt>
                <c:pt idx="3700">
                  <c:v>6.5988942393436695E-2</c:v>
                </c:pt>
                <c:pt idx="3701">
                  <c:v>6.6006777242732295E-2</c:v>
                </c:pt>
                <c:pt idx="3702">
                  <c:v>6.6024612092027798E-2</c:v>
                </c:pt>
                <c:pt idx="3703">
                  <c:v>6.6042446941323302E-2</c:v>
                </c:pt>
                <c:pt idx="3704">
                  <c:v>6.6060281790618805E-2</c:v>
                </c:pt>
                <c:pt idx="3705">
                  <c:v>6.6078116639914294E-2</c:v>
                </c:pt>
                <c:pt idx="3706">
                  <c:v>6.6095951489209895E-2</c:v>
                </c:pt>
                <c:pt idx="3707">
                  <c:v>6.6113786338505398E-2</c:v>
                </c:pt>
                <c:pt idx="3708">
                  <c:v>6.6131621187800901E-2</c:v>
                </c:pt>
                <c:pt idx="3709">
                  <c:v>6.6149456037096405E-2</c:v>
                </c:pt>
                <c:pt idx="3710">
                  <c:v>6.6167290886392005E-2</c:v>
                </c:pt>
                <c:pt idx="3711">
                  <c:v>6.6185125735687494E-2</c:v>
                </c:pt>
                <c:pt idx="3712">
                  <c:v>6.6202960584982998E-2</c:v>
                </c:pt>
                <c:pt idx="3713">
                  <c:v>6.6220795434278501E-2</c:v>
                </c:pt>
                <c:pt idx="3714">
                  <c:v>6.6238630283574101E-2</c:v>
                </c:pt>
                <c:pt idx="3715">
                  <c:v>6.6256465132869605E-2</c:v>
                </c:pt>
                <c:pt idx="3716">
                  <c:v>6.6274299982165094E-2</c:v>
                </c:pt>
                <c:pt idx="3717">
                  <c:v>6.6292134831460597E-2</c:v>
                </c:pt>
                <c:pt idx="3718">
                  <c:v>6.6309969680756198E-2</c:v>
                </c:pt>
                <c:pt idx="3719">
                  <c:v>6.6327804530051701E-2</c:v>
                </c:pt>
                <c:pt idx="3720">
                  <c:v>6.6345639379347204E-2</c:v>
                </c:pt>
                <c:pt idx="3721">
                  <c:v>6.6363474228642694E-2</c:v>
                </c:pt>
                <c:pt idx="3722">
                  <c:v>6.6381309077938294E-2</c:v>
                </c:pt>
                <c:pt idx="3723">
                  <c:v>6.6399143927233797E-2</c:v>
                </c:pt>
                <c:pt idx="3724">
                  <c:v>6.6416978776529301E-2</c:v>
                </c:pt>
                <c:pt idx="3725">
                  <c:v>6.6434813625824804E-2</c:v>
                </c:pt>
                <c:pt idx="3726">
                  <c:v>6.6452648475120293E-2</c:v>
                </c:pt>
                <c:pt idx="3727">
                  <c:v>6.6470483324415894E-2</c:v>
                </c:pt>
                <c:pt idx="3728">
                  <c:v>6.6488318173711397E-2</c:v>
                </c:pt>
                <c:pt idx="3729">
                  <c:v>6.65061530230069E-2</c:v>
                </c:pt>
                <c:pt idx="3730">
                  <c:v>6.6523987872302404E-2</c:v>
                </c:pt>
                <c:pt idx="3731">
                  <c:v>6.6541822721598004E-2</c:v>
                </c:pt>
                <c:pt idx="3732">
                  <c:v>6.6559657570893493E-2</c:v>
                </c:pt>
                <c:pt idx="3733">
                  <c:v>6.6577492420188997E-2</c:v>
                </c:pt>
                <c:pt idx="3734">
                  <c:v>6.65953272694845E-2</c:v>
                </c:pt>
                <c:pt idx="3735">
                  <c:v>6.66131621187801E-2</c:v>
                </c:pt>
                <c:pt idx="3736">
                  <c:v>6.6630996968075604E-2</c:v>
                </c:pt>
                <c:pt idx="3737">
                  <c:v>6.6648831817371093E-2</c:v>
                </c:pt>
                <c:pt idx="3738">
                  <c:v>6.6666666666666596E-2</c:v>
                </c:pt>
                <c:pt idx="3739">
                  <c:v>6.6684501515962197E-2</c:v>
                </c:pt>
                <c:pt idx="3740">
                  <c:v>6.67023363652577E-2</c:v>
                </c:pt>
                <c:pt idx="3741">
                  <c:v>6.6720171214553203E-2</c:v>
                </c:pt>
                <c:pt idx="3742">
                  <c:v>6.6738006063848707E-2</c:v>
                </c:pt>
                <c:pt idx="3743">
                  <c:v>6.6755840913144196E-2</c:v>
                </c:pt>
                <c:pt idx="3744">
                  <c:v>6.6773675762439796E-2</c:v>
                </c:pt>
                <c:pt idx="3745">
                  <c:v>6.67915106117353E-2</c:v>
                </c:pt>
                <c:pt idx="3746">
                  <c:v>6.6809345461030803E-2</c:v>
                </c:pt>
                <c:pt idx="3747">
                  <c:v>6.6827180310326306E-2</c:v>
                </c:pt>
                <c:pt idx="3748">
                  <c:v>6.6845015159621907E-2</c:v>
                </c:pt>
                <c:pt idx="3749">
                  <c:v>6.6862850008917396E-2</c:v>
                </c:pt>
                <c:pt idx="3750">
                  <c:v>6.6880684858212899E-2</c:v>
                </c:pt>
                <c:pt idx="3751">
                  <c:v>6.6898519707508403E-2</c:v>
                </c:pt>
                <c:pt idx="3752">
                  <c:v>6.6916354556803906E-2</c:v>
                </c:pt>
                <c:pt idx="3753">
                  <c:v>6.6934189406099506E-2</c:v>
                </c:pt>
                <c:pt idx="3754">
                  <c:v>6.6952024255394996E-2</c:v>
                </c:pt>
                <c:pt idx="3755">
                  <c:v>6.6969859104690499E-2</c:v>
                </c:pt>
                <c:pt idx="3756">
                  <c:v>6.6987693953986002E-2</c:v>
                </c:pt>
                <c:pt idx="3757">
                  <c:v>6.7005528803281603E-2</c:v>
                </c:pt>
                <c:pt idx="3758">
                  <c:v>6.7023363652577106E-2</c:v>
                </c:pt>
                <c:pt idx="3759">
                  <c:v>6.7041198501872595E-2</c:v>
                </c:pt>
                <c:pt idx="3760">
                  <c:v>6.7059033351168099E-2</c:v>
                </c:pt>
                <c:pt idx="3761">
                  <c:v>6.7076868200463699E-2</c:v>
                </c:pt>
                <c:pt idx="3762">
                  <c:v>6.7094703049759202E-2</c:v>
                </c:pt>
                <c:pt idx="3763">
                  <c:v>6.7112537899054706E-2</c:v>
                </c:pt>
                <c:pt idx="3764">
                  <c:v>6.7130372748350195E-2</c:v>
                </c:pt>
                <c:pt idx="3765">
                  <c:v>6.7148207597645795E-2</c:v>
                </c:pt>
                <c:pt idx="3766">
                  <c:v>6.7166042446941299E-2</c:v>
                </c:pt>
                <c:pt idx="3767">
                  <c:v>6.7183877296236802E-2</c:v>
                </c:pt>
                <c:pt idx="3768">
                  <c:v>6.7201712145532305E-2</c:v>
                </c:pt>
                <c:pt idx="3769">
                  <c:v>6.7219546994827795E-2</c:v>
                </c:pt>
                <c:pt idx="3770">
                  <c:v>6.7237381844123395E-2</c:v>
                </c:pt>
                <c:pt idx="3771">
                  <c:v>6.7255216693418898E-2</c:v>
                </c:pt>
                <c:pt idx="3772">
                  <c:v>6.7273051542714402E-2</c:v>
                </c:pt>
                <c:pt idx="3773">
                  <c:v>6.7290886392009905E-2</c:v>
                </c:pt>
                <c:pt idx="3774">
                  <c:v>6.7308721241305505E-2</c:v>
                </c:pt>
                <c:pt idx="3775">
                  <c:v>6.7326556090600995E-2</c:v>
                </c:pt>
                <c:pt idx="3776">
                  <c:v>6.7344390939896498E-2</c:v>
                </c:pt>
                <c:pt idx="3777">
                  <c:v>6.7362225789192001E-2</c:v>
                </c:pt>
                <c:pt idx="3778">
                  <c:v>6.7380060638487602E-2</c:v>
                </c:pt>
                <c:pt idx="3779">
                  <c:v>6.7397895487783105E-2</c:v>
                </c:pt>
                <c:pt idx="3780">
                  <c:v>6.7415730337078594E-2</c:v>
                </c:pt>
                <c:pt idx="3781">
                  <c:v>6.7433565186374098E-2</c:v>
                </c:pt>
                <c:pt idx="3782">
                  <c:v>6.7451400035669698E-2</c:v>
                </c:pt>
                <c:pt idx="3783">
                  <c:v>6.7469234884965201E-2</c:v>
                </c:pt>
                <c:pt idx="3784">
                  <c:v>6.7487069734260705E-2</c:v>
                </c:pt>
                <c:pt idx="3785">
                  <c:v>6.7504904583556194E-2</c:v>
                </c:pt>
                <c:pt idx="3786">
                  <c:v>6.7522739432851794E-2</c:v>
                </c:pt>
                <c:pt idx="3787">
                  <c:v>6.7540574282147298E-2</c:v>
                </c:pt>
                <c:pt idx="3788">
                  <c:v>6.7558409131442801E-2</c:v>
                </c:pt>
                <c:pt idx="3789">
                  <c:v>6.7576243980738304E-2</c:v>
                </c:pt>
                <c:pt idx="3790">
                  <c:v>6.7594078830033794E-2</c:v>
                </c:pt>
                <c:pt idx="3791">
                  <c:v>6.7611913679329394E-2</c:v>
                </c:pt>
                <c:pt idx="3792">
                  <c:v>6.7629748528624897E-2</c:v>
                </c:pt>
                <c:pt idx="3793">
                  <c:v>6.7647583377920401E-2</c:v>
                </c:pt>
                <c:pt idx="3794">
                  <c:v>6.7665418227215904E-2</c:v>
                </c:pt>
                <c:pt idx="3795">
                  <c:v>6.7683253076511504E-2</c:v>
                </c:pt>
                <c:pt idx="3796">
                  <c:v>6.7701087925806994E-2</c:v>
                </c:pt>
                <c:pt idx="3797">
                  <c:v>6.7718922775102497E-2</c:v>
                </c:pt>
                <c:pt idx="3798">
                  <c:v>6.7736757624398E-2</c:v>
                </c:pt>
                <c:pt idx="3799">
                  <c:v>6.7754592473693601E-2</c:v>
                </c:pt>
                <c:pt idx="3800">
                  <c:v>6.7772427322989104E-2</c:v>
                </c:pt>
                <c:pt idx="3801">
                  <c:v>6.7790262172284593E-2</c:v>
                </c:pt>
                <c:pt idx="3802">
                  <c:v>6.7808097021580097E-2</c:v>
                </c:pt>
                <c:pt idx="3803">
                  <c:v>6.7825931870875697E-2</c:v>
                </c:pt>
                <c:pt idx="3804">
                  <c:v>6.78437667201712E-2</c:v>
                </c:pt>
                <c:pt idx="3805">
                  <c:v>6.7861601569466704E-2</c:v>
                </c:pt>
                <c:pt idx="3806">
                  <c:v>6.7879436418762207E-2</c:v>
                </c:pt>
                <c:pt idx="3807">
                  <c:v>6.7897271268057696E-2</c:v>
                </c:pt>
                <c:pt idx="3808">
                  <c:v>6.7915106117353297E-2</c:v>
                </c:pt>
                <c:pt idx="3809">
                  <c:v>6.79329409666488E-2</c:v>
                </c:pt>
                <c:pt idx="3810">
                  <c:v>6.7950775815944303E-2</c:v>
                </c:pt>
                <c:pt idx="3811">
                  <c:v>6.7968610665239806E-2</c:v>
                </c:pt>
                <c:pt idx="3812">
                  <c:v>6.7986445514535407E-2</c:v>
                </c:pt>
                <c:pt idx="3813">
                  <c:v>6.8004280363830896E-2</c:v>
                </c:pt>
                <c:pt idx="3814">
                  <c:v>6.80221152131264E-2</c:v>
                </c:pt>
                <c:pt idx="3815">
                  <c:v>6.8039950062421903E-2</c:v>
                </c:pt>
                <c:pt idx="3816">
                  <c:v>6.8057784911717406E-2</c:v>
                </c:pt>
                <c:pt idx="3817">
                  <c:v>6.8075619761013006E-2</c:v>
                </c:pt>
                <c:pt idx="3818">
                  <c:v>6.8093454610308496E-2</c:v>
                </c:pt>
                <c:pt idx="3819">
                  <c:v>6.8111289459603999E-2</c:v>
                </c:pt>
                <c:pt idx="3820">
                  <c:v>6.8129124308899502E-2</c:v>
                </c:pt>
                <c:pt idx="3821">
                  <c:v>6.8146959158195103E-2</c:v>
                </c:pt>
                <c:pt idx="3822">
                  <c:v>6.8164794007490606E-2</c:v>
                </c:pt>
                <c:pt idx="3823">
                  <c:v>6.8182628856786096E-2</c:v>
                </c:pt>
                <c:pt idx="3824">
                  <c:v>6.8200463706081599E-2</c:v>
                </c:pt>
                <c:pt idx="3825">
                  <c:v>6.8218298555377199E-2</c:v>
                </c:pt>
                <c:pt idx="3826">
                  <c:v>6.8236133404672702E-2</c:v>
                </c:pt>
                <c:pt idx="3827">
                  <c:v>6.8253968253968206E-2</c:v>
                </c:pt>
                <c:pt idx="3828">
                  <c:v>6.8271803103263695E-2</c:v>
                </c:pt>
                <c:pt idx="3829">
                  <c:v>6.8289637952559296E-2</c:v>
                </c:pt>
                <c:pt idx="3830">
                  <c:v>6.8307472801854799E-2</c:v>
                </c:pt>
                <c:pt idx="3831">
                  <c:v>6.8325307651150302E-2</c:v>
                </c:pt>
                <c:pt idx="3832">
                  <c:v>6.8343142500445805E-2</c:v>
                </c:pt>
                <c:pt idx="3833">
                  <c:v>6.8360977349741295E-2</c:v>
                </c:pt>
                <c:pt idx="3834">
                  <c:v>6.8378812199036895E-2</c:v>
                </c:pt>
                <c:pt idx="3835">
                  <c:v>6.8396647048332398E-2</c:v>
                </c:pt>
                <c:pt idx="3836">
                  <c:v>6.8414481897627902E-2</c:v>
                </c:pt>
                <c:pt idx="3837">
                  <c:v>6.8432316746923405E-2</c:v>
                </c:pt>
                <c:pt idx="3838">
                  <c:v>6.8450151596219005E-2</c:v>
                </c:pt>
                <c:pt idx="3839">
                  <c:v>6.8467986445514495E-2</c:v>
                </c:pt>
                <c:pt idx="3840">
                  <c:v>6.8485821294809998E-2</c:v>
                </c:pt>
                <c:pt idx="3841">
                  <c:v>6.8503656144105501E-2</c:v>
                </c:pt>
                <c:pt idx="3842">
                  <c:v>6.8521490993401102E-2</c:v>
                </c:pt>
                <c:pt idx="3843">
                  <c:v>6.8539325842696605E-2</c:v>
                </c:pt>
                <c:pt idx="3844">
                  <c:v>6.8557160691992095E-2</c:v>
                </c:pt>
                <c:pt idx="3845">
                  <c:v>6.8574995541287598E-2</c:v>
                </c:pt>
                <c:pt idx="3846">
                  <c:v>6.8592830390583198E-2</c:v>
                </c:pt>
                <c:pt idx="3847">
                  <c:v>6.8610665239878701E-2</c:v>
                </c:pt>
                <c:pt idx="3848">
                  <c:v>6.8628500089174205E-2</c:v>
                </c:pt>
                <c:pt idx="3849">
                  <c:v>6.8646334938469694E-2</c:v>
                </c:pt>
                <c:pt idx="3850">
                  <c:v>6.8664169787765295E-2</c:v>
                </c:pt>
                <c:pt idx="3851">
                  <c:v>6.8682004637060798E-2</c:v>
                </c:pt>
                <c:pt idx="3852">
                  <c:v>6.8699839486356301E-2</c:v>
                </c:pt>
                <c:pt idx="3853">
                  <c:v>6.8717674335651804E-2</c:v>
                </c:pt>
                <c:pt idx="3854">
                  <c:v>6.8735509184947294E-2</c:v>
                </c:pt>
                <c:pt idx="3855">
                  <c:v>6.8753344034242894E-2</c:v>
                </c:pt>
                <c:pt idx="3856">
                  <c:v>6.8771178883538397E-2</c:v>
                </c:pt>
                <c:pt idx="3857">
                  <c:v>6.8789013732833901E-2</c:v>
                </c:pt>
                <c:pt idx="3858">
                  <c:v>6.8806848582129404E-2</c:v>
                </c:pt>
                <c:pt idx="3859">
                  <c:v>6.8824683431425004E-2</c:v>
                </c:pt>
                <c:pt idx="3860">
                  <c:v>6.8842518280720494E-2</c:v>
                </c:pt>
                <c:pt idx="3861">
                  <c:v>6.8860353130015997E-2</c:v>
                </c:pt>
                <c:pt idx="3862">
                  <c:v>6.88781879793115E-2</c:v>
                </c:pt>
                <c:pt idx="3863">
                  <c:v>6.8896022828607101E-2</c:v>
                </c:pt>
                <c:pt idx="3864">
                  <c:v>6.8913857677902604E-2</c:v>
                </c:pt>
                <c:pt idx="3865">
                  <c:v>6.8931692527198093E-2</c:v>
                </c:pt>
                <c:pt idx="3866">
                  <c:v>6.8949527376493597E-2</c:v>
                </c:pt>
                <c:pt idx="3867">
                  <c:v>6.8967362225789197E-2</c:v>
                </c:pt>
                <c:pt idx="3868">
                  <c:v>6.89851970750847E-2</c:v>
                </c:pt>
                <c:pt idx="3869">
                  <c:v>6.9003031924380204E-2</c:v>
                </c:pt>
                <c:pt idx="3870">
                  <c:v>6.9020866773675693E-2</c:v>
                </c:pt>
                <c:pt idx="3871">
                  <c:v>6.9038701622971196E-2</c:v>
                </c:pt>
                <c:pt idx="3872">
                  <c:v>6.9056536472266797E-2</c:v>
                </c:pt>
                <c:pt idx="3873">
                  <c:v>6.90743713215623E-2</c:v>
                </c:pt>
                <c:pt idx="3874">
                  <c:v>6.9092206170857803E-2</c:v>
                </c:pt>
                <c:pt idx="3875">
                  <c:v>6.9110041020153307E-2</c:v>
                </c:pt>
                <c:pt idx="3876">
                  <c:v>6.9127875869448893E-2</c:v>
                </c:pt>
                <c:pt idx="3877">
                  <c:v>6.9145710718744396E-2</c:v>
                </c:pt>
                <c:pt idx="3878">
                  <c:v>6.91635455680399E-2</c:v>
                </c:pt>
                <c:pt idx="3879">
                  <c:v>6.9181380417335403E-2</c:v>
                </c:pt>
                <c:pt idx="3880">
                  <c:v>6.9199215266631003E-2</c:v>
                </c:pt>
                <c:pt idx="3881">
                  <c:v>6.9217050115926507E-2</c:v>
                </c:pt>
                <c:pt idx="3882">
                  <c:v>6.9234884965221996E-2</c:v>
                </c:pt>
                <c:pt idx="3883">
                  <c:v>6.9252719814517499E-2</c:v>
                </c:pt>
                <c:pt idx="3884">
                  <c:v>6.9270554663813003E-2</c:v>
                </c:pt>
                <c:pt idx="3885">
                  <c:v>6.9288389513108603E-2</c:v>
                </c:pt>
                <c:pt idx="3886">
                  <c:v>6.9306224362404106E-2</c:v>
                </c:pt>
                <c:pt idx="3887">
                  <c:v>6.9324059211699596E-2</c:v>
                </c:pt>
                <c:pt idx="3888">
                  <c:v>6.9341894060995099E-2</c:v>
                </c:pt>
                <c:pt idx="3889">
                  <c:v>6.9359728910290699E-2</c:v>
                </c:pt>
                <c:pt idx="3890">
                  <c:v>6.9377563759586203E-2</c:v>
                </c:pt>
                <c:pt idx="3891">
                  <c:v>6.9395398608881706E-2</c:v>
                </c:pt>
                <c:pt idx="3892">
                  <c:v>6.9413233458177195E-2</c:v>
                </c:pt>
                <c:pt idx="3893">
                  <c:v>6.9431068307472796E-2</c:v>
                </c:pt>
                <c:pt idx="3894">
                  <c:v>6.9448903156768299E-2</c:v>
                </c:pt>
                <c:pt idx="3895">
                  <c:v>6.9466738006063802E-2</c:v>
                </c:pt>
                <c:pt idx="3896">
                  <c:v>6.9484572855359306E-2</c:v>
                </c:pt>
                <c:pt idx="3897">
                  <c:v>6.9502407704654795E-2</c:v>
                </c:pt>
                <c:pt idx="3898">
                  <c:v>6.9520242553950395E-2</c:v>
                </c:pt>
                <c:pt idx="3899">
                  <c:v>6.9538077403245899E-2</c:v>
                </c:pt>
                <c:pt idx="3900">
                  <c:v>6.9555912252541402E-2</c:v>
                </c:pt>
                <c:pt idx="3901">
                  <c:v>6.9573747101836905E-2</c:v>
                </c:pt>
                <c:pt idx="3902">
                  <c:v>6.9591581951132506E-2</c:v>
                </c:pt>
                <c:pt idx="3903">
                  <c:v>6.9609416800427995E-2</c:v>
                </c:pt>
                <c:pt idx="3904">
                  <c:v>6.9627251649723498E-2</c:v>
                </c:pt>
                <c:pt idx="3905">
                  <c:v>6.9645086499019002E-2</c:v>
                </c:pt>
                <c:pt idx="3906">
                  <c:v>6.9662921348314602E-2</c:v>
                </c:pt>
                <c:pt idx="3907">
                  <c:v>6.9680756197610105E-2</c:v>
                </c:pt>
                <c:pt idx="3908">
                  <c:v>6.9698591046905595E-2</c:v>
                </c:pt>
                <c:pt idx="3909">
                  <c:v>6.9716425896201098E-2</c:v>
                </c:pt>
                <c:pt idx="3910">
                  <c:v>6.9734260745496698E-2</c:v>
                </c:pt>
                <c:pt idx="3911">
                  <c:v>6.9752095594792202E-2</c:v>
                </c:pt>
                <c:pt idx="3912">
                  <c:v>6.9769930444087705E-2</c:v>
                </c:pt>
                <c:pt idx="3913">
                  <c:v>6.9787765293383194E-2</c:v>
                </c:pt>
                <c:pt idx="3914">
                  <c:v>6.9805600142678795E-2</c:v>
                </c:pt>
                <c:pt idx="3915">
                  <c:v>6.9823434991974298E-2</c:v>
                </c:pt>
                <c:pt idx="3916">
                  <c:v>6.9841269841269801E-2</c:v>
                </c:pt>
                <c:pt idx="3917">
                  <c:v>6.9859104690565305E-2</c:v>
                </c:pt>
                <c:pt idx="3918">
                  <c:v>6.9876939539860794E-2</c:v>
                </c:pt>
                <c:pt idx="3919">
                  <c:v>6.9894774389156394E-2</c:v>
                </c:pt>
                <c:pt idx="3920">
                  <c:v>6.9912609238451898E-2</c:v>
                </c:pt>
                <c:pt idx="3921">
                  <c:v>6.9930444087747401E-2</c:v>
                </c:pt>
                <c:pt idx="3922">
                  <c:v>6.9948278937042904E-2</c:v>
                </c:pt>
                <c:pt idx="3923">
                  <c:v>6.9966113786338505E-2</c:v>
                </c:pt>
                <c:pt idx="3924">
                  <c:v>6.9983948635633994E-2</c:v>
                </c:pt>
                <c:pt idx="3925">
                  <c:v>7.0001783484929497E-2</c:v>
                </c:pt>
                <c:pt idx="3926">
                  <c:v>7.0019618334225001E-2</c:v>
                </c:pt>
                <c:pt idx="3927">
                  <c:v>7.0037453183520601E-2</c:v>
                </c:pt>
                <c:pt idx="3928">
                  <c:v>7.0055288032816104E-2</c:v>
                </c:pt>
                <c:pt idx="3929">
                  <c:v>7.0073122882111594E-2</c:v>
                </c:pt>
                <c:pt idx="3930">
                  <c:v>7.0090957731407097E-2</c:v>
                </c:pt>
                <c:pt idx="3931">
                  <c:v>7.0108792580702697E-2</c:v>
                </c:pt>
                <c:pt idx="3932">
                  <c:v>7.0126627429998201E-2</c:v>
                </c:pt>
                <c:pt idx="3933">
                  <c:v>7.0144462279293704E-2</c:v>
                </c:pt>
                <c:pt idx="3934">
                  <c:v>7.0162297128589193E-2</c:v>
                </c:pt>
                <c:pt idx="3935">
                  <c:v>7.0180131977884794E-2</c:v>
                </c:pt>
                <c:pt idx="3936">
                  <c:v>7.0197966827180297E-2</c:v>
                </c:pt>
                <c:pt idx="3937">
                  <c:v>7.02158016764758E-2</c:v>
                </c:pt>
                <c:pt idx="3938">
                  <c:v>7.0233636525771304E-2</c:v>
                </c:pt>
                <c:pt idx="3939">
                  <c:v>7.0251471375066807E-2</c:v>
                </c:pt>
                <c:pt idx="3940">
                  <c:v>7.0269306224362393E-2</c:v>
                </c:pt>
                <c:pt idx="3941">
                  <c:v>7.0287141073657897E-2</c:v>
                </c:pt>
                <c:pt idx="3942">
                  <c:v>7.03049759229534E-2</c:v>
                </c:pt>
                <c:pt idx="3943">
                  <c:v>7.0322810772248903E-2</c:v>
                </c:pt>
                <c:pt idx="3944">
                  <c:v>7.0340645621544504E-2</c:v>
                </c:pt>
                <c:pt idx="3945">
                  <c:v>7.0358480470840007E-2</c:v>
                </c:pt>
                <c:pt idx="3946">
                  <c:v>7.0376315320135496E-2</c:v>
                </c:pt>
                <c:pt idx="3947">
                  <c:v>7.0394150169431E-2</c:v>
                </c:pt>
                <c:pt idx="3948">
                  <c:v>7.0411985018726503E-2</c:v>
                </c:pt>
                <c:pt idx="3949">
                  <c:v>7.0429819868022103E-2</c:v>
                </c:pt>
                <c:pt idx="3950">
                  <c:v>7.0447654717317607E-2</c:v>
                </c:pt>
                <c:pt idx="3951">
                  <c:v>7.0465489566613096E-2</c:v>
                </c:pt>
                <c:pt idx="3952">
                  <c:v>7.0483324415908599E-2</c:v>
                </c:pt>
                <c:pt idx="3953">
                  <c:v>7.05011592652042E-2</c:v>
                </c:pt>
                <c:pt idx="3954">
                  <c:v>7.0518994114499703E-2</c:v>
                </c:pt>
                <c:pt idx="3955">
                  <c:v>7.0536828963795206E-2</c:v>
                </c:pt>
                <c:pt idx="3956">
                  <c:v>7.0554663813090696E-2</c:v>
                </c:pt>
                <c:pt idx="3957">
                  <c:v>7.0572498662386296E-2</c:v>
                </c:pt>
                <c:pt idx="3958">
                  <c:v>7.0590333511681799E-2</c:v>
                </c:pt>
                <c:pt idx="3959">
                  <c:v>7.0608168360977303E-2</c:v>
                </c:pt>
                <c:pt idx="3960">
                  <c:v>7.0626003210272806E-2</c:v>
                </c:pt>
                <c:pt idx="3961">
                  <c:v>7.0643838059568295E-2</c:v>
                </c:pt>
                <c:pt idx="3962">
                  <c:v>7.0661672908863896E-2</c:v>
                </c:pt>
                <c:pt idx="3963">
                  <c:v>7.0679507758159399E-2</c:v>
                </c:pt>
                <c:pt idx="3964">
                  <c:v>7.0697342607454902E-2</c:v>
                </c:pt>
                <c:pt idx="3965">
                  <c:v>7.0715177456750405E-2</c:v>
                </c:pt>
                <c:pt idx="3966">
                  <c:v>7.0733012306046006E-2</c:v>
                </c:pt>
                <c:pt idx="3967">
                  <c:v>7.0750847155341495E-2</c:v>
                </c:pt>
                <c:pt idx="3968">
                  <c:v>7.0768682004636999E-2</c:v>
                </c:pt>
                <c:pt idx="3969">
                  <c:v>7.0786516853932502E-2</c:v>
                </c:pt>
                <c:pt idx="3970">
                  <c:v>7.0804351703228102E-2</c:v>
                </c:pt>
                <c:pt idx="3971">
                  <c:v>7.0822186552523606E-2</c:v>
                </c:pt>
                <c:pt idx="3972">
                  <c:v>7.0840021401819095E-2</c:v>
                </c:pt>
                <c:pt idx="3973">
                  <c:v>7.0857856251114598E-2</c:v>
                </c:pt>
                <c:pt idx="3974">
                  <c:v>7.0875691100410199E-2</c:v>
                </c:pt>
                <c:pt idx="3975">
                  <c:v>7.0893525949705702E-2</c:v>
                </c:pt>
                <c:pt idx="3976">
                  <c:v>7.0911360799001205E-2</c:v>
                </c:pt>
                <c:pt idx="3977">
                  <c:v>7.0929195648296695E-2</c:v>
                </c:pt>
                <c:pt idx="3978">
                  <c:v>7.0947030497592295E-2</c:v>
                </c:pt>
                <c:pt idx="3979">
                  <c:v>7.0964865346887798E-2</c:v>
                </c:pt>
                <c:pt idx="3980">
                  <c:v>7.0982700196183302E-2</c:v>
                </c:pt>
                <c:pt idx="3981">
                  <c:v>7.1000535045478805E-2</c:v>
                </c:pt>
                <c:pt idx="3982">
                  <c:v>7.1018369894774294E-2</c:v>
                </c:pt>
                <c:pt idx="3983">
                  <c:v>7.1036204744069895E-2</c:v>
                </c:pt>
                <c:pt idx="3984">
                  <c:v>7.1054039593365398E-2</c:v>
                </c:pt>
                <c:pt idx="3985">
                  <c:v>7.1071874442660901E-2</c:v>
                </c:pt>
                <c:pt idx="3986">
                  <c:v>7.1089709291956404E-2</c:v>
                </c:pt>
                <c:pt idx="3987">
                  <c:v>7.1107544141252005E-2</c:v>
                </c:pt>
                <c:pt idx="3988">
                  <c:v>7.1125378990547494E-2</c:v>
                </c:pt>
                <c:pt idx="3989">
                  <c:v>7.1143213839842998E-2</c:v>
                </c:pt>
                <c:pt idx="3990">
                  <c:v>7.1161048689138501E-2</c:v>
                </c:pt>
                <c:pt idx="3991">
                  <c:v>7.1178883538434101E-2</c:v>
                </c:pt>
                <c:pt idx="3992">
                  <c:v>7.1196718387729604E-2</c:v>
                </c:pt>
                <c:pt idx="3993">
                  <c:v>7.1214553237025094E-2</c:v>
                </c:pt>
                <c:pt idx="3994">
                  <c:v>7.1232388086320597E-2</c:v>
                </c:pt>
                <c:pt idx="3995">
                  <c:v>7.1250222935616198E-2</c:v>
                </c:pt>
                <c:pt idx="3996">
                  <c:v>7.1268057784911701E-2</c:v>
                </c:pt>
                <c:pt idx="3997">
                  <c:v>7.1285892634207204E-2</c:v>
                </c:pt>
                <c:pt idx="3998">
                  <c:v>7.1303727483502694E-2</c:v>
                </c:pt>
                <c:pt idx="3999">
                  <c:v>7.1321562332798294E-2</c:v>
                </c:pt>
                <c:pt idx="4000">
                  <c:v>7.1339397182093797E-2</c:v>
                </c:pt>
                <c:pt idx="4001">
                  <c:v>7.13572320313893E-2</c:v>
                </c:pt>
                <c:pt idx="4002">
                  <c:v>7.1375066880684804E-2</c:v>
                </c:pt>
                <c:pt idx="4003">
                  <c:v>7.1392901729980293E-2</c:v>
                </c:pt>
                <c:pt idx="4004">
                  <c:v>7.1410736579275894E-2</c:v>
                </c:pt>
                <c:pt idx="4005">
                  <c:v>7.1428571428571397E-2</c:v>
                </c:pt>
                <c:pt idx="4006">
                  <c:v>7.14464062778669E-2</c:v>
                </c:pt>
                <c:pt idx="4007">
                  <c:v>7.1464241127162403E-2</c:v>
                </c:pt>
                <c:pt idx="4008">
                  <c:v>7.1482075976458004E-2</c:v>
                </c:pt>
                <c:pt idx="4009">
                  <c:v>7.1499910825753493E-2</c:v>
                </c:pt>
                <c:pt idx="4010">
                  <c:v>7.1517745675048996E-2</c:v>
                </c:pt>
                <c:pt idx="4011">
                  <c:v>7.15355805243445E-2</c:v>
                </c:pt>
                <c:pt idx="4012">
                  <c:v>7.1553415373640003E-2</c:v>
                </c:pt>
                <c:pt idx="4013">
                  <c:v>7.1571250222935603E-2</c:v>
                </c:pt>
                <c:pt idx="4014">
                  <c:v>7.1589085072231107E-2</c:v>
                </c:pt>
                <c:pt idx="4015">
                  <c:v>7.1606919921526596E-2</c:v>
                </c:pt>
                <c:pt idx="4016">
                  <c:v>7.1624754770822099E-2</c:v>
                </c:pt>
                <c:pt idx="4017">
                  <c:v>7.16425896201177E-2</c:v>
                </c:pt>
                <c:pt idx="4018">
                  <c:v>7.1660424469413203E-2</c:v>
                </c:pt>
                <c:pt idx="4019">
                  <c:v>7.1678259318708706E-2</c:v>
                </c:pt>
                <c:pt idx="4020">
                  <c:v>7.1696094168004196E-2</c:v>
                </c:pt>
                <c:pt idx="4021">
                  <c:v>7.1713929017299796E-2</c:v>
                </c:pt>
                <c:pt idx="4022">
                  <c:v>7.1731763866595299E-2</c:v>
                </c:pt>
                <c:pt idx="4023">
                  <c:v>7.1749598715890803E-2</c:v>
                </c:pt>
                <c:pt idx="4024">
                  <c:v>7.1767433565186306E-2</c:v>
                </c:pt>
                <c:pt idx="4025">
                  <c:v>7.1785268414481795E-2</c:v>
                </c:pt>
                <c:pt idx="4026">
                  <c:v>7.1803103263777396E-2</c:v>
                </c:pt>
                <c:pt idx="4027">
                  <c:v>7.1820938113072899E-2</c:v>
                </c:pt>
                <c:pt idx="4028">
                  <c:v>7.1838772962368402E-2</c:v>
                </c:pt>
                <c:pt idx="4029">
                  <c:v>7.1856607811663906E-2</c:v>
                </c:pt>
                <c:pt idx="4030">
                  <c:v>7.1874442660959506E-2</c:v>
                </c:pt>
                <c:pt idx="4031">
                  <c:v>7.1892277510254995E-2</c:v>
                </c:pt>
                <c:pt idx="4032">
                  <c:v>7.1910112359550499E-2</c:v>
                </c:pt>
                <c:pt idx="4033">
                  <c:v>7.1927947208846002E-2</c:v>
                </c:pt>
                <c:pt idx="4034">
                  <c:v>7.1945782058141602E-2</c:v>
                </c:pt>
                <c:pt idx="4035">
                  <c:v>7.1963616907437106E-2</c:v>
                </c:pt>
                <c:pt idx="4036">
                  <c:v>7.1981451756732595E-2</c:v>
                </c:pt>
                <c:pt idx="4037">
                  <c:v>7.1999286606028098E-2</c:v>
                </c:pt>
                <c:pt idx="4038">
                  <c:v>7.2017121455323699E-2</c:v>
                </c:pt>
                <c:pt idx="4039">
                  <c:v>7.2034956304619202E-2</c:v>
                </c:pt>
                <c:pt idx="4040">
                  <c:v>7.2052791153914705E-2</c:v>
                </c:pt>
                <c:pt idx="4041">
                  <c:v>7.2070626003210195E-2</c:v>
                </c:pt>
                <c:pt idx="4042">
                  <c:v>7.2088460852505795E-2</c:v>
                </c:pt>
                <c:pt idx="4043">
                  <c:v>7.2106295701801298E-2</c:v>
                </c:pt>
                <c:pt idx="4044">
                  <c:v>7.2124130551096802E-2</c:v>
                </c:pt>
                <c:pt idx="4045">
                  <c:v>7.2141965400392305E-2</c:v>
                </c:pt>
                <c:pt idx="4046">
                  <c:v>7.2159800249687794E-2</c:v>
                </c:pt>
                <c:pt idx="4047">
                  <c:v>7.2177635098983395E-2</c:v>
                </c:pt>
                <c:pt idx="4048">
                  <c:v>7.2195469948278898E-2</c:v>
                </c:pt>
                <c:pt idx="4049">
                  <c:v>7.2213304797574401E-2</c:v>
                </c:pt>
                <c:pt idx="4050">
                  <c:v>7.2231139646869905E-2</c:v>
                </c:pt>
                <c:pt idx="4051">
                  <c:v>7.2248974496165505E-2</c:v>
                </c:pt>
                <c:pt idx="4052">
                  <c:v>7.2266809345460994E-2</c:v>
                </c:pt>
                <c:pt idx="4053">
                  <c:v>7.2284644194756498E-2</c:v>
                </c:pt>
                <c:pt idx="4054">
                  <c:v>7.2302479044052001E-2</c:v>
                </c:pt>
                <c:pt idx="4055">
                  <c:v>7.2320313893347601E-2</c:v>
                </c:pt>
                <c:pt idx="4056">
                  <c:v>7.2338148742643105E-2</c:v>
                </c:pt>
                <c:pt idx="4057">
                  <c:v>7.2355983591938594E-2</c:v>
                </c:pt>
                <c:pt idx="4058">
                  <c:v>7.2373818441234097E-2</c:v>
                </c:pt>
                <c:pt idx="4059">
                  <c:v>7.2391653290529698E-2</c:v>
                </c:pt>
                <c:pt idx="4060">
                  <c:v>7.2409488139825201E-2</c:v>
                </c:pt>
                <c:pt idx="4061">
                  <c:v>7.2427322989120704E-2</c:v>
                </c:pt>
                <c:pt idx="4062">
                  <c:v>7.2445157838416194E-2</c:v>
                </c:pt>
                <c:pt idx="4063">
                  <c:v>7.2462992687711794E-2</c:v>
                </c:pt>
                <c:pt idx="4064">
                  <c:v>7.2480827537007297E-2</c:v>
                </c:pt>
                <c:pt idx="4065">
                  <c:v>7.2498662386302801E-2</c:v>
                </c:pt>
                <c:pt idx="4066">
                  <c:v>7.2516497235598304E-2</c:v>
                </c:pt>
                <c:pt idx="4067">
                  <c:v>7.2534332084893793E-2</c:v>
                </c:pt>
                <c:pt idx="4068">
                  <c:v>7.2552166934189394E-2</c:v>
                </c:pt>
                <c:pt idx="4069">
                  <c:v>7.2570001783484897E-2</c:v>
                </c:pt>
                <c:pt idx="4070">
                  <c:v>7.25878366327804E-2</c:v>
                </c:pt>
                <c:pt idx="4071">
                  <c:v>7.2605671482075904E-2</c:v>
                </c:pt>
                <c:pt idx="4072">
                  <c:v>7.2623506331371504E-2</c:v>
                </c:pt>
                <c:pt idx="4073">
                  <c:v>7.2641341180666993E-2</c:v>
                </c:pt>
                <c:pt idx="4074">
                  <c:v>7.2659176029962497E-2</c:v>
                </c:pt>
                <c:pt idx="4075">
                  <c:v>7.2677010879258E-2</c:v>
                </c:pt>
                <c:pt idx="4076">
                  <c:v>7.26948457285536E-2</c:v>
                </c:pt>
                <c:pt idx="4077">
                  <c:v>7.2712680577849104E-2</c:v>
                </c:pt>
                <c:pt idx="4078">
                  <c:v>7.2730515427144607E-2</c:v>
                </c:pt>
                <c:pt idx="4079">
                  <c:v>7.2748350276440096E-2</c:v>
                </c:pt>
                <c:pt idx="4080">
                  <c:v>7.27661851257356E-2</c:v>
                </c:pt>
                <c:pt idx="4081">
                  <c:v>7.27840199750312E-2</c:v>
                </c:pt>
                <c:pt idx="4082">
                  <c:v>7.2801854824326703E-2</c:v>
                </c:pt>
                <c:pt idx="4083">
                  <c:v>7.2819689673622207E-2</c:v>
                </c:pt>
                <c:pt idx="4084">
                  <c:v>7.2837524522917696E-2</c:v>
                </c:pt>
                <c:pt idx="4085">
                  <c:v>7.2855359372213296E-2</c:v>
                </c:pt>
                <c:pt idx="4086">
                  <c:v>7.28731942215088E-2</c:v>
                </c:pt>
                <c:pt idx="4087">
                  <c:v>7.2891029070804303E-2</c:v>
                </c:pt>
                <c:pt idx="4088">
                  <c:v>7.2908863920099806E-2</c:v>
                </c:pt>
                <c:pt idx="4089">
                  <c:v>7.2926698769395296E-2</c:v>
                </c:pt>
                <c:pt idx="4090">
                  <c:v>7.2944533618690896E-2</c:v>
                </c:pt>
                <c:pt idx="4091">
                  <c:v>7.2962368467986399E-2</c:v>
                </c:pt>
                <c:pt idx="4092">
                  <c:v>7.2980203317281903E-2</c:v>
                </c:pt>
                <c:pt idx="4093">
                  <c:v>7.2998038166577406E-2</c:v>
                </c:pt>
                <c:pt idx="4094">
                  <c:v>7.3015873015873006E-2</c:v>
                </c:pt>
                <c:pt idx="4095">
                  <c:v>7.3033707865168496E-2</c:v>
                </c:pt>
                <c:pt idx="4096">
                  <c:v>7.3051542714463999E-2</c:v>
                </c:pt>
                <c:pt idx="4097">
                  <c:v>7.3069377563759502E-2</c:v>
                </c:pt>
                <c:pt idx="4098">
                  <c:v>7.3087212413055103E-2</c:v>
                </c:pt>
                <c:pt idx="4099">
                  <c:v>7.3105047262350606E-2</c:v>
                </c:pt>
                <c:pt idx="4100">
                  <c:v>7.3122882111646095E-2</c:v>
                </c:pt>
                <c:pt idx="4101">
                  <c:v>7.3140716960941599E-2</c:v>
                </c:pt>
                <c:pt idx="4102">
                  <c:v>7.3158551810237199E-2</c:v>
                </c:pt>
                <c:pt idx="4103">
                  <c:v>7.3176386659532702E-2</c:v>
                </c:pt>
                <c:pt idx="4104">
                  <c:v>7.3194221508828206E-2</c:v>
                </c:pt>
                <c:pt idx="4105">
                  <c:v>7.3212056358123695E-2</c:v>
                </c:pt>
                <c:pt idx="4106">
                  <c:v>7.3229891207419295E-2</c:v>
                </c:pt>
                <c:pt idx="4107">
                  <c:v>7.3247726056714799E-2</c:v>
                </c:pt>
                <c:pt idx="4108">
                  <c:v>7.3265560906010302E-2</c:v>
                </c:pt>
                <c:pt idx="4109">
                  <c:v>7.3283395755305805E-2</c:v>
                </c:pt>
                <c:pt idx="4110">
                  <c:v>7.3301230604601295E-2</c:v>
                </c:pt>
                <c:pt idx="4111">
                  <c:v>7.3319065453896895E-2</c:v>
                </c:pt>
                <c:pt idx="4112">
                  <c:v>7.3336900303192398E-2</c:v>
                </c:pt>
                <c:pt idx="4113">
                  <c:v>7.3354735152487902E-2</c:v>
                </c:pt>
                <c:pt idx="4114">
                  <c:v>7.3372570001783405E-2</c:v>
                </c:pt>
                <c:pt idx="4115">
                  <c:v>7.3390404851079005E-2</c:v>
                </c:pt>
                <c:pt idx="4116">
                  <c:v>7.3408239700374495E-2</c:v>
                </c:pt>
                <c:pt idx="4117">
                  <c:v>7.3426074549669998E-2</c:v>
                </c:pt>
                <c:pt idx="4118">
                  <c:v>7.3443909398965501E-2</c:v>
                </c:pt>
                <c:pt idx="4119">
                  <c:v>7.3461744248261102E-2</c:v>
                </c:pt>
                <c:pt idx="4120">
                  <c:v>7.3479579097556605E-2</c:v>
                </c:pt>
                <c:pt idx="4121">
                  <c:v>7.3497413946852094E-2</c:v>
                </c:pt>
                <c:pt idx="4122">
                  <c:v>7.3515248796147598E-2</c:v>
                </c:pt>
                <c:pt idx="4123">
                  <c:v>7.3533083645443198E-2</c:v>
                </c:pt>
                <c:pt idx="4124">
                  <c:v>7.3550918494738701E-2</c:v>
                </c:pt>
                <c:pt idx="4125">
                  <c:v>7.3568753344034205E-2</c:v>
                </c:pt>
                <c:pt idx="4126">
                  <c:v>7.3586588193329694E-2</c:v>
                </c:pt>
                <c:pt idx="4127">
                  <c:v>7.3604423042625294E-2</c:v>
                </c:pt>
                <c:pt idx="4128">
                  <c:v>7.3622257891920798E-2</c:v>
                </c:pt>
                <c:pt idx="4129">
                  <c:v>7.3640092741216301E-2</c:v>
                </c:pt>
                <c:pt idx="4130">
                  <c:v>7.3657927590511804E-2</c:v>
                </c:pt>
                <c:pt idx="4131">
                  <c:v>7.3675762439807294E-2</c:v>
                </c:pt>
                <c:pt idx="4132">
                  <c:v>7.3693597289102894E-2</c:v>
                </c:pt>
                <c:pt idx="4133">
                  <c:v>7.3711432138398397E-2</c:v>
                </c:pt>
                <c:pt idx="4134">
                  <c:v>7.3729266987693901E-2</c:v>
                </c:pt>
                <c:pt idx="4135">
                  <c:v>7.3747101836989404E-2</c:v>
                </c:pt>
                <c:pt idx="4136">
                  <c:v>7.3764936686285004E-2</c:v>
                </c:pt>
                <c:pt idx="4137">
                  <c:v>7.3782771535580494E-2</c:v>
                </c:pt>
                <c:pt idx="4138">
                  <c:v>7.3800606384875997E-2</c:v>
                </c:pt>
                <c:pt idx="4139">
                  <c:v>7.38184412341715E-2</c:v>
                </c:pt>
                <c:pt idx="4140">
                  <c:v>7.3836276083467101E-2</c:v>
                </c:pt>
                <c:pt idx="4141">
                  <c:v>7.3854110932762604E-2</c:v>
                </c:pt>
                <c:pt idx="4142">
                  <c:v>7.3871945782058093E-2</c:v>
                </c:pt>
                <c:pt idx="4143">
                  <c:v>7.3889780631353597E-2</c:v>
                </c:pt>
                <c:pt idx="4144">
                  <c:v>7.39076154806491E-2</c:v>
                </c:pt>
                <c:pt idx="4145">
                  <c:v>7.39254503299447E-2</c:v>
                </c:pt>
                <c:pt idx="4146">
                  <c:v>7.3943285179240203E-2</c:v>
                </c:pt>
                <c:pt idx="4147">
                  <c:v>7.3961120028535707E-2</c:v>
                </c:pt>
                <c:pt idx="4148">
                  <c:v>7.3978954877831196E-2</c:v>
                </c:pt>
                <c:pt idx="4149">
                  <c:v>7.3996789727126797E-2</c:v>
                </c:pt>
                <c:pt idx="4150">
                  <c:v>7.40146245764223E-2</c:v>
                </c:pt>
                <c:pt idx="4151">
                  <c:v>7.4032459425717803E-2</c:v>
                </c:pt>
                <c:pt idx="4152">
                  <c:v>7.4050294275013306E-2</c:v>
                </c:pt>
                <c:pt idx="4153">
                  <c:v>7.4068129124308796E-2</c:v>
                </c:pt>
                <c:pt idx="4154">
                  <c:v>7.4085963973604396E-2</c:v>
                </c:pt>
                <c:pt idx="4155">
                  <c:v>7.41037988228999E-2</c:v>
                </c:pt>
                <c:pt idx="4156">
                  <c:v>7.4121633672195403E-2</c:v>
                </c:pt>
                <c:pt idx="4157">
                  <c:v>7.4139468521490906E-2</c:v>
                </c:pt>
                <c:pt idx="4158">
                  <c:v>7.4157303370786506E-2</c:v>
                </c:pt>
                <c:pt idx="4159">
                  <c:v>7.4175138220081996E-2</c:v>
                </c:pt>
                <c:pt idx="4160">
                  <c:v>7.4192973069377499E-2</c:v>
                </c:pt>
                <c:pt idx="4161">
                  <c:v>7.4210807918673002E-2</c:v>
                </c:pt>
                <c:pt idx="4162">
                  <c:v>7.4228642767968603E-2</c:v>
                </c:pt>
                <c:pt idx="4163">
                  <c:v>7.4246477617264106E-2</c:v>
                </c:pt>
                <c:pt idx="4164">
                  <c:v>7.4264312466559596E-2</c:v>
                </c:pt>
                <c:pt idx="4165">
                  <c:v>7.4282147315855099E-2</c:v>
                </c:pt>
                <c:pt idx="4166">
                  <c:v>7.4299982165150699E-2</c:v>
                </c:pt>
                <c:pt idx="4167">
                  <c:v>7.4317817014446202E-2</c:v>
                </c:pt>
                <c:pt idx="4168">
                  <c:v>7.4335651863741706E-2</c:v>
                </c:pt>
                <c:pt idx="4169">
                  <c:v>7.4353486713037195E-2</c:v>
                </c:pt>
                <c:pt idx="4170">
                  <c:v>7.4371321562332796E-2</c:v>
                </c:pt>
                <c:pt idx="4171">
                  <c:v>7.4389156411628299E-2</c:v>
                </c:pt>
                <c:pt idx="4172">
                  <c:v>7.4406991260923802E-2</c:v>
                </c:pt>
                <c:pt idx="4173">
                  <c:v>7.4424826110219305E-2</c:v>
                </c:pt>
                <c:pt idx="4174">
                  <c:v>7.4442660959514795E-2</c:v>
                </c:pt>
                <c:pt idx="4175">
                  <c:v>7.4460495808810395E-2</c:v>
                </c:pt>
                <c:pt idx="4176">
                  <c:v>7.4478330658105898E-2</c:v>
                </c:pt>
                <c:pt idx="4177">
                  <c:v>7.4496165507401402E-2</c:v>
                </c:pt>
                <c:pt idx="4178">
                  <c:v>7.4514000356696905E-2</c:v>
                </c:pt>
                <c:pt idx="4179">
                  <c:v>7.4531835205992505E-2</c:v>
                </c:pt>
                <c:pt idx="4180">
                  <c:v>7.4549670055287995E-2</c:v>
                </c:pt>
                <c:pt idx="4181">
                  <c:v>7.4567504904583498E-2</c:v>
                </c:pt>
                <c:pt idx="4182">
                  <c:v>7.4585339753879001E-2</c:v>
                </c:pt>
                <c:pt idx="4183">
                  <c:v>7.4603174603174602E-2</c:v>
                </c:pt>
                <c:pt idx="4184">
                  <c:v>7.4621009452470105E-2</c:v>
                </c:pt>
                <c:pt idx="4185">
                  <c:v>7.4638844301765594E-2</c:v>
                </c:pt>
                <c:pt idx="4186">
                  <c:v>7.4656679151061098E-2</c:v>
                </c:pt>
                <c:pt idx="4187">
                  <c:v>7.4674514000356698E-2</c:v>
                </c:pt>
                <c:pt idx="4188">
                  <c:v>7.4692348849652201E-2</c:v>
                </c:pt>
                <c:pt idx="4189">
                  <c:v>7.4710183698947705E-2</c:v>
                </c:pt>
                <c:pt idx="4190">
                  <c:v>7.4728018548243194E-2</c:v>
                </c:pt>
                <c:pt idx="4191">
                  <c:v>7.4745853397538795E-2</c:v>
                </c:pt>
                <c:pt idx="4192">
                  <c:v>7.4763688246834298E-2</c:v>
                </c:pt>
                <c:pt idx="4193">
                  <c:v>7.4781523096129801E-2</c:v>
                </c:pt>
                <c:pt idx="4194">
                  <c:v>7.4799357945425304E-2</c:v>
                </c:pt>
                <c:pt idx="4195">
                  <c:v>7.4817192794720794E-2</c:v>
                </c:pt>
                <c:pt idx="4196">
                  <c:v>7.4835027644016394E-2</c:v>
                </c:pt>
                <c:pt idx="4197">
                  <c:v>7.4852862493311897E-2</c:v>
                </c:pt>
                <c:pt idx="4198">
                  <c:v>7.4870697342607401E-2</c:v>
                </c:pt>
                <c:pt idx="4199">
                  <c:v>7.4888532191902904E-2</c:v>
                </c:pt>
                <c:pt idx="4200">
                  <c:v>7.4906367041198504E-2</c:v>
                </c:pt>
                <c:pt idx="4201">
                  <c:v>7.4924201890493994E-2</c:v>
                </c:pt>
                <c:pt idx="4202">
                  <c:v>7.4942036739789497E-2</c:v>
                </c:pt>
                <c:pt idx="4203">
                  <c:v>7.4959871589085E-2</c:v>
                </c:pt>
                <c:pt idx="4204">
                  <c:v>7.4977706438380601E-2</c:v>
                </c:pt>
                <c:pt idx="4205">
                  <c:v>7.4995541287676104E-2</c:v>
                </c:pt>
                <c:pt idx="4206">
                  <c:v>7.5013376136971593E-2</c:v>
                </c:pt>
                <c:pt idx="4207">
                  <c:v>7.5031210986267097E-2</c:v>
                </c:pt>
                <c:pt idx="4208">
                  <c:v>7.50490458355626E-2</c:v>
                </c:pt>
                <c:pt idx="4209">
                  <c:v>7.50668806848582E-2</c:v>
                </c:pt>
                <c:pt idx="4210">
                  <c:v>7.5084715534153704E-2</c:v>
                </c:pt>
                <c:pt idx="4211">
                  <c:v>7.5102550383449193E-2</c:v>
                </c:pt>
                <c:pt idx="4212">
                  <c:v>7.5120385232744696E-2</c:v>
                </c:pt>
                <c:pt idx="4213">
                  <c:v>7.5138220082040297E-2</c:v>
                </c:pt>
                <c:pt idx="4214">
                  <c:v>7.51560549313358E-2</c:v>
                </c:pt>
                <c:pt idx="4215">
                  <c:v>7.5173889780631303E-2</c:v>
                </c:pt>
                <c:pt idx="4216">
                  <c:v>7.5191724629926807E-2</c:v>
                </c:pt>
                <c:pt idx="4217">
                  <c:v>7.5209559479222393E-2</c:v>
                </c:pt>
                <c:pt idx="4218">
                  <c:v>7.5227394328517896E-2</c:v>
                </c:pt>
                <c:pt idx="4219">
                  <c:v>7.52452291778134E-2</c:v>
                </c:pt>
                <c:pt idx="4220">
                  <c:v>7.5263064027108903E-2</c:v>
                </c:pt>
                <c:pt idx="4221">
                  <c:v>7.5280898876404406E-2</c:v>
                </c:pt>
                <c:pt idx="4222">
                  <c:v>7.5298733725700007E-2</c:v>
                </c:pt>
                <c:pt idx="4223">
                  <c:v>7.5316568574995496E-2</c:v>
                </c:pt>
                <c:pt idx="4224">
                  <c:v>7.5334403424290999E-2</c:v>
                </c:pt>
                <c:pt idx="4225">
                  <c:v>7.5352238273586503E-2</c:v>
                </c:pt>
                <c:pt idx="4226">
                  <c:v>7.5370073122882103E-2</c:v>
                </c:pt>
                <c:pt idx="4227">
                  <c:v>7.5387907972177606E-2</c:v>
                </c:pt>
                <c:pt idx="4228">
                  <c:v>7.5405742821473096E-2</c:v>
                </c:pt>
                <c:pt idx="4229">
                  <c:v>7.5423577670768599E-2</c:v>
                </c:pt>
                <c:pt idx="4230">
                  <c:v>7.5441412520064199E-2</c:v>
                </c:pt>
                <c:pt idx="4231">
                  <c:v>7.5459247369359703E-2</c:v>
                </c:pt>
                <c:pt idx="4232">
                  <c:v>7.5477082218655206E-2</c:v>
                </c:pt>
                <c:pt idx="4233">
                  <c:v>7.5494917067950695E-2</c:v>
                </c:pt>
                <c:pt idx="4234">
                  <c:v>7.5512751917246296E-2</c:v>
                </c:pt>
                <c:pt idx="4235">
                  <c:v>7.5530586766541799E-2</c:v>
                </c:pt>
                <c:pt idx="4236">
                  <c:v>7.5548421615837302E-2</c:v>
                </c:pt>
                <c:pt idx="4237">
                  <c:v>7.5566256465132806E-2</c:v>
                </c:pt>
                <c:pt idx="4238">
                  <c:v>7.5584091314428295E-2</c:v>
                </c:pt>
                <c:pt idx="4239">
                  <c:v>7.5601926163723895E-2</c:v>
                </c:pt>
                <c:pt idx="4240">
                  <c:v>7.5619761013019399E-2</c:v>
                </c:pt>
                <c:pt idx="4241">
                  <c:v>7.5637595862314902E-2</c:v>
                </c:pt>
                <c:pt idx="4242">
                  <c:v>7.5655430711610405E-2</c:v>
                </c:pt>
                <c:pt idx="4243">
                  <c:v>7.5673265560906006E-2</c:v>
                </c:pt>
                <c:pt idx="4244">
                  <c:v>7.5691100410201495E-2</c:v>
                </c:pt>
                <c:pt idx="4245">
                  <c:v>7.5708935259496998E-2</c:v>
                </c:pt>
                <c:pt idx="4246">
                  <c:v>7.5726770108792502E-2</c:v>
                </c:pt>
                <c:pt idx="4247">
                  <c:v>7.5744604958088102E-2</c:v>
                </c:pt>
                <c:pt idx="4248">
                  <c:v>7.5762439807383605E-2</c:v>
                </c:pt>
                <c:pt idx="4249">
                  <c:v>7.5780274656679095E-2</c:v>
                </c:pt>
                <c:pt idx="4250">
                  <c:v>7.5798109505974598E-2</c:v>
                </c:pt>
                <c:pt idx="4251">
                  <c:v>7.5815944355270198E-2</c:v>
                </c:pt>
                <c:pt idx="4252">
                  <c:v>7.5833779204565702E-2</c:v>
                </c:pt>
                <c:pt idx="4253">
                  <c:v>7.5851614053861205E-2</c:v>
                </c:pt>
                <c:pt idx="4254">
                  <c:v>7.5869448903156694E-2</c:v>
                </c:pt>
                <c:pt idx="4255">
                  <c:v>7.5887283752452295E-2</c:v>
                </c:pt>
                <c:pt idx="4256">
                  <c:v>7.5905118601747798E-2</c:v>
                </c:pt>
                <c:pt idx="4257">
                  <c:v>7.5922953451043301E-2</c:v>
                </c:pt>
                <c:pt idx="4258">
                  <c:v>7.5940788300338805E-2</c:v>
                </c:pt>
                <c:pt idx="4259">
                  <c:v>7.5958623149634294E-2</c:v>
                </c:pt>
                <c:pt idx="4260">
                  <c:v>7.5976457998929894E-2</c:v>
                </c:pt>
                <c:pt idx="4261">
                  <c:v>7.5994292848225398E-2</c:v>
                </c:pt>
                <c:pt idx="4262">
                  <c:v>7.6012127697520901E-2</c:v>
                </c:pt>
                <c:pt idx="4263">
                  <c:v>7.6029962546816404E-2</c:v>
                </c:pt>
                <c:pt idx="4264">
                  <c:v>7.6047797396112005E-2</c:v>
                </c:pt>
                <c:pt idx="4265">
                  <c:v>7.6065632245407494E-2</c:v>
                </c:pt>
                <c:pt idx="4266">
                  <c:v>7.6083467094702997E-2</c:v>
                </c:pt>
                <c:pt idx="4267">
                  <c:v>7.6101301943998501E-2</c:v>
                </c:pt>
                <c:pt idx="4268">
                  <c:v>7.6119136793294101E-2</c:v>
                </c:pt>
                <c:pt idx="4269">
                  <c:v>7.6136971642589604E-2</c:v>
                </c:pt>
                <c:pt idx="4270">
                  <c:v>7.6154806491885094E-2</c:v>
                </c:pt>
                <c:pt idx="4271">
                  <c:v>7.6172641341180597E-2</c:v>
                </c:pt>
                <c:pt idx="4272">
                  <c:v>7.6190476190476197E-2</c:v>
                </c:pt>
                <c:pt idx="4273">
                  <c:v>7.6208311039771701E-2</c:v>
                </c:pt>
                <c:pt idx="4274">
                  <c:v>7.6226145889067204E-2</c:v>
                </c:pt>
                <c:pt idx="4275">
                  <c:v>7.6243980738362693E-2</c:v>
                </c:pt>
                <c:pt idx="4276">
                  <c:v>7.6261815587658197E-2</c:v>
                </c:pt>
                <c:pt idx="4277">
                  <c:v>7.6279650436953797E-2</c:v>
                </c:pt>
                <c:pt idx="4278">
                  <c:v>7.62974852862493E-2</c:v>
                </c:pt>
                <c:pt idx="4279">
                  <c:v>7.6315320135544804E-2</c:v>
                </c:pt>
                <c:pt idx="4280">
                  <c:v>7.6333154984840307E-2</c:v>
                </c:pt>
                <c:pt idx="4281">
                  <c:v>7.6350989834135893E-2</c:v>
                </c:pt>
                <c:pt idx="4282">
                  <c:v>7.6368824683431397E-2</c:v>
                </c:pt>
                <c:pt idx="4283">
                  <c:v>7.63866595327269E-2</c:v>
                </c:pt>
                <c:pt idx="4284">
                  <c:v>7.6404494382022403E-2</c:v>
                </c:pt>
                <c:pt idx="4285">
                  <c:v>7.6422329231317906E-2</c:v>
                </c:pt>
                <c:pt idx="4286">
                  <c:v>7.6440164080613507E-2</c:v>
                </c:pt>
                <c:pt idx="4287">
                  <c:v>7.6457998929908996E-2</c:v>
                </c:pt>
                <c:pt idx="4288">
                  <c:v>7.64758337792045E-2</c:v>
                </c:pt>
                <c:pt idx="4289">
                  <c:v>7.6493668628500003E-2</c:v>
                </c:pt>
                <c:pt idx="4290">
                  <c:v>7.6511503477795603E-2</c:v>
                </c:pt>
                <c:pt idx="4291">
                  <c:v>7.6529338327091107E-2</c:v>
                </c:pt>
                <c:pt idx="4292">
                  <c:v>7.6547173176386596E-2</c:v>
                </c:pt>
                <c:pt idx="4293">
                  <c:v>7.6565008025682099E-2</c:v>
                </c:pt>
                <c:pt idx="4294">
                  <c:v>7.65828428749777E-2</c:v>
                </c:pt>
                <c:pt idx="4295">
                  <c:v>7.6600677724273203E-2</c:v>
                </c:pt>
                <c:pt idx="4296">
                  <c:v>7.6618512573568706E-2</c:v>
                </c:pt>
                <c:pt idx="4297">
                  <c:v>7.6636347422864196E-2</c:v>
                </c:pt>
                <c:pt idx="4298">
                  <c:v>7.6654182272159796E-2</c:v>
                </c:pt>
                <c:pt idx="4299">
                  <c:v>7.6672017121455299E-2</c:v>
                </c:pt>
                <c:pt idx="4300">
                  <c:v>7.6689851970750803E-2</c:v>
                </c:pt>
                <c:pt idx="4301">
                  <c:v>7.6707686820046306E-2</c:v>
                </c:pt>
                <c:pt idx="4302">
                  <c:v>7.6725521669341795E-2</c:v>
                </c:pt>
                <c:pt idx="4303">
                  <c:v>7.6743356518637396E-2</c:v>
                </c:pt>
                <c:pt idx="4304">
                  <c:v>7.6761191367932899E-2</c:v>
                </c:pt>
                <c:pt idx="4305">
                  <c:v>7.6779026217228402E-2</c:v>
                </c:pt>
                <c:pt idx="4306">
                  <c:v>7.6796861066523905E-2</c:v>
                </c:pt>
                <c:pt idx="4307">
                  <c:v>7.6814695915819506E-2</c:v>
                </c:pt>
                <c:pt idx="4308">
                  <c:v>7.6832530765114995E-2</c:v>
                </c:pt>
                <c:pt idx="4309">
                  <c:v>7.6850365614410499E-2</c:v>
                </c:pt>
                <c:pt idx="4310">
                  <c:v>7.6868200463706002E-2</c:v>
                </c:pt>
                <c:pt idx="4311">
                  <c:v>7.6886035313001602E-2</c:v>
                </c:pt>
                <c:pt idx="4312">
                  <c:v>7.6903870162297105E-2</c:v>
                </c:pt>
                <c:pt idx="4313">
                  <c:v>7.6921705011592595E-2</c:v>
                </c:pt>
                <c:pt idx="4314">
                  <c:v>7.6939539860888098E-2</c:v>
                </c:pt>
                <c:pt idx="4315">
                  <c:v>7.6957374710183699E-2</c:v>
                </c:pt>
                <c:pt idx="4316">
                  <c:v>7.6975209559479202E-2</c:v>
                </c:pt>
                <c:pt idx="4317">
                  <c:v>7.6993044408774705E-2</c:v>
                </c:pt>
                <c:pt idx="4318">
                  <c:v>7.7010879258070195E-2</c:v>
                </c:pt>
                <c:pt idx="4319">
                  <c:v>7.7028714107365795E-2</c:v>
                </c:pt>
                <c:pt idx="4320">
                  <c:v>7.7046548956661298E-2</c:v>
                </c:pt>
                <c:pt idx="4321">
                  <c:v>7.7064383805956801E-2</c:v>
                </c:pt>
                <c:pt idx="4322">
                  <c:v>7.7082218655252305E-2</c:v>
                </c:pt>
                <c:pt idx="4323">
                  <c:v>7.7100053504547794E-2</c:v>
                </c:pt>
                <c:pt idx="4324">
                  <c:v>7.7117888353843395E-2</c:v>
                </c:pt>
                <c:pt idx="4325">
                  <c:v>7.7135723203138898E-2</c:v>
                </c:pt>
                <c:pt idx="4326">
                  <c:v>7.7153558052434401E-2</c:v>
                </c:pt>
                <c:pt idx="4327">
                  <c:v>7.7171392901729904E-2</c:v>
                </c:pt>
                <c:pt idx="4328">
                  <c:v>7.7189227751025505E-2</c:v>
                </c:pt>
                <c:pt idx="4329">
                  <c:v>7.7207062600320994E-2</c:v>
                </c:pt>
                <c:pt idx="4330">
                  <c:v>7.7224897449616497E-2</c:v>
                </c:pt>
                <c:pt idx="4331">
                  <c:v>7.7242732298912001E-2</c:v>
                </c:pt>
                <c:pt idx="4332">
                  <c:v>7.7260567148207601E-2</c:v>
                </c:pt>
                <c:pt idx="4333">
                  <c:v>7.7278401997503104E-2</c:v>
                </c:pt>
                <c:pt idx="4334">
                  <c:v>7.7296236846798594E-2</c:v>
                </c:pt>
                <c:pt idx="4335">
                  <c:v>7.7314071696094097E-2</c:v>
                </c:pt>
                <c:pt idx="4336">
                  <c:v>7.7331906545389698E-2</c:v>
                </c:pt>
                <c:pt idx="4337">
                  <c:v>7.7349741394685201E-2</c:v>
                </c:pt>
                <c:pt idx="4338">
                  <c:v>7.7367576243980704E-2</c:v>
                </c:pt>
                <c:pt idx="4339">
                  <c:v>7.7385411093276193E-2</c:v>
                </c:pt>
                <c:pt idx="4340">
                  <c:v>7.7403245942571697E-2</c:v>
                </c:pt>
                <c:pt idx="4341">
                  <c:v>7.7421080791867297E-2</c:v>
                </c:pt>
                <c:pt idx="4342">
                  <c:v>7.74389156411628E-2</c:v>
                </c:pt>
                <c:pt idx="4343">
                  <c:v>7.7456750490458304E-2</c:v>
                </c:pt>
                <c:pt idx="4344">
                  <c:v>7.7474585339753793E-2</c:v>
                </c:pt>
                <c:pt idx="4345">
                  <c:v>7.7492420189049394E-2</c:v>
                </c:pt>
                <c:pt idx="4346">
                  <c:v>7.7510255038344897E-2</c:v>
                </c:pt>
                <c:pt idx="4347">
                  <c:v>7.75280898876404E-2</c:v>
                </c:pt>
                <c:pt idx="4348">
                  <c:v>7.7545924736935903E-2</c:v>
                </c:pt>
                <c:pt idx="4349">
                  <c:v>7.7563759586231407E-2</c:v>
                </c:pt>
                <c:pt idx="4350">
                  <c:v>7.7581594435526993E-2</c:v>
                </c:pt>
                <c:pt idx="4351">
                  <c:v>7.7599429284822496E-2</c:v>
                </c:pt>
                <c:pt idx="4352">
                  <c:v>7.7617264134118E-2</c:v>
                </c:pt>
                <c:pt idx="4353">
                  <c:v>7.7635098983413503E-2</c:v>
                </c:pt>
                <c:pt idx="4354">
                  <c:v>7.7652933832709103E-2</c:v>
                </c:pt>
                <c:pt idx="4355">
                  <c:v>7.7670768682004607E-2</c:v>
                </c:pt>
                <c:pt idx="4356">
                  <c:v>7.7688603531300096E-2</c:v>
                </c:pt>
                <c:pt idx="4357">
                  <c:v>7.7706438380595599E-2</c:v>
                </c:pt>
                <c:pt idx="4358">
                  <c:v>7.77242732298912E-2</c:v>
                </c:pt>
                <c:pt idx="4359">
                  <c:v>7.7742108079186703E-2</c:v>
                </c:pt>
                <c:pt idx="4360">
                  <c:v>7.7759942928482206E-2</c:v>
                </c:pt>
                <c:pt idx="4361">
                  <c:v>7.7777777777777696E-2</c:v>
                </c:pt>
                <c:pt idx="4362">
                  <c:v>7.7795612627073296E-2</c:v>
                </c:pt>
                <c:pt idx="4363">
                  <c:v>7.7813447476368799E-2</c:v>
                </c:pt>
                <c:pt idx="4364">
                  <c:v>7.7831282325664303E-2</c:v>
                </c:pt>
                <c:pt idx="4365">
                  <c:v>7.7849117174959806E-2</c:v>
                </c:pt>
                <c:pt idx="4366">
                  <c:v>7.7866952024255295E-2</c:v>
                </c:pt>
                <c:pt idx="4367">
                  <c:v>7.7884786873550896E-2</c:v>
                </c:pt>
                <c:pt idx="4368">
                  <c:v>7.7902621722846399E-2</c:v>
                </c:pt>
                <c:pt idx="4369">
                  <c:v>7.7920456572141902E-2</c:v>
                </c:pt>
                <c:pt idx="4370">
                  <c:v>7.7938291421437406E-2</c:v>
                </c:pt>
                <c:pt idx="4371">
                  <c:v>7.7956126270733006E-2</c:v>
                </c:pt>
                <c:pt idx="4372">
                  <c:v>7.7973961120028495E-2</c:v>
                </c:pt>
                <c:pt idx="4373">
                  <c:v>7.7991795969323999E-2</c:v>
                </c:pt>
                <c:pt idx="4374">
                  <c:v>7.8009630818619502E-2</c:v>
                </c:pt>
                <c:pt idx="4375">
                  <c:v>7.8027465667915102E-2</c:v>
                </c:pt>
                <c:pt idx="4376">
                  <c:v>7.8045300517210606E-2</c:v>
                </c:pt>
                <c:pt idx="4377">
                  <c:v>7.8063135366506095E-2</c:v>
                </c:pt>
                <c:pt idx="4378">
                  <c:v>7.8080970215801598E-2</c:v>
                </c:pt>
                <c:pt idx="4379">
                  <c:v>7.8098805065097199E-2</c:v>
                </c:pt>
                <c:pt idx="4380">
                  <c:v>7.8116639914392702E-2</c:v>
                </c:pt>
                <c:pt idx="4381">
                  <c:v>7.8134474763688205E-2</c:v>
                </c:pt>
                <c:pt idx="4382">
                  <c:v>7.8152309612983695E-2</c:v>
                </c:pt>
                <c:pt idx="4383">
                  <c:v>7.8170144462279295E-2</c:v>
                </c:pt>
                <c:pt idx="4384">
                  <c:v>7.8187979311574798E-2</c:v>
                </c:pt>
                <c:pt idx="4385">
                  <c:v>7.8205814160870302E-2</c:v>
                </c:pt>
                <c:pt idx="4386">
                  <c:v>7.8223649010165805E-2</c:v>
                </c:pt>
                <c:pt idx="4387">
                  <c:v>7.8241483859461294E-2</c:v>
                </c:pt>
                <c:pt idx="4388">
                  <c:v>7.8259318708756895E-2</c:v>
                </c:pt>
                <c:pt idx="4389">
                  <c:v>7.8277153558052398E-2</c:v>
                </c:pt>
                <c:pt idx="4390">
                  <c:v>7.8294988407347901E-2</c:v>
                </c:pt>
                <c:pt idx="4391">
                  <c:v>7.8312823256643405E-2</c:v>
                </c:pt>
                <c:pt idx="4392">
                  <c:v>7.8330658105939005E-2</c:v>
                </c:pt>
                <c:pt idx="4393">
                  <c:v>7.8348492955234494E-2</c:v>
                </c:pt>
                <c:pt idx="4394">
                  <c:v>7.8366327804529998E-2</c:v>
                </c:pt>
                <c:pt idx="4395">
                  <c:v>7.8384162653825501E-2</c:v>
                </c:pt>
                <c:pt idx="4396">
                  <c:v>7.8401997503121101E-2</c:v>
                </c:pt>
                <c:pt idx="4397">
                  <c:v>7.8419832352416605E-2</c:v>
                </c:pt>
                <c:pt idx="4398">
                  <c:v>7.8437667201712094E-2</c:v>
                </c:pt>
                <c:pt idx="4399">
                  <c:v>7.8455502051007597E-2</c:v>
                </c:pt>
                <c:pt idx="4400">
                  <c:v>7.8473336900303198E-2</c:v>
                </c:pt>
                <c:pt idx="4401">
                  <c:v>7.8491171749598701E-2</c:v>
                </c:pt>
                <c:pt idx="4402">
                  <c:v>7.8509006598894204E-2</c:v>
                </c:pt>
                <c:pt idx="4403">
                  <c:v>7.8526841448189694E-2</c:v>
                </c:pt>
                <c:pt idx="4404">
                  <c:v>7.8544676297485197E-2</c:v>
                </c:pt>
                <c:pt idx="4405">
                  <c:v>7.8562511146780797E-2</c:v>
                </c:pt>
                <c:pt idx="4406">
                  <c:v>7.8580345996076301E-2</c:v>
                </c:pt>
                <c:pt idx="4407">
                  <c:v>7.8598180845371804E-2</c:v>
                </c:pt>
                <c:pt idx="4408">
                  <c:v>7.8616015694667293E-2</c:v>
                </c:pt>
                <c:pt idx="4409">
                  <c:v>7.8633850543962894E-2</c:v>
                </c:pt>
                <c:pt idx="4410">
                  <c:v>7.8651685393258397E-2</c:v>
                </c:pt>
                <c:pt idx="4411">
                  <c:v>7.86695202425539E-2</c:v>
                </c:pt>
                <c:pt idx="4412">
                  <c:v>7.8687355091849404E-2</c:v>
                </c:pt>
                <c:pt idx="4413">
                  <c:v>7.8705189941145004E-2</c:v>
                </c:pt>
                <c:pt idx="4414">
                  <c:v>7.8723024790440493E-2</c:v>
                </c:pt>
                <c:pt idx="4415">
                  <c:v>7.8740859639735997E-2</c:v>
                </c:pt>
                <c:pt idx="4416">
                  <c:v>7.87586944890315E-2</c:v>
                </c:pt>
                <c:pt idx="4417">
                  <c:v>7.8776529338327003E-2</c:v>
                </c:pt>
                <c:pt idx="4418">
                  <c:v>7.8794364187622604E-2</c:v>
                </c:pt>
                <c:pt idx="4419">
                  <c:v>7.8812199036918107E-2</c:v>
                </c:pt>
                <c:pt idx="4420">
                  <c:v>7.8830033886213596E-2</c:v>
                </c:pt>
                <c:pt idx="4421">
                  <c:v>7.88478687355091E-2</c:v>
                </c:pt>
                <c:pt idx="4422">
                  <c:v>7.88657035848047E-2</c:v>
                </c:pt>
                <c:pt idx="4423">
                  <c:v>7.8883538434100203E-2</c:v>
                </c:pt>
                <c:pt idx="4424">
                  <c:v>7.8901373283395707E-2</c:v>
                </c:pt>
                <c:pt idx="4425">
                  <c:v>7.8919208132691196E-2</c:v>
                </c:pt>
                <c:pt idx="4426">
                  <c:v>7.8937042981986796E-2</c:v>
                </c:pt>
                <c:pt idx="4427">
                  <c:v>7.89548778312823E-2</c:v>
                </c:pt>
                <c:pt idx="4428">
                  <c:v>7.8972712680577803E-2</c:v>
                </c:pt>
                <c:pt idx="4429">
                  <c:v>7.8990547529873306E-2</c:v>
                </c:pt>
                <c:pt idx="4430">
                  <c:v>7.9008382379168796E-2</c:v>
                </c:pt>
                <c:pt idx="4431">
                  <c:v>7.9026217228464396E-2</c:v>
                </c:pt>
                <c:pt idx="4432">
                  <c:v>7.9044052077759899E-2</c:v>
                </c:pt>
                <c:pt idx="4433">
                  <c:v>7.9061886927055403E-2</c:v>
                </c:pt>
                <c:pt idx="4434">
                  <c:v>7.9079721776350906E-2</c:v>
                </c:pt>
                <c:pt idx="4435">
                  <c:v>7.9097556625646506E-2</c:v>
                </c:pt>
                <c:pt idx="4436">
                  <c:v>7.9115391474941996E-2</c:v>
                </c:pt>
                <c:pt idx="4437">
                  <c:v>7.9133226324237499E-2</c:v>
                </c:pt>
                <c:pt idx="4438">
                  <c:v>7.9151061173533002E-2</c:v>
                </c:pt>
                <c:pt idx="4439">
                  <c:v>7.9168896022828603E-2</c:v>
                </c:pt>
                <c:pt idx="4440">
                  <c:v>7.9186730872124106E-2</c:v>
                </c:pt>
                <c:pt idx="4441">
                  <c:v>7.9204565721419595E-2</c:v>
                </c:pt>
                <c:pt idx="4442">
                  <c:v>7.9222400570715099E-2</c:v>
                </c:pt>
                <c:pt idx="4443">
                  <c:v>7.9240235420010699E-2</c:v>
                </c:pt>
                <c:pt idx="4444">
                  <c:v>7.9258070269306202E-2</c:v>
                </c:pt>
                <c:pt idx="4445">
                  <c:v>7.9275905118601706E-2</c:v>
                </c:pt>
                <c:pt idx="4446">
                  <c:v>7.9293739967897195E-2</c:v>
                </c:pt>
                <c:pt idx="4447">
                  <c:v>7.9311574817192795E-2</c:v>
                </c:pt>
                <c:pt idx="4448">
                  <c:v>7.9329409666488299E-2</c:v>
                </c:pt>
                <c:pt idx="4449">
                  <c:v>7.9347244515783802E-2</c:v>
                </c:pt>
                <c:pt idx="4450">
                  <c:v>7.9365079365079305E-2</c:v>
                </c:pt>
                <c:pt idx="4451">
                  <c:v>7.9382914214374795E-2</c:v>
                </c:pt>
                <c:pt idx="4452">
                  <c:v>7.9400749063670395E-2</c:v>
                </c:pt>
                <c:pt idx="4453">
                  <c:v>7.9418583912965898E-2</c:v>
                </c:pt>
                <c:pt idx="4454">
                  <c:v>7.9436418762261402E-2</c:v>
                </c:pt>
                <c:pt idx="4455">
                  <c:v>7.9454253611556905E-2</c:v>
                </c:pt>
                <c:pt idx="4456">
                  <c:v>7.9472088460852505E-2</c:v>
                </c:pt>
                <c:pt idx="4457">
                  <c:v>7.9489923310147995E-2</c:v>
                </c:pt>
                <c:pt idx="4458">
                  <c:v>7.9507758159443498E-2</c:v>
                </c:pt>
                <c:pt idx="4459">
                  <c:v>7.9525593008739001E-2</c:v>
                </c:pt>
                <c:pt idx="4460">
                  <c:v>7.9543427858034602E-2</c:v>
                </c:pt>
                <c:pt idx="4461">
                  <c:v>7.9561262707330105E-2</c:v>
                </c:pt>
                <c:pt idx="4462">
                  <c:v>7.9579097556625594E-2</c:v>
                </c:pt>
                <c:pt idx="4463">
                  <c:v>7.9596932405921098E-2</c:v>
                </c:pt>
                <c:pt idx="4464">
                  <c:v>7.9614767255216698E-2</c:v>
                </c:pt>
                <c:pt idx="4465">
                  <c:v>7.9632602104512201E-2</c:v>
                </c:pt>
                <c:pt idx="4466">
                  <c:v>7.9650436953807704E-2</c:v>
                </c:pt>
                <c:pt idx="4467">
                  <c:v>7.9668271803103194E-2</c:v>
                </c:pt>
                <c:pt idx="4468">
                  <c:v>7.9686106652398697E-2</c:v>
                </c:pt>
                <c:pt idx="4469">
                  <c:v>7.9703941501694298E-2</c:v>
                </c:pt>
                <c:pt idx="4470">
                  <c:v>7.9721776350989801E-2</c:v>
                </c:pt>
                <c:pt idx="4471">
                  <c:v>7.9739611200285304E-2</c:v>
                </c:pt>
                <c:pt idx="4472">
                  <c:v>7.9757446049580794E-2</c:v>
                </c:pt>
                <c:pt idx="4473">
                  <c:v>7.9775280898876394E-2</c:v>
                </c:pt>
                <c:pt idx="4474">
                  <c:v>7.9793115748171897E-2</c:v>
                </c:pt>
                <c:pt idx="4475">
                  <c:v>7.9810950597467401E-2</c:v>
                </c:pt>
                <c:pt idx="4476">
                  <c:v>7.9828785446762904E-2</c:v>
                </c:pt>
                <c:pt idx="4477">
                  <c:v>7.9846620296058504E-2</c:v>
                </c:pt>
                <c:pt idx="4478">
                  <c:v>7.9864455145353994E-2</c:v>
                </c:pt>
                <c:pt idx="4479">
                  <c:v>7.9882289994649497E-2</c:v>
                </c:pt>
                <c:pt idx="4480">
                  <c:v>7.9900124843945E-2</c:v>
                </c:pt>
                <c:pt idx="4481">
                  <c:v>7.9917959693240503E-2</c:v>
                </c:pt>
                <c:pt idx="4482">
                  <c:v>7.9935794542536104E-2</c:v>
                </c:pt>
                <c:pt idx="4483">
                  <c:v>7.9953629391831593E-2</c:v>
                </c:pt>
                <c:pt idx="4484">
                  <c:v>7.9971464241127097E-2</c:v>
                </c:pt>
                <c:pt idx="4485">
                  <c:v>7.99892990904226E-2</c:v>
                </c:pt>
                <c:pt idx="4486">
                  <c:v>8.00071339397182E-2</c:v>
                </c:pt>
                <c:pt idx="4487">
                  <c:v>8.0024968789013703E-2</c:v>
                </c:pt>
                <c:pt idx="4488">
                  <c:v>8.0042803638309207E-2</c:v>
                </c:pt>
                <c:pt idx="4489">
                  <c:v>8.0060638487604696E-2</c:v>
                </c:pt>
                <c:pt idx="4490">
                  <c:v>8.0078473336900297E-2</c:v>
                </c:pt>
                <c:pt idx="4491">
                  <c:v>8.00963081861958E-2</c:v>
                </c:pt>
                <c:pt idx="4492">
                  <c:v>8.0114143035491303E-2</c:v>
                </c:pt>
                <c:pt idx="4493">
                  <c:v>8.0131977884786806E-2</c:v>
                </c:pt>
                <c:pt idx="4494">
                  <c:v>8.0149812734082296E-2</c:v>
                </c:pt>
                <c:pt idx="4495">
                  <c:v>8.0167647583377896E-2</c:v>
                </c:pt>
                <c:pt idx="4496">
                  <c:v>8.0185482432673399E-2</c:v>
                </c:pt>
                <c:pt idx="4497">
                  <c:v>8.0203317281968903E-2</c:v>
                </c:pt>
                <c:pt idx="4498">
                  <c:v>8.0221152131264406E-2</c:v>
                </c:pt>
                <c:pt idx="4499">
                  <c:v>8.0238986980560006E-2</c:v>
                </c:pt>
                <c:pt idx="4500">
                  <c:v>8.0256821829855496E-2</c:v>
                </c:pt>
                <c:pt idx="4501">
                  <c:v>8.0274656679150999E-2</c:v>
                </c:pt>
                <c:pt idx="4502">
                  <c:v>8.0292491528446502E-2</c:v>
                </c:pt>
                <c:pt idx="4503">
                  <c:v>8.0310326377742103E-2</c:v>
                </c:pt>
                <c:pt idx="4504">
                  <c:v>8.0328161227037606E-2</c:v>
                </c:pt>
                <c:pt idx="4505">
                  <c:v>8.0345996076333095E-2</c:v>
                </c:pt>
                <c:pt idx="4506">
                  <c:v>8.0363830925628599E-2</c:v>
                </c:pt>
                <c:pt idx="4507">
                  <c:v>8.0381665774924199E-2</c:v>
                </c:pt>
                <c:pt idx="4508">
                  <c:v>8.0399500624219702E-2</c:v>
                </c:pt>
                <c:pt idx="4509">
                  <c:v>8.0417335473515206E-2</c:v>
                </c:pt>
                <c:pt idx="4510">
                  <c:v>8.0435170322810695E-2</c:v>
                </c:pt>
                <c:pt idx="4511">
                  <c:v>8.0453005172106296E-2</c:v>
                </c:pt>
                <c:pt idx="4512">
                  <c:v>8.0470840021401799E-2</c:v>
                </c:pt>
                <c:pt idx="4513">
                  <c:v>8.0488674870697302E-2</c:v>
                </c:pt>
                <c:pt idx="4514">
                  <c:v>8.0506509719992805E-2</c:v>
                </c:pt>
                <c:pt idx="4515">
                  <c:v>8.0524344569288295E-2</c:v>
                </c:pt>
                <c:pt idx="4516">
                  <c:v>8.0542179418583895E-2</c:v>
                </c:pt>
                <c:pt idx="4517">
                  <c:v>8.0560014267879398E-2</c:v>
                </c:pt>
                <c:pt idx="4518">
                  <c:v>8.0577849117174902E-2</c:v>
                </c:pt>
                <c:pt idx="4519">
                  <c:v>8.0595683966470405E-2</c:v>
                </c:pt>
                <c:pt idx="4520">
                  <c:v>8.0613518815766005E-2</c:v>
                </c:pt>
                <c:pt idx="4521">
                  <c:v>8.0631353665061495E-2</c:v>
                </c:pt>
                <c:pt idx="4522">
                  <c:v>8.0649188514356998E-2</c:v>
                </c:pt>
                <c:pt idx="4523">
                  <c:v>8.0667023363652501E-2</c:v>
                </c:pt>
                <c:pt idx="4524">
                  <c:v>8.0684858212948102E-2</c:v>
                </c:pt>
                <c:pt idx="4525">
                  <c:v>8.0702693062243605E-2</c:v>
                </c:pt>
                <c:pt idx="4526">
                  <c:v>8.0720527911539094E-2</c:v>
                </c:pt>
                <c:pt idx="4527">
                  <c:v>8.0738362760834598E-2</c:v>
                </c:pt>
                <c:pt idx="4528">
                  <c:v>8.0756197610130198E-2</c:v>
                </c:pt>
                <c:pt idx="4529">
                  <c:v>8.0774032459425701E-2</c:v>
                </c:pt>
                <c:pt idx="4530">
                  <c:v>8.0791867308721205E-2</c:v>
                </c:pt>
                <c:pt idx="4531">
                  <c:v>8.0809702158016694E-2</c:v>
                </c:pt>
                <c:pt idx="4532">
                  <c:v>8.0827537007312295E-2</c:v>
                </c:pt>
                <c:pt idx="4533">
                  <c:v>8.0845371856607798E-2</c:v>
                </c:pt>
                <c:pt idx="4534">
                  <c:v>8.0863206705903301E-2</c:v>
                </c:pt>
                <c:pt idx="4535">
                  <c:v>8.0881041555198804E-2</c:v>
                </c:pt>
                <c:pt idx="4536">
                  <c:v>8.0898876404494294E-2</c:v>
                </c:pt>
                <c:pt idx="4537">
                  <c:v>8.0916711253789894E-2</c:v>
                </c:pt>
                <c:pt idx="4538">
                  <c:v>8.0934546103085397E-2</c:v>
                </c:pt>
                <c:pt idx="4539">
                  <c:v>8.0952380952380901E-2</c:v>
                </c:pt>
                <c:pt idx="4540">
                  <c:v>8.0970215801676404E-2</c:v>
                </c:pt>
                <c:pt idx="4541">
                  <c:v>8.0988050650972004E-2</c:v>
                </c:pt>
                <c:pt idx="4542">
                  <c:v>8.1005885500267494E-2</c:v>
                </c:pt>
                <c:pt idx="4543">
                  <c:v>8.1023720349562997E-2</c:v>
                </c:pt>
                <c:pt idx="4544">
                  <c:v>8.10415551988585E-2</c:v>
                </c:pt>
                <c:pt idx="4545">
                  <c:v>8.1059390048154004E-2</c:v>
                </c:pt>
                <c:pt idx="4546">
                  <c:v>8.1077224897449604E-2</c:v>
                </c:pt>
                <c:pt idx="4547">
                  <c:v>8.1095059746745093E-2</c:v>
                </c:pt>
                <c:pt idx="4548">
                  <c:v>8.1112894596040597E-2</c:v>
                </c:pt>
                <c:pt idx="4549">
                  <c:v>8.11307294453361E-2</c:v>
                </c:pt>
                <c:pt idx="4550">
                  <c:v>8.11485642946317E-2</c:v>
                </c:pt>
                <c:pt idx="4551">
                  <c:v>8.1166399143927204E-2</c:v>
                </c:pt>
                <c:pt idx="4552">
                  <c:v>8.1184233993222693E-2</c:v>
                </c:pt>
                <c:pt idx="4553">
                  <c:v>8.1202068842518196E-2</c:v>
                </c:pt>
                <c:pt idx="4554">
                  <c:v>8.1219903691813797E-2</c:v>
                </c:pt>
                <c:pt idx="4555">
                  <c:v>8.12377385411093E-2</c:v>
                </c:pt>
                <c:pt idx="4556">
                  <c:v>8.1255573390404803E-2</c:v>
                </c:pt>
                <c:pt idx="4557">
                  <c:v>8.1273408239700307E-2</c:v>
                </c:pt>
                <c:pt idx="4558">
                  <c:v>8.1291243088995893E-2</c:v>
                </c:pt>
                <c:pt idx="4559">
                  <c:v>8.1309077938291396E-2</c:v>
                </c:pt>
                <c:pt idx="4560">
                  <c:v>8.13269127875869E-2</c:v>
                </c:pt>
                <c:pt idx="4561">
                  <c:v>8.1344747636882403E-2</c:v>
                </c:pt>
                <c:pt idx="4562">
                  <c:v>8.1362582486177906E-2</c:v>
                </c:pt>
                <c:pt idx="4563">
                  <c:v>8.1380417335473507E-2</c:v>
                </c:pt>
                <c:pt idx="4564">
                  <c:v>8.1398252184768996E-2</c:v>
                </c:pt>
                <c:pt idx="4565">
                  <c:v>8.1416087034064499E-2</c:v>
                </c:pt>
                <c:pt idx="4566">
                  <c:v>8.1433921883360003E-2</c:v>
                </c:pt>
                <c:pt idx="4567">
                  <c:v>8.1451756732655603E-2</c:v>
                </c:pt>
                <c:pt idx="4568">
                  <c:v>8.1469591581951106E-2</c:v>
                </c:pt>
                <c:pt idx="4569">
                  <c:v>8.1487426431246596E-2</c:v>
                </c:pt>
                <c:pt idx="4570">
                  <c:v>8.1505261280542099E-2</c:v>
                </c:pt>
                <c:pt idx="4571">
                  <c:v>8.1523096129837699E-2</c:v>
                </c:pt>
                <c:pt idx="4572">
                  <c:v>8.1540930979133203E-2</c:v>
                </c:pt>
                <c:pt idx="4573">
                  <c:v>8.1558765828428706E-2</c:v>
                </c:pt>
                <c:pt idx="4574">
                  <c:v>8.1576600677724195E-2</c:v>
                </c:pt>
                <c:pt idx="4575">
                  <c:v>8.1594435527019796E-2</c:v>
                </c:pt>
                <c:pt idx="4576">
                  <c:v>8.1612270376315299E-2</c:v>
                </c:pt>
                <c:pt idx="4577">
                  <c:v>8.1630105225610802E-2</c:v>
                </c:pt>
                <c:pt idx="4578">
                  <c:v>8.1647940074906306E-2</c:v>
                </c:pt>
                <c:pt idx="4579">
                  <c:v>8.1665774924201795E-2</c:v>
                </c:pt>
                <c:pt idx="4580">
                  <c:v>8.1683609773497395E-2</c:v>
                </c:pt>
                <c:pt idx="4581">
                  <c:v>8.1701444622792899E-2</c:v>
                </c:pt>
                <c:pt idx="4582">
                  <c:v>8.1719279472088402E-2</c:v>
                </c:pt>
                <c:pt idx="4583">
                  <c:v>8.1737114321383905E-2</c:v>
                </c:pt>
                <c:pt idx="4584">
                  <c:v>8.1754949170679506E-2</c:v>
                </c:pt>
                <c:pt idx="4585">
                  <c:v>8.1772784019974995E-2</c:v>
                </c:pt>
                <c:pt idx="4586">
                  <c:v>8.1790618869270498E-2</c:v>
                </c:pt>
                <c:pt idx="4587">
                  <c:v>8.1808453718566002E-2</c:v>
                </c:pt>
                <c:pt idx="4588">
                  <c:v>8.1826288567861602E-2</c:v>
                </c:pt>
                <c:pt idx="4589">
                  <c:v>8.1844123417157105E-2</c:v>
                </c:pt>
                <c:pt idx="4590">
                  <c:v>8.1861958266452595E-2</c:v>
                </c:pt>
                <c:pt idx="4591">
                  <c:v>8.1879793115748098E-2</c:v>
                </c:pt>
                <c:pt idx="4592">
                  <c:v>8.1897627965043698E-2</c:v>
                </c:pt>
                <c:pt idx="4593">
                  <c:v>8.1915462814339202E-2</c:v>
                </c:pt>
                <c:pt idx="4594">
                  <c:v>8.1933297663634705E-2</c:v>
                </c:pt>
                <c:pt idx="4595">
                  <c:v>8.1951132512930194E-2</c:v>
                </c:pt>
                <c:pt idx="4596">
                  <c:v>8.1968967362225795E-2</c:v>
                </c:pt>
                <c:pt idx="4597">
                  <c:v>8.1986802211521298E-2</c:v>
                </c:pt>
                <c:pt idx="4598">
                  <c:v>8.2004637060816801E-2</c:v>
                </c:pt>
                <c:pt idx="4599">
                  <c:v>8.2022471910112305E-2</c:v>
                </c:pt>
                <c:pt idx="4600">
                  <c:v>8.2040306759407794E-2</c:v>
                </c:pt>
                <c:pt idx="4601">
                  <c:v>8.2058141608703394E-2</c:v>
                </c:pt>
                <c:pt idx="4602">
                  <c:v>8.2075976457998898E-2</c:v>
                </c:pt>
                <c:pt idx="4603">
                  <c:v>8.2093811307294401E-2</c:v>
                </c:pt>
                <c:pt idx="4604">
                  <c:v>8.2111646156589904E-2</c:v>
                </c:pt>
                <c:pt idx="4605">
                  <c:v>8.2129481005885505E-2</c:v>
                </c:pt>
                <c:pt idx="4606">
                  <c:v>8.2147315855180994E-2</c:v>
                </c:pt>
                <c:pt idx="4607">
                  <c:v>8.2165150704476497E-2</c:v>
                </c:pt>
                <c:pt idx="4608">
                  <c:v>8.2182985553772001E-2</c:v>
                </c:pt>
                <c:pt idx="4609">
                  <c:v>8.2200820403067601E-2</c:v>
                </c:pt>
                <c:pt idx="4610">
                  <c:v>8.2218655252363104E-2</c:v>
                </c:pt>
                <c:pt idx="4611">
                  <c:v>8.2236490101658594E-2</c:v>
                </c:pt>
                <c:pt idx="4612">
                  <c:v>8.2254324950954097E-2</c:v>
                </c:pt>
                <c:pt idx="4613">
                  <c:v>8.22721598002496E-2</c:v>
                </c:pt>
                <c:pt idx="4614">
                  <c:v>8.2289994649545201E-2</c:v>
                </c:pt>
                <c:pt idx="4615">
                  <c:v>8.2307829498840704E-2</c:v>
                </c:pt>
                <c:pt idx="4616">
                  <c:v>8.2325664348136193E-2</c:v>
                </c:pt>
                <c:pt idx="4617">
                  <c:v>8.2343499197431697E-2</c:v>
                </c:pt>
                <c:pt idx="4618">
                  <c:v>8.2361334046727297E-2</c:v>
                </c:pt>
                <c:pt idx="4619">
                  <c:v>8.23791688960228E-2</c:v>
                </c:pt>
                <c:pt idx="4620">
                  <c:v>8.2397003745318304E-2</c:v>
                </c:pt>
                <c:pt idx="4621">
                  <c:v>8.2414838594613807E-2</c:v>
                </c:pt>
                <c:pt idx="4622">
                  <c:v>8.2432673443909393E-2</c:v>
                </c:pt>
                <c:pt idx="4623">
                  <c:v>8.2450508293204897E-2</c:v>
                </c:pt>
                <c:pt idx="4624">
                  <c:v>8.24683431425004E-2</c:v>
                </c:pt>
                <c:pt idx="4625">
                  <c:v>8.2486177991795903E-2</c:v>
                </c:pt>
                <c:pt idx="4626">
                  <c:v>8.2504012841091406E-2</c:v>
                </c:pt>
                <c:pt idx="4627">
                  <c:v>8.2521847690387007E-2</c:v>
                </c:pt>
                <c:pt idx="4628">
                  <c:v>8.2539682539682496E-2</c:v>
                </c:pt>
                <c:pt idx="4629">
                  <c:v>8.2557517388978E-2</c:v>
                </c:pt>
                <c:pt idx="4630">
                  <c:v>8.2575352238273503E-2</c:v>
                </c:pt>
                <c:pt idx="4631">
                  <c:v>8.2593187087569103E-2</c:v>
                </c:pt>
                <c:pt idx="4632">
                  <c:v>8.2611021936864606E-2</c:v>
                </c:pt>
                <c:pt idx="4633">
                  <c:v>8.2628856786160096E-2</c:v>
                </c:pt>
                <c:pt idx="4634">
                  <c:v>8.2646691635455599E-2</c:v>
                </c:pt>
                <c:pt idx="4635">
                  <c:v>8.26645264847512E-2</c:v>
                </c:pt>
                <c:pt idx="4636">
                  <c:v>8.2682361334046703E-2</c:v>
                </c:pt>
                <c:pt idx="4637">
                  <c:v>8.2700196183342206E-2</c:v>
                </c:pt>
                <c:pt idx="4638">
                  <c:v>8.2718031032637696E-2</c:v>
                </c:pt>
                <c:pt idx="4639">
                  <c:v>8.2735865881933296E-2</c:v>
                </c:pt>
                <c:pt idx="4640">
                  <c:v>8.2753700731228799E-2</c:v>
                </c:pt>
                <c:pt idx="4641">
                  <c:v>8.2771535580524302E-2</c:v>
                </c:pt>
                <c:pt idx="4642">
                  <c:v>8.2789370429819806E-2</c:v>
                </c:pt>
                <c:pt idx="4643">
                  <c:v>8.2807205279115295E-2</c:v>
                </c:pt>
                <c:pt idx="4644">
                  <c:v>8.2825040128410896E-2</c:v>
                </c:pt>
                <c:pt idx="4645">
                  <c:v>8.2842874977706399E-2</c:v>
                </c:pt>
                <c:pt idx="4646">
                  <c:v>8.2860709827001902E-2</c:v>
                </c:pt>
                <c:pt idx="4647">
                  <c:v>8.2878544676297405E-2</c:v>
                </c:pt>
                <c:pt idx="4648">
                  <c:v>8.2896379525593006E-2</c:v>
                </c:pt>
                <c:pt idx="4649">
                  <c:v>8.2914214374888495E-2</c:v>
                </c:pt>
                <c:pt idx="4650">
                  <c:v>8.2932049224183998E-2</c:v>
                </c:pt>
                <c:pt idx="4651">
                  <c:v>8.2949884073479502E-2</c:v>
                </c:pt>
                <c:pt idx="4652">
                  <c:v>8.2967718922775102E-2</c:v>
                </c:pt>
                <c:pt idx="4653">
                  <c:v>8.2985553772070605E-2</c:v>
                </c:pt>
                <c:pt idx="4654">
                  <c:v>8.3003388621366095E-2</c:v>
                </c:pt>
                <c:pt idx="4655">
                  <c:v>8.3021223470661598E-2</c:v>
                </c:pt>
                <c:pt idx="4656">
                  <c:v>8.3039058319957199E-2</c:v>
                </c:pt>
                <c:pt idx="4657">
                  <c:v>8.3056893169252702E-2</c:v>
                </c:pt>
                <c:pt idx="4658">
                  <c:v>8.3074728018548205E-2</c:v>
                </c:pt>
                <c:pt idx="4659">
                  <c:v>8.3092562867843694E-2</c:v>
                </c:pt>
                <c:pt idx="4660">
                  <c:v>8.3110397717139295E-2</c:v>
                </c:pt>
                <c:pt idx="4661">
                  <c:v>8.3128232566434798E-2</c:v>
                </c:pt>
                <c:pt idx="4662">
                  <c:v>8.3146067415730301E-2</c:v>
                </c:pt>
                <c:pt idx="4663">
                  <c:v>8.3163902265025805E-2</c:v>
                </c:pt>
                <c:pt idx="4664">
                  <c:v>8.3181737114321294E-2</c:v>
                </c:pt>
                <c:pt idx="4665">
                  <c:v>8.3199571963616895E-2</c:v>
                </c:pt>
                <c:pt idx="4666">
                  <c:v>8.3217406812912398E-2</c:v>
                </c:pt>
                <c:pt idx="4667">
                  <c:v>8.3235241662207901E-2</c:v>
                </c:pt>
                <c:pt idx="4668">
                  <c:v>8.3253076511503404E-2</c:v>
                </c:pt>
                <c:pt idx="4669">
                  <c:v>8.3270911360799005E-2</c:v>
                </c:pt>
                <c:pt idx="4670">
                  <c:v>8.3288746210094494E-2</c:v>
                </c:pt>
                <c:pt idx="4671">
                  <c:v>8.3306581059389997E-2</c:v>
                </c:pt>
                <c:pt idx="4672">
                  <c:v>8.3324415908685501E-2</c:v>
                </c:pt>
                <c:pt idx="4673">
                  <c:v>8.3342250757981101E-2</c:v>
                </c:pt>
                <c:pt idx="4674">
                  <c:v>8.3360085607276604E-2</c:v>
                </c:pt>
                <c:pt idx="4675">
                  <c:v>8.3377920456572094E-2</c:v>
                </c:pt>
                <c:pt idx="4676">
                  <c:v>8.3395755305867597E-2</c:v>
                </c:pt>
                <c:pt idx="4677">
                  <c:v>8.34135901551631E-2</c:v>
                </c:pt>
                <c:pt idx="4678">
                  <c:v>8.3431425004458701E-2</c:v>
                </c:pt>
                <c:pt idx="4679">
                  <c:v>8.3449259853754204E-2</c:v>
                </c:pt>
                <c:pt idx="4680">
                  <c:v>8.3467094703049693E-2</c:v>
                </c:pt>
                <c:pt idx="4681">
                  <c:v>8.3484929552345197E-2</c:v>
                </c:pt>
                <c:pt idx="4682">
                  <c:v>8.3502764401640797E-2</c:v>
                </c:pt>
                <c:pt idx="4683">
                  <c:v>8.35205992509363E-2</c:v>
                </c:pt>
                <c:pt idx="4684">
                  <c:v>8.3538434100231804E-2</c:v>
                </c:pt>
                <c:pt idx="4685">
                  <c:v>8.3556268949527293E-2</c:v>
                </c:pt>
                <c:pt idx="4686">
                  <c:v>8.3574103798822894E-2</c:v>
                </c:pt>
                <c:pt idx="4687">
                  <c:v>8.3591938648118397E-2</c:v>
                </c:pt>
                <c:pt idx="4688">
                  <c:v>8.36097734974139E-2</c:v>
                </c:pt>
                <c:pt idx="4689">
                  <c:v>8.3627608346709403E-2</c:v>
                </c:pt>
                <c:pt idx="4690">
                  <c:v>8.3645443196004907E-2</c:v>
                </c:pt>
                <c:pt idx="4691">
                  <c:v>8.3663278045300493E-2</c:v>
                </c:pt>
                <c:pt idx="4692">
                  <c:v>8.3681112894595996E-2</c:v>
                </c:pt>
                <c:pt idx="4693">
                  <c:v>8.36989477438915E-2</c:v>
                </c:pt>
                <c:pt idx="4694">
                  <c:v>8.3716782593187003E-2</c:v>
                </c:pt>
                <c:pt idx="4695">
                  <c:v>8.3734617442482603E-2</c:v>
                </c:pt>
                <c:pt idx="4696">
                  <c:v>8.3752452291778107E-2</c:v>
                </c:pt>
                <c:pt idx="4697">
                  <c:v>8.3770287141073596E-2</c:v>
                </c:pt>
                <c:pt idx="4698">
                  <c:v>8.3788121990369099E-2</c:v>
                </c:pt>
                <c:pt idx="4699">
                  <c:v>8.38059568396647E-2</c:v>
                </c:pt>
                <c:pt idx="4700">
                  <c:v>8.3823791688960203E-2</c:v>
                </c:pt>
                <c:pt idx="4701">
                  <c:v>8.3841626538255706E-2</c:v>
                </c:pt>
                <c:pt idx="4702">
                  <c:v>8.3859461387551196E-2</c:v>
                </c:pt>
                <c:pt idx="4703">
                  <c:v>8.3877296236846796E-2</c:v>
                </c:pt>
                <c:pt idx="4704">
                  <c:v>8.3895131086142299E-2</c:v>
                </c:pt>
                <c:pt idx="4705">
                  <c:v>8.3912965935437803E-2</c:v>
                </c:pt>
                <c:pt idx="4706">
                  <c:v>8.3930800784733306E-2</c:v>
                </c:pt>
                <c:pt idx="4707">
                  <c:v>8.3948635634028795E-2</c:v>
                </c:pt>
                <c:pt idx="4708">
                  <c:v>8.3966470483324396E-2</c:v>
                </c:pt>
                <c:pt idx="4709">
                  <c:v>8.3984305332619899E-2</c:v>
                </c:pt>
                <c:pt idx="4710">
                  <c:v>8.4002140181915402E-2</c:v>
                </c:pt>
                <c:pt idx="4711">
                  <c:v>8.4019975031210906E-2</c:v>
                </c:pt>
                <c:pt idx="4712">
                  <c:v>8.4037809880506506E-2</c:v>
                </c:pt>
                <c:pt idx="4713">
                  <c:v>8.4055644729801995E-2</c:v>
                </c:pt>
                <c:pt idx="4714">
                  <c:v>8.4073479579097499E-2</c:v>
                </c:pt>
                <c:pt idx="4715">
                  <c:v>8.4091314428393002E-2</c:v>
                </c:pt>
                <c:pt idx="4716">
                  <c:v>8.4109149277688602E-2</c:v>
                </c:pt>
                <c:pt idx="4717">
                  <c:v>8.4126984126984106E-2</c:v>
                </c:pt>
                <c:pt idx="4718">
                  <c:v>8.4144818976279595E-2</c:v>
                </c:pt>
                <c:pt idx="4719">
                  <c:v>8.4162653825575098E-2</c:v>
                </c:pt>
                <c:pt idx="4720">
                  <c:v>8.4180488674870699E-2</c:v>
                </c:pt>
                <c:pt idx="4721">
                  <c:v>8.4198323524166202E-2</c:v>
                </c:pt>
                <c:pt idx="4722">
                  <c:v>8.4216158373461705E-2</c:v>
                </c:pt>
                <c:pt idx="4723">
                  <c:v>8.4233993222757195E-2</c:v>
                </c:pt>
                <c:pt idx="4724">
                  <c:v>8.4251828072052795E-2</c:v>
                </c:pt>
                <c:pt idx="4725">
                  <c:v>8.4269662921348298E-2</c:v>
                </c:pt>
                <c:pt idx="4726">
                  <c:v>8.4287497770643802E-2</c:v>
                </c:pt>
                <c:pt idx="4727">
                  <c:v>8.4305332619939305E-2</c:v>
                </c:pt>
                <c:pt idx="4728">
                  <c:v>8.4323167469234794E-2</c:v>
                </c:pt>
                <c:pt idx="4729">
                  <c:v>8.4341002318530395E-2</c:v>
                </c:pt>
                <c:pt idx="4730">
                  <c:v>8.4358837167825898E-2</c:v>
                </c:pt>
                <c:pt idx="4731">
                  <c:v>8.4376672017121401E-2</c:v>
                </c:pt>
                <c:pt idx="4732">
                  <c:v>8.4394506866416905E-2</c:v>
                </c:pt>
                <c:pt idx="4733">
                  <c:v>8.4412341715712505E-2</c:v>
                </c:pt>
                <c:pt idx="4734">
                  <c:v>8.4430176565007994E-2</c:v>
                </c:pt>
                <c:pt idx="4735">
                  <c:v>8.4448011414303498E-2</c:v>
                </c:pt>
                <c:pt idx="4736">
                  <c:v>8.4465846263599001E-2</c:v>
                </c:pt>
                <c:pt idx="4737">
                  <c:v>8.4483681112894601E-2</c:v>
                </c:pt>
                <c:pt idx="4738">
                  <c:v>8.4501515962190105E-2</c:v>
                </c:pt>
                <c:pt idx="4739">
                  <c:v>8.4519350811485594E-2</c:v>
                </c:pt>
                <c:pt idx="4740">
                  <c:v>8.4537185660781097E-2</c:v>
                </c:pt>
                <c:pt idx="4741">
                  <c:v>8.4555020510076601E-2</c:v>
                </c:pt>
                <c:pt idx="4742">
                  <c:v>8.4572855359372201E-2</c:v>
                </c:pt>
                <c:pt idx="4743">
                  <c:v>8.4590690208667704E-2</c:v>
                </c:pt>
                <c:pt idx="4744">
                  <c:v>8.4608525057963194E-2</c:v>
                </c:pt>
                <c:pt idx="4745">
                  <c:v>8.4626359907258697E-2</c:v>
                </c:pt>
                <c:pt idx="4746">
                  <c:v>8.4644194756554297E-2</c:v>
                </c:pt>
                <c:pt idx="4747">
                  <c:v>8.4662029605849801E-2</c:v>
                </c:pt>
                <c:pt idx="4748">
                  <c:v>8.4679864455145304E-2</c:v>
                </c:pt>
                <c:pt idx="4749">
                  <c:v>8.4697699304440793E-2</c:v>
                </c:pt>
                <c:pt idx="4750">
                  <c:v>8.4715534153736394E-2</c:v>
                </c:pt>
                <c:pt idx="4751">
                  <c:v>8.4733369003031897E-2</c:v>
                </c:pt>
                <c:pt idx="4752">
                  <c:v>8.47512038523274E-2</c:v>
                </c:pt>
                <c:pt idx="4753">
                  <c:v>8.4769038701622904E-2</c:v>
                </c:pt>
                <c:pt idx="4754">
                  <c:v>8.4786873550918407E-2</c:v>
                </c:pt>
                <c:pt idx="4755">
                  <c:v>8.4804708400213993E-2</c:v>
                </c:pt>
                <c:pt idx="4756">
                  <c:v>8.4822543249509497E-2</c:v>
                </c:pt>
                <c:pt idx="4757">
                  <c:v>8.4840378098805E-2</c:v>
                </c:pt>
                <c:pt idx="4758">
                  <c:v>8.4858212948100503E-2</c:v>
                </c:pt>
                <c:pt idx="4759">
                  <c:v>8.4876047797396104E-2</c:v>
                </c:pt>
                <c:pt idx="4760">
                  <c:v>8.4893882646691607E-2</c:v>
                </c:pt>
                <c:pt idx="4761">
                  <c:v>8.4911717495987096E-2</c:v>
                </c:pt>
                <c:pt idx="4762">
                  <c:v>8.49295523452826E-2</c:v>
                </c:pt>
                <c:pt idx="4763">
                  <c:v>8.49473871945782E-2</c:v>
                </c:pt>
                <c:pt idx="4764">
                  <c:v>8.4965222043873703E-2</c:v>
                </c:pt>
                <c:pt idx="4765">
                  <c:v>8.4983056893169207E-2</c:v>
                </c:pt>
                <c:pt idx="4766">
                  <c:v>8.5000891742464696E-2</c:v>
                </c:pt>
                <c:pt idx="4767">
                  <c:v>8.5018726591760296E-2</c:v>
                </c:pt>
                <c:pt idx="4768">
                  <c:v>8.50365614410558E-2</c:v>
                </c:pt>
                <c:pt idx="4769">
                  <c:v>8.5054396290351303E-2</c:v>
                </c:pt>
                <c:pt idx="4770">
                  <c:v>8.5072231139646806E-2</c:v>
                </c:pt>
                <c:pt idx="4771">
                  <c:v>8.5090065988942296E-2</c:v>
                </c:pt>
                <c:pt idx="4772">
                  <c:v>8.5107900838237896E-2</c:v>
                </c:pt>
                <c:pt idx="4773">
                  <c:v>8.5125735687533399E-2</c:v>
                </c:pt>
                <c:pt idx="4774">
                  <c:v>8.5143570536828903E-2</c:v>
                </c:pt>
                <c:pt idx="4775">
                  <c:v>8.5161405386124406E-2</c:v>
                </c:pt>
                <c:pt idx="4776">
                  <c:v>8.5179240235420006E-2</c:v>
                </c:pt>
                <c:pt idx="4777">
                  <c:v>8.5197075084715496E-2</c:v>
                </c:pt>
                <c:pt idx="4778">
                  <c:v>8.5214909934010999E-2</c:v>
                </c:pt>
                <c:pt idx="4779">
                  <c:v>8.5232744783306502E-2</c:v>
                </c:pt>
                <c:pt idx="4780">
                  <c:v>8.5250579632602103E-2</c:v>
                </c:pt>
                <c:pt idx="4781">
                  <c:v>8.5268414481897606E-2</c:v>
                </c:pt>
                <c:pt idx="4782">
                  <c:v>8.5286249331193095E-2</c:v>
                </c:pt>
                <c:pt idx="4783">
                  <c:v>8.5304084180488599E-2</c:v>
                </c:pt>
                <c:pt idx="4784">
                  <c:v>8.5321919029784199E-2</c:v>
                </c:pt>
                <c:pt idx="4785">
                  <c:v>8.5339753879079702E-2</c:v>
                </c:pt>
                <c:pt idx="4786">
                  <c:v>8.5357588728375206E-2</c:v>
                </c:pt>
                <c:pt idx="4787">
                  <c:v>8.5375423577670695E-2</c:v>
                </c:pt>
                <c:pt idx="4788">
                  <c:v>8.5393258426966295E-2</c:v>
                </c:pt>
                <c:pt idx="4789">
                  <c:v>8.5411093276261799E-2</c:v>
                </c:pt>
                <c:pt idx="4790">
                  <c:v>8.5428928125557302E-2</c:v>
                </c:pt>
                <c:pt idx="4791">
                  <c:v>8.5446762974852805E-2</c:v>
                </c:pt>
                <c:pt idx="4792">
                  <c:v>8.5464597824148295E-2</c:v>
                </c:pt>
                <c:pt idx="4793">
                  <c:v>8.5482432673443895E-2</c:v>
                </c:pt>
                <c:pt idx="4794">
                  <c:v>8.5500267522739398E-2</c:v>
                </c:pt>
                <c:pt idx="4795">
                  <c:v>8.5518102372034902E-2</c:v>
                </c:pt>
                <c:pt idx="4796">
                  <c:v>8.5535937221330405E-2</c:v>
                </c:pt>
                <c:pt idx="4797">
                  <c:v>8.5553772070626005E-2</c:v>
                </c:pt>
                <c:pt idx="4798">
                  <c:v>8.5571606919921495E-2</c:v>
                </c:pt>
                <c:pt idx="4799">
                  <c:v>8.5589441769216998E-2</c:v>
                </c:pt>
                <c:pt idx="4800">
                  <c:v>8.5607276618512501E-2</c:v>
                </c:pt>
                <c:pt idx="4801">
                  <c:v>8.5625111467808102E-2</c:v>
                </c:pt>
                <c:pt idx="4802">
                  <c:v>8.5642946317103605E-2</c:v>
                </c:pt>
                <c:pt idx="4803">
                  <c:v>8.5660781166399094E-2</c:v>
                </c:pt>
                <c:pt idx="4804">
                  <c:v>8.5678616015694598E-2</c:v>
                </c:pt>
                <c:pt idx="4805">
                  <c:v>8.5696450864990101E-2</c:v>
                </c:pt>
                <c:pt idx="4806">
                  <c:v>8.5714285714285701E-2</c:v>
                </c:pt>
                <c:pt idx="4807">
                  <c:v>8.5732120563581204E-2</c:v>
                </c:pt>
                <c:pt idx="4808">
                  <c:v>8.5749955412876694E-2</c:v>
                </c:pt>
                <c:pt idx="4809">
                  <c:v>8.5767790262172197E-2</c:v>
                </c:pt>
                <c:pt idx="4810">
                  <c:v>8.5785625111467798E-2</c:v>
                </c:pt>
                <c:pt idx="4811">
                  <c:v>8.5803459960763301E-2</c:v>
                </c:pt>
                <c:pt idx="4812">
                  <c:v>8.5821294810058804E-2</c:v>
                </c:pt>
                <c:pt idx="4813">
                  <c:v>8.5839129659354294E-2</c:v>
                </c:pt>
                <c:pt idx="4814">
                  <c:v>8.5856964508649894E-2</c:v>
                </c:pt>
                <c:pt idx="4815">
                  <c:v>8.5874799357945397E-2</c:v>
                </c:pt>
                <c:pt idx="4816">
                  <c:v>8.58926342072409E-2</c:v>
                </c:pt>
                <c:pt idx="4817">
                  <c:v>8.5910469056536404E-2</c:v>
                </c:pt>
                <c:pt idx="4818">
                  <c:v>8.5928303905831893E-2</c:v>
                </c:pt>
                <c:pt idx="4819">
                  <c:v>8.5946138755127494E-2</c:v>
                </c:pt>
                <c:pt idx="4820">
                  <c:v>8.5963973604422997E-2</c:v>
                </c:pt>
                <c:pt idx="4821">
                  <c:v>8.59818084537185E-2</c:v>
                </c:pt>
                <c:pt idx="4822">
                  <c:v>8.5999643303014003E-2</c:v>
                </c:pt>
                <c:pt idx="4823">
                  <c:v>8.6017478152309604E-2</c:v>
                </c:pt>
                <c:pt idx="4824">
                  <c:v>8.6035313001605093E-2</c:v>
                </c:pt>
                <c:pt idx="4825">
                  <c:v>8.6053147850900596E-2</c:v>
                </c:pt>
                <c:pt idx="4826">
                  <c:v>8.60709827001961E-2</c:v>
                </c:pt>
                <c:pt idx="4827">
                  <c:v>8.60888175494917E-2</c:v>
                </c:pt>
                <c:pt idx="4828">
                  <c:v>8.6106652398787203E-2</c:v>
                </c:pt>
                <c:pt idx="4829">
                  <c:v>8.6124487248082707E-2</c:v>
                </c:pt>
                <c:pt idx="4830">
                  <c:v>8.6142322097378196E-2</c:v>
                </c:pt>
                <c:pt idx="4831">
                  <c:v>8.6160156946673797E-2</c:v>
                </c:pt>
                <c:pt idx="4832">
                  <c:v>8.61779917959693E-2</c:v>
                </c:pt>
                <c:pt idx="4833">
                  <c:v>8.6195826645264803E-2</c:v>
                </c:pt>
                <c:pt idx="4834">
                  <c:v>8.6213661494560306E-2</c:v>
                </c:pt>
                <c:pt idx="4835">
                  <c:v>8.6231496343855796E-2</c:v>
                </c:pt>
                <c:pt idx="4836">
                  <c:v>8.6249331193151396E-2</c:v>
                </c:pt>
                <c:pt idx="4837">
                  <c:v>8.6267166042446899E-2</c:v>
                </c:pt>
                <c:pt idx="4838">
                  <c:v>8.6285000891742403E-2</c:v>
                </c:pt>
                <c:pt idx="4839">
                  <c:v>8.6302835741037906E-2</c:v>
                </c:pt>
                <c:pt idx="4840">
                  <c:v>8.6320670590333506E-2</c:v>
                </c:pt>
                <c:pt idx="4841">
                  <c:v>8.6338505439628996E-2</c:v>
                </c:pt>
                <c:pt idx="4842">
                  <c:v>8.6356340288924499E-2</c:v>
                </c:pt>
                <c:pt idx="4843">
                  <c:v>8.6374175138220002E-2</c:v>
                </c:pt>
                <c:pt idx="4844">
                  <c:v>8.6392009987515603E-2</c:v>
                </c:pt>
                <c:pt idx="4845">
                  <c:v>8.6409844836811106E-2</c:v>
                </c:pt>
                <c:pt idx="4846">
                  <c:v>8.6427679686106595E-2</c:v>
                </c:pt>
                <c:pt idx="4847">
                  <c:v>8.6445514535402099E-2</c:v>
                </c:pt>
                <c:pt idx="4848">
                  <c:v>8.6463349384697699E-2</c:v>
                </c:pt>
                <c:pt idx="4849">
                  <c:v>8.6481184233993202E-2</c:v>
                </c:pt>
                <c:pt idx="4850">
                  <c:v>8.6499019083288706E-2</c:v>
                </c:pt>
                <c:pt idx="4851">
                  <c:v>8.6516853932584195E-2</c:v>
                </c:pt>
                <c:pt idx="4852">
                  <c:v>8.6534688781879796E-2</c:v>
                </c:pt>
                <c:pt idx="4853">
                  <c:v>8.6552523631175299E-2</c:v>
                </c:pt>
                <c:pt idx="4854">
                  <c:v>8.6570358480470802E-2</c:v>
                </c:pt>
                <c:pt idx="4855">
                  <c:v>8.6588193329766305E-2</c:v>
                </c:pt>
                <c:pt idx="4856">
                  <c:v>8.6606028179061795E-2</c:v>
                </c:pt>
                <c:pt idx="4857">
                  <c:v>8.6623863028357395E-2</c:v>
                </c:pt>
                <c:pt idx="4858">
                  <c:v>8.6641697877652898E-2</c:v>
                </c:pt>
                <c:pt idx="4859">
                  <c:v>8.6659532726948402E-2</c:v>
                </c:pt>
                <c:pt idx="4860">
                  <c:v>8.6677367576243905E-2</c:v>
                </c:pt>
                <c:pt idx="4861">
                  <c:v>8.6695202425539505E-2</c:v>
                </c:pt>
                <c:pt idx="4862">
                  <c:v>8.6713037274834995E-2</c:v>
                </c:pt>
                <c:pt idx="4863">
                  <c:v>8.6730872124130498E-2</c:v>
                </c:pt>
                <c:pt idx="4864">
                  <c:v>8.6748706973426001E-2</c:v>
                </c:pt>
                <c:pt idx="4865">
                  <c:v>8.6766541822721602E-2</c:v>
                </c:pt>
                <c:pt idx="4866">
                  <c:v>8.6784376672017105E-2</c:v>
                </c:pt>
                <c:pt idx="4867">
                  <c:v>8.6802211521312594E-2</c:v>
                </c:pt>
                <c:pt idx="4868">
                  <c:v>8.6820046370608098E-2</c:v>
                </c:pt>
                <c:pt idx="4869">
                  <c:v>8.6837881219903698E-2</c:v>
                </c:pt>
                <c:pt idx="4870">
                  <c:v>8.6855716069199201E-2</c:v>
                </c:pt>
                <c:pt idx="4871">
                  <c:v>8.6873550918494705E-2</c:v>
                </c:pt>
                <c:pt idx="4872">
                  <c:v>8.6891385767790194E-2</c:v>
                </c:pt>
                <c:pt idx="4873">
                  <c:v>8.6909220617085697E-2</c:v>
                </c:pt>
                <c:pt idx="4874">
                  <c:v>8.6927055466381298E-2</c:v>
                </c:pt>
                <c:pt idx="4875">
                  <c:v>8.6944890315676801E-2</c:v>
                </c:pt>
                <c:pt idx="4876">
                  <c:v>8.6962725164972304E-2</c:v>
                </c:pt>
                <c:pt idx="4877">
                  <c:v>8.6980560014267794E-2</c:v>
                </c:pt>
                <c:pt idx="4878">
                  <c:v>8.6998394863563394E-2</c:v>
                </c:pt>
                <c:pt idx="4879">
                  <c:v>8.7016229712858897E-2</c:v>
                </c:pt>
                <c:pt idx="4880">
                  <c:v>8.7034064562154401E-2</c:v>
                </c:pt>
                <c:pt idx="4881">
                  <c:v>8.7051899411449904E-2</c:v>
                </c:pt>
                <c:pt idx="4882">
                  <c:v>8.7069734260745393E-2</c:v>
                </c:pt>
                <c:pt idx="4883">
                  <c:v>8.7087569110040994E-2</c:v>
                </c:pt>
                <c:pt idx="4884">
                  <c:v>8.7105403959336497E-2</c:v>
                </c:pt>
                <c:pt idx="4885">
                  <c:v>8.7123238808632E-2</c:v>
                </c:pt>
                <c:pt idx="4886">
                  <c:v>8.7141073657927504E-2</c:v>
                </c:pt>
                <c:pt idx="4887">
                  <c:v>8.7158908507223104E-2</c:v>
                </c:pt>
                <c:pt idx="4888">
                  <c:v>8.7176743356518593E-2</c:v>
                </c:pt>
                <c:pt idx="4889">
                  <c:v>8.7194578205814097E-2</c:v>
                </c:pt>
                <c:pt idx="4890">
                  <c:v>8.72124130551096E-2</c:v>
                </c:pt>
                <c:pt idx="4891">
                  <c:v>8.72302479044052E-2</c:v>
                </c:pt>
                <c:pt idx="4892">
                  <c:v>8.7248082753700704E-2</c:v>
                </c:pt>
                <c:pt idx="4893">
                  <c:v>8.7265917602996207E-2</c:v>
                </c:pt>
                <c:pt idx="4894">
                  <c:v>8.7283752452291696E-2</c:v>
                </c:pt>
                <c:pt idx="4895">
                  <c:v>8.7301587301587297E-2</c:v>
                </c:pt>
                <c:pt idx="4896">
                  <c:v>8.73194221508828E-2</c:v>
                </c:pt>
                <c:pt idx="4897">
                  <c:v>8.7337257000178303E-2</c:v>
                </c:pt>
                <c:pt idx="4898">
                  <c:v>8.7355091849473807E-2</c:v>
                </c:pt>
                <c:pt idx="4899">
                  <c:v>8.7372926698769393E-2</c:v>
                </c:pt>
                <c:pt idx="4900">
                  <c:v>8.7390761548064896E-2</c:v>
                </c:pt>
                <c:pt idx="4901">
                  <c:v>8.74085963973604E-2</c:v>
                </c:pt>
                <c:pt idx="4902">
                  <c:v>8.7426431246655903E-2</c:v>
                </c:pt>
                <c:pt idx="4903">
                  <c:v>8.7444266095951406E-2</c:v>
                </c:pt>
                <c:pt idx="4904">
                  <c:v>8.7462100945247007E-2</c:v>
                </c:pt>
                <c:pt idx="4905">
                  <c:v>8.7479935794542496E-2</c:v>
                </c:pt>
                <c:pt idx="4906">
                  <c:v>8.7497770643837999E-2</c:v>
                </c:pt>
                <c:pt idx="4907">
                  <c:v>8.7515605493133503E-2</c:v>
                </c:pt>
                <c:pt idx="4908">
                  <c:v>8.7533440342429103E-2</c:v>
                </c:pt>
                <c:pt idx="4909">
                  <c:v>8.7551275191724606E-2</c:v>
                </c:pt>
                <c:pt idx="4910">
                  <c:v>8.7569110041020096E-2</c:v>
                </c:pt>
                <c:pt idx="4911">
                  <c:v>8.7586944890315599E-2</c:v>
                </c:pt>
                <c:pt idx="4912">
                  <c:v>8.7604779739611199E-2</c:v>
                </c:pt>
                <c:pt idx="4913">
                  <c:v>8.7622614588906703E-2</c:v>
                </c:pt>
                <c:pt idx="4914">
                  <c:v>8.7640449438202206E-2</c:v>
                </c:pt>
                <c:pt idx="4915">
                  <c:v>8.7658284287497695E-2</c:v>
                </c:pt>
                <c:pt idx="4916">
                  <c:v>8.7676119136793296E-2</c:v>
                </c:pt>
                <c:pt idx="4917">
                  <c:v>8.7693953986088799E-2</c:v>
                </c:pt>
                <c:pt idx="4918">
                  <c:v>8.7711788835384302E-2</c:v>
                </c:pt>
                <c:pt idx="4919">
                  <c:v>8.7729623684679806E-2</c:v>
                </c:pt>
                <c:pt idx="4920">
                  <c:v>8.7747458533975295E-2</c:v>
                </c:pt>
                <c:pt idx="4921">
                  <c:v>8.7765293383270895E-2</c:v>
                </c:pt>
                <c:pt idx="4922">
                  <c:v>8.7783128232566399E-2</c:v>
                </c:pt>
                <c:pt idx="4923">
                  <c:v>8.7800963081861902E-2</c:v>
                </c:pt>
                <c:pt idx="4924">
                  <c:v>8.7818797931157405E-2</c:v>
                </c:pt>
                <c:pt idx="4925">
                  <c:v>8.7836632780453006E-2</c:v>
                </c:pt>
                <c:pt idx="4926">
                  <c:v>8.7854467629748495E-2</c:v>
                </c:pt>
                <c:pt idx="4927">
                  <c:v>8.7872302479043998E-2</c:v>
                </c:pt>
                <c:pt idx="4928">
                  <c:v>8.7890137328339502E-2</c:v>
                </c:pt>
                <c:pt idx="4929">
                  <c:v>8.7907972177635102E-2</c:v>
                </c:pt>
                <c:pt idx="4930">
                  <c:v>8.7925807026930605E-2</c:v>
                </c:pt>
                <c:pt idx="4931">
                  <c:v>8.7943641876226095E-2</c:v>
                </c:pt>
                <c:pt idx="4932">
                  <c:v>8.7961476725521598E-2</c:v>
                </c:pt>
                <c:pt idx="4933">
                  <c:v>8.7979311574817198E-2</c:v>
                </c:pt>
                <c:pt idx="4934">
                  <c:v>8.7997146424112702E-2</c:v>
                </c:pt>
                <c:pt idx="4935">
                  <c:v>8.8014981273408205E-2</c:v>
                </c:pt>
                <c:pt idx="4936">
                  <c:v>8.8032816122703694E-2</c:v>
                </c:pt>
                <c:pt idx="4937">
                  <c:v>8.8050650971999198E-2</c:v>
                </c:pt>
                <c:pt idx="4938">
                  <c:v>8.8068485821294798E-2</c:v>
                </c:pt>
                <c:pt idx="4939">
                  <c:v>8.8086320670590301E-2</c:v>
                </c:pt>
                <c:pt idx="4940">
                  <c:v>8.8104155519885805E-2</c:v>
                </c:pt>
                <c:pt idx="4941">
                  <c:v>8.8121990369181294E-2</c:v>
                </c:pt>
                <c:pt idx="4942">
                  <c:v>8.8139825218476894E-2</c:v>
                </c:pt>
                <c:pt idx="4943">
                  <c:v>8.8157660067772398E-2</c:v>
                </c:pt>
                <c:pt idx="4944">
                  <c:v>8.8175494917067901E-2</c:v>
                </c:pt>
                <c:pt idx="4945">
                  <c:v>8.8193329766363404E-2</c:v>
                </c:pt>
                <c:pt idx="4946">
                  <c:v>8.8211164615659005E-2</c:v>
                </c:pt>
                <c:pt idx="4947">
                  <c:v>8.8228999464954494E-2</c:v>
                </c:pt>
                <c:pt idx="4948">
                  <c:v>8.8246834314249997E-2</c:v>
                </c:pt>
                <c:pt idx="4949">
                  <c:v>8.8264669163545501E-2</c:v>
                </c:pt>
                <c:pt idx="4950">
                  <c:v>8.8282504012841004E-2</c:v>
                </c:pt>
                <c:pt idx="4951">
                  <c:v>8.8300338862136604E-2</c:v>
                </c:pt>
                <c:pt idx="4952">
                  <c:v>8.8318173711432094E-2</c:v>
                </c:pt>
                <c:pt idx="4953">
                  <c:v>8.8336008560727597E-2</c:v>
                </c:pt>
                <c:pt idx="4954">
                  <c:v>8.83538434100231E-2</c:v>
                </c:pt>
                <c:pt idx="4955">
                  <c:v>8.8371678259318701E-2</c:v>
                </c:pt>
                <c:pt idx="4956">
                  <c:v>8.8389513108614204E-2</c:v>
                </c:pt>
                <c:pt idx="4957">
                  <c:v>8.8407347957909693E-2</c:v>
                </c:pt>
                <c:pt idx="4958">
                  <c:v>8.8425182807205197E-2</c:v>
                </c:pt>
                <c:pt idx="4959">
                  <c:v>8.8443017656500797E-2</c:v>
                </c:pt>
                <c:pt idx="4960">
                  <c:v>8.84608525057963E-2</c:v>
                </c:pt>
                <c:pt idx="4961">
                  <c:v>8.8478687355091803E-2</c:v>
                </c:pt>
                <c:pt idx="4962">
                  <c:v>8.8496522204387307E-2</c:v>
                </c:pt>
                <c:pt idx="4963">
                  <c:v>8.8514357053682893E-2</c:v>
                </c:pt>
                <c:pt idx="4964">
                  <c:v>8.8532191902978397E-2</c:v>
                </c:pt>
                <c:pt idx="4965">
                  <c:v>8.85500267522739E-2</c:v>
                </c:pt>
                <c:pt idx="4966">
                  <c:v>8.8567861601569403E-2</c:v>
                </c:pt>
                <c:pt idx="4967">
                  <c:v>8.8585696450864906E-2</c:v>
                </c:pt>
                <c:pt idx="4968">
                  <c:v>8.8603531300160507E-2</c:v>
                </c:pt>
                <c:pt idx="4969">
                  <c:v>8.8621366149455996E-2</c:v>
                </c:pt>
                <c:pt idx="4970">
                  <c:v>8.8639200998751499E-2</c:v>
                </c:pt>
                <c:pt idx="4971">
                  <c:v>8.8657035848047003E-2</c:v>
                </c:pt>
                <c:pt idx="4972">
                  <c:v>8.8674870697342603E-2</c:v>
                </c:pt>
                <c:pt idx="4973">
                  <c:v>8.8692705546638106E-2</c:v>
                </c:pt>
                <c:pt idx="4974">
                  <c:v>8.8710540395933596E-2</c:v>
                </c:pt>
                <c:pt idx="4975">
                  <c:v>8.8728375245229099E-2</c:v>
                </c:pt>
                <c:pt idx="4976">
                  <c:v>8.87462100945247E-2</c:v>
                </c:pt>
                <c:pt idx="4977">
                  <c:v>8.8764044943820203E-2</c:v>
                </c:pt>
                <c:pt idx="4978">
                  <c:v>8.8781879793115706E-2</c:v>
                </c:pt>
                <c:pt idx="4979">
                  <c:v>8.8799714642411195E-2</c:v>
                </c:pt>
                <c:pt idx="4980">
                  <c:v>8.8817549491706796E-2</c:v>
                </c:pt>
                <c:pt idx="4981">
                  <c:v>8.8835384341002299E-2</c:v>
                </c:pt>
                <c:pt idx="4982">
                  <c:v>8.8853219190297802E-2</c:v>
                </c:pt>
                <c:pt idx="4983">
                  <c:v>8.8871054039593306E-2</c:v>
                </c:pt>
                <c:pt idx="4984">
                  <c:v>8.8888888888888795E-2</c:v>
                </c:pt>
                <c:pt idx="4985">
                  <c:v>8.8906723738184396E-2</c:v>
                </c:pt>
                <c:pt idx="4986">
                  <c:v>8.8924558587479899E-2</c:v>
                </c:pt>
                <c:pt idx="4987">
                  <c:v>8.8942393436775402E-2</c:v>
                </c:pt>
                <c:pt idx="4988">
                  <c:v>8.8960228286070905E-2</c:v>
                </c:pt>
                <c:pt idx="4989">
                  <c:v>8.8978063135366506E-2</c:v>
                </c:pt>
                <c:pt idx="4990">
                  <c:v>8.8995897984661995E-2</c:v>
                </c:pt>
                <c:pt idx="4991">
                  <c:v>8.9013732833957498E-2</c:v>
                </c:pt>
                <c:pt idx="4992">
                  <c:v>8.9031567683253002E-2</c:v>
                </c:pt>
                <c:pt idx="4993">
                  <c:v>8.9049402532548602E-2</c:v>
                </c:pt>
                <c:pt idx="4994">
                  <c:v>8.9067237381844105E-2</c:v>
                </c:pt>
                <c:pt idx="4995">
                  <c:v>8.9085072231139595E-2</c:v>
                </c:pt>
                <c:pt idx="4996">
                  <c:v>8.9102907080435098E-2</c:v>
                </c:pt>
                <c:pt idx="4997">
                  <c:v>8.9120741929730699E-2</c:v>
                </c:pt>
                <c:pt idx="4998">
                  <c:v>8.9138576779026202E-2</c:v>
                </c:pt>
                <c:pt idx="4999">
                  <c:v>8.9156411628321705E-2</c:v>
                </c:pt>
                <c:pt idx="5000">
                  <c:v>8.9174246477617194E-2</c:v>
                </c:pt>
                <c:pt idx="5001">
                  <c:v>8.9192081326912698E-2</c:v>
                </c:pt>
                <c:pt idx="5002">
                  <c:v>8.9209916176208298E-2</c:v>
                </c:pt>
                <c:pt idx="5003">
                  <c:v>8.9227751025503801E-2</c:v>
                </c:pt>
                <c:pt idx="5004">
                  <c:v>8.9245585874799305E-2</c:v>
                </c:pt>
                <c:pt idx="5005">
                  <c:v>8.9263420724094794E-2</c:v>
                </c:pt>
                <c:pt idx="5006">
                  <c:v>8.9281255573390395E-2</c:v>
                </c:pt>
                <c:pt idx="5007">
                  <c:v>8.9299090422685898E-2</c:v>
                </c:pt>
                <c:pt idx="5008">
                  <c:v>8.9316925271981401E-2</c:v>
                </c:pt>
                <c:pt idx="5009">
                  <c:v>8.9334760121276904E-2</c:v>
                </c:pt>
                <c:pt idx="5010">
                  <c:v>8.9352594970572505E-2</c:v>
                </c:pt>
                <c:pt idx="5011">
                  <c:v>8.9370429819867994E-2</c:v>
                </c:pt>
                <c:pt idx="5012">
                  <c:v>8.9388264669163497E-2</c:v>
                </c:pt>
                <c:pt idx="5013">
                  <c:v>8.9406099518459001E-2</c:v>
                </c:pt>
                <c:pt idx="5014">
                  <c:v>8.9423934367754504E-2</c:v>
                </c:pt>
                <c:pt idx="5015">
                  <c:v>8.9441769217050104E-2</c:v>
                </c:pt>
                <c:pt idx="5016">
                  <c:v>8.9459604066345594E-2</c:v>
                </c:pt>
                <c:pt idx="5017">
                  <c:v>8.9477438915641097E-2</c:v>
                </c:pt>
                <c:pt idx="5018">
                  <c:v>8.94952737649366E-2</c:v>
                </c:pt>
                <c:pt idx="5019">
                  <c:v>8.9513108614232201E-2</c:v>
                </c:pt>
                <c:pt idx="5020">
                  <c:v>8.9530943463527704E-2</c:v>
                </c:pt>
                <c:pt idx="5021">
                  <c:v>8.9548778312823193E-2</c:v>
                </c:pt>
                <c:pt idx="5022">
                  <c:v>8.9566613162118697E-2</c:v>
                </c:pt>
                <c:pt idx="5023">
                  <c:v>8.9584448011414297E-2</c:v>
                </c:pt>
                <c:pt idx="5024">
                  <c:v>8.96022828607098E-2</c:v>
                </c:pt>
                <c:pt idx="5025">
                  <c:v>8.9620117710005304E-2</c:v>
                </c:pt>
                <c:pt idx="5026">
                  <c:v>8.9637952559300793E-2</c:v>
                </c:pt>
                <c:pt idx="5027">
                  <c:v>8.9655787408596394E-2</c:v>
                </c:pt>
                <c:pt idx="5028">
                  <c:v>8.9673622257891897E-2</c:v>
                </c:pt>
                <c:pt idx="5029">
                  <c:v>8.96914571071874E-2</c:v>
                </c:pt>
                <c:pt idx="5030">
                  <c:v>8.9709291956482903E-2</c:v>
                </c:pt>
                <c:pt idx="5031">
                  <c:v>8.9727126805778407E-2</c:v>
                </c:pt>
                <c:pt idx="5032">
                  <c:v>8.9744961655073993E-2</c:v>
                </c:pt>
                <c:pt idx="5033">
                  <c:v>8.9762796504369496E-2</c:v>
                </c:pt>
                <c:pt idx="5034">
                  <c:v>8.9780631353665E-2</c:v>
                </c:pt>
                <c:pt idx="5035">
                  <c:v>8.9798466202960503E-2</c:v>
                </c:pt>
                <c:pt idx="5036">
                  <c:v>8.9816301052256103E-2</c:v>
                </c:pt>
                <c:pt idx="5037">
                  <c:v>8.9834135901551607E-2</c:v>
                </c:pt>
                <c:pt idx="5038">
                  <c:v>8.9851970750847096E-2</c:v>
                </c:pt>
                <c:pt idx="5039">
                  <c:v>8.9869805600142599E-2</c:v>
                </c:pt>
                <c:pt idx="5040">
                  <c:v>8.98876404494382E-2</c:v>
                </c:pt>
                <c:pt idx="5041">
                  <c:v>8.9905475298733703E-2</c:v>
                </c:pt>
                <c:pt idx="5042">
                  <c:v>8.9923310148029206E-2</c:v>
                </c:pt>
                <c:pt idx="5043">
                  <c:v>8.9941144997324696E-2</c:v>
                </c:pt>
                <c:pt idx="5044">
                  <c:v>8.9958979846620296E-2</c:v>
                </c:pt>
                <c:pt idx="5045">
                  <c:v>8.9976814695915799E-2</c:v>
                </c:pt>
                <c:pt idx="5046">
                  <c:v>8.9994649545211303E-2</c:v>
                </c:pt>
                <c:pt idx="5047">
                  <c:v>9.0012484394506806E-2</c:v>
                </c:pt>
                <c:pt idx="5048">
                  <c:v>9.0030319243802295E-2</c:v>
                </c:pt>
                <c:pt idx="5049">
                  <c:v>9.0048154093097896E-2</c:v>
                </c:pt>
                <c:pt idx="5050">
                  <c:v>9.0065988942393399E-2</c:v>
                </c:pt>
                <c:pt idx="5051">
                  <c:v>9.0083823791688902E-2</c:v>
                </c:pt>
                <c:pt idx="5052">
                  <c:v>9.0101658640984406E-2</c:v>
                </c:pt>
                <c:pt idx="5053">
                  <c:v>9.0119493490280006E-2</c:v>
                </c:pt>
                <c:pt idx="5054">
                  <c:v>9.0137328339575495E-2</c:v>
                </c:pt>
                <c:pt idx="5055">
                  <c:v>9.0155163188870999E-2</c:v>
                </c:pt>
                <c:pt idx="5056">
                  <c:v>9.0172998038166502E-2</c:v>
                </c:pt>
                <c:pt idx="5057">
                  <c:v>9.0190832887462102E-2</c:v>
                </c:pt>
                <c:pt idx="5058">
                  <c:v>9.0208667736757606E-2</c:v>
                </c:pt>
                <c:pt idx="5059">
                  <c:v>9.0226502586053095E-2</c:v>
                </c:pt>
                <c:pt idx="5060">
                  <c:v>9.0244337435348598E-2</c:v>
                </c:pt>
                <c:pt idx="5061">
                  <c:v>9.0262172284644199E-2</c:v>
                </c:pt>
                <c:pt idx="5062">
                  <c:v>9.0280007133939702E-2</c:v>
                </c:pt>
                <c:pt idx="5063">
                  <c:v>9.0297841983235205E-2</c:v>
                </c:pt>
                <c:pt idx="5064">
                  <c:v>9.0315676832530695E-2</c:v>
                </c:pt>
                <c:pt idx="5065">
                  <c:v>9.0333511681826295E-2</c:v>
                </c:pt>
                <c:pt idx="5066">
                  <c:v>9.0351346531121798E-2</c:v>
                </c:pt>
                <c:pt idx="5067">
                  <c:v>9.0369181380417302E-2</c:v>
                </c:pt>
                <c:pt idx="5068">
                  <c:v>9.0387016229712805E-2</c:v>
                </c:pt>
                <c:pt idx="5069">
                  <c:v>9.0404851079008294E-2</c:v>
                </c:pt>
                <c:pt idx="5070">
                  <c:v>9.0422685928303895E-2</c:v>
                </c:pt>
                <c:pt idx="5071">
                  <c:v>9.0440520777599398E-2</c:v>
                </c:pt>
                <c:pt idx="5072">
                  <c:v>9.0458355626894901E-2</c:v>
                </c:pt>
                <c:pt idx="5073">
                  <c:v>9.0476190476190405E-2</c:v>
                </c:pt>
                <c:pt idx="5074">
                  <c:v>9.0494025325486005E-2</c:v>
                </c:pt>
                <c:pt idx="5075">
                  <c:v>9.0511860174781494E-2</c:v>
                </c:pt>
                <c:pt idx="5076">
                  <c:v>9.0529695024076998E-2</c:v>
                </c:pt>
                <c:pt idx="5077">
                  <c:v>9.0547529873372501E-2</c:v>
                </c:pt>
                <c:pt idx="5078">
                  <c:v>9.0565364722668004E-2</c:v>
                </c:pt>
                <c:pt idx="5079">
                  <c:v>9.0583199571963605E-2</c:v>
                </c:pt>
                <c:pt idx="5080">
                  <c:v>9.0601034421259094E-2</c:v>
                </c:pt>
                <c:pt idx="5081">
                  <c:v>9.0618869270554597E-2</c:v>
                </c:pt>
                <c:pt idx="5082">
                  <c:v>9.0636704119850101E-2</c:v>
                </c:pt>
                <c:pt idx="5083">
                  <c:v>9.0654538969145701E-2</c:v>
                </c:pt>
                <c:pt idx="5084">
                  <c:v>9.0672373818441204E-2</c:v>
                </c:pt>
                <c:pt idx="5085">
                  <c:v>9.0690208667736694E-2</c:v>
                </c:pt>
                <c:pt idx="5086">
                  <c:v>9.0708043517032197E-2</c:v>
                </c:pt>
                <c:pt idx="5087">
                  <c:v>9.0725878366327797E-2</c:v>
                </c:pt>
                <c:pt idx="5088">
                  <c:v>9.0743713215623301E-2</c:v>
                </c:pt>
                <c:pt idx="5089">
                  <c:v>9.0761548064918804E-2</c:v>
                </c:pt>
                <c:pt idx="5090">
                  <c:v>9.0779382914214293E-2</c:v>
                </c:pt>
                <c:pt idx="5091">
                  <c:v>9.0797217763509894E-2</c:v>
                </c:pt>
                <c:pt idx="5092">
                  <c:v>9.0815052612805397E-2</c:v>
                </c:pt>
                <c:pt idx="5093">
                  <c:v>9.08328874621009E-2</c:v>
                </c:pt>
                <c:pt idx="5094">
                  <c:v>9.0850722311396404E-2</c:v>
                </c:pt>
                <c:pt idx="5095">
                  <c:v>9.0868557160691907E-2</c:v>
                </c:pt>
                <c:pt idx="5096">
                  <c:v>9.0886392009987493E-2</c:v>
                </c:pt>
                <c:pt idx="5097">
                  <c:v>9.0904226859282997E-2</c:v>
                </c:pt>
                <c:pt idx="5098">
                  <c:v>9.09220617085785E-2</c:v>
                </c:pt>
                <c:pt idx="5099">
                  <c:v>9.0939896557874003E-2</c:v>
                </c:pt>
                <c:pt idx="5100">
                  <c:v>9.0957731407169604E-2</c:v>
                </c:pt>
                <c:pt idx="5101">
                  <c:v>9.0975566256465107E-2</c:v>
                </c:pt>
                <c:pt idx="5102">
                  <c:v>9.0993401105760596E-2</c:v>
                </c:pt>
                <c:pt idx="5103">
                  <c:v>9.10112359550561E-2</c:v>
                </c:pt>
                <c:pt idx="5104">
                  <c:v>9.10290708043517E-2</c:v>
                </c:pt>
                <c:pt idx="5105">
                  <c:v>9.1046905653647203E-2</c:v>
                </c:pt>
                <c:pt idx="5106">
                  <c:v>9.1064740502942707E-2</c:v>
                </c:pt>
                <c:pt idx="5107">
                  <c:v>9.1082575352238196E-2</c:v>
                </c:pt>
                <c:pt idx="5108">
                  <c:v>9.1100410201533796E-2</c:v>
                </c:pt>
                <c:pt idx="5109">
                  <c:v>9.11182450508293E-2</c:v>
                </c:pt>
                <c:pt idx="5110">
                  <c:v>9.1136079900124803E-2</c:v>
                </c:pt>
                <c:pt idx="5111">
                  <c:v>9.1153914749420306E-2</c:v>
                </c:pt>
                <c:pt idx="5112">
                  <c:v>9.1171749598715796E-2</c:v>
                </c:pt>
                <c:pt idx="5113">
                  <c:v>9.1189584448011396E-2</c:v>
                </c:pt>
                <c:pt idx="5114">
                  <c:v>9.1207419297306899E-2</c:v>
                </c:pt>
                <c:pt idx="5115">
                  <c:v>9.1225254146602403E-2</c:v>
                </c:pt>
                <c:pt idx="5116">
                  <c:v>9.1243088995897906E-2</c:v>
                </c:pt>
                <c:pt idx="5117">
                  <c:v>9.1260923845193506E-2</c:v>
                </c:pt>
                <c:pt idx="5118">
                  <c:v>9.1278758694488996E-2</c:v>
                </c:pt>
                <c:pt idx="5119">
                  <c:v>9.1296593543784499E-2</c:v>
                </c:pt>
                <c:pt idx="5120">
                  <c:v>9.1314428393080002E-2</c:v>
                </c:pt>
                <c:pt idx="5121">
                  <c:v>9.1332263242375603E-2</c:v>
                </c:pt>
                <c:pt idx="5122">
                  <c:v>9.1350098091671106E-2</c:v>
                </c:pt>
                <c:pt idx="5123">
                  <c:v>9.1367932940966595E-2</c:v>
                </c:pt>
                <c:pt idx="5124">
                  <c:v>9.1385767790262099E-2</c:v>
                </c:pt>
                <c:pt idx="5125">
                  <c:v>9.1403602639557699E-2</c:v>
                </c:pt>
                <c:pt idx="5126">
                  <c:v>9.1421437488853202E-2</c:v>
                </c:pt>
                <c:pt idx="5127">
                  <c:v>9.1439272338148705E-2</c:v>
                </c:pt>
                <c:pt idx="5128">
                  <c:v>9.1457107187444195E-2</c:v>
                </c:pt>
                <c:pt idx="5129">
                  <c:v>9.1474942036739795E-2</c:v>
                </c:pt>
                <c:pt idx="5130">
                  <c:v>9.1492776886035299E-2</c:v>
                </c:pt>
                <c:pt idx="5131">
                  <c:v>9.1510611735330802E-2</c:v>
                </c:pt>
                <c:pt idx="5132">
                  <c:v>9.1528446584626305E-2</c:v>
                </c:pt>
                <c:pt idx="5133">
                  <c:v>9.1546281433921795E-2</c:v>
                </c:pt>
                <c:pt idx="5134">
                  <c:v>9.1564116283217395E-2</c:v>
                </c:pt>
                <c:pt idx="5135">
                  <c:v>9.1581951132512898E-2</c:v>
                </c:pt>
                <c:pt idx="5136">
                  <c:v>9.1599785981808401E-2</c:v>
                </c:pt>
                <c:pt idx="5137">
                  <c:v>9.1617620831103905E-2</c:v>
                </c:pt>
                <c:pt idx="5138">
                  <c:v>9.1635455680399505E-2</c:v>
                </c:pt>
                <c:pt idx="5139">
                  <c:v>9.1653290529694995E-2</c:v>
                </c:pt>
                <c:pt idx="5140">
                  <c:v>9.1671125378990498E-2</c:v>
                </c:pt>
                <c:pt idx="5141">
                  <c:v>9.1688960228286001E-2</c:v>
                </c:pt>
                <c:pt idx="5142">
                  <c:v>9.1706795077581504E-2</c:v>
                </c:pt>
                <c:pt idx="5143">
                  <c:v>9.1724629926877105E-2</c:v>
                </c:pt>
                <c:pt idx="5144">
                  <c:v>9.1742464776172594E-2</c:v>
                </c:pt>
                <c:pt idx="5145">
                  <c:v>9.1760299625468097E-2</c:v>
                </c:pt>
                <c:pt idx="5146">
                  <c:v>9.1778134474763601E-2</c:v>
                </c:pt>
                <c:pt idx="5147">
                  <c:v>9.1795969324059201E-2</c:v>
                </c:pt>
                <c:pt idx="5148">
                  <c:v>9.1813804173354704E-2</c:v>
                </c:pt>
                <c:pt idx="5149">
                  <c:v>9.1831639022650194E-2</c:v>
                </c:pt>
                <c:pt idx="5150">
                  <c:v>9.1849473871945697E-2</c:v>
                </c:pt>
                <c:pt idx="5151">
                  <c:v>9.1867308721241298E-2</c:v>
                </c:pt>
                <c:pt idx="5152">
                  <c:v>9.1885143570536801E-2</c:v>
                </c:pt>
                <c:pt idx="5153">
                  <c:v>9.1902978419832304E-2</c:v>
                </c:pt>
                <c:pt idx="5154">
                  <c:v>9.1920813269127793E-2</c:v>
                </c:pt>
                <c:pt idx="5155">
                  <c:v>9.1938648118423394E-2</c:v>
                </c:pt>
                <c:pt idx="5156">
                  <c:v>9.1956482967718897E-2</c:v>
                </c:pt>
                <c:pt idx="5157">
                  <c:v>9.19743178170144E-2</c:v>
                </c:pt>
                <c:pt idx="5158">
                  <c:v>9.1992152666309904E-2</c:v>
                </c:pt>
                <c:pt idx="5159">
                  <c:v>9.2009987515605393E-2</c:v>
                </c:pt>
                <c:pt idx="5160">
                  <c:v>9.2027822364900994E-2</c:v>
                </c:pt>
                <c:pt idx="5161">
                  <c:v>9.2045657214196497E-2</c:v>
                </c:pt>
                <c:pt idx="5162">
                  <c:v>9.2063492063492E-2</c:v>
                </c:pt>
                <c:pt idx="5163">
                  <c:v>9.2081326912787503E-2</c:v>
                </c:pt>
                <c:pt idx="5164">
                  <c:v>9.2099161762083104E-2</c:v>
                </c:pt>
                <c:pt idx="5165">
                  <c:v>9.2116996611378593E-2</c:v>
                </c:pt>
                <c:pt idx="5166">
                  <c:v>9.2134831460674096E-2</c:v>
                </c:pt>
                <c:pt idx="5167">
                  <c:v>9.21526663099696E-2</c:v>
                </c:pt>
                <c:pt idx="5168">
                  <c:v>9.21705011592652E-2</c:v>
                </c:pt>
                <c:pt idx="5169">
                  <c:v>9.2188336008560703E-2</c:v>
                </c:pt>
                <c:pt idx="5170">
                  <c:v>9.2206170857856207E-2</c:v>
                </c:pt>
                <c:pt idx="5171">
                  <c:v>9.2224005707151696E-2</c:v>
                </c:pt>
                <c:pt idx="5172">
                  <c:v>9.2241840556447297E-2</c:v>
                </c:pt>
                <c:pt idx="5173">
                  <c:v>9.22596754057428E-2</c:v>
                </c:pt>
                <c:pt idx="5174">
                  <c:v>9.2277510255038303E-2</c:v>
                </c:pt>
                <c:pt idx="5175">
                  <c:v>9.2295345104333806E-2</c:v>
                </c:pt>
                <c:pt idx="5176">
                  <c:v>9.2313179953629296E-2</c:v>
                </c:pt>
                <c:pt idx="5177">
                  <c:v>9.2331014802924896E-2</c:v>
                </c:pt>
                <c:pt idx="5178">
                  <c:v>9.2348849652220399E-2</c:v>
                </c:pt>
                <c:pt idx="5179">
                  <c:v>9.2366684501515903E-2</c:v>
                </c:pt>
                <c:pt idx="5180">
                  <c:v>9.2384519350811406E-2</c:v>
                </c:pt>
                <c:pt idx="5181">
                  <c:v>9.2402354200107006E-2</c:v>
                </c:pt>
                <c:pt idx="5182">
                  <c:v>9.2420189049402496E-2</c:v>
                </c:pt>
                <c:pt idx="5183">
                  <c:v>9.2438023898697999E-2</c:v>
                </c:pt>
                <c:pt idx="5184">
                  <c:v>9.2455858747993502E-2</c:v>
                </c:pt>
                <c:pt idx="5185">
                  <c:v>9.2473693597289103E-2</c:v>
                </c:pt>
                <c:pt idx="5186">
                  <c:v>9.2491528446584606E-2</c:v>
                </c:pt>
                <c:pt idx="5187">
                  <c:v>9.2509363295880095E-2</c:v>
                </c:pt>
                <c:pt idx="5188">
                  <c:v>9.2527198145175599E-2</c:v>
                </c:pt>
                <c:pt idx="5189">
                  <c:v>9.2545032994471199E-2</c:v>
                </c:pt>
                <c:pt idx="5190">
                  <c:v>9.2562867843766702E-2</c:v>
                </c:pt>
                <c:pt idx="5191">
                  <c:v>9.2580702693062206E-2</c:v>
                </c:pt>
                <c:pt idx="5192">
                  <c:v>9.2598537542357695E-2</c:v>
                </c:pt>
                <c:pt idx="5193">
                  <c:v>9.2616372391653295E-2</c:v>
                </c:pt>
                <c:pt idx="5194">
                  <c:v>9.2634207240948799E-2</c:v>
                </c:pt>
                <c:pt idx="5195">
                  <c:v>9.2652042090244302E-2</c:v>
                </c:pt>
                <c:pt idx="5196">
                  <c:v>9.2669876939539805E-2</c:v>
                </c:pt>
                <c:pt idx="5197">
                  <c:v>9.2687711788835295E-2</c:v>
                </c:pt>
                <c:pt idx="5198">
                  <c:v>9.2705546638130895E-2</c:v>
                </c:pt>
                <c:pt idx="5199">
                  <c:v>9.2723381487426398E-2</c:v>
                </c:pt>
                <c:pt idx="5200">
                  <c:v>9.2741216336721902E-2</c:v>
                </c:pt>
                <c:pt idx="5201">
                  <c:v>9.2759051186017405E-2</c:v>
                </c:pt>
                <c:pt idx="5202">
                  <c:v>9.2776886035313005E-2</c:v>
                </c:pt>
                <c:pt idx="5203">
                  <c:v>9.2794720884608495E-2</c:v>
                </c:pt>
                <c:pt idx="5204">
                  <c:v>9.2812555733903998E-2</c:v>
                </c:pt>
                <c:pt idx="5205">
                  <c:v>9.2830390583199501E-2</c:v>
                </c:pt>
                <c:pt idx="5206">
                  <c:v>9.2848225432495102E-2</c:v>
                </c:pt>
                <c:pt idx="5207">
                  <c:v>9.2866060281790605E-2</c:v>
                </c:pt>
                <c:pt idx="5208">
                  <c:v>9.2883895131086094E-2</c:v>
                </c:pt>
                <c:pt idx="5209">
                  <c:v>9.2901729980381598E-2</c:v>
                </c:pt>
                <c:pt idx="5210">
                  <c:v>9.2919564829677101E-2</c:v>
                </c:pt>
                <c:pt idx="5211">
                  <c:v>9.2937399678972701E-2</c:v>
                </c:pt>
                <c:pt idx="5212">
                  <c:v>9.2955234528268205E-2</c:v>
                </c:pt>
                <c:pt idx="5213">
                  <c:v>9.2973069377563694E-2</c:v>
                </c:pt>
                <c:pt idx="5214">
                  <c:v>9.2990904226859197E-2</c:v>
                </c:pt>
                <c:pt idx="5215">
                  <c:v>9.3008739076154798E-2</c:v>
                </c:pt>
                <c:pt idx="5216">
                  <c:v>9.3026573925450301E-2</c:v>
                </c:pt>
                <c:pt idx="5217">
                  <c:v>9.3044408774745804E-2</c:v>
                </c:pt>
                <c:pt idx="5218">
                  <c:v>9.3062243624041294E-2</c:v>
                </c:pt>
                <c:pt idx="5219">
                  <c:v>9.3080078473336894E-2</c:v>
                </c:pt>
                <c:pt idx="5220">
                  <c:v>9.3097913322632397E-2</c:v>
                </c:pt>
                <c:pt idx="5221">
                  <c:v>9.3115748171927901E-2</c:v>
                </c:pt>
                <c:pt idx="5222">
                  <c:v>9.3133583021223404E-2</c:v>
                </c:pt>
                <c:pt idx="5223">
                  <c:v>9.3151417870518893E-2</c:v>
                </c:pt>
                <c:pt idx="5224">
                  <c:v>9.3169252719814494E-2</c:v>
                </c:pt>
                <c:pt idx="5225">
                  <c:v>9.3187087569109997E-2</c:v>
                </c:pt>
                <c:pt idx="5226">
                  <c:v>9.32049224184055E-2</c:v>
                </c:pt>
                <c:pt idx="5227">
                  <c:v>9.3222757267701004E-2</c:v>
                </c:pt>
                <c:pt idx="5228">
                  <c:v>9.3240592116996604E-2</c:v>
                </c:pt>
                <c:pt idx="5229">
                  <c:v>9.3258426966292093E-2</c:v>
                </c:pt>
                <c:pt idx="5230">
                  <c:v>9.3276261815587597E-2</c:v>
                </c:pt>
                <c:pt idx="5231">
                  <c:v>9.32940966648831E-2</c:v>
                </c:pt>
                <c:pt idx="5232">
                  <c:v>9.33119315141787E-2</c:v>
                </c:pt>
                <c:pt idx="5233">
                  <c:v>9.3329766363474204E-2</c:v>
                </c:pt>
                <c:pt idx="5234">
                  <c:v>9.3347601212769707E-2</c:v>
                </c:pt>
                <c:pt idx="5235">
                  <c:v>9.3365436062065196E-2</c:v>
                </c:pt>
                <c:pt idx="5236">
                  <c:v>9.3383270911360797E-2</c:v>
                </c:pt>
                <c:pt idx="5237">
                  <c:v>9.34011057606563E-2</c:v>
                </c:pt>
                <c:pt idx="5238">
                  <c:v>9.3418940609951803E-2</c:v>
                </c:pt>
                <c:pt idx="5239">
                  <c:v>9.3436775459247307E-2</c:v>
                </c:pt>
                <c:pt idx="5240">
                  <c:v>9.3454610308542893E-2</c:v>
                </c:pt>
                <c:pt idx="5241">
                  <c:v>9.3472445157838396E-2</c:v>
                </c:pt>
                <c:pt idx="5242">
                  <c:v>9.34902800071339E-2</c:v>
                </c:pt>
                <c:pt idx="5243">
                  <c:v>9.3508114856429403E-2</c:v>
                </c:pt>
                <c:pt idx="5244">
                  <c:v>9.3525949705724906E-2</c:v>
                </c:pt>
                <c:pt idx="5245">
                  <c:v>9.3543784555020507E-2</c:v>
                </c:pt>
                <c:pt idx="5246">
                  <c:v>9.3561619404315996E-2</c:v>
                </c:pt>
                <c:pt idx="5247">
                  <c:v>9.3579454253611499E-2</c:v>
                </c:pt>
                <c:pt idx="5248">
                  <c:v>9.3597289102907003E-2</c:v>
                </c:pt>
                <c:pt idx="5249">
                  <c:v>9.3615123952202603E-2</c:v>
                </c:pt>
                <c:pt idx="5250">
                  <c:v>9.3632958801498106E-2</c:v>
                </c:pt>
                <c:pt idx="5251">
                  <c:v>9.3650793650793596E-2</c:v>
                </c:pt>
                <c:pt idx="5252">
                  <c:v>9.3668628500089099E-2</c:v>
                </c:pt>
                <c:pt idx="5253">
                  <c:v>9.3686463349384699E-2</c:v>
                </c:pt>
                <c:pt idx="5254">
                  <c:v>9.3704298198680203E-2</c:v>
                </c:pt>
                <c:pt idx="5255">
                  <c:v>9.3722133047975706E-2</c:v>
                </c:pt>
                <c:pt idx="5256">
                  <c:v>9.3739967897271195E-2</c:v>
                </c:pt>
                <c:pt idx="5257">
                  <c:v>9.3757802746566796E-2</c:v>
                </c:pt>
                <c:pt idx="5258">
                  <c:v>9.3775637595862299E-2</c:v>
                </c:pt>
                <c:pt idx="5259">
                  <c:v>9.3793472445157802E-2</c:v>
                </c:pt>
                <c:pt idx="5260">
                  <c:v>9.3811307294453306E-2</c:v>
                </c:pt>
                <c:pt idx="5261">
                  <c:v>9.3829142143748795E-2</c:v>
                </c:pt>
                <c:pt idx="5262">
                  <c:v>9.3846976993044395E-2</c:v>
                </c:pt>
                <c:pt idx="5263">
                  <c:v>9.3864811842339899E-2</c:v>
                </c:pt>
                <c:pt idx="5264">
                  <c:v>9.3882646691635402E-2</c:v>
                </c:pt>
                <c:pt idx="5265">
                  <c:v>9.3900481540930905E-2</c:v>
                </c:pt>
                <c:pt idx="5266">
                  <c:v>9.3918316390226506E-2</c:v>
                </c:pt>
                <c:pt idx="5267">
                  <c:v>9.3936151239521995E-2</c:v>
                </c:pt>
                <c:pt idx="5268">
                  <c:v>9.3953986088817498E-2</c:v>
                </c:pt>
                <c:pt idx="5269">
                  <c:v>9.3971820938113002E-2</c:v>
                </c:pt>
                <c:pt idx="5270">
                  <c:v>9.3989655787408602E-2</c:v>
                </c:pt>
                <c:pt idx="5271">
                  <c:v>9.4007490636704105E-2</c:v>
                </c:pt>
                <c:pt idx="5272">
                  <c:v>9.4025325485999595E-2</c:v>
                </c:pt>
                <c:pt idx="5273">
                  <c:v>9.4043160335295098E-2</c:v>
                </c:pt>
                <c:pt idx="5274">
                  <c:v>9.4060995184590601E-2</c:v>
                </c:pt>
                <c:pt idx="5275">
                  <c:v>9.4078830033886202E-2</c:v>
                </c:pt>
                <c:pt idx="5276">
                  <c:v>9.4096664883181705E-2</c:v>
                </c:pt>
                <c:pt idx="5277">
                  <c:v>9.4114499732477194E-2</c:v>
                </c:pt>
                <c:pt idx="5278">
                  <c:v>9.4132334581772698E-2</c:v>
                </c:pt>
                <c:pt idx="5279">
                  <c:v>9.4150169431068298E-2</c:v>
                </c:pt>
                <c:pt idx="5280">
                  <c:v>9.4168004280363801E-2</c:v>
                </c:pt>
                <c:pt idx="5281">
                  <c:v>9.4185839129659304E-2</c:v>
                </c:pt>
                <c:pt idx="5282">
                  <c:v>9.4203673978954794E-2</c:v>
                </c:pt>
                <c:pt idx="5283">
                  <c:v>9.4221508828250394E-2</c:v>
                </c:pt>
                <c:pt idx="5284">
                  <c:v>9.4239343677545898E-2</c:v>
                </c:pt>
                <c:pt idx="5285">
                  <c:v>9.4257178526841401E-2</c:v>
                </c:pt>
                <c:pt idx="5286">
                  <c:v>9.4275013376136904E-2</c:v>
                </c:pt>
                <c:pt idx="5287">
                  <c:v>9.4292848225432394E-2</c:v>
                </c:pt>
                <c:pt idx="5288">
                  <c:v>9.4310683074727994E-2</c:v>
                </c:pt>
                <c:pt idx="5289">
                  <c:v>9.4328517924023497E-2</c:v>
                </c:pt>
                <c:pt idx="5290">
                  <c:v>9.4346352773319E-2</c:v>
                </c:pt>
                <c:pt idx="5291">
                  <c:v>9.4364187622614504E-2</c:v>
                </c:pt>
                <c:pt idx="5292">
                  <c:v>9.4382022471910104E-2</c:v>
                </c:pt>
                <c:pt idx="5293">
                  <c:v>9.4399857321205594E-2</c:v>
                </c:pt>
                <c:pt idx="5294">
                  <c:v>9.4417692170501097E-2</c:v>
                </c:pt>
                <c:pt idx="5295">
                  <c:v>9.44355270197966E-2</c:v>
                </c:pt>
                <c:pt idx="5296">
                  <c:v>9.4453361869092201E-2</c:v>
                </c:pt>
                <c:pt idx="5297">
                  <c:v>9.4471196718387704E-2</c:v>
                </c:pt>
                <c:pt idx="5298">
                  <c:v>9.4489031567683193E-2</c:v>
                </c:pt>
                <c:pt idx="5299">
                  <c:v>9.4506866416978696E-2</c:v>
                </c:pt>
                <c:pt idx="5300">
                  <c:v>9.4524701266274297E-2</c:v>
                </c:pt>
                <c:pt idx="5301">
                  <c:v>9.45425361155698E-2</c:v>
                </c:pt>
                <c:pt idx="5302">
                  <c:v>9.4560370964865303E-2</c:v>
                </c:pt>
                <c:pt idx="5303">
                  <c:v>9.4578205814160807E-2</c:v>
                </c:pt>
                <c:pt idx="5304">
                  <c:v>9.4596040663456393E-2</c:v>
                </c:pt>
                <c:pt idx="5305">
                  <c:v>9.4613875512751897E-2</c:v>
                </c:pt>
                <c:pt idx="5306">
                  <c:v>9.46317103620474E-2</c:v>
                </c:pt>
                <c:pt idx="5307">
                  <c:v>9.4649545211342903E-2</c:v>
                </c:pt>
                <c:pt idx="5308">
                  <c:v>9.4667380060638406E-2</c:v>
                </c:pt>
                <c:pt idx="5309">
                  <c:v>9.4685214909934007E-2</c:v>
                </c:pt>
                <c:pt idx="5310">
                  <c:v>9.4703049759229496E-2</c:v>
                </c:pt>
                <c:pt idx="5311">
                  <c:v>9.4720884608524999E-2</c:v>
                </c:pt>
                <c:pt idx="5312">
                  <c:v>9.4738719457820503E-2</c:v>
                </c:pt>
                <c:pt idx="5313">
                  <c:v>9.4756554307116103E-2</c:v>
                </c:pt>
                <c:pt idx="5314">
                  <c:v>9.4774389156411606E-2</c:v>
                </c:pt>
                <c:pt idx="5315">
                  <c:v>9.4792224005707096E-2</c:v>
                </c:pt>
                <c:pt idx="5316">
                  <c:v>9.4810058855002599E-2</c:v>
                </c:pt>
                <c:pt idx="5317">
                  <c:v>9.48278937042982E-2</c:v>
                </c:pt>
                <c:pt idx="5318">
                  <c:v>9.4845728553593703E-2</c:v>
                </c:pt>
                <c:pt idx="5319">
                  <c:v>9.4863563402889206E-2</c:v>
                </c:pt>
                <c:pt idx="5320">
                  <c:v>9.4881398252184695E-2</c:v>
                </c:pt>
                <c:pt idx="5321">
                  <c:v>9.4899233101480296E-2</c:v>
                </c:pt>
                <c:pt idx="5322">
                  <c:v>9.4917067950775799E-2</c:v>
                </c:pt>
                <c:pt idx="5323">
                  <c:v>9.4934902800071302E-2</c:v>
                </c:pt>
                <c:pt idx="5324">
                  <c:v>9.4952737649366806E-2</c:v>
                </c:pt>
                <c:pt idx="5325">
                  <c:v>9.4970572498662295E-2</c:v>
                </c:pt>
                <c:pt idx="5326">
                  <c:v>9.4988407347957896E-2</c:v>
                </c:pt>
                <c:pt idx="5327">
                  <c:v>9.5006242197253399E-2</c:v>
                </c:pt>
                <c:pt idx="5328">
                  <c:v>9.5024077046548902E-2</c:v>
                </c:pt>
                <c:pt idx="5329">
                  <c:v>9.5041911895844405E-2</c:v>
                </c:pt>
                <c:pt idx="5330">
                  <c:v>9.5059746745140006E-2</c:v>
                </c:pt>
                <c:pt idx="5331">
                  <c:v>9.5077581594435495E-2</c:v>
                </c:pt>
                <c:pt idx="5332">
                  <c:v>9.5095416443730998E-2</c:v>
                </c:pt>
                <c:pt idx="5333">
                  <c:v>9.5113251293026502E-2</c:v>
                </c:pt>
                <c:pt idx="5334">
                  <c:v>9.5131086142322102E-2</c:v>
                </c:pt>
                <c:pt idx="5335">
                  <c:v>9.5148920991617605E-2</c:v>
                </c:pt>
                <c:pt idx="5336">
                  <c:v>9.5166755840913095E-2</c:v>
                </c:pt>
                <c:pt idx="5337">
                  <c:v>9.5184590690208598E-2</c:v>
                </c:pt>
                <c:pt idx="5338">
                  <c:v>9.5202425539504101E-2</c:v>
                </c:pt>
                <c:pt idx="5339">
                  <c:v>9.5220260388799702E-2</c:v>
                </c:pt>
                <c:pt idx="5340">
                  <c:v>9.5238095238095205E-2</c:v>
                </c:pt>
                <c:pt idx="5341">
                  <c:v>9.5255930087390694E-2</c:v>
                </c:pt>
                <c:pt idx="5342">
                  <c:v>9.5273764936686198E-2</c:v>
                </c:pt>
                <c:pt idx="5343">
                  <c:v>9.5291599785981798E-2</c:v>
                </c:pt>
                <c:pt idx="5344">
                  <c:v>9.5309434635277301E-2</c:v>
                </c:pt>
                <c:pt idx="5345">
                  <c:v>9.5327269484572805E-2</c:v>
                </c:pt>
                <c:pt idx="5346">
                  <c:v>9.5345104333868294E-2</c:v>
                </c:pt>
                <c:pt idx="5347">
                  <c:v>9.5362939183163895E-2</c:v>
                </c:pt>
                <c:pt idx="5348">
                  <c:v>9.5380774032459398E-2</c:v>
                </c:pt>
                <c:pt idx="5349">
                  <c:v>9.5398608881754901E-2</c:v>
                </c:pt>
                <c:pt idx="5350">
                  <c:v>9.5416443731050404E-2</c:v>
                </c:pt>
                <c:pt idx="5351">
                  <c:v>9.5434278580345894E-2</c:v>
                </c:pt>
                <c:pt idx="5352">
                  <c:v>9.5452113429641494E-2</c:v>
                </c:pt>
                <c:pt idx="5353">
                  <c:v>9.5469948278936997E-2</c:v>
                </c:pt>
                <c:pt idx="5354">
                  <c:v>9.5487783128232501E-2</c:v>
                </c:pt>
                <c:pt idx="5355">
                  <c:v>9.5505617977528004E-2</c:v>
                </c:pt>
                <c:pt idx="5356">
                  <c:v>9.5523452826823604E-2</c:v>
                </c:pt>
                <c:pt idx="5357">
                  <c:v>9.5541287676119094E-2</c:v>
                </c:pt>
                <c:pt idx="5358">
                  <c:v>9.5559122525414597E-2</c:v>
                </c:pt>
                <c:pt idx="5359">
                  <c:v>9.55769573747101E-2</c:v>
                </c:pt>
                <c:pt idx="5360">
                  <c:v>9.5594792224005701E-2</c:v>
                </c:pt>
                <c:pt idx="5361">
                  <c:v>9.5612627073301204E-2</c:v>
                </c:pt>
                <c:pt idx="5362">
                  <c:v>9.5630461922596693E-2</c:v>
                </c:pt>
                <c:pt idx="5363">
                  <c:v>9.5648296771892197E-2</c:v>
                </c:pt>
                <c:pt idx="5364">
                  <c:v>9.5666131621187797E-2</c:v>
                </c:pt>
                <c:pt idx="5365">
                  <c:v>9.56839664704833E-2</c:v>
                </c:pt>
                <c:pt idx="5366">
                  <c:v>9.5701801319778804E-2</c:v>
                </c:pt>
                <c:pt idx="5367">
                  <c:v>9.5719636169074293E-2</c:v>
                </c:pt>
                <c:pt idx="5368">
                  <c:v>9.5737471018369893E-2</c:v>
                </c:pt>
                <c:pt idx="5369">
                  <c:v>9.5755305867665397E-2</c:v>
                </c:pt>
                <c:pt idx="5370">
                  <c:v>9.57731407169609E-2</c:v>
                </c:pt>
                <c:pt idx="5371">
                  <c:v>9.5790975566256403E-2</c:v>
                </c:pt>
                <c:pt idx="5372">
                  <c:v>9.5808810415551907E-2</c:v>
                </c:pt>
                <c:pt idx="5373">
                  <c:v>9.5826645264847493E-2</c:v>
                </c:pt>
                <c:pt idx="5374">
                  <c:v>9.5844480114142996E-2</c:v>
                </c:pt>
                <c:pt idx="5375">
                  <c:v>9.58623149634385E-2</c:v>
                </c:pt>
                <c:pt idx="5376">
                  <c:v>9.5880149812734003E-2</c:v>
                </c:pt>
                <c:pt idx="5377">
                  <c:v>9.5897984662029603E-2</c:v>
                </c:pt>
                <c:pt idx="5378">
                  <c:v>9.5915819511325107E-2</c:v>
                </c:pt>
                <c:pt idx="5379">
                  <c:v>9.5933654360620596E-2</c:v>
                </c:pt>
                <c:pt idx="5380">
                  <c:v>9.5951489209916099E-2</c:v>
                </c:pt>
                <c:pt idx="5381">
                  <c:v>9.59693240592117E-2</c:v>
                </c:pt>
                <c:pt idx="5382">
                  <c:v>9.5987158908507203E-2</c:v>
                </c:pt>
                <c:pt idx="5383">
                  <c:v>9.6004993757802706E-2</c:v>
                </c:pt>
                <c:pt idx="5384">
                  <c:v>9.6022828607098196E-2</c:v>
                </c:pt>
                <c:pt idx="5385">
                  <c:v>9.6040663456393796E-2</c:v>
                </c:pt>
                <c:pt idx="5386">
                  <c:v>9.6058498305689299E-2</c:v>
                </c:pt>
                <c:pt idx="5387">
                  <c:v>9.6076333154984803E-2</c:v>
                </c:pt>
                <c:pt idx="5388">
                  <c:v>9.6094168004280306E-2</c:v>
                </c:pt>
                <c:pt idx="5389">
                  <c:v>9.6112002853575795E-2</c:v>
                </c:pt>
                <c:pt idx="5390">
                  <c:v>9.6129837702871396E-2</c:v>
                </c:pt>
                <c:pt idx="5391">
                  <c:v>9.6147672552166899E-2</c:v>
                </c:pt>
                <c:pt idx="5392">
                  <c:v>9.6165507401462402E-2</c:v>
                </c:pt>
                <c:pt idx="5393">
                  <c:v>9.6183342250757906E-2</c:v>
                </c:pt>
                <c:pt idx="5394">
                  <c:v>9.6201177100053506E-2</c:v>
                </c:pt>
                <c:pt idx="5395">
                  <c:v>9.6219011949348995E-2</c:v>
                </c:pt>
                <c:pt idx="5396">
                  <c:v>9.6236846798644499E-2</c:v>
                </c:pt>
                <c:pt idx="5397">
                  <c:v>9.6254681647940002E-2</c:v>
                </c:pt>
                <c:pt idx="5398">
                  <c:v>9.6272516497235602E-2</c:v>
                </c:pt>
                <c:pt idx="5399">
                  <c:v>9.6290351346531106E-2</c:v>
                </c:pt>
                <c:pt idx="5400">
                  <c:v>9.6308186195826595E-2</c:v>
                </c:pt>
                <c:pt idx="5401">
                  <c:v>9.6326021045122098E-2</c:v>
                </c:pt>
                <c:pt idx="5402">
                  <c:v>9.6343855894417699E-2</c:v>
                </c:pt>
                <c:pt idx="5403">
                  <c:v>9.6361690743713202E-2</c:v>
                </c:pt>
                <c:pt idx="5404">
                  <c:v>9.6379525593008705E-2</c:v>
                </c:pt>
                <c:pt idx="5405">
                  <c:v>9.6397360442304195E-2</c:v>
                </c:pt>
                <c:pt idx="5406">
                  <c:v>9.6415195291599698E-2</c:v>
                </c:pt>
                <c:pt idx="5407">
                  <c:v>9.6433030140895298E-2</c:v>
                </c:pt>
                <c:pt idx="5408">
                  <c:v>9.6450864990190802E-2</c:v>
                </c:pt>
                <c:pt idx="5409">
                  <c:v>9.6468699839486305E-2</c:v>
                </c:pt>
                <c:pt idx="5410">
                  <c:v>9.6486534688781794E-2</c:v>
                </c:pt>
                <c:pt idx="5411">
                  <c:v>9.6504369538077395E-2</c:v>
                </c:pt>
                <c:pt idx="5412">
                  <c:v>9.6522204387372898E-2</c:v>
                </c:pt>
                <c:pt idx="5413">
                  <c:v>9.6540039236668401E-2</c:v>
                </c:pt>
                <c:pt idx="5414">
                  <c:v>9.6557874085963905E-2</c:v>
                </c:pt>
                <c:pt idx="5415">
                  <c:v>9.6575708935259394E-2</c:v>
                </c:pt>
                <c:pt idx="5416">
                  <c:v>9.6593543784554994E-2</c:v>
                </c:pt>
                <c:pt idx="5417">
                  <c:v>9.6611378633850498E-2</c:v>
                </c:pt>
                <c:pt idx="5418">
                  <c:v>9.6629213483146001E-2</c:v>
                </c:pt>
                <c:pt idx="5419">
                  <c:v>9.6647048332441504E-2</c:v>
                </c:pt>
                <c:pt idx="5420">
                  <c:v>9.6664883181737105E-2</c:v>
                </c:pt>
                <c:pt idx="5421">
                  <c:v>9.6682718031032594E-2</c:v>
                </c:pt>
                <c:pt idx="5422">
                  <c:v>9.6700552880328097E-2</c:v>
                </c:pt>
                <c:pt idx="5423">
                  <c:v>9.6718387729623601E-2</c:v>
                </c:pt>
                <c:pt idx="5424">
                  <c:v>9.6736222578919201E-2</c:v>
                </c:pt>
                <c:pt idx="5425">
                  <c:v>9.6754057428214704E-2</c:v>
                </c:pt>
                <c:pt idx="5426">
                  <c:v>9.6771892277510194E-2</c:v>
                </c:pt>
                <c:pt idx="5427">
                  <c:v>9.6789727126805697E-2</c:v>
                </c:pt>
                <c:pt idx="5428">
                  <c:v>9.6807561976101297E-2</c:v>
                </c:pt>
                <c:pt idx="5429">
                  <c:v>9.6825396825396801E-2</c:v>
                </c:pt>
                <c:pt idx="5430">
                  <c:v>9.6843231674692304E-2</c:v>
                </c:pt>
                <c:pt idx="5431">
                  <c:v>9.6861066523987793E-2</c:v>
                </c:pt>
                <c:pt idx="5432">
                  <c:v>9.6878901373283394E-2</c:v>
                </c:pt>
                <c:pt idx="5433">
                  <c:v>9.6896736222578897E-2</c:v>
                </c:pt>
                <c:pt idx="5434">
                  <c:v>9.69145710718744E-2</c:v>
                </c:pt>
                <c:pt idx="5435">
                  <c:v>9.6932405921169904E-2</c:v>
                </c:pt>
                <c:pt idx="5436">
                  <c:v>9.6950240770465407E-2</c:v>
                </c:pt>
                <c:pt idx="5437">
                  <c:v>9.6968075619760993E-2</c:v>
                </c:pt>
                <c:pt idx="5438">
                  <c:v>9.6985910469056497E-2</c:v>
                </c:pt>
                <c:pt idx="5439">
                  <c:v>9.7003745318352E-2</c:v>
                </c:pt>
                <c:pt idx="5440">
                  <c:v>9.7021580167647503E-2</c:v>
                </c:pt>
                <c:pt idx="5441">
                  <c:v>9.7039415016943104E-2</c:v>
                </c:pt>
                <c:pt idx="5442">
                  <c:v>9.7057249866238607E-2</c:v>
                </c:pt>
                <c:pt idx="5443">
                  <c:v>9.7075084715534096E-2</c:v>
                </c:pt>
                <c:pt idx="5444">
                  <c:v>9.70929195648296E-2</c:v>
                </c:pt>
                <c:pt idx="5445">
                  <c:v>9.71107544141252E-2</c:v>
                </c:pt>
                <c:pt idx="5446">
                  <c:v>9.7128589263420703E-2</c:v>
                </c:pt>
                <c:pt idx="5447">
                  <c:v>9.7146424112716206E-2</c:v>
                </c:pt>
                <c:pt idx="5448">
                  <c:v>9.7164258962011696E-2</c:v>
                </c:pt>
                <c:pt idx="5449">
                  <c:v>9.7182093811307296E-2</c:v>
                </c:pt>
                <c:pt idx="5450">
                  <c:v>9.71999286606028E-2</c:v>
                </c:pt>
                <c:pt idx="5451">
                  <c:v>9.7217763509898303E-2</c:v>
                </c:pt>
                <c:pt idx="5452">
                  <c:v>9.7235598359193806E-2</c:v>
                </c:pt>
                <c:pt idx="5453">
                  <c:v>9.7253433208489296E-2</c:v>
                </c:pt>
                <c:pt idx="5454">
                  <c:v>9.7271268057784896E-2</c:v>
                </c:pt>
                <c:pt idx="5455">
                  <c:v>9.7289102907080399E-2</c:v>
                </c:pt>
                <c:pt idx="5456">
                  <c:v>9.7306937756375902E-2</c:v>
                </c:pt>
                <c:pt idx="5457">
                  <c:v>9.7324772605671406E-2</c:v>
                </c:pt>
                <c:pt idx="5458">
                  <c:v>9.7342607454967006E-2</c:v>
                </c:pt>
                <c:pt idx="5459">
                  <c:v>9.7360442304262496E-2</c:v>
                </c:pt>
                <c:pt idx="5460">
                  <c:v>9.7378277153557999E-2</c:v>
                </c:pt>
                <c:pt idx="5461">
                  <c:v>9.7396112002853502E-2</c:v>
                </c:pt>
                <c:pt idx="5462">
                  <c:v>9.7413946852149103E-2</c:v>
                </c:pt>
                <c:pt idx="5463">
                  <c:v>9.7431781701444606E-2</c:v>
                </c:pt>
                <c:pt idx="5464">
                  <c:v>9.7449616550740095E-2</c:v>
                </c:pt>
                <c:pt idx="5465">
                  <c:v>9.7467451400035598E-2</c:v>
                </c:pt>
                <c:pt idx="5466">
                  <c:v>9.7485286249331199E-2</c:v>
                </c:pt>
                <c:pt idx="5467">
                  <c:v>9.7503121098626702E-2</c:v>
                </c:pt>
                <c:pt idx="5468">
                  <c:v>9.7520955947922205E-2</c:v>
                </c:pt>
                <c:pt idx="5469">
                  <c:v>9.7538790797217695E-2</c:v>
                </c:pt>
                <c:pt idx="5470">
                  <c:v>9.7556625646513198E-2</c:v>
                </c:pt>
                <c:pt idx="5471">
                  <c:v>9.7574460495808799E-2</c:v>
                </c:pt>
                <c:pt idx="5472">
                  <c:v>9.7592295345104302E-2</c:v>
                </c:pt>
                <c:pt idx="5473">
                  <c:v>9.7610130194399805E-2</c:v>
                </c:pt>
                <c:pt idx="5474">
                  <c:v>9.7627965043695294E-2</c:v>
                </c:pt>
                <c:pt idx="5475">
                  <c:v>9.7645799892990895E-2</c:v>
                </c:pt>
                <c:pt idx="5476">
                  <c:v>9.7663634742286398E-2</c:v>
                </c:pt>
                <c:pt idx="5477">
                  <c:v>9.7681469591581901E-2</c:v>
                </c:pt>
                <c:pt idx="5478">
                  <c:v>9.7699304440877405E-2</c:v>
                </c:pt>
                <c:pt idx="5479">
                  <c:v>9.7717139290172894E-2</c:v>
                </c:pt>
                <c:pt idx="5480">
                  <c:v>9.7734974139468495E-2</c:v>
                </c:pt>
                <c:pt idx="5481">
                  <c:v>9.7752808988763998E-2</c:v>
                </c:pt>
                <c:pt idx="5482">
                  <c:v>9.7770643838059501E-2</c:v>
                </c:pt>
                <c:pt idx="5483">
                  <c:v>9.7788478687355004E-2</c:v>
                </c:pt>
                <c:pt idx="5484">
                  <c:v>9.7806313536650605E-2</c:v>
                </c:pt>
                <c:pt idx="5485">
                  <c:v>9.7824148385946094E-2</c:v>
                </c:pt>
                <c:pt idx="5486">
                  <c:v>9.7841983235241597E-2</c:v>
                </c:pt>
                <c:pt idx="5487">
                  <c:v>9.7859818084537101E-2</c:v>
                </c:pt>
                <c:pt idx="5488">
                  <c:v>9.7877652933832701E-2</c:v>
                </c:pt>
                <c:pt idx="5489">
                  <c:v>9.7895487783128204E-2</c:v>
                </c:pt>
                <c:pt idx="5490">
                  <c:v>9.7913322632423694E-2</c:v>
                </c:pt>
                <c:pt idx="5491">
                  <c:v>9.7931157481719197E-2</c:v>
                </c:pt>
                <c:pt idx="5492">
                  <c:v>9.7948992331014798E-2</c:v>
                </c:pt>
                <c:pt idx="5493">
                  <c:v>9.7966827180310301E-2</c:v>
                </c:pt>
                <c:pt idx="5494">
                  <c:v>9.7984662029605804E-2</c:v>
                </c:pt>
                <c:pt idx="5495">
                  <c:v>9.8002496878901293E-2</c:v>
                </c:pt>
                <c:pt idx="5496">
                  <c:v>9.8020331728196894E-2</c:v>
                </c:pt>
                <c:pt idx="5497">
                  <c:v>9.8038166577492397E-2</c:v>
                </c:pt>
                <c:pt idx="5498">
                  <c:v>9.80560014267879E-2</c:v>
                </c:pt>
                <c:pt idx="5499">
                  <c:v>9.8073836276083404E-2</c:v>
                </c:pt>
                <c:pt idx="5500">
                  <c:v>9.8091671125378893E-2</c:v>
                </c:pt>
                <c:pt idx="5501">
                  <c:v>9.8109505974674494E-2</c:v>
                </c:pt>
                <c:pt idx="5502">
                  <c:v>9.8127340823969997E-2</c:v>
                </c:pt>
                <c:pt idx="5503">
                  <c:v>9.81451756732655E-2</c:v>
                </c:pt>
                <c:pt idx="5504">
                  <c:v>9.8163010522561003E-2</c:v>
                </c:pt>
                <c:pt idx="5505">
                  <c:v>9.8180845371856604E-2</c:v>
                </c:pt>
                <c:pt idx="5506">
                  <c:v>9.8198680221152093E-2</c:v>
                </c:pt>
                <c:pt idx="5507">
                  <c:v>9.8216515070447596E-2</c:v>
                </c:pt>
                <c:pt idx="5508">
                  <c:v>9.82343499197431E-2</c:v>
                </c:pt>
                <c:pt idx="5509">
                  <c:v>9.82521847690387E-2</c:v>
                </c:pt>
                <c:pt idx="5510">
                  <c:v>9.8270019618334203E-2</c:v>
                </c:pt>
                <c:pt idx="5511">
                  <c:v>9.8287854467629707E-2</c:v>
                </c:pt>
                <c:pt idx="5512">
                  <c:v>9.8305689316925196E-2</c:v>
                </c:pt>
                <c:pt idx="5513">
                  <c:v>9.8323524166220796E-2</c:v>
                </c:pt>
                <c:pt idx="5514">
                  <c:v>9.83413590155163E-2</c:v>
                </c:pt>
                <c:pt idx="5515">
                  <c:v>9.8359193864811803E-2</c:v>
                </c:pt>
                <c:pt idx="5516">
                  <c:v>9.8377028714107306E-2</c:v>
                </c:pt>
                <c:pt idx="5517">
                  <c:v>9.8394863563402796E-2</c:v>
                </c:pt>
                <c:pt idx="5518">
                  <c:v>9.8412698412698396E-2</c:v>
                </c:pt>
                <c:pt idx="5519">
                  <c:v>9.8430533261993899E-2</c:v>
                </c:pt>
                <c:pt idx="5520">
                  <c:v>9.8448368111289403E-2</c:v>
                </c:pt>
                <c:pt idx="5521">
                  <c:v>9.8466202960584906E-2</c:v>
                </c:pt>
                <c:pt idx="5522">
                  <c:v>9.8484037809880506E-2</c:v>
                </c:pt>
                <c:pt idx="5523">
                  <c:v>9.8501872659175996E-2</c:v>
                </c:pt>
                <c:pt idx="5524">
                  <c:v>9.8519707508471499E-2</c:v>
                </c:pt>
                <c:pt idx="5525">
                  <c:v>9.8537542357767002E-2</c:v>
                </c:pt>
                <c:pt idx="5526">
                  <c:v>9.8555377207062603E-2</c:v>
                </c:pt>
                <c:pt idx="5527">
                  <c:v>9.8573212056358106E-2</c:v>
                </c:pt>
                <c:pt idx="5528">
                  <c:v>9.8591046905653595E-2</c:v>
                </c:pt>
                <c:pt idx="5529">
                  <c:v>9.8608881754949099E-2</c:v>
                </c:pt>
                <c:pt idx="5530">
                  <c:v>9.8626716604244699E-2</c:v>
                </c:pt>
                <c:pt idx="5531">
                  <c:v>9.8644551453540202E-2</c:v>
                </c:pt>
                <c:pt idx="5532">
                  <c:v>9.8662386302835706E-2</c:v>
                </c:pt>
                <c:pt idx="5533">
                  <c:v>9.8680221152131195E-2</c:v>
                </c:pt>
                <c:pt idx="5534">
                  <c:v>9.8698056001426698E-2</c:v>
                </c:pt>
                <c:pt idx="5535">
                  <c:v>9.8715890850722299E-2</c:v>
                </c:pt>
                <c:pt idx="5536">
                  <c:v>9.8733725700017802E-2</c:v>
                </c:pt>
                <c:pt idx="5537">
                  <c:v>9.8751560549313305E-2</c:v>
                </c:pt>
                <c:pt idx="5538">
                  <c:v>9.8769395398608795E-2</c:v>
                </c:pt>
                <c:pt idx="5539">
                  <c:v>9.8787230247904395E-2</c:v>
                </c:pt>
                <c:pt idx="5540">
                  <c:v>9.8805065097199898E-2</c:v>
                </c:pt>
                <c:pt idx="5541">
                  <c:v>9.8822899946495402E-2</c:v>
                </c:pt>
                <c:pt idx="5542">
                  <c:v>9.8840734795790905E-2</c:v>
                </c:pt>
                <c:pt idx="5543">
                  <c:v>9.8858569645086505E-2</c:v>
                </c:pt>
                <c:pt idx="5544">
                  <c:v>9.8876404494381995E-2</c:v>
                </c:pt>
                <c:pt idx="5545">
                  <c:v>9.8894239343677498E-2</c:v>
                </c:pt>
                <c:pt idx="5546">
                  <c:v>9.8912074192973001E-2</c:v>
                </c:pt>
                <c:pt idx="5547">
                  <c:v>9.8929909042268505E-2</c:v>
                </c:pt>
                <c:pt idx="5548">
                  <c:v>9.8947743891564105E-2</c:v>
                </c:pt>
                <c:pt idx="5549">
                  <c:v>9.8965578740859594E-2</c:v>
                </c:pt>
                <c:pt idx="5550">
                  <c:v>9.8983413590155098E-2</c:v>
                </c:pt>
                <c:pt idx="5551">
                  <c:v>9.9001248439450601E-2</c:v>
                </c:pt>
                <c:pt idx="5552">
                  <c:v>9.9019083288746201E-2</c:v>
                </c:pt>
                <c:pt idx="5553">
                  <c:v>9.9036918138041705E-2</c:v>
                </c:pt>
                <c:pt idx="5554">
                  <c:v>9.9054752987337194E-2</c:v>
                </c:pt>
                <c:pt idx="5555">
                  <c:v>9.9072587836632697E-2</c:v>
                </c:pt>
                <c:pt idx="5556">
                  <c:v>9.9090422685928298E-2</c:v>
                </c:pt>
                <c:pt idx="5557">
                  <c:v>9.9108257535223801E-2</c:v>
                </c:pt>
                <c:pt idx="5558">
                  <c:v>9.9126092384519304E-2</c:v>
                </c:pt>
                <c:pt idx="5559">
                  <c:v>9.9143927233814794E-2</c:v>
                </c:pt>
                <c:pt idx="5560">
                  <c:v>9.9161762083110394E-2</c:v>
                </c:pt>
                <c:pt idx="5561">
                  <c:v>9.9179596932405897E-2</c:v>
                </c:pt>
                <c:pt idx="5562">
                  <c:v>9.9197431781701401E-2</c:v>
                </c:pt>
                <c:pt idx="5563">
                  <c:v>9.9215266630996904E-2</c:v>
                </c:pt>
                <c:pt idx="5564">
                  <c:v>9.9233101480292393E-2</c:v>
                </c:pt>
                <c:pt idx="5565">
                  <c:v>9.9250936329587994E-2</c:v>
                </c:pt>
                <c:pt idx="5566">
                  <c:v>9.9268771178883497E-2</c:v>
                </c:pt>
                <c:pt idx="5567">
                  <c:v>9.9286606028179E-2</c:v>
                </c:pt>
                <c:pt idx="5568">
                  <c:v>9.9304440877474504E-2</c:v>
                </c:pt>
                <c:pt idx="5569">
                  <c:v>9.9322275726770104E-2</c:v>
                </c:pt>
                <c:pt idx="5570">
                  <c:v>9.9340110576065593E-2</c:v>
                </c:pt>
                <c:pt idx="5571">
                  <c:v>9.9357945425361097E-2</c:v>
                </c:pt>
                <c:pt idx="5572">
                  <c:v>9.93757802746566E-2</c:v>
                </c:pt>
                <c:pt idx="5573">
                  <c:v>9.93936151239522E-2</c:v>
                </c:pt>
                <c:pt idx="5574">
                  <c:v>9.9411449973247704E-2</c:v>
                </c:pt>
                <c:pt idx="5575">
                  <c:v>9.9429284822543207E-2</c:v>
                </c:pt>
                <c:pt idx="5576">
                  <c:v>9.9447119671838696E-2</c:v>
                </c:pt>
                <c:pt idx="5577">
                  <c:v>9.9464954521134297E-2</c:v>
                </c:pt>
                <c:pt idx="5578">
                  <c:v>9.94827893704298E-2</c:v>
                </c:pt>
                <c:pt idx="5579">
                  <c:v>9.9500624219725303E-2</c:v>
                </c:pt>
                <c:pt idx="5580">
                  <c:v>9.9518459069020807E-2</c:v>
                </c:pt>
                <c:pt idx="5581">
                  <c:v>9.9536293918316296E-2</c:v>
                </c:pt>
                <c:pt idx="5582">
                  <c:v>9.9554128767611896E-2</c:v>
                </c:pt>
                <c:pt idx="5583">
                  <c:v>9.95719636169074E-2</c:v>
                </c:pt>
                <c:pt idx="5584">
                  <c:v>9.9589798466202903E-2</c:v>
                </c:pt>
                <c:pt idx="5585">
                  <c:v>9.9607633315498406E-2</c:v>
                </c:pt>
                <c:pt idx="5586">
                  <c:v>9.9625468164794007E-2</c:v>
                </c:pt>
                <c:pt idx="5587">
                  <c:v>9.9643303014089496E-2</c:v>
                </c:pt>
                <c:pt idx="5588">
                  <c:v>9.9661137863384999E-2</c:v>
                </c:pt>
                <c:pt idx="5589">
                  <c:v>9.9678972712680503E-2</c:v>
                </c:pt>
                <c:pt idx="5590">
                  <c:v>9.9696807561976103E-2</c:v>
                </c:pt>
                <c:pt idx="5591">
                  <c:v>9.9714642411271606E-2</c:v>
                </c:pt>
                <c:pt idx="5592">
                  <c:v>9.9732477260567096E-2</c:v>
                </c:pt>
                <c:pt idx="5593">
                  <c:v>9.9750312109862599E-2</c:v>
                </c:pt>
                <c:pt idx="5594">
                  <c:v>9.9768146959158199E-2</c:v>
                </c:pt>
                <c:pt idx="5595">
                  <c:v>9.9785981808453703E-2</c:v>
                </c:pt>
                <c:pt idx="5596">
                  <c:v>9.9803816657749206E-2</c:v>
                </c:pt>
                <c:pt idx="5597">
                  <c:v>9.9821651507044695E-2</c:v>
                </c:pt>
                <c:pt idx="5598">
                  <c:v>9.9839486356340296E-2</c:v>
                </c:pt>
                <c:pt idx="5599">
                  <c:v>9.9857321205635799E-2</c:v>
                </c:pt>
                <c:pt idx="5600">
                  <c:v>9.9875156054931302E-2</c:v>
                </c:pt>
                <c:pt idx="5601">
                  <c:v>9.9892990904226805E-2</c:v>
                </c:pt>
                <c:pt idx="5602">
                  <c:v>9.9910825753522295E-2</c:v>
                </c:pt>
                <c:pt idx="5603">
                  <c:v>9.9928660602817895E-2</c:v>
                </c:pt>
                <c:pt idx="5604">
                  <c:v>9.9946495452113399E-2</c:v>
                </c:pt>
                <c:pt idx="5605">
                  <c:v>9.9964330301408902E-2</c:v>
                </c:pt>
                <c:pt idx="5606">
                  <c:v>9.9982165150704405E-2</c:v>
                </c:pt>
                <c:pt idx="5607">
                  <c:v>0.1</c:v>
                </c:pt>
                <c:pt idx="5608">
                  <c:v>0.100017834849295</c:v>
                </c:pt>
                <c:pt idx="5609">
                  <c:v>0.100035669698591</c:v>
                </c:pt>
                <c:pt idx="5610">
                  <c:v>0.100053504547886</c:v>
                </c:pt>
                <c:pt idx="5611">
                  <c:v>0.100071339397182</c:v>
                </c:pt>
                <c:pt idx="5612">
                  <c:v>0.10008917424647699</c:v>
                </c:pt>
                <c:pt idx="5613">
                  <c:v>0.100107009095773</c:v>
                </c:pt>
                <c:pt idx="5614">
                  <c:v>0.100124843945068</c:v>
                </c:pt>
                <c:pt idx="5615">
                  <c:v>0.100142678794364</c:v>
                </c:pt>
                <c:pt idx="5616">
                  <c:v>0.10016051364365899</c:v>
                </c:pt>
                <c:pt idx="5617">
                  <c:v>0.100178348492955</c:v>
                </c:pt>
                <c:pt idx="5618">
                  <c:v>0.10019618334225</c:v>
                </c:pt>
                <c:pt idx="5619">
                  <c:v>0.100214018191546</c:v>
                </c:pt>
                <c:pt idx="5620">
                  <c:v>0.10023185304084101</c:v>
                </c:pt>
                <c:pt idx="5621">
                  <c:v>0.100249687890137</c:v>
                </c:pt>
                <c:pt idx="5622">
                  <c:v>0.100267522739432</c:v>
                </c:pt>
                <c:pt idx="5623">
                  <c:v>0.100285357588728</c:v>
                </c:pt>
                <c:pt idx="5624">
                  <c:v>0.10030319243802301</c:v>
                </c:pt>
                <c:pt idx="5625">
                  <c:v>0.100321027287319</c:v>
                </c:pt>
                <c:pt idx="5626">
                  <c:v>0.100338862136614</c:v>
                </c:pt>
                <c:pt idx="5627">
                  <c:v>0.10035669698591</c:v>
                </c:pt>
                <c:pt idx="5628">
                  <c:v>0.10037453183520501</c:v>
                </c:pt>
                <c:pt idx="5629">
                  <c:v>0.10039236668450099</c:v>
                </c:pt>
                <c:pt idx="5630">
                  <c:v>0.100410201533797</c:v>
                </c:pt>
                <c:pt idx="5631">
                  <c:v>0.100428036383092</c:v>
                </c:pt>
                <c:pt idx="5632">
                  <c:v>0.100445871232388</c:v>
                </c:pt>
                <c:pt idx="5633">
                  <c:v>0.10046370608168299</c:v>
                </c:pt>
                <c:pt idx="5634">
                  <c:v>0.100481540930979</c:v>
                </c:pt>
                <c:pt idx="5635">
                  <c:v>0.100499375780274</c:v>
                </c:pt>
                <c:pt idx="5636">
                  <c:v>0.10051721062957</c:v>
                </c:pt>
                <c:pt idx="5637">
                  <c:v>0.10053504547886501</c:v>
                </c:pt>
                <c:pt idx="5638">
                  <c:v>0.100552880328161</c:v>
                </c:pt>
                <c:pt idx="5639">
                  <c:v>0.100570715177456</c:v>
                </c:pt>
                <c:pt idx="5640">
                  <c:v>0.100588550026752</c:v>
                </c:pt>
                <c:pt idx="5641">
                  <c:v>0.10060638487604701</c:v>
                </c:pt>
                <c:pt idx="5642">
                  <c:v>0.10062421972534299</c:v>
                </c:pt>
                <c:pt idx="5643">
                  <c:v>0.100642054574638</c:v>
                </c:pt>
                <c:pt idx="5644">
                  <c:v>0.100659889423934</c:v>
                </c:pt>
                <c:pt idx="5645">
                  <c:v>0.10067772427322901</c:v>
                </c:pt>
                <c:pt idx="5646">
                  <c:v>0.10069555912252499</c:v>
                </c:pt>
                <c:pt idx="5647">
                  <c:v>0.10071339397182</c:v>
                </c:pt>
                <c:pt idx="5648">
                  <c:v>0.100731228821116</c:v>
                </c:pt>
                <c:pt idx="5649">
                  <c:v>0.100749063670411</c:v>
                </c:pt>
                <c:pt idx="5650">
                  <c:v>0.10076689851970699</c:v>
                </c:pt>
                <c:pt idx="5651">
                  <c:v>0.100784733369003</c:v>
                </c:pt>
                <c:pt idx="5652">
                  <c:v>0.100802568218298</c:v>
                </c:pt>
                <c:pt idx="5653">
                  <c:v>0.100820403067594</c:v>
                </c:pt>
                <c:pt idx="5654">
                  <c:v>0.10083823791688901</c:v>
                </c:pt>
                <c:pt idx="5655">
                  <c:v>0.100856072766185</c:v>
                </c:pt>
                <c:pt idx="5656">
                  <c:v>0.10087390761548</c:v>
                </c:pt>
                <c:pt idx="5657">
                  <c:v>0.100891742464776</c:v>
                </c:pt>
                <c:pt idx="5658">
                  <c:v>0.10090957731407101</c:v>
                </c:pt>
                <c:pt idx="5659">
                  <c:v>0.10092741216336699</c:v>
                </c:pt>
                <c:pt idx="5660">
                  <c:v>0.100945247012662</c:v>
                </c:pt>
                <c:pt idx="5661">
                  <c:v>0.100963081861958</c:v>
                </c:pt>
                <c:pt idx="5662">
                  <c:v>0.100980916711253</c:v>
                </c:pt>
                <c:pt idx="5663">
                  <c:v>0.10099875156054899</c:v>
                </c:pt>
                <c:pt idx="5664">
                  <c:v>0.101016586409844</c:v>
                </c:pt>
                <c:pt idx="5665">
                  <c:v>0.10103442125914</c:v>
                </c:pt>
                <c:pt idx="5666">
                  <c:v>0.101052256108435</c:v>
                </c:pt>
                <c:pt idx="5667">
                  <c:v>0.10107009095773101</c:v>
                </c:pt>
                <c:pt idx="5668">
                  <c:v>0.101087925807026</c:v>
                </c:pt>
                <c:pt idx="5669">
                  <c:v>0.101105760656322</c:v>
                </c:pt>
                <c:pt idx="5670">
                  <c:v>0.101123595505617</c:v>
                </c:pt>
                <c:pt idx="5671">
                  <c:v>0.10114143035491301</c:v>
                </c:pt>
                <c:pt idx="5672">
                  <c:v>0.101159265204209</c:v>
                </c:pt>
                <c:pt idx="5673">
                  <c:v>0.101177100053504</c:v>
                </c:pt>
                <c:pt idx="5674">
                  <c:v>0.1011949349028</c:v>
                </c:pt>
                <c:pt idx="5675">
                  <c:v>0.10121276975209501</c:v>
                </c:pt>
                <c:pt idx="5676">
                  <c:v>0.10123060460139099</c:v>
                </c:pt>
                <c:pt idx="5677">
                  <c:v>0.101248439450686</c:v>
                </c:pt>
                <c:pt idx="5678">
                  <c:v>0.101266274299982</c:v>
                </c:pt>
                <c:pt idx="5679">
                  <c:v>0.101284109149277</c:v>
                </c:pt>
                <c:pt idx="5680">
                  <c:v>0.10130194399857299</c:v>
                </c:pt>
                <c:pt idx="5681">
                  <c:v>0.101319778847868</c:v>
                </c:pt>
                <c:pt idx="5682">
                  <c:v>0.101337613697164</c:v>
                </c:pt>
                <c:pt idx="5683">
                  <c:v>0.101355448546459</c:v>
                </c:pt>
                <c:pt idx="5684">
                  <c:v>0.10137328339575501</c:v>
                </c:pt>
                <c:pt idx="5685">
                  <c:v>0.10139111824505</c:v>
                </c:pt>
                <c:pt idx="5686">
                  <c:v>0.101408953094346</c:v>
                </c:pt>
                <c:pt idx="5687">
                  <c:v>0.101426787943641</c:v>
                </c:pt>
                <c:pt idx="5688">
                  <c:v>0.10144462279293701</c:v>
                </c:pt>
                <c:pt idx="5689">
                  <c:v>0.101462457642232</c:v>
                </c:pt>
                <c:pt idx="5690">
                  <c:v>0.101480292491528</c:v>
                </c:pt>
                <c:pt idx="5691">
                  <c:v>0.101498127340823</c:v>
                </c:pt>
                <c:pt idx="5692">
                  <c:v>0.10151596219011901</c:v>
                </c:pt>
                <c:pt idx="5693">
                  <c:v>0.10153379703941499</c:v>
                </c:pt>
                <c:pt idx="5694">
                  <c:v>0.10155163188871</c:v>
                </c:pt>
                <c:pt idx="5695">
                  <c:v>0.101569466738006</c:v>
                </c:pt>
                <c:pt idx="5696">
                  <c:v>0.101587301587301</c:v>
                </c:pt>
                <c:pt idx="5697">
                  <c:v>0.10160513643659699</c:v>
                </c:pt>
                <c:pt idx="5698">
                  <c:v>0.101622971285892</c:v>
                </c:pt>
                <c:pt idx="5699">
                  <c:v>0.101640806135188</c:v>
                </c:pt>
                <c:pt idx="5700">
                  <c:v>0.101658640984483</c:v>
                </c:pt>
                <c:pt idx="5701">
                  <c:v>0.10167647583377901</c:v>
                </c:pt>
                <c:pt idx="5702">
                  <c:v>0.101694310683074</c:v>
                </c:pt>
                <c:pt idx="5703">
                  <c:v>0.10171214553237</c:v>
                </c:pt>
                <c:pt idx="5704">
                  <c:v>0.101729980381665</c:v>
                </c:pt>
                <c:pt idx="5705">
                  <c:v>0.10174781523096101</c:v>
                </c:pt>
                <c:pt idx="5706">
                  <c:v>0.101765650080256</c:v>
                </c:pt>
                <c:pt idx="5707">
                  <c:v>0.101783484929552</c:v>
                </c:pt>
                <c:pt idx="5708">
                  <c:v>0.101801319778847</c:v>
                </c:pt>
                <c:pt idx="5709">
                  <c:v>0.101819154628143</c:v>
                </c:pt>
                <c:pt idx="5710">
                  <c:v>0.10183698947743799</c:v>
                </c:pt>
                <c:pt idx="5711">
                  <c:v>0.101854824326734</c:v>
                </c:pt>
                <c:pt idx="5712">
                  <c:v>0.101872659176029</c:v>
                </c:pt>
                <c:pt idx="5713">
                  <c:v>0.101890494025325</c:v>
                </c:pt>
                <c:pt idx="5714">
                  <c:v>0.10190832887462099</c:v>
                </c:pt>
                <c:pt idx="5715">
                  <c:v>0.101926163723916</c:v>
                </c:pt>
                <c:pt idx="5716">
                  <c:v>0.101943998573212</c:v>
                </c:pt>
                <c:pt idx="5717">
                  <c:v>0.101961833422507</c:v>
                </c:pt>
                <c:pt idx="5718">
                  <c:v>0.10197966827180301</c:v>
                </c:pt>
                <c:pt idx="5719">
                  <c:v>0.101997503121098</c:v>
                </c:pt>
                <c:pt idx="5720">
                  <c:v>0.102015337970394</c:v>
                </c:pt>
                <c:pt idx="5721">
                  <c:v>0.102033172819689</c:v>
                </c:pt>
                <c:pt idx="5722">
                  <c:v>0.10205100766898501</c:v>
                </c:pt>
                <c:pt idx="5723">
                  <c:v>0.10206884251828</c:v>
                </c:pt>
                <c:pt idx="5724">
                  <c:v>0.102086677367576</c:v>
                </c:pt>
                <c:pt idx="5725">
                  <c:v>0.102104512216871</c:v>
                </c:pt>
                <c:pt idx="5726">
                  <c:v>0.102122347066167</c:v>
                </c:pt>
                <c:pt idx="5727">
                  <c:v>0.10214018191546199</c:v>
                </c:pt>
                <c:pt idx="5728">
                  <c:v>0.102158016764758</c:v>
                </c:pt>
                <c:pt idx="5729">
                  <c:v>0.102175851614053</c:v>
                </c:pt>
                <c:pt idx="5730">
                  <c:v>0.102193686463349</c:v>
                </c:pt>
                <c:pt idx="5731">
                  <c:v>0.10221152131264399</c:v>
                </c:pt>
                <c:pt idx="5732">
                  <c:v>0.10222935616194</c:v>
                </c:pt>
                <c:pt idx="5733">
                  <c:v>0.102247191011235</c:v>
                </c:pt>
                <c:pt idx="5734">
                  <c:v>0.102265025860531</c:v>
                </c:pt>
                <c:pt idx="5735">
                  <c:v>0.10228286070982701</c:v>
                </c:pt>
                <c:pt idx="5736">
                  <c:v>0.102300695559122</c:v>
                </c:pt>
                <c:pt idx="5737">
                  <c:v>0.102318530408418</c:v>
                </c:pt>
                <c:pt idx="5738">
                  <c:v>0.102336365257713</c:v>
                </c:pt>
                <c:pt idx="5739">
                  <c:v>0.10235420010700901</c:v>
                </c:pt>
                <c:pt idx="5740">
                  <c:v>0.10237203495630399</c:v>
                </c:pt>
                <c:pt idx="5741">
                  <c:v>0.1023898698056</c:v>
                </c:pt>
                <c:pt idx="5742">
                  <c:v>0.102407704654895</c:v>
                </c:pt>
                <c:pt idx="5743">
                  <c:v>0.102425539504191</c:v>
                </c:pt>
                <c:pt idx="5744">
                  <c:v>0.10244337435348599</c:v>
                </c:pt>
                <c:pt idx="5745">
                  <c:v>0.102461209202782</c:v>
                </c:pt>
                <c:pt idx="5746">
                  <c:v>0.102479044052077</c:v>
                </c:pt>
                <c:pt idx="5747">
                  <c:v>0.102496878901373</c:v>
                </c:pt>
                <c:pt idx="5748">
                  <c:v>0.10251471375066799</c:v>
                </c:pt>
                <c:pt idx="5749">
                  <c:v>0.102532548599964</c:v>
                </c:pt>
                <c:pt idx="5750">
                  <c:v>0.102550383449259</c:v>
                </c:pt>
                <c:pt idx="5751">
                  <c:v>0.102568218298555</c:v>
                </c:pt>
                <c:pt idx="5752">
                  <c:v>0.10258605314785001</c:v>
                </c:pt>
                <c:pt idx="5753">
                  <c:v>0.102603887997146</c:v>
                </c:pt>
                <c:pt idx="5754">
                  <c:v>0.102621722846441</c:v>
                </c:pt>
                <c:pt idx="5755">
                  <c:v>0.102639557695737</c:v>
                </c:pt>
                <c:pt idx="5756">
                  <c:v>0.10265739254503201</c:v>
                </c:pt>
                <c:pt idx="5757">
                  <c:v>0.10267522739432799</c:v>
                </c:pt>
                <c:pt idx="5758">
                  <c:v>0.102693062243624</c:v>
                </c:pt>
                <c:pt idx="5759">
                  <c:v>0.102710897092919</c:v>
                </c:pt>
                <c:pt idx="5760">
                  <c:v>0.102728731942215</c:v>
                </c:pt>
                <c:pt idx="5761">
                  <c:v>0.10274656679150999</c:v>
                </c:pt>
                <c:pt idx="5762">
                  <c:v>0.102764401640806</c:v>
                </c:pt>
                <c:pt idx="5763">
                  <c:v>0.102782236490101</c:v>
                </c:pt>
                <c:pt idx="5764">
                  <c:v>0.102800071339397</c:v>
                </c:pt>
                <c:pt idx="5765">
                  <c:v>0.10281790618869199</c:v>
                </c:pt>
                <c:pt idx="5766">
                  <c:v>0.102835741037988</c:v>
                </c:pt>
                <c:pt idx="5767">
                  <c:v>0.102853575887283</c:v>
                </c:pt>
                <c:pt idx="5768">
                  <c:v>0.102871410736579</c:v>
                </c:pt>
                <c:pt idx="5769">
                  <c:v>0.10288924558587401</c:v>
                </c:pt>
                <c:pt idx="5770">
                  <c:v>0.10290708043517</c:v>
                </c:pt>
                <c:pt idx="5771">
                  <c:v>0.102924915284465</c:v>
                </c:pt>
                <c:pt idx="5772">
                  <c:v>0.102942750133761</c:v>
                </c:pt>
                <c:pt idx="5773">
                  <c:v>0.10296058498305601</c:v>
                </c:pt>
                <c:pt idx="5774">
                  <c:v>0.10297841983235199</c:v>
                </c:pt>
                <c:pt idx="5775">
                  <c:v>0.102996254681647</c:v>
                </c:pt>
                <c:pt idx="5776">
                  <c:v>0.103014089530943</c:v>
                </c:pt>
                <c:pt idx="5777">
                  <c:v>0.103031924380238</c:v>
                </c:pt>
                <c:pt idx="5778">
                  <c:v>0.10304975922953399</c:v>
                </c:pt>
                <c:pt idx="5779">
                  <c:v>0.10306759407883</c:v>
                </c:pt>
                <c:pt idx="5780">
                  <c:v>0.103085428928125</c:v>
                </c:pt>
                <c:pt idx="5781">
                  <c:v>0.103103263777421</c:v>
                </c:pt>
                <c:pt idx="5782">
                  <c:v>0.10312109862671601</c:v>
                </c:pt>
                <c:pt idx="5783">
                  <c:v>0.103138933476012</c:v>
                </c:pt>
                <c:pt idx="5784">
                  <c:v>0.103156768325307</c:v>
                </c:pt>
                <c:pt idx="5785">
                  <c:v>0.103174603174603</c:v>
                </c:pt>
                <c:pt idx="5786">
                  <c:v>0.10319243802389801</c:v>
                </c:pt>
                <c:pt idx="5787">
                  <c:v>0.103210272873194</c:v>
                </c:pt>
                <c:pt idx="5788">
                  <c:v>0.103228107722489</c:v>
                </c:pt>
                <c:pt idx="5789">
                  <c:v>0.103245942571785</c:v>
                </c:pt>
                <c:pt idx="5790">
                  <c:v>0.10326377742108001</c:v>
                </c:pt>
                <c:pt idx="5791">
                  <c:v>0.10328161227037599</c:v>
                </c:pt>
                <c:pt idx="5792">
                  <c:v>0.103299447119671</c:v>
                </c:pt>
                <c:pt idx="5793">
                  <c:v>0.103317281968967</c:v>
                </c:pt>
                <c:pt idx="5794">
                  <c:v>0.103335116818262</c:v>
                </c:pt>
                <c:pt idx="5795">
                  <c:v>0.10335295166755799</c:v>
                </c:pt>
                <c:pt idx="5796">
                  <c:v>0.103370786516853</c:v>
                </c:pt>
                <c:pt idx="5797">
                  <c:v>0.103388621366149</c:v>
                </c:pt>
                <c:pt idx="5798">
                  <c:v>0.103406456215444</c:v>
                </c:pt>
                <c:pt idx="5799">
                  <c:v>0.10342429106474001</c:v>
                </c:pt>
                <c:pt idx="5800">
                  <c:v>0.103442125914036</c:v>
                </c:pt>
                <c:pt idx="5801">
                  <c:v>0.103459960763331</c:v>
                </c:pt>
                <c:pt idx="5802">
                  <c:v>0.103477795612627</c:v>
                </c:pt>
                <c:pt idx="5803">
                  <c:v>0.10349563046192201</c:v>
                </c:pt>
                <c:pt idx="5804">
                  <c:v>0.10351346531121799</c:v>
                </c:pt>
                <c:pt idx="5805">
                  <c:v>0.103531300160513</c:v>
                </c:pt>
                <c:pt idx="5806">
                  <c:v>0.103549135009809</c:v>
                </c:pt>
                <c:pt idx="5807">
                  <c:v>0.103566969859104</c:v>
                </c:pt>
                <c:pt idx="5808">
                  <c:v>0.10358480470839999</c:v>
                </c:pt>
                <c:pt idx="5809">
                  <c:v>0.103602639557695</c:v>
                </c:pt>
                <c:pt idx="5810">
                  <c:v>0.103620474406991</c:v>
                </c:pt>
                <c:pt idx="5811">
                  <c:v>0.103638309256286</c:v>
                </c:pt>
                <c:pt idx="5812">
                  <c:v>0.10365614410558199</c:v>
                </c:pt>
                <c:pt idx="5813">
                  <c:v>0.103673978954877</c:v>
                </c:pt>
                <c:pt idx="5814">
                  <c:v>0.103691813804173</c:v>
                </c:pt>
                <c:pt idx="5815">
                  <c:v>0.103709648653468</c:v>
                </c:pt>
                <c:pt idx="5816">
                  <c:v>0.10372748350276401</c:v>
                </c:pt>
                <c:pt idx="5817">
                  <c:v>0.103745318352059</c:v>
                </c:pt>
                <c:pt idx="5818">
                  <c:v>0.103763153201355</c:v>
                </c:pt>
                <c:pt idx="5819">
                  <c:v>0.10378098805065</c:v>
                </c:pt>
                <c:pt idx="5820">
                  <c:v>0.10379882289994601</c:v>
                </c:pt>
                <c:pt idx="5821">
                  <c:v>0.10381665774924199</c:v>
                </c:pt>
                <c:pt idx="5822">
                  <c:v>0.103834492598537</c:v>
                </c:pt>
                <c:pt idx="5823">
                  <c:v>0.103852327447833</c:v>
                </c:pt>
                <c:pt idx="5824">
                  <c:v>0.103870162297128</c:v>
                </c:pt>
                <c:pt idx="5825">
                  <c:v>0.10388799714642399</c:v>
                </c:pt>
                <c:pt idx="5826">
                  <c:v>0.103905831995719</c:v>
                </c:pt>
                <c:pt idx="5827">
                  <c:v>0.103923666845015</c:v>
                </c:pt>
                <c:pt idx="5828">
                  <c:v>0.10394150169431</c:v>
                </c:pt>
                <c:pt idx="5829">
                  <c:v>0.10395933654360601</c:v>
                </c:pt>
                <c:pt idx="5830">
                  <c:v>0.103977171392901</c:v>
                </c:pt>
                <c:pt idx="5831">
                  <c:v>0.103995006242197</c:v>
                </c:pt>
                <c:pt idx="5832">
                  <c:v>0.104012841091492</c:v>
                </c:pt>
                <c:pt idx="5833">
                  <c:v>0.10403067594078801</c:v>
                </c:pt>
                <c:pt idx="5834">
                  <c:v>0.104048510790083</c:v>
                </c:pt>
                <c:pt idx="5835">
                  <c:v>0.104066345639379</c:v>
                </c:pt>
                <c:pt idx="5836">
                  <c:v>0.104084180488674</c:v>
                </c:pt>
                <c:pt idx="5837">
                  <c:v>0.10410201533797001</c:v>
                </c:pt>
                <c:pt idx="5838">
                  <c:v>0.104119850187265</c:v>
                </c:pt>
                <c:pt idx="5839">
                  <c:v>0.104137685036561</c:v>
                </c:pt>
                <c:pt idx="5840">
                  <c:v>0.104155519885856</c:v>
                </c:pt>
                <c:pt idx="5841">
                  <c:v>0.104173354735152</c:v>
                </c:pt>
                <c:pt idx="5842">
                  <c:v>0.10419118958444799</c:v>
                </c:pt>
                <c:pt idx="5843">
                  <c:v>0.104209024433743</c:v>
                </c:pt>
                <c:pt idx="5844">
                  <c:v>0.104226859283039</c:v>
                </c:pt>
                <c:pt idx="5845">
                  <c:v>0.104244694132334</c:v>
                </c:pt>
                <c:pt idx="5846">
                  <c:v>0.10426252898163001</c:v>
                </c:pt>
                <c:pt idx="5847">
                  <c:v>0.104280363830925</c:v>
                </c:pt>
                <c:pt idx="5848">
                  <c:v>0.104298198680221</c:v>
                </c:pt>
                <c:pt idx="5849">
                  <c:v>0.104316033529516</c:v>
                </c:pt>
                <c:pt idx="5850">
                  <c:v>0.10433386837881201</c:v>
                </c:pt>
                <c:pt idx="5851">
                  <c:v>0.104351703228107</c:v>
                </c:pt>
                <c:pt idx="5852">
                  <c:v>0.104369538077403</c:v>
                </c:pt>
                <c:pt idx="5853">
                  <c:v>0.104387372926698</c:v>
                </c:pt>
                <c:pt idx="5854">
                  <c:v>0.10440520777599401</c:v>
                </c:pt>
                <c:pt idx="5855">
                  <c:v>0.10442304262528899</c:v>
                </c:pt>
                <c:pt idx="5856">
                  <c:v>0.104440877474585</c:v>
                </c:pt>
                <c:pt idx="5857">
                  <c:v>0.10445871232388</c:v>
                </c:pt>
                <c:pt idx="5858">
                  <c:v>0.104476547173176</c:v>
                </c:pt>
                <c:pt idx="5859">
                  <c:v>0.10449438202247099</c:v>
                </c:pt>
                <c:pt idx="5860">
                  <c:v>0.104512216871767</c:v>
                </c:pt>
                <c:pt idx="5861">
                  <c:v>0.104530051721062</c:v>
                </c:pt>
                <c:pt idx="5862">
                  <c:v>0.104547886570358</c:v>
                </c:pt>
                <c:pt idx="5863">
                  <c:v>0.10456572141965401</c:v>
                </c:pt>
                <c:pt idx="5864">
                  <c:v>0.104583556268949</c:v>
                </c:pt>
                <c:pt idx="5865">
                  <c:v>0.104601391118245</c:v>
                </c:pt>
                <c:pt idx="5866">
                  <c:v>0.10461922596754</c:v>
                </c:pt>
                <c:pt idx="5867">
                  <c:v>0.10463706081683601</c:v>
                </c:pt>
                <c:pt idx="5868">
                  <c:v>0.104654895666131</c:v>
                </c:pt>
                <c:pt idx="5869">
                  <c:v>0.104672730515427</c:v>
                </c:pt>
                <c:pt idx="5870">
                  <c:v>0.104690565364722</c:v>
                </c:pt>
                <c:pt idx="5871">
                  <c:v>0.104708400214018</c:v>
                </c:pt>
                <c:pt idx="5872">
                  <c:v>0.10472623506331299</c:v>
                </c:pt>
                <c:pt idx="5873">
                  <c:v>0.104744069912609</c:v>
                </c:pt>
                <c:pt idx="5874">
                  <c:v>0.104761904761904</c:v>
                </c:pt>
                <c:pt idx="5875">
                  <c:v>0.1047797396112</c:v>
                </c:pt>
                <c:pt idx="5876">
                  <c:v>0.10479757446049499</c:v>
                </c:pt>
                <c:pt idx="5877">
                  <c:v>0.104815409309791</c:v>
                </c:pt>
                <c:pt idx="5878">
                  <c:v>0.104833244159086</c:v>
                </c:pt>
                <c:pt idx="5879">
                  <c:v>0.104851079008382</c:v>
                </c:pt>
                <c:pt idx="5880">
                  <c:v>0.10486891385767701</c:v>
                </c:pt>
                <c:pt idx="5881">
                  <c:v>0.104886748706973</c:v>
                </c:pt>
                <c:pt idx="5882">
                  <c:v>0.104904583556268</c:v>
                </c:pt>
                <c:pt idx="5883">
                  <c:v>0.104922418405564</c:v>
                </c:pt>
                <c:pt idx="5884">
                  <c:v>0.10494025325485901</c:v>
                </c:pt>
                <c:pt idx="5885">
                  <c:v>0.104958088104155</c:v>
                </c:pt>
                <c:pt idx="5886">
                  <c:v>0.104975922953451</c:v>
                </c:pt>
                <c:pt idx="5887">
                  <c:v>0.104993757802746</c:v>
                </c:pt>
                <c:pt idx="5888">
                  <c:v>0.105011592652042</c:v>
                </c:pt>
                <c:pt idx="5889">
                  <c:v>0.10502942750133699</c:v>
                </c:pt>
                <c:pt idx="5890">
                  <c:v>0.105047262350633</c:v>
                </c:pt>
                <c:pt idx="5891">
                  <c:v>0.105065097199928</c:v>
                </c:pt>
                <c:pt idx="5892">
                  <c:v>0.105082932049224</c:v>
                </c:pt>
                <c:pt idx="5893">
                  <c:v>0.10510076689851899</c:v>
                </c:pt>
                <c:pt idx="5894">
                  <c:v>0.105118601747815</c:v>
                </c:pt>
                <c:pt idx="5895">
                  <c:v>0.10513643659711</c:v>
                </c:pt>
                <c:pt idx="5896">
                  <c:v>0.105154271446406</c:v>
                </c:pt>
                <c:pt idx="5897">
                  <c:v>0.10517210629570101</c:v>
                </c:pt>
                <c:pt idx="5898">
                  <c:v>0.105189941144997</c:v>
                </c:pt>
                <c:pt idx="5899">
                  <c:v>0.105207775994292</c:v>
                </c:pt>
                <c:pt idx="5900">
                  <c:v>0.105225610843588</c:v>
                </c:pt>
                <c:pt idx="5901">
                  <c:v>0.10524344569288301</c:v>
                </c:pt>
                <c:pt idx="5902">
                  <c:v>0.10526128054217899</c:v>
                </c:pt>
                <c:pt idx="5903">
                  <c:v>0.105279115391474</c:v>
                </c:pt>
                <c:pt idx="5904">
                  <c:v>0.10529695024077</c:v>
                </c:pt>
                <c:pt idx="5905">
                  <c:v>0.10531478509006501</c:v>
                </c:pt>
                <c:pt idx="5906">
                  <c:v>0.10533261993936099</c:v>
                </c:pt>
                <c:pt idx="5907">
                  <c:v>0.105350454788657</c:v>
                </c:pt>
                <c:pt idx="5908">
                  <c:v>0.105368289637952</c:v>
                </c:pt>
                <c:pt idx="5909">
                  <c:v>0.105386124487248</c:v>
                </c:pt>
                <c:pt idx="5910">
                  <c:v>0.10540395933654299</c:v>
                </c:pt>
                <c:pt idx="5911">
                  <c:v>0.105421794185839</c:v>
                </c:pt>
                <c:pt idx="5912">
                  <c:v>0.105439629035134</c:v>
                </c:pt>
                <c:pt idx="5913">
                  <c:v>0.10545746388443</c:v>
                </c:pt>
                <c:pt idx="5914">
                  <c:v>0.10547529873372501</c:v>
                </c:pt>
                <c:pt idx="5915">
                  <c:v>0.105493133583021</c:v>
                </c:pt>
                <c:pt idx="5916">
                  <c:v>0.105510968432316</c:v>
                </c:pt>
                <c:pt idx="5917">
                  <c:v>0.105528803281612</c:v>
                </c:pt>
                <c:pt idx="5918">
                  <c:v>0.10554663813090701</c:v>
                </c:pt>
                <c:pt idx="5919">
                  <c:v>0.10556447298020299</c:v>
                </c:pt>
                <c:pt idx="5920">
                  <c:v>0.105582307829498</c:v>
                </c:pt>
                <c:pt idx="5921">
                  <c:v>0.105600142678794</c:v>
                </c:pt>
                <c:pt idx="5922">
                  <c:v>0.105617977528089</c:v>
                </c:pt>
                <c:pt idx="5923">
                  <c:v>0.10563581237738499</c:v>
                </c:pt>
                <c:pt idx="5924">
                  <c:v>0.10565364722668</c:v>
                </c:pt>
                <c:pt idx="5925">
                  <c:v>0.105671482075976</c:v>
                </c:pt>
                <c:pt idx="5926">
                  <c:v>0.105689316925271</c:v>
                </c:pt>
                <c:pt idx="5927">
                  <c:v>0.10570715177456699</c:v>
                </c:pt>
                <c:pt idx="5928">
                  <c:v>0.105724986623863</c:v>
                </c:pt>
                <c:pt idx="5929">
                  <c:v>0.105742821473158</c:v>
                </c:pt>
                <c:pt idx="5930">
                  <c:v>0.105760656322454</c:v>
                </c:pt>
                <c:pt idx="5931">
                  <c:v>0.10577849117174901</c:v>
                </c:pt>
                <c:pt idx="5932">
                  <c:v>0.105796326021045</c:v>
                </c:pt>
                <c:pt idx="5933">
                  <c:v>0.10581416087034</c:v>
                </c:pt>
                <c:pt idx="5934">
                  <c:v>0.105831995719636</c:v>
                </c:pt>
                <c:pt idx="5935">
                  <c:v>0.10584983056893101</c:v>
                </c:pt>
                <c:pt idx="5936">
                  <c:v>0.10586766541822699</c:v>
                </c:pt>
                <c:pt idx="5937">
                  <c:v>0.105885500267522</c:v>
                </c:pt>
                <c:pt idx="5938">
                  <c:v>0.105903335116818</c:v>
                </c:pt>
                <c:pt idx="5939">
                  <c:v>0.105921169966113</c:v>
                </c:pt>
                <c:pt idx="5940">
                  <c:v>0.10593900481540899</c:v>
                </c:pt>
                <c:pt idx="5941">
                  <c:v>0.105956839664704</c:v>
                </c:pt>
                <c:pt idx="5942">
                  <c:v>0.105974674514</c:v>
                </c:pt>
                <c:pt idx="5943">
                  <c:v>0.105992509363295</c:v>
                </c:pt>
                <c:pt idx="5944">
                  <c:v>0.10601034421259101</c:v>
                </c:pt>
                <c:pt idx="5945">
                  <c:v>0.106028179061886</c:v>
                </c:pt>
                <c:pt idx="5946">
                  <c:v>0.106046013911182</c:v>
                </c:pt>
                <c:pt idx="5947">
                  <c:v>0.106063848760477</c:v>
                </c:pt>
                <c:pt idx="5948">
                  <c:v>0.10608168360977301</c:v>
                </c:pt>
                <c:pt idx="5949">
                  <c:v>0.10609951845906899</c:v>
                </c:pt>
                <c:pt idx="5950">
                  <c:v>0.106117353308364</c:v>
                </c:pt>
                <c:pt idx="5951">
                  <c:v>0.10613518815766</c:v>
                </c:pt>
                <c:pt idx="5952">
                  <c:v>0.10615302300695501</c:v>
                </c:pt>
                <c:pt idx="5953">
                  <c:v>0.10617085785625099</c:v>
                </c:pt>
                <c:pt idx="5954">
                  <c:v>0.106188692705546</c:v>
                </c:pt>
                <c:pt idx="5955">
                  <c:v>0.106206527554842</c:v>
                </c:pt>
                <c:pt idx="5956">
                  <c:v>0.106224362404137</c:v>
                </c:pt>
                <c:pt idx="5957">
                  <c:v>0.10624219725343299</c:v>
                </c:pt>
                <c:pt idx="5958">
                  <c:v>0.106260032102728</c:v>
                </c:pt>
                <c:pt idx="5959">
                  <c:v>0.106277866952024</c:v>
                </c:pt>
                <c:pt idx="5960">
                  <c:v>0.106295701801319</c:v>
                </c:pt>
                <c:pt idx="5961">
                  <c:v>0.10631353665061501</c:v>
                </c:pt>
                <c:pt idx="5962">
                  <c:v>0.10633137149991</c:v>
                </c:pt>
                <c:pt idx="5963">
                  <c:v>0.106349206349206</c:v>
                </c:pt>
                <c:pt idx="5964">
                  <c:v>0.106367041198501</c:v>
                </c:pt>
                <c:pt idx="5965">
                  <c:v>0.10638487604779701</c:v>
                </c:pt>
                <c:pt idx="5966">
                  <c:v>0.106402710897092</c:v>
                </c:pt>
                <c:pt idx="5967">
                  <c:v>0.106420545746388</c:v>
                </c:pt>
                <c:pt idx="5968">
                  <c:v>0.106438380595683</c:v>
                </c:pt>
                <c:pt idx="5969">
                  <c:v>0.106456215444979</c:v>
                </c:pt>
                <c:pt idx="5970">
                  <c:v>0.10647405029427499</c:v>
                </c:pt>
                <c:pt idx="5971">
                  <c:v>0.10649188514357</c:v>
                </c:pt>
                <c:pt idx="5972">
                  <c:v>0.106509719992866</c:v>
                </c:pt>
                <c:pt idx="5973">
                  <c:v>0.106527554842161</c:v>
                </c:pt>
                <c:pt idx="5974">
                  <c:v>0.10654538969145699</c:v>
                </c:pt>
                <c:pt idx="5975">
                  <c:v>0.106563224540752</c:v>
                </c:pt>
                <c:pt idx="5976">
                  <c:v>0.106581059390048</c:v>
                </c:pt>
                <c:pt idx="5977">
                  <c:v>0.106598894239343</c:v>
                </c:pt>
                <c:pt idx="5978">
                  <c:v>0.10661672908863901</c:v>
                </c:pt>
                <c:pt idx="5979">
                  <c:v>0.106634563937934</c:v>
                </c:pt>
                <c:pt idx="5980">
                  <c:v>0.10665239878723</c:v>
                </c:pt>
                <c:pt idx="5981">
                  <c:v>0.106670233636525</c:v>
                </c:pt>
                <c:pt idx="5982">
                  <c:v>0.10668806848582101</c:v>
                </c:pt>
                <c:pt idx="5983">
                  <c:v>0.106705903335116</c:v>
                </c:pt>
                <c:pt idx="5984">
                  <c:v>0.106723738184412</c:v>
                </c:pt>
                <c:pt idx="5985">
                  <c:v>0.106741573033707</c:v>
                </c:pt>
                <c:pt idx="5986">
                  <c:v>0.106759407883003</c:v>
                </c:pt>
                <c:pt idx="5987">
                  <c:v>0.10677724273229799</c:v>
                </c:pt>
                <c:pt idx="5988">
                  <c:v>0.106795077581594</c:v>
                </c:pt>
                <c:pt idx="5989">
                  <c:v>0.106812912430889</c:v>
                </c:pt>
                <c:pt idx="5990">
                  <c:v>0.106830747280185</c:v>
                </c:pt>
                <c:pt idx="5991">
                  <c:v>0.10684858212948101</c:v>
                </c:pt>
                <c:pt idx="5992">
                  <c:v>0.106866416978776</c:v>
                </c:pt>
                <c:pt idx="5993">
                  <c:v>0.106884251828072</c:v>
                </c:pt>
                <c:pt idx="5994">
                  <c:v>0.106902086677367</c:v>
                </c:pt>
                <c:pt idx="5995">
                  <c:v>0.10691992152666301</c:v>
                </c:pt>
                <c:pt idx="5996">
                  <c:v>0.106937756375958</c:v>
                </c:pt>
                <c:pt idx="5997">
                  <c:v>0.106955591225254</c:v>
                </c:pt>
                <c:pt idx="5998">
                  <c:v>0.106973426074549</c:v>
                </c:pt>
                <c:pt idx="5999">
                  <c:v>0.10699126092384501</c:v>
                </c:pt>
                <c:pt idx="6000">
                  <c:v>0.10700909577313999</c:v>
                </c:pt>
                <c:pt idx="6001">
                  <c:v>0.107026930622436</c:v>
                </c:pt>
                <c:pt idx="6002">
                  <c:v>0.107044765471731</c:v>
                </c:pt>
                <c:pt idx="6003">
                  <c:v>0.107062600321027</c:v>
                </c:pt>
                <c:pt idx="6004">
                  <c:v>0.10708043517032199</c:v>
                </c:pt>
                <c:pt idx="6005">
                  <c:v>0.107098270019618</c:v>
                </c:pt>
                <c:pt idx="6006">
                  <c:v>0.107116104868913</c:v>
                </c:pt>
                <c:pt idx="6007">
                  <c:v>0.107133939718209</c:v>
                </c:pt>
                <c:pt idx="6008">
                  <c:v>0.10715177456750399</c:v>
                </c:pt>
                <c:pt idx="6009">
                  <c:v>0.1071696094168</c:v>
                </c:pt>
                <c:pt idx="6010">
                  <c:v>0.107187444266095</c:v>
                </c:pt>
                <c:pt idx="6011">
                  <c:v>0.107205279115391</c:v>
                </c:pt>
                <c:pt idx="6012">
                  <c:v>0.10722311396468601</c:v>
                </c:pt>
                <c:pt idx="6013">
                  <c:v>0.107240948813982</c:v>
                </c:pt>
                <c:pt idx="6014">
                  <c:v>0.107258783663278</c:v>
                </c:pt>
                <c:pt idx="6015">
                  <c:v>0.107276618512573</c:v>
                </c:pt>
                <c:pt idx="6016">
                  <c:v>0.107294453361869</c:v>
                </c:pt>
                <c:pt idx="6017">
                  <c:v>0.10731228821116399</c:v>
                </c:pt>
                <c:pt idx="6018">
                  <c:v>0.10733012306046</c:v>
                </c:pt>
                <c:pt idx="6019">
                  <c:v>0.107347957909755</c:v>
                </c:pt>
                <c:pt idx="6020">
                  <c:v>0.107365792759051</c:v>
                </c:pt>
                <c:pt idx="6021">
                  <c:v>0.10738362760834599</c:v>
                </c:pt>
                <c:pt idx="6022">
                  <c:v>0.107401462457642</c:v>
                </c:pt>
                <c:pt idx="6023">
                  <c:v>0.107419297306937</c:v>
                </c:pt>
                <c:pt idx="6024">
                  <c:v>0.107437132156233</c:v>
                </c:pt>
                <c:pt idx="6025">
                  <c:v>0.10745496700552799</c:v>
                </c:pt>
                <c:pt idx="6026">
                  <c:v>0.107472801854824</c:v>
                </c:pt>
                <c:pt idx="6027">
                  <c:v>0.107490636704119</c:v>
                </c:pt>
                <c:pt idx="6028">
                  <c:v>0.107508471553415</c:v>
                </c:pt>
                <c:pt idx="6029">
                  <c:v>0.10752630640271001</c:v>
                </c:pt>
                <c:pt idx="6030">
                  <c:v>0.107544141252006</c:v>
                </c:pt>
                <c:pt idx="6031">
                  <c:v>0.107561976101301</c:v>
                </c:pt>
                <c:pt idx="6032">
                  <c:v>0.107579810950597</c:v>
                </c:pt>
                <c:pt idx="6033">
                  <c:v>0.10759764579989201</c:v>
                </c:pt>
                <c:pt idx="6034">
                  <c:v>0.10761548064918799</c:v>
                </c:pt>
                <c:pt idx="6035">
                  <c:v>0.107633315498484</c:v>
                </c:pt>
                <c:pt idx="6036">
                  <c:v>0.107651150347779</c:v>
                </c:pt>
                <c:pt idx="6037">
                  <c:v>0.107668985197075</c:v>
                </c:pt>
                <c:pt idx="6038">
                  <c:v>0.10768682004636999</c:v>
                </c:pt>
                <c:pt idx="6039">
                  <c:v>0.107704654895666</c:v>
                </c:pt>
                <c:pt idx="6040">
                  <c:v>0.107722489744961</c:v>
                </c:pt>
                <c:pt idx="6041">
                  <c:v>0.107740324594257</c:v>
                </c:pt>
                <c:pt idx="6042">
                  <c:v>0.10775815944355201</c:v>
                </c:pt>
                <c:pt idx="6043">
                  <c:v>0.107775994292848</c:v>
                </c:pt>
                <c:pt idx="6044">
                  <c:v>0.107793829142143</c:v>
                </c:pt>
                <c:pt idx="6045">
                  <c:v>0.107811663991439</c:v>
                </c:pt>
                <c:pt idx="6046">
                  <c:v>0.10782949884073401</c:v>
                </c:pt>
                <c:pt idx="6047">
                  <c:v>0.10784733369003</c:v>
                </c:pt>
                <c:pt idx="6048">
                  <c:v>0.107865168539325</c:v>
                </c:pt>
                <c:pt idx="6049">
                  <c:v>0.107883003388621</c:v>
                </c:pt>
                <c:pt idx="6050">
                  <c:v>0.10790083823791601</c:v>
                </c:pt>
                <c:pt idx="6051">
                  <c:v>0.10791867308721199</c:v>
                </c:pt>
                <c:pt idx="6052">
                  <c:v>0.107936507936507</c:v>
                </c:pt>
                <c:pt idx="6053">
                  <c:v>0.107954342785803</c:v>
                </c:pt>
                <c:pt idx="6054">
                  <c:v>0.107972177635098</c:v>
                </c:pt>
                <c:pt idx="6055">
                  <c:v>0.10799001248439399</c:v>
                </c:pt>
                <c:pt idx="6056">
                  <c:v>0.10800784733369</c:v>
                </c:pt>
                <c:pt idx="6057">
                  <c:v>0.108025682182985</c:v>
                </c:pt>
                <c:pt idx="6058">
                  <c:v>0.108043517032281</c:v>
                </c:pt>
                <c:pt idx="6059">
                  <c:v>0.10806135188157601</c:v>
                </c:pt>
                <c:pt idx="6060">
                  <c:v>0.108079186730872</c:v>
                </c:pt>
                <c:pt idx="6061">
                  <c:v>0.108097021580167</c:v>
                </c:pt>
                <c:pt idx="6062">
                  <c:v>0.108114856429463</c:v>
                </c:pt>
                <c:pt idx="6063">
                  <c:v>0.10813269127875801</c:v>
                </c:pt>
                <c:pt idx="6064">
                  <c:v>0.10815052612805399</c:v>
                </c:pt>
                <c:pt idx="6065">
                  <c:v>0.108168360977349</c:v>
                </c:pt>
                <c:pt idx="6066">
                  <c:v>0.108186195826645</c:v>
                </c:pt>
                <c:pt idx="6067">
                  <c:v>0.10820403067594001</c:v>
                </c:pt>
                <c:pt idx="6068">
                  <c:v>0.10822186552523599</c:v>
                </c:pt>
                <c:pt idx="6069">
                  <c:v>0.108239700374531</c:v>
                </c:pt>
                <c:pt idx="6070">
                  <c:v>0.108257535223827</c:v>
                </c:pt>
                <c:pt idx="6071">
                  <c:v>0.108275370073122</c:v>
                </c:pt>
                <c:pt idx="6072">
                  <c:v>0.10829320492241799</c:v>
                </c:pt>
                <c:pt idx="6073">
                  <c:v>0.108311039771713</c:v>
                </c:pt>
                <c:pt idx="6074">
                  <c:v>0.108328874621009</c:v>
                </c:pt>
                <c:pt idx="6075">
                  <c:v>0.108346709470304</c:v>
                </c:pt>
                <c:pt idx="6076">
                  <c:v>0.10836454431960001</c:v>
                </c:pt>
                <c:pt idx="6077">
                  <c:v>0.108382379168896</c:v>
                </c:pt>
                <c:pt idx="6078">
                  <c:v>0.108400214018191</c:v>
                </c:pt>
                <c:pt idx="6079">
                  <c:v>0.108418048867487</c:v>
                </c:pt>
                <c:pt idx="6080">
                  <c:v>0.10843588371678201</c:v>
                </c:pt>
                <c:pt idx="6081">
                  <c:v>0.10845371856607799</c:v>
                </c:pt>
                <c:pt idx="6082">
                  <c:v>0.108471553415373</c:v>
                </c:pt>
                <c:pt idx="6083">
                  <c:v>0.108489388264669</c:v>
                </c:pt>
                <c:pt idx="6084">
                  <c:v>0.108507223113964</c:v>
                </c:pt>
                <c:pt idx="6085">
                  <c:v>0.10852505796325999</c:v>
                </c:pt>
                <c:pt idx="6086">
                  <c:v>0.108542892812555</c:v>
                </c:pt>
                <c:pt idx="6087">
                  <c:v>0.108560727661851</c:v>
                </c:pt>
                <c:pt idx="6088">
                  <c:v>0.108578562511146</c:v>
                </c:pt>
                <c:pt idx="6089">
                  <c:v>0.10859639736044201</c:v>
                </c:pt>
                <c:pt idx="6090">
                  <c:v>0.108614232209737</c:v>
                </c:pt>
                <c:pt idx="6091">
                  <c:v>0.108632067059033</c:v>
                </c:pt>
                <c:pt idx="6092">
                  <c:v>0.108649901908328</c:v>
                </c:pt>
                <c:pt idx="6093">
                  <c:v>0.10866773675762401</c:v>
                </c:pt>
                <c:pt idx="6094">
                  <c:v>0.108685571606919</c:v>
                </c:pt>
                <c:pt idx="6095">
                  <c:v>0.108703406456215</c:v>
                </c:pt>
                <c:pt idx="6096">
                  <c:v>0.10872124130551</c:v>
                </c:pt>
                <c:pt idx="6097">
                  <c:v>0.10873907615480601</c:v>
                </c:pt>
                <c:pt idx="6098">
                  <c:v>0.10875691100410199</c:v>
                </c:pt>
                <c:pt idx="6099">
                  <c:v>0.108774745853397</c:v>
                </c:pt>
                <c:pt idx="6100">
                  <c:v>0.108792580702693</c:v>
                </c:pt>
                <c:pt idx="6101">
                  <c:v>0.108810415551988</c:v>
                </c:pt>
                <c:pt idx="6102">
                  <c:v>0.10882825040128399</c:v>
                </c:pt>
                <c:pt idx="6103">
                  <c:v>0.108846085250579</c:v>
                </c:pt>
                <c:pt idx="6104">
                  <c:v>0.108863920099875</c:v>
                </c:pt>
                <c:pt idx="6105">
                  <c:v>0.10888175494917</c:v>
                </c:pt>
                <c:pt idx="6106">
                  <c:v>0.10889958979846601</c:v>
                </c:pt>
                <c:pt idx="6107">
                  <c:v>0.108917424647761</c:v>
                </c:pt>
                <c:pt idx="6108">
                  <c:v>0.108935259497057</c:v>
                </c:pt>
                <c:pt idx="6109">
                  <c:v>0.108953094346352</c:v>
                </c:pt>
                <c:pt idx="6110">
                  <c:v>0.10897092919564801</c:v>
                </c:pt>
                <c:pt idx="6111">
                  <c:v>0.108988764044943</c:v>
                </c:pt>
                <c:pt idx="6112">
                  <c:v>0.109006598894239</c:v>
                </c:pt>
                <c:pt idx="6113">
                  <c:v>0.109024433743534</c:v>
                </c:pt>
                <c:pt idx="6114">
                  <c:v>0.10904226859283001</c:v>
                </c:pt>
                <c:pt idx="6115">
                  <c:v>0.10906010344212499</c:v>
                </c:pt>
                <c:pt idx="6116">
                  <c:v>0.109077938291421</c:v>
                </c:pt>
                <c:pt idx="6117">
                  <c:v>0.109095773140716</c:v>
                </c:pt>
                <c:pt idx="6118">
                  <c:v>0.109113607990012</c:v>
                </c:pt>
                <c:pt idx="6119">
                  <c:v>0.10913144283930799</c:v>
                </c:pt>
                <c:pt idx="6120">
                  <c:v>0.109149277688603</c:v>
                </c:pt>
                <c:pt idx="6121">
                  <c:v>0.109167112537899</c:v>
                </c:pt>
                <c:pt idx="6122">
                  <c:v>0.109184947387194</c:v>
                </c:pt>
                <c:pt idx="6123">
                  <c:v>0.10920278223649001</c:v>
                </c:pt>
                <c:pt idx="6124">
                  <c:v>0.109220617085785</c:v>
                </c:pt>
                <c:pt idx="6125">
                  <c:v>0.109238451935081</c:v>
                </c:pt>
                <c:pt idx="6126">
                  <c:v>0.109256286784376</c:v>
                </c:pt>
                <c:pt idx="6127">
                  <c:v>0.10927412163367201</c:v>
                </c:pt>
                <c:pt idx="6128">
                  <c:v>0.109291956482967</c:v>
                </c:pt>
                <c:pt idx="6129">
                  <c:v>0.109309791332263</c:v>
                </c:pt>
                <c:pt idx="6130">
                  <c:v>0.109327626181558</c:v>
                </c:pt>
                <c:pt idx="6131">
                  <c:v>0.109345461030854</c:v>
                </c:pt>
                <c:pt idx="6132">
                  <c:v>0.10936329588014899</c:v>
                </c:pt>
                <c:pt idx="6133">
                  <c:v>0.109381130729445</c:v>
                </c:pt>
                <c:pt idx="6134">
                  <c:v>0.10939896557874</c:v>
                </c:pt>
                <c:pt idx="6135">
                  <c:v>0.109416800428036</c:v>
                </c:pt>
                <c:pt idx="6136">
                  <c:v>0.10943463527733099</c:v>
                </c:pt>
                <c:pt idx="6137">
                  <c:v>0.109452470126627</c:v>
                </c:pt>
                <c:pt idx="6138">
                  <c:v>0.109470304975922</c:v>
                </c:pt>
                <c:pt idx="6139">
                  <c:v>0.109488139825218</c:v>
                </c:pt>
                <c:pt idx="6140">
                  <c:v>0.10950597467451401</c:v>
                </c:pt>
                <c:pt idx="6141">
                  <c:v>0.109523809523809</c:v>
                </c:pt>
                <c:pt idx="6142">
                  <c:v>0.109541644373105</c:v>
                </c:pt>
                <c:pt idx="6143">
                  <c:v>0.1095594792224</c:v>
                </c:pt>
                <c:pt idx="6144">
                  <c:v>0.10957731407169601</c:v>
                </c:pt>
                <c:pt idx="6145">
                  <c:v>0.109595148920991</c:v>
                </c:pt>
                <c:pt idx="6146">
                  <c:v>0.109612983770287</c:v>
                </c:pt>
                <c:pt idx="6147">
                  <c:v>0.109630818619582</c:v>
                </c:pt>
                <c:pt idx="6148">
                  <c:v>0.109648653468878</c:v>
                </c:pt>
                <c:pt idx="6149">
                  <c:v>0.10966648831817299</c:v>
                </c:pt>
                <c:pt idx="6150">
                  <c:v>0.109684323167469</c:v>
                </c:pt>
                <c:pt idx="6151">
                  <c:v>0.109702158016764</c:v>
                </c:pt>
                <c:pt idx="6152">
                  <c:v>0.10971999286606</c:v>
                </c:pt>
                <c:pt idx="6153">
                  <c:v>0.10973782771535499</c:v>
                </c:pt>
                <c:pt idx="6154">
                  <c:v>0.109755662564651</c:v>
                </c:pt>
                <c:pt idx="6155">
                  <c:v>0.109773497413946</c:v>
                </c:pt>
                <c:pt idx="6156">
                  <c:v>0.109791332263242</c:v>
                </c:pt>
                <c:pt idx="6157">
                  <c:v>0.10980916711253701</c:v>
                </c:pt>
                <c:pt idx="6158">
                  <c:v>0.109827001961833</c:v>
                </c:pt>
                <c:pt idx="6159">
                  <c:v>0.109844836811128</c:v>
                </c:pt>
                <c:pt idx="6160">
                  <c:v>0.109862671660424</c:v>
                </c:pt>
                <c:pt idx="6161">
                  <c:v>0.10988050650971901</c:v>
                </c:pt>
                <c:pt idx="6162">
                  <c:v>0.10989834135901499</c:v>
                </c:pt>
                <c:pt idx="6163">
                  <c:v>0.109916176208311</c:v>
                </c:pt>
                <c:pt idx="6164">
                  <c:v>0.109934011057606</c:v>
                </c:pt>
                <c:pt idx="6165">
                  <c:v>0.109951845906902</c:v>
                </c:pt>
                <c:pt idx="6166">
                  <c:v>0.10996968075619699</c:v>
                </c:pt>
                <c:pt idx="6167">
                  <c:v>0.109987515605493</c:v>
                </c:pt>
                <c:pt idx="6168">
                  <c:v>0.110005350454788</c:v>
                </c:pt>
                <c:pt idx="6169">
                  <c:v>0.110023185304084</c:v>
                </c:pt>
                <c:pt idx="6170">
                  <c:v>0.11004102015337899</c:v>
                </c:pt>
                <c:pt idx="6171">
                  <c:v>0.110058855002675</c:v>
                </c:pt>
                <c:pt idx="6172">
                  <c:v>0.11007668985197</c:v>
                </c:pt>
                <c:pt idx="6173">
                  <c:v>0.110094524701266</c:v>
                </c:pt>
                <c:pt idx="6174">
                  <c:v>0.11011235955056101</c:v>
                </c:pt>
                <c:pt idx="6175">
                  <c:v>0.110130194399857</c:v>
                </c:pt>
                <c:pt idx="6176">
                  <c:v>0.110148029249152</c:v>
                </c:pt>
                <c:pt idx="6177">
                  <c:v>0.110165864098448</c:v>
                </c:pt>
                <c:pt idx="6178">
                  <c:v>0.11018369894774301</c:v>
                </c:pt>
                <c:pt idx="6179">
                  <c:v>0.11020153379703899</c:v>
                </c:pt>
                <c:pt idx="6180">
                  <c:v>0.110219368646334</c:v>
                </c:pt>
                <c:pt idx="6181">
                  <c:v>0.11023720349563</c:v>
                </c:pt>
                <c:pt idx="6182">
                  <c:v>0.110255038344925</c:v>
                </c:pt>
                <c:pt idx="6183">
                  <c:v>0.11027287319422099</c:v>
                </c:pt>
                <c:pt idx="6184">
                  <c:v>0.110290708043517</c:v>
                </c:pt>
                <c:pt idx="6185">
                  <c:v>0.110308542892812</c:v>
                </c:pt>
                <c:pt idx="6186">
                  <c:v>0.110326377742108</c:v>
                </c:pt>
                <c:pt idx="6187">
                  <c:v>0.11034421259140299</c:v>
                </c:pt>
                <c:pt idx="6188">
                  <c:v>0.110362047440699</c:v>
                </c:pt>
                <c:pt idx="6189">
                  <c:v>0.110379882289994</c:v>
                </c:pt>
                <c:pt idx="6190">
                  <c:v>0.11039771713929</c:v>
                </c:pt>
                <c:pt idx="6191">
                  <c:v>0.11041555198858501</c:v>
                </c:pt>
                <c:pt idx="6192">
                  <c:v>0.110433386837881</c:v>
                </c:pt>
                <c:pt idx="6193">
                  <c:v>0.110451221687176</c:v>
                </c:pt>
                <c:pt idx="6194">
                  <c:v>0.110469056536472</c:v>
                </c:pt>
                <c:pt idx="6195">
                  <c:v>0.11048689138576701</c:v>
                </c:pt>
                <c:pt idx="6196">
                  <c:v>0.11050472623506299</c:v>
                </c:pt>
                <c:pt idx="6197">
                  <c:v>0.110522561084358</c:v>
                </c:pt>
                <c:pt idx="6198">
                  <c:v>0.110540395933654</c:v>
                </c:pt>
                <c:pt idx="6199">
                  <c:v>0.110558230782949</c:v>
                </c:pt>
                <c:pt idx="6200">
                  <c:v>0.11057606563224499</c:v>
                </c:pt>
                <c:pt idx="6201">
                  <c:v>0.11059390048154</c:v>
                </c:pt>
                <c:pt idx="6202">
                  <c:v>0.110611735330836</c:v>
                </c:pt>
                <c:pt idx="6203">
                  <c:v>0.110629570180131</c:v>
                </c:pt>
                <c:pt idx="6204">
                  <c:v>0.11064740502942701</c:v>
                </c:pt>
                <c:pt idx="6205">
                  <c:v>0.110665239878723</c:v>
                </c:pt>
                <c:pt idx="6206">
                  <c:v>0.110683074728018</c:v>
                </c:pt>
                <c:pt idx="6207">
                  <c:v>0.110700909577314</c:v>
                </c:pt>
                <c:pt idx="6208">
                  <c:v>0.11071874442660901</c:v>
                </c:pt>
                <c:pt idx="6209">
                  <c:v>0.11073657927590499</c:v>
                </c:pt>
                <c:pt idx="6210">
                  <c:v>0.1107544141252</c:v>
                </c:pt>
                <c:pt idx="6211">
                  <c:v>0.110772248974496</c:v>
                </c:pt>
                <c:pt idx="6212">
                  <c:v>0.11079008382379101</c:v>
                </c:pt>
                <c:pt idx="6213">
                  <c:v>0.11080791867308699</c:v>
                </c:pt>
                <c:pt idx="6214">
                  <c:v>0.110825753522382</c:v>
                </c:pt>
                <c:pt idx="6215">
                  <c:v>0.110843588371678</c:v>
                </c:pt>
                <c:pt idx="6216">
                  <c:v>0.110861423220973</c:v>
                </c:pt>
                <c:pt idx="6217">
                  <c:v>0.11087925807026899</c:v>
                </c:pt>
                <c:pt idx="6218">
                  <c:v>0.110897092919564</c:v>
                </c:pt>
                <c:pt idx="6219">
                  <c:v>0.11091492776886</c:v>
                </c:pt>
                <c:pt idx="6220">
                  <c:v>0.110932762618155</c:v>
                </c:pt>
                <c:pt idx="6221">
                  <c:v>0.11095059746745101</c:v>
                </c:pt>
                <c:pt idx="6222">
                  <c:v>0.110968432316746</c:v>
                </c:pt>
                <c:pt idx="6223">
                  <c:v>0.110986267166042</c:v>
                </c:pt>
                <c:pt idx="6224">
                  <c:v>0.111004102015337</c:v>
                </c:pt>
                <c:pt idx="6225">
                  <c:v>0.11102193686463301</c:v>
                </c:pt>
                <c:pt idx="6226">
                  <c:v>0.11103977171392899</c:v>
                </c:pt>
                <c:pt idx="6227">
                  <c:v>0.111057606563224</c:v>
                </c:pt>
                <c:pt idx="6228">
                  <c:v>0.11107544141252</c:v>
                </c:pt>
                <c:pt idx="6229">
                  <c:v>0.111093276261815</c:v>
                </c:pt>
                <c:pt idx="6230">
                  <c:v>0.11111111111111099</c:v>
                </c:pt>
                <c:pt idx="6231">
                  <c:v>0.111128945960406</c:v>
                </c:pt>
                <c:pt idx="6232">
                  <c:v>0.111146780809702</c:v>
                </c:pt>
                <c:pt idx="6233">
                  <c:v>0.111164615658997</c:v>
                </c:pt>
                <c:pt idx="6234">
                  <c:v>0.11118245050829299</c:v>
                </c:pt>
                <c:pt idx="6235">
                  <c:v>0.111200285357588</c:v>
                </c:pt>
                <c:pt idx="6236">
                  <c:v>0.111218120206884</c:v>
                </c:pt>
                <c:pt idx="6237">
                  <c:v>0.111235955056179</c:v>
                </c:pt>
                <c:pt idx="6238">
                  <c:v>0.11125378990547501</c:v>
                </c:pt>
                <c:pt idx="6239">
                  <c:v>0.11127162475477</c:v>
                </c:pt>
                <c:pt idx="6240">
                  <c:v>0.111289459604066</c:v>
                </c:pt>
                <c:pt idx="6241">
                  <c:v>0.111307294453361</c:v>
                </c:pt>
                <c:pt idx="6242">
                  <c:v>0.11132512930265701</c:v>
                </c:pt>
                <c:pt idx="6243">
                  <c:v>0.111342964151952</c:v>
                </c:pt>
                <c:pt idx="6244">
                  <c:v>0.111360799001248</c:v>
                </c:pt>
                <c:pt idx="6245">
                  <c:v>0.111378633850543</c:v>
                </c:pt>
                <c:pt idx="6246">
                  <c:v>0.111396468699839</c:v>
                </c:pt>
                <c:pt idx="6247">
                  <c:v>0.11141430354913499</c:v>
                </c:pt>
                <c:pt idx="6248">
                  <c:v>0.11143213839843</c:v>
                </c:pt>
                <c:pt idx="6249">
                  <c:v>0.111449973247726</c:v>
                </c:pt>
                <c:pt idx="6250">
                  <c:v>0.111467808097021</c:v>
                </c:pt>
                <c:pt idx="6251">
                  <c:v>0.11148564294631701</c:v>
                </c:pt>
                <c:pt idx="6252">
                  <c:v>0.111503477795612</c:v>
                </c:pt>
                <c:pt idx="6253">
                  <c:v>0.111521312644908</c:v>
                </c:pt>
                <c:pt idx="6254">
                  <c:v>0.111539147494203</c:v>
                </c:pt>
                <c:pt idx="6255">
                  <c:v>0.11155698234349901</c:v>
                </c:pt>
                <c:pt idx="6256">
                  <c:v>0.111574817192794</c:v>
                </c:pt>
                <c:pt idx="6257">
                  <c:v>0.11159265204209</c:v>
                </c:pt>
                <c:pt idx="6258">
                  <c:v>0.111610486891385</c:v>
                </c:pt>
                <c:pt idx="6259">
                  <c:v>0.11162832174068101</c:v>
                </c:pt>
                <c:pt idx="6260">
                  <c:v>0.111646156589976</c:v>
                </c:pt>
                <c:pt idx="6261">
                  <c:v>0.111663991439272</c:v>
                </c:pt>
                <c:pt idx="6262">
                  <c:v>0.111681826288567</c:v>
                </c:pt>
                <c:pt idx="6263">
                  <c:v>0.111699661137863</c:v>
                </c:pt>
                <c:pt idx="6264">
                  <c:v>0.11171749598715799</c:v>
                </c:pt>
                <c:pt idx="6265">
                  <c:v>0.111735330836454</c:v>
                </c:pt>
                <c:pt idx="6266">
                  <c:v>0.111753165685749</c:v>
                </c:pt>
                <c:pt idx="6267">
                  <c:v>0.111771000535045</c:v>
                </c:pt>
                <c:pt idx="6268">
                  <c:v>0.11178883538434101</c:v>
                </c:pt>
                <c:pt idx="6269">
                  <c:v>0.111806670233636</c:v>
                </c:pt>
                <c:pt idx="6270">
                  <c:v>0.111824505082932</c:v>
                </c:pt>
                <c:pt idx="6271">
                  <c:v>0.111842339932227</c:v>
                </c:pt>
                <c:pt idx="6272">
                  <c:v>0.11186017478152301</c:v>
                </c:pt>
                <c:pt idx="6273">
                  <c:v>0.111878009630818</c:v>
                </c:pt>
                <c:pt idx="6274">
                  <c:v>0.111895844480114</c:v>
                </c:pt>
                <c:pt idx="6275">
                  <c:v>0.111913679329409</c:v>
                </c:pt>
                <c:pt idx="6276">
                  <c:v>0.111931514178705</c:v>
                </c:pt>
                <c:pt idx="6277">
                  <c:v>0.11194934902799999</c:v>
                </c:pt>
                <c:pt idx="6278">
                  <c:v>0.111967183877296</c:v>
                </c:pt>
                <c:pt idx="6279">
                  <c:v>0.111985018726591</c:v>
                </c:pt>
                <c:pt idx="6280">
                  <c:v>0.112002853575887</c:v>
                </c:pt>
                <c:pt idx="6281">
                  <c:v>0.11202068842518199</c:v>
                </c:pt>
                <c:pt idx="6282">
                  <c:v>0.112038523274478</c:v>
                </c:pt>
                <c:pt idx="6283">
                  <c:v>0.112056358123773</c:v>
                </c:pt>
                <c:pt idx="6284">
                  <c:v>0.112074192973069</c:v>
                </c:pt>
                <c:pt idx="6285">
                  <c:v>0.11209202782236399</c:v>
                </c:pt>
                <c:pt idx="6286">
                  <c:v>0.11210986267166</c:v>
                </c:pt>
                <c:pt idx="6287">
                  <c:v>0.112127697520955</c:v>
                </c:pt>
                <c:pt idx="6288">
                  <c:v>0.112145532370251</c:v>
                </c:pt>
                <c:pt idx="6289">
                  <c:v>0.11216336721954601</c:v>
                </c:pt>
                <c:pt idx="6290">
                  <c:v>0.112181202068842</c:v>
                </c:pt>
                <c:pt idx="6291">
                  <c:v>0.112199036918138</c:v>
                </c:pt>
                <c:pt idx="6292">
                  <c:v>0.112216871767433</c:v>
                </c:pt>
                <c:pt idx="6293">
                  <c:v>0.112234706616729</c:v>
                </c:pt>
                <c:pt idx="6294">
                  <c:v>0.11225254146602399</c:v>
                </c:pt>
                <c:pt idx="6295">
                  <c:v>0.11227037631532</c:v>
                </c:pt>
                <c:pt idx="6296">
                  <c:v>0.112288211164615</c:v>
                </c:pt>
                <c:pt idx="6297">
                  <c:v>0.112306046013911</c:v>
                </c:pt>
                <c:pt idx="6298">
                  <c:v>0.11232388086320599</c:v>
                </c:pt>
                <c:pt idx="6299">
                  <c:v>0.112341715712502</c:v>
                </c:pt>
                <c:pt idx="6300">
                  <c:v>0.112359550561797</c:v>
                </c:pt>
                <c:pt idx="6301">
                  <c:v>0.112377385411093</c:v>
                </c:pt>
                <c:pt idx="6302">
                  <c:v>0.11239522026038801</c:v>
                </c:pt>
                <c:pt idx="6303">
                  <c:v>0.112413055109684</c:v>
                </c:pt>
                <c:pt idx="6304">
                  <c:v>0.112430889958979</c:v>
                </c:pt>
                <c:pt idx="6305">
                  <c:v>0.112448724808275</c:v>
                </c:pt>
                <c:pt idx="6306">
                  <c:v>0.11246655965757001</c:v>
                </c:pt>
                <c:pt idx="6307">
                  <c:v>0.112484394506866</c:v>
                </c:pt>
                <c:pt idx="6308">
                  <c:v>0.112502229356161</c:v>
                </c:pt>
                <c:pt idx="6309">
                  <c:v>0.112520064205457</c:v>
                </c:pt>
                <c:pt idx="6310">
                  <c:v>0.11253789905475201</c:v>
                </c:pt>
                <c:pt idx="6311">
                  <c:v>0.11255573390404799</c:v>
                </c:pt>
                <c:pt idx="6312">
                  <c:v>0.112573568753344</c:v>
                </c:pt>
                <c:pt idx="6313">
                  <c:v>0.112591403602639</c:v>
                </c:pt>
                <c:pt idx="6314">
                  <c:v>0.112609238451935</c:v>
                </c:pt>
                <c:pt idx="6315">
                  <c:v>0.11262707330122999</c:v>
                </c:pt>
                <c:pt idx="6316">
                  <c:v>0.112644908150526</c:v>
                </c:pt>
                <c:pt idx="6317">
                  <c:v>0.112662742999821</c:v>
                </c:pt>
                <c:pt idx="6318">
                  <c:v>0.112680577849117</c:v>
                </c:pt>
                <c:pt idx="6319">
                  <c:v>0.11269841269841201</c:v>
                </c:pt>
                <c:pt idx="6320">
                  <c:v>0.112716247547708</c:v>
                </c:pt>
                <c:pt idx="6321">
                  <c:v>0.112734082397003</c:v>
                </c:pt>
                <c:pt idx="6322">
                  <c:v>0.112751917246299</c:v>
                </c:pt>
                <c:pt idx="6323">
                  <c:v>0.11276975209559401</c:v>
                </c:pt>
                <c:pt idx="6324">
                  <c:v>0.11278758694488999</c:v>
                </c:pt>
                <c:pt idx="6325">
                  <c:v>0.112805421794185</c:v>
                </c:pt>
                <c:pt idx="6326">
                  <c:v>0.112823256643481</c:v>
                </c:pt>
                <c:pt idx="6327">
                  <c:v>0.11284109149277601</c:v>
                </c:pt>
                <c:pt idx="6328">
                  <c:v>0.11285892634207199</c:v>
                </c:pt>
                <c:pt idx="6329">
                  <c:v>0.112876761191367</c:v>
                </c:pt>
                <c:pt idx="6330">
                  <c:v>0.112894596040663</c:v>
                </c:pt>
                <c:pt idx="6331">
                  <c:v>0.112912430889958</c:v>
                </c:pt>
                <c:pt idx="6332">
                  <c:v>0.11293026573925399</c:v>
                </c:pt>
                <c:pt idx="6333">
                  <c:v>0.11294810058855</c:v>
                </c:pt>
                <c:pt idx="6334">
                  <c:v>0.112965935437845</c:v>
                </c:pt>
                <c:pt idx="6335">
                  <c:v>0.112983770287141</c:v>
                </c:pt>
                <c:pt idx="6336">
                  <c:v>0.11300160513643601</c:v>
                </c:pt>
                <c:pt idx="6337">
                  <c:v>0.113019439985732</c:v>
                </c:pt>
                <c:pt idx="6338">
                  <c:v>0.113037274835027</c:v>
                </c:pt>
                <c:pt idx="6339">
                  <c:v>0.113055109684323</c:v>
                </c:pt>
                <c:pt idx="6340">
                  <c:v>0.11307294453361801</c:v>
                </c:pt>
                <c:pt idx="6341">
                  <c:v>0.11309077938291399</c:v>
                </c:pt>
                <c:pt idx="6342">
                  <c:v>0.113108614232209</c:v>
                </c:pt>
                <c:pt idx="6343">
                  <c:v>0.113126449081505</c:v>
                </c:pt>
                <c:pt idx="6344">
                  <c:v>0.1131442839308</c:v>
                </c:pt>
                <c:pt idx="6345">
                  <c:v>0.11316211878009599</c:v>
                </c:pt>
                <c:pt idx="6346">
                  <c:v>0.113179953629391</c:v>
                </c:pt>
                <c:pt idx="6347">
                  <c:v>0.113197788478687</c:v>
                </c:pt>
                <c:pt idx="6348">
                  <c:v>0.113215623327982</c:v>
                </c:pt>
                <c:pt idx="6349">
                  <c:v>0.11323345817727801</c:v>
                </c:pt>
                <c:pt idx="6350">
                  <c:v>0.113251293026573</c:v>
                </c:pt>
                <c:pt idx="6351">
                  <c:v>0.113269127875869</c:v>
                </c:pt>
                <c:pt idx="6352">
                  <c:v>0.113286962725164</c:v>
                </c:pt>
                <c:pt idx="6353">
                  <c:v>0.11330479757446001</c:v>
                </c:pt>
                <c:pt idx="6354">
                  <c:v>0.113322632423756</c:v>
                </c:pt>
                <c:pt idx="6355">
                  <c:v>0.113340467273051</c:v>
                </c:pt>
                <c:pt idx="6356">
                  <c:v>0.113358302122347</c:v>
                </c:pt>
                <c:pt idx="6357">
                  <c:v>0.11337613697164201</c:v>
                </c:pt>
                <c:pt idx="6358">
                  <c:v>0.11339397182093799</c:v>
                </c:pt>
                <c:pt idx="6359">
                  <c:v>0.113411806670233</c:v>
                </c:pt>
                <c:pt idx="6360">
                  <c:v>0.113429641519529</c:v>
                </c:pt>
                <c:pt idx="6361">
                  <c:v>0.113447476368824</c:v>
                </c:pt>
                <c:pt idx="6362">
                  <c:v>0.11346531121811999</c:v>
                </c:pt>
                <c:pt idx="6363">
                  <c:v>0.113483146067415</c:v>
                </c:pt>
                <c:pt idx="6364">
                  <c:v>0.113500980916711</c:v>
                </c:pt>
                <c:pt idx="6365">
                  <c:v>0.113518815766006</c:v>
                </c:pt>
                <c:pt idx="6366">
                  <c:v>0.11353665061530201</c:v>
                </c:pt>
                <c:pt idx="6367">
                  <c:v>0.113554485464597</c:v>
                </c:pt>
                <c:pt idx="6368">
                  <c:v>0.113572320313893</c:v>
                </c:pt>
                <c:pt idx="6369">
                  <c:v>0.113590155163188</c:v>
                </c:pt>
                <c:pt idx="6370">
                  <c:v>0.11360799001248401</c:v>
                </c:pt>
                <c:pt idx="6371">
                  <c:v>0.113625824861779</c:v>
                </c:pt>
                <c:pt idx="6372">
                  <c:v>0.113643659711075</c:v>
                </c:pt>
                <c:pt idx="6373">
                  <c:v>0.11366149456037</c:v>
                </c:pt>
                <c:pt idx="6374">
                  <c:v>0.11367932940966601</c:v>
                </c:pt>
                <c:pt idx="6375">
                  <c:v>0.11369716425896199</c:v>
                </c:pt>
                <c:pt idx="6376">
                  <c:v>0.113714999108257</c:v>
                </c:pt>
                <c:pt idx="6377">
                  <c:v>0.113732833957553</c:v>
                </c:pt>
                <c:pt idx="6378">
                  <c:v>0.113750668806848</c:v>
                </c:pt>
                <c:pt idx="6379">
                  <c:v>0.11376850365614399</c:v>
                </c:pt>
                <c:pt idx="6380">
                  <c:v>0.113786338505439</c:v>
                </c:pt>
                <c:pt idx="6381">
                  <c:v>0.113804173354735</c:v>
                </c:pt>
                <c:pt idx="6382">
                  <c:v>0.11382200820403</c:v>
                </c:pt>
                <c:pt idx="6383">
                  <c:v>0.11383984305332601</c:v>
                </c:pt>
                <c:pt idx="6384">
                  <c:v>0.113857677902621</c:v>
                </c:pt>
                <c:pt idx="6385">
                  <c:v>0.113875512751917</c:v>
                </c:pt>
                <c:pt idx="6386">
                  <c:v>0.113893347601212</c:v>
                </c:pt>
                <c:pt idx="6387">
                  <c:v>0.11391118245050801</c:v>
                </c:pt>
                <c:pt idx="6388">
                  <c:v>0.113929017299803</c:v>
                </c:pt>
                <c:pt idx="6389">
                  <c:v>0.113946852149099</c:v>
                </c:pt>
                <c:pt idx="6390">
                  <c:v>0.113964686998394</c:v>
                </c:pt>
                <c:pt idx="6391">
                  <c:v>0.11398252184769</c:v>
                </c:pt>
                <c:pt idx="6392">
                  <c:v>0.11400035669698499</c:v>
                </c:pt>
                <c:pt idx="6393">
                  <c:v>0.114018191546281</c:v>
                </c:pt>
                <c:pt idx="6394">
                  <c:v>0.114036026395576</c:v>
                </c:pt>
                <c:pt idx="6395">
                  <c:v>0.114053861244872</c:v>
                </c:pt>
                <c:pt idx="6396">
                  <c:v>0.11407169609416801</c:v>
                </c:pt>
                <c:pt idx="6397">
                  <c:v>0.114089530943463</c:v>
                </c:pt>
                <c:pt idx="6398">
                  <c:v>0.114107365792759</c:v>
                </c:pt>
                <c:pt idx="6399">
                  <c:v>0.114125200642054</c:v>
                </c:pt>
                <c:pt idx="6400">
                  <c:v>0.11414303549135001</c:v>
                </c:pt>
                <c:pt idx="6401">
                  <c:v>0.114160870340645</c:v>
                </c:pt>
                <c:pt idx="6402">
                  <c:v>0.114178705189941</c:v>
                </c:pt>
                <c:pt idx="6403">
                  <c:v>0.114196540039236</c:v>
                </c:pt>
                <c:pt idx="6404">
                  <c:v>0.11421437488853201</c:v>
                </c:pt>
                <c:pt idx="6405">
                  <c:v>0.114232209737827</c:v>
                </c:pt>
                <c:pt idx="6406">
                  <c:v>0.114250044587123</c:v>
                </c:pt>
                <c:pt idx="6407">
                  <c:v>0.114267879436418</c:v>
                </c:pt>
                <c:pt idx="6408">
                  <c:v>0.114285714285714</c:v>
                </c:pt>
                <c:pt idx="6409">
                  <c:v>0.11430354913500899</c:v>
                </c:pt>
                <c:pt idx="6410">
                  <c:v>0.114321383984305</c:v>
                </c:pt>
                <c:pt idx="6411">
                  <c:v>0.1143392188336</c:v>
                </c:pt>
                <c:pt idx="6412">
                  <c:v>0.114357053682896</c:v>
                </c:pt>
                <c:pt idx="6413">
                  <c:v>0.11437488853219099</c:v>
                </c:pt>
                <c:pt idx="6414">
                  <c:v>0.114392723381487</c:v>
                </c:pt>
                <c:pt idx="6415">
                  <c:v>0.114410558230782</c:v>
                </c:pt>
                <c:pt idx="6416">
                  <c:v>0.114428393080078</c:v>
                </c:pt>
                <c:pt idx="6417">
                  <c:v>0.11444622792937301</c:v>
                </c:pt>
                <c:pt idx="6418">
                  <c:v>0.114464062778669</c:v>
                </c:pt>
                <c:pt idx="6419">
                  <c:v>0.114481897627965</c:v>
                </c:pt>
                <c:pt idx="6420">
                  <c:v>0.11449973247726</c:v>
                </c:pt>
                <c:pt idx="6421">
                  <c:v>0.11451756732655601</c:v>
                </c:pt>
                <c:pt idx="6422">
                  <c:v>0.11453540217585099</c:v>
                </c:pt>
                <c:pt idx="6423">
                  <c:v>0.114553237025147</c:v>
                </c:pt>
                <c:pt idx="6424">
                  <c:v>0.114571071874442</c:v>
                </c:pt>
                <c:pt idx="6425">
                  <c:v>0.114588906723738</c:v>
                </c:pt>
                <c:pt idx="6426">
                  <c:v>0.11460674157303299</c:v>
                </c:pt>
                <c:pt idx="6427">
                  <c:v>0.114624576422329</c:v>
                </c:pt>
                <c:pt idx="6428">
                  <c:v>0.114642411271624</c:v>
                </c:pt>
                <c:pt idx="6429">
                  <c:v>0.11466024612092</c:v>
                </c:pt>
                <c:pt idx="6430">
                  <c:v>0.11467808097021499</c:v>
                </c:pt>
                <c:pt idx="6431">
                  <c:v>0.114695915819511</c:v>
                </c:pt>
                <c:pt idx="6432">
                  <c:v>0.114713750668806</c:v>
                </c:pt>
                <c:pt idx="6433">
                  <c:v>0.114731585518102</c:v>
                </c:pt>
                <c:pt idx="6434">
                  <c:v>0.11474942036739701</c:v>
                </c:pt>
                <c:pt idx="6435">
                  <c:v>0.114767255216693</c:v>
                </c:pt>
                <c:pt idx="6436">
                  <c:v>0.114785090065988</c:v>
                </c:pt>
                <c:pt idx="6437">
                  <c:v>0.114802924915284</c:v>
                </c:pt>
                <c:pt idx="6438">
                  <c:v>0.11482075976457901</c:v>
                </c:pt>
                <c:pt idx="6439">
                  <c:v>0.11483859461387499</c:v>
                </c:pt>
                <c:pt idx="6440">
                  <c:v>0.114856429463171</c:v>
                </c:pt>
                <c:pt idx="6441">
                  <c:v>0.114874264312466</c:v>
                </c:pt>
                <c:pt idx="6442">
                  <c:v>0.114892099161762</c:v>
                </c:pt>
                <c:pt idx="6443">
                  <c:v>0.11490993401105699</c:v>
                </c:pt>
                <c:pt idx="6444">
                  <c:v>0.114927768860353</c:v>
                </c:pt>
                <c:pt idx="6445">
                  <c:v>0.114945603709648</c:v>
                </c:pt>
                <c:pt idx="6446">
                  <c:v>0.114963438558944</c:v>
                </c:pt>
                <c:pt idx="6447">
                  <c:v>0.11498127340823899</c:v>
                </c:pt>
                <c:pt idx="6448">
                  <c:v>0.114999108257535</c:v>
                </c:pt>
                <c:pt idx="6449">
                  <c:v>0.11501694310683</c:v>
                </c:pt>
                <c:pt idx="6450">
                  <c:v>0.115034777956126</c:v>
                </c:pt>
                <c:pt idx="6451">
                  <c:v>0.11505261280542101</c:v>
                </c:pt>
                <c:pt idx="6452">
                  <c:v>0.115070447654717</c:v>
                </c:pt>
                <c:pt idx="6453">
                  <c:v>0.115088282504012</c:v>
                </c:pt>
                <c:pt idx="6454">
                  <c:v>0.115106117353308</c:v>
                </c:pt>
                <c:pt idx="6455">
                  <c:v>0.11512395220260301</c:v>
                </c:pt>
                <c:pt idx="6456">
                  <c:v>0.11514178705189899</c:v>
                </c:pt>
                <c:pt idx="6457">
                  <c:v>0.115159621901194</c:v>
                </c:pt>
                <c:pt idx="6458">
                  <c:v>0.11517745675049</c:v>
                </c:pt>
                <c:pt idx="6459">
                  <c:v>0.115195291599785</c:v>
                </c:pt>
                <c:pt idx="6460">
                  <c:v>0.11521312644908099</c:v>
                </c:pt>
                <c:pt idx="6461">
                  <c:v>0.115230961298377</c:v>
                </c:pt>
                <c:pt idx="6462">
                  <c:v>0.115248796147672</c:v>
                </c:pt>
                <c:pt idx="6463">
                  <c:v>0.115266630996968</c:v>
                </c:pt>
                <c:pt idx="6464">
                  <c:v>0.11528446584626301</c:v>
                </c:pt>
                <c:pt idx="6465">
                  <c:v>0.115302300695559</c:v>
                </c:pt>
                <c:pt idx="6466">
                  <c:v>0.115320135544854</c:v>
                </c:pt>
                <c:pt idx="6467">
                  <c:v>0.11533797039415</c:v>
                </c:pt>
                <c:pt idx="6468">
                  <c:v>0.11535580524344501</c:v>
                </c:pt>
                <c:pt idx="6469">
                  <c:v>0.11537364009274099</c:v>
                </c:pt>
                <c:pt idx="6470">
                  <c:v>0.115391474942036</c:v>
                </c:pt>
                <c:pt idx="6471">
                  <c:v>0.115409309791332</c:v>
                </c:pt>
                <c:pt idx="6472">
                  <c:v>0.11542714464062701</c:v>
                </c:pt>
                <c:pt idx="6473">
                  <c:v>0.11544497948992299</c:v>
                </c:pt>
                <c:pt idx="6474">
                  <c:v>0.115462814339218</c:v>
                </c:pt>
                <c:pt idx="6475">
                  <c:v>0.115480649188514</c:v>
                </c:pt>
                <c:pt idx="6476">
                  <c:v>0.115498484037809</c:v>
                </c:pt>
                <c:pt idx="6477">
                  <c:v>0.11551631888710499</c:v>
                </c:pt>
                <c:pt idx="6478">
                  <c:v>0.1155341537364</c:v>
                </c:pt>
                <c:pt idx="6479">
                  <c:v>0.115551988585696</c:v>
                </c:pt>
                <c:pt idx="6480">
                  <c:v>0.115569823434991</c:v>
                </c:pt>
                <c:pt idx="6481">
                  <c:v>0.11558765828428701</c:v>
                </c:pt>
                <c:pt idx="6482">
                  <c:v>0.115605493133583</c:v>
                </c:pt>
                <c:pt idx="6483">
                  <c:v>0.115623327982878</c:v>
                </c:pt>
                <c:pt idx="6484">
                  <c:v>0.115641162832174</c:v>
                </c:pt>
                <c:pt idx="6485">
                  <c:v>0.11565899768146901</c:v>
                </c:pt>
                <c:pt idx="6486">
                  <c:v>0.11567683253076499</c:v>
                </c:pt>
                <c:pt idx="6487">
                  <c:v>0.11569466738006</c:v>
                </c:pt>
                <c:pt idx="6488">
                  <c:v>0.115712502229356</c:v>
                </c:pt>
                <c:pt idx="6489">
                  <c:v>0.115730337078651</c:v>
                </c:pt>
                <c:pt idx="6490">
                  <c:v>0.11574817192794699</c:v>
                </c:pt>
                <c:pt idx="6491">
                  <c:v>0.115766006777242</c:v>
                </c:pt>
                <c:pt idx="6492">
                  <c:v>0.115783841626538</c:v>
                </c:pt>
                <c:pt idx="6493">
                  <c:v>0.115801676475833</c:v>
                </c:pt>
                <c:pt idx="6494">
                  <c:v>0.11581951132512899</c:v>
                </c:pt>
                <c:pt idx="6495">
                  <c:v>0.115837346174424</c:v>
                </c:pt>
                <c:pt idx="6496">
                  <c:v>0.11585518102372</c:v>
                </c:pt>
                <c:pt idx="6497">
                  <c:v>0.115873015873015</c:v>
                </c:pt>
                <c:pt idx="6498">
                  <c:v>0.11589085072231101</c:v>
                </c:pt>
                <c:pt idx="6499">
                  <c:v>0.115908685571606</c:v>
                </c:pt>
                <c:pt idx="6500">
                  <c:v>0.115926520420902</c:v>
                </c:pt>
                <c:pt idx="6501">
                  <c:v>0.115944355270197</c:v>
                </c:pt>
                <c:pt idx="6502">
                  <c:v>0.11596219011949301</c:v>
                </c:pt>
                <c:pt idx="6503">
                  <c:v>0.11598002496878899</c:v>
                </c:pt>
                <c:pt idx="6504">
                  <c:v>0.115997859818084</c:v>
                </c:pt>
                <c:pt idx="6505">
                  <c:v>0.11601569466738</c:v>
                </c:pt>
                <c:pt idx="6506">
                  <c:v>0.116033529516675</c:v>
                </c:pt>
                <c:pt idx="6507">
                  <c:v>0.11605136436597099</c:v>
                </c:pt>
                <c:pt idx="6508">
                  <c:v>0.116069199215266</c:v>
                </c:pt>
                <c:pt idx="6509">
                  <c:v>0.116087034064562</c:v>
                </c:pt>
                <c:pt idx="6510">
                  <c:v>0.116104868913857</c:v>
                </c:pt>
                <c:pt idx="6511">
                  <c:v>0.11612270376315301</c:v>
                </c:pt>
                <c:pt idx="6512">
                  <c:v>0.116140538612448</c:v>
                </c:pt>
                <c:pt idx="6513">
                  <c:v>0.116158373461744</c:v>
                </c:pt>
                <c:pt idx="6514">
                  <c:v>0.116176208311039</c:v>
                </c:pt>
                <c:pt idx="6515">
                  <c:v>0.11619404316033501</c:v>
                </c:pt>
                <c:pt idx="6516">
                  <c:v>0.11621187800963</c:v>
                </c:pt>
                <c:pt idx="6517">
                  <c:v>0.116229712858926</c:v>
                </c:pt>
                <c:pt idx="6518">
                  <c:v>0.116247547708221</c:v>
                </c:pt>
                <c:pt idx="6519">
                  <c:v>0.11626538255751701</c:v>
                </c:pt>
                <c:pt idx="6520">
                  <c:v>0.116283217406812</c:v>
                </c:pt>
                <c:pt idx="6521">
                  <c:v>0.116301052256108</c:v>
                </c:pt>
                <c:pt idx="6522">
                  <c:v>0.116318887105403</c:v>
                </c:pt>
                <c:pt idx="6523">
                  <c:v>0.116336721954699</c:v>
                </c:pt>
                <c:pt idx="6524">
                  <c:v>0.11635455680399499</c:v>
                </c:pt>
                <c:pt idx="6525">
                  <c:v>0.11637239165329</c:v>
                </c:pt>
                <c:pt idx="6526">
                  <c:v>0.116390226502586</c:v>
                </c:pt>
                <c:pt idx="6527">
                  <c:v>0.116408061351881</c:v>
                </c:pt>
                <c:pt idx="6528">
                  <c:v>0.11642589620117701</c:v>
                </c:pt>
                <c:pt idx="6529">
                  <c:v>0.116443731050472</c:v>
                </c:pt>
                <c:pt idx="6530">
                  <c:v>0.116461565899768</c:v>
                </c:pt>
                <c:pt idx="6531">
                  <c:v>0.116479400749063</c:v>
                </c:pt>
                <c:pt idx="6532">
                  <c:v>0.11649723559835901</c:v>
                </c:pt>
                <c:pt idx="6533">
                  <c:v>0.116515070447654</c:v>
                </c:pt>
                <c:pt idx="6534">
                  <c:v>0.11653290529695</c:v>
                </c:pt>
                <c:pt idx="6535">
                  <c:v>0.116550740146245</c:v>
                </c:pt>
                <c:pt idx="6536">
                  <c:v>0.116568574995541</c:v>
                </c:pt>
                <c:pt idx="6537">
                  <c:v>0.11658640984483599</c:v>
                </c:pt>
                <c:pt idx="6538">
                  <c:v>0.116604244694132</c:v>
                </c:pt>
                <c:pt idx="6539">
                  <c:v>0.116622079543427</c:v>
                </c:pt>
                <c:pt idx="6540">
                  <c:v>0.116639914392723</c:v>
                </c:pt>
                <c:pt idx="6541">
                  <c:v>0.11665774924201799</c:v>
                </c:pt>
                <c:pt idx="6542">
                  <c:v>0.116675584091314</c:v>
                </c:pt>
                <c:pt idx="6543">
                  <c:v>0.116693418940609</c:v>
                </c:pt>
                <c:pt idx="6544">
                  <c:v>0.116711253789905</c:v>
                </c:pt>
                <c:pt idx="6545">
                  <c:v>0.11672908863919999</c:v>
                </c:pt>
                <c:pt idx="6546">
                  <c:v>0.116746923488496</c:v>
                </c:pt>
                <c:pt idx="6547">
                  <c:v>0.116764758337792</c:v>
                </c:pt>
                <c:pt idx="6548">
                  <c:v>0.116782593187087</c:v>
                </c:pt>
                <c:pt idx="6549">
                  <c:v>0.11680042803638301</c:v>
                </c:pt>
                <c:pt idx="6550">
                  <c:v>0.116818262885678</c:v>
                </c:pt>
                <c:pt idx="6551">
                  <c:v>0.116836097734974</c:v>
                </c:pt>
                <c:pt idx="6552">
                  <c:v>0.116853932584269</c:v>
                </c:pt>
                <c:pt idx="6553">
                  <c:v>0.116871767433565</c:v>
                </c:pt>
                <c:pt idx="6554">
                  <c:v>0.11688960228285999</c:v>
                </c:pt>
                <c:pt idx="6555">
                  <c:v>0.116907437132156</c:v>
                </c:pt>
                <c:pt idx="6556">
                  <c:v>0.116925271981451</c:v>
                </c:pt>
                <c:pt idx="6557">
                  <c:v>0.116943106830747</c:v>
                </c:pt>
                <c:pt idx="6558">
                  <c:v>0.11696094168004199</c:v>
                </c:pt>
                <c:pt idx="6559">
                  <c:v>0.116978776529338</c:v>
                </c:pt>
                <c:pt idx="6560">
                  <c:v>0.116996611378633</c:v>
                </c:pt>
                <c:pt idx="6561">
                  <c:v>0.117014446227929</c:v>
                </c:pt>
                <c:pt idx="6562">
                  <c:v>0.11703228107722401</c:v>
                </c:pt>
                <c:pt idx="6563">
                  <c:v>0.11705011592652</c:v>
                </c:pt>
                <c:pt idx="6564">
                  <c:v>0.117067950775815</c:v>
                </c:pt>
                <c:pt idx="6565">
                  <c:v>0.117085785625111</c:v>
                </c:pt>
                <c:pt idx="6566">
                  <c:v>0.11710362047440601</c:v>
                </c:pt>
                <c:pt idx="6567">
                  <c:v>0.117121455323702</c:v>
                </c:pt>
                <c:pt idx="6568">
                  <c:v>0.117139290172998</c:v>
                </c:pt>
                <c:pt idx="6569">
                  <c:v>0.117157125022293</c:v>
                </c:pt>
                <c:pt idx="6570">
                  <c:v>0.117174959871589</c:v>
                </c:pt>
                <c:pt idx="6571">
                  <c:v>0.11719279472088399</c:v>
                </c:pt>
                <c:pt idx="6572">
                  <c:v>0.11721062957018</c:v>
                </c:pt>
                <c:pt idx="6573">
                  <c:v>0.117228464419475</c:v>
                </c:pt>
                <c:pt idx="6574">
                  <c:v>0.117246299268771</c:v>
                </c:pt>
                <c:pt idx="6575">
                  <c:v>0.11726413411806599</c:v>
                </c:pt>
                <c:pt idx="6576">
                  <c:v>0.117281968967362</c:v>
                </c:pt>
                <c:pt idx="6577">
                  <c:v>0.117299803816657</c:v>
                </c:pt>
                <c:pt idx="6578">
                  <c:v>0.117317638665953</c:v>
                </c:pt>
                <c:pt idx="6579">
                  <c:v>0.11733547351524801</c:v>
                </c:pt>
                <c:pt idx="6580">
                  <c:v>0.117353308364544</c:v>
                </c:pt>
                <c:pt idx="6581">
                  <c:v>0.117371143213839</c:v>
                </c:pt>
                <c:pt idx="6582">
                  <c:v>0.117388978063135</c:v>
                </c:pt>
                <c:pt idx="6583">
                  <c:v>0.11740681291243001</c:v>
                </c:pt>
                <c:pt idx="6584">
                  <c:v>0.11742464776172599</c:v>
                </c:pt>
                <c:pt idx="6585">
                  <c:v>0.117442482611021</c:v>
                </c:pt>
                <c:pt idx="6586">
                  <c:v>0.117460317460317</c:v>
                </c:pt>
                <c:pt idx="6587">
                  <c:v>0.11747815230961201</c:v>
                </c:pt>
                <c:pt idx="6588">
                  <c:v>0.11749598715890799</c:v>
                </c:pt>
                <c:pt idx="6589">
                  <c:v>0.117513822008204</c:v>
                </c:pt>
                <c:pt idx="6590">
                  <c:v>0.117531656857499</c:v>
                </c:pt>
                <c:pt idx="6591">
                  <c:v>0.117549491706795</c:v>
                </c:pt>
                <c:pt idx="6592">
                  <c:v>0.11756732655608999</c:v>
                </c:pt>
                <c:pt idx="6593">
                  <c:v>0.117585161405386</c:v>
                </c:pt>
                <c:pt idx="6594">
                  <c:v>0.117602996254681</c:v>
                </c:pt>
                <c:pt idx="6595">
                  <c:v>0.117620831103977</c:v>
                </c:pt>
                <c:pt idx="6596">
                  <c:v>0.11763866595327201</c:v>
                </c:pt>
                <c:pt idx="6597">
                  <c:v>0.117656500802568</c:v>
                </c:pt>
                <c:pt idx="6598">
                  <c:v>0.117674335651863</c:v>
                </c:pt>
                <c:pt idx="6599">
                  <c:v>0.117692170501159</c:v>
                </c:pt>
                <c:pt idx="6600">
                  <c:v>0.11771000535045401</c:v>
                </c:pt>
                <c:pt idx="6601">
                  <c:v>0.11772784019974999</c:v>
                </c:pt>
                <c:pt idx="6602">
                  <c:v>0.117745675049045</c:v>
                </c:pt>
                <c:pt idx="6603">
                  <c:v>0.117763509898341</c:v>
                </c:pt>
                <c:pt idx="6604">
                  <c:v>0.117781344747636</c:v>
                </c:pt>
                <c:pt idx="6605">
                  <c:v>0.11779917959693199</c:v>
                </c:pt>
                <c:pt idx="6606">
                  <c:v>0.117817014446227</c:v>
                </c:pt>
                <c:pt idx="6607">
                  <c:v>0.117834849295523</c:v>
                </c:pt>
                <c:pt idx="6608">
                  <c:v>0.117852684144818</c:v>
                </c:pt>
                <c:pt idx="6609">
                  <c:v>0.11787051899411401</c:v>
                </c:pt>
                <c:pt idx="6610">
                  <c:v>0.11788835384341</c:v>
                </c:pt>
                <c:pt idx="6611">
                  <c:v>0.117906188692705</c:v>
                </c:pt>
                <c:pt idx="6612">
                  <c:v>0.117924023542001</c:v>
                </c:pt>
                <c:pt idx="6613">
                  <c:v>0.11794185839129601</c:v>
                </c:pt>
                <c:pt idx="6614">
                  <c:v>0.117959693240592</c:v>
                </c:pt>
                <c:pt idx="6615">
                  <c:v>0.117977528089887</c:v>
                </c:pt>
                <c:pt idx="6616">
                  <c:v>0.117995362939183</c:v>
                </c:pt>
                <c:pt idx="6617">
                  <c:v>0.11801319778847801</c:v>
                </c:pt>
                <c:pt idx="6618">
                  <c:v>0.11803103263777399</c:v>
                </c:pt>
                <c:pt idx="6619">
                  <c:v>0.118048867487069</c:v>
                </c:pt>
                <c:pt idx="6620">
                  <c:v>0.118066702336365</c:v>
                </c:pt>
                <c:pt idx="6621">
                  <c:v>0.11808453718566</c:v>
                </c:pt>
                <c:pt idx="6622">
                  <c:v>0.11810237203495599</c:v>
                </c:pt>
                <c:pt idx="6623">
                  <c:v>0.118120206884251</c:v>
                </c:pt>
                <c:pt idx="6624">
                  <c:v>0.118138041733547</c:v>
                </c:pt>
                <c:pt idx="6625">
                  <c:v>0.118155876582842</c:v>
                </c:pt>
                <c:pt idx="6626">
                  <c:v>0.11817371143213801</c:v>
                </c:pt>
                <c:pt idx="6627">
                  <c:v>0.118191546281433</c:v>
                </c:pt>
                <c:pt idx="6628">
                  <c:v>0.118209381130729</c:v>
                </c:pt>
                <c:pt idx="6629">
                  <c:v>0.118227215980024</c:v>
                </c:pt>
                <c:pt idx="6630">
                  <c:v>0.11824505082932001</c:v>
                </c:pt>
                <c:pt idx="6631">
                  <c:v>0.11826288567861599</c:v>
                </c:pt>
                <c:pt idx="6632">
                  <c:v>0.118280720527911</c:v>
                </c:pt>
                <c:pt idx="6633">
                  <c:v>0.118298555377207</c:v>
                </c:pt>
                <c:pt idx="6634">
                  <c:v>0.11831639022650201</c:v>
                </c:pt>
                <c:pt idx="6635">
                  <c:v>0.11833422507579799</c:v>
                </c:pt>
                <c:pt idx="6636">
                  <c:v>0.118352059925093</c:v>
                </c:pt>
                <c:pt idx="6637">
                  <c:v>0.118369894774389</c:v>
                </c:pt>
                <c:pt idx="6638">
                  <c:v>0.118387729623684</c:v>
                </c:pt>
                <c:pt idx="6639">
                  <c:v>0.11840556447297999</c:v>
                </c:pt>
                <c:pt idx="6640">
                  <c:v>0.118423399322275</c:v>
                </c:pt>
                <c:pt idx="6641">
                  <c:v>0.118441234171571</c:v>
                </c:pt>
                <c:pt idx="6642">
                  <c:v>0.118459069020866</c:v>
                </c:pt>
                <c:pt idx="6643">
                  <c:v>0.11847690387016201</c:v>
                </c:pt>
                <c:pt idx="6644">
                  <c:v>0.118494738719457</c:v>
                </c:pt>
                <c:pt idx="6645">
                  <c:v>0.118512573568753</c:v>
                </c:pt>
                <c:pt idx="6646">
                  <c:v>0.118530408418048</c:v>
                </c:pt>
                <c:pt idx="6647">
                  <c:v>0.11854824326734401</c:v>
                </c:pt>
                <c:pt idx="6648">
                  <c:v>0.118566078116639</c:v>
                </c:pt>
                <c:pt idx="6649">
                  <c:v>0.118583912965935</c:v>
                </c:pt>
                <c:pt idx="6650">
                  <c:v>0.11860174781523</c:v>
                </c:pt>
                <c:pt idx="6651">
                  <c:v>0.118619582664526</c:v>
                </c:pt>
                <c:pt idx="6652">
                  <c:v>0.11863741751382199</c:v>
                </c:pt>
                <c:pt idx="6653">
                  <c:v>0.118655252363117</c:v>
                </c:pt>
                <c:pt idx="6654">
                  <c:v>0.118673087212413</c:v>
                </c:pt>
                <c:pt idx="6655">
                  <c:v>0.118690922061708</c:v>
                </c:pt>
                <c:pt idx="6656">
                  <c:v>0.11870875691100399</c:v>
                </c:pt>
                <c:pt idx="6657">
                  <c:v>0.118726591760299</c:v>
                </c:pt>
                <c:pt idx="6658">
                  <c:v>0.118744426609595</c:v>
                </c:pt>
                <c:pt idx="6659">
                  <c:v>0.11876226145889</c:v>
                </c:pt>
                <c:pt idx="6660">
                  <c:v>0.11878009630818601</c:v>
                </c:pt>
                <c:pt idx="6661">
                  <c:v>0.118797931157481</c:v>
                </c:pt>
                <c:pt idx="6662">
                  <c:v>0.118815766006777</c:v>
                </c:pt>
                <c:pt idx="6663">
                  <c:v>0.118833600856072</c:v>
                </c:pt>
                <c:pt idx="6664">
                  <c:v>0.11885143570536801</c:v>
                </c:pt>
                <c:pt idx="6665">
                  <c:v>0.118869270554663</c:v>
                </c:pt>
                <c:pt idx="6666">
                  <c:v>0.118887105403959</c:v>
                </c:pt>
                <c:pt idx="6667">
                  <c:v>0.118904940253254</c:v>
                </c:pt>
                <c:pt idx="6668">
                  <c:v>0.11892277510255</c:v>
                </c:pt>
                <c:pt idx="6669">
                  <c:v>0.11894060995184499</c:v>
                </c:pt>
                <c:pt idx="6670">
                  <c:v>0.118958444801141</c:v>
                </c:pt>
                <c:pt idx="6671">
                  <c:v>0.118976279650436</c:v>
                </c:pt>
                <c:pt idx="6672">
                  <c:v>0.118994114499732</c:v>
                </c:pt>
                <c:pt idx="6673">
                  <c:v>0.11901194934902801</c:v>
                </c:pt>
                <c:pt idx="6674">
                  <c:v>0.119029784198323</c:v>
                </c:pt>
                <c:pt idx="6675">
                  <c:v>0.119047619047619</c:v>
                </c:pt>
                <c:pt idx="6676">
                  <c:v>0.119065453896914</c:v>
                </c:pt>
                <c:pt idx="6677">
                  <c:v>0.11908328874621001</c:v>
                </c:pt>
                <c:pt idx="6678">
                  <c:v>0.119101123595505</c:v>
                </c:pt>
                <c:pt idx="6679">
                  <c:v>0.119118958444801</c:v>
                </c:pt>
                <c:pt idx="6680">
                  <c:v>0.119136793294096</c:v>
                </c:pt>
                <c:pt idx="6681">
                  <c:v>0.11915462814339201</c:v>
                </c:pt>
                <c:pt idx="6682">
                  <c:v>0.11917246299268699</c:v>
                </c:pt>
                <c:pt idx="6683">
                  <c:v>0.119190297841983</c:v>
                </c:pt>
                <c:pt idx="6684">
                  <c:v>0.119208132691278</c:v>
                </c:pt>
                <c:pt idx="6685">
                  <c:v>0.119225967540574</c:v>
                </c:pt>
                <c:pt idx="6686">
                  <c:v>0.11924380238986899</c:v>
                </c:pt>
                <c:pt idx="6687">
                  <c:v>0.119261637239165</c:v>
                </c:pt>
                <c:pt idx="6688">
                  <c:v>0.11927947208846</c:v>
                </c:pt>
                <c:pt idx="6689">
                  <c:v>0.119297306937756</c:v>
                </c:pt>
                <c:pt idx="6690">
                  <c:v>0.11931514178705099</c:v>
                </c:pt>
                <c:pt idx="6691">
                  <c:v>0.119332976636347</c:v>
                </c:pt>
                <c:pt idx="6692">
                  <c:v>0.119350811485642</c:v>
                </c:pt>
                <c:pt idx="6693">
                  <c:v>0.119368646334938</c:v>
                </c:pt>
                <c:pt idx="6694">
                  <c:v>0.11938648118423301</c:v>
                </c:pt>
                <c:pt idx="6695">
                  <c:v>0.119404316033529</c:v>
                </c:pt>
                <c:pt idx="6696">
                  <c:v>0.119422150882825</c:v>
                </c:pt>
                <c:pt idx="6697">
                  <c:v>0.11943998573212</c:v>
                </c:pt>
                <c:pt idx="6698">
                  <c:v>0.119457820581416</c:v>
                </c:pt>
                <c:pt idx="6699">
                  <c:v>0.11947565543071099</c:v>
                </c:pt>
                <c:pt idx="6700">
                  <c:v>0.119493490280007</c:v>
                </c:pt>
                <c:pt idx="6701">
                  <c:v>0.119511325129302</c:v>
                </c:pt>
                <c:pt idx="6702">
                  <c:v>0.119529159978598</c:v>
                </c:pt>
                <c:pt idx="6703">
                  <c:v>0.11954699482789299</c:v>
                </c:pt>
                <c:pt idx="6704">
                  <c:v>0.119564829677189</c:v>
                </c:pt>
                <c:pt idx="6705">
                  <c:v>0.119582664526484</c:v>
                </c:pt>
                <c:pt idx="6706">
                  <c:v>0.11960049937578</c:v>
                </c:pt>
                <c:pt idx="6707">
                  <c:v>0.11961833422507499</c:v>
                </c:pt>
                <c:pt idx="6708">
                  <c:v>0.119636169074371</c:v>
                </c:pt>
                <c:pt idx="6709">
                  <c:v>0.119654003923666</c:v>
                </c:pt>
                <c:pt idx="6710">
                  <c:v>0.119671838772962</c:v>
                </c:pt>
                <c:pt idx="6711">
                  <c:v>0.11968967362225701</c:v>
                </c:pt>
                <c:pt idx="6712">
                  <c:v>0.119707508471553</c:v>
                </c:pt>
                <c:pt idx="6713">
                  <c:v>0.119725343320848</c:v>
                </c:pt>
                <c:pt idx="6714">
                  <c:v>0.119743178170144</c:v>
                </c:pt>
                <c:pt idx="6715">
                  <c:v>0.11976101301943901</c:v>
                </c:pt>
                <c:pt idx="6716">
                  <c:v>0.11977884786873499</c:v>
                </c:pt>
                <c:pt idx="6717">
                  <c:v>0.119796682718031</c:v>
                </c:pt>
                <c:pt idx="6718">
                  <c:v>0.119814517567326</c:v>
                </c:pt>
                <c:pt idx="6719">
                  <c:v>0.119832352416622</c:v>
                </c:pt>
                <c:pt idx="6720">
                  <c:v>0.11985018726591699</c:v>
                </c:pt>
                <c:pt idx="6721">
                  <c:v>0.119868022115213</c:v>
                </c:pt>
                <c:pt idx="6722">
                  <c:v>0.119885856964508</c:v>
                </c:pt>
                <c:pt idx="6723">
                  <c:v>0.119903691813804</c:v>
                </c:pt>
                <c:pt idx="6724">
                  <c:v>0.11992152666309901</c:v>
                </c:pt>
                <c:pt idx="6725">
                  <c:v>0.119939361512395</c:v>
                </c:pt>
                <c:pt idx="6726">
                  <c:v>0.11995719636169</c:v>
                </c:pt>
                <c:pt idx="6727">
                  <c:v>0.119975031210986</c:v>
                </c:pt>
                <c:pt idx="6728">
                  <c:v>0.11999286606028101</c:v>
                </c:pt>
                <c:pt idx="6729">
                  <c:v>0.12001070090957699</c:v>
                </c:pt>
                <c:pt idx="6730">
                  <c:v>0.120028535758872</c:v>
                </c:pt>
                <c:pt idx="6731">
                  <c:v>0.120046370608168</c:v>
                </c:pt>
                <c:pt idx="6732">
                  <c:v>0.12006420545746301</c:v>
                </c:pt>
                <c:pt idx="6733">
                  <c:v>0.12008204030675899</c:v>
                </c:pt>
                <c:pt idx="6734">
                  <c:v>0.120099875156054</c:v>
                </c:pt>
                <c:pt idx="6735">
                  <c:v>0.12011771000535</c:v>
                </c:pt>
                <c:pt idx="6736">
                  <c:v>0.120135544854645</c:v>
                </c:pt>
                <c:pt idx="6737">
                  <c:v>0.12015337970394099</c:v>
                </c:pt>
                <c:pt idx="6738">
                  <c:v>0.120171214553237</c:v>
                </c:pt>
                <c:pt idx="6739">
                  <c:v>0.120189049402532</c:v>
                </c:pt>
                <c:pt idx="6740">
                  <c:v>0.120206884251828</c:v>
                </c:pt>
                <c:pt idx="6741">
                  <c:v>0.12022471910112301</c:v>
                </c:pt>
                <c:pt idx="6742">
                  <c:v>0.120242553950419</c:v>
                </c:pt>
                <c:pt idx="6743">
                  <c:v>0.120260388799714</c:v>
                </c:pt>
                <c:pt idx="6744">
                  <c:v>0.12027822364901</c:v>
                </c:pt>
                <c:pt idx="6745">
                  <c:v>0.12029605849830501</c:v>
                </c:pt>
                <c:pt idx="6746">
                  <c:v>0.12031389334760099</c:v>
                </c:pt>
                <c:pt idx="6747">
                  <c:v>0.120331728196896</c:v>
                </c:pt>
                <c:pt idx="6748">
                  <c:v>0.120349563046192</c:v>
                </c:pt>
                <c:pt idx="6749">
                  <c:v>0.120367397895487</c:v>
                </c:pt>
                <c:pt idx="6750">
                  <c:v>0.12038523274478299</c:v>
                </c:pt>
                <c:pt idx="6751">
                  <c:v>0.120403067594078</c:v>
                </c:pt>
                <c:pt idx="6752">
                  <c:v>0.120420902443374</c:v>
                </c:pt>
                <c:pt idx="6753">
                  <c:v>0.120438737292669</c:v>
                </c:pt>
                <c:pt idx="6754">
                  <c:v>0.12045657214196499</c:v>
                </c:pt>
                <c:pt idx="6755">
                  <c:v>0.12047440699126</c:v>
                </c:pt>
                <c:pt idx="6756">
                  <c:v>0.120492241840556</c:v>
                </c:pt>
                <c:pt idx="6757">
                  <c:v>0.120510076689851</c:v>
                </c:pt>
                <c:pt idx="6758">
                  <c:v>0.12052791153914701</c:v>
                </c:pt>
                <c:pt idx="6759">
                  <c:v>0.120545746388443</c:v>
                </c:pt>
                <c:pt idx="6760">
                  <c:v>0.120563581237738</c:v>
                </c:pt>
                <c:pt idx="6761">
                  <c:v>0.120581416087034</c:v>
                </c:pt>
                <c:pt idx="6762">
                  <c:v>0.12059925093632901</c:v>
                </c:pt>
                <c:pt idx="6763">
                  <c:v>0.12061708578562499</c:v>
                </c:pt>
                <c:pt idx="6764">
                  <c:v>0.12063492063492</c:v>
                </c:pt>
                <c:pt idx="6765">
                  <c:v>0.120652755484216</c:v>
                </c:pt>
                <c:pt idx="6766">
                  <c:v>0.120670590333511</c:v>
                </c:pt>
                <c:pt idx="6767">
                  <c:v>0.12068842518280699</c:v>
                </c:pt>
                <c:pt idx="6768">
                  <c:v>0.120706260032102</c:v>
                </c:pt>
                <c:pt idx="6769">
                  <c:v>0.120724094881398</c:v>
                </c:pt>
                <c:pt idx="6770">
                  <c:v>0.120741929730693</c:v>
                </c:pt>
                <c:pt idx="6771">
                  <c:v>0.12075976457998901</c:v>
                </c:pt>
                <c:pt idx="6772">
                  <c:v>0.120777599429284</c:v>
                </c:pt>
                <c:pt idx="6773">
                  <c:v>0.12079543427858</c:v>
                </c:pt>
                <c:pt idx="6774">
                  <c:v>0.120813269127875</c:v>
                </c:pt>
                <c:pt idx="6775">
                  <c:v>0.12083110397717101</c:v>
                </c:pt>
                <c:pt idx="6776">
                  <c:v>0.120848938826466</c:v>
                </c:pt>
                <c:pt idx="6777">
                  <c:v>0.120866773675762</c:v>
                </c:pt>
                <c:pt idx="6778">
                  <c:v>0.120884608525057</c:v>
                </c:pt>
                <c:pt idx="6779">
                  <c:v>0.12090244337435301</c:v>
                </c:pt>
                <c:pt idx="6780">
                  <c:v>0.12092027822364899</c:v>
                </c:pt>
                <c:pt idx="6781">
                  <c:v>0.120938113072944</c:v>
                </c:pt>
                <c:pt idx="6782">
                  <c:v>0.12095594792224</c:v>
                </c:pt>
                <c:pt idx="6783">
                  <c:v>0.120973782771535</c:v>
                </c:pt>
                <c:pt idx="6784">
                  <c:v>0.12099161762083099</c:v>
                </c:pt>
                <c:pt idx="6785">
                  <c:v>0.121009452470126</c:v>
                </c:pt>
                <c:pt idx="6786">
                  <c:v>0.121027287319422</c:v>
                </c:pt>
                <c:pt idx="6787">
                  <c:v>0.121045122168717</c:v>
                </c:pt>
                <c:pt idx="6788">
                  <c:v>0.12106295701801301</c:v>
                </c:pt>
                <c:pt idx="6789">
                  <c:v>0.121080791867308</c:v>
                </c:pt>
                <c:pt idx="6790">
                  <c:v>0.121098626716604</c:v>
                </c:pt>
                <c:pt idx="6791">
                  <c:v>0.121116461565899</c:v>
                </c:pt>
                <c:pt idx="6792">
                  <c:v>0.12113429641519501</c:v>
                </c:pt>
                <c:pt idx="6793">
                  <c:v>0.12115213126449</c:v>
                </c:pt>
                <c:pt idx="6794">
                  <c:v>0.121169966113786</c:v>
                </c:pt>
                <c:pt idx="6795">
                  <c:v>0.121187800963081</c:v>
                </c:pt>
                <c:pt idx="6796">
                  <c:v>0.12120563581237701</c:v>
                </c:pt>
                <c:pt idx="6797">
                  <c:v>0.12122347066167199</c:v>
                </c:pt>
                <c:pt idx="6798">
                  <c:v>0.121241305510968</c:v>
                </c:pt>
                <c:pt idx="6799">
                  <c:v>0.121259140360263</c:v>
                </c:pt>
                <c:pt idx="6800">
                  <c:v>0.121276975209559</c:v>
                </c:pt>
                <c:pt idx="6801">
                  <c:v>0.12129481005885499</c:v>
                </c:pt>
                <c:pt idx="6802">
                  <c:v>0.12131264490815</c:v>
                </c:pt>
                <c:pt idx="6803">
                  <c:v>0.121330479757446</c:v>
                </c:pt>
                <c:pt idx="6804">
                  <c:v>0.121348314606741</c:v>
                </c:pt>
                <c:pt idx="6805">
                  <c:v>0.12136614945603701</c:v>
                </c:pt>
                <c:pt idx="6806">
                  <c:v>0.121383984305332</c:v>
                </c:pt>
                <c:pt idx="6807">
                  <c:v>0.121401819154628</c:v>
                </c:pt>
                <c:pt idx="6808">
                  <c:v>0.121419654003923</c:v>
                </c:pt>
                <c:pt idx="6809">
                  <c:v>0.12143748885321901</c:v>
                </c:pt>
                <c:pt idx="6810">
                  <c:v>0.121455323702514</c:v>
                </c:pt>
                <c:pt idx="6811">
                  <c:v>0.12147315855181</c:v>
                </c:pt>
                <c:pt idx="6812">
                  <c:v>0.121490993401105</c:v>
                </c:pt>
                <c:pt idx="6813">
                  <c:v>0.121508828250401</c:v>
                </c:pt>
                <c:pt idx="6814">
                  <c:v>0.12152666309969599</c:v>
                </c:pt>
                <c:pt idx="6815">
                  <c:v>0.121544497948992</c:v>
                </c:pt>
                <c:pt idx="6816">
                  <c:v>0.121562332798287</c:v>
                </c:pt>
                <c:pt idx="6817">
                  <c:v>0.121580167647583</c:v>
                </c:pt>
                <c:pt idx="6818">
                  <c:v>0.12159800249687799</c:v>
                </c:pt>
                <c:pt idx="6819">
                  <c:v>0.121615837346174</c:v>
                </c:pt>
                <c:pt idx="6820">
                  <c:v>0.121633672195469</c:v>
                </c:pt>
                <c:pt idx="6821">
                  <c:v>0.121651507044765</c:v>
                </c:pt>
                <c:pt idx="6822">
                  <c:v>0.12166934189406001</c:v>
                </c:pt>
                <c:pt idx="6823">
                  <c:v>0.121687176743356</c:v>
                </c:pt>
                <c:pt idx="6824">
                  <c:v>0.121705011592652</c:v>
                </c:pt>
                <c:pt idx="6825">
                  <c:v>0.121722846441947</c:v>
                </c:pt>
                <c:pt idx="6826">
                  <c:v>0.12174068129124301</c:v>
                </c:pt>
                <c:pt idx="6827">
                  <c:v>0.121758516140538</c:v>
                </c:pt>
                <c:pt idx="6828">
                  <c:v>0.121776350989834</c:v>
                </c:pt>
                <c:pt idx="6829">
                  <c:v>0.121794185839129</c:v>
                </c:pt>
                <c:pt idx="6830">
                  <c:v>0.121812020688425</c:v>
                </c:pt>
                <c:pt idx="6831">
                  <c:v>0.12182985553771999</c:v>
                </c:pt>
                <c:pt idx="6832">
                  <c:v>0.121847690387016</c:v>
                </c:pt>
                <c:pt idx="6833">
                  <c:v>0.121865525236311</c:v>
                </c:pt>
                <c:pt idx="6834">
                  <c:v>0.121883360085607</c:v>
                </c:pt>
                <c:pt idx="6835">
                  <c:v>0.12190119493490199</c:v>
                </c:pt>
                <c:pt idx="6836">
                  <c:v>0.121919029784198</c:v>
                </c:pt>
                <c:pt idx="6837">
                  <c:v>0.121936864633493</c:v>
                </c:pt>
                <c:pt idx="6838">
                  <c:v>0.121954699482789</c:v>
                </c:pt>
                <c:pt idx="6839">
                  <c:v>0.12197253433208401</c:v>
                </c:pt>
                <c:pt idx="6840">
                  <c:v>0.12199036918138</c:v>
                </c:pt>
                <c:pt idx="6841">
                  <c:v>0.122008204030675</c:v>
                </c:pt>
                <c:pt idx="6842">
                  <c:v>0.122026038879971</c:v>
                </c:pt>
                <c:pt idx="6843">
                  <c:v>0.12204387372926601</c:v>
                </c:pt>
                <c:pt idx="6844">
                  <c:v>0.12206170857856199</c:v>
                </c:pt>
                <c:pt idx="6845">
                  <c:v>0.122079543427858</c:v>
                </c:pt>
                <c:pt idx="6846">
                  <c:v>0.122097378277153</c:v>
                </c:pt>
                <c:pt idx="6847">
                  <c:v>0.122115213126449</c:v>
                </c:pt>
                <c:pt idx="6848">
                  <c:v>0.12213304797574399</c:v>
                </c:pt>
                <c:pt idx="6849">
                  <c:v>0.12215088282504</c:v>
                </c:pt>
                <c:pt idx="6850">
                  <c:v>0.122168717674335</c:v>
                </c:pt>
                <c:pt idx="6851">
                  <c:v>0.122186552523631</c:v>
                </c:pt>
                <c:pt idx="6852">
                  <c:v>0.12220438737292599</c:v>
                </c:pt>
                <c:pt idx="6853">
                  <c:v>0.122222222222222</c:v>
                </c:pt>
                <c:pt idx="6854">
                  <c:v>0.122240057071517</c:v>
                </c:pt>
                <c:pt idx="6855">
                  <c:v>0.122257891920813</c:v>
                </c:pt>
                <c:pt idx="6856">
                  <c:v>0.12227572677010801</c:v>
                </c:pt>
                <c:pt idx="6857">
                  <c:v>0.122293561619404</c:v>
                </c:pt>
                <c:pt idx="6858">
                  <c:v>0.122311396468699</c:v>
                </c:pt>
                <c:pt idx="6859">
                  <c:v>0.122329231317995</c:v>
                </c:pt>
                <c:pt idx="6860">
                  <c:v>0.12234706616729001</c:v>
                </c:pt>
                <c:pt idx="6861">
                  <c:v>0.12236490101658599</c:v>
                </c:pt>
                <c:pt idx="6862">
                  <c:v>0.122382735865881</c:v>
                </c:pt>
                <c:pt idx="6863">
                  <c:v>0.122400570715177</c:v>
                </c:pt>
                <c:pt idx="6864">
                  <c:v>0.122418405564472</c:v>
                </c:pt>
                <c:pt idx="6865">
                  <c:v>0.12243624041376799</c:v>
                </c:pt>
                <c:pt idx="6866">
                  <c:v>0.122454075263064</c:v>
                </c:pt>
                <c:pt idx="6867">
                  <c:v>0.122471910112359</c:v>
                </c:pt>
                <c:pt idx="6868">
                  <c:v>0.122489744961655</c:v>
                </c:pt>
                <c:pt idx="6869">
                  <c:v>0.12250757981095001</c:v>
                </c:pt>
                <c:pt idx="6870">
                  <c:v>0.122525414660246</c:v>
                </c:pt>
                <c:pt idx="6871">
                  <c:v>0.122543249509541</c:v>
                </c:pt>
                <c:pt idx="6872">
                  <c:v>0.122561084358837</c:v>
                </c:pt>
                <c:pt idx="6873">
                  <c:v>0.12257891920813201</c:v>
                </c:pt>
                <c:pt idx="6874">
                  <c:v>0.122596754057428</c:v>
                </c:pt>
                <c:pt idx="6875">
                  <c:v>0.122614588906723</c:v>
                </c:pt>
                <c:pt idx="6876">
                  <c:v>0.122632423756019</c:v>
                </c:pt>
                <c:pt idx="6877">
                  <c:v>0.12265025860531401</c:v>
                </c:pt>
                <c:pt idx="6878">
                  <c:v>0.12266809345460999</c:v>
                </c:pt>
                <c:pt idx="6879">
                  <c:v>0.122685928303905</c:v>
                </c:pt>
                <c:pt idx="6880">
                  <c:v>0.122703763153201</c:v>
                </c:pt>
                <c:pt idx="6881">
                  <c:v>0.122721598002496</c:v>
                </c:pt>
                <c:pt idx="6882">
                  <c:v>0.12273943285179199</c:v>
                </c:pt>
                <c:pt idx="6883">
                  <c:v>0.122757267701087</c:v>
                </c:pt>
                <c:pt idx="6884">
                  <c:v>0.122775102550383</c:v>
                </c:pt>
                <c:pt idx="6885">
                  <c:v>0.122792937399678</c:v>
                </c:pt>
                <c:pt idx="6886">
                  <c:v>0.12281077224897401</c:v>
                </c:pt>
                <c:pt idx="6887">
                  <c:v>0.12282860709827</c:v>
                </c:pt>
                <c:pt idx="6888">
                  <c:v>0.122846441947565</c:v>
                </c:pt>
                <c:pt idx="6889">
                  <c:v>0.122864276796861</c:v>
                </c:pt>
                <c:pt idx="6890">
                  <c:v>0.12288211164615601</c:v>
                </c:pt>
                <c:pt idx="6891">
                  <c:v>0.12289994649545199</c:v>
                </c:pt>
                <c:pt idx="6892">
                  <c:v>0.122917781344747</c:v>
                </c:pt>
                <c:pt idx="6893">
                  <c:v>0.122935616194043</c:v>
                </c:pt>
                <c:pt idx="6894">
                  <c:v>0.12295345104333801</c:v>
                </c:pt>
                <c:pt idx="6895">
                  <c:v>0.12297128589263399</c:v>
                </c:pt>
                <c:pt idx="6896">
                  <c:v>0.122989120741929</c:v>
                </c:pt>
                <c:pt idx="6897">
                  <c:v>0.123006955591225</c:v>
                </c:pt>
                <c:pt idx="6898">
                  <c:v>0.12302479044052</c:v>
                </c:pt>
                <c:pt idx="6899">
                  <c:v>0.12304262528981599</c:v>
                </c:pt>
                <c:pt idx="6900">
                  <c:v>0.123060460139111</c:v>
                </c:pt>
                <c:pt idx="6901">
                  <c:v>0.123078294988407</c:v>
                </c:pt>
                <c:pt idx="6902">
                  <c:v>0.123096129837702</c:v>
                </c:pt>
                <c:pt idx="6903">
                  <c:v>0.12311396468699801</c:v>
                </c:pt>
                <c:pt idx="6904">
                  <c:v>0.123131799536293</c:v>
                </c:pt>
                <c:pt idx="6905">
                  <c:v>0.123149634385589</c:v>
                </c:pt>
                <c:pt idx="6906">
                  <c:v>0.123167469234884</c:v>
                </c:pt>
                <c:pt idx="6907">
                  <c:v>0.12318530408418001</c:v>
                </c:pt>
                <c:pt idx="6908">
                  <c:v>0.12320313893347599</c:v>
                </c:pt>
                <c:pt idx="6909">
                  <c:v>0.123220973782771</c:v>
                </c:pt>
                <c:pt idx="6910">
                  <c:v>0.123238808632067</c:v>
                </c:pt>
                <c:pt idx="6911">
                  <c:v>0.123256643481362</c:v>
                </c:pt>
                <c:pt idx="6912">
                  <c:v>0.12327447833065799</c:v>
                </c:pt>
                <c:pt idx="6913">
                  <c:v>0.123292313179953</c:v>
                </c:pt>
                <c:pt idx="6914">
                  <c:v>0.123310148029249</c:v>
                </c:pt>
                <c:pt idx="6915">
                  <c:v>0.123327982878544</c:v>
                </c:pt>
                <c:pt idx="6916">
                  <c:v>0.12334581772783999</c:v>
                </c:pt>
                <c:pt idx="6917">
                  <c:v>0.123363652577135</c:v>
                </c:pt>
                <c:pt idx="6918">
                  <c:v>0.123381487426431</c:v>
                </c:pt>
                <c:pt idx="6919">
                  <c:v>0.123399322275726</c:v>
                </c:pt>
                <c:pt idx="6920">
                  <c:v>0.12341715712502201</c:v>
                </c:pt>
                <c:pt idx="6921">
                  <c:v>0.123434991974317</c:v>
                </c:pt>
                <c:pt idx="6922">
                  <c:v>0.123452826823613</c:v>
                </c:pt>
                <c:pt idx="6923">
                  <c:v>0.123470661672908</c:v>
                </c:pt>
                <c:pt idx="6924">
                  <c:v>0.12348849652220401</c:v>
                </c:pt>
                <c:pt idx="6925">
                  <c:v>0.123506331371499</c:v>
                </c:pt>
                <c:pt idx="6926">
                  <c:v>0.123524166220795</c:v>
                </c:pt>
                <c:pt idx="6927">
                  <c:v>0.12354200107009</c:v>
                </c:pt>
                <c:pt idx="6928">
                  <c:v>0.123559835919386</c:v>
                </c:pt>
                <c:pt idx="6929">
                  <c:v>0.12357767076868199</c:v>
                </c:pt>
                <c:pt idx="6930">
                  <c:v>0.123595505617977</c:v>
                </c:pt>
                <c:pt idx="6931">
                  <c:v>0.123613340467273</c:v>
                </c:pt>
                <c:pt idx="6932">
                  <c:v>0.123631175316568</c:v>
                </c:pt>
                <c:pt idx="6933">
                  <c:v>0.12364901016586401</c:v>
                </c:pt>
                <c:pt idx="6934">
                  <c:v>0.123666845015159</c:v>
                </c:pt>
                <c:pt idx="6935">
                  <c:v>0.123684679864455</c:v>
                </c:pt>
                <c:pt idx="6936">
                  <c:v>0.12370251471375</c:v>
                </c:pt>
                <c:pt idx="6937">
                  <c:v>0.12372034956304601</c:v>
                </c:pt>
                <c:pt idx="6938">
                  <c:v>0.123738184412341</c:v>
                </c:pt>
                <c:pt idx="6939">
                  <c:v>0.123756019261637</c:v>
                </c:pt>
                <c:pt idx="6940">
                  <c:v>0.123773854110932</c:v>
                </c:pt>
                <c:pt idx="6941">
                  <c:v>0.12379168896022801</c:v>
                </c:pt>
                <c:pt idx="6942">
                  <c:v>0.12380952380952299</c:v>
                </c:pt>
                <c:pt idx="6943">
                  <c:v>0.123827358658819</c:v>
                </c:pt>
                <c:pt idx="6944">
                  <c:v>0.123845193508114</c:v>
                </c:pt>
                <c:pt idx="6945">
                  <c:v>0.12386302835741</c:v>
                </c:pt>
                <c:pt idx="6946">
                  <c:v>0.12388086320670499</c:v>
                </c:pt>
                <c:pt idx="6947">
                  <c:v>0.123898698056001</c:v>
                </c:pt>
                <c:pt idx="6948">
                  <c:v>0.123916532905296</c:v>
                </c:pt>
                <c:pt idx="6949">
                  <c:v>0.123934367754592</c:v>
                </c:pt>
                <c:pt idx="6950">
                  <c:v>0.12395220260388699</c:v>
                </c:pt>
                <c:pt idx="6951">
                  <c:v>0.123970037453183</c:v>
                </c:pt>
                <c:pt idx="6952">
                  <c:v>0.123987872302479</c:v>
                </c:pt>
                <c:pt idx="6953">
                  <c:v>0.124005707151774</c:v>
                </c:pt>
                <c:pt idx="6954">
                  <c:v>0.12402354200107001</c:v>
                </c:pt>
                <c:pt idx="6955">
                  <c:v>0.124041376850365</c:v>
                </c:pt>
                <c:pt idx="6956">
                  <c:v>0.124059211699661</c:v>
                </c:pt>
                <c:pt idx="6957">
                  <c:v>0.124077046548956</c:v>
                </c:pt>
                <c:pt idx="6958">
                  <c:v>0.124094881398252</c:v>
                </c:pt>
                <c:pt idx="6959">
                  <c:v>0.12411271624754699</c:v>
                </c:pt>
                <c:pt idx="6960">
                  <c:v>0.124130551096843</c:v>
                </c:pt>
                <c:pt idx="6961">
                  <c:v>0.124148385946138</c:v>
                </c:pt>
                <c:pt idx="6962">
                  <c:v>0.124166220795434</c:v>
                </c:pt>
                <c:pt idx="6963">
                  <c:v>0.12418405564472899</c:v>
                </c:pt>
                <c:pt idx="6964">
                  <c:v>0.124201890494025</c:v>
                </c:pt>
                <c:pt idx="6965">
                  <c:v>0.12421972534332</c:v>
                </c:pt>
                <c:pt idx="6966">
                  <c:v>0.124237560192616</c:v>
                </c:pt>
                <c:pt idx="6967">
                  <c:v>0.12425539504191099</c:v>
                </c:pt>
                <c:pt idx="6968">
                  <c:v>0.124273229891207</c:v>
                </c:pt>
                <c:pt idx="6969">
                  <c:v>0.124291064740502</c:v>
                </c:pt>
                <c:pt idx="6970">
                  <c:v>0.124308899589798</c:v>
                </c:pt>
                <c:pt idx="6971">
                  <c:v>0.12432673443909301</c:v>
                </c:pt>
                <c:pt idx="6972">
                  <c:v>0.124344569288389</c:v>
                </c:pt>
                <c:pt idx="6973">
                  <c:v>0.124362404137685</c:v>
                </c:pt>
                <c:pt idx="6974">
                  <c:v>0.12438023898698</c:v>
                </c:pt>
                <c:pt idx="6975">
                  <c:v>0.124398073836276</c:v>
                </c:pt>
                <c:pt idx="6976">
                  <c:v>0.12441590868557099</c:v>
                </c:pt>
                <c:pt idx="6977">
                  <c:v>0.124433743534867</c:v>
                </c:pt>
                <c:pt idx="6978">
                  <c:v>0.124451578384162</c:v>
                </c:pt>
                <c:pt idx="6979">
                  <c:v>0.124469413233458</c:v>
                </c:pt>
                <c:pt idx="6980">
                  <c:v>0.12448724808275299</c:v>
                </c:pt>
                <c:pt idx="6981">
                  <c:v>0.124505082932049</c:v>
                </c:pt>
                <c:pt idx="6982">
                  <c:v>0.124522917781344</c:v>
                </c:pt>
                <c:pt idx="6983">
                  <c:v>0.12454075263064</c:v>
                </c:pt>
                <c:pt idx="6984">
                  <c:v>0.12455858747993501</c:v>
                </c:pt>
                <c:pt idx="6985">
                  <c:v>0.124576422329231</c:v>
                </c:pt>
                <c:pt idx="6986">
                  <c:v>0.124594257178526</c:v>
                </c:pt>
                <c:pt idx="6987">
                  <c:v>0.124612092027822</c:v>
                </c:pt>
                <c:pt idx="6988">
                  <c:v>0.12462992687711701</c:v>
                </c:pt>
                <c:pt idx="6989">
                  <c:v>0.124647761726413</c:v>
                </c:pt>
                <c:pt idx="6990">
                  <c:v>0.124665596575708</c:v>
                </c:pt>
                <c:pt idx="6991">
                  <c:v>0.124683431425004</c:v>
                </c:pt>
                <c:pt idx="6992">
                  <c:v>0.12470126627429901</c:v>
                </c:pt>
                <c:pt idx="6993">
                  <c:v>0.12471910112359499</c:v>
                </c:pt>
                <c:pt idx="6994">
                  <c:v>0.124736935972891</c:v>
                </c:pt>
                <c:pt idx="6995">
                  <c:v>0.124754770822186</c:v>
                </c:pt>
                <c:pt idx="6996">
                  <c:v>0.124772605671482</c:v>
                </c:pt>
                <c:pt idx="6997">
                  <c:v>0.12479044052077699</c:v>
                </c:pt>
                <c:pt idx="6998">
                  <c:v>0.124808275370073</c:v>
                </c:pt>
                <c:pt idx="6999">
                  <c:v>0.124826110219368</c:v>
                </c:pt>
                <c:pt idx="7000">
                  <c:v>0.124843945068664</c:v>
                </c:pt>
                <c:pt idx="7001">
                  <c:v>0.12486177991795901</c:v>
                </c:pt>
                <c:pt idx="7002">
                  <c:v>0.124879614767255</c:v>
                </c:pt>
                <c:pt idx="7003">
                  <c:v>0.12489744961655</c:v>
                </c:pt>
                <c:pt idx="7004">
                  <c:v>0.124915284465846</c:v>
                </c:pt>
                <c:pt idx="7005">
                  <c:v>0.12493311931514101</c:v>
                </c:pt>
                <c:pt idx="7006">
                  <c:v>0.12495095416443699</c:v>
                </c:pt>
                <c:pt idx="7007">
                  <c:v>0.124968789013732</c:v>
                </c:pt>
                <c:pt idx="7008">
                  <c:v>0.124986623863028</c:v>
                </c:pt>
                <c:pt idx="7009">
                  <c:v>0.12500445871232299</c:v>
                </c:pt>
                <c:pt idx="7010">
                  <c:v>0.12502229356161901</c:v>
                </c:pt>
                <c:pt idx="7011">
                  <c:v>0.125040128410914</c:v>
                </c:pt>
                <c:pt idx="7012">
                  <c:v>0.12505796326020999</c:v>
                </c:pt>
                <c:pt idx="7013">
                  <c:v>0.125075798109505</c:v>
                </c:pt>
                <c:pt idx="7014">
                  <c:v>0.12509363295880099</c:v>
                </c:pt>
                <c:pt idx="7015">
                  <c:v>0.12511146780809701</c:v>
                </c:pt>
                <c:pt idx="7016">
                  <c:v>0.125129302657392</c:v>
                </c:pt>
                <c:pt idx="7017">
                  <c:v>0.12514713750668799</c:v>
                </c:pt>
                <c:pt idx="7018">
                  <c:v>0.12516497235598301</c:v>
                </c:pt>
                <c:pt idx="7019">
                  <c:v>0.125182807205279</c:v>
                </c:pt>
                <c:pt idx="7020">
                  <c:v>0.12520064205457401</c:v>
                </c:pt>
                <c:pt idx="7021">
                  <c:v>0.12521847690387</c:v>
                </c:pt>
                <c:pt idx="7022">
                  <c:v>0.12523631175316499</c:v>
                </c:pt>
                <c:pt idx="7023">
                  <c:v>0.12525414660246101</c:v>
                </c:pt>
                <c:pt idx="7024">
                  <c:v>0.125271981451756</c:v>
                </c:pt>
                <c:pt idx="7025">
                  <c:v>0.12528981630105199</c:v>
                </c:pt>
                <c:pt idx="7026">
                  <c:v>0.125307651150347</c:v>
                </c:pt>
                <c:pt idx="7027">
                  <c:v>0.12532548599964299</c:v>
                </c:pt>
                <c:pt idx="7028">
                  <c:v>0.12534332084893801</c:v>
                </c:pt>
                <c:pt idx="7029">
                  <c:v>0.125361155698234</c:v>
                </c:pt>
                <c:pt idx="7030">
                  <c:v>0.12537899054752899</c:v>
                </c:pt>
                <c:pt idx="7031">
                  <c:v>0.12539682539682501</c:v>
                </c:pt>
                <c:pt idx="7032">
                  <c:v>0.12541466024612</c:v>
                </c:pt>
                <c:pt idx="7033">
                  <c:v>0.12543249509541601</c:v>
                </c:pt>
                <c:pt idx="7034">
                  <c:v>0.125450329944711</c:v>
                </c:pt>
                <c:pt idx="7035">
                  <c:v>0.12546816479400699</c:v>
                </c:pt>
                <c:pt idx="7036">
                  <c:v>0.12548599964330301</c:v>
                </c:pt>
                <c:pt idx="7037">
                  <c:v>0.125503834492598</c:v>
                </c:pt>
                <c:pt idx="7038">
                  <c:v>0.12552166934189399</c:v>
                </c:pt>
                <c:pt idx="7039">
                  <c:v>0.12553950419118901</c:v>
                </c:pt>
                <c:pt idx="7040">
                  <c:v>0.12555733904048499</c:v>
                </c:pt>
                <c:pt idx="7041">
                  <c:v>0.12557517388978001</c:v>
                </c:pt>
                <c:pt idx="7042">
                  <c:v>0.125593008739076</c:v>
                </c:pt>
                <c:pt idx="7043">
                  <c:v>0.12561084358837099</c:v>
                </c:pt>
                <c:pt idx="7044">
                  <c:v>0.12562867843766701</c:v>
                </c:pt>
                <c:pt idx="7045">
                  <c:v>0.125646513286962</c:v>
                </c:pt>
                <c:pt idx="7046">
                  <c:v>0.12566434813625799</c:v>
                </c:pt>
                <c:pt idx="7047">
                  <c:v>0.125682182985553</c:v>
                </c:pt>
                <c:pt idx="7048">
                  <c:v>0.12570001783484899</c:v>
                </c:pt>
                <c:pt idx="7049">
                  <c:v>0.12571785268414401</c:v>
                </c:pt>
                <c:pt idx="7050">
                  <c:v>0.12573568753344</c:v>
                </c:pt>
                <c:pt idx="7051">
                  <c:v>0.12575352238273499</c:v>
                </c:pt>
                <c:pt idx="7052">
                  <c:v>0.12577135723203101</c:v>
                </c:pt>
                <c:pt idx="7053">
                  <c:v>0.125789192081326</c:v>
                </c:pt>
                <c:pt idx="7054">
                  <c:v>0.12580702693062201</c:v>
                </c:pt>
                <c:pt idx="7055">
                  <c:v>0.125824861779917</c:v>
                </c:pt>
                <c:pt idx="7056">
                  <c:v>0.12584269662921299</c:v>
                </c:pt>
                <c:pt idx="7057">
                  <c:v>0.12586053147850901</c:v>
                </c:pt>
                <c:pt idx="7058">
                  <c:v>0.125878366327804</c:v>
                </c:pt>
                <c:pt idx="7059">
                  <c:v>0.12589620117709999</c:v>
                </c:pt>
                <c:pt idx="7060">
                  <c:v>0.125914036026395</c:v>
                </c:pt>
                <c:pt idx="7061">
                  <c:v>0.12593187087569099</c:v>
                </c:pt>
                <c:pt idx="7062">
                  <c:v>0.12594970572498601</c:v>
                </c:pt>
                <c:pt idx="7063">
                  <c:v>0.125967540574282</c:v>
                </c:pt>
                <c:pt idx="7064">
                  <c:v>0.12598537542357699</c:v>
                </c:pt>
                <c:pt idx="7065">
                  <c:v>0.12600321027287301</c:v>
                </c:pt>
                <c:pt idx="7066">
                  <c:v>0.126021045122168</c:v>
                </c:pt>
                <c:pt idx="7067">
                  <c:v>0.12603887997146401</c:v>
                </c:pt>
                <c:pt idx="7068">
                  <c:v>0.126056714820759</c:v>
                </c:pt>
                <c:pt idx="7069">
                  <c:v>0.12607454967005499</c:v>
                </c:pt>
                <c:pt idx="7070">
                  <c:v>0.12609238451935001</c:v>
                </c:pt>
                <c:pt idx="7071">
                  <c:v>0.126110219368646</c:v>
                </c:pt>
                <c:pt idx="7072">
                  <c:v>0.12612805421794099</c:v>
                </c:pt>
                <c:pt idx="7073">
                  <c:v>0.126145889067237</c:v>
                </c:pt>
                <c:pt idx="7074">
                  <c:v>0.12616372391653199</c:v>
                </c:pt>
                <c:pt idx="7075">
                  <c:v>0.12618155876582801</c:v>
                </c:pt>
                <c:pt idx="7076">
                  <c:v>0.126199393615123</c:v>
                </c:pt>
                <c:pt idx="7077">
                  <c:v>0.12621722846441899</c:v>
                </c:pt>
                <c:pt idx="7078">
                  <c:v>0.12623506331371501</c:v>
                </c:pt>
                <c:pt idx="7079">
                  <c:v>0.12625289816301</c:v>
                </c:pt>
                <c:pt idx="7080">
                  <c:v>0.12627073301230601</c:v>
                </c:pt>
                <c:pt idx="7081">
                  <c:v>0.126288567861601</c:v>
                </c:pt>
                <c:pt idx="7082">
                  <c:v>0.12630640271089699</c:v>
                </c:pt>
                <c:pt idx="7083">
                  <c:v>0.12632423756019201</c:v>
                </c:pt>
                <c:pt idx="7084">
                  <c:v>0.126342072409488</c:v>
                </c:pt>
                <c:pt idx="7085">
                  <c:v>0.12635990725878299</c:v>
                </c:pt>
                <c:pt idx="7086">
                  <c:v>0.12637774210807901</c:v>
                </c:pt>
                <c:pt idx="7087">
                  <c:v>0.126395576957374</c:v>
                </c:pt>
                <c:pt idx="7088">
                  <c:v>0.12641341180667001</c:v>
                </c:pt>
                <c:pt idx="7089">
                  <c:v>0.126431246655965</c:v>
                </c:pt>
                <c:pt idx="7090">
                  <c:v>0.12644908150526099</c:v>
                </c:pt>
                <c:pt idx="7091">
                  <c:v>0.12646691635455601</c:v>
                </c:pt>
                <c:pt idx="7092">
                  <c:v>0.126484751203852</c:v>
                </c:pt>
                <c:pt idx="7093">
                  <c:v>0.12650258605314699</c:v>
                </c:pt>
                <c:pt idx="7094">
                  <c:v>0.126520420902443</c:v>
                </c:pt>
                <c:pt idx="7095">
                  <c:v>0.12653825575173799</c:v>
                </c:pt>
                <c:pt idx="7096">
                  <c:v>0.12655609060103401</c:v>
                </c:pt>
                <c:pt idx="7097">
                  <c:v>0.126573925450329</c:v>
                </c:pt>
                <c:pt idx="7098">
                  <c:v>0.12659176029962499</c:v>
                </c:pt>
                <c:pt idx="7099">
                  <c:v>0.12660959514892001</c:v>
                </c:pt>
                <c:pt idx="7100">
                  <c:v>0.126627429998216</c:v>
                </c:pt>
                <c:pt idx="7101">
                  <c:v>0.12664526484751201</c:v>
                </c:pt>
                <c:pt idx="7102">
                  <c:v>0.126663099696807</c:v>
                </c:pt>
                <c:pt idx="7103">
                  <c:v>0.12668093454610299</c:v>
                </c:pt>
                <c:pt idx="7104">
                  <c:v>0.12669876939539801</c:v>
                </c:pt>
                <c:pt idx="7105">
                  <c:v>0.126716604244694</c:v>
                </c:pt>
                <c:pt idx="7106">
                  <c:v>0.12673443909398899</c:v>
                </c:pt>
                <c:pt idx="7107">
                  <c:v>0.126752273943285</c:v>
                </c:pt>
                <c:pt idx="7108">
                  <c:v>0.12677010879257999</c:v>
                </c:pt>
                <c:pt idx="7109">
                  <c:v>0.12678794364187601</c:v>
                </c:pt>
                <c:pt idx="7110">
                  <c:v>0.126805778491171</c:v>
                </c:pt>
                <c:pt idx="7111">
                  <c:v>0.12682361334046699</c:v>
                </c:pt>
                <c:pt idx="7112">
                  <c:v>0.12684144818976201</c:v>
                </c:pt>
                <c:pt idx="7113">
                  <c:v>0.126859283039058</c:v>
                </c:pt>
                <c:pt idx="7114">
                  <c:v>0.12687711788835301</c:v>
                </c:pt>
                <c:pt idx="7115">
                  <c:v>0.126894952737649</c:v>
                </c:pt>
                <c:pt idx="7116">
                  <c:v>0.12691278758694399</c:v>
                </c:pt>
                <c:pt idx="7117">
                  <c:v>0.12693062243624001</c:v>
                </c:pt>
                <c:pt idx="7118">
                  <c:v>0.126948457285535</c:v>
                </c:pt>
                <c:pt idx="7119">
                  <c:v>0.12696629213483099</c:v>
                </c:pt>
                <c:pt idx="7120">
                  <c:v>0.12698412698412601</c:v>
                </c:pt>
                <c:pt idx="7121">
                  <c:v>0.12700196183342199</c:v>
                </c:pt>
                <c:pt idx="7122">
                  <c:v>0.12701979668271801</c:v>
                </c:pt>
                <c:pt idx="7123">
                  <c:v>0.127037631532013</c:v>
                </c:pt>
                <c:pt idx="7124">
                  <c:v>0.12705546638130899</c:v>
                </c:pt>
                <c:pt idx="7125">
                  <c:v>0.12707330123060401</c:v>
                </c:pt>
                <c:pt idx="7126">
                  <c:v>0.1270911360799</c:v>
                </c:pt>
                <c:pt idx="7127">
                  <c:v>0.12710897092919499</c:v>
                </c:pt>
                <c:pt idx="7128">
                  <c:v>0.127126805778491</c:v>
                </c:pt>
                <c:pt idx="7129">
                  <c:v>0.12714464062778599</c:v>
                </c:pt>
                <c:pt idx="7130">
                  <c:v>0.12716247547708201</c:v>
                </c:pt>
                <c:pt idx="7131">
                  <c:v>0.127180310326377</c:v>
                </c:pt>
                <c:pt idx="7132">
                  <c:v>0.12719814517567299</c:v>
                </c:pt>
                <c:pt idx="7133">
                  <c:v>0.12721598002496801</c:v>
                </c:pt>
                <c:pt idx="7134">
                  <c:v>0.127233814874264</c:v>
                </c:pt>
                <c:pt idx="7135">
                  <c:v>0.12725164972355901</c:v>
                </c:pt>
                <c:pt idx="7136">
                  <c:v>0.127269484572855</c:v>
                </c:pt>
                <c:pt idx="7137">
                  <c:v>0.12728731942214999</c:v>
                </c:pt>
                <c:pt idx="7138">
                  <c:v>0.12730515427144601</c:v>
                </c:pt>
                <c:pt idx="7139">
                  <c:v>0.127322989120741</c:v>
                </c:pt>
                <c:pt idx="7140">
                  <c:v>0.12734082397003699</c:v>
                </c:pt>
                <c:pt idx="7141">
                  <c:v>0.127358658819332</c:v>
                </c:pt>
                <c:pt idx="7142">
                  <c:v>0.12737649366862799</c:v>
                </c:pt>
                <c:pt idx="7143">
                  <c:v>0.12739432851792401</c:v>
                </c:pt>
                <c:pt idx="7144">
                  <c:v>0.127412163367219</c:v>
                </c:pt>
                <c:pt idx="7145">
                  <c:v>0.12742999821651499</c:v>
                </c:pt>
                <c:pt idx="7146">
                  <c:v>0.12744783306581001</c:v>
                </c:pt>
                <c:pt idx="7147">
                  <c:v>0.127465667915106</c:v>
                </c:pt>
                <c:pt idx="7148">
                  <c:v>0.12748350276440101</c:v>
                </c:pt>
                <c:pt idx="7149">
                  <c:v>0.127501337613697</c:v>
                </c:pt>
                <c:pt idx="7150">
                  <c:v>0.12751917246299199</c:v>
                </c:pt>
                <c:pt idx="7151">
                  <c:v>0.12753700731228801</c:v>
                </c:pt>
                <c:pt idx="7152">
                  <c:v>0.127554842161583</c:v>
                </c:pt>
                <c:pt idx="7153">
                  <c:v>0.12757267701087899</c:v>
                </c:pt>
                <c:pt idx="7154">
                  <c:v>0.12759051186017401</c:v>
                </c:pt>
                <c:pt idx="7155">
                  <c:v>0.12760834670946999</c:v>
                </c:pt>
                <c:pt idx="7156">
                  <c:v>0.12762618155876501</c:v>
                </c:pt>
                <c:pt idx="7157">
                  <c:v>0.127644016408061</c:v>
                </c:pt>
                <c:pt idx="7158">
                  <c:v>0.12766185125735599</c:v>
                </c:pt>
                <c:pt idx="7159">
                  <c:v>0.12767968610665201</c:v>
                </c:pt>
                <c:pt idx="7160">
                  <c:v>0.127697520955947</c:v>
                </c:pt>
                <c:pt idx="7161">
                  <c:v>0.12771535580524301</c:v>
                </c:pt>
                <c:pt idx="7162">
                  <c:v>0.127733190654538</c:v>
                </c:pt>
                <c:pt idx="7163">
                  <c:v>0.12775102550383399</c:v>
                </c:pt>
                <c:pt idx="7164">
                  <c:v>0.12776886035313001</c:v>
                </c:pt>
                <c:pt idx="7165">
                  <c:v>0.127786695202425</c:v>
                </c:pt>
                <c:pt idx="7166">
                  <c:v>0.12780453005172099</c:v>
                </c:pt>
                <c:pt idx="7167">
                  <c:v>0.12782236490101601</c:v>
                </c:pt>
                <c:pt idx="7168">
                  <c:v>0.12784019975031199</c:v>
                </c:pt>
                <c:pt idx="7169">
                  <c:v>0.12785803459960701</c:v>
                </c:pt>
                <c:pt idx="7170">
                  <c:v>0.127875869448903</c:v>
                </c:pt>
                <c:pt idx="7171">
                  <c:v>0.12789370429819799</c:v>
                </c:pt>
                <c:pt idx="7172">
                  <c:v>0.12791153914749401</c:v>
                </c:pt>
                <c:pt idx="7173">
                  <c:v>0.127929373996789</c:v>
                </c:pt>
                <c:pt idx="7174">
                  <c:v>0.12794720884608499</c:v>
                </c:pt>
                <c:pt idx="7175">
                  <c:v>0.12796504369538</c:v>
                </c:pt>
                <c:pt idx="7176">
                  <c:v>0.12798287854467599</c:v>
                </c:pt>
                <c:pt idx="7177">
                  <c:v>0.12800071339397101</c:v>
                </c:pt>
                <c:pt idx="7178">
                  <c:v>0.128018548243267</c:v>
                </c:pt>
                <c:pt idx="7179">
                  <c:v>0.12803638309256199</c:v>
                </c:pt>
                <c:pt idx="7180">
                  <c:v>0.12805421794185801</c:v>
                </c:pt>
                <c:pt idx="7181">
                  <c:v>0.128072052791153</c:v>
                </c:pt>
                <c:pt idx="7182">
                  <c:v>0.12808988764044901</c:v>
                </c:pt>
                <c:pt idx="7183">
                  <c:v>0.128107722489744</c:v>
                </c:pt>
                <c:pt idx="7184">
                  <c:v>0.12812555733903999</c:v>
                </c:pt>
                <c:pt idx="7185">
                  <c:v>0.12814339218833601</c:v>
                </c:pt>
                <c:pt idx="7186">
                  <c:v>0.128161227037631</c:v>
                </c:pt>
                <c:pt idx="7187">
                  <c:v>0.12817906188692699</c:v>
                </c:pt>
                <c:pt idx="7188">
                  <c:v>0.128196896736222</c:v>
                </c:pt>
                <c:pt idx="7189">
                  <c:v>0.12821473158551799</c:v>
                </c:pt>
                <c:pt idx="7190">
                  <c:v>0.12823256643481301</c:v>
                </c:pt>
                <c:pt idx="7191">
                  <c:v>0.128250401284109</c:v>
                </c:pt>
                <c:pt idx="7192">
                  <c:v>0.12826823613340399</c:v>
                </c:pt>
                <c:pt idx="7193">
                  <c:v>0.12828607098270001</c:v>
                </c:pt>
                <c:pt idx="7194">
                  <c:v>0.128303905831995</c:v>
                </c:pt>
                <c:pt idx="7195">
                  <c:v>0.12832174068129101</c:v>
                </c:pt>
                <c:pt idx="7196">
                  <c:v>0.128339575530586</c:v>
                </c:pt>
                <c:pt idx="7197">
                  <c:v>0.12835741037988199</c:v>
                </c:pt>
                <c:pt idx="7198">
                  <c:v>0.12837524522917701</c:v>
                </c:pt>
                <c:pt idx="7199">
                  <c:v>0.128393080078473</c:v>
                </c:pt>
                <c:pt idx="7200">
                  <c:v>0.12841091492776799</c:v>
                </c:pt>
                <c:pt idx="7201">
                  <c:v>0.12842874977706401</c:v>
                </c:pt>
                <c:pt idx="7202">
                  <c:v>0.12844658462635899</c:v>
                </c:pt>
                <c:pt idx="7203">
                  <c:v>0.12846441947565501</c:v>
                </c:pt>
                <c:pt idx="7204">
                  <c:v>0.12848225432495</c:v>
                </c:pt>
                <c:pt idx="7205">
                  <c:v>0.12850008917424599</c:v>
                </c:pt>
                <c:pt idx="7206">
                  <c:v>0.12851792402354201</c:v>
                </c:pt>
                <c:pt idx="7207">
                  <c:v>0.128535758872837</c:v>
                </c:pt>
                <c:pt idx="7208">
                  <c:v>0.12855359372213301</c:v>
                </c:pt>
                <c:pt idx="7209">
                  <c:v>0.128571428571428</c:v>
                </c:pt>
                <c:pt idx="7210">
                  <c:v>0.12858926342072399</c:v>
                </c:pt>
                <c:pt idx="7211">
                  <c:v>0.12860709827001901</c:v>
                </c:pt>
                <c:pt idx="7212">
                  <c:v>0.128624933119315</c:v>
                </c:pt>
                <c:pt idx="7213">
                  <c:v>0.12864276796860999</c:v>
                </c:pt>
                <c:pt idx="7214">
                  <c:v>0.12866060281790601</c:v>
                </c:pt>
                <c:pt idx="7215">
                  <c:v>0.128678437667201</c:v>
                </c:pt>
                <c:pt idx="7216">
                  <c:v>0.12869627251649701</c:v>
                </c:pt>
                <c:pt idx="7217">
                  <c:v>0.128714107365792</c:v>
                </c:pt>
                <c:pt idx="7218">
                  <c:v>0.12873194221508799</c:v>
                </c:pt>
                <c:pt idx="7219">
                  <c:v>0.12874977706438301</c:v>
                </c:pt>
                <c:pt idx="7220">
                  <c:v>0.128767611913679</c:v>
                </c:pt>
                <c:pt idx="7221">
                  <c:v>0.12878544676297399</c:v>
                </c:pt>
                <c:pt idx="7222">
                  <c:v>0.12880328161227</c:v>
                </c:pt>
                <c:pt idx="7223">
                  <c:v>0.12882111646156499</c:v>
                </c:pt>
                <c:pt idx="7224">
                  <c:v>0.12883895131086101</c:v>
                </c:pt>
                <c:pt idx="7225">
                  <c:v>0.128856786160156</c:v>
                </c:pt>
                <c:pt idx="7226">
                  <c:v>0.12887462100945199</c:v>
                </c:pt>
                <c:pt idx="7227">
                  <c:v>0.12889245585874801</c:v>
                </c:pt>
                <c:pt idx="7228">
                  <c:v>0.128910290708043</c:v>
                </c:pt>
                <c:pt idx="7229">
                  <c:v>0.12892812555733901</c:v>
                </c:pt>
                <c:pt idx="7230">
                  <c:v>0.128945960406634</c:v>
                </c:pt>
                <c:pt idx="7231">
                  <c:v>0.12896379525592999</c:v>
                </c:pt>
                <c:pt idx="7232">
                  <c:v>0.12898163010522501</c:v>
                </c:pt>
                <c:pt idx="7233">
                  <c:v>0.128999464954521</c:v>
                </c:pt>
                <c:pt idx="7234">
                  <c:v>0.12901729980381599</c:v>
                </c:pt>
                <c:pt idx="7235">
                  <c:v>0.129035134653112</c:v>
                </c:pt>
                <c:pt idx="7236">
                  <c:v>0.12905296950240699</c:v>
                </c:pt>
                <c:pt idx="7237">
                  <c:v>0.12907080435170301</c:v>
                </c:pt>
                <c:pt idx="7238">
                  <c:v>0.129088639200998</c:v>
                </c:pt>
                <c:pt idx="7239">
                  <c:v>0.12910647405029399</c:v>
                </c:pt>
                <c:pt idx="7240">
                  <c:v>0.12912430889958901</c:v>
                </c:pt>
                <c:pt idx="7241">
                  <c:v>0.129142143748885</c:v>
                </c:pt>
                <c:pt idx="7242">
                  <c:v>0.12915997859817999</c:v>
                </c:pt>
                <c:pt idx="7243">
                  <c:v>0.129177813447476</c:v>
                </c:pt>
                <c:pt idx="7244">
                  <c:v>0.12919564829677099</c:v>
                </c:pt>
                <c:pt idx="7245">
                  <c:v>0.12921348314606701</c:v>
                </c:pt>
                <c:pt idx="7246">
                  <c:v>0.129231317995362</c:v>
                </c:pt>
                <c:pt idx="7247">
                  <c:v>0.12924915284465799</c:v>
                </c:pt>
                <c:pt idx="7248">
                  <c:v>0.12926698769395301</c:v>
                </c:pt>
                <c:pt idx="7249">
                  <c:v>0.129284822543249</c:v>
                </c:pt>
                <c:pt idx="7250">
                  <c:v>0.12930265739254501</c:v>
                </c:pt>
                <c:pt idx="7251">
                  <c:v>0.12932049224184</c:v>
                </c:pt>
                <c:pt idx="7252">
                  <c:v>0.12933832709113599</c:v>
                </c:pt>
                <c:pt idx="7253">
                  <c:v>0.12935616194043101</c:v>
                </c:pt>
                <c:pt idx="7254">
                  <c:v>0.129373996789727</c:v>
                </c:pt>
                <c:pt idx="7255">
                  <c:v>0.12939183163902199</c:v>
                </c:pt>
                <c:pt idx="7256">
                  <c:v>0.129409666488318</c:v>
                </c:pt>
                <c:pt idx="7257">
                  <c:v>0.12942750133761299</c:v>
                </c:pt>
                <c:pt idx="7258">
                  <c:v>0.12944533618690901</c:v>
                </c:pt>
                <c:pt idx="7259">
                  <c:v>0.129463171036204</c:v>
                </c:pt>
                <c:pt idx="7260">
                  <c:v>0.12948100588549999</c:v>
                </c:pt>
                <c:pt idx="7261">
                  <c:v>0.12949884073479501</c:v>
                </c:pt>
                <c:pt idx="7262">
                  <c:v>0.129516675584091</c:v>
                </c:pt>
                <c:pt idx="7263">
                  <c:v>0.12953451043338601</c:v>
                </c:pt>
                <c:pt idx="7264">
                  <c:v>0.129552345282682</c:v>
                </c:pt>
                <c:pt idx="7265">
                  <c:v>0.12957018013197699</c:v>
                </c:pt>
                <c:pt idx="7266">
                  <c:v>0.12958801498127301</c:v>
                </c:pt>
                <c:pt idx="7267">
                  <c:v>0.129605849830568</c:v>
                </c:pt>
                <c:pt idx="7268">
                  <c:v>0.12962368467986399</c:v>
                </c:pt>
                <c:pt idx="7269">
                  <c:v>0.12964151952915901</c:v>
                </c:pt>
                <c:pt idx="7270">
                  <c:v>0.12965935437845499</c:v>
                </c:pt>
                <c:pt idx="7271">
                  <c:v>0.12967718922775101</c:v>
                </c:pt>
                <c:pt idx="7272">
                  <c:v>0.129695024077046</c:v>
                </c:pt>
                <c:pt idx="7273">
                  <c:v>0.12971285892634199</c:v>
                </c:pt>
                <c:pt idx="7274">
                  <c:v>0.12973069377563701</c:v>
                </c:pt>
                <c:pt idx="7275">
                  <c:v>0.129748528624933</c:v>
                </c:pt>
                <c:pt idx="7276">
                  <c:v>0.12976636347422801</c:v>
                </c:pt>
                <c:pt idx="7277">
                  <c:v>0.129784198323524</c:v>
                </c:pt>
                <c:pt idx="7278">
                  <c:v>0.12980203317281899</c:v>
                </c:pt>
                <c:pt idx="7279">
                  <c:v>0.12981986802211501</c:v>
                </c:pt>
                <c:pt idx="7280">
                  <c:v>0.12983770287141</c:v>
                </c:pt>
                <c:pt idx="7281">
                  <c:v>0.12985553772070599</c:v>
                </c:pt>
                <c:pt idx="7282">
                  <c:v>0.12987337257000101</c:v>
                </c:pt>
                <c:pt idx="7283">
                  <c:v>0.12989120741929699</c:v>
                </c:pt>
                <c:pt idx="7284">
                  <c:v>0.12990904226859201</c:v>
                </c:pt>
                <c:pt idx="7285">
                  <c:v>0.129926877117888</c:v>
                </c:pt>
                <c:pt idx="7286">
                  <c:v>0.12994471196718299</c:v>
                </c:pt>
                <c:pt idx="7287">
                  <c:v>0.12996254681647901</c:v>
                </c:pt>
                <c:pt idx="7288">
                  <c:v>0.129980381665774</c:v>
                </c:pt>
                <c:pt idx="7289">
                  <c:v>0.12999821651506999</c:v>
                </c:pt>
                <c:pt idx="7290">
                  <c:v>0.130016051364365</c:v>
                </c:pt>
                <c:pt idx="7291">
                  <c:v>0.13003388621366099</c:v>
                </c:pt>
                <c:pt idx="7292">
                  <c:v>0.13005172106295701</c:v>
                </c:pt>
                <c:pt idx="7293">
                  <c:v>0.130069555912252</c:v>
                </c:pt>
                <c:pt idx="7294">
                  <c:v>0.13008739076154799</c:v>
                </c:pt>
                <c:pt idx="7295">
                  <c:v>0.13010522561084301</c:v>
                </c:pt>
                <c:pt idx="7296">
                  <c:v>0.130123060460139</c:v>
                </c:pt>
                <c:pt idx="7297">
                  <c:v>0.13014089530943401</c:v>
                </c:pt>
                <c:pt idx="7298">
                  <c:v>0.13015873015873</c:v>
                </c:pt>
                <c:pt idx="7299">
                  <c:v>0.13017656500802499</c:v>
                </c:pt>
                <c:pt idx="7300">
                  <c:v>0.13019439985732101</c:v>
                </c:pt>
                <c:pt idx="7301">
                  <c:v>0.130212234706616</c:v>
                </c:pt>
                <c:pt idx="7302">
                  <c:v>0.13023006955591199</c:v>
                </c:pt>
                <c:pt idx="7303">
                  <c:v>0.130247904405207</c:v>
                </c:pt>
                <c:pt idx="7304">
                  <c:v>0.13026573925450299</c:v>
                </c:pt>
                <c:pt idx="7305">
                  <c:v>0.13028357410379801</c:v>
                </c:pt>
                <c:pt idx="7306">
                  <c:v>0.130301408953094</c:v>
                </c:pt>
                <c:pt idx="7307">
                  <c:v>0.13031924380238899</c:v>
                </c:pt>
                <c:pt idx="7308">
                  <c:v>0.13033707865168501</c:v>
                </c:pt>
                <c:pt idx="7309">
                  <c:v>0.13035491350098</c:v>
                </c:pt>
                <c:pt idx="7310">
                  <c:v>0.13037274835027601</c:v>
                </c:pt>
                <c:pt idx="7311">
                  <c:v>0.130390583199571</c:v>
                </c:pt>
                <c:pt idx="7312">
                  <c:v>0.13040841804886699</c:v>
                </c:pt>
                <c:pt idx="7313">
                  <c:v>0.13042625289816301</c:v>
                </c:pt>
                <c:pt idx="7314">
                  <c:v>0.130444087747458</c:v>
                </c:pt>
                <c:pt idx="7315">
                  <c:v>0.13046192259675399</c:v>
                </c:pt>
                <c:pt idx="7316">
                  <c:v>0.13047975744604901</c:v>
                </c:pt>
                <c:pt idx="7317">
                  <c:v>0.13049759229534499</c:v>
                </c:pt>
                <c:pt idx="7318">
                  <c:v>0.13051542714464001</c:v>
                </c:pt>
                <c:pt idx="7319">
                  <c:v>0.130533261993936</c:v>
                </c:pt>
                <c:pt idx="7320">
                  <c:v>0.13055109684323099</c:v>
                </c:pt>
                <c:pt idx="7321">
                  <c:v>0.13056893169252701</c:v>
                </c:pt>
                <c:pt idx="7322">
                  <c:v>0.130586766541822</c:v>
                </c:pt>
                <c:pt idx="7323">
                  <c:v>0.13060460139111801</c:v>
                </c:pt>
                <c:pt idx="7324">
                  <c:v>0.130622436240413</c:v>
                </c:pt>
                <c:pt idx="7325">
                  <c:v>0.13064027108970899</c:v>
                </c:pt>
                <c:pt idx="7326">
                  <c:v>0.13065810593900401</c:v>
                </c:pt>
                <c:pt idx="7327">
                  <c:v>0.1306759407883</c:v>
                </c:pt>
                <c:pt idx="7328">
                  <c:v>0.13069377563759499</c:v>
                </c:pt>
                <c:pt idx="7329">
                  <c:v>0.13071161048689101</c:v>
                </c:pt>
                <c:pt idx="7330">
                  <c:v>0.130729445336186</c:v>
                </c:pt>
                <c:pt idx="7331">
                  <c:v>0.13074728018548201</c:v>
                </c:pt>
                <c:pt idx="7332">
                  <c:v>0.130765115034777</c:v>
                </c:pt>
                <c:pt idx="7333">
                  <c:v>0.13078294988407299</c:v>
                </c:pt>
                <c:pt idx="7334">
                  <c:v>0.13080078473336901</c:v>
                </c:pt>
                <c:pt idx="7335">
                  <c:v>0.130818619582664</c:v>
                </c:pt>
                <c:pt idx="7336">
                  <c:v>0.13083645443195999</c:v>
                </c:pt>
                <c:pt idx="7337">
                  <c:v>0.130854289281255</c:v>
                </c:pt>
                <c:pt idx="7338">
                  <c:v>0.13087212413055099</c:v>
                </c:pt>
                <c:pt idx="7339">
                  <c:v>0.13088995897984601</c:v>
                </c:pt>
                <c:pt idx="7340">
                  <c:v>0.130907793829142</c:v>
                </c:pt>
                <c:pt idx="7341">
                  <c:v>0.13092562867843699</c:v>
                </c:pt>
                <c:pt idx="7342">
                  <c:v>0.13094346352773301</c:v>
                </c:pt>
                <c:pt idx="7343">
                  <c:v>0.130961298377028</c:v>
                </c:pt>
                <c:pt idx="7344">
                  <c:v>0.13097913322632401</c:v>
                </c:pt>
                <c:pt idx="7345">
                  <c:v>0.130996968075619</c:v>
                </c:pt>
                <c:pt idx="7346">
                  <c:v>0.13101480292491499</c:v>
                </c:pt>
                <c:pt idx="7347">
                  <c:v>0.13103263777421001</c:v>
                </c:pt>
                <c:pt idx="7348">
                  <c:v>0.131050472623506</c:v>
                </c:pt>
                <c:pt idx="7349">
                  <c:v>0.13106830747280099</c:v>
                </c:pt>
                <c:pt idx="7350">
                  <c:v>0.131086142322097</c:v>
                </c:pt>
                <c:pt idx="7351">
                  <c:v>0.13110397717139199</c:v>
                </c:pt>
                <c:pt idx="7352">
                  <c:v>0.13112181202068801</c:v>
                </c:pt>
                <c:pt idx="7353">
                  <c:v>0.131139646869983</c:v>
                </c:pt>
                <c:pt idx="7354">
                  <c:v>0.13115748171927899</c:v>
                </c:pt>
                <c:pt idx="7355">
                  <c:v>0.13117531656857501</c:v>
                </c:pt>
                <c:pt idx="7356">
                  <c:v>0.13119315141787</c:v>
                </c:pt>
                <c:pt idx="7357">
                  <c:v>0.13121098626716601</c:v>
                </c:pt>
                <c:pt idx="7358">
                  <c:v>0.131228821116461</c:v>
                </c:pt>
                <c:pt idx="7359">
                  <c:v>0.13124665596575699</c:v>
                </c:pt>
                <c:pt idx="7360">
                  <c:v>0.13126449081505201</c:v>
                </c:pt>
                <c:pt idx="7361">
                  <c:v>0.131282325664348</c:v>
                </c:pt>
                <c:pt idx="7362">
                  <c:v>0.13130016051364299</c:v>
                </c:pt>
                <c:pt idx="7363">
                  <c:v>0.13131799536293901</c:v>
                </c:pt>
                <c:pt idx="7364">
                  <c:v>0.13133583021223399</c:v>
                </c:pt>
                <c:pt idx="7365">
                  <c:v>0.13135366506153001</c:v>
                </c:pt>
                <c:pt idx="7366">
                  <c:v>0.131371499910825</c:v>
                </c:pt>
                <c:pt idx="7367">
                  <c:v>0.13138933476012099</c:v>
                </c:pt>
                <c:pt idx="7368">
                  <c:v>0.13140716960941601</c:v>
                </c:pt>
                <c:pt idx="7369">
                  <c:v>0.131425004458712</c:v>
                </c:pt>
                <c:pt idx="7370">
                  <c:v>0.13144283930800699</c:v>
                </c:pt>
                <c:pt idx="7371">
                  <c:v>0.131460674157303</c:v>
                </c:pt>
                <c:pt idx="7372">
                  <c:v>0.13147850900659799</c:v>
                </c:pt>
                <c:pt idx="7373">
                  <c:v>0.13149634385589401</c:v>
                </c:pt>
                <c:pt idx="7374">
                  <c:v>0.131514178705189</c:v>
                </c:pt>
                <c:pt idx="7375">
                  <c:v>0.13153201355448499</c:v>
                </c:pt>
                <c:pt idx="7376">
                  <c:v>0.13154984840378001</c:v>
                </c:pt>
                <c:pt idx="7377">
                  <c:v>0.131567683253076</c:v>
                </c:pt>
                <c:pt idx="7378">
                  <c:v>0.13158551810237201</c:v>
                </c:pt>
                <c:pt idx="7379">
                  <c:v>0.131603352951667</c:v>
                </c:pt>
                <c:pt idx="7380">
                  <c:v>0.13162118780096299</c:v>
                </c:pt>
                <c:pt idx="7381">
                  <c:v>0.13163902265025801</c:v>
                </c:pt>
                <c:pt idx="7382">
                  <c:v>0.131656857499554</c:v>
                </c:pt>
                <c:pt idx="7383">
                  <c:v>0.13167469234884899</c:v>
                </c:pt>
                <c:pt idx="7384">
                  <c:v>0.131692527198145</c:v>
                </c:pt>
                <c:pt idx="7385">
                  <c:v>0.13171036204743999</c:v>
                </c:pt>
                <c:pt idx="7386">
                  <c:v>0.13172819689673601</c:v>
                </c:pt>
                <c:pt idx="7387">
                  <c:v>0.131746031746031</c:v>
                </c:pt>
                <c:pt idx="7388">
                  <c:v>0.13176386659532699</c:v>
                </c:pt>
                <c:pt idx="7389">
                  <c:v>0.13178170144462201</c:v>
                </c:pt>
                <c:pt idx="7390">
                  <c:v>0.131799536293918</c:v>
                </c:pt>
                <c:pt idx="7391">
                  <c:v>0.13181737114321301</c:v>
                </c:pt>
                <c:pt idx="7392">
                  <c:v>0.131835205992509</c:v>
                </c:pt>
                <c:pt idx="7393">
                  <c:v>0.13185304084180399</c:v>
                </c:pt>
                <c:pt idx="7394">
                  <c:v>0.13187087569110001</c:v>
                </c:pt>
                <c:pt idx="7395">
                  <c:v>0.131888710540395</c:v>
                </c:pt>
                <c:pt idx="7396">
                  <c:v>0.13190654538969099</c:v>
                </c:pt>
                <c:pt idx="7397">
                  <c:v>0.13192438023898601</c:v>
                </c:pt>
                <c:pt idx="7398">
                  <c:v>0.13194221508828199</c:v>
                </c:pt>
                <c:pt idx="7399">
                  <c:v>0.13196004993757801</c:v>
                </c:pt>
                <c:pt idx="7400">
                  <c:v>0.131977884786873</c:v>
                </c:pt>
                <c:pt idx="7401">
                  <c:v>0.13199571963616899</c:v>
                </c:pt>
                <c:pt idx="7402">
                  <c:v>0.13201355448546401</c:v>
                </c:pt>
                <c:pt idx="7403">
                  <c:v>0.13203138933476</c:v>
                </c:pt>
                <c:pt idx="7404">
                  <c:v>0.13204922418405499</c:v>
                </c:pt>
                <c:pt idx="7405">
                  <c:v>0.132067059033351</c:v>
                </c:pt>
                <c:pt idx="7406">
                  <c:v>0.13208489388264599</c:v>
                </c:pt>
                <c:pt idx="7407">
                  <c:v>0.13210272873194201</c:v>
                </c:pt>
                <c:pt idx="7408">
                  <c:v>0.132120563581237</c:v>
                </c:pt>
                <c:pt idx="7409">
                  <c:v>0.13213839843053299</c:v>
                </c:pt>
                <c:pt idx="7410">
                  <c:v>0.13215623327982801</c:v>
                </c:pt>
                <c:pt idx="7411">
                  <c:v>0.13217406812912399</c:v>
                </c:pt>
                <c:pt idx="7412">
                  <c:v>0.13219190297841901</c:v>
                </c:pt>
                <c:pt idx="7413">
                  <c:v>0.132209737827715</c:v>
                </c:pt>
                <c:pt idx="7414">
                  <c:v>0.13222757267700999</c:v>
                </c:pt>
                <c:pt idx="7415">
                  <c:v>0.13224540752630601</c:v>
                </c:pt>
                <c:pt idx="7416">
                  <c:v>0.132263242375601</c:v>
                </c:pt>
                <c:pt idx="7417">
                  <c:v>0.13228107722489699</c:v>
                </c:pt>
                <c:pt idx="7418">
                  <c:v>0.132298912074192</c:v>
                </c:pt>
                <c:pt idx="7419">
                  <c:v>0.13231674692348799</c:v>
                </c:pt>
                <c:pt idx="7420">
                  <c:v>0.13233458177278401</c:v>
                </c:pt>
                <c:pt idx="7421">
                  <c:v>0.132352416622079</c:v>
                </c:pt>
                <c:pt idx="7422">
                  <c:v>0.13237025147137499</c:v>
                </c:pt>
                <c:pt idx="7423">
                  <c:v>0.13238808632067001</c:v>
                </c:pt>
                <c:pt idx="7424">
                  <c:v>0.132405921169966</c:v>
                </c:pt>
                <c:pt idx="7425">
                  <c:v>0.13242375601926101</c:v>
                </c:pt>
                <c:pt idx="7426">
                  <c:v>0.132441590868557</c:v>
                </c:pt>
                <c:pt idx="7427">
                  <c:v>0.13245942571785199</c:v>
                </c:pt>
                <c:pt idx="7428">
                  <c:v>0.13247726056714801</c:v>
                </c:pt>
                <c:pt idx="7429">
                  <c:v>0.132495095416443</c:v>
                </c:pt>
                <c:pt idx="7430">
                  <c:v>0.13251293026573899</c:v>
                </c:pt>
                <c:pt idx="7431">
                  <c:v>0.132530765115034</c:v>
                </c:pt>
                <c:pt idx="7432">
                  <c:v>0.13254859996432999</c:v>
                </c:pt>
                <c:pt idx="7433">
                  <c:v>0.13256643481362501</c:v>
                </c:pt>
                <c:pt idx="7434">
                  <c:v>0.132584269662921</c:v>
                </c:pt>
                <c:pt idx="7435">
                  <c:v>0.13260210451221599</c:v>
                </c:pt>
                <c:pt idx="7436">
                  <c:v>0.13261993936151201</c:v>
                </c:pt>
                <c:pt idx="7437">
                  <c:v>0.132637774210807</c:v>
                </c:pt>
                <c:pt idx="7438">
                  <c:v>0.13265560906010301</c:v>
                </c:pt>
                <c:pt idx="7439">
                  <c:v>0.132673443909398</c:v>
                </c:pt>
                <c:pt idx="7440">
                  <c:v>0.13269127875869399</c:v>
                </c:pt>
                <c:pt idx="7441">
                  <c:v>0.13270911360799001</c:v>
                </c:pt>
                <c:pt idx="7442">
                  <c:v>0.132726948457285</c:v>
                </c:pt>
                <c:pt idx="7443">
                  <c:v>0.13274478330658099</c:v>
                </c:pt>
                <c:pt idx="7444">
                  <c:v>0.13276261815587601</c:v>
                </c:pt>
                <c:pt idx="7445">
                  <c:v>0.13278045300517199</c:v>
                </c:pt>
                <c:pt idx="7446">
                  <c:v>0.13279828785446701</c:v>
                </c:pt>
                <c:pt idx="7447">
                  <c:v>0.132816122703763</c:v>
                </c:pt>
                <c:pt idx="7448">
                  <c:v>0.13283395755305799</c:v>
                </c:pt>
                <c:pt idx="7449">
                  <c:v>0.13285179240235401</c:v>
                </c:pt>
                <c:pt idx="7450">
                  <c:v>0.132869627251649</c:v>
                </c:pt>
                <c:pt idx="7451">
                  <c:v>0.13288746210094499</c:v>
                </c:pt>
                <c:pt idx="7452">
                  <c:v>0.13290529695024</c:v>
                </c:pt>
                <c:pt idx="7453">
                  <c:v>0.13292313179953599</c:v>
                </c:pt>
                <c:pt idx="7454">
                  <c:v>0.13294096664883101</c:v>
                </c:pt>
                <c:pt idx="7455">
                  <c:v>0.132958801498127</c:v>
                </c:pt>
                <c:pt idx="7456">
                  <c:v>0.13297663634742199</c:v>
                </c:pt>
                <c:pt idx="7457">
                  <c:v>0.13299447119671801</c:v>
                </c:pt>
                <c:pt idx="7458">
                  <c:v>0.133012306046013</c:v>
                </c:pt>
                <c:pt idx="7459">
                  <c:v>0.13303014089530901</c:v>
                </c:pt>
                <c:pt idx="7460">
                  <c:v>0.133047975744604</c:v>
                </c:pt>
                <c:pt idx="7461">
                  <c:v>0.13306581059389999</c:v>
                </c:pt>
                <c:pt idx="7462">
                  <c:v>0.13308364544319601</c:v>
                </c:pt>
                <c:pt idx="7463">
                  <c:v>0.133101480292491</c:v>
                </c:pt>
                <c:pt idx="7464">
                  <c:v>0.13311931514178699</c:v>
                </c:pt>
                <c:pt idx="7465">
                  <c:v>0.133137149991082</c:v>
                </c:pt>
                <c:pt idx="7466">
                  <c:v>0.13315498484037799</c:v>
                </c:pt>
                <c:pt idx="7467">
                  <c:v>0.13317281968967301</c:v>
                </c:pt>
                <c:pt idx="7468">
                  <c:v>0.133190654538969</c:v>
                </c:pt>
                <c:pt idx="7469">
                  <c:v>0.13320848938826399</c:v>
                </c:pt>
                <c:pt idx="7470">
                  <c:v>0.13322632423756001</c:v>
                </c:pt>
                <c:pt idx="7471">
                  <c:v>0.133244159086855</c:v>
                </c:pt>
                <c:pt idx="7472">
                  <c:v>0.13326199393615101</c:v>
                </c:pt>
                <c:pt idx="7473">
                  <c:v>0.133279828785446</c:v>
                </c:pt>
                <c:pt idx="7474">
                  <c:v>0.13329766363474199</c:v>
                </c:pt>
                <c:pt idx="7475">
                  <c:v>0.13331549848403701</c:v>
                </c:pt>
                <c:pt idx="7476">
                  <c:v>0.133333333333333</c:v>
                </c:pt>
                <c:pt idx="7477">
                  <c:v>0.13335116818262799</c:v>
                </c:pt>
                <c:pt idx="7478">
                  <c:v>0.133369003031924</c:v>
                </c:pt>
                <c:pt idx="7479">
                  <c:v>0.13338683788121899</c:v>
                </c:pt>
                <c:pt idx="7480">
                  <c:v>0.13340467273051501</c:v>
                </c:pt>
                <c:pt idx="7481">
                  <c:v>0.13342250757981</c:v>
                </c:pt>
                <c:pt idx="7482">
                  <c:v>0.13344034242910599</c:v>
                </c:pt>
                <c:pt idx="7483">
                  <c:v>0.13345817727840201</c:v>
                </c:pt>
                <c:pt idx="7484">
                  <c:v>0.133476012127697</c:v>
                </c:pt>
                <c:pt idx="7485">
                  <c:v>0.13349384697699301</c:v>
                </c:pt>
                <c:pt idx="7486">
                  <c:v>0.133511681826288</c:v>
                </c:pt>
                <c:pt idx="7487">
                  <c:v>0.13352951667558399</c:v>
                </c:pt>
                <c:pt idx="7488">
                  <c:v>0.13354735152487901</c:v>
                </c:pt>
                <c:pt idx="7489">
                  <c:v>0.133565186374175</c:v>
                </c:pt>
                <c:pt idx="7490">
                  <c:v>0.13358302122346999</c:v>
                </c:pt>
                <c:pt idx="7491">
                  <c:v>0.13360085607276601</c:v>
                </c:pt>
                <c:pt idx="7492">
                  <c:v>0.133618690922061</c:v>
                </c:pt>
                <c:pt idx="7493">
                  <c:v>0.13363652577135701</c:v>
                </c:pt>
                <c:pt idx="7494">
                  <c:v>0.133654360620652</c:v>
                </c:pt>
                <c:pt idx="7495">
                  <c:v>0.13367219546994799</c:v>
                </c:pt>
                <c:pt idx="7496">
                  <c:v>0.13369003031924301</c:v>
                </c:pt>
                <c:pt idx="7497">
                  <c:v>0.133707865168539</c:v>
                </c:pt>
                <c:pt idx="7498">
                  <c:v>0.13372570001783399</c:v>
                </c:pt>
                <c:pt idx="7499">
                  <c:v>0.13374353486713</c:v>
                </c:pt>
                <c:pt idx="7500">
                  <c:v>0.13376136971642499</c:v>
                </c:pt>
                <c:pt idx="7501">
                  <c:v>0.13377920456572101</c:v>
                </c:pt>
                <c:pt idx="7502">
                  <c:v>0.133797039415016</c:v>
                </c:pt>
                <c:pt idx="7503">
                  <c:v>0.13381487426431199</c:v>
                </c:pt>
                <c:pt idx="7504">
                  <c:v>0.13383270911360701</c:v>
                </c:pt>
                <c:pt idx="7505">
                  <c:v>0.133850543962903</c:v>
                </c:pt>
                <c:pt idx="7506">
                  <c:v>0.13386837881219901</c:v>
                </c:pt>
                <c:pt idx="7507">
                  <c:v>0.133886213661494</c:v>
                </c:pt>
                <c:pt idx="7508">
                  <c:v>0.13390404851078999</c:v>
                </c:pt>
                <c:pt idx="7509">
                  <c:v>0.13392188336008501</c:v>
                </c:pt>
                <c:pt idx="7510">
                  <c:v>0.133939718209381</c:v>
                </c:pt>
                <c:pt idx="7511">
                  <c:v>0.13395755305867599</c:v>
                </c:pt>
                <c:pt idx="7512">
                  <c:v>0.133975387907972</c:v>
                </c:pt>
                <c:pt idx="7513">
                  <c:v>0.13399322275726699</c:v>
                </c:pt>
                <c:pt idx="7514">
                  <c:v>0.13401105760656301</c:v>
                </c:pt>
                <c:pt idx="7515">
                  <c:v>0.134028892455858</c:v>
                </c:pt>
                <c:pt idx="7516">
                  <c:v>0.13404672730515399</c:v>
                </c:pt>
                <c:pt idx="7517">
                  <c:v>0.13406456215444901</c:v>
                </c:pt>
                <c:pt idx="7518">
                  <c:v>0.134082397003745</c:v>
                </c:pt>
                <c:pt idx="7519">
                  <c:v>0.13410023185303999</c:v>
                </c:pt>
                <c:pt idx="7520">
                  <c:v>0.134118066702336</c:v>
                </c:pt>
                <c:pt idx="7521">
                  <c:v>0.13413590155163099</c:v>
                </c:pt>
                <c:pt idx="7522">
                  <c:v>0.13415373640092701</c:v>
                </c:pt>
                <c:pt idx="7523">
                  <c:v>0.134171571250222</c:v>
                </c:pt>
                <c:pt idx="7524">
                  <c:v>0.13418940609951799</c:v>
                </c:pt>
                <c:pt idx="7525">
                  <c:v>0.13420724094881301</c:v>
                </c:pt>
                <c:pt idx="7526">
                  <c:v>0.13422507579810899</c:v>
                </c:pt>
                <c:pt idx="7527">
                  <c:v>0.13424291064740501</c:v>
                </c:pt>
                <c:pt idx="7528">
                  <c:v>0.1342607454967</c:v>
                </c:pt>
                <c:pt idx="7529">
                  <c:v>0.13427858034599599</c:v>
                </c:pt>
                <c:pt idx="7530">
                  <c:v>0.13429641519529101</c:v>
                </c:pt>
                <c:pt idx="7531">
                  <c:v>0.134314250044587</c:v>
                </c:pt>
                <c:pt idx="7532">
                  <c:v>0.13433208489388199</c:v>
                </c:pt>
                <c:pt idx="7533">
                  <c:v>0.134349919743178</c:v>
                </c:pt>
                <c:pt idx="7534">
                  <c:v>0.13436775459247299</c:v>
                </c:pt>
                <c:pt idx="7535">
                  <c:v>0.13438558944176901</c:v>
                </c:pt>
                <c:pt idx="7536">
                  <c:v>0.134403424291064</c:v>
                </c:pt>
                <c:pt idx="7537">
                  <c:v>0.13442125914035999</c:v>
                </c:pt>
                <c:pt idx="7538">
                  <c:v>0.13443909398965501</c:v>
                </c:pt>
                <c:pt idx="7539">
                  <c:v>0.134456928838951</c:v>
                </c:pt>
                <c:pt idx="7540">
                  <c:v>0.13447476368824601</c:v>
                </c:pt>
                <c:pt idx="7541">
                  <c:v>0.134492598537542</c:v>
                </c:pt>
                <c:pt idx="7542">
                  <c:v>0.13451043338683699</c:v>
                </c:pt>
                <c:pt idx="7543">
                  <c:v>0.13452826823613301</c:v>
                </c:pt>
                <c:pt idx="7544">
                  <c:v>0.134546103085428</c:v>
                </c:pt>
                <c:pt idx="7545">
                  <c:v>0.13456393793472399</c:v>
                </c:pt>
                <c:pt idx="7546">
                  <c:v>0.134581772784019</c:v>
                </c:pt>
                <c:pt idx="7547">
                  <c:v>0.13459960763331499</c:v>
                </c:pt>
                <c:pt idx="7548">
                  <c:v>0.13461744248261101</c:v>
                </c:pt>
                <c:pt idx="7549">
                  <c:v>0.134635277331906</c:v>
                </c:pt>
                <c:pt idx="7550">
                  <c:v>0.13465311218120199</c:v>
                </c:pt>
                <c:pt idx="7551">
                  <c:v>0.13467094703049701</c:v>
                </c:pt>
                <c:pt idx="7552">
                  <c:v>0.134688781879793</c:v>
                </c:pt>
                <c:pt idx="7553">
                  <c:v>0.13470661672908801</c:v>
                </c:pt>
                <c:pt idx="7554">
                  <c:v>0.134724451578384</c:v>
                </c:pt>
                <c:pt idx="7555">
                  <c:v>0.13474228642767899</c:v>
                </c:pt>
                <c:pt idx="7556">
                  <c:v>0.13476012127697501</c:v>
                </c:pt>
                <c:pt idx="7557">
                  <c:v>0.13477795612627</c:v>
                </c:pt>
                <c:pt idx="7558">
                  <c:v>0.13479579097556599</c:v>
                </c:pt>
                <c:pt idx="7559">
                  <c:v>0.13481362582486101</c:v>
                </c:pt>
                <c:pt idx="7560">
                  <c:v>0.13483146067415699</c:v>
                </c:pt>
                <c:pt idx="7561">
                  <c:v>0.13484929552345201</c:v>
                </c:pt>
                <c:pt idx="7562">
                  <c:v>0.134867130372748</c:v>
                </c:pt>
                <c:pt idx="7563">
                  <c:v>0.13488496522204299</c:v>
                </c:pt>
                <c:pt idx="7564">
                  <c:v>0.13490280007133901</c:v>
                </c:pt>
                <c:pt idx="7565">
                  <c:v>0.134920634920634</c:v>
                </c:pt>
                <c:pt idx="7566">
                  <c:v>0.13493846976992999</c:v>
                </c:pt>
                <c:pt idx="7567">
                  <c:v>0.134956304619225</c:v>
                </c:pt>
                <c:pt idx="7568">
                  <c:v>0.13497413946852099</c:v>
                </c:pt>
                <c:pt idx="7569">
                  <c:v>0.13499197431781701</c:v>
                </c:pt>
                <c:pt idx="7570">
                  <c:v>0.135009809167112</c:v>
                </c:pt>
                <c:pt idx="7571">
                  <c:v>0.13502764401640799</c:v>
                </c:pt>
                <c:pt idx="7572">
                  <c:v>0.13504547886570301</c:v>
                </c:pt>
                <c:pt idx="7573">
                  <c:v>0.13506331371499899</c:v>
                </c:pt>
                <c:pt idx="7574">
                  <c:v>0.13508114856429401</c:v>
                </c:pt>
                <c:pt idx="7575">
                  <c:v>0.13509898341359</c:v>
                </c:pt>
                <c:pt idx="7576">
                  <c:v>0.13511681826288499</c:v>
                </c:pt>
                <c:pt idx="7577">
                  <c:v>0.13513465311218101</c:v>
                </c:pt>
                <c:pt idx="7578">
                  <c:v>0.135152487961476</c:v>
                </c:pt>
                <c:pt idx="7579">
                  <c:v>0.13517032281077199</c:v>
                </c:pt>
                <c:pt idx="7580">
                  <c:v>0.135188157660067</c:v>
                </c:pt>
                <c:pt idx="7581">
                  <c:v>0.13520599250936299</c:v>
                </c:pt>
                <c:pt idx="7582">
                  <c:v>0.13522382735865801</c:v>
                </c:pt>
                <c:pt idx="7583">
                  <c:v>0.135241662207954</c:v>
                </c:pt>
                <c:pt idx="7584">
                  <c:v>0.13525949705724899</c:v>
                </c:pt>
                <c:pt idx="7585">
                  <c:v>0.13527733190654501</c:v>
                </c:pt>
                <c:pt idx="7586">
                  <c:v>0.13529516675584</c:v>
                </c:pt>
                <c:pt idx="7587">
                  <c:v>0.13531300160513601</c:v>
                </c:pt>
                <c:pt idx="7588">
                  <c:v>0.135330836454431</c:v>
                </c:pt>
                <c:pt idx="7589">
                  <c:v>0.13534867130372699</c:v>
                </c:pt>
                <c:pt idx="7590">
                  <c:v>0.13536650615302301</c:v>
                </c:pt>
                <c:pt idx="7591">
                  <c:v>0.135384341002318</c:v>
                </c:pt>
                <c:pt idx="7592">
                  <c:v>0.13540217585161399</c:v>
                </c:pt>
                <c:pt idx="7593">
                  <c:v>0.135420010700909</c:v>
                </c:pt>
                <c:pt idx="7594">
                  <c:v>0.13543784555020499</c:v>
                </c:pt>
                <c:pt idx="7595">
                  <c:v>0.13545568039950001</c:v>
                </c:pt>
                <c:pt idx="7596">
                  <c:v>0.135473515248796</c:v>
                </c:pt>
                <c:pt idx="7597">
                  <c:v>0.13549135009809099</c:v>
                </c:pt>
                <c:pt idx="7598">
                  <c:v>0.13550918494738701</c:v>
                </c:pt>
                <c:pt idx="7599">
                  <c:v>0.135527019796682</c:v>
                </c:pt>
                <c:pt idx="7600">
                  <c:v>0.13554485464597801</c:v>
                </c:pt>
                <c:pt idx="7601">
                  <c:v>0.135562689495273</c:v>
                </c:pt>
                <c:pt idx="7602">
                  <c:v>0.13558052434456899</c:v>
                </c:pt>
                <c:pt idx="7603">
                  <c:v>0.13559835919386401</c:v>
                </c:pt>
                <c:pt idx="7604">
                  <c:v>0.13561619404316</c:v>
                </c:pt>
                <c:pt idx="7605">
                  <c:v>0.13563402889245499</c:v>
                </c:pt>
                <c:pt idx="7606">
                  <c:v>0.13565186374175101</c:v>
                </c:pt>
                <c:pt idx="7607">
                  <c:v>0.135669698591046</c:v>
                </c:pt>
                <c:pt idx="7608">
                  <c:v>0.13568753344034201</c:v>
                </c:pt>
                <c:pt idx="7609">
                  <c:v>0.135705368289637</c:v>
                </c:pt>
                <c:pt idx="7610">
                  <c:v>0.13572320313893299</c:v>
                </c:pt>
                <c:pt idx="7611">
                  <c:v>0.13574103798822901</c:v>
                </c:pt>
                <c:pt idx="7612">
                  <c:v>0.135758872837524</c:v>
                </c:pt>
                <c:pt idx="7613">
                  <c:v>0.13577670768681999</c:v>
                </c:pt>
                <c:pt idx="7614">
                  <c:v>0.135794542536115</c:v>
                </c:pt>
                <c:pt idx="7615">
                  <c:v>0.13581237738541099</c:v>
                </c:pt>
                <c:pt idx="7616">
                  <c:v>0.13583021223470601</c:v>
                </c:pt>
                <c:pt idx="7617">
                  <c:v>0.135848047084002</c:v>
                </c:pt>
                <c:pt idx="7618">
                  <c:v>0.13586588193329699</c:v>
                </c:pt>
                <c:pt idx="7619">
                  <c:v>0.13588371678259301</c:v>
                </c:pt>
                <c:pt idx="7620">
                  <c:v>0.135901551631888</c:v>
                </c:pt>
                <c:pt idx="7621">
                  <c:v>0.13591938648118401</c:v>
                </c:pt>
                <c:pt idx="7622">
                  <c:v>0.135937221330479</c:v>
                </c:pt>
                <c:pt idx="7623">
                  <c:v>0.13595505617977499</c:v>
                </c:pt>
                <c:pt idx="7624">
                  <c:v>0.13597289102907001</c:v>
                </c:pt>
                <c:pt idx="7625">
                  <c:v>0.135990725878366</c:v>
                </c:pt>
                <c:pt idx="7626">
                  <c:v>0.13600856072766099</c:v>
                </c:pt>
                <c:pt idx="7627">
                  <c:v>0.136026395576957</c:v>
                </c:pt>
                <c:pt idx="7628">
                  <c:v>0.13604423042625199</c:v>
                </c:pt>
                <c:pt idx="7629">
                  <c:v>0.13606206527554801</c:v>
                </c:pt>
                <c:pt idx="7630">
                  <c:v>0.136079900124843</c:v>
                </c:pt>
                <c:pt idx="7631">
                  <c:v>0.13609773497413899</c:v>
                </c:pt>
                <c:pt idx="7632">
                  <c:v>0.13611556982343401</c:v>
                </c:pt>
                <c:pt idx="7633">
                  <c:v>0.13613340467273</c:v>
                </c:pt>
                <c:pt idx="7634">
                  <c:v>0.13615123952202601</c:v>
                </c:pt>
                <c:pt idx="7635">
                  <c:v>0.136169074371321</c:v>
                </c:pt>
                <c:pt idx="7636">
                  <c:v>0.13618690922061699</c:v>
                </c:pt>
                <c:pt idx="7637">
                  <c:v>0.13620474406991201</c:v>
                </c:pt>
                <c:pt idx="7638">
                  <c:v>0.136222578919208</c:v>
                </c:pt>
                <c:pt idx="7639">
                  <c:v>0.13624041376850299</c:v>
                </c:pt>
                <c:pt idx="7640">
                  <c:v>0.136258248617799</c:v>
                </c:pt>
                <c:pt idx="7641">
                  <c:v>0.13627608346709399</c:v>
                </c:pt>
                <c:pt idx="7642">
                  <c:v>0.13629391831639001</c:v>
                </c:pt>
                <c:pt idx="7643">
                  <c:v>0.136311753165685</c:v>
                </c:pt>
                <c:pt idx="7644">
                  <c:v>0.13632958801498099</c:v>
                </c:pt>
                <c:pt idx="7645">
                  <c:v>0.13634742286427601</c:v>
                </c:pt>
                <c:pt idx="7646">
                  <c:v>0.136365257713572</c:v>
                </c:pt>
                <c:pt idx="7647">
                  <c:v>0.13638309256286699</c:v>
                </c:pt>
                <c:pt idx="7648">
                  <c:v>0.136400927412163</c:v>
                </c:pt>
                <c:pt idx="7649">
                  <c:v>0.13641876226145799</c:v>
                </c:pt>
                <c:pt idx="7650">
                  <c:v>0.13643659711075401</c:v>
                </c:pt>
                <c:pt idx="7651">
                  <c:v>0.136454431960049</c:v>
                </c:pt>
                <c:pt idx="7652">
                  <c:v>0.13647226680934499</c:v>
                </c:pt>
                <c:pt idx="7653">
                  <c:v>0.13649010165864001</c:v>
                </c:pt>
                <c:pt idx="7654">
                  <c:v>0.136507936507936</c:v>
                </c:pt>
                <c:pt idx="7655">
                  <c:v>0.13652577135723201</c:v>
                </c:pt>
                <c:pt idx="7656">
                  <c:v>0.136543606206527</c:v>
                </c:pt>
                <c:pt idx="7657">
                  <c:v>0.13656144105582299</c:v>
                </c:pt>
                <c:pt idx="7658">
                  <c:v>0.13657927590511801</c:v>
                </c:pt>
                <c:pt idx="7659">
                  <c:v>0.136597110754414</c:v>
                </c:pt>
                <c:pt idx="7660">
                  <c:v>0.13661494560370899</c:v>
                </c:pt>
                <c:pt idx="7661">
                  <c:v>0.136632780453005</c:v>
                </c:pt>
                <c:pt idx="7662">
                  <c:v>0.13665061530229999</c:v>
                </c:pt>
                <c:pt idx="7663">
                  <c:v>0.13666845015159601</c:v>
                </c:pt>
                <c:pt idx="7664">
                  <c:v>0.136686285000891</c:v>
                </c:pt>
                <c:pt idx="7665">
                  <c:v>0.13670411985018699</c:v>
                </c:pt>
                <c:pt idx="7666">
                  <c:v>0.13672195469948201</c:v>
                </c:pt>
                <c:pt idx="7667">
                  <c:v>0.136739789548778</c:v>
                </c:pt>
                <c:pt idx="7668">
                  <c:v>0.13675762439807301</c:v>
                </c:pt>
                <c:pt idx="7669">
                  <c:v>0.136775459247369</c:v>
                </c:pt>
                <c:pt idx="7670">
                  <c:v>0.13679329409666399</c:v>
                </c:pt>
                <c:pt idx="7671">
                  <c:v>0.13681112894596001</c:v>
                </c:pt>
                <c:pt idx="7672">
                  <c:v>0.136828963795255</c:v>
                </c:pt>
                <c:pt idx="7673">
                  <c:v>0.13684679864455099</c:v>
                </c:pt>
                <c:pt idx="7674">
                  <c:v>0.13686463349384601</c:v>
                </c:pt>
                <c:pt idx="7675">
                  <c:v>0.13688246834314199</c:v>
                </c:pt>
                <c:pt idx="7676">
                  <c:v>0.13690030319243801</c:v>
                </c:pt>
                <c:pt idx="7677">
                  <c:v>0.136918138041733</c:v>
                </c:pt>
                <c:pt idx="7678">
                  <c:v>0.13693597289102899</c:v>
                </c:pt>
                <c:pt idx="7679">
                  <c:v>0.13695380774032401</c:v>
                </c:pt>
                <c:pt idx="7680">
                  <c:v>0.13697164258962</c:v>
                </c:pt>
                <c:pt idx="7681">
                  <c:v>0.13698947743891501</c:v>
                </c:pt>
                <c:pt idx="7682">
                  <c:v>0.137007312288211</c:v>
                </c:pt>
                <c:pt idx="7683">
                  <c:v>0.13702514713750599</c:v>
                </c:pt>
                <c:pt idx="7684">
                  <c:v>0.13704298198680201</c:v>
                </c:pt>
                <c:pt idx="7685">
                  <c:v>0.137060816836097</c:v>
                </c:pt>
                <c:pt idx="7686">
                  <c:v>0.13707865168539299</c:v>
                </c:pt>
                <c:pt idx="7687">
                  <c:v>0.13709648653468801</c:v>
                </c:pt>
                <c:pt idx="7688">
                  <c:v>0.13711432138398399</c:v>
                </c:pt>
                <c:pt idx="7689">
                  <c:v>0.13713215623327901</c:v>
                </c:pt>
                <c:pt idx="7690">
                  <c:v>0.137149991082575</c:v>
                </c:pt>
                <c:pt idx="7691">
                  <c:v>0.13716782593186999</c:v>
                </c:pt>
                <c:pt idx="7692">
                  <c:v>0.13718566078116601</c:v>
                </c:pt>
                <c:pt idx="7693">
                  <c:v>0.137203495630461</c:v>
                </c:pt>
                <c:pt idx="7694">
                  <c:v>0.13722133047975699</c:v>
                </c:pt>
                <c:pt idx="7695">
                  <c:v>0.137239165329052</c:v>
                </c:pt>
                <c:pt idx="7696">
                  <c:v>0.13725700017834799</c:v>
                </c:pt>
                <c:pt idx="7697">
                  <c:v>0.13727483502764401</c:v>
                </c:pt>
                <c:pt idx="7698">
                  <c:v>0.137292669876939</c:v>
                </c:pt>
                <c:pt idx="7699">
                  <c:v>0.13731050472623499</c:v>
                </c:pt>
                <c:pt idx="7700">
                  <c:v>0.13732833957553001</c:v>
                </c:pt>
                <c:pt idx="7701">
                  <c:v>0.137346174424826</c:v>
                </c:pt>
                <c:pt idx="7702">
                  <c:v>0.13736400927412101</c:v>
                </c:pt>
                <c:pt idx="7703">
                  <c:v>0.137381844123417</c:v>
                </c:pt>
                <c:pt idx="7704">
                  <c:v>0.13739967897271199</c:v>
                </c:pt>
                <c:pt idx="7705">
                  <c:v>0.13741751382200801</c:v>
                </c:pt>
                <c:pt idx="7706">
                  <c:v>0.137435348671303</c:v>
                </c:pt>
                <c:pt idx="7707">
                  <c:v>0.13745318352059899</c:v>
                </c:pt>
                <c:pt idx="7708">
                  <c:v>0.137471018369894</c:v>
                </c:pt>
                <c:pt idx="7709">
                  <c:v>0.13748885321918999</c:v>
                </c:pt>
                <c:pt idx="7710">
                  <c:v>0.13750668806848501</c:v>
                </c:pt>
                <c:pt idx="7711">
                  <c:v>0.137524522917781</c:v>
                </c:pt>
                <c:pt idx="7712">
                  <c:v>0.13754235776707599</c:v>
                </c:pt>
                <c:pt idx="7713">
                  <c:v>0.13756019261637201</c:v>
                </c:pt>
                <c:pt idx="7714">
                  <c:v>0.137578027465667</c:v>
                </c:pt>
                <c:pt idx="7715">
                  <c:v>0.13759586231496301</c:v>
                </c:pt>
                <c:pt idx="7716">
                  <c:v>0.137613697164258</c:v>
                </c:pt>
                <c:pt idx="7717">
                  <c:v>0.13763153201355399</c:v>
                </c:pt>
                <c:pt idx="7718">
                  <c:v>0.13764936686285001</c:v>
                </c:pt>
                <c:pt idx="7719">
                  <c:v>0.137667201712145</c:v>
                </c:pt>
                <c:pt idx="7720">
                  <c:v>0.13768503656144099</c:v>
                </c:pt>
                <c:pt idx="7721">
                  <c:v>0.13770287141073601</c:v>
                </c:pt>
                <c:pt idx="7722">
                  <c:v>0.13772070626003199</c:v>
                </c:pt>
                <c:pt idx="7723">
                  <c:v>0.13773854110932701</c:v>
                </c:pt>
                <c:pt idx="7724">
                  <c:v>0.137756375958623</c:v>
                </c:pt>
                <c:pt idx="7725">
                  <c:v>0.13777421080791799</c:v>
                </c:pt>
                <c:pt idx="7726">
                  <c:v>0.13779204565721401</c:v>
                </c:pt>
                <c:pt idx="7727">
                  <c:v>0.137809880506509</c:v>
                </c:pt>
                <c:pt idx="7728">
                  <c:v>0.13782771535580501</c:v>
                </c:pt>
                <c:pt idx="7729">
                  <c:v>0.1378455502051</c:v>
                </c:pt>
                <c:pt idx="7730">
                  <c:v>0.13786338505439599</c:v>
                </c:pt>
                <c:pt idx="7731">
                  <c:v>0.13788121990369101</c:v>
                </c:pt>
                <c:pt idx="7732">
                  <c:v>0.137899054752987</c:v>
                </c:pt>
                <c:pt idx="7733">
                  <c:v>0.13791688960228199</c:v>
                </c:pt>
                <c:pt idx="7734">
                  <c:v>0.13793472445157801</c:v>
                </c:pt>
                <c:pt idx="7735">
                  <c:v>0.137952559300873</c:v>
                </c:pt>
                <c:pt idx="7736">
                  <c:v>0.13797039415016901</c:v>
                </c:pt>
                <c:pt idx="7737">
                  <c:v>0.137988228999464</c:v>
                </c:pt>
                <c:pt idx="7738">
                  <c:v>0.13800606384875999</c:v>
                </c:pt>
                <c:pt idx="7739">
                  <c:v>0.13802389869805601</c:v>
                </c:pt>
                <c:pt idx="7740">
                  <c:v>0.138041733547351</c:v>
                </c:pt>
                <c:pt idx="7741">
                  <c:v>0.13805956839664699</c:v>
                </c:pt>
                <c:pt idx="7742">
                  <c:v>0.138077403245942</c:v>
                </c:pt>
                <c:pt idx="7743">
                  <c:v>0.13809523809523799</c:v>
                </c:pt>
                <c:pt idx="7744">
                  <c:v>0.13811307294453301</c:v>
                </c:pt>
                <c:pt idx="7745">
                  <c:v>0.138130907793829</c:v>
                </c:pt>
                <c:pt idx="7746">
                  <c:v>0.13814874264312399</c:v>
                </c:pt>
                <c:pt idx="7747">
                  <c:v>0.13816657749242001</c:v>
                </c:pt>
                <c:pt idx="7748">
                  <c:v>0.138184412341715</c:v>
                </c:pt>
                <c:pt idx="7749">
                  <c:v>0.13820224719101101</c:v>
                </c:pt>
                <c:pt idx="7750">
                  <c:v>0.138220082040306</c:v>
                </c:pt>
                <c:pt idx="7751">
                  <c:v>0.13823791688960199</c:v>
                </c:pt>
                <c:pt idx="7752">
                  <c:v>0.13825575173889701</c:v>
                </c:pt>
                <c:pt idx="7753">
                  <c:v>0.138273586588193</c:v>
                </c:pt>
                <c:pt idx="7754">
                  <c:v>0.13829142143748799</c:v>
                </c:pt>
                <c:pt idx="7755">
                  <c:v>0.138309256286784</c:v>
                </c:pt>
                <c:pt idx="7756">
                  <c:v>0.13832709113607899</c:v>
                </c:pt>
                <c:pt idx="7757">
                  <c:v>0.13834492598537501</c:v>
                </c:pt>
                <c:pt idx="7758">
                  <c:v>0.13836276083467</c:v>
                </c:pt>
                <c:pt idx="7759">
                  <c:v>0.13838059568396599</c:v>
                </c:pt>
                <c:pt idx="7760">
                  <c:v>0.13839843053326201</c:v>
                </c:pt>
                <c:pt idx="7761">
                  <c:v>0.138416265382557</c:v>
                </c:pt>
                <c:pt idx="7762">
                  <c:v>0.13843410023185301</c:v>
                </c:pt>
                <c:pt idx="7763">
                  <c:v>0.138451935081148</c:v>
                </c:pt>
                <c:pt idx="7764">
                  <c:v>0.13846976993044399</c:v>
                </c:pt>
                <c:pt idx="7765">
                  <c:v>0.13848760477973901</c:v>
                </c:pt>
                <c:pt idx="7766">
                  <c:v>0.138505439629035</c:v>
                </c:pt>
                <c:pt idx="7767">
                  <c:v>0.13852327447832999</c:v>
                </c:pt>
                <c:pt idx="7768">
                  <c:v>0.13854110932762601</c:v>
                </c:pt>
                <c:pt idx="7769">
                  <c:v>0.138558944176921</c:v>
                </c:pt>
                <c:pt idx="7770">
                  <c:v>0.13857677902621701</c:v>
                </c:pt>
                <c:pt idx="7771">
                  <c:v>0.138594613875512</c:v>
                </c:pt>
                <c:pt idx="7772">
                  <c:v>0.13861244872480799</c:v>
                </c:pt>
                <c:pt idx="7773">
                  <c:v>0.13863028357410301</c:v>
                </c:pt>
                <c:pt idx="7774">
                  <c:v>0.138648118423399</c:v>
                </c:pt>
                <c:pt idx="7775">
                  <c:v>0.13866595327269399</c:v>
                </c:pt>
                <c:pt idx="7776">
                  <c:v>0.13868378812199</c:v>
                </c:pt>
                <c:pt idx="7777">
                  <c:v>0.13870162297128499</c:v>
                </c:pt>
                <c:pt idx="7778">
                  <c:v>0.13871945782058101</c:v>
                </c:pt>
                <c:pt idx="7779">
                  <c:v>0.138737292669876</c:v>
                </c:pt>
                <c:pt idx="7780">
                  <c:v>0.13875512751917199</c:v>
                </c:pt>
                <c:pt idx="7781">
                  <c:v>0.13877296236846701</c:v>
                </c:pt>
                <c:pt idx="7782">
                  <c:v>0.138790797217763</c:v>
                </c:pt>
                <c:pt idx="7783">
                  <c:v>0.13880863206705901</c:v>
                </c:pt>
                <c:pt idx="7784">
                  <c:v>0.138826466916354</c:v>
                </c:pt>
                <c:pt idx="7785">
                  <c:v>0.13884430176564999</c:v>
                </c:pt>
                <c:pt idx="7786">
                  <c:v>0.13886213661494501</c:v>
                </c:pt>
                <c:pt idx="7787">
                  <c:v>0.138879971464241</c:v>
                </c:pt>
                <c:pt idx="7788">
                  <c:v>0.13889780631353599</c:v>
                </c:pt>
                <c:pt idx="7789">
                  <c:v>0.138915641162832</c:v>
                </c:pt>
                <c:pt idx="7790">
                  <c:v>0.13893347601212699</c:v>
                </c:pt>
                <c:pt idx="7791">
                  <c:v>0.13895131086142301</c:v>
                </c:pt>
                <c:pt idx="7792">
                  <c:v>0.138969145710718</c:v>
                </c:pt>
                <c:pt idx="7793">
                  <c:v>0.13898698056001399</c:v>
                </c:pt>
                <c:pt idx="7794">
                  <c:v>0.13900481540930901</c:v>
                </c:pt>
                <c:pt idx="7795">
                  <c:v>0.139022650258605</c:v>
                </c:pt>
                <c:pt idx="7796">
                  <c:v>0.13904048510790001</c:v>
                </c:pt>
                <c:pt idx="7797">
                  <c:v>0.139058319957196</c:v>
                </c:pt>
                <c:pt idx="7798">
                  <c:v>0.13907615480649099</c:v>
                </c:pt>
                <c:pt idx="7799">
                  <c:v>0.13909398965578701</c:v>
                </c:pt>
                <c:pt idx="7800">
                  <c:v>0.139111824505082</c:v>
                </c:pt>
                <c:pt idx="7801">
                  <c:v>0.13912965935437799</c:v>
                </c:pt>
                <c:pt idx="7802">
                  <c:v>0.13914749420367301</c:v>
                </c:pt>
                <c:pt idx="7803">
                  <c:v>0.13916532905296899</c:v>
                </c:pt>
                <c:pt idx="7804">
                  <c:v>0.13918316390226501</c:v>
                </c:pt>
                <c:pt idx="7805">
                  <c:v>0.13920099875156</c:v>
                </c:pt>
                <c:pt idx="7806">
                  <c:v>0.13921883360085599</c:v>
                </c:pt>
                <c:pt idx="7807">
                  <c:v>0.13923666845015101</c:v>
                </c:pt>
                <c:pt idx="7808">
                  <c:v>0.139254503299447</c:v>
                </c:pt>
                <c:pt idx="7809">
                  <c:v>0.13927233814874199</c:v>
                </c:pt>
                <c:pt idx="7810">
                  <c:v>0.139290172998038</c:v>
                </c:pt>
                <c:pt idx="7811">
                  <c:v>0.13930800784733299</c:v>
                </c:pt>
                <c:pt idx="7812">
                  <c:v>0.13932584269662901</c:v>
                </c:pt>
                <c:pt idx="7813">
                  <c:v>0.139343677545924</c:v>
                </c:pt>
                <c:pt idx="7814">
                  <c:v>0.13936151239521999</c:v>
                </c:pt>
                <c:pt idx="7815">
                  <c:v>0.13937934724451501</c:v>
                </c:pt>
                <c:pt idx="7816">
                  <c:v>0.139397182093811</c:v>
                </c:pt>
                <c:pt idx="7817">
                  <c:v>0.13941501694310601</c:v>
                </c:pt>
                <c:pt idx="7818">
                  <c:v>0.139432851792402</c:v>
                </c:pt>
                <c:pt idx="7819">
                  <c:v>0.13945068664169699</c:v>
                </c:pt>
                <c:pt idx="7820">
                  <c:v>0.13946852149099301</c:v>
                </c:pt>
                <c:pt idx="7821">
                  <c:v>0.139486356340288</c:v>
                </c:pt>
                <c:pt idx="7822">
                  <c:v>0.13950419118958399</c:v>
                </c:pt>
                <c:pt idx="7823">
                  <c:v>0.139522026038879</c:v>
                </c:pt>
                <c:pt idx="7824">
                  <c:v>0.13953986088817499</c:v>
                </c:pt>
                <c:pt idx="7825">
                  <c:v>0.13955769573747101</c:v>
                </c:pt>
                <c:pt idx="7826">
                  <c:v>0.139575530586766</c:v>
                </c:pt>
                <c:pt idx="7827">
                  <c:v>0.13959336543606199</c:v>
                </c:pt>
                <c:pt idx="7828">
                  <c:v>0.13961120028535701</c:v>
                </c:pt>
                <c:pt idx="7829">
                  <c:v>0.139629035134653</c:v>
                </c:pt>
                <c:pt idx="7830">
                  <c:v>0.13964686998394801</c:v>
                </c:pt>
                <c:pt idx="7831">
                  <c:v>0.139664704833244</c:v>
                </c:pt>
                <c:pt idx="7832">
                  <c:v>0.13968253968253899</c:v>
                </c:pt>
                <c:pt idx="7833">
                  <c:v>0.13970037453183501</c:v>
                </c:pt>
                <c:pt idx="7834">
                  <c:v>0.13971820938113</c:v>
                </c:pt>
                <c:pt idx="7835">
                  <c:v>0.13973604423042599</c:v>
                </c:pt>
                <c:pt idx="7836">
                  <c:v>0.13975387907972101</c:v>
                </c:pt>
                <c:pt idx="7837">
                  <c:v>0.13977171392901699</c:v>
                </c:pt>
                <c:pt idx="7838">
                  <c:v>0.13978954877831201</c:v>
                </c:pt>
                <c:pt idx="7839">
                  <c:v>0.139807383627608</c:v>
                </c:pt>
                <c:pt idx="7840">
                  <c:v>0.13982521847690299</c:v>
                </c:pt>
                <c:pt idx="7841">
                  <c:v>0.13984305332619901</c:v>
                </c:pt>
                <c:pt idx="7842">
                  <c:v>0.139860888175494</c:v>
                </c:pt>
                <c:pt idx="7843">
                  <c:v>0.13987872302479001</c:v>
                </c:pt>
                <c:pt idx="7844">
                  <c:v>0.139896557874085</c:v>
                </c:pt>
                <c:pt idx="7845">
                  <c:v>0.13991439272338099</c:v>
                </c:pt>
                <c:pt idx="7846">
                  <c:v>0.13993222757267701</c:v>
                </c:pt>
                <c:pt idx="7847">
                  <c:v>0.139950062421972</c:v>
                </c:pt>
                <c:pt idx="7848">
                  <c:v>0.13996789727126799</c:v>
                </c:pt>
                <c:pt idx="7849">
                  <c:v>0.13998573212056301</c:v>
                </c:pt>
                <c:pt idx="7850">
                  <c:v>0.14000356696985899</c:v>
                </c:pt>
                <c:pt idx="7851">
                  <c:v>0.14002140181915401</c:v>
                </c:pt>
                <c:pt idx="7852">
                  <c:v>0.14003923666845</c:v>
                </c:pt>
                <c:pt idx="7853">
                  <c:v>0.14005707151774499</c:v>
                </c:pt>
                <c:pt idx="7854">
                  <c:v>0.14007490636704101</c:v>
                </c:pt>
                <c:pt idx="7855">
                  <c:v>0.140092741216336</c:v>
                </c:pt>
                <c:pt idx="7856">
                  <c:v>0.14011057606563199</c:v>
                </c:pt>
                <c:pt idx="7857">
                  <c:v>0.140128410914927</c:v>
                </c:pt>
                <c:pt idx="7858">
                  <c:v>0.14014624576422299</c:v>
                </c:pt>
                <c:pt idx="7859">
                  <c:v>0.14016408061351801</c:v>
                </c:pt>
                <c:pt idx="7860">
                  <c:v>0.140181915462814</c:v>
                </c:pt>
                <c:pt idx="7861">
                  <c:v>0.14019975031210899</c:v>
                </c:pt>
                <c:pt idx="7862">
                  <c:v>0.14021758516140501</c:v>
                </c:pt>
                <c:pt idx="7863">
                  <c:v>0.1402354200107</c:v>
                </c:pt>
                <c:pt idx="7864">
                  <c:v>0.14025325485999601</c:v>
                </c:pt>
                <c:pt idx="7865">
                  <c:v>0.140271089709291</c:v>
                </c:pt>
                <c:pt idx="7866">
                  <c:v>0.14028892455858699</c:v>
                </c:pt>
                <c:pt idx="7867">
                  <c:v>0.14030675940788301</c:v>
                </c:pt>
                <c:pt idx="7868">
                  <c:v>0.140324594257178</c:v>
                </c:pt>
                <c:pt idx="7869">
                  <c:v>0.14034242910647399</c:v>
                </c:pt>
                <c:pt idx="7870">
                  <c:v>0.140360263955769</c:v>
                </c:pt>
                <c:pt idx="7871">
                  <c:v>0.14037809880506499</c:v>
                </c:pt>
                <c:pt idx="7872">
                  <c:v>0.14039593365436001</c:v>
                </c:pt>
                <c:pt idx="7873">
                  <c:v>0.140413768503656</c:v>
                </c:pt>
                <c:pt idx="7874">
                  <c:v>0.14043160335295099</c:v>
                </c:pt>
                <c:pt idx="7875">
                  <c:v>0.14044943820224701</c:v>
                </c:pt>
                <c:pt idx="7876">
                  <c:v>0.140467273051542</c:v>
                </c:pt>
                <c:pt idx="7877">
                  <c:v>0.14048510790083801</c:v>
                </c:pt>
                <c:pt idx="7878">
                  <c:v>0.140502942750133</c:v>
                </c:pt>
                <c:pt idx="7879">
                  <c:v>0.14052077759942899</c:v>
                </c:pt>
                <c:pt idx="7880">
                  <c:v>0.14053861244872401</c:v>
                </c:pt>
                <c:pt idx="7881">
                  <c:v>0.14055644729802</c:v>
                </c:pt>
                <c:pt idx="7882">
                  <c:v>0.14057428214731499</c:v>
                </c:pt>
                <c:pt idx="7883">
                  <c:v>0.14059211699661101</c:v>
                </c:pt>
                <c:pt idx="7884">
                  <c:v>0.14060995184590599</c:v>
                </c:pt>
                <c:pt idx="7885">
                  <c:v>0.14062778669520201</c:v>
                </c:pt>
                <c:pt idx="7886">
                  <c:v>0.140645621544497</c:v>
                </c:pt>
                <c:pt idx="7887">
                  <c:v>0.14066345639379299</c:v>
                </c:pt>
                <c:pt idx="7888">
                  <c:v>0.14068129124308901</c:v>
                </c:pt>
                <c:pt idx="7889">
                  <c:v>0.140699126092384</c:v>
                </c:pt>
                <c:pt idx="7890">
                  <c:v>0.14071696094168001</c:v>
                </c:pt>
                <c:pt idx="7891">
                  <c:v>0.140734795790975</c:v>
                </c:pt>
                <c:pt idx="7892">
                  <c:v>0.14075263064027099</c:v>
                </c:pt>
                <c:pt idx="7893">
                  <c:v>0.14077046548956601</c:v>
                </c:pt>
                <c:pt idx="7894">
                  <c:v>0.140788300338862</c:v>
                </c:pt>
                <c:pt idx="7895">
                  <c:v>0.14080613518815699</c:v>
                </c:pt>
                <c:pt idx="7896">
                  <c:v>0.14082397003745301</c:v>
                </c:pt>
                <c:pt idx="7897">
                  <c:v>0.140841804886748</c:v>
                </c:pt>
                <c:pt idx="7898">
                  <c:v>0.14085963973604401</c:v>
                </c:pt>
                <c:pt idx="7899">
                  <c:v>0.140877474585339</c:v>
                </c:pt>
                <c:pt idx="7900">
                  <c:v>0.14089530943463499</c:v>
                </c:pt>
                <c:pt idx="7901">
                  <c:v>0.14091314428393001</c:v>
                </c:pt>
                <c:pt idx="7902">
                  <c:v>0.140930979133226</c:v>
                </c:pt>
                <c:pt idx="7903">
                  <c:v>0.14094881398252099</c:v>
                </c:pt>
                <c:pt idx="7904">
                  <c:v>0.140966648831817</c:v>
                </c:pt>
                <c:pt idx="7905">
                  <c:v>0.14098448368111199</c:v>
                </c:pt>
                <c:pt idx="7906">
                  <c:v>0.14100231853040801</c:v>
                </c:pt>
                <c:pt idx="7907">
                  <c:v>0.141020153379703</c:v>
                </c:pt>
                <c:pt idx="7908">
                  <c:v>0.14103798822899899</c:v>
                </c:pt>
                <c:pt idx="7909">
                  <c:v>0.14105582307829401</c:v>
                </c:pt>
                <c:pt idx="7910">
                  <c:v>0.14107365792759</c:v>
                </c:pt>
                <c:pt idx="7911">
                  <c:v>0.14109149277688601</c:v>
                </c:pt>
                <c:pt idx="7912">
                  <c:v>0.141109327626181</c:v>
                </c:pt>
                <c:pt idx="7913">
                  <c:v>0.14112716247547699</c:v>
                </c:pt>
                <c:pt idx="7914">
                  <c:v>0.14114499732477201</c:v>
                </c:pt>
                <c:pt idx="7915">
                  <c:v>0.141162832174068</c:v>
                </c:pt>
                <c:pt idx="7916">
                  <c:v>0.14118066702336299</c:v>
                </c:pt>
                <c:pt idx="7917">
                  <c:v>0.141198501872659</c:v>
                </c:pt>
                <c:pt idx="7918">
                  <c:v>0.14121633672195399</c:v>
                </c:pt>
                <c:pt idx="7919">
                  <c:v>0.14123417157125001</c:v>
                </c:pt>
                <c:pt idx="7920">
                  <c:v>0.141252006420545</c:v>
                </c:pt>
                <c:pt idx="7921">
                  <c:v>0.14126984126984099</c:v>
                </c:pt>
                <c:pt idx="7922">
                  <c:v>0.14128767611913601</c:v>
                </c:pt>
                <c:pt idx="7923">
                  <c:v>0.141305510968432</c:v>
                </c:pt>
                <c:pt idx="7924">
                  <c:v>0.14132334581772699</c:v>
                </c:pt>
                <c:pt idx="7925">
                  <c:v>0.141341180667023</c:v>
                </c:pt>
                <c:pt idx="7926">
                  <c:v>0.14135901551631799</c:v>
                </c:pt>
                <c:pt idx="7927">
                  <c:v>0.14137685036561401</c:v>
                </c:pt>
                <c:pt idx="7928">
                  <c:v>0.141394685214909</c:v>
                </c:pt>
                <c:pt idx="7929">
                  <c:v>0.14141252006420499</c:v>
                </c:pt>
                <c:pt idx="7930">
                  <c:v>0.14143035491350001</c:v>
                </c:pt>
                <c:pt idx="7931">
                  <c:v>0.14144818976279599</c:v>
                </c:pt>
                <c:pt idx="7932">
                  <c:v>0.14146602461209201</c:v>
                </c:pt>
                <c:pt idx="7933">
                  <c:v>0.141483859461387</c:v>
                </c:pt>
                <c:pt idx="7934">
                  <c:v>0.14150169431068299</c:v>
                </c:pt>
                <c:pt idx="7935">
                  <c:v>0.14151952915997801</c:v>
                </c:pt>
                <c:pt idx="7936">
                  <c:v>0.141537364009274</c:v>
                </c:pt>
                <c:pt idx="7937">
                  <c:v>0.14155519885856899</c:v>
                </c:pt>
                <c:pt idx="7938">
                  <c:v>0.141573033707865</c:v>
                </c:pt>
                <c:pt idx="7939">
                  <c:v>0.14159086855715999</c:v>
                </c:pt>
                <c:pt idx="7940">
                  <c:v>0.14160870340645601</c:v>
                </c:pt>
                <c:pt idx="7941">
                  <c:v>0.141626538255751</c:v>
                </c:pt>
                <c:pt idx="7942">
                  <c:v>0.14164437310504699</c:v>
                </c:pt>
                <c:pt idx="7943">
                  <c:v>0.14166220795434201</c:v>
                </c:pt>
                <c:pt idx="7944">
                  <c:v>0.141680042803638</c:v>
                </c:pt>
                <c:pt idx="7945">
                  <c:v>0.14169787765293301</c:v>
                </c:pt>
                <c:pt idx="7946">
                  <c:v>0.141715712502229</c:v>
                </c:pt>
                <c:pt idx="7947">
                  <c:v>0.14173354735152399</c:v>
                </c:pt>
                <c:pt idx="7948">
                  <c:v>0.14175138220082001</c:v>
                </c:pt>
                <c:pt idx="7949">
                  <c:v>0.141769217050115</c:v>
                </c:pt>
                <c:pt idx="7950">
                  <c:v>0.14178705189941099</c:v>
                </c:pt>
                <c:pt idx="7951">
                  <c:v>0.141804886748706</c:v>
                </c:pt>
                <c:pt idx="7952">
                  <c:v>0.14182272159800199</c:v>
                </c:pt>
                <c:pt idx="7953">
                  <c:v>0.14184055644729801</c:v>
                </c:pt>
                <c:pt idx="7954">
                  <c:v>0.141858391296593</c:v>
                </c:pt>
                <c:pt idx="7955">
                  <c:v>0.14187622614588899</c:v>
                </c:pt>
                <c:pt idx="7956">
                  <c:v>0.14189406099518401</c:v>
                </c:pt>
                <c:pt idx="7957">
                  <c:v>0.14191189584448</c:v>
                </c:pt>
                <c:pt idx="7958">
                  <c:v>0.14192973069377501</c:v>
                </c:pt>
                <c:pt idx="7959">
                  <c:v>0.141947565543071</c:v>
                </c:pt>
                <c:pt idx="7960">
                  <c:v>0.14196540039236599</c:v>
                </c:pt>
                <c:pt idx="7961">
                  <c:v>0.14198323524166201</c:v>
                </c:pt>
                <c:pt idx="7962">
                  <c:v>0.142001070090957</c:v>
                </c:pt>
                <c:pt idx="7963">
                  <c:v>0.14201890494025299</c:v>
                </c:pt>
                <c:pt idx="7964">
                  <c:v>0.14203673978954801</c:v>
                </c:pt>
                <c:pt idx="7965">
                  <c:v>0.14205457463884399</c:v>
                </c:pt>
                <c:pt idx="7966">
                  <c:v>0.14207240948813901</c:v>
                </c:pt>
                <c:pt idx="7967">
                  <c:v>0.142090244337435</c:v>
                </c:pt>
                <c:pt idx="7968">
                  <c:v>0.14210807918672999</c:v>
                </c:pt>
                <c:pt idx="7969">
                  <c:v>0.14212591403602601</c:v>
                </c:pt>
                <c:pt idx="7970">
                  <c:v>0.142143748885321</c:v>
                </c:pt>
                <c:pt idx="7971">
                  <c:v>0.14216158373461699</c:v>
                </c:pt>
                <c:pt idx="7972">
                  <c:v>0.142179418583912</c:v>
                </c:pt>
                <c:pt idx="7973">
                  <c:v>0.14219725343320799</c:v>
                </c:pt>
                <c:pt idx="7974">
                  <c:v>0.14221508828250401</c:v>
                </c:pt>
                <c:pt idx="7975">
                  <c:v>0.142232923131799</c:v>
                </c:pt>
                <c:pt idx="7976">
                  <c:v>0.14225075798109499</c:v>
                </c:pt>
                <c:pt idx="7977">
                  <c:v>0.14226859283039001</c:v>
                </c:pt>
                <c:pt idx="7978">
                  <c:v>0.142286427679686</c:v>
                </c:pt>
                <c:pt idx="7979">
                  <c:v>0.14230426252898101</c:v>
                </c:pt>
                <c:pt idx="7980">
                  <c:v>0.142322097378277</c:v>
                </c:pt>
                <c:pt idx="7981">
                  <c:v>0.14233993222757199</c:v>
                </c:pt>
                <c:pt idx="7982">
                  <c:v>0.14235776707686801</c:v>
                </c:pt>
                <c:pt idx="7983">
                  <c:v>0.142375601926163</c:v>
                </c:pt>
                <c:pt idx="7984">
                  <c:v>0.14239343677545899</c:v>
                </c:pt>
                <c:pt idx="7985">
                  <c:v>0.142411271624754</c:v>
                </c:pt>
                <c:pt idx="7986">
                  <c:v>0.14242910647404999</c:v>
                </c:pt>
                <c:pt idx="7987">
                  <c:v>0.14244694132334501</c:v>
                </c:pt>
                <c:pt idx="7988">
                  <c:v>0.142464776172641</c:v>
                </c:pt>
                <c:pt idx="7989">
                  <c:v>0.14248261102193599</c:v>
                </c:pt>
                <c:pt idx="7990">
                  <c:v>0.14250044587123201</c:v>
                </c:pt>
                <c:pt idx="7991">
                  <c:v>0.142518280720527</c:v>
                </c:pt>
                <c:pt idx="7992">
                  <c:v>0.14253611556982301</c:v>
                </c:pt>
                <c:pt idx="7993">
                  <c:v>0.142553950419118</c:v>
                </c:pt>
                <c:pt idx="7994">
                  <c:v>0.14257178526841399</c:v>
                </c:pt>
                <c:pt idx="7995">
                  <c:v>0.14258962011771001</c:v>
                </c:pt>
                <c:pt idx="7996">
                  <c:v>0.142607454967005</c:v>
                </c:pt>
                <c:pt idx="7997">
                  <c:v>0.14262528981630099</c:v>
                </c:pt>
                <c:pt idx="7998">
                  <c:v>0.14264312466559601</c:v>
                </c:pt>
                <c:pt idx="7999">
                  <c:v>0.14266095951489199</c:v>
                </c:pt>
                <c:pt idx="8000">
                  <c:v>0.14267879436418701</c:v>
                </c:pt>
                <c:pt idx="8001">
                  <c:v>0.142696629213483</c:v>
                </c:pt>
                <c:pt idx="8002">
                  <c:v>0.14271446406277799</c:v>
                </c:pt>
                <c:pt idx="8003">
                  <c:v>0.14273229891207401</c:v>
                </c:pt>
                <c:pt idx="8004">
                  <c:v>0.142750133761369</c:v>
                </c:pt>
                <c:pt idx="8005">
                  <c:v>0.14276796861066501</c:v>
                </c:pt>
                <c:pt idx="8006">
                  <c:v>0.14278580345996</c:v>
                </c:pt>
                <c:pt idx="8007">
                  <c:v>0.14280363830925599</c:v>
                </c:pt>
                <c:pt idx="8008">
                  <c:v>0.14282147315855101</c:v>
                </c:pt>
                <c:pt idx="8009">
                  <c:v>0.142839308007847</c:v>
                </c:pt>
                <c:pt idx="8010">
                  <c:v>0.14285714285714199</c:v>
                </c:pt>
                <c:pt idx="8011">
                  <c:v>0.14287497770643801</c:v>
                </c:pt>
                <c:pt idx="8012">
                  <c:v>0.142892812555733</c:v>
                </c:pt>
                <c:pt idx="8013">
                  <c:v>0.14291064740502901</c:v>
                </c:pt>
                <c:pt idx="8014">
                  <c:v>0.142928482254324</c:v>
                </c:pt>
                <c:pt idx="8015">
                  <c:v>0.14294631710361999</c:v>
                </c:pt>
                <c:pt idx="8016">
                  <c:v>0.14296415195291601</c:v>
                </c:pt>
                <c:pt idx="8017">
                  <c:v>0.142981986802211</c:v>
                </c:pt>
                <c:pt idx="8018">
                  <c:v>0.14299982165150699</c:v>
                </c:pt>
                <c:pt idx="8019">
                  <c:v>0.143017656500802</c:v>
                </c:pt>
                <c:pt idx="8020">
                  <c:v>0.14303549135009799</c:v>
                </c:pt>
                <c:pt idx="8021">
                  <c:v>0.14305332619939301</c:v>
                </c:pt>
                <c:pt idx="8022">
                  <c:v>0.143071161048689</c:v>
                </c:pt>
                <c:pt idx="8023">
                  <c:v>0.14308899589798399</c:v>
                </c:pt>
                <c:pt idx="8024">
                  <c:v>0.14310683074728001</c:v>
                </c:pt>
                <c:pt idx="8025">
                  <c:v>0.143124665596575</c:v>
                </c:pt>
                <c:pt idx="8026">
                  <c:v>0.14314250044587101</c:v>
                </c:pt>
                <c:pt idx="8027">
                  <c:v>0.143160335295166</c:v>
                </c:pt>
                <c:pt idx="8028">
                  <c:v>0.14317817014446199</c:v>
                </c:pt>
                <c:pt idx="8029">
                  <c:v>0.14319600499375701</c:v>
                </c:pt>
                <c:pt idx="8030">
                  <c:v>0.143213839843053</c:v>
                </c:pt>
                <c:pt idx="8031">
                  <c:v>0.14323167469234799</c:v>
                </c:pt>
                <c:pt idx="8032">
                  <c:v>0.143249509541644</c:v>
                </c:pt>
                <c:pt idx="8033">
                  <c:v>0.14326734439093899</c:v>
                </c:pt>
                <c:pt idx="8034">
                  <c:v>0.14328517924023501</c:v>
                </c:pt>
                <c:pt idx="8035">
                  <c:v>0.14330301408953</c:v>
                </c:pt>
                <c:pt idx="8036">
                  <c:v>0.14332084893882599</c:v>
                </c:pt>
                <c:pt idx="8037">
                  <c:v>0.14333868378812101</c:v>
                </c:pt>
                <c:pt idx="8038">
                  <c:v>0.143356518637417</c:v>
                </c:pt>
                <c:pt idx="8039">
                  <c:v>0.14337435348671301</c:v>
                </c:pt>
                <c:pt idx="8040">
                  <c:v>0.143392188336008</c:v>
                </c:pt>
                <c:pt idx="8041">
                  <c:v>0.14341002318530399</c:v>
                </c:pt>
                <c:pt idx="8042">
                  <c:v>0.14342785803459901</c:v>
                </c:pt>
                <c:pt idx="8043">
                  <c:v>0.143445692883895</c:v>
                </c:pt>
                <c:pt idx="8044">
                  <c:v>0.14346352773318999</c:v>
                </c:pt>
                <c:pt idx="8045">
                  <c:v>0.14348136258248601</c:v>
                </c:pt>
                <c:pt idx="8046">
                  <c:v>0.14349919743178099</c:v>
                </c:pt>
                <c:pt idx="8047">
                  <c:v>0.14351703228107701</c:v>
                </c:pt>
                <c:pt idx="8048">
                  <c:v>0.143534867130372</c:v>
                </c:pt>
                <c:pt idx="8049">
                  <c:v>0.14355270197966799</c:v>
                </c:pt>
                <c:pt idx="8050">
                  <c:v>0.14357053682896301</c:v>
                </c:pt>
                <c:pt idx="8051">
                  <c:v>0.143588371678259</c:v>
                </c:pt>
                <c:pt idx="8052">
                  <c:v>0.14360620652755399</c:v>
                </c:pt>
                <c:pt idx="8053">
                  <c:v>0.14362404137685</c:v>
                </c:pt>
                <c:pt idx="8054">
                  <c:v>0.14364187622614499</c:v>
                </c:pt>
                <c:pt idx="8055">
                  <c:v>0.14365971107544101</c:v>
                </c:pt>
                <c:pt idx="8056">
                  <c:v>0.143677545924736</c:v>
                </c:pt>
                <c:pt idx="8057">
                  <c:v>0.14369538077403199</c:v>
                </c:pt>
                <c:pt idx="8058">
                  <c:v>0.14371321562332701</c:v>
                </c:pt>
                <c:pt idx="8059">
                  <c:v>0.143731050472623</c:v>
                </c:pt>
                <c:pt idx="8060">
                  <c:v>0.14374888532191901</c:v>
                </c:pt>
                <c:pt idx="8061">
                  <c:v>0.143766720171214</c:v>
                </c:pt>
                <c:pt idx="8062">
                  <c:v>0.14378455502050999</c:v>
                </c:pt>
                <c:pt idx="8063">
                  <c:v>0.14380238986980501</c:v>
                </c:pt>
                <c:pt idx="8064">
                  <c:v>0.143820224719101</c:v>
                </c:pt>
                <c:pt idx="8065">
                  <c:v>0.14383805956839599</c:v>
                </c:pt>
                <c:pt idx="8066">
                  <c:v>0.143855894417692</c:v>
                </c:pt>
                <c:pt idx="8067">
                  <c:v>0.14387372926698699</c:v>
                </c:pt>
                <c:pt idx="8068">
                  <c:v>0.14389156411628301</c:v>
                </c:pt>
                <c:pt idx="8069">
                  <c:v>0.143909398965578</c:v>
                </c:pt>
                <c:pt idx="8070">
                  <c:v>0.14392723381487399</c:v>
                </c:pt>
                <c:pt idx="8071">
                  <c:v>0.14394506866416901</c:v>
                </c:pt>
                <c:pt idx="8072">
                  <c:v>0.143962903513465</c:v>
                </c:pt>
                <c:pt idx="8073">
                  <c:v>0.14398073836276001</c:v>
                </c:pt>
                <c:pt idx="8074">
                  <c:v>0.143998573212056</c:v>
                </c:pt>
                <c:pt idx="8075">
                  <c:v>0.14401640806135099</c:v>
                </c:pt>
                <c:pt idx="8076">
                  <c:v>0.14403424291064701</c:v>
                </c:pt>
                <c:pt idx="8077">
                  <c:v>0.144052077759942</c:v>
                </c:pt>
                <c:pt idx="8078">
                  <c:v>0.14406991260923799</c:v>
                </c:pt>
                <c:pt idx="8079">
                  <c:v>0.14408774745853301</c:v>
                </c:pt>
                <c:pt idx="8080">
                  <c:v>0.14410558230782899</c:v>
                </c:pt>
                <c:pt idx="8081">
                  <c:v>0.14412341715712501</c:v>
                </c:pt>
                <c:pt idx="8082">
                  <c:v>0.14414125200642</c:v>
                </c:pt>
                <c:pt idx="8083">
                  <c:v>0.14415908685571599</c:v>
                </c:pt>
                <c:pt idx="8084">
                  <c:v>0.14417692170501101</c:v>
                </c:pt>
                <c:pt idx="8085">
                  <c:v>0.144194756554307</c:v>
                </c:pt>
                <c:pt idx="8086">
                  <c:v>0.14421259140360199</c:v>
                </c:pt>
                <c:pt idx="8087">
                  <c:v>0.144230426252898</c:v>
                </c:pt>
                <c:pt idx="8088">
                  <c:v>0.14424826110219299</c:v>
                </c:pt>
                <c:pt idx="8089">
                  <c:v>0.14426609595148901</c:v>
                </c:pt>
                <c:pt idx="8090">
                  <c:v>0.144283930800784</c:v>
                </c:pt>
                <c:pt idx="8091">
                  <c:v>0.14430176565007999</c:v>
                </c:pt>
                <c:pt idx="8092">
                  <c:v>0.14431960049937501</c:v>
                </c:pt>
                <c:pt idx="8093">
                  <c:v>0.14433743534867099</c:v>
                </c:pt>
                <c:pt idx="8094">
                  <c:v>0.14435527019796601</c:v>
                </c:pt>
                <c:pt idx="8095">
                  <c:v>0.144373105047262</c:v>
                </c:pt>
                <c:pt idx="8096">
                  <c:v>0.14439093989655699</c:v>
                </c:pt>
                <c:pt idx="8097">
                  <c:v>0.14440877474585301</c:v>
                </c:pt>
                <c:pt idx="8098">
                  <c:v>0.144426609595148</c:v>
                </c:pt>
                <c:pt idx="8099">
                  <c:v>0.14444444444444399</c:v>
                </c:pt>
                <c:pt idx="8100">
                  <c:v>0.144462279293739</c:v>
                </c:pt>
                <c:pt idx="8101">
                  <c:v>0.14448011414303499</c:v>
                </c:pt>
                <c:pt idx="8102">
                  <c:v>0.14449794899233101</c:v>
                </c:pt>
                <c:pt idx="8103">
                  <c:v>0.144515783841626</c:v>
                </c:pt>
                <c:pt idx="8104">
                  <c:v>0.14453361869092199</c:v>
                </c:pt>
                <c:pt idx="8105">
                  <c:v>0.14455145354021701</c:v>
                </c:pt>
                <c:pt idx="8106">
                  <c:v>0.144569288389513</c:v>
                </c:pt>
                <c:pt idx="8107">
                  <c:v>0.14458712323880801</c:v>
                </c:pt>
                <c:pt idx="8108">
                  <c:v>0.144604958088104</c:v>
                </c:pt>
                <c:pt idx="8109">
                  <c:v>0.14462279293739899</c:v>
                </c:pt>
                <c:pt idx="8110">
                  <c:v>0.14464062778669501</c:v>
                </c:pt>
                <c:pt idx="8111">
                  <c:v>0.14465846263599</c:v>
                </c:pt>
                <c:pt idx="8112">
                  <c:v>0.14467629748528599</c:v>
                </c:pt>
                <c:pt idx="8113">
                  <c:v>0.144694132334581</c:v>
                </c:pt>
                <c:pt idx="8114">
                  <c:v>0.14471196718387699</c:v>
                </c:pt>
                <c:pt idx="8115">
                  <c:v>0.14472980203317201</c:v>
                </c:pt>
                <c:pt idx="8116">
                  <c:v>0.144747636882468</c:v>
                </c:pt>
                <c:pt idx="8117">
                  <c:v>0.14476547173176299</c:v>
                </c:pt>
                <c:pt idx="8118">
                  <c:v>0.14478330658105901</c:v>
                </c:pt>
                <c:pt idx="8119">
                  <c:v>0.144801141430354</c:v>
                </c:pt>
                <c:pt idx="8120">
                  <c:v>0.14481897627965001</c:v>
                </c:pt>
                <c:pt idx="8121">
                  <c:v>0.144836811128945</c:v>
                </c:pt>
                <c:pt idx="8122">
                  <c:v>0.14485464597824099</c:v>
                </c:pt>
                <c:pt idx="8123">
                  <c:v>0.14487248082753701</c:v>
                </c:pt>
                <c:pt idx="8124">
                  <c:v>0.144890315676832</c:v>
                </c:pt>
                <c:pt idx="8125">
                  <c:v>0.14490815052612799</c:v>
                </c:pt>
                <c:pt idx="8126">
                  <c:v>0.14492598537542301</c:v>
                </c:pt>
                <c:pt idx="8127">
                  <c:v>0.14494382022471899</c:v>
                </c:pt>
                <c:pt idx="8128">
                  <c:v>0.14496165507401401</c:v>
                </c:pt>
                <c:pt idx="8129">
                  <c:v>0.14497948992331</c:v>
                </c:pt>
                <c:pt idx="8130">
                  <c:v>0.14499732477260499</c:v>
                </c:pt>
                <c:pt idx="8131">
                  <c:v>0.14501515962190101</c:v>
                </c:pt>
                <c:pt idx="8132">
                  <c:v>0.145032994471196</c:v>
                </c:pt>
                <c:pt idx="8133">
                  <c:v>0.14505082932049199</c:v>
                </c:pt>
                <c:pt idx="8134">
                  <c:v>0.145068664169787</c:v>
                </c:pt>
                <c:pt idx="8135">
                  <c:v>0.14508649901908299</c:v>
                </c:pt>
                <c:pt idx="8136">
                  <c:v>0.14510433386837801</c:v>
                </c:pt>
                <c:pt idx="8137">
                  <c:v>0.145122168717674</c:v>
                </c:pt>
                <c:pt idx="8138">
                  <c:v>0.14514000356696899</c:v>
                </c:pt>
                <c:pt idx="8139">
                  <c:v>0.14515783841626501</c:v>
                </c:pt>
                <c:pt idx="8140">
                  <c:v>0.14517567326556</c:v>
                </c:pt>
                <c:pt idx="8141">
                  <c:v>0.14519350811485601</c:v>
                </c:pt>
                <c:pt idx="8142">
                  <c:v>0.145211342964151</c:v>
                </c:pt>
                <c:pt idx="8143">
                  <c:v>0.14522917781344699</c:v>
                </c:pt>
                <c:pt idx="8144">
                  <c:v>0.14524701266274301</c:v>
                </c:pt>
                <c:pt idx="8145">
                  <c:v>0.145264847512038</c:v>
                </c:pt>
                <c:pt idx="8146">
                  <c:v>0.14528268236133399</c:v>
                </c:pt>
                <c:pt idx="8147">
                  <c:v>0.145300517210629</c:v>
                </c:pt>
                <c:pt idx="8148">
                  <c:v>0.14531835205992499</c:v>
                </c:pt>
                <c:pt idx="8149">
                  <c:v>0.14533618690922001</c:v>
                </c:pt>
                <c:pt idx="8150">
                  <c:v>0.145354021758516</c:v>
                </c:pt>
                <c:pt idx="8151">
                  <c:v>0.14537185660781099</c:v>
                </c:pt>
                <c:pt idx="8152">
                  <c:v>0.14538969145710701</c:v>
                </c:pt>
                <c:pt idx="8153">
                  <c:v>0.145407526306402</c:v>
                </c:pt>
                <c:pt idx="8154">
                  <c:v>0.14542536115569801</c:v>
                </c:pt>
                <c:pt idx="8155">
                  <c:v>0.145443196004993</c:v>
                </c:pt>
                <c:pt idx="8156">
                  <c:v>0.14546103085428899</c:v>
                </c:pt>
                <c:pt idx="8157">
                  <c:v>0.14547886570358401</c:v>
                </c:pt>
                <c:pt idx="8158">
                  <c:v>0.14549670055288</c:v>
                </c:pt>
                <c:pt idx="8159">
                  <c:v>0.14551453540217499</c:v>
                </c:pt>
                <c:pt idx="8160">
                  <c:v>0.145532370251471</c:v>
                </c:pt>
                <c:pt idx="8161">
                  <c:v>0.14555020510076599</c:v>
                </c:pt>
                <c:pt idx="8162">
                  <c:v>0.14556803995006201</c:v>
                </c:pt>
                <c:pt idx="8163">
                  <c:v>0.145585874799357</c:v>
                </c:pt>
                <c:pt idx="8164">
                  <c:v>0.14560370964865299</c:v>
                </c:pt>
                <c:pt idx="8165">
                  <c:v>0.14562154449794801</c:v>
                </c:pt>
                <c:pt idx="8166">
                  <c:v>0.145639379347244</c:v>
                </c:pt>
                <c:pt idx="8167">
                  <c:v>0.14565721419654001</c:v>
                </c:pt>
                <c:pt idx="8168">
                  <c:v>0.145675049045835</c:v>
                </c:pt>
                <c:pt idx="8169">
                  <c:v>0.14569288389513099</c:v>
                </c:pt>
                <c:pt idx="8170">
                  <c:v>0.14571071874442601</c:v>
                </c:pt>
                <c:pt idx="8171">
                  <c:v>0.145728553593722</c:v>
                </c:pt>
                <c:pt idx="8172">
                  <c:v>0.14574638844301699</c:v>
                </c:pt>
                <c:pt idx="8173">
                  <c:v>0.14576422329231301</c:v>
                </c:pt>
                <c:pt idx="8174">
                  <c:v>0.145782058141608</c:v>
                </c:pt>
                <c:pt idx="8175">
                  <c:v>0.14579989299090401</c:v>
                </c:pt>
                <c:pt idx="8176">
                  <c:v>0.145817727840199</c:v>
                </c:pt>
                <c:pt idx="8177">
                  <c:v>0.14583556268949499</c:v>
                </c:pt>
                <c:pt idx="8178">
                  <c:v>0.14585339753879001</c:v>
                </c:pt>
                <c:pt idx="8179">
                  <c:v>0.145871232388086</c:v>
                </c:pt>
                <c:pt idx="8180">
                  <c:v>0.14588906723738099</c:v>
                </c:pt>
                <c:pt idx="8181">
                  <c:v>0.145906902086677</c:v>
                </c:pt>
                <c:pt idx="8182">
                  <c:v>0.14592473693597199</c:v>
                </c:pt>
                <c:pt idx="8183">
                  <c:v>0.14594257178526801</c:v>
                </c:pt>
                <c:pt idx="8184">
                  <c:v>0.145960406634563</c:v>
                </c:pt>
                <c:pt idx="8185">
                  <c:v>0.14597824148385899</c:v>
                </c:pt>
                <c:pt idx="8186">
                  <c:v>0.14599607633315401</c:v>
                </c:pt>
                <c:pt idx="8187">
                  <c:v>0.14601391118245</c:v>
                </c:pt>
                <c:pt idx="8188">
                  <c:v>0.14603174603174601</c:v>
                </c:pt>
                <c:pt idx="8189">
                  <c:v>0.146049580881041</c:v>
                </c:pt>
                <c:pt idx="8190">
                  <c:v>0.14606741573033699</c:v>
                </c:pt>
                <c:pt idx="8191">
                  <c:v>0.14608525057963201</c:v>
                </c:pt>
                <c:pt idx="8192">
                  <c:v>0.146103085428928</c:v>
                </c:pt>
                <c:pt idx="8193">
                  <c:v>0.14612092027822299</c:v>
                </c:pt>
                <c:pt idx="8194">
                  <c:v>0.146138755127519</c:v>
                </c:pt>
                <c:pt idx="8195">
                  <c:v>0.14615658997681399</c:v>
                </c:pt>
                <c:pt idx="8196">
                  <c:v>0.14617442482611001</c:v>
                </c:pt>
                <c:pt idx="8197">
                  <c:v>0.146192259675405</c:v>
                </c:pt>
                <c:pt idx="8198">
                  <c:v>0.14621009452470099</c:v>
                </c:pt>
                <c:pt idx="8199">
                  <c:v>0.14622792937399601</c:v>
                </c:pt>
                <c:pt idx="8200">
                  <c:v>0.146245764223292</c:v>
                </c:pt>
                <c:pt idx="8201">
                  <c:v>0.14626359907258701</c:v>
                </c:pt>
                <c:pt idx="8202">
                  <c:v>0.146281433921883</c:v>
                </c:pt>
                <c:pt idx="8203">
                  <c:v>0.14629926877117799</c:v>
                </c:pt>
                <c:pt idx="8204">
                  <c:v>0.14631710362047401</c:v>
                </c:pt>
                <c:pt idx="8205">
                  <c:v>0.146334938469769</c:v>
                </c:pt>
                <c:pt idx="8206">
                  <c:v>0.14635277331906499</c:v>
                </c:pt>
                <c:pt idx="8207">
                  <c:v>0.14637060816836001</c:v>
                </c:pt>
                <c:pt idx="8208">
                  <c:v>0.14638844301765599</c:v>
                </c:pt>
                <c:pt idx="8209">
                  <c:v>0.14640627786695201</c:v>
                </c:pt>
                <c:pt idx="8210">
                  <c:v>0.146424112716247</c:v>
                </c:pt>
                <c:pt idx="8211">
                  <c:v>0.14644194756554299</c:v>
                </c:pt>
                <c:pt idx="8212">
                  <c:v>0.14645978241483801</c:v>
                </c:pt>
                <c:pt idx="8213">
                  <c:v>0.146477617264134</c:v>
                </c:pt>
                <c:pt idx="8214">
                  <c:v>0.14649545211342899</c:v>
                </c:pt>
                <c:pt idx="8215">
                  <c:v>0.146513286962725</c:v>
                </c:pt>
                <c:pt idx="8216">
                  <c:v>0.14653112181201999</c:v>
                </c:pt>
                <c:pt idx="8217">
                  <c:v>0.14654895666131601</c:v>
                </c:pt>
                <c:pt idx="8218">
                  <c:v>0.146566791510611</c:v>
                </c:pt>
                <c:pt idx="8219">
                  <c:v>0.14658462635990699</c:v>
                </c:pt>
                <c:pt idx="8220">
                  <c:v>0.14660246120920201</c:v>
                </c:pt>
                <c:pt idx="8221">
                  <c:v>0.146620296058498</c:v>
                </c:pt>
                <c:pt idx="8222">
                  <c:v>0.14663813090779301</c:v>
                </c:pt>
                <c:pt idx="8223">
                  <c:v>0.146655965757089</c:v>
                </c:pt>
                <c:pt idx="8224">
                  <c:v>0.14667380060638399</c:v>
                </c:pt>
                <c:pt idx="8225">
                  <c:v>0.14669163545568001</c:v>
                </c:pt>
                <c:pt idx="8226">
                  <c:v>0.146709470304975</c:v>
                </c:pt>
                <c:pt idx="8227">
                  <c:v>0.14672730515427099</c:v>
                </c:pt>
                <c:pt idx="8228">
                  <c:v>0.146745140003566</c:v>
                </c:pt>
                <c:pt idx="8229">
                  <c:v>0.14676297485286199</c:v>
                </c:pt>
                <c:pt idx="8230">
                  <c:v>0.14678080970215801</c:v>
                </c:pt>
                <c:pt idx="8231">
                  <c:v>0.146798644551453</c:v>
                </c:pt>
                <c:pt idx="8232">
                  <c:v>0.14681647940074899</c:v>
                </c:pt>
                <c:pt idx="8233">
                  <c:v>0.14683431425004401</c:v>
                </c:pt>
                <c:pt idx="8234">
                  <c:v>0.14685214909934</c:v>
                </c:pt>
                <c:pt idx="8235">
                  <c:v>0.14686998394863501</c:v>
                </c:pt>
                <c:pt idx="8236">
                  <c:v>0.146887818797931</c:v>
                </c:pt>
                <c:pt idx="8237">
                  <c:v>0.14690565364722599</c:v>
                </c:pt>
                <c:pt idx="8238">
                  <c:v>0.14692348849652201</c:v>
                </c:pt>
                <c:pt idx="8239">
                  <c:v>0.146941323345817</c:v>
                </c:pt>
                <c:pt idx="8240">
                  <c:v>0.14695915819511299</c:v>
                </c:pt>
                <c:pt idx="8241">
                  <c:v>0.14697699304440801</c:v>
                </c:pt>
                <c:pt idx="8242">
                  <c:v>0.14699482789370399</c:v>
                </c:pt>
                <c:pt idx="8243">
                  <c:v>0.14701266274299901</c:v>
                </c:pt>
                <c:pt idx="8244">
                  <c:v>0.147030497592295</c:v>
                </c:pt>
                <c:pt idx="8245">
                  <c:v>0.14704833244158999</c:v>
                </c:pt>
                <c:pt idx="8246">
                  <c:v>0.14706616729088601</c:v>
                </c:pt>
                <c:pt idx="8247">
                  <c:v>0.147084002140181</c:v>
                </c:pt>
                <c:pt idx="8248">
                  <c:v>0.14710183698947699</c:v>
                </c:pt>
                <c:pt idx="8249">
                  <c:v>0.147119671838772</c:v>
                </c:pt>
                <c:pt idx="8250">
                  <c:v>0.14713750668806799</c:v>
                </c:pt>
                <c:pt idx="8251">
                  <c:v>0.14715534153736401</c:v>
                </c:pt>
                <c:pt idx="8252">
                  <c:v>0.147173176386659</c:v>
                </c:pt>
                <c:pt idx="8253">
                  <c:v>0.14719101123595499</c:v>
                </c:pt>
                <c:pt idx="8254">
                  <c:v>0.14720884608525001</c:v>
                </c:pt>
                <c:pt idx="8255">
                  <c:v>0.14722668093454599</c:v>
                </c:pt>
                <c:pt idx="8256">
                  <c:v>0.14724451578384101</c:v>
                </c:pt>
                <c:pt idx="8257">
                  <c:v>0.147262350633137</c:v>
                </c:pt>
                <c:pt idx="8258">
                  <c:v>0.14728018548243199</c:v>
                </c:pt>
                <c:pt idx="8259">
                  <c:v>0.14729802033172801</c:v>
                </c:pt>
                <c:pt idx="8260">
                  <c:v>0.147315855181023</c:v>
                </c:pt>
                <c:pt idx="8261">
                  <c:v>0.14733369003031899</c:v>
                </c:pt>
                <c:pt idx="8262">
                  <c:v>0.147351524879614</c:v>
                </c:pt>
                <c:pt idx="8263">
                  <c:v>0.14736935972890999</c:v>
                </c:pt>
                <c:pt idx="8264">
                  <c:v>0.14738719457820501</c:v>
                </c:pt>
                <c:pt idx="8265">
                  <c:v>0.147405029427501</c:v>
                </c:pt>
                <c:pt idx="8266">
                  <c:v>0.14742286427679599</c:v>
                </c:pt>
                <c:pt idx="8267">
                  <c:v>0.14744069912609201</c:v>
                </c:pt>
                <c:pt idx="8268">
                  <c:v>0.147458533975387</c:v>
                </c:pt>
                <c:pt idx="8269">
                  <c:v>0.14747636882468301</c:v>
                </c:pt>
                <c:pt idx="8270">
                  <c:v>0.147494203673978</c:v>
                </c:pt>
                <c:pt idx="8271">
                  <c:v>0.14751203852327399</c:v>
                </c:pt>
                <c:pt idx="8272">
                  <c:v>0.14752987337257001</c:v>
                </c:pt>
                <c:pt idx="8273">
                  <c:v>0.147547708221865</c:v>
                </c:pt>
                <c:pt idx="8274">
                  <c:v>0.14756554307116099</c:v>
                </c:pt>
                <c:pt idx="8275">
                  <c:v>0.147583377920456</c:v>
                </c:pt>
                <c:pt idx="8276">
                  <c:v>0.14760121276975199</c:v>
                </c:pt>
                <c:pt idx="8277">
                  <c:v>0.14761904761904701</c:v>
                </c:pt>
                <c:pt idx="8278">
                  <c:v>0.147636882468343</c:v>
                </c:pt>
                <c:pt idx="8279">
                  <c:v>0.14765471731763799</c:v>
                </c:pt>
                <c:pt idx="8280">
                  <c:v>0.14767255216693401</c:v>
                </c:pt>
                <c:pt idx="8281">
                  <c:v>0.147690387016229</c:v>
                </c:pt>
                <c:pt idx="8282">
                  <c:v>0.14770822186552501</c:v>
                </c:pt>
                <c:pt idx="8283">
                  <c:v>0.14772605671482</c:v>
                </c:pt>
                <c:pt idx="8284">
                  <c:v>0.14774389156411599</c:v>
                </c:pt>
                <c:pt idx="8285">
                  <c:v>0.14776172641341101</c:v>
                </c:pt>
                <c:pt idx="8286">
                  <c:v>0.147779561262707</c:v>
                </c:pt>
                <c:pt idx="8287">
                  <c:v>0.14779739611200199</c:v>
                </c:pt>
                <c:pt idx="8288">
                  <c:v>0.14781523096129801</c:v>
                </c:pt>
                <c:pt idx="8289">
                  <c:v>0.147833065810593</c:v>
                </c:pt>
                <c:pt idx="8290">
                  <c:v>0.14785090065988901</c:v>
                </c:pt>
                <c:pt idx="8291">
                  <c:v>0.147868735509184</c:v>
                </c:pt>
                <c:pt idx="8292">
                  <c:v>0.14788657035847999</c:v>
                </c:pt>
                <c:pt idx="8293">
                  <c:v>0.14790440520777601</c:v>
                </c:pt>
                <c:pt idx="8294">
                  <c:v>0.147922240057071</c:v>
                </c:pt>
                <c:pt idx="8295">
                  <c:v>0.14794007490636699</c:v>
                </c:pt>
                <c:pt idx="8296">
                  <c:v>0.147957909755662</c:v>
                </c:pt>
                <c:pt idx="8297">
                  <c:v>0.14797574460495799</c:v>
                </c:pt>
                <c:pt idx="8298">
                  <c:v>0.14799357945425301</c:v>
                </c:pt>
                <c:pt idx="8299">
                  <c:v>0.148011414303549</c:v>
                </c:pt>
                <c:pt idx="8300">
                  <c:v>0.14802924915284399</c:v>
                </c:pt>
                <c:pt idx="8301">
                  <c:v>0.14804708400214001</c:v>
                </c:pt>
                <c:pt idx="8302">
                  <c:v>0.148064918851435</c:v>
                </c:pt>
                <c:pt idx="8303">
                  <c:v>0.14808275370073101</c:v>
                </c:pt>
                <c:pt idx="8304">
                  <c:v>0.148100588550026</c:v>
                </c:pt>
                <c:pt idx="8305">
                  <c:v>0.14811842339932199</c:v>
                </c:pt>
                <c:pt idx="8306">
                  <c:v>0.14813625824861701</c:v>
                </c:pt>
                <c:pt idx="8307">
                  <c:v>0.148154093097913</c:v>
                </c:pt>
                <c:pt idx="8308">
                  <c:v>0.14817192794720799</c:v>
                </c:pt>
                <c:pt idx="8309">
                  <c:v>0.148189762796504</c:v>
                </c:pt>
                <c:pt idx="8310">
                  <c:v>0.14820759764579899</c:v>
                </c:pt>
                <c:pt idx="8311">
                  <c:v>0.14822543249509501</c:v>
                </c:pt>
                <c:pt idx="8312">
                  <c:v>0.14824326734439</c:v>
                </c:pt>
                <c:pt idx="8313">
                  <c:v>0.14826110219368599</c:v>
                </c:pt>
                <c:pt idx="8314">
                  <c:v>0.14827893704298101</c:v>
                </c:pt>
                <c:pt idx="8315">
                  <c:v>0.148296771892277</c:v>
                </c:pt>
                <c:pt idx="8316">
                  <c:v>0.14831460674157301</c:v>
                </c:pt>
                <c:pt idx="8317">
                  <c:v>0.148332441590868</c:v>
                </c:pt>
                <c:pt idx="8318">
                  <c:v>0.14835027644016399</c:v>
                </c:pt>
                <c:pt idx="8319">
                  <c:v>0.14836811128945901</c:v>
                </c:pt>
                <c:pt idx="8320">
                  <c:v>0.148385946138755</c:v>
                </c:pt>
                <c:pt idx="8321">
                  <c:v>0.14840378098804999</c:v>
                </c:pt>
                <c:pt idx="8322">
                  <c:v>0.148421615837346</c:v>
                </c:pt>
                <c:pt idx="8323">
                  <c:v>0.14843945068664099</c:v>
                </c:pt>
                <c:pt idx="8324">
                  <c:v>0.14845728553593701</c:v>
                </c:pt>
                <c:pt idx="8325">
                  <c:v>0.148475120385232</c:v>
                </c:pt>
                <c:pt idx="8326">
                  <c:v>0.14849295523452799</c:v>
                </c:pt>
                <c:pt idx="8327">
                  <c:v>0.14851079008382301</c:v>
                </c:pt>
                <c:pt idx="8328">
                  <c:v>0.148528624933119</c:v>
                </c:pt>
                <c:pt idx="8329">
                  <c:v>0.14854645978241399</c:v>
                </c:pt>
                <c:pt idx="8330">
                  <c:v>0.14856429463171</c:v>
                </c:pt>
                <c:pt idx="8331">
                  <c:v>0.14858212948100499</c:v>
                </c:pt>
                <c:pt idx="8332">
                  <c:v>0.14859996433030101</c:v>
                </c:pt>
                <c:pt idx="8333">
                  <c:v>0.148617799179596</c:v>
                </c:pt>
                <c:pt idx="8334">
                  <c:v>0.14863563402889199</c:v>
                </c:pt>
                <c:pt idx="8335">
                  <c:v>0.14865346887818701</c:v>
                </c:pt>
                <c:pt idx="8336">
                  <c:v>0.148671303727483</c:v>
                </c:pt>
                <c:pt idx="8337">
                  <c:v>0.14868913857677901</c:v>
                </c:pt>
                <c:pt idx="8338">
                  <c:v>0.148706973426074</c:v>
                </c:pt>
                <c:pt idx="8339">
                  <c:v>0.14872480827536999</c:v>
                </c:pt>
                <c:pt idx="8340">
                  <c:v>0.14874264312466501</c:v>
                </c:pt>
                <c:pt idx="8341">
                  <c:v>0.148760477973961</c:v>
                </c:pt>
                <c:pt idx="8342">
                  <c:v>0.14877831282325599</c:v>
                </c:pt>
                <c:pt idx="8343">
                  <c:v>0.148796147672552</c:v>
                </c:pt>
                <c:pt idx="8344">
                  <c:v>0.14881398252184699</c:v>
                </c:pt>
                <c:pt idx="8345">
                  <c:v>0.14883181737114301</c:v>
                </c:pt>
                <c:pt idx="8346">
                  <c:v>0.148849652220438</c:v>
                </c:pt>
                <c:pt idx="8347">
                  <c:v>0.14886748706973399</c:v>
                </c:pt>
                <c:pt idx="8348">
                  <c:v>0.14888532191902901</c:v>
                </c:pt>
                <c:pt idx="8349">
                  <c:v>0.148903156768325</c:v>
                </c:pt>
                <c:pt idx="8350">
                  <c:v>0.14892099161762001</c:v>
                </c:pt>
                <c:pt idx="8351">
                  <c:v>0.148938826466916</c:v>
                </c:pt>
                <c:pt idx="8352">
                  <c:v>0.14895666131621099</c:v>
                </c:pt>
                <c:pt idx="8353">
                  <c:v>0.14897449616550701</c:v>
                </c:pt>
                <c:pt idx="8354">
                  <c:v>0.148992331014802</c:v>
                </c:pt>
                <c:pt idx="8355">
                  <c:v>0.14901016586409799</c:v>
                </c:pt>
                <c:pt idx="8356">
                  <c:v>0.14902800071339301</c:v>
                </c:pt>
                <c:pt idx="8357">
                  <c:v>0.14904583556268899</c:v>
                </c:pt>
                <c:pt idx="8358">
                  <c:v>0.14906367041198501</c:v>
                </c:pt>
                <c:pt idx="8359">
                  <c:v>0.14908150526128</c:v>
                </c:pt>
                <c:pt idx="8360">
                  <c:v>0.14909934011057599</c:v>
                </c:pt>
                <c:pt idx="8361">
                  <c:v>0.14911717495987101</c:v>
                </c:pt>
                <c:pt idx="8362">
                  <c:v>0.149135009809167</c:v>
                </c:pt>
                <c:pt idx="8363">
                  <c:v>0.14915284465846201</c:v>
                </c:pt>
                <c:pt idx="8364">
                  <c:v>0.149170679507758</c:v>
                </c:pt>
                <c:pt idx="8365">
                  <c:v>0.14918851435705299</c:v>
                </c:pt>
                <c:pt idx="8366">
                  <c:v>0.14920634920634901</c:v>
                </c:pt>
                <c:pt idx="8367">
                  <c:v>0.149224184055644</c:v>
                </c:pt>
                <c:pt idx="8368">
                  <c:v>0.14924201890493999</c:v>
                </c:pt>
                <c:pt idx="8369">
                  <c:v>0.14925985375423501</c:v>
                </c:pt>
                <c:pt idx="8370">
                  <c:v>0.14927768860353099</c:v>
                </c:pt>
                <c:pt idx="8371">
                  <c:v>0.14929552345282601</c:v>
                </c:pt>
                <c:pt idx="8372">
                  <c:v>0.149313358302122</c:v>
                </c:pt>
                <c:pt idx="8373">
                  <c:v>0.14933119315141699</c:v>
                </c:pt>
                <c:pt idx="8374">
                  <c:v>0.14934902800071301</c:v>
                </c:pt>
                <c:pt idx="8375">
                  <c:v>0.149366862850008</c:v>
                </c:pt>
                <c:pt idx="8376">
                  <c:v>0.14938469769930399</c:v>
                </c:pt>
                <c:pt idx="8377">
                  <c:v>0.149402532548599</c:v>
                </c:pt>
                <c:pt idx="8378">
                  <c:v>0.14942036739789499</c:v>
                </c:pt>
                <c:pt idx="8379">
                  <c:v>0.14943820224719101</c:v>
                </c:pt>
                <c:pt idx="8380">
                  <c:v>0.149456037096486</c:v>
                </c:pt>
                <c:pt idx="8381">
                  <c:v>0.14947387194578199</c:v>
                </c:pt>
                <c:pt idx="8382">
                  <c:v>0.14949170679507701</c:v>
                </c:pt>
                <c:pt idx="8383">
                  <c:v>0.149509541644373</c:v>
                </c:pt>
                <c:pt idx="8384">
                  <c:v>0.14952737649366801</c:v>
                </c:pt>
                <c:pt idx="8385">
                  <c:v>0.149545211342964</c:v>
                </c:pt>
                <c:pt idx="8386">
                  <c:v>0.14956304619225899</c:v>
                </c:pt>
                <c:pt idx="8387">
                  <c:v>0.14958088104155501</c:v>
                </c:pt>
                <c:pt idx="8388">
                  <c:v>0.14959871589085</c:v>
                </c:pt>
                <c:pt idx="8389">
                  <c:v>0.14961655074014599</c:v>
                </c:pt>
                <c:pt idx="8390">
                  <c:v>0.149634385589441</c:v>
                </c:pt>
                <c:pt idx="8391">
                  <c:v>0.14965222043873699</c:v>
                </c:pt>
                <c:pt idx="8392">
                  <c:v>0.14967005528803201</c:v>
                </c:pt>
                <c:pt idx="8393">
                  <c:v>0.149687890137328</c:v>
                </c:pt>
                <c:pt idx="8394">
                  <c:v>0.14970572498662299</c:v>
                </c:pt>
                <c:pt idx="8395">
                  <c:v>0.14972355983591901</c:v>
                </c:pt>
                <c:pt idx="8396">
                  <c:v>0.149741394685214</c:v>
                </c:pt>
                <c:pt idx="8397">
                  <c:v>0.14975922953451001</c:v>
                </c:pt>
                <c:pt idx="8398">
                  <c:v>0.149777064383805</c:v>
                </c:pt>
                <c:pt idx="8399">
                  <c:v>0.14979489923310099</c:v>
                </c:pt>
                <c:pt idx="8400">
                  <c:v>0.14981273408239701</c:v>
                </c:pt>
                <c:pt idx="8401">
                  <c:v>0.149830568931692</c:v>
                </c:pt>
                <c:pt idx="8402">
                  <c:v>0.14984840378098799</c:v>
                </c:pt>
                <c:pt idx="8403">
                  <c:v>0.14986623863028301</c:v>
                </c:pt>
                <c:pt idx="8404">
                  <c:v>0.14988407347957899</c:v>
                </c:pt>
                <c:pt idx="8405">
                  <c:v>0.14990190832887401</c:v>
                </c:pt>
                <c:pt idx="8406">
                  <c:v>0.14991974317817</c:v>
                </c:pt>
                <c:pt idx="8407">
                  <c:v>0.14993757802746499</c:v>
                </c:pt>
                <c:pt idx="8408">
                  <c:v>0.14995541287676101</c:v>
                </c:pt>
                <c:pt idx="8409">
                  <c:v>0.149973247726056</c:v>
                </c:pt>
                <c:pt idx="8410">
                  <c:v>0.14999108257535201</c:v>
                </c:pt>
                <c:pt idx="8411">
                  <c:v>0.150008917424647</c:v>
                </c:pt>
                <c:pt idx="8412">
                  <c:v>0.15002675227394299</c:v>
                </c:pt>
                <c:pt idx="8413">
                  <c:v>0.15004458712323801</c:v>
                </c:pt>
                <c:pt idx="8414">
                  <c:v>0.150062421972534</c:v>
                </c:pt>
                <c:pt idx="8415">
                  <c:v>0.15008025682182899</c:v>
                </c:pt>
                <c:pt idx="8416">
                  <c:v>0.15009809167112501</c:v>
                </c:pt>
                <c:pt idx="8417">
                  <c:v>0.15011592652042</c:v>
                </c:pt>
                <c:pt idx="8418">
                  <c:v>0.15013376136971601</c:v>
                </c:pt>
                <c:pt idx="8419">
                  <c:v>0.150151596219011</c:v>
                </c:pt>
                <c:pt idx="8420">
                  <c:v>0.15016943106830699</c:v>
                </c:pt>
                <c:pt idx="8421">
                  <c:v>0.15018726591760301</c:v>
                </c:pt>
                <c:pt idx="8422">
                  <c:v>0.150205100766898</c:v>
                </c:pt>
                <c:pt idx="8423">
                  <c:v>0.15022293561619399</c:v>
                </c:pt>
                <c:pt idx="8424">
                  <c:v>0.150240770465489</c:v>
                </c:pt>
                <c:pt idx="8425">
                  <c:v>0.15025860531478499</c:v>
                </c:pt>
                <c:pt idx="8426">
                  <c:v>0.15027644016408001</c:v>
                </c:pt>
                <c:pt idx="8427">
                  <c:v>0.150294275013376</c:v>
                </c:pt>
                <c:pt idx="8428">
                  <c:v>0.15031210986267099</c:v>
                </c:pt>
                <c:pt idx="8429">
                  <c:v>0.15032994471196701</c:v>
                </c:pt>
                <c:pt idx="8430">
                  <c:v>0.150347779561262</c:v>
                </c:pt>
                <c:pt idx="8431">
                  <c:v>0.15036561441055801</c:v>
                </c:pt>
                <c:pt idx="8432">
                  <c:v>0.150383449259853</c:v>
                </c:pt>
                <c:pt idx="8433">
                  <c:v>0.15040128410914899</c:v>
                </c:pt>
                <c:pt idx="8434">
                  <c:v>0.15041911895844401</c:v>
                </c:pt>
                <c:pt idx="8435">
                  <c:v>0.15043695380774</c:v>
                </c:pt>
                <c:pt idx="8436">
                  <c:v>0.15045478865703499</c:v>
                </c:pt>
                <c:pt idx="8437">
                  <c:v>0.150472623506331</c:v>
                </c:pt>
                <c:pt idx="8438">
                  <c:v>0.15049045835562599</c:v>
                </c:pt>
                <c:pt idx="8439">
                  <c:v>0.15050829320492201</c:v>
                </c:pt>
                <c:pt idx="8440">
                  <c:v>0.150526128054217</c:v>
                </c:pt>
                <c:pt idx="8441">
                  <c:v>0.15054396290351299</c:v>
                </c:pt>
                <c:pt idx="8442">
                  <c:v>0.15056179775280801</c:v>
                </c:pt>
                <c:pt idx="8443">
                  <c:v>0.150579632602104</c:v>
                </c:pt>
                <c:pt idx="8444">
                  <c:v>0.15059746745140001</c:v>
                </c:pt>
                <c:pt idx="8445">
                  <c:v>0.150615302300695</c:v>
                </c:pt>
                <c:pt idx="8446">
                  <c:v>0.15063313714999099</c:v>
                </c:pt>
                <c:pt idx="8447">
                  <c:v>0.15065097199928601</c:v>
                </c:pt>
                <c:pt idx="8448">
                  <c:v>0.150668806848582</c:v>
                </c:pt>
                <c:pt idx="8449">
                  <c:v>0.15068664169787699</c:v>
                </c:pt>
                <c:pt idx="8450">
                  <c:v>0.15070447654717301</c:v>
                </c:pt>
                <c:pt idx="8451">
                  <c:v>0.150722311396468</c:v>
                </c:pt>
                <c:pt idx="8452">
                  <c:v>0.15074014624576401</c:v>
                </c:pt>
                <c:pt idx="8453">
                  <c:v>0.150757981095059</c:v>
                </c:pt>
                <c:pt idx="8454">
                  <c:v>0.15077581594435499</c:v>
                </c:pt>
                <c:pt idx="8455">
                  <c:v>0.15079365079365001</c:v>
                </c:pt>
                <c:pt idx="8456">
                  <c:v>0.150811485642946</c:v>
                </c:pt>
                <c:pt idx="8457">
                  <c:v>0.15082932049224099</c:v>
                </c:pt>
                <c:pt idx="8458">
                  <c:v>0.150847155341537</c:v>
                </c:pt>
                <c:pt idx="8459">
                  <c:v>0.15086499019083199</c:v>
                </c:pt>
                <c:pt idx="8460">
                  <c:v>0.15088282504012801</c:v>
                </c:pt>
                <c:pt idx="8461">
                  <c:v>0.150900659889423</c:v>
                </c:pt>
                <c:pt idx="8462">
                  <c:v>0.15091849473871899</c:v>
                </c:pt>
                <c:pt idx="8463">
                  <c:v>0.15093632958801401</c:v>
                </c:pt>
                <c:pt idx="8464">
                  <c:v>0.15095416443731</c:v>
                </c:pt>
                <c:pt idx="8465">
                  <c:v>0.15097199928660601</c:v>
                </c:pt>
                <c:pt idx="8466">
                  <c:v>0.150989834135901</c:v>
                </c:pt>
                <c:pt idx="8467">
                  <c:v>0.15100766898519699</c:v>
                </c:pt>
                <c:pt idx="8468">
                  <c:v>0.15102550383449201</c:v>
                </c:pt>
                <c:pt idx="8469">
                  <c:v>0.151043338683788</c:v>
                </c:pt>
                <c:pt idx="8470">
                  <c:v>0.15106117353308299</c:v>
                </c:pt>
                <c:pt idx="8471">
                  <c:v>0.151079008382379</c:v>
                </c:pt>
                <c:pt idx="8472">
                  <c:v>0.15109684323167399</c:v>
                </c:pt>
                <c:pt idx="8473">
                  <c:v>0.15111467808097001</c:v>
                </c:pt>
                <c:pt idx="8474">
                  <c:v>0.151132512930265</c:v>
                </c:pt>
                <c:pt idx="8475">
                  <c:v>0.15115034777956099</c:v>
                </c:pt>
                <c:pt idx="8476">
                  <c:v>0.15116818262885601</c:v>
                </c:pt>
                <c:pt idx="8477">
                  <c:v>0.151186017478152</c:v>
                </c:pt>
                <c:pt idx="8478">
                  <c:v>0.15120385232744701</c:v>
                </c:pt>
                <c:pt idx="8479">
                  <c:v>0.151221687176743</c:v>
                </c:pt>
                <c:pt idx="8480">
                  <c:v>0.15123952202603799</c:v>
                </c:pt>
                <c:pt idx="8481">
                  <c:v>0.15125735687533401</c:v>
                </c:pt>
                <c:pt idx="8482">
                  <c:v>0.151275191724629</c:v>
                </c:pt>
                <c:pt idx="8483">
                  <c:v>0.15129302657392499</c:v>
                </c:pt>
                <c:pt idx="8484">
                  <c:v>0.15131086142322001</c:v>
                </c:pt>
                <c:pt idx="8485">
                  <c:v>0.15132869627251599</c:v>
                </c:pt>
                <c:pt idx="8486">
                  <c:v>0.15134653112181201</c:v>
                </c:pt>
                <c:pt idx="8487">
                  <c:v>0.151364365971107</c:v>
                </c:pt>
                <c:pt idx="8488">
                  <c:v>0.15138220082040299</c:v>
                </c:pt>
                <c:pt idx="8489">
                  <c:v>0.15140003566969801</c:v>
                </c:pt>
                <c:pt idx="8490">
                  <c:v>0.151417870518994</c:v>
                </c:pt>
                <c:pt idx="8491">
                  <c:v>0.15143570536828899</c:v>
                </c:pt>
                <c:pt idx="8492">
                  <c:v>0.151453540217585</c:v>
                </c:pt>
                <c:pt idx="8493">
                  <c:v>0.15147137506687999</c:v>
                </c:pt>
                <c:pt idx="8494">
                  <c:v>0.15148920991617601</c:v>
                </c:pt>
                <c:pt idx="8495">
                  <c:v>0.151507044765471</c:v>
                </c:pt>
                <c:pt idx="8496">
                  <c:v>0.15152487961476699</c:v>
                </c:pt>
                <c:pt idx="8497">
                  <c:v>0.15154271446406201</c:v>
                </c:pt>
                <c:pt idx="8498">
                  <c:v>0.151560549313358</c:v>
                </c:pt>
                <c:pt idx="8499">
                  <c:v>0.15157838416265301</c:v>
                </c:pt>
                <c:pt idx="8500">
                  <c:v>0.151596219011949</c:v>
                </c:pt>
                <c:pt idx="8501">
                  <c:v>0.15161405386124399</c:v>
                </c:pt>
                <c:pt idx="8502">
                  <c:v>0.15163188871054001</c:v>
                </c:pt>
                <c:pt idx="8503">
                  <c:v>0.151649723559835</c:v>
                </c:pt>
                <c:pt idx="8504">
                  <c:v>0.15166755840913099</c:v>
                </c:pt>
                <c:pt idx="8505">
                  <c:v>0.151685393258426</c:v>
                </c:pt>
                <c:pt idx="8506">
                  <c:v>0.15170322810772199</c:v>
                </c:pt>
                <c:pt idx="8507">
                  <c:v>0.15172106295701801</c:v>
                </c:pt>
                <c:pt idx="8508">
                  <c:v>0.151738897806313</c:v>
                </c:pt>
                <c:pt idx="8509">
                  <c:v>0.15175673265560899</c:v>
                </c:pt>
                <c:pt idx="8510">
                  <c:v>0.15177456750490401</c:v>
                </c:pt>
                <c:pt idx="8511">
                  <c:v>0.1517924023542</c:v>
                </c:pt>
                <c:pt idx="8512">
                  <c:v>0.15181023720349501</c:v>
                </c:pt>
                <c:pt idx="8513">
                  <c:v>0.151828072052791</c:v>
                </c:pt>
                <c:pt idx="8514">
                  <c:v>0.15184590690208599</c:v>
                </c:pt>
                <c:pt idx="8515">
                  <c:v>0.15186374175138201</c:v>
                </c:pt>
                <c:pt idx="8516">
                  <c:v>0.151881576600677</c:v>
                </c:pt>
                <c:pt idx="8517">
                  <c:v>0.15189941144997299</c:v>
                </c:pt>
                <c:pt idx="8518">
                  <c:v>0.15191724629926801</c:v>
                </c:pt>
                <c:pt idx="8519">
                  <c:v>0.15193508114856399</c:v>
                </c:pt>
                <c:pt idx="8520">
                  <c:v>0.15195291599785901</c:v>
                </c:pt>
                <c:pt idx="8521">
                  <c:v>0.151970750847155</c:v>
                </c:pt>
                <c:pt idx="8522">
                  <c:v>0.15198858569644999</c:v>
                </c:pt>
                <c:pt idx="8523">
                  <c:v>0.15200642054574601</c:v>
                </c:pt>
                <c:pt idx="8524">
                  <c:v>0.152024255395041</c:v>
                </c:pt>
                <c:pt idx="8525">
                  <c:v>0.15204209024433701</c:v>
                </c:pt>
                <c:pt idx="8526">
                  <c:v>0.152059925093632</c:v>
                </c:pt>
                <c:pt idx="8527">
                  <c:v>0.15207775994292799</c:v>
                </c:pt>
                <c:pt idx="8528">
                  <c:v>0.15209559479222401</c:v>
                </c:pt>
                <c:pt idx="8529">
                  <c:v>0.152113429641519</c:v>
                </c:pt>
                <c:pt idx="8530">
                  <c:v>0.15213126449081499</c:v>
                </c:pt>
                <c:pt idx="8531">
                  <c:v>0.15214909934011001</c:v>
                </c:pt>
                <c:pt idx="8532">
                  <c:v>0.15216693418940599</c:v>
                </c:pt>
                <c:pt idx="8533">
                  <c:v>0.15218476903870101</c:v>
                </c:pt>
                <c:pt idx="8534">
                  <c:v>0.152202603887997</c:v>
                </c:pt>
                <c:pt idx="8535">
                  <c:v>0.15222043873729199</c:v>
                </c:pt>
                <c:pt idx="8536">
                  <c:v>0.15223827358658801</c:v>
                </c:pt>
                <c:pt idx="8537">
                  <c:v>0.152256108435883</c:v>
                </c:pt>
                <c:pt idx="8538">
                  <c:v>0.15227394328517899</c:v>
                </c:pt>
                <c:pt idx="8539">
                  <c:v>0.152291778134474</c:v>
                </c:pt>
                <c:pt idx="8540">
                  <c:v>0.15230961298376999</c:v>
                </c:pt>
                <c:pt idx="8541">
                  <c:v>0.15232744783306501</c:v>
                </c:pt>
                <c:pt idx="8542">
                  <c:v>0.152345282682361</c:v>
                </c:pt>
                <c:pt idx="8543">
                  <c:v>0.15236311753165599</c:v>
                </c:pt>
                <c:pt idx="8544">
                  <c:v>0.15238095238095201</c:v>
                </c:pt>
                <c:pt idx="8545">
                  <c:v>0.152398787230247</c:v>
                </c:pt>
                <c:pt idx="8546">
                  <c:v>0.15241662207954301</c:v>
                </c:pt>
                <c:pt idx="8547">
                  <c:v>0.152434456928838</c:v>
                </c:pt>
                <c:pt idx="8548">
                  <c:v>0.15245229177813399</c:v>
                </c:pt>
                <c:pt idx="8549">
                  <c:v>0.15247012662743001</c:v>
                </c:pt>
                <c:pt idx="8550">
                  <c:v>0.152487961476725</c:v>
                </c:pt>
                <c:pt idx="8551">
                  <c:v>0.15250579632602099</c:v>
                </c:pt>
                <c:pt idx="8552">
                  <c:v>0.152523631175316</c:v>
                </c:pt>
                <c:pt idx="8553">
                  <c:v>0.15254146602461199</c:v>
                </c:pt>
                <c:pt idx="8554">
                  <c:v>0.15255930087390701</c:v>
                </c:pt>
                <c:pt idx="8555">
                  <c:v>0.152577135723203</c:v>
                </c:pt>
                <c:pt idx="8556">
                  <c:v>0.15259497057249799</c:v>
                </c:pt>
                <c:pt idx="8557">
                  <c:v>0.15261280542179401</c:v>
                </c:pt>
                <c:pt idx="8558">
                  <c:v>0.152630640271089</c:v>
                </c:pt>
                <c:pt idx="8559">
                  <c:v>0.15264847512038501</c:v>
                </c:pt>
                <c:pt idx="8560">
                  <c:v>0.15266630996968</c:v>
                </c:pt>
                <c:pt idx="8561">
                  <c:v>0.15268414481897599</c:v>
                </c:pt>
                <c:pt idx="8562">
                  <c:v>0.15270197966827101</c:v>
                </c:pt>
                <c:pt idx="8563">
                  <c:v>0.152719814517567</c:v>
                </c:pt>
                <c:pt idx="8564">
                  <c:v>0.15273764936686199</c:v>
                </c:pt>
                <c:pt idx="8565">
                  <c:v>0.15275548421615801</c:v>
                </c:pt>
                <c:pt idx="8566">
                  <c:v>0.15277331906545299</c:v>
                </c:pt>
                <c:pt idx="8567">
                  <c:v>0.15279115391474901</c:v>
                </c:pt>
                <c:pt idx="8568">
                  <c:v>0.152808988764044</c:v>
                </c:pt>
                <c:pt idx="8569">
                  <c:v>0.15282682361333999</c:v>
                </c:pt>
                <c:pt idx="8570">
                  <c:v>0.15284465846263501</c:v>
                </c:pt>
                <c:pt idx="8571">
                  <c:v>0.152862493311931</c:v>
                </c:pt>
                <c:pt idx="8572">
                  <c:v>0.15288032816122701</c:v>
                </c:pt>
                <c:pt idx="8573">
                  <c:v>0.152898163010522</c:v>
                </c:pt>
                <c:pt idx="8574">
                  <c:v>0.15291599785981799</c:v>
                </c:pt>
                <c:pt idx="8575">
                  <c:v>0.15293383270911301</c:v>
                </c:pt>
                <c:pt idx="8576">
                  <c:v>0.152951667558409</c:v>
                </c:pt>
                <c:pt idx="8577">
                  <c:v>0.15296950240770399</c:v>
                </c:pt>
                <c:pt idx="8578">
                  <c:v>0.15298733725700001</c:v>
                </c:pt>
                <c:pt idx="8579">
                  <c:v>0.153005172106295</c:v>
                </c:pt>
                <c:pt idx="8580">
                  <c:v>0.15302300695559101</c:v>
                </c:pt>
                <c:pt idx="8581">
                  <c:v>0.153040841804886</c:v>
                </c:pt>
                <c:pt idx="8582">
                  <c:v>0.15305867665418199</c:v>
                </c:pt>
                <c:pt idx="8583">
                  <c:v>0.15307651150347701</c:v>
                </c:pt>
                <c:pt idx="8584">
                  <c:v>0.153094346352773</c:v>
                </c:pt>
                <c:pt idx="8585">
                  <c:v>0.15311218120206799</c:v>
                </c:pt>
                <c:pt idx="8586">
                  <c:v>0.153130016051364</c:v>
                </c:pt>
                <c:pt idx="8587">
                  <c:v>0.15314785090065899</c:v>
                </c:pt>
                <c:pt idx="8588">
                  <c:v>0.15316568574995501</c:v>
                </c:pt>
                <c:pt idx="8589">
                  <c:v>0.15318352059925</c:v>
                </c:pt>
                <c:pt idx="8590">
                  <c:v>0.15320135544854599</c:v>
                </c:pt>
                <c:pt idx="8591">
                  <c:v>0.15321919029784101</c:v>
                </c:pt>
                <c:pt idx="8592">
                  <c:v>0.153237025147137</c:v>
                </c:pt>
                <c:pt idx="8593">
                  <c:v>0.15325485999643301</c:v>
                </c:pt>
                <c:pt idx="8594">
                  <c:v>0.153272694845728</c:v>
                </c:pt>
                <c:pt idx="8595">
                  <c:v>0.15329052969502399</c:v>
                </c:pt>
                <c:pt idx="8596">
                  <c:v>0.15330836454431901</c:v>
                </c:pt>
                <c:pt idx="8597">
                  <c:v>0.153326199393615</c:v>
                </c:pt>
                <c:pt idx="8598">
                  <c:v>0.15334403424290999</c:v>
                </c:pt>
                <c:pt idx="8599">
                  <c:v>0.153361869092206</c:v>
                </c:pt>
                <c:pt idx="8600">
                  <c:v>0.15337970394150099</c:v>
                </c:pt>
                <c:pt idx="8601">
                  <c:v>0.15339753879079701</c:v>
                </c:pt>
                <c:pt idx="8602">
                  <c:v>0.153415373640092</c:v>
                </c:pt>
                <c:pt idx="8603">
                  <c:v>0.15343320848938799</c:v>
                </c:pt>
                <c:pt idx="8604">
                  <c:v>0.15345104333868301</c:v>
                </c:pt>
                <c:pt idx="8605">
                  <c:v>0.153468878187979</c:v>
                </c:pt>
                <c:pt idx="8606">
                  <c:v>0.15348671303727399</c:v>
                </c:pt>
                <c:pt idx="8607">
                  <c:v>0.15350454788657</c:v>
                </c:pt>
                <c:pt idx="8608">
                  <c:v>0.15352238273586499</c:v>
                </c:pt>
                <c:pt idx="8609">
                  <c:v>0.15354021758516101</c:v>
                </c:pt>
                <c:pt idx="8610">
                  <c:v>0.153558052434456</c:v>
                </c:pt>
                <c:pt idx="8611">
                  <c:v>0.15357588728375199</c:v>
                </c:pt>
                <c:pt idx="8612">
                  <c:v>0.15359372213304701</c:v>
                </c:pt>
                <c:pt idx="8613">
                  <c:v>0.15361155698234299</c:v>
                </c:pt>
                <c:pt idx="8614">
                  <c:v>0.15362939183163901</c:v>
                </c:pt>
                <c:pt idx="8615">
                  <c:v>0.153647226680934</c:v>
                </c:pt>
                <c:pt idx="8616">
                  <c:v>0.15366506153022999</c:v>
                </c:pt>
                <c:pt idx="8617">
                  <c:v>0.15368289637952501</c:v>
                </c:pt>
                <c:pt idx="8618">
                  <c:v>0.153700731228821</c:v>
                </c:pt>
                <c:pt idx="8619">
                  <c:v>0.15371856607811599</c:v>
                </c:pt>
                <c:pt idx="8620">
                  <c:v>0.153736400927412</c:v>
                </c:pt>
                <c:pt idx="8621">
                  <c:v>0.15375423577670699</c:v>
                </c:pt>
                <c:pt idx="8622">
                  <c:v>0.15377207062600301</c:v>
                </c:pt>
                <c:pt idx="8623">
                  <c:v>0.153789905475298</c:v>
                </c:pt>
                <c:pt idx="8624">
                  <c:v>0.15380774032459399</c:v>
                </c:pt>
                <c:pt idx="8625">
                  <c:v>0.15382557517388901</c:v>
                </c:pt>
                <c:pt idx="8626">
                  <c:v>0.153843410023185</c:v>
                </c:pt>
                <c:pt idx="8627">
                  <c:v>0.15386124487248001</c:v>
                </c:pt>
                <c:pt idx="8628">
                  <c:v>0.153879079721776</c:v>
                </c:pt>
                <c:pt idx="8629">
                  <c:v>0.15389691457107099</c:v>
                </c:pt>
                <c:pt idx="8630">
                  <c:v>0.15391474942036701</c:v>
                </c:pt>
                <c:pt idx="8631">
                  <c:v>0.153932584269662</c:v>
                </c:pt>
                <c:pt idx="8632">
                  <c:v>0.15395041911895799</c:v>
                </c:pt>
                <c:pt idx="8633">
                  <c:v>0.153968253968253</c:v>
                </c:pt>
                <c:pt idx="8634">
                  <c:v>0.15398608881754899</c:v>
                </c:pt>
                <c:pt idx="8635">
                  <c:v>0.15400392366684501</c:v>
                </c:pt>
                <c:pt idx="8636">
                  <c:v>0.15402175851614</c:v>
                </c:pt>
                <c:pt idx="8637">
                  <c:v>0.15403959336543599</c:v>
                </c:pt>
                <c:pt idx="8638">
                  <c:v>0.15405742821473101</c:v>
                </c:pt>
                <c:pt idx="8639">
                  <c:v>0.154075263064027</c:v>
                </c:pt>
                <c:pt idx="8640">
                  <c:v>0.15409309791332201</c:v>
                </c:pt>
                <c:pt idx="8641">
                  <c:v>0.154110932762618</c:v>
                </c:pt>
                <c:pt idx="8642">
                  <c:v>0.15412876761191299</c:v>
                </c:pt>
                <c:pt idx="8643">
                  <c:v>0.15414660246120901</c:v>
                </c:pt>
                <c:pt idx="8644">
                  <c:v>0.154164437310504</c:v>
                </c:pt>
                <c:pt idx="8645">
                  <c:v>0.15418227215979999</c:v>
                </c:pt>
                <c:pt idx="8646">
                  <c:v>0.15420010700909501</c:v>
                </c:pt>
                <c:pt idx="8647">
                  <c:v>0.15421794185839099</c:v>
                </c:pt>
                <c:pt idx="8648">
                  <c:v>0.15423577670768601</c:v>
                </c:pt>
                <c:pt idx="8649">
                  <c:v>0.154253611556982</c:v>
                </c:pt>
                <c:pt idx="8650">
                  <c:v>0.15427144640627699</c:v>
                </c:pt>
                <c:pt idx="8651">
                  <c:v>0.15428928125557301</c:v>
                </c:pt>
                <c:pt idx="8652">
                  <c:v>0.154307116104868</c:v>
                </c:pt>
                <c:pt idx="8653">
                  <c:v>0.15432495095416399</c:v>
                </c:pt>
                <c:pt idx="8654">
                  <c:v>0.154342785803459</c:v>
                </c:pt>
                <c:pt idx="8655">
                  <c:v>0.15436062065275499</c:v>
                </c:pt>
                <c:pt idx="8656">
                  <c:v>0.15437845550205101</c:v>
                </c:pt>
                <c:pt idx="8657">
                  <c:v>0.154396290351346</c:v>
                </c:pt>
                <c:pt idx="8658">
                  <c:v>0.15441412520064199</c:v>
                </c:pt>
                <c:pt idx="8659">
                  <c:v>0.15443196004993701</c:v>
                </c:pt>
                <c:pt idx="8660">
                  <c:v>0.15444979489923299</c:v>
                </c:pt>
                <c:pt idx="8661">
                  <c:v>0.15446762974852801</c:v>
                </c:pt>
                <c:pt idx="8662">
                  <c:v>0.154485464597824</c:v>
                </c:pt>
                <c:pt idx="8663">
                  <c:v>0.15450329944711899</c:v>
                </c:pt>
                <c:pt idx="8664">
                  <c:v>0.15452113429641501</c:v>
                </c:pt>
                <c:pt idx="8665">
                  <c:v>0.15453896914571</c:v>
                </c:pt>
                <c:pt idx="8666">
                  <c:v>0.15455680399500599</c:v>
                </c:pt>
                <c:pt idx="8667">
                  <c:v>0.154574638844301</c:v>
                </c:pt>
                <c:pt idx="8668">
                  <c:v>0.15459247369359699</c:v>
                </c:pt>
                <c:pt idx="8669">
                  <c:v>0.15461030854289201</c:v>
                </c:pt>
                <c:pt idx="8670">
                  <c:v>0.154628143392188</c:v>
                </c:pt>
                <c:pt idx="8671">
                  <c:v>0.15464597824148299</c:v>
                </c:pt>
                <c:pt idx="8672">
                  <c:v>0.15466381309077901</c:v>
                </c:pt>
                <c:pt idx="8673">
                  <c:v>0.154681647940074</c:v>
                </c:pt>
                <c:pt idx="8674">
                  <c:v>0.15469948278937001</c:v>
                </c:pt>
                <c:pt idx="8675">
                  <c:v>0.154717317638665</c:v>
                </c:pt>
                <c:pt idx="8676">
                  <c:v>0.15473515248796099</c:v>
                </c:pt>
                <c:pt idx="8677">
                  <c:v>0.15475298733725701</c:v>
                </c:pt>
                <c:pt idx="8678">
                  <c:v>0.154770822186552</c:v>
                </c:pt>
                <c:pt idx="8679">
                  <c:v>0.15478865703584799</c:v>
                </c:pt>
                <c:pt idx="8680">
                  <c:v>0.154806491885143</c:v>
                </c:pt>
                <c:pt idx="8681">
                  <c:v>0.15482432673443899</c:v>
                </c:pt>
                <c:pt idx="8682">
                  <c:v>0.15484216158373401</c:v>
                </c:pt>
                <c:pt idx="8683">
                  <c:v>0.15485999643303</c:v>
                </c:pt>
                <c:pt idx="8684">
                  <c:v>0.15487783128232499</c:v>
                </c:pt>
                <c:pt idx="8685">
                  <c:v>0.15489566613162101</c:v>
                </c:pt>
                <c:pt idx="8686">
                  <c:v>0.154913500980916</c:v>
                </c:pt>
                <c:pt idx="8687">
                  <c:v>0.15493133583021201</c:v>
                </c:pt>
                <c:pt idx="8688">
                  <c:v>0.154949170679507</c:v>
                </c:pt>
                <c:pt idx="8689">
                  <c:v>0.15496700552880299</c:v>
                </c:pt>
                <c:pt idx="8690">
                  <c:v>0.15498484037809801</c:v>
                </c:pt>
                <c:pt idx="8691">
                  <c:v>0.155002675227394</c:v>
                </c:pt>
                <c:pt idx="8692">
                  <c:v>0.15502051007668899</c:v>
                </c:pt>
                <c:pt idx="8693">
                  <c:v>0.15503834492598501</c:v>
                </c:pt>
                <c:pt idx="8694">
                  <c:v>0.15505617977528</c:v>
                </c:pt>
                <c:pt idx="8695">
                  <c:v>0.15507401462457601</c:v>
                </c:pt>
                <c:pt idx="8696">
                  <c:v>0.155091849473871</c:v>
                </c:pt>
                <c:pt idx="8697">
                  <c:v>0.15510968432316699</c:v>
                </c:pt>
                <c:pt idx="8698">
                  <c:v>0.15512751917246201</c:v>
                </c:pt>
                <c:pt idx="8699">
                  <c:v>0.155145354021758</c:v>
                </c:pt>
                <c:pt idx="8700">
                  <c:v>0.15516318887105399</c:v>
                </c:pt>
                <c:pt idx="8701">
                  <c:v>0.155181023720349</c:v>
                </c:pt>
                <c:pt idx="8702">
                  <c:v>0.15519885856964499</c:v>
                </c:pt>
                <c:pt idx="8703">
                  <c:v>0.15521669341894001</c:v>
                </c:pt>
                <c:pt idx="8704">
                  <c:v>0.155234528268236</c:v>
                </c:pt>
                <c:pt idx="8705">
                  <c:v>0.15525236311753099</c:v>
                </c:pt>
                <c:pt idx="8706">
                  <c:v>0.15527019796682701</c:v>
                </c:pt>
                <c:pt idx="8707">
                  <c:v>0.155288032816122</c:v>
                </c:pt>
                <c:pt idx="8708">
                  <c:v>0.15530586766541801</c:v>
                </c:pt>
                <c:pt idx="8709">
                  <c:v>0.155323702514713</c:v>
                </c:pt>
                <c:pt idx="8710">
                  <c:v>0.15534153736400899</c:v>
                </c:pt>
                <c:pt idx="8711">
                  <c:v>0.15535937221330401</c:v>
                </c:pt>
                <c:pt idx="8712">
                  <c:v>0.1553772070626</c:v>
                </c:pt>
                <c:pt idx="8713">
                  <c:v>0.15539504191189499</c:v>
                </c:pt>
                <c:pt idx="8714">
                  <c:v>0.155412876761191</c:v>
                </c:pt>
                <c:pt idx="8715">
                  <c:v>0.15543071161048599</c:v>
                </c:pt>
                <c:pt idx="8716">
                  <c:v>0.15544854645978201</c:v>
                </c:pt>
                <c:pt idx="8717">
                  <c:v>0.155466381309077</c:v>
                </c:pt>
                <c:pt idx="8718">
                  <c:v>0.15548421615837299</c:v>
                </c:pt>
                <c:pt idx="8719">
                  <c:v>0.15550205100766801</c:v>
                </c:pt>
                <c:pt idx="8720">
                  <c:v>0.155519885856964</c:v>
                </c:pt>
                <c:pt idx="8721">
                  <c:v>0.15553772070626001</c:v>
                </c:pt>
                <c:pt idx="8722">
                  <c:v>0.155555555555555</c:v>
                </c:pt>
                <c:pt idx="8723">
                  <c:v>0.15557339040485099</c:v>
                </c:pt>
                <c:pt idx="8724">
                  <c:v>0.15559122525414601</c:v>
                </c:pt>
                <c:pt idx="8725">
                  <c:v>0.155609060103442</c:v>
                </c:pt>
                <c:pt idx="8726">
                  <c:v>0.15562689495273699</c:v>
                </c:pt>
                <c:pt idx="8727">
                  <c:v>0.15564472980203301</c:v>
                </c:pt>
                <c:pt idx="8728">
                  <c:v>0.15566256465132799</c:v>
                </c:pt>
                <c:pt idx="8729">
                  <c:v>0.15568039950062401</c:v>
                </c:pt>
                <c:pt idx="8730">
                  <c:v>0.155698234349919</c:v>
                </c:pt>
                <c:pt idx="8731">
                  <c:v>0.15571606919921499</c:v>
                </c:pt>
                <c:pt idx="8732">
                  <c:v>0.15573390404851001</c:v>
                </c:pt>
                <c:pt idx="8733">
                  <c:v>0.155751738897806</c:v>
                </c:pt>
                <c:pt idx="8734">
                  <c:v>0.15576957374710099</c:v>
                </c:pt>
                <c:pt idx="8735">
                  <c:v>0.155787408596397</c:v>
                </c:pt>
                <c:pt idx="8736">
                  <c:v>0.15580524344569199</c:v>
                </c:pt>
                <c:pt idx="8737">
                  <c:v>0.15582307829498801</c:v>
                </c:pt>
                <c:pt idx="8738">
                  <c:v>0.155840913144283</c:v>
                </c:pt>
                <c:pt idx="8739">
                  <c:v>0.15585874799357899</c:v>
                </c:pt>
                <c:pt idx="8740">
                  <c:v>0.15587658284287401</c:v>
                </c:pt>
                <c:pt idx="8741">
                  <c:v>0.15589441769217</c:v>
                </c:pt>
                <c:pt idx="8742">
                  <c:v>0.15591225254146601</c:v>
                </c:pt>
                <c:pt idx="8743">
                  <c:v>0.155930087390761</c:v>
                </c:pt>
                <c:pt idx="8744">
                  <c:v>0.15594792224005699</c:v>
                </c:pt>
                <c:pt idx="8745">
                  <c:v>0.15596575708935201</c:v>
                </c:pt>
                <c:pt idx="8746">
                  <c:v>0.155983591938648</c:v>
                </c:pt>
                <c:pt idx="8747">
                  <c:v>0.15600142678794299</c:v>
                </c:pt>
                <c:pt idx="8748">
                  <c:v>0.156019261637239</c:v>
                </c:pt>
                <c:pt idx="8749">
                  <c:v>0.15603709648653399</c:v>
                </c:pt>
                <c:pt idx="8750">
                  <c:v>0.15605493133583001</c:v>
                </c:pt>
                <c:pt idx="8751">
                  <c:v>0.156072766185125</c:v>
                </c:pt>
                <c:pt idx="8752">
                  <c:v>0.15609060103442099</c:v>
                </c:pt>
                <c:pt idx="8753">
                  <c:v>0.15610843588371601</c:v>
                </c:pt>
                <c:pt idx="8754">
                  <c:v>0.156126270733012</c:v>
                </c:pt>
                <c:pt idx="8755">
                  <c:v>0.15614410558230701</c:v>
                </c:pt>
                <c:pt idx="8756">
                  <c:v>0.156161940431603</c:v>
                </c:pt>
                <c:pt idx="8757">
                  <c:v>0.15617977528089799</c:v>
                </c:pt>
                <c:pt idx="8758">
                  <c:v>0.15619761013019401</c:v>
                </c:pt>
                <c:pt idx="8759">
                  <c:v>0.156215444979489</c:v>
                </c:pt>
                <c:pt idx="8760">
                  <c:v>0.15623327982878499</c:v>
                </c:pt>
                <c:pt idx="8761">
                  <c:v>0.15625111467808001</c:v>
                </c:pt>
                <c:pt idx="8762">
                  <c:v>0.15626894952737599</c:v>
                </c:pt>
                <c:pt idx="8763">
                  <c:v>0.15628678437667201</c:v>
                </c:pt>
                <c:pt idx="8764">
                  <c:v>0.156304619225967</c:v>
                </c:pt>
                <c:pt idx="8765">
                  <c:v>0.15632245407526299</c:v>
                </c:pt>
                <c:pt idx="8766">
                  <c:v>0.15634028892455801</c:v>
                </c:pt>
                <c:pt idx="8767">
                  <c:v>0.156358123773854</c:v>
                </c:pt>
                <c:pt idx="8768">
                  <c:v>0.15637595862314899</c:v>
                </c:pt>
                <c:pt idx="8769">
                  <c:v>0.156393793472445</c:v>
                </c:pt>
                <c:pt idx="8770">
                  <c:v>0.15641162832173999</c:v>
                </c:pt>
                <c:pt idx="8771">
                  <c:v>0.15642946317103601</c:v>
                </c:pt>
                <c:pt idx="8772">
                  <c:v>0.156447298020331</c:v>
                </c:pt>
                <c:pt idx="8773">
                  <c:v>0.15646513286962699</c:v>
                </c:pt>
                <c:pt idx="8774">
                  <c:v>0.15648296771892201</c:v>
                </c:pt>
                <c:pt idx="8775">
                  <c:v>0.15650080256821799</c:v>
                </c:pt>
                <c:pt idx="8776">
                  <c:v>0.15651863741751301</c:v>
                </c:pt>
                <c:pt idx="8777">
                  <c:v>0.156536472266809</c:v>
                </c:pt>
                <c:pt idx="8778">
                  <c:v>0.15655430711610399</c:v>
                </c:pt>
                <c:pt idx="8779">
                  <c:v>0.15657214196540001</c:v>
                </c:pt>
                <c:pt idx="8780">
                  <c:v>0.156589976814695</c:v>
                </c:pt>
                <c:pt idx="8781">
                  <c:v>0.15660781166399099</c:v>
                </c:pt>
                <c:pt idx="8782">
                  <c:v>0.156625646513286</c:v>
                </c:pt>
                <c:pt idx="8783">
                  <c:v>0.15664348136258199</c:v>
                </c:pt>
                <c:pt idx="8784">
                  <c:v>0.15666131621187801</c:v>
                </c:pt>
                <c:pt idx="8785">
                  <c:v>0.156679151061173</c:v>
                </c:pt>
                <c:pt idx="8786">
                  <c:v>0.15669698591046899</c:v>
                </c:pt>
                <c:pt idx="8787">
                  <c:v>0.15671482075976401</c:v>
                </c:pt>
                <c:pt idx="8788">
                  <c:v>0.15673265560906</c:v>
                </c:pt>
                <c:pt idx="8789">
                  <c:v>0.15675049045835501</c:v>
                </c:pt>
                <c:pt idx="8790">
                  <c:v>0.156768325307651</c:v>
                </c:pt>
                <c:pt idx="8791">
                  <c:v>0.15678616015694599</c:v>
                </c:pt>
                <c:pt idx="8792">
                  <c:v>0.15680399500624201</c:v>
                </c:pt>
                <c:pt idx="8793">
                  <c:v>0.156821829855537</c:v>
                </c:pt>
                <c:pt idx="8794">
                  <c:v>0.15683966470483299</c:v>
                </c:pt>
                <c:pt idx="8795">
                  <c:v>0.156857499554128</c:v>
                </c:pt>
                <c:pt idx="8796">
                  <c:v>0.15687533440342399</c:v>
                </c:pt>
                <c:pt idx="8797">
                  <c:v>0.15689316925271901</c:v>
                </c:pt>
                <c:pt idx="8798">
                  <c:v>0.156911004102015</c:v>
                </c:pt>
                <c:pt idx="8799">
                  <c:v>0.15692883895130999</c:v>
                </c:pt>
                <c:pt idx="8800">
                  <c:v>0.15694667380060601</c:v>
                </c:pt>
                <c:pt idx="8801">
                  <c:v>0.156964508649901</c:v>
                </c:pt>
                <c:pt idx="8802">
                  <c:v>0.15698234349919701</c:v>
                </c:pt>
                <c:pt idx="8803">
                  <c:v>0.157000178348492</c:v>
                </c:pt>
                <c:pt idx="8804">
                  <c:v>0.15701801319778799</c:v>
                </c:pt>
                <c:pt idx="8805">
                  <c:v>0.15703584804708401</c:v>
                </c:pt>
                <c:pt idx="8806">
                  <c:v>0.157053682896379</c:v>
                </c:pt>
                <c:pt idx="8807">
                  <c:v>0.15707151774567499</c:v>
                </c:pt>
                <c:pt idx="8808">
                  <c:v>0.15708935259497001</c:v>
                </c:pt>
                <c:pt idx="8809">
                  <c:v>0.15710718744426599</c:v>
                </c:pt>
                <c:pt idx="8810">
                  <c:v>0.15712502229356101</c:v>
                </c:pt>
                <c:pt idx="8811">
                  <c:v>0.157142857142857</c:v>
                </c:pt>
                <c:pt idx="8812">
                  <c:v>0.15716069199215199</c:v>
                </c:pt>
                <c:pt idx="8813">
                  <c:v>0.15717852684144801</c:v>
                </c:pt>
                <c:pt idx="8814">
                  <c:v>0.157196361690743</c:v>
                </c:pt>
                <c:pt idx="8815">
                  <c:v>0.15721419654003899</c:v>
                </c:pt>
                <c:pt idx="8816">
                  <c:v>0.157232031389334</c:v>
                </c:pt>
                <c:pt idx="8817">
                  <c:v>0.15724986623862999</c:v>
                </c:pt>
                <c:pt idx="8818">
                  <c:v>0.15726770108792501</c:v>
                </c:pt>
                <c:pt idx="8819">
                  <c:v>0.157285535937221</c:v>
                </c:pt>
                <c:pt idx="8820">
                  <c:v>0.15730337078651599</c:v>
                </c:pt>
                <c:pt idx="8821">
                  <c:v>0.15732120563581201</c:v>
                </c:pt>
                <c:pt idx="8822">
                  <c:v>0.157339040485107</c:v>
                </c:pt>
                <c:pt idx="8823">
                  <c:v>0.15735687533440301</c:v>
                </c:pt>
                <c:pt idx="8824">
                  <c:v>0.157374710183698</c:v>
                </c:pt>
                <c:pt idx="8825">
                  <c:v>0.15739254503299399</c:v>
                </c:pt>
                <c:pt idx="8826">
                  <c:v>0.15741037988229001</c:v>
                </c:pt>
                <c:pt idx="8827">
                  <c:v>0.157428214731585</c:v>
                </c:pt>
                <c:pt idx="8828">
                  <c:v>0.15744604958088099</c:v>
                </c:pt>
                <c:pt idx="8829">
                  <c:v>0.157463884430176</c:v>
                </c:pt>
                <c:pt idx="8830">
                  <c:v>0.15748171927947199</c:v>
                </c:pt>
                <c:pt idx="8831">
                  <c:v>0.15749955412876701</c:v>
                </c:pt>
                <c:pt idx="8832">
                  <c:v>0.157517388978063</c:v>
                </c:pt>
                <c:pt idx="8833">
                  <c:v>0.15753522382735799</c:v>
                </c:pt>
                <c:pt idx="8834">
                  <c:v>0.15755305867665401</c:v>
                </c:pt>
                <c:pt idx="8835">
                  <c:v>0.157570893525949</c:v>
                </c:pt>
                <c:pt idx="8836">
                  <c:v>0.15758872837524501</c:v>
                </c:pt>
                <c:pt idx="8837">
                  <c:v>0.15760656322454</c:v>
                </c:pt>
                <c:pt idx="8838">
                  <c:v>0.15762439807383599</c:v>
                </c:pt>
                <c:pt idx="8839">
                  <c:v>0.15764223292313101</c:v>
                </c:pt>
                <c:pt idx="8840">
                  <c:v>0.157660067772427</c:v>
                </c:pt>
                <c:pt idx="8841">
                  <c:v>0.15767790262172199</c:v>
                </c:pt>
                <c:pt idx="8842">
                  <c:v>0.157695737471018</c:v>
                </c:pt>
                <c:pt idx="8843">
                  <c:v>0.15771357232031299</c:v>
                </c:pt>
                <c:pt idx="8844">
                  <c:v>0.15773140716960901</c:v>
                </c:pt>
                <c:pt idx="8845">
                  <c:v>0.157749242018904</c:v>
                </c:pt>
                <c:pt idx="8846">
                  <c:v>0.15776707686819999</c:v>
                </c:pt>
                <c:pt idx="8847">
                  <c:v>0.15778491171749501</c:v>
                </c:pt>
                <c:pt idx="8848">
                  <c:v>0.157802746566791</c:v>
                </c:pt>
                <c:pt idx="8849">
                  <c:v>0.15782058141608701</c:v>
                </c:pt>
                <c:pt idx="8850">
                  <c:v>0.157838416265382</c:v>
                </c:pt>
                <c:pt idx="8851">
                  <c:v>0.15785625111467799</c:v>
                </c:pt>
                <c:pt idx="8852">
                  <c:v>0.15787408596397301</c:v>
                </c:pt>
                <c:pt idx="8853">
                  <c:v>0.157891920813269</c:v>
                </c:pt>
                <c:pt idx="8854">
                  <c:v>0.15790975566256399</c:v>
                </c:pt>
                <c:pt idx="8855">
                  <c:v>0.15792759051186001</c:v>
                </c:pt>
                <c:pt idx="8856">
                  <c:v>0.157945425361155</c:v>
                </c:pt>
                <c:pt idx="8857">
                  <c:v>0.15796326021045101</c:v>
                </c:pt>
                <c:pt idx="8858">
                  <c:v>0.157981095059746</c:v>
                </c:pt>
                <c:pt idx="8859">
                  <c:v>0.15799892990904199</c:v>
                </c:pt>
                <c:pt idx="8860">
                  <c:v>0.15801676475833701</c:v>
                </c:pt>
                <c:pt idx="8861">
                  <c:v>0.158034599607633</c:v>
                </c:pt>
                <c:pt idx="8862">
                  <c:v>0.15805243445692799</c:v>
                </c:pt>
                <c:pt idx="8863">
                  <c:v>0.158070269306224</c:v>
                </c:pt>
                <c:pt idx="8864">
                  <c:v>0.15808810415551899</c:v>
                </c:pt>
                <c:pt idx="8865">
                  <c:v>0.15810593900481501</c:v>
                </c:pt>
                <c:pt idx="8866">
                  <c:v>0.15812377385411</c:v>
                </c:pt>
                <c:pt idx="8867">
                  <c:v>0.15814160870340599</c:v>
                </c:pt>
                <c:pt idx="8868">
                  <c:v>0.15815944355270101</c:v>
                </c:pt>
                <c:pt idx="8869">
                  <c:v>0.158177278401997</c:v>
                </c:pt>
                <c:pt idx="8870">
                  <c:v>0.15819511325129301</c:v>
                </c:pt>
                <c:pt idx="8871">
                  <c:v>0.158212948100588</c:v>
                </c:pt>
                <c:pt idx="8872">
                  <c:v>0.15823078294988399</c:v>
                </c:pt>
                <c:pt idx="8873">
                  <c:v>0.15824861779917901</c:v>
                </c:pt>
                <c:pt idx="8874">
                  <c:v>0.158266452648475</c:v>
                </c:pt>
                <c:pt idx="8875">
                  <c:v>0.15828428749776999</c:v>
                </c:pt>
                <c:pt idx="8876">
                  <c:v>0.158302122347066</c:v>
                </c:pt>
                <c:pt idx="8877">
                  <c:v>0.15831995719636099</c:v>
                </c:pt>
                <c:pt idx="8878">
                  <c:v>0.15833779204565701</c:v>
                </c:pt>
                <c:pt idx="8879">
                  <c:v>0.158355626894952</c:v>
                </c:pt>
                <c:pt idx="8880">
                  <c:v>0.15837346174424799</c:v>
                </c:pt>
                <c:pt idx="8881">
                  <c:v>0.15839129659354301</c:v>
                </c:pt>
                <c:pt idx="8882">
                  <c:v>0.158409131442839</c:v>
                </c:pt>
                <c:pt idx="8883">
                  <c:v>0.15842696629213401</c:v>
                </c:pt>
                <c:pt idx="8884">
                  <c:v>0.15844480114143</c:v>
                </c:pt>
                <c:pt idx="8885">
                  <c:v>0.15846263599072499</c:v>
                </c:pt>
                <c:pt idx="8886">
                  <c:v>0.15848047084002101</c:v>
                </c:pt>
                <c:pt idx="8887">
                  <c:v>0.158498305689316</c:v>
                </c:pt>
                <c:pt idx="8888">
                  <c:v>0.15851614053861199</c:v>
                </c:pt>
                <c:pt idx="8889">
                  <c:v>0.15853397538790701</c:v>
                </c:pt>
                <c:pt idx="8890">
                  <c:v>0.15855181023720299</c:v>
                </c:pt>
                <c:pt idx="8891">
                  <c:v>0.15856964508649901</c:v>
                </c:pt>
                <c:pt idx="8892">
                  <c:v>0.158587479935794</c:v>
                </c:pt>
                <c:pt idx="8893">
                  <c:v>0.15860531478508999</c:v>
                </c:pt>
                <c:pt idx="8894">
                  <c:v>0.15862314963438501</c:v>
                </c:pt>
                <c:pt idx="8895">
                  <c:v>0.158640984483681</c:v>
                </c:pt>
                <c:pt idx="8896">
                  <c:v>0.15865881933297599</c:v>
                </c:pt>
                <c:pt idx="8897">
                  <c:v>0.158676654182272</c:v>
                </c:pt>
                <c:pt idx="8898">
                  <c:v>0.15869448903156699</c:v>
                </c:pt>
                <c:pt idx="8899">
                  <c:v>0.15871232388086301</c:v>
                </c:pt>
                <c:pt idx="8900">
                  <c:v>0.158730158730158</c:v>
                </c:pt>
                <c:pt idx="8901">
                  <c:v>0.15874799357945399</c:v>
                </c:pt>
                <c:pt idx="8902">
                  <c:v>0.15876582842874901</c:v>
                </c:pt>
                <c:pt idx="8903">
                  <c:v>0.158783663278045</c:v>
                </c:pt>
                <c:pt idx="8904">
                  <c:v>0.15880149812734001</c:v>
                </c:pt>
                <c:pt idx="8905">
                  <c:v>0.158819332976636</c:v>
                </c:pt>
                <c:pt idx="8906">
                  <c:v>0.15883716782593099</c:v>
                </c:pt>
                <c:pt idx="8907">
                  <c:v>0.15885500267522701</c:v>
                </c:pt>
                <c:pt idx="8908">
                  <c:v>0.158872837524522</c:v>
                </c:pt>
                <c:pt idx="8909">
                  <c:v>0.15889067237381799</c:v>
                </c:pt>
                <c:pt idx="8910">
                  <c:v>0.158908507223113</c:v>
                </c:pt>
                <c:pt idx="8911">
                  <c:v>0.15892634207240899</c:v>
                </c:pt>
                <c:pt idx="8912">
                  <c:v>0.15894417692170501</c:v>
                </c:pt>
                <c:pt idx="8913">
                  <c:v>0.158962011771</c:v>
                </c:pt>
                <c:pt idx="8914">
                  <c:v>0.15897984662029599</c:v>
                </c:pt>
                <c:pt idx="8915">
                  <c:v>0.15899768146959101</c:v>
                </c:pt>
                <c:pt idx="8916">
                  <c:v>0.159015516318887</c:v>
                </c:pt>
                <c:pt idx="8917">
                  <c:v>0.15903335116818201</c:v>
                </c:pt>
                <c:pt idx="8918">
                  <c:v>0.159051186017478</c:v>
                </c:pt>
                <c:pt idx="8919">
                  <c:v>0.15906902086677299</c:v>
                </c:pt>
                <c:pt idx="8920">
                  <c:v>0.15908685571606901</c:v>
                </c:pt>
                <c:pt idx="8921">
                  <c:v>0.159104690565364</c:v>
                </c:pt>
                <c:pt idx="8922">
                  <c:v>0.15912252541465999</c:v>
                </c:pt>
                <c:pt idx="8923">
                  <c:v>0.15914036026395501</c:v>
                </c:pt>
                <c:pt idx="8924">
                  <c:v>0.15915819511325099</c:v>
                </c:pt>
                <c:pt idx="8925">
                  <c:v>0.15917602996254601</c:v>
                </c:pt>
                <c:pt idx="8926">
                  <c:v>0.159193864811842</c:v>
                </c:pt>
                <c:pt idx="8927">
                  <c:v>0.15921169966113699</c:v>
                </c:pt>
                <c:pt idx="8928">
                  <c:v>0.15922953451043301</c:v>
                </c:pt>
                <c:pt idx="8929">
                  <c:v>0.159247369359728</c:v>
                </c:pt>
                <c:pt idx="8930">
                  <c:v>0.15926520420902401</c:v>
                </c:pt>
                <c:pt idx="8931">
                  <c:v>0.159283039058319</c:v>
                </c:pt>
                <c:pt idx="8932">
                  <c:v>0.15930087390761499</c:v>
                </c:pt>
                <c:pt idx="8933">
                  <c:v>0.15931870875691101</c:v>
                </c:pt>
                <c:pt idx="8934">
                  <c:v>0.159336543606206</c:v>
                </c:pt>
                <c:pt idx="8935">
                  <c:v>0.15935437845550199</c:v>
                </c:pt>
                <c:pt idx="8936">
                  <c:v>0.15937221330479701</c:v>
                </c:pt>
                <c:pt idx="8937">
                  <c:v>0.15939004815409299</c:v>
                </c:pt>
                <c:pt idx="8938">
                  <c:v>0.15940788300338801</c:v>
                </c:pt>
                <c:pt idx="8939">
                  <c:v>0.159425717852684</c:v>
                </c:pt>
                <c:pt idx="8940">
                  <c:v>0.15944355270197899</c:v>
                </c:pt>
                <c:pt idx="8941">
                  <c:v>0.15946138755127501</c:v>
                </c:pt>
                <c:pt idx="8942">
                  <c:v>0.15947922240057</c:v>
                </c:pt>
                <c:pt idx="8943">
                  <c:v>0.15949705724986599</c:v>
                </c:pt>
                <c:pt idx="8944">
                  <c:v>0.159514892099161</c:v>
                </c:pt>
                <c:pt idx="8945">
                  <c:v>0.15953272694845699</c:v>
                </c:pt>
                <c:pt idx="8946">
                  <c:v>0.15955056179775201</c:v>
                </c:pt>
                <c:pt idx="8947">
                  <c:v>0.159568396647048</c:v>
                </c:pt>
                <c:pt idx="8948">
                  <c:v>0.15958623149634299</c:v>
                </c:pt>
                <c:pt idx="8949">
                  <c:v>0.15960406634563901</c:v>
                </c:pt>
                <c:pt idx="8950">
                  <c:v>0.159621901194934</c:v>
                </c:pt>
                <c:pt idx="8951">
                  <c:v>0.15963973604423001</c:v>
                </c:pt>
                <c:pt idx="8952">
                  <c:v>0.159657570893525</c:v>
                </c:pt>
                <c:pt idx="8953">
                  <c:v>0.15967540574282099</c:v>
                </c:pt>
                <c:pt idx="8954">
                  <c:v>0.15969324059211701</c:v>
                </c:pt>
                <c:pt idx="8955">
                  <c:v>0.159711075441412</c:v>
                </c:pt>
                <c:pt idx="8956">
                  <c:v>0.15972891029070799</c:v>
                </c:pt>
                <c:pt idx="8957">
                  <c:v>0.159746745140003</c:v>
                </c:pt>
                <c:pt idx="8958">
                  <c:v>0.15976457998929899</c:v>
                </c:pt>
                <c:pt idx="8959">
                  <c:v>0.15978241483859401</c:v>
                </c:pt>
                <c:pt idx="8960">
                  <c:v>0.15980024968789</c:v>
                </c:pt>
                <c:pt idx="8961">
                  <c:v>0.15981808453718499</c:v>
                </c:pt>
                <c:pt idx="8962">
                  <c:v>0.15983591938648101</c:v>
                </c:pt>
                <c:pt idx="8963">
                  <c:v>0.159853754235776</c:v>
                </c:pt>
                <c:pt idx="8964">
                  <c:v>0.15987158908507201</c:v>
                </c:pt>
                <c:pt idx="8965">
                  <c:v>0.159889423934367</c:v>
                </c:pt>
                <c:pt idx="8966">
                  <c:v>0.15990725878366299</c:v>
                </c:pt>
                <c:pt idx="8967">
                  <c:v>0.15992509363295801</c:v>
                </c:pt>
                <c:pt idx="8968">
                  <c:v>0.159942928482254</c:v>
                </c:pt>
                <c:pt idx="8969">
                  <c:v>0.15996076333154899</c:v>
                </c:pt>
                <c:pt idx="8970">
                  <c:v>0.15997859818084501</c:v>
                </c:pt>
                <c:pt idx="8971">
                  <c:v>0.15999643303014</c:v>
                </c:pt>
                <c:pt idx="8972">
                  <c:v>0.16001426787943601</c:v>
                </c:pt>
                <c:pt idx="8973">
                  <c:v>0.160032102728731</c:v>
                </c:pt>
                <c:pt idx="8974">
                  <c:v>0.16004993757802699</c:v>
                </c:pt>
                <c:pt idx="8975">
                  <c:v>0.16006777242732201</c:v>
                </c:pt>
                <c:pt idx="8976">
                  <c:v>0.160085607276618</c:v>
                </c:pt>
                <c:pt idx="8977">
                  <c:v>0.16010344212591399</c:v>
                </c:pt>
                <c:pt idx="8978">
                  <c:v>0.160121276975209</c:v>
                </c:pt>
                <c:pt idx="8979">
                  <c:v>0.16013911182450499</c:v>
                </c:pt>
                <c:pt idx="8980">
                  <c:v>0.16015694667380001</c:v>
                </c:pt>
                <c:pt idx="8981">
                  <c:v>0.160174781523096</c:v>
                </c:pt>
                <c:pt idx="8982">
                  <c:v>0.16019261637239099</c:v>
                </c:pt>
                <c:pt idx="8983">
                  <c:v>0.16021045122168701</c:v>
                </c:pt>
                <c:pt idx="8984">
                  <c:v>0.160228286070982</c:v>
                </c:pt>
                <c:pt idx="8985">
                  <c:v>0.16024612092027801</c:v>
                </c:pt>
                <c:pt idx="8986">
                  <c:v>0.160263955769573</c:v>
                </c:pt>
                <c:pt idx="8987">
                  <c:v>0.16028179061886899</c:v>
                </c:pt>
                <c:pt idx="8988">
                  <c:v>0.16029962546816401</c:v>
                </c:pt>
                <c:pt idx="8989">
                  <c:v>0.16031746031746</c:v>
                </c:pt>
                <c:pt idx="8990">
                  <c:v>0.16033529516675499</c:v>
                </c:pt>
                <c:pt idx="8991">
                  <c:v>0.160353130016051</c:v>
                </c:pt>
                <c:pt idx="8992">
                  <c:v>0.16037096486534599</c:v>
                </c:pt>
                <c:pt idx="8993">
                  <c:v>0.16038879971464201</c:v>
                </c:pt>
                <c:pt idx="8994">
                  <c:v>0.160406634563937</c:v>
                </c:pt>
                <c:pt idx="8995">
                  <c:v>0.16042446941323299</c:v>
                </c:pt>
                <c:pt idx="8996">
                  <c:v>0.16044230426252801</c:v>
                </c:pt>
                <c:pt idx="8997">
                  <c:v>0.160460139111824</c:v>
                </c:pt>
                <c:pt idx="8998">
                  <c:v>0.16047797396112001</c:v>
                </c:pt>
                <c:pt idx="8999">
                  <c:v>0.160495808810415</c:v>
                </c:pt>
                <c:pt idx="9000">
                  <c:v>0.16051364365971099</c:v>
                </c:pt>
                <c:pt idx="9001">
                  <c:v>0.16053147850900601</c:v>
                </c:pt>
                <c:pt idx="9002">
                  <c:v>0.160549313358302</c:v>
                </c:pt>
                <c:pt idx="9003">
                  <c:v>0.16056714820759699</c:v>
                </c:pt>
                <c:pt idx="9004">
                  <c:v>0.160584983056893</c:v>
                </c:pt>
                <c:pt idx="9005">
                  <c:v>0.16060281790618799</c:v>
                </c:pt>
                <c:pt idx="9006">
                  <c:v>0.16062065275548401</c:v>
                </c:pt>
                <c:pt idx="9007">
                  <c:v>0.160638487604779</c:v>
                </c:pt>
                <c:pt idx="9008">
                  <c:v>0.16065632245407499</c:v>
                </c:pt>
                <c:pt idx="9009">
                  <c:v>0.16067415730337001</c:v>
                </c:pt>
                <c:pt idx="9010">
                  <c:v>0.160691992152666</c:v>
                </c:pt>
                <c:pt idx="9011">
                  <c:v>0.16070982700196099</c:v>
                </c:pt>
                <c:pt idx="9012">
                  <c:v>0.160727661851257</c:v>
                </c:pt>
                <c:pt idx="9013">
                  <c:v>0.16074549670055199</c:v>
                </c:pt>
                <c:pt idx="9014">
                  <c:v>0.16076333154984801</c:v>
                </c:pt>
                <c:pt idx="9015">
                  <c:v>0.160781166399143</c:v>
                </c:pt>
                <c:pt idx="9016">
                  <c:v>0.16079900124843899</c:v>
                </c:pt>
                <c:pt idx="9017">
                  <c:v>0.16081683609773401</c:v>
                </c:pt>
                <c:pt idx="9018">
                  <c:v>0.16083467094703</c:v>
                </c:pt>
                <c:pt idx="9019">
                  <c:v>0.16085250579632601</c:v>
                </c:pt>
                <c:pt idx="9020">
                  <c:v>0.160870340645621</c:v>
                </c:pt>
                <c:pt idx="9021">
                  <c:v>0.16088817549491699</c:v>
                </c:pt>
                <c:pt idx="9022">
                  <c:v>0.16090601034421201</c:v>
                </c:pt>
                <c:pt idx="9023">
                  <c:v>0.160923845193508</c:v>
                </c:pt>
                <c:pt idx="9024">
                  <c:v>0.16094168004280299</c:v>
                </c:pt>
                <c:pt idx="9025">
                  <c:v>0.160959514892099</c:v>
                </c:pt>
                <c:pt idx="9026">
                  <c:v>0.16097734974139399</c:v>
                </c:pt>
                <c:pt idx="9027">
                  <c:v>0.16099518459069001</c:v>
                </c:pt>
                <c:pt idx="9028">
                  <c:v>0.161013019439985</c:v>
                </c:pt>
                <c:pt idx="9029">
                  <c:v>0.16103085428928099</c:v>
                </c:pt>
                <c:pt idx="9030">
                  <c:v>0.16104868913857601</c:v>
                </c:pt>
                <c:pt idx="9031">
                  <c:v>0.161066523987872</c:v>
                </c:pt>
                <c:pt idx="9032">
                  <c:v>0.16108435883716701</c:v>
                </c:pt>
                <c:pt idx="9033">
                  <c:v>0.161102193686463</c:v>
                </c:pt>
                <c:pt idx="9034">
                  <c:v>0.16112002853575799</c:v>
                </c:pt>
                <c:pt idx="9035">
                  <c:v>0.16113786338505401</c:v>
                </c:pt>
                <c:pt idx="9036">
                  <c:v>0.161155698234349</c:v>
                </c:pt>
                <c:pt idx="9037">
                  <c:v>0.16117353308364499</c:v>
                </c:pt>
                <c:pt idx="9038">
                  <c:v>0.16119136793294001</c:v>
                </c:pt>
                <c:pt idx="9039">
                  <c:v>0.16120920278223599</c:v>
                </c:pt>
                <c:pt idx="9040">
                  <c:v>0.16122703763153201</c:v>
                </c:pt>
                <c:pt idx="9041">
                  <c:v>0.161244872480827</c:v>
                </c:pt>
                <c:pt idx="9042">
                  <c:v>0.16126270733012299</c:v>
                </c:pt>
                <c:pt idx="9043">
                  <c:v>0.16128054217941801</c:v>
                </c:pt>
                <c:pt idx="9044">
                  <c:v>0.161298377028714</c:v>
                </c:pt>
                <c:pt idx="9045">
                  <c:v>0.16131621187800901</c:v>
                </c:pt>
                <c:pt idx="9046">
                  <c:v>0.161334046727305</c:v>
                </c:pt>
                <c:pt idx="9047">
                  <c:v>0.16135188157659999</c:v>
                </c:pt>
                <c:pt idx="9048">
                  <c:v>0.16136971642589601</c:v>
                </c:pt>
                <c:pt idx="9049">
                  <c:v>0.161387551275191</c:v>
                </c:pt>
                <c:pt idx="9050">
                  <c:v>0.16140538612448699</c:v>
                </c:pt>
                <c:pt idx="9051">
                  <c:v>0.16142322097378201</c:v>
                </c:pt>
                <c:pt idx="9052">
                  <c:v>0.16144105582307799</c:v>
                </c:pt>
                <c:pt idx="9053">
                  <c:v>0.16145889067237301</c:v>
                </c:pt>
                <c:pt idx="9054">
                  <c:v>0.161476725521669</c:v>
                </c:pt>
                <c:pt idx="9055">
                  <c:v>0.16149456037096399</c:v>
                </c:pt>
                <c:pt idx="9056">
                  <c:v>0.16151239522026001</c:v>
                </c:pt>
                <c:pt idx="9057">
                  <c:v>0.161530230069555</c:v>
                </c:pt>
                <c:pt idx="9058">
                  <c:v>0.16154806491885099</c:v>
                </c:pt>
                <c:pt idx="9059">
                  <c:v>0.161565899768146</c:v>
                </c:pt>
                <c:pt idx="9060">
                  <c:v>0.16158373461744199</c:v>
                </c:pt>
                <c:pt idx="9061">
                  <c:v>0.16160156946673801</c:v>
                </c:pt>
                <c:pt idx="9062">
                  <c:v>0.161619404316033</c:v>
                </c:pt>
                <c:pt idx="9063">
                  <c:v>0.16163723916532899</c:v>
                </c:pt>
                <c:pt idx="9064">
                  <c:v>0.16165507401462401</c:v>
                </c:pt>
                <c:pt idx="9065">
                  <c:v>0.16167290886392</c:v>
                </c:pt>
                <c:pt idx="9066">
                  <c:v>0.16169074371321501</c:v>
                </c:pt>
                <c:pt idx="9067">
                  <c:v>0.161708578562511</c:v>
                </c:pt>
                <c:pt idx="9068">
                  <c:v>0.16172641341180599</c:v>
                </c:pt>
                <c:pt idx="9069">
                  <c:v>0.16174424826110201</c:v>
                </c:pt>
                <c:pt idx="9070">
                  <c:v>0.161762083110397</c:v>
                </c:pt>
                <c:pt idx="9071">
                  <c:v>0.16177991795969299</c:v>
                </c:pt>
                <c:pt idx="9072">
                  <c:v>0.161797752808988</c:v>
                </c:pt>
                <c:pt idx="9073">
                  <c:v>0.16181558765828399</c:v>
                </c:pt>
                <c:pt idx="9074">
                  <c:v>0.16183342250757901</c:v>
                </c:pt>
                <c:pt idx="9075">
                  <c:v>0.161851257356875</c:v>
                </c:pt>
                <c:pt idx="9076">
                  <c:v>0.16186909220616999</c:v>
                </c:pt>
                <c:pt idx="9077">
                  <c:v>0.16188692705546601</c:v>
                </c:pt>
                <c:pt idx="9078">
                  <c:v>0.161904761904761</c:v>
                </c:pt>
                <c:pt idx="9079">
                  <c:v>0.16192259675405701</c:v>
                </c:pt>
                <c:pt idx="9080">
                  <c:v>0.161940431603352</c:v>
                </c:pt>
                <c:pt idx="9081">
                  <c:v>0.16195826645264799</c:v>
                </c:pt>
                <c:pt idx="9082">
                  <c:v>0.16197610130194401</c:v>
                </c:pt>
                <c:pt idx="9083">
                  <c:v>0.161993936151239</c:v>
                </c:pt>
                <c:pt idx="9084">
                  <c:v>0.16201177100053499</c:v>
                </c:pt>
                <c:pt idx="9085">
                  <c:v>0.16202960584983001</c:v>
                </c:pt>
                <c:pt idx="9086">
                  <c:v>0.16204744069912599</c:v>
                </c:pt>
                <c:pt idx="9087">
                  <c:v>0.16206527554842101</c:v>
                </c:pt>
                <c:pt idx="9088">
                  <c:v>0.162083110397717</c:v>
                </c:pt>
                <c:pt idx="9089">
                  <c:v>0.16210094524701199</c:v>
                </c:pt>
                <c:pt idx="9090">
                  <c:v>0.16211878009630801</c:v>
                </c:pt>
                <c:pt idx="9091">
                  <c:v>0.162136614945603</c:v>
                </c:pt>
                <c:pt idx="9092">
                  <c:v>0.16215444979489901</c:v>
                </c:pt>
                <c:pt idx="9093">
                  <c:v>0.162172284644194</c:v>
                </c:pt>
                <c:pt idx="9094">
                  <c:v>0.16219011949348999</c:v>
                </c:pt>
                <c:pt idx="9095">
                  <c:v>0.16220795434278501</c:v>
                </c:pt>
                <c:pt idx="9096">
                  <c:v>0.162225789192081</c:v>
                </c:pt>
                <c:pt idx="9097">
                  <c:v>0.16224362404137599</c:v>
                </c:pt>
                <c:pt idx="9098">
                  <c:v>0.16226145889067201</c:v>
                </c:pt>
                <c:pt idx="9099">
                  <c:v>0.162279293739967</c:v>
                </c:pt>
                <c:pt idx="9100">
                  <c:v>0.16229712858926301</c:v>
                </c:pt>
                <c:pt idx="9101">
                  <c:v>0.162314963438558</c:v>
                </c:pt>
                <c:pt idx="9102">
                  <c:v>0.16233279828785399</c:v>
                </c:pt>
                <c:pt idx="9103">
                  <c:v>0.16235063313714901</c:v>
                </c:pt>
                <c:pt idx="9104">
                  <c:v>0.162368467986445</c:v>
                </c:pt>
                <c:pt idx="9105">
                  <c:v>0.16238630283574099</c:v>
                </c:pt>
                <c:pt idx="9106">
                  <c:v>0.162404137685036</c:v>
                </c:pt>
                <c:pt idx="9107">
                  <c:v>0.16242197253433199</c:v>
                </c:pt>
                <c:pt idx="9108">
                  <c:v>0.16243980738362701</c:v>
                </c:pt>
                <c:pt idx="9109">
                  <c:v>0.162457642232923</c:v>
                </c:pt>
                <c:pt idx="9110">
                  <c:v>0.16247547708221799</c:v>
                </c:pt>
                <c:pt idx="9111">
                  <c:v>0.16249331193151401</c:v>
                </c:pt>
                <c:pt idx="9112">
                  <c:v>0.162511146780809</c:v>
                </c:pt>
                <c:pt idx="9113">
                  <c:v>0.16252898163010501</c:v>
                </c:pt>
                <c:pt idx="9114">
                  <c:v>0.1625468164794</c:v>
                </c:pt>
                <c:pt idx="9115">
                  <c:v>0.16256465132869599</c:v>
                </c:pt>
                <c:pt idx="9116">
                  <c:v>0.16258248617799101</c:v>
                </c:pt>
                <c:pt idx="9117">
                  <c:v>0.162600321027287</c:v>
                </c:pt>
                <c:pt idx="9118">
                  <c:v>0.16261815587658199</c:v>
                </c:pt>
                <c:pt idx="9119">
                  <c:v>0.162635990725878</c:v>
                </c:pt>
                <c:pt idx="9120">
                  <c:v>0.16265382557517299</c:v>
                </c:pt>
                <c:pt idx="9121">
                  <c:v>0.16267166042446901</c:v>
                </c:pt>
                <c:pt idx="9122">
                  <c:v>0.162689495273764</c:v>
                </c:pt>
                <c:pt idx="9123">
                  <c:v>0.16270733012305999</c:v>
                </c:pt>
                <c:pt idx="9124">
                  <c:v>0.16272516497235501</c:v>
                </c:pt>
                <c:pt idx="9125">
                  <c:v>0.162742999821651</c:v>
                </c:pt>
                <c:pt idx="9126">
                  <c:v>0.16276083467094701</c:v>
                </c:pt>
                <c:pt idx="9127">
                  <c:v>0.162778669520242</c:v>
                </c:pt>
                <c:pt idx="9128">
                  <c:v>0.16279650436953799</c:v>
                </c:pt>
                <c:pt idx="9129">
                  <c:v>0.16281433921883301</c:v>
                </c:pt>
                <c:pt idx="9130">
                  <c:v>0.162832174068129</c:v>
                </c:pt>
                <c:pt idx="9131">
                  <c:v>0.16285000891742399</c:v>
                </c:pt>
                <c:pt idx="9132">
                  <c:v>0.16286784376672001</c:v>
                </c:pt>
                <c:pt idx="9133">
                  <c:v>0.16288567861601499</c:v>
                </c:pt>
                <c:pt idx="9134">
                  <c:v>0.16290351346531101</c:v>
                </c:pt>
                <c:pt idx="9135">
                  <c:v>0.162921348314606</c:v>
                </c:pt>
                <c:pt idx="9136">
                  <c:v>0.16293918316390199</c:v>
                </c:pt>
                <c:pt idx="9137">
                  <c:v>0.16295701801319701</c:v>
                </c:pt>
                <c:pt idx="9138">
                  <c:v>0.162974852862493</c:v>
                </c:pt>
                <c:pt idx="9139">
                  <c:v>0.16299268771178799</c:v>
                </c:pt>
                <c:pt idx="9140">
                  <c:v>0.163010522561084</c:v>
                </c:pt>
                <c:pt idx="9141">
                  <c:v>0.16302835741037899</c:v>
                </c:pt>
                <c:pt idx="9142">
                  <c:v>0.16304619225967501</c:v>
                </c:pt>
                <c:pt idx="9143">
                  <c:v>0.16306402710897</c:v>
                </c:pt>
                <c:pt idx="9144">
                  <c:v>0.16308186195826599</c:v>
                </c:pt>
                <c:pt idx="9145">
                  <c:v>0.16309969680756101</c:v>
                </c:pt>
                <c:pt idx="9146">
                  <c:v>0.163117531656857</c:v>
                </c:pt>
                <c:pt idx="9147">
                  <c:v>0.16313536650615301</c:v>
                </c:pt>
                <c:pt idx="9148">
                  <c:v>0.163153201355448</c:v>
                </c:pt>
                <c:pt idx="9149">
                  <c:v>0.16317103620474399</c:v>
                </c:pt>
                <c:pt idx="9150">
                  <c:v>0.16318887105403901</c:v>
                </c:pt>
                <c:pt idx="9151">
                  <c:v>0.163206705903335</c:v>
                </c:pt>
                <c:pt idx="9152">
                  <c:v>0.16322454075262999</c:v>
                </c:pt>
                <c:pt idx="9153">
                  <c:v>0.163242375601926</c:v>
                </c:pt>
                <c:pt idx="9154">
                  <c:v>0.16326021045122099</c:v>
                </c:pt>
                <c:pt idx="9155">
                  <c:v>0.16327804530051701</c:v>
                </c:pt>
                <c:pt idx="9156">
                  <c:v>0.163295880149812</c:v>
                </c:pt>
                <c:pt idx="9157">
                  <c:v>0.16331371499910799</c:v>
                </c:pt>
                <c:pt idx="9158">
                  <c:v>0.16333154984840301</c:v>
                </c:pt>
                <c:pt idx="9159">
                  <c:v>0.163349384697699</c:v>
                </c:pt>
                <c:pt idx="9160">
                  <c:v>0.16336721954699401</c:v>
                </c:pt>
                <c:pt idx="9161">
                  <c:v>0.16338505439629</c:v>
                </c:pt>
                <c:pt idx="9162">
                  <c:v>0.16340288924558499</c:v>
                </c:pt>
                <c:pt idx="9163">
                  <c:v>0.16342072409488101</c:v>
                </c:pt>
                <c:pt idx="9164">
                  <c:v>0.163438558944176</c:v>
                </c:pt>
                <c:pt idx="9165">
                  <c:v>0.16345639379347199</c:v>
                </c:pt>
                <c:pt idx="9166">
                  <c:v>0.16347422864276701</c:v>
                </c:pt>
                <c:pt idx="9167">
                  <c:v>0.16349206349206299</c:v>
                </c:pt>
                <c:pt idx="9168">
                  <c:v>0.16350989834135901</c:v>
                </c:pt>
                <c:pt idx="9169">
                  <c:v>0.163527733190654</c:v>
                </c:pt>
                <c:pt idx="9170">
                  <c:v>0.16354556803994999</c:v>
                </c:pt>
                <c:pt idx="9171">
                  <c:v>0.16356340288924501</c:v>
                </c:pt>
                <c:pt idx="9172">
                  <c:v>0.163581237738541</c:v>
                </c:pt>
                <c:pt idx="9173">
                  <c:v>0.16359907258783599</c:v>
                </c:pt>
                <c:pt idx="9174">
                  <c:v>0.163616907437132</c:v>
                </c:pt>
                <c:pt idx="9175">
                  <c:v>0.16363474228642699</c:v>
                </c:pt>
                <c:pt idx="9176">
                  <c:v>0.16365257713572301</c:v>
                </c:pt>
                <c:pt idx="9177">
                  <c:v>0.163670411985018</c:v>
                </c:pt>
                <c:pt idx="9178">
                  <c:v>0.16368824683431399</c:v>
                </c:pt>
                <c:pt idx="9179">
                  <c:v>0.16370608168360901</c:v>
                </c:pt>
                <c:pt idx="9180">
                  <c:v>0.163723916532905</c:v>
                </c:pt>
                <c:pt idx="9181">
                  <c:v>0.16374175138220001</c:v>
                </c:pt>
                <c:pt idx="9182">
                  <c:v>0.163759586231496</c:v>
                </c:pt>
                <c:pt idx="9183">
                  <c:v>0.16377742108079099</c:v>
                </c:pt>
                <c:pt idx="9184">
                  <c:v>0.16379525593008701</c:v>
                </c:pt>
                <c:pt idx="9185">
                  <c:v>0.163813090779382</c:v>
                </c:pt>
                <c:pt idx="9186">
                  <c:v>0.16383092562867799</c:v>
                </c:pt>
                <c:pt idx="9187">
                  <c:v>0.163848760477973</c:v>
                </c:pt>
                <c:pt idx="9188">
                  <c:v>0.16386659532726899</c:v>
                </c:pt>
                <c:pt idx="9189">
                  <c:v>0.16388443017656501</c:v>
                </c:pt>
                <c:pt idx="9190">
                  <c:v>0.16390226502586</c:v>
                </c:pt>
                <c:pt idx="9191">
                  <c:v>0.16392009987515599</c:v>
                </c:pt>
                <c:pt idx="9192">
                  <c:v>0.16393793472445101</c:v>
                </c:pt>
                <c:pt idx="9193">
                  <c:v>0.163955769573747</c:v>
                </c:pt>
                <c:pt idx="9194">
                  <c:v>0.16397360442304201</c:v>
                </c:pt>
                <c:pt idx="9195">
                  <c:v>0.163991439272338</c:v>
                </c:pt>
                <c:pt idx="9196">
                  <c:v>0.16400927412163299</c:v>
                </c:pt>
                <c:pt idx="9197">
                  <c:v>0.16402710897092901</c:v>
                </c:pt>
                <c:pt idx="9198">
                  <c:v>0.164044943820224</c:v>
                </c:pt>
                <c:pt idx="9199">
                  <c:v>0.16406277866951999</c:v>
                </c:pt>
                <c:pt idx="9200">
                  <c:v>0.16408061351881501</c:v>
                </c:pt>
                <c:pt idx="9201">
                  <c:v>0.16409844836811099</c:v>
                </c:pt>
                <c:pt idx="9202">
                  <c:v>0.16411628321740601</c:v>
                </c:pt>
                <c:pt idx="9203">
                  <c:v>0.164134118066702</c:v>
                </c:pt>
                <c:pt idx="9204">
                  <c:v>0.16415195291599699</c:v>
                </c:pt>
                <c:pt idx="9205">
                  <c:v>0.16416978776529301</c:v>
                </c:pt>
                <c:pt idx="9206">
                  <c:v>0.164187622614588</c:v>
                </c:pt>
                <c:pt idx="9207">
                  <c:v>0.16420545746388401</c:v>
                </c:pt>
                <c:pt idx="9208">
                  <c:v>0.164223292313179</c:v>
                </c:pt>
                <c:pt idx="9209">
                  <c:v>0.16424112716247499</c:v>
                </c:pt>
                <c:pt idx="9210">
                  <c:v>0.16425896201177101</c:v>
                </c:pt>
                <c:pt idx="9211">
                  <c:v>0.164276796861066</c:v>
                </c:pt>
                <c:pt idx="9212">
                  <c:v>0.16429463171036199</c:v>
                </c:pt>
                <c:pt idx="9213">
                  <c:v>0.16431246655965701</c:v>
                </c:pt>
                <c:pt idx="9214">
                  <c:v>0.16433030140895299</c:v>
                </c:pt>
                <c:pt idx="9215">
                  <c:v>0.16434813625824801</c:v>
                </c:pt>
                <c:pt idx="9216">
                  <c:v>0.164365971107544</c:v>
                </c:pt>
                <c:pt idx="9217">
                  <c:v>0.16438380595683899</c:v>
                </c:pt>
                <c:pt idx="9218">
                  <c:v>0.16440164080613501</c:v>
                </c:pt>
                <c:pt idx="9219">
                  <c:v>0.16441947565543</c:v>
                </c:pt>
                <c:pt idx="9220">
                  <c:v>0.16443731050472599</c:v>
                </c:pt>
                <c:pt idx="9221">
                  <c:v>0.164455145354021</c:v>
                </c:pt>
                <c:pt idx="9222">
                  <c:v>0.16447298020331699</c:v>
                </c:pt>
                <c:pt idx="9223">
                  <c:v>0.16449081505261201</c:v>
                </c:pt>
                <c:pt idx="9224">
                  <c:v>0.164508649901908</c:v>
                </c:pt>
                <c:pt idx="9225">
                  <c:v>0.16452648475120299</c:v>
                </c:pt>
                <c:pt idx="9226">
                  <c:v>0.16454431960049901</c:v>
                </c:pt>
                <c:pt idx="9227">
                  <c:v>0.164562154449794</c:v>
                </c:pt>
                <c:pt idx="9228">
                  <c:v>0.16457998929909001</c:v>
                </c:pt>
                <c:pt idx="9229">
                  <c:v>0.164597824148385</c:v>
                </c:pt>
                <c:pt idx="9230">
                  <c:v>0.16461565899768099</c:v>
                </c:pt>
                <c:pt idx="9231">
                  <c:v>0.16463349384697601</c:v>
                </c:pt>
                <c:pt idx="9232">
                  <c:v>0.164651328696272</c:v>
                </c:pt>
                <c:pt idx="9233">
                  <c:v>0.16466916354556799</c:v>
                </c:pt>
                <c:pt idx="9234">
                  <c:v>0.164686998394863</c:v>
                </c:pt>
                <c:pt idx="9235">
                  <c:v>0.16470483324415899</c:v>
                </c:pt>
                <c:pt idx="9236">
                  <c:v>0.16472266809345401</c:v>
                </c:pt>
                <c:pt idx="9237">
                  <c:v>0.16474050294275</c:v>
                </c:pt>
                <c:pt idx="9238">
                  <c:v>0.16475833779204499</c:v>
                </c:pt>
                <c:pt idx="9239">
                  <c:v>0.16477617264134101</c:v>
                </c:pt>
                <c:pt idx="9240">
                  <c:v>0.164794007490636</c:v>
                </c:pt>
                <c:pt idx="9241">
                  <c:v>0.16481184233993201</c:v>
                </c:pt>
                <c:pt idx="9242">
                  <c:v>0.164829677189227</c:v>
                </c:pt>
                <c:pt idx="9243">
                  <c:v>0.16484751203852299</c:v>
                </c:pt>
                <c:pt idx="9244">
                  <c:v>0.16486534688781801</c:v>
                </c:pt>
                <c:pt idx="9245">
                  <c:v>0.164883181737114</c:v>
                </c:pt>
                <c:pt idx="9246">
                  <c:v>0.16490101658640899</c:v>
                </c:pt>
                <c:pt idx="9247">
                  <c:v>0.16491885143570501</c:v>
                </c:pt>
                <c:pt idx="9248">
                  <c:v>0.16493668628499999</c:v>
                </c:pt>
                <c:pt idx="9249">
                  <c:v>0.16495452113429601</c:v>
                </c:pt>
                <c:pt idx="9250">
                  <c:v>0.164972355983591</c:v>
                </c:pt>
                <c:pt idx="9251">
                  <c:v>0.16499019083288699</c:v>
                </c:pt>
                <c:pt idx="9252">
                  <c:v>0.16500802568218201</c:v>
                </c:pt>
                <c:pt idx="9253">
                  <c:v>0.165025860531478</c:v>
                </c:pt>
                <c:pt idx="9254">
                  <c:v>0.16504369538077401</c:v>
                </c:pt>
                <c:pt idx="9255">
                  <c:v>0.165061530230069</c:v>
                </c:pt>
                <c:pt idx="9256">
                  <c:v>0.16507936507936499</c:v>
                </c:pt>
                <c:pt idx="9257">
                  <c:v>0.16509719992866001</c:v>
                </c:pt>
                <c:pt idx="9258">
                  <c:v>0.165115034777956</c:v>
                </c:pt>
                <c:pt idx="9259">
                  <c:v>0.16513286962725099</c:v>
                </c:pt>
                <c:pt idx="9260">
                  <c:v>0.16515070447654701</c:v>
                </c:pt>
                <c:pt idx="9261">
                  <c:v>0.165168539325842</c:v>
                </c:pt>
                <c:pt idx="9262">
                  <c:v>0.16518637417513801</c:v>
                </c:pt>
                <c:pt idx="9263">
                  <c:v>0.165204209024433</c:v>
                </c:pt>
                <c:pt idx="9264">
                  <c:v>0.16522204387372899</c:v>
                </c:pt>
                <c:pt idx="9265">
                  <c:v>0.16523987872302401</c:v>
                </c:pt>
                <c:pt idx="9266">
                  <c:v>0.16525771357232</c:v>
                </c:pt>
                <c:pt idx="9267">
                  <c:v>0.16527554842161499</c:v>
                </c:pt>
                <c:pt idx="9268">
                  <c:v>0.165293383270911</c:v>
                </c:pt>
                <c:pt idx="9269">
                  <c:v>0.16531121812020599</c:v>
                </c:pt>
                <c:pt idx="9270">
                  <c:v>0.16532905296950201</c:v>
                </c:pt>
                <c:pt idx="9271">
                  <c:v>0.165346887818797</c:v>
                </c:pt>
                <c:pt idx="9272">
                  <c:v>0.16536472266809299</c:v>
                </c:pt>
                <c:pt idx="9273">
                  <c:v>0.16538255751738801</c:v>
                </c:pt>
                <c:pt idx="9274">
                  <c:v>0.165400392366684</c:v>
                </c:pt>
                <c:pt idx="9275">
                  <c:v>0.16541822721598001</c:v>
                </c:pt>
                <c:pt idx="9276">
                  <c:v>0.165436062065275</c:v>
                </c:pt>
                <c:pt idx="9277">
                  <c:v>0.16545389691457099</c:v>
                </c:pt>
                <c:pt idx="9278">
                  <c:v>0.16547173176386601</c:v>
                </c:pt>
                <c:pt idx="9279">
                  <c:v>0.165489566613162</c:v>
                </c:pt>
                <c:pt idx="9280">
                  <c:v>0.16550740146245699</c:v>
                </c:pt>
                <c:pt idx="9281">
                  <c:v>0.165525236311753</c:v>
                </c:pt>
                <c:pt idx="9282">
                  <c:v>0.16554307116104799</c:v>
                </c:pt>
                <c:pt idx="9283">
                  <c:v>0.16556090601034401</c:v>
                </c:pt>
                <c:pt idx="9284">
                  <c:v>0.165578740859639</c:v>
                </c:pt>
                <c:pt idx="9285">
                  <c:v>0.16559657570893499</c:v>
                </c:pt>
                <c:pt idx="9286">
                  <c:v>0.16561441055823001</c:v>
                </c:pt>
                <c:pt idx="9287">
                  <c:v>0.165632245407526</c:v>
                </c:pt>
                <c:pt idx="9288">
                  <c:v>0.16565008025682099</c:v>
                </c:pt>
                <c:pt idx="9289">
                  <c:v>0.165667915106117</c:v>
                </c:pt>
                <c:pt idx="9290">
                  <c:v>0.16568574995541199</c:v>
                </c:pt>
                <c:pt idx="9291">
                  <c:v>0.16570358480470801</c:v>
                </c:pt>
                <c:pt idx="9292">
                  <c:v>0.165721419654003</c:v>
                </c:pt>
                <c:pt idx="9293">
                  <c:v>0.16573925450329899</c:v>
                </c:pt>
                <c:pt idx="9294">
                  <c:v>0.16575708935259401</c:v>
                </c:pt>
                <c:pt idx="9295">
                  <c:v>0.16577492420188999</c:v>
                </c:pt>
                <c:pt idx="9296">
                  <c:v>0.16579275905118601</c:v>
                </c:pt>
                <c:pt idx="9297">
                  <c:v>0.165810593900481</c:v>
                </c:pt>
                <c:pt idx="9298">
                  <c:v>0.16582842874977699</c:v>
                </c:pt>
                <c:pt idx="9299">
                  <c:v>0.16584626359907201</c:v>
                </c:pt>
                <c:pt idx="9300">
                  <c:v>0.165864098448368</c:v>
                </c:pt>
                <c:pt idx="9301">
                  <c:v>0.16588193329766299</c:v>
                </c:pt>
                <c:pt idx="9302">
                  <c:v>0.165899768146959</c:v>
                </c:pt>
                <c:pt idx="9303">
                  <c:v>0.16591760299625399</c:v>
                </c:pt>
                <c:pt idx="9304">
                  <c:v>0.16593543784555001</c:v>
                </c:pt>
                <c:pt idx="9305">
                  <c:v>0.165953272694845</c:v>
                </c:pt>
                <c:pt idx="9306">
                  <c:v>0.16597110754414099</c:v>
                </c:pt>
                <c:pt idx="9307">
                  <c:v>0.16598894239343601</c:v>
                </c:pt>
                <c:pt idx="9308">
                  <c:v>0.166006777242732</c:v>
                </c:pt>
                <c:pt idx="9309">
                  <c:v>0.16602461209202701</c:v>
                </c:pt>
                <c:pt idx="9310">
                  <c:v>0.166042446941323</c:v>
                </c:pt>
                <c:pt idx="9311">
                  <c:v>0.16606028179061799</c:v>
                </c:pt>
                <c:pt idx="9312">
                  <c:v>0.16607811663991401</c:v>
                </c:pt>
                <c:pt idx="9313">
                  <c:v>0.166095951489209</c:v>
                </c:pt>
                <c:pt idx="9314">
                  <c:v>0.16611378633850499</c:v>
                </c:pt>
                <c:pt idx="9315">
                  <c:v>0.1661316211878</c:v>
                </c:pt>
                <c:pt idx="9316">
                  <c:v>0.16614945603709599</c:v>
                </c:pt>
                <c:pt idx="9317">
                  <c:v>0.16616729088639201</c:v>
                </c:pt>
                <c:pt idx="9318">
                  <c:v>0.166185125735687</c:v>
                </c:pt>
                <c:pt idx="9319">
                  <c:v>0.16620296058498299</c:v>
                </c:pt>
                <c:pt idx="9320">
                  <c:v>0.16622079543427801</c:v>
                </c:pt>
                <c:pt idx="9321">
                  <c:v>0.166238630283574</c:v>
                </c:pt>
                <c:pt idx="9322">
                  <c:v>0.16625646513286901</c:v>
                </c:pt>
                <c:pt idx="9323">
                  <c:v>0.166274299982165</c:v>
                </c:pt>
                <c:pt idx="9324">
                  <c:v>0.16629213483145999</c:v>
                </c:pt>
                <c:pt idx="9325">
                  <c:v>0.16630996968075601</c:v>
                </c:pt>
                <c:pt idx="9326">
                  <c:v>0.166327804530051</c:v>
                </c:pt>
                <c:pt idx="9327">
                  <c:v>0.16634563937934699</c:v>
                </c:pt>
                <c:pt idx="9328">
                  <c:v>0.16636347422864201</c:v>
                </c:pt>
                <c:pt idx="9329">
                  <c:v>0.16638130907793799</c:v>
                </c:pt>
                <c:pt idx="9330">
                  <c:v>0.16639914392723301</c:v>
                </c:pt>
                <c:pt idx="9331">
                  <c:v>0.166416978776529</c:v>
                </c:pt>
                <c:pt idx="9332">
                  <c:v>0.16643481362582399</c:v>
                </c:pt>
                <c:pt idx="9333">
                  <c:v>0.16645264847512001</c:v>
                </c:pt>
                <c:pt idx="9334">
                  <c:v>0.166470483324415</c:v>
                </c:pt>
                <c:pt idx="9335">
                  <c:v>0.16648831817371099</c:v>
                </c:pt>
                <c:pt idx="9336">
                  <c:v>0.166506153023006</c:v>
                </c:pt>
                <c:pt idx="9337">
                  <c:v>0.16652398787230199</c:v>
                </c:pt>
                <c:pt idx="9338">
                  <c:v>0.16654182272159801</c:v>
                </c:pt>
                <c:pt idx="9339">
                  <c:v>0.166559657570893</c:v>
                </c:pt>
                <c:pt idx="9340">
                  <c:v>0.16657749242018899</c:v>
                </c:pt>
                <c:pt idx="9341">
                  <c:v>0.16659532726948401</c:v>
                </c:pt>
                <c:pt idx="9342">
                  <c:v>0.16661316211877999</c:v>
                </c:pt>
                <c:pt idx="9343">
                  <c:v>0.16663099696807501</c:v>
                </c:pt>
                <c:pt idx="9344">
                  <c:v>0.166648831817371</c:v>
                </c:pt>
                <c:pt idx="9345">
                  <c:v>0.16666666666666599</c:v>
                </c:pt>
                <c:pt idx="9346">
                  <c:v>0.16668450151596201</c:v>
                </c:pt>
                <c:pt idx="9347">
                  <c:v>0.166702336365257</c:v>
                </c:pt>
                <c:pt idx="9348">
                  <c:v>0.16672017121455299</c:v>
                </c:pt>
                <c:pt idx="9349">
                  <c:v>0.166738006063848</c:v>
                </c:pt>
                <c:pt idx="9350">
                  <c:v>0.16675584091314399</c:v>
                </c:pt>
                <c:pt idx="9351">
                  <c:v>0.16677367576243901</c:v>
                </c:pt>
                <c:pt idx="9352">
                  <c:v>0.166791510611735</c:v>
                </c:pt>
                <c:pt idx="9353">
                  <c:v>0.16680934546102999</c:v>
                </c:pt>
                <c:pt idx="9354">
                  <c:v>0.16682718031032601</c:v>
                </c:pt>
                <c:pt idx="9355">
                  <c:v>0.166845015159621</c:v>
                </c:pt>
                <c:pt idx="9356">
                  <c:v>0.16686285000891701</c:v>
                </c:pt>
                <c:pt idx="9357">
                  <c:v>0.166880684858212</c:v>
                </c:pt>
                <c:pt idx="9358">
                  <c:v>0.16689851970750799</c:v>
                </c:pt>
                <c:pt idx="9359">
                  <c:v>0.16691635455680401</c:v>
                </c:pt>
                <c:pt idx="9360">
                  <c:v>0.166934189406099</c:v>
                </c:pt>
                <c:pt idx="9361">
                  <c:v>0.16695202425539499</c:v>
                </c:pt>
                <c:pt idx="9362">
                  <c:v>0.16696985910469</c:v>
                </c:pt>
                <c:pt idx="9363">
                  <c:v>0.16698769395398599</c:v>
                </c:pt>
                <c:pt idx="9364">
                  <c:v>0.16700552880328101</c:v>
                </c:pt>
                <c:pt idx="9365">
                  <c:v>0.167023363652577</c:v>
                </c:pt>
                <c:pt idx="9366">
                  <c:v>0.16704119850187199</c:v>
                </c:pt>
                <c:pt idx="9367">
                  <c:v>0.16705903335116801</c:v>
                </c:pt>
                <c:pt idx="9368">
                  <c:v>0.167076868200463</c:v>
                </c:pt>
                <c:pt idx="9369">
                  <c:v>0.16709470304975901</c:v>
                </c:pt>
                <c:pt idx="9370">
                  <c:v>0.167112537899054</c:v>
                </c:pt>
                <c:pt idx="9371">
                  <c:v>0.16713037274834999</c:v>
                </c:pt>
                <c:pt idx="9372">
                  <c:v>0.16714820759764501</c:v>
                </c:pt>
                <c:pt idx="9373">
                  <c:v>0.167166042446941</c:v>
                </c:pt>
                <c:pt idx="9374">
                  <c:v>0.16718387729623599</c:v>
                </c:pt>
                <c:pt idx="9375">
                  <c:v>0.16720171214553201</c:v>
                </c:pt>
                <c:pt idx="9376">
                  <c:v>0.167219546994827</c:v>
                </c:pt>
                <c:pt idx="9377">
                  <c:v>0.16723738184412301</c:v>
                </c:pt>
                <c:pt idx="9378">
                  <c:v>0.167255216693418</c:v>
                </c:pt>
                <c:pt idx="9379">
                  <c:v>0.16727305154271399</c:v>
                </c:pt>
                <c:pt idx="9380">
                  <c:v>0.16729088639200901</c:v>
                </c:pt>
                <c:pt idx="9381">
                  <c:v>0.167308721241305</c:v>
                </c:pt>
                <c:pt idx="9382">
                  <c:v>0.16732655609060099</c:v>
                </c:pt>
                <c:pt idx="9383">
                  <c:v>0.167344390939896</c:v>
                </c:pt>
                <c:pt idx="9384">
                  <c:v>0.16736222578919199</c:v>
                </c:pt>
                <c:pt idx="9385">
                  <c:v>0.16738006063848701</c:v>
                </c:pt>
                <c:pt idx="9386">
                  <c:v>0.167397895487783</c:v>
                </c:pt>
                <c:pt idx="9387">
                  <c:v>0.16741573033707799</c:v>
                </c:pt>
                <c:pt idx="9388">
                  <c:v>0.16743356518637401</c:v>
                </c:pt>
                <c:pt idx="9389">
                  <c:v>0.167451400035669</c:v>
                </c:pt>
                <c:pt idx="9390">
                  <c:v>0.16746923488496501</c:v>
                </c:pt>
                <c:pt idx="9391">
                  <c:v>0.16748706973426</c:v>
                </c:pt>
                <c:pt idx="9392">
                  <c:v>0.16750490458355599</c:v>
                </c:pt>
                <c:pt idx="9393">
                  <c:v>0.16752273943285101</c:v>
                </c:pt>
                <c:pt idx="9394">
                  <c:v>0.167540574282147</c:v>
                </c:pt>
                <c:pt idx="9395">
                  <c:v>0.16755840913144199</c:v>
                </c:pt>
                <c:pt idx="9396">
                  <c:v>0.167576243980738</c:v>
                </c:pt>
                <c:pt idx="9397">
                  <c:v>0.16759407883003299</c:v>
                </c:pt>
                <c:pt idx="9398">
                  <c:v>0.16761191367932901</c:v>
                </c:pt>
                <c:pt idx="9399">
                  <c:v>0.167629748528624</c:v>
                </c:pt>
                <c:pt idx="9400">
                  <c:v>0.16764758337791999</c:v>
                </c:pt>
                <c:pt idx="9401">
                  <c:v>0.16766541822721501</c:v>
                </c:pt>
                <c:pt idx="9402">
                  <c:v>0.167683253076511</c:v>
                </c:pt>
                <c:pt idx="9403">
                  <c:v>0.16770108792580701</c:v>
                </c:pt>
                <c:pt idx="9404">
                  <c:v>0.167718922775102</c:v>
                </c:pt>
                <c:pt idx="9405">
                  <c:v>0.16773675762439799</c:v>
                </c:pt>
                <c:pt idx="9406">
                  <c:v>0.16775459247369301</c:v>
                </c:pt>
                <c:pt idx="9407">
                  <c:v>0.167772427322989</c:v>
                </c:pt>
                <c:pt idx="9408">
                  <c:v>0.16779026217228399</c:v>
                </c:pt>
                <c:pt idx="9409">
                  <c:v>0.16780809702158</c:v>
                </c:pt>
                <c:pt idx="9410">
                  <c:v>0.16782593187087499</c:v>
                </c:pt>
                <c:pt idx="9411">
                  <c:v>0.16784376672017101</c:v>
                </c:pt>
                <c:pt idx="9412">
                  <c:v>0.167861601569466</c:v>
                </c:pt>
                <c:pt idx="9413">
                  <c:v>0.16787943641876199</c:v>
                </c:pt>
                <c:pt idx="9414">
                  <c:v>0.16789727126805701</c:v>
                </c:pt>
                <c:pt idx="9415">
                  <c:v>0.167915106117353</c:v>
                </c:pt>
                <c:pt idx="9416">
                  <c:v>0.16793294096664799</c:v>
                </c:pt>
                <c:pt idx="9417">
                  <c:v>0.167950775815944</c:v>
                </c:pt>
                <c:pt idx="9418">
                  <c:v>0.16796861066523899</c:v>
                </c:pt>
                <c:pt idx="9419">
                  <c:v>0.16798644551453501</c:v>
                </c:pt>
                <c:pt idx="9420">
                  <c:v>0.16800428036383</c:v>
                </c:pt>
                <c:pt idx="9421">
                  <c:v>0.16802211521312599</c:v>
                </c:pt>
                <c:pt idx="9422">
                  <c:v>0.16803995006242101</c:v>
                </c:pt>
                <c:pt idx="9423">
                  <c:v>0.168057784911717</c:v>
                </c:pt>
                <c:pt idx="9424">
                  <c:v>0.16807561976101301</c:v>
                </c:pt>
                <c:pt idx="9425">
                  <c:v>0.168093454610308</c:v>
                </c:pt>
                <c:pt idx="9426">
                  <c:v>0.16811128945960399</c:v>
                </c:pt>
                <c:pt idx="9427">
                  <c:v>0.16812912430889901</c:v>
                </c:pt>
                <c:pt idx="9428">
                  <c:v>0.168146959158195</c:v>
                </c:pt>
                <c:pt idx="9429">
                  <c:v>0.16816479400748999</c:v>
                </c:pt>
                <c:pt idx="9430">
                  <c:v>0.168182628856786</c:v>
                </c:pt>
                <c:pt idx="9431">
                  <c:v>0.16820046370608099</c:v>
                </c:pt>
                <c:pt idx="9432">
                  <c:v>0.16821829855537701</c:v>
                </c:pt>
                <c:pt idx="9433">
                  <c:v>0.168236133404672</c:v>
                </c:pt>
                <c:pt idx="9434">
                  <c:v>0.16825396825396799</c:v>
                </c:pt>
                <c:pt idx="9435">
                  <c:v>0.16827180310326301</c:v>
                </c:pt>
                <c:pt idx="9436">
                  <c:v>0.168289637952559</c:v>
                </c:pt>
                <c:pt idx="9437">
                  <c:v>0.16830747280185401</c:v>
                </c:pt>
                <c:pt idx="9438">
                  <c:v>0.16832530765115</c:v>
                </c:pt>
                <c:pt idx="9439">
                  <c:v>0.16834314250044499</c:v>
                </c:pt>
                <c:pt idx="9440">
                  <c:v>0.16836097734974101</c:v>
                </c:pt>
                <c:pt idx="9441">
                  <c:v>0.168378812199036</c:v>
                </c:pt>
                <c:pt idx="9442">
                  <c:v>0.16839664704833199</c:v>
                </c:pt>
                <c:pt idx="9443">
                  <c:v>0.16841448189762701</c:v>
                </c:pt>
                <c:pt idx="9444">
                  <c:v>0.16843231674692299</c:v>
                </c:pt>
                <c:pt idx="9445">
                  <c:v>0.16845015159621901</c:v>
                </c:pt>
                <c:pt idx="9446">
                  <c:v>0.168467986445514</c:v>
                </c:pt>
                <c:pt idx="9447">
                  <c:v>0.16848582129480999</c:v>
                </c:pt>
                <c:pt idx="9448">
                  <c:v>0.16850365614410501</c:v>
                </c:pt>
                <c:pt idx="9449">
                  <c:v>0.168521490993401</c:v>
                </c:pt>
                <c:pt idx="9450">
                  <c:v>0.16853932584269599</c:v>
                </c:pt>
                <c:pt idx="9451">
                  <c:v>0.168557160691992</c:v>
                </c:pt>
                <c:pt idx="9452">
                  <c:v>0.16857499554128699</c:v>
                </c:pt>
                <c:pt idx="9453">
                  <c:v>0.16859283039058301</c:v>
                </c:pt>
                <c:pt idx="9454">
                  <c:v>0.168610665239878</c:v>
                </c:pt>
                <c:pt idx="9455">
                  <c:v>0.16862850008917399</c:v>
                </c:pt>
                <c:pt idx="9456">
                  <c:v>0.16864633493846901</c:v>
                </c:pt>
                <c:pt idx="9457">
                  <c:v>0.16866416978776499</c:v>
                </c:pt>
                <c:pt idx="9458">
                  <c:v>0.16868200463706001</c:v>
                </c:pt>
                <c:pt idx="9459">
                  <c:v>0.168699839486356</c:v>
                </c:pt>
                <c:pt idx="9460">
                  <c:v>0.16871767433565099</c:v>
                </c:pt>
                <c:pt idx="9461">
                  <c:v>0.16873550918494701</c:v>
                </c:pt>
                <c:pt idx="9462">
                  <c:v>0.168753344034242</c:v>
                </c:pt>
                <c:pt idx="9463">
                  <c:v>0.16877117888353799</c:v>
                </c:pt>
                <c:pt idx="9464">
                  <c:v>0.168789013732833</c:v>
                </c:pt>
                <c:pt idx="9465">
                  <c:v>0.16880684858212899</c:v>
                </c:pt>
                <c:pt idx="9466">
                  <c:v>0.16882468343142501</c:v>
                </c:pt>
                <c:pt idx="9467">
                  <c:v>0.16884251828072</c:v>
                </c:pt>
                <c:pt idx="9468">
                  <c:v>0.16886035313001599</c:v>
                </c:pt>
                <c:pt idx="9469">
                  <c:v>0.16887818797931101</c:v>
                </c:pt>
                <c:pt idx="9470">
                  <c:v>0.168896022828607</c:v>
                </c:pt>
                <c:pt idx="9471">
                  <c:v>0.16891385767790201</c:v>
                </c:pt>
                <c:pt idx="9472">
                  <c:v>0.168931692527198</c:v>
                </c:pt>
                <c:pt idx="9473">
                  <c:v>0.16894952737649299</c:v>
                </c:pt>
                <c:pt idx="9474">
                  <c:v>0.16896736222578901</c:v>
                </c:pt>
                <c:pt idx="9475">
                  <c:v>0.168985197075084</c:v>
                </c:pt>
                <c:pt idx="9476">
                  <c:v>0.16900303192437999</c:v>
                </c:pt>
                <c:pt idx="9477">
                  <c:v>0.169020866773675</c:v>
                </c:pt>
                <c:pt idx="9478">
                  <c:v>0.16903870162297099</c:v>
                </c:pt>
                <c:pt idx="9479">
                  <c:v>0.16905653647226601</c:v>
                </c:pt>
                <c:pt idx="9480">
                  <c:v>0.169074371321562</c:v>
                </c:pt>
                <c:pt idx="9481">
                  <c:v>0.16909220617085699</c:v>
                </c:pt>
                <c:pt idx="9482">
                  <c:v>0.16911004102015301</c:v>
                </c:pt>
                <c:pt idx="9483">
                  <c:v>0.169127875869448</c:v>
                </c:pt>
                <c:pt idx="9484">
                  <c:v>0.16914571071874401</c:v>
                </c:pt>
                <c:pt idx="9485">
                  <c:v>0.169163545568039</c:v>
                </c:pt>
                <c:pt idx="9486">
                  <c:v>0.16918138041733499</c:v>
                </c:pt>
                <c:pt idx="9487">
                  <c:v>0.16919921526663101</c:v>
                </c:pt>
                <c:pt idx="9488">
                  <c:v>0.169217050115926</c:v>
                </c:pt>
                <c:pt idx="9489">
                  <c:v>0.16923488496522199</c:v>
                </c:pt>
                <c:pt idx="9490">
                  <c:v>0.16925271981451701</c:v>
                </c:pt>
                <c:pt idx="9491">
                  <c:v>0.16927055466381299</c:v>
                </c:pt>
                <c:pt idx="9492">
                  <c:v>0.16928838951310801</c:v>
                </c:pt>
                <c:pt idx="9493">
                  <c:v>0.169306224362404</c:v>
                </c:pt>
                <c:pt idx="9494">
                  <c:v>0.16932405921169899</c:v>
                </c:pt>
                <c:pt idx="9495">
                  <c:v>0.16934189406099501</c:v>
                </c:pt>
                <c:pt idx="9496">
                  <c:v>0.16935972891029</c:v>
                </c:pt>
                <c:pt idx="9497">
                  <c:v>0.16937756375958599</c:v>
                </c:pt>
                <c:pt idx="9498">
                  <c:v>0.169395398608881</c:v>
                </c:pt>
                <c:pt idx="9499">
                  <c:v>0.16941323345817699</c:v>
                </c:pt>
                <c:pt idx="9500">
                  <c:v>0.16943106830747201</c:v>
                </c:pt>
                <c:pt idx="9501">
                  <c:v>0.169448903156768</c:v>
                </c:pt>
                <c:pt idx="9502">
                  <c:v>0.16946673800606299</c:v>
                </c:pt>
                <c:pt idx="9503">
                  <c:v>0.16948457285535901</c:v>
                </c:pt>
                <c:pt idx="9504">
                  <c:v>0.169502407704654</c:v>
                </c:pt>
                <c:pt idx="9505">
                  <c:v>0.16952024255395001</c:v>
                </c:pt>
                <c:pt idx="9506">
                  <c:v>0.169538077403245</c:v>
                </c:pt>
                <c:pt idx="9507">
                  <c:v>0.16955591225254099</c:v>
                </c:pt>
                <c:pt idx="9508">
                  <c:v>0.16957374710183601</c:v>
                </c:pt>
                <c:pt idx="9509">
                  <c:v>0.169591581951132</c:v>
                </c:pt>
                <c:pt idx="9510">
                  <c:v>0.16960941680042799</c:v>
                </c:pt>
                <c:pt idx="9511">
                  <c:v>0.169627251649723</c:v>
                </c:pt>
                <c:pt idx="9512">
                  <c:v>0.16964508649901899</c:v>
                </c:pt>
                <c:pt idx="9513">
                  <c:v>0.16966292134831401</c:v>
                </c:pt>
                <c:pt idx="9514">
                  <c:v>0.16968075619761</c:v>
                </c:pt>
                <c:pt idx="9515">
                  <c:v>0.16969859104690499</c:v>
                </c:pt>
                <c:pt idx="9516">
                  <c:v>0.16971642589620101</c:v>
                </c:pt>
                <c:pt idx="9517">
                  <c:v>0.169734260745496</c:v>
                </c:pt>
                <c:pt idx="9518">
                  <c:v>0.16975209559479201</c:v>
                </c:pt>
                <c:pt idx="9519">
                  <c:v>0.169769930444087</c:v>
                </c:pt>
                <c:pt idx="9520">
                  <c:v>0.16978776529338299</c:v>
                </c:pt>
                <c:pt idx="9521">
                  <c:v>0.16980560014267801</c:v>
                </c:pt>
                <c:pt idx="9522">
                  <c:v>0.169823434991974</c:v>
                </c:pt>
                <c:pt idx="9523">
                  <c:v>0.16984126984126899</c:v>
                </c:pt>
                <c:pt idx="9524">
                  <c:v>0.169859104690565</c:v>
                </c:pt>
                <c:pt idx="9525">
                  <c:v>0.16987693953985999</c:v>
                </c:pt>
                <c:pt idx="9526">
                  <c:v>0.16989477438915601</c:v>
                </c:pt>
                <c:pt idx="9527">
                  <c:v>0.169912609238451</c:v>
                </c:pt>
                <c:pt idx="9528">
                  <c:v>0.16993044408774699</c:v>
                </c:pt>
                <c:pt idx="9529">
                  <c:v>0.16994827893704201</c:v>
                </c:pt>
                <c:pt idx="9530">
                  <c:v>0.169966113786338</c:v>
                </c:pt>
                <c:pt idx="9531">
                  <c:v>0.16998394863563401</c:v>
                </c:pt>
                <c:pt idx="9532">
                  <c:v>0.170001783484929</c:v>
                </c:pt>
                <c:pt idx="9533">
                  <c:v>0.17001961833422499</c:v>
                </c:pt>
                <c:pt idx="9534">
                  <c:v>0.17003745318352001</c:v>
                </c:pt>
                <c:pt idx="9535">
                  <c:v>0.170055288032816</c:v>
                </c:pt>
                <c:pt idx="9536">
                  <c:v>0.17007312288211099</c:v>
                </c:pt>
                <c:pt idx="9537">
                  <c:v>0.17009095773140701</c:v>
                </c:pt>
                <c:pt idx="9538">
                  <c:v>0.170108792580702</c:v>
                </c:pt>
                <c:pt idx="9539">
                  <c:v>0.17012662742999801</c:v>
                </c:pt>
                <c:pt idx="9540">
                  <c:v>0.170144462279293</c:v>
                </c:pt>
                <c:pt idx="9541">
                  <c:v>0.17016229712858899</c:v>
                </c:pt>
                <c:pt idx="9542">
                  <c:v>0.17018013197788401</c:v>
                </c:pt>
                <c:pt idx="9543">
                  <c:v>0.17019796682718</c:v>
                </c:pt>
                <c:pt idx="9544">
                  <c:v>0.17021580167647499</c:v>
                </c:pt>
                <c:pt idx="9545">
                  <c:v>0.170233636525771</c:v>
                </c:pt>
                <c:pt idx="9546">
                  <c:v>0.17025147137506599</c:v>
                </c:pt>
                <c:pt idx="9547">
                  <c:v>0.17026930622436201</c:v>
                </c:pt>
                <c:pt idx="9548">
                  <c:v>0.170287141073657</c:v>
                </c:pt>
                <c:pt idx="9549">
                  <c:v>0.17030497592295299</c:v>
                </c:pt>
                <c:pt idx="9550">
                  <c:v>0.17032281077224801</c:v>
                </c:pt>
                <c:pt idx="9551">
                  <c:v>0.170340645621544</c:v>
                </c:pt>
                <c:pt idx="9552">
                  <c:v>0.17035848047084001</c:v>
                </c:pt>
                <c:pt idx="9553">
                  <c:v>0.170376315320135</c:v>
                </c:pt>
                <c:pt idx="9554">
                  <c:v>0.17039415016943099</c:v>
                </c:pt>
                <c:pt idx="9555">
                  <c:v>0.17041198501872601</c:v>
                </c:pt>
                <c:pt idx="9556">
                  <c:v>0.170429819868022</c:v>
                </c:pt>
                <c:pt idx="9557">
                  <c:v>0.17044765471731699</c:v>
                </c:pt>
                <c:pt idx="9558">
                  <c:v>0.170465489566613</c:v>
                </c:pt>
                <c:pt idx="9559">
                  <c:v>0.17048332441590799</c:v>
                </c:pt>
                <c:pt idx="9560">
                  <c:v>0.17050115926520401</c:v>
                </c:pt>
                <c:pt idx="9561">
                  <c:v>0.170518994114499</c:v>
                </c:pt>
                <c:pt idx="9562">
                  <c:v>0.17053682896379499</c:v>
                </c:pt>
                <c:pt idx="9563">
                  <c:v>0.17055466381309001</c:v>
                </c:pt>
                <c:pt idx="9564">
                  <c:v>0.170572498662386</c:v>
                </c:pt>
                <c:pt idx="9565">
                  <c:v>0.17059033351168101</c:v>
                </c:pt>
                <c:pt idx="9566">
                  <c:v>0.170608168360977</c:v>
                </c:pt>
                <c:pt idx="9567">
                  <c:v>0.17062600321027199</c:v>
                </c:pt>
                <c:pt idx="9568">
                  <c:v>0.17064383805956801</c:v>
                </c:pt>
                <c:pt idx="9569">
                  <c:v>0.170661672908863</c:v>
                </c:pt>
                <c:pt idx="9570">
                  <c:v>0.17067950775815899</c:v>
                </c:pt>
                <c:pt idx="9571">
                  <c:v>0.17069734260745401</c:v>
                </c:pt>
                <c:pt idx="9572">
                  <c:v>0.17071517745674999</c:v>
                </c:pt>
                <c:pt idx="9573">
                  <c:v>0.17073301230604601</c:v>
                </c:pt>
                <c:pt idx="9574">
                  <c:v>0.170750847155341</c:v>
                </c:pt>
                <c:pt idx="9575">
                  <c:v>0.17076868200463699</c:v>
                </c:pt>
                <c:pt idx="9576">
                  <c:v>0.17078651685393201</c:v>
                </c:pt>
                <c:pt idx="9577">
                  <c:v>0.170804351703228</c:v>
                </c:pt>
                <c:pt idx="9578">
                  <c:v>0.17082218655252299</c:v>
                </c:pt>
                <c:pt idx="9579">
                  <c:v>0.170840021401819</c:v>
                </c:pt>
                <c:pt idx="9580">
                  <c:v>0.17085785625111399</c:v>
                </c:pt>
                <c:pt idx="9581">
                  <c:v>0.17087569110041001</c:v>
                </c:pt>
                <c:pt idx="9582">
                  <c:v>0.170893525949705</c:v>
                </c:pt>
                <c:pt idx="9583">
                  <c:v>0.17091136079900099</c:v>
                </c:pt>
                <c:pt idx="9584">
                  <c:v>0.17092919564829601</c:v>
                </c:pt>
                <c:pt idx="9585">
                  <c:v>0.170947030497592</c:v>
                </c:pt>
                <c:pt idx="9586">
                  <c:v>0.17096486534688701</c:v>
                </c:pt>
                <c:pt idx="9587">
                  <c:v>0.170982700196183</c:v>
                </c:pt>
                <c:pt idx="9588">
                  <c:v>0.17100053504547799</c:v>
                </c:pt>
                <c:pt idx="9589">
                  <c:v>0.17101836989477401</c:v>
                </c:pt>
                <c:pt idx="9590">
                  <c:v>0.171036204744069</c:v>
                </c:pt>
                <c:pt idx="9591">
                  <c:v>0.17105403959336499</c:v>
                </c:pt>
                <c:pt idx="9592">
                  <c:v>0.17107187444266</c:v>
                </c:pt>
                <c:pt idx="9593">
                  <c:v>0.17108970929195599</c:v>
                </c:pt>
                <c:pt idx="9594">
                  <c:v>0.17110754414125201</c:v>
                </c:pt>
                <c:pt idx="9595">
                  <c:v>0.171125378990547</c:v>
                </c:pt>
                <c:pt idx="9596">
                  <c:v>0.17114321383984299</c:v>
                </c:pt>
                <c:pt idx="9597">
                  <c:v>0.17116104868913801</c:v>
                </c:pt>
                <c:pt idx="9598">
                  <c:v>0.171178883538434</c:v>
                </c:pt>
                <c:pt idx="9599">
                  <c:v>0.17119671838772901</c:v>
                </c:pt>
                <c:pt idx="9600">
                  <c:v>0.171214553237025</c:v>
                </c:pt>
                <c:pt idx="9601">
                  <c:v>0.17123238808631999</c:v>
                </c:pt>
                <c:pt idx="9602">
                  <c:v>0.17125022293561601</c:v>
                </c:pt>
                <c:pt idx="9603">
                  <c:v>0.171268057784911</c:v>
                </c:pt>
                <c:pt idx="9604">
                  <c:v>0.17128589263420699</c:v>
                </c:pt>
                <c:pt idx="9605">
                  <c:v>0.17130372748350201</c:v>
                </c:pt>
                <c:pt idx="9606">
                  <c:v>0.17132156233279799</c:v>
                </c:pt>
                <c:pt idx="9607">
                  <c:v>0.17133939718209301</c:v>
                </c:pt>
                <c:pt idx="9608">
                  <c:v>0.171357232031389</c:v>
                </c:pt>
                <c:pt idx="9609">
                  <c:v>0.17137506688068399</c:v>
                </c:pt>
                <c:pt idx="9610">
                  <c:v>0.17139290172998001</c:v>
                </c:pt>
                <c:pt idx="9611">
                  <c:v>0.171410736579275</c:v>
                </c:pt>
                <c:pt idx="9612">
                  <c:v>0.17142857142857101</c:v>
                </c:pt>
                <c:pt idx="9613">
                  <c:v>0.171446406277866</c:v>
                </c:pt>
                <c:pt idx="9614">
                  <c:v>0.17146424112716199</c:v>
                </c:pt>
                <c:pt idx="9615">
                  <c:v>0.17148207597645801</c:v>
                </c:pt>
                <c:pt idx="9616">
                  <c:v>0.171499910825753</c:v>
                </c:pt>
                <c:pt idx="9617">
                  <c:v>0.17151774567504899</c:v>
                </c:pt>
                <c:pt idx="9618">
                  <c:v>0.17153558052434401</c:v>
                </c:pt>
                <c:pt idx="9619">
                  <c:v>0.17155341537363999</c:v>
                </c:pt>
                <c:pt idx="9620">
                  <c:v>0.17157125022293501</c:v>
                </c:pt>
                <c:pt idx="9621">
                  <c:v>0.171589085072231</c:v>
                </c:pt>
                <c:pt idx="9622">
                  <c:v>0.17160691992152599</c:v>
                </c:pt>
                <c:pt idx="9623">
                  <c:v>0.17162475477082201</c:v>
                </c:pt>
                <c:pt idx="9624">
                  <c:v>0.171642589620117</c:v>
                </c:pt>
                <c:pt idx="9625">
                  <c:v>0.17166042446941299</c:v>
                </c:pt>
                <c:pt idx="9626">
                  <c:v>0.171678259318708</c:v>
                </c:pt>
                <c:pt idx="9627">
                  <c:v>0.17169609416800399</c:v>
                </c:pt>
                <c:pt idx="9628">
                  <c:v>0.17171392901729901</c:v>
                </c:pt>
                <c:pt idx="9629">
                  <c:v>0.171731763866595</c:v>
                </c:pt>
                <c:pt idx="9630">
                  <c:v>0.17174959871588999</c:v>
                </c:pt>
                <c:pt idx="9631">
                  <c:v>0.17176743356518601</c:v>
                </c:pt>
                <c:pt idx="9632">
                  <c:v>0.171785268414481</c:v>
                </c:pt>
                <c:pt idx="9633">
                  <c:v>0.17180310326377701</c:v>
                </c:pt>
                <c:pt idx="9634">
                  <c:v>0.171820938113072</c:v>
                </c:pt>
                <c:pt idx="9635">
                  <c:v>0.17183877296236799</c:v>
                </c:pt>
                <c:pt idx="9636">
                  <c:v>0.17185660781166301</c:v>
                </c:pt>
                <c:pt idx="9637">
                  <c:v>0.171874442660959</c:v>
                </c:pt>
                <c:pt idx="9638">
                  <c:v>0.17189227751025499</c:v>
                </c:pt>
                <c:pt idx="9639">
                  <c:v>0.17191011235955</c:v>
                </c:pt>
                <c:pt idx="9640">
                  <c:v>0.17192794720884599</c:v>
                </c:pt>
                <c:pt idx="9641">
                  <c:v>0.17194578205814101</c:v>
                </c:pt>
                <c:pt idx="9642">
                  <c:v>0.171963616907437</c:v>
                </c:pt>
                <c:pt idx="9643">
                  <c:v>0.17198145175673199</c:v>
                </c:pt>
                <c:pt idx="9644">
                  <c:v>0.17199928660602801</c:v>
                </c:pt>
                <c:pt idx="9645">
                  <c:v>0.172017121455323</c:v>
                </c:pt>
                <c:pt idx="9646">
                  <c:v>0.17203495630461901</c:v>
                </c:pt>
                <c:pt idx="9647">
                  <c:v>0.172052791153914</c:v>
                </c:pt>
                <c:pt idx="9648">
                  <c:v>0.17207062600320999</c:v>
                </c:pt>
                <c:pt idx="9649">
                  <c:v>0.17208846085250501</c:v>
                </c:pt>
                <c:pt idx="9650">
                  <c:v>0.172106295701801</c:v>
                </c:pt>
                <c:pt idx="9651">
                  <c:v>0.17212413055109599</c:v>
                </c:pt>
                <c:pt idx="9652">
                  <c:v>0.17214196540039201</c:v>
                </c:pt>
                <c:pt idx="9653">
                  <c:v>0.172159800249687</c:v>
                </c:pt>
                <c:pt idx="9654">
                  <c:v>0.17217763509898301</c:v>
                </c:pt>
                <c:pt idx="9655">
                  <c:v>0.172195469948278</c:v>
                </c:pt>
                <c:pt idx="9656">
                  <c:v>0.17221330479757399</c:v>
                </c:pt>
                <c:pt idx="9657">
                  <c:v>0.17223113964686901</c:v>
                </c:pt>
                <c:pt idx="9658">
                  <c:v>0.172248974496165</c:v>
                </c:pt>
                <c:pt idx="9659">
                  <c:v>0.17226680934546101</c:v>
                </c:pt>
                <c:pt idx="9660">
                  <c:v>0.172284644194756</c:v>
                </c:pt>
                <c:pt idx="9661">
                  <c:v>0.17230247904405199</c:v>
                </c:pt>
                <c:pt idx="9662">
                  <c:v>0.17232031389334701</c:v>
                </c:pt>
                <c:pt idx="9663">
                  <c:v>0.172338148742643</c:v>
                </c:pt>
                <c:pt idx="9664">
                  <c:v>0.17235598359193799</c:v>
                </c:pt>
                <c:pt idx="9665">
                  <c:v>0.17237381844123401</c:v>
                </c:pt>
                <c:pt idx="9666">
                  <c:v>0.172391653290529</c:v>
                </c:pt>
                <c:pt idx="9667">
                  <c:v>0.17240948813982501</c:v>
                </c:pt>
                <c:pt idx="9668">
                  <c:v>0.17242732298912</c:v>
                </c:pt>
                <c:pt idx="9669">
                  <c:v>0.17244515783841599</c:v>
                </c:pt>
                <c:pt idx="9670">
                  <c:v>0.17246299268771101</c:v>
                </c:pt>
                <c:pt idx="9671">
                  <c:v>0.172480827537007</c:v>
                </c:pt>
                <c:pt idx="9672">
                  <c:v>0.17249866238630199</c:v>
                </c:pt>
                <c:pt idx="9673">
                  <c:v>0.172516497235598</c:v>
                </c:pt>
                <c:pt idx="9674">
                  <c:v>0.17253433208489299</c:v>
                </c:pt>
                <c:pt idx="9675">
                  <c:v>0.17255216693418901</c:v>
                </c:pt>
                <c:pt idx="9676">
                  <c:v>0.172570001783484</c:v>
                </c:pt>
                <c:pt idx="9677">
                  <c:v>0.17258783663277999</c:v>
                </c:pt>
                <c:pt idx="9678">
                  <c:v>0.17260567148207501</c:v>
                </c:pt>
                <c:pt idx="9679">
                  <c:v>0.172623506331371</c:v>
                </c:pt>
                <c:pt idx="9680">
                  <c:v>0.17264134118066701</c:v>
                </c:pt>
                <c:pt idx="9681">
                  <c:v>0.172659176029962</c:v>
                </c:pt>
                <c:pt idx="9682">
                  <c:v>0.17267701087925799</c:v>
                </c:pt>
                <c:pt idx="9683">
                  <c:v>0.17269484572855301</c:v>
                </c:pt>
                <c:pt idx="9684">
                  <c:v>0.172712680577849</c:v>
                </c:pt>
                <c:pt idx="9685">
                  <c:v>0.17273051542714399</c:v>
                </c:pt>
                <c:pt idx="9686">
                  <c:v>0.17274835027644</c:v>
                </c:pt>
                <c:pt idx="9687">
                  <c:v>0.17276618512573499</c:v>
                </c:pt>
                <c:pt idx="9688">
                  <c:v>0.17278401997503101</c:v>
                </c:pt>
                <c:pt idx="9689">
                  <c:v>0.172801854824326</c:v>
                </c:pt>
                <c:pt idx="9690">
                  <c:v>0.17281968967362199</c:v>
                </c:pt>
                <c:pt idx="9691">
                  <c:v>0.17283752452291701</c:v>
                </c:pt>
                <c:pt idx="9692">
                  <c:v>0.172855359372213</c:v>
                </c:pt>
                <c:pt idx="9693">
                  <c:v>0.17287319422150799</c:v>
                </c:pt>
                <c:pt idx="9694">
                  <c:v>0.172891029070804</c:v>
                </c:pt>
                <c:pt idx="9695">
                  <c:v>0.17290886392009899</c:v>
                </c:pt>
                <c:pt idx="9696">
                  <c:v>0.17292669876939501</c:v>
                </c:pt>
                <c:pt idx="9697">
                  <c:v>0.17294453361869</c:v>
                </c:pt>
                <c:pt idx="9698">
                  <c:v>0.17296236846798599</c:v>
                </c:pt>
                <c:pt idx="9699">
                  <c:v>0.17298020331728101</c:v>
                </c:pt>
                <c:pt idx="9700">
                  <c:v>0.172998038166577</c:v>
                </c:pt>
                <c:pt idx="9701">
                  <c:v>0.17301587301587301</c:v>
                </c:pt>
                <c:pt idx="9702">
                  <c:v>0.173033707865168</c:v>
                </c:pt>
                <c:pt idx="9703">
                  <c:v>0.17305154271446399</c:v>
                </c:pt>
                <c:pt idx="9704">
                  <c:v>0.17306937756375901</c:v>
                </c:pt>
                <c:pt idx="9705">
                  <c:v>0.173087212413055</c:v>
                </c:pt>
                <c:pt idx="9706">
                  <c:v>0.17310504726234999</c:v>
                </c:pt>
                <c:pt idx="9707">
                  <c:v>0.173122882111646</c:v>
                </c:pt>
                <c:pt idx="9708">
                  <c:v>0.17314071696094099</c:v>
                </c:pt>
                <c:pt idx="9709">
                  <c:v>0.17315855181023701</c:v>
                </c:pt>
                <c:pt idx="9710">
                  <c:v>0.173176386659532</c:v>
                </c:pt>
                <c:pt idx="9711">
                  <c:v>0.17319422150882799</c:v>
                </c:pt>
                <c:pt idx="9712">
                  <c:v>0.17321205635812301</c:v>
                </c:pt>
                <c:pt idx="9713">
                  <c:v>0.173229891207419</c:v>
                </c:pt>
                <c:pt idx="9714">
                  <c:v>0.17324772605671401</c:v>
                </c:pt>
                <c:pt idx="9715">
                  <c:v>0.17326556090601</c:v>
                </c:pt>
                <c:pt idx="9716">
                  <c:v>0.17328339575530499</c:v>
                </c:pt>
                <c:pt idx="9717">
                  <c:v>0.17330123060460101</c:v>
                </c:pt>
                <c:pt idx="9718">
                  <c:v>0.173319065453896</c:v>
                </c:pt>
                <c:pt idx="9719">
                  <c:v>0.17333690030319199</c:v>
                </c:pt>
                <c:pt idx="9720">
                  <c:v>0.17335473515248701</c:v>
                </c:pt>
                <c:pt idx="9721">
                  <c:v>0.17337257000178299</c:v>
                </c:pt>
                <c:pt idx="9722">
                  <c:v>0.17339040485107901</c:v>
                </c:pt>
                <c:pt idx="9723">
                  <c:v>0.173408239700374</c:v>
                </c:pt>
                <c:pt idx="9724">
                  <c:v>0.17342607454966999</c:v>
                </c:pt>
                <c:pt idx="9725">
                  <c:v>0.17344390939896501</c:v>
                </c:pt>
                <c:pt idx="9726">
                  <c:v>0.173461744248261</c:v>
                </c:pt>
                <c:pt idx="9727">
                  <c:v>0.17347957909755601</c:v>
                </c:pt>
                <c:pt idx="9728">
                  <c:v>0.173497413946852</c:v>
                </c:pt>
                <c:pt idx="9729">
                  <c:v>0.17351524879614699</c:v>
                </c:pt>
                <c:pt idx="9730">
                  <c:v>0.17353308364544301</c:v>
                </c:pt>
                <c:pt idx="9731">
                  <c:v>0.173550918494738</c:v>
                </c:pt>
                <c:pt idx="9732">
                  <c:v>0.17356875334403399</c:v>
                </c:pt>
                <c:pt idx="9733">
                  <c:v>0.17358658819332901</c:v>
                </c:pt>
                <c:pt idx="9734">
                  <c:v>0.17360442304262499</c:v>
                </c:pt>
                <c:pt idx="9735">
                  <c:v>0.17362225789192001</c:v>
                </c:pt>
                <c:pt idx="9736">
                  <c:v>0.173640092741216</c:v>
                </c:pt>
                <c:pt idx="9737">
                  <c:v>0.17365792759051099</c:v>
                </c:pt>
                <c:pt idx="9738">
                  <c:v>0.17367576243980701</c:v>
                </c:pt>
                <c:pt idx="9739">
                  <c:v>0.173693597289102</c:v>
                </c:pt>
                <c:pt idx="9740">
                  <c:v>0.17371143213839799</c:v>
                </c:pt>
                <c:pt idx="9741">
                  <c:v>0.173729266987693</c:v>
                </c:pt>
                <c:pt idx="9742">
                  <c:v>0.17374710183698899</c:v>
                </c:pt>
                <c:pt idx="9743">
                  <c:v>0.17376493668628501</c:v>
                </c:pt>
                <c:pt idx="9744">
                  <c:v>0.17378277153558</c:v>
                </c:pt>
                <c:pt idx="9745">
                  <c:v>0.17380060638487599</c:v>
                </c:pt>
                <c:pt idx="9746">
                  <c:v>0.17381844123417101</c:v>
                </c:pt>
                <c:pt idx="9747">
                  <c:v>0.173836276083467</c:v>
                </c:pt>
                <c:pt idx="9748">
                  <c:v>0.17385411093276201</c:v>
                </c:pt>
                <c:pt idx="9749">
                  <c:v>0.173871945782058</c:v>
                </c:pt>
                <c:pt idx="9750">
                  <c:v>0.17388978063135299</c:v>
                </c:pt>
                <c:pt idx="9751">
                  <c:v>0.17390761548064901</c:v>
                </c:pt>
                <c:pt idx="9752">
                  <c:v>0.173925450329944</c:v>
                </c:pt>
                <c:pt idx="9753">
                  <c:v>0.17394328517923999</c:v>
                </c:pt>
                <c:pt idx="9754">
                  <c:v>0.173961120028535</c:v>
                </c:pt>
                <c:pt idx="9755">
                  <c:v>0.17397895487783099</c:v>
                </c:pt>
                <c:pt idx="9756">
                  <c:v>0.17399678972712601</c:v>
                </c:pt>
                <c:pt idx="9757">
                  <c:v>0.174014624576422</c:v>
                </c:pt>
                <c:pt idx="9758">
                  <c:v>0.17403245942571699</c:v>
                </c:pt>
                <c:pt idx="9759">
                  <c:v>0.17405029427501301</c:v>
                </c:pt>
                <c:pt idx="9760">
                  <c:v>0.174068129124308</c:v>
                </c:pt>
                <c:pt idx="9761">
                  <c:v>0.17408596397360401</c:v>
                </c:pt>
                <c:pt idx="9762">
                  <c:v>0.174103798822899</c:v>
                </c:pt>
                <c:pt idx="9763">
                  <c:v>0.17412163367219499</c:v>
                </c:pt>
                <c:pt idx="9764">
                  <c:v>0.17413946852149001</c:v>
                </c:pt>
                <c:pt idx="9765">
                  <c:v>0.174157303370786</c:v>
                </c:pt>
                <c:pt idx="9766">
                  <c:v>0.17417513822008199</c:v>
                </c:pt>
                <c:pt idx="9767">
                  <c:v>0.17419297306937701</c:v>
                </c:pt>
                <c:pt idx="9768">
                  <c:v>0.17421080791867299</c:v>
                </c:pt>
                <c:pt idx="9769">
                  <c:v>0.17422864276796801</c:v>
                </c:pt>
                <c:pt idx="9770">
                  <c:v>0.174246477617264</c:v>
                </c:pt>
                <c:pt idx="9771">
                  <c:v>0.17426431246655899</c:v>
                </c:pt>
                <c:pt idx="9772">
                  <c:v>0.17428214731585501</c:v>
                </c:pt>
                <c:pt idx="9773">
                  <c:v>0.17429998216515</c:v>
                </c:pt>
                <c:pt idx="9774">
                  <c:v>0.17431781701444601</c:v>
                </c:pt>
                <c:pt idx="9775">
                  <c:v>0.174335651863741</c:v>
                </c:pt>
                <c:pt idx="9776">
                  <c:v>0.17435348671303699</c:v>
                </c:pt>
                <c:pt idx="9777">
                  <c:v>0.17437132156233201</c:v>
                </c:pt>
                <c:pt idx="9778">
                  <c:v>0.174389156411628</c:v>
                </c:pt>
                <c:pt idx="9779">
                  <c:v>0.17440699126092299</c:v>
                </c:pt>
                <c:pt idx="9780">
                  <c:v>0.17442482611021901</c:v>
                </c:pt>
                <c:pt idx="9781">
                  <c:v>0.174442660959514</c:v>
                </c:pt>
                <c:pt idx="9782">
                  <c:v>0.17446049580881001</c:v>
                </c:pt>
                <c:pt idx="9783">
                  <c:v>0.174478330658105</c:v>
                </c:pt>
                <c:pt idx="9784">
                  <c:v>0.17449616550740099</c:v>
                </c:pt>
                <c:pt idx="9785">
                  <c:v>0.17451400035669601</c:v>
                </c:pt>
                <c:pt idx="9786">
                  <c:v>0.174531835205992</c:v>
                </c:pt>
                <c:pt idx="9787">
                  <c:v>0.17454967005528799</c:v>
                </c:pt>
                <c:pt idx="9788">
                  <c:v>0.174567504904583</c:v>
                </c:pt>
                <c:pt idx="9789">
                  <c:v>0.17458533975387899</c:v>
                </c:pt>
                <c:pt idx="9790">
                  <c:v>0.17460317460317401</c:v>
                </c:pt>
                <c:pt idx="9791">
                  <c:v>0.17462100945247</c:v>
                </c:pt>
                <c:pt idx="9792">
                  <c:v>0.17463884430176499</c:v>
                </c:pt>
                <c:pt idx="9793">
                  <c:v>0.17465667915106101</c:v>
                </c:pt>
                <c:pt idx="9794">
                  <c:v>0.174674514000356</c:v>
                </c:pt>
                <c:pt idx="9795">
                  <c:v>0.17469234884965201</c:v>
                </c:pt>
                <c:pt idx="9796">
                  <c:v>0.174710183698947</c:v>
                </c:pt>
                <c:pt idx="9797">
                  <c:v>0.17472801854824299</c:v>
                </c:pt>
                <c:pt idx="9798">
                  <c:v>0.17474585339753801</c:v>
                </c:pt>
                <c:pt idx="9799">
                  <c:v>0.174763688246834</c:v>
                </c:pt>
                <c:pt idx="9800">
                  <c:v>0.17478152309612899</c:v>
                </c:pt>
                <c:pt idx="9801">
                  <c:v>0.174799357945425</c:v>
                </c:pt>
                <c:pt idx="9802">
                  <c:v>0.17481719279471999</c:v>
                </c:pt>
                <c:pt idx="9803">
                  <c:v>0.17483502764401601</c:v>
                </c:pt>
                <c:pt idx="9804">
                  <c:v>0.174852862493311</c:v>
                </c:pt>
                <c:pt idx="9805">
                  <c:v>0.17487069734260699</c:v>
                </c:pt>
                <c:pt idx="9806">
                  <c:v>0.17488853219190201</c:v>
                </c:pt>
                <c:pt idx="9807">
                  <c:v>0.174906367041198</c:v>
                </c:pt>
                <c:pt idx="9808">
                  <c:v>0.17492420189049401</c:v>
                </c:pt>
                <c:pt idx="9809">
                  <c:v>0.174942036739789</c:v>
                </c:pt>
                <c:pt idx="9810">
                  <c:v>0.17495987158908499</c:v>
                </c:pt>
                <c:pt idx="9811">
                  <c:v>0.17497770643838001</c:v>
                </c:pt>
                <c:pt idx="9812">
                  <c:v>0.174995541287676</c:v>
                </c:pt>
                <c:pt idx="9813">
                  <c:v>0.17501337613697099</c:v>
                </c:pt>
                <c:pt idx="9814">
                  <c:v>0.17503121098626701</c:v>
                </c:pt>
                <c:pt idx="9815">
                  <c:v>0.17504904583556199</c:v>
                </c:pt>
                <c:pt idx="9816">
                  <c:v>0.17506688068485801</c:v>
                </c:pt>
                <c:pt idx="9817">
                  <c:v>0.175084715534153</c:v>
                </c:pt>
                <c:pt idx="9818">
                  <c:v>0.17510255038344899</c:v>
                </c:pt>
                <c:pt idx="9819">
                  <c:v>0.17512038523274401</c:v>
                </c:pt>
                <c:pt idx="9820">
                  <c:v>0.17513822008204</c:v>
                </c:pt>
                <c:pt idx="9821">
                  <c:v>0.17515605493133499</c:v>
                </c:pt>
                <c:pt idx="9822">
                  <c:v>0.175173889780631</c:v>
                </c:pt>
                <c:pt idx="9823">
                  <c:v>0.17519172462992599</c:v>
                </c:pt>
                <c:pt idx="9824">
                  <c:v>0.17520955947922201</c:v>
                </c:pt>
                <c:pt idx="9825">
                  <c:v>0.175227394328517</c:v>
                </c:pt>
                <c:pt idx="9826">
                  <c:v>0.17524522917781299</c:v>
                </c:pt>
                <c:pt idx="9827">
                  <c:v>0.17526306402710801</c:v>
                </c:pt>
                <c:pt idx="9828">
                  <c:v>0.175280898876404</c:v>
                </c:pt>
                <c:pt idx="9829">
                  <c:v>0.17529873372570001</c:v>
                </c:pt>
                <c:pt idx="9830">
                  <c:v>0.175316568574995</c:v>
                </c:pt>
                <c:pt idx="9831">
                  <c:v>0.17533440342429099</c:v>
                </c:pt>
                <c:pt idx="9832">
                  <c:v>0.17535223827358601</c:v>
                </c:pt>
                <c:pt idx="9833">
                  <c:v>0.175370073122882</c:v>
                </c:pt>
                <c:pt idx="9834">
                  <c:v>0.17538790797217699</c:v>
                </c:pt>
                <c:pt idx="9835">
                  <c:v>0.175405742821473</c:v>
                </c:pt>
                <c:pt idx="9836">
                  <c:v>0.17542357767076799</c:v>
                </c:pt>
                <c:pt idx="9837">
                  <c:v>0.17544141252006401</c:v>
                </c:pt>
                <c:pt idx="9838">
                  <c:v>0.175459247369359</c:v>
                </c:pt>
                <c:pt idx="9839">
                  <c:v>0.17547708221865499</c:v>
                </c:pt>
                <c:pt idx="9840">
                  <c:v>0.17549491706795001</c:v>
                </c:pt>
                <c:pt idx="9841">
                  <c:v>0.175512751917246</c:v>
                </c:pt>
                <c:pt idx="9842">
                  <c:v>0.17553058676654101</c:v>
                </c:pt>
                <c:pt idx="9843">
                  <c:v>0.175548421615837</c:v>
                </c:pt>
                <c:pt idx="9844">
                  <c:v>0.17556625646513199</c:v>
                </c:pt>
                <c:pt idx="9845">
                  <c:v>0.17558409131442801</c:v>
                </c:pt>
                <c:pt idx="9846">
                  <c:v>0.175601926163723</c:v>
                </c:pt>
                <c:pt idx="9847">
                  <c:v>0.17561976101301899</c:v>
                </c:pt>
                <c:pt idx="9848">
                  <c:v>0.17563759586231401</c:v>
                </c:pt>
                <c:pt idx="9849">
                  <c:v>0.17565543071160999</c:v>
                </c:pt>
                <c:pt idx="9850">
                  <c:v>0.17567326556090601</c:v>
                </c:pt>
                <c:pt idx="9851">
                  <c:v>0.175691100410201</c:v>
                </c:pt>
                <c:pt idx="9852">
                  <c:v>0.17570893525949699</c:v>
                </c:pt>
                <c:pt idx="9853">
                  <c:v>0.17572677010879201</c:v>
                </c:pt>
                <c:pt idx="9854">
                  <c:v>0.175744604958088</c:v>
                </c:pt>
                <c:pt idx="9855">
                  <c:v>0.17576243980738299</c:v>
                </c:pt>
                <c:pt idx="9856">
                  <c:v>0.175780274656679</c:v>
                </c:pt>
                <c:pt idx="9857">
                  <c:v>0.17579810950597399</c:v>
                </c:pt>
                <c:pt idx="9858">
                  <c:v>0.17581594435527001</c:v>
                </c:pt>
                <c:pt idx="9859">
                  <c:v>0.175833779204565</c:v>
                </c:pt>
                <c:pt idx="9860">
                  <c:v>0.17585161405386099</c:v>
                </c:pt>
                <c:pt idx="9861">
                  <c:v>0.17586944890315601</c:v>
                </c:pt>
                <c:pt idx="9862">
                  <c:v>0.17588728375245199</c:v>
                </c:pt>
                <c:pt idx="9863">
                  <c:v>0.17590511860174701</c:v>
                </c:pt>
                <c:pt idx="9864">
                  <c:v>0.175922953451043</c:v>
                </c:pt>
                <c:pt idx="9865">
                  <c:v>0.17594078830033799</c:v>
                </c:pt>
                <c:pt idx="9866">
                  <c:v>0.17595862314963401</c:v>
                </c:pt>
                <c:pt idx="9867">
                  <c:v>0.175976457998929</c:v>
                </c:pt>
                <c:pt idx="9868">
                  <c:v>0.17599429284822499</c:v>
                </c:pt>
                <c:pt idx="9869">
                  <c:v>0.17601212769752</c:v>
                </c:pt>
                <c:pt idx="9870">
                  <c:v>0.17602996254681599</c:v>
                </c:pt>
                <c:pt idx="9871">
                  <c:v>0.17604779739611201</c:v>
                </c:pt>
                <c:pt idx="9872">
                  <c:v>0.176065632245407</c:v>
                </c:pt>
                <c:pt idx="9873">
                  <c:v>0.17608346709470299</c:v>
                </c:pt>
                <c:pt idx="9874">
                  <c:v>0.17610130194399801</c:v>
                </c:pt>
                <c:pt idx="9875">
                  <c:v>0.176119136793294</c:v>
                </c:pt>
                <c:pt idx="9876">
                  <c:v>0.17613697164258901</c:v>
                </c:pt>
                <c:pt idx="9877">
                  <c:v>0.176154806491885</c:v>
                </c:pt>
                <c:pt idx="9878">
                  <c:v>0.17617264134117999</c:v>
                </c:pt>
                <c:pt idx="9879">
                  <c:v>0.17619047619047601</c:v>
                </c:pt>
                <c:pt idx="9880">
                  <c:v>0.176208311039771</c:v>
                </c:pt>
                <c:pt idx="9881">
                  <c:v>0.17622614588906699</c:v>
                </c:pt>
                <c:pt idx="9882">
                  <c:v>0.176243980738362</c:v>
                </c:pt>
                <c:pt idx="9883">
                  <c:v>0.17626181558765799</c:v>
                </c:pt>
                <c:pt idx="9884">
                  <c:v>0.17627965043695301</c:v>
                </c:pt>
                <c:pt idx="9885">
                  <c:v>0.176297485286249</c:v>
                </c:pt>
                <c:pt idx="9886">
                  <c:v>0.17631532013554399</c:v>
                </c:pt>
                <c:pt idx="9887">
                  <c:v>0.17633315498484001</c:v>
                </c:pt>
                <c:pt idx="9888">
                  <c:v>0.176350989834135</c:v>
                </c:pt>
                <c:pt idx="9889">
                  <c:v>0.17636882468343101</c:v>
                </c:pt>
                <c:pt idx="9890">
                  <c:v>0.176386659532726</c:v>
                </c:pt>
                <c:pt idx="9891">
                  <c:v>0.17640449438202199</c:v>
                </c:pt>
                <c:pt idx="9892">
                  <c:v>0.17642232923131801</c:v>
                </c:pt>
                <c:pt idx="9893">
                  <c:v>0.176440164080613</c:v>
                </c:pt>
                <c:pt idx="9894">
                  <c:v>0.17645799892990899</c:v>
                </c:pt>
                <c:pt idx="9895">
                  <c:v>0.17647583377920401</c:v>
                </c:pt>
                <c:pt idx="9896">
                  <c:v>0.17649366862849999</c:v>
                </c:pt>
                <c:pt idx="9897">
                  <c:v>0.17651150347779501</c:v>
                </c:pt>
                <c:pt idx="9898">
                  <c:v>0.176529338327091</c:v>
                </c:pt>
                <c:pt idx="9899">
                  <c:v>0.17654717317638599</c:v>
                </c:pt>
                <c:pt idx="9900">
                  <c:v>0.17656500802568201</c:v>
                </c:pt>
                <c:pt idx="9901">
                  <c:v>0.176582842874977</c:v>
                </c:pt>
                <c:pt idx="9902">
                  <c:v>0.17660067772427299</c:v>
                </c:pt>
                <c:pt idx="9903">
                  <c:v>0.176618512573568</c:v>
                </c:pt>
                <c:pt idx="9904">
                  <c:v>0.17663634742286399</c:v>
                </c:pt>
                <c:pt idx="9905">
                  <c:v>0.17665418227215901</c:v>
                </c:pt>
                <c:pt idx="9906">
                  <c:v>0.176672017121455</c:v>
                </c:pt>
                <c:pt idx="9907">
                  <c:v>0.17668985197074999</c:v>
                </c:pt>
                <c:pt idx="9908">
                  <c:v>0.17670768682004601</c:v>
                </c:pt>
                <c:pt idx="9909">
                  <c:v>0.176725521669341</c:v>
                </c:pt>
                <c:pt idx="9910">
                  <c:v>0.17674335651863701</c:v>
                </c:pt>
                <c:pt idx="9911">
                  <c:v>0.176761191367932</c:v>
                </c:pt>
                <c:pt idx="9912">
                  <c:v>0.17677902621722799</c:v>
                </c:pt>
                <c:pt idx="9913">
                  <c:v>0.17679686106652301</c:v>
                </c:pt>
                <c:pt idx="9914">
                  <c:v>0.176814695915819</c:v>
                </c:pt>
                <c:pt idx="9915">
                  <c:v>0.17683253076511499</c:v>
                </c:pt>
                <c:pt idx="9916">
                  <c:v>0.17685036561441</c:v>
                </c:pt>
                <c:pt idx="9917">
                  <c:v>0.17686820046370599</c:v>
                </c:pt>
                <c:pt idx="9918">
                  <c:v>0.17688603531300101</c:v>
                </c:pt>
                <c:pt idx="9919">
                  <c:v>0.176903870162297</c:v>
                </c:pt>
                <c:pt idx="9920">
                  <c:v>0.17692170501159199</c:v>
                </c:pt>
                <c:pt idx="9921">
                  <c:v>0.17693953986088801</c:v>
                </c:pt>
                <c:pt idx="9922">
                  <c:v>0.176957374710183</c:v>
                </c:pt>
                <c:pt idx="9923">
                  <c:v>0.17697520955947901</c:v>
                </c:pt>
                <c:pt idx="9924">
                  <c:v>0.176993044408774</c:v>
                </c:pt>
                <c:pt idx="9925">
                  <c:v>0.17701087925806999</c:v>
                </c:pt>
                <c:pt idx="9926">
                  <c:v>0.17702871410736501</c:v>
                </c:pt>
                <c:pt idx="9927">
                  <c:v>0.177046548956661</c:v>
                </c:pt>
                <c:pt idx="9928">
                  <c:v>0.17706438380595599</c:v>
                </c:pt>
                <c:pt idx="9929">
                  <c:v>0.17708221865525201</c:v>
                </c:pt>
                <c:pt idx="9930">
                  <c:v>0.17710005350454699</c:v>
                </c:pt>
                <c:pt idx="9931">
                  <c:v>0.17711788835384301</c:v>
                </c:pt>
                <c:pt idx="9932">
                  <c:v>0.177135723203138</c:v>
                </c:pt>
                <c:pt idx="9933">
                  <c:v>0.17715355805243399</c:v>
                </c:pt>
                <c:pt idx="9934">
                  <c:v>0.17717139290172901</c:v>
                </c:pt>
                <c:pt idx="9935">
                  <c:v>0.177189227751025</c:v>
                </c:pt>
                <c:pt idx="9936">
                  <c:v>0.17720706260032101</c:v>
                </c:pt>
                <c:pt idx="9937">
                  <c:v>0.177224897449616</c:v>
                </c:pt>
                <c:pt idx="9938">
                  <c:v>0.17724273229891199</c:v>
                </c:pt>
                <c:pt idx="9939">
                  <c:v>0.17726056714820701</c:v>
                </c:pt>
                <c:pt idx="9940">
                  <c:v>0.177278401997503</c:v>
                </c:pt>
                <c:pt idx="9941">
                  <c:v>0.17729623684679799</c:v>
                </c:pt>
                <c:pt idx="9942">
                  <c:v>0.17731407169609401</c:v>
                </c:pt>
                <c:pt idx="9943">
                  <c:v>0.177331906545389</c:v>
                </c:pt>
                <c:pt idx="9944">
                  <c:v>0.17734974139468501</c:v>
                </c:pt>
                <c:pt idx="9945">
                  <c:v>0.17736757624398</c:v>
                </c:pt>
                <c:pt idx="9946">
                  <c:v>0.17738541109327599</c:v>
                </c:pt>
                <c:pt idx="9947">
                  <c:v>0.17740324594257101</c:v>
                </c:pt>
                <c:pt idx="9948">
                  <c:v>0.177421080791867</c:v>
                </c:pt>
                <c:pt idx="9949">
                  <c:v>0.17743891564116199</c:v>
                </c:pt>
                <c:pt idx="9950">
                  <c:v>0.177456750490458</c:v>
                </c:pt>
                <c:pt idx="9951">
                  <c:v>0.17747458533975299</c:v>
                </c:pt>
                <c:pt idx="9952">
                  <c:v>0.17749242018904901</c:v>
                </c:pt>
                <c:pt idx="9953">
                  <c:v>0.177510255038344</c:v>
                </c:pt>
                <c:pt idx="9954">
                  <c:v>0.17752808988763999</c:v>
                </c:pt>
                <c:pt idx="9955">
                  <c:v>0.17754592473693501</c:v>
                </c:pt>
                <c:pt idx="9956">
                  <c:v>0.177563759586231</c:v>
                </c:pt>
                <c:pt idx="9957">
                  <c:v>0.17758159443552701</c:v>
                </c:pt>
                <c:pt idx="9958">
                  <c:v>0.177599429284822</c:v>
                </c:pt>
                <c:pt idx="9959">
                  <c:v>0.17761726413411799</c:v>
                </c:pt>
                <c:pt idx="9960">
                  <c:v>0.17763509898341301</c:v>
                </c:pt>
                <c:pt idx="9961">
                  <c:v>0.177652933832709</c:v>
                </c:pt>
                <c:pt idx="9962">
                  <c:v>0.17767076868200399</c:v>
                </c:pt>
                <c:pt idx="9963">
                  <c:v>0.1776886035313</c:v>
                </c:pt>
                <c:pt idx="9964">
                  <c:v>0.17770643838059499</c:v>
                </c:pt>
                <c:pt idx="9965">
                  <c:v>0.17772427322989101</c:v>
                </c:pt>
                <c:pt idx="9966">
                  <c:v>0.177742108079186</c:v>
                </c:pt>
                <c:pt idx="9967">
                  <c:v>0.17775994292848199</c:v>
                </c:pt>
                <c:pt idx="9968">
                  <c:v>0.17777777777777701</c:v>
                </c:pt>
                <c:pt idx="9969">
                  <c:v>0.177795612627073</c:v>
                </c:pt>
                <c:pt idx="9970">
                  <c:v>0.17781344747636799</c:v>
                </c:pt>
                <c:pt idx="9971">
                  <c:v>0.177831282325664</c:v>
                </c:pt>
                <c:pt idx="9972">
                  <c:v>0.17784911717495899</c:v>
                </c:pt>
                <c:pt idx="9973">
                  <c:v>0.17786695202425501</c:v>
                </c:pt>
                <c:pt idx="9974">
                  <c:v>0.17788478687355</c:v>
                </c:pt>
                <c:pt idx="9975">
                  <c:v>0.17790262172284599</c:v>
                </c:pt>
                <c:pt idx="9976">
                  <c:v>0.17792045657214101</c:v>
                </c:pt>
                <c:pt idx="9977">
                  <c:v>0.17793829142143699</c:v>
                </c:pt>
                <c:pt idx="9978">
                  <c:v>0.17795612627073301</c:v>
                </c:pt>
                <c:pt idx="9979">
                  <c:v>0.177973961120028</c:v>
                </c:pt>
                <c:pt idx="9980">
                  <c:v>0.17799179596932399</c:v>
                </c:pt>
                <c:pt idx="9981">
                  <c:v>0.17800963081861901</c:v>
                </c:pt>
                <c:pt idx="9982">
                  <c:v>0.178027465667915</c:v>
                </c:pt>
                <c:pt idx="9983">
                  <c:v>0.17804530051720999</c:v>
                </c:pt>
                <c:pt idx="9984">
                  <c:v>0.178063135366506</c:v>
                </c:pt>
                <c:pt idx="9985">
                  <c:v>0.17808097021580099</c:v>
                </c:pt>
                <c:pt idx="9986">
                  <c:v>0.17809880506509701</c:v>
                </c:pt>
                <c:pt idx="9987">
                  <c:v>0.178116639914392</c:v>
                </c:pt>
                <c:pt idx="9988">
                  <c:v>0.17813447476368799</c:v>
                </c:pt>
                <c:pt idx="9989">
                  <c:v>0.17815230961298301</c:v>
                </c:pt>
                <c:pt idx="9990">
                  <c:v>0.178170144462279</c:v>
                </c:pt>
                <c:pt idx="9991">
                  <c:v>0.17818797931157401</c:v>
                </c:pt>
                <c:pt idx="9992">
                  <c:v>0.17820581416087</c:v>
                </c:pt>
                <c:pt idx="9993">
                  <c:v>0.17822364901016499</c:v>
                </c:pt>
                <c:pt idx="9994">
                  <c:v>0.17824148385946101</c:v>
                </c:pt>
                <c:pt idx="9995">
                  <c:v>0.178259318708756</c:v>
                </c:pt>
                <c:pt idx="9996">
                  <c:v>0.17827715355805199</c:v>
                </c:pt>
                <c:pt idx="9997">
                  <c:v>0.178294988407347</c:v>
                </c:pt>
                <c:pt idx="9998">
                  <c:v>0.17831282325664299</c:v>
                </c:pt>
                <c:pt idx="9999">
                  <c:v>0.17833065810593901</c:v>
                </c:pt>
                <c:pt idx="10000">
                  <c:v>0.178348492955234</c:v>
                </c:pt>
                <c:pt idx="10001">
                  <c:v>0.17836632780452999</c:v>
                </c:pt>
                <c:pt idx="10002">
                  <c:v>0.17838416265382501</c:v>
                </c:pt>
                <c:pt idx="10003">
                  <c:v>0.178401997503121</c:v>
                </c:pt>
                <c:pt idx="10004">
                  <c:v>0.17841983235241601</c:v>
                </c:pt>
                <c:pt idx="10005">
                  <c:v>0.178437667201712</c:v>
                </c:pt>
                <c:pt idx="10006">
                  <c:v>0.17845550205100699</c:v>
                </c:pt>
                <c:pt idx="10007">
                  <c:v>0.17847333690030301</c:v>
                </c:pt>
                <c:pt idx="10008">
                  <c:v>0.178491171749598</c:v>
                </c:pt>
                <c:pt idx="10009">
                  <c:v>0.17850900659889399</c:v>
                </c:pt>
                <c:pt idx="10010">
                  <c:v>0.17852684144818901</c:v>
                </c:pt>
                <c:pt idx="10011">
                  <c:v>0.17854467629748499</c:v>
                </c:pt>
                <c:pt idx="10012">
                  <c:v>0.17856251114678001</c:v>
                </c:pt>
                <c:pt idx="10013">
                  <c:v>0.178580345996076</c:v>
                </c:pt>
                <c:pt idx="10014">
                  <c:v>0.17859818084537099</c:v>
                </c:pt>
                <c:pt idx="10015">
                  <c:v>0.17861601569466701</c:v>
                </c:pt>
                <c:pt idx="10016">
                  <c:v>0.178633850543962</c:v>
                </c:pt>
                <c:pt idx="10017">
                  <c:v>0.17865168539325799</c:v>
                </c:pt>
                <c:pt idx="10018">
                  <c:v>0.178669520242553</c:v>
                </c:pt>
                <c:pt idx="10019">
                  <c:v>0.17868735509184899</c:v>
                </c:pt>
                <c:pt idx="10020">
                  <c:v>0.17870518994114501</c:v>
                </c:pt>
                <c:pt idx="10021">
                  <c:v>0.17872302479044</c:v>
                </c:pt>
                <c:pt idx="10022">
                  <c:v>0.17874085963973599</c:v>
                </c:pt>
                <c:pt idx="10023">
                  <c:v>0.17875869448903101</c:v>
                </c:pt>
                <c:pt idx="10024">
                  <c:v>0.17877652933832699</c:v>
                </c:pt>
                <c:pt idx="10025">
                  <c:v>0.17879436418762201</c:v>
                </c:pt>
                <c:pt idx="10026">
                  <c:v>0.178812199036918</c:v>
                </c:pt>
                <c:pt idx="10027">
                  <c:v>0.17883003388621299</c:v>
                </c:pt>
                <c:pt idx="10028">
                  <c:v>0.17884786873550901</c:v>
                </c:pt>
                <c:pt idx="10029">
                  <c:v>0.178865703584804</c:v>
                </c:pt>
                <c:pt idx="10030">
                  <c:v>0.17888353843409999</c:v>
                </c:pt>
                <c:pt idx="10031">
                  <c:v>0.178901373283395</c:v>
                </c:pt>
                <c:pt idx="10032">
                  <c:v>0.17891920813269099</c:v>
                </c:pt>
                <c:pt idx="10033">
                  <c:v>0.17893704298198601</c:v>
                </c:pt>
                <c:pt idx="10034">
                  <c:v>0.178954877831282</c:v>
                </c:pt>
                <c:pt idx="10035">
                  <c:v>0.17897271268057699</c:v>
                </c:pt>
                <c:pt idx="10036">
                  <c:v>0.17899054752987301</c:v>
                </c:pt>
                <c:pt idx="10037">
                  <c:v>0.179008382379168</c:v>
                </c:pt>
                <c:pt idx="10038">
                  <c:v>0.17902621722846401</c:v>
                </c:pt>
                <c:pt idx="10039">
                  <c:v>0.179044052077759</c:v>
                </c:pt>
                <c:pt idx="10040">
                  <c:v>0.17906188692705499</c:v>
                </c:pt>
                <c:pt idx="10041">
                  <c:v>0.17907972177635001</c:v>
                </c:pt>
                <c:pt idx="10042">
                  <c:v>0.179097556625646</c:v>
                </c:pt>
                <c:pt idx="10043">
                  <c:v>0.17911539147494199</c:v>
                </c:pt>
                <c:pt idx="10044">
                  <c:v>0.179133226324237</c:v>
                </c:pt>
                <c:pt idx="10045">
                  <c:v>0.17915106117353299</c:v>
                </c:pt>
                <c:pt idx="10046">
                  <c:v>0.17916889602282801</c:v>
                </c:pt>
                <c:pt idx="10047">
                  <c:v>0.179186730872124</c:v>
                </c:pt>
                <c:pt idx="10048">
                  <c:v>0.17920456572141899</c:v>
                </c:pt>
                <c:pt idx="10049">
                  <c:v>0.17922240057071501</c:v>
                </c:pt>
                <c:pt idx="10050">
                  <c:v>0.17924023542001</c:v>
                </c:pt>
                <c:pt idx="10051">
                  <c:v>0.17925807026930601</c:v>
                </c:pt>
                <c:pt idx="10052">
                  <c:v>0.179275905118601</c:v>
                </c:pt>
                <c:pt idx="10053">
                  <c:v>0.17929373996789699</c:v>
                </c:pt>
                <c:pt idx="10054">
                  <c:v>0.17931157481719201</c:v>
                </c:pt>
                <c:pt idx="10055">
                  <c:v>0.179329409666488</c:v>
                </c:pt>
                <c:pt idx="10056">
                  <c:v>0.17934724451578299</c:v>
                </c:pt>
                <c:pt idx="10057">
                  <c:v>0.17936507936507901</c:v>
                </c:pt>
                <c:pt idx="10058">
                  <c:v>0.179382914214374</c:v>
                </c:pt>
                <c:pt idx="10059">
                  <c:v>0.17940074906367001</c:v>
                </c:pt>
                <c:pt idx="10060">
                  <c:v>0.179418583912965</c:v>
                </c:pt>
                <c:pt idx="10061">
                  <c:v>0.17943641876226099</c:v>
                </c:pt>
                <c:pt idx="10062">
                  <c:v>0.17945425361155601</c:v>
                </c:pt>
                <c:pt idx="10063">
                  <c:v>0.179472088460852</c:v>
                </c:pt>
                <c:pt idx="10064">
                  <c:v>0.17948992331014799</c:v>
                </c:pt>
                <c:pt idx="10065">
                  <c:v>0.179507758159443</c:v>
                </c:pt>
                <c:pt idx="10066">
                  <c:v>0.17952559300873899</c:v>
                </c:pt>
                <c:pt idx="10067">
                  <c:v>0.17954342785803401</c:v>
                </c:pt>
                <c:pt idx="10068">
                  <c:v>0.17956126270733</c:v>
                </c:pt>
                <c:pt idx="10069">
                  <c:v>0.17957909755662499</c:v>
                </c:pt>
                <c:pt idx="10070">
                  <c:v>0.17959693240592101</c:v>
                </c:pt>
                <c:pt idx="10071">
                  <c:v>0.179614767255216</c:v>
                </c:pt>
                <c:pt idx="10072">
                  <c:v>0.17963260210451201</c:v>
                </c:pt>
                <c:pt idx="10073">
                  <c:v>0.179650436953807</c:v>
                </c:pt>
                <c:pt idx="10074">
                  <c:v>0.17966827180310299</c:v>
                </c:pt>
                <c:pt idx="10075">
                  <c:v>0.17968610665239801</c:v>
                </c:pt>
                <c:pt idx="10076">
                  <c:v>0.179703941501694</c:v>
                </c:pt>
                <c:pt idx="10077">
                  <c:v>0.17972177635098899</c:v>
                </c:pt>
                <c:pt idx="10078">
                  <c:v>0.179739611200285</c:v>
                </c:pt>
                <c:pt idx="10079">
                  <c:v>0.17975744604957999</c:v>
                </c:pt>
                <c:pt idx="10080">
                  <c:v>0.17977528089887601</c:v>
                </c:pt>
                <c:pt idx="10081">
                  <c:v>0.179793115748171</c:v>
                </c:pt>
                <c:pt idx="10082">
                  <c:v>0.17981095059746699</c:v>
                </c:pt>
                <c:pt idx="10083">
                  <c:v>0.17982878544676201</c:v>
                </c:pt>
                <c:pt idx="10084">
                  <c:v>0.179846620296058</c:v>
                </c:pt>
                <c:pt idx="10085">
                  <c:v>0.17986445514535401</c:v>
                </c:pt>
                <c:pt idx="10086">
                  <c:v>0.179882289994649</c:v>
                </c:pt>
                <c:pt idx="10087">
                  <c:v>0.17990012484394499</c:v>
                </c:pt>
                <c:pt idx="10088">
                  <c:v>0.17991795969324001</c:v>
                </c:pt>
                <c:pt idx="10089">
                  <c:v>0.179935794542536</c:v>
                </c:pt>
                <c:pt idx="10090">
                  <c:v>0.17995362939183099</c:v>
                </c:pt>
                <c:pt idx="10091">
                  <c:v>0.179971464241127</c:v>
                </c:pt>
                <c:pt idx="10092">
                  <c:v>0.17998929909042199</c:v>
                </c:pt>
                <c:pt idx="10093">
                  <c:v>0.18000713393971801</c:v>
                </c:pt>
                <c:pt idx="10094">
                  <c:v>0.180024968789013</c:v>
                </c:pt>
                <c:pt idx="10095">
                  <c:v>0.18004280363830899</c:v>
                </c:pt>
                <c:pt idx="10096">
                  <c:v>0.18006063848760401</c:v>
                </c:pt>
                <c:pt idx="10097">
                  <c:v>0.1800784733369</c:v>
                </c:pt>
                <c:pt idx="10098">
                  <c:v>0.18009630818619499</c:v>
                </c:pt>
                <c:pt idx="10099">
                  <c:v>0.180114143035491</c:v>
                </c:pt>
                <c:pt idx="10100">
                  <c:v>0.18013197788478599</c:v>
                </c:pt>
                <c:pt idx="10101">
                  <c:v>0.18014981273408201</c:v>
                </c:pt>
                <c:pt idx="10102">
                  <c:v>0.180167647583377</c:v>
                </c:pt>
                <c:pt idx="10103">
                  <c:v>0.18018548243267299</c:v>
                </c:pt>
                <c:pt idx="10104">
                  <c:v>0.18020331728196801</c:v>
                </c:pt>
                <c:pt idx="10105">
                  <c:v>0.180221152131264</c:v>
                </c:pt>
                <c:pt idx="10106">
                  <c:v>0.18023898698056001</c:v>
                </c:pt>
                <c:pt idx="10107">
                  <c:v>0.180256821829855</c:v>
                </c:pt>
                <c:pt idx="10108">
                  <c:v>0.18027465667915099</c:v>
                </c:pt>
                <c:pt idx="10109">
                  <c:v>0.18029249152844601</c:v>
                </c:pt>
                <c:pt idx="10110">
                  <c:v>0.180310326377742</c:v>
                </c:pt>
                <c:pt idx="10111">
                  <c:v>0.18032816122703699</c:v>
                </c:pt>
                <c:pt idx="10112">
                  <c:v>0.180345996076333</c:v>
                </c:pt>
                <c:pt idx="10113">
                  <c:v>0.18036383092562799</c:v>
                </c:pt>
                <c:pt idx="10114">
                  <c:v>0.18038166577492401</c:v>
                </c:pt>
                <c:pt idx="10115">
                  <c:v>0.180399500624219</c:v>
                </c:pt>
                <c:pt idx="10116">
                  <c:v>0.18041733547351499</c:v>
                </c:pt>
                <c:pt idx="10117">
                  <c:v>0.18043517032281001</c:v>
                </c:pt>
                <c:pt idx="10118">
                  <c:v>0.180453005172106</c:v>
                </c:pt>
                <c:pt idx="10119">
                  <c:v>0.18047084002140101</c:v>
                </c:pt>
                <c:pt idx="10120">
                  <c:v>0.180488674870697</c:v>
                </c:pt>
                <c:pt idx="10121">
                  <c:v>0.18050650971999199</c:v>
                </c:pt>
                <c:pt idx="10122">
                  <c:v>0.18052434456928801</c:v>
                </c:pt>
                <c:pt idx="10123">
                  <c:v>0.180542179418583</c:v>
                </c:pt>
                <c:pt idx="10124">
                  <c:v>0.18056001426787899</c:v>
                </c:pt>
                <c:pt idx="10125">
                  <c:v>0.18057784911717401</c:v>
                </c:pt>
                <c:pt idx="10126">
                  <c:v>0.18059568396646999</c:v>
                </c:pt>
                <c:pt idx="10127">
                  <c:v>0.18061351881576601</c:v>
                </c:pt>
                <c:pt idx="10128">
                  <c:v>0.180631353665061</c:v>
                </c:pt>
                <c:pt idx="10129">
                  <c:v>0.18064918851435699</c:v>
                </c:pt>
                <c:pt idx="10130">
                  <c:v>0.18066702336365201</c:v>
                </c:pt>
                <c:pt idx="10131">
                  <c:v>0.180684858212948</c:v>
                </c:pt>
                <c:pt idx="10132">
                  <c:v>0.18070269306224301</c:v>
                </c:pt>
                <c:pt idx="10133">
                  <c:v>0.180720527911539</c:v>
                </c:pt>
                <c:pt idx="10134">
                  <c:v>0.18073836276083399</c:v>
                </c:pt>
                <c:pt idx="10135">
                  <c:v>0.18075619761013001</c:v>
                </c:pt>
                <c:pt idx="10136">
                  <c:v>0.180774032459425</c:v>
                </c:pt>
                <c:pt idx="10137">
                  <c:v>0.18079186730872099</c:v>
                </c:pt>
                <c:pt idx="10138">
                  <c:v>0.18080970215801601</c:v>
                </c:pt>
                <c:pt idx="10139">
                  <c:v>0.18082753700731199</c:v>
                </c:pt>
                <c:pt idx="10140">
                  <c:v>0.18084537185660701</c:v>
                </c:pt>
                <c:pt idx="10141">
                  <c:v>0.180863206705903</c:v>
                </c:pt>
                <c:pt idx="10142">
                  <c:v>0.18088104155519799</c:v>
                </c:pt>
                <c:pt idx="10143">
                  <c:v>0.18089887640449401</c:v>
                </c:pt>
                <c:pt idx="10144">
                  <c:v>0.180916711253789</c:v>
                </c:pt>
                <c:pt idx="10145">
                  <c:v>0.18093454610308499</c:v>
                </c:pt>
                <c:pt idx="10146">
                  <c:v>0.18095238095238</c:v>
                </c:pt>
                <c:pt idx="10147">
                  <c:v>0.18097021580167599</c:v>
                </c:pt>
                <c:pt idx="10148">
                  <c:v>0.18098805065097201</c:v>
                </c:pt>
                <c:pt idx="10149">
                  <c:v>0.181005885500267</c:v>
                </c:pt>
                <c:pt idx="10150">
                  <c:v>0.18102372034956299</c:v>
                </c:pt>
                <c:pt idx="10151">
                  <c:v>0.18104155519885801</c:v>
                </c:pt>
                <c:pt idx="10152">
                  <c:v>0.181059390048154</c:v>
                </c:pt>
                <c:pt idx="10153">
                  <c:v>0.18107722489744901</c:v>
                </c:pt>
                <c:pt idx="10154">
                  <c:v>0.181095059746745</c:v>
                </c:pt>
                <c:pt idx="10155">
                  <c:v>0.18111289459603999</c:v>
                </c:pt>
                <c:pt idx="10156">
                  <c:v>0.18113072944533601</c:v>
                </c:pt>
                <c:pt idx="10157">
                  <c:v>0.181148564294631</c:v>
                </c:pt>
                <c:pt idx="10158">
                  <c:v>0.18116639914392699</c:v>
                </c:pt>
                <c:pt idx="10159">
                  <c:v>0.181184233993222</c:v>
                </c:pt>
                <c:pt idx="10160">
                  <c:v>0.18120206884251799</c:v>
                </c:pt>
                <c:pt idx="10161">
                  <c:v>0.18121990369181301</c:v>
                </c:pt>
                <c:pt idx="10162">
                  <c:v>0.181237738541109</c:v>
                </c:pt>
                <c:pt idx="10163">
                  <c:v>0.18125557339040399</c:v>
                </c:pt>
                <c:pt idx="10164">
                  <c:v>0.18127340823970001</c:v>
                </c:pt>
                <c:pt idx="10165">
                  <c:v>0.181291243088995</c:v>
                </c:pt>
                <c:pt idx="10166">
                  <c:v>0.18130907793829101</c:v>
                </c:pt>
                <c:pt idx="10167">
                  <c:v>0.181326912787586</c:v>
                </c:pt>
                <c:pt idx="10168">
                  <c:v>0.18134474763688199</c:v>
                </c:pt>
                <c:pt idx="10169">
                  <c:v>0.18136258248617701</c:v>
                </c:pt>
                <c:pt idx="10170">
                  <c:v>0.181380417335473</c:v>
                </c:pt>
                <c:pt idx="10171">
                  <c:v>0.18139825218476899</c:v>
                </c:pt>
                <c:pt idx="10172">
                  <c:v>0.18141608703406401</c:v>
                </c:pt>
                <c:pt idx="10173">
                  <c:v>0.18143392188335999</c:v>
                </c:pt>
                <c:pt idx="10174">
                  <c:v>0.18145175673265501</c:v>
                </c:pt>
                <c:pt idx="10175">
                  <c:v>0.181469591581951</c:v>
                </c:pt>
                <c:pt idx="10176">
                  <c:v>0.18148742643124599</c:v>
                </c:pt>
                <c:pt idx="10177">
                  <c:v>0.18150526128054201</c:v>
                </c:pt>
                <c:pt idx="10178">
                  <c:v>0.181523096129837</c:v>
                </c:pt>
                <c:pt idx="10179">
                  <c:v>0.18154093097913299</c:v>
                </c:pt>
                <c:pt idx="10180">
                  <c:v>0.181558765828428</c:v>
                </c:pt>
                <c:pt idx="10181">
                  <c:v>0.18157660067772399</c:v>
                </c:pt>
                <c:pt idx="10182">
                  <c:v>0.18159443552701901</c:v>
                </c:pt>
                <c:pt idx="10183">
                  <c:v>0.181612270376315</c:v>
                </c:pt>
                <c:pt idx="10184">
                  <c:v>0.18163010522560999</c:v>
                </c:pt>
                <c:pt idx="10185">
                  <c:v>0.18164794007490601</c:v>
                </c:pt>
                <c:pt idx="10186">
                  <c:v>0.181665774924201</c:v>
                </c:pt>
                <c:pt idx="10187">
                  <c:v>0.18168360977349701</c:v>
                </c:pt>
                <c:pt idx="10188">
                  <c:v>0.181701444622792</c:v>
                </c:pt>
                <c:pt idx="10189">
                  <c:v>0.18171927947208799</c:v>
                </c:pt>
                <c:pt idx="10190">
                  <c:v>0.18173711432138301</c:v>
                </c:pt>
                <c:pt idx="10191">
                  <c:v>0.181754949170679</c:v>
                </c:pt>
                <c:pt idx="10192">
                  <c:v>0.18177278401997499</c:v>
                </c:pt>
                <c:pt idx="10193">
                  <c:v>0.18179061886927</c:v>
                </c:pt>
                <c:pt idx="10194">
                  <c:v>0.18180845371856599</c:v>
                </c:pt>
                <c:pt idx="10195">
                  <c:v>0.18182628856786101</c:v>
                </c:pt>
                <c:pt idx="10196">
                  <c:v>0.181844123417157</c:v>
                </c:pt>
                <c:pt idx="10197">
                  <c:v>0.18186195826645199</c:v>
                </c:pt>
                <c:pt idx="10198">
                  <c:v>0.18187979311574801</c:v>
                </c:pt>
                <c:pt idx="10199">
                  <c:v>0.181897627965043</c:v>
                </c:pt>
                <c:pt idx="10200">
                  <c:v>0.18191546281433901</c:v>
                </c:pt>
                <c:pt idx="10201">
                  <c:v>0.181933297663634</c:v>
                </c:pt>
                <c:pt idx="10202">
                  <c:v>0.18195113251292999</c:v>
                </c:pt>
                <c:pt idx="10203">
                  <c:v>0.18196896736222501</c:v>
                </c:pt>
                <c:pt idx="10204">
                  <c:v>0.181986802211521</c:v>
                </c:pt>
                <c:pt idx="10205">
                  <c:v>0.18200463706081599</c:v>
                </c:pt>
                <c:pt idx="10206">
                  <c:v>0.182022471910112</c:v>
                </c:pt>
                <c:pt idx="10207">
                  <c:v>0.18204030675940699</c:v>
                </c:pt>
                <c:pt idx="10208">
                  <c:v>0.18205814160870301</c:v>
                </c:pt>
                <c:pt idx="10209">
                  <c:v>0.182075976457998</c:v>
                </c:pt>
                <c:pt idx="10210">
                  <c:v>0.18209381130729399</c:v>
                </c:pt>
                <c:pt idx="10211">
                  <c:v>0.18211164615658901</c:v>
                </c:pt>
                <c:pt idx="10212">
                  <c:v>0.182129481005885</c:v>
                </c:pt>
                <c:pt idx="10213">
                  <c:v>0.18214731585518101</c:v>
                </c:pt>
                <c:pt idx="10214">
                  <c:v>0.182165150704476</c:v>
                </c:pt>
                <c:pt idx="10215">
                  <c:v>0.18218298555377199</c:v>
                </c:pt>
                <c:pt idx="10216">
                  <c:v>0.18220082040306701</c:v>
                </c:pt>
                <c:pt idx="10217">
                  <c:v>0.182218655252363</c:v>
                </c:pt>
                <c:pt idx="10218">
                  <c:v>0.18223649010165799</c:v>
                </c:pt>
                <c:pt idx="10219">
                  <c:v>0.18225432495095401</c:v>
                </c:pt>
                <c:pt idx="10220">
                  <c:v>0.182272159800249</c:v>
                </c:pt>
                <c:pt idx="10221">
                  <c:v>0.18228999464954501</c:v>
                </c:pt>
                <c:pt idx="10222">
                  <c:v>0.18230782949884</c:v>
                </c:pt>
                <c:pt idx="10223">
                  <c:v>0.18232566434813599</c:v>
                </c:pt>
                <c:pt idx="10224">
                  <c:v>0.18234349919743101</c:v>
                </c:pt>
                <c:pt idx="10225">
                  <c:v>0.182361334046727</c:v>
                </c:pt>
                <c:pt idx="10226">
                  <c:v>0.18237916889602199</c:v>
                </c:pt>
                <c:pt idx="10227">
                  <c:v>0.182397003745318</c:v>
                </c:pt>
                <c:pt idx="10228">
                  <c:v>0.18241483859461299</c:v>
                </c:pt>
                <c:pt idx="10229">
                  <c:v>0.18243267344390901</c:v>
                </c:pt>
                <c:pt idx="10230">
                  <c:v>0.182450508293204</c:v>
                </c:pt>
                <c:pt idx="10231">
                  <c:v>0.18246834314249999</c:v>
                </c:pt>
                <c:pt idx="10232">
                  <c:v>0.18248617799179501</c:v>
                </c:pt>
                <c:pt idx="10233">
                  <c:v>0.182504012841091</c:v>
                </c:pt>
                <c:pt idx="10234">
                  <c:v>0.18252184769038701</c:v>
                </c:pt>
                <c:pt idx="10235">
                  <c:v>0.182539682539682</c:v>
                </c:pt>
                <c:pt idx="10236">
                  <c:v>0.18255751738897799</c:v>
                </c:pt>
                <c:pt idx="10237">
                  <c:v>0.18257535223827301</c:v>
                </c:pt>
                <c:pt idx="10238">
                  <c:v>0.182593187087569</c:v>
                </c:pt>
                <c:pt idx="10239">
                  <c:v>0.18261102193686399</c:v>
                </c:pt>
                <c:pt idx="10240">
                  <c:v>0.18262885678616</c:v>
                </c:pt>
                <c:pt idx="10241">
                  <c:v>0.18264669163545499</c:v>
                </c:pt>
                <c:pt idx="10242">
                  <c:v>0.18266452648475101</c:v>
                </c:pt>
                <c:pt idx="10243">
                  <c:v>0.182682361334046</c:v>
                </c:pt>
                <c:pt idx="10244">
                  <c:v>0.18270019618334199</c:v>
                </c:pt>
                <c:pt idx="10245">
                  <c:v>0.18271803103263701</c:v>
                </c:pt>
                <c:pt idx="10246">
                  <c:v>0.182735865881933</c:v>
                </c:pt>
                <c:pt idx="10247">
                  <c:v>0.18275370073122801</c:v>
                </c:pt>
                <c:pt idx="10248">
                  <c:v>0.182771535580524</c:v>
                </c:pt>
                <c:pt idx="10249">
                  <c:v>0.18278937042981899</c:v>
                </c:pt>
                <c:pt idx="10250">
                  <c:v>0.18280720527911501</c:v>
                </c:pt>
                <c:pt idx="10251">
                  <c:v>0.18282504012841</c:v>
                </c:pt>
                <c:pt idx="10252">
                  <c:v>0.18284287497770599</c:v>
                </c:pt>
                <c:pt idx="10253">
                  <c:v>0.18286070982700101</c:v>
                </c:pt>
                <c:pt idx="10254">
                  <c:v>0.18287854467629699</c:v>
                </c:pt>
                <c:pt idx="10255">
                  <c:v>0.18289637952559301</c:v>
                </c:pt>
                <c:pt idx="10256">
                  <c:v>0.182914214374888</c:v>
                </c:pt>
                <c:pt idx="10257">
                  <c:v>0.18293204922418399</c:v>
                </c:pt>
                <c:pt idx="10258">
                  <c:v>0.18294988407347901</c:v>
                </c:pt>
                <c:pt idx="10259">
                  <c:v>0.182967718922775</c:v>
                </c:pt>
                <c:pt idx="10260">
                  <c:v>0.18298555377206999</c:v>
                </c:pt>
                <c:pt idx="10261">
                  <c:v>0.183003388621366</c:v>
                </c:pt>
                <c:pt idx="10262">
                  <c:v>0.18302122347066099</c:v>
                </c:pt>
                <c:pt idx="10263">
                  <c:v>0.18303905831995701</c:v>
                </c:pt>
                <c:pt idx="10264">
                  <c:v>0.183056893169252</c:v>
                </c:pt>
                <c:pt idx="10265">
                  <c:v>0.18307472801854799</c:v>
                </c:pt>
                <c:pt idx="10266">
                  <c:v>0.18309256286784301</c:v>
                </c:pt>
                <c:pt idx="10267">
                  <c:v>0.183110397717139</c:v>
                </c:pt>
                <c:pt idx="10268">
                  <c:v>0.18312823256643401</c:v>
                </c:pt>
                <c:pt idx="10269">
                  <c:v>0.18314606741573</c:v>
                </c:pt>
                <c:pt idx="10270">
                  <c:v>0.18316390226502499</c:v>
                </c:pt>
                <c:pt idx="10271">
                  <c:v>0.18318173711432101</c:v>
                </c:pt>
                <c:pt idx="10272">
                  <c:v>0.183199571963616</c:v>
                </c:pt>
                <c:pt idx="10273">
                  <c:v>0.18321740681291199</c:v>
                </c:pt>
                <c:pt idx="10274">
                  <c:v>0.183235241662207</c:v>
                </c:pt>
                <c:pt idx="10275">
                  <c:v>0.18325307651150299</c:v>
                </c:pt>
                <c:pt idx="10276">
                  <c:v>0.18327091136079901</c:v>
                </c:pt>
                <c:pt idx="10277">
                  <c:v>0.183288746210094</c:v>
                </c:pt>
                <c:pt idx="10278">
                  <c:v>0.18330658105938999</c:v>
                </c:pt>
                <c:pt idx="10279">
                  <c:v>0.18332441590868501</c:v>
                </c:pt>
                <c:pt idx="10280">
                  <c:v>0.183342250757981</c:v>
                </c:pt>
                <c:pt idx="10281">
                  <c:v>0.18336008560727601</c:v>
                </c:pt>
                <c:pt idx="10282">
                  <c:v>0.183377920456572</c:v>
                </c:pt>
                <c:pt idx="10283">
                  <c:v>0.18339575530586699</c:v>
                </c:pt>
                <c:pt idx="10284">
                  <c:v>0.18341359015516301</c:v>
                </c:pt>
                <c:pt idx="10285">
                  <c:v>0.183431425004458</c:v>
                </c:pt>
                <c:pt idx="10286">
                  <c:v>0.18344925985375399</c:v>
                </c:pt>
                <c:pt idx="10287">
                  <c:v>0.18346709470304901</c:v>
                </c:pt>
                <c:pt idx="10288">
                  <c:v>0.18348492955234499</c:v>
                </c:pt>
                <c:pt idx="10289">
                  <c:v>0.18350276440164001</c:v>
                </c:pt>
                <c:pt idx="10290">
                  <c:v>0.183520599250936</c:v>
                </c:pt>
                <c:pt idx="10291">
                  <c:v>0.18353843410023099</c:v>
                </c:pt>
                <c:pt idx="10292">
                  <c:v>0.18355626894952701</c:v>
                </c:pt>
                <c:pt idx="10293">
                  <c:v>0.183574103798822</c:v>
                </c:pt>
                <c:pt idx="10294">
                  <c:v>0.18359193864811801</c:v>
                </c:pt>
                <c:pt idx="10295">
                  <c:v>0.183609773497413</c:v>
                </c:pt>
                <c:pt idx="10296">
                  <c:v>0.18362760834670899</c:v>
                </c:pt>
                <c:pt idx="10297">
                  <c:v>0.18364544319600401</c:v>
                </c:pt>
                <c:pt idx="10298">
                  <c:v>0.1836632780453</c:v>
                </c:pt>
                <c:pt idx="10299">
                  <c:v>0.18368111289459599</c:v>
                </c:pt>
                <c:pt idx="10300">
                  <c:v>0.18369894774389101</c:v>
                </c:pt>
                <c:pt idx="10301">
                  <c:v>0.18371678259318699</c:v>
                </c:pt>
                <c:pt idx="10302">
                  <c:v>0.18373461744248201</c:v>
                </c:pt>
                <c:pt idx="10303">
                  <c:v>0.183752452291778</c:v>
                </c:pt>
                <c:pt idx="10304">
                  <c:v>0.18377028714107299</c:v>
                </c:pt>
                <c:pt idx="10305">
                  <c:v>0.18378812199036901</c:v>
                </c:pt>
                <c:pt idx="10306">
                  <c:v>0.183805956839664</c:v>
                </c:pt>
                <c:pt idx="10307">
                  <c:v>0.18382379168895999</c:v>
                </c:pt>
                <c:pt idx="10308">
                  <c:v>0.183841626538255</c:v>
                </c:pt>
                <c:pt idx="10309">
                  <c:v>0.18385946138755099</c:v>
                </c:pt>
                <c:pt idx="10310">
                  <c:v>0.18387729623684601</c:v>
                </c:pt>
                <c:pt idx="10311">
                  <c:v>0.183895131086142</c:v>
                </c:pt>
                <c:pt idx="10312">
                  <c:v>0.18391296593543699</c:v>
                </c:pt>
                <c:pt idx="10313">
                  <c:v>0.18393080078473301</c:v>
                </c:pt>
                <c:pt idx="10314">
                  <c:v>0.183948635634028</c:v>
                </c:pt>
                <c:pt idx="10315">
                  <c:v>0.18396647048332401</c:v>
                </c:pt>
                <c:pt idx="10316">
                  <c:v>0.183984305332619</c:v>
                </c:pt>
                <c:pt idx="10317">
                  <c:v>0.18400214018191499</c:v>
                </c:pt>
                <c:pt idx="10318">
                  <c:v>0.18401997503121001</c:v>
                </c:pt>
                <c:pt idx="10319">
                  <c:v>0.184037809880506</c:v>
                </c:pt>
                <c:pt idx="10320">
                  <c:v>0.18405564472980199</c:v>
                </c:pt>
                <c:pt idx="10321">
                  <c:v>0.184073479579097</c:v>
                </c:pt>
                <c:pt idx="10322">
                  <c:v>0.18409131442839299</c:v>
                </c:pt>
                <c:pt idx="10323">
                  <c:v>0.18410914927768801</c:v>
                </c:pt>
                <c:pt idx="10324">
                  <c:v>0.184126984126984</c:v>
                </c:pt>
                <c:pt idx="10325">
                  <c:v>0.18414481897627899</c:v>
                </c:pt>
                <c:pt idx="10326">
                  <c:v>0.18416265382557501</c:v>
                </c:pt>
                <c:pt idx="10327">
                  <c:v>0.18418048867487</c:v>
                </c:pt>
                <c:pt idx="10328">
                  <c:v>0.18419832352416601</c:v>
                </c:pt>
                <c:pt idx="10329">
                  <c:v>0.184216158373461</c:v>
                </c:pt>
                <c:pt idx="10330">
                  <c:v>0.18423399322275699</c:v>
                </c:pt>
                <c:pt idx="10331">
                  <c:v>0.18425182807205201</c:v>
                </c:pt>
                <c:pt idx="10332">
                  <c:v>0.184269662921348</c:v>
                </c:pt>
                <c:pt idx="10333">
                  <c:v>0.18428749777064299</c:v>
                </c:pt>
                <c:pt idx="10334">
                  <c:v>0.18430533261993901</c:v>
                </c:pt>
                <c:pt idx="10335">
                  <c:v>0.18432316746923399</c:v>
                </c:pt>
                <c:pt idx="10336">
                  <c:v>0.18434100231853001</c:v>
                </c:pt>
                <c:pt idx="10337">
                  <c:v>0.184358837167825</c:v>
                </c:pt>
                <c:pt idx="10338">
                  <c:v>0.18437667201712099</c:v>
                </c:pt>
                <c:pt idx="10339">
                  <c:v>0.18439450686641601</c:v>
                </c:pt>
                <c:pt idx="10340">
                  <c:v>0.184412341715712</c:v>
                </c:pt>
                <c:pt idx="10341">
                  <c:v>0.18443017656500801</c:v>
                </c:pt>
                <c:pt idx="10342">
                  <c:v>0.184448011414303</c:v>
                </c:pt>
                <c:pt idx="10343">
                  <c:v>0.18446584626359899</c:v>
                </c:pt>
                <c:pt idx="10344">
                  <c:v>0.18448368111289401</c:v>
                </c:pt>
                <c:pt idx="10345">
                  <c:v>0.18450151596219</c:v>
                </c:pt>
                <c:pt idx="10346">
                  <c:v>0.18451935081148499</c:v>
                </c:pt>
                <c:pt idx="10347">
                  <c:v>0.18453718566078101</c:v>
                </c:pt>
                <c:pt idx="10348">
                  <c:v>0.184555020510076</c:v>
                </c:pt>
                <c:pt idx="10349">
                  <c:v>0.18457285535937201</c:v>
                </c:pt>
                <c:pt idx="10350">
                  <c:v>0.184590690208667</c:v>
                </c:pt>
                <c:pt idx="10351">
                  <c:v>0.18460852505796299</c:v>
                </c:pt>
                <c:pt idx="10352">
                  <c:v>0.18462635990725801</c:v>
                </c:pt>
                <c:pt idx="10353">
                  <c:v>0.184644194756554</c:v>
                </c:pt>
                <c:pt idx="10354">
                  <c:v>0.18466202960584899</c:v>
                </c:pt>
                <c:pt idx="10355">
                  <c:v>0.184679864455145</c:v>
                </c:pt>
                <c:pt idx="10356">
                  <c:v>0.18469769930443999</c:v>
                </c:pt>
                <c:pt idx="10357">
                  <c:v>0.18471553415373601</c:v>
                </c:pt>
                <c:pt idx="10358">
                  <c:v>0.184733369003031</c:v>
                </c:pt>
                <c:pt idx="10359">
                  <c:v>0.18475120385232699</c:v>
                </c:pt>
                <c:pt idx="10360">
                  <c:v>0.18476903870162201</c:v>
                </c:pt>
                <c:pt idx="10361">
                  <c:v>0.184786873550918</c:v>
                </c:pt>
                <c:pt idx="10362">
                  <c:v>0.18480470840021401</c:v>
                </c:pt>
                <c:pt idx="10363">
                  <c:v>0.184822543249509</c:v>
                </c:pt>
                <c:pt idx="10364">
                  <c:v>0.18484037809880499</c:v>
                </c:pt>
                <c:pt idx="10365">
                  <c:v>0.18485821294810001</c:v>
                </c:pt>
                <c:pt idx="10366">
                  <c:v>0.184876047797396</c:v>
                </c:pt>
                <c:pt idx="10367">
                  <c:v>0.18489388264669099</c:v>
                </c:pt>
                <c:pt idx="10368">
                  <c:v>0.184911717495987</c:v>
                </c:pt>
                <c:pt idx="10369">
                  <c:v>0.18492955234528199</c:v>
                </c:pt>
                <c:pt idx="10370">
                  <c:v>0.18494738719457801</c:v>
                </c:pt>
                <c:pt idx="10371">
                  <c:v>0.184965222043873</c:v>
                </c:pt>
                <c:pt idx="10372">
                  <c:v>0.18498305689316899</c:v>
                </c:pt>
                <c:pt idx="10373">
                  <c:v>0.18500089174246401</c:v>
                </c:pt>
                <c:pt idx="10374">
                  <c:v>0.18501872659176</c:v>
                </c:pt>
                <c:pt idx="10375">
                  <c:v>0.18503656144105499</c:v>
                </c:pt>
                <c:pt idx="10376">
                  <c:v>0.185054396290351</c:v>
                </c:pt>
                <c:pt idx="10377">
                  <c:v>0.18507223113964599</c:v>
                </c:pt>
                <c:pt idx="10378">
                  <c:v>0.18509006598894201</c:v>
                </c:pt>
                <c:pt idx="10379">
                  <c:v>0.185107900838237</c:v>
                </c:pt>
                <c:pt idx="10380">
                  <c:v>0.18512573568753299</c:v>
                </c:pt>
                <c:pt idx="10381">
                  <c:v>0.18514357053682801</c:v>
                </c:pt>
                <c:pt idx="10382">
                  <c:v>0.185161405386124</c:v>
                </c:pt>
                <c:pt idx="10383">
                  <c:v>0.18517924023542001</c:v>
                </c:pt>
                <c:pt idx="10384">
                  <c:v>0.185197075084715</c:v>
                </c:pt>
                <c:pt idx="10385">
                  <c:v>0.18521490993401099</c:v>
                </c:pt>
                <c:pt idx="10386">
                  <c:v>0.18523274478330601</c:v>
                </c:pt>
                <c:pt idx="10387">
                  <c:v>0.185250579632602</c:v>
                </c:pt>
                <c:pt idx="10388">
                  <c:v>0.18526841448189699</c:v>
                </c:pt>
                <c:pt idx="10389">
                  <c:v>0.185286249331193</c:v>
                </c:pt>
                <c:pt idx="10390">
                  <c:v>0.18530408418048799</c:v>
                </c:pt>
                <c:pt idx="10391">
                  <c:v>0.18532191902978401</c:v>
                </c:pt>
                <c:pt idx="10392">
                  <c:v>0.185339753879079</c:v>
                </c:pt>
                <c:pt idx="10393">
                  <c:v>0.18535758872837499</c:v>
                </c:pt>
                <c:pt idx="10394">
                  <c:v>0.18537542357767001</c:v>
                </c:pt>
                <c:pt idx="10395">
                  <c:v>0.185393258426966</c:v>
                </c:pt>
                <c:pt idx="10396">
                  <c:v>0.18541109327626101</c:v>
                </c:pt>
                <c:pt idx="10397">
                  <c:v>0.185428928125557</c:v>
                </c:pt>
                <c:pt idx="10398">
                  <c:v>0.18544676297485199</c:v>
                </c:pt>
                <c:pt idx="10399">
                  <c:v>0.18546459782414801</c:v>
                </c:pt>
                <c:pt idx="10400">
                  <c:v>0.185482432673443</c:v>
                </c:pt>
                <c:pt idx="10401">
                  <c:v>0.18550026752273899</c:v>
                </c:pt>
                <c:pt idx="10402">
                  <c:v>0.185518102372034</c:v>
                </c:pt>
                <c:pt idx="10403">
                  <c:v>0.18553593722132999</c:v>
                </c:pt>
                <c:pt idx="10404">
                  <c:v>0.18555377207062601</c:v>
                </c:pt>
                <c:pt idx="10405">
                  <c:v>0.185571606919921</c:v>
                </c:pt>
                <c:pt idx="10406">
                  <c:v>0.18558944176921699</c:v>
                </c:pt>
                <c:pt idx="10407">
                  <c:v>0.18560727661851201</c:v>
                </c:pt>
                <c:pt idx="10408">
                  <c:v>0.185625111467808</c:v>
                </c:pt>
                <c:pt idx="10409">
                  <c:v>0.18564294631710301</c:v>
                </c:pt>
                <c:pt idx="10410">
                  <c:v>0.185660781166399</c:v>
                </c:pt>
                <c:pt idx="10411">
                  <c:v>0.18567861601569399</c:v>
                </c:pt>
                <c:pt idx="10412">
                  <c:v>0.18569645086499001</c:v>
                </c:pt>
                <c:pt idx="10413">
                  <c:v>0.185714285714285</c:v>
                </c:pt>
                <c:pt idx="10414">
                  <c:v>0.18573212056358099</c:v>
                </c:pt>
                <c:pt idx="10415">
                  <c:v>0.18574995541287601</c:v>
                </c:pt>
                <c:pt idx="10416">
                  <c:v>0.18576779026217199</c:v>
                </c:pt>
                <c:pt idx="10417">
                  <c:v>0.18578562511146701</c:v>
                </c:pt>
                <c:pt idx="10418">
                  <c:v>0.185803459960763</c:v>
                </c:pt>
                <c:pt idx="10419">
                  <c:v>0.18582129481005799</c:v>
                </c:pt>
                <c:pt idx="10420">
                  <c:v>0.18583912965935401</c:v>
                </c:pt>
                <c:pt idx="10421">
                  <c:v>0.185856964508649</c:v>
                </c:pt>
                <c:pt idx="10422">
                  <c:v>0.18587479935794499</c:v>
                </c:pt>
                <c:pt idx="10423">
                  <c:v>0.18589263420724</c:v>
                </c:pt>
                <c:pt idx="10424">
                  <c:v>0.18591046905653599</c:v>
                </c:pt>
                <c:pt idx="10425">
                  <c:v>0.18592830390583101</c:v>
                </c:pt>
                <c:pt idx="10426">
                  <c:v>0.185946138755127</c:v>
                </c:pt>
                <c:pt idx="10427">
                  <c:v>0.18596397360442299</c:v>
                </c:pt>
                <c:pt idx="10428">
                  <c:v>0.18598180845371801</c:v>
                </c:pt>
                <c:pt idx="10429">
                  <c:v>0.185999643303014</c:v>
                </c:pt>
                <c:pt idx="10430">
                  <c:v>0.18601747815230901</c:v>
                </c:pt>
                <c:pt idx="10431">
                  <c:v>0.186035313001605</c:v>
                </c:pt>
                <c:pt idx="10432">
                  <c:v>0.18605314785089999</c:v>
                </c:pt>
                <c:pt idx="10433">
                  <c:v>0.18607098270019601</c:v>
                </c:pt>
                <c:pt idx="10434">
                  <c:v>0.186088817549491</c:v>
                </c:pt>
                <c:pt idx="10435">
                  <c:v>0.18610665239878699</c:v>
                </c:pt>
                <c:pt idx="10436">
                  <c:v>0.186124487248082</c:v>
                </c:pt>
                <c:pt idx="10437">
                  <c:v>0.18614232209737799</c:v>
                </c:pt>
                <c:pt idx="10438">
                  <c:v>0.18616015694667301</c:v>
                </c:pt>
                <c:pt idx="10439">
                  <c:v>0.186177991795969</c:v>
                </c:pt>
                <c:pt idx="10440">
                  <c:v>0.18619582664526399</c:v>
                </c:pt>
                <c:pt idx="10441">
                  <c:v>0.18621366149456001</c:v>
                </c:pt>
                <c:pt idx="10442">
                  <c:v>0.186231496343855</c:v>
                </c:pt>
                <c:pt idx="10443">
                  <c:v>0.18624933119315101</c:v>
                </c:pt>
                <c:pt idx="10444">
                  <c:v>0.186267166042446</c:v>
                </c:pt>
                <c:pt idx="10445">
                  <c:v>0.18628500089174199</c:v>
                </c:pt>
                <c:pt idx="10446">
                  <c:v>0.18630283574103701</c:v>
                </c:pt>
                <c:pt idx="10447">
                  <c:v>0.186320670590333</c:v>
                </c:pt>
                <c:pt idx="10448">
                  <c:v>0.18633850543962899</c:v>
                </c:pt>
                <c:pt idx="10449">
                  <c:v>0.18635634028892401</c:v>
                </c:pt>
                <c:pt idx="10450">
                  <c:v>0.18637417513821999</c:v>
                </c:pt>
                <c:pt idx="10451">
                  <c:v>0.18639200998751501</c:v>
                </c:pt>
                <c:pt idx="10452">
                  <c:v>0.186409844836811</c:v>
                </c:pt>
                <c:pt idx="10453">
                  <c:v>0.18642767968610599</c:v>
                </c:pt>
                <c:pt idx="10454">
                  <c:v>0.18644551453540201</c:v>
                </c:pt>
                <c:pt idx="10455">
                  <c:v>0.186463349384697</c:v>
                </c:pt>
                <c:pt idx="10456">
                  <c:v>0.18648118423399301</c:v>
                </c:pt>
                <c:pt idx="10457">
                  <c:v>0.186499019083288</c:v>
                </c:pt>
                <c:pt idx="10458">
                  <c:v>0.18651685393258399</c:v>
                </c:pt>
                <c:pt idx="10459">
                  <c:v>0.18653468878187901</c:v>
                </c:pt>
                <c:pt idx="10460">
                  <c:v>0.186552523631175</c:v>
                </c:pt>
                <c:pt idx="10461">
                  <c:v>0.18657035848046999</c:v>
                </c:pt>
                <c:pt idx="10462">
                  <c:v>0.18658819332976601</c:v>
                </c:pt>
                <c:pt idx="10463">
                  <c:v>0.186606028179061</c:v>
                </c:pt>
                <c:pt idx="10464">
                  <c:v>0.18662386302835701</c:v>
                </c:pt>
                <c:pt idx="10465">
                  <c:v>0.186641697877652</c:v>
                </c:pt>
                <c:pt idx="10466">
                  <c:v>0.18665953272694799</c:v>
                </c:pt>
                <c:pt idx="10467">
                  <c:v>0.18667736757624301</c:v>
                </c:pt>
                <c:pt idx="10468">
                  <c:v>0.186695202425539</c:v>
                </c:pt>
                <c:pt idx="10469">
                  <c:v>0.18671303727483499</c:v>
                </c:pt>
                <c:pt idx="10470">
                  <c:v>0.18673087212413</c:v>
                </c:pt>
                <c:pt idx="10471">
                  <c:v>0.18674870697342599</c:v>
                </c:pt>
                <c:pt idx="10472">
                  <c:v>0.18676654182272101</c:v>
                </c:pt>
                <c:pt idx="10473">
                  <c:v>0.186784376672017</c:v>
                </c:pt>
                <c:pt idx="10474">
                  <c:v>0.18680221152131199</c:v>
                </c:pt>
                <c:pt idx="10475">
                  <c:v>0.18682004637060801</c:v>
                </c:pt>
                <c:pt idx="10476">
                  <c:v>0.186837881219903</c:v>
                </c:pt>
                <c:pt idx="10477">
                  <c:v>0.18685571606919901</c:v>
                </c:pt>
                <c:pt idx="10478">
                  <c:v>0.186873550918494</c:v>
                </c:pt>
                <c:pt idx="10479">
                  <c:v>0.18689138576778999</c:v>
                </c:pt>
                <c:pt idx="10480">
                  <c:v>0.18690922061708501</c:v>
                </c:pt>
                <c:pt idx="10481">
                  <c:v>0.186927055466381</c:v>
                </c:pt>
                <c:pt idx="10482">
                  <c:v>0.18694489031567599</c:v>
                </c:pt>
                <c:pt idx="10483">
                  <c:v>0.186962725164972</c:v>
                </c:pt>
                <c:pt idx="10484">
                  <c:v>0.18698056001426699</c:v>
                </c:pt>
                <c:pt idx="10485">
                  <c:v>0.18699839486356301</c:v>
                </c:pt>
                <c:pt idx="10486">
                  <c:v>0.187016229712858</c:v>
                </c:pt>
                <c:pt idx="10487">
                  <c:v>0.18703406456215399</c:v>
                </c:pt>
                <c:pt idx="10488">
                  <c:v>0.18705189941144901</c:v>
                </c:pt>
                <c:pt idx="10489">
                  <c:v>0.187069734260745</c:v>
                </c:pt>
                <c:pt idx="10490">
                  <c:v>0.18708756911004101</c:v>
                </c:pt>
                <c:pt idx="10491">
                  <c:v>0.187105403959336</c:v>
                </c:pt>
                <c:pt idx="10492">
                  <c:v>0.18712323880863199</c:v>
                </c:pt>
                <c:pt idx="10493">
                  <c:v>0.18714107365792701</c:v>
                </c:pt>
                <c:pt idx="10494">
                  <c:v>0.187158908507223</c:v>
                </c:pt>
                <c:pt idx="10495">
                  <c:v>0.18717674335651799</c:v>
                </c:pt>
                <c:pt idx="10496">
                  <c:v>0.18719457820581401</c:v>
                </c:pt>
                <c:pt idx="10497">
                  <c:v>0.18721241305510899</c:v>
                </c:pt>
                <c:pt idx="10498">
                  <c:v>0.18723024790440501</c:v>
                </c:pt>
                <c:pt idx="10499">
                  <c:v>0.1872480827537</c:v>
                </c:pt>
                <c:pt idx="10500">
                  <c:v>0.18726591760299599</c:v>
                </c:pt>
                <c:pt idx="10501">
                  <c:v>0.18728375245229101</c:v>
                </c:pt>
                <c:pt idx="10502">
                  <c:v>0.187301587301587</c:v>
                </c:pt>
                <c:pt idx="10503">
                  <c:v>0.18731942215088199</c:v>
                </c:pt>
                <c:pt idx="10504">
                  <c:v>0.187337257000178</c:v>
                </c:pt>
                <c:pt idx="10505">
                  <c:v>0.18735509184947299</c:v>
                </c:pt>
                <c:pt idx="10506">
                  <c:v>0.18737292669876901</c:v>
                </c:pt>
                <c:pt idx="10507">
                  <c:v>0.187390761548064</c:v>
                </c:pt>
                <c:pt idx="10508">
                  <c:v>0.18740859639735999</c:v>
                </c:pt>
                <c:pt idx="10509">
                  <c:v>0.18742643124665501</c:v>
                </c:pt>
                <c:pt idx="10510">
                  <c:v>0.187444266095951</c:v>
                </c:pt>
                <c:pt idx="10511">
                  <c:v>0.18746210094524701</c:v>
                </c:pt>
                <c:pt idx="10512">
                  <c:v>0.187479935794542</c:v>
                </c:pt>
                <c:pt idx="10513">
                  <c:v>0.18749777064383799</c:v>
                </c:pt>
                <c:pt idx="10514">
                  <c:v>0.18751560549313301</c:v>
                </c:pt>
                <c:pt idx="10515">
                  <c:v>0.187533440342429</c:v>
                </c:pt>
                <c:pt idx="10516">
                  <c:v>0.18755127519172399</c:v>
                </c:pt>
                <c:pt idx="10517">
                  <c:v>0.18756911004102</c:v>
                </c:pt>
                <c:pt idx="10518">
                  <c:v>0.18758694489031499</c:v>
                </c:pt>
                <c:pt idx="10519">
                  <c:v>0.18760477973961101</c:v>
                </c:pt>
                <c:pt idx="10520">
                  <c:v>0.187622614588906</c:v>
                </c:pt>
                <c:pt idx="10521">
                  <c:v>0.18764044943820199</c:v>
                </c:pt>
                <c:pt idx="10522">
                  <c:v>0.18765828428749701</c:v>
                </c:pt>
                <c:pt idx="10523">
                  <c:v>0.187676119136793</c:v>
                </c:pt>
                <c:pt idx="10524">
                  <c:v>0.18769395398608801</c:v>
                </c:pt>
                <c:pt idx="10525">
                  <c:v>0.187711788835384</c:v>
                </c:pt>
                <c:pt idx="10526">
                  <c:v>0.18772962368467899</c:v>
                </c:pt>
                <c:pt idx="10527">
                  <c:v>0.18774745853397501</c:v>
                </c:pt>
                <c:pt idx="10528">
                  <c:v>0.18776529338327</c:v>
                </c:pt>
                <c:pt idx="10529">
                  <c:v>0.18778312823256599</c:v>
                </c:pt>
                <c:pt idx="10530">
                  <c:v>0.18780096308186101</c:v>
                </c:pt>
                <c:pt idx="10531">
                  <c:v>0.18781879793115699</c:v>
                </c:pt>
                <c:pt idx="10532">
                  <c:v>0.18783663278045301</c:v>
                </c:pt>
                <c:pt idx="10533">
                  <c:v>0.187854467629748</c:v>
                </c:pt>
                <c:pt idx="10534">
                  <c:v>0.18787230247904399</c:v>
                </c:pt>
                <c:pt idx="10535">
                  <c:v>0.18789013732833901</c:v>
                </c:pt>
                <c:pt idx="10536">
                  <c:v>0.187907972177635</c:v>
                </c:pt>
                <c:pt idx="10537">
                  <c:v>0.18792580702692999</c:v>
                </c:pt>
                <c:pt idx="10538">
                  <c:v>0.187943641876226</c:v>
                </c:pt>
                <c:pt idx="10539">
                  <c:v>0.18796147672552099</c:v>
                </c:pt>
                <c:pt idx="10540">
                  <c:v>0.18797931157481701</c:v>
                </c:pt>
                <c:pt idx="10541">
                  <c:v>0.187997146424112</c:v>
                </c:pt>
                <c:pt idx="10542">
                  <c:v>0.18801498127340799</c:v>
                </c:pt>
                <c:pt idx="10543">
                  <c:v>0.18803281612270301</c:v>
                </c:pt>
                <c:pt idx="10544">
                  <c:v>0.18805065097199899</c:v>
                </c:pt>
                <c:pt idx="10545">
                  <c:v>0.18806848582129401</c:v>
                </c:pt>
                <c:pt idx="10546">
                  <c:v>0.18808632067059</c:v>
                </c:pt>
                <c:pt idx="10547">
                  <c:v>0.18810415551988499</c:v>
                </c:pt>
                <c:pt idx="10548">
                  <c:v>0.18812199036918101</c:v>
                </c:pt>
                <c:pt idx="10549">
                  <c:v>0.188139825218476</c:v>
                </c:pt>
                <c:pt idx="10550">
                  <c:v>0.18815766006777199</c:v>
                </c:pt>
                <c:pt idx="10551">
                  <c:v>0.188175494917067</c:v>
                </c:pt>
                <c:pt idx="10552">
                  <c:v>0.18819332976636299</c:v>
                </c:pt>
                <c:pt idx="10553">
                  <c:v>0.18821116461565901</c:v>
                </c:pt>
                <c:pt idx="10554">
                  <c:v>0.188228999464954</c:v>
                </c:pt>
                <c:pt idx="10555">
                  <c:v>0.18824683431424999</c:v>
                </c:pt>
                <c:pt idx="10556">
                  <c:v>0.18826466916354501</c:v>
                </c:pt>
                <c:pt idx="10557">
                  <c:v>0.188282504012841</c:v>
                </c:pt>
                <c:pt idx="10558">
                  <c:v>0.18830033886213601</c:v>
                </c:pt>
                <c:pt idx="10559">
                  <c:v>0.188318173711432</c:v>
                </c:pt>
                <c:pt idx="10560">
                  <c:v>0.18833600856072699</c:v>
                </c:pt>
                <c:pt idx="10561">
                  <c:v>0.18835384341002301</c:v>
                </c:pt>
                <c:pt idx="10562">
                  <c:v>0.188371678259318</c:v>
                </c:pt>
                <c:pt idx="10563">
                  <c:v>0.18838951310861399</c:v>
                </c:pt>
                <c:pt idx="10564">
                  <c:v>0.188407347957909</c:v>
                </c:pt>
                <c:pt idx="10565">
                  <c:v>0.18842518280720499</c:v>
                </c:pt>
                <c:pt idx="10566">
                  <c:v>0.18844301765650001</c:v>
                </c:pt>
                <c:pt idx="10567">
                  <c:v>0.188460852505796</c:v>
                </c:pt>
                <c:pt idx="10568">
                  <c:v>0.18847868735509099</c:v>
                </c:pt>
                <c:pt idx="10569">
                  <c:v>0.18849652220438701</c:v>
                </c:pt>
                <c:pt idx="10570">
                  <c:v>0.188514357053682</c:v>
                </c:pt>
                <c:pt idx="10571">
                  <c:v>0.18853219190297801</c:v>
                </c:pt>
                <c:pt idx="10572">
                  <c:v>0.188550026752273</c:v>
                </c:pt>
                <c:pt idx="10573">
                  <c:v>0.18856786160156899</c:v>
                </c:pt>
                <c:pt idx="10574">
                  <c:v>0.18858569645086401</c:v>
                </c:pt>
                <c:pt idx="10575">
                  <c:v>0.18860353130016</c:v>
                </c:pt>
                <c:pt idx="10576">
                  <c:v>0.18862136614945599</c:v>
                </c:pt>
                <c:pt idx="10577">
                  <c:v>0.18863920099875101</c:v>
                </c:pt>
                <c:pt idx="10578">
                  <c:v>0.18865703584804699</c:v>
                </c:pt>
                <c:pt idx="10579">
                  <c:v>0.18867487069734201</c:v>
                </c:pt>
                <c:pt idx="10580">
                  <c:v>0.188692705546638</c:v>
                </c:pt>
                <c:pt idx="10581">
                  <c:v>0.18871054039593299</c:v>
                </c:pt>
                <c:pt idx="10582">
                  <c:v>0.18872837524522901</c:v>
                </c:pt>
                <c:pt idx="10583">
                  <c:v>0.188746210094524</c:v>
                </c:pt>
                <c:pt idx="10584">
                  <c:v>0.18876404494381999</c:v>
                </c:pt>
                <c:pt idx="10585">
                  <c:v>0.188781879793115</c:v>
                </c:pt>
                <c:pt idx="10586">
                  <c:v>0.18879971464241099</c:v>
                </c:pt>
                <c:pt idx="10587">
                  <c:v>0.18881754949170601</c:v>
                </c:pt>
                <c:pt idx="10588">
                  <c:v>0.188835384341002</c:v>
                </c:pt>
                <c:pt idx="10589">
                  <c:v>0.18885321919029699</c:v>
                </c:pt>
                <c:pt idx="10590">
                  <c:v>0.18887105403959301</c:v>
                </c:pt>
                <c:pt idx="10591">
                  <c:v>0.188888888888888</c:v>
                </c:pt>
                <c:pt idx="10592">
                  <c:v>0.18890672373818401</c:v>
                </c:pt>
                <c:pt idx="10593">
                  <c:v>0.188924558587479</c:v>
                </c:pt>
                <c:pt idx="10594">
                  <c:v>0.18894239343677499</c:v>
                </c:pt>
                <c:pt idx="10595">
                  <c:v>0.18896022828607001</c:v>
                </c:pt>
                <c:pt idx="10596">
                  <c:v>0.188978063135366</c:v>
                </c:pt>
                <c:pt idx="10597">
                  <c:v>0.18899589798466199</c:v>
                </c:pt>
                <c:pt idx="10598">
                  <c:v>0.189013732833957</c:v>
                </c:pt>
                <c:pt idx="10599">
                  <c:v>0.18903156768325299</c:v>
                </c:pt>
                <c:pt idx="10600">
                  <c:v>0.18904940253254801</c:v>
                </c:pt>
                <c:pt idx="10601">
                  <c:v>0.189067237381844</c:v>
                </c:pt>
                <c:pt idx="10602">
                  <c:v>0.18908507223113899</c:v>
                </c:pt>
                <c:pt idx="10603">
                  <c:v>0.18910290708043501</c:v>
                </c:pt>
                <c:pt idx="10604">
                  <c:v>0.18912074192973</c:v>
                </c:pt>
                <c:pt idx="10605">
                  <c:v>0.18913857677902601</c:v>
                </c:pt>
                <c:pt idx="10606">
                  <c:v>0.189156411628321</c:v>
                </c:pt>
                <c:pt idx="10607">
                  <c:v>0.18917424647761699</c:v>
                </c:pt>
                <c:pt idx="10608">
                  <c:v>0.18919208132691201</c:v>
                </c:pt>
                <c:pt idx="10609">
                  <c:v>0.189209916176208</c:v>
                </c:pt>
                <c:pt idx="10610">
                  <c:v>0.18922775102550299</c:v>
                </c:pt>
                <c:pt idx="10611">
                  <c:v>0.189245585874799</c:v>
                </c:pt>
                <c:pt idx="10612">
                  <c:v>0.18926342072409399</c:v>
                </c:pt>
                <c:pt idx="10613">
                  <c:v>0.18928125557339001</c:v>
                </c:pt>
                <c:pt idx="10614">
                  <c:v>0.189299090422685</c:v>
                </c:pt>
                <c:pt idx="10615">
                  <c:v>0.18931692527198099</c:v>
                </c:pt>
                <c:pt idx="10616">
                  <c:v>0.18933476012127601</c:v>
                </c:pt>
                <c:pt idx="10617">
                  <c:v>0.189352594970572</c:v>
                </c:pt>
                <c:pt idx="10618">
                  <c:v>0.18937042981986801</c:v>
                </c:pt>
                <c:pt idx="10619">
                  <c:v>0.189388264669163</c:v>
                </c:pt>
                <c:pt idx="10620">
                  <c:v>0.18940609951845899</c:v>
                </c:pt>
                <c:pt idx="10621">
                  <c:v>0.18942393436775401</c:v>
                </c:pt>
                <c:pt idx="10622">
                  <c:v>0.18944176921705</c:v>
                </c:pt>
                <c:pt idx="10623">
                  <c:v>0.18945960406634499</c:v>
                </c:pt>
                <c:pt idx="10624">
                  <c:v>0.18947743891564101</c:v>
                </c:pt>
                <c:pt idx="10625">
                  <c:v>0.189495273764936</c:v>
                </c:pt>
                <c:pt idx="10626">
                  <c:v>0.18951310861423201</c:v>
                </c:pt>
                <c:pt idx="10627">
                  <c:v>0.189530943463527</c:v>
                </c:pt>
                <c:pt idx="10628">
                  <c:v>0.18954877831282299</c:v>
                </c:pt>
                <c:pt idx="10629">
                  <c:v>0.18956661316211801</c:v>
                </c:pt>
                <c:pt idx="10630">
                  <c:v>0.189584448011414</c:v>
                </c:pt>
                <c:pt idx="10631">
                  <c:v>0.18960228286070899</c:v>
                </c:pt>
                <c:pt idx="10632">
                  <c:v>0.189620117710005</c:v>
                </c:pt>
                <c:pt idx="10633">
                  <c:v>0.18963795255929999</c:v>
                </c:pt>
                <c:pt idx="10634">
                  <c:v>0.18965578740859601</c:v>
                </c:pt>
                <c:pt idx="10635">
                  <c:v>0.189673622257891</c:v>
                </c:pt>
                <c:pt idx="10636">
                  <c:v>0.18969145710718699</c:v>
                </c:pt>
                <c:pt idx="10637">
                  <c:v>0.18970929195648201</c:v>
                </c:pt>
                <c:pt idx="10638">
                  <c:v>0.189727126805778</c:v>
                </c:pt>
                <c:pt idx="10639">
                  <c:v>0.18974496165507401</c:v>
                </c:pt>
                <c:pt idx="10640">
                  <c:v>0.189762796504369</c:v>
                </c:pt>
                <c:pt idx="10641">
                  <c:v>0.18978063135366499</c:v>
                </c:pt>
                <c:pt idx="10642">
                  <c:v>0.18979846620296001</c:v>
                </c:pt>
                <c:pt idx="10643">
                  <c:v>0.189816301052256</c:v>
                </c:pt>
                <c:pt idx="10644">
                  <c:v>0.18983413590155099</c:v>
                </c:pt>
                <c:pt idx="10645">
                  <c:v>0.189851970750847</c:v>
                </c:pt>
                <c:pt idx="10646">
                  <c:v>0.18986980560014199</c:v>
                </c:pt>
                <c:pt idx="10647">
                  <c:v>0.18988764044943801</c:v>
                </c:pt>
                <c:pt idx="10648">
                  <c:v>0.189905475298733</c:v>
                </c:pt>
                <c:pt idx="10649">
                  <c:v>0.18992331014802899</c:v>
                </c:pt>
                <c:pt idx="10650">
                  <c:v>0.18994114499732401</c:v>
                </c:pt>
                <c:pt idx="10651">
                  <c:v>0.18995897984662</c:v>
                </c:pt>
                <c:pt idx="10652">
                  <c:v>0.18997681469591499</c:v>
                </c:pt>
                <c:pt idx="10653">
                  <c:v>0.189994649545211</c:v>
                </c:pt>
                <c:pt idx="10654">
                  <c:v>0.19001248439450599</c:v>
                </c:pt>
                <c:pt idx="10655">
                  <c:v>0.19003031924380201</c:v>
                </c:pt>
                <c:pt idx="10656">
                  <c:v>0.190048154093097</c:v>
                </c:pt>
                <c:pt idx="10657">
                  <c:v>0.19006598894239299</c:v>
                </c:pt>
                <c:pt idx="10658">
                  <c:v>0.19008382379168801</c:v>
                </c:pt>
                <c:pt idx="10659">
                  <c:v>0.19010165864098399</c:v>
                </c:pt>
                <c:pt idx="10660">
                  <c:v>0.19011949349028001</c:v>
                </c:pt>
                <c:pt idx="10661">
                  <c:v>0.190137328339575</c:v>
                </c:pt>
                <c:pt idx="10662">
                  <c:v>0.19015516318887099</c:v>
                </c:pt>
                <c:pt idx="10663">
                  <c:v>0.19017299803816601</c:v>
                </c:pt>
                <c:pt idx="10664">
                  <c:v>0.190190832887462</c:v>
                </c:pt>
                <c:pt idx="10665">
                  <c:v>0.19020866773675699</c:v>
                </c:pt>
                <c:pt idx="10666">
                  <c:v>0.190226502586053</c:v>
                </c:pt>
                <c:pt idx="10667">
                  <c:v>0.19024433743534799</c:v>
                </c:pt>
                <c:pt idx="10668">
                  <c:v>0.19026217228464401</c:v>
                </c:pt>
                <c:pt idx="10669">
                  <c:v>0.190280007133939</c:v>
                </c:pt>
                <c:pt idx="10670">
                  <c:v>0.19029784198323499</c:v>
                </c:pt>
                <c:pt idx="10671">
                  <c:v>0.19031567683253001</c:v>
                </c:pt>
                <c:pt idx="10672">
                  <c:v>0.190333511681826</c:v>
                </c:pt>
                <c:pt idx="10673">
                  <c:v>0.19035134653112101</c:v>
                </c:pt>
                <c:pt idx="10674">
                  <c:v>0.190369181380417</c:v>
                </c:pt>
                <c:pt idx="10675">
                  <c:v>0.19038701622971199</c:v>
                </c:pt>
                <c:pt idx="10676">
                  <c:v>0.19040485107900801</c:v>
                </c:pt>
                <c:pt idx="10677">
                  <c:v>0.190422685928303</c:v>
                </c:pt>
                <c:pt idx="10678">
                  <c:v>0.19044052077759899</c:v>
                </c:pt>
                <c:pt idx="10679">
                  <c:v>0.190458355626894</c:v>
                </c:pt>
                <c:pt idx="10680">
                  <c:v>0.19047619047618999</c:v>
                </c:pt>
                <c:pt idx="10681">
                  <c:v>0.19049402532548601</c:v>
                </c:pt>
                <c:pt idx="10682">
                  <c:v>0.190511860174781</c:v>
                </c:pt>
                <c:pt idx="10683">
                  <c:v>0.19052969502407699</c:v>
                </c:pt>
                <c:pt idx="10684">
                  <c:v>0.19054752987337201</c:v>
                </c:pt>
                <c:pt idx="10685">
                  <c:v>0.190565364722668</c:v>
                </c:pt>
                <c:pt idx="10686">
                  <c:v>0.19058319957196301</c:v>
                </c:pt>
                <c:pt idx="10687">
                  <c:v>0.190601034421259</c:v>
                </c:pt>
                <c:pt idx="10688">
                  <c:v>0.19061886927055399</c:v>
                </c:pt>
                <c:pt idx="10689">
                  <c:v>0.19063670411985001</c:v>
                </c:pt>
                <c:pt idx="10690">
                  <c:v>0.190654538969145</c:v>
                </c:pt>
                <c:pt idx="10691">
                  <c:v>0.19067237381844099</c:v>
                </c:pt>
                <c:pt idx="10692">
                  <c:v>0.19069020866773601</c:v>
                </c:pt>
                <c:pt idx="10693">
                  <c:v>0.19070804351703199</c:v>
                </c:pt>
                <c:pt idx="10694">
                  <c:v>0.19072587836632701</c:v>
                </c:pt>
                <c:pt idx="10695">
                  <c:v>0.190743713215623</c:v>
                </c:pt>
                <c:pt idx="10696">
                  <c:v>0.19076154806491799</c:v>
                </c:pt>
                <c:pt idx="10697">
                  <c:v>0.19077938291421401</c:v>
                </c:pt>
                <c:pt idx="10698">
                  <c:v>0.190797217763509</c:v>
                </c:pt>
                <c:pt idx="10699">
                  <c:v>0.19081505261280499</c:v>
                </c:pt>
                <c:pt idx="10700">
                  <c:v>0.1908328874621</c:v>
                </c:pt>
                <c:pt idx="10701">
                  <c:v>0.19085072231139599</c:v>
                </c:pt>
                <c:pt idx="10702">
                  <c:v>0.19086855716069101</c:v>
                </c:pt>
                <c:pt idx="10703">
                  <c:v>0.190886392009987</c:v>
                </c:pt>
                <c:pt idx="10704">
                  <c:v>0.19090422685928299</c:v>
                </c:pt>
                <c:pt idx="10705">
                  <c:v>0.19092206170857801</c:v>
                </c:pt>
                <c:pt idx="10706">
                  <c:v>0.19093989655787399</c:v>
                </c:pt>
                <c:pt idx="10707">
                  <c:v>0.19095773140716901</c:v>
                </c:pt>
                <c:pt idx="10708">
                  <c:v>0.190975566256465</c:v>
                </c:pt>
                <c:pt idx="10709">
                  <c:v>0.19099340110575999</c:v>
                </c:pt>
                <c:pt idx="10710">
                  <c:v>0.19101123595505601</c:v>
                </c:pt>
                <c:pt idx="10711">
                  <c:v>0.191029070804351</c:v>
                </c:pt>
                <c:pt idx="10712">
                  <c:v>0.19104690565364699</c:v>
                </c:pt>
                <c:pt idx="10713">
                  <c:v>0.191064740502942</c:v>
                </c:pt>
                <c:pt idx="10714">
                  <c:v>0.19108257535223799</c:v>
                </c:pt>
                <c:pt idx="10715">
                  <c:v>0.19110041020153301</c:v>
                </c:pt>
                <c:pt idx="10716">
                  <c:v>0.191118245050829</c:v>
                </c:pt>
                <c:pt idx="10717">
                  <c:v>0.19113607990012399</c:v>
                </c:pt>
                <c:pt idx="10718">
                  <c:v>0.19115391474942001</c:v>
                </c:pt>
                <c:pt idx="10719">
                  <c:v>0.191171749598715</c:v>
                </c:pt>
                <c:pt idx="10720">
                  <c:v>0.19118958444801101</c:v>
                </c:pt>
                <c:pt idx="10721">
                  <c:v>0.191207419297306</c:v>
                </c:pt>
                <c:pt idx="10722">
                  <c:v>0.19122525414660199</c:v>
                </c:pt>
                <c:pt idx="10723">
                  <c:v>0.19124308899589701</c:v>
                </c:pt>
                <c:pt idx="10724">
                  <c:v>0.191260923845193</c:v>
                </c:pt>
                <c:pt idx="10725">
                  <c:v>0.19127875869448899</c:v>
                </c:pt>
                <c:pt idx="10726">
                  <c:v>0.191296593543784</c:v>
                </c:pt>
                <c:pt idx="10727">
                  <c:v>0.19131442839307999</c:v>
                </c:pt>
                <c:pt idx="10728">
                  <c:v>0.19133226324237501</c:v>
                </c:pt>
                <c:pt idx="10729">
                  <c:v>0.191350098091671</c:v>
                </c:pt>
                <c:pt idx="10730">
                  <c:v>0.19136793294096599</c:v>
                </c:pt>
                <c:pt idx="10731">
                  <c:v>0.19138576779026201</c:v>
                </c:pt>
                <c:pt idx="10732">
                  <c:v>0.191403602639557</c:v>
                </c:pt>
                <c:pt idx="10733">
                  <c:v>0.19142143748885301</c:v>
                </c:pt>
                <c:pt idx="10734">
                  <c:v>0.191439272338148</c:v>
                </c:pt>
                <c:pt idx="10735">
                  <c:v>0.19145710718744399</c:v>
                </c:pt>
                <c:pt idx="10736">
                  <c:v>0.19147494203673901</c:v>
                </c:pt>
                <c:pt idx="10737">
                  <c:v>0.191492776886035</c:v>
                </c:pt>
                <c:pt idx="10738">
                  <c:v>0.19151061173532999</c:v>
                </c:pt>
                <c:pt idx="10739">
                  <c:v>0.19152844658462601</c:v>
                </c:pt>
                <c:pt idx="10740">
                  <c:v>0.191546281433921</c:v>
                </c:pt>
                <c:pt idx="10741">
                  <c:v>0.19156411628321701</c:v>
                </c:pt>
                <c:pt idx="10742">
                  <c:v>0.191581951132512</c:v>
                </c:pt>
                <c:pt idx="10743">
                  <c:v>0.19159978598180799</c:v>
                </c:pt>
                <c:pt idx="10744">
                  <c:v>0.19161762083110301</c:v>
                </c:pt>
                <c:pt idx="10745">
                  <c:v>0.191635455680399</c:v>
                </c:pt>
                <c:pt idx="10746">
                  <c:v>0.19165329052969499</c:v>
                </c:pt>
                <c:pt idx="10747">
                  <c:v>0.19167112537899</c:v>
                </c:pt>
                <c:pt idx="10748">
                  <c:v>0.19168896022828599</c:v>
                </c:pt>
                <c:pt idx="10749">
                  <c:v>0.19170679507758101</c:v>
                </c:pt>
                <c:pt idx="10750">
                  <c:v>0.191724629926877</c:v>
                </c:pt>
                <c:pt idx="10751">
                  <c:v>0.19174246477617199</c:v>
                </c:pt>
                <c:pt idx="10752">
                  <c:v>0.19176029962546801</c:v>
                </c:pt>
                <c:pt idx="10753">
                  <c:v>0.191778134474763</c:v>
                </c:pt>
                <c:pt idx="10754">
                  <c:v>0.19179596932405901</c:v>
                </c:pt>
                <c:pt idx="10755">
                  <c:v>0.191813804173354</c:v>
                </c:pt>
                <c:pt idx="10756">
                  <c:v>0.19183163902264999</c:v>
                </c:pt>
                <c:pt idx="10757">
                  <c:v>0.19184947387194501</c:v>
                </c:pt>
                <c:pt idx="10758">
                  <c:v>0.191867308721241</c:v>
                </c:pt>
                <c:pt idx="10759">
                  <c:v>0.19188514357053599</c:v>
                </c:pt>
                <c:pt idx="10760">
                  <c:v>0.191902978419832</c:v>
                </c:pt>
                <c:pt idx="10761">
                  <c:v>0.19192081326912699</c:v>
                </c:pt>
                <c:pt idx="10762">
                  <c:v>0.19193864811842301</c:v>
                </c:pt>
                <c:pt idx="10763">
                  <c:v>0.191956482967718</c:v>
                </c:pt>
                <c:pt idx="10764">
                  <c:v>0.19197431781701399</c:v>
                </c:pt>
                <c:pt idx="10765">
                  <c:v>0.19199215266630901</c:v>
                </c:pt>
                <c:pt idx="10766">
                  <c:v>0.192009987515605</c:v>
                </c:pt>
                <c:pt idx="10767">
                  <c:v>0.19202782236490101</c:v>
                </c:pt>
                <c:pt idx="10768">
                  <c:v>0.192045657214196</c:v>
                </c:pt>
                <c:pt idx="10769">
                  <c:v>0.19206349206349199</c:v>
                </c:pt>
                <c:pt idx="10770">
                  <c:v>0.19208132691278701</c:v>
                </c:pt>
                <c:pt idx="10771">
                  <c:v>0.192099161762083</c:v>
                </c:pt>
                <c:pt idx="10772">
                  <c:v>0.19211699661137799</c:v>
                </c:pt>
                <c:pt idx="10773">
                  <c:v>0.192134831460674</c:v>
                </c:pt>
                <c:pt idx="10774">
                  <c:v>0.19215266630996899</c:v>
                </c:pt>
                <c:pt idx="10775">
                  <c:v>0.19217050115926501</c:v>
                </c:pt>
                <c:pt idx="10776">
                  <c:v>0.19218833600856</c:v>
                </c:pt>
                <c:pt idx="10777">
                  <c:v>0.19220617085785599</c:v>
                </c:pt>
                <c:pt idx="10778">
                  <c:v>0.19222400570715101</c:v>
                </c:pt>
                <c:pt idx="10779">
                  <c:v>0.192241840556447</c:v>
                </c:pt>
                <c:pt idx="10780">
                  <c:v>0.19225967540574199</c:v>
                </c:pt>
                <c:pt idx="10781">
                  <c:v>0.192277510255038</c:v>
                </c:pt>
                <c:pt idx="10782">
                  <c:v>0.19229534510433299</c:v>
                </c:pt>
                <c:pt idx="10783">
                  <c:v>0.19231317995362901</c:v>
                </c:pt>
                <c:pt idx="10784">
                  <c:v>0.192331014802924</c:v>
                </c:pt>
                <c:pt idx="10785">
                  <c:v>0.19234884965221999</c:v>
                </c:pt>
                <c:pt idx="10786">
                  <c:v>0.19236668450151501</c:v>
                </c:pt>
                <c:pt idx="10787">
                  <c:v>0.192384519350811</c:v>
                </c:pt>
                <c:pt idx="10788">
                  <c:v>0.19240235420010701</c:v>
                </c:pt>
                <c:pt idx="10789">
                  <c:v>0.192420189049402</c:v>
                </c:pt>
                <c:pt idx="10790">
                  <c:v>0.19243802389869799</c:v>
                </c:pt>
                <c:pt idx="10791">
                  <c:v>0.19245585874799301</c:v>
                </c:pt>
                <c:pt idx="10792">
                  <c:v>0.192473693597289</c:v>
                </c:pt>
                <c:pt idx="10793">
                  <c:v>0.19249152844658399</c:v>
                </c:pt>
                <c:pt idx="10794">
                  <c:v>0.19250936329588</c:v>
                </c:pt>
                <c:pt idx="10795">
                  <c:v>0.19252719814517499</c:v>
                </c:pt>
                <c:pt idx="10796">
                  <c:v>0.19254503299447101</c:v>
                </c:pt>
                <c:pt idx="10797">
                  <c:v>0.192562867843766</c:v>
                </c:pt>
                <c:pt idx="10798">
                  <c:v>0.19258070269306199</c:v>
                </c:pt>
                <c:pt idx="10799">
                  <c:v>0.19259853754235701</c:v>
                </c:pt>
                <c:pt idx="10800">
                  <c:v>0.192616372391653</c:v>
                </c:pt>
                <c:pt idx="10801">
                  <c:v>0.19263420724094801</c:v>
                </c:pt>
                <c:pt idx="10802">
                  <c:v>0.192652042090244</c:v>
                </c:pt>
                <c:pt idx="10803">
                  <c:v>0.19266987693953899</c:v>
                </c:pt>
                <c:pt idx="10804">
                  <c:v>0.19268771178883501</c:v>
                </c:pt>
                <c:pt idx="10805">
                  <c:v>0.19270554663813</c:v>
                </c:pt>
                <c:pt idx="10806">
                  <c:v>0.19272338148742599</c:v>
                </c:pt>
                <c:pt idx="10807">
                  <c:v>0.19274121633672101</c:v>
                </c:pt>
                <c:pt idx="10808">
                  <c:v>0.19275905118601699</c:v>
                </c:pt>
                <c:pt idx="10809">
                  <c:v>0.19277688603531301</c:v>
                </c:pt>
                <c:pt idx="10810">
                  <c:v>0.192794720884608</c:v>
                </c:pt>
                <c:pt idx="10811">
                  <c:v>0.19281255573390399</c:v>
                </c:pt>
                <c:pt idx="10812">
                  <c:v>0.19283039058319901</c:v>
                </c:pt>
                <c:pt idx="10813">
                  <c:v>0.192848225432495</c:v>
                </c:pt>
                <c:pt idx="10814">
                  <c:v>0.19286606028179001</c:v>
                </c:pt>
                <c:pt idx="10815">
                  <c:v>0.192883895131086</c:v>
                </c:pt>
                <c:pt idx="10816">
                  <c:v>0.19290172998038099</c:v>
                </c:pt>
                <c:pt idx="10817">
                  <c:v>0.19291956482967701</c:v>
                </c:pt>
                <c:pt idx="10818">
                  <c:v>0.192937399678972</c:v>
                </c:pt>
                <c:pt idx="10819">
                  <c:v>0.19295523452826799</c:v>
                </c:pt>
                <c:pt idx="10820">
                  <c:v>0.19297306937756301</c:v>
                </c:pt>
                <c:pt idx="10821">
                  <c:v>0.19299090422685899</c:v>
                </c:pt>
                <c:pt idx="10822">
                  <c:v>0.19300873907615401</c:v>
                </c:pt>
                <c:pt idx="10823">
                  <c:v>0.19302657392545</c:v>
                </c:pt>
                <c:pt idx="10824">
                  <c:v>0.19304440877474499</c:v>
                </c:pt>
                <c:pt idx="10825">
                  <c:v>0.19306224362404101</c:v>
                </c:pt>
                <c:pt idx="10826">
                  <c:v>0.193080078473336</c:v>
                </c:pt>
                <c:pt idx="10827">
                  <c:v>0.19309791332263199</c:v>
                </c:pt>
                <c:pt idx="10828">
                  <c:v>0.193115748171927</c:v>
                </c:pt>
                <c:pt idx="10829">
                  <c:v>0.19313358302122299</c:v>
                </c:pt>
                <c:pt idx="10830">
                  <c:v>0.19315141787051801</c:v>
                </c:pt>
                <c:pt idx="10831">
                  <c:v>0.193169252719814</c:v>
                </c:pt>
                <c:pt idx="10832">
                  <c:v>0.19318708756910999</c:v>
                </c:pt>
                <c:pt idx="10833">
                  <c:v>0.19320492241840501</c:v>
                </c:pt>
                <c:pt idx="10834">
                  <c:v>0.193222757267701</c:v>
                </c:pt>
                <c:pt idx="10835">
                  <c:v>0.19324059211699601</c:v>
                </c:pt>
                <c:pt idx="10836">
                  <c:v>0.193258426966292</c:v>
                </c:pt>
                <c:pt idx="10837">
                  <c:v>0.19327626181558699</c:v>
                </c:pt>
                <c:pt idx="10838">
                  <c:v>0.19329409666488301</c:v>
                </c:pt>
                <c:pt idx="10839">
                  <c:v>0.193311931514178</c:v>
                </c:pt>
                <c:pt idx="10840">
                  <c:v>0.19332976636347399</c:v>
                </c:pt>
                <c:pt idx="10841">
                  <c:v>0.193347601212769</c:v>
                </c:pt>
                <c:pt idx="10842">
                  <c:v>0.19336543606206499</c:v>
                </c:pt>
                <c:pt idx="10843">
                  <c:v>0.19338327091136001</c:v>
                </c:pt>
                <c:pt idx="10844">
                  <c:v>0.193401105760656</c:v>
                </c:pt>
                <c:pt idx="10845">
                  <c:v>0.19341894060995099</c:v>
                </c:pt>
                <c:pt idx="10846">
                  <c:v>0.19343677545924701</c:v>
                </c:pt>
                <c:pt idx="10847">
                  <c:v>0.193454610308542</c:v>
                </c:pt>
                <c:pt idx="10848">
                  <c:v>0.19347244515783801</c:v>
                </c:pt>
                <c:pt idx="10849">
                  <c:v>0.193490280007133</c:v>
                </c:pt>
                <c:pt idx="10850">
                  <c:v>0.19350811485642899</c:v>
                </c:pt>
                <c:pt idx="10851">
                  <c:v>0.19352594970572401</c:v>
                </c:pt>
                <c:pt idx="10852">
                  <c:v>0.19354378455502</c:v>
                </c:pt>
                <c:pt idx="10853">
                  <c:v>0.19356161940431599</c:v>
                </c:pt>
                <c:pt idx="10854">
                  <c:v>0.19357945425361101</c:v>
                </c:pt>
                <c:pt idx="10855">
                  <c:v>0.19359728910290699</c:v>
                </c:pt>
                <c:pt idx="10856">
                  <c:v>0.19361512395220201</c:v>
                </c:pt>
                <c:pt idx="10857">
                  <c:v>0.193632958801498</c:v>
                </c:pt>
                <c:pt idx="10858">
                  <c:v>0.19365079365079299</c:v>
                </c:pt>
                <c:pt idx="10859">
                  <c:v>0.19366862850008901</c:v>
                </c:pt>
                <c:pt idx="10860">
                  <c:v>0.193686463349384</c:v>
                </c:pt>
                <c:pt idx="10861">
                  <c:v>0.19370429819868001</c:v>
                </c:pt>
                <c:pt idx="10862">
                  <c:v>0.193722133047975</c:v>
                </c:pt>
                <c:pt idx="10863">
                  <c:v>0.19373996789727099</c:v>
                </c:pt>
                <c:pt idx="10864">
                  <c:v>0.19375780274656601</c:v>
                </c:pt>
                <c:pt idx="10865">
                  <c:v>0.193775637595862</c:v>
                </c:pt>
                <c:pt idx="10866">
                  <c:v>0.19379347244515699</c:v>
                </c:pt>
                <c:pt idx="10867">
                  <c:v>0.19381130729445301</c:v>
                </c:pt>
                <c:pt idx="10868">
                  <c:v>0.193829142143748</c:v>
                </c:pt>
                <c:pt idx="10869">
                  <c:v>0.19384697699304401</c:v>
                </c:pt>
                <c:pt idx="10870">
                  <c:v>0.193864811842339</c:v>
                </c:pt>
                <c:pt idx="10871">
                  <c:v>0.19388264669163499</c:v>
                </c:pt>
                <c:pt idx="10872">
                  <c:v>0.19390048154093001</c:v>
                </c:pt>
                <c:pt idx="10873">
                  <c:v>0.193918316390226</c:v>
                </c:pt>
                <c:pt idx="10874">
                  <c:v>0.19393615123952199</c:v>
                </c:pt>
                <c:pt idx="10875">
                  <c:v>0.193953986088817</c:v>
                </c:pt>
                <c:pt idx="10876">
                  <c:v>0.19397182093811299</c:v>
                </c:pt>
                <c:pt idx="10877">
                  <c:v>0.19398965578740801</c:v>
                </c:pt>
                <c:pt idx="10878">
                  <c:v>0.194007490636704</c:v>
                </c:pt>
                <c:pt idx="10879">
                  <c:v>0.19402532548599899</c:v>
                </c:pt>
                <c:pt idx="10880">
                  <c:v>0.19404316033529501</c:v>
                </c:pt>
                <c:pt idx="10881">
                  <c:v>0.19406099518459</c:v>
                </c:pt>
                <c:pt idx="10882">
                  <c:v>0.19407883003388601</c:v>
                </c:pt>
                <c:pt idx="10883">
                  <c:v>0.194096664883181</c:v>
                </c:pt>
                <c:pt idx="10884">
                  <c:v>0.19411449973247699</c:v>
                </c:pt>
                <c:pt idx="10885">
                  <c:v>0.19413233458177201</c:v>
                </c:pt>
                <c:pt idx="10886">
                  <c:v>0.194150169431068</c:v>
                </c:pt>
                <c:pt idx="10887">
                  <c:v>0.19416800428036299</c:v>
                </c:pt>
                <c:pt idx="10888">
                  <c:v>0.194185839129659</c:v>
                </c:pt>
                <c:pt idx="10889">
                  <c:v>0.19420367397895399</c:v>
                </c:pt>
                <c:pt idx="10890">
                  <c:v>0.19422150882825001</c:v>
                </c:pt>
                <c:pt idx="10891">
                  <c:v>0.194239343677545</c:v>
                </c:pt>
                <c:pt idx="10892">
                  <c:v>0.19425717852684099</c:v>
                </c:pt>
                <c:pt idx="10893">
                  <c:v>0.19427501337613601</c:v>
                </c:pt>
                <c:pt idx="10894">
                  <c:v>0.194292848225432</c:v>
                </c:pt>
                <c:pt idx="10895">
                  <c:v>0.19431068307472801</c:v>
                </c:pt>
                <c:pt idx="10896">
                  <c:v>0.194328517924023</c:v>
                </c:pt>
                <c:pt idx="10897">
                  <c:v>0.19434635277331899</c:v>
                </c:pt>
                <c:pt idx="10898">
                  <c:v>0.19436418762261401</c:v>
                </c:pt>
                <c:pt idx="10899">
                  <c:v>0.19438202247191</c:v>
                </c:pt>
                <c:pt idx="10900">
                  <c:v>0.19439985732120499</c:v>
                </c:pt>
                <c:pt idx="10901">
                  <c:v>0.19441769217050101</c:v>
                </c:pt>
                <c:pt idx="10902">
                  <c:v>0.194435527019796</c:v>
                </c:pt>
                <c:pt idx="10903">
                  <c:v>0.19445336186909201</c:v>
                </c:pt>
                <c:pt idx="10904">
                  <c:v>0.194471196718387</c:v>
                </c:pt>
                <c:pt idx="10905">
                  <c:v>0.19448903156768299</c:v>
                </c:pt>
                <c:pt idx="10906">
                  <c:v>0.19450686641697801</c:v>
                </c:pt>
                <c:pt idx="10907">
                  <c:v>0.194524701266274</c:v>
                </c:pt>
                <c:pt idx="10908">
                  <c:v>0.19454253611556899</c:v>
                </c:pt>
                <c:pt idx="10909">
                  <c:v>0.194560370964865</c:v>
                </c:pt>
                <c:pt idx="10910">
                  <c:v>0.19457820581415999</c:v>
                </c:pt>
                <c:pt idx="10911">
                  <c:v>0.19459604066345601</c:v>
                </c:pt>
                <c:pt idx="10912">
                  <c:v>0.194613875512751</c:v>
                </c:pt>
                <c:pt idx="10913">
                  <c:v>0.19463171036204699</c:v>
                </c:pt>
                <c:pt idx="10914">
                  <c:v>0.19464954521134201</c:v>
                </c:pt>
                <c:pt idx="10915">
                  <c:v>0.194667380060638</c:v>
                </c:pt>
                <c:pt idx="10916">
                  <c:v>0.19468521490993401</c:v>
                </c:pt>
                <c:pt idx="10917">
                  <c:v>0.194703049759229</c:v>
                </c:pt>
                <c:pt idx="10918">
                  <c:v>0.19472088460852499</c:v>
                </c:pt>
                <c:pt idx="10919">
                  <c:v>0.19473871945782001</c:v>
                </c:pt>
                <c:pt idx="10920">
                  <c:v>0.194756554307116</c:v>
                </c:pt>
                <c:pt idx="10921">
                  <c:v>0.19477438915641099</c:v>
                </c:pt>
                <c:pt idx="10922">
                  <c:v>0.194792224005707</c:v>
                </c:pt>
                <c:pt idx="10923">
                  <c:v>0.19481005885500199</c:v>
                </c:pt>
                <c:pt idx="10924">
                  <c:v>0.19482789370429801</c:v>
                </c:pt>
                <c:pt idx="10925">
                  <c:v>0.194845728553593</c:v>
                </c:pt>
                <c:pt idx="10926">
                  <c:v>0.19486356340288899</c:v>
                </c:pt>
                <c:pt idx="10927">
                  <c:v>0.19488139825218401</c:v>
                </c:pt>
                <c:pt idx="10928">
                  <c:v>0.19489923310148</c:v>
                </c:pt>
                <c:pt idx="10929">
                  <c:v>0.19491706795077501</c:v>
                </c:pt>
                <c:pt idx="10930">
                  <c:v>0.194934902800071</c:v>
                </c:pt>
                <c:pt idx="10931">
                  <c:v>0.19495273764936599</c:v>
                </c:pt>
                <c:pt idx="10932">
                  <c:v>0.19497057249866201</c:v>
                </c:pt>
                <c:pt idx="10933">
                  <c:v>0.194988407347957</c:v>
                </c:pt>
                <c:pt idx="10934">
                  <c:v>0.19500624219725299</c:v>
                </c:pt>
                <c:pt idx="10935">
                  <c:v>0.19502407704654801</c:v>
                </c:pt>
                <c:pt idx="10936">
                  <c:v>0.19504191189584399</c:v>
                </c:pt>
                <c:pt idx="10937">
                  <c:v>0.19505974674514001</c:v>
                </c:pt>
                <c:pt idx="10938">
                  <c:v>0.195077581594435</c:v>
                </c:pt>
                <c:pt idx="10939">
                  <c:v>0.19509541644373099</c:v>
                </c:pt>
                <c:pt idx="10940">
                  <c:v>0.19511325129302601</c:v>
                </c:pt>
                <c:pt idx="10941">
                  <c:v>0.195131086142322</c:v>
                </c:pt>
                <c:pt idx="10942">
                  <c:v>0.19514892099161699</c:v>
                </c:pt>
                <c:pt idx="10943">
                  <c:v>0.195166755840913</c:v>
                </c:pt>
                <c:pt idx="10944">
                  <c:v>0.19518459069020799</c:v>
                </c:pt>
                <c:pt idx="10945">
                  <c:v>0.19520242553950401</c:v>
                </c:pt>
                <c:pt idx="10946">
                  <c:v>0.195220260388799</c:v>
                </c:pt>
                <c:pt idx="10947">
                  <c:v>0.19523809523809499</c:v>
                </c:pt>
                <c:pt idx="10948">
                  <c:v>0.19525593008739001</c:v>
                </c:pt>
                <c:pt idx="10949">
                  <c:v>0.195273764936686</c:v>
                </c:pt>
                <c:pt idx="10950">
                  <c:v>0.19529159978598101</c:v>
                </c:pt>
                <c:pt idx="10951">
                  <c:v>0.195309434635277</c:v>
                </c:pt>
                <c:pt idx="10952">
                  <c:v>0.19532726948457199</c:v>
                </c:pt>
                <c:pt idx="10953">
                  <c:v>0.19534510433386801</c:v>
                </c:pt>
                <c:pt idx="10954">
                  <c:v>0.195362939183163</c:v>
                </c:pt>
                <c:pt idx="10955">
                  <c:v>0.19538077403245899</c:v>
                </c:pt>
                <c:pt idx="10956">
                  <c:v>0.195398608881754</c:v>
                </c:pt>
                <c:pt idx="10957">
                  <c:v>0.19541644373104999</c:v>
                </c:pt>
                <c:pt idx="10958">
                  <c:v>0.19543427858034501</c:v>
                </c:pt>
                <c:pt idx="10959">
                  <c:v>0.195452113429641</c:v>
                </c:pt>
                <c:pt idx="10960">
                  <c:v>0.19546994827893699</c:v>
                </c:pt>
                <c:pt idx="10961">
                  <c:v>0.19548778312823201</c:v>
                </c:pt>
                <c:pt idx="10962">
                  <c:v>0.195505617977528</c:v>
                </c:pt>
                <c:pt idx="10963">
                  <c:v>0.19552345282682301</c:v>
                </c:pt>
                <c:pt idx="10964">
                  <c:v>0.195541287676119</c:v>
                </c:pt>
                <c:pt idx="10965">
                  <c:v>0.19555912252541399</c:v>
                </c:pt>
                <c:pt idx="10966">
                  <c:v>0.19557695737471001</c:v>
                </c:pt>
                <c:pt idx="10967">
                  <c:v>0.195594792224005</c:v>
                </c:pt>
                <c:pt idx="10968">
                  <c:v>0.19561262707330099</c:v>
                </c:pt>
                <c:pt idx="10969">
                  <c:v>0.19563046192259601</c:v>
                </c:pt>
                <c:pt idx="10970">
                  <c:v>0.19564829677189199</c:v>
                </c:pt>
                <c:pt idx="10971">
                  <c:v>0.19566613162118701</c:v>
                </c:pt>
                <c:pt idx="10972">
                  <c:v>0.195683966470483</c:v>
                </c:pt>
                <c:pt idx="10973">
                  <c:v>0.19570180131977799</c:v>
                </c:pt>
                <c:pt idx="10974">
                  <c:v>0.19571963616907401</c:v>
                </c:pt>
                <c:pt idx="10975">
                  <c:v>0.195737471018369</c:v>
                </c:pt>
                <c:pt idx="10976">
                  <c:v>0.19575530586766501</c:v>
                </c:pt>
                <c:pt idx="10977">
                  <c:v>0.19577314071696</c:v>
                </c:pt>
                <c:pt idx="10978">
                  <c:v>0.19579097556625599</c:v>
                </c:pt>
                <c:pt idx="10979">
                  <c:v>0.19580881041555101</c:v>
                </c:pt>
                <c:pt idx="10980">
                  <c:v>0.195826645264847</c:v>
                </c:pt>
                <c:pt idx="10981">
                  <c:v>0.19584448011414299</c:v>
                </c:pt>
                <c:pt idx="10982">
                  <c:v>0.19586231496343801</c:v>
                </c:pt>
                <c:pt idx="10983">
                  <c:v>0.19588014981273399</c:v>
                </c:pt>
                <c:pt idx="10984">
                  <c:v>0.19589798466202901</c:v>
                </c:pt>
                <c:pt idx="10985">
                  <c:v>0.195915819511325</c:v>
                </c:pt>
                <c:pt idx="10986">
                  <c:v>0.19593365436061999</c:v>
                </c:pt>
                <c:pt idx="10987">
                  <c:v>0.19595148920991601</c:v>
                </c:pt>
                <c:pt idx="10988">
                  <c:v>0.195969324059211</c:v>
                </c:pt>
                <c:pt idx="10989">
                  <c:v>0.19598715890850699</c:v>
                </c:pt>
                <c:pt idx="10990">
                  <c:v>0.196004993757802</c:v>
                </c:pt>
                <c:pt idx="10991">
                  <c:v>0.19602282860709799</c:v>
                </c:pt>
                <c:pt idx="10992">
                  <c:v>0.19604066345639301</c:v>
                </c:pt>
                <c:pt idx="10993">
                  <c:v>0.196058498305689</c:v>
                </c:pt>
                <c:pt idx="10994">
                  <c:v>0.19607633315498399</c:v>
                </c:pt>
                <c:pt idx="10995">
                  <c:v>0.19609416800428001</c:v>
                </c:pt>
                <c:pt idx="10996">
                  <c:v>0.196112002853575</c:v>
                </c:pt>
                <c:pt idx="10997">
                  <c:v>0.19612983770287101</c:v>
                </c:pt>
                <c:pt idx="10998">
                  <c:v>0.196147672552166</c:v>
                </c:pt>
                <c:pt idx="10999">
                  <c:v>0.19616550740146199</c:v>
                </c:pt>
                <c:pt idx="11000">
                  <c:v>0.19618334225075701</c:v>
                </c:pt>
                <c:pt idx="11001">
                  <c:v>0.196201177100053</c:v>
                </c:pt>
                <c:pt idx="11002">
                  <c:v>0.19621901194934899</c:v>
                </c:pt>
                <c:pt idx="11003">
                  <c:v>0.196236846798644</c:v>
                </c:pt>
                <c:pt idx="11004">
                  <c:v>0.19625468164793999</c:v>
                </c:pt>
                <c:pt idx="11005">
                  <c:v>0.19627251649723501</c:v>
                </c:pt>
                <c:pt idx="11006">
                  <c:v>0.196290351346531</c:v>
                </c:pt>
                <c:pt idx="11007">
                  <c:v>0.19630818619582599</c:v>
                </c:pt>
                <c:pt idx="11008">
                  <c:v>0.19632602104512201</c:v>
                </c:pt>
                <c:pt idx="11009">
                  <c:v>0.196343855894417</c:v>
                </c:pt>
                <c:pt idx="11010">
                  <c:v>0.19636169074371301</c:v>
                </c:pt>
                <c:pt idx="11011">
                  <c:v>0.196379525593008</c:v>
                </c:pt>
                <c:pt idx="11012">
                  <c:v>0.19639736044230399</c:v>
                </c:pt>
                <c:pt idx="11013">
                  <c:v>0.19641519529159901</c:v>
                </c:pt>
                <c:pt idx="11014">
                  <c:v>0.196433030140895</c:v>
                </c:pt>
                <c:pt idx="11015">
                  <c:v>0.19645086499018999</c:v>
                </c:pt>
                <c:pt idx="11016">
                  <c:v>0.19646869983948601</c:v>
                </c:pt>
                <c:pt idx="11017">
                  <c:v>0.19648653468878099</c:v>
                </c:pt>
                <c:pt idx="11018">
                  <c:v>0.19650436953807701</c:v>
                </c:pt>
                <c:pt idx="11019">
                  <c:v>0.196522204387372</c:v>
                </c:pt>
                <c:pt idx="11020">
                  <c:v>0.19654003923666799</c:v>
                </c:pt>
                <c:pt idx="11021">
                  <c:v>0.19655787408596301</c:v>
                </c:pt>
                <c:pt idx="11022">
                  <c:v>0.196575708935259</c:v>
                </c:pt>
                <c:pt idx="11023">
                  <c:v>0.19659354378455501</c:v>
                </c:pt>
                <c:pt idx="11024">
                  <c:v>0.19661137863385</c:v>
                </c:pt>
                <c:pt idx="11025">
                  <c:v>0.19662921348314599</c:v>
                </c:pt>
                <c:pt idx="11026">
                  <c:v>0.19664704833244101</c:v>
                </c:pt>
                <c:pt idx="11027">
                  <c:v>0.196664883181737</c:v>
                </c:pt>
                <c:pt idx="11028">
                  <c:v>0.19668271803103199</c:v>
                </c:pt>
                <c:pt idx="11029">
                  <c:v>0.19670055288032801</c:v>
                </c:pt>
                <c:pt idx="11030">
                  <c:v>0.196718387729623</c:v>
                </c:pt>
                <c:pt idx="11031">
                  <c:v>0.19673622257891901</c:v>
                </c:pt>
                <c:pt idx="11032">
                  <c:v>0.196754057428214</c:v>
                </c:pt>
                <c:pt idx="11033">
                  <c:v>0.19677189227750999</c:v>
                </c:pt>
                <c:pt idx="11034">
                  <c:v>0.19678972712680501</c:v>
                </c:pt>
                <c:pt idx="11035">
                  <c:v>0.196807561976101</c:v>
                </c:pt>
                <c:pt idx="11036">
                  <c:v>0.19682539682539599</c:v>
                </c:pt>
                <c:pt idx="11037">
                  <c:v>0.196843231674692</c:v>
                </c:pt>
                <c:pt idx="11038">
                  <c:v>0.19686106652398699</c:v>
                </c:pt>
                <c:pt idx="11039">
                  <c:v>0.19687890137328301</c:v>
                </c:pt>
                <c:pt idx="11040">
                  <c:v>0.196896736222578</c:v>
                </c:pt>
                <c:pt idx="11041">
                  <c:v>0.19691457107187399</c:v>
                </c:pt>
                <c:pt idx="11042">
                  <c:v>0.19693240592116901</c:v>
                </c:pt>
                <c:pt idx="11043">
                  <c:v>0.196950240770465</c:v>
                </c:pt>
                <c:pt idx="11044">
                  <c:v>0.19696807561976101</c:v>
                </c:pt>
                <c:pt idx="11045">
                  <c:v>0.196985910469056</c:v>
                </c:pt>
                <c:pt idx="11046">
                  <c:v>0.19700374531835199</c:v>
                </c:pt>
                <c:pt idx="11047">
                  <c:v>0.19702158016764701</c:v>
                </c:pt>
                <c:pt idx="11048">
                  <c:v>0.197039415016943</c:v>
                </c:pt>
                <c:pt idx="11049">
                  <c:v>0.19705724986623799</c:v>
                </c:pt>
                <c:pt idx="11050">
                  <c:v>0.197075084715534</c:v>
                </c:pt>
                <c:pt idx="11051">
                  <c:v>0.19709291956482899</c:v>
                </c:pt>
                <c:pt idx="11052">
                  <c:v>0.19711075441412501</c:v>
                </c:pt>
                <c:pt idx="11053">
                  <c:v>0.19712858926342</c:v>
                </c:pt>
                <c:pt idx="11054">
                  <c:v>0.19714642411271599</c:v>
                </c:pt>
                <c:pt idx="11055">
                  <c:v>0.19716425896201101</c:v>
                </c:pt>
                <c:pt idx="11056">
                  <c:v>0.197182093811307</c:v>
                </c:pt>
                <c:pt idx="11057">
                  <c:v>0.19719992866060199</c:v>
                </c:pt>
                <c:pt idx="11058">
                  <c:v>0.197217763509898</c:v>
                </c:pt>
                <c:pt idx="11059">
                  <c:v>0.19723559835919299</c:v>
                </c:pt>
                <c:pt idx="11060">
                  <c:v>0.19725343320848901</c:v>
                </c:pt>
                <c:pt idx="11061">
                  <c:v>0.197271268057784</c:v>
                </c:pt>
                <c:pt idx="11062">
                  <c:v>0.19728910290707999</c:v>
                </c:pt>
                <c:pt idx="11063">
                  <c:v>0.19730693775637501</c:v>
                </c:pt>
                <c:pt idx="11064">
                  <c:v>0.19732477260567099</c:v>
                </c:pt>
                <c:pt idx="11065">
                  <c:v>0.19734260745496701</c:v>
                </c:pt>
                <c:pt idx="11066">
                  <c:v>0.197360442304262</c:v>
                </c:pt>
                <c:pt idx="11067">
                  <c:v>0.19737827715355799</c:v>
                </c:pt>
                <c:pt idx="11068">
                  <c:v>0.19739611200285301</c:v>
                </c:pt>
                <c:pt idx="11069">
                  <c:v>0.197413946852149</c:v>
                </c:pt>
                <c:pt idx="11070">
                  <c:v>0.19743178170144399</c:v>
                </c:pt>
                <c:pt idx="11071">
                  <c:v>0.19744961655074</c:v>
                </c:pt>
                <c:pt idx="11072">
                  <c:v>0.19746745140003499</c:v>
                </c:pt>
                <c:pt idx="11073">
                  <c:v>0.19748528624933101</c:v>
                </c:pt>
                <c:pt idx="11074">
                  <c:v>0.197503121098626</c:v>
                </c:pt>
                <c:pt idx="11075">
                  <c:v>0.19752095594792199</c:v>
                </c:pt>
                <c:pt idx="11076">
                  <c:v>0.19753879079721701</c:v>
                </c:pt>
                <c:pt idx="11077">
                  <c:v>0.197556625646513</c:v>
                </c:pt>
                <c:pt idx="11078">
                  <c:v>0.19757446049580801</c:v>
                </c:pt>
                <c:pt idx="11079">
                  <c:v>0.197592295345104</c:v>
                </c:pt>
                <c:pt idx="11080">
                  <c:v>0.19761013019439899</c:v>
                </c:pt>
                <c:pt idx="11081">
                  <c:v>0.19762796504369501</c:v>
                </c:pt>
                <c:pt idx="11082">
                  <c:v>0.19764579989299</c:v>
                </c:pt>
                <c:pt idx="11083">
                  <c:v>0.19766363474228599</c:v>
                </c:pt>
                <c:pt idx="11084">
                  <c:v>0.197681469591581</c:v>
                </c:pt>
                <c:pt idx="11085">
                  <c:v>0.19769930444087699</c:v>
                </c:pt>
                <c:pt idx="11086">
                  <c:v>0.19771713929017301</c:v>
                </c:pt>
                <c:pt idx="11087">
                  <c:v>0.197734974139468</c:v>
                </c:pt>
                <c:pt idx="11088">
                  <c:v>0.19775280898876399</c:v>
                </c:pt>
                <c:pt idx="11089">
                  <c:v>0.19777064383805901</c:v>
                </c:pt>
                <c:pt idx="11090">
                  <c:v>0.197788478687355</c:v>
                </c:pt>
                <c:pt idx="11091">
                  <c:v>0.19780631353665001</c:v>
                </c:pt>
                <c:pt idx="11092">
                  <c:v>0.197824148385946</c:v>
                </c:pt>
                <c:pt idx="11093">
                  <c:v>0.19784198323524099</c:v>
                </c:pt>
                <c:pt idx="11094">
                  <c:v>0.19785981808453701</c:v>
                </c:pt>
                <c:pt idx="11095">
                  <c:v>0.197877652933832</c:v>
                </c:pt>
                <c:pt idx="11096">
                  <c:v>0.19789548778312799</c:v>
                </c:pt>
                <c:pt idx="11097">
                  <c:v>0.19791332263242301</c:v>
                </c:pt>
                <c:pt idx="11098">
                  <c:v>0.19793115748171899</c:v>
                </c:pt>
                <c:pt idx="11099">
                  <c:v>0.19794899233101401</c:v>
                </c:pt>
                <c:pt idx="11100">
                  <c:v>0.19796682718031</c:v>
                </c:pt>
                <c:pt idx="11101">
                  <c:v>0.19798466202960499</c:v>
                </c:pt>
                <c:pt idx="11102">
                  <c:v>0.19800249687890101</c:v>
                </c:pt>
                <c:pt idx="11103">
                  <c:v>0.198020331728196</c:v>
                </c:pt>
                <c:pt idx="11104">
                  <c:v>0.19803816657749199</c:v>
                </c:pt>
                <c:pt idx="11105">
                  <c:v>0.198056001426787</c:v>
                </c:pt>
                <c:pt idx="11106">
                  <c:v>0.19807383627608299</c:v>
                </c:pt>
                <c:pt idx="11107">
                  <c:v>0.19809167112537801</c:v>
                </c:pt>
                <c:pt idx="11108">
                  <c:v>0.198109505974674</c:v>
                </c:pt>
                <c:pt idx="11109">
                  <c:v>0.19812734082396999</c:v>
                </c:pt>
                <c:pt idx="11110">
                  <c:v>0.19814517567326501</c:v>
                </c:pt>
                <c:pt idx="11111">
                  <c:v>0.198163010522561</c:v>
                </c:pt>
                <c:pt idx="11112">
                  <c:v>0.19818084537185601</c:v>
                </c:pt>
                <c:pt idx="11113">
                  <c:v>0.198198680221152</c:v>
                </c:pt>
                <c:pt idx="11114">
                  <c:v>0.19821651507044699</c:v>
                </c:pt>
                <c:pt idx="11115">
                  <c:v>0.19823434991974301</c:v>
                </c:pt>
                <c:pt idx="11116">
                  <c:v>0.198252184769038</c:v>
                </c:pt>
                <c:pt idx="11117">
                  <c:v>0.19827001961833399</c:v>
                </c:pt>
                <c:pt idx="11118">
                  <c:v>0.198287854467629</c:v>
                </c:pt>
                <c:pt idx="11119">
                  <c:v>0.19830568931692499</c:v>
                </c:pt>
                <c:pt idx="11120">
                  <c:v>0.19832352416622001</c:v>
                </c:pt>
                <c:pt idx="11121">
                  <c:v>0.198341359015516</c:v>
                </c:pt>
                <c:pt idx="11122">
                  <c:v>0.19835919386481099</c:v>
                </c:pt>
                <c:pt idx="11123">
                  <c:v>0.19837702871410701</c:v>
                </c:pt>
                <c:pt idx="11124">
                  <c:v>0.198394863563402</c:v>
                </c:pt>
                <c:pt idx="11125">
                  <c:v>0.19841269841269801</c:v>
                </c:pt>
                <c:pt idx="11126">
                  <c:v>0.198430533261993</c:v>
                </c:pt>
                <c:pt idx="11127">
                  <c:v>0.19844836811128899</c:v>
                </c:pt>
                <c:pt idx="11128">
                  <c:v>0.19846620296058401</c:v>
                </c:pt>
                <c:pt idx="11129">
                  <c:v>0.19848403780988</c:v>
                </c:pt>
                <c:pt idx="11130">
                  <c:v>0.19850187265917599</c:v>
                </c:pt>
                <c:pt idx="11131">
                  <c:v>0.198519707508471</c:v>
                </c:pt>
                <c:pt idx="11132">
                  <c:v>0.19853754235776699</c:v>
                </c:pt>
                <c:pt idx="11133">
                  <c:v>0.19855537720706201</c:v>
                </c:pt>
                <c:pt idx="11134">
                  <c:v>0.198573212056358</c:v>
                </c:pt>
                <c:pt idx="11135">
                  <c:v>0.19859104690565299</c:v>
                </c:pt>
                <c:pt idx="11136">
                  <c:v>0.19860888175494901</c:v>
                </c:pt>
                <c:pt idx="11137">
                  <c:v>0.198626716604244</c:v>
                </c:pt>
                <c:pt idx="11138">
                  <c:v>0.19864455145354001</c:v>
                </c:pt>
                <c:pt idx="11139">
                  <c:v>0.198662386302835</c:v>
                </c:pt>
                <c:pt idx="11140">
                  <c:v>0.19868022115213099</c:v>
                </c:pt>
                <c:pt idx="11141">
                  <c:v>0.19869805600142601</c:v>
                </c:pt>
                <c:pt idx="11142">
                  <c:v>0.198715890850722</c:v>
                </c:pt>
                <c:pt idx="11143">
                  <c:v>0.19873372570001699</c:v>
                </c:pt>
                <c:pt idx="11144">
                  <c:v>0.19875156054931301</c:v>
                </c:pt>
                <c:pt idx="11145">
                  <c:v>0.198769395398608</c:v>
                </c:pt>
                <c:pt idx="11146">
                  <c:v>0.19878723024790401</c:v>
                </c:pt>
                <c:pt idx="11147">
                  <c:v>0.198805065097199</c:v>
                </c:pt>
                <c:pt idx="11148">
                  <c:v>0.19882289994649499</c:v>
                </c:pt>
                <c:pt idx="11149">
                  <c:v>0.19884073479579001</c:v>
                </c:pt>
                <c:pt idx="11150">
                  <c:v>0.198858569645086</c:v>
                </c:pt>
                <c:pt idx="11151">
                  <c:v>0.19887640449438199</c:v>
                </c:pt>
                <c:pt idx="11152">
                  <c:v>0.198894239343677</c:v>
                </c:pt>
                <c:pt idx="11153">
                  <c:v>0.19891207419297299</c:v>
                </c:pt>
                <c:pt idx="11154">
                  <c:v>0.19892990904226801</c:v>
                </c:pt>
                <c:pt idx="11155">
                  <c:v>0.198947743891564</c:v>
                </c:pt>
                <c:pt idx="11156">
                  <c:v>0.19896557874085899</c:v>
                </c:pt>
                <c:pt idx="11157">
                  <c:v>0.19898341359015501</c:v>
                </c:pt>
                <c:pt idx="11158">
                  <c:v>0.19900124843945</c:v>
                </c:pt>
                <c:pt idx="11159">
                  <c:v>0.19901908328874601</c:v>
                </c:pt>
                <c:pt idx="11160">
                  <c:v>0.199036918138041</c:v>
                </c:pt>
                <c:pt idx="11161">
                  <c:v>0.19905475298733699</c:v>
                </c:pt>
                <c:pt idx="11162">
                  <c:v>0.19907258783663201</c:v>
                </c:pt>
                <c:pt idx="11163">
                  <c:v>0.199090422685928</c:v>
                </c:pt>
                <c:pt idx="11164">
                  <c:v>0.19910825753522299</c:v>
                </c:pt>
                <c:pt idx="11165">
                  <c:v>0.199126092384519</c:v>
                </c:pt>
                <c:pt idx="11166">
                  <c:v>0.19914392723381399</c:v>
                </c:pt>
                <c:pt idx="11167">
                  <c:v>0.19916176208311001</c:v>
                </c:pt>
                <c:pt idx="11168">
                  <c:v>0.199179596932405</c:v>
                </c:pt>
                <c:pt idx="11169">
                  <c:v>0.19919743178170099</c:v>
                </c:pt>
                <c:pt idx="11170">
                  <c:v>0.19921526663099601</c:v>
                </c:pt>
                <c:pt idx="11171">
                  <c:v>0.199233101480292</c:v>
                </c:pt>
                <c:pt idx="11172">
                  <c:v>0.19925093632958801</c:v>
                </c:pt>
                <c:pt idx="11173">
                  <c:v>0.199268771178883</c:v>
                </c:pt>
                <c:pt idx="11174">
                  <c:v>0.19928660602817899</c:v>
                </c:pt>
                <c:pt idx="11175">
                  <c:v>0.19930444087747401</c:v>
                </c:pt>
                <c:pt idx="11176">
                  <c:v>0.19932227572677</c:v>
                </c:pt>
                <c:pt idx="11177">
                  <c:v>0.19934011057606499</c:v>
                </c:pt>
                <c:pt idx="11178">
                  <c:v>0.19935794542536101</c:v>
                </c:pt>
                <c:pt idx="11179">
                  <c:v>0.19937578027465599</c:v>
                </c:pt>
                <c:pt idx="11180">
                  <c:v>0.19939361512395201</c:v>
                </c:pt>
                <c:pt idx="11181">
                  <c:v>0.199411449973247</c:v>
                </c:pt>
                <c:pt idx="11182">
                  <c:v>0.19942928482254299</c:v>
                </c:pt>
                <c:pt idx="11183">
                  <c:v>0.19944711967183801</c:v>
                </c:pt>
                <c:pt idx="11184">
                  <c:v>0.199464954521134</c:v>
                </c:pt>
                <c:pt idx="11185">
                  <c:v>0.19948278937042899</c:v>
                </c:pt>
                <c:pt idx="11186">
                  <c:v>0.199500624219725</c:v>
                </c:pt>
                <c:pt idx="11187">
                  <c:v>0.19951845906901999</c:v>
                </c:pt>
                <c:pt idx="11188">
                  <c:v>0.19953629391831601</c:v>
                </c:pt>
                <c:pt idx="11189">
                  <c:v>0.199554128767611</c:v>
                </c:pt>
                <c:pt idx="11190">
                  <c:v>0.19957196361690699</c:v>
                </c:pt>
                <c:pt idx="11191">
                  <c:v>0.19958979846620201</c:v>
                </c:pt>
                <c:pt idx="11192">
                  <c:v>0.199607633315498</c:v>
                </c:pt>
                <c:pt idx="11193">
                  <c:v>0.19962546816479401</c:v>
                </c:pt>
                <c:pt idx="11194">
                  <c:v>0.199643303014089</c:v>
                </c:pt>
                <c:pt idx="11195">
                  <c:v>0.19966113786338499</c:v>
                </c:pt>
                <c:pt idx="11196">
                  <c:v>0.19967897271268001</c:v>
                </c:pt>
                <c:pt idx="11197">
                  <c:v>0.199696807561976</c:v>
                </c:pt>
                <c:pt idx="11198">
                  <c:v>0.19971464241127099</c:v>
                </c:pt>
                <c:pt idx="11199">
                  <c:v>0.199732477260567</c:v>
                </c:pt>
                <c:pt idx="11200">
                  <c:v>0.19975031210986199</c:v>
                </c:pt>
                <c:pt idx="11201">
                  <c:v>0.19976814695915801</c:v>
                </c:pt>
                <c:pt idx="11202">
                  <c:v>0.199785981808453</c:v>
                </c:pt>
                <c:pt idx="11203">
                  <c:v>0.19980381665774899</c:v>
                </c:pt>
                <c:pt idx="11204">
                  <c:v>0.19982165150704401</c:v>
                </c:pt>
                <c:pt idx="11205">
                  <c:v>0.19983948635634</c:v>
                </c:pt>
                <c:pt idx="11206">
                  <c:v>0.19985732120563501</c:v>
                </c:pt>
                <c:pt idx="11207">
                  <c:v>0.199875156054931</c:v>
                </c:pt>
                <c:pt idx="11208">
                  <c:v>0.19989299090422599</c:v>
                </c:pt>
                <c:pt idx="11209">
                  <c:v>0.19991082575352201</c:v>
                </c:pt>
                <c:pt idx="11210">
                  <c:v>0.199928660602817</c:v>
                </c:pt>
                <c:pt idx="11211">
                  <c:v>0.19994649545211299</c:v>
                </c:pt>
                <c:pt idx="11212">
                  <c:v>0.19996433030140801</c:v>
                </c:pt>
                <c:pt idx="11213">
                  <c:v>0.19998216515070399</c:v>
                </c:pt>
                <c:pt idx="11214">
                  <c:v>0.2</c:v>
                </c:pt>
                <c:pt idx="11215">
                  <c:v>0.200017834849295</c:v>
                </c:pt>
                <c:pt idx="11216">
                  <c:v>0.20003566969859099</c:v>
                </c:pt>
                <c:pt idx="11217">
                  <c:v>0.20005350454788601</c:v>
                </c:pt>
                <c:pt idx="11218">
                  <c:v>0.200071339397182</c:v>
                </c:pt>
                <c:pt idx="11219">
                  <c:v>0.20008917424647699</c:v>
                </c:pt>
                <c:pt idx="11220">
                  <c:v>0.200107009095773</c:v>
                </c:pt>
                <c:pt idx="11221">
                  <c:v>0.20012484394506799</c:v>
                </c:pt>
                <c:pt idx="11222">
                  <c:v>0.20014267879436401</c:v>
                </c:pt>
                <c:pt idx="11223">
                  <c:v>0.200160513643659</c:v>
                </c:pt>
                <c:pt idx="11224">
                  <c:v>0.20017834849295499</c:v>
                </c:pt>
                <c:pt idx="11225">
                  <c:v>0.20019618334225001</c:v>
                </c:pt>
                <c:pt idx="11226">
                  <c:v>0.20021401819154599</c:v>
                </c:pt>
                <c:pt idx="11227">
                  <c:v>0.20023185304084101</c:v>
                </c:pt>
                <c:pt idx="11228">
                  <c:v>0.200249687890137</c:v>
                </c:pt>
                <c:pt idx="11229">
                  <c:v>0.20026752273943199</c:v>
                </c:pt>
                <c:pt idx="11230">
                  <c:v>0.20028535758872801</c:v>
                </c:pt>
                <c:pt idx="11231">
                  <c:v>0.200303192438023</c:v>
                </c:pt>
                <c:pt idx="11232">
                  <c:v>0.20032102728731899</c:v>
                </c:pt>
                <c:pt idx="11233">
                  <c:v>0.200338862136614</c:v>
                </c:pt>
                <c:pt idx="11234">
                  <c:v>0.20035669698590999</c:v>
                </c:pt>
                <c:pt idx="11235">
                  <c:v>0.20037453183520501</c:v>
                </c:pt>
                <c:pt idx="11236">
                  <c:v>0.200392366684501</c:v>
                </c:pt>
                <c:pt idx="11237">
                  <c:v>0.20041020153379699</c:v>
                </c:pt>
                <c:pt idx="11238">
                  <c:v>0.20042803638309201</c:v>
                </c:pt>
                <c:pt idx="11239">
                  <c:v>0.200445871232388</c:v>
                </c:pt>
                <c:pt idx="11240">
                  <c:v>0.20046370608168301</c:v>
                </c:pt>
                <c:pt idx="11241">
                  <c:v>0.200481540930979</c:v>
                </c:pt>
                <c:pt idx="11242">
                  <c:v>0.20049937578027399</c:v>
                </c:pt>
                <c:pt idx="11243">
                  <c:v>0.20051721062957001</c:v>
                </c:pt>
                <c:pt idx="11244">
                  <c:v>0.200535045478865</c:v>
                </c:pt>
                <c:pt idx="11245">
                  <c:v>0.20055288032816099</c:v>
                </c:pt>
                <c:pt idx="11246">
                  <c:v>0.200570715177456</c:v>
                </c:pt>
                <c:pt idx="11247">
                  <c:v>0.20058855002675199</c:v>
                </c:pt>
                <c:pt idx="11248">
                  <c:v>0.20060638487604701</c:v>
                </c:pt>
                <c:pt idx="11249">
                  <c:v>0.200624219725343</c:v>
                </c:pt>
                <c:pt idx="11250">
                  <c:v>0.20064205457463799</c:v>
                </c:pt>
                <c:pt idx="11251">
                  <c:v>0.20065988942393401</c:v>
                </c:pt>
                <c:pt idx="11252">
                  <c:v>0.200677724273229</c:v>
                </c:pt>
                <c:pt idx="11253">
                  <c:v>0.20069555912252501</c:v>
                </c:pt>
                <c:pt idx="11254">
                  <c:v>0.20071339397182</c:v>
                </c:pt>
                <c:pt idx="11255">
                  <c:v>0.20073122882111599</c:v>
                </c:pt>
                <c:pt idx="11256">
                  <c:v>0.20074906367041101</c:v>
                </c:pt>
                <c:pt idx="11257">
                  <c:v>0.200766898519707</c:v>
                </c:pt>
                <c:pt idx="11258">
                  <c:v>0.20078473336900299</c:v>
                </c:pt>
                <c:pt idx="11259">
                  <c:v>0.20080256821829801</c:v>
                </c:pt>
                <c:pt idx="11260">
                  <c:v>0.20082040306759399</c:v>
                </c:pt>
                <c:pt idx="11261">
                  <c:v>0.20083823791688901</c:v>
                </c:pt>
                <c:pt idx="11262">
                  <c:v>0.200856072766185</c:v>
                </c:pt>
                <c:pt idx="11263">
                  <c:v>0.20087390761547999</c:v>
                </c:pt>
                <c:pt idx="11264">
                  <c:v>0.20089174246477601</c:v>
                </c:pt>
                <c:pt idx="11265">
                  <c:v>0.200909577314071</c:v>
                </c:pt>
                <c:pt idx="11266">
                  <c:v>0.20092741216336699</c:v>
                </c:pt>
                <c:pt idx="11267">
                  <c:v>0.200945247012662</c:v>
                </c:pt>
                <c:pt idx="11268">
                  <c:v>0.20096308186195799</c:v>
                </c:pt>
                <c:pt idx="11269">
                  <c:v>0.20098091671125301</c:v>
                </c:pt>
                <c:pt idx="11270">
                  <c:v>0.200998751560549</c:v>
                </c:pt>
                <c:pt idx="11271">
                  <c:v>0.20101658640984399</c:v>
                </c:pt>
                <c:pt idx="11272">
                  <c:v>0.20103442125914001</c:v>
                </c:pt>
                <c:pt idx="11273">
                  <c:v>0.201052256108435</c:v>
                </c:pt>
                <c:pt idx="11274">
                  <c:v>0.20107009095773101</c:v>
                </c:pt>
                <c:pt idx="11275">
                  <c:v>0.201087925807026</c:v>
                </c:pt>
                <c:pt idx="11276">
                  <c:v>0.20110576065632199</c:v>
                </c:pt>
                <c:pt idx="11277">
                  <c:v>0.20112359550561701</c:v>
                </c:pt>
                <c:pt idx="11278">
                  <c:v>0.201141430354913</c:v>
                </c:pt>
                <c:pt idx="11279">
                  <c:v>0.20115926520420899</c:v>
                </c:pt>
                <c:pt idx="11280">
                  <c:v>0.201177100053504</c:v>
                </c:pt>
                <c:pt idx="11281">
                  <c:v>0.20119493490279999</c:v>
                </c:pt>
                <c:pt idx="11282">
                  <c:v>0.20121276975209501</c:v>
                </c:pt>
                <c:pt idx="11283">
                  <c:v>0.201230604601391</c:v>
                </c:pt>
                <c:pt idx="11284">
                  <c:v>0.20124843945068599</c:v>
                </c:pt>
                <c:pt idx="11285">
                  <c:v>0.20126627429998201</c:v>
                </c:pt>
                <c:pt idx="11286">
                  <c:v>0.201284109149277</c:v>
                </c:pt>
                <c:pt idx="11287">
                  <c:v>0.20130194399857301</c:v>
                </c:pt>
                <c:pt idx="11288">
                  <c:v>0.201319778847868</c:v>
                </c:pt>
                <c:pt idx="11289">
                  <c:v>0.20133761369716399</c:v>
                </c:pt>
                <c:pt idx="11290">
                  <c:v>0.20135544854645901</c:v>
                </c:pt>
                <c:pt idx="11291">
                  <c:v>0.201373283395755</c:v>
                </c:pt>
                <c:pt idx="11292">
                  <c:v>0.20139111824504999</c:v>
                </c:pt>
                <c:pt idx="11293">
                  <c:v>0.201408953094346</c:v>
                </c:pt>
                <c:pt idx="11294">
                  <c:v>0.20142678794364099</c:v>
                </c:pt>
                <c:pt idx="11295">
                  <c:v>0.20144462279293701</c:v>
                </c:pt>
                <c:pt idx="11296">
                  <c:v>0.201462457642232</c:v>
                </c:pt>
                <c:pt idx="11297">
                  <c:v>0.20148029249152799</c:v>
                </c:pt>
                <c:pt idx="11298">
                  <c:v>0.20149812734082301</c:v>
                </c:pt>
                <c:pt idx="11299">
                  <c:v>0.201515962190119</c:v>
                </c:pt>
                <c:pt idx="11300">
                  <c:v>0.20153379703941501</c:v>
                </c:pt>
                <c:pt idx="11301">
                  <c:v>0.20155163188871</c:v>
                </c:pt>
                <c:pt idx="11302">
                  <c:v>0.20156946673800599</c:v>
                </c:pt>
                <c:pt idx="11303">
                  <c:v>0.20158730158730101</c:v>
                </c:pt>
                <c:pt idx="11304">
                  <c:v>0.201605136436597</c:v>
                </c:pt>
                <c:pt idx="11305">
                  <c:v>0.20162297128589199</c:v>
                </c:pt>
                <c:pt idx="11306">
                  <c:v>0.20164080613518801</c:v>
                </c:pt>
                <c:pt idx="11307">
                  <c:v>0.201658640984483</c:v>
                </c:pt>
                <c:pt idx="11308">
                  <c:v>0.20167647583377901</c:v>
                </c:pt>
                <c:pt idx="11309">
                  <c:v>0.201694310683074</c:v>
                </c:pt>
                <c:pt idx="11310">
                  <c:v>0.20171214553236999</c:v>
                </c:pt>
                <c:pt idx="11311">
                  <c:v>0.20172998038166501</c:v>
                </c:pt>
                <c:pt idx="11312">
                  <c:v>0.201747815230961</c:v>
                </c:pt>
                <c:pt idx="11313">
                  <c:v>0.20176565008025599</c:v>
                </c:pt>
                <c:pt idx="11314">
                  <c:v>0.201783484929552</c:v>
                </c:pt>
                <c:pt idx="11315">
                  <c:v>0.20180131977884699</c:v>
                </c:pt>
                <c:pt idx="11316">
                  <c:v>0.20181915462814301</c:v>
                </c:pt>
                <c:pt idx="11317">
                  <c:v>0.201836989477438</c:v>
                </c:pt>
                <c:pt idx="11318">
                  <c:v>0.20185482432673399</c:v>
                </c:pt>
                <c:pt idx="11319">
                  <c:v>0.20187265917602901</c:v>
                </c:pt>
                <c:pt idx="11320">
                  <c:v>0.201890494025325</c:v>
                </c:pt>
                <c:pt idx="11321">
                  <c:v>0.20190832887462101</c:v>
                </c:pt>
                <c:pt idx="11322">
                  <c:v>0.201926163723916</c:v>
                </c:pt>
                <c:pt idx="11323">
                  <c:v>0.20194399857321199</c:v>
                </c:pt>
                <c:pt idx="11324">
                  <c:v>0.20196183342250701</c:v>
                </c:pt>
                <c:pt idx="11325">
                  <c:v>0.201979668271803</c:v>
                </c:pt>
                <c:pt idx="11326">
                  <c:v>0.20199750312109799</c:v>
                </c:pt>
                <c:pt idx="11327">
                  <c:v>0.202015337970394</c:v>
                </c:pt>
                <c:pt idx="11328">
                  <c:v>0.20203317281968899</c:v>
                </c:pt>
                <c:pt idx="11329">
                  <c:v>0.20205100766898501</c:v>
                </c:pt>
                <c:pt idx="11330">
                  <c:v>0.20206884251828</c:v>
                </c:pt>
                <c:pt idx="11331">
                  <c:v>0.20208667736757599</c:v>
                </c:pt>
                <c:pt idx="11332">
                  <c:v>0.20210451221687101</c:v>
                </c:pt>
                <c:pt idx="11333">
                  <c:v>0.202122347066167</c:v>
                </c:pt>
                <c:pt idx="11334">
                  <c:v>0.20214018191546201</c:v>
                </c:pt>
                <c:pt idx="11335">
                  <c:v>0.202158016764758</c:v>
                </c:pt>
                <c:pt idx="11336">
                  <c:v>0.20217585161405299</c:v>
                </c:pt>
                <c:pt idx="11337">
                  <c:v>0.20219368646334901</c:v>
                </c:pt>
                <c:pt idx="11338">
                  <c:v>0.202211521312644</c:v>
                </c:pt>
                <c:pt idx="11339">
                  <c:v>0.20222935616193999</c:v>
                </c:pt>
                <c:pt idx="11340">
                  <c:v>0.20224719101123501</c:v>
                </c:pt>
                <c:pt idx="11341">
                  <c:v>0.20226502586053099</c:v>
                </c:pt>
                <c:pt idx="11342">
                  <c:v>0.20228286070982701</c:v>
                </c:pt>
                <c:pt idx="11343">
                  <c:v>0.202300695559122</c:v>
                </c:pt>
                <c:pt idx="11344">
                  <c:v>0.20231853040841799</c:v>
                </c:pt>
                <c:pt idx="11345">
                  <c:v>0.20233636525771301</c:v>
                </c:pt>
                <c:pt idx="11346">
                  <c:v>0.202354200107009</c:v>
                </c:pt>
                <c:pt idx="11347">
                  <c:v>0.20237203495630399</c:v>
                </c:pt>
                <c:pt idx="11348">
                  <c:v>0.2023898698056</c:v>
                </c:pt>
                <c:pt idx="11349">
                  <c:v>0.20240770465489499</c:v>
                </c:pt>
                <c:pt idx="11350">
                  <c:v>0.20242553950419101</c:v>
                </c:pt>
                <c:pt idx="11351">
                  <c:v>0.202443374353486</c:v>
                </c:pt>
                <c:pt idx="11352">
                  <c:v>0.20246120920278199</c:v>
                </c:pt>
                <c:pt idx="11353">
                  <c:v>0.20247904405207701</c:v>
                </c:pt>
                <c:pt idx="11354">
                  <c:v>0.202496878901373</c:v>
                </c:pt>
                <c:pt idx="11355">
                  <c:v>0.20251471375066801</c:v>
                </c:pt>
                <c:pt idx="11356">
                  <c:v>0.202532548599964</c:v>
                </c:pt>
                <c:pt idx="11357">
                  <c:v>0.20255038344925899</c:v>
                </c:pt>
                <c:pt idx="11358">
                  <c:v>0.20256821829855501</c:v>
                </c:pt>
                <c:pt idx="11359">
                  <c:v>0.20258605314785</c:v>
                </c:pt>
                <c:pt idx="11360">
                  <c:v>0.20260388799714599</c:v>
                </c:pt>
                <c:pt idx="11361">
                  <c:v>0.202621722846441</c:v>
                </c:pt>
                <c:pt idx="11362">
                  <c:v>0.20263955769573699</c:v>
                </c:pt>
                <c:pt idx="11363">
                  <c:v>0.20265739254503201</c:v>
                </c:pt>
                <c:pt idx="11364">
                  <c:v>0.202675227394328</c:v>
                </c:pt>
                <c:pt idx="11365">
                  <c:v>0.20269306224362399</c:v>
                </c:pt>
                <c:pt idx="11366">
                  <c:v>0.20271089709291901</c:v>
                </c:pt>
                <c:pt idx="11367">
                  <c:v>0.202728731942215</c:v>
                </c:pt>
                <c:pt idx="11368">
                  <c:v>0.20274656679151001</c:v>
                </c:pt>
                <c:pt idx="11369">
                  <c:v>0.202764401640806</c:v>
                </c:pt>
                <c:pt idx="11370">
                  <c:v>0.20278223649010099</c:v>
                </c:pt>
                <c:pt idx="11371">
                  <c:v>0.20280007133939701</c:v>
                </c:pt>
                <c:pt idx="11372">
                  <c:v>0.202817906188692</c:v>
                </c:pt>
                <c:pt idx="11373">
                  <c:v>0.20283574103798799</c:v>
                </c:pt>
                <c:pt idx="11374">
                  <c:v>0.20285357588728301</c:v>
                </c:pt>
                <c:pt idx="11375">
                  <c:v>0.20287141073657899</c:v>
                </c:pt>
                <c:pt idx="11376">
                  <c:v>0.20288924558587401</c:v>
                </c:pt>
                <c:pt idx="11377">
                  <c:v>0.20290708043517</c:v>
                </c:pt>
                <c:pt idx="11378">
                  <c:v>0.20292491528446499</c:v>
                </c:pt>
                <c:pt idx="11379">
                  <c:v>0.20294275013376101</c:v>
                </c:pt>
                <c:pt idx="11380">
                  <c:v>0.202960584983056</c:v>
                </c:pt>
                <c:pt idx="11381">
                  <c:v>0.20297841983235199</c:v>
                </c:pt>
                <c:pt idx="11382">
                  <c:v>0.202996254681647</c:v>
                </c:pt>
                <c:pt idx="11383">
                  <c:v>0.20301408953094299</c:v>
                </c:pt>
                <c:pt idx="11384">
                  <c:v>0.20303192438023801</c:v>
                </c:pt>
                <c:pt idx="11385">
                  <c:v>0.203049759229534</c:v>
                </c:pt>
                <c:pt idx="11386">
                  <c:v>0.20306759407882999</c:v>
                </c:pt>
                <c:pt idx="11387">
                  <c:v>0.20308542892812501</c:v>
                </c:pt>
                <c:pt idx="11388">
                  <c:v>0.20310326377742099</c:v>
                </c:pt>
                <c:pt idx="11389">
                  <c:v>0.20312109862671601</c:v>
                </c:pt>
                <c:pt idx="11390">
                  <c:v>0.203138933476012</c:v>
                </c:pt>
                <c:pt idx="11391">
                  <c:v>0.20315676832530699</c:v>
                </c:pt>
                <c:pt idx="11392">
                  <c:v>0.20317460317460301</c:v>
                </c:pt>
                <c:pt idx="11393">
                  <c:v>0.203192438023898</c:v>
                </c:pt>
                <c:pt idx="11394">
                  <c:v>0.20321027287319399</c:v>
                </c:pt>
                <c:pt idx="11395">
                  <c:v>0.203228107722489</c:v>
                </c:pt>
                <c:pt idx="11396">
                  <c:v>0.20324594257178499</c:v>
                </c:pt>
                <c:pt idx="11397">
                  <c:v>0.20326377742108001</c:v>
                </c:pt>
                <c:pt idx="11398">
                  <c:v>0.203281612270376</c:v>
                </c:pt>
                <c:pt idx="11399">
                  <c:v>0.20329944711967099</c:v>
                </c:pt>
                <c:pt idx="11400">
                  <c:v>0.20331728196896701</c:v>
                </c:pt>
                <c:pt idx="11401">
                  <c:v>0.203335116818262</c:v>
                </c:pt>
                <c:pt idx="11402">
                  <c:v>0.20335295166755801</c:v>
                </c:pt>
                <c:pt idx="11403">
                  <c:v>0.203370786516853</c:v>
                </c:pt>
                <c:pt idx="11404">
                  <c:v>0.20338862136614899</c:v>
                </c:pt>
                <c:pt idx="11405">
                  <c:v>0.20340645621544401</c:v>
                </c:pt>
                <c:pt idx="11406">
                  <c:v>0.20342429106474</c:v>
                </c:pt>
                <c:pt idx="11407">
                  <c:v>0.20344212591403599</c:v>
                </c:pt>
                <c:pt idx="11408">
                  <c:v>0.203459960763331</c:v>
                </c:pt>
                <c:pt idx="11409">
                  <c:v>0.20347779561262699</c:v>
                </c:pt>
                <c:pt idx="11410">
                  <c:v>0.20349563046192201</c:v>
                </c:pt>
                <c:pt idx="11411">
                  <c:v>0.203513465311218</c:v>
                </c:pt>
                <c:pt idx="11412">
                  <c:v>0.20353130016051299</c:v>
                </c:pt>
                <c:pt idx="11413">
                  <c:v>0.20354913500980901</c:v>
                </c:pt>
                <c:pt idx="11414">
                  <c:v>0.203566969859104</c:v>
                </c:pt>
                <c:pt idx="11415">
                  <c:v>0.20358480470840001</c:v>
                </c:pt>
                <c:pt idx="11416">
                  <c:v>0.203602639557695</c:v>
                </c:pt>
                <c:pt idx="11417">
                  <c:v>0.20362047440699099</c:v>
                </c:pt>
                <c:pt idx="11418">
                  <c:v>0.20363830925628601</c:v>
                </c:pt>
                <c:pt idx="11419">
                  <c:v>0.203656144105582</c:v>
                </c:pt>
                <c:pt idx="11420">
                  <c:v>0.20367397895487699</c:v>
                </c:pt>
                <c:pt idx="11421">
                  <c:v>0.20369181380417301</c:v>
                </c:pt>
                <c:pt idx="11422">
                  <c:v>0.203709648653468</c:v>
                </c:pt>
                <c:pt idx="11423">
                  <c:v>0.20372748350276401</c:v>
                </c:pt>
                <c:pt idx="11424">
                  <c:v>0.203745318352059</c:v>
                </c:pt>
                <c:pt idx="11425">
                  <c:v>0.20376315320135499</c:v>
                </c:pt>
                <c:pt idx="11426">
                  <c:v>0.20378098805065001</c:v>
                </c:pt>
                <c:pt idx="11427">
                  <c:v>0.203798822899946</c:v>
                </c:pt>
                <c:pt idx="11428">
                  <c:v>0.20381665774924199</c:v>
                </c:pt>
                <c:pt idx="11429">
                  <c:v>0.203834492598537</c:v>
                </c:pt>
                <c:pt idx="11430">
                  <c:v>0.20385232744783299</c:v>
                </c:pt>
                <c:pt idx="11431">
                  <c:v>0.20387016229712801</c:v>
                </c:pt>
                <c:pt idx="11432">
                  <c:v>0.203887997146424</c:v>
                </c:pt>
                <c:pt idx="11433">
                  <c:v>0.20390583199571899</c:v>
                </c:pt>
                <c:pt idx="11434">
                  <c:v>0.20392366684501501</c:v>
                </c:pt>
                <c:pt idx="11435">
                  <c:v>0.20394150169431</c:v>
                </c:pt>
                <c:pt idx="11436">
                  <c:v>0.20395933654360601</c:v>
                </c:pt>
                <c:pt idx="11437">
                  <c:v>0.203977171392901</c:v>
                </c:pt>
                <c:pt idx="11438">
                  <c:v>0.20399500624219699</c:v>
                </c:pt>
                <c:pt idx="11439">
                  <c:v>0.20401284109149201</c:v>
                </c:pt>
                <c:pt idx="11440">
                  <c:v>0.204030675940788</c:v>
                </c:pt>
                <c:pt idx="11441">
                  <c:v>0.20404851079008299</c:v>
                </c:pt>
                <c:pt idx="11442">
                  <c:v>0.204066345639379</c:v>
                </c:pt>
                <c:pt idx="11443">
                  <c:v>0.20408418048867399</c:v>
                </c:pt>
                <c:pt idx="11444">
                  <c:v>0.20410201533797001</c:v>
                </c:pt>
                <c:pt idx="11445">
                  <c:v>0.204119850187265</c:v>
                </c:pt>
                <c:pt idx="11446">
                  <c:v>0.20413768503656099</c:v>
                </c:pt>
                <c:pt idx="11447">
                  <c:v>0.20415551988585601</c:v>
                </c:pt>
                <c:pt idx="11448">
                  <c:v>0.204173354735152</c:v>
                </c:pt>
                <c:pt idx="11449">
                  <c:v>0.20419118958444801</c:v>
                </c:pt>
                <c:pt idx="11450">
                  <c:v>0.204209024433743</c:v>
                </c:pt>
                <c:pt idx="11451">
                  <c:v>0.20422685928303899</c:v>
                </c:pt>
                <c:pt idx="11452">
                  <c:v>0.20424469413233401</c:v>
                </c:pt>
                <c:pt idx="11453">
                  <c:v>0.20426252898163</c:v>
                </c:pt>
                <c:pt idx="11454">
                  <c:v>0.20428036383092499</c:v>
                </c:pt>
                <c:pt idx="11455">
                  <c:v>0.204298198680221</c:v>
                </c:pt>
                <c:pt idx="11456">
                  <c:v>0.20431603352951599</c:v>
                </c:pt>
                <c:pt idx="11457">
                  <c:v>0.20433386837881201</c:v>
                </c:pt>
                <c:pt idx="11458">
                  <c:v>0.204351703228107</c:v>
                </c:pt>
                <c:pt idx="11459">
                  <c:v>0.20436953807740299</c:v>
                </c:pt>
                <c:pt idx="11460">
                  <c:v>0.20438737292669801</c:v>
                </c:pt>
                <c:pt idx="11461">
                  <c:v>0.204405207775994</c:v>
                </c:pt>
                <c:pt idx="11462">
                  <c:v>0.20442304262528899</c:v>
                </c:pt>
                <c:pt idx="11463">
                  <c:v>0.204440877474585</c:v>
                </c:pt>
                <c:pt idx="11464">
                  <c:v>0.20445871232387999</c:v>
                </c:pt>
                <c:pt idx="11465">
                  <c:v>0.20447654717317601</c:v>
                </c:pt>
                <c:pt idx="11466">
                  <c:v>0.204494382022471</c:v>
                </c:pt>
                <c:pt idx="11467">
                  <c:v>0.20451221687176699</c:v>
                </c:pt>
                <c:pt idx="11468">
                  <c:v>0.20453005172106201</c:v>
                </c:pt>
                <c:pt idx="11469">
                  <c:v>0.204547886570358</c:v>
                </c:pt>
                <c:pt idx="11470">
                  <c:v>0.20456572141965401</c:v>
                </c:pt>
                <c:pt idx="11471">
                  <c:v>0.204583556268949</c:v>
                </c:pt>
                <c:pt idx="11472">
                  <c:v>0.20460139111824499</c:v>
                </c:pt>
                <c:pt idx="11473">
                  <c:v>0.20461922596754001</c:v>
                </c:pt>
                <c:pt idx="11474">
                  <c:v>0.204637060816836</c:v>
                </c:pt>
                <c:pt idx="11475">
                  <c:v>0.20465489566613099</c:v>
                </c:pt>
                <c:pt idx="11476">
                  <c:v>0.204672730515427</c:v>
                </c:pt>
                <c:pt idx="11477">
                  <c:v>0.20469056536472199</c:v>
                </c:pt>
                <c:pt idx="11478">
                  <c:v>0.20470840021401801</c:v>
                </c:pt>
                <c:pt idx="11479">
                  <c:v>0.204726235063313</c:v>
                </c:pt>
                <c:pt idx="11480">
                  <c:v>0.20474406991260899</c:v>
                </c:pt>
                <c:pt idx="11481">
                  <c:v>0.20476190476190401</c:v>
                </c:pt>
                <c:pt idx="11482">
                  <c:v>0.2047797396112</c:v>
                </c:pt>
                <c:pt idx="11483">
                  <c:v>0.20479757446049501</c:v>
                </c:pt>
                <c:pt idx="11484">
                  <c:v>0.204815409309791</c:v>
                </c:pt>
                <c:pt idx="11485">
                  <c:v>0.20483324415908599</c:v>
                </c:pt>
                <c:pt idx="11486">
                  <c:v>0.20485107900838201</c:v>
                </c:pt>
                <c:pt idx="11487">
                  <c:v>0.204868913857677</c:v>
                </c:pt>
                <c:pt idx="11488">
                  <c:v>0.20488674870697299</c:v>
                </c:pt>
                <c:pt idx="11489">
                  <c:v>0.20490458355626801</c:v>
                </c:pt>
                <c:pt idx="11490">
                  <c:v>0.20492241840556399</c:v>
                </c:pt>
                <c:pt idx="11491">
                  <c:v>0.20494025325485901</c:v>
                </c:pt>
                <c:pt idx="11492">
                  <c:v>0.204958088104155</c:v>
                </c:pt>
                <c:pt idx="11493">
                  <c:v>0.20497592295345099</c:v>
                </c:pt>
                <c:pt idx="11494">
                  <c:v>0.20499375780274601</c:v>
                </c:pt>
                <c:pt idx="11495">
                  <c:v>0.205011592652042</c:v>
                </c:pt>
                <c:pt idx="11496">
                  <c:v>0.20502942750133701</c:v>
                </c:pt>
                <c:pt idx="11497">
                  <c:v>0.205047262350633</c:v>
                </c:pt>
                <c:pt idx="11498">
                  <c:v>0.20506509719992799</c:v>
                </c:pt>
                <c:pt idx="11499">
                  <c:v>0.20508293204922401</c:v>
                </c:pt>
                <c:pt idx="11500">
                  <c:v>0.205100766898519</c:v>
                </c:pt>
                <c:pt idx="11501">
                  <c:v>0.20511860174781499</c:v>
                </c:pt>
                <c:pt idx="11502">
                  <c:v>0.20513643659711001</c:v>
                </c:pt>
                <c:pt idx="11503">
                  <c:v>0.20515427144640599</c:v>
                </c:pt>
                <c:pt idx="11504">
                  <c:v>0.20517210629570101</c:v>
                </c:pt>
                <c:pt idx="11505">
                  <c:v>0.205189941144997</c:v>
                </c:pt>
                <c:pt idx="11506">
                  <c:v>0.20520777599429199</c:v>
                </c:pt>
                <c:pt idx="11507">
                  <c:v>0.20522561084358801</c:v>
                </c:pt>
                <c:pt idx="11508">
                  <c:v>0.205243445692883</c:v>
                </c:pt>
                <c:pt idx="11509">
                  <c:v>0.20526128054217899</c:v>
                </c:pt>
                <c:pt idx="11510">
                  <c:v>0.205279115391474</c:v>
                </c:pt>
                <c:pt idx="11511">
                  <c:v>0.20529695024076999</c:v>
                </c:pt>
                <c:pt idx="11512">
                  <c:v>0.20531478509006501</c:v>
                </c:pt>
                <c:pt idx="11513">
                  <c:v>0.205332619939361</c:v>
                </c:pt>
                <c:pt idx="11514">
                  <c:v>0.20535045478865699</c:v>
                </c:pt>
                <c:pt idx="11515">
                  <c:v>0.20536828963795201</c:v>
                </c:pt>
                <c:pt idx="11516">
                  <c:v>0.205386124487248</c:v>
                </c:pt>
                <c:pt idx="11517">
                  <c:v>0.20540395933654301</c:v>
                </c:pt>
                <c:pt idx="11518">
                  <c:v>0.205421794185839</c:v>
                </c:pt>
                <c:pt idx="11519">
                  <c:v>0.20543962903513399</c:v>
                </c:pt>
                <c:pt idx="11520">
                  <c:v>0.20545746388443001</c:v>
                </c:pt>
                <c:pt idx="11521">
                  <c:v>0.205475298733725</c:v>
                </c:pt>
                <c:pt idx="11522">
                  <c:v>0.20549313358302099</c:v>
                </c:pt>
                <c:pt idx="11523">
                  <c:v>0.205510968432316</c:v>
                </c:pt>
                <c:pt idx="11524">
                  <c:v>0.20552880328161199</c:v>
                </c:pt>
                <c:pt idx="11525">
                  <c:v>0.20554663813090701</c:v>
                </c:pt>
                <c:pt idx="11526">
                  <c:v>0.205564472980203</c:v>
                </c:pt>
                <c:pt idx="11527">
                  <c:v>0.20558230782949799</c:v>
                </c:pt>
                <c:pt idx="11528">
                  <c:v>0.20560014267879401</c:v>
                </c:pt>
                <c:pt idx="11529">
                  <c:v>0.205617977528089</c:v>
                </c:pt>
                <c:pt idx="11530">
                  <c:v>0.20563581237738501</c:v>
                </c:pt>
                <c:pt idx="11531">
                  <c:v>0.20565364722668</c:v>
                </c:pt>
                <c:pt idx="11532">
                  <c:v>0.20567148207597599</c:v>
                </c:pt>
                <c:pt idx="11533">
                  <c:v>0.20568931692527101</c:v>
                </c:pt>
                <c:pt idx="11534">
                  <c:v>0.205707151774567</c:v>
                </c:pt>
                <c:pt idx="11535">
                  <c:v>0.20572498662386299</c:v>
                </c:pt>
                <c:pt idx="11536">
                  <c:v>0.20574282147315801</c:v>
                </c:pt>
                <c:pt idx="11537">
                  <c:v>0.20576065632245399</c:v>
                </c:pt>
                <c:pt idx="11538">
                  <c:v>0.20577849117174901</c:v>
                </c:pt>
                <c:pt idx="11539">
                  <c:v>0.205796326021045</c:v>
                </c:pt>
                <c:pt idx="11540">
                  <c:v>0.20581416087033999</c:v>
                </c:pt>
                <c:pt idx="11541">
                  <c:v>0.20583199571963601</c:v>
                </c:pt>
                <c:pt idx="11542">
                  <c:v>0.205849830568931</c:v>
                </c:pt>
                <c:pt idx="11543">
                  <c:v>0.20586766541822701</c:v>
                </c:pt>
                <c:pt idx="11544">
                  <c:v>0.205885500267522</c:v>
                </c:pt>
                <c:pt idx="11545">
                  <c:v>0.20590333511681799</c:v>
                </c:pt>
                <c:pt idx="11546">
                  <c:v>0.20592116996611301</c:v>
                </c:pt>
                <c:pt idx="11547">
                  <c:v>0.205939004815409</c:v>
                </c:pt>
                <c:pt idx="11548">
                  <c:v>0.20595683966470399</c:v>
                </c:pt>
                <c:pt idx="11549">
                  <c:v>0.20597467451400001</c:v>
                </c:pt>
                <c:pt idx="11550">
                  <c:v>0.205992509363295</c:v>
                </c:pt>
                <c:pt idx="11551">
                  <c:v>0.20601034421259101</c:v>
                </c:pt>
                <c:pt idx="11552">
                  <c:v>0.206028179061886</c:v>
                </c:pt>
                <c:pt idx="11553">
                  <c:v>0.20604601391118199</c:v>
                </c:pt>
                <c:pt idx="11554">
                  <c:v>0.20606384876047701</c:v>
                </c:pt>
                <c:pt idx="11555">
                  <c:v>0.206081683609773</c:v>
                </c:pt>
                <c:pt idx="11556">
                  <c:v>0.20609951845906899</c:v>
                </c:pt>
                <c:pt idx="11557">
                  <c:v>0.206117353308364</c:v>
                </c:pt>
                <c:pt idx="11558">
                  <c:v>0.20613518815765999</c:v>
                </c:pt>
                <c:pt idx="11559">
                  <c:v>0.20615302300695501</c:v>
                </c:pt>
                <c:pt idx="11560">
                  <c:v>0.206170857856251</c:v>
                </c:pt>
                <c:pt idx="11561">
                  <c:v>0.20618869270554599</c:v>
                </c:pt>
                <c:pt idx="11562">
                  <c:v>0.20620652755484201</c:v>
                </c:pt>
                <c:pt idx="11563">
                  <c:v>0.206224362404137</c:v>
                </c:pt>
                <c:pt idx="11564">
                  <c:v>0.20624219725343301</c:v>
                </c:pt>
                <c:pt idx="11565">
                  <c:v>0.206260032102728</c:v>
                </c:pt>
                <c:pt idx="11566">
                  <c:v>0.20627786695202399</c:v>
                </c:pt>
                <c:pt idx="11567">
                  <c:v>0.20629570180131901</c:v>
                </c:pt>
                <c:pt idx="11568">
                  <c:v>0.206313536650615</c:v>
                </c:pt>
                <c:pt idx="11569">
                  <c:v>0.20633137149990999</c:v>
                </c:pt>
                <c:pt idx="11570">
                  <c:v>0.206349206349206</c:v>
                </c:pt>
                <c:pt idx="11571">
                  <c:v>0.20636704119850099</c:v>
                </c:pt>
                <c:pt idx="11572">
                  <c:v>0.20638487604779701</c:v>
                </c:pt>
                <c:pt idx="11573">
                  <c:v>0.206402710897092</c:v>
                </c:pt>
                <c:pt idx="11574">
                  <c:v>0.20642054574638799</c:v>
                </c:pt>
                <c:pt idx="11575">
                  <c:v>0.20643838059568301</c:v>
                </c:pt>
                <c:pt idx="11576">
                  <c:v>0.206456215444979</c:v>
                </c:pt>
                <c:pt idx="11577">
                  <c:v>0.20647405029427501</c:v>
                </c:pt>
                <c:pt idx="11578">
                  <c:v>0.20649188514357</c:v>
                </c:pt>
                <c:pt idx="11579">
                  <c:v>0.20650971999286599</c:v>
                </c:pt>
                <c:pt idx="11580">
                  <c:v>0.20652755484216101</c:v>
                </c:pt>
                <c:pt idx="11581">
                  <c:v>0.206545389691457</c:v>
                </c:pt>
                <c:pt idx="11582">
                  <c:v>0.20656322454075199</c:v>
                </c:pt>
                <c:pt idx="11583">
                  <c:v>0.20658105939004801</c:v>
                </c:pt>
                <c:pt idx="11584">
                  <c:v>0.206598894239343</c:v>
                </c:pt>
                <c:pt idx="11585">
                  <c:v>0.20661672908863901</c:v>
                </c:pt>
                <c:pt idx="11586">
                  <c:v>0.206634563937934</c:v>
                </c:pt>
                <c:pt idx="11587">
                  <c:v>0.20665239878722999</c:v>
                </c:pt>
                <c:pt idx="11588">
                  <c:v>0.20667023363652501</c:v>
                </c:pt>
                <c:pt idx="11589">
                  <c:v>0.206688068485821</c:v>
                </c:pt>
                <c:pt idx="11590">
                  <c:v>0.20670590333511599</c:v>
                </c:pt>
                <c:pt idx="11591">
                  <c:v>0.206723738184412</c:v>
                </c:pt>
                <c:pt idx="11592">
                  <c:v>0.20674157303370699</c:v>
                </c:pt>
                <c:pt idx="11593">
                  <c:v>0.20675940788300301</c:v>
                </c:pt>
                <c:pt idx="11594">
                  <c:v>0.206777242732298</c:v>
                </c:pt>
                <c:pt idx="11595">
                  <c:v>0.20679507758159399</c:v>
                </c:pt>
                <c:pt idx="11596">
                  <c:v>0.20681291243088901</c:v>
                </c:pt>
                <c:pt idx="11597">
                  <c:v>0.206830747280185</c:v>
                </c:pt>
                <c:pt idx="11598">
                  <c:v>0.20684858212948101</c:v>
                </c:pt>
                <c:pt idx="11599">
                  <c:v>0.206866416978776</c:v>
                </c:pt>
                <c:pt idx="11600">
                  <c:v>0.20688425182807199</c:v>
                </c:pt>
                <c:pt idx="11601">
                  <c:v>0.20690208667736701</c:v>
                </c:pt>
                <c:pt idx="11602">
                  <c:v>0.206919921526663</c:v>
                </c:pt>
                <c:pt idx="11603">
                  <c:v>0.20693775637595799</c:v>
                </c:pt>
                <c:pt idx="11604">
                  <c:v>0.206955591225254</c:v>
                </c:pt>
                <c:pt idx="11605">
                  <c:v>0.20697342607454899</c:v>
                </c:pt>
                <c:pt idx="11606">
                  <c:v>0.20699126092384501</c:v>
                </c:pt>
                <c:pt idx="11607">
                  <c:v>0.20700909577314</c:v>
                </c:pt>
                <c:pt idx="11608">
                  <c:v>0.20702693062243599</c:v>
                </c:pt>
                <c:pt idx="11609">
                  <c:v>0.20704476547173101</c:v>
                </c:pt>
                <c:pt idx="11610">
                  <c:v>0.207062600321027</c:v>
                </c:pt>
                <c:pt idx="11611">
                  <c:v>0.20708043517032201</c:v>
                </c:pt>
                <c:pt idx="11612">
                  <c:v>0.207098270019618</c:v>
                </c:pt>
                <c:pt idx="11613">
                  <c:v>0.20711610486891299</c:v>
                </c:pt>
                <c:pt idx="11614">
                  <c:v>0.20713393971820901</c:v>
                </c:pt>
                <c:pt idx="11615">
                  <c:v>0.207151774567504</c:v>
                </c:pt>
                <c:pt idx="11616">
                  <c:v>0.20716960941679999</c:v>
                </c:pt>
                <c:pt idx="11617">
                  <c:v>0.20718744426609501</c:v>
                </c:pt>
                <c:pt idx="11618">
                  <c:v>0.20720527911539099</c:v>
                </c:pt>
                <c:pt idx="11619">
                  <c:v>0.20722311396468701</c:v>
                </c:pt>
                <c:pt idx="11620">
                  <c:v>0.207240948813982</c:v>
                </c:pt>
                <c:pt idx="11621">
                  <c:v>0.20725878366327799</c:v>
                </c:pt>
                <c:pt idx="11622">
                  <c:v>0.20727661851257301</c:v>
                </c:pt>
                <c:pt idx="11623">
                  <c:v>0.207294453361869</c:v>
                </c:pt>
                <c:pt idx="11624">
                  <c:v>0.20731228821116399</c:v>
                </c:pt>
                <c:pt idx="11625">
                  <c:v>0.20733012306046</c:v>
                </c:pt>
                <c:pt idx="11626">
                  <c:v>0.20734795790975499</c:v>
                </c:pt>
                <c:pt idx="11627">
                  <c:v>0.20736579275905101</c:v>
                </c:pt>
                <c:pt idx="11628">
                  <c:v>0.207383627608346</c:v>
                </c:pt>
                <c:pt idx="11629">
                  <c:v>0.20740146245764199</c:v>
                </c:pt>
                <c:pt idx="11630">
                  <c:v>0.20741929730693701</c:v>
                </c:pt>
                <c:pt idx="11631">
                  <c:v>0.207437132156233</c:v>
                </c:pt>
                <c:pt idx="11632">
                  <c:v>0.20745496700552801</c:v>
                </c:pt>
                <c:pt idx="11633">
                  <c:v>0.207472801854824</c:v>
                </c:pt>
                <c:pt idx="11634">
                  <c:v>0.20749063670411899</c:v>
                </c:pt>
                <c:pt idx="11635">
                  <c:v>0.20750847155341501</c:v>
                </c:pt>
                <c:pt idx="11636">
                  <c:v>0.20752630640271</c:v>
                </c:pt>
                <c:pt idx="11637">
                  <c:v>0.20754414125200599</c:v>
                </c:pt>
                <c:pt idx="11638">
                  <c:v>0.207561976101301</c:v>
                </c:pt>
                <c:pt idx="11639">
                  <c:v>0.20757981095059699</c:v>
                </c:pt>
                <c:pt idx="11640">
                  <c:v>0.20759764579989201</c:v>
                </c:pt>
                <c:pt idx="11641">
                  <c:v>0.207615480649188</c:v>
                </c:pt>
                <c:pt idx="11642">
                  <c:v>0.20763331549848399</c:v>
                </c:pt>
                <c:pt idx="11643">
                  <c:v>0.20765115034777901</c:v>
                </c:pt>
                <c:pt idx="11644">
                  <c:v>0.207668985197075</c:v>
                </c:pt>
                <c:pt idx="11645">
                  <c:v>0.20768682004637001</c:v>
                </c:pt>
                <c:pt idx="11646">
                  <c:v>0.207704654895666</c:v>
                </c:pt>
                <c:pt idx="11647">
                  <c:v>0.20772248974496099</c:v>
                </c:pt>
                <c:pt idx="11648">
                  <c:v>0.20774032459425701</c:v>
                </c:pt>
                <c:pt idx="11649">
                  <c:v>0.207758159443552</c:v>
                </c:pt>
                <c:pt idx="11650">
                  <c:v>0.20777599429284799</c:v>
                </c:pt>
                <c:pt idx="11651">
                  <c:v>0.20779382914214301</c:v>
                </c:pt>
                <c:pt idx="11652">
                  <c:v>0.20781166399143899</c:v>
                </c:pt>
                <c:pt idx="11653">
                  <c:v>0.20782949884073401</c:v>
                </c:pt>
                <c:pt idx="11654">
                  <c:v>0.20784733369003</c:v>
                </c:pt>
                <c:pt idx="11655">
                  <c:v>0.20786516853932499</c:v>
                </c:pt>
                <c:pt idx="11656">
                  <c:v>0.20788300338862101</c:v>
                </c:pt>
                <c:pt idx="11657">
                  <c:v>0.207900838237916</c:v>
                </c:pt>
                <c:pt idx="11658">
                  <c:v>0.20791867308721201</c:v>
                </c:pt>
                <c:pt idx="11659">
                  <c:v>0.207936507936507</c:v>
                </c:pt>
                <c:pt idx="11660">
                  <c:v>0.20795434278580299</c:v>
                </c:pt>
                <c:pt idx="11661">
                  <c:v>0.20797217763509801</c:v>
                </c:pt>
                <c:pt idx="11662">
                  <c:v>0.207990012484394</c:v>
                </c:pt>
                <c:pt idx="11663">
                  <c:v>0.20800784733368999</c:v>
                </c:pt>
                <c:pt idx="11664">
                  <c:v>0.20802568218298501</c:v>
                </c:pt>
                <c:pt idx="11665">
                  <c:v>0.20804351703228099</c:v>
                </c:pt>
                <c:pt idx="11666">
                  <c:v>0.20806135188157601</c:v>
                </c:pt>
                <c:pt idx="11667">
                  <c:v>0.208079186730872</c:v>
                </c:pt>
                <c:pt idx="11668">
                  <c:v>0.20809702158016699</c:v>
                </c:pt>
                <c:pt idx="11669">
                  <c:v>0.20811485642946301</c:v>
                </c:pt>
                <c:pt idx="11670">
                  <c:v>0.208132691278758</c:v>
                </c:pt>
                <c:pt idx="11671">
                  <c:v>0.20815052612805399</c:v>
                </c:pt>
                <c:pt idx="11672">
                  <c:v>0.208168360977349</c:v>
                </c:pt>
                <c:pt idx="11673">
                  <c:v>0.20818619582664499</c:v>
                </c:pt>
                <c:pt idx="11674">
                  <c:v>0.20820403067594001</c:v>
                </c:pt>
                <c:pt idx="11675">
                  <c:v>0.208221865525236</c:v>
                </c:pt>
                <c:pt idx="11676">
                  <c:v>0.20823970037453099</c:v>
                </c:pt>
                <c:pt idx="11677">
                  <c:v>0.20825753522382701</c:v>
                </c:pt>
                <c:pt idx="11678">
                  <c:v>0.208275370073122</c:v>
                </c:pt>
                <c:pt idx="11679">
                  <c:v>0.20829320492241801</c:v>
                </c:pt>
                <c:pt idx="11680">
                  <c:v>0.208311039771713</c:v>
                </c:pt>
                <c:pt idx="11681">
                  <c:v>0.20832887462100899</c:v>
                </c:pt>
                <c:pt idx="11682">
                  <c:v>0.20834670947030401</c:v>
                </c:pt>
                <c:pt idx="11683">
                  <c:v>0.2083645443196</c:v>
                </c:pt>
                <c:pt idx="11684">
                  <c:v>0.20838237916889599</c:v>
                </c:pt>
                <c:pt idx="11685">
                  <c:v>0.208400214018191</c:v>
                </c:pt>
                <c:pt idx="11686">
                  <c:v>0.20841804886748699</c:v>
                </c:pt>
                <c:pt idx="11687">
                  <c:v>0.20843588371678201</c:v>
                </c:pt>
                <c:pt idx="11688">
                  <c:v>0.208453718566078</c:v>
                </c:pt>
                <c:pt idx="11689">
                  <c:v>0.20847155341537299</c:v>
                </c:pt>
                <c:pt idx="11690">
                  <c:v>0.20848938826466901</c:v>
                </c:pt>
                <c:pt idx="11691">
                  <c:v>0.208507223113964</c:v>
                </c:pt>
                <c:pt idx="11692">
                  <c:v>0.20852505796326001</c:v>
                </c:pt>
                <c:pt idx="11693">
                  <c:v>0.208542892812555</c:v>
                </c:pt>
                <c:pt idx="11694">
                  <c:v>0.20856072766185099</c:v>
                </c:pt>
                <c:pt idx="11695">
                  <c:v>0.20857856251114601</c:v>
                </c:pt>
                <c:pt idx="11696">
                  <c:v>0.208596397360442</c:v>
                </c:pt>
                <c:pt idx="11697">
                  <c:v>0.20861423220973699</c:v>
                </c:pt>
                <c:pt idx="11698">
                  <c:v>0.20863206705903301</c:v>
                </c:pt>
                <c:pt idx="11699">
                  <c:v>0.20864990190832799</c:v>
                </c:pt>
                <c:pt idx="11700">
                  <c:v>0.20866773675762401</c:v>
                </c:pt>
                <c:pt idx="11701">
                  <c:v>0.208685571606919</c:v>
                </c:pt>
                <c:pt idx="11702">
                  <c:v>0.20870340645621499</c:v>
                </c:pt>
                <c:pt idx="11703">
                  <c:v>0.20872124130551001</c:v>
                </c:pt>
                <c:pt idx="11704">
                  <c:v>0.208739076154806</c:v>
                </c:pt>
                <c:pt idx="11705">
                  <c:v>0.20875691100410201</c:v>
                </c:pt>
                <c:pt idx="11706">
                  <c:v>0.208774745853397</c:v>
                </c:pt>
                <c:pt idx="11707">
                  <c:v>0.20879258070269299</c:v>
                </c:pt>
                <c:pt idx="11708">
                  <c:v>0.20881041555198801</c:v>
                </c:pt>
                <c:pt idx="11709">
                  <c:v>0.208828250401284</c:v>
                </c:pt>
                <c:pt idx="11710">
                  <c:v>0.20884608525057899</c:v>
                </c:pt>
                <c:pt idx="11711">
                  <c:v>0.20886392009987501</c:v>
                </c:pt>
                <c:pt idx="11712">
                  <c:v>0.20888175494917</c:v>
                </c:pt>
                <c:pt idx="11713">
                  <c:v>0.20889958979846601</c:v>
                </c:pt>
                <c:pt idx="11714">
                  <c:v>0.208917424647761</c:v>
                </c:pt>
                <c:pt idx="11715">
                  <c:v>0.20893525949705699</c:v>
                </c:pt>
                <c:pt idx="11716">
                  <c:v>0.20895309434635201</c:v>
                </c:pt>
                <c:pt idx="11717">
                  <c:v>0.208970929195648</c:v>
                </c:pt>
                <c:pt idx="11718">
                  <c:v>0.20898876404494299</c:v>
                </c:pt>
                <c:pt idx="11719">
                  <c:v>0.209006598894239</c:v>
                </c:pt>
                <c:pt idx="11720">
                  <c:v>0.20902443374353399</c:v>
                </c:pt>
                <c:pt idx="11721">
                  <c:v>0.20904226859283001</c:v>
                </c:pt>
                <c:pt idx="11722">
                  <c:v>0.209060103442125</c:v>
                </c:pt>
                <c:pt idx="11723">
                  <c:v>0.20907793829142099</c:v>
                </c:pt>
                <c:pt idx="11724">
                  <c:v>0.20909577314071601</c:v>
                </c:pt>
                <c:pt idx="11725">
                  <c:v>0.209113607990012</c:v>
                </c:pt>
                <c:pt idx="11726">
                  <c:v>0.20913144283930801</c:v>
                </c:pt>
                <c:pt idx="11727">
                  <c:v>0.209149277688603</c:v>
                </c:pt>
                <c:pt idx="11728">
                  <c:v>0.20916711253789899</c:v>
                </c:pt>
                <c:pt idx="11729">
                  <c:v>0.20918494738719401</c:v>
                </c:pt>
                <c:pt idx="11730">
                  <c:v>0.20920278223649</c:v>
                </c:pt>
                <c:pt idx="11731">
                  <c:v>0.20922061708578499</c:v>
                </c:pt>
                <c:pt idx="11732">
                  <c:v>0.209238451935081</c:v>
                </c:pt>
                <c:pt idx="11733">
                  <c:v>0.20925628678437599</c:v>
                </c:pt>
                <c:pt idx="11734">
                  <c:v>0.20927412163367201</c:v>
                </c:pt>
                <c:pt idx="11735">
                  <c:v>0.209291956482967</c:v>
                </c:pt>
                <c:pt idx="11736">
                  <c:v>0.20930979133226299</c:v>
                </c:pt>
                <c:pt idx="11737">
                  <c:v>0.20932762618155801</c:v>
                </c:pt>
                <c:pt idx="11738">
                  <c:v>0.209345461030854</c:v>
                </c:pt>
                <c:pt idx="11739">
                  <c:v>0.20936329588014899</c:v>
                </c:pt>
                <c:pt idx="11740">
                  <c:v>0.209381130729445</c:v>
                </c:pt>
                <c:pt idx="11741">
                  <c:v>0.20939896557873999</c:v>
                </c:pt>
                <c:pt idx="11742">
                  <c:v>0.20941680042803601</c:v>
                </c:pt>
                <c:pt idx="11743">
                  <c:v>0.209434635277331</c:v>
                </c:pt>
                <c:pt idx="11744">
                  <c:v>0.20945247012662699</c:v>
                </c:pt>
                <c:pt idx="11745">
                  <c:v>0.20947030497592201</c:v>
                </c:pt>
                <c:pt idx="11746">
                  <c:v>0.20948813982521799</c:v>
                </c:pt>
                <c:pt idx="11747">
                  <c:v>0.20950597467451401</c:v>
                </c:pt>
                <c:pt idx="11748">
                  <c:v>0.209523809523809</c:v>
                </c:pt>
                <c:pt idx="11749">
                  <c:v>0.20954164437310499</c:v>
                </c:pt>
                <c:pt idx="11750">
                  <c:v>0.20955947922240001</c:v>
                </c:pt>
                <c:pt idx="11751">
                  <c:v>0.209577314071696</c:v>
                </c:pt>
                <c:pt idx="11752">
                  <c:v>0.20959514892099099</c:v>
                </c:pt>
                <c:pt idx="11753">
                  <c:v>0.209612983770287</c:v>
                </c:pt>
                <c:pt idx="11754">
                  <c:v>0.20963081861958199</c:v>
                </c:pt>
                <c:pt idx="11755">
                  <c:v>0.20964865346887801</c:v>
                </c:pt>
                <c:pt idx="11756">
                  <c:v>0.209666488318173</c:v>
                </c:pt>
                <c:pt idx="11757">
                  <c:v>0.20968432316746899</c:v>
                </c:pt>
                <c:pt idx="11758">
                  <c:v>0.20970215801676401</c:v>
                </c:pt>
                <c:pt idx="11759">
                  <c:v>0.20971999286606</c:v>
                </c:pt>
                <c:pt idx="11760">
                  <c:v>0.20973782771535501</c:v>
                </c:pt>
                <c:pt idx="11761">
                  <c:v>0.209755662564651</c:v>
                </c:pt>
                <c:pt idx="11762">
                  <c:v>0.20977349741394599</c:v>
                </c:pt>
                <c:pt idx="11763">
                  <c:v>0.20979133226324201</c:v>
                </c:pt>
                <c:pt idx="11764">
                  <c:v>0.209809167112537</c:v>
                </c:pt>
                <c:pt idx="11765">
                  <c:v>0.20982700196183299</c:v>
                </c:pt>
                <c:pt idx="11766">
                  <c:v>0.209844836811128</c:v>
                </c:pt>
                <c:pt idx="11767">
                  <c:v>0.20986267166042399</c:v>
                </c:pt>
                <c:pt idx="11768">
                  <c:v>0.20988050650971901</c:v>
                </c:pt>
                <c:pt idx="11769">
                  <c:v>0.209898341359015</c:v>
                </c:pt>
                <c:pt idx="11770">
                  <c:v>0.20991617620831099</c:v>
                </c:pt>
                <c:pt idx="11771">
                  <c:v>0.20993401105760601</c:v>
                </c:pt>
                <c:pt idx="11772">
                  <c:v>0.209951845906902</c:v>
                </c:pt>
                <c:pt idx="11773">
                  <c:v>0.20996968075619701</c:v>
                </c:pt>
                <c:pt idx="11774">
                  <c:v>0.209987515605493</c:v>
                </c:pt>
                <c:pt idx="11775">
                  <c:v>0.21000535045478799</c:v>
                </c:pt>
                <c:pt idx="11776">
                  <c:v>0.21002318530408401</c:v>
                </c:pt>
                <c:pt idx="11777">
                  <c:v>0.210041020153379</c:v>
                </c:pt>
                <c:pt idx="11778">
                  <c:v>0.21005885500267499</c:v>
                </c:pt>
                <c:pt idx="11779">
                  <c:v>0.21007668985197001</c:v>
                </c:pt>
                <c:pt idx="11780">
                  <c:v>0.21009452470126599</c:v>
                </c:pt>
                <c:pt idx="11781">
                  <c:v>0.21011235955056101</c:v>
                </c:pt>
                <c:pt idx="11782">
                  <c:v>0.210130194399857</c:v>
                </c:pt>
                <c:pt idx="11783">
                  <c:v>0.21014802924915199</c:v>
                </c:pt>
                <c:pt idx="11784">
                  <c:v>0.21016586409844801</c:v>
                </c:pt>
                <c:pt idx="11785">
                  <c:v>0.210183698947743</c:v>
                </c:pt>
                <c:pt idx="11786">
                  <c:v>0.21020153379703899</c:v>
                </c:pt>
                <c:pt idx="11787">
                  <c:v>0.210219368646334</c:v>
                </c:pt>
                <c:pt idx="11788">
                  <c:v>0.21023720349562999</c:v>
                </c:pt>
                <c:pt idx="11789">
                  <c:v>0.21025503834492501</c:v>
                </c:pt>
                <c:pt idx="11790">
                  <c:v>0.210272873194221</c:v>
                </c:pt>
                <c:pt idx="11791">
                  <c:v>0.21029070804351699</c:v>
                </c:pt>
                <c:pt idx="11792">
                  <c:v>0.21030854289281201</c:v>
                </c:pt>
                <c:pt idx="11793">
                  <c:v>0.21032637774210799</c:v>
                </c:pt>
                <c:pt idx="11794">
                  <c:v>0.21034421259140301</c:v>
                </c:pt>
                <c:pt idx="11795">
                  <c:v>0.210362047440699</c:v>
                </c:pt>
                <c:pt idx="11796">
                  <c:v>0.21037988228999399</c:v>
                </c:pt>
                <c:pt idx="11797">
                  <c:v>0.21039771713929001</c:v>
                </c:pt>
                <c:pt idx="11798">
                  <c:v>0.210415551988585</c:v>
                </c:pt>
                <c:pt idx="11799">
                  <c:v>0.21043338683788099</c:v>
                </c:pt>
                <c:pt idx="11800">
                  <c:v>0.210451221687176</c:v>
                </c:pt>
                <c:pt idx="11801">
                  <c:v>0.21046905653647199</c:v>
                </c:pt>
                <c:pt idx="11802">
                  <c:v>0.21048689138576701</c:v>
                </c:pt>
                <c:pt idx="11803">
                  <c:v>0.210504726235063</c:v>
                </c:pt>
                <c:pt idx="11804">
                  <c:v>0.21052256108435799</c:v>
                </c:pt>
                <c:pt idx="11805">
                  <c:v>0.21054039593365401</c:v>
                </c:pt>
                <c:pt idx="11806">
                  <c:v>0.210558230782949</c:v>
                </c:pt>
                <c:pt idx="11807">
                  <c:v>0.21057606563224501</c:v>
                </c:pt>
                <c:pt idx="11808">
                  <c:v>0.21059390048154</c:v>
                </c:pt>
                <c:pt idx="11809">
                  <c:v>0.21061173533083599</c:v>
                </c:pt>
                <c:pt idx="11810">
                  <c:v>0.21062957018013101</c:v>
                </c:pt>
                <c:pt idx="11811">
                  <c:v>0.210647405029427</c:v>
                </c:pt>
                <c:pt idx="11812">
                  <c:v>0.21066523987872299</c:v>
                </c:pt>
                <c:pt idx="11813">
                  <c:v>0.210683074728018</c:v>
                </c:pt>
                <c:pt idx="11814">
                  <c:v>0.21070090957731399</c:v>
                </c:pt>
                <c:pt idx="11815">
                  <c:v>0.21071874442660901</c:v>
                </c:pt>
                <c:pt idx="11816">
                  <c:v>0.210736579275905</c:v>
                </c:pt>
                <c:pt idx="11817">
                  <c:v>0.21075441412519999</c:v>
                </c:pt>
                <c:pt idx="11818">
                  <c:v>0.21077224897449601</c:v>
                </c:pt>
                <c:pt idx="11819">
                  <c:v>0.210790083823791</c:v>
                </c:pt>
                <c:pt idx="11820">
                  <c:v>0.21080791867308701</c:v>
                </c:pt>
                <c:pt idx="11821">
                  <c:v>0.210825753522382</c:v>
                </c:pt>
                <c:pt idx="11822">
                  <c:v>0.21084358837167799</c:v>
                </c:pt>
                <c:pt idx="11823">
                  <c:v>0.21086142322097301</c:v>
                </c:pt>
                <c:pt idx="11824">
                  <c:v>0.210879258070269</c:v>
                </c:pt>
                <c:pt idx="11825">
                  <c:v>0.21089709291956399</c:v>
                </c:pt>
                <c:pt idx="11826">
                  <c:v>0.21091492776886001</c:v>
                </c:pt>
                <c:pt idx="11827">
                  <c:v>0.210932762618155</c:v>
                </c:pt>
                <c:pt idx="11828">
                  <c:v>0.21095059746745101</c:v>
                </c:pt>
                <c:pt idx="11829">
                  <c:v>0.210968432316746</c:v>
                </c:pt>
                <c:pt idx="11830">
                  <c:v>0.21098626716604199</c:v>
                </c:pt>
                <c:pt idx="11831">
                  <c:v>0.21100410201533701</c:v>
                </c:pt>
                <c:pt idx="11832">
                  <c:v>0.211021936864633</c:v>
                </c:pt>
                <c:pt idx="11833">
                  <c:v>0.21103977171392899</c:v>
                </c:pt>
                <c:pt idx="11834">
                  <c:v>0.211057606563224</c:v>
                </c:pt>
                <c:pt idx="11835">
                  <c:v>0.21107544141251999</c:v>
                </c:pt>
                <c:pt idx="11836">
                  <c:v>0.21109327626181501</c:v>
                </c:pt>
                <c:pt idx="11837">
                  <c:v>0.211111111111111</c:v>
                </c:pt>
                <c:pt idx="11838">
                  <c:v>0.21112894596040599</c:v>
                </c:pt>
                <c:pt idx="11839">
                  <c:v>0.21114678080970201</c:v>
                </c:pt>
                <c:pt idx="11840">
                  <c:v>0.211164615658997</c:v>
                </c:pt>
                <c:pt idx="11841">
                  <c:v>0.21118245050829301</c:v>
                </c:pt>
                <c:pt idx="11842">
                  <c:v>0.211200285357588</c:v>
                </c:pt>
                <c:pt idx="11843">
                  <c:v>0.21121812020688399</c:v>
                </c:pt>
                <c:pt idx="11844">
                  <c:v>0.21123595505617901</c:v>
                </c:pt>
                <c:pt idx="11845">
                  <c:v>0.211253789905475</c:v>
                </c:pt>
                <c:pt idx="11846">
                  <c:v>0.21127162475476999</c:v>
                </c:pt>
                <c:pt idx="11847">
                  <c:v>0.211289459604066</c:v>
                </c:pt>
                <c:pt idx="11848">
                  <c:v>0.21130729445336099</c:v>
                </c:pt>
                <c:pt idx="11849">
                  <c:v>0.21132512930265701</c:v>
                </c:pt>
                <c:pt idx="11850">
                  <c:v>0.211342964151952</c:v>
                </c:pt>
                <c:pt idx="11851">
                  <c:v>0.21136079900124799</c:v>
                </c:pt>
                <c:pt idx="11852">
                  <c:v>0.21137863385054301</c:v>
                </c:pt>
                <c:pt idx="11853">
                  <c:v>0.211396468699839</c:v>
                </c:pt>
                <c:pt idx="11854">
                  <c:v>0.21141430354913501</c:v>
                </c:pt>
                <c:pt idx="11855">
                  <c:v>0.21143213839843</c:v>
                </c:pt>
                <c:pt idx="11856">
                  <c:v>0.21144997324772599</c:v>
                </c:pt>
                <c:pt idx="11857">
                  <c:v>0.21146780809702101</c:v>
                </c:pt>
                <c:pt idx="11858">
                  <c:v>0.211485642946317</c:v>
                </c:pt>
                <c:pt idx="11859">
                  <c:v>0.21150347779561199</c:v>
                </c:pt>
                <c:pt idx="11860">
                  <c:v>0.211521312644908</c:v>
                </c:pt>
                <c:pt idx="11861">
                  <c:v>0.21153914749420299</c:v>
                </c:pt>
                <c:pt idx="11862">
                  <c:v>0.21155698234349901</c:v>
                </c:pt>
                <c:pt idx="11863">
                  <c:v>0.211574817192794</c:v>
                </c:pt>
                <c:pt idx="11864">
                  <c:v>0.21159265204208999</c:v>
                </c:pt>
                <c:pt idx="11865">
                  <c:v>0.21161048689138501</c:v>
                </c:pt>
                <c:pt idx="11866">
                  <c:v>0.211628321740681</c:v>
                </c:pt>
                <c:pt idx="11867">
                  <c:v>0.21164615658997599</c:v>
                </c:pt>
                <c:pt idx="11868">
                  <c:v>0.211663991439272</c:v>
                </c:pt>
                <c:pt idx="11869">
                  <c:v>0.21168182628856699</c:v>
                </c:pt>
                <c:pt idx="11870">
                  <c:v>0.21169966113786301</c:v>
                </c:pt>
                <c:pt idx="11871">
                  <c:v>0.211717495987158</c:v>
                </c:pt>
                <c:pt idx="11872">
                  <c:v>0.21173533083645399</c:v>
                </c:pt>
                <c:pt idx="11873">
                  <c:v>0.21175316568574901</c:v>
                </c:pt>
                <c:pt idx="11874">
                  <c:v>0.211771000535045</c:v>
                </c:pt>
                <c:pt idx="11875">
                  <c:v>0.21178883538434101</c:v>
                </c:pt>
                <c:pt idx="11876">
                  <c:v>0.211806670233636</c:v>
                </c:pt>
                <c:pt idx="11877">
                  <c:v>0.21182450508293199</c:v>
                </c:pt>
                <c:pt idx="11878">
                  <c:v>0.21184233993222701</c:v>
                </c:pt>
                <c:pt idx="11879">
                  <c:v>0.211860174781523</c:v>
                </c:pt>
                <c:pt idx="11880">
                  <c:v>0.21187800963081799</c:v>
                </c:pt>
                <c:pt idx="11881">
                  <c:v>0.211895844480114</c:v>
                </c:pt>
                <c:pt idx="11882">
                  <c:v>0.21191367932940899</c:v>
                </c:pt>
                <c:pt idx="11883">
                  <c:v>0.21193151417870501</c:v>
                </c:pt>
                <c:pt idx="11884">
                  <c:v>0.211949349028</c:v>
                </c:pt>
                <c:pt idx="11885">
                  <c:v>0.21196718387729599</c:v>
                </c:pt>
                <c:pt idx="11886">
                  <c:v>0.21198501872659101</c:v>
                </c:pt>
                <c:pt idx="11887">
                  <c:v>0.212002853575887</c:v>
                </c:pt>
                <c:pt idx="11888">
                  <c:v>0.21202068842518201</c:v>
                </c:pt>
                <c:pt idx="11889">
                  <c:v>0.212038523274478</c:v>
                </c:pt>
                <c:pt idx="11890">
                  <c:v>0.21205635812377299</c:v>
                </c:pt>
                <c:pt idx="11891">
                  <c:v>0.21207419297306901</c:v>
                </c:pt>
                <c:pt idx="11892">
                  <c:v>0.212092027822364</c:v>
                </c:pt>
                <c:pt idx="11893">
                  <c:v>0.21210986267165999</c:v>
                </c:pt>
                <c:pt idx="11894">
                  <c:v>0.21212769752095501</c:v>
                </c:pt>
                <c:pt idx="11895">
                  <c:v>0.21214553237025099</c:v>
                </c:pt>
                <c:pt idx="11896">
                  <c:v>0.21216336721954601</c:v>
                </c:pt>
                <c:pt idx="11897">
                  <c:v>0.212181202068842</c:v>
                </c:pt>
                <c:pt idx="11898">
                  <c:v>0.21219903691813799</c:v>
                </c:pt>
                <c:pt idx="11899">
                  <c:v>0.21221687176743301</c:v>
                </c:pt>
                <c:pt idx="11900">
                  <c:v>0.212234706616729</c:v>
                </c:pt>
                <c:pt idx="11901">
                  <c:v>0.21225254146602399</c:v>
                </c:pt>
                <c:pt idx="11902">
                  <c:v>0.21227037631532</c:v>
                </c:pt>
                <c:pt idx="11903">
                  <c:v>0.21228821116461499</c:v>
                </c:pt>
                <c:pt idx="11904">
                  <c:v>0.21230604601391101</c:v>
                </c:pt>
                <c:pt idx="11905">
                  <c:v>0.212323880863206</c:v>
                </c:pt>
                <c:pt idx="11906">
                  <c:v>0.21234171571250199</c:v>
                </c:pt>
                <c:pt idx="11907">
                  <c:v>0.21235955056179701</c:v>
                </c:pt>
                <c:pt idx="11908">
                  <c:v>0.21237738541109299</c:v>
                </c:pt>
                <c:pt idx="11909">
                  <c:v>0.21239522026038801</c:v>
                </c:pt>
                <c:pt idx="11910">
                  <c:v>0.212413055109684</c:v>
                </c:pt>
                <c:pt idx="11911">
                  <c:v>0.21243088995897899</c:v>
                </c:pt>
                <c:pt idx="11912">
                  <c:v>0.21244872480827501</c:v>
                </c:pt>
                <c:pt idx="11913">
                  <c:v>0.21246655965757</c:v>
                </c:pt>
                <c:pt idx="11914">
                  <c:v>0.21248439450686599</c:v>
                </c:pt>
                <c:pt idx="11915">
                  <c:v>0.212502229356161</c:v>
                </c:pt>
                <c:pt idx="11916">
                  <c:v>0.21252006420545699</c:v>
                </c:pt>
                <c:pt idx="11917">
                  <c:v>0.21253789905475201</c:v>
                </c:pt>
                <c:pt idx="11918">
                  <c:v>0.212555733904048</c:v>
                </c:pt>
                <c:pt idx="11919">
                  <c:v>0.21257356875334399</c:v>
                </c:pt>
                <c:pt idx="11920">
                  <c:v>0.21259140360263901</c:v>
                </c:pt>
                <c:pt idx="11921">
                  <c:v>0.212609238451935</c:v>
                </c:pt>
                <c:pt idx="11922">
                  <c:v>0.21262707330123001</c:v>
                </c:pt>
                <c:pt idx="11923">
                  <c:v>0.212644908150526</c:v>
                </c:pt>
                <c:pt idx="11924">
                  <c:v>0.21266274299982099</c:v>
                </c:pt>
                <c:pt idx="11925">
                  <c:v>0.21268057784911701</c:v>
                </c:pt>
                <c:pt idx="11926">
                  <c:v>0.212698412698412</c:v>
                </c:pt>
                <c:pt idx="11927">
                  <c:v>0.21271624754770799</c:v>
                </c:pt>
                <c:pt idx="11928">
                  <c:v>0.212734082397003</c:v>
                </c:pt>
                <c:pt idx="11929">
                  <c:v>0.21275191724629899</c:v>
                </c:pt>
                <c:pt idx="11930">
                  <c:v>0.21276975209559401</c:v>
                </c:pt>
                <c:pt idx="11931">
                  <c:v>0.21278758694489</c:v>
                </c:pt>
                <c:pt idx="11932">
                  <c:v>0.21280542179418499</c:v>
                </c:pt>
                <c:pt idx="11933">
                  <c:v>0.21282325664348101</c:v>
                </c:pt>
                <c:pt idx="11934">
                  <c:v>0.212841091492776</c:v>
                </c:pt>
                <c:pt idx="11935">
                  <c:v>0.21285892634207201</c:v>
                </c:pt>
                <c:pt idx="11936">
                  <c:v>0.212876761191367</c:v>
                </c:pt>
                <c:pt idx="11937">
                  <c:v>0.21289459604066299</c:v>
                </c:pt>
                <c:pt idx="11938">
                  <c:v>0.21291243088995801</c:v>
                </c:pt>
                <c:pt idx="11939">
                  <c:v>0.212930265739254</c:v>
                </c:pt>
                <c:pt idx="11940">
                  <c:v>0.21294810058854999</c:v>
                </c:pt>
                <c:pt idx="11941">
                  <c:v>0.21296593543784501</c:v>
                </c:pt>
                <c:pt idx="11942">
                  <c:v>0.21298377028714099</c:v>
                </c:pt>
                <c:pt idx="11943">
                  <c:v>0.21300160513643601</c:v>
                </c:pt>
                <c:pt idx="11944">
                  <c:v>0.213019439985732</c:v>
                </c:pt>
                <c:pt idx="11945">
                  <c:v>0.21303727483502699</c:v>
                </c:pt>
                <c:pt idx="11946">
                  <c:v>0.21305510968432301</c:v>
                </c:pt>
                <c:pt idx="11947">
                  <c:v>0.213072944533618</c:v>
                </c:pt>
                <c:pt idx="11948">
                  <c:v>0.21309077938291399</c:v>
                </c:pt>
                <c:pt idx="11949">
                  <c:v>0.213108614232209</c:v>
                </c:pt>
                <c:pt idx="11950">
                  <c:v>0.21312644908150499</c:v>
                </c:pt>
                <c:pt idx="11951">
                  <c:v>0.21314428393080001</c:v>
                </c:pt>
                <c:pt idx="11952">
                  <c:v>0.213162118780096</c:v>
                </c:pt>
                <c:pt idx="11953">
                  <c:v>0.21317995362939099</c:v>
                </c:pt>
                <c:pt idx="11954">
                  <c:v>0.21319778847868701</c:v>
                </c:pt>
                <c:pt idx="11955">
                  <c:v>0.213215623327982</c:v>
                </c:pt>
                <c:pt idx="11956">
                  <c:v>0.21323345817727801</c:v>
                </c:pt>
                <c:pt idx="11957">
                  <c:v>0.213251293026573</c:v>
                </c:pt>
                <c:pt idx="11958">
                  <c:v>0.21326912787586899</c:v>
                </c:pt>
                <c:pt idx="11959">
                  <c:v>0.21328696272516401</c:v>
                </c:pt>
                <c:pt idx="11960">
                  <c:v>0.21330479757446</c:v>
                </c:pt>
                <c:pt idx="11961">
                  <c:v>0.21332263242375599</c:v>
                </c:pt>
                <c:pt idx="11962">
                  <c:v>0.213340467273051</c:v>
                </c:pt>
                <c:pt idx="11963">
                  <c:v>0.21335830212234699</c:v>
                </c:pt>
                <c:pt idx="11964">
                  <c:v>0.21337613697164201</c:v>
                </c:pt>
                <c:pt idx="11965">
                  <c:v>0.213393971820938</c:v>
                </c:pt>
                <c:pt idx="11966">
                  <c:v>0.21341180667023299</c:v>
                </c:pt>
                <c:pt idx="11967">
                  <c:v>0.21342964151952901</c:v>
                </c:pt>
                <c:pt idx="11968">
                  <c:v>0.213447476368824</c:v>
                </c:pt>
                <c:pt idx="11969">
                  <c:v>0.21346531121812001</c:v>
                </c:pt>
                <c:pt idx="11970">
                  <c:v>0.213483146067415</c:v>
                </c:pt>
                <c:pt idx="11971">
                  <c:v>0.21350098091671099</c:v>
                </c:pt>
                <c:pt idx="11972">
                  <c:v>0.21351881576600601</c:v>
                </c:pt>
                <c:pt idx="11973">
                  <c:v>0.213536650615302</c:v>
                </c:pt>
                <c:pt idx="11974">
                  <c:v>0.21355448546459699</c:v>
                </c:pt>
                <c:pt idx="11975">
                  <c:v>0.213572320313893</c:v>
                </c:pt>
                <c:pt idx="11976">
                  <c:v>0.21359015516318799</c:v>
                </c:pt>
                <c:pt idx="11977">
                  <c:v>0.21360799001248401</c:v>
                </c:pt>
                <c:pt idx="11978">
                  <c:v>0.213625824861779</c:v>
                </c:pt>
                <c:pt idx="11979">
                  <c:v>0.21364365971107499</c:v>
                </c:pt>
                <c:pt idx="11980">
                  <c:v>0.21366149456037001</c:v>
                </c:pt>
                <c:pt idx="11981">
                  <c:v>0.213679329409666</c:v>
                </c:pt>
                <c:pt idx="11982">
                  <c:v>0.21369716425896201</c:v>
                </c:pt>
                <c:pt idx="11983">
                  <c:v>0.213714999108257</c:v>
                </c:pt>
                <c:pt idx="11984">
                  <c:v>0.21373283395755299</c:v>
                </c:pt>
                <c:pt idx="11985">
                  <c:v>0.21375066880684801</c:v>
                </c:pt>
                <c:pt idx="11986">
                  <c:v>0.213768503656144</c:v>
                </c:pt>
                <c:pt idx="11987">
                  <c:v>0.21378633850543899</c:v>
                </c:pt>
                <c:pt idx="11988">
                  <c:v>0.21380417335473501</c:v>
                </c:pt>
                <c:pt idx="11989">
                  <c:v>0.21382200820403</c:v>
                </c:pt>
                <c:pt idx="11990">
                  <c:v>0.21383984305332601</c:v>
                </c:pt>
                <c:pt idx="11991">
                  <c:v>0.213857677902621</c:v>
                </c:pt>
                <c:pt idx="11992">
                  <c:v>0.21387551275191699</c:v>
                </c:pt>
                <c:pt idx="11993">
                  <c:v>0.21389334760121201</c:v>
                </c:pt>
                <c:pt idx="11994">
                  <c:v>0.213911182450508</c:v>
                </c:pt>
                <c:pt idx="11995">
                  <c:v>0.21392901729980299</c:v>
                </c:pt>
                <c:pt idx="11996">
                  <c:v>0.213946852149099</c:v>
                </c:pt>
                <c:pt idx="11997">
                  <c:v>0.21396468699839399</c:v>
                </c:pt>
                <c:pt idx="11998">
                  <c:v>0.21398252184769001</c:v>
                </c:pt>
                <c:pt idx="11999">
                  <c:v>0.214000356696985</c:v>
                </c:pt>
                <c:pt idx="12000">
                  <c:v>0.21401819154628099</c:v>
                </c:pt>
                <c:pt idx="12001">
                  <c:v>0.21403602639557601</c:v>
                </c:pt>
                <c:pt idx="12002">
                  <c:v>0.214053861244872</c:v>
                </c:pt>
                <c:pt idx="12003">
                  <c:v>0.21407169609416801</c:v>
                </c:pt>
                <c:pt idx="12004">
                  <c:v>0.214089530943463</c:v>
                </c:pt>
                <c:pt idx="12005">
                  <c:v>0.21410736579275899</c:v>
                </c:pt>
                <c:pt idx="12006">
                  <c:v>0.21412520064205401</c:v>
                </c:pt>
                <c:pt idx="12007">
                  <c:v>0.21414303549135</c:v>
                </c:pt>
                <c:pt idx="12008">
                  <c:v>0.21416087034064499</c:v>
                </c:pt>
                <c:pt idx="12009">
                  <c:v>0.214178705189941</c:v>
                </c:pt>
                <c:pt idx="12010">
                  <c:v>0.21419654003923599</c:v>
                </c:pt>
                <c:pt idx="12011">
                  <c:v>0.21421437488853201</c:v>
                </c:pt>
                <c:pt idx="12012">
                  <c:v>0.214232209737827</c:v>
                </c:pt>
                <c:pt idx="12013">
                  <c:v>0.21425004458712299</c:v>
                </c:pt>
                <c:pt idx="12014">
                  <c:v>0.21426787943641801</c:v>
                </c:pt>
                <c:pt idx="12015">
                  <c:v>0.214285714285714</c:v>
                </c:pt>
                <c:pt idx="12016">
                  <c:v>0.21430354913500901</c:v>
                </c:pt>
                <c:pt idx="12017">
                  <c:v>0.214321383984305</c:v>
                </c:pt>
                <c:pt idx="12018">
                  <c:v>0.21433921883359999</c:v>
                </c:pt>
                <c:pt idx="12019">
                  <c:v>0.21435705368289601</c:v>
                </c:pt>
                <c:pt idx="12020">
                  <c:v>0.214374888532191</c:v>
                </c:pt>
                <c:pt idx="12021">
                  <c:v>0.21439272338148699</c:v>
                </c:pt>
                <c:pt idx="12022">
                  <c:v>0.21441055823078201</c:v>
                </c:pt>
                <c:pt idx="12023">
                  <c:v>0.21442839308007799</c:v>
                </c:pt>
                <c:pt idx="12024">
                  <c:v>0.21444622792937301</c:v>
                </c:pt>
                <c:pt idx="12025">
                  <c:v>0.214464062778669</c:v>
                </c:pt>
                <c:pt idx="12026">
                  <c:v>0.21448189762796499</c:v>
                </c:pt>
                <c:pt idx="12027">
                  <c:v>0.21449973247726001</c:v>
                </c:pt>
                <c:pt idx="12028">
                  <c:v>0.214517567326556</c:v>
                </c:pt>
                <c:pt idx="12029">
                  <c:v>0.21453540217585099</c:v>
                </c:pt>
                <c:pt idx="12030">
                  <c:v>0.214553237025147</c:v>
                </c:pt>
                <c:pt idx="12031">
                  <c:v>0.21457107187444199</c:v>
                </c:pt>
                <c:pt idx="12032">
                  <c:v>0.21458890672373801</c:v>
                </c:pt>
                <c:pt idx="12033">
                  <c:v>0.214606741573033</c:v>
                </c:pt>
                <c:pt idx="12034">
                  <c:v>0.21462457642232899</c:v>
                </c:pt>
                <c:pt idx="12035">
                  <c:v>0.21464241127162401</c:v>
                </c:pt>
                <c:pt idx="12036">
                  <c:v>0.21466024612092</c:v>
                </c:pt>
                <c:pt idx="12037">
                  <c:v>0.21467808097021501</c:v>
                </c:pt>
                <c:pt idx="12038">
                  <c:v>0.214695915819511</c:v>
                </c:pt>
                <c:pt idx="12039">
                  <c:v>0.21471375066880599</c:v>
                </c:pt>
                <c:pt idx="12040">
                  <c:v>0.21473158551810201</c:v>
                </c:pt>
                <c:pt idx="12041">
                  <c:v>0.214749420367397</c:v>
                </c:pt>
                <c:pt idx="12042">
                  <c:v>0.21476725521669299</c:v>
                </c:pt>
                <c:pt idx="12043">
                  <c:v>0.214785090065988</c:v>
                </c:pt>
                <c:pt idx="12044">
                  <c:v>0.21480292491528399</c:v>
                </c:pt>
                <c:pt idx="12045">
                  <c:v>0.21482075976457901</c:v>
                </c:pt>
                <c:pt idx="12046">
                  <c:v>0.214838594613875</c:v>
                </c:pt>
                <c:pt idx="12047">
                  <c:v>0.21485642946317099</c:v>
                </c:pt>
                <c:pt idx="12048">
                  <c:v>0.21487426431246601</c:v>
                </c:pt>
                <c:pt idx="12049">
                  <c:v>0.214892099161762</c:v>
                </c:pt>
                <c:pt idx="12050">
                  <c:v>0.21490993401105701</c:v>
                </c:pt>
                <c:pt idx="12051">
                  <c:v>0.214927768860353</c:v>
                </c:pt>
                <c:pt idx="12052">
                  <c:v>0.21494560370964799</c:v>
                </c:pt>
                <c:pt idx="12053">
                  <c:v>0.21496343855894401</c:v>
                </c:pt>
                <c:pt idx="12054">
                  <c:v>0.214981273408239</c:v>
                </c:pt>
                <c:pt idx="12055">
                  <c:v>0.21499910825753499</c:v>
                </c:pt>
                <c:pt idx="12056">
                  <c:v>0.21501694310683001</c:v>
                </c:pt>
                <c:pt idx="12057">
                  <c:v>0.21503477795612599</c:v>
                </c:pt>
                <c:pt idx="12058">
                  <c:v>0.21505261280542101</c:v>
                </c:pt>
                <c:pt idx="12059">
                  <c:v>0.215070447654717</c:v>
                </c:pt>
                <c:pt idx="12060">
                  <c:v>0.21508828250401199</c:v>
                </c:pt>
                <c:pt idx="12061">
                  <c:v>0.21510611735330801</c:v>
                </c:pt>
                <c:pt idx="12062">
                  <c:v>0.215123952202603</c:v>
                </c:pt>
                <c:pt idx="12063">
                  <c:v>0.21514178705189901</c:v>
                </c:pt>
                <c:pt idx="12064">
                  <c:v>0.215159621901194</c:v>
                </c:pt>
                <c:pt idx="12065">
                  <c:v>0.21517745675048999</c:v>
                </c:pt>
                <c:pt idx="12066">
                  <c:v>0.21519529159978501</c:v>
                </c:pt>
                <c:pt idx="12067">
                  <c:v>0.215213126449081</c:v>
                </c:pt>
                <c:pt idx="12068">
                  <c:v>0.21523096129837699</c:v>
                </c:pt>
                <c:pt idx="12069">
                  <c:v>0.21524879614767201</c:v>
                </c:pt>
                <c:pt idx="12070">
                  <c:v>0.21526663099696799</c:v>
                </c:pt>
                <c:pt idx="12071">
                  <c:v>0.21528446584626301</c:v>
                </c:pt>
                <c:pt idx="12072">
                  <c:v>0.215302300695559</c:v>
                </c:pt>
                <c:pt idx="12073">
                  <c:v>0.21532013554485399</c:v>
                </c:pt>
                <c:pt idx="12074">
                  <c:v>0.21533797039415001</c:v>
                </c:pt>
                <c:pt idx="12075">
                  <c:v>0.215355805243445</c:v>
                </c:pt>
                <c:pt idx="12076">
                  <c:v>0.21537364009274099</c:v>
                </c:pt>
                <c:pt idx="12077">
                  <c:v>0.215391474942036</c:v>
                </c:pt>
                <c:pt idx="12078">
                  <c:v>0.21540930979133199</c:v>
                </c:pt>
                <c:pt idx="12079">
                  <c:v>0.21542714464062701</c:v>
                </c:pt>
                <c:pt idx="12080">
                  <c:v>0.215444979489923</c:v>
                </c:pt>
                <c:pt idx="12081">
                  <c:v>0.21546281433921799</c:v>
                </c:pt>
                <c:pt idx="12082">
                  <c:v>0.21548064918851401</c:v>
                </c:pt>
                <c:pt idx="12083">
                  <c:v>0.215498484037809</c:v>
                </c:pt>
                <c:pt idx="12084">
                  <c:v>0.21551631888710501</c:v>
                </c:pt>
                <c:pt idx="12085">
                  <c:v>0.2155341537364</c:v>
                </c:pt>
                <c:pt idx="12086">
                  <c:v>0.21555198858569599</c:v>
                </c:pt>
                <c:pt idx="12087">
                  <c:v>0.21556982343499101</c:v>
                </c:pt>
                <c:pt idx="12088">
                  <c:v>0.215587658284287</c:v>
                </c:pt>
                <c:pt idx="12089">
                  <c:v>0.21560549313358299</c:v>
                </c:pt>
                <c:pt idx="12090">
                  <c:v>0.215623327982878</c:v>
                </c:pt>
                <c:pt idx="12091">
                  <c:v>0.21564116283217399</c:v>
                </c:pt>
                <c:pt idx="12092">
                  <c:v>0.21565899768146901</c:v>
                </c:pt>
                <c:pt idx="12093">
                  <c:v>0.215676832530765</c:v>
                </c:pt>
                <c:pt idx="12094">
                  <c:v>0.21569466738005999</c:v>
                </c:pt>
                <c:pt idx="12095">
                  <c:v>0.21571250222935601</c:v>
                </c:pt>
                <c:pt idx="12096">
                  <c:v>0.215730337078651</c:v>
                </c:pt>
                <c:pt idx="12097">
                  <c:v>0.21574817192794701</c:v>
                </c:pt>
                <c:pt idx="12098">
                  <c:v>0.215766006777242</c:v>
                </c:pt>
                <c:pt idx="12099">
                  <c:v>0.21578384162653799</c:v>
                </c:pt>
                <c:pt idx="12100">
                  <c:v>0.21580167647583301</c:v>
                </c:pt>
                <c:pt idx="12101">
                  <c:v>0.215819511325129</c:v>
                </c:pt>
                <c:pt idx="12102">
                  <c:v>0.21583734617442399</c:v>
                </c:pt>
                <c:pt idx="12103">
                  <c:v>0.21585518102372001</c:v>
                </c:pt>
                <c:pt idx="12104">
                  <c:v>0.215873015873015</c:v>
                </c:pt>
                <c:pt idx="12105">
                  <c:v>0.21589085072231101</c:v>
                </c:pt>
                <c:pt idx="12106">
                  <c:v>0.215908685571606</c:v>
                </c:pt>
                <c:pt idx="12107">
                  <c:v>0.21592652042090199</c:v>
                </c:pt>
                <c:pt idx="12108">
                  <c:v>0.21594435527019701</c:v>
                </c:pt>
                <c:pt idx="12109">
                  <c:v>0.215962190119493</c:v>
                </c:pt>
                <c:pt idx="12110">
                  <c:v>0.21598002496878899</c:v>
                </c:pt>
                <c:pt idx="12111">
                  <c:v>0.215997859818084</c:v>
                </c:pt>
                <c:pt idx="12112">
                  <c:v>0.21601569466737999</c:v>
                </c:pt>
                <c:pt idx="12113">
                  <c:v>0.21603352951667501</c:v>
                </c:pt>
                <c:pt idx="12114">
                  <c:v>0.216051364365971</c:v>
                </c:pt>
                <c:pt idx="12115">
                  <c:v>0.21606919921526599</c:v>
                </c:pt>
                <c:pt idx="12116">
                  <c:v>0.21608703406456201</c:v>
                </c:pt>
                <c:pt idx="12117">
                  <c:v>0.216104868913857</c:v>
                </c:pt>
                <c:pt idx="12118">
                  <c:v>0.21612270376315301</c:v>
                </c:pt>
                <c:pt idx="12119">
                  <c:v>0.216140538612448</c:v>
                </c:pt>
                <c:pt idx="12120">
                  <c:v>0.21615837346174399</c:v>
                </c:pt>
                <c:pt idx="12121">
                  <c:v>0.21617620831103901</c:v>
                </c:pt>
                <c:pt idx="12122">
                  <c:v>0.216194043160335</c:v>
                </c:pt>
                <c:pt idx="12123">
                  <c:v>0.21621187800962999</c:v>
                </c:pt>
                <c:pt idx="12124">
                  <c:v>0.216229712858926</c:v>
                </c:pt>
                <c:pt idx="12125">
                  <c:v>0.21624754770822099</c:v>
                </c:pt>
                <c:pt idx="12126">
                  <c:v>0.21626538255751701</c:v>
                </c:pt>
                <c:pt idx="12127">
                  <c:v>0.216283217406812</c:v>
                </c:pt>
                <c:pt idx="12128">
                  <c:v>0.21630105225610799</c:v>
                </c:pt>
                <c:pt idx="12129">
                  <c:v>0.21631888710540301</c:v>
                </c:pt>
                <c:pt idx="12130">
                  <c:v>0.216336721954699</c:v>
                </c:pt>
                <c:pt idx="12131">
                  <c:v>0.21635455680399501</c:v>
                </c:pt>
                <c:pt idx="12132">
                  <c:v>0.21637239165329</c:v>
                </c:pt>
                <c:pt idx="12133">
                  <c:v>0.21639022650258599</c:v>
                </c:pt>
                <c:pt idx="12134">
                  <c:v>0.21640806135188101</c:v>
                </c:pt>
                <c:pt idx="12135">
                  <c:v>0.216425896201177</c:v>
                </c:pt>
                <c:pt idx="12136">
                  <c:v>0.21644373105047199</c:v>
                </c:pt>
                <c:pt idx="12137">
                  <c:v>0.216461565899768</c:v>
                </c:pt>
                <c:pt idx="12138">
                  <c:v>0.21647940074906299</c:v>
                </c:pt>
                <c:pt idx="12139">
                  <c:v>0.21649723559835901</c:v>
                </c:pt>
                <c:pt idx="12140">
                  <c:v>0.216515070447654</c:v>
                </c:pt>
                <c:pt idx="12141">
                  <c:v>0.21653290529694999</c:v>
                </c:pt>
                <c:pt idx="12142">
                  <c:v>0.21655074014624501</c:v>
                </c:pt>
                <c:pt idx="12143">
                  <c:v>0.216568574995541</c:v>
                </c:pt>
                <c:pt idx="12144">
                  <c:v>0.21658640984483599</c:v>
                </c:pt>
                <c:pt idx="12145">
                  <c:v>0.216604244694132</c:v>
                </c:pt>
                <c:pt idx="12146">
                  <c:v>0.21662207954342699</c:v>
                </c:pt>
                <c:pt idx="12147">
                  <c:v>0.21663991439272301</c:v>
                </c:pt>
                <c:pt idx="12148">
                  <c:v>0.216657749242018</c:v>
                </c:pt>
                <c:pt idx="12149">
                  <c:v>0.21667558409131399</c:v>
                </c:pt>
                <c:pt idx="12150">
                  <c:v>0.21669341894060901</c:v>
                </c:pt>
                <c:pt idx="12151">
                  <c:v>0.216711253789905</c:v>
                </c:pt>
                <c:pt idx="12152">
                  <c:v>0.21672908863920101</c:v>
                </c:pt>
                <c:pt idx="12153">
                  <c:v>0.216746923488496</c:v>
                </c:pt>
                <c:pt idx="12154">
                  <c:v>0.21676475833779199</c:v>
                </c:pt>
                <c:pt idx="12155">
                  <c:v>0.21678259318708701</c:v>
                </c:pt>
                <c:pt idx="12156">
                  <c:v>0.216800428036383</c:v>
                </c:pt>
                <c:pt idx="12157">
                  <c:v>0.21681826288567799</c:v>
                </c:pt>
                <c:pt idx="12158">
                  <c:v>0.216836097734974</c:v>
                </c:pt>
                <c:pt idx="12159">
                  <c:v>0.21685393258426899</c:v>
                </c:pt>
                <c:pt idx="12160">
                  <c:v>0.21687176743356501</c:v>
                </c:pt>
                <c:pt idx="12161">
                  <c:v>0.21688960228286</c:v>
                </c:pt>
                <c:pt idx="12162">
                  <c:v>0.21690743713215599</c:v>
                </c:pt>
                <c:pt idx="12163">
                  <c:v>0.21692527198145101</c:v>
                </c:pt>
                <c:pt idx="12164">
                  <c:v>0.216943106830747</c:v>
                </c:pt>
                <c:pt idx="12165">
                  <c:v>0.21696094168004201</c:v>
                </c:pt>
                <c:pt idx="12166">
                  <c:v>0.216978776529338</c:v>
                </c:pt>
                <c:pt idx="12167">
                  <c:v>0.21699661137863299</c:v>
                </c:pt>
                <c:pt idx="12168">
                  <c:v>0.21701444622792901</c:v>
                </c:pt>
                <c:pt idx="12169">
                  <c:v>0.217032281077224</c:v>
                </c:pt>
                <c:pt idx="12170">
                  <c:v>0.21705011592651999</c:v>
                </c:pt>
                <c:pt idx="12171">
                  <c:v>0.21706795077581501</c:v>
                </c:pt>
                <c:pt idx="12172">
                  <c:v>0.21708578562511099</c:v>
                </c:pt>
                <c:pt idx="12173">
                  <c:v>0.21710362047440601</c:v>
                </c:pt>
                <c:pt idx="12174">
                  <c:v>0.217121455323702</c:v>
                </c:pt>
                <c:pt idx="12175">
                  <c:v>0.21713929017299799</c:v>
                </c:pt>
                <c:pt idx="12176">
                  <c:v>0.21715712502229301</c:v>
                </c:pt>
                <c:pt idx="12177">
                  <c:v>0.217174959871589</c:v>
                </c:pt>
                <c:pt idx="12178">
                  <c:v>0.21719279472088401</c:v>
                </c:pt>
                <c:pt idx="12179">
                  <c:v>0.21721062957018</c:v>
                </c:pt>
                <c:pt idx="12180">
                  <c:v>0.21722846441947499</c:v>
                </c:pt>
                <c:pt idx="12181">
                  <c:v>0.21724629926877101</c:v>
                </c:pt>
                <c:pt idx="12182">
                  <c:v>0.217264134118066</c:v>
                </c:pt>
                <c:pt idx="12183">
                  <c:v>0.21728196896736199</c:v>
                </c:pt>
                <c:pt idx="12184">
                  <c:v>0.21729980381665701</c:v>
                </c:pt>
                <c:pt idx="12185">
                  <c:v>0.21731763866595299</c:v>
                </c:pt>
                <c:pt idx="12186">
                  <c:v>0.21733547351524801</c:v>
                </c:pt>
                <c:pt idx="12187">
                  <c:v>0.217353308364544</c:v>
                </c:pt>
                <c:pt idx="12188">
                  <c:v>0.21737114321383899</c:v>
                </c:pt>
                <c:pt idx="12189">
                  <c:v>0.21738897806313501</c:v>
                </c:pt>
                <c:pt idx="12190">
                  <c:v>0.21740681291243</c:v>
                </c:pt>
                <c:pt idx="12191">
                  <c:v>0.21742464776172599</c:v>
                </c:pt>
                <c:pt idx="12192">
                  <c:v>0.217442482611021</c:v>
                </c:pt>
                <c:pt idx="12193">
                  <c:v>0.21746031746031699</c:v>
                </c:pt>
                <c:pt idx="12194">
                  <c:v>0.21747815230961201</c:v>
                </c:pt>
                <c:pt idx="12195">
                  <c:v>0.217495987158908</c:v>
                </c:pt>
                <c:pt idx="12196">
                  <c:v>0.21751382200820399</c:v>
                </c:pt>
                <c:pt idx="12197">
                  <c:v>0.21753165685749901</c:v>
                </c:pt>
                <c:pt idx="12198">
                  <c:v>0.217549491706795</c:v>
                </c:pt>
                <c:pt idx="12199">
                  <c:v>0.21756732655609001</c:v>
                </c:pt>
                <c:pt idx="12200">
                  <c:v>0.217585161405386</c:v>
                </c:pt>
                <c:pt idx="12201">
                  <c:v>0.21760299625468099</c:v>
                </c:pt>
                <c:pt idx="12202">
                  <c:v>0.21762083110397701</c:v>
                </c:pt>
                <c:pt idx="12203">
                  <c:v>0.217638665953272</c:v>
                </c:pt>
                <c:pt idx="12204">
                  <c:v>0.21765650080256799</c:v>
                </c:pt>
                <c:pt idx="12205">
                  <c:v>0.217674335651863</c:v>
                </c:pt>
                <c:pt idx="12206">
                  <c:v>0.21769217050115899</c:v>
                </c:pt>
                <c:pt idx="12207">
                  <c:v>0.21771000535045401</c:v>
                </c:pt>
                <c:pt idx="12208">
                  <c:v>0.21772784019975</c:v>
                </c:pt>
                <c:pt idx="12209">
                  <c:v>0.21774567504904499</c:v>
                </c:pt>
                <c:pt idx="12210">
                  <c:v>0.21776350989834101</c:v>
                </c:pt>
                <c:pt idx="12211">
                  <c:v>0.217781344747636</c:v>
                </c:pt>
                <c:pt idx="12212">
                  <c:v>0.21779917959693201</c:v>
                </c:pt>
                <c:pt idx="12213">
                  <c:v>0.217817014446227</c:v>
                </c:pt>
                <c:pt idx="12214">
                  <c:v>0.21783484929552299</c:v>
                </c:pt>
                <c:pt idx="12215">
                  <c:v>0.21785268414481801</c:v>
                </c:pt>
                <c:pt idx="12216">
                  <c:v>0.217870518994114</c:v>
                </c:pt>
                <c:pt idx="12217">
                  <c:v>0.21788835384340999</c:v>
                </c:pt>
                <c:pt idx="12218">
                  <c:v>0.21790618869270501</c:v>
                </c:pt>
                <c:pt idx="12219">
                  <c:v>0.21792402354200099</c:v>
                </c:pt>
                <c:pt idx="12220">
                  <c:v>0.21794185839129601</c:v>
                </c:pt>
                <c:pt idx="12221">
                  <c:v>0.217959693240592</c:v>
                </c:pt>
                <c:pt idx="12222">
                  <c:v>0.21797752808988699</c:v>
                </c:pt>
                <c:pt idx="12223">
                  <c:v>0.21799536293918301</c:v>
                </c:pt>
                <c:pt idx="12224">
                  <c:v>0.218013197788478</c:v>
                </c:pt>
                <c:pt idx="12225">
                  <c:v>0.21803103263777401</c:v>
                </c:pt>
                <c:pt idx="12226">
                  <c:v>0.218048867487069</c:v>
                </c:pt>
                <c:pt idx="12227">
                  <c:v>0.21806670233636499</c:v>
                </c:pt>
                <c:pt idx="12228">
                  <c:v>0.21808453718566001</c:v>
                </c:pt>
                <c:pt idx="12229">
                  <c:v>0.218102372034956</c:v>
                </c:pt>
                <c:pt idx="12230">
                  <c:v>0.21812020688425099</c:v>
                </c:pt>
                <c:pt idx="12231">
                  <c:v>0.21813804173354701</c:v>
                </c:pt>
                <c:pt idx="12232">
                  <c:v>0.218155876582842</c:v>
                </c:pt>
                <c:pt idx="12233">
                  <c:v>0.21817371143213801</c:v>
                </c:pt>
                <c:pt idx="12234">
                  <c:v>0.218191546281433</c:v>
                </c:pt>
                <c:pt idx="12235">
                  <c:v>0.21820938113072899</c:v>
                </c:pt>
                <c:pt idx="12236">
                  <c:v>0.21822721598002401</c:v>
                </c:pt>
                <c:pt idx="12237">
                  <c:v>0.21824505082932</c:v>
                </c:pt>
                <c:pt idx="12238">
                  <c:v>0.21826288567861599</c:v>
                </c:pt>
                <c:pt idx="12239">
                  <c:v>0.218280720527911</c:v>
                </c:pt>
                <c:pt idx="12240">
                  <c:v>0.21829855537720699</c:v>
                </c:pt>
                <c:pt idx="12241">
                  <c:v>0.21831639022650201</c:v>
                </c:pt>
                <c:pt idx="12242">
                  <c:v>0.218334225075798</c:v>
                </c:pt>
                <c:pt idx="12243">
                  <c:v>0.21835205992509299</c:v>
                </c:pt>
                <c:pt idx="12244">
                  <c:v>0.21836989477438901</c:v>
                </c:pt>
                <c:pt idx="12245">
                  <c:v>0.218387729623684</c:v>
                </c:pt>
                <c:pt idx="12246">
                  <c:v>0.21840556447298001</c:v>
                </c:pt>
                <c:pt idx="12247">
                  <c:v>0.218423399322275</c:v>
                </c:pt>
                <c:pt idx="12248">
                  <c:v>0.21844123417157099</c:v>
                </c:pt>
                <c:pt idx="12249">
                  <c:v>0.21845906902086601</c:v>
                </c:pt>
                <c:pt idx="12250">
                  <c:v>0.218476903870162</c:v>
                </c:pt>
                <c:pt idx="12251">
                  <c:v>0.21849473871945699</c:v>
                </c:pt>
                <c:pt idx="12252">
                  <c:v>0.218512573568753</c:v>
                </c:pt>
                <c:pt idx="12253">
                  <c:v>0.21853040841804799</c:v>
                </c:pt>
                <c:pt idx="12254">
                  <c:v>0.21854824326734401</c:v>
                </c:pt>
                <c:pt idx="12255">
                  <c:v>0.218566078116639</c:v>
                </c:pt>
                <c:pt idx="12256">
                  <c:v>0.21858391296593499</c:v>
                </c:pt>
                <c:pt idx="12257">
                  <c:v>0.21860174781523001</c:v>
                </c:pt>
                <c:pt idx="12258">
                  <c:v>0.218619582664526</c:v>
                </c:pt>
                <c:pt idx="12259">
                  <c:v>0.21863741751382201</c:v>
                </c:pt>
                <c:pt idx="12260">
                  <c:v>0.218655252363117</c:v>
                </c:pt>
                <c:pt idx="12261">
                  <c:v>0.21867308721241299</c:v>
                </c:pt>
                <c:pt idx="12262">
                  <c:v>0.21869092206170801</c:v>
                </c:pt>
                <c:pt idx="12263">
                  <c:v>0.218708756911004</c:v>
                </c:pt>
                <c:pt idx="12264">
                  <c:v>0.21872659176029899</c:v>
                </c:pt>
                <c:pt idx="12265">
                  <c:v>0.21874442660959501</c:v>
                </c:pt>
                <c:pt idx="12266">
                  <c:v>0.21876226145888999</c:v>
                </c:pt>
                <c:pt idx="12267">
                  <c:v>0.21878009630818601</c:v>
                </c:pt>
                <c:pt idx="12268">
                  <c:v>0.218797931157481</c:v>
                </c:pt>
                <c:pt idx="12269">
                  <c:v>0.21881576600677699</c:v>
                </c:pt>
                <c:pt idx="12270">
                  <c:v>0.21883360085607201</c:v>
                </c:pt>
                <c:pt idx="12271">
                  <c:v>0.218851435705368</c:v>
                </c:pt>
                <c:pt idx="12272">
                  <c:v>0.21886927055466299</c:v>
                </c:pt>
                <c:pt idx="12273">
                  <c:v>0.218887105403959</c:v>
                </c:pt>
                <c:pt idx="12274">
                  <c:v>0.21890494025325399</c:v>
                </c:pt>
                <c:pt idx="12275">
                  <c:v>0.21892277510255001</c:v>
                </c:pt>
                <c:pt idx="12276">
                  <c:v>0.218940609951845</c:v>
                </c:pt>
                <c:pt idx="12277">
                  <c:v>0.21895844480114099</c:v>
                </c:pt>
                <c:pt idx="12278">
                  <c:v>0.21897627965043601</c:v>
                </c:pt>
                <c:pt idx="12279">
                  <c:v>0.218994114499732</c:v>
                </c:pt>
                <c:pt idx="12280">
                  <c:v>0.21901194934902801</c:v>
                </c:pt>
                <c:pt idx="12281">
                  <c:v>0.219029784198323</c:v>
                </c:pt>
                <c:pt idx="12282">
                  <c:v>0.21904761904761899</c:v>
                </c:pt>
                <c:pt idx="12283">
                  <c:v>0.21906545389691401</c:v>
                </c:pt>
                <c:pt idx="12284">
                  <c:v>0.21908328874621</c:v>
                </c:pt>
                <c:pt idx="12285">
                  <c:v>0.21910112359550499</c:v>
                </c:pt>
                <c:pt idx="12286">
                  <c:v>0.219118958444801</c:v>
                </c:pt>
                <c:pt idx="12287">
                  <c:v>0.21913679329409599</c:v>
                </c:pt>
                <c:pt idx="12288">
                  <c:v>0.21915462814339201</c:v>
                </c:pt>
                <c:pt idx="12289">
                  <c:v>0.219172462992687</c:v>
                </c:pt>
                <c:pt idx="12290">
                  <c:v>0.21919029784198299</c:v>
                </c:pt>
                <c:pt idx="12291">
                  <c:v>0.21920813269127801</c:v>
                </c:pt>
                <c:pt idx="12292">
                  <c:v>0.219225967540574</c:v>
                </c:pt>
                <c:pt idx="12293">
                  <c:v>0.21924380238986901</c:v>
                </c:pt>
                <c:pt idx="12294">
                  <c:v>0.219261637239165</c:v>
                </c:pt>
                <c:pt idx="12295">
                  <c:v>0.21927947208845999</c:v>
                </c:pt>
                <c:pt idx="12296">
                  <c:v>0.21929730693775601</c:v>
                </c:pt>
                <c:pt idx="12297">
                  <c:v>0.219315141787051</c:v>
                </c:pt>
                <c:pt idx="12298">
                  <c:v>0.21933297663634699</c:v>
                </c:pt>
                <c:pt idx="12299">
                  <c:v>0.21935081148564201</c:v>
                </c:pt>
                <c:pt idx="12300">
                  <c:v>0.21936864633493799</c:v>
                </c:pt>
                <c:pt idx="12301">
                  <c:v>0.21938648118423301</c:v>
                </c:pt>
                <c:pt idx="12302">
                  <c:v>0.219404316033529</c:v>
                </c:pt>
                <c:pt idx="12303">
                  <c:v>0.21942215088282499</c:v>
                </c:pt>
                <c:pt idx="12304">
                  <c:v>0.21943998573212001</c:v>
                </c:pt>
                <c:pt idx="12305">
                  <c:v>0.219457820581416</c:v>
                </c:pt>
                <c:pt idx="12306">
                  <c:v>0.21947565543071099</c:v>
                </c:pt>
                <c:pt idx="12307">
                  <c:v>0.219493490280007</c:v>
                </c:pt>
                <c:pt idx="12308">
                  <c:v>0.21951132512930199</c:v>
                </c:pt>
                <c:pt idx="12309">
                  <c:v>0.21952915997859801</c:v>
                </c:pt>
                <c:pt idx="12310">
                  <c:v>0.219546994827893</c:v>
                </c:pt>
                <c:pt idx="12311">
                  <c:v>0.21956482967718899</c:v>
                </c:pt>
                <c:pt idx="12312">
                  <c:v>0.21958266452648401</c:v>
                </c:pt>
                <c:pt idx="12313">
                  <c:v>0.21960049937578</c:v>
                </c:pt>
                <c:pt idx="12314">
                  <c:v>0.21961833422507501</c:v>
                </c:pt>
                <c:pt idx="12315">
                  <c:v>0.219636169074371</c:v>
                </c:pt>
                <c:pt idx="12316">
                  <c:v>0.21965400392366599</c:v>
                </c:pt>
                <c:pt idx="12317">
                  <c:v>0.21967183877296201</c:v>
                </c:pt>
                <c:pt idx="12318">
                  <c:v>0.219689673622257</c:v>
                </c:pt>
                <c:pt idx="12319">
                  <c:v>0.21970750847155299</c:v>
                </c:pt>
                <c:pt idx="12320">
                  <c:v>0.219725343320848</c:v>
                </c:pt>
                <c:pt idx="12321">
                  <c:v>0.21974317817014399</c:v>
                </c:pt>
                <c:pt idx="12322">
                  <c:v>0.21976101301943901</c:v>
                </c:pt>
                <c:pt idx="12323">
                  <c:v>0.219778847868735</c:v>
                </c:pt>
                <c:pt idx="12324">
                  <c:v>0.21979668271803099</c:v>
                </c:pt>
                <c:pt idx="12325">
                  <c:v>0.21981451756732601</c:v>
                </c:pt>
                <c:pt idx="12326">
                  <c:v>0.219832352416622</c:v>
                </c:pt>
                <c:pt idx="12327">
                  <c:v>0.21985018726591701</c:v>
                </c:pt>
                <c:pt idx="12328">
                  <c:v>0.219868022115213</c:v>
                </c:pt>
                <c:pt idx="12329">
                  <c:v>0.21988585696450799</c:v>
                </c:pt>
                <c:pt idx="12330">
                  <c:v>0.21990369181380401</c:v>
                </c:pt>
                <c:pt idx="12331">
                  <c:v>0.219921526663099</c:v>
                </c:pt>
                <c:pt idx="12332">
                  <c:v>0.21993936151239499</c:v>
                </c:pt>
                <c:pt idx="12333">
                  <c:v>0.21995719636169</c:v>
                </c:pt>
                <c:pt idx="12334">
                  <c:v>0.21997503121098599</c:v>
                </c:pt>
                <c:pt idx="12335">
                  <c:v>0.21999286606028101</c:v>
                </c:pt>
                <c:pt idx="12336">
                  <c:v>0.220010700909577</c:v>
                </c:pt>
                <c:pt idx="12337">
                  <c:v>0.22002853575887199</c:v>
                </c:pt>
                <c:pt idx="12338">
                  <c:v>0.22004637060816801</c:v>
                </c:pt>
                <c:pt idx="12339">
                  <c:v>0.220064205457463</c:v>
                </c:pt>
                <c:pt idx="12340">
                  <c:v>0.22008204030675901</c:v>
                </c:pt>
                <c:pt idx="12341">
                  <c:v>0.220099875156054</c:v>
                </c:pt>
                <c:pt idx="12342">
                  <c:v>0.22011771000534999</c:v>
                </c:pt>
                <c:pt idx="12343">
                  <c:v>0.22013554485464501</c:v>
                </c:pt>
                <c:pt idx="12344">
                  <c:v>0.220153379703941</c:v>
                </c:pt>
                <c:pt idx="12345">
                  <c:v>0.22017121455323699</c:v>
                </c:pt>
                <c:pt idx="12346">
                  <c:v>0.22018904940253201</c:v>
                </c:pt>
                <c:pt idx="12347">
                  <c:v>0.22020688425182799</c:v>
                </c:pt>
                <c:pt idx="12348">
                  <c:v>0.22022471910112301</c:v>
                </c:pt>
                <c:pt idx="12349">
                  <c:v>0.220242553950419</c:v>
                </c:pt>
                <c:pt idx="12350">
                  <c:v>0.22026038879971399</c:v>
                </c:pt>
                <c:pt idx="12351">
                  <c:v>0.22027822364901001</c:v>
                </c:pt>
                <c:pt idx="12352">
                  <c:v>0.220296058498305</c:v>
                </c:pt>
                <c:pt idx="12353">
                  <c:v>0.22031389334760099</c:v>
                </c:pt>
                <c:pt idx="12354">
                  <c:v>0.220331728196896</c:v>
                </c:pt>
                <c:pt idx="12355">
                  <c:v>0.22034956304619199</c:v>
                </c:pt>
                <c:pt idx="12356">
                  <c:v>0.22036739789548701</c:v>
                </c:pt>
                <c:pt idx="12357">
                  <c:v>0.220385232744783</c:v>
                </c:pt>
                <c:pt idx="12358">
                  <c:v>0.22040306759407799</c:v>
                </c:pt>
                <c:pt idx="12359">
                  <c:v>0.22042090244337401</c:v>
                </c:pt>
                <c:pt idx="12360">
                  <c:v>0.220438737292669</c:v>
                </c:pt>
                <c:pt idx="12361">
                  <c:v>0.22045657214196501</c:v>
                </c:pt>
                <c:pt idx="12362">
                  <c:v>0.22047440699126</c:v>
                </c:pt>
                <c:pt idx="12363">
                  <c:v>0.22049224184055599</c:v>
                </c:pt>
                <c:pt idx="12364">
                  <c:v>0.22051007668985101</c:v>
                </c:pt>
                <c:pt idx="12365">
                  <c:v>0.220527911539147</c:v>
                </c:pt>
                <c:pt idx="12366">
                  <c:v>0.22054574638844299</c:v>
                </c:pt>
                <c:pt idx="12367">
                  <c:v>0.220563581237738</c:v>
                </c:pt>
                <c:pt idx="12368">
                  <c:v>0.22058141608703399</c:v>
                </c:pt>
                <c:pt idx="12369">
                  <c:v>0.22059925093632901</c:v>
                </c:pt>
                <c:pt idx="12370">
                  <c:v>0.220617085785625</c:v>
                </c:pt>
                <c:pt idx="12371">
                  <c:v>0.22063492063491999</c:v>
                </c:pt>
                <c:pt idx="12372">
                  <c:v>0.22065275548421601</c:v>
                </c:pt>
                <c:pt idx="12373">
                  <c:v>0.220670590333511</c:v>
                </c:pt>
                <c:pt idx="12374">
                  <c:v>0.22068842518280701</c:v>
                </c:pt>
                <c:pt idx="12375">
                  <c:v>0.220706260032102</c:v>
                </c:pt>
                <c:pt idx="12376">
                  <c:v>0.22072409488139799</c:v>
                </c:pt>
                <c:pt idx="12377">
                  <c:v>0.22074192973069301</c:v>
                </c:pt>
                <c:pt idx="12378">
                  <c:v>0.220759764579989</c:v>
                </c:pt>
                <c:pt idx="12379">
                  <c:v>0.22077759942928399</c:v>
                </c:pt>
                <c:pt idx="12380">
                  <c:v>0.22079543427858001</c:v>
                </c:pt>
                <c:pt idx="12381">
                  <c:v>0.22081326912787499</c:v>
                </c:pt>
                <c:pt idx="12382">
                  <c:v>0.22083110397717101</c:v>
                </c:pt>
                <c:pt idx="12383">
                  <c:v>0.220848938826466</c:v>
                </c:pt>
                <c:pt idx="12384">
                  <c:v>0.22086677367576199</c:v>
                </c:pt>
                <c:pt idx="12385">
                  <c:v>0.22088460852505701</c:v>
                </c:pt>
                <c:pt idx="12386">
                  <c:v>0.220902443374353</c:v>
                </c:pt>
                <c:pt idx="12387">
                  <c:v>0.22092027822364901</c:v>
                </c:pt>
                <c:pt idx="12388">
                  <c:v>0.220938113072944</c:v>
                </c:pt>
                <c:pt idx="12389">
                  <c:v>0.22095594792223999</c:v>
                </c:pt>
                <c:pt idx="12390">
                  <c:v>0.22097378277153501</c:v>
                </c:pt>
                <c:pt idx="12391">
                  <c:v>0.220991617620831</c:v>
                </c:pt>
                <c:pt idx="12392">
                  <c:v>0.22100945247012599</c:v>
                </c:pt>
                <c:pt idx="12393">
                  <c:v>0.22102728731942201</c:v>
                </c:pt>
                <c:pt idx="12394">
                  <c:v>0.221045122168717</c:v>
                </c:pt>
                <c:pt idx="12395">
                  <c:v>0.22106295701801301</c:v>
                </c:pt>
                <c:pt idx="12396">
                  <c:v>0.221080791867308</c:v>
                </c:pt>
                <c:pt idx="12397">
                  <c:v>0.22109862671660399</c:v>
                </c:pt>
                <c:pt idx="12398">
                  <c:v>0.22111646156589901</c:v>
                </c:pt>
                <c:pt idx="12399">
                  <c:v>0.221134296415195</c:v>
                </c:pt>
                <c:pt idx="12400">
                  <c:v>0.22115213126448999</c:v>
                </c:pt>
                <c:pt idx="12401">
                  <c:v>0.221169966113786</c:v>
                </c:pt>
                <c:pt idx="12402">
                  <c:v>0.22118780096308099</c:v>
                </c:pt>
                <c:pt idx="12403">
                  <c:v>0.22120563581237701</c:v>
                </c:pt>
                <c:pt idx="12404">
                  <c:v>0.221223470661672</c:v>
                </c:pt>
                <c:pt idx="12405">
                  <c:v>0.22124130551096799</c:v>
                </c:pt>
                <c:pt idx="12406">
                  <c:v>0.22125914036026301</c:v>
                </c:pt>
                <c:pt idx="12407">
                  <c:v>0.221276975209559</c:v>
                </c:pt>
                <c:pt idx="12408">
                  <c:v>0.22129481005885501</c:v>
                </c:pt>
                <c:pt idx="12409">
                  <c:v>0.22131264490815</c:v>
                </c:pt>
                <c:pt idx="12410">
                  <c:v>0.22133047975744599</c:v>
                </c:pt>
                <c:pt idx="12411">
                  <c:v>0.22134831460674101</c:v>
                </c:pt>
                <c:pt idx="12412">
                  <c:v>0.221366149456037</c:v>
                </c:pt>
                <c:pt idx="12413">
                  <c:v>0.22138398430533199</c:v>
                </c:pt>
                <c:pt idx="12414">
                  <c:v>0.221401819154628</c:v>
                </c:pt>
                <c:pt idx="12415">
                  <c:v>0.22141965400392299</c:v>
                </c:pt>
                <c:pt idx="12416">
                  <c:v>0.22143748885321901</c:v>
                </c:pt>
                <c:pt idx="12417">
                  <c:v>0.221455323702514</c:v>
                </c:pt>
                <c:pt idx="12418">
                  <c:v>0.22147315855180999</c:v>
                </c:pt>
                <c:pt idx="12419">
                  <c:v>0.22149099340110501</c:v>
                </c:pt>
                <c:pt idx="12420">
                  <c:v>0.221508828250401</c:v>
                </c:pt>
                <c:pt idx="12421">
                  <c:v>0.22152666309969599</c:v>
                </c:pt>
                <c:pt idx="12422">
                  <c:v>0.221544497948992</c:v>
                </c:pt>
                <c:pt idx="12423">
                  <c:v>0.22156233279828699</c:v>
                </c:pt>
                <c:pt idx="12424">
                  <c:v>0.22158016764758301</c:v>
                </c:pt>
                <c:pt idx="12425">
                  <c:v>0.221598002496878</c:v>
                </c:pt>
                <c:pt idx="12426">
                  <c:v>0.22161583734617399</c:v>
                </c:pt>
                <c:pt idx="12427">
                  <c:v>0.22163367219546901</c:v>
                </c:pt>
                <c:pt idx="12428">
                  <c:v>0.22165150704476499</c:v>
                </c:pt>
                <c:pt idx="12429">
                  <c:v>0.22166934189406001</c:v>
                </c:pt>
                <c:pt idx="12430">
                  <c:v>0.221687176743356</c:v>
                </c:pt>
                <c:pt idx="12431">
                  <c:v>0.22170501159265199</c:v>
                </c:pt>
                <c:pt idx="12432">
                  <c:v>0.22172284644194701</c:v>
                </c:pt>
                <c:pt idx="12433">
                  <c:v>0.221740681291243</c:v>
                </c:pt>
                <c:pt idx="12434">
                  <c:v>0.22175851614053799</c:v>
                </c:pt>
                <c:pt idx="12435">
                  <c:v>0.221776350989834</c:v>
                </c:pt>
                <c:pt idx="12436">
                  <c:v>0.22179418583912899</c:v>
                </c:pt>
                <c:pt idx="12437">
                  <c:v>0.22181202068842501</c:v>
                </c:pt>
                <c:pt idx="12438">
                  <c:v>0.22182985553772</c:v>
                </c:pt>
                <c:pt idx="12439">
                  <c:v>0.22184769038701599</c:v>
                </c:pt>
                <c:pt idx="12440">
                  <c:v>0.22186552523631101</c:v>
                </c:pt>
                <c:pt idx="12441">
                  <c:v>0.221883360085607</c:v>
                </c:pt>
                <c:pt idx="12442">
                  <c:v>0.22190119493490201</c:v>
                </c:pt>
                <c:pt idx="12443">
                  <c:v>0.221919029784198</c:v>
                </c:pt>
                <c:pt idx="12444">
                  <c:v>0.22193686463349299</c:v>
                </c:pt>
                <c:pt idx="12445">
                  <c:v>0.22195469948278901</c:v>
                </c:pt>
                <c:pt idx="12446">
                  <c:v>0.221972534332084</c:v>
                </c:pt>
                <c:pt idx="12447">
                  <c:v>0.22199036918137999</c:v>
                </c:pt>
                <c:pt idx="12448">
                  <c:v>0.222008204030675</c:v>
                </c:pt>
                <c:pt idx="12449">
                  <c:v>0.22202603887997099</c:v>
                </c:pt>
                <c:pt idx="12450">
                  <c:v>0.22204387372926601</c:v>
                </c:pt>
                <c:pt idx="12451">
                  <c:v>0.222061708578562</c:v>
                </c:pt>
                <c:pt idx="12452">
                  <c:v>0.22207954342785799</c:v>
                </c:pt>
                <c:pt idx="12453">
                  <c:v>0.22209737827715301</c:v>
                </c:pt>
                <c:pt idx="12454">
                  <c:v>0.222115213126449</c:v>
                </c:pt>
                <c:pt idx="12455">
                  <c:v>0.22213304797574401</c:v>
                </c:pt>
                <c:pt idx="12456">
                  <c:v>0.22215088282504</c:v>
                </c:pt>
                <c:pt idx="12457">
                  <c:v>0.22216871767433499</c:v>
                </c:pt>
                <c:pt idx="12458">
                  <c:v>0.22218655252363101</c:v>
                </c:pt>
                <c:pt idx="12459">
                  <c:v>0.222204387372926</c:v>
                </c:pt>
                <c:pt idx="12460">
                  <c:v>0.22222222222222199</c:v>
                </c:pt>
                <c:pt idx="12461">
                  <c:v>0.22224005707151701</c:v>
                </c:pt>
                <c:pt idx="12462">
                  <c:v>0.22225789192081299</c:v>
                </c:pt>
                <c:pt idx="12463">
                  <c:v>0.22227572677010801</c:v>
                </c:pt>
                <c:pt idx="12464">
                  <c:v>0.222293561619404</c:v>
                </c:pt>
                <c:pt idx="12465">
                  <c:v>0.22231139646869899</c:v>
                </c:pt>
                <c:pt idx="12466">
                  <c:v>0.22232923131799501</c:v>
                </c:pt>
                <c:pt idx="12467">
                  <c:v>0.22234706616729</c:v>
                </c:pt>
                <c:pt idx="12468">
                  <c:v>0.22236490101658599</c:v>
                </c:pt>
                <c:pt idx="12469">
                  <c:v>0.222382735865881</c:v>
                </c:pt>
                <c:pt idx="12470">
                  <c:v>0.22240057071517699</c:v>
                </c:pt>
                <c:pt idx="12471">
                  <c:v>0.22241840556447201</c:v>
                </c:pt>
                <c:pt idx="12472">
                  <c:v>0.222436240413768</c:v>
                </c:pt>
                <c:pt idx="12473">
                  <c:v>0.22245407526306399</c:v>
                </c:pt>
                <c:pt idx="12474">
                  <c:v>0.22247191011235901</c:v>
                </c:pt>
                <c:pt idx="12475">
                  <c:v>0.22248974496165499</c:v>
                </c:pt>
                <c:pt idx="12476">
                  <c:v>0.22250757981095001</c:v>
                </c:pt>
                <c:pt idx="12477">
                  <c:v>0.222525414660246</c:v>
                </c:pt>
                <c:pt idx="12478">
                  <c:v>0.22254324950954099</c:v>
                </c:pt>
                <c:pt idx="12479">
                  <c:v>0.22256108435883701</c:v>
                </c:pt>
                <c:pt idx="12480">
                  <c:v>0.222578919208132</c:v>
                </c:pt>
                <c:pt idx="12481">
                  <c:v>0.22259675405742799</c:v>
                </c:pt>
                <c:pt idx="12482">
                  <c:v>0.222614588906723</c:v>
                </c:pt>
                <c:pt idx="12483">
                  <c:v>0.22263242375601899</c:v>
                </c:pt>
                <c:pt idx="12484">
                  <c:v>0.22265025860531401</c:v>
                </c:pt>
                <c:pt idx="12485">
                  <c:v>0.22266809345461</c:v>
                </c:pt>
                <c:pt idx="12486">
                  <c:v>0.22268592830390499</c:v>
                </c:pt>
                <c:pt idx="12487">
                  <c:v>0.22270376315320101</c:v>
                </c:pt>
                <c:pt idx="12488">
                  <c:v>0.222721598002496</c:v>
                </c:pt>
                <c:pt idx="12489">
                  <c:v>0.22273943285179201</c:v>
                </c:pt>
                <c:pt idx="12490">
                  <c:v>0.222757267701087</c:v>
                </c:pt>
                <c:pt idx="12491">
                  <c:v>0.22277510255038299</c:v>
                </c:pt>
                <c:pt idx="12492">
                  <c:v>0.22279293739967801</c:v>
                </c:pt>
                <c:pt idx="12493">
                  <c:v>0.222810772248974</c:v>
                </c:pt>
                <c:pt idx="12494">
                  <c:v>0.22282860709826999</c:v>
                </c:pt>
                <c:pt idx="12495">
                  <c:v>0.222846441947565</c:v>
                </c:pt>
                <c:pt idx="12496">
                  <c:v>0.22286427679686099</c:v>
                </c:pt>
                <c:pt idx="12497">
                  <c:v>0.22288211164615601</c:v>
                </c:pt>
                <c:pt idx="12498">
                  <c:v>0.222899946495452</c:v>
                </c:pt>
                <c:pt idx="12499">
                  <c:v>0.22291778134474699</c:v>
                </c:pt>
                <c:pt idx="12500">
                  <c:v>0.22293561619404301</c:v>
                </c:pt>
                <c:pt idx="12501">
                  <c:v>0.222953451043338</c:v>
                </c:pt>
                <c:pt idx="12502">
                  <c:v>0.22297128589263401</c:v>
                </c:pt>
                <c:pt idx="12503">
                  <c:v>0.222989120741929</c:v>
                </c:pt>
                <c:pt idx="12504">
                  <c:v>0.22300695559122499</c:v>
                </c:pt>
                <c:pt idx="12505">
                  <c:v>0.22302479044052001</c:v>
                </c:pt>
                <c:pt idx="12506">
                  <c:v>0.223042625289816</c:v>
                </c:pt>
                <c:pt idx="12507">
                  <c:v>0.22306046013911099</c:v>
                </c:pt>
                <c:pt idx="12508">
                  <c:v>0.22307829498840701</c:v>
                </c:pt>
                <c:pt idx="12509">
                  <c:v>0.223096129837702</c:v>
                </c:pt>
                <c:pt idx="12510">
                  <c:v>0.22311396468699801</c:v>
                </c:pt>
                <c:pt idx="12511">
                  <c:v>0.223131799536293</c:v>
                </c:pt>
                <c:pt idx="12512">
                  <c:v>0.22314963438558899</c:v>
                </c:pt>
                <c:pt idx="12513">
                  <c:v>0.22316746923488401</c:v>
                </c:pt>
                <c:pt idx="12514">
                  <c:v>0.22318530408418</c:v>
                </c:pt>
                <c:pt idx="12515">
                  <c:v>0.22320313893347599</c:v>
                </c:pt>
                <c:pt idx="12516">
                  <c:v>0.223220973782771</c:v>
                </c:pt>
                <c:pt idx="12517">
                  <c:v>0.22323880863206699</c:v>
                </c:pt>
                <c:pt idx="12518">
                  <c:v>0.22325664348136201</c:v>
                </c:pt>
                <c:pt idx="12519">
                  <c:v>0.223274478330658</c:v>
                </c:pt>
                <c:pt idx="12520">
                  <c:v>0.22329231317995299</c:v>
                </c:pt>
                <c:pt idx="12521">
                  <c:v>0.22331014802924901</c:v>
                </c:pt>
                <c:pt idx="12522">
                  <c:v>0.223327982878544</c:v>
                </c:pt>
                <c:pt idx="12523">
                  <c:v>0.22334581772784001</c:v>
                </c:pt>
                <c:pt idx="12524">
                  <c:v>0.223363652577135</c:v>
                </c:pt>
                <c:pt idx="12525">
                  <c:v>0.22338148742643099</c:v>
                </c:pt>
                <c:pt idx="12526">
                  <c:v>0.22339932227572601</c:v>
                </c:pt>
                <c:pt idx="12527">
                  <c:v>0.223417157125022</c:v>
                </c:pt>
                <c:pt idx="12528">
                  <c:v>0.22343499197431699</c:v>
                </c:pt>
                <c:pt idx="12529">
                  <c:v>0.223452826823613</c:v>
                </c:pt>
                <c:pt idx="12530">
                  <c:v>0.22347066167290799</c:v>
                </c:pt>
                <c:pt idx="12531">
                  <c:v>0.22348849652220401</c:v>
                </c:pt>
                <c:pt idx="12532">
                  <c:v>0.223506331371499</c:v>
                </c:pt>
                <c:pt idx="12533">
                  <c:v>0.22352416622079499</c:v>
                </c:pt>
                <c:pt idx="12534">
                  <c:v>0.22354200107009001</c:v>
                </c:pt>
                <c:pt idx="12535">
                  <c:v>0.223559835919386</c:v>
                </c:pt>
                <c:pt idx="12536">
                  <c:v>0.22357767076868201</c:v>
                </c:pt>
                <c:pt idx="12537">
                  <c:v>0.223595505617977</c:v>
                </c:pt>
                <c:pt idx="12538">
                  <c:v>0.22361334046727299</c:v>
                </c:pt>
                <c:pt idx="12539">
                  <c:v>0.22363117531656801</c:v>
                </c:pt>
                <c:pt idx="12540">
                  <c:v>0.223649010165864</c:v>
                </c:pt>
                <c:pt idx="12541">
                  <c:v>0.22366684501515899</c:v>
                </c:pt>
                <c:pt idx="12542">
                  <c:v>0.223684679864455</c:v>
                </c:pt>
                <c:pt idx="12543">
                  <c:v>0.22370251471374999</c:v>
                </c:pt>
                <c:pt idx="12544">
                  <c:v>0.22372034956304601</c:v>
                </c:pt>
                <c:pt idx="12545">
                  <c:v>0.223738184412341</c:v>
                </c:pt>
                <c:pt idx="12546">
                  <c:v>0.22375601926163699</c:v>
                </c:pt>
                <c:pt idx="12547">
                  <c:v>0.22377385411093201</c:v>
                </c:pt>
                <c:pt idx="12548">
                  <c:v>0.223791688960228</c:v>
                </c:pt>
                <c:pt idx="12549">
                  <c:v>0.22380952380952299</c:v>
                </c:pt>
                <c:pt idx="12550">
                  <c:v>0.223827358658819</c:v>
                </c:pt>
                <c:pt idx="12551">
                  <c:v>0.22384519350811399</c:v>
                </c:pt>
                <c:pt idx="12552">
                  <c:v>0.22386302835741001</c:v>
                </c:pt>
                <c:pt idx="12553">
                  <c:v>0.223880863206705</c:v>
                </c:pt>
                <c:pt idx="12554">
                  <c:v>0.22389869805600099</c:v>
                </c:pt>
                <c:pt idx="12555">
                  <c:v>0.22391653290529601</c:v>
                </c:pt>
                <c:pt idx="12556">
                  <c:v>0.223934367754592</c:v>
                </c:pt>
                <c:pt idx="12557">
                  <c:v>0.22395220260388701</c:v>
                </c:pt>
                <c:pt idx="12558">
                  <c:v>0.223970037453183</c:v>
                </c:pt>
                <c:pt idx="12559">
                  <c:v>0.22398787230247899</c:v>
                </c:pt>
                <c:pt idx="12560">
                  <c:v>0.22400570715177401</c:v>
                </c:pt>
                <c:pt idx="12561">
                  <c:v>0.22402354200107</c:v>
                </c:pt>
                <c:pt idx="12562">
                  <c:v>0.22404137685036499</c:v>
                </c:pt>
                <c:pt idx="12563">
                  <c:v>0.224059211699661</c:v>
                </c:pt>
                <c:pt idx="12564">
                  <c:v>0.22407704654895599</c:v>
                </c:pt>
                <c:pt idx="12565">
                  <c:v>0.22409488139825201</c:v>
                </c:pt>
                <c:pt idx="12566">
                  <c:v>0.224112716247547</c:v>
                </c:pt>
                <c:pt idx="12567">
                  <c:v>0.22413055109684299</c:v>
                </c:pt>
                <c:pt idx="12568">
                  <c:v>0.22414838594613801</c:v>
                </c:pt>
                <c:pt idx="12569">
                  <c:v>0.224166220795434</c:v>
                </c:pt>
                <c:pt idx="12570">
                  <c:v>0.22418405564472901</c:v>
                </c:pt>
                <c:pt idx="12571">
                  <c:v>0.224201890494025</c:v>
                </c:pt>
                <c:pt idx="12572">
                  <c:v>0.22421972534331999</c:v>
                </c:pt>
                <c:pt idx="12573">
                  <c:v>0.22423756019261601</c:v>
                </c:pt>
                <c:pt idx="12574">
                  <c:v>0.224255395041911</c:v>
                </c:pt>
                <c:pt idx="12575">
                  <c:v>0.22427322989120699</c:v>
                </c:pt>
                <c:pt idx="12576">
                  <c:v>0.22429106474050201</c:v>
                </c:pt>
                <c:pt idx="12577">
                  <c:v>0.22430889958979799</c:v>
                </c:pt>
                <c:pt idx="12578">
                  <c:v>0.22432673443909301</c:v>
                </c:pt>
                <c:pt idx="12579">
                  <c:v>0.224344569288389</c:v>
                </c:pt>
                <c:pt idx="12580">
                  <c:v>0.22436240413768499</c:v>
                </c:pt>
                <c:pt idx="12581">
                  <c:v>0.22438023898698001</c:v>
                </c:pt>
                <c:pt idx="12582">
                  <c:v>0.224398073836276</c:v>
                </c:pt>
                <c:pt idx="12583">
                  <c:v>0.22441590868557099</c:v>
                </c:pt>
                <c:pt idx="12584">
                  <c:v>0.224433743534867</c:v>
                </c:pt>
                <c:pt idx="12585">
                  <c:v>0.22445157838416199</c:v>
                </c:pt>
                <c:pt idx="12586">
                  <c:v>0.22446941323345801</c:v>
                </c:pt>
                <c:pt idx="12587">
                  <c:v>0.224487248082753</c:v>
                </c:pt>
                <c:pt idx="12588">
                  <c:v>0.22450508293204899</c:v>
                </c:pt>
                <c:pt idx="12589">
                  <c:v>0.22452291778134401</c:v>
                </c:pt>
                <c:pt idx="12590">
                  <c:v>0.22454075263063999</c:v>
                </c:pt>
                <c:pt idx="12591">
                  <c:v>0.22455858747993501</c:v>
                </c:pt>
                <c:pt idx="12592">
                  <c:v>0.224576422329231</c:v>
                </c:pt>
                <c:pt idx="12593">
                  <c:v>0.22459425717852599</c:v>
                </c:pt>
                <c:pt idx="12594">
                  <c:v>0.22461209202782201</c:v>
                </c:pt>
                <c:pt idx="12595">
                  <c:v>0.224629926877117</c:v>
                </c:pt>
                <c:pt idx="12596">
                  <c:v>0.22464776172641299</c:v>
                </c:pt>
                <c:pt idx="12597">
                  <c:v>0.224665596575708</c:v>
                </c:pt>
                <c:pt idx="12598">
                  <c:v>0.22468343142500399</c:v>
                </c:pt>
                <c:pt idx="12599">
                  <c:v>0.22470126627429901</c:v>
                </c:pt>
                <c:pt idx="12600">
                  <c:v>0.224719101123595</c:v>
                </c:pt>
                <c:pt idx="12601">
                  <c:v>0.22473693597289099</c:v>
                </c:pt>
                <c:pt idx="12602">
                  <c:v>0.22475477082218601</c:v>
                </c:pt>
                <c:pt idx="12603">
                  <c:v>0.224772605671482</c:v>
                </c:pt>
                <c:pt idx="12604">
                  <c:v>0.22479044052077701</c:v>
                </c:pt>
                <c:pt idx="12605">
                  <c:v>0.224808275370073</c:v>
                </c:pt>
                <c:pt idx="12606">
                  <c:v>0.22482611021936799</c:v>
                </c:pt>
                <c:pt idx="12607">
                  <c:v>0.22484394506866401</c:v>
                </c:pt>
                <c:pt idx="12608">
                  <c:v>0.224861779917959</c:v>
                </c:pt>
                <c:pt idx="12609">
                  <c:v>0.22487961476725499</c:v>
                </c:pt>
                <c:pt idx="12610">
                  <c:v>0.22489744961655</c:v>
                </c:pt>
                <c:pt idx="12611">
                  <c:v>0.22491528446584599</c:v>
                </c:pt>
                <c:pt idx="12612">
                  <c:v>0.22493311931514101</c:v>
                </c:pt>
                <c:pt idx="12613">
                  <c:v>0.224950954164437</c:v>
                </c:pt>
                <c:pt idx="12614">
                  <c:v>0.22496878901373199</c:v>
                </c:pt>
                <c:pt idx="12615">
                  <c:v>0.22498662386302801</c:v>
                </c:pt>
                <c:pt idx="12616">
                  <c:v>0.225004458712323</c:v>
                </c:pt>
                <c:pt idx="12617">
                  <c:v>0.22502229356161901</c:v>
                </c:pt>
                <c:pt idx="12618">
                  <c:v>0.225040128410914</c:v>
                </c:pt>
                <c:pt idx="12619">
                  <c:v>0.22505796326020999</c:v>
                </c:pt>
                <c:pt idx="12620">
                  <c:v>0.22507579810950501</c:v>
                </c:pt>
                <c:pt idx="12621">
                  <c:v>0.225093632958801</c:v>
                </c:pt>
                <c:pt idx="12622">
                  <c:v>0.22511146780809699</c:v>
                </c:pt>
                <c:pt idx="12623">
                  <c:v>0.22512930265739201</c:v>
                </c:pt>
                <c:pt idx="12624">
                  <c:v>0.22514713750668799</c:v>
                </c:pt>
                <c:pt idx="12625">
                  <c:v>0.22516497235598301</c:v>
                </c:pt>
                <c:pt idx="12626">
                  <c:v>0.225182807205279</c:v>
                </c:pt>
                <c:pt idx="12627">
                  <c:v>0.22520064205457399</c:v>
                </c:pt>
                <c:pt idx="12628">
                  <c:v>0.22521847690387001</c:v>
                </c:pt>
                <c:pt idx="12629">
                  <c:v>0.225236311753165</c:v>
                </c:pt>
                <c:pt idx="12630">
                  <c:v>0.22525414660246099</c:v>
                </c:pt>
                <c:pt idx="12631">
                  <c:v>0.225271981451756</c:v>
                </c:pt>
                <c:pt idx="12632">
                  <c:v>0.22528981630105199</c:v>
                </c:pt>
                <c:pt idx="12633">
                  <c:v>0.22530765115034701</c:v>
                </c:pt>
                <c:pt idx="12634">
                  <c:v>0.225325485999643</c:v>
                </c:pt>
                <c:pt idx="12635">
                  <c:v>0.22534332084893799</c:v>
                </c:pt>
                <c:pt idx="12636">
                  <c:v>0.22536115569823401</c:v>
                </c:pt>
                <c:pt idx="12637">
                  <c:v>0.225378990547529</c:v>
                </c:pt>
                <c:pt idx="12638">
                  <c:v>0.22539682539682501</c:v>
                </c:pt>
                <c:pt idx="12639">
                  <c:v>0.22541466024612</c:v>
                </c:pt>
                <c:pt idx="12640">
                  <c:v>0.22543249509541599</c:v>
                </c:pt>
                <c:pt idx="12641">
                  <c:v>0.22545032994471101</c:v>
                </c:pt>
                <c:pt idx="12642">
                  <c:v>0.225468164794007</c:v>
                </c:pt>
                <c:pt idx="12643">
                  <c:v>0.22548599964330299</c:v>
                </c:pt>
                <c:pt idx="12644">
                  <c:v>0.225503834492598</c:v>
                </c:pt>
                <c:pt idx="12645">
                  <c:v>0.22552166934189399</c:v>
                </c:pt>
                <c:pt idx="12646">
                  <c:v>0.22553950419118901</c:v>
                </c:pt>
                <c:pt idx="12647">
                  <c:v>0.225557339040485</c:v>
                </c:pt>
                <c:pt idx="12648">
                  <c:v>0.22557517388977999</c:v>
                </c:pt>
                <c:pt idx="12649">
                  <c:v>0.22559300873907601</c:v>
                </c:pt>
                <c:pt idx="12650">
                  <c:v>0.225610843588371</c:v>
                </c:pt>
                <c:pt idx="12651">
                  <c:v>0.22562867843766701</c:v>
                </c:pt>
                <c:pt idx="12652">
                  <c:v>0.225646513286962</c:v>
                </c:pt>
                <c:pt idx="12653">
                  <c:v>0.22566434813625799</c:v>
                </c:pt>
                <c:pt idx="12654">
                  <c:v>0.22568218298555301</c:v>
                </c:pt>
                <c:pt idx="12655">
                  <c:v>0.225700017834849</c:v>
                </c:pt>
                <c:pt idx="12656">
                  <c:v>0.22571785268414399</c:v>
                </c:pt>
                <c:pt idx="12657">
                  <c:v>0.22573568753344</c:v>
                </c:pt>
                <c:pt idx="12658">
                  <c:v>0.22575352238273499</c:v>
                </c:pt>
                <c:pt idx="12659">
                  <c:v>0.22577135723203101</c:v>
                </c:pt>
                <c:pt idx="12660">
                  <c:v>0.225789192081326</c:v>
                </c:pt>
                <c:pt idx="12661">
                  <c:v>0.22580702693062199</c:v>
                </c:pt>
                <c:pt idx="12662">
                  <c:v>0.22582486177991701</c:v>
                </c:pt>
                <c:pt idx="12663">
                  <c:v>0.225842696629213</c:v>
                </c:pt>
                <c:pt idx="12664">
                  <c:v>0.22586053147850901</c:v>
                </c:pt>
                <c:pt idx="12665">
                  <c:v>0.225878366327804</c:v>
                </c:pt>
                <c:pt idx="12666">
                  <c:v>0.22589620117709999</c:v>
                </c:pt>
                <c:pt idx="12667">
                  <c:v>0.22591403602639501</c:v>
                </c:pt>
                <c:pt idx="12668">
                  <c:v>0.225931870875691</c:v>
                </c:pt>
                <c:pt idx="12669">
                  <c:v>0.22594970572498599</c:v>
                </c:pt>
                <c:pt idx="12670">
                  <c:v>0.22596754057428201</c:v>
                </c:pt>
                <c:pt idx="12671">
                  <c:v>0.225985375423577</c:v>
                </c:pt>
                <c:pt idx="12672">
                  <c:v>0.22600321027287301</c:v>
                </c:pt>
                <c:pt idx="12673">
                  <c:v>0.226021045122168</c:v>
                </c:pt>
                <c:pt idx="12674">
                  <c:v>0.22603887997146399</c:v>
                </c:pt>
                <c:pt idx="12675">
                  <c:v>0.22605671482075901</c:v>
                </c:pt>
                <c:pt idx="12676">
                  <c:v>0.226074549670055</c:v>
                </c:pt>
                <c:pt idx="12677">
                  <c:v>0.22609238451934999</c:v>
                </c:pt>
                <c:pt idx="12678">
                  <c:v>0.226110219368646</c:v>
                </c:pt>
                <c:pt idx="12679">
                  <c:v>0.22612805421794099</c:v>
                </c:pt>
                <c:pt idx="12680">
                  <c:v>0.22614588906723701</c:v>
                </c:pt>
                <c:pt idx="12681">
                  <c:v>0.226163723916532</c:v>
                </c:pt>
                <c:pt idx="12682">
                  <c:v>0.22618155876582799</c:v>
                </c:pt>
                <c:pt idx="12683">
                  <c:v>0.22619939361512301</c:v>
                </c:pt>
                <c:pt idx="12684">
                  <c:v>0.226217228464419</c:v>
                </c:pt>
                <c:pt idx="12685">
                  <c:v>0.22623506331371501</c:v>
                </c:pt>
                <c:pt idx="12686">
                  <c:v>0.22625289816301</c:v>
                </c:pt>
                <c:pt idx="12687">
                  <c:v>0.22627073301230599</c:v>
                </c:pt>
                <c:pt idx="12688">
                  <c:v>0.22628856786160101</c:v>
                </c:pt>
                <c:pt idx="12689">
                  <c:v>0.226306402710897</c:v>
                </c:pt>
                <c:pt idx="12690">
                  <c:v>0.22632423756019199</c:v>
                </c:pt>
                <c:pt idx="12691">
                  <c:v>0.226342072409488</c:v>
                </c:pt>
                <c:pt idx="12692">
                  <c:v>0.22635990725878299</c:v>
                </c:pt>
                <c:pt idx="12693">
                  <c:v>0.22637774210807901</c:v>
                </c:pt>
                <c:pt idx="12694">
                  <c:v>0.226395576957374</c:v>
                </c:pt>
                <c:pt idx="12695">
                  <c:v>0.22641341180666999</c:v>
                </c:pt>
                <c:pt idx="12696">
                  <c:v>0.22643124665596501</c:v>
                </c:pt>
                <c:pt idx="12697">
                  <c:v>0.226449081505261</c:v>
                </c:pt>
                <c:pt idx="12698">
                  <c:v>0.22646691635455601</c:v>
                </c:pt>
                <c:pt idx="12699">
                  <c:v>0.226484751203852</c:v>
                </c:pt>
                <c:pt idx="12700">
                  <c:v>0.22650258605314699</c:v>
                </c:pt>
                <c:pt idx="12701">
                  <c:v>0.22652042090244301</c:v>
                </c:pt>
                <c:pt idx="12702">
                  <c:v>0.226538255751738</c:v>
                </c:pt>
                <c:pt idx="12703">
                  <c:v>0.22655609060103399</c:v>
                </c:pt>
                <c:pt idx="12704">
                  <c:v>0.22657392545032901</c:v>
                </c:pt>
                <c:pt idx="12705">
                  <c:v>0.22659176029962499</c:v>
                </c:pt>
                <c:pt idx="12706">
                  <c:v>0.22660959514892001</c:v>
                </c:pt>
                <c:pt idx="12707">
                  <c:v>0.226627429998216</c:v>
                </c:pt>
                <c:pt idx="12708">
                  <c:v>0.22664526484751199</c:v>
                </c:pt>
                <c:pt idx="12709">
                  <c:v>0.22666309969680701</c:v>
                </c:pt>
                <c:pt idx="12710">
                  <c:v>0.226680934546103</c:v>
                </c:pt>
                <c:pt idx="12711">
                  <c:v>0.22669876939539799</c:v>
                </c:pt>
                <c:pt idx="12712">
                  <c:v>0.226716604244694</c:v>
                </c:pt>
                <c:pt idx="12713">
                  <c:v>0.22673443909398899</c:v>
                </c:pt>
                <c:pt idx="12714">
                  <c:v>0.22675227394328501</c:v>
                </c:pt>
                <c:pt idx="12715">
                  <c:v>0.22677010879258</c:v>
                </c:pt>
                <c:pt idx="12716">
                  <c:v>0.22678794364187599</c:v>
                </c:pt>
                <c:pt idx="12717">
                  <c:v>0.22680577849117101</c:v>
                </c:pt>
                <c:pt idx="12718">
                  <c:v>0.226823613340467</c:v>
                </c:pt>
                <c:pt idx="12719">
                  <c:v>0.22684144818976201</c:v>
                </c:pt>
                <c:pt idx="12720">
                  <c:v>0.226859283039058</c:v>
                </c:pt>
                <c:pt idx="12721">
                  <c:v>0.22687711788835299</c:v>
                </c:pt>
                <c:pt idx="12722">
                  <c:v>0.22689495273764901</c:v>
                </c:pt>
                <c:pt idx="12723">
                  <c:v>0.226912787586944</c:v>
                </c:pt>
                <c:pt idx="12724">
                  <c:v>0.22693062243623999</c:v>
                </c:pt>
                <c:pt idx="12725">
                  <c:v>0.226948457285535</c:v>
                </c:pt>
                <c:pt idx="12726">
                  <c:v>0.22696629213483099</c:v>
                </c:pt>
                <c:pt idx="12727">
                  <c:v>0.22698412698412601</c:v>
                </c:pt>
                <c:pt idx="12728">
                  <c:v>0.227001961833422</c:v>
                </c:pt>
                <c:pt idx="12729">
                  <c:v>0.22701979668271799</c:v>
                </c:pt>
                <c:pt idx="12730">
                  <c:v>0.22703763153201301</c:v>
                </c:pt>
                <c:pt idx="12731">
                  <c:v>0.227055466381309</c:v>
                </c:pt>
                <c:pt idx="12732">
                  <c:v>0.22707330123060401</c:v>
                </c:pt>
                <c:pt idx="12733">
                  <c:v>0.2270911360799</c:v>
                </c:pt>
                <c:pt idx="12734">
                  <c:v>0.22710897092919499</c:v>
                </c:pt>
                <c:pt idx="12735">
                  <c:v>0.22712680577849101</c:v>
                </c:pt>
                <c:pt idx="12736">
                  <c:v>0.227144640627786</c:v>
                </c:pt>
                <c:pt idx="12737">
                  <c:v>0.22716247547708199</c:v>
                </c:pt>
                <c:pt idx="12738">
                  <c:v>0.22718031032637701</c:v>
                </c:pt>
                <c:pt idx="12739">
                  <c:v>0.22719814517567299</c:v>
                </c:pt>
                <c:pt idx="12740">
                  <c:v>0.22721598002496801</c:v>
                </c:pt>
                <c:pt idx="12741">
                  <c:v>0.227233814874264</c:v>
                </c:pt>
                <c:pt idx="12742">
                  <c:v>0.22725164972355899</c:v>
                </c:pt>
                <c:pt idx="12743">
                  <c:v>0.22726948457285501</c:v>
                </c:pt>
                <c:pt idx="12744">
                  <c:v>0.22728731942215</c:v>
                </c:pt>
                <c:pt idx="12745">
                  <c:v>0.22730515427144601</c:v>
                </c:pt>
                <c:pt idx="12746">
                  <c:v>0.227322989120741</c:v>
                </c:pt>
                <c:pt idx="12747">
                  <c:v>0.22734082397003699</c:v>
                </c:pt>
                <c:pt idx="12748">
                  <c:v>0.22735865881933201</c:v>
                </c:pt>
                <c:pt idx="12749">
                  <c:v>0.227376493668628</c:v>
                </c:pt>
                <c:pt idx="12750">
                  <c:v>0.22739432851792399</c:v>
                </c:pt>
                <c:pt idx="12751">
                  <c:v>0.22741216336721901</c:v>
                </c:pt>
                <c:pt idx="12752">
                  <c:v>0.22742999821651499</c:v>
                </c:pt>
                <c:pt idx="12753">
                  <c:v>0.22744783306581001</c:v>
                </c:pt>
                <c:pt idx="12754">
                  <c:v>0.227465667915106</c:v>
                </c:pt>
                <c:pt idx="12755">
                  <c:v>0.22748350276440099</c:v>
                </c:pt>
                <c:pt idx="12756">
                  <c:v>0.22750133761369701</c:v>
                </c:pt>
                <c:pt idx="12757">
                  <c:v>0.227519172462992</c:v>
                </c:pt>
                <c:pt idx="12758">
                  <c:v>0.22753700731228799</c:v>
                </c:pt>
                <c:pt idx="12759">
                  <c:v>0.227554842161583</c:v>
                </c:pt>
                <c:pt idx="12760">
                  <c:v>0.22757267701087899</c:v>
                </c:pt>
                <c:pt idx="12761">
                  <c:v>0.22759051186017401</c:v>
                </c:pt>
                <c:pt idx="12762">
                  <c:v>0.22760834670947</c:v>
                </c:pt>
                <c:pt idx="12763">
                  <c:v>0.22762618155876499</c:v>
                </c:pt>
                <c:pt idx="12764">
                  <c:v>0.22764401640806101</c:v>
                </c:pt>
                <c:pt idx="12765">
                  <c:v>0.227661851257356</c:v>
                </c:pt>
                <c:pt idx="12766">
                  <c:v>0.22767968610665201</c:v>
                </c:pt>
                <c:pt idx="12767">
                  <c:v>0.227697520955947</c:v>
                </c:pt>
                <c:pt idx="12768">
                  <c:v>0.22771535580524299</c:v>
                </c:pt>
                <c:pt idx="12769">
                  <c:v>0.22773319065453801</c:v>
                </c:pt>
                <c:pt idx="12770">
                  <c:v>0.227751025503834</c:v>
                </c:pt>
                <c:pt idx="12771">
                  <c:v>0.22776886035312999</c:v>
                </c:pt>
                <c:pt idx="12772">
                  <c:v>0.227786695202425</c:v>
                </c:pt>
                <c:pt idx="12773">
                  <c:v>0.22780453005172099</c:v>
                </c:pt>
                <c:pt idx="12774">
                  <c:v>0.22782236490101601</c:v>
                </c:pt>
                <c:pt idx="12775">
                  <c:v>0.227840199750312</c:v>
                </c:pt>
                <c:pt idx="12776">
                  <c:v>0.22785803459960699</c:v>
                </c:pt>
                <c:pt idx="12777">
                  <c:v>0.22787586944890301</c:v>
                </c:pt>
                <c:pt idx="12778">
                  <c:v>0.227893704298198</c:v>
                </c:pt>
                <c:pt idx="12779">
                  <c:v>0.22791153914749401</c:v>
                </c:pt>
                <c:pt idx="12780">
                  <c:v>0.227929373996789</c:v>
                </c:pt>
                <c:pt idx="12781">
                  <c:v>0.22794720884608499</c:v>
                </c:pt>
                <c:pt idx="12782">
                  <c:v>0.22796504369538001</c:v>
                </c:pt>
                <c:pt idx="12783">
                  <c:v>0.227982878544676</c:v>
                </c:pt>
                <c:pt idx="12784">
                  <c:v>0.22800071339397099</c:v>
                </c:pt>
                <c:pt idx="12785">
                  <c:v>0.22801854824326701</c:v>
                </c:pt>
                <c:pt idx="12786">
                  <c:v>0.228036383092562</c:v>
                </c:pt>
                <c:pt idx="12787">
                  <c:v>0.22805421794185801</c:v>
                </c:pt>
                <c:pt idx="12788">
                  <c:v>0.228072052791153</c:v>
                </c:pt>
                <c:pt idx="12789">
                  <c:v>0.22808988764044899</c:v>
                </c:pt>
                <c:pt idx="12790">
                  <c:v>0.22810772248974401</c:v>
                </c:pt>
                <c:pt idx="12791">
                  <c:v>0.22812555733904</c:v>
                </c:pt>
                <c:pt idx="12792">
                  <c:v>0.22814339218833601</c:v>
                </c:pt>
                <c:pt idx="12793">
                  <c:v>0.228161227037631</c:v>
                </c:pt>
                <c:pt idx="12794">
                  <c:v>0.22817906188692699</c:v>
                </c:pt>
                <c:pt idx="12795">
                  <c:v>0.22819689673622201</c:v>
                </c:pt>
                <c:pt idx="12796">
                  <c:v>0.228214731585518</c:v>
                </c:pt>
                <c:pt idx="12797">
                  <c:v>0.22823256643481299</c:v>
                </c:pt>
                <c:pt idx="12798">
                  <c:v>0.22825040128410901</c:v>
                </c:pt>
                <c:pt idx="12799">
                  <c:v>0.228268236133404</c:v>
                </c:pt>
                <c:pt idx="12800">
                  <c:v>0.22828607098270001</c:v>
                </c:pt>
                <c:pt idx="12801">
                  <c:v>0.228303905831995</c:v>
                </c:pt>
                <c:pt idx="12802">
                  <c:v>0.22832174068129099</c:v>
                </c:pt>
                <c:pt idx="12803">
                  <c:v>0.22833957553058601</c:v>
                </c:pt>
                <c:pt idx="12804">
                  <c:v>0.228357410379882</c:v>
                </c:pt>
                <c:pt idx="12805">
                  <c:v>0.22837524522917699</c:v>
                </c:pt>
                <c:pt idx="12806">
                  <c:v>0.228393080078473</c:v>
                </c:pt>
                <c:pt idx="12807">
                  <c:v>0.22841091492776799</c:v>
                </c:pt>
                <c:pt idx="12808">
                  <c:v>0.22842874977706401</c:v>
                </c:pt>
                <c:pt idx="12809">
                  <c:v>0.228446584626359</c:v>
                </c:pt>
                <c:pt idx="12810">
                  <c:v>0.22846441947565499</c:v>
                </c:pt>
                <c:pt idx="12811">
                  <c:v>0.22848225432495001</c:v>
                </c:pt>
                <c:pt idx="12812">
                  <c:v>0.228500089174246</c:v>
                </c:pt>
                <c:pt idx="12813">
                  <c:v>0.22851792402354201</c:v>
                </c:pt>
                <c:pt idx="12814">
                  <c:v>0.228535758872837</c:v>
                </c:pt>
                <c:pt idx="12815">
                  <c:v>0.22855359372213299</c:v>
                </c:pt>
                <c:pt idx="12816">
                  <c:v>0.22857142857142801</c:v>
                </c:pt>
                <c:pt idx="12817">
                  <c:v>0.228589263420724</c:v>
                </c:pt>
                <c:pt idx="12818">
                  <c:v>0.22860709827001899</c:v>
                </c:pt>
                <c:pt idx="12819">
                  <c:v>0.228624933119315</c:v>
                </c:pt>
                <c:pt idx="12820">
                  <c:v>0.22864276796860999</c:v>
                </c:pt>
                <c:pt idx="12821">
                  <c:v>0.22866060281790601</c:v>
                </c:pt>
                <c:pt idx="12822">
                  <c:v>0.228678437667201</c:v>
                </c:pt>
                <c:pt idx="12823">
                  <c:v>0.22869627251649699</c:v>
                </c:pt>
                <c:pt idx="12824">
                  <c:v>0.22871410736579201</c:v>
                </c:pt>
                <c:pt idx="12825">
                  <c:v>0.228731942215088</c:v>
                </c:pt>
                <c:pt idx="12826">
                  <c:v>0.22874977706438299</c:v>
                </c:pt>
                <c:pt idx="12827">
                  <c:v>0.228767611913679</c:v>
                </c:pt>
                <c:pt idx="12828">
                  <c:v>0.22878544676297399</c:v>
                </c:pt>
                <c:pt idx="12829">
                  <c:v>0.22880328161227001</c:v>
                </c:pt>
                <c:pt idx="12830">
                  <c:v>0.228821116461565</c:v>
                </c:pt>
                <c:pt idx="12831">
                  <c:v>0.22883895131086099</c:v>
                </c:pt>
                <c:pt idx="12832">
                  <c:v>0.22885678616015601</c:v>
                </c:pt>
                <c:pt idx="12833">
                  <c:v>0.228874621009452</c:v>
                </c:pt>
                <c:pt idx="12834">
                  <c:v>0.22889245585874701</c:v>
                </c:pt>
                <c:pt idx="12835">
                  <c:v>0.228910290708043</c:v>
                </c:pt>
                <c:pt idx="12836">
                  <c:v>0.22892812555733899</c:v>
                </c:pt>
                <c:pt idx="12837">
                  <c:v>0.22894596040663401</c:v>
                </c:pt>
                <c:pt idx="12838">
                  <c:v>0.22896379525593</c:v>
                </c:pt>
                <c:pt idx="12839">
                  <c:v>0.22898163010522499</c:v>
                </c:pt>
                <c:pt idx="12840">
                  <c:v>0.228999464954521</c:v>
                </c:pt>
                <c:pt idx="12841">
                  <c:v>0.22901729980381599</c:v>
                </c:pt>
                <c:pt idx="12842">
                  <c:v>0.22903513465311201</c:v>
                </c:pt>
                <c:pt idx="12843">
                  <c:v>0.229052969502407</c:v>
                </c:pt>
                <c:pt idx="12844">
                  <c:v>0.22907080435170299</c:v>
                </c:pt>
                <c:pt idx="12845">
                  <c:v>0.22908863920099801</c:v>
                </c:pt>
                <c:pt idx="12846">
                  <c:v>0.229106474050294</c:v>
                </c:pt>
                <c:pt idx="12847">
                  <c:v>0.22912430889958901</c:v>
                </c:pt>
                <c:pt idx="12848">
                  <c:v>0.229142143748885</c:v>
                </c:pt>
                <c:pt idx="12849">
                  <c:v>0.22915997859817999</c:v>
                </c:pt>
                <c:pt idx="12850">
                  <c:v>0.22917781344747601</c:v>
                </c:pt>
                <c:pt idx="12851">
                  <c:v>0.229195648296771</c:v>
                </c:pt>
                <c:pt idx="12852">
                  <c:v>0.22921348314606699</c:v>
                </c:pt>
                <c:pt idx="12853">
                  <c:v>0.22923131799536201</c:v>
                </c:pt>
                <c:pt idx="12854">
                  <c:v>0.22924915284465799</c:v>
                </c:pt>
                <c:pt idx="12855">
                  <c:v>0.22926698769395301</c:v>
                </c:pt>
                <c:pt idx="12856">
                  <c:v>0.229284822543249</c:v>
                </c:pt>
                <c:pt idx="12857">
                  <c:v>0.22930265739254499</c:v>
                </c:pt>
                <c:pt idx="12858">
                  <c:v>0.22932049224184001</c:v>
                </c:pt>
                <c:pt idx="12859">
                  <c:v>0.229338327091136</c:v>
                </c:pt>
                <c:pt idx="12860">
                  <c:v>0.22935616194043101</c:v>
                </c:pt>
                <c:pt idx="12861">
                  <c:v>0.229373996789727</c:v>
                </c:pt>
                <c:pt idx="12862">
                  <c:v>0.22939183163902199</c:v>
                </c:pt>
                <c:pt idx="12863">
                  <c:v>0.22940966648831801</c:v>
                </c:pt>
                <c:pt idx="12864">
                  <c:v>0.229427501337613</c:v>
                </c:pt>
                <c:pt idx="12865">
                  <c:v>0.22944533618690899</c:v>
                </c:pt>
                <c:pt idx="12866">
                  <c:v>0.22946317103620401</c:v>
                </c:pt>
                <c:pt idx="12867">
                  <c:v>0.22948100588549999</c:v>
                </c:pt>
                <c:pt idx="12868">
                  <c:v>0.22949884073479501</c:v>
                </c:pt>
                <c:pt idx="12869">
                  <c:v>0.229516675584091</c:v>
                </c:pt>
                <c:pt idx="12870">
                  <c:v>0.22953451043338599</c:v>
                </c:pt>
                <c:pt idx="12871">
                  <c:v>0.22955234528268201</c:v>
                </c:pt>
                <c:pt idx="12872">
                  <c:v>0.229570180131977</c:v>
                </c:pt>
                <c:pt idx="12873">
                  <c:v>0.22958801498127299</c:v>
                </c:pt>
                <c:pt idx="12874">
                  <c:v>0.229605849830568</c:v>
                </c:pt>
                <c:pt idx="12875">
                  <c:v>0.22962368467986399</c:v>
                </c:pt>
                <c:pt idx="12876">
                  <c:v>0.22964151952915901</c:v>
                </c:pt>
                <c:pt idx="12877">
                  <c:v>0.229659354378455</c:v>
                </c:pt>
                <c:pt idx="12878">
                  <c:v>0.22967718922775099</c:v>
                </c:pt>
                <c:pt idx="12879">
                  <c:v>0.22969502407704601</c:v>
                </c:pt>
                <c:pt idx="12880">
                  <c:v>0.229712858926342</c:v>
                </c:pt>
                <c:pt idx="12881">
                  <c:v>0.22973069377563701</c:v>
                </c:pt>
                <c:pt idx="12882">
                  <c:v>0.229748528624933</c:v>
                </c:pt>
                <c:pt idx="12883">
                  <c:v>0.22976636347422799</c:v>
                </c:pt>
                <c:pt idx="12884">
                  <c:v>0.22978419832352401</c:v>
                </c:pt>
                <c:pt idx="12885">
                  <c:v>0.229802033172819</c:v>
                </c:pt>
                <c:pt idx="12886">
                  <c:v>0.22981986802211499</c:v>
                </c:pt>
                <c:pt idx="12887">
                  <c:v>0.22983770287141</c:v>
                </c:pt>
                <c:pt idx="12888">
                  <c:v>0.22985553772070599</c:v>
                </c:pt>
                <c:pt idx="12889">
                  <c:v>0.22987337257000101</c:v>
                </c:pt>
                <c:pt idx="12890">
                  <c:v>0.229891207419297</c:v>
                </c:pt>
                <c:pt idx="12891">
                  <c:v>0.22990904226859199</c:v>
                </c:pt>
                <c:pt idx="12892">
                  <c:v>0.22992687711788801</c:v>
                </c:pt>
                <c:pt idx="12893">
                  <c:v>0.229944711967183</c:v>
                </c:pt>
                <c:pt idx="12894">
                  <c:v>0.22996254681647901</c:v>
                </c:pt>
                <c:pt idx="12895">
                  <c:v>0.229980381665774</c:v>
                </c:pt>
                <c:pt idx="12896">
                  <c:v>0.22999821651506999</c:v>
                </c:pt>
                <c:pt idx="12897">
                  <c:v>0.23001605136436501</c:v>
                </c:pt>
                <c:pt idx="12898">
                  <c:v>0.230033886213661</c:v>
                </c:pt>
                <c:pt idx="12899">
                  <c:v>0.23005172106295699</c:v>
                </c:pt>
                <c:pt idx="12900">
                  <c:v>0.23006955591225201</c:v>
                </c:pt>
                <c:pt idx="12901">
                  <c:v>0.23008739076154799</c:v>
                </c:pt>
                <c:pt idx="12902">
                  <c:v>0.23010522561084301</c:v>
                </c:pt>
                <c:pt idx="12903">
                  <c:v>0.230123060460139</c:v>
                </c:pt>
                <c:pt idx="12904">
                  <c:v>0.23014089530943399</c:v>
                </c:pt>
                <c:pt idx="12905">
                  <c:v>0.23015873015873001</c:v>
                </c:pt>
                <c:pt idx="12906">
                  <c:v>0.230176565008025</c:v>
                </c:pt>
                <c:pt idx="12907">
                  <c:v>0.23019439985732101</c:v>
                </c:pt>
                <c:pt idx="12908">
                  <c:v>0.230212234706616</c:v>
                </c:pt>
                <c:pt idx="12909">
                  <c:v>0.23023006955591199</c:v>
                </c:pt>
                <c:pt idx="12910">
                  <c:v>0.23024790440520701</c:v>
                </c:pt>
                <c:pt idx="12911">
                  <c:v>0.230265739254503</c:v>
                </c:pt>
                <c:pt idx="12912">
                  <c:v>0.23028357410379799</c:v>
                </c:pt>
                <c:pt idx="12913">
                  <c:v>0.23030140895309401</c:v>
                </c:pt>
                <c:pt idx="12914">
                  <c:v>0.230319243802389</c:v>
                </c:pt>
                <c:pt idx="12915">
                  <c:v>0.23033707865168501</c:v>
                </c:pt>
                <c:pt idx="12916">
                  <c:v>0.23035491350098</c:v>
                </c:pt>
                <c:pt idx="12917">
                  <c:v>0.23037274835027599</c:v>
                </c:pt>
                <c:pt idx="12918">
                  <c:v>0.23039058319957101</c:v>
                </c:pt>
                <c:pt idx="12919">
                  <c:v>0.230408418048867</c:v>
                </c:pt>
                <c:pt idx="12920">
                  <c:v>0.23042625289816299</c:v>
                </c:pt>
                <c:pt idx="12921">
                  <c:v>0.230444087747458</c:v>
                </c:pt>
                <c:pt idx="12922">
                  <c:v>0.23046192259675399</c:v>
                </c:pt>
                <c:pt idx="12923">
                  <c:v>0.23047975744604901</c:v>
                </c:pt>
                <c:pt idx="12924">
                  <c:v>0.230497592295345</c:v>
                </c:pt>
                <c:pt idx="12925">
                  <c:v>0.23051542714463999</c:v>
                </c:pt>
                <c:pt idx="12926">
                  <c:v>0.23053326199393601</c:v>
                </c:pt>
                <c:pt idx="12927">
                  <c:v>0.230551096843231</c:v>
                </c:pt>
                <c:pt idx="12928">
                  <c:v>0.23056893169252701</c:v>
                </c:pt>
                <c:pt idx="12929">
                  <c:v>0.230586766541822</c:v>
                </c:pt>
                <c:pt idx="12930">
                  <c:v>0.23060460139111799</c:v>
                </c:pt>
                <c:pt idx="12931">
                  <c:v>0.23062243624041301</c:v>
                </c:pt>
                <c:pt idx="12932">
                  <c:v>0.230640271089709</c:v>
                </c:pt>
                <c:pt idx="12933">
                  <c:v>0.23065810593900399</c:v>
                </c:pt>
                <c:pt idx="12934">
                  <c:v>0.2306759407883</c:v>
                </c:pt>
                <c:pt idx="12935">
                  <c:v>0.23069377563759499</c:v>
                </c:pt>
                <c:pt idx="12936">
                  <c:v>0.23071161048689101</c:v>
                </c:pt>
                <c:pt idx="12937">
                  <c:v>0.230729445336186</c:v>
                </c:pt>
                <c:pt idx="12938">
                  <c:v>0.23074728018548199</c:v>
                </c:pt>
                <c:pt idx="12939">
                  <c:v>0.23076511503477701</c:v>
                </c:pt>
                <c:pt idx="12940">
                  <c:v>0.230782949884073</c:v>
                </c:pt>
                <c:pt idx="12941">
                  <c:v>0.23080078473336901</c:v>
                </c:pt>
                <c:pt idx="12942">
                  <c:v>0.230818619582664</c:v>
                </c:pt>
                <c:pt idx="12943">
                  <c:v>0.23083645443195999</c:v>
                </c:pt>
                <c:pt idx="12944">
                  <c:v>0.23085428928125501</c:v>
                </c:pt>
                <c:pt idx="12945">
                  <c:v>0.230872124130551</c:v>
                </c:pt>
                <c:pt idx="12946">
                  <c:v>0.23088995897984599</c:v>
                </c:pt>
                <c:pt idx="12947">
                  <c:v>0.23090779382914201</c:v>
                </c:pt>
                <c:pt idx="12948">
                  <c:v>0.23092562867843699</c:v>
                </c:pt>
                <c:pt idx="12949">
                  <c:v>0.23094346352773301</c:v>
                </c:pt>
                <c:pt idx="12950">
                  <c:v>0.230961298377028</c:v>
                </c:pt>
                <c:pt idx="12951">
                  <c:v>0.23097913322632399</c:v>
                </c:pt>
                <c:pt idx="12952">
                  <c:v>0.23099696807561901</c:v>
                </c:pt>
                <c:pt idx="12953">
                  <c:v>0.231014802924915</c:v>
                </c:pt>
                <c:pt idx="12954">
                  <c:v>0.23103263777420999</c:v>
                </c:pt>
                <c:pt idx="12955">
                  <c:v>0.231050472623506</c:v>
                </c:pt>
                <c:pt idx="12956">
                  <c:v>0.23106830747280099</c:v>
                </c:pt>
                <c:pt idx="12957">
                  <c:v>0.23108614232209701</c:v>
                </c:pt>
                <c:pt idx="12958">
                  <c:v>0.231103977171392</c:v>
                </c:pt>
                <c:pt idx="12959">
                  <c:v>0.23112181202068799</c:v>
                </c:pt>
                <c:pt idx="12960">
                  <c:v>0.23113964686998301</c:v>
                </c:pt>
                <c:pt idx="12961">
                  <c:v>0.231157481719279</c:v>
                </c:pt>
                <c:pt idx="12962">
                  <c:v>0.23117531656857401</c:v>
                </c:pt>
                <c:pt idx="12963">
                  <c:v>0.23119315141787</c:v>
                </c:pt>
                <c:pt idx="12964">
                  <c:v>0.23121098626716599</c:v>
                </c:pt>
                <c:pt idx="12965">
                  <c:v>0.23122882111646101</c:v>
                </c:pt>
                <c:pt idx="12966">
                  <c:v>0.231246655965757</c:v>
                </c:pt>
                <c:pt idx="12967">
                  <c:v>0.23126449081505199</c:v>
                </c:pt>
                <c:pt idx="12968">
                  <c:v>0.231282325664348</c:v>
                </c:pt>
                <c:pt idx="12969">
                  <c:v>0.23130016051364299</c:v>
                </c:pt>
                <c:pt idx="12970">
                  <c:v>0.23131799536293901</c:v>
                </c:pt>
                <c:pt idx="12971">
                  <c:v>0.231335830212234</c:v>
                </c:pt>
                <c:pt idx="12972">
                  <c:v>0.23135366506152999</c:v>
                </c:pt>
                <c:pt idx="12973">
                  <c:v>0.23137149991082501</c:v>
                </c:pt>
                <c:pt idx="12974">
                  <c:v>0.231389334760121</c:v>
                </c:pt>
                <c:pt idx="12975">
                  <c:v>0.23140716960941601</c:v>
                </c:pt>
                <c:pt idx="12976">
                  <c:v>0.231425004458712</c:v>
                </c:pt>
                <c:pt idx="12977">
                  <c:v>0.23144283930800699</c:v>
                </c:pt>
                <c:pt idx="12978">
                  <c:v>0.23146067415730301</c:v>
                </c:pt>
                <c:pt idx="12979">
                  <c:v>0.231478509006598</c:v>
                </c:pt>
                <c:pt idx="12980">
                  <c:v>0.23149634385589399</c:v>
                </c:pt>
                <c:pt idx="12981">
                  <c:v>0.23151417870518901</c:v>
                </c:pt>
                <c:pt idx="12982">
                  <c:v>0.23153201355448499</c:v>
                </c:pt>
                <c:pt idx="12983">
                  <c:v>0.23154984840378001</c:v>
                </c:pt>
                <c:pt idx="12984">
                  <c:v>0.231567683253076</c:v>
                </c:pt>
                <c:pt idx="12985">
                  <c:v>0.23158551810237199</c:v>
                </c:pt>
                <c:pt idx="12986">
                  <c:v>0.23160335295166701</c:v>
                </c:pt>
                <c:pt idx="12987">
                  <c:v>0.231621187800963</c:v>
                </c:pt>
                <c:pt idx="12988">
                  <c:v>0.23163902265025799</c:v>
                </c:pt>
                <c:pt idx="12989">
                  <c:v>0.231656857499554</c:v>
                </c:pt>
                <c:pt idx="12990">
                  <c:v>0.23167469234884899</c:v>
                </c:pt>
                <c:pt idx="12991">
                  <c:v>0.23169252719814501</c:v>
                </c:pt>
                <c:pt idx="12992">
                  <c:v>0.23171036204744</c:v>
                </c:pt>
                <c:pt idx="12993">
                  <c:v>0.23172819689673599</c:v>
                </c:pt>
                <c:pt idx="12994">
                  <c:v>0.23174603174603101</c:v>
                </c:pt>
                <c:pt idx="12995">
                  <c:v>0.23176386659532699</c:v>
                </c:pt>
                <c:pt idx="12996">
                  <c:v>0.23178170144462201</c:v>
                </c:pt>
                <c:pt idx="12997">
                  <c:v>0.231799536293918</c:v>
                </c:pt>
                <c:pt idx="12998">
                  <c:v>0.23181737114321299</c:v>
                </c:pt>
                <c:pt idx="12999">
                  <c:v>0.23183520599250901</c:v>
                </c:pt>
                <c:pt idx="13000">
                  <c:v>0.231853040841804</c:v>
                </c:pt>
                <c:pt idx="13001">
                  <c:v>0.23187087569109999</c:v>
                </c:pt>
                <c:pt idx="13002">
                  <c:v>0.231888710540395</c:v>
                </c:pt>
                <c:pt idx="13003">
                  <c:v>0.23190654538969099</c:v>
                </c:pt>
                <c:pt idx="13004">
                  <c:v>0.23192438023898601</c:v>
                </c:pt>
                <c:pt idx="13005">
                  <c:v>0.231942215088282</c:v>
                </c:pt>
                <c:pt idx="13006">
                  <c:v>0.23196004993757799</c:v>
                </c:pt>
                <c:pt idx="13007">
                  <c:v>0.23197788478687301</c:v>
                </c:pt>
                <c:pt idx="13008">
                  <c:v>0.231995719636169</c:v>
                </c:pt>
                <c:pt idx="13009">
                  <c:v>0.23201355448546401</c:v>
                </c:pt>
                <c:pt idx="13010">
                  <c:v>0.23203138933476</c:v>
                </c:pt>
                <c:pt idx="13011">
                  <c:v>0.23204922418405499</c:v>
                </c:pt>
                <c:pt idx="13012">
                  <c:v>0.23206705903335101</c:v>
                </c:pt>
                <c:pt idx="13013">
                  <c:v>0.232084893882646</c:v>
                </c:pt>
                <c:pt idx="13014">
                  <c:v>0.23210272873194199</c:v>
                </c:pt>
                <c:pt idx="13015">
                  <c:v>0.232120563581237</c:v>
                </c:pt>
                <c:pt idx="13016">
                  <c:v>0.23213839843053299</c:v>
                </c:pt>
                <c:pt idx="13017">
                  <c:v>0.23215623327982801</c:v>
                </c:pt>
                <c:pt idx="13018">
                  <c:v>0.232174068129124</c:v>
                </c:pt>
                <c:pt idx="13019">
                  <c:v>0.23219190297841899</c:v>
                </c:pt>
                <c:pt idx="13020">
                  <c:v>0.23220973782771501</c:v>
                </c:pt>
                <c:pt idx="13021">
                  <c:v>0.23222757267701</c:v>
                </c:pt>
                <c:pt idx="13022">
                  <c:v>0.23224540752630601</c:v>
                </c:pt>
                <c:pt idx="13023">
                  <c:v>0.232263242375601</c:v>
                </c:pt>
                <c:pt idx="13024">
                  <c:v>0.23228107722489699</c:v>
                </c:pt>
                <c:pt idx="13025">
                  <c:v>0.23229891207419201</c:v>
                </c:pt>
                <c:pt idx="13026">
                  <c:v>0.232316746923488</c:v>
                </c:pt>
                <c:pt idx="13027">
                  <c:v>0.23233458177278399</c:v>
                </c:pt>
                <c:pt idx="13028">
                  <c:v>0.23235241662207901</c:v>
                </c:pt>
                <c:pt idx="13029">
                  <c:v>0.23237025147137499</c:v>
                </c:pt>
                <c:pt idx="13030">
                  <c:v>0.23238808632067001</c:v>
                </c:pt>
                <c:pt idx="13031">
                  <c:v>0.232405921169966</c:v>
                </c:pt>
                <c:pt idx="13032">
                  <c:v>0.23242375601926099</c:v>
                </c:pt>
                <c:pt idx="13033">
                  <c:v>0.23244159086855701</c:v>
                </c:pt>
                <c:pt idx="13034">
                  <c:v>0.232459425717852</c:v>
                </c:pt>
                <c:pt idx="13035">
                  <c:v>0.23247726056714799</c:v>
                </c:pt>
                <c:pt idx="13036">
                  <c:v>0.232495095416443</c:v>
                </c:pt>
                <c:pt idx="13037">
                  <c:v>0.23251293026573899</c:v>
                </c:pt>
                <c:pt idx="13038">
                  <c:v>0.23253076511503401</c:v>
                </c:pt>
                <c:pt idx="13039">
                  <c:v>0.23254859996433</c:v>
                </c:pt>
                <c:pt idx="13040">
                  <c:v>0.23256643481362499</c:v>
                </c:pt>
                <c:pt idx="13041">
                  <c:v>0.23258426966292101</c:v>
                </c:pt>
                <c:pt idx="13042">
                  <c:v>0.232602104512216</c:v>
                </c:pt>
                <c:pt idx="13043">
                  <c:v>0.23261993936151201</c:v>
                </c:pt>
                <c:pt idx="13044">
                  <c:v>0.232637774210807</c:v>
                </c:pt>
                <c:pt idx="13045">
                  <c:v>0.23265560906010299</c:v>
                </c:pt>
                <c:pt idx="13046">
                  <c:v>0.23267344390939801</c:v>
                </c:pt>
                <c:pt idx="13047">
                  <c:v>0.232691278758694</c:v>
                </c:pt>
                <c:pt idx="13048">
                  <c:v>0.23270911360798999</c:v>
                </c:pt>
                <c:pt idx="13049">
                  <c:v>0.232726948457285</c:v>
                </c:pt>
                <c:pt idx="13050">
                  <c:v>0.23274478330658099</c:v>
                </c:pt>
                <c:pt idx="13051">
                  <c:v>0.23276261815587601</c:v>
                </c:pt>
                <c:pt idx="13052">
                  <c:v>0.232780453005172</c:v>
                </c:pt>
                <c:pt idx="13053">
                  <c:v>0.23279828785446699</c:v>
                </c:pt>
                <c:pt idx="13054">
                  <c:v>0.23281612270376301</c:v>
                </c:pt>
                <c:pt idx="13055">
                  <c:v>0.232833957553058</c:v>
                </c:pt>
                <c:pt idx="13056">
                  <c:v>0.23285179240235401</c:v>
                </c:pt>
                <c:pt idx="13057">
                  <c:v>0.232869627251649</c:v>
                </c:pt>
                <c:pt idx="13058">
                  <c:v>0.23288746210094499</c:v>
                </c:pt>
                <c:pt idx="13059">
                  <c:v>0.23290529695024001</c:v>
                </c:pt>
                <c:pt idx="13060">
                  <c:v>0.232923131799536</c:v>
                </c:pt>
                <c:pt idx="13061">
                  <c:v>0.23294096664883099</c:v>
                </c:pt>
                <c:pt idx="13062">
                  <c:v>0.232958801498127</c:v>
                </c:pt>
                <c:pt idx="13063">
                  <c:v>0.23297663634742199</c:v>
                </c:pt>
                <c:pt idx="13064">
                  <c:v>0.23299447119671801</c:v>
                </c:pt>
                <c:pt idx="13065">
                  <c:v>0.233012306046013</c:v>
                </c:pt>
                <c:pt idx="13066">
                  <c:v>0.23303014089530899</c:v>
                </c:pt>
                <c:pt idx="13067">
                  <c:v>0.23304797574460401</c:v>
                </c:pt>
                <c:pt idx="13068">
                  <c:v>0.2330658105939</c:v>
                </c:pt>
                <c:pt idx="13069">
                  <c:v>0.23308364544319601</c:v>
                </c:pt>
                <c:pt idx="13070">
                  <c:v>0.233101480292491</c:v>
                </c:pt>
                <c:pt idx="13071">
                  <c:v>0.23311931514178699</c:v>
                </c:pt>
                <c:pt idx="13072">
                  <c:v>0.23313714999108201</c:v>
                </c:pt>
                <c:pt idx="13073">
                  <c:v>0.233154984840378</c:v>
                </c:pt>
                <c:pt idx="13074">
                  <c:v>0.23317281968967299</c:v>
                </c:pt>
                <c:pt idx="13075">
                  <c:v>0.23319065453896901</c:v>
                </c:pt>
                <c:pt idx="13076">
                  <c:v>0.233208489388264</c:v>
                </c:pt>
                <c:pt idx="13077">
                  <c:v>0.23322632423756001</c:v>
                </c:pt>
                <c:pt idx="13078">
                  <c:v>0.233244159086855</c:v>
                </c:pt>
                <c:pt idx="13079">
                  <c:v>0.23326199393615099</c:v>
                </c:pt>
                <c:pt idx="13080">
                  <c:v>0.23327982878544601</c:v>
                </c:pt>
                <c:pt idx="13081">
                  <c:v>0.233297663634742</c:v>
                </c:pt>
                <c:pt idx="13082">
                  <c:v>0.23331549848403699</c:v>
                </c:pt>
                <c:pt idx="13083">
                  <c:v>0.233333333333333</c:v>
                </c:pt>
                <c:pt idx="13084">
                  <c:v>0.23335116818262799</c:v>
                </c:pt>
                <c:pt idx="13085">
                  <c:v>0.23336900303192401</c:v>
                </c:pt>
                <c:pt idx="13086">
                  <c:v>0.233386837881219</c:v>
                </c:pt>
                <c:pt idx="13087">
                  <c:v>0.23340467273051499</c:v>
                </c:pt>
                <c:pt idx="13088">
                  <c:v>0.23342250757981001</c:v>
                </c:pt>
                <c:pt idx="13089">
                  <c:v>0.233440342429106</c:v>
                </c:pt>
                <c:pt idx="13090">
                  <c:v>0.23345817727840101</c:v>
                </c:pt>
                <c:pt idx="13091">
                  <c:v>0.233476012127697</c:v>
                </c:pt>
                <c:pt idx="13092">
                  <c:v>0.23349384697699299</c:v>
                </c:pt>
                <c:pt idx="13093">
                  <c:v>0.23351168182628801</c:v>
                </c:pt>
                <c:pt idx="13094">
                  <c:v>0.233529516675584</c:v>
                </c:pt>
                <c:pt idx="13095">
                  <c:v>0.23354735152487899</c:v>
                </c:pt>
                <c:pt idx="13096">
                  <c:v>0.233565186374175</c:v>
                </c:pt>
                <c:pt idx="13097">
                  <c:v>0.23358302122346999</c:v>
                </c:pt>
                <c:pt idx="13098">
                  <c:v>0.23360085607276601</c:v>
                </c:pt>
                <c:pt idx="13099">
                  <c:v>0.233618690922061</c:v>
                </c:pt>
                <c:pt idx="13100">
                  <c:v>0.23363652577135699</c:v>
                </c:pt>
                <c:pt idx="13101">
                  <c:v>0.23365436062065201</c:v>
                </c:pt>
                <c:pt idx="13102">
                  <c:v>0.233672195469948</c:v>
                </c:pt>
                <c:pt idx="13103">
                  <c:v>0.23369003031924299</c:v>
                </c:pt>
                <c:pt idx="13104">
                  <c:v>0.233707865168539</c:v>
                </c:pt>
                <c:pt idx="13105">
                  <c:v>0.23372570001783399</c:v>
                </c:pt>
                <c:pt idx="13106">
                  <c:v>0.23374353486713001</c:v>
                </c:pt>
                <c:pt idx="13107">
                  <c:v>0.233761369716425</c:v>
                </c:pt>
                <c:pt idx="13108">
                  <c:v>0.23377920456572099</c:v>
                </c:pt>
                <c:pt idx="13109">
                  <c:v>0.23379703941501601</c:v>
                </c:pt>
                <c:pt idx="13110">
                  <c:v>0.23381487426431199</c:v>
                </c:pt>
                <c:pt idx="13111">
                  <c:v>0.23383270911360701</c:v>
                </c:pt>
                <c:pt idx="13112">
                  <c:v>0.233850543962903</c:v>
                </c:pt>
                <c:pt idx="13113">
                  <c:v>0.23386837881219899</c:v>
                </c:pt>
                <c:pt idx="13114">
                  <c:v>0.23388621366149401</c:v>
                </c:pt>
                <c:pt idx="13115">
                  <c:v>0.23390404851079</c:v>
                </c:pt>
                <c:pt idx="13116">
                  <c:v>0.23392188336008499</c:v>
                </c:pt>
                <c:pt idx="13117">
                  <c:v>0.233939718209381</c:v>
                </c:pt>
                <c:pt idx="13118">
                  <c:v>0.23395755305867599</c:v>
                </c:pt>
                <c:pt idx="13119">
                  <c:v>0.23397538790797201</c:v>
                </c:pt>
                <c:pt idx="13120">
                  <c:v>0.233993222757267</c:v>
                </c:pt>
                <c:pt idx="13121">
                  <c:v>0.23401105760656299</c:v>
                </c:pt>
                <c:pt idx="13122">
                  <c:v>0.23402889245585801</c:v>
                </c:pt>
                <c:pt idx="13123">
                  <c:v>0.234046727305154</c:v>
                </c:pt>
                <c:pt idx="13124">
                  <c:v>0.23406456215444901</c:v>
                </c:pt>
                <c:pt idx="13125">
                  <c:v>0.234082397003745</c:v>
                </c:pt>
                <c:pt idx="13126">
                  <c:v>0.23410023185303999</c:v>
                </c:pt>
                <c:pt idx="13127">
                  <c:v>0.23411806670233601</c:v>
                </c:pt>
                <c:pt idx="13128">
                  <c:v>0.234135901551631</c:v>
                </c:pt>
                <c:pt idx="13129">
                  <c:v>0.23415373640092699</c:v>
                </c:pt>
                <c:pt idx="13130">
                  <c:v>0.234171571250222</c:v>
                </c:pt>
                <c:pt idx="13131">
                  <c:v>0.23418940609951799</c:v>
                </c:pt>
                <c:pt idx="13132">
                  <c:v>0.23420724094881301</c:v>
                </c:pt>
                <c:pt idx="13133">
                  <c:v>0.234225075798109</c:v>
                </c:pt>
                <c:pt idx="13134">
                  <c:v>0.23424291064740499</c:v>
                </c:pt>
                <c:pt idx="13135">
                  <c:v>0.23426074549670001</c:v>
                </c:pt>
                <c:pt idx="13136">
                  <c:v>0.234278580345996</c:v>
                </c:pt>
                <c:pt idx="13137">
                  <c:v>0.23429641519529101</c:v>
                </c:pt>
                <c:pt idx="13138">
                  <c:v>0.234314250044587</c:v>
                </c:pt>
                <c:pt idx="13139">
                  <c:v>0.23433208489388199</c:v>
                </c:pt>
                <c:pt idx="13140">
                  <c:v>0.23434991974317801</c:v>
                </c:pt>
                <c:pt idx="13141">
                  <c:v>0.234367754592473</c:v>
                </c:pt>
                <c:pt idx="13142">
                  <c:v>0.23438558944176899</c:v>
                </c:pt>
                <c:pt idx="13143">
                  <c:v>0.23440342429106401</c:v>
                </c:pt>
                <c:pt idx="13144">
                  <c:v>0.23442125914035999</c:v>
                </c:pt>
                <c:pt idx="13145">
                  <c:v>0.23443909398965501</c:v>
                </c:pt>
                <c:pt idx="13146">
                  <c:v>0.234456928838951</c:v>
                </c:pt>
                <c:pt idx="13147">
                  <c:v>0.23447476368824599</c:v>
                </c:pt>
                <c:pt idx="13148">
                  <c:v>0.23449259853754201</c:v>
                </c:pt>
                <c:pt idx="13149">
                  <c:v>0.234510433386837</c:v>
                </c:pt>
                <c:pt idx="13150">
                  <c:v>0.23452826823613299</c:v>
                </c:pt>
                <c:pt idx="13151">
                  <c:v>0.234546103085428</c:v>
                </c:pt>
                <c:pt idx="13152">
                  <c:v>0.23456393793472399</c:v>
                </c:pt>
                <c:pt idx="13153">
                  <c:v>0.23458177278401901</c:v>
                </c:pt>
                <c:pt idx="13154">
                  <c:v>0.234599607633315</c:v>
                </c:pt>
                <c:pt idx="13155">
                  <c:v>0.23461744248261099</c:v>
                </c:pt>
                <c:pt idx="13156">
                  <c:v>0.23463527733190601</c:v>
                </c:pt>
                <c:pt idx="13157">
                  <c:v>0.23465311218120199</c:v>
                </c:pt>
                <c:pt idx="13158">
                  <c:v>0.23467094703049701</c:v>
                </c:pt>
                <c:pt idx="13159">
                  <c:v>0.234688781879793</c:v>
                </c:pt>
                <c:pt idx="13160">
                  <c:v>0.23470661672908799</c:v>
                </c:pt>
                <c:pt idx="13161">
                  <c:v>0.23472445157838401</c:v>
                </c:pt>
                <c:pt idx="13162">
                  <c:v>0.234742286427679</c:v>
                </c:pt>
                <c:pt idx="13163">
                  <c:v>0.23476012127697499</c:v>
                </c:pt>
                <c:pt idx="13164">
                  <c:v>0.23477795612627</c:v>
                </c:pt>
                <c:pt idx="13165">
                  <c:v>0.23479579097556599</c:v>
                </c:pt>
                <c:pt idx="13166">
                  <c:v>0.23481362582486101</c:v>
                </c:pt>
                <c:pt idx="13167">
                  <c:v>0.234831460674157</c:v>
                </c:pt>
                <c:pt idx="13168">
                  <c:v>0.23484929552345199</c:v>
                </c:pt>
                <c:pt idx="13169">
                  <c:v>0.23486713037274801</c:v>
                </c:pt>
                <c:pt idx="13170">
                  <c:v>0.234884965222043</c:v>
                </c:pt>
                <c:pt idx="13171">
                  <c:v>0.23490280007133901</c:v>
                </c:pt>
                <c:pt idx="13172">
                  <c:v>0.234920634920634</c:v>
                </c:pt>
                <c:pt idx="13173">
                  <c:v>0.23493846976992999</c:v>
                </c:pt>
                <c:pt idx="13174">
                  <c:v>0.23495630461922501</c:v>
                </c:pt>
                <c:pt idx="13175">
                  <c:v>0.234974139468521</c:v>
                </c:pt>
                <c:pt idx="13176">
                  <c:v>0.23499197431781699</c:v>
                </c:pt>
                <c:pt idx="13177">
                  <c:v>0.235009809167112</c:v>
                </c:pt>
                <c:pt idx="13178">
                  <c:v>0.23502764401640799</c:v>
                </c:pt>
                <c:pt idx="13179">
                  <c:v>0.23504547886570301</c:v>
                </c:pt>
                <c:pt idx="13180">
                  <c:v>0.235063313714999</c:v>
                </c:pt>
                <c:pt idx="13181">
                  <c:v>0.23508114856429399</c:v>
                </c:pt>
                <c:pt idx="13182">
                  <c:v>0.23509898341359001</c:v>
                </c:pt>
                <c:pt idx="13183">
                  <c:v>0.235116818262885</c:v>
                </c:pt>
                <c:pt idx="13184">
                  <c:v>0.23513465311218101</c:v>
                </c:pt>
                <c:pt idx="13185">
                  <c:v>0.235152487961476</c:v>
                </c:pt>
                <c:pt idx="13186">
                  <c:v>0.23517032281077199</c:v>
                </c:pt>
                <c:pt idx="13187">
                  <c:v>0.23518815766006701</c:v>
                </c:pt>
                <c:pt idx="13188">
                  <c:v>0.235205992509363</c:v>
                </c:pt>
                <c:pt idx="13189">
                  <c:v>0.23522382735865799</c:v>
                </c:pt>
                <c:pt idx="13190">
                  <c:v>0.23524166220795401</c:v>
                </c:pt>
                <c:pt idx="13191">
                  <c:v>0.235259497057249</c:v>
                </c:pt>
                <c:pt idx="13192">
                  <c:v>0.23527733190654501</c:v>
                </c:pt>
                <c:pt idx="13193">
                  <c:v>0.23529516675584</c:v>
                </c:pt>
                <c:pt idx="13194">
                  <c:v>0.23531300160513599</c:v>
                </c:pt>
                <c:pt idx="13195">
                  <c:v>0.23533083645443101</c:v>
                </c:pt>
                <c:pt idx="13196">
                  <c:v>0.235348671303727</c:v>
                </c:pt>
                <c:pt idx="13197">
                  <c:v>0.23536650615302299</c:v>
                </c:pt>
                <c:pt idx="13198">
                  <c:v>0.235384341002318</c:v>
                </c:pt>
                <c:pt idx="13199">
                  <c:v>0.23540217585161399</c:v>
                </c:pt>
                <c:pt idx="13200">
                  <c:v>0.23542001070090901</c:v>
                </c:pt>
                <c:pt idx="13201">
                  <c:v>0.235437845550205</c:v>
                </c:pt>
                <c:pt idx="13202">
                  <c:v>0.23545568039949999</c:v>
                </c:pt>
                <c:pt idx="13203">
                  <c:v>0.23547351524879601</c:v>
                </c:pt>
                <c:pt idx="13204">
                  <c:v>0.235491350098091</c:v>
                </c:pt>
                <c:pt idx="13205">
                  <c:v>0.23550918494738701</c:v>
                </c:pt>
                <c:pt idx="13206">
                  <c:v>0.235527019796682</c:v>
                </c:pt>
                <c:pt idx="13207">
                  <c:v>0.23554485464597799</c:v>
                </c:pt>
                <c:pt idx="13208">
                  <c:v>0.23556268949527301</c:v>
                </c:pt>
                <c:pt idx="13209">
                  <c:v>0.235580524344569</c:v>
                </c:pt>
                <c:pt idx="13210">
                  <c:v>0.23559835919386399</c:v>
                </c:pt>
                <c:pt idx="13211">
                  <c:v>0.23561619404316</c:v>
                </c:pt>
                <c:pt idx="13212">
                  <c:v>0.23563402889245499</c:v>
                </c:pt>
                <c:pt idx="13213">
                  <c:v>0.23565186374175101</c:v>
                </c:pt>
                <c:pt idx="13214">
                  <c:v>0.235669698591046</c:v>
                </c:pt>
                <c:pt idx="13215">
                  <c:v>0.23568753344034199</c:v>
                </c:pt>
                <c:pt idx="13216">
                  <c:v>0.23570536828963701</c:v>
                </c:pt>
                <c:pt idx="13217">
                  <c:v>0.235723203138933</c:v>
                </c:pt>
                <c:pt idx="13218">
                  <c:v>0.23574103798822901</c:v>
                </c:pt>
                <c:pt idx="13219">
                  <c:v>0.235758872837524</c:v>
                </c:pt>
                <c:pt idx="13220">
                  <c:v>0.23577670768681999</c:v>
                </c:pt>
                <c:pt idx="13221">
                  <c:v>0.23579454253611501</c:v>
                </c:pt>
                <c:pt idx="13222">
                  <c:v>0.235812377385411</c:v>
                </c:pt>
                <c:pt idx="13223">
                  <c:v>0.23583021223470599</c:v>
                </c:pt>
                <c:pt idx="13224">
                  <c:v>0.235848047084002</c:v>
                </c:pt>
                <c:pt idx="13225">
                  <c:v>0.23586588193329699</c:v>
                </c:pt>
                <c:pt idx="13226">
                  <c:v>0.23588371678259301</c:v>
                </c:pt>
                <c:pt idx="13227">
                  <c:v>0.235901551631888</c:v>
                </c:pt>
                <c:pt idx="13228">
                  <c:v>0.23591938648118399</c:v>
                </c:pt>
                <c:pt idx="13229">
                  <c:v>0.23593722133047901</c:v>
                </c:pt>
                <c:pt idx="13230">
                  <c:v>0.235955056179775</c:v>
                </c:pt>
                <c:pt idx="13231">
                  <c:v>0.23597289102906999</c:v>
                </c:pt>
                <c:pt idx="13232">
                  <c:v>0.235990725878366</c:v>
                </c:pt>
                <c:pt idx="13233">
                  <c:v>0.23600856072766099</c:v>
                </c:pt>
                <c:pt idx="13234">
                  <c:v>0.23602639557695701</c:v>
                </c:pt>
                <c:pt idx="13235">
                  <c:v>0.236044230426252</c:v>
                </c:pt>
                <c:pt idx="13236">
                  <c:v>0.23606206527554799</c:v>
                </c:pt>
                <c:pt idx="13237">
                  <c:v>0.23607990012484301</c:v>
                </c:pt>
                <c:pt idx="13238">
                  <c:v>0.236097734974139</c:v>
                </c:pt>
                <c:pt idx="13239">
                  <c:v>0.23611556982343401</c:v>
                </c:pt>
                <c:pt idx="13240">
                  <c:v>0.23613340467273</c:v>
                </c:pt>
                <c:pt idx="13241">
                  <c:v>0.23615123952202599</c:v>
                </c:pt>
                <c:pt idx="13242">
                  <c:v>0.23616907437132101</c:v>
                </c:pt>
                <c:pt idx="13243">
                  <c:v>0.236186909220617</c:v>
                </c:pt>
                <c:pt idx="13244">
                  <c:v>0.23620474406991199</c:v>
                </c:pt>
                <c:pt idx="13245">
                  <c:v>0.236222578919208</c:v>
                </c:pt>
                <c:pt idx="13246">
                  <c:v>0.23624041376850299</c:v>
                </c:pt>
                <c:pt idx="13247">
                  <c:v>0.23625824861779901</c:v>
                </c:pt>
                <c:pt idx="13248">
                  <c:v>0.236276083467094</c:v>
                </c:pt>
                <c:pt idx="13249">
                  <c:v>0.23629391831638999</c:v>
                </c:pt>
                <c:pt idx="13250">
                  <c:v>0.23631175316568501</c:v>
                </c:pt>
                <c:pt idx="13251">
                  <c:v>0.236329588014981</c:v>
                </c:pt>
                <c:pt idx="13252">
                  <c:v>0.23634742286427601</c:v>
                </c:pt>
                <c:pt idx="13253">
                  <c:v>0.236365257713572</c:v>
                </c:pt>
                <c:pt idx="13254">
                  <c:v>0.23638309256286699</c:v>
                </c:pt>
                <c:pt idx="13255">
                  <c:v>0.23640092741216301</c:v>
                </c:pt>
                <c:pt idx="13256">
                  <c:v>0.236418762261458</c:v>
                </c:pt>
                <c:pt idx="13257">
                  <c:v>0.23643659711075399</c:v>
                </c:pt>
                <c:pt idx="13258">
                  <c:v>0.23645443196004901</c:v>
                </c:pt>
                <c:pt idx="13259">
                  <c:v>0.23647226680934499</c:v>
                </c:pt>
                <c:pt idx="13260">
                  <c:v>0.23649010165864001</c:v>
                </c:pt>
                <c:pt idx="13261">
                  <c:v>0.236507936507936</c:v>
                </c:pt>
                <c:pt idx="13262">
                  <c:v>0.23652577135723199</c:v>
                </c:pt>
                <c:pt idx="13263">
                  <c:v>0.23654360620652701</c:v>
                </c:pt>
                <c:pt idx="13264">
                  <c:v>0.236561441055823</c:v>
                </c:pt>
                <c:pt idx="13265">
                  <c:v>0.23657927590511801</c:v>
                </c:pt>
                <c:pt idx="13266">
                  <c:v>0.236597110754414</c:v>
                </c:pt>
                <c:pt idx="13267">
                  <c:v>0.23661494560370899</c:v>
                </c:pt>
                <c:pt idx="13268">
                  <c:v>0.23663278045300501</c:v>
                </c:pt>
                <c:pt idx="13269">
                  <c:v>0.2366506153023</c:v>
                </c:pt>
                <c:pt idx="13270">
                  <c:v>0.23666845015159599</c:v>
                </c:pt>
                <c:pt idx="13271">
                  <c:v>0.23668628500089101</c:v>
                </c:pt>
                <c:pt idx="13272">
                  <c:v>0.23670411985018699</c:v>
                </c:pt>
                <c:pt idx="13273">
                  <c:v>0.23672195469948201</c:v>
                </c:pt>
                <c:pt idx="13274">
                  <c:v>0.236739789548778</c:v>
                </c:pt>
                <c:pt idx="13275">
                  <c:v>0.23675762439807299</c:v>
                </c:pt>
                <c:pt idx="13276">
                  <c:v>0.23677545924736901</c:v>
                </c:pt>
                <c:pt idx="13277">
                  <c:v>0.236793294096664</c:v>
                </c:pt>
                <c:pt idx="13278">
                  <c:v>0.23681112894595999</c:v>
                </c:pt>
                <c:pt idx="13279">
                  <c:v>0.236828963795255</c:v>
                </c:pt>
                <c:pt idx="13280">
                  <c:v>0.23684679864455099</c:v>
                </c:pt>
                <c:pt idx="13281">
                  <c:v>0.23686463349384601</c:v>
                </c:pt>
                <c:pt idx="13282">
                  <c:v>0.236882468343142</c:v>
                </c:pt>
                <c:pt idx="13283">
                  <c:v>0.23690030319243799</c:v>
                </c:pt>
                <c:pt idx="13284">
                  <c:v>0.23691813804173301</c:v>
                </c:pt>
                <c:pt idx="13285">
                  <c:v>0.236935972891029</c:v>
                </c:pt>
                <c:pt idx="13286">
                  <c:v>0.23695380774032401</c:v>
                </c:pt>
                <c:pt idx="13287">
                  <c:v>0.23697164258962</c:v>
                </c:pt>
                <c:pt idx="13288">
                  <c:v>0.23698947743891499</c:v>
                </c:pt>
                <c:pt idx="13289">
                  <c:v>0.23700731228821101</c:v>
                </c:pt>
                <c:pt idx="13290">
                  <c:v>0.237025147137506</c:v>
                </c:pt>
                <c:pt idx="13291">
                  <c:v>0.23704298198680199</c:v>
                </c:pt>
                <c:pt idx="13292">
                  <c:v>0.237060816836097</c:v>
                </c:pt>
                <c:pt idx="13293">
                  <c:v>0.23707865168539299</c:v>
                </c:pt>
                <c:pt idx="13294">
                  <c:v>0.23709648653468801</c:v>
                </c:pt>
                <c:pt idx="13295">
                  <c:v>0.237114321383984</c:v>
                </c:pt>
                <c:pt idx="13296">
                  <c:v>0.23713215623327899</c:v>
                </c:pt>
                <c:pt idx="13297">
                  <c:v>0.23714999108257501</c:v>
                </c:pt>
                <c:pt idx="13298">
                  <c:v>0.23716782593187</c:v>
                </c:pt>
                <c:pt idx="13299">
                  <c:v>0.23718566078116601</c:v>
                </c:pt>
                <c:pt idx="13300">
                  <c:v>0.237203495630461</c:v>
                </c:pt>
                <c:pt idx="13301">
                  <c:v>0.23722133047975699</c:v>
                </c:pt>
                <c:pt idx="13302">
                  <c:v>0.23723916532905201</c:v>
                </c:pt>
                <c:pt idx="13303">
                  <c:v>0.237257000178348</c:v>
                </c:pt>
                <c:pt idx="13304">
                  <c:v>0.23727483502764399</c:v>
                </c:pt>
                <c:pt idx="13305">
                  <c:v>0.23729266987693901</c:v>
                </c:pt>
                <c:pt idx="13306">
                  <c:v>0.23731050472623499</c:v>
                </c:pt>
                <c:pt idx="13307">
                  <c:v>0.23732833957553001</c:v>
                </c:pt>
                <c:pt idx="13308">
                  <c:v>0.237346174424826</c:v>
                </c:pt>
                <c:pt idx="13309">
                  <c:v>0.23736400927412099</c:v>
                </c:pt>
                <c:pt idx="13310">
                  <c:v>0.23738184412341701</c:v>
                </c:pt>
                <c:pt idx="13311">
                  <c:v>0.237399678972712</c:v>
                </c:pt>
                <c:pt idx="13312">
                  <c:v>0.23741751382200799</c:v>
                </c:pt>
                <c:pt idx="13313">
                  <c:v>0.237435348671303</c:v>
                </c:pt>
                <c:pt idx="13314">
                  <c:v>0.23745318352059899</c:v>
                </c:pt>
                <c:pt idx="13315">
                  <c:v>0.23747101836989401</c:v>
                </c:pt>
                <c:pt idx="13316">
                  <c:v>0.23748885321919</c:v>
                </c:pt>
                <c:pt idx="13317">
                  <c:v>0.23750668806848499</c:v>
                </c:pt>
                <c:pt idx="13318">
                  <c:v>0.23752452291778101</c:v>
                </c:pt>
                <c:pt idx="13319">
                  <c:v>0.237542357767076</c:v>
                </c:pt>
                <c:pt idx="13320">
                  <c:v>0.23756019261637201</c:v>
                </c:pt>
                <c:pt idx="13321">
                  <c:v>0.237578027465667</c:v>
                </c:pt>
                <c:pt idx="13322">
                  <c:v>0.23759586231496299</c:v>
                </c:pt>
                <c:pt idx="13323">
                  <c:v>0.23761369716425801</c:v>
                </c:pt>
                <c:pt idx="13324">
                  <c:v>0.237631532013554</c:v>
                </c:pt>
                <c:pt idx="13325">
                  <c:v>0.23764936686284999</c:v>
                </c:pt>
                <c:pt idx="13326">
                  <c:v>0.237667201712145</c:v>
                </c:pt>
                <c:pt idx="13327">
                  <c:v>0.23768503656144099</c:v>
                </c:pt>
                <c:pt idx="13328">
                  <c:v>0.23770287141073601</c:v>
                </c:pt>
                <c:pt idx="13329">
                  <c:v>0.237720706260032</c:v>
                </c:pt>
                <c:pt idx="13330">
                  <c:v>0.23773854110932699</c:v>
                </c:pt>
                <c:pt idx="13331">
                  <c:v>0.23775637595862301</c:v>
                </c:pt>
                <c:pt idx="13332">
                  <c:v>0.237774210807918</c:v>
                </c:pt>
                <c:pt idx="13333">
                  <c:v>0.23779204565721401</c:v>
                </c:pt>
                <c:pt idx="13334">
                  <c:v>0.237809880506509</c:v>
                </c:pt>
                <c:pt idx="13335">
                  <c:v>0.23782771535580499</c:v>
                </c:pt>
                <c:pt idx="13336">
                  <c:v>0.23784555020510001</c:v>
                </c:pt>
                <c:pt idx="13337">
                  <c:v>0.237863385054396</c:v>
                </c:pt>
                <c:pt idx="13338">
                  <c:v>0.23788121990369099</c:v>
                </c:pt>
                <c:pt idx="13339">
                  <c:v>0.237899054752987</c:v>
                </c:pt>
                <c:pt idx="13340">
                  <c:v>0.23791688960228199</c:v>
                </c:pt>
                <c:pt idx="13341">
                  <c:v>0.23793472445157801</c:v>
                </c:pt>
                <c:pt idx="13342">
                  <c:v>0.237952559300873</c:v>
                </c:pt>
                <c:pt idx="13343">
                  <c:v>0.23797039415016899</c:v>
                </c:pt>
                <c:pt idx="13344">
                  <c:v>0.23798822899946401</c:v>
                </c:pt>
                <c:pt idx="13345">
                  <c:v>0.23800606384876</c:v>
                </c:pt>
                <c:pt idx="13346">
                  <c:v>0.23802389869805601</c:v>
                </c:pt>
                <c:pt idx="13347">
                  <c:v>0.238041733547351</c:v>
                </c:pt>
                <c:pt idx="13348">
                  <c:v>0.23805956839664699</c:v>
                </c:pt>
                <c:pt idx="13349">
                  <c:v>0.23807740324594201</c:v>
                </c:pt>
                <c:pt idx="13350">
                  <c:v>0.238095238095238</c:v>
                </c:pt>
                <c:pt idx="13351">
                  <c:v>0.23811307294453299</c:v>
                </c:pt>
                <c:pt idx="13352">
                  <c:v>0.23813090779382901</c:v>
                </c:pt>
                <c:pt idx="13353">
                  <c:v>0.238148742643124</c:v>
                </c:pt>
                <c:pt idx="13354">
                  <c:v>0.23816657749242001</c:v>
                </c:pt>
                <c:pt idx="13355">
                  <c:v>0.238184412341715</c:v>
                </c:pt>
                <c:pt idx="13356">
                  <c:v>0.23820224719101099</c:v>
                </c:pt>
                <c:pt idx="13357">
                  <c:v>0.23822008204030601</c:v>
                </c:pt>
                <c:pt idx="13358">
                  <c:v>0.238237916889602</c:v>
                </c:pt>
                <c:pt idx="13359">
                  <c:v>0.23825575173889699</c:v>
                </c:pt>
                <c:pt idx="13360">
                  <c:v>0.238273586588193</c:v>
                </c:pt>
                <c:pt idx="13361">
                  <c:v>0.23829142143748799</c:v>
                </c:pt>
                <c:pt idx="13362">
                  <c:v>0.23830925628678401</c:v>
                </c:pt>
                <c:pt idx="13363">
                  <c:v>0.238327091136079</c:v>
                </c:pt>
                <c:pt idx="13364">
                  <c:v>0.23834492598537499</c:v>
                </c:pt>
                <c:pt idx="13365">
                  <c:v>0.23836276083467001</c:v>
                </c:pt>
                <c:pt idx="13366">
                  <c:v>0.238380595683966</c:v>
                </c:pt>
                <c:pt idx="13367">
                  <c:v>0.23839843053326101</c:v>
                </c:pt>
                <c:pt idx="13368">
                  <c:v>0.238416265382557</c:v>
                </c:pt>
                <c:pt idx="13369">
                  <c:v>0.23843410023185299</c:v>
                </c:pt>
                <c:pt idx="13370">
                  <c:v>0.23845193508114801</c:v>
                </c:pt>
                <c:pt idx="13371">
                  <c:v>0.238469769930444</c:v>
                </c:pt>
                <c:pt idx="13372">
                  <c:v>0.23848760477973899</c:v>
                </c:pt>
                <c:pt idx="13373">
                  <c:v>0.238505439629035</c:v>
                </c:pt>
                <c:pt idx="13374">
                  <c:v>0.23852327447832999</c:v>
                </c:pt>
                <c:pt idx="13375">
                  <c:v>0.23854110932762601</c:v>
                </c:pt>
                <c:pt idx="13376">
                  <c:v>0.238558944176921</c:v>
                </c:pt>
                <c:pt idx="13377">
                  <c:v>0.23857677902621699</c:v>
                </c:pt>
                <c:pt idx="13378">
                  <c:v>0.23859461387551201</c:v>
                </c:pt>
                <c:pt idx="13379">
                  <c:v>0.238612448724808</c:v>
                </c:pt>
                <c:pt idx="13380">
                  <c:v>0.23863028357410301</c:v>
                </c:pt>
                <c:pt idx="13381">
                  <c:v>0.238648118423399</c:v>
                </c:pt>
                <c:pt idx="13382">
                  <c:v>0.23866595327269399</c:v>
                </c:pt>
                <c:pt idx="13383">
                  <c:v>0.23868378812199001</c:v>
                </c:pt>
                <c:pt idx="13384">
                  <c:v>0.238701622971285</c:v>
                </c:pt>
                <c:pt idx="13385">
                  <c:v>0.23871945782058099</c:v>
                </c:pt>
                <c:pt idx="13386">
                  <c:v>0.23873729266987601</c:v>
                </c:pt>
                <c:pt idx="13387">
                  <c:v>0.23875512751917199</c:v>
                </c:pt>
                <c:pt idx="13388">
                  <c:v>0.23877296236846701</c:v>
                </c:pt>
                <c:pt idx="13389">
                  <c:v>0.238790797217763</c:v>
                </c:pt>
                <c:pt idx="13390">
                  <c:v>0.23880863206705899</c:v>
                </c:pt>
                <c:pt idx="13391">
                  <c:v>0.23882646691635401</c:v>
                </c:pt>
                <c:pt idx="13392">
                  <c:v>0.23884430176565</c:v>
                </c:pt>
                <c:pt idx="13393">
                  <c:v>0.23886213661494499</c:v>
                </c:pt>
                <c:pt idx="13394">
                  <c:v>0.238879971464241</c:v>
                </c:pt>
                <c:pt idx="13395">
                  <c:v>0.23889780631353599</c:v>
                </c:pt>
                <c:pt idx="13396">
                  <c:v>0.23891564116283201</c:v>
                </c:pt>
                <c:pt idx="13397">
                  <c:v>0.238933476012127</c:v>
                </c:pt>
                <c:pt idx="13398">
                  <c:v>0.23895131086142299</c:v>
                </c:pt>
                <c:pt idx="13399">
                  <c:v>0.23896914571071801</c:v>
                </c:pt>
                <c:pt idx="13400">
                  <c:v>0.238986980560014</c:v>
                </c:pt>
                <c:pt idx="13401">
                  <c:v>0.23900481540930901</c:v>
                </c:pt>
                <c:pt idx="13402">
                  <c:v>0.239022650258605</c:v>
                </c:pt>
                <c:pt idx="13403">
                  <c:v>0.23904048510789999</c:v>
                </c:pt>
                <c:pt idx="13404">
                  <c:v>0.23905831995719601</c:v>
                </c:pt>
                <c:pt idx="13405">
                  <c:v>0.239076154806491</c:v>
                </c:pt>
                <c:pt idx="13406">
                  <c:v>0.23909398965578699</c:v>
                </c:pt>
                <c:pt idx="13407">
                  <c:v>0.239111824505082</c:v>
                </c:pt>
                <c:pt idx="13408">
                  <c:v>0.23912965935437799</c:v>
                </c:pt>
                <c:pt idx="13409">
                  <c:v>0.23914749420367301</c:v>
                </c:pt>
                <c:pt idx="13410">
                  <c:v>0.239165329052969</c:v>
                </c:pt>
                <c:pt idx="13411">
                  <c:v>0.23918316390226499</c:v>
                </c:pt>
                <c:pt idx="13412">
                  <c:v>0.23920099875156001</c:v>
                </c:pt>
                <c:pt idx="13413">
                  <c:v>0.239218833600856</c:v>
                </c:pt>
                <c:pt idx="13414">
                  <c:v>0.23923666845015101</c:v>
                </c:pt>
                <c:pt idx="13415">
                  <c:v>0.239254503299447</c:v>
                </c:pt>
                <c:pt idx="13416">
                  <c:v>0.23927233814874199</c:v>
                </c:pt>
                <c:pt idx="13417">
                  <c:v>0.23929017299803801</c:v>
                </c:pt>
                <c:pt idx="13418">
                  <c:v>0.239308007847333</c:v>
                </c:pt>
                <c:pt idx="13419">
                  <c:v>0.23932584269662899</c:v>
                </c:pt>
                <c:pt idx="13420">
                  <c:v>0.23934367754592401</c:v>
                </c:pt>
                <c:pt idx="13421">
                  <c:v>0.23936151239521999</c:v>
                </c:pt>
                <c:pt idx="13422">
                  <c:v>0.23937934724451501</c:v>
                </c:pt>
                <c:pt idx="13423">
                  <c:v>0.239397182093811</c:v>
                </c:pt>
                <c:pt idx="13424">
                  <c:v>0.23941501694310599</c:v>
                </c:pt>
                <c:pt idx="13425">
                  <c:v>0.23943285179240201</c:v>
                </c:pt>
                <c:pt idx="13426">
                  <c:v>0.239450686641697</c:v>
                </c:pt>
                <c:pt idx="13427">
                  <c:v>0.23946852149099301</c:v>
                </c:pt>
                <c:pt idx="13428">
                  <c:v>0.239486356340288</c:v>
                </c:pt>
                <c:pt idx="13429">
                  <c:v>0.23950419118958399</c:v>
                </c:pt>
                <c:pt idx="13430">
                  <c:v>0.23952202603887901</c:v>
                </c:pt>
                <c:pt idx="13431">
                  <c:v>0.239539860888175</c:v>
                </c:pt>
                <c:pt idx="13432">
                  <c:v>0.23955769573747099</c:v>
                </c:pt>
                <c:pt idx="13433">
                  <c:v>0.23957553058676601</c:v>
                </c:pt>
                <c:pt idx="13434">
                  <c:v>0.23959336543606199</c:v>
                </c:pt>
                <c:pt idx="13435">
                  <c:v>0.23961120028535701</c:v>
                </c:pt>
                <c:pt idx="13436">
                  <c:v>0.239629035134653</c:v>
                </c:pt>
                <c:pt idx="13437">
                  <c:v>0.23964686998394799</c:v>
                </c:pt>
                <c:pt idx="13438">
                  <c:v>0.23966470483324401</c:v>
                </c:pt>
                <c:pt idx="13439">
                  <c:v>0.239682539682539</c:v>
                </c:pt>
                <c:pt idx="13440">
                  <c:v>0.23970037453183499</c:v>
                </c:pt>
                <c:pt idx="13441">
                  <c:v>0.23971820938113</c:v>
                </c:pt>
                <c:pt idx="13442">
                  <c:v>0.23973604423042599</c:v>
                </c:pt>
                <c:pt idx="13443">
                  <c:v>0.23975387907972101</c:v>
                </c:pt>
                <c:pt idx="13444">
                  <c:v>0.239771713929017</c:v>
                </c:pt>
                <c:pt idx="13445">
                  <c:v>0.23978954877831199</c:v>
                </c:pt>
                <c:pt idx="13446">
                  <c:v>0.23980738362760801</c:v>
                </c:pt>
                <c:pt idx="13447">
                  <c:v>0.239825218476903</c:v>
                </c:pt>
                <c:pt idx="13448">
                  <c:v>0.23984305332619901</c:v>
                </c:pt>
                <c:pt idx="13449">
                  <c:v>0.239860888175494</c:v>
                </c:pt>
                <c:pt idx="13450">
                  <c:v>0.23987872302478999</c:v>
                </c:pt>
                <c:pt idx="13451">
                  <c:v>0.23989655787408501</c:v>
                </c:pt>
                <c:pt idx="13452">
                  <c:v>0.239914392723381</c:v>
                </c:pt>
                <c:pt idx="13453">
                  <c:v>0.23993222757267699</c:v>
                </c:pt>
                <c:pt idx="13454">
                  <c:v>0.239950062421972</c:v>
                </c:pt>
                <c:pt idx="13455">
                  <c:v>0.23996789727126799</c:v>
                </c:pt>
                <c:pt idx="13456">
                  <c:v>0.23998573212056301</c:v>
                </c:pt>
                <c:pt idx="13457">
                  <c:v>0.240003566969859</c:v>
                </c:pt>
                <c:pt idx="13458">
                  <c:v>0.24002140181915399</c:v>
                </c:pt>
                <c:pt idx="13459">
                  <c:v>0.24003923666845001</c:v>
                </c:pt>
                <c:pt idx="13460">
                  <c:v>0.240057071517745</c:v>
                </c:pt>
                <c:pt idx="13461">
                  <c:v>0.24007490636704101</c:v>
                </c:pt>
                <c:pt idx="13462">
                  <c:v>0.240092741216336</c:v>
                </c:pt>
                <c:pt idx="13463">
                  <c:v>0.24011057606563199</c:v>
                </c:pt>
                <c:pt idx="13464">
                  <c:v>0.24012841091492701</c:v>
                </c:pt>
                <c:pt idx="13465">
                  <c:v>0.240146245764223</c:v>
                </c:pt>
                <c:pt idx="13466">
                  <c:v>0.24016408061351799</c:v>
                </c:pt>
                <c:pt idx="13467">
                  <c:v>0.24018191546281401</c:v>
                </c:pt>
                <c:pt idx="13468">
                  <c:v>0.24019975031210899</c:v>
                </c:pt>
                <c:pt idx="13469">
                  <c:v>0.24021758516140501</c:v>
                </c:pt>
                <c:pt idx="13470">
                  <c:v>0.2402354200107</c:v>
                </c:pt>
                <c:pt idx="13471">
                  <c:v>0.24025325485999599</c:v>
                </c:pt>
                <c:pt idx="13472">
                  <c:v>0.24027108970929101</c:v>
                </c:pt>
                <c:pt idx="13473">
                  <c:v>0.240288924558587</c:v>
                </c:pt>
                <c:pt idx="13474">
                  <c:v>0.24030675940788301</c:v>
                </c:pt>
                <c:pt idx="13475">
                  <c:v>0.240324594257178</c:v>
                </c:pt>
                <c:pt idx="13476">
                  <c:v>0.24034242910647399</c:v>
                </c:pt>
                <c:pt idx="13477">
                  <c:v>0.24036026395576901</c:v>
                </c:pt>
                <c:pt idx="13478">
                  <c:v>0.240378098805065</c:v>
                </c:pt>
                <c:pt idx="13479">
                  <c:v>0.24039593365435999</c:v>
                </c:pt>
                <c:pt idx="13480">
                  <c:v>0.24041376850365601</c:v>
                </c:pt>
                <c:pt idx="13481">
                  <c:v>0.240431603352951</c:v>
                </c:pt>
                <c:pt idx="13482">
                  <c:v>0.24044943820224701</c:v>
                </c:pt>
                <c:pt idx="13483">
                  <c:v>0.240467273051542</c:v>
                </c:pt>
                <c:pt idx="13484">
                  <c:v>0.24048510790083799</c:v>
                </c:pt>
                <c:pt idx="13485">
                  <c:v>0.24050294275013301</c:v>
                </c:pt>
                <c:pt idx="13486">
                  <c:v>0.240520777599429</c:v>
                </c:pt>
                <c:pt idx="13487">
                  <c:v>0.24053861244872399</c:v>
                </c:pt>
                <c:pt idx="13488">
                  <c:v>0.24055644729802</c:v>
                </c:pt>
                <c:pt idx="13489">
                  <c:v>0.24057428214731499</c:v>
                </c:pt>
                <c:pt idx="13490">
                  <c:v>0.24059211699661101</c:v>
                </c:pt>
                <c:pt idx="13491">
                  <c:v>0.240609951845906</c:v>
                </c:pt>
                <c:pt idx="13492">
                  <c:v>0.24062778669520199</c:v>
                </c:pt>
                <c:pt idx="13493">
                  <c:v>0.24064562154449701</c:v>
                </c:pt>
                <c:pt idx="13494">
                  <c:v>0.240663456393793</c:v>
                </c:pt>
                <c:pt idx="13495">
                  <c:v>0.24068129124308801</c:v>
                </c:pt>
                <c:pt idx="13496">
                  <c:v>0.240699126092384</c:v>
                </c:pt>
                <c:pt idx="13497">
                  <c:v>0.24071696094167999</c:v>
                </c:pt>
                <c:pt idx="13498">
                  <c:v>0.24073479579097501</c:v>
                </c:pt>
                <c:pt idx="13499">
                  <c:v>0.240752630640271</c:v>
                </c:pt>
                <c:pt idx="13500">
                  <c:v>0.24077046548956599</c:v>
                </c:pt>
                <c:pt idx="13501">
                  <c:v>0.240788300338862</c:v>
                </c:pt>
                <c:pt idx="13502">
                  <c:v>0.24080613518815699</c:v>
                </c:pt>
                <c:pt idx="13503">
                  <c:v>0.24082397003745301</c:v>
                </c:pt>
                <c:pt idx="13504">
                  <c:v>0.240841804886748</c:v>
                </c:pt>
                <c:pt idx="13505">
                  <c:v>0.24085963973604399</c:v>
                </c:pt>
                <c:pt idx="13506">
                  <c:v>0.24087747458533901</c:v>
                </c:pt>
                <c:pt idx="13507">
                  <c:v>0.240895309434635</c:v>
                </c:pt>
                <c:pt idx="13508">
                  <c:v>0.24091314428392999</c:v>
                </c:pt>
                <c:pt idx="13509">
                  <c:v>0.240930979133226</c:v>
                </c:pt>
                <c:pt idx="13510">
                  <c:v>0.24094881398252099</c:v>
                </c:pt>
                <c:pt idx="13511">
                  <c:v>0.24096664883181701</c:v>
                </c:pt>
                <c:pt idx="13512">
                  <c:v>0.240984483681112</c:v>
                </c:pt>
                <c:pt idx="13513">
                  <c:v>0.24100231853040799</c:v>
                </c:pt>
                <c:pt idx="13514">
                  <c:v>0.24102015337970301</c:v>
                </c:pt>
                <c:pt idx="13515">
                  <c:v>0.241037988228999</c:v>
                </c:pt>
                <c:pt idx="13516">
                  <c:v>0.24105582307829401</c:v>
                </c:pt>
                <c:pt idx="13517">
                  <c:v>0.24107365792759</c:v>
                </c:pt>
                <c:pt idx="13518">
                  <c:v>0.24109149277688599</c:v>
                </c:pt>
                <c:pt idx="13519">
                  <c:v>0.24110932762618101</c:v>
                </c:pt>
                <c:pt idx="13520">
                  <c:v>0.241127162475477</c:v>
                </c:pt>
                <c:pt idx="13521">
                  <c:v>0.24114499732477199</c:v>
                </c:pt>
                <c:pt idx="13522">
                  <c:v>0.241162832174068</c:v>
                </c:pt>
                <c:pt idx="13523">
                  <c:v>0.24118066702336299</c:v>
                </c:pt>
                <c:pt idx="13524">
                  <c:v>0.24119850187265901</c:v>
                </c:pt>
                <c:pt idx="13525">
                  <c:v>0.241216336721954</c:v>
                </c:pt>
                <c:pt idx="13526">
                  <c:v>0.24123417157124999</c:v>
                </c:pt>
                <c:pt idx="13527">
                  <c:v>0.24125200642054501</c:v>
                </c:pt>
                <c:pt idx="13528">
                  <c:v>0.241269841269841</c:v>
                </c:pt>
                <c:pt idx="13529">
                  <c:v>0.24128767611913601</c:v>
                </c:pt>
                <c:pt idx="13530">
                  <c:v>0.241305510968432</c:v>
                </c:pt>
                <c:pt idx="13531">
                  <c:v>0.24132334581772699</c:v>
                </c:pt>
                <c:pt idx="13532">
                  <c:v>0.24134118066702301</c:v>
                </c:pt>
                <c:pt idx="13533">
                  <c:v>0.241359015516318</c:v>
                </c:pt>
                <c:pt idx="13534">
                  <c:v>0.24137685036561399</c:v>
                </c:pt>
                <c:pt idx="13535">
                  <c:v>0.241394685214909</c:v>
                </c:pt>
                <c:pt idx="13536">
                  <c:v>0.24141252006420499</c:v>
                </c:pt>
                <c:pt idx="13537">
                  <c:v>0.24143035491350001</c:v>
                </c:pt>
                <c:pt idx="13538">
                  <c:v>0.241448189762796</c:v>
                </c:pt>
                <c:pt idx="13539">
                  <c:v>0.24146602461209199</c:v>
                </c:pt>
                <c:pt idx="13540">
                  <c:v>0.24148385946138701</c:v>
                </c:pt>
                <c:pt idx="13541">
                  <c:v>0.241501694310683</c:v>
                </c:pt>
                <c:pt idx="13542">
                  <c:v>0.24151952915997801</c:v>
                </c:pt>
                <c:pt idx="13543">
                  <c:v>0.241537364009274</c:v>
                </c:pt>
                <c:pt idx="13544">
                  <c:v>0.24155519885856899</c:v>
                </c:pt>
                <c:pt idx="13545">
                  <c:v>0.24157303370786501</c:v>
                </c:pt>
                <c:pt idx="13546">
                  <c:v>0.24159086855716</c:v>
                </c:pt>
                <c:pt idx="13547">
                  <c:v>0.24160870340645599</c:v>
                </c:pt>
                <c:pt idx="13548">
                  <c:v>0.24162653825575101</c:v>
                </c:pt>
                <c:pt idx="13549">
                  <c:v>0.24164437310504699</c:v>
                </c:pt>
                <c:pt idx="13550">
                  <c:v>0.24166220795434201</c:v>
                </c:pt>
                <c:pt idx="13551">
                  <c:v>0.241680042803638</c:v>
                </c:pt>
                <c:pt idx="13552">
                  <c:v>0.24169787765293299</c:v>
                </c:pt>
                <c:pt idx="13553">
                  <c:v>0.24171571250222901</c:v>
                </c:pt>
                <c:pt idx="13554">
                  <c:v>0.241733547351524</c:v>
                </c:pt>
                <c:pt idx="13555">
                  <c:v>0.24175138220081999</c:v>
                </c:pt>
                <c:pt idx="13556">
                  <c:v>0.241769217050115</c:v>
                </c:pt>
                <c:pt idx="13557">
                  <c:v>0.24178705189941099</c:v>
                </c:pt>
                <c:pt idx="13558">
                  <c:v>0.24180488674870601</c:v>
                </c:pt>
                <c:pt idx="13559">
                  <c:v>0.241822721598002</c:v>
                </c:pt>
                <c:pt idx="13560">
                  <c:v>0.24184055644729799</c:v>
                </c:pt>
                <c:pt idx="13561">
                  <c:v>0.24185839129659301</c:v>
                </c:pt>
                <c:pt idx="13562">
                  <c:v>0.241876226145889</c:v>
                </c:pt>
                <c:pt idx="13563">
                  <c:v>0.24189406099518401</c:v>
                </c:pt>
                <c:pt idx="13564">
                  <c:v>0.24191189584448</c:v>
                </c:pt>
                <c:pt idx="13565">
                  <c:v>0.24192973069377499</c:v>
                </c:pt>
                <c:pt idx="13566">
                  <c:v>0.24194756554307101</c:v>
                </c:pt>
                <c:pt idx="13567">
                  <c:v>0.241965400392366</c:v>
                </c:pt>
                <c:pt idx="13568">
                  <c:v>0.24198323524166199</c:v>
                </c:pt>
                <c:pt idx="13569">
                  <c:v>0.242001070090957</c:v>
                </c:pt>
                <c:pt idx="13570">
                  <c:v>0.24201890494025299</c:v>
                </c:pt>
                <c:pt idx="13571">
                  <c:v>0.24203673978954801</c:v>
                </c:pt>
                <c:pt idx="13572">
                  <c:v>0.242054574638844</c:v>
                </c:pt>
                <c:pt idx="13573">
                  <c:v>0.24207240948813899</c:v>
                </c:pt>
                <c:pt idx="13574">
                  <c:v>0.24209024433743501</c:v>
                </c:pt>
                <c:pt idx="13575">
                  <c:v>0.24210807918673</c:v>
                </c:pt>
                <c:pt idx="13576">
                  <c:v>0.24212591403602601</c:v>
                </c:pt>
                <c:pt idx="13577">
                  <c:v>0.242143748885321</c:v>
                </c:pt>
                <c:pt idx="13578">
                  <c:v>0.24216158373461699</c:v>
                </c:pt>
                <c:pt idx="13579">
                  <c:v>0.24217941858391201</c:v>
                </c:pt>
                <c:pt idx="13580">
                  <c:v>0.242197253433208</c:v>
                </c:pt>
                <c:pt idx="13581">
                  <c:v>0.24221508828250399</c:v>
                </c:pt>
                <c:pt idx="13582">
                  <c:v>0.24223292313179901</c:v>
                </c:pt>
                <c:pt idx="13583">
                  <c:v>0.24225075798109499</c:v>
                </c:pt>
                <c:pt idx="13584">
                  <c:v>0.24226859283039001</c:v>
                </c:pt>
                <c:pt idx="13585">
                  <c:v>0.242286427679686</c:v>
                </c:pt>
                <c:pt idx="13586">
                  <c:v>0.24230426252898099</c:v>
                </c:pt>
                <c:pt idx="13587">
                  <c:v>0.24232209737827701</c:v>
                </c:pt>
                <c:pt idx="13588">
                  <c:v>0.242339932227572</c:v>
                </c:pt>
                <c:pt idx="13589">
                  <c:v>0.24235776707686801</c:v>
                </c:pt>
                <c:pt idx="13590">
                  <c:v>0.242375601926163</c:v>
                </c:pt>
                <c:pt idx="13591">
                  <c:v>0.24239343677545899</c:v>
                </c:pt>
                <c:pt idx="13592">
                  <c:v>0.24241127162475401</c:v>
                </c:pt>
                <c:pt idx="13593">
                  <c:v>0.24242910647405</c:v>
                </c:pt>
                <c:pt idx="13594">
                  <c:v>0.24244694132334499</c:v>
                </c:pt>
                <c:pt idx="13595">
                  <c:v>0.24246477617264101</c:v>
                </c:pt>
                <c:pt idx="13596">
                  <c:v>0.242482611021936</c:v>
                </c:pt>
                <c:pt idx="13597">
                  <c:v>0.24250044587123201</c:v>
                </c:pt>
                <c:pt idx="13598">
                  <c:v>0.242518280720527</c:v>
                </c:pt>
                <c:pt idx="13599">
                  <c:v>0.24253611556982299</c:v>
                </c:pt>
                <c:pt idx="13600">
                  <c:v>0.24255395041911801</c:v>
                </c:pt>
                <c:pt idx="13601">
                  <c:v>0.242571785268414</c:v>
                </c:pt>
                <c:pt idx="13602">
                  <c:v>0.24258962011770999</c:v>
                </c:pt>
                <c:pt idx="13603">
                  <c:v>0.242607454967005</c:v>
                </c:pt>
                <c:pt idx="13604">
                  <c:v>0.24262528981630099</c:v>
                </c:pt>
                <c:pt idx="13605">
                  <c:v>0.24264312466559601</c:v>
                </c:pt>
                <c:pt idx="13606">
                  <c:v>0.242660959514892</c:v>
                </c:pt>
                <c:pt idx="13607">
                  <c:v>0.24267879436418699</c:v>
                </c:pt>
                <c:pt idx="13608">
                  <c:v>0.24269662921348301</c:v>
                </c:pt>
                <c:pt idx="13609">
                  <c:v>0.242714464062778</c:v>
                </c:pt>
                <c:pt idx="13610">
                  <c:v>0.24273229891207401</c:v>
                </c:pt>
                <c:pt idx="13611">
                  <c:v>0.242750133761369</c:v>
                </c:pt>
                <c:pt idx="13612">
                  <c:v>0.24276796861066499</c:v>
                </c:pt>
                <c:pt idx="13613">
                  <c:v>0.24278580345996001</c:v>
                </c:pt>
                <c:pt idx="13614">
                  <c:v>0.242803638309256</c:v>
                </c:pt>
                <c:pt idx="13615">
                  <c:v>0.24282147315855099</c:v>
                </c:pt>
                <c:pt idx="13616">
                  <c:v>0.242839308007847</c:v>
                </c:pt>
                <c:pt idx="13617">
                  <c:v>0.24285714285714199</c:v>
                </c:pt>
                <c:pt idx="13618">
                  <c:v>0.24287497770643801</c:v>
                </c:pt>
                <c:pt idx="13619">
                  <c:v>0.242892812555733</c:v>
                </c:pt>
                <c:pt idx="13620">
                  <c:v>0.24291064740502899</c:v>
                </c:pt>
                <c:pt idx="13621">
                  <c:v>0.24292848225432401</c:v>
                </c:pt>
                <c:pt idx="13622">
                  <c:v>0.24294631710362</c:v>
                </c:pt>
                <c:pt idx="13623">
                  <c:v>0.24296415195291499</c:v>
                </c:pt>
                <c:pt idx="13624">
                  <c:v>0.242981986802211</c:v>
                </c:pt>
                <c:pt idx="13625">
                  <c:v>0.24299982165150699</c:v>
                </c:pt>
                <c:pt idx="13626">
                  <c:v>0.24301765650080201</c:v>
                </c:pt>
                <c:pt idx="13627">
                  <c:v>0.243035491350098</c:v>
                </c:pt>
                <c:pt idx="13628">
                  <c:v>0.24305332619939299</c:v>
                </c:pt>
                <c:pt idx="13629">
                  <c:v>0.24307116104868901</c:v>
                </c:pt>
                <c:pt idx="13630">
                  <c:v>0.24308899589798399</c:v>
                </c:pt>
                <c:pt idx="13631">
                  <c:v>0.24310683074728001</c:v>
                </c:pt>
                <c:pt idx="13632">
                  <c:v>0.243124665596575</c:v>
                </c:pt>
                <c:pt idx="13633">
                  <c:v>0.24314250044587099</c:v>
                </c:pt>
                <c:pt idx="13634">
                  <c:v>0.24316033529516601</c:v>
                </c:pt>
                <c:pt idx="13635">
                  <c:v>0.243178170144462</c:v>
                </c:pt>
                <c:pt idx="13636">
                  <c:v>0.24319600499375699</c:v>
                </c:pt>
                <c:pt idx="13637">
                  <c:v>0.243213839843053</c:v>
                </c:pt>
                <c:pt idx="13638">
                  <c:v>0.24323167469234799</c:v>
                </c:pt>
                <c:pt idx="13639">
                  <c:v>0.24324950954164401</c:v>
                </c:pt>
                <c:pt idx="13640">
                  <c:v>0.243267344390939</c:v>
                </c:pt>
                <c:pt idx="13641">
                  <c:v>0.24328517924023499</c:v>
                </c:pt>
                <c:pt idx="13642">
                  <c:v>0.24330301408953001</c:v>
                </c:pt>
                <c:pt idx="13643">
                  <c:v>0.243320848938826</c:v>
                </c:pt>
                <c:pt idx="13644">
                  <c:v>0.24333868378812101</c:v>
                </c:pt>
                <c:pt idx="13645">
                  <c:v>0.243356518637417</c:v>
                </c:pt>
                <c:pt idx="13646">
                  <c:v>0.24337435348671299</c:v>
                </c:pt>
                <c:pt idx="13647">
                  <c:v>0.24339218833600801</c:v>
                </c:pt>
                <c:pt idx="13648">
                  <c:v>0.243410023185304</c:v>
                </c:pt>
                <c:pt idx="13649">
                  <c:v>0.24342785803459899</c:v>
                </c:pt>
                <c:pt idx="13650">
                  <c:v>0.243445692883895</c:v>
                </c:pt>
                <c:pt idx="13651">
                  <c:v>0.24346352773318999</c:v>
                </c:pt>
                <c:pt idx="13652">
                  <c:v>0.24348136258248601</c:v>
                </c:pt>
                <c:pt idx="13653">
                  <c:v>0.243499197431781</c:v>
                </c:pt>
                <c:pt idx="13654">
                  <c:v>0.24351703228107699</c:v>
                </c:pt>
                <c:pt idx="13655">
                  <c:v>0.24353486713037201</c:v>
                </c:pt>
                <c:pt idx="13656">
                  <c:v>0.243552701979668</c:v>
                </c:pt>
                <c:pt idx="13657">
                  <c:v>0.24357053682896301</c:v>
                </c:pt>
                <c:pt idx="13658">
                  <c:v>0.243588371678259</c:v>
                </c:pt>
                <c:pt idx="13659">
                  <c:v>0.24360620652755399</c:v>
                </c:pt>
                <c:pt idx="13660">
                  <c:v>0.24362404137685001</c:v>
                </c:pt>
                <c:pt idx="13661">
                  <c:v>0.243641876226145</c:v>
                </c:pt>
                <c:pt idx="13662">
                  <c:v>0.24365971107544099</c:v>
                </c:pt>
                <c:pt idx="13663">
                  <c:v>0.24367754592473601</c:v>
                </c:pt>
                <c:pt idx="13664">
                  <c:v>0.24369538077403199</c:v>
                </c:pt>
                <c:pt idx="13665">
                  <c:v>0.24371321562332701</c:v>
                </c:pt>
                <c:pt idx="13666">
                  <c:v>0.243731050472623</c:v>
                </c:pt>
                <c:pt idx="13667">
                  <c:v>0.24374888532191899</c:v>
                </c:pt>
                <c:pt idx="13668">
                  <c:v>0.24376672017121401</c:v>
                </c:pt>
                <c:pt idx="13669">
                  <c:v>0.24378455502051</c:v>
                </c:pt>
                <c:pt idx="13670">
                  <c:v>0.24380238986980499</c:v>
                </c:pt>
                <c:pt idx="13671">
                  <c:v>0.243820224719101</c:v>
                </c:pt>
                <c:pt idx="13672">
                  <c:v>0.24383805956839599</c:v>
                </c:pt>
                <c:pt idx="13673">
                  <c:v>0.24385589441769201</c:v>
                </c:pt>
                <c:pt idx="13674">
                  <c:v>0.243873729266987</c:v>
                </c:pt>
                <c:pt idx="13675">
                  <c:v>0.24389156411628299</c:v>
                </c:pt>
                <c:pt idx="13676">
                  <c:v>0.24390939896557801</c:v>
                </c:pt>
                <c:pt idx="13677">
                  <c:v>0.24392723381487399</c:v>
                </c:pt>
                <c:pt idx="13678">
                  <c:v>0.24394506866416901</c:v>
                </c:pt>
                <c:pt idx="13679">
                  <c:v>0.243962903513465</c:v>
                </c:pt>
                <c:pt idx="13680">
                  <c:v>0.24398073836275999</c:v>
                </c:pt>
                <c:pt idx="13681">
                  <c:v>0.24399857321205601</c:v>
                </c:pt>
                <c:pt idx="13682">
                  <c:v>0.244016408061351</c:v>
                </c:pt>
                <c:pt idx="13683">
                  <c:v>0.24403424291064699</c:v>
                </c:pt>
                <c:pt idx="13684">
                  <c:v>0.244052077759942</c:v>
                </c:pt>
                <c:pt idx="13685">
                  <c:v>0.24406991260923799</c:v>
                </c:pt>
                <c:pt idx="13686">
                  <c:v>0.24408774745853301</c:v>
                </c:pt>
                <c:pt idx="13687">
                  <c:v>0.244105582307829</c:v>
                </c:pt>
                <c:pt idx="13688">
                  <c:v>0.24412341715712499</c:v>
                </c:pt>
                <c:pt idx="13689">
                  <c:v>0.24414125200642001</c:v>
                </c:pt>
                <c:pt idx="13690">
                  <c:v>0.244159086855716</c:v>
                </c:pt>
                <c:pt idx="13691">
                  <c:v>0.24417692170501101</c:v>
                </c:pt>
                <c:pt idx="13692">
                  <c:v>0.244194756554307</c:v>
                </c:pt>
                <c:pt idx="13693">
                  <c:v>0.24421259140360199</c:v>
                </c:pt>
                <c:pt idx="13694">
                  <c:v>0.24423042625289801</c:v>
                </c:pt>
                <c:pt idx="13695">
                  <c:v>0.244248261102193</c:v>
                </c:pt>
                <c:pt idx="13696">
                  <c:v>0.24426609595148899</c:v>
                </c:pt>
                <c:pt idx="13697">
                  <c:v>0.244283930800784</c:v>
                </c:pt>
                <c:pt idx="13698">
                  <c:v>0.24430176565007999</c:v>
                </c:pt>
                <c:pt idx="13699">
                  <c:v>0.24431960049937501</c:v>
                </c:pt>
                <c:pt idx="13700">
                  <c:v>0.244337435348671</c:v>
                </c:pt>
                <c:pt idx="13701">
                  <c:v>0.24435527019796599</c:v>
                </c:pt>
                <c:pt idx="13702">
                  <c:v>0.24437310504726201</c:v>
                </c:pt>
                <c:pt idx="13703">
                  <c:v>0.244390939896557</c:v>
                </c:pt>
                <c:pt idx="13704">
                  <c:v>0.24440877474585301</c:v>
                </c:pt>
                <c:pt idx="13705">
                  <c:v>0.244426609595148</c:v>
                </c:pt>
                <c:pt idx="13706">
                  <c:v>0.24444444444444399</c:v>
                </c:pt>
                <c:pt idx="13707">
                  <c:v>0.24446227929373901</c:v>
                </c:pt>
                <c:pt idx="13708">
                  <c:v>0.244480114143035</c:v>
                </c:pt>
                <c:pt idx="13709">
                  <c:v>0.24449794899233099</c:v>
                </c:pt>
                <c:pt idx="13710">
                  <c:v>0.24451578384162601</c:v>
                </c:pt>
                <c:pt idx="13711">
                  <c:v>0.24453361869092199</c:v>
                </c:pt>
                <c:pt idx="13712">
                  <c:v>0.24455145354021701</c:v>
                </c:pt>
                <c:pt idx="13713">
                  <c:v>0.244569288389513</c:v>
                </c:pt>
                <c:pt idx="13714">
                  <c:v>0.24458712323880799</c:v>
                </c:pt>
                <c:pt idx="13715">
                  <c:v>0.24460495808810401</c:v>
                </c:pt>
                <c:pt idx="13716">
                  <c:v>0.244622792937399</c:v>
                </c:pt>
                <c:pt idx="13717">
                  <c:v>0.24464062778669499</c:v>
                </c:pt>
                <c:pt idx="13718">
                  <c:v>0.24465846263599</c:v>
                </c:pt>
                <c:pt idx="13719">
                  <c:v>0.24467629748528599</c:v>
                </c:pt>
                <c:pt idx="13720">
                  <c:v>0.24469413233458101</c:v>
                </c:pt>
                <c:pt idx="13721">
                  <c:v>0.244711967183877</c:v>
                </c:pt>
                <c:pt idx="13722">
                  <c:v>0.24472980203317199</c:v>
                </c:pt>
                <c:pt idx="13723">
                  <c:v>0.24474763688246801</c:v>
                </c:pt>
                <c:pt idx="13724">
                  <c:v>0.244765471731763</c:v>
                </c:pt>
                <c:pt idx="13725">
                  <c:v>0.24478330658105901</c:v>
                </c:pt>
                <c:pt idx="13726">
                  <c:v>0.244801141430354</c:v>
                </c:pt>
                <c:pt idx="13727">
                  <c:v>0.24481897627964999</c:v>
                </c:pt>
                <c:pt idx="13728">
                  <c:v>0.24483681112894501</c:v>
                </c:pt>
                <c:pt idx="13729">
                  <c:v>0.244854645978241</c:v>
                </c:pt>
                <c:pt idx="13730">
                  <c:v>0.24487248082753699</c:v>
                </c:pt>
                <c:pt idx="13731">
                  <c:v>0.244890315676832</c:v>
                </c:pt>
                <c:pt idx="13732">
                  <c:v>0.24490815052612799</c:v>
                </c:pt>
                <c:pt idx="13733">
                  <c:v>0.24492598537542301</c:v>
                </c:pt>
                <c:pt idx="13734">
                  <c:v>0.244943820224719</c:v>
                </c:pt>
                <c:pt idx="13735">
                  <c:v>0.24496165507401399</c:v>
                </c:pt>
                <c:pt idx="13736">
                  <c:v>0.24497948992331001</c:v>
                </c:pt>
                <c:pt idx="13737">
                  <c:v>0.244997324772605</c:v>
                </c:pt>
                <c:pt idx="13738">
                  <c:v>0.24501515962190101</c:v>
                </c:pt>
                <c:pt idx="13739">
                  <c:v>0.245032994471196</c:v>
                </c:pt>
                <c:pt idx="13740">
                  <c:v>0.24505082932049199</c:v>
                </c:pt>
                <c:pt idx="13741">
                  <c:v>0.24506866416978701</c:v>
                </c:pt>
                <c:pt idx="13742">
                  <c:v>0.245086499019083</c:v>
                </c:pt>
                <c:pt idx="13743">
                  <c:v>0.24510433386837799</c:v>
                </c:pt>
                <c:pt idx="13744">
                  <c:v>0.245122168717674</c:v>
                </c:pt>
                <c:pt idx="13745">
                  <c:v>0.24514000356696899</c:v>
                </c:pt>
                <c:pt idx="13746">
                  <c:v>0.24515783841626501</c:v>
                </c:pt>
                <c:pt idx="13747">
                  <c:v>0.24517567326556</c:v>
                </c:pt>
                <c:pt idx="13748">
                  <c:v>0.24519350811485599</c:v>
                </c:pt>
                <c:pt idx="13749">
                  <c:v>0.24521134296415101</c:v>
                </c:pt>
                <c:pt idx="13750">
                  <c:v>0.245229177813447</c:v>
                </c:pt>
                <c:pt idx="13751">
                  <c:v>0.24524701266274301</c:v>
                </c:pt>
                <c:pt idx="13752">
                  <c:v>0.245264847512038</c:v>
                </c:pt>
                <c:pt idx="13753">
                  <c:v>0.24528268236133399</c:v>
                </c:pt>
                <c:pt idx="13754">
                  <c:v>0.24530051721062901</c:v>
                </c:pt>
                <c:pt idx="13755">
                  <c:v>0.245318352059925</c:v>
                </c:pt>
                <c:pt idx="13756">
                  <c:v>0.24533618690921999</c:v>
                </c:pt>
                <c:pt idx="13757">
                  <c:v>0.24535402175851601</c:v>
                </c:pt>
                <c:pt idx="13758">
                  <c:v>0.245371856607811</c:v>
                </c:pt>
                <c:pt idx="13759">
                  <c:v>0.24538969145710701</c:v>
                </c:pt>
                <c:pt idx="13760">
                  <c:v>0.245407526306402</c:v>
                </c:pt>
                <c:pt idx="13761">
                  <c:v>0.24542536115569799</c:v>
                </c:pt>
                <c:pt idx="13762">
                  <c:v>0.24544319600499301</c:v>
                </c:pt>
                <c:pt idx="13763">
                  <c:v>0.245461030854289</c:v>
                </c:pt>
                <c:pt idx="13764">
                  <c:v>0.24547886570358399</c:v>
                </c:pt>
                <c:pt idx="13765">
                  <c:v>0.24549670055288</c:v>
                </c:pt>
                <c:pt idx="13766">
                  <c:v>0.24551453540217499</c:v>
                </c:pt>
                <c:pt idx="13767">
                  <c:v>0.24553237025147101</c:v>
                </c:pt>
                <c:pt idx="13768">
                  <c:v>0.245550205100766</c:v>
                </c:pt>
                <c:pt idx="13769">
                  <c:v>0.24556803995006199</c:v>
                </c:pt>
                <c:pt idx="13770">
                  <c:v>0.24558587479935701</c:v>
                </c:pt>
                <c:pt idx="13771">
                  <c:v>0.245603709648653</c:v>
                </c:pt>
                <c:pt idx="13772">
                  <c:v>0.24562154449794801</c:v>
                </c:pt>
                <c:pt idx="13773">
                  <c:v>0.245639379347244</c:v>
                </c:pt>
                <c:pt idx="13774">
                  <c:v>0.24565721419653999</c:v>
                </c:pt>
                <c:pt idx="13775">
                  <c:v>0.24567504904583501</c:v>
                </c:pt>
                <c:pt idx="13776">
                  <c:v>0.245692883895131</c:v>
                </c:pt>
                <c:pt idx="13777">
                  <c:v>0.24571071874442599</c:v>
                </c:pt>
                <c:pt idx="13778">
                  <c:v>0.245728553593722</c:v>
                </c:pt>
                <c:pt idx="13779">
                  <c:v>0.24574638844301699</c:v>
                </c:pt>
                <c:pt idx="13780">
                  <c:v>0.24576422329231301</c:v>
                </c:pt>
                <c:pt idx="13781">
                  <c:v>0.245782058141608</c:v>
                </c:pt>
                <c:pt idx="13782">
                  <c:v>0.24579989299090399</c:v>
                </c:pt>
                <c:pt idx="13783">
                  <c:v>0.24581772784019901</c:v>
                </c:pt>
                <c:pt idx="13784">
                  <c:v>0.245835562689495</c:v>
                </c:pt>
                <c:pt idx="13785">
                  <c:v>0.24585339753878999</c:v>
                </c:pt>
                <c:pt idx="13786">
                  <c:v>0.245871232388086</c:v>
                </c:pt>
                <c:pt idx="13787">
                  <c:v>0.24588906723738099</c:v>
                </c:pt>
                <c:pt idx="13788">
                  <c:v>0.24590690208667701</c:v>
                </c:pt>
                <c:pt idx="13789">
                  <c:v>0.245924736935972</c:v>
                </c:pt>
                <c:pt idx="13790">
                  <c:v>0.24594257178526799</c:v>
                </c:pt>
                <c:pt idx="13791">
                  <c:v>0.24596040663456301</c:v>
                </c:pt>
                <c:pt idx="13792">
                  <c:v>0.24597824148385899</c:v>
                </c:pt>
                <c:pt idx="13793">
                  <c:v>0.24599607633315401</c:v>
                </c:pt>
                <c:pt idx="13794">
                  <c:v>0.24601391118245</c:v>
                </c:pt>
                <c:pt idx="13795">
                  <c:v>0.24603174603174599</c:v>
                </c:pt>
                <c:pt idx="13796">
                  <c:v>0.24604958088104101</c:v>
                </c:pt>
                <c:pt idx="13797">
                  <c:v>0.246067415730337</c:v>
                </c:pt>
                <c:pt idx="13798">
                  <c:v>0.24608525057963199</c:v>
                </c:pt>
                <c:pt idx="13799">
                  <c:v>0.246103085428928</c:v>
                </c:pt>
                <c:pt idx="13800">
                  <c:v>0.24612092027822299</c:v>
                </c:pt>
                <c:pt idx="13801">
                  <c:v>0.24613875512751901</c:v>
                </c:pt>
                <c:pt idx="13802">
                  <c:v>0.246156589976814</c:v>
                </c:pt>
                <c:pt idx="13803">
                  <c:v>0.24617442482610999</c:v>
                </c:pt>
                <c:pt idx="13804">
                  <c:v>0.24619225967540501</c:v>
                </c:pt>
                <c:pt idx="13805">
                  <c:v>0.246210094524701</c:v>
                </c:pt>
                <c:pt idx="13806">
                  <c:v>0.24622792937399601</c:v>
                </c:pt>
                <c:pt idx="13807">
                  <c:v>0.246245764223292</c:v>
                </c:pt>
                <c:pt idx="13808">
                  <c:v>0.24626359907258699</c:v>
                </c:pt>
                <c:pt idx="13809">
                  <c:v>0.24628143392188301</c:v>
                </c:pt>
                <c:pt idx="13810">
                  <c:v>0.246299268771178</c:v>
                </c:pt>
                <c:pt idx="13811">
                  <c:v>0.24631710362047399</c:v>
                </c:pt>
                <c:pt idx="13812">
                  <c:v>0.246334938469769</c:v>
                </c:pt>
                <c:pt idx="13813">
                  <c:v>0.24635277331906499</c:v>
                </c:pt>
                <c:pt idx="13814">
                  <c:v>0.24637060816836001</c:v>
                </c:pt>
                <c:pt idx="13815">
                  <c:v>0.246388443017656</c:v>
                </c:pt>
                <c:pt idx="13816">
                  <c:v>0.24640627786695199</c:v>
                </c:pt>
                <c:pt idx="13817">
                  <c:v>0.24642411271624701</c:v>
                </c:pt>
                <c:pt idx="13818">
                  <c:v>0.246441947565543</c:v>
                </c:pt>
                <c:pt idx="13819">
                  <c:v>0.24645978241483801</c:v>
                </c:pt>
                <c:pt idx="13820">
                  <c:v>0.246477617264134</c:v>
                </c:pt>
                <c:pt idx="13821">
                  <c:v>0.24649545211342899</c:v>
                </c:pt>
                <c:pt idx="13822">
                  <c:v>0.24651328696272501</c:v>
                </c:pt>
                <c:pt idx="13823">
                  <c:v>0.24653112181202</c:v>
                </c:pt>
                <c:pt idx="13824">
                  <c:v>0.24654895666131599</c:v>
                </c:pt>
                <c:pt idx="13825">
                  <c:v>0.24656679151061101</c:v>
                </c:pt>
                <c:pt idx="13826">
                  <c:v>0.24658462635990699</c:v>
                </c:pt>
                <c:pt idx="13827">
                  <c:v>0.24660246120920201</c:v>
                </c:pt>
                <c:pt idx="13828">
                  <c:v>0.246620296058498</c:v>
                </c:pt>
                <c:pt idx="13829">
                  <c:v>0.24663813090779299</c:v>
                </c:pt>
                <c:pt idx="13830">
                  <c:v>0.24665596575708901</c:v>
                </c:pt>
                <c:pt idx="13831">
                  <c:v>0.246673800606384</c:v>
                </c:pt>
                <c:pt idx="13832">
                  <c:v>0.24669163545567999</c:v>
                </c:pt>
                <c:pt idx="13833">
                  <c:v>0.246709470304975</c:v>
                </c:pt>
                <c:pt idx="13834">
                  <c:v>0.24672730515427099</c:v>
                </c:pt>
                <c:pt idx="13835">
                  <c:v>0.24674514000356601</c:v>
                </c:pt>
                <c:pt idx="13836">
                  <c:v>0.246762974852862</c:v>
                </c:pt>
                <c:pt idx="13837">
                  <c:v>0.24678080970215799</c:v>
                </c:pt>
                <c:pt idx="13838">
                  <c:v>0.24679864455145301</c:v>
                </c:pt>
                <c:pt idx="13839">
                  <c:v>0.24681647940074899</c:v>
                </c:pt>
                <c:pt idx="13840">
                  <c:v>0.24683431425004401</c:v>
                </c:pt>
                <c:pt idx="13841">
                  <c:v>0.24685214909934</c:v>
                </c:pt>
                <c:pt idx="13842">
                  <c:v>0.24686998394863499</c:v>
                </c:pt>
                <c:pt idx="13843">
                  <c:v>0.24688781879793101</c:v>
                </c:pt>
                <c:pt idx="13844">
                  <c:v>0.246905653647226</c:v>
                </c:pt>
                <c:pt idx="13845">
                  <c:v>0.24692348849652199</c:v>
                </c:pt>
                <c:pt idx="13846">
                  <c:v>0.246941323345817</c:v>
                </c:pt>
                <c:pt idx="13847">
                  <c:v>0.24695915819511299</c:v>
                </c:pt>
                <c:pt idx="13848">
                  <c:v>0.24697699304440801</c:v>
                </c:pt>
                <c:pt idx="13849">
                  <c:v>0.246994827893704</c:v>
                </c:pt>
                <c:pt idx="13850">
                  <c:v>0.24701266274299899</c:v>
                </c:pt>
                <c:pt idx="13851">
                  <c:v>0.24703049759229501</c:v>
                </c:pt>
                <c:pt idx="13852">
                  <c:v>0.24704833244159</c:v>
                </c:pt>
                <c:pt idx="13853">
                  <c:v>0.24706616729088601</c:v>
                </c:pt>
                <c:pt idx="13854">
                  <c:v>0.247084002140181</c:v>
                </c:pt>
                <c:pt idx="13855">
                  <c:v>0.24710183698947699</c:v>
                </c:pt>
                <c:pt idx="13856">
                  <c:v>0.24711967183877201</c:v>
                </c:pt>
                <c:pt idx="13857">
                  <c:v>0.247137506688068</c:v>
                </c:pt>
                <c:pt idx="13858">
                  <c:v>0.24715534153736399</c:v>
                </c:pt>
                <c:pt idx="13859">
                  <c:v>0.247173176386659</c:v>
                </c:pt>
                <c:pt idx="13860">
                  <c:v>0.24719101123595499</c:v>
                </c:pt>
                <c:pt idx="13861">
                  <c:v>0.24720884608525001</c:v>
                </c:pt>
                <c:pt idx="13862">
                  <c:v>0.247226680934546</c:v>
                </c:pt>
                <c:pt idx="13863">
                  <c:v>0.24724451578384099</c:v>
                </c:pt>
                <c:pt idx="13864">
                  <c:v>0.24726235063313701</c:v>
                </c:pt>
                <c:pt idx="13865">
                  <c:v>0.247280185482432</c:v>
                </c:pt>
                <c:pt idx="13866">
                  <c:v>0.24729802033172801</c:v>
                </c:pt>
                <c:pt idx="13867">
                  <c:v>0.247315855181023</c:v>
                </c:pt>
                <c:pt idx="13868">
                  <c:v>0.24733369003031899</c:v>
                </c:pt>
                <c:pt idx="13869">
                  <c:v>0.24735152487961401</c:v>
                </c:pt>
                <c:pt idx="13870">
                  <c:v>0.24736935972891</c:v>
                </c:pt>
                <c:pt idx="13871">
                  <c:v>0.24738719457820499</c:v>
                </c:pt>
                <c:pt idx="13872">
                  <c:v>0.24740502942750101</c:v>
                </c:pt>
                <c:pt idx="13873">
                  <c:v>0.247422864276796</c:v>
                </c:pt>
                <c:pt idx="13874">
                  <c:v>0.24744069912609201</c:v>
                </c:pt>
                <c:pt idx="13875">
                  <c:v>0.247458533975387</c:v>
                </c:pt>
                <c:pt idx="13876">
                  <c:v>0.24747636882468299</c:v>
                </c:pt>
                <c:pt idx="13877">
                  <c:v>0.24749420367397801</c:v>
                </c:pt>
                <c:pt idx="13878">
                  <c:v>0.247512038523274</c:v>
                </c:pt>
                <c:pt idx="13879">
                  <c:v>0.24752987337256999</c:v>
                </c:pt>
                <c:pt idx="13880">
                  <c:v>0.247547708221865</c:v>
                </c:pt>
                <c:pt idx="13881">
                  <c:v>0.24756554307116099</c:v>
                </c:pt>
                <c:pt idx="13882">
                  <c:v>0.24758337792045601</c:v>
                </c:pt>
                <c:pt idx="13883">
                  <c:v>0.247601212769752</c:v>
                </c:pt>
                <c:pt idx="13884">
                  <c:v>0.24761904761904699</c:v>
                </c:pt>
                <c:pt idx="13885">
                  <c:v>0.24763688246834301</c:v>
                </c:pt>
                <c:pt idx="13886">
                  <c:v>0.247654717317638</c:v>
                </c:pt>
                <c:pt idx="13887">
                  <c:v>0.24767255216693401</c:v>
                </c:pt>
                <c:pt idx="13888">
                  <c:v>0.247690387016229</c:v>
                </c:pt>
                <c:pt idx="13889">
                  <c:v>0.24770822186552499</c:v>
                </c:pt>
                <c:pt idx="13890">
                  <c:v>0.24772605671482001</c:v>
                </c:pt>
                <c:pt idx="13891">
                  <c:v>0.247743891564116</c:v>
                </c:pt>
                <c:pt idx="13892">
                  <c:v>0.24776172641341099</c:v>
                </c:pt>
                <c:pt idx="13893">
                  <c:v>0.247779561262707</c:v>
                </c:pt>
                <c:pt idx="13894">
                  <c:v>0.24779739611200199</c:v>
                </c:pt>
                <c:pt idx="13895">
                  <c:v>0.24781523096129801</c:v>
                </c:pt>
                <c:pt idx="13896">
                  <c:v>0.247833065810593</c:v>
                </c:pt>
                <c:pt idx="13897">
                  <c:v>0.24785090065988899</c:v>
                </c:pt>
                <c:pt idx="13898">
                  <c:v>0.24786873550918401</c:v>
                </c:pt>
                <c:pt idx="13899">
                  <c:v>0.24788657035848</c:v>
                </c:pt>
                <c:pt idx="13900">
                  <c:v>0.24790440520777501</c:v>
                </c:pt>
                <c:pt idx="13901">
                  <c:v>0.247922240057071</c:v>
                </c:pt>
                <c:pt idx="13902">
                  <c:v>0.24794007490636699</c:v>
                </c:pt>
                <c:pt idx="13903">
                  <c:v>0.24795790975566201</c:v>
                </c:pt>
                <c:pt idx="13904">
                  <c:v>0.247975744604958</c:v>
                </c:pt>
                <c:pt idx="13905">
                  <c:v>0.24799357945425299</c:v>
                </c:pt>
                <c:pt idx="13906">
                  <c:v>0.248011414303549</c:v>
                </c:pt>
                <c:pt idx="13907">
                  <c:v>0.24802924915284399</c:v>
                </c:pt>
                <c:pt idx="13908">
                  <c:v>0.24804708400214001</c:v>
                </c:pt>
                <c:pt idx="13909">
                  <c:v>0.248064918851435</c:v>
                </c:pt>
                <c:pt idx="13910">
                  <c:v>0.24808275370073099</c:v>
                </c:pt>
                <c:pt idx="13911">
                  <c:v>0.24810058855002601</c:v>
                </c:pt>
                <c:pt idx="13912">
                  <c:v>0.248118423399322</c:v>
                </c:pt>
                <c:pt idx="13913">
                  <c:v>0.24813625824861699</c:v>
                </c:pt>
                <c:pt idx="13914">
                  <c:v>0.248154093097913</c:v>
                </c:pt>
                <c:pt idx="13915">
                  <c:v>0.24817192794720799</c:v>
                </c:pt>
                <c:pt idx="13916">
                  <c:v>0.24818976279650401</c:v>
                </c:pt>
                <c:pt idx="13917">
                  <c:v>0.248207597645799</c:v>
                </c:pt>
                <c:pt idx="13918">
                  <c:v>0.24822543249509499</c:v>
                </c:pt>
                <c:pt idx="13919">
                  <c:v>0.24824326734439001</c:v>
                </c:pt>
                <c:pt idx="13920">
                  <c:v>0.248261102193686</c:v>
                </c:pt>
                <c:pt idx="13921">
                  <c:v>0.24827893704298101</c:v>
                </c:pt>
                <c:pt idx="13922">
                  <c:v>0.248296771892277</c:v>
                </c:pt>
                <c:pt idx="13923">
                  <c:v>0.24831460674157299</c:v>
                </c:pt>
                <c:pt idx="13924">
                  <c:v>0.24833244159086801</c:v>
                </c:pt>
                <c:pt idx="13925">
                  <c:v>0.248350276440164</c:v>
                </c:pt>
                <c:pt idx="13926">
                  <c:v>0.24836811128945899</c:v>
                </c:pt>
                <c:pt idx="13927">
                  <c:v>0.248385946138755</c:v>
                </c:pt>
                <c:pt idx="13928">
                  <c:v>0.24840378098804999</c:v>
                </c:pt>
                <c:pt idx="13929">
                  <c:v>0.24842161583734601</c:v>
                </c:pt>
                <c:pt idx="13930">
                  <c:v>0.248439450686641</c:v>
                </c:pt>
                <c:pt idx="13931">
                  <c:v>0.24845728553593699</c:v>
                </c:pt>
                <c:pt idx="13932">
                  <c:v>0.24847512038523201</c:v>
                </c:pt>
                <c:pt idx="13933">
                  <c:v>0.248492955234528</c:v>
                </c:pt>
                <c:pt idx="13934">
                  <c:v>0.24851079008382301</c:v>
                </c:pt>
                <c:pt idx="13935">
                  <c:v>0.248528624933119</c:v>
                </c:pt>
                <c:pt idx="13936">
                  <c:v>0.24854645978241399</c:v>
                </c:pt>
                <c:pt idx="13937">
                  <c:v>0.24856429463171001</c:v>
                </c:pt>
                <c:pt idx="13938">
                  <c:v>0.248582129481005</c:v>
                </c:pt>
                <c:pt idx="13939">
                  <c:v>0.24859996433030099</c:v>
                </c:pt>
                <c:pt idx="13940">
                  <c:v>0.24861779917959601</c:v>
                </c:pt>
                <c:pt idx="13941">
                  <c:v>0.24863563402889199</c:v>
                </c:pt>
                <c:pt idx="13942">
                  <c:v>0.24865346887818701</c:v>
                </c:pt>
                <c:pt idx="13943">
                  <c:v>0.248671303727483</c:v>
                </c:pt>
                <c:pt idx="13944">
                  <c:v>0.24868913857677899</c:v>
                </c:pt>
                <c:pt idx="13945">
                  <c:v>0.24870697342607401</c:v>
                </c:pt>
                <c:pt idx="13946">
                  <c:v>0.24872480827537</c:v>
                </c:pt>
                <c:pt idx="13947">
                  <c:v>0.24874264312466501</c:v>
                </c:pt>
                <c:pt idx="13948">
                  <c:v>0.248760477973961</c:v>
                </c:pt>
                <c:pt idx="13949">
                  <c:v>0.24877831282325599</c:v>
                </c:pt>
                <c:pt idx="13950">
                  <c:v>0.24879614767255201</c:v>
                </c:pt>
                <c:pt idx="13951">
                  <c:v>0.248813982521847</c:v>
                </c:pt>
                <c:pt idx="13952">
                  <c:v>0.24883181737114299</c:v>
                </c:pt>
                <c:pt idx="13953">
                  <c:v>0.24884965222043801</c:v>
                </c:pt>
                <c:pt idx="13954">
                  <c:v>0.24886748706973399</c:v>
                </c:pt>
                <c:pt idx="13955">
                  <c:v>0.24888532191902901</c:v>
                </c:pt>
                <c:pt idx="13956">
                  <c:v>0.248903156768325</c:v>
                </c:pt>
                <c:pt idx="13957">
                  <c:v>0.24892099161761999</c:v>
                </c:pt>
                <c:pt idx="13958">
                  <c:v>0.24893882646691601</c:v>
                </c:pt>
                <c:pt idx="13959">
                  <c:v>0.248956661316211</c:v>
                </c:pt>
                <c:pt idx="13960">
                  <c:v>0.24897449616550699</c:v>
                </c:pt>
                <c:pt idx="13961">
                  <c:v>0.248992331014802</c:v>
                </c:pt>
                <c:pt idx="13962">
                  <c:v>0.24901016586409799</c:v>
                </c:pt>
                <c:pt idx="13963">
                  <c:v>0.24902800071339301</c:v>
                </c:pt>
                <c:pt idx="13964">
                  <c:v>0.249045835562689</c:v>
                </c:pt>
                <c:pt idx="13965">
                  <c:v>0.24906367041198499</c:v>
                </c:pt>
                <c:pt idx="13966">
                  <c:v>0.24908150526128001</c:v>
                </c:pt>
                <c:pt idx="13967">
                  <c:v>0.249099340110576</c:v>
                </c:pt>
                <c:pt idx="13968">
                  <c:v>0.24911717495987101</c:v>
                </c:pt>
                <c:pt idx="13969">
                  <c:v>0.249135009809167</c:v>
                </c:pt>
                <c:pt idx="13970">
                  <c:v>0.24915284465846199</c:v>
                </c:pt>
                <c:pt idx="13971">
                  <c:v>0.24917067950775801</c:v>
                </c:pt>
                <c:pt idx="13972">
                  <c:v>0.249188514357053</c:v>
                </c:pt>
                <c:pt idx="13973">
                  <c:v>0.24920634920634899</c:v>
                </c:pt>
                <c:pt idx="13974">
                  <c:v>0.249224184055644</c:v>
                </c:pt>
                <c:pt idx="13975">
                  <c:v>0.24924201890493999</c:v>
                </c:pt>
                <c:pt idx="13976">
                  <c:v>0.24925985375423501</c:v>
                </c:pt>
                <c:pt idx="13977">
                  <c:v>0.249277688603531</c:v>
                </c:pt>
                <c:pt idx="13978">
                  <c:v>0.24929552345282599</c:v>
                </c:pt>
                <c:pt idx="13979">
                  <c:v>0.24931335830212201</c:v>
                </c:pt>
                <c:pt idx="13980">
                  <c:v>0.249331193151417</c:v>
                </c:pt>
                <c:pt idx="13981">
                  <c:v>0.24934902800071301</c:v>
                </c:pt>
                <c:pt idx="13982">
                  <c:v>0.249366862850008</c:v>
                </c:pt>
                <c:pt idx="13983">
                  <c:v>0.24938469769930399</c:v>
                </c:pt>
                <c:pt idx="13984">
                  <c:v>0.24940253254859901</c:v>
                </c:pt>
                <c:pt idx="13985">
                  <c:v>0.249420367397895</c:v>
                </c:pt>
                <c:pt idx="13986">
                  <c:v>0.24943820224719099</c:v>
                </c:pt>
                <c:pt idx="13987">
                  <c:v>0.24945603709648601</c:v>
                </c:pt>
                <c:pt idx="13988">
                  <c:v>0.24947387194578199</c:v>
                </c:pt>
                <c:pt idx="13989">
                  <c:v>0.24949170679507701</c:v>
                </c:pt>
                <c:pt idx="13990">
                  <c:v>0.249509541644373</c:v>
                </c:pt>
                <c:pt idx="13991">
                  <c:v>0.24952737649366799</c:v>
                </c:pt>
                <c:pt idx="13992">
                  <c:v>0.24954521134296401</c:v>
                </c:pt>
                <c:pt idx="13993">
                  <c:v>0.249563046192259</c:v>
                </c:pt>
                <c:pt idx="13994">
                  <c:v>0.24958088104155501</c:v>
                </c:pt>
                <c:pt idx="13995">
                  <c:v>0.24959871589085</c:v>
                </c:pt>
                <c:pt idx="13996">
                  <c:v>0.24961655074014599</c:v>
                </c:pt>
                <c:pt idx="13997">
                  <c:v>0.24963438558944101</c:v>
                </c:pt>
                <c:pt idx="13998">
                  <c:v>0.249652220438737</c:v>
                </c:pt>
                <c:pt idx="13999">
                  <c:v>0.24967005528803199</c:v>
                </c:pt>
                <c:pt idx="14000">
                  <c:v>0.24968789013732801</c:v>
                </c:pt>
                <c:pt idx="14001">
                  <c:v>0.249705724986623</c:v>
                </c:pt>
                <c:pt idx="14002">
                  <c:v>0.24972355983591901</c:v>
                </c:pt>
                <c:pt idx="14003">
                  <c:v>0.249741394685214</c:v>
                </c:pt>
                <c:pt idx="14004">
                  <c:v>0.24975922953450999</c:v>
                </c:pt>
                <c:pt idx="14005">
                  <c:v>0.24977706438380501</c:v>
                </c:pt>
                <c:pt idx="14006">
                  <c:v>0.249794899233101</c:v>
                </c:pt>
                <c:pt idx="14007">
                  <c:v>0.24981273408239699</c:v>
                </c:pt>
                <c:pt idx="14008">
                  <c:v>0.249830568931692</c:v>
                </c:pt>
                <c:pt idx="14009">
                  <c:v>0.24984840378098799</c:v>
                </c:pt>
                <c:pt idx="14010">
                  <c:v>0.24986623863028301</c:v>
                </c:pt>
                <c:pt idx="14011">
                  <c:v>0.249884073479579</c:v>
                </c:pt>
                <c:pt idx="14012">
                  <c:v>0.24990190832887399</c:v>
                </c:pt>
                <c:pt idx="14013">
                  <c:v>0.24991974317817001</c:v>
                </c:pt>
                <c:pt idx="14014">
                  <c:v>0.249937578027465</c:v>
                </c:pt>
                <c:pt idx="14015">
                  <c:v>0.24995541287676101</c:v>
                </c:pt>
                <c:pt idx="14016">
                  <c:v>0.249973247726056</c:v>
                </c:pt>
                <c:pt idx="14017">
                  <c:v>0.24999108257535199</c:v>
                </c:pt>
                <c:pt idx="14018">
                  <c:v>0.25000891742464698</c:v>
                </c:pt>
                <c:pt idx="14019">
                  <c:v>0.250026752273943</c:v>
                </c:pt>
                <c:pt idx="14020">
                  <c:v>0.25004458712323802</c:v>
                </c:pt>
                <c:pt idx="14021">
                  <c:v>0.25006242197253398</c:v>
                </c:pt>
                <c:pt idx="14022">
                  <c:v>0.25008025682182899</c:v>
                </c:pt>
                <c:pt idx="14023">
                  <c:v>0.25009809167112501</c:v>
                </c:pt>
                <c:pt idx="14024">
                  <c:v>0.25011592652041997</c:v>
                </c:pt>
                <c:pt idx="14025">
                  <c:v>0.25013376136971599</c:v>
                </c:pt>
                <c:pt idx="14026">
                  <c:v>0.25015159621901101</c:v>
                </c:pt>
                <c:pt idx="14027">
                  <c:v>0.25016943106830702</c:v>
                </c:pt>
                <c:pt idx="14028">
                  <c:v>0.25018726591760299</c:v>
                </c:pt>
                <c:pt idx="14029">
                  <c:v>0.250205100766898</c:v>
                </c:pt>
                <c:pt idx="14030">
                  <c:v>0.25022293561619402</c:v>
                </c:pt>
                <c:pt idx="14031">
                  <c:v>0.25024077046548898</c:v>
                </c:pt>
                <c:pt idx="14032">
                  <c:v>0.250258605314785</c:v>
                </c:pt>
                <c:pt idx="14033">
                  <c:v>0.25027644016408002</c:v>
                </c:pt>
                <c:pt idx="14034">
                  <c:v>0.25029427501337598</c:v>
                </c:pt>
                <c:pt idx="14035">
                  <c:v>0.250312109862671</c:v>
                </c:pt>
                <c:pt idx="14036">
                  <c:v>0.25032994471196701</c:v>
                </c:pt>
                <c:pt idx="14037">
                  <c:v>0.25034777956126197</c:v>
                </c:pt>
                <c:pt idx="14038">
                  <c:v>0.25036561441055799</c:v>
                </c:pt>
                <c:pt idx="14039">
                  <c:v>0.25038344925985301</c:v>
                </c:pt>
                <c:pt idx="14040">
                  <c:v>0.25040128410914902</c:v>
                </c:pt>
                <c:pt idx="14041">
                  <c:v>0.25041911895844399</c:v>
                </c:pt>
                <c:pt idx="14042">
                  <c:v>0.25043695380774</c:v>
                </c:pt>
                <c:pt idx="14043">
                  <c:v>0.25045478865703502</c:v>
                </c:pt>
                <c:pt idx="14044">
                  <c:v>0.25047262350633098</c:v>
                </c:pt>
                <c:pt idx="14045">
                  <c:v>0.250490458355626</c:v>
                </c:pt>
                <c:pt idx="14046">
                  <c:v>0.25050829320492202</c:v>
                </c:pt>
                <c:pt idx="14047">
                  <c:v>0.25052612805421698</c:v>
                </c:pt>
                <c:pt idx="14048">
                  <c:v>0.250543962903513</c:v>
                </c:pt>
                <c:pt idx="14049">
                  <c:v>0.25056179775280901</c:v>
                </c:pt>
                <c:pt idx="14050">
                  <c:v>0.25057963260210397</c:v>
                </c:pt>
                <c:pt idx="14051">
                  <c:v>0.25059746745139999</c:v>
                </c:pt>
                <c:pt idx="14052">
                  <c:v>0.25061530230069501</c:v>
                </c:pt>
                <c:pt idx="14053">
                  <c:v>0.25063313714999103</c:v>
                </c:pt>
                <c:pt idx="14054">
                  <c:v>0.25065097199928599</c:v>
                </c:pt>
                <c:pt idx="14055">
                  <c:v>0.250668806848582</c:v>
                </c:pt>
                <c:pt idx="14056">
                  <c:v>0.25068664169787702</c:v>
                </c:pt>
                <c:pt idx="14057">
                  <c:v>0.25070447654717298</c:v>
                </c:pt>
                <c:pt idx="14058">
                  <c:v>0.250722311396468</c:v>
                </c:pt>
                <c:pt idx="14059">
                  <c:v>0.25074014624576402</c:v>
                </c:pt>
                <c:pt idx="14060">
                  <c:v>0.25075798109505898</c:v>
                </c:pt>
                <c:pt idx="14061">
                  <c:v>0.250775815944355</c:v>
                </c:pt>
                <c:pt idx="14062">
                  <c:v>0.25079365079365001</c:v>
                </c:pt>
                <c:pt idx="14063">
                  <c:v>0.25081148564294597</c:v>
                </c:pt>
                <c:pt idx="14064">
                  <c:v>0.25082932049224099</c:v>
                </c:pt>
                <c:pt idx="14065">
                  <c:v>0.25084715534153701</c:v>
                </c:pt>
                <c:pt idx="14066">
                  <c:v>0.25086499019083203</c:v>
                </c:pt>
                <c:pt idx="14067">
                  <c:v>0.25088282504012799</c:v>
                </c:pt>
                <c:pt idx="14068">
                  <c:v>0.25090065988942301</c:v>
                </c:pt>
                <c:pt idx="14069">
                  <c:v>0.25091849473871902</c:v>
                </c:pt>
                <c:pt idx="14070">
                  <c:v>0.25093632958801498</c:v>
                </c:pt>
                <c:pt idx="14071">
                  <c:v>0.25095416443731</c:v>
                </c:pt>
                <c:pt idx="14072">
                  <c:v>0.25097199928660602</c:v>
                </c:pt>
                <c:pt idx="14073">
                  <c:v>0.25098983413590098</c:v>
                </c:pt>
                <c:pt idx="14074">
                  <c:v>0.251007668985197</c:v>
                </c:pt>
                <c:pt idx="14075">
                  <c:v>0.25102550383449201</c:v>
                </c:pt>
                <c:pt idx="14076">
                  <c:v>0.25104333868378798</c:v>
                </c:pt>
                <c:pt idx="14077">
                  <c:v>0.25106117353308299</c:v>
                </c:pt>
                <c:pt idx="14078">
                  <c:v>0.25107900838237901</c:v>
                </c:pt>
                <c:pt idx="14079">
                  <c:v>0.25109684323167403</c:v>
                </c:pt>
                <c:pt idx="14080">
                  <c:v>0.25111467808096999</c:v>
                </c:pt>
                <c:pt idx="14081">
                  <c:v>0.25113251293026501</c:v>
                </c:pt>
                <c:pt idx="14082">
                  <c:v>0.25115034777956102</c:v>
                </c:pt>
                <c:pt idx="14083">
                  <c:v>0.25116818262885598</c:v>
                </c:pt>
                <c:pt idx="14084">
                  <c:v>0.251186017478152</c:v>
                </c:pt>
                <c:pt idx="14085">
                  <c:v>0.25120385232744702</c:v>
                </c:pt>
                <c:pt idx="14086">
                  <c:v>0.25122168717674298</c:v>
                </c:pt>
                <c:pt idx="14087">
                  <c:v>0.251239522026038</c:v>
                </c:pt>
                <c:pt idx="14088">
                  <c:v>0.25125735687533401</c:v>
                </c:pt>
                <c:pt idx="14089">
                  <c:v>0.25127519172462898</c:v>
                </c:pt>
                <c:pt idx="14090">
                  <c:v>0.25129302657392499</c:v>
                </c:pt>
                <c:pt idx="14091">
                  <c:v>0.25131086142322001</c:v>
                </c:pt>
                <c:pt idx="14092">
                  <c:v>0.25132869627251597</c:v>
                </c:pt>
                <c:pt idx="14093">
                  <c:v>0.25134653112181199</c:v>
                </c:pt>
                <c:pt idx="14094">
                  <c:v>0.25136436597110701</c:v>
                </c:pt>
                <c:pt idx="14095">
                  <c:v>0.25138220082040302</c:v>
                </c:pt>
                <c:pt idx="14096">
                  <c:v>0.25140003566969799</c:v>
                </c:pt>
                <c:pt idx="14097">
                  <c:v>0.251417870518994</c:v>
                </c:pt>
                <c:pt idx="14098">
                  <c:v>0.25143570536828902</c:v>
                </c:pt>
                <c:pt idx="14099">
                  <c:v>0.25145354021758498</c:v>
                </c:pt>
                <c:pt idx="14100">
                  <c:v>0.25147137506688</c:v>
                </c:pt>
                <c:pt idx="14101">
                  <c:v>0.25148920991617602</c:v>
                </c:pt>
                <c:pt idx="14102">
                  <c:v>0.25150704476547098</c:v>
                </c:pt>
                <c:pt idx="14103">
                  <c:v>0.25152487961476699</c:v>
                </c:pt>
                <c:pt idx="14104">
                  <c:v>0.25154271446406201</c:v>
                </c:pt>
                <c:pt idx="14105">
                  <c:v>0.25156054931335797</c:v>
                </c:pt>
                <c:pt idx="14106">
                  <c:v>0.25157838416265299</c:v>
                </c:pt>
                <c:pt idx="14107">
                  <c:v>0.25159621901194901</c:v>
                </c:pt>
                <c:pt idx="14108">
                  <c:v>0.25161405386124402</c:v>
                </c:pt>
                <c:pt idx="14109">
                  <c:v>0.25163188871053999</c:v>
                </c:pt>
                <c:pt idx="14110">
                  <c:v>0.251649723559835</c:v>
                </c:pt>
                <c:pt idx="14111">
                  <c:v>0.25166755840913102</c:v>
                </c:pt>
                <c:pt idx="14112">
                  <c:v>0.25168539325842698</c:v>
                </c:pt>
                <c:pt idx="14113">
                  <c:v>0.251703228107722</c:v>
                </c:pt>
                <c:pt idx="14114">
                  <c:v>0.25172106295701802</c:v>
                </c:pt>
                <c:pt idx="14115">
                  <c:v>0.25173889780631298</c:v>
                </c:pt>
                <c:pt idx="14116">
                  <c:v>0.25175673265560899</c:v>
                </c:pt>
                <c:pt idx="14117">
                  <c:v>0.25177456750490401</c:v>
                </c:pt>
                <c:pt idx="14118">
                  <c:v>0.25179240235419997</c:v>
                </c:pt>
                <c:pt idx="14119">
                  <c:v>0.25181023720349499</c:v>
                </c:pt>
                <c:pt idx="14120">
                  <c:v>0.25182807205279101</c:v>
                </c:pt>
                <c:pt idx="14121">
                  <c:v>0.25184590690208603</c:v>
                </c:pt>
                <c:pt idx="14122">
                  <c:v>0.25186374175138199</c:v>
                </c:pt>
                <c:pt idx="14123">
                  <c:v>0.251881576600677</c:v>
                </c:pt>
                <c:pt idx="14124">
                  <c:v>0.25189941144997302</c:v>
                </c:pt>
                <c:pt idx="14125">
                  <c:v>0.25191724629926798</c:v>
                </c:pt>
                <c:pt idx="14126">
                  <c:v>0.251935081148564</c:v>
                </c:pt>
                <c:pt idx="14127">
                  <c:v>0.25195291599785902</c:v>
                </c:pt>
                <c:pt idx="14128">
                  <c:v>0.25197075084715498</c:v>
                </c:pt>
                <c:pt idx="14129">
                  <c:v>0.25198858569645</c:v>
                </c:pt>
                <c:pt idx="14130">
                  <c:v>0.25200642054574601</c:v>
                </c:pt>
                <c:pt idx="14131">
                  <c:v>0.25202425539504097</c:v>
                </c:pt>
                <c:pt idx="14132">
                  <c:v>0.25204209024433699</c:v>
                </c:pt>
                <c:pt idx="14133">
                  <c:v>0.25205992509363201</c:v>
                </c:pt>
                <c:pt idx="14134">
                  <c:v>0.25207775994292803</c:v>
                </c:pt>
                <c:pt idx="14135">
                  <c:v>0.25209559479222399</c:v>
                </c:pt>
                <c:pt idx="14136">
                  <c:v>0.252113429641519</c:v>
                </c:pt>
                <c:pt idx="14137">
                  <c:v>0.25213126449081502</c:v>
                </c:pt>
                <c:pt idx="14138">
                  <c:v>0.25214909934010998</c:v>
                </c:pt>
                <c:pt idx="14139">
                  <c:v>0.252166934189406</c:v>
                </c:pt>
                <c:pt idx="14140">
                  <c:v>0.25218476903870102</c:v>
                </c:pt>
                <c:pt idx="14141">
                  <c:v>0.25220260388799698</c:v>
                </c:pt>
                <c:pt idx="14142">
                  <c:v>0.252220438737292</c:v>
                </c:pt>
                <c:pt idx="14143">
                  <c:v>0.25223827358658801</c:v>
                </c:pt>
                <c:pt idx="14144">
                  <c:v>0.25225610843588298</c:v>
                </c:pt>
                <c:pt idx="14145">
                  <c:v>0.25227394328517899</c:v>
                </c:pt>
                <c:pt idx="14146">
                  <c:v>0.25229177813447401</c:v>
                </c:pt>
                <c:pt idx="14147">
                  <c:v>0.25230961298377003</c:v>
                </c:pt>
                <c:pt idx="14148">
                  <c:v>0.25232744783306499</c:v>
                </c:pt>
                <c:pt idx="14149">
                  <c:v>0.25234528268236101</c:v>
                </c:pt>
                <c:pt idx="14150">
                  <c:v>0.25236311753165602</c:v>
                </c:pt>
                <c:pt idx="14151">
                  <c:v>0.25238095238095198</c:v>
                </c:pt>
                <c:pt idx="14152">
                  <c:v>0.252398787230247</c:v>
                </c:pt>
                <c:pt idx="14153">
                  <c:v>0.25241662207954302</c:v>
                </c:pt>
                <c:pt idx="14154">
                  <c:v>0.25243445692883798</c:v>
                </c:pt>
                <c:pt idx="14155">
                  <c:v>0.252452291778134</c:v>
                </c:pt>
                <c:pt idx="14156">
                  <c:v>0.25247012662743001</c:v>
                </c:pt>
                <c:pt idx="14157">
                  <c:v>0.25248796147672498</c:v>
                </c:pt>
                <c:pt idx="14158">
                  <c:v>0.25250579632602099</c:v>
                </c:pt>
                <c:pt idx="14159">
                  <c:v>0.25252363117531601</c:v>
                </c:pt>
                <c:pt idx="14160">
                  <c:v>0.25254146602461203</c:v>
                </c:pt>
                <c:pt idx="14161">
                  <c:v>0.25255930087390699</c:v>
                </c:pt>
                <c:pt idx="14162">
                  <c:v>0.25257713572320301</c:v>
                </c:pt>
                <c:pt idx="14163">
                  <c:v>0.25259497057249802</c:v>
                </c:pt>
                <c:pt idx="14164">
                  <c:v>0.25261280542179398</c:v>
                </c:pt>
                <c:pt idx="14165">
                  <c:v>0.252630640271089</c:v>
                </c:pt>
                <c:pt idx="14166">
                  <c:v>0.25264847512038502</c:v>
                </c:pt>
                <c:pt idx="14167">
                  <c:v>0.25266630996967998</c:v>
                </c:pt>
                <c:pt idx="14168">
                  <c:v>0.252684144818976</c:v>
                </c:pt>
                <c:pt idx="14169">
                  <c:v>0.25270197966827102</c:v>
                </c:pt>
                <c:pt idx="14170">
                  <c:v>0.25271981451756698</c:v>
                </c:pt>
                <c:pt idx="14171">
                  <c:v>0.25273764936686199</c:v>
                </c:pt>
                <c:pt idx="14172">
                  <c:v>0.25275548421615801</c:v>
                </c:pt>
                <c:pt idx="14173">
                  <c:v>0.25277331906545297</c:v>
                </c:pt>
                <c:pt idx="14174">
                  <c:v>0.25279115391474899</c:v>
                </c:pt>
                <c:pt idx="14175">
                  <c:v>0.25280898876404401</c:v>
                </c:pt>
                <c:pt idx="14176">
                  <c:v>0.25282682361334002</c:v>
                </c:pt>
                <c:pt idx="14177">
                  <c:v>0.25284465846263598</c:v>
                </c:pt>
                <c:pt idx="14178">
                  <c:v>0.252862493311931</c:v>
                </c:pt>
                <c:pt idx="14179">
                  <c:v>0.25288032816122702</c:v>
                </c:pt>
                <c:pt idx="14180">
                  <c:v>0.25289816301052198</c:v>
                </c:pt>
                <c:pt idx="14181">
                  <c:v>0.252915997859818</c:v>
                </c:pt>
                <c:pt idx="14182">
                  <c:v>0.25293383270911302</c:v>
                </c:pt>
                <c:pt idx="14183">
                  <c:v>0.25295166755840898</c:v>
                </c:pt>
                <c:pt idx="14184">
                  <c:v>0.25296950240770399</c:v>
                </c:pt>
                <c:pt idx="14185">
                  <c:v>0.25298733725700001</c:v>
                </c:pt>
                <c:pt idx="14186">
                  <c:v>0.25300517210629497</c:v>
                </c:pt>
                <c:pt idx="14187">
                  <c:v>0.25302300695559099</c:v>
                </c:pt>
                <c:pt idx="14188">
                  <c:v>0.25304084180488601</c:v>
                </c:pt>
                <c:pt idx="14189">
                  <c:v>0.25305867665418202</c:v>
                </c:pt>
                <c:pt idx="14190">
                  <c:v>0.25307651150347699</c:v>
                </c:pt>
                <c:pt idx="14191">
                  <c:v>0.253094346352773</c:v>
                </c:pt>
                <c:pt idx="14192">
                  <c:v>0.25311218120206802</c:v>
                </c:pt>
                <c:pt idx="14193">
                  <c:v>0.25313001605136398</c:v>
                </c:pt>
                <c:pt idx="14194">
                  <c:v>0.253147850900659</c:v>
                </c:pt>
                <c:pt idx="14195">
                  <c:v>0.25316568574995502</c:v>
                </c:pt>
                <c:pt idx="14196">
                  <c:v>0.25318352059924998</c:v>
                </c:pt>
                <c:pt idx="14197">
                  <c:v>0.25320135544854599</c:v>
                </c:pt>
                <c:pt idx="14198">
                  <c:v>0.25321919029784101</c:v>
                </c:pt>
                <c:pt idx="14199">
                  <c:v>0.25323702514713697</c:v>
                </c:pt>
                <c:pt idx="14200">
                  <c:v>0.25325485999643299</c:v>
                </c:pt>
                <c:pt idx="14201">
                  <c:v>0.25327269484572801</c:v>
                </c:pt>
                <c:pt idx="14202">
                  <c:v>0.25329052969502402</c:v>
                </c:pt>
                <c:pt idx="14203">
                  <c:v>0.25330836454431899</c:v>
                </c:pt>
                <c:pt idx="14204">
                  <c:v>0.253326199393615</c:v>
                </c:pt>
                <c:pt idx="14205">
                  <c:v>0.25334403424291002</c:v>
                </c:pt>
                <c:pt idx="14206">
                  <c:v>0.25336186909220598</c:v>
                </c:pt>
                <c:pt idx="14207">
                  <c:v>0.253379703941501</c:v>
                </c:pt>
                <c:pt idx="14208">
                  <c:v>0.25339753879079702</c:v>
                </c:pt>
                <c:pt idx="14209">
                  <c:v>0.25341537364009198</c:v>
                </c:pt>
                <c:pt idx="14210">
                  <c:v>0.253433208489388</c:v>
                </c:pt>
                <c:pt idx="14211">
                  <c:v>0.25345104333868301</c:v>
                </c:pt>
                <c:pt idx="14212">
                  <c:v>0.25346887818797897</c:v>
                </c:pt>
                <c:pt idx="14213">
                  <c:v>0.25348671303727399</c:v>
                </c:pt>
                <c:pt idx="14214">
                  <c:v>0.25350454788657001</c:v>
                </c:pt>
                <c:pt idx="14215">
                  <c:v>0.25352238273586503</c:v>
                </c:pt>
                <c:pt idx="14216">
                  <c:v>0.25354021758516099</c:v>
                </c:pt>
                <c:pt idx="14217">
                  <c:v>0.253558052434456</c:v>
                </c:pt>
                <c:pt idx="14218">
                  <c:v>0.25357588728375202</c:v>
                </c:pt>
                <c:pt idx="14219">
                  <c:v>0.25359372213304798</c:v>
                </c:pt>
                <c:pt idx="14220">
                  <c:v>0.253611556982343</c:v>
                </c:pt>
                <c:pt idx="14221">
                  <c:v>0.25362939183163902</c:v>
                </c:pt>
                <c:pt idx="14222">
                  <c:v>0.25364722668093398</c:v>
                </c:pt>
                <c:pt idx="14223">
                  <c:v>0.25366506153023</c:v>
                </c:pt>
                <c:pt idx="14224">
                  <c:v>0.25368289637952501</c:v>
                </c:pt>
                <c:pt idx="14225">
                  <c:v>0.25370073122882097</c:v>
                </c:pt>
                <c:pt idx="14226">
                  <c:v>0.25371856607811599</c:v>
                </c:pt>
                <c:pt idx="14227">
                  <c:v>0.25373640092741201</c:v>
                </c:pt>
                <c:pt idx="14228">
                  <c:v>0.25375423577670703</c:v>
                </c:pt>
                <c:pt idx="14229">
                  <c:v>0.25377207062600299</c:v>
                </c:pt>
                <c:pt idx="14230">
                  <c:v>0.25378990547529801</c:v>
                </c:pt>
                <c:pt idx="14231">
                  <c:v>0.25380774032459402</c:v>
                </c:pt>
                <c:pt idx="14232">
                  <c:v>0.25382557517388898</c:v>
                </c:pt>
                <c:pt idx="14233">
                  <c:v>0.253843410023185</c:v>
                </c:pt>
                <c:pt idx="14234">
                  <c:v>0.25386124487248002</c:v>
                </c:pt>
                <c:pt idx="14235">
                  <c:v>0.25387907972177598</c:v>
                </c:pt>
                <c:pt idx="14236">
                  <c:v>0.253896914571071</c:v>
                </c:pt>
                <c:pt idx="14237">
                  <c:v>0.25391474942036701</c:v>
                </c:pt>
                <c:pt idx="14238">
                  <c:v>0.25393258426966198</c:v>
                </c:pt>
                <c:pt idx="14239">
                  <c:v>0.25395041911895799</c:v>
                </c:pt>
                <c:pt idx="14240">
                  <c:v>0.25396825396825301</c:v>
                </c:pt>
                <c:pt idx="14241">
                  <c:v>0.25398608881754903</c:v>
                </c:pt>
                <c:pt idx="14242">
                  <c:v>0.25400392366684499</c:v>
                </c:pt>
                <c:pt idx="14243">
                  <c:v>0.25402175851614001</c:v>
                </c:pt>
                <c:pt idx="14244">
                  <c:v>0.25403959336543602</c:v>
                </c:pt>
                <c:pt idx="14245">
                  <c:v>0.25405742821473098</c:v>
                </c:pt>
                <c:pt idx="14246">
                  <c:v>0.254075263064027</c:v>
                </c:pt>
                <c:pt idx="14247">
                  <c:v>0.25409309791332202</c:v>
                </c:pt>
                <c:pt idx="14248">
                  <c:v>0.25411093276261798</c:v>
                </c:pt>
                <c:pt idx="14249">
                  <c:v>0.254128767611913</c:v>
                </c:pt>
                <c:pt idx="14250">
                  <c:v>0.25414660246120901</c:v>
                </c:pt>
                <c:pt idx="14251">
                  <c:v>0.25416443731050398</c:v>
                </c:pt>
                <c:pt idx="14252">
                  <c:v>0.25418227215979999</c:v>
                </c:pt>
                <c:pt idx="14253">
                  <c:v>0.25420010700909501</c:v>
                </c:pt>
                <c:pt idx="14254">
                  <c:v>0.25421794185839097</c:v>
                </c:pt>
                <c:pt idx="14255">
                  <c:v>0.25423577670768599</c:v>
                </c:pt>
                <c:pt idx="14256">
                  <c:v>0.25425361155698201</c:v>
                </c:pt>
                <c:pt idx="14257">
                  <c:v>0.25427144640627702</c:v>
                </c:pt>
                <c:pt idx="14258">
                  <c:v>0.25428928125557299</c:v>
                </c:pt>
                <c:pt idx="14259">
                  <c:v>0.254307116104868</c:v>
                </c:pt>
                <c:pt idx="14260">
                  <c:v>0.25432495095416402</c:v>
                </c:pt>
                <c:pt idx="14261">
                  <c:v>0.25434278580345998</c:v>
                </c:pt>
                <c:pt idx="14262">
                  <c:v>0.254360620652755</c:v>
                </c:pt>
                <c:pt idx="14263">
                  <c:v>0.25437845550205102</c:v>
                </c:pt>
                <c:pt idx="14264">
                  <c:v>0.25439629035134598</c:v>
                </c:pt>
                <c:pt idx="14265">
                  <c:v>0.25441412520064199</c:v>
                </c:pt>
                <c:pt idx="14266">
                  <c:v>0.25443196004993701</c:v>
                </c:pt>
                <c:pt idx="14267">
                  <c:v>0.25444979489923297</c:v>
                </c:pt>
                <c:pt idx="14268">
                  <c:v>0.25446762974852799</c:v>
                </c:pt>
                <c:pt idx="14269">
                  <c:v>0.25448546459782401</c:v>
                </c:pt>
                <c:pt idx="14270">
                  <c:v>0.25450329944711902</c:v>
                </c:pt>
                <c:pt idx="14271">
                  <c:v>0.25452113429641499</c:v>
                </c:pt>
                <c:pt idx="14272">
                  <c:v>0.25453896914571</c:v>
                </c:pt>
                <c:pt idx="14273">
                  <c:v>0.25455680399500602</c:v>
                </c:pt>
                <c:pt idx="14274">
                  <c:v>0.25457463884430098</c:v>
                </c:pt>
                <c:pt idx="14275">
                  <c:v>0.254592473693597</c:v>
                </c:pt>
                <c:pt idx="14276">
                  <c:v>0.25461030854289202</c:v>
                </c:pt>
                <c:pt idx="14277">
                  <c:v>0.25462814339218798</c:v>
                </c:pt>
                <c:pt idx="14278">
                  <c:v>0.254645978241483</c:v>
                </c:pt>
                <c:pt idx="14279">
                  <c:v>0.25466381309077901</c:v>
                </c:pt>
                <c:pt idx="14280">
                  <c:v>0.25468164794007397</c:v>
                </c:pt>
                <c:pt idx="14281">
                  <c:v>0.25469948278936999</c:v>
                </c:pt>
                <c:pt idx="14282">
                  <c:v>0.25471731763866501</c:v>
                </c:pt>
                <c:pt idx="14283">
                  <c:v>0.25473515248796103</c:v>
                </c:pt>
                <c:pt idx="14284">
                  <c:v>0.25475298733725699</c:v>
                </c:pt>
                <c:pt idx="14285">
                  <c:v>0.254770822186552</c:v>
                </c:pt>
                <c:pt idx="14286">
                  <c:v>0.25478865703584802</c:v>
                </c:pt>
                <c:pt idx="14287">
                  <c:v>0.25480649188514298</c:v>
                </c:pt>
                <c:pt idx="14288">
                  <c:v>0.254824326734439</c:v>
                </c:pt>
                <c:pt idx="14289">
                  <c:v>0.25484216158373402</c:v>
                </c:pt>
                <c:pt idx="14290">
                  <c:v>0.25485999643302998</c:v>
                </c:pt>
                <c:pt idx="14291">
                  <c:v>0.254877831282325</c:v>
                </c:pt>
                <c:pt idx="14292">
                  <c:v>0.25489566613162101</c:v>
                </c:pt>
                <c:pt idx="14293">
                  <c:v>0.25491350098091597</c:v>
                </c:pt>
                <c:pt idx="14294">
                  <c:v>0.25493133583021199</c:v>
                </c:pt>
                <c:pt idx="14295">
                  <c:v>0.25494917067950701</c:v>
                </c:pt>
                <c:pt idx="14296">
                  <c:v>0.25496700552880303</c:v>
                </c:pt>
                <c:pt idx="14297">
                  <c:v>0.25498484037809799</c:v>
                </c:pt>
                <c:pt idx="14298">
                  <c:v>0.255002675227394</c:v>
                </c:pt>
                <c:pt idx="14299">
                  <c:v>0.25502051007668902</c:v>
                </c:pt>
                <c:pt idx="14300">
                  <c:v>0.25503834492598498</c:v>
                </c:pt>
                <c:pt idx="14301">
                  <c:v>0.25505617977528</c:v>
                </c:pt>
                <c:pt idx="14302">
                  <c:v>0.25507401462457602</c:v>
                </c:pt>
                <c:pt idx="14303">
                  <c:v>0.25509184947387098</c:v>
                </c:pt>
                <c:pt idx="14304">
                  <c:v>0.255109684323167</c:v>
                </c:pt>
                <c:pt idx="14305">
                  <c:v>0.25512751917246301</c:v>
                </c:pt>
                <c:pt idx="14306">
                  <c:v>0.25514535402175798</c:v>
                </c:pt>
                <c:pt idx="14307">
                  <c:v>0.25516318887105399</c:v>
                </c:pt>
                <c:pt idx="14308">
                  <c:v>0.25518102372034901</c:v>
                </c:pt>
                <c:pt idx="14309">
                  <c:v>0.25519885856964503</c:v>
                </c:pt>
                <c:pt idx="14310">
                  <c:v>0.25521669341893999</c:v>
                </c:pt>
                <c:pt idx="14311">
                  <c:v>0.25523452826823601</c:v>
                </c:pt>
                <c:pt idx="14312">
                  <c:v>0.25525236311753102</c:v>
                </c:pt>
                <c:pt idx="14313">
                  <c:v>0.25527019796682698</c:v>
                </c:pt>
                <c:pt idx="14314">
                  <c:v>0.255288032816122</c:v>
                </c:pt>
                <c:pt idx="14315">
                  <c:v>0.25530586766541802</c:v>
                </c:pt>
                <c:pt idx="14316">
                  <c:v>0.25532370251471298</c:v>
                </c:pt>
                <c:pt idx="14317">
                  <c:v>0.255341537364009</c:v>
                </c:pt>
                <c:pt idx="14318">
                  <c:v>0.25535937221330401</c:v>
                </c:pt>
                <c:pt idx="14319">
                  <c:v>0.25537720706259998</c:v>
                </c:pt>
                <c:pt idx="14320">
                  <c:v>0.25539504191189499</c:v>
                </c:pt>
                <c:pt idx="14321">
                  <c:v>0.25541287676119101</c:v>
                </c:pt>
                <c:pt idx="14322">
                  <c:v>0.25543071161048603</c:v>
                </c:pt>
                <c:pt idx="14323">
                  <c:v>0.25544854645978199</c:v>
                </c:pt>
                <c:pt idx="14324">
                  <c:v>0.25546638130907701</c:v>
                </c:pt>
                <c:pt idx="14325">
                  <c:v>0.25548421615837302</c:v>
                </c:pt>
                <c:pt idx="14326">
                  <c:v>0.25550205100766898</c:v>
                </c:pt>
                <c:pt idx="14327">
                  <c:v>0.255519885856964</c:v>
                </c:pt>
                <c:pt idx="14328">
                  <c:v>0.25553772070626002</c:v>
                </c:pt>
                <c:pt idx="14329">
                  <c:v>0.25555555555555498</c:v>
                </c:pt>
                <c:pt idx="14330">
                  <c:v>0.255573390404851</c:v>
                </c:pt>
                <c:pt idx="14331">
                  <c:v>0.25559122525414602</c:v>
                </c:pt>
                <c:pt idx="14332">
                  <c:v>0.25560906010344198</c:v>
                </c:pt>
                <c:pt idx="14333">
                  <c:v>0.25562689495273699</c:v>
                </c:pt>
                <c:pt idx="14334">
                  <c:v>0.25564472980203301</c:v>
                </c:pt>
                <c:pt idx="14335">
                  <c:v>0.25566256465132797</c:v>
                </c:pt>
                <c:pt idx="14336">
                  <c:v>0.25568039950062399</c:v>
                </c:pt>
                <c:pt idx="14337">
                  <c:v>0.25569823434991901</c:v>
                </c:pt>
                <c:pt idx="14338">
                  <c:v>0.25571606919921502</c:v>
                </c:pt>
                <c:pt idx="14339">
                  <c:v>0.25573390404850999</c:v>
                </c:pt>
                <c:pt idx="14340">
                  <c:v>0.255751738897806</c:v>
                </c:pt>
                <c:pt idx="14341">
                  <c:v>0.25576957374710102</c:v>
                </c:pt>
                <c:pt idx="14342">
                  <c:v>0.25578740859639698</c:v>
                </c:pt>
                <c:pt idx="14343">
                  <c:v>0.255805243445692</c:v>
                </c:pt>
                <c:pt idx="14344">
                  <c:v>0.25582307829498802</c:v>
                </c:pt>
                <c:pt idx="14345">
                  <c:v>0.25584091314428298</c:v>
                </c:pt>
                <c:pt idx="14346">
                  <c:v>0.25585874799357899</c:v>
                </c:pt>
                <c:pt idx="14347">
                  <c:v>0.25587658284287401</c:v>
                </c:pt>
                <c:pt idx="14348">
                  <c:v>0.25589441769216997</c:v>
                </c:pt>
                <c:pt idx="14349">
                  <c:v>0.25591225254146599</c:v>
                </c:pt>
                <c:pt idx="14350">
                  <c:v>0.25593008739076101</c:v>
                </c:pt>
                <c:pt idx="14351">
                  <c:v>0.25594792224005702</c:v>
                </c:pt>
                <c:pt idx="14352">
                  <c:v>0.25596575708935199</c:v>
                </c:pt>
                <c:pt idx="14353">
                  <c:v>0.255983591938648</c:v>
                </c:pt>
                <c:pt idx="14354">
                  <c:v>0.25600142678794302</c:v>
                </c:pt>
                <c:pt idx="14355">
                  <c:v>0.25601926163723898</c:v>
                </c:pt>
                <c:pt idx="14356">
                  <c:v>0.256037096486534</c:v>
                </c:pt>
                <c:pt idx="14357">
                  <c:v>0.25605493133583002</c:v>
                </c:pt>
                <c:pt idx="14358">
                  <c:v>0.25607276618512498</c:v>
                </c:pt>
                <c:pt idx="14359">
                  <c:v>0.25609060103442099</c:v>
                </c:pt>
                <c:pt idx="14360">
                  <c:v>0.25610843588371601</c:v>
                </c:pt>
                <c:pt idx="14361">
                  <c:v>0.25612627073301197</c:v>
                </c:pt>
                <c:pt idx="14362">
                  <c:v>0.25614410558230699</c:v>
                </c:pt>
                <c:pt idx="14363">
                  <c:v>0.25616194043160301</c:v>
                </c:pt>
                <c:pt idx="14364">
                  <c:v>0.25617977528089803</c:v>
                </c:pt>
                <c:pt idx="14365">
                  <c:v>0.25619761013019399</c:v>
                </c:pt>
                <c:pt idx="14366">
                  <c:v>0.256215444979489</c:v>
                </c:pt>
                <c:pt idx="14367">
                  <c:v>0.25623327982878502</c:v>
                </c:pt>
                <c:pt idx="14368">
                  <c:v>0.25625111467808098</c:v>
                </c:pt>
                <c:pt idx="14369">
                  <c:v>0.256268949527376</c:v>
                </c:pt>
                <c:pt idx="14370">
                  <c:v>0.25628678437667202</c:v>
                </c:pt>
                <c:pt idx="14371">
                  <c:v>0.25630461922596698</c:v>
                </c:pt>
                <c:pt idx="14372">
                  <c:v>0.256322454075263</c:v>
                </c:pt>
                <c:pt idx="14373">
                  <c:v>0.25634028892455801</c:v>
                </c:pt>
                <c:pt idx="14374">
                  <c:v>0.25635812377385397</c:v>
                </c:pt>
                <c:pt idx="14375">
                  <c:v>0.25637595862314899</c:v>
                </c:pt>
                <c:pt idx="14376">
                  <c:v>0.25639379347244501</c:v>
                </c:pt>
                <c:pt idx="14377">
                  <c:v>0.25641162832174003</c:v>
                </c:pt>
                <c:pt idx="14378">
                  <c:v>0.25642946317103599</c:v>
                </c:pt>
                <c:pt idx="14379">
                  <c:v>0.256447298020331</c:v>
                </c:pt>
                <c:pt idx="14380">
                  <c:v>0.25646513286962702</c:v>
                </c:pt>
                <c:pt idx="14381">
                  <c:v>0.25648296771892198</c:v>
                </c:pt>
                <c:pt idx="14382">
                  <c:v>0.256500802568218</c:v>
                </c:pt>
                <c:pt idx="14383">
                  <c:v>0.25651863741751302</c:v>
                </c:pt>
                <c:pt idx="14384">
                  <c:v>0.25653647226680898</c:v>
                </c:pt>
                <c:pt idx="14385">
                  <c:v>0.256554307116104</c:v>
                </c:pt>
                <c:pt idx="14386">
                  <c:v>0.25657214196540001</c:v>
                </c:pt>
                <c:pt idx="14387">
                  <c:v>0.25658997681469498</c:v>
                </c:pt>
                <c:pt idx="14388">
                  <c:v>0.25660781166399099</c:v>
                </c:pt>
                <c:pt idx="14389">
                  <c:v>0.25662564651328601</c:v>
                </c:pt>
                <c:pt idx="14390">
                  <c:v>0.25664348136258203</c:v>
                </c:pt>
                <c:pt idx="14391">
                  <c:v>0.25666131621187799</c:v>
                </c:pt>
                <c:pt idx="14392">
                  <c:v>0.25667915106117301</c:v>
                </c:pt>
                <c:pt idx="14393">
                  <c:v>0.25669698591046902</c:v>
                </c:pt>
                <c:pt idx="14394">
                  <c:v>0.25671482075976398</c:v>
                </c:pt>
                <c:pt idx="14395">
                  <c:v>0.25673265560906</c:v>
                </c:pt>
                <c:pt idx="14396">
                  <c:v>0.25675049045835502</c:v>
                </c:pt>
                <c:pt idx="14397">
                  <c:v>0.25676832530765098</c:v>
                </c:pt>
                <c:pt idx="14398">
                  <c:v>0.256786160156946</c:v>
                </c:pt>
                <c:pt idx="14399">
                  <c:v>0.25680399500624201</c:v>
                </c:pt>
                <c:pt idx="14400">
                  <c:v>0.25682182985553698</c:v>
                </c:pt>
                <c:pt idx="14401">
                  <c:v>0.25683966470483299</c:v>
                </c:pt>
                <c:pt idx="14402">
                  <c:v>0.25685749955412801</c:v>
                </c:pt>
                <c:pt idx="14403">
                  <c:v>0.25687533440342403</c:v>
                </c:pt>
                <c:pt idx="14404">
                  <c:v>0.25689316925271899</c:v>
                </c:pt>
                <c:pt idx="14405">
                  <c:v>0.25691100410201501</c:v>
                </c:pt>
                <c:pt idx="14406">
                  <c:v>0.25692883895131002</c:v>
                </c:pt>
                <c:pt idx="14407">
                  <c:v>0.25694667380060598</c:v>
                </c:pt>
                <c:pt idx="14408">
                  <c:v>0.256964508649901</c:v>
                </c:pt>
                <c:pt idx="14409">
                  <c:v>0.25698234349919702</c:v>
                </c:pt>
                <c:pt idx="14410">
                  <c:v>0.25700017834849298</c:v>
                </c:pt>
                <c:pt idx="14411">
                  <c:v>0.257018013197788</c:v>
                </c:pt>
                <c:pt idx="14412">
                  <c:v>0.25703584804708401</c:v>
                </c:pt>
                <c:pt idx="14413">
                  <c:v>0.25705368289637898</c:v>
                </c:pt>
                <c:pt idx="14414">
                  <c:v>0.25707151774567499</c:v>
                </c:pt>
                <c:pt idx="14415">
                  <c:v>0.25708935259497001</c:v>
                </c:pt>
                <c:pt idx="14416">
                  <c:v>0.25710718744426603</c:v>
                </c:pt>
                <c:pt idx="14417">
                  <c:v>0.25712502229356099</c:v>
                </c:pt>
                <c:pt idx="14418">
                  <c:v>0.25714285714285701</c:v>
                </c:pt>
                <c:pt idx="14419">
                  <c:v>0.25716069199215202</c:v>
                </c:pt>
                <c:pt idx="14420">
                  <c:v>0.25717852684144799</c:v>
                </c:pt>
                <c:pt idx="14421">
                  <c:v>0.257196361690743</c:v>
                </c:pt>
                <c:pt idx="14422">
                  <c:v>0.25721419654003902</c:v>
                </c:pt>
                <c:pt idx="14423">
                  <c:v>0.25723203138933398</c:v>
                </c:pt>
                <c:pt idx="14424">
                  <c:v>0.25724986623863</c:v>
                </c:pt>
                <c:pt idx="14425">
                  <c:v>0.25726770108792502</c:v>
                </c:pt>
                <c:pt idx="14426">
                  <c:v>0.25728553593722098</c:v>
                </c:pt>
                <c:pt idx="14427">
                  <c:v>0.25730337078651599</c:v>
                </c:pt>
                <c:pt idx="14428">
                  <c:v>0.25732120563581201</c:v>
                </c:pt>
                <c:pt idx="14429">
                  <c:v>0.25733904048510697</c:v>
                </c:pt>
                <c:pt idx="14430">
                  <c:v>0.25735687533440299</c:v>
                </c:pt>
                <c:pt idx="14431">
                  <c:v>0.25737471018369801</c:v>
                </c:pt>
                <c:pt idx="14432">
                  <c:v>0.25739254503299402</c:v>
                </c:pt>
                <c:pt idx="14433">
                  <c:v>0.25741037988228999</c:v>
                </c:pt>
                <c:pt idx="14434">
                  <c:v>0.257428214731585</c:v>
                </c:pt>
                <c:pt idx="14435">
                  <c:v>0.25744604958088102</c:v>
                </c:pt>
                <c:pt idx="14436">
                  <c:v>0.25746388443017598</c:v>
                </c:pt>
                <c:pt idx="14437">
                  <c:v>0.257481719279472</c:v>
                </c:pt>
                <c:pt idx="14438">
                  <c:v>0.25749955412876702</c:v>
                </c:pt>
                <c:pt idx="14439">
                  <c:v>0.25751738897806298</c:v>
                </c:pt>
                <c:pt idx="14440">
                  <c:v>0.257535223827358</c:v>
                </c:pt>
                <c:pt idx="14441">
                  <c:v>0.25755305867665401</c:v>
                </c:pt>
                <c:pt idx="14442">
                  <c:v>0.25757089352594897</c:v>
                </c:pt>
                <c:pt idx="14443">
                  <c:v>0.25758872837524499</c:v>
                </c:pt>
                <c:pt idx="14444">
                  <c:v>0.25760656322454001</c:v>
                </c:pt>
                <c:pt idx="14445">
                  <c:v>0.25762439807383603</c:v>
                </c:pt>
                <c:pt idx="14446">
                  <c:v>0.25764223292313099</c:v>
                </c:pt>
                <c:pt idx="14447">
                  <c:v>0.257660067772427</c:v>
                </c:pt>
                <c:pt idx="14448">
                  <c:v>0.25767790262172202</c:v>
                </c:pt>
                <c:pt idx="14449">
                  <c:v>0.25769573747101798</c:v>
                </c:pt>
                <c:pt idx="14450">
                  <c:v>0.257713572320313</c:v>
                </c:pt>
                <c:pt idx="14451">
                  <c:v>0.25773140716960902</c:v>
                </c:pt>
                <c:pt idx="14452">
                  <c:v>0.25774924201890398</c:v>
                </c:pt>
                <c:pt idx="14453">
                  <c:v>0.2577670768682</c:v>
                </c:pt>
                <c:pt idx="14454">
                  <c:v>0.25778491171749601</c:v>
                </c:pt>
                <c:pt idx="14455">
                  <c:v>0.25780274656679097</c:v>
                </c:pt>
                <c:pt idx="14456">
                  <c:v>0.25782058141608699</c:v>
                </c:pt>
                <c:pt idx="14457">
                  <c:v>0.25783841626538201</c:v>
                </c:pt>
                <c:pt idx="14458">
                  <c:v>0.25785625111467803</c:v>
                </c:pt>
                <c:pt idx="14459">
                  <c:v>0.25787408596397299</c:v>
                </c:pt>
                <c:pt idx="14460">
                  <c:v>0.257891920813269</c:v>
                </c:pt>
                <c:pt idx="14461">
                  <c:v>0.25790975566256402</c:v>
                </c:pt>
                <c:pt idx="14462">
                  <c:v>0.25792759051185998</c:v>
                </c:pt>
                <c:pt idx="14463">
                  <c:v>0.257945425361155</c:v>
                </c:pt>
                <c:pt idx="14464">
                  <c:v>0.25796326021045102</c:v>
                </c:pt>
                <c:pt idx="14465">
                  <c:v>0.25798109505974598</c:v>
                </c:pt>
                <c:pt idx="14466">
                  <c:v>0.257998929909042</c:v>
                </c:pt>
                <c:pt idx="14467">
                  <c:v>0.25801676475833701</c:v>
                </c:pt>
                <c:pt idx="14468">
                  <c:v>0.25803459960763298</c:v>
                </c:pt>
                <c:pt idx="14469">
                  <c:v>0.25805243445692799</c:v>
                </c:pt>
                <c:pt idx="14470">
                  <c:v>0.25807026930622401</c:v>
                </c:pt>
                <c:pt idx="14471">
                  <c:v>0.25808810415551903</c:v>
                </c:pt>
                <c:pt idx="14472">
                  <c:v>0.25810593900481499</c:v>
                </c:pt>
                <c:pt idx="14473">
                  <c:v>0.25812377385411001</c:v>
                </c:pt>
                <c:pt idx="14474">
                  <c:v>0.25814160870340602</c:v>
                </c:pt>
                <c:pt idx="14475">
                  <c:v>0.25815944355270198</c:v>
                </c:pt>
                <c:pt idx="14476">
                  <c:v>0.258177278401997</c:v>
                </c:pt>
                <c:pt idx="14477">
                  <c:v>0.25819511325129302</c:v>
                </c:pt>
                <c:pt idx="14478">
                  <c:v>0.25821294810058798</c:v>
                </c:pt>
                <c:pt idx="14479">
                  <c:v>0.258230782949884</c:v>
                </c:pt>
                <c:pt idx="14480">
                  <c:v>0.25824861779917901</c:v>
                </c:pt>
                <c:pt idx="14481">
                  <c:v>0.25826645264847498</c:v>
                </c:pt>
                <c:pt idx="14482">
                  <c:v>0.25828428749776999</c:v>
                </c:pt>
                <c:pt idx="14483">
                  <c:v>0.25830212234706601</c:v>
                </c:pt>
                <c:pt idx="14484">
                  <c:v>0.25831995719636103</c:v>
                </c:pt>
                <c:pt idx="14485">
                  <c:v>0.25833779204565699</c:v>
                </c:pt>
                <c:pt idx="14486">
                  <c:v>0.25835562689495201</c:v>
                </c:pt>
                <c:pt idx="14487">
                  <c:v>0.25837346174424802</c:v>
                </c:pt>
                <c:pt idx="14488">
                  <c:v>0.25839129659354299</c:v>
                </c:pt>
                <c:pt idx="14489">
                  <c:v>0.258409131442839</c:v>
                </c:pt>
                <c:pt idx="14490">
                  <c:v>0.25842696629213402</c:v>
                </c:pt>
                <c:pt idx="14491">
                  <c:v>0.25844480114142998</c:v>
                </c:pt>
                <c:pt idx="14492">
                  <c:v>0.258462635990725</c:v>
                </c:pt>
                <c:pt idx="14493">
                  <c:v>0.25848047084002101</c:v>
                </c:pt>
                <c:pt idx="14494">
                  <c:v>0.25849830568931598</c:v>
                </c:pt>
                <c:pt idx="14495">
                  <c:v>0.25851614053861199</c:v>
                </c:pt>
                <c:pt idx="14496">
                  <c:v>0.25853397538790701</c:v>
                </c:pt>
                <c:pt idx="14497">
                  <c:v>0.25855181023720297</c:v>
                </c:pt>
                <c:pt idx="14498">
                  <c:v>0.25856964508649899</c:v>
                </c:pt>
                <c:pt idx="14499">
                  <c:v>0.25858747993579401</c:v>
                </c:pt>
                <c:pt idx="14500">
                  <c:v>0.25860531478509002</c:v>
                </c:pt>
                <c:pt idx="14501">
                  <c:v>0.25862314963438499</c:v>
                </c:pt>
                <c:pt idx="14502">
                  <c:v>0.258640984483681</c:v>
                </c:pt>
                <c:pt idx="14503">
                  <c:v>0.25865881933297602</c:v>
                </c:pt>
                <c:pt idx="14504">
                  <c:v>0.25867665418227198</c:v>
                </c:pt>
                <c:pt idx="14505">
                  <c:v>0.258694489031567</c:v>
                </c:pt>
                <c:pt idx="14506">
                  <c:v>0.25871232388086302</c:v>
                </c:pt>
                <c:pt idx="14507">
                  <c:v>0.25873015873015798</c:v>
                </c:pt>
                <c:pt idx="14508">
                  <c:v>0.25874799357945399</c:v>
                </c:pt>
                <c:pt idx="14509">
                  <c:v>0.25876582842874901</c:v>
                </c:pt>
                <c:pt idx="14510">
                  <c:v>0.25878366327804497</c:v>
                </c:pt>
                <c:pt idx="14511">
                  <c:v>0.25880149812733999</c:v>
                </c:pt>
                <c:pt idx="14512">
                  <c:v>0.25881933297663601</c:v>
                </c:pt>
                <c:pt idx="14513">
                  <c:v>0.25883716782593102</c:v>
                </c:pt>
                <c:pt idx="14514">
                  <c:v>0.25885500267522699</c:v>
                </c:pt>
                <c:pt idx="14515">
                  <c:v>0.258872837524522</c:v>
                </c:pt>
                <c:pt idx="14516">
                  <c:v>0.25889067237381802</c:v>
                </c:pt>
                <c:pt idx="14517">
                  <c:v>0.25890850722311398</c:v>
                </c:pt>
                <c:pt idx="14518">
                  <c:v>0.258926342072409</c:v>
                </c:pt>
                <c:pt idx="14519">
                  <c:v>0.25894417692170502</c:v>
                </c:pt>
                <c:pt idx="14520">
                  <c:v>0.25896201177099998</c:v>
                </c:pt>
                <c:pt idx="14521">
                  <c:v>0.25897984662029599</c:v>
                </c:pt>
                <c:pt idx="14522">
                  <c:v>0.25899768146959101</c:v>
                </c:pt>
                <c:pt idx="14523">
                  <c:v>0.25901551631888697</c:v>
                </c:pt>
                <c:pt idx="14524">
                  <c:v>0.25903335116818199</c:v>
                </c:pt>
                <c:pt idx="14525">
                  <c:v>0.25905118601747801</c:v>
                </c:pt>
                <c:pt idx="14526">
                  <c:v>0.25906902086677303</c:v>
                </c:pt>
                <c:pt idx="14527">
                  <c:v>0.25908685571606899</c:v>
                </c:pt>
                <c:pt idx="14528">
                  <c:v>0.259104690565364</c:v>
                </c:pt>
                <c:pt idx="14529">
                  <c:v>0.25912252541466002</c:v>
                </c:pt>
                <c:pt idx="14530">
                  <c:v>0.25914036026395498</c:v>
                </c:pt>
                <c:pt idx="14531">
                  <c:v>0.259158195113251</c:v>
                </c:pt>
                <c:pt idx="14532">
                  <c:v>0.25917602996254602</c:v>
                </c:pt>
                <c:pt idx="14533">
                  <c:v>0.25919386481184198</c:v>
                </c:pt>
                <c:pt idx="14534">
                  <c:v>0.259211699661137</c:v>
                </c:pt>
                <c:pt idx="14535">
                  <c:v>0.25922953451043301</c:v>
                </c:pt>
                <c:pt idx="14536">
                  <c:v>0.25924736935972797</c:v>
                </c:pt>
                <c:pt idx="14537">
                  <c:v>0.25926520420902399</c:v>
                </c:pt>
                <c:pt idx="14538">
                  <c:v>0.25928303905831901</c:v>
                </c:pt>
                <c:pt idx="14539">
                  <c:v>0.25930087390761503</c:v>
                </c:pt>
                <c:pt idx="14540">
                  <c:v>0.25931870875691099</c:v>
                </c:pt>
                <c:pt idx="14541">
                  <c:v>0.259336543606206</c:v>
                </c:pt>
                <c:pt idx="14542">
                  <c:v>0.25935437845550202</c:v>
                </c:pt>
                <c:pt idx="14543">
                  <c:v>0.25937221330479698</c:v>
                </c:pt>
                <c:pt idx="14544">
                  <c:v>0.259390048154093</c:v>
                </c:pt>
                <c:pt idx="14545">
                  <c:v>0.25940788300338802</c:v>
                </c:pt>
                <c:pt idx="14546">
                  <c:v>0.25942571785268398</c:v>
                </c:pt>
                <c:pt idx="14547">
                  <c:v>0.259443552701979</c:v>
                </c:pt>
                <c:pt idx="14548">
                  <c:v>0.25946138755127501</c:v>
                </c:pt>
                <c:pt idx="14549">
                  <c:v>0.25947922240056998</c:v>
                </c:pt>
                <c:pt idx="14550">
                  <c:v>0.25949705724986599</c:v>
                </c:pt>
                <c:pt idx="14551">
                  <c:v>0.25951489209916101</c:v>
                </c:pt>
                <c:pt idx="14552">
                  <c:v>0.25953272694845703</c:v>
                </c:pt>
                <c:pt idx="14553">
                  <c:v>0.25955056179775199</c:v>
                </c:pt>
                <c:pt idx="14554">
                  <c:v>0.25956839664704801</c:v>
                </c:pt>
                <c:pt idx="14555">
                  <c:v>0.25958623149634302</c:v>
                </c:pt>
                <c:pt idx="14556">
                  <c:v>0.25960406634563898</c:v>
                </c:pt>
                <c:pt idx="14557">
                  <c:v>0.259621901194934</c:v>
                </c:pt>
                <c:pt idx="14558">
                  <c:v>0.25963973604423002</c:v>
                </c:pt>
                <c:pt idx="14559">
                  <c:v>0.25965757089352498</c:v>
                </c:pt>
                <c:pt idx="14560">
                  <c:v>0.259675405742821</c:v>
                </c:pt>
                <c:pt idx="14561">
                  <c:v>0.25969324059211701</c:v>
                </c:pt>
                <c:pt idx="14562">
                  <c:v>0.25971107544141198</c:v>
                </c:pt>
                <c:pt idx="14563">
                  <c:v>0.25972891029070799</c:v>
                </c:pt>
                <c:pt idx="14564">
                  <c:v>0.25974674514000301</c:v>
                </c:pt>
                <c:pt idx="14565">
                  <c:v>0.25976457998929903</c:v>
                </c:pt>
                <c:pt idx="14566">
                  <c:v>0.25978241483859399</c:v>
                </c:pt>
                <c:pt idx="14567">
                  <c:v>0.25980024968789001</c:v>
                </c:pt>
                <c:pt idx="14568">
                  <c:v>0.25981808453718502</c:v>
                </c:pt>
                <c:pt idx="14569">
                  <c:v>0.25983591938648098</c:v>
                </c:pt>
                <c:pt idx="14570">
                  <c:v>0.259853754235776</c:v>
                </c:pt>
                <c:pt idx="14571">
                  <c:v>0.25987158908507202</c:v>
                </c:pt>
                <c:pt idx="14572">
                  <c:v>0.25988942393436698</c:v>
                </c:pt>
                <c:pt idx="14573">
                  <c:v>0.259907258783663</c:v>
                </c:pt>
                <c:pt idx="14574">
                  <c:v>0.25992509363295802</c:v>
                </c:pt>
                <c:pt idx="14575">
                  <c:v>0.25994292848225398</c:v>
                </c:pt>
                <c:pt idx="14576">
                  <c:v>0.25996076333154899</c:v>
                </c:pt>
                <c:pt idx="14577">
                  <c:v>0.25997859818084501</c:v>
                </c:pt>
                <c:pt idx="14578">
                  <c:v>0.25999643303013997</c:v>
                </c:pt>
                <c:pt idx="14579">
                  <c:v>0.26001426787943599</c:v>
                </c:pt>
                <c:pt idx="14580">
                  <c:v>0.26003210272873101</c:v>
                </c:pt>
                <c:pt idx="14581">
                  <c:v>0.26004993757802702</c:v>
                </c:pt>
                <c:pt idx="14582">
                  <c:v>0.26006777242732299</c:v>
                </c:pt>
                <c:pt idx="14583">
                  <c:v>0.260085607276618</c:v>
                </c:pt>
                <c:pt idx="14584">
                  <c:v>0.26010344212591402</c:v>
                </c:pt>
                <c:pt idx="14585">
                  <c:v>0.26012127697520898</c:v>
                </c:pt>
                <c:pt idx="14586">
                  <c:v>0.260139111824505</c:v>
                </c:pt>
                <c:pt idx="14587">
                  <c:v>0.26015694667380002</c:v>
                </c:pt>
                <c:pt idx="14588">
                  <c:v>0.26017478152309598</c:v>
                </c:pt>
                <c:pt idx="14589">
                  <c:v>0.26019261637239099</c:v>
                </c:pt>
                <c:pt idx="14590">
                  <c:v>0.26021045122168701</c:v>
                </c:pt>
                <c:pt idx="14591">
                  <c:v>0.26022828607098197</c:v>
                </c:pt>
                <c:pt idx="14592">
                  <c:v>0.26024612092027799</c:v>
                </c:pt>
                <c:pt idx="14593">
                  <c:v>0.26026395576957301</c:v>
                </c:pt>
                <c:pt idx="14594">
                  <c:v>0.26028179061886902</c:v>
                </c:pt>
                <c:pt idx="14595">
                  <c:v>0.26029962546816399</c:v>
                </c:pt>
                <c:pt idx="14596">
                  <c:v>0.26031746031746</c:v>
                </c:pt>
                <c:pt idx="14597">
                  <c:v>0.26033529516675502</c:v>
                </c:pt>
                <c:pt idx="14598">
                  <c:v>0.26035313001605098</c:v>
                </c:pt>
                <c:pt idx="14599">
                  <c:v>0.260370964865346</c:v>
                </c:pt>
                <c:pt idx="14600">
                  <c:v>0.26038879971464202</c:v>
                </c:pt>
                <c:pt idx="14601">
                  <c:v>0.26040663456393698</c:v>
                </c:pt>
                <c:pt idx="14602">
                  <c:v>0.260424469413233</c:v>
                </c:pt>
                <c:pt idx="14603">
                  <c:v>0.26044230426252801</c:v>
                </c:pt>
                <c:pt idx="14604">
                  <c:v>0.26046013911182397</c:v>
                </c:pt>
                <c:pt idx="14605">
                  <c:v>0.26047797396111999</c:v>
                </c:pt>
                <c:pt idx="14606">
                  <c:v>0.26049580881041501</c:v>
                </c:pt>
                <c:pt idx="14607">
                  <c:v>0.26051364365971102</c:v>
                </c:pt>
                <c:pt idx="14608">
                  <c:v>0.26053147850900599</c:v>
                </c:pt>
                <c:pt idx="14609">
                  <c:v>0.260549313358302</c:v>
                </c:pt>
                <c:pt idx="14610">
                  <c:v>0.26056714820759702</c:v>
                </c:pt>
                <c:pt idx="14611">
                  <c:v>0.26058498305689298</c:v>
                </c:pt>
                <c:pt idx="14612">
                  <c:v>0.260602817906188</c:v>
                </c:pt>
                <c:pt idx="14613">
                  <c:v>0.26062065275548402</c:v>
                </c:pt>
                <c:pt idx="14614">
                  <c:v>0.26063848760477898</c:v>
                </c:pt>
                <c:pt idx="14615">
                  <c:v>0.260656322454075</c:v>
                </c:pt>
                <c:pt idx="14616">
                  <c:v>0.26067415730337001</c:v>
                </c:pt>
                <c:pt idx="14617">
                  <c:v>0.26069199215266597</c:v>
                </c:pt>
                <c:pt idx="14618">
                  <c:v>0.26070982700196099</c:v>
                </c:pt>
                <c:pt idx="14619">
                  <c:v>0.26072766185125701</c:v>
                </c:pt>
                <c:pt idx="14620">
                  <c:v>0.26074549670055203</c:v>
                </c:pt>
                <c:pt idx="14621">
                  <c:v>0.26076333154984799</c:v>
                </c:pt>
                <c:pt idx="14622">
                  <c:v>0.26078116639914301</c:v>
                </c:pt>
                <c:pt idx="14623">
                  <c:v>0.26079900124843902</c:v>
                </c:pt>
                <c:pt idx="14624">
                  <c:v>0.26081683609773498</c:v>
                </c:pt>
                <c:pt idx="14625">
                  <c:v>0.26083467094703</c:v>
                </c:pt>
                <c:pt idx="14626">
                  <c:v>0.26085250579632602</c:v>
                </c:pt>
                <c:pt idx="14627">
                  <c:v>0.26087034064562098</c:v>
                </c:pt>
                <c:pt idx="14628">
                  <c:v>0.260888175494917</c:v>
                </c:pt>
                <c:pt idx="14629">
                  <c:v>0.26090601034421201</c:v>
                </c:pt>
                <c:pt idx="14630">
                  <c:v>0.26092384519350798</c:v>
                </c:pt>
                <c:pt idx="14631">
                  <c:v>0.26094168004280299</c:v>
                </c:pt>
                <c:pt idx="14632">
                  <c:v>0.26095951489209901</c:v>
                </c:pt>
                <c:pt idx="14633">
                  <c:v>0.26097734974139403</c:v>
                </c:pt>
                <c:pt idx="14634">
                  <c:v>0.26099518459068999</c:v>
                </c:pt>
                <c:pt idx="14635">
                  <c:v>0.26101301943998501</c:v>
                </c:pt>
                <c:pt idx="14636">
                  <c:v>0.26103085428928102</c:v>
                </c:pt>
                <c:pt idx="14637">
                  <c:v>0.26104868913857598</c:v>
                </c:pt>
                <c:pt idx="14638">
                  <c:v>0.261066523987872</c:v>
                </c:pt>
                <c:pt idx="14639">
                  <c:v>0.26108435883716702</c:v>
                </c:pt>
                <c:pt idx="14640">
                  <c:v>0.26110219368646298</c:v>
                </c:pt>
                <c:pt idx="14641">
                  <c:v>0.261120028535758</c:v>
                </c:pt>
                <c:pt idx="14642">
                  <c:v>0.26113786338505401</c:v>
                </c:pt>
                <c:pt idx="14643">
                  <c:v>0.26115569823434898</c:v>
                </c:pt>
                <c:pt idx="14644">
                  <c:v>0.26117353308364499</c:v>
                </c:pt>
                <c:pt idx="14645">
                  <c:v>0.26119136793294001</c:v>
                </c:pt>
                <c:pt idx="14646">
                  <c:v>0.26120920278223603</c:v>
                </c:pt>
                <c:pt idx="14647">
                  <c:v>0.26122703763153199</c:v>
                </c:pt>
                <c:pt idx="14648">
                  <c:v>0.26124487248082701</c:v>
                </c:pt>
                <c:pt idx="14649">
                  <c:v>0.26126270733012302</c:v>
                </c:pt>
                <c:pt idx="14650">
                  <c:v>0.26128054217941798</c:v>
                </c:pt>
                <c:pt idx="14651">
                  <c:v>0.261298377028714</c:v>
                </c:pt>
                <c:pt idx="14652">
                  <c:v>0.26131621187800902</c:v>
                </c:pt>
                <c:pt idx="14653">
                  <c:v>0.26133404672730498</c:v>
                </c:pt>
                <c:pt idx="14654">
                  <c:v>0.2613518815766</c:v>
                </c:pt>
                <c:pt idx="14655">
                  <c:v>0.26136971642589601</c:v>
                </c:pt>
                <c:pt idx="14656">
                  <c:v>0.26138755127519098</c:v>
                </c:pt>
                <c:pt idx="14657">
                  <c:v>0.26140538612448699</c:v>
                </c:pt>
                <c:pt idx="14658">
                  <c:v>0.26142322097378201</c:v>
                </c:pt>
                <c:pt idx="14659">
                  <c:v>0.26144105582307797</c:v>
                </c:pt>
                <c:pt idx="14660">
                  <c:v>0.26145889067237299</c:v>
                </c:pt>
                <c:pt idx="14661">
                  <c:v>0.26147672552166901</c:v>
                </c:pt>
                <c:pt idx="14662">
                  <c:v>0.26149456037096402</c:v>
                </c:pt>
                <c:pt idx="14663">
                  <c:v>0.26151239522025999</c:v>
                </c:pt>
                <c:pt idx="14664">
                  <c:v>0.261530230069555</c:v>
                </c:pt>
                <c:pt idx="14665">
                  <c:v>0.26154806491885102</c:v>
                </c:pt>
                <c:pt idx="14666">
                  <c:v>0.26156589976814698</c:v>
                </c:pt>
                <c:pt idx="14667">
                  <c:v>0.261583734617442</c:v>
                </c:pt>
                <c:pt idx="14668">
                  <c:v>0.26160156946673802</c:v>
                </c:pt>
                <c:pt idx="14669">
                  <c:v>0.26161940431603298</c:v>
                </c:pt>
                <c:pt idx="14670">
                  <c:v>0.26163723916532899</c:v>
                </c:pt>
                <c:pt idx="14671">
                  <c:v>0.26165507401462401</c:v>
                </c:pt>
                <c:pt idx="14672">
                  <c:v>0.26167290886391997</c:v>
                </c:pt>
                <c:pt idx="14673">
                  <c:v>0.26169074371321499</c:v>
                </c:pt>
                <c:pt idx="14674">
                  <c:v>0.26170857856251101</c:v>
                </c:pt>
                <c:pt idx="14675">
                  <c:v>0.26172641341180602</c:v>
                </c:pt>
                <c:pt idx="14676">
                  <c:v>0.26174424826110199</c:v>
                </c:pt>
                <c:pt idx="14677">
                  <c:v>0.261762083110397</c:v>
                </c:pt>
                <c:pt idx="14678">
                  <c:v>0.26177991795969302</c:v>
                </c:pt>
                <c:pt idx="14679">
                  <c:v>0.26179775280898798</c:v>
                </c:pt>
                <c:pt idx="14680">
                  <c:v>0.261815587658284</c:v>
                </c:pt>
                <c:pt idx="14681">
                  <c:v>0.26183342250757902</c:v>
                </c:pt>
                <c:pt idx="14682">
                  <c:v>0.26185125735687498</c:v>
                </c:pt>
                <c:pt idx="14683">
                  <c:v>0.26186909220617</c:v>
                </c:pt>
                <c:pt idx="14684">
                  <c:v>0.26188692705546601</c:v>
                </c:pt>
                <c:pt idx="14685">
                  <c:v>0.26190476190476097</c:v>
                </c:pt>
                <c:pt idx="14686">
                  <c:v>0.26192259675405699</c:v>
                </c:pt>
                <c:pt idx="14687">
                  <c:v>0.26194043160335201</c:v>
                </c:pt>
                <c:pt idx="14688">
                  <c:v>0.26195826645264803</c:v>
                </c:pt>
                <c:pt idx="14689">
                  <c:v>0.26197610130194399</c:v>
                </c:pt>
                <c:pt idx="14690">
                  <c:v>0.261993936151239</c:v>
                </c:pt>
                <c:pt idx="14691">
                  <c:v>0.26201177100053502</c:v>
                </c:pt>
                <c:pt idx="14692">
                  <c:v>0.26202960584982998</c:v>
                </c:pt>
                <c:pt idx="14693">
                  <c:v>0.262047440699126</c:v>
                </c:pt>
                <c:pt idx="14694">
                  <c:v>0.26206527554842102</c:v>
                </c:pt>
                <c:pt idx="14695">
                  <c:v>0.26208311039771698</c:v>
                </c:pt>
                <c:pt idx="14696">
                  <c:v>0.262100945247012</c:v>
                </c:pt>
                <c:pt idx="14697">
                  <c:v>0.26211878009630801</c:v>
                </c:pt>
                <c:pt idx="14698">
                  <c:v>0.26213661494560297</c:v>
                </c:pt>
                <c:pt idx="14699">
                  <c:v>0.26215444979489899</c:v>
                </c:pt>
                <c:pt idx="14700">
                  <c:v>0.26217228464419401</c:v>
                </c:pt>
                <c:pt idx="14701">
                  <c:v>0.26219011949349003</c:v>
                </c:pt>
                <c:pt idx="14702">
                  <c:v>0.26220795434278499</c:v>
                </c:pt>
                <c:pt idx="14703">
                  <c:v>0.262225789192081</c:v>
                </c:pt>
                <c:pt idx="14704">
                  <c:v>0.26224362404137602</c:v>
                </c:pt>
                <c:pt idx="14705">
                  <c:v>0.26226145889067198</c:v>
                </c:pt>
                <c:pt idx="14706">
                  <c:v>0.262279293739967</c:v>
                </c:pt>
                <c:pt idx="14707">
                  <c:v>0.26229712858926302</c:v>
                </c:pt>
                <c:pt idx="14708">
                  <c:v>0.26231496343855798</c:v>
                </c:pt>
                <c:pt idx="14709">
                  <c:v>0.262332798287854</c:v>
                </c:pt>
                <c:pt idx="14710">
                  <c:v>0.26235063313715001</c:v>
                </c:pt>
                <c:pt idx="14711">
                  <c:v>0.26236846798644498</c:v>
                </c:pt>
                <c:pt idx="14712">
                  <c:v>0.26238630283574099</c:v>
                </c:pt>
                <c:pt idx="14713">
                  <c:v>0.26240413768503601</c:v>
                </c:pt>
                <c:pt idx="14714">
                  <c:v>0.26242197253433203</c:v>
                </c:pt>
                <c:pt idx="14715">
                  <c:v>0.26243980738362699</c:v>
                </c:pt>
                <c:pt idx="14716">
                  <c:v>0.26245764223292301</c:v>
                </c:pt>
                <c:pt idx="14717">
                  <c:v>0.26247547708221802</c:v>
                </c:pt>
                <c:pt idx="14718">
                  <c:v>0.26249331193151398</c:v>
                </c:pt>
                <c:pt idx="14719">
                  <c:v>0.262511146780809</c:v>
                </c:pt>
                <c:pt idx="14720">
                  <c:v>0.26252898163010502</c:v>
                </c:pt>
                <c:pt idx="14721">
                  <c:v>0.26254681647939998</c:v>
                </c:pt>
                <c:pt idx="14722">
                  <c:v>0.262564651328696</c:v>
                </c:pt>
                <c:pt idx="14723">
                  <c:v>0.26258248617799101</c:v>
                </c:pt>
                <c:pt idx="14724">
                  <c:v>0.26260032102728698</c:v>
                </c:pt>
                <c:pt idx="14725">
                  <c:v>0.26261815587658199</c:v>
                </c:pt>
                <c:pt idx="14726">
                  <c:v>0.26263599072587801</c:v>
                </c:pt>
                <c:pt idx="14727">
                  <c:v>0.26265382557517303</c:v>
                </c:pt>
                <c:pt idx="14728">
                  <c:v>0.26267166042446899</c:v>
                </c:pt>
                <c:pt idx="14729">
                  <c:v>0.26268949527376401</c:v>
                </c:pt>
                <c:pt idx="14730">
                  <c:v>0.26270733012306002</c:v>
                </c:pt>
                <c:pt idx="14731">
                  <c:v>0.26272516497235598</c:v>
                </c:pt>
                <c:pt idx="14732">
                  <c:v>0.262742999821651</c:v>
                </c:pt>
                <c:pt idx="14733">
                  <c:v>0.26276083467094702</c:v>
                </c:pt>
                <c:pt idx="14734">
                  <c:v>0.26277866952024198</c:v>
                </c:pt>
                <c:pt idx="14735">
                  <c:v>0.262796504369538</c:v>
                </c:pt>
                <c:pt idx="14736">
                  <c:v>0.26281433921883302</c:v>
                </c:pt>
                <c:pt idx="14737">
                  <c:v>0.26283217406812898</c:v>
                </c:pt>
                <c:pt idx="14738">
                  <c:v>0.26285000891742399</c:v>
                </c:pt>
                <c:pt idx="14739">
                  <c:v>0.26286784376672001</c:v>
                </c:pt>
                <c:pt idx="14740">
                  <c:v>0.26288567861601497</c:v>
                </c:pt>
                <c:pt idx="14741">
                  <c:v>0.26290351346531099</c:v>
                </c:pt>
                <c:pt idx="14742">
                  <c:v>0.26292134831460601</c:v>
                </c:pt>
                <c:pt idx="14743">
                  <c:v>0.26293918316390202</c:v>
                </c:pt>
                <c:pt idx="14744">
                  <c:v>0.26295701801319699</c:v>
                </c:pt>
                <c:pt idx="14745">
                  <c:v>0.262974852862493</c:v>
                </c:pt>
                <c:pt idx="14746">
                  <c:v>0.26299268771178802</c:v>
                </c:pt>
                <c:pt idx="14747">
                  <c:v>0.26301052256108398</c:v>
                </c:pt>
                <c:pt idx="14748">
                  <c:v>0.263028357410379</c:v>
                </c:pt>
                <c:pt idx="14749">
                  <c:v>0.26304619225967502</c:v>
                </c:pt>
                <c:pt idx="14750">
                  <c:v>0.26306402710896998</c:v>
                </c:pt>
                <c:pt idx="14751">
                  <c:v>0.26308186195826599</c:v>
                </c:pt>
                <c:pt idx="14752">
                  <c:v>0.26309969680756101</c:v>
                </c:pt>
                <c:pt idx="14753">
                  <c:v>0.26311753165685697</c:v>
                </c:pt>
                <c:pt idx="14754">
                  <c:v>0.26313536650615299</c:v>
                </c:pt>
                <c:pt idx="14755">
                  <c:v>0.26315320135544801</c:v>
                </c:pt>
                <c:pt idx="14756">
                  <c:v>0.26317103620474402</c:v>
                </c:pt>
                <c:pt idx="14757">
                  <c:v>0.26318887105403899</c:v>
                </c:pt>
                <c:pt idx="14758">
                  <c:v>0.263206705903335</c:v>
                </c:pt>
                <c:pt idx="14759">
                  <c:v>0.26322454075263002</c:v>
                </c:pt>
                <c:pt idx="14760">
                  <c:v>0.26324237560192598</c:v>
                </c:pt>
                <c:pt idx="14761">
                  <c:v>0.263260210451221</c:v>
                </c:pt>
                <c:pt idx="14762">
                  <c:v>0.26327804530051702</c:v>
                </c:pt>
                <c:pt idx="14763">
                  <c:v>0.26329588014981198</c:v>
                </c:pt>
                <c:pt idx="14764">
                  <c:v>0.263313714999108</c:v>
                </c:pt>
                <c:pt idx="14765">
                  <c:v>0.26333154984840301</c:v>
                </c:pt>
                <c:pt idx="14766">
                  <c:v>0.26334938469769897</c:v>
                </c:pt>
                <c:pt idx="14767">
                  <c:v>0.26336721954699399</c:v>
                </c:pt>
                <c:pt idx="14768">
                  <c:v>0.26338505439629001</c:v>
                </c:pt>
                <c:pt idx="14769">
                  <c:v>0.26340288924558503</c:v>
                </c:pt>
                <c:pt idx="14770">
                  <c:v>0.26342072409488099</c:v>
                </c:pt>
                <c:pt idx="14771">
                  <c:v>0.263438558944176</c:v>
                </c:pt>
                <c:pt idx="14772">
                  <c:v>0.26345639379347202</c:v>
                </c:pt>
                <c:pt idx="14773">
                  <c:v>0.26347422864276798</c:v>
                </c:pt>
                <c:pt idx="14774">
                  <c:v>0.263492063492063</c:v>
                </c:pt>
                <c:pt idx="14775">
                  <c:v>0.26350989834135902</c:v>
                </c:pt>
                <c:pt idx="14776">
                  <c:v>0.26352773319065398</c:v>
                </c:pt>
                <c:pt idx="14777">
                  <c:v>0.26354556803995</c:v>
                </c:pt>
                <c:pt idx="14778">
                  <c:v>0.26356340288924501</c:v>
                </c:pt>
                <c:pt idx="14779">
                  <c:v>0.26358123773854097</c:v>
                </c:pt>
                <c:pt idx="14780">
                  <c:v>0.26359907258783599</c:v>
                </c:pt>
                <c:pt idx="14781">
                  <c:v>0.26361690743713201</c:v>
                </c:pt>
                <c:pt idx="14782">
                  <c:v>0.26363474228642703</c:v>
                </c:pt>
                <c:pt idx="14783">
                  <c:v>0.26365257713572299</c:v>
                </c:pt>
                <c:pt idx="14784">
                  <c:v>0.26367041198501801</c:v>
                </c:pt>
                <c:pt idx="14785">
                  <c:v>0.26368824683431402</c:v>
                </c:pt>
                <c:pt idx="14786">
                  <c:v>0.26370608168360898</c:v>
                </c:pt>
                <c:pt idx="14787">
                  <c:v>0.263723916532905</c:v>
                </c:pt>
                <c:pt idx="14788">
                  <c:v>0.26374175138220002</c:v>
                </c:pt>
                <c:pt idx="14789">
                  <c:v>0.26375958623149598</c:v>
                </c:pt>
                <c:pt idx="14790">
                  <c:v>0.263777421080791</c:v>
                </c:pt>
                <c:pt idx="14791">
                  <c:v>0.26379525593008701</c:v>
                </c:pt>
                <c:pt idx="14792">
                  <c:v>0.26381309077938198</c:v>
                </c:pt>
                <c:pt idx="14793">
                  <c:v>0.26383092562867799</c:v>
                </c:pt>
                <c:pt idx="14794">
                  <c:v>0.26384876047797301</c:v>
                </c:pt>
                <c:pt idx="14795">
                  <c:v>0.26386659532726903</c:v>
                </c:pt>
                <c:pt idx="14796">
                  <c:v>0.26388443017656499</c:v>
                </c:pt>
                <c:pt idx="14797">
                  <c:v>0.26390226502586001</c:v>
                </c:pt>
                <c:pt idx="14798">
                  <c:v>0.26392009987515602</c:v>
                </c:pt>
                <c:pt idx="14799">
                  <c:v>0.26393793472445098</c:v>
                </c:pt>
                <c:pt idx="14800">
                  <c:v>0.263955769573747</c:v>
                </c:pt>
                <c:pt idx="14801">
                  <c:v>0.26397360442304202</c:v>
                </c:pt>
                <c:pt idx="14802">
                  <c:v>0.26399143927233798</c:v>
                </c:pt>
                <c:pt idx="14803">
                  <c:v>0.264009274121633</c:v>
                </c:pt>
                <c:pt idx="14804">
                  <c:v>0.26402710897092901</c:v>
                </c:pt>
                <c:pt idx="14805">
                  <c:v>0.26404494382022398</c:v>
                </c:pt>
                <c:pt idx="14806">
                  <c:v>0.26406277866951999</c:v>
                </c:pt>
                <c:pt idx="14807">
                  <c:v>0.26408061351881501</c:v>
                </c:pt>
                <c:pt idx="14808">
                  <c:v>0.26409844836811103</c:v>
                </c:pt>
                <c:pt idx="14809">
                  <c:v>0.26411628321740599</c:v>
                </c:pt>
                <c:pt idx="14810">
                  <c:v>0.26413411806670201</c:v>
                </c:pt>
                <c:pt idx="14811">
                  <c:v>0.26415195291599702</c:v>
                </c:pt>
                <c:pt idx="14812">
                  <c:v>0.26416978776529298</c:v>
                </c:pt>
                <c:pt idx="14813">
                  <c:v>0.264187622614588</c:v>
                </c:pt>
                <c:pt idx="14814">
                  <c:v>0.26420545746388402</c:v>
                </c:pt>
                <c:pt idx="14815">
                  <c:v>0.26422329231317998</c:v>
                </c:pt>
                <c:pt idx="14816">
                  <c:v>0.264241127162475</c:v>
                </c:pt>
                <c:pt idx="14817">
                  <c:v>0.26425896201177101</c:v>
                </c:pt>
                <c:pt idx="14818">
                  <c:v>0.26427679686106598</c:v>
                </c:pt>
                <c:pt idx="14819">
                  <c:v>0.26429463171036199</c:v>
                </c:pt>
                <c:pt idx="14820">
                  <c:v>0.26431246655965701</c:v>
                </c:pt>
                <c:pt idx="14821">
                  <c:v>0.26433030140895297</c:v>
                </c:pt>
                <c:pt idx="14822">
                  <c:v>0.26434813625824799</c:v>
                </c:pt>
                <c:pt idx="14823">
                  <c:v>0.26436597110754401</c:v>
                </c:pt>
                <c:pt idx="14824">
                  <c:v>0.26438380595683902</c:v>
                </c:pt>
                <c:pt idx="14825">
                  <c:v>0.26440164080613499</c:v>
                </c:pt>
                <c:pt idx="14826">
                  <c:v>0.26441947565543</c:v>
                </c:pt>
                <c:pt idx="14827">
                  <c:v>0.26443731050472602</c:v>
                </c:pt>
                <c:pt idx="14828">
                  <c:v>0.26445514535402098</c:v>
                </c:pt>
                <c:pt idx="14829">
                  <c:v>0.264472980203317</c:v>
                </c:pt>
                <c:pt idx="14830">
                  <c:v>0.26449081505261202</c:v>
                </c:pt>
                <c:pt idx="14831">
                  <c:v>0.26450864990190798</c:v>
                </c:pt>
                <c:pt idx="14832">
                  <c:v>0.26452648475120299</c:v>
                </c:pt>
                <c:pt idx="14833">
                  <c:v>0.26454431960049901</c:v>
                </c:pt>
                <c:pt idx="14834">
                  <c:v>0.26456215444979397</c:v>
                </c:pt>
                <c:pt idx="14835">
                  <c:v>0.26457998929908999</c:v>
                </c:pt>
                <c:pt idx="14836">
                  <c:v>0.26459782414838501</c:v>
                </c:pt>
                <c:pt idx="14837">
                  <c:v>0.26461565899768102</c:v>
                </c:pt>
                <c:pt idx="14838">
                  <c:v>0.26463349384697699</c:v>
                </c:pt>
                <c:pt idx="14839">
                  <c:v>0.264651328696272</c:v>
                </c:pt>
                <c:pt idx="14840">
                  <c:v>0.26466916354556802</c:v>
                </c:pt>
                <c:pt idx="14841">
                  <c:v>0.26468699839486298</c:v>
                </c:pt>
                <c:pt idx="14842">
                  <c:v>0.264704833244159</c:v>
                </c:pt>
                <c:pt idx="14843">
                  <c:v>0.26472266809345402</c:v>
                </c:pt>
                <c:pt idx="14844">
                  <c:v>0.26474050294274998</c:v>
                </c:pt>
                <c:pt idx="14845">
                  <c:v>0.264758337792045</c:v>
                </c:pt>
                <c:pt idx="14846">
                  <c:v>0.26477617264134101</c:v>
                </c:pt>
                <c:pt idx="14847">
                  <c:v>0.26479400749063597</c:v>
                </c:pt>
                <c:pt idx="14848">
                  <c:v>0.26481184233993199</c:v>
                </c:pt>
                <c:pt idx="14849">
                  <c:v>0.26482967718922701</c:v>
                </c:pt>
                <c:pt idx="14850">
                  <c:v>0.26484751203852303</c:v>
                </c:pt>
                <c:pt idx="14851">
                  <c:v>0.26486534688781799</c:v>
                </c:pt>
                <c:pt idx="14852">
                  <c:v>0.264883181737114</c:v>
                </c:pt>
                <c:pt idx="14853">
                  <c:v>0.26490101658640902</c:v>
                </c:pt>
                <c:pt idx="14854">
                  <c:v>0.26491885143570498</c:v>
                </c:pt>
                <c:pt idx="14855">
                  <c:v>0.264936686285</c:v>
                </c:pt>
                <c:pt idx="14856">
                  <c:v>0.26495452113429602</c:v>
                </c:pt>
                <c:pt idx="14857">
                  <c:v>0.26497235598359098</c:v>
                </c:pt>
                <c:pt idx="14858">
                  <c:v>0.264990190832887</c:v>
                </c:pt>
                <c:pt idx="14859">
                  <c:v>0.26500802568218301</c:v>
                </c:pt>
                <c:pt idx="14860">
                  <c:v>0.26502586053147797</c:v>
                </c:pt>
                <c:pt idx="14861">
                  <c:v>0.26504369538077399</c:v>
                </c:pt>
                <c:pt idx="14862">
                  <c:v>0.26506153023006901</c:v>
                </c:pt>
                <c:pt idx="14863">
                  <c:v>0.26507936507936503</c:v>
                </c:pt>
                <c:pt idx="14864">
                  <c:v>0.26509719992865999</c:v>
                </c:pt>
                <c:pt idx="14865">
                  <c:v>0.265115034777956</c:v>
                </c:pt>
                <c:pt idx="14866">
                  <c:v>0.26513286962725102</c:v>
                </c:pt>
                <c:pt idx="14867">
                  <c:v>0.26515070447654698</c:v>
                </c:pt>
                <c:pt idx="14868">
                  <c:v>0.265168539325842</c:v>
                </c:pt>
                <c:pt idx="14869">
                  <c:v>0.26518637417513802</c:v>
                </c:pt>
                <c:pt idx="14870">
                  <c:v>0.26520420902443298</c:v>
                </c:pt>
                <c:pt idx="14871">
                  <c:v>0.265222043873729</c:v>
                </c:pt>
                <c:pt idx="14872">
                  <c:v>0.26523987872302401</c:v>
                </c:pt>
                <c:pt idx="14873">
                  <c:v>0.26525771357231998</c:v>
                </c:pt>
                <c:pt idx="14874">
                  <c:v>0.26527554842161499</c:v>
                </c:pt>
                <c:pt idx="14875">
                  <c:v>0.26529338327091101</c:v>
                </c:pt>
                <c:pt idx="14876">
                  <c:v>0.26531121812020603</c:v>
                </c:pt>
                <c:pt idx="14877">
                  <c:v>0.26532905296950199</c:v>
                </c:pt>
                <c:pt idx="14878">
                  <c:v>0.26534688781879701</c:v>
                </c:pt>
                <c:pt idx="14879">
                  <c:v>0.26536472266809302</c:v>
                </c:pt>
                <c:pt idx="14880">
                  <c:v>0.26538255751738898</c:v>
                </c:pt>
                <c:pt idx="14881">
                  <c:v>0.265400392366684</c:v>
                </c:pt>
                <c:pt idx="14882">
                  <c:v>0.26541822721598002</c:v>
                </c:pt>
                <c:pt idx="14883">
                  <c:v>0.26543606206527498</c:v>
                </c:pt>
                <c:pt idx="14884">
                  <c:v>0.265453896914571</c:v>
                </c:pt>
                <c:pt idx="14885">
                  <c:v>0.26547173176386601</c:v>
                </c:pt>
                <c:pt idx="14886">
                  <c:v>0.26548956661316198</c:v>
                </c:pt>
                <c:pt idx="14887">
                  <c:v>0.26550740146245699</c:v>
                </c:pt>
                <c:pt idx="14888">
                  <c:v>0.26552523631175301</c:v>
                </c:pt>
                <c:pt idx="14889">
                  <c:v>0.26554307116104803</c:v>
                </c:pt>
                <c:pt idx="14890">
                  <c:v>0.26556090601034399</c:v>
                </c:pt>
                <c:pt idx="14891">
                  <c:v>0.26557874085963901</c:v>
                </c:pt>
                <c:pt idx="14892">
                  <c:v>0.26559657570893502</c:v>
                </c:pt>
                <c:pt idx="14893">
                  <c:v>0.26561441055822999</c:v>
                </c:pt>
                <c:pt idx="14894">
                  <c:v>0.265632245407526</c:v>
                </c:pt>
                <c:pt idx="14895">
                  <c:v>0.26565008025682102</c:v>
                </c:pt>
                <c:pt idx="14896">
                  <c:v>0.26566791510611698</c:v>
                </c:pt>
                <c:pt idx="14897">
                  <c:v>0.265685749955412</c:v>
                </c:pt>
                <c:pt idx="14898">
                  <c:v>0.26570358480470802</c:v>
                </c:pt>
                <c:pt idx="14899">
                  <c:v>0.26572141965400298</c:v>
                </c:pt>
                <c:pt idx="14900">
                  <c:v>0.26573925450329899</c:v>
                </c:pt>
                <c:pt idx="14901">
                  <c:v>0.26575708935259401</c:v>
                </c:pt>
                <c:pt idx="14902">
                  <c:v>0.26577492420188997</c:v>
                </c:pt>
                <c:pt idx="14903">
                  <c:v>0.26579275905118599</c:v>
                </c:pt>
                <c:pt idx="14904">
                  <c:v>0.26581059390048101</c:v>
                </c:pt>
                <c:pt idx="14905">
                  <c:v>0.26582842874977702</c:v>
                </c:pt>
                <c:pt idx="14906">
                  <c:v>0.26584626359907199</c:v>
                </c:pt>
                <c:pt idx="14907">
                  <c:v>0.265864098448368</c:v>
                </c:pt>
                <c:pt idx="14908">
                  <c:v>0.26588193329766302</c:v>
                </c:pt>
                <c:pt idx="14909">
                  <c:v>0.26589976814695898</c:v>
                </c:pt>
                <c:pt idx="14910">
                  <c:v>0.265917602996254</c:v>
                </c:pt>
                <c:pt idx="14911">
                  <c:v>0.26593543784555002</c:v>
                </c:pt>
                <c:pt idx="14912">
                  <c:v>0.26595327269484498</c:v>
                </c:pt>
                <c:pt idx="14913">
                  <c:v>0.26597110754414099</c:v>
                </c:pt>
                <c:pt idx="14914">
                  <c:v>0.26598894239343601</c:v>
                </c:pt>
                <c:pt idx="14915">
                  <c:v>0.26600677724273197</c:v>
                </c:pt>
                <c:pt idx="14916">
                  <c:v>0.26602461209202699</c:v>
                </c:pt>
                <c:pt idx="14917">
                  <c:v>0.26604244694132301</c:v>
                </c:pt>
                <c:pt idx="14918">
                  <c:v>0.26606028179061803</c:v>
                </c:pt>
                <c:pt idx="14919">
                  <c:v>0.26607811663991399</c:v>
                </c:pt>
                <c:pt idx="14920">
                  <c:v>0.266095951489209</c:v>
                </c:pt>
                <c:pt idx="14921">
                  <c:v>0.26611378633850502</c:v>
                </c:pt>
                <c:pt idx="14922">
                  <c:v>0.26613162118780098</c:v>
                </c:pt>
                <c:pt idx="14923">
                  <c:v>0.266149456037096</c:v>
                </c:pt>
                <c:pt idx="14924">
                  <c:v>0.26616729088639202</c:v>
                </c:pt>
                <c:pt idx="14925">
                  <c:v>0.26618512573568698</c:v>
                </c:pt>
                <c:pt idx="14926">
                  <c:v>0.26620296058498299</c:v>
                </c:pt>
                <c:pt idx="14927">
                  <c:v>0.26622079543427801</c:v>
                </c:pt>
                <c:pt idx="14928">
                  <c:v>0.26623863028357397</c:v>
                </c:pt>
                <c:pt idx="14929">
                  <c:v>0.26625646513286899</c:v>
                </c:pt>
                <c:pt idx="14930">
                  <c:v>0.26627429998216501</c:v>
                </c:pt>
                <c:pt idx="14931">
                  <c:v>0.26629213483146003</c:v>
                </c:pt>
                <c:pt idx="14932">
                  <c:v>0.26630996968075599</c:v>
                </c:pt>
                <c:pt idx="14933">
                  <c:v>0.266327804530051</c:v>
                </c:pt>
                <c:pt idx="14934">
                  <c:v>0.26634563937934702</c:v>
                </c:pt>
                <c:pt idx="14935">
                  <c:v>0.26636347422864198</c:v>
                </c:pt>
                <c:pt idx="14936">
                  <c:v>0.266381309077938</c:v>
                </c:pt>
                <c:pt idx="14937">
                  <c:v>0.26639914392723302</c:v>
                </c:pt>
                <c:pt idx="14938">
                  <c:v>0.26641697877652898</c:v>
                </c:pt>
                <c:pt idx="14939">
                  <c:v>0.266434813625824</c:v>
                </c:pt>
                <c:pt idx="14940">
                  <c:v>0.26645264847512001</c:v>
                </c:pt>
                <c:pt idx="14941">
                  <c:v>0.26647048332441498</c:v>
                </c:pt>
                <c:pt idx="14942">
                  <c:v>0.26648831817371099</c:v>
                </c:pt>
                <c:pt idx="14943">
                  <c:v>0.26650615302300601</c:v>
                </c:pt>
                <c:pt idx="14944">
                  <c:v>0.26652398787230203</c:v>
                </c:pt>
                <c:pt idx="14945">
                  <c:v>0.26654182272159799</c:v>
                </c:pt>
                <c:pt idx="14946">
                  <c:v>0.266559657570893</c:v>
                </c:pt>
                <c:pt idx="14947">
                  <c:v>0.26657749242018902</c:v>
                </c:pt>
                <c:pt idx="14948">
                  <c:v>0.26659532726948398</c:v>
                </c:pt>
                <c:pt idx="14949">
                  <c:v>0.26661316211878</c:v>
                </c:pt>
                <c:pt idx="14950">
                  <c:v>0.26663099696807502</c:v>
                </c:pt>
                <c:pt idx="14951">
                  <c:v>0.26664883181737098</c:v>
                </c:pt>
                <c:pt idx="14952">
                  <c:v>0.266666666666666</c:v>
                </c:pt>
                <c:pt idx="14953">
                  <c:v>0.26668450151596201</c:v>
                </c:pt>
                <c:pt idx="14954">
                  <c:v>0.26670233636525698</c:v>
                </c:pt>
                <c:pt idx="14955">
                  <c:v>0.26672017121455299</c:v>
                </c:pt>
                <c:pt idx="14956">
                  <c:v>0.26673800606384801</c:v>
                </c:pt>
                <c:pt idx="14957">
                  <c:v>0.26675584091314403</c:v>
                </c:pt>
                <c:pt idx="14958">
                  <c:v>0.26677367576243899</c:v>
                </c:pt>
                <c:pt idx="14959">
                  <c:v>0.26679151061173501</c:v>
                </c:pt>
                <c:pt idx="14960">
                  <c:v>0.26680934546103002</c:v>
                </c:pt>
                <c:pt idx="14961">
                  <c:v>0.26682718031032598</c:v>
                </c:pt>
                <c:pt idx="14962">
                  <c:v>0.266845015159621</c:v>
                </c:pt>
                <c:pt idx="14963">
                  <c:v>0.26686285000891702</c:v>
                </c:pt>
                <c:pt idx="14964">
                  <c:v>0.26688068485821198</c:v>
                </c:pt>
                <c:pt idx="14965">
                  <c:v>0.266898519707508</c:v>
                </c:pt>
                <c:pt idx="14966">
                  <c:v>0.26691635455680401</c:v>
                </c:pt>
                <c:pt idx="14967">
                  <c:v>0.26693418940609898</c:v>
                </c:pt>
                <c:pt idx="14968">
                  <c:v>0.26695202425539499</c:v>
                </c:pt>
                <c:pt idx="14969">
                  <c:v>0.26696985910469001</c:v>
                </c:pt>
                <c:pt idx="14970">
                  <c:v>0.26698769395398603</c:v>
                </c:pt>
                <c:pt idx="14971">
                  <c:v>0.26700552880328099</c:v>
                </c:pt>
                <c:pt idx="14972">
                  <c:v>0.26702336365257701</c:v>
                </c:pt>
                <c:pt idx="14973">
                  <c:v>0.26704119850187202</c:v>
                </c:pt>
                <c:pt idx="14974">
                  <c:v>0.26705903335116798</c:v>
                </c:pt>
                <c:pt idx="14975">
                  <c:v>0.267076868200463</c:v>
                </c:pt>
                <c:pt idx="14976">
                  <c:v>0.26709470304975902</c:v>
                </c:pt>
                <c:pt idx="14977">
                  <c:v>0.26711253789905398</c:v>
                </c:pt>
                <c:pt idx="14978">
                  <c:v>0.26713037274835</c:v>
                </c:pt>
                <c:pt idx="14979">
                  <c:v>0.26714820759764502</c:v>
                </c:pt>
                <c:pt idx="14980">
                  <c:v>0.26716604244694098</c:v>
                </c:pt>
                <c:pt idx="14981">
                  <c:v>0.26718387729623599</c:v>
                </c:pt>
                <c:pt idx="14982">
                  <c:v>0.26720171214553201</c:v>
                </c:pt>
                <c:pt idx="14983">
                  <c:v>0.26721954699482697</c:v>
                </c:pt>
                <c:pt idx="14984">
                  <c:v>0.26723738184412299</c:v>
                </c:pt>
                <c:pt idx="14985">
                  <c:v>0.26725521669341801</c:v>
                </c:pt>
                <c:pt idx="14986">
                  <c:v>0.26727305154271402</c:v>
                </c:pt>
                <c:pt idx="14987">
                  <c:v>0.26729088639200999</c:v>
                </c:pt>
                <c:pt idx="14988">
                  <c:v>0.267308721241305</c:v>
                </c:pt>
                <c:pt idx="14989">
                  <c:v>0.26732655609060102</c:v>
                </c:pt>
                <c:pt idx="14990">
                  <c:v>0.26734439093989598</c:v>
                </c:pt>
                <c:pt idx="14991">
                  <c:v>0.267362225789192</c:v>
                </c:pt>
                <c:pt idx="14992">
                  <c:v>0.26738006063848702</c:v>
                </c:pt>
                <c:pt idx="14993">
                  <c:v>0.26739789548778298</c:v>
                </c:pt>
                <c:pt idx="14994">
                  <c:v>0.26741573033707799</c:v>
                </c:pt>
                <c:pt idx="14995">
                  <c:v>0.26743356518637401</c:v>
                </c:pt>
                <c:pt idx="14996">
                  <c:v>0.26745140003566897</c:v>
                </c:pt>
                <c:pt idx="14997">
                  <c:v>0.26746923488496499</c:v>
                </c:pt>
                <c:pt idx="14998">
                  <c:v>0.26748706973426001</c:v>
                </c:pt>
                <c:pt idx="14999">
                  <c:v>0.26750490458355602</c:v>
                </c:pt>
                <c:pt idx="15000">
                  <c:v>0.26752273943285099</c:v>
                </c:pt>
                <c:pt idx="15001">
                  <c:v>0.267540574282147</c:v>
                </c:pt>
                <c:pt idx="15002">
                  <c:v>0.26755840913144202</c:v>
                </c:pt>
                <c:pt idx="15003">
                  <c:v>0.26757624398073798</c:v>
                </c:pt>
                <c:pt idx="15004">
                  <c:v>0.267594078830033</c:v>
                </c:pt>
                <c:pt idx="15005">
                  <c:v>0.26761191367932902</c:v>
                </c:pt>
                <c:pt idx="15006">
                  <c:v>0.26762974852862398</c:v>
                </c:pt>
                <c:pt idx="15007">
                  <c:v>0.26764758337792</c:v>
                </c:pt>
                <c:pt idx="15008">
                  <c:v>0.26766541822721501</c:v>
                </c:pt>
                <c:pt idx="15009">
                  <c:v>0.26768325307651097</c:v>
                </c:pt>
                <c:pt idx="15010">
                  <c:v>0.26770108792580699</c:v>
                </c:pt>
                <c:pt idx="15011">
                  <c:v>0.26771892277510201</c:v>
                </c:pt>
                <c:pt idx="15012">
                  <c:v>0.26773675762439803</c:v>
                </c:pt>
                <c:pt idx="15013">
                  <c:v>0.26775459247369299</c:v>
                </c:pt>
                <c:pt idx="15014">
                  <c:v>0.267772427322989</c:v>
                </c:pt>
                <c:pt idx="15015">
                  <c:v>0.26779026217228402</c:v>
                </c:pt>
                <c:pt idx="15016">
                  <c:v>0.26780809702157998</c:v>
                </c:pt>
                <c:pt idx="15017">
                  <c:v>0.267825931870875</c:v>
                </c:pt>
                <c:pt idx="15018">
                  <c:v>0.26784376672017102</c:v>
                </c:pt>
                <c:pt idx="15019">
                  <c:v>0.26786160156946598</c:v>
                </c:pt>
                <c:pt idx="15020">
                  <c:v>0.267879436418762</c:v>
                </c:pt>
                <c:pt idx="15021">
                  <c:v>0.26789727126805701</c:v>
                </c:pt>
                <c:pt idx="15022">
                  <c:v>0.26791510611735297</c:v>
                </c:pt>
                <c:pt idx="15023">
                  <c:v>0.26793294096664799</c:v>
                </c:pt>
                <c:pt idx="15024">
                  <c:v>0.26795077581594401</c:v>
                </c:pt>
                <c:pt idx="15025">
                  <c:v>0.26796861066523903</c:v>
                </c:pt>
                <c:pt idx="15026">
                  <c:v>0.26798644551453499</c:v>
                </c:pt>
                <c:pt idx="15027">
                  <c:v>0.26800428036383001</c:v>
                </c:pt>
                <c:pt idx="15028">
                  <c:v>0.26802211521312602</c:v>
                </c:pt>
                <c:pt idx="15029">
                  <c:v>0.26803995006242198</c:v>
                </c:pt>
                <c:pt idx="15030">
                  <c:v>0.268057784911717</c:v>
                </c:pt>
                <c:pt idx="15031">
                  <c:v>0.26807561976101302</c:v>
                </c:pt>
                <c:pt idx="15032">
                  <c:v>0.26809345461030798</c:v>
                </c:pt>
                <c:pt idx="15033">
                  <c:v>0.268111289459604</c:v>
                </c:pt>
                <c:pt idx="15034">
                  <c:v>0.26812912430889901</c:v>
                </c:pt>
                <c:pt idx="15035">
                  <c:v>0.26814695915819498</c:v>
                </c:pt>
                <c:pt idx="15036">
                  <c:v>0.26816479400748999</c:v>
                </c:pt>
                <c:pt idx="15037">
                  <c:v>0.26818262885678601</c:v>
                </c:pt>
                <c:pt idx="15038">
                  <c:v>0.26820046370608103</c:v>
                </c:pt>
                <c:pt idx="15039">
                  <c:v>0.26821829855537699</c:v>
                </c:pt>
                <c:pt idx="15040">
                  <c:v>0.26823613340467201</c:v>
                </c:pt>
                <c:pt idx="15041">
                  <c:v>0.26825396825396802</c:v>
                </c:pt>
                <c:pt idx="15042">
                  <c:v>0.26827180310326298</c:v>
                </c:pt>
                <c:pt idx="15043">
                  <c:v>0.268289637952559</c:v>
                </c:pt>
                <c:pt idx="15044">
                  <c:v>0.26830747280185402</c:v>
                </c:pt>
                <c:pt idx="15045">
                  <c:v>0.26832530765114998</c:v>
                </c:pt>
                <c:pt idx="15046">
                  <c:v>0.268343142500445</c:v>
                </c:pt>
                <c:pt idx="15047">
                  <c:v>0.26836097734974101</c:v>
                </c:pt>
                <c:pt idx="15048">
                  <c:v>0.26837881219903598</c:v>
                </c:pt>
                <c:pt idx="15049">
                  <c:v>0.26839664704833199</c:v>
                </c:pt>
                <c:pt idx="15050">
                  <c:v>0.26841448189762701</c:v>
                </c:pt>
                <c:pt idx="15051">
                  <c:v>0.26843231674692303</c:v>
                </c:pt>
                <c:pt idx="15052">
                  <c:v>0.26845015159621899</c:v>
                </c:pt>
                <c:pt idx="15053">
                  <c:v>0.26846798644551401</c:v>
                </c:pt>
                <c:pt idx="15054">
                  <c:v>0.26848582129481002</c:v>
                </c:pt>
                <c:pt idx="15055">
                  <c:v>0.26850365614410499</c:v>
                </c:pt>
                <c:pt idx="15056">
                  <c:v>0.268521490993401</c:v>
                </c:pt>
                <c:pt idx="15057">
                  <c:v>0.26853932584269602</c:v>
                </c:pt>
                <c:pt idx="15058">
                  <c:v>0.26855716069199198</c:v>
                </c:pt>
                <c:pt idx="15059">
                  <c:v>0.268574995541287</c:v>
                </c:pt>
                <c:pt idx="15060">
                  <c:v>0.26859283039058302</c:v>
                </c:pt>
                <c:pt idx="15061">
                  <c:v>0.26861066523987798</c:v>
                </c:pt>
                <c:pt idx="15062">
                  <c:v>0.26862850008917399</c:v>
                </c:pt>
                <c:pt idx="15063">
                  <c:v>0.26864633493846901</c:v>
                </c:pt>
                <c:pt idx="15064">
                  <c:v>0.26866416978776497</c:v>
                </c:pt>
                <c:pt idx="15065">
                  <c:v>0.26868200463705999</c:v>
                </c:pt>
                <c:pt idx="15066">
                  <c:v>0.26869983948635601</c:v>
                </c:pt>
                <c:pt idx="15067">
                  <c:v>0.26871767433565102</c:v>
                </c:pt>
                <c:pt idx="15068">
                  <c:v>0.26873550918494699</c:v>
                </c:pt>
                <c:pt idx="15069">
                  <c:v>0.268753344034242</c:v>
                </c:pt>
                <c:pt idx="15070">
                  <c:v>0.26877117888353802</c:v>
                </c:pt>
                <c:pt idx="15071">
                  <c:v>0.26878901373283398</c:v>
                </c:pt>
                <c:pt idx="15072">
                  <c:v>0.268806848582129</c:v>
                </c:pt>
                <c:pt idx="15073">
                  <c:v>0.26882468343142502</c:v>
                </c:pt>
                <c:pt idx="15074">
                  <c:v>0.26884251828071998</c:v>
                </c:pt>
                <c:pt idx="15075">
                  <c:v>0.26886035313001599</c:v>
                </c:pt>
                <c:pt idx="15076">
                  <c:v>0.26887818797931101</c:v>
                </c:pt>
                <c:pt idx="15077">
                  <c:v>0.26889602282860697</c:v>
                </c:pt>
                <c:pt idx="15078">
                  <c:v>0.26891385767790199</c:v>
                </c:pt>
                <c:pt idx="15079">
                  <c:v>0.26893169252719801</c:v>
                </c:pt>
                <c:pt idx="15080">
                  <c:v>0.26894952737649302</c:v>
                </c:pt>
                <c:pt idx="15081">
                  <c:v>0.26896736222578899</c:v>
                </c:pt>
                <c:pt idx="15082">
                  <c:v>0.268985197075084</c:v>
                </c:pt>
                <c:pt idx="15083">
                  <c:v>0.26900303192438002</c:v>
                </c:pt>
                <c:pt idx="15084">
                  <c:v>0.26902086677367498</c:v>
                </c:pt>
                <c:pt idx="15085">
                  <c:v>0.269038701622971</c:v>
                </c:pt>
                <c:pt idx="15086">
                  <c:v>0.26905653647226602</c:v>
                </c:pt>
                <c:pt idx="15087">
                  <c:v>0.26907437132156198</c:v>
                </c:pt>
                <c:pt idx="15088">
                  <c:v>0.269092206170857</c:v>
                </c:pt>
                <c:pt idx="15089">
                  <c:v>0.26911004102015301</c:v>
                </c:pt>
                <c:pt idx="15090">
                  <c:v>0.26912787586944797</c:v>
                </c:pt>
                <c:pt idx="15091">
                  <c:v>0.26914571071874399</c:v>
                </c:pt>
                <c:pt idx="15092">
                  <c:v>0.26916354556803901</c:v>
                </c:pt>
                <c:pt idx="15093">
                  <c:v>0.26918138041733503</c:v>
                </c:pt>
                <c:pt idx="15094">
                  <c:v>0.26919921526663099</c:v>
                </c:pt>
                <c:pt idx="15095">
                  <c:v>0.269217050115926</c:v>
                </c:pt>
                <c:pt idx="15096">
                  <c:v>0.26923488496522202</c:v>
                </c:pt>
                <c:pt idx="15097">
                  <c:v>0.26925271981451698</c:v>
                </c:pt>
                <c:pt idx="15098">
                  <c:v>0.269270554663813</c:v>
                </c:pt>
                <c:pt idx="15099">
                  <c:v>0.26928838951310802</c:v>
                </c:pt>
                <c:pt idx="15100">
                  <c:v>0.26930622436240398</c:v>
                </c:pt>
                <c:pt idx="15101">
                  <c:v>0.269324059211699</c:v>
                </c:pt>
                <c:pt idx="15102">
                  <c:v>0.26934189406099501</c:v>
                </c:pt>
                <c:pt idx="15103">
                  <c:v>0.26935972891028998</c:v>
                </c:pt>
                <c:pt idx="15104">
                  <c:v>0.26937756375958599</c:v>
                </c:pt>
                <c:pt idx="15105">
                  <c:v>0.26939539860888101</c:v>
                </c:pt>
                <c:pt idx="15106">
                  <c:v>0.26941323345817703</c:v>
                </c:pt>
                <c:pt idx="15107">
                  <c:v>0.26943106830747199</c:v>
                </c:pt>
                <c:pt idx="15108">
                  <c:v>0.269448903156768</c:v>
                </c:pt>
                <c:pt idx="15109">
                  <c:v>0.26946673800606302</c:v>
                </c:pt>
                <c:pt idx="15110">
                  <c:v>0.26948457285535898</c:v>
                </c:pt>
                <c:pt idx="15111">
                  <c:v>0.269502407704654</c:v>
                </c:pt>
                <c:pt idx="15112">
                  <c:v>0.26952024255395002</c:v>
                </c:pt>
                <c:pt idx="15113">
                  <c:v>0.26953807740324498</c:v>
                </c:pt>
                <c:pt idx="15114">
                  <c:v>0.269555912252541</c:v>
                </c:pt>
                <c:pt idx="15115">
                  <c:v>0.26957374710183701</c:v>
                </c:pt>
                <c:pt idx="15116">
                  <c:v>0.26959158195113198</c:v>
                </c:pt>
                <c:pt idx="15117">
                  <c:v>0.26960941680042799</c:v>
                </c:pt>
                <c:pt idx="15118">
                  <c:v>0.26962725164972301</c:v>
                </c:pt>
                <c:pt idx="15119">
                  <c:v>0.26964508649901903</c:v>
                </c:pt>
                <c:pt idx="15120">
                  <c:v>0.26966292134831399</c:v>
                </c:pt>
                <c:pt idx="15121">
                  <c:v>0.26968075619761001</c:v>
                </c:pt>
                <c:pt idx="15122">
                  <c:v>0.26969859104690502</c:v>
                </c:pt>
                <c:pt idx="15123">
                  <c:v>0.26971642589620098</c:v>
                </c:pt>
                <c:pt idx="15124">
                  <c:v>0.269734260745496</c:v>
                </c:pt>
                <c:pt idx="15125">
                  <c:v>0.26975209559479202</c:v>
                </c:pt>
                <c:pt idx="15126">
                  <c:v>0.26976993044408698</c:v>
                </c:pt>
                <c:pt idx="15127">
                  <c:v>0.269787765293383</c:v>
                </c:pt>
                <c:pt idx="15128">
                  <c:v>0.26980560014267801</c:v>
                </c:pt>
                <c:pt idx="15129">
                  <c:v>0.26982343499197398</c:v>
                </c:pt>
                <c:pt idx="15130">
                  <c:v>0.26984126984126899</c:v>
                </c:pt>
                <c:pt idx="15131">
                  <c:v>0.26985910469056501</c:v>
                </c:pt>
                <c:pt idx="15132">
                  <c:v>0.26987693953985997</c:v>
                </c:pt>
                <c:pt idx="15133">
                  <c:v>0.26989477438915599</c:v>
                </c:pt>
                <c:pt idx="15134">
                  <c:v>0.26991260923845101</c:v>
                </c:pt>
                <c:pt idx="15135">
                  <c:v>0.26993044408774702</c:v>
                </c:pt>
                <c:pt idx="15136">
                  <c:v>0.26994827893704298</c:v>
                </c:pt>
                <c:pt idx="15137">
                  <c:v>0.269966113786338</c:v>
                </c:pt>
                <c:pt idx="15138">
                  <c:v>0.26998394863563402</c:v>
                </c:pt>
                <c:pt idx="15139">
                  <c:v>0.27000178348492898</c:v>
                </c:pt>
                <c:pt idx="15140">
                  <c:v>0.270019618334225</c:v>
                </c:pt>
                <c:pt idx="15141">
                  <c:v>0.27003745318352002</c:v>
                </c:pt>
                <c:pt idx="15142">
                  <c:v>0.27005528803281598</c:v>
                </c:pt>
                <c:pt idx="15143">
                  <c:v>0.27007312288211099</c:v>
                </c:pt>
                <c:pt idx="15144">
                  <c:v>0.27009095773140701</c:v>
                </c:pt>
                <c:pt idx="15145">
                  <c:v>0.27010879258070197</c:v>
                </c:pt>
                <c:pt idx="15146">
                  <c:v>0.27012662742999799</c:v>
                </c:pt>
                <c:pt idx="15147">
                  <c:v>0.27014446227929301</c:v>
                </c:pt>
                <c:pt idx="15148">
                  <c:v>0.27016229712858902</c:v>
                </c:pt>
                <c:pt idx="15149">
                  <c:v>0.27018013197788399</c:v>
                </c:pt>
                <c:pt idx="15150">
                  <c:v>0.27019796682718</c:v>
                </c:pt>
                <c:pt idx="15151">
                  <c:v>0.27021580167647502</c:v>
                </c:pt>
                <c:pt idx="15152">
                  <c:v>0.27023363652577098</c:v>
                </c:pt>
                <c:pt idx="15153">
                  <c:v>0.270251471375066</c:v>
                </c:pt>
                <c:pt idx="15154">
                  <c:v>0.27026930622436202</c:v>
                </c:pt>
                <c:pt idx="15155">
                  <c:v>0.27028714107365698</c:v>
                </c:pt>
                <c:pt idx="15156">
                  <c:v>0.27030497592295299</c:v>
                </c:pt>
                <c:pt idx="15157">
                  <c:v>0.27032281077224801</c:v>
                </c:pt>
                <c:pt idx="15158">
                  <c:v>0.27034064562154397</c:v>
                </c:pt>
                <c:pt idx="15159">
                  <c:v>0.27035848047083999</c:v>
                </c:pt>
                <c:pt idx="15160">
                  <c:v>0.27037631532013501</c:v>
                </c:pt>
                <c:pt idx="15161">
                  <c:v>0.27039415016943102</c:v>
                </c:pt>
                <c:pt idx="15162">
                  <c:v>0.27041198501872599</c:v>
                </c:pt>
                <c:pt idx="15163">
                  <c:v>0.270429819868022</c:v>
                </c:pt>
                <c:pt idx="15164">
                  <c:v>0.27044765471731702</c:v>
                </c:pt>
                <c:pt idx="15165">
                  <c:v>0.27046548956661298</c:v>
                </c:pt>
                <c:pt idx="15166">
                  <c:v>0.270483324415908</c:v>
                </c:pt>
                <c:pt idx="15167">
                  <c:v>0.27050115926520402</c:v>
                </c:pt>
                <c:pt idx="15168">
                  <c:v>0.27051899411449898</c:v>
                </c:pt>
                <c:pt idx="15169">
                  <c:v>0.270536828963795</c:v>
                </c:pt>
                <c:pt idx="15170">
                  <c:v>0.27055466381309001</c:v>
                </c:pt>
                <c:pt idx="15171">
                  <c:v>0.27057249866238597</c:v>
                </c:pt>
                <c:pt idx="15172">
                  <c:v>0.27059033351168099</c:v>
                </c:pt>
                <c:pt idx="15173">
                  <c:v>0.27060816836097701</c:v>
                </c:pt>
                <c:pt idx="15174">
                  <c:v>0.27062600321027203</c:v>
                </c:pt>
                <c:pt idx="15175">
                  <c:v>0.27064383805956799</c:v>
                </c:pt>
                <c:pt idx="15176">
                  <c:v>0.270661672908863</c:v>
                </c:pt>
                <c:pt idx="15177">
                  <c:v>0.27067950775815902</c:v>
                </c:pt>
                <c:pt idx="15178">
                  <c:v>0.27069734260745498</c:v>
                </c:pt>
                <c:pt idx="15179">
                  <c:v>0.27071517745675</c:v>
                </c:pt>
                <c:pt idx="15180">
                  <c:v>0.27073301230604602</c:v>
                </c:pt>
                <c:pt idx="15181">
                  <c:v>0.27075084715534098</c:v>
                </c:pt>
                <c:pt idx="15182">
                  <c:v>0.270768682004637</c:v>
                </c:pt>
                <c:pt idx="15183">
                  <c:v>0.27078651685393201</c:v>
                </c:pt>
                <c:pt idx="15184">
                  <c:v>0.27080435170322797</c:v>
                </c:pt>
                <c:pt idx="15185">
                  <c:v>0.27082218655252299</c:v>
                </c:pt>
                <c:pt idx="15186">
                  <c:v>0.27084002140181901</c:v>
                </c:pt>
                <c:pt idx="15187">
                  <c:v>0.27085785625111403</c:v>
                </c:pt>
                <c:pt idx="15188">
                  <c:v>0.27087569110040999</c:v>
                </c:pt>
                <c:pt idx="15189">
                  <c:v>0.27089352594970501</c:v>
                </c:pt>
                <c:pt idx="15190">
                  <c:v>0.27091136079900102</c:v>
                </c:pt>
                <c:pt idx="15191">
                  <c:v>0.27092919564829598</c:v>
                </c:pt>
                <c:pt idx="15192">
                  <c:v>0.270947030497592</c:v>
                </c:pt>
                <c:pt idx="15193">
                  <c:v>0.27096486534688702</c:v>
                </c:pt>
                <c:pt idx="15194">
                  <c:v>0.27098270019618298</c:v>
                </c:pt>
                <c:pt idx="15195">
                  <c:v>0.271000535045478</c:v>
                </c:pt>
                <c:pt idx="15196">
                  <c:v>0.27101836989477401</c:v>
                </c:pt>
                <c:pt idx="15197">
                  <c:v>0.27103620474406898</c:v>
                </c:pt>
                <c:pt idx="15198">
                  <c:v>0.27105403959336499</c:v>
                </c:pt>
                <c:pt idx="15199">
                  <c:v>0.27107187444266001</c:v>
                </c:pt>
                <c:pt idx="15200">
                  <c:v>0.27108970929195603</c:v>
                </c:pt>
                <c:pt idx="15201">
                  <c:v>0.27110754414125199</c:v>
                </c:pt>
                <c:pt idx="15202">
                  <c:v>0.27112537899054701</c:v>
                </c:pt>
                <c:pt idx="15203">
                  <c:v>0.27114321383984302</c:v>
                </c:pt>
                <c:pt idx="15204">
                  <c:v>0.27116104868913798</c:v>
                </c:pt>
                <c:pt idx="15205">
                  <c:v>0.271178883538434</c:v>
                </c:pt>
                <c:pt idx="15206">
                  <c:v>0.27119671838772902</c:v>
                </c:pt>
                <c:pt idx="15207">
                  <c:v>0.27121455323702498</c:v>
                </c:pt>
                <c:pt idx="15208">
                  <c:v>0.27123238808632</c:v>
                </c:pt>
                <c:pt idx="15209">
                  <c:v>0.27125022293561601</c:v>
                </c:pt>
                <c:pt idx="15210">
                  <c:v>0.27126805778491098</c:v>
                </c:pt>
                <c:pt idx="15211">
                  <c:v>0.27128589263420699</c:v>
                </c:pt>
                <c:pt idx="15212">
                  <c:v>0.27130372748350201</c:v>
                </c:pt>
                <c:pt idx="15213">
                  <c:v>0.27132156233279803</c:v>
                </c:pt>
                <c:pt idx="15214">
                  <c:v>0.27133939718209299</c:v>
                </c:pt>
                <c:pt idx="15215">
                  <c:v>0.27135723203138901</c:v>
                </c:pt>
                <c:pt idx="15216">
                  <c:v>0.27137506688068402</c:v>
                </c:pt>
                <c:pt idx="15217">
                  <c:v>0.27139290172997999</c:v>
                </c:pt>
                <c:pt idx="15218">
                  <c:v>0.271410736579275</c:v>
                </c:pt>
                <c:pt idx="15219">
                  <c:v>0.27142857142857102</c:v>
                </c:pt>
                <c:pt idx="15220">
                  <c:v>0.27144640627786598</c:v>
                </c:pt>
                <c:pt idx="15221">
                  <c:v>0.271464241127162</c:v>
                </c:pt>
                <c:pt idx="15222">
                  <c:v>0.27148207597645801</c:v>
                </c:pt>
                <c:pt idx="15223">
                  <c:v>0.27149991082575298</c:v>
                </c:pt>
                <c:pt idx="15224">
                  <c:v>0.27151774567504899</c:v>
                </c:pt>
                <c:pt idx="15225">
                  <c:v>0.27153558052434401</c:v>
                </c:pt>
                <c:pt idx="15226">
                  <c:v>0.27155341537363997</c:v>
                </c:pt>
                <c:pt idx="15227">
                  <c:v>0.27157125022293499</c:v>
                </c:pt>
                <c:pt idx="15228">
                  <c:v>0.27158908507223101</c:v>
                </c:pt>
                <c:pt idx="15229">
                  <c:v>0.27160691992152602</c:v>
                </c:pt>
                <c:pt idx="15230">
                  <c:v>0.27162475477082199</c:v>
                </c:pt>
                <c:pt idx="15231">
                  <c:v>0.271642589620117</c:v>
                </c:pt>
                <c:pt idx="15232">
                  <c:v>0.27166042446941302</c:v>
                </c:pt>
                <c:pt idx="15233">
                  <c:v>0.27167825931870798</c:v>
                </c:pt>
                <c:pt idx="15234">
                  <c:v>0.271696094168004</c:v>
                </c:pt>
                <c:pt idx="15235">
                  <c:v>0.27171392901729902</c:v>
                </c:pt>
                <c:pt idx="15236">
                  <c:v>0.27173176386659498</c:v>
                </c:pt>
                <c:pt idx="15237">
                  <c:v>0.27174959871589</c:v>
                </c:pt>
                <c:pt idx="15238">
                  <c:v>0.27176743356518601</c:v>
                </c:pt>
                <c:pt idx="15239">
                  <c:v>0.27178526841448097</c:v>
                </c:pt>
                <c:pt idx="15240">
                  <c:v>0.27180310326377699</c:v>
                </c:pt>
                <c:pt idx="15241">
                  <c:v>0.27182093811307201</c:v>
                </c:pt>
                <c:pt idx="15242">
                  <c:v>0.27183877296236802</c:v>
                </c:pt>
                <c:pt idx="15243">
                  <c:v>0.27185660781166399</c:v>
                </c:pt>
                <c:pt idx="15244">
                  <c:v>0.271874442660959</c:v>
                </c:pt>
                <c:pt idx="15245">
                  <c:v>0.27189227751025502</c:v>
                </c:pt>
                <c:pt idx="15246">
                  <c:v>0.27191011235954998</c:v>
                </c:pt>
                <c:pt idx="15247">
                  <c:v>0.271927947208846</c:v>
                </c:pt>
                <c:pt idx="15248">
                  <c:v>0.27194578205814102</c:v>
                </c:pt>
                <c:pt idx="15249">
                  <c:v>0.27196361690743698</c:v>
                </c:pt>
                <c:pt idx="15250">
                  <c:v>0.271981451756732</c:v>
                </c:pt>
                <c:pt idx="15251">
                  <c:v>0.27199928660602801</c:v>
                </c:pt>
                <c:pt idx="15252">
                  <c:v>0.27201712145532297</c:v>
                </c:pt>
                <c:pt idx="15253">
                  <c:v>0.27203495630461899</c:v>
                </c:pt>
                <c:pt idx="15254">
                  <c:v>0.27205279115391401</c:v>
                </c:pt>
                <c:pt idx="15255">
                  <c:v>0.27207062600321003</c:v>
                </c:pt>
                <c:pt idx="15256">
                  <c:v>0.27208846085250499</c:v>
                </c:pt>
                <c:pt idx="15257">
                  <c:v>0.272106295701801</c:v>
                </c:pt>
                <c:pt idx="15258">
                  <c:v>0.27212413055109602</c:v>
                </c:pt>
                <c:pt idx="15259">
                  <c:v>0.27214196540039198</c:v>
                </c:pt>
                <c:pt idx="15260">
                  <c:v>0.272159800249687</c:v>
                </c:pt>
                <c:pt idx="15261">
                  <c:v>0.27217763509898302</c:v>
                </c:pt>
                <c:pt idx="15262">
                  <c:v>0.27219546994827798</c:v>
                </c:pt>
                <c:pt idx="15263">
                  <c:v>0.272213304797574</c:v>
                </c:pt>
                <c:pt idx="15264">
                  <c:v>0.27223113964686901</c:v>
                </c:pt>
                <c:pt idx="15265">
                  <c:v>0.27224897449616497</c:v>
                </c:pt>
                <c:pt idx="15266">
                  <c:v>0.27226680934546099</c:v>
                </c:pt>
                <c:pt idx="15267">
                  <c:v>0.27228464419475601</c:v>
                </c:pt>
                <c:pt idx="15268">
                  <c:v>0.27230247904405203</c:v>
                </c:pt>
                <c:pt idx="15269">
                  <c:v>0.27232031389334699</c:v>
                </c:pt>
                <c:pt idx="15270">
                  <c:v>0.272338148742643</c:v>
                </c:pt>
                <c:pt idx="15271">
                  <c:v>0.27235598359193802</c:v>
                </c:pt>
                <c:pt idx="15272">
                  <c:v>0.27237381844123398</c:v>
                </c:pt>
                <c:pt idx="15273">
                  <c:v>0.272391653290529</c:v>
                </c:pt>
                <c:pt idx="15274">
                  <c:v>0.27240948813982502</c:v>
                </c:pt>
                <c:pt idx="15275">
                  <c:v>0.27242732298911998</c:v>
                </c:pt>
                <c:pt idx="15276">
                  <c:v>0.272445157838416</c:v>
                </c:pt>
                <c:pt idx="15277">
                  <c:v>0.27246299268771101</c:v>
                </c:pt>
                <c:pt idx="15278">
                  <c:v>0.27248082753700698</c:v>
                </c:pt>
                <c:pt idx="15279">
                  <c:v>0.27249866238630199</c:v>
                </c:pt>
                <c:pt idx="15280">
                  <c:v>0.27251649723559801</c:v>
                </c:pt>
                <c:pt idx="15281">
                  <c:v>0.27253433208489303</c:v>
                </c:pt>
                <c:pt idx="15282">
                  <c:v>0.27255216693418899</c:v>
                </c:pt>
                <c:pt idx="15283">
                  <c:v>0.27257000178348401</c:v>
                </c:pt>
                <c:pt idx="15284">
                  <c:v>0.27258783663278002</c:v>
                </c:pt>
                <c:pt idx="15285">
                  <c:v>0.27260567148207598</c:v>
                </c:pt>
                <c:pt idx="15286">
                  <c:v>0.272623506331371</c:v>
                </c:pt>
                <c:pt idx="15287">
                  <c:v>0.27264134118066702</c:v>
                </c:pt>
                <c:pt idx="15288">
                  <c:v>0.27265917602996198</c:v>
                </c:pt>
                <c:pt idx="15289">
                  <c:v>0.272677010879258</c:v>
                </c:pt>
                <c:pt idx="15290">
                  <c:v>0.27269484572855301</c:v>
                </c:pt>
                <c:pt idx="15291">
                  <c:v>0.27271268057784898</c:v>
                </c:pt>
                <c:pt idx="15292">
                  <c:v>0.27273051542714399</c:v>
                </c:pt>
                <c:pt idx="15293">
                  <c:v>0.27274835027644001</c:v>
                </c:pt>
                <c:pt idx="15294">
                  <c:v>0.27276618512573497</c:v>
                </c:pt>
                <c:pt idx="15295">
                  <c:v>0.27278401997503099</c:v>
                </c:pt>
                <c:pt idx="15296">
                  <c:v>0.27280185482432601</c:v>
                </c:pt>
                <c:pt idx="15297">
                  <c:v>0.27281968967362202</c:v>
                </c:pt>
                <c:pt idx="15298">
                  <c:v>0.27283752452291699</c:v>
                </c:pt>
                <c:pt idx="15299">
                  <c:v>0.272855359372213</c:v>
                </c:pt>
                <c:pt idx="15300">
                  <c:v>0.27287319422150802</c:v>
                </c:pt>
                <c:pt idx="15301">
                  <c:v>0.27289102907080398</c:v>
                </c:pt>
                <c:pt idx="15302">
                  <c:v>0.272908863920099</c:v>
                </c:pt>
                <c:pt idx="15303">
                  <c:v>0.27292669876939502</c:v>
                </c:pt>
                <c:pt idx="15304">
                  <c:v>0.27294453361868998</c:v>
                </c:pt>
                <c:pt idx="15305">
                  <c:v>0.27296236846798599</c:v>
                </c:pt>
                <c:pt idx="15306">
                  <c:v>0.27298020331728101</c:v>
                </c:pt>
                <c:pt idx="15307">
                  <c:v>0.27299803816657697</c:v>
                </c:pt>
                <c:pt idx="15308">
                  <c:v>0.27301587301587299</c:v>
                </c:pt>
                <c:pt idx="15309">
                  <c:v>0.27303370786516801</c:v>
                </c:pt>
                <c:pt idx="15310">
                  <c:v>0.27305154271446402</c:v>
                </c:pt>
                <c:pt idx="15311">
                  <c:v>0.27306937756375899</c:v>
                </c:pt>
                <c:pt idx="15312">
                  <c:v>0.273087212413055</c:v>
                </c:pt>
                <c:pt idx="15313">
                  <c:v>0.27310504726235002</c:v>
                </c:pt>
                <c:pt idx="15314">
                  <c:v>0.27312288211164598</c:v>
                </c:pt>
                <c:pt idx="15315">
                  <c:v>0.273140716960941</c:v>
                </c:pt>
                <c:pt idx="15316">
                  <c:v>0.27315855181023702</c:v>
                </c:pt>
                <c:pt idx="15317">
                  <c:v>0.27317638665953198</c:v>
                </c:pt>
                <c:pt idx="15318">
                  <c:v>0.27319422150882799</c:v>
                </c:pt>
                <c:pt idx="15319">
                  <c:v>0.27321205635812301</c:v>
                </c:pt>
                <c:pt idx="15320">
                  <c:v>0.27322989120741897</c:v>
                </c:pt>
                <c:pt idx="15321">
                  <c:v>0.27324772605671399</c:v>
                </c:pt>
                <c:pt idx="15322">
                  <c:v>0.27326556090601001</c:v>
                </c:pt>
                <c:pt idx="15323">
                  <c:v>0.27328339575530503</c:v>
                </c:pt>
                <c:pt idx="15324">
                  <c:v>0.27330123060460099</c:v>
                </c:pt>
                <c:pt idx="15325">
                  <c:v>0.273319065453896</c:v>
                </c:pt>
                <c:pt idx="15326">
                  <c:v>0.27333690030319202</c:v>
                </c:pt>
                <c:pt idx="15327">
                  <c:v>0.27335473515248798</c:v>
                </c:pt>
                <c:pt idx="15328">
                  <c:v>0.273372570001783</c:v>
                </c:pt>
                <c:pt idx="15329">
                  <c:v>0.27339040485107902</c:v>
                </c:pt>
                <c:pt idx="15330">
                  <c:v>0.27340823970037398</c:v>
                </c:pt>
                <c:pt idx="15331">
                  <c:v>0.27342607454967</c:v>
                </c:pt>
                <c:pt idx="15332">
                  <c:v>0.27344390939896501</c:v>
                </c:pt>
                <c:pt idx="15333">
                  <c:v>0.27346174424826097</c:v>
                </c:pt>
                <c:pt idx="15334">
                  <c:v>0.27347957909755599</c:v>
                </c:pt>
                <c:pt idx="15335">
                  <c:v>0.27349741394685201</c:v>
                </c:pt>
                <c:pt idx="15336">
                  <c:v>0.27351524879614703</c:v>
                </c:pt>
                <c:pt idx="15337">
                  <c:v>0.27353308364544299</c:v>
                </c:pt>
                <c:pt idx="15338">
                  <c:v>0.273550918494738</c:v>
                </c:pt>
                <c:pt idx="15339">
                  <c:v>0.27356875334403402</c:v>
                </c:pt>
                <c:pt idx="15340">
                  <c:v>0.27358658819332898</c:v>
                </c:pt>
                <c:pt idx="15341">
                  <c:v>0.273604423042625</c:v>
                </c:pt>
                <c:pt idx="15342">
                  <c:v>0.27362225789192002</c:v>
                </c:pt>
                <c:pt idx="15343">
                  <c:v>0.27364009274121598</c:v>
                </c:pt>
                <c:pt idx="15344">
                  <c:v>0.273657927590511</c:v>
                </c:pt>
                <c:pt idx="15345">
                  <c:v>0.27367576243980701</c:v>
                </c:pt>
                <c:pt idx="15346">
                  <c:v>0.27369359728910198</c:v>
                </c:pt>
                <c:pt idx="15347">
                  <c:v>0.27371143213839799</c:v>
                </c:pt>
                <c:pt idx="15348">
                  <c:v>0.27372926698769301</c:v>
                </c:pt>
                <c:pt idx="15349">
                  <c:v>0.27374710183698903</c:v>
                </c:pt>
                <c:pt idx="15350">
                  <c:v>0.27376493668628499</c:v>
                </c:pt>
                <c:pt idx="15351">
                  <c:v>0.27378277153558001</c:v>
                </c:pt>
                <c:pt idx="15352">
                  <c:v>0.27380060638487602</c:v>
                </c:pt>
                <c:pt idx="15353">
                  <c:v>0.27381844123417098</c:v>
                </c:pt>
                <c:pt idx="15354">
                  <c:v>0.273836276083467</c:v>
                </c:pt>
                <c:pt idx="15355">
                  <c:v>0.27385411093276202</c:v>
                </c:pt>
                <c:pt idx="15356">
                  <c:v>0.27387194578205798</c:v>
                </c:pt>
                <c:pt idx="15357">
                  <c:v>0.273889780631353</c:v>
                </c:pt>
                <c:pt idx="15358">
                  <c:v>0.27390761548064901</c:v>
                </c:pt>
                <c:pt idx="15359">
                  <c:v>0.27392545032994398</c:v>
                </c:pt>
                <c:pt idx="15360">
                  <c:v>0.27394328517923999</c:v>
                </c:pt>
                <c:pt idx="15361">
                  <c:v>0.27396112002853501</c:v>
                </c:pt>
                <c:pt idx="15362">
                  <c:v>0.27397895487783103</c:v>
                </c:pt>
                <c:pt idx="15363">
                  <c:v>0.27399678972712599</c:v>
                </c:pt>
                <c:pt idx="15364">
                  <c:v>0.27401462457642201</c:v>
                </c:pt>
                <c:pt idx="15365">
                  <c:v>0.27403245942571702</c:v>
                </c:pt>
                <c:pt idx="15366">
                  <c:v>0.27405029427501298</c:v>
                </c:pt>
                <c:pt idx="15367">
                  <c:v>0.274068129124308</c:v>
                </c:pt>
                <c:pt idx="15368">
                  <c:v>0.27408596397360402</c:v>
                </c:pt>
                <c:pt idx="15369">
                  <c:v>0.27410379882289898</c:v>
                </c:pt>
                <c:pt idx="15370">
                  <c:v>0.274121633672195</c:v>
                </c:pt>
                <c:pt idx="15371">
                  <c:v>0.27413946852149101</c:v>
                </c:pt>
                <c:pt idx="15372">
                  <c:v>0.27415730337078598</c:v>
                </c:pt>
                <c:pt idx="15373">
                  <c:v>0.27417513822008199</c:v>
                </c:pt>
                <c:pt idx="15374">
                  <c:v>0.27419297306937701</c:v>
                </c:pt>
                <c:pt idx="15375">
                  <c:v>0.27421080791867303</c:v>
                </c:pt>
                <c:pt idx="15376">
                  <c:v>0.27422864276796799</c:v>
                </c:pt>
                <c:pt idx="15377">
                  <c:v>0.27424647761726401</c:v>
                </c:pt>
                <c:pt idx="15378">
                  <c:v>0.27426431246655902</c:v>
                </c:pt>
                <c:pt idx="15379">
                  <c:v>0.27428214731585498</c:v>
                </c:pt>
                <c:pt idx="15380">
                  <c:v>0.27429998216515</c:v>
                </c:pt>
                <c:pt idx="15381">
                  <c:v>0.27431781701444602</c:v>
                </c:pt>
                <c:pt idx="15382">
                  <c:v>0.27433565186374098</c:v>
                </c:pt>
                <c:pt idx="15383">
                  <c:v>0.274353486713037</c:v>
                </c:pt>
                <c:pt idx="15384">
                  <c:v>0.27437132156233202</c:v>
                </c:pt>
                <c:pt idx="15385">
                  <c:v>0.27438915641162798</c:v>
                </c:pt>
                <c:pt idx="15386">
                  <c:v>0.27440699126092299</c:v>
                </c:pt>
                <c:pt idx="15387">
                  <c:v>0.27442482611021901</c:v>
                </c:pt>
                <c:pt idx="15388">
                  <c:v>0.27444266095951397</c:v>
                </c:pt>
                <c:pt idx="15389">
                  <c:v>0.27446049580880999</c:v>
                </c:pt>
                <c:pt idx="15390">
                  <c:v>0.27447833065810501</c:v>
                </c:pt>
                <c:pt idx="15391">
                  <c:v>0.27449616550740102</c:v>
                </c:pt>
                <c:pt idx="15392">
                  <c:v>0.27451400035669699</c:v>
                </c:pt>
                <c:pt idx="15393">
                  <c:v>0.274531835205992</c:v>
                </c:pt>
                <c:pt idx="15394">
                  <c:v>0.27454967005528802</c:v>
                </c:pt>
                <c:pt idx="15395">
                  <c:v>0.27456750490458298</c:v>
                </c:pt>
                <c:pt idx="15396">
                  <c:v>0.274585339753879</c:v>
                </c:pt>
                <c:pt idx="15397">
                  <c:v>0.27460317460317402</c:v>
                </c:pt>
                <c:pt idx="15398">
                  <c:v>0.27462100945246998</c:v>
                </c:pt>
                <c:pt idx="15399">
                  <c:v>0.27463884430176499</c:v>
                </c:pt>
                <c:pt idx="15400">
                  <c:v>0.27465667915106101</c:v>
                </c:pt>
                <c:pt idx="15401">
                  <c:v>0.27467451400035597</c:v>
                </c:pt>
                <c:pt idx="15402">
                  <c:v>0.27469234884965199</c:v>
                </c:pt>
                <c:pt idx="15403">
                  <c:v>0.27471018369894701</c:v>
                </c:pt>
                <c:pt idx="15404">
                  <c:v>0.27472801854824302</c:v>
                </c:pt>
                <c:pt idx="15405">
                  <c:v>0.27474585339753799</c:v>
                </c:pt>
                <c:pt idx="15406">
                  <c:v>0.274763688246834</c:v>
                </c:pt>
                <c:pt idx="15407">
                  <c:v>0.27478152309612902</c:v>
                </c:pt>
                <c:pt idx="15408">
                  <c:v>0.27479935794542498</c:v>
                </c:pt>
                <c:pt idx="15409">
                  <c:v>0.27481719279472</c:v>
                </c:pt>
                <c:pt idx="15410">
                  <c:v>0.27483502764401602</c:v>
                </c:pt>
                <c:pt idx="15411">
                  <c:v>0.27485286249331098</c:v>
                </c:pt>
                <c:pt idx="15412">
                  <c:v>0.274870697342607</c:v>
                </c:pt>
                <c:pt idx="15413">
                  <c:v>0.27488853219190201</c:v>
                </c:pt>
                <c:pt idx="15414">
                  <c:v>0.27490636704119797</c:v>
                </c:pt>
                <c:pt idx="15415">
                  <c:v>0.27492420189049399</c:v>
                </c:pt>
                <c:pt idx="15416">
                  <c:v>0.27494203673978901</c:v>
                </c:pt>
                <c:pt idx="15417">
                  <c:v>0.27495987158908503</c:v>
                </c:pt>
                <c:pt idx="15418">
                  <c:v>0.27497770643837999</c:v>
                </c:pt>
                <c:pt idx="15419">
                  <c:v>0.274995541287676</c:v>
                </c:pt>
                <c:pt idx="15420">
                  <c:v>0.27501337613697102</c:v>
                </c:pt>
                <c:pt idx="15421">
                  <c:v>0.27503121098626698</c:v>
                </c:pt>
                <c:pt idx="15422">
                  <c:v>0.275049045835562</c:v>
                </c:pt>
                <c:pt idx="15423">
                  <c:v>0.27506688068485802</c:v>
                </c:pt>
                <c:pt idx="15424">
                  <c:v>0.27508471553415298</c:v>
                </c:pt>
                <c:pt idx="15425">
                  <c:v>0.275102550383449</c:v>
                </c:pt>
                <c:pt idx="15426">
                  <c:v>0.27512038523274401</c:v>
                </c:pt>
                <c:pt idx="15427">
                  <c:v>0.27513822008203997</c:v>
                </c:pt>
                <c:pt idx="15428">
                  <c:v>0.27515605493133499</c:v>
                </c:pt>
                <c:pt idx="15429">
                  <c:v>0.27517388978063101</c:v>
                </c:pt>
                <c:pt idx="15430">
                  <c:v>0.27519172462992603</c:v>
                </c:pt>
                <c:pt idx="15431">
                  <c:v>0.27520955947922199</c:v>
                </c:pt>
                <c:pt idx="15432">
                  <c:v>0.27522739432851701</c:v>
                </c:pt>
                <c:pt idx="15433">
                  <c:v>0.27524522917781302</c:v>
                </c:pt>
                <c:pt idx="15434">
                  <c:v>0.27526306402710898</c:v>
                </c:pt>
                <c:pt idx="15435">
                  <c:v>0.275280898876404</c:v>
                </c:pt>
                <c:pt idx="15436">
                  <c:v>0.27529873372570002</c:v>
                </c:pt>
                <c:pt idx="15437">
                  <c:v>0.27531656857499498</c:v>
                </c:pt>
                <c:pt idx="15438">
                  <c:v>0.275334403424291</c:v>
                </c:pt>
                <c:pt idx="15439">
                  <c:v>0.27535223827358601</c:v>
                </c:pt>
                <c:pt idx="15440">
                  <c:v>0.27537007312288198</c:v>
                </c:pt>
                <c:pt idx="15441">
                  <c:v>0.27538790797217699</c:v>
                </c:pt>
                <c:pt idx="15442">
                  <c:v>0.27540574282147301</c:v>
                </c:pt>
                <c:pt idx="15443">
                  <c:v>0.27542357767076803</c:v>
                </c:pt>
                <c:pt idx="15444">
                  <c:v>0.27544141252006399</c:v>
                </c:pt>
                <c:pt idx="15445">
                  <c:v>0.27545924736935901</c:v>
                </c:pt>
                <c:pt idx="15446">
                  <c:v>0.27547708221865502</c:v>
                </c:pt>
                <c:pt idx="15447">
                  <c:v>0.27549491706794998</c:v>
                </c:pt>
                <c:pt idx="15448">
                  <c:v>0.275512751917246</c:v>
                </c:pt>
                <c:pt idx="15449">
                  <c:v>0.27553058676654102</c:v>
                </c:pt>
                <c:pt idx="15450">
                  <c:v>0.27554842161583698</c:v>
                </c:pt>
                <c:pt idx="15451">
                  <c:v>0.275566256465132</c:v>
                </c:pt>
                <c:pt idx="15452">
                  <c:v>0.27558409131442801</c:v>
                </c:pt>
                <c:pt idx="15453">
                  <c:v>0.27560192616372298</c:v>
                </c:pt>
                <c:pt idx="15454">
                  <c:v>0.27561976101301899</c:v>
                </c:pt>
                <c:pt idx="15455">
                  <c:v>0.27563759586231401</c:v>
                </c:pt>
                <c:pt idx="15456">
                  <c:v>0.27565543071161003</c:v>
                </c:pt>
                <c:pt idx="15457">
                  <c:v>0.27567326556090599</c:v>
                </c:pt>
                <c:pt idx="15458">
                  <c:v>0.27569110041020101</c:v>
                </c:pt>
                <c:pt idx="15459">
                  <c:v>0.27570893525949702</c:v>
                </c:pt>
                <c:pt idx="15460">
                  <c:v>0.27572677010879199</c:v>
                </c:pt>
                <c:pt idx="15461">
                  <c:v>0.275744604958088</c:v>
                </c:pt>
                <c:pt idx="15462">
                  <c:v>0.27576243980738302</c:v>
                </c:pt>
                <c:pt idx="15463">
                  <c:v>0.27578027465667898</c:v>
                </c:pt>
                <c:pt idx="15464">
                  <c:v>0.275798109505974</c:v>
                </c:pt>
                <c:pt idx="15465">
                  <c:v>0.27581594435527002</c:v>
                </c:pt>
                <c:pt idx="15466">
                  <c:v>0.27583377920456498</c:v>
                </c:pt>
                <c:pt idx="15467">
                  <c:v>0.27585161405386099</c:v>
                </c:pt>
                <c:pt idx="15468">
                  <c:v>0.27586944890315601</c:v>
                </c:pt>
                <c:pt idx="15469">
                  <c:v>0.27588728375245197</c:v>
                </c:pt>
                <c:pt idx="15470">
                  <c:v>0.27590511860174699</c:v>
                </c:pt>
                <c:pt idx="15471">
                  <c:v>0.27592295345104301</c:v>
                </c:pt>
                <c:pt idx="15472">
                  <c:v>0.27594078830033802</c:v>
                </c:pt>
                <c:pt idx="15473">
                  <c:v>0.27595862314963399</c:v>
                </c:pt>
                <c:pt idx="15474">
                  <c:v>0.275976457998929</c:v>
                </c:pt>
                <c:pt idx="15475">
                  <c:v>0.27599429284822502</c:v>
                </c:pt>
                <c:pt idx="15476">
                  <c:v>0.27601212769752098</c:v>
                </c:pt>
                <c:pt idx="15477">
                  <c:v>0.276029962546816</c:v>
                </c:pt>
                <c:pt idx="15478">
                  <c:v>0.27604779739611202</c:v>
                </c:pt>
                <c:pt idx="15479">
                  <c:v>0.27606563224540698</c:v>
                </c:pt>
                <c:pt idx="15480">
                  <c:v>0.27608346709470299</c:v>
                </c:pt>
                <c:pt idx="15481">
                  <c:v>0.27610130194399801</c:v>
                </c:pt>
                <c:pt idx="15482">
                  <c:v>0.27611913679329397</c:v>
                </c:pt>
                <c:pt idx="15483">
                  <c:v>0.27613697164258899</c:v>
                </c:pt>
                <c:pt idx="15484">
                  <c:v>0.27615480649188501</c:v>
                </c:pt>
                <c:pt idx="15485">
                  <c:v>0.27617264134118003</c:v>
                </c:pt>
                <c:pt idx="15486">
                  <c:v>0.27619047619047599</c:v>
                </c:pt>
                <c:pt idx="15487">
                  <c:v>0.276208311039771</c:v>
                </c:pt>
                <c:pt idx="15488">
                  <c:v>0.27622614588906702</c:v>
                </c:pt>
                <c:pt idx="15489">
                  <c:v>0.27624398073836198</c:v>
                </c:pt>
                <c:pt idx="15490">
                  <c:v>0.276261815587658</c:v>
                </c:pt>
                <c:pt idx="15491">
                  <c:v>0.27627965043695302</c:v>
                </c:pt>
                <c:pt idx="15492">
                  <c:v>0.27629748528624898</c:v>
                </c:pt>
                <c:pt idx="15493">
                  <c:v>0.276315320135544</c:v>
                </c:pt>
                <c:pt idx="15494">
                  <c:v>0.27633315498484001</c:v>
                </c:pt>
                <c:pt idx="15495">
                  <c:v>0.27635098983413497</c:v>
                </c:pt>
                <c:pt idx="15496">
                  <c:v>0.27636882468343099</c:v>
                </c:pt>
                <c:pt idx="15497">
                  <c:v>0.27638665953272601</c:v>
                </c:pt>
                <c:pt idx="15498">
                  <c:v>0.27640449438202203</c:v>
                </c:pt>
                <c:pt idx="15499">
                  <c:v>0.27642232923131799</c:v>
                </c:pt>
                <c:pt idx="15500">
                  <c:v>0.276440164080613</c:v>
                </c:pt>
                <c:pt idx="15501">
                  <c:v>0.27645799892990902</c:v>
                </c:pt>
                <c:pt idx="15502">
                  <c:v>0.27647583377920398</c:v>
                </c:pt>
                <c:pt idx="15503">
                  <c:v>0.2764936686285</c:v>
                </c:pt>
                <c:pt idx="15504">
                  <c:v>0.27651150347779502</c:v>
                </c:pt>
                <c:pt idx="15505">
                  <c:v>0.27652933832709098</c:v>
                </c:pt>
                <c:pt idx="15506">
                  <c:v>0.276547173176386</c:v>
                </c:pt>
                <c:pt idx="15507">
                  <c:v>0.27656500802568201</c:v>
                </c:pt>
                <c:pt idx="15508">
                  <c:v>0.27658284287497698</c:v>
                </c:pt>
                <c:pt idx="15509">
                  <c:v>0.27660067772427299</c:v>
                </c:pt>
                <c:pt idx="15510">
                  <c:v>0.27661851257356801</c:v>
                </c:pt>
                <c:pt idx="15511">
                  <c:v>0.27663634742286403</c:v>
                </c:pt>
                <c:pt idx="15512">
                  <c:v>0.27665418227215899</c:v>
                </c:pt>
                <c:pt idx="15513">
                  <c:v>0.27667201712145501</c:v>
                </c:pt>
                <c:pt idx="15514">
                  <c:v>0.27668985197075002</c:v>
                </c:pt>
                <c:pt idx="15515">
                  <c:v>0.27670768682004598</c:v>
                </c:pt>
                <c:pt idx="15516">
                  <c:v>0.276725521669341</c:v>
                </c:pt>
                <c:pt idx="15517">
                  <c:v>0.27674335651863702</c:v>
                </c:pt>
                <c:pt idx="15518">
                  <c:v>0.27676119136793198</c:v>
                </c:pt>
                <c:pt idx="15519">
                  <c:v>0.276779026217228</c:v>
                </c:pt>
                <c:pt idx="15520">
                  <c:v>0.27679686106652401</c:v>
                </c:pt>
                <c:pt idx="15521">
                  <c:v>0.27681469591581898</c:v>
                </c:pt>
                <c:pt idx="15522">
                  <c:v>0.27683253076511499</c:v>
                </c:pt>
                <c:pt idx="15523">
                  <c:v>0.27685036561441001</c:v>
                </c:pt>
                <c:pt idx="15524">
                  <c:v>0.27686820046370603</c:v>
                </c:pt>
                <c:pt idx="15525">
                  <c:v>0.27688603531300099</c:v>
                </c:pt>
                <c:pt idx="15526">
                  <c:v>0.27690387016229701</c:v>
                </c:pt>
                <c:pt idx="15527">
                  <c:v>0.27692170501159202</c:v>
                </c:pt>
                <c:pt idx="15528">
                  <c:v>0.27693953986088798</c:v>
                </c:pt>
                <c:pt idx="15529">
                  <c:v>0.276957374710183</c:v>
                </c:pt>
                <c:pt idx="15530">
                  <c:v>0.27697520955947902</c:v>
                </c:pt>
                <c:pt idx="15531">
                  <c:v>0.27699304440877398</c:v>
                </c:pt>
                <c:pt idx="15532">
                  <c:v>0.27701087925807</c:v>
                </c:pt>
                <c:pt idx="15533">
                  <c:v>0.27702871410736502</c:v>
                </c:pt>
                <c:pt idx="15534">
                  <c:v>0.27704654895666098</c:v>
                </c:pt>
                <c:pt idx="15535">
                  <c:v>0.27706438380595599</c:v>
                </c:pt>
                <c:pt idx="15536">
                  <c:v>0.27708221865525201</c:v>
                </c:pt>
                <c:pt idx="15537">
                  <c:v>0.27710005350454697</c:v>
                </c:pt>
                <c:pt idx="15538">
                  <c:v>0.27711788835384299</c:v>
                </c:pt>
                <c:pt idx="15539">
                  <c:v>0.27713572320313801</c:v>
                </c:pt>
                <c:pt idx="15540">
                  <c:v>0.27715355805243402</c:v>
                </c:pt>
                <c:pt idx="15541">
                  <c:v>0.27717139290172998</c:v>
                </c:pt>
                <c:pt idx="15542">
                  <c:v>0.277189227751025</c:v>
                </c:pt>
                <c:pt idx="15543">
                  <c:v>0.27720706260032102</c:v>
                </c:pt>
                <c:pt idx="15544">
                  <c:v>0.27722489744961598</c:v>
                </c:pt>
                <c:pt idx="15545">
                  <c:v>0.277242732298912</c:v>
                </c:pt>
                <c:pt idx="15546">
                  <c:v>0.27726056714820702</c:v>
                </c:pt>
                <c:pt idx="15547">
                  <c:v>0.27727840199750298</c:v>
                </c:pt>
                <c:pt idx="15548">
                  <c:v>0.27729623684679799</c:v>
                </c:pt>
                <c:pt idx="15549">
                  <c:v>0.27731407169609401</c:v>
                </c:pt>
                <c:pt idx="15550">
                  <c:v>0.27733190654538897</c:v>
                </c:pt>
                <c:pt idx="15551">
                  <c:v>0.27734974139468499</c:v>
                </c:pt>
                <c:pt idx="15552">
                  <c:v>0.27736757624398001</c:v>
                </c:pt>
                <c:pt idx="15553">
                  <c:v>0.27738541109327602</c:v>
                </c:pt>
                <c:pt idx="15554">
                  <c:v>0.27740324594257099</c:v>
                </c:pt>
                <c:pt idx="15555">
                  <c:v>0.277421080791867</c:v>
                </c:pt>
                <c:pt idx="15556">
                  <c:v>0.27743891564116202</c:v>
                </c:pt>
                <c:pt idx="15557">
                  <c:v>0.27745675049045798</c:v>
                </c:pt>
                <c:pt idx="15558">
                  <c:v>0.277474585339753</c:v>
                </c:pt>
                <c:pt idx="15559">
                  <c:v>0.27749242018904902</c:v>
                </c:pt>
                <c:pt idx="15560">
                  <c:v>0.27751025503834398</c:v>
                </c:pt>
                <c:pt idx="15561">
                  <c:v>0.27752808988763999</c:v>
                </c:pt>
                <c:pt idx="15562">
                  <c:v>0.27754592473693501</c:v>
                </c:pt>
                <c:pt idx="15563">
                  <c:v>0.27756375958623097</c:v>
                </c:pt>
                <c:pt idx="15564">
                  <c:v>0.27758159443552699</c:v>
                </c:pt>
                <c:pt idx="15565">
                  <c:v>0.27759942928482201</c:v>
                </c:pt>
                <c:pt idx="15566">
                  <c:v>0.27761726413411802</c:v>
                </c:pt>
                <c:pt idx="15567">
                  <c:v>0.27763509898341299</c:v>
                </c:pt>
                <c:pt idx="15568">
                  <c:v>0.277652933832709</c:v>
                </c:pt>
                <c:pt idx="15569">
                  <c:v>0.27767076868200402</c:v>
                </c:pt>
                <c:pt idx="15570">
                  <c:v>0.27768860353129998</c:v>
                </c:pt>
                <c:pt idx="15571">
                  <c:v>0.277706438380595</c:v>
                </c:pt>
                <c:pt idx="15572">
                  <c:v>0.27772427322989102</c:v>
                </c:pt>
                <c:pt idx="15573">
                  <c:v>0.27774210807918598</c:v>
                </c:pt>
                <c:pt idx="15574">
                  <c:v>0.277759942928482</c:v>
                </c:pt>
                <c:pt idx="15575">
                  <c:v>0.27777777777777701</c:v>
                </c:pt>
                <c:pt idx="15576">
                  <c:v>0.27779561262707297</c:v>
                </c:pt>
                <c:pt idx="15577">
                  <c:v>0.27781344747636799</c:v>
                </c:pt>
                <c:pt idx="15578">
                  <c:v>0.27783128232566401</c:v>
                </c:pt>
                <c:pt idx="15579">
                  <c:v>0.27784911717495903</c:v>
                </c:pt>
                <c:pt idx="15580">
                  <c:v>0.27786695202425499</c:v>
                </c:pt>
                <c:pt idx="15581">
                  <c:v>0.27788478687355</c:v>
                </c:pt>
                <c:pt idx="15582">
                  <c:v>0.27790262172284602</c:v>
                </c:pt>
                <c:pt idx="15583">
                  <c:v>0.27792045657214198</c:v>
                </c:pt>
                <c:pt idx="15584">
                  <c:v>0.277938291421437</c:v>
                </c:pt>
                <c:pt idx="15585">
                  <c:v>0.27795612627073302</c:v>
                </c:pt>
                <c:pt idx="15586">
                  <c:v>0.27797396112002798</c:v>
                </c:pt>
                <c:pt idx="15587">
                  <c:v>0.277991795969324</c:v>
                </c:pt>
                <c:pt idx="15588">
                  <c:v>0.27800963081861901</c:v>
                </c:pt>
                <c:pt idx="15589">
                  <c:v>0.27802746566791497</c:v>
                </c:pt>
                <c:pt idx="15590">
                  <c:v>0.27804530051720999</c:v>
                </c:pt>
                <c:pt idx="15591">
                  <c:v>0.27806313536650601</c:v>
                </c:pt>
                <c:pt idx="15592">
                  <c:v>0.27808097021580103</c:v>
                </c:pt>
                <c:pt idx="15593">
                  <c:v>0.27809880506509699</c:v>
                </c:pt>
                <c:pt idx="15594">
                  <c:v>0.27811663991439201</c:v>
                </c:pt>
                <c:pt idx="15595">
                  <c:v>0.27813447476368802</c:v>
                </c:pt>
                <c:pt idx="15596">
                  <c:v>0.27815230961298298</c:v>
                </c:pt>
                <c:pt idx="15597">
                  <c:v>0.278170144462279</c:v>
                </c:pt>
                <c:pt idx="15598">
                  <c:v>0.27818797931157402</c:v>
                </c:pt>
                <c:pt idx="15599">
                  <c:v>0.27820581416086998</c:v>
                </c:pt>
                <c:pt idx="15600">
                  <c:v>0.278223649010165</c:v>
                </c:pt>
                <c:pt idx="15601">
                  <c:v>0.27824148385946101</c:v>
                </c:pt>
                <c:pt idx="15602">
                  <c:v>0.27825931870875598</c:v>
                </c:pt>
                <c:pt idx="15603">
                  <c:v>0.27827715355805199</c:v>
                </c:pt>
                <c:pt idx="15604">
                  <c:v>0.27829498840734701</c:v>
                </c:pt>
                <c:pt idx="15605">
                  <c:v>0.27831282325664303</c:v>
                </c:pt>
                <c:pt idx="15606">
                  <c:v>0.27833065810593899</c:v>
                </c:pt>
                <c:pt idx="15607">
                  <c:v>0.27834849295523401</c:v>
                </c:pt>
                <c:pt idx="15608">
                  <c:v>0.27836632780453002</c:v>
                </c:pt>
                <c:pt idx="15609">
                  <c:v>0.27838416265382498</c:v>
                </c:pt>
                <c:pt idx="15610">
                  <c:v>0.278401997503121</c:v>
                </c:pt>
                <c:pt idx="15611">
                  <c:v>0.27841983235241602</c:v>
                </c:pt>
                <c:pt idx="15612">
                  <c:v>0.27843766720171198</c:v>
                </c:pt>
                <c:pt idx="15613">
                  <c:v>0.278455502051007</c:v>
                </c:pt>
                <c:pt idx="15614">
                  <c:v>0.27847333690030301</c:v>
                </c:pt>
                <c:pt idx="15615">
                  <c:v>0.27849117174959798</c:v>
                </c:pt>
                <c:pt idx="15616">
                  <c:v>0.27850900659889399</c:v>
                </c:pt>
                <c:pt idx="15617">
                  <c:v>0.27852684144818901</c:v>
                </c:pt>
                <c:pt idx="15618">
                  <c:v>0.27854467629748503</c:v>
                </c:pt>
                <c:pt idx="15619">
                  <c:v>0.27856251114677999</c:v>
                </c:pt>
                <c:pt idx="15620">
                  <c:v>0.27858034599607601</c:v>
                </c:pt>
                <c:pt idx="15621">
                  <c:v>0.27859818084537102</c:v>
                </c:pt>
                <c:pt idx="15622">
                  <c:v>0.27861601569466699</c:v>
                </c:pt>
                <c:pt idx="15623">
                  <c:v>0.278633850543962</c:v>
                </c:pt>
                <c:pt idx="15624">
                  <c:v>0.27865168539325802</c:v>
                </c:pt>
                <c:pt idx="15625">
                  <c:v>0.27866952024255298</c:v>
                </c:pt>
                <c:pt idx="15626">
                  <c:v>0.278687355091849</c:v>
                </c:pt>
                <c:pt idx="15627">
                  <c:v>0.27870518994114502</c:v>
                </c:pt>
                <c:pt idx="15628">
                  <c:v>0.27872302479043998</c:v>
                </c:pt>
                <c:pt idx="15629">
                  <c:v>0.27874085963973599</c:v>
                </c:pt>
                <c:pt idx="15630">
                  <c:v>0.27875869448903101</c:v>
                </c:pt>
                <c:pt idx="15631">
                  <c:v>0.27877652933832697</c:v>
                </c:pt>
                <c:pt idx="15632">
                  <c:v>0.27879436418762199</c:v>
                </c:pt>
                <c:pt idx="15633">
                  <c:v>0.27881219903691801</c:v>
                </c:pt>
                <c:pt idx="15634">
                  <c:v>0.27883003388621302</c:v>
                </c:pt>
                <c:pt idx="15635">
                  <c:v>0.27884786873550899</c:v>
                </c:pt>
                <c:pt idx="15636">
                  <c:v>0.278865703584804</c:v>
                </c:pt>
                <c:pt idx="15637">
                  <c:v>0.27888353843410002</c:v>
                </c:pt>
                <c:pt idx="15638">
                  <c:v>0.27890137328339498</c:v>
                </c:pt>
                <c:pt idx="15639">
                  <c:v>0.278919208132691</c:v>
                </c:pt>
                <c:pt idx="15640">
                  <c:v>0.27893704298198602</c:v>
                </c:pt>
                <c:pt idx="15641">
                  <c:v>0.27895487783128198</c:v>
                </c:pt>
                <c:pt idx="15642">
                  <c:v>0.278972712680577</c:v>
                </c:pt>
                <c:pt idx="15643">
                  <c:v>0.27899054752987301</c:v>
                </c:pt>
                <c:pt idx="15644">
                  <c:v>0.27900838237916797</c:v>
                </c:pt>
                <c:pt idx="15645">
                  <c:v>0.27902621722846399</c:v>
                </c:pt>
                <c:pt idx="15646">
                  <c:v>0.27904405207775901</c:v>
                </c:pt>
                <c:pt idx="15647">
                  <c:v>0.27906188692705503</c:v>
                </c:pt>
                <c:pt idx="15648">
                  <c:v>0.27907972177635099</c:v>
                </c:pt>
                <c:pt idx="15649">
                  <c:v>0.279097556625646</c:v>
                </c:pt>
                <c:pt idx="15650">
                  <c:v>0.27911539147494202</c:v>
                </c:pt>
                <c:pt idx="15651">
                  <c:v>0.27913322632423698</c:v>
                </c:pt>
                <c:pt idx="15652">
                  <c:v>0.279151061173533</c:v>
                </c:pt>
                <c:pt idx="15653">
                  <c:v>0.27916889602282802</c:v>
                </c:pt>
                <c:pt idx="15654">
                  <c:v>0.27918673087212398</c:v>
                </c:pt>
                <c:pt idx="15655">
                  <c:v>0.279204565721419</c:v>
                </c:pt>
                <c:pt idx="15656">
                  <c:v>0.27922240057071501</c:v>
                </c:pt>
                <c:pt idx="15657">
                  <c:v>0.27924023542000997</c:v>
                </c:pt>
                <c:pt idx="15658">
                  <c:v>0.27925807026930599</c:v>
                </c:pt>
                <c:pt idx="15659">
                  <c:v>0.27927590511860101</c:v>
                </c:pt>
                <c:pt idx="15660">
                  <c:v>0.27929373996789703</c:v>
                </c:pt>
                <c:pt idx="15661">
                  <c:v>0.27931157481719199</c:v>
                </c:pt>
                <c:pt idx="15662">
                  <c:v>0.279329409666488</c:v>
                </c:pt>
                <c:pt idx="15663">
                  <c:v>0.27934724451578302</c:v>
                </c:pt>
                <c:pt idx="15664">
                  <c:v>0.27936507936507898</c:v>
                </c:pt>
                <c:pt idx="15665">
                  <c:v>0.279382914214374</c:v>
                </c:pt>
                <c:pt idx="15666">
                  <c:v>0.27940074906367002</c:v>
                </c:pt>
                <c:pt idx="15667">
                  <c:v>0.27941858391296498</c:v>
                </c:pt>
                <c:pt idx="15668">
                  <c:v>0.279436418762261</c:v>
                </c:pt>
                <c:pt idx="15669">
                  <c:v>0.27945425361155601</c:v>
                </c:pt>
                <c:pt idx="15670">
                  <c:v>0.27947208846085198</c:v>
                </c:pt>
                <c:pt idx="15671">
                  <c:v>0.27948992331014799</c:v>
                </c:pt>
                <c:pt idx="15672">
                  <c:v>0.27950775815944301</c:v>
                </c:pt>
                <c:pt idx="15673">
                  <c:v>0.27952559300873903</c:v>
                </c:pt>
                <c:pt idx="15674">
                  <c:v>0.27954342785803399</c:v>
                </c:pt>
                <c:pt idx="15675">
                  <c:v>0.27956126270733</c:v>
                </c:pt>
                <c:pt idx="15676">
                  <c:v>0.27957909755662502</c:v>
                </c:pt>
                <c:pt idx="15677">
                  <c:v>0.27959693240592098</c:v>
                </c:pt>
                <c:pt idx="15678">
                  <c:v>0.279614767255216</c:v>
                </c:pt>
                <c:pt idx="15679">
                  <c:v>0.27963260210451202</c:v>
                </c:pt>
                <c:pt idx="15680">
                  <c:v>0.27965043695380698</c:v>
                </c:pt>
                <c:pt idx="15681">
                  <c:v>0.279668271803103</c:v>
                </c:pt>
                <c:pt idx="15682">
                  <c:v>0.27968610665239801</c:v>
                </c:pt>
                <c:pt idx="15683">
                  <c:v>0.27970394150169398</c:v>
                </c:pt>
                <c:pt idx="15684">
                  <c:v>0.27972177635098899</c:v>
                </c:pt>
                <c:pt idx="15685">
                  <c:v>0.27973961120028501</c:v>
                </c:pt>
                <c:pt idx="15686">
                  <c:v>0.27975744604958003</c:v>
                </c:pt>
                <c:pt idx="15687">
                  <c:v>0.27977528089887599</c:v>
                </c:pt>
                <c:pt idx="15688">
                  <c:v>0.27979311574817101</c:v>
                </c:pt>
                <c:pt idx="15689">
                  <c:v>0.27981095059746702</c:v>
                </c:pt>
                <c:pt idx="15690">
                  <c:v>0.27982878544676298</c:v>
                </c:pt>
                <c:pt idx="15691">
                  <c:v>0.279846620296058</c:v>
                </c:pt>
                <c:pt idx="15692">
                  <c:v>0.27986445514535402</c:v>
                </c:pt>
                <c:pt idx="15693">
                  <c:v>0.27988228999464898</c:v>
                </c:pt>
                <c:pt idx="15694">
                  <c:v>0.279900124843945</c:v>
                </c:pt>
                <c:pt idx="15695">
                  <c:v>0.27991795969324001</c:v>
                </c:pt>
                <c:pt idx="15696">
                  <c:v>0.27993579454253598</c:v>
                </c:pt>
                <c:pt idx="15697">
                  <c:v>0.27995362939183099</c:v>
                </c:pt>
                <c:pt idx="15698">
                  <c:v>0.27997146424112701</c:v>
                </c:pt>
                <c:pt idx="15699">
                  <c:v>0.27998929909042197</c:v>
                </c:pt>
                <c:pt idx="15700">
                  <c:v>0.28000713393971799</c:v>
                </c:pt>
                <c:pt idx="15701">
                  <c:v>0.28002496878901301</c:v>
                </c:pt>
                <c:pt idx="15702">
                  <c:v>0.28004280363830902</c:v>
                </c:pt>
                <c:pt idx="15703">
                  <c:v>0.28006063848760399</c:v>
                </c:pt>
                <c:pt idx="15704">
                  <c:v>0.2800784733369</c:v>
                </c:pt>
                <c:pt idx="15705">
                  <c:v>0.28009630818619502</c:v>
                </c:pt>
                <c:pt idx="15706">
                  <c:v>0.28011414303549098</c:v>
                </c:pt>
                <c:pt idx="15707">
                  <c:v>0.280131977884786</c:v>
                </c:pt>
                <c:pt idx="15708">
                  <c:v>0.28014981273408202</c:v>
                </c:pt>
                <c:pt idx="15709">
                  <c:v>0.28016764758337698</c:v>
                </c:pt>
                <c:pt idx="15710">
                  <c:v>0.28018548243267299</c:v>
                </c:pt>
                <c:pt idx="15711">
                  <c:v>0.28020331728196801</c:v>
                </c:pt>
                <c:pt idx="15712">
                  <c:v>0.28022115213126397</c:v>
                </c:pt>
                <c:pt idx="15713">
                  <c:v>0.28023898698055999</c:v>
                </c:pt>
                <c:pt idx="15714">
                  <c:v>0.28025682182985501</c:v>
                </c:pt>
                <c:pt idx="15715">
                  <c:v>0.28027465667915102</c:v>
                </c:pt>
                <c:pt idx="15716">
                  <c:v>0.28029249152844599</c:v>
                </c:pt>
                <c:pt idx="15717">
                  <c:v>0.280310326377742</c:v>
                </c:pt>
                <c:pt idx="15718">
                  <c:v>0.28032816122703702</c:v>
                </c:pt>
                <c:pt idx="15719">
                  <c:v>0.28034599607633298</c:v>
                </c:pt>
                <c:pt idx="15720">
                  <c:v>0.280363830925628</c:v>
                </c:pt>
                <c:pt idx="15721">
                  <c:v>0.28038166577492402</c:v>
                </c:pt>
                <c:pt idx="15722">
                  <c:v>0.28039950062421898</c:v>
                </c:pt>
                <c:pt idx="15723">
                  <c:v>0.28041733547351499</c:v>
                </c:pt>
                <c:pt idx="15724">
                  <c:v>0.28043517032281001</c:v>
                </c:pt>
                <c:pt idx="15725">
                  <c:v>0.28045300517210597</c:v>
                </c:pt>
                <c:pt idx="15726">
                  <c:v>0.28047084002140099</c:v>
                </c:pt>
                <c:pt idx="15727">
                  <c:v>0.28048867487069701</c:v>
                </c:pt>
                <c:pt idx="15728">
                  <c:v>0.28050650971999203</c:v>
                </c:pt>
                <c:pt idx="15729">
                  <c:v>0.28052434456928799</c:v>
                </c:pt>
                <c:pt idx="15730">
                  <c:v>0.280542179418583</c:v>
                </c:pt>
                <c:pt idx="15731">
                  <c:v>0.28056001426787902</c:v>
                </c:pt>
                <c:pt idx="15732">
                  <c:v>0.28057784911717498</c:v>
                </c:pt>
                <c:pt idx="15733">
                  <c:v>0.28059568396647</c:v>
                </c:pt>
                <c:pt idx="15734">
                  <c:v>0.28061351881576602</c:v>
                </c:pt>
                <c:pt idx="15735">
                  <c:v>0.28063135366506098</c:v>
                </c:pt>
                <c:pt idx="15736">
                  <c:v>0.280649188514357</c:v>
                </c:pt>
                <c:pt idx="15737">
                  <c:v>0.28066702336365201</c:v>
                </c:pt>
                <c:pt idx="15738">
                  <c:v>0.28068485821294797</c:v>
                </c:pt>
                <c:pt idx="15739">
                  <c:v>0.28070269306224299</c:v>
                </c:pt>
                <c:pt idx="15740">
                  <c:v>0.28072052791153901</c:v>
                </c:pt>
                <c:pt idx="15741">
                  <c:v>0.28073836276083403</c:v>
                </c:pt>
                <c:pt idx="15742">
                  <c:v>0.28075619761012999</c:v>
                </c:pt>
                <c:pt idx="15743">
                  <c:v>0.280774032459425</c:v>
                </c:pt>
                <c:pt idx="15744">
                  <c:v>0.28079186730872102</c:v>
                </c:pt>
                <c:pt idx="15745">
                  <c:v>0.28080970215801598</c:v>
                </c:pt>
                <c:pt idx="15746">
                  <c:v>0.280827537007312</c:v>
                </c:pt>
                <c:pt idx="15747">
                  <c:v>0.28084537185660702</c:v>
                </c:pt>
                <c:pt idx="15748">
                  <c:v>0.28086320670590298</c:v>
                </c:pt>
                <c:pt idx="15749">
                  <c:v>0.280881041555198</c:v>
                </c:pt>
                <c:pt idx="15750">
                  <c:v>0.28089887640449401</c:v>
                </c:pt>
                <c:pt idx="15751">
                  <c:v>0.28091671125378898</c:v>
                </c:pt>
                <c:pt idx="15752">
                  <c:v>0.28093454610308499</c:v>
                </c:pt>
                <c:pt idx="15753">
                  <c:v>0.28095238095238001</c:v>
                </c:pt>
                <c:pt idx="15754">
                  <c:v>0.28097021580167603</c:v>
                </c:pt>
                <c:pt idx="15755">
                  <c:v>0.28098805065097199</c:v>
                </c:pt>
                <c:pt idx="15756">
                  <c:v>0.28100588550026701</c:v>
                </c:pt>
                <c:pt idx="15757">
                  <c:v>0.28102372034956302</c:v>
                </c:pt>
                <c:pt idx="15758">
                  <c:v>0.28104155519885798</c:v>
                </c:pt>
                <c:pt idx="15759">
                  <c:v>0.281059390048154</c:v>
                </c:pt>
                <c:pt idx="15760">
                  <c:v>0.28107722489744902</c:v>
                </c:pt>
                <c:pt idx="15761">
                  <c:v>0.28109505974674498</c:v>
                </c:pt>
                <c:pt idx="15762">
                  <c:v>0.28111289459604</c:v>
                </c:pt>
                <c:pt idx="15763">
                  <c:v>0.28113072944533601</c:v>
                </c:pt>
                <c:pt idx="15764">
                  <c:v>0.28114856429463098</c:v>
                </c:pt>
                <c:pt idx="15765">
                  <c:v>0.28116639914392699</c:v>
                </c:pt>
                <c:pt idx="15766">
                  <c:v>0.28118423399322201</c:v>
                </c:pt>
                <c:pt idx="15767">
                  <c:v>0.28120206884251803</c:v>
                </c:pt>
                <c:pt idx="15768">
                  <c:v>0.28121990369181299</c:v>
                </c:pt>
                <c:pt idx="15769">
                  <c:v>0.28123773854110901</c:v>
                </c:pt>
                <c:pt idx="15770">
                  <c:v>0.28125557339040402</c:v>
                </c:pt>
                <c:pt idx="15771">
                  <c:v>0.28127340823969998</c:v>
                </c:pt>
                <c:pt idx="15772">
                  <c:v>0.281291243088995</c:v>
                </c:pt>
                <c:pt idx="15773">
                  <c:v>0.28130907793829102</c:v>
                </c:pt>
                <c:pt idx="15774">
                  <c:v>0.28132691278758598</c:v>
                </c:pt>
                <c:pt idx="15775">
                  <c:v>0.281344747636882</c:v>
                </c:pt>
                <c:pt idx="15776">
                  <c:v>0.28136258248617801</c:v>
                </c:pt>
                <c:pt idx="15777">
                  <c:v>0.28138041733547298</c:v>
                </c:pt>
                <c:pt idx="15778">
                  <c:v>0.28139825218476899</c:v>
                </c:pt>
                <c:pt idx="15779">
                  <c:v>0.28141608703406401</c:v>
                </c:pt>
                <c:pt idx="15780">
                  <c:v>0.28143392188336003</c:v>
                </c:pt>
                <c:pt idx="15781">
                  <c:v>0.28145175673265499</c:v>
                </c:pt>
                <c:pt idx="15782">
                  <c:v>0.28146959158195101</c:v>
                </c:pt>
                <c:pt idx="15783">
                  <c:v>0.28148742643124602</c:v>
                </c:pt>
                <c:pt idx="15784">
                  <c:v>0.28150526128054199</c:v>
                </c:pt>
                <c:pt idx="15785">
                  <c:v>0.281523096129837</c:v>
                </c:pt>
                <c:pt idx="15786">
                  <c:v>0.28154093097913302</c:v>
                </c:pt>
                <c:pt idx="15787">
                  <c:v>0.28155876582842798</c:v>
                </c:pt>
                <c:pt idx="15788">
                  <c:v>0.281576600677724</c:v>
                </c:pt>
                <c:pt idx="15789">
                  <c:v>0.28159443552701902</c:v>
                </c:pt>
                <c:pt idx="15790">
                  <c:v>0.28161227037631498</c:v>
                </c:pt>
                <c:pt idx="15791">
                  <c:v>0.28163010522560999</c:v>
                </c:pt>
                <c:pt idx="15792">
                  <c:v>0.28164794007490601</c:v>
                </c:pt>
                <c:pt idx="15793">
                  <c:v>0.28166577492420097</c:v>
                </c:pt>
                <c:pt idx="15794">
                  <c:v>0.28168360977349699</c:v>
                </c:pt>
                <c:pt idx="15795">
                  <c:v>0.28170144462279201</c:v>
                </c:pt>
                <c:pt idx="15796">
                  <c:v>0.28171927947208802</c:v>
                </c:pt>
                <c:pt idx="15797">
                  <c:v>0.28173711432138399</c:v>
                </c:pt>
                <c:pt idx="15798">
                  <c:v>0.281754949170679</c:v>
                </c:pt>
                <c:pt idx="15799">
                  <c:v>0.28177278401997502</c:v>
                </c:pt>
                <c:pt idx="15800">
                  <c:v>0.28179061886926998</c:v>
                </c:pt>
                <c:pt idx="15801">
                  <c:v>0.281808453718566</c:v>
                </c:pt>
                <c:pt idx="15802">
                  <c:v>0.28182628856786102</c:v>
                </c:pt>
                <c:pt idx="15803">
                  <c:v>0.28184412341715698</c:v>
                </c:pt>
                <c:pt idx="15804">
                  <c:v>0.281861958266452</c:v>
                </c:pt>
                <c:pt idx="15805">
                  <c:v>0.28187979311574801</c:v>
                </c:pt>
                <c:pt idx="15806">
                  <c:v>0.28189762796504297</c:v>
                </c:pt>
                <c:pt idx="15807">
                  <c:v>0.28191546281433899</c:v>
                </c:pt>
                <c:pt idx="15808">
                  <c:v>0.28193329766363401</c:v>
                </c:pt>
                <c:pt idx="15809">
                  <c:v>0.28195113251293002</c:v>
                </c:pt>
                <c:pt idx="15810">
                  <c:v>0.28196896736222499</c:v>
                </c:pt>
                <c:pt idx="15811">
                  <c:v>0.281986802211521</c:v>
                </c:pt>
                <c:pt idx="15812">
                  <c:v>0.28200463706081602</c:v>
                </c:pt>
                <c:pt idx="15813">
                  <c:v>0.28202247191011198</c:v>
                </c:pt>
                <c:pt idx="15814">
                  <c:v>0.282040306759407</c:v>
                </c:pt>
                <c:pt idx="15815">
                  <c:v>0.28205814160870302</c:v>
                </c:pt>
                <c:pt idx="15816">
                  <c:v>0.28207597645799798</c:v>
                </c:pt>
                <c:pt idx="15817">
                  <c:v>0.282093811307294</c:v>
                </c:pt>
                <c:pt idx="15818">
                  <c:v>0.28211164615658901</c:v>
                </c:pt>
                <c:pt idx="15819">
                  <c:v>0.28212948100588497</c:v>
                </c:pt>
                <c:pt idx="15820">
                  <c:v>0.28214731585518099</c:v>
                </c:pt>
                <c:pt idx="15821">
                  <c:v>0.28216515070447601</c:v>
                </c:pt>
                <c:pt idx="15822">
                  <c:v>0.28218298555377203</c:v>
                </c:pt>
                <c:pt idx="15823">
                  <c:v>0.28220082040306699</c:v>
                </c:pt>
                <c:pt idx="15824">
                  <c:v>0.282218655252363</c:v>
                </c:pt>
                <c:pt idx="15825">
                  <c:v>0.28223649010165802</c:v>
                </c:pt>
                <c:pt idx="15826">
                  <c:v>0.28225432495095398</c:v>
                </c:pt>
                <c:pt idx="15827">
                  <c:v>0.282272159800249</c:v>
                </c:pt>
                <c:pt idx="15828">
                  <c:v>0.28228999464954502</c:v>
                </c:pt>
                <c:pt idx="15829">
                  <c:v>0.28230782949883998</c:v>
                </c:pt>
                <c:pt idx="15830">
                  <c:v>0.282325664348136</c:v>
                </c:pt>
                <c:pt idx="15831">
                  <c:v>0.28234349919743101</c:v>
                </c:pt>
                <c:pt idx="15832">
                  <c:v>0.28236133404672698</c:v>
                </c:pt>
                <c:pt idx="15833">
                  <c:v>0.28237916889602199</c:v>
                </c:pt>
                <c:pt idx="15834">
                  <c:v>0.28239700374531801</c:v>
                </c:pt>
                <c:pt idx="15835">
                  <c:v>0.28241483859461303</c:v>
                </c:pt>
                <c:pt idx="15836">
                  <c:v>0.28243267344390899</c:v>
                </c:pt>
                <c:pt idx="15837">
                  <c:v>0.28245050829320401</c:v>
                </c:pt>
                <c:pt idx="15838">
                  <c:v>0.28246834314250002</c:v>
                </c:pt>
                <c:pt idx="15839">
                  <c:v>0.28248617799179598</c:v>
                </c:pt>
                <c:pt idx="15840">
                  <c:v>0.282504012841091</c:v>
                </c:pt>
                <c:pt idx="15841">
                  <c:v>0.28252184769038702</c:v>
                </c:pt>
                <c:pt idx="15842">
                  <c:v>0.28253968253968198</c:v>
                </c:pt>
                <c:pt idx="15843">
                  <c:v>0.282557517388978</c:v>
                </c:pt>
                <c:pt idx="15844">
                  <c:v>0.28257535223827301</c:v>
                </c:pt>
                <c:pt idx="15845">
                  <c:v>0.28259318708756898</c:v>
                </c:pt>
                <c:pt idx="15846">
                  <c:v>0.28261102193686399</c:v>
                </c:pt>
                <c:pt idx="15847">
                  <c:v>0.28262885678616001</c:v>
                </c:pt>
                <c:pt idx="15848">
                  <c:v>0.28264669163545503</c:v>
                </c:pt>
                <c:pt idx="15849">
                  <c:v>0.28266452648475099</c:v>
                </c:pt>
                <c:pt idx="15850">
                  <c:v>0.28268236133404601</c:v>
                </c:pt>
                <c:pt idx="15851">
                  <c:v>0.28270019618334202</c:v>
                </c:pt>
                <c:pt idx="15852">
                  <c:v>0.28271803103263698</c:v>
                </c:pt>
                <c:pt idx="15853">
                  <c:v>0.282735865881933</c:v>
                </c:pt>
                <c:pt idx="15854">
                  <c:v>0.28275370073122802</c:v>
                </c:pt>
                <c:pt idx="15855">
                  <c:v>0.28277153558052398</c:v>
                </c:pt>
                <c:pt idx="15856">
                  <c:v>0.282789370429819</c:v>
                </c:pt>
                <c:pt idx="15857">
                  <c:v>0.28280720527911501</c:v>
                </c:pt>
                <c:pt idx="15858">
                  <c:v>0.28282504012840998</c:v>
                </c:pt>
                <c:pt idx="15859">
                  <c:v>0.28284287497770599</c:v>
                </c:pt>
                <c:pt idx="15860">
                  <c:v>0.28286070982700101</c:v>
                </c:pt>
                <c:pt idx="15861">
                  <c:v>0.28287854467629697</c:v>
                </c:pt>
                <c:pt idx="15862">
                  <c:v>0.28289637952559299</c:v>
                </c:pt>
                <c:pt idx="15863">
                  <c:v>0.28291421437488801</c:v>
                </c:pt>
                <c:pt idx="15864">
                  <c:v>0.28293204922418402</c:v>
                </c:pt>
                <c:pt idx="15865">
                  <c:v>0.28294988407347899</c:v>
                </c:pt>
                <c:pt idx="15866">
                  <c:v>0.282967718922775</c:v>
                </c:pt>
                <c:pt idx="15867">
                  <c:v>0.28298555377207002</c:v>
                </c:pt>
                <c:pt idx="15868">
                  <c:v>0.28300338862136598</c:v>
                </c:pt>
                <c:pt idx="15869">
                  <c:v>0.283021223470661</c:v>
                </c:pt>
                <c:pt idx="15870">
                  <c:v>0.28303905831995702</c:v>
                </c:pt>
                <c:pt idx="15871">
                  <c:v>0.28305689316925198</c:v>
                </c:pt>
                <c:pt idx="15872">
                  <c:v>0.28307472801854799</c:v>
                </c:pt>
                <c:pt idx="15873">
                  <c:v>0.28309256286784301</c:v>
                </c:pt>
                <c:pt idx="15874">
                  <c:v>0.28311039771713897</c:v>
                </c:pt>
                <c:pt idx="15875">
                  <c:v>0.28312823256643399</c:v>
                </c:pt>
                <c:pt idx="15876">
                  <c:v>0.28314606741573001</c:v>
                </c:pt>
                <c:pt idx="15877">
                  <c:v>0.28316390226502502</c:v>
                </c:pt>
                <c:pt idx="15878">
                  <c:v>0.28318173711432099</c:v>
                </c:pt>
                <c:pt idx="15879">
                  <c:v>0.283199571963616</c:v>
                </c:pt>
                <c:pt idx="15880">
                  <c:v>0.28321740681291202</c:v>
                </c:pt>
                <c:pt idx="15881">
                  <c:v>0.28323524166220798</c:v>
                </c:pt>
                <c:pt idx="15882">
                  <c:v>0.283253076511503</c:v>
                </c:pt>
                <c:pt idx="15883">
                  <c:v>0.28327091136079902</c:v>
                </c:pt>
                <c:pt idx="15884">
                  <c:v>0.28328874621009398</c:v>
                </c:pt>
                <c:pt idx="15885">
                  <c:v>0.28330658105938999</c:v>
                </c:pt>
                <c:pt idx="15886">
                  <c:v>0.28332441590868501</c:v>
                </c:pt>
                <c:pt idx="15887">
                  <c:v>0.28334225075798097</c:v>
                </c:pt>
                <c:pt idx="15888">
                  <c:v>0.28336008560727599</c:v>
                </c:pt>
                <c:pt idx="15889">
                  <c:v>0.28337792045657201</c:v>
                </c:pt>
                <c:pt idx="15890">
                  <c:v>0.28339575530586703</c:v>
                </c:pt>
                <c:pt idx="15891">
                  <c:v>0.28341359015516299</c:v>
                </c:pt>
                <c:pt idx="15892">
                  <c:v>0.283431425004458</c:v>
                </c:pt>
                <c:pt idx="15893">
                  <c:v>0.28344925985375402</c:v>
                </c:pt>
                <c:pt idx="15894">
                  <c:v>0.28346709470304898</c:v>
                </c:pt>
                <c:pt idx="15895">
                  <c:v>0.283484929552345</c:v>
                </c:pt>
                <c:pt idx="15896">
                  <c:v>0.28350276440164002</c:v>
                </c:pt>
                <c:pt idx="15897">
                  <c:v>0.28352059925093598</c:v>
                </c:pt>
                <c:pt idx="15898">
                  <c:v>0.283538434100231</c:v>
                </c:pt>
                <c:pt idx="15899">
                  <c:v>0.28355626894952701</c:v>
                </c:pt>
                <c:pt idx="15900">
                  <c:v>0.28357410379882197</c:v>
                </c:pt>
                <c:pt idx="15901">
                  <c:v>0.28359193864811799</c:v>
                </c:pt>
                <c:pt idx="15902">
                  <c:v>0.28360977349741301</c:v>
                </c:pt>
                <c:pt idx="15903">
                  <c:v>0.28362760834670903</c:v>
                </c:pt>
                <c:pt idx="15904">
                  <c:v>0.28364544319600499</c:v>
                </c:pt>
                <c:pt idx="15905">
                  <c:v>0.2836632780453</c:v>
                </c:pt>
                <c:pt idx="15906">
                  <c:v>0.28368111289459602</c:v>
                </c:pt>
                <c:pt idx="15907">
                  <c:v>0.28369894774389098</c:v>
                </c:pt>
                <c:pt idx="15908">
                  <c:v>0.283716782593187</c:v>
                </c:pt>
                <c:pt idx="15909">
                  <c:v>0.28373461744248202</c:v>
                </c:pt>
                <c:pt idx="15910">
                  <c:v>0.28375245229177798</c:v>
                </c:pt>
                <c:pt idx="15911">
                  <c:v>0.283770287141073</c:v>
                </c:pt>
                <c:pt idx="15912">
                  <c:v>0.28378812199036901</c:v>
                </c:pt>
                <c:pt idx="15913">
                  <c:v>0.28380595683966398</c:v>
                </c:pt>
                <c:pt idx="15914">
                  <c:v>0.28382379168895999</c:v>
                </c:pt>
                <c:pt idx="15915">
                  <c:v>0.28384162653825501</c:v>
                </c:pt>
                <c:pt idx="15916">
                  <c:v>0.28385946138755103</c:v>
                </c:pt>
                <c:pt idx="15917">
                  <c:v>0.28387729623684599</c:v>
                </c:pt>
                <c:pt idx="15918">
                  <c:v>0.28389513108614201</c:v>
                </c:pt>
                <c:pt idx="15919">
                  <c:v>0.28391296593543702</c:v>
                </c:pt>
                <c:pt idx="15920">
                  <c:v>0.28393080078473298</c:v>
                </c:pt>
                <c:pt idx="15921">
                  <c:v>0.283948635634028</c:v>
                </c:pt>
                <c:pt idx="15922">
                  <c:v>0.28396647048332402</c:v>
                </c:pt>
                <c:pt idx="15923">
                  <c:v>0.28398430533261898</c:v>
                </c:pt>
                <c:pt idx="15924">
                  <c:v>0.284002140181915</c:v>
                </c:pt>
                <c:pt idx="15925">
                  <c:v>0.28401997503121101</c:v>
                </c:pt>
                <c:pt idx="15926">
                  <c:v>0.28403780988050598</c:v>
                </c:pt>
                <c:pt idx="15927">
                  <c:v>0.28405564472980199</c:v>
                </c:pt>
                <c:pt idx="15928">
                  <c:v>0.28407347957909701</c:v>
                </c:pt>
                <c:pt idx="15929">
                  <c:v>0.28409131442839303</c:v>
                </c:pt>
                <c:pt idx="15930">
                  <c:v>0.28410914927768799</c:v>
                </c:pt>
                <c:pt idx="15931">
                  <c:v>0.28412698412698401</c:v>
                </c:pt>
                <c:pt idx="15932">
                  <c:v>0.28414481897627902</c:v>
                </c:pt>
                <c:pt idx="15933">
                  <c:v>0.28416265382557498</c:v>
                </c:pt>
                <c:pt idx="15934">
                  <c:v>0.28418048867487</c:v>
                </c:pt>
                <c:pt idx="15935">
                  <c:v>0.28419832352416602</c:v>
                </c:pt>
                <c:pt idx="15936">
                  <c:v>0.28421615837346098</c:v>
                </c:pt>
                <c:pt idx="15937">
                  <c:v>0.284233993222757</c:v>
                </c:pt>
                <c:pt idx="15938">
                  <c:v>0.28425182807205202</c:v>
                </c:pt>
                <c:pt idx="15939">
                  <c:v>0.28426966292134798</c:v>
                </c:pt>
                <c:pt idx="15940">
                  <c:v>0.28428749777064299</c:v>
                </c:pt>
                <c:pt idx="15941">
                  <c:v>0.28430533261993901</c:v>
                </c:pt>
                <c:pt idx="15942">
                  <c:v>0.28432316746923397</c:v>
                </c:pt>
                <c:pt idx="15943">
                  <c:v>0.28434100231852999</c:v>
                </c:pt>
                <c:pt idx="15944">
                  <c:v>0.28435883716782501</c:v>
                </c:pt>
                <c:pt idx="15945">
                  <c:v>0.28437667201712102</c:v>
                </c:pt>
                <c:pt idx="15946">
                  <c:v>0.28439450686641699</c:v>
                </c:pt>
                <c:pt idx="15947">
                  <c:v>0.284412341715712</c:v>
                </c:pt>
                <c:pt idx="15948">
                  <c:v>0.28443017656500802</c:v>
                </c:pt>
                <c:pt idx="15949">
                  <c:v>0.28444801141430298</c:v>
                </c:pt>
                <c:pt idx="15950">
                  <c:v>0.284465846263599</c:v>
                </c:pt>
                <c:pt idx="15951">
                  <c:v>0.28448368111289402</c:v>
                </c:pt>
                <c:pt idx="15952">
                  <c:v>0.28450151596218998</c:v>
                </c:pt>
                <c:pt idx="15953">
                  <c:v>0.28451935081148499</c:v>
                </c:pt>
                <c:pt idx="15954">
                  <c:v>0.28453718566078101</c:v>
                </c:pt>
                <c:pt idx="15955">
                  <c:v>0.28455502051007597</c:v>
                </c:pt>
                <c:pt idx="15956">
                  <c:v>0.28457285535937199</c:v>
                </c:pt>
                <c:pt idx="15957">
                  <c:v>0.28459069020866701</c:v>
                </c:pt>
                <c:pt idx="15958">
                  <c:v>0.28460852505796302</c:v>
                </c:pt>
                <c:pt idx="15959">
                  <c:v>0.28462635990725799</c:v>
                </c:pt>
                <c:pt idx="15960">
                  <c:v>0.284644194756554</c:v>
                </c:pt>
                <c:pt idx="15961">
                  <c:v>0.28466202960584902</c:v>
                </c:pt>
                <c:pt idx="15962">
                  <c:v>0.28467986445514498</c:v>
                </c:pt>
                <c:pt idx="15963">
                  <c:v>0.28469769930444</c:v>
                </c:pt>
                <c:pt idx="15964">
                  <c:v>0.28471553415373602</c:v>
                </c:pt>
                <c:pt idx="15965">
                  <c:v>0.28473336900303098</c:v>
                </c:pt>
                <c:pt idx="15966">
                  <c:v>0.284751203852327</c:v>
                </c:pt>
                <c:pt idx="15967">
                  <c:v>0.28476903870162201</c:v>
                </c:pt>
                <c:pt idx="15968">
                  <c:v>0.28478687355091797</c:v>
                </c:pt>
                <c:pt idx="15969">
                  <c:v>0.28480470840021399</c:v>
                </c:pt>
                <c:pt idx="15970">
                  <c:v>0.28482254324950901</c:v>
                </c:pt>
                <c:pt idx="15971">
                  <c:v>0.28484037809880502</c:v>
                </c:pt>
                <c:pt idx="15972">
                  <c:v>0.28485821294809999</c:v>
                </c:pt>
                <c:pt idx="15973">
                  <c:v>0.284876047797396</c:v>
                </c:pt>
                <c:pt idx="15974">
                  <c:v>0.28489388264669102</c:v>
                </c:pt>
                <c:pt idx="15975">
                  <c:v>0.28491171749598698</c:v>
                </c:pt>
                <c:pt idx="15976">
                  <c:v>0.284929552345282</c:v>
                </c:pt>
                <c:pt idx="15977">
                  <c:v>0.28494738719457802</c:v>
                </c:pt>
                <c:pt idx="15978">
                  <c:v>0.28496522204387298</c:v>
                </c:pt>
                <c:pt idx="15979">
                  <c:v>0.284983056893169</c:v>
                </c:pt>
                <c:pt idx="15980">
                  <c:v>0.28500089174246401</c:v>
                </c:pt>
                <c:pt idx="15981">
                  <c:v>0.28501872659175997</c:v>
                </c:pt>
                <c:pt idx="15982">
                  <c:v>0.28503656144105499</c:v>
                </c:pt>
                <c:pt idx="15983">
                  <c:v>0.28505439629035101</c:v>
                </c:pt>
                <c:pt idx="15984">
                  <c:v>0.28507223113964603</c:v>
                </c:pt>
                <c:pt idx="15985">
                  <c:v>0.28509006598894199</c:v>
                </c:pt>
                <c:pt idx="15986">
                  <c:v>0.28510790083823701</c:v>
                </c:pt>
                <c:pt idx="15987">
                  <c:v>0.28512573568753302</c:v>
                </c:pt>
                <c:pt idx="15988">
                  <c:v>0.28514357053682898</c:v>
                </c:pt>
                <c:pt idx="15989">
                  <c:v>0.285161405386124</c:v>
                </c:pt>
                <c:pt idx="15990">
                  <c:v>0.28517924023542002</c:v>
                </c:pt>
                <c:pt idx="15991">
                  <c:v>0.28519707508471498</c:v>
                </c:pt>
                <c:pt idx="15992">
                  <c:v>0.285214909934011</c:v>
                </c:pt>
                <c:pt idx="15993">
                  <c:v>0.28523274478330601</c:v>
                </c:pt>
                <c:pt idx="15994">
                  <c:v>0.28525057963260197</c:v>
                </c:pt>
                <c:pt idx="15995">
                  <c:v>0.28526841448189699</c:v>
                </c:pt>
                <c:pt idx="15996">
                  <c:v>0.28528624933119301</c:v>
                </c:pt>
                <c:pt idx="15997">
                  <c:v>0.28530408418048803</c:v>
                </c:pt>
                <c:pt idx="15998">
                  <c:v>0.28532191902978399</c:v>
                </c:pt>
                <c:pt idx="15999">
                  <c:v>0.28533975387907901</c:v>
                </c:pt>
                <c:pt idx="16000">
                  <c:v>0.28535758872837502</c:v>
                </c:pt>
                <c:pt idx="16001">
                  <c:v>0.28537542357766998</c:v>
                </c:pt>
                <c:pt idx="16002">
                  <c:v>0.285393258426966</c:v>
                </c:pt>
                <c:pt idx="16003">
                  <c:v>0.28541109327626102</c:v>
                </c:pt>
                <c:pt idx="16004">
                  <c:v>0.28542892812555698</c:v>
                </c:pt>
                <c:pt idx="16005">
                  <c:v>0.285446762974852</c:v>
                </c:pt>
                <c:pt idx="16006">
                  <c:v>0.28546459782414801</c:v>
                </c:pt>
                <c:pt idx="16007">
                  <c:v>0.28548243267344298</c:v>
                </c:pt>
                <c:pt idx="16008">
                  <c:v>0.28550026752273899</c:v>
                </c:pt>
                <c:pt idx="16009">
                  <c:v>0.28551810237203401</c:v>
                </c:pt>
                <c:pt idx="16010">
                  <c:v>0.28553593722133003</c:v>
                </c:pt>
                <c:pt idx="16011">
                  <c:v>0.28555377207062599</c:v>
                </c:pt>
                <c:pt idx="16012">
                  <c:v>0.28557160691992101</c:v>
                </c:pt>
                <c:pt idx="16013">
                  <c:v>0.28558944176921702</c:v>
                </c:pt>
                <c:pt idx="16014">
                  <c:v>0.28560727661851198</c:v>
                </c:pt>
                <c:pt idx="16015">
                  <c:v>0.285625111467808</c:v>
                </c:pt>
                <c:pt idx="16016">
                  <c:v>0.28564294631710302</c:v>
                </c:pt>
                <c:pt idx="16017">
                  <c:v>0.28566078116639898</c:v>
                </c:pt>
                <c:pt idx="16018">
                  <c:v>0.285678616015694</c:v>
                </c:pt>
                <c:pt idx="16019">
                  <c:v>0.28569645086499001</c:v>
                </c:pt>
                <c:pt idx="16020">
                  <c:v>0.28571428571428498</c:v>
                </c:pt>
                <c:pt idx="16021">
                  <c:v>0.28573212056358099</c:v>
                </c:pt>
                <c:pt idx="16022">
                  <c:v>0.28574995541287601</c:v>
                </c:pt>
                <c:pt idx="16023">
                  <c:v>0.28576779026217197</c:v>
                </c:pt>
                <c:pt idx="16024">
                  <c:v>0.28578562511146699</c:v>
                </c:pt>
                <c:pt idx="16025">
                  <c:v>0.28580345996076301</c:v>
                </c:pt>
                <c:pt idx="16026">
                  <c:v>0.28582129481005802</c:v>
                </c:pt>
                <c:pt idx="16027">
                  <c:v>0.28583912965935399</c:v>
                </c:pt>
                <c:pt idx="16028">
                  <c:v>0.285856964508649</c:v>
                </c:pt>
                <c:pt idx="16029">
                  <c:v>0.28587479935794502</c:v>
                </c:pt>
                <c:pt idx="16030">
                  <c:v>0.28589263420723998</c:v>
                </c:pt>
                <c:pt idx="16031">
                  <c:v>0.285910469056536</c:v>
                </c:pt>
                <c:pt idx="16032">
                  <c:v>0.28592830390583202</c:v>
                </c:pt>
                <c:pt idx="16033">
                  <c:v>0.28594613875512698</c:v>
                </c:pt>
                <c:pt idx="16034">
                  <c:v>0.28596397360442299</c:v>
                </c:pt>
                <c:pt idx="16035">
                  <c:v>0.28598180845371801</c:v>
                </c:pt>
                <c:pt idx="16036">
                  <c:v>0.28599964330301397</c:v>
                </c:pt>
                <c:pt idx="16037">
                  <c:v>0.28601747815230899</c:v>
                </c:pt>
                <c:pt idx="16038">
                  <c:v>0.28603531300160501</c:v>
                </c:pt>
                <c:pt idx="16039">
                  <c:v>0.28605314785090002</c:v>
                </c:pt>
                <c:pt idx="16040">
                  <c:v>0.28607098270019599</c:v>
                </c:pt>
                <c:pt idx="16041">
                  <c:v>0.286088817549491</c:v>
                </c:pt>
                <c:pt idx="16042">
                  <c:v>0.28610665239878702</c:v>
                </c:pt>
                <c:pt idx="16043">
                  <c:v>0.28612448724808198</c:v>
                </c:pt>
                <c:pt idx="16044">
                  <c:v>0.286142322097378</c:v>
                </c:pt>
                <c:pt idx="16045">
                  <c:v>0.28616015694667302</c:v>
                </c:pt>
                <c:pt idx="16046">
                  <c:v>0.28617799179596898</c:v>
                </c:pt>
                <c:pt idx="16047">
                  <c:v>0.286195826645264</c:v>
                </c:pt>
                <c:pt idx="16048">
                  <c:v>0.28621366149456001</c:v>
                </c:pt>
                <c:pt idx="16049">
                  <c:v>0.28623149634385497</c:v>
                </c:pt>
                <c:pt idx="16050">
                  <c:v>0.28624933119315099</c:v>
                </c:pt>
                <c:pt idx="16051">
                  <c:v>0.28626716604244601</c:v>
                </c:pt>
                <c:pt idx="16052">
                  <c:v>0.28628500089174203</c:v>
                </c:pt>
                <c:pt idx="16053">
                  <c:v>0.28630283574103799</c:v>
                </c:pt>
                <c:pt idx="16054">
                  <c:v>0.286320670590333</c:v>
                </c:pt>
                <c:pt idx="16055">
                  <c:v>0.28633850543962902</c:v>
                </c:pt>
                <c:pt idx="16056">
                  <c:v>0.28635634028892398</c:v>
                </c:pt>
                <c:pt idx="16057">
                  <c:v>0.28637417513822</c:v>
                </c:pt>
                <c:pt idx="16058">
                  <c:v>0.28639200998751502</c:v>
                </c:pt>
                <c:pt idx="16059">
                  <c:v>0.28640984483681098</c:v>
                </c:pt>
                <c:pt idx="16060">
                  <c:v>0.286427679686106</c:v>
                </c:pt>
                <c:pt idx="16061">
                  <c:v>0.28644551453540201</c:v>
                </c:pt>
                <c:pt idx="16062">
                  <c:v>0.28646334938469697</c:v>
                </c:pt>
                <c:pt idx="16063">
                  <c:v>0.28648118423399299</c:v>
                </c:pt>
                <c:pt idx="16064">
                  <c:v>0.28649901908328801</c:v>
                </c:pt>
                <c:pt idx="16065">
                  <c:v>0.28651685393258403</c:v>
                </c:pt>
                <c:pt idx="16066">
                  <c:v>0.28653468878187899</c:v>
                </c:pt>
                <c:pt idx="16067">
                  <c:v>0.286552523631175</c:v>
                </c:pt>
                <c:pt idx="16068">
                  <c:v>0.28657035848047002</c:v>
                </c:pt>
                <c:pt idx="16069">
                  <c:v>0.28658819332976598</c:v>
                </c:pt>
                <c:pt idx="16070">
                  <c:v>0.286606028179061</c:v>
                </c:pt>
                <c:pt idx="16071">
                  <c:v>0.28662386302835702</c:v>
                </c:pt>
                <c:pt idx="16072">
                  <c:v>0.28664169787765198</c:v>
                </c:pt>
                <c:pt idx="16073">
                  <c:v>0.286659532726948</c:v>
                </c:pt>
                <c:pt idx="16074">
                  <c:v>0.28667736757624301</c:v>
                </c:pt>
                <c:pt idx="16075">
                  <c:v>0.28669520242553898</c:v>
                </c:pt>
                <c:pt idx="16076">
                  <c:v>0.28671303727483499</c:v>
                </c:pt>
                <c:pt idx="16077">
                  <c:v>0.28673087212413001</c:v>
                </c:pt>
                <c:pt idx="16078">
                  <c:v>0.28674870697342603</c:v>
                </c:pt>
                <c:pt idx="16079">
                  <c:v>0.28676654182272099</c:v>
                </c:pt>
                <c:pt idx="16080">
                  <c:v>0.28678437667201701</c:v>
                </c:pt>
                <c:pt idx="16081">
                  <c:v>0.28680221152131202</c:v>
                </c:pt>
                <c:pt idx="16082">
                  <c:v>0.28682004637060798</c:v>
                </c:pt>
                <c:pt idx="16083">
                  <c:v>0.286837881219903</c:v>
                </c:pt>
                <c:pt idx="16084">
                  <c:v>0.28685571606919902</c:v>
                </c:pt>
                <c:pt idx="16085">
                  <c:v>0.28687355091849398</c:v>
                </c:pt>
                <c:pt idx="16086">
                  <c:v>0.28689138576779</c:v>
                </c:pt>
                <c:pt idx="16087">
                  <c:v>0.28690922061708501</c:v>
                </c:pt>
                <c:pt idx="16088">
                  <c:v>0.28692705546638098</c:v>
                </c:pt>
                <c:pt idx="16089">
                  <c:v>0.28694489031567599</c:v>
                </c:pt>
                <c:pt idx="16090">
                  <c:v>0.28696272516497201</c:v>
                </c:pt>
                <c:pt idx="16091">
                  <c:v>0.28698056001426703</c:v>
                </c:pt>
                <c:pt idx="16092">
                  <c:v>0.28699839486356299</c:v>
                </c:pt>
                <c:pt idx="16093">
                  <c:v>0.28701622971285801</c:v>
                </c:pt>
                <c:pt idx="16094">
                  <c:v>0.28703406456215402</c:v>
                </c:pt>
                <c:pt idx="16095">
                  <c:v>0.28705189941144998</c:v>
                </c:pt>
                <c:pt idx="16096">
                  <c:v>0.287069734260745</c:v>
                </c:pt>
                <c:pt idx="16097">
                  <c:v>0.28708756911004102</c:v>
                </c:pt>
                <c:pt idx="16098">
                  <c:v>0.28710540395933598</c:v>
                </c:pt>
                <c:pt idx="16099">
                  <c:v>0.287123238808632</c:v>
                </c:pt>
                <c:pt idx="16100">
                  <c:v>0.28714107365792702</c:v>
                </c:pt>
                <c:pt idx="16101">
                  <c:v>0.28715890850722298</c:v>
                </c:pt>
                <c:pt idx="16102">
                  <c:v>0.28717674335651799</c:v>
                </c:pt>
                <c:pt idx="16103">
                  <c:v>0.28719457820581401</c:v>
                </c:pt>
                <c:pt idx="16104">
                  <c:v>0.28721241305510897</c:v>
                </c:pt>
                <c:pt idx="16105">
                  <c:v>0.28723024790440499</c:v>
                </c:pt>
                <c:pt idx="16106">
                  <c:v>0.28724808275370001</c:v>
                </c:pt>
                <c:pt idx="16107">
                  <c:v>0.28726591760299602</c:v>
                </c:pt>
                <c:pt idx="16108">
                  <c:v>0.28728375245229099</c:v>
                </c:pt>
                <c:pt idx="16109">
                  <c:v>0.287301587301587</c:v>
                </c:pt>
                <c:pt idx="16110">
                  <c:v>0.28731942215088202</c:v>
                </c:pt>
                <c:pt idx="16111">
                  <c:v>0.28733725700017798</c:v>
                </c:pt>
                <c:pt idx="16112">
                  <c:v>0.287355091849473</c:v>
                </c:pt>
                <c:pt idx="16113">
                  <c:v>0.28737292669876902</c:v>
                </c:pt>
                <c:pt idx="16114">
                  <c:v>0.28739076154806398</c:v>
                </c:pt>
                <c:pt idx="16115">
                  <c:v>0.28740859639735999</c:v>
                </c:pt>
                <c:pt idx="16116">
                  <c:v>0.28742643124665501</c:v>
                </c:pt>
                <c:pt idx="16117">
                  <c:v>0.28744426609595097</c:v>
                </c:pt>
                <c:pt idx="16118">
                  <c:v>0.28746210094524699</c:v>
                </c:pt>
                <c:pt idx="16119">
                  <c:v>0.28747993579454201</c:v>
                </c:pt>
                <c:pt idx="16120">
                  <c:v>0.28749777064383802</c:v>
                </c:pt>
                <c:pt idx="16121">
                  <c:v>0.28751560549313299</c:v>
                </c:pt>
                <c:pt idx="16122">
                  <c:v>0.287533440342429</c:v>
                </c:pt>
                <c:pt idx="16123">
                  <c:v>0.28755127519172402</c:v>
                </c:pt>
                <c:pt idx="16124">
                  <c:v>0.28756911004101998</c:v>
                </c:pt>
                <c:pt idx="16125">
                  <c:v>0.287586944890315</c:v>
                </c:pt>
                <c:pt idx="16126">
                  <c:v>0.28760477973961102</c:v>
                </c:pt>
                <c:pt idx="16127">
                  <c:v>0.28762261458890598</c:v>
                </c:pt>
                <c:pt idx="16128">
                  <c:v>0.28764044943820199</c:v>
                </c:pt>
                <c:pt idx="16129">
                  <c:v>0.28765828428749701</c:v>
                </c:pt>
                <c:pt idx="16130">
                  <c:v>0.28767611913679297</c:v>
                </c:pt>
                <c:pt idx="16131">
                  <c:v>0.28769395398608799</c:v>
                </c:pt>
                <c:pt idx="16132">
                  <c:v>0.28771178883538401</c:v>
                </c:pt>
                <c:pt idx="16133">
                  <c:v>0.28772962368467903</c:v>
                </c:pt>
                <c:pt idx="16134">
                  <c:v>0.28774745853397499</c:v>
                </c:pt>
                <c:pt idx="16135">
                  <c:v>0.28776529338327</c:v>
                </c:pt>
                <c:pt idx="16136">
                  <c:v>0.28778312823256602</c:v>
                </c:pt>
                <c:pt idx="16137">
                  <c:v>0.28780096308186198</c:v>
                </c:pt>
                <c:pt idx="16138">
                  <c:v>0.287818797931157</c:v>
                </c:pt>
                <c:pt idx="16139">
                  <c:v>0.28783663278045302</c:v>
                </c:pt>
                <c:pt idx="16140">
                  <c:v>0.28785446762974798</c:v>
                </c:pt>
                <c:pt idx="16141">
                  <c:v>0.287872302479044</c:v>
                </c:pt>
                <c:pt idx="16142">
                  <c:v>0.28789013732833901</c:v>
                </c:pt>
                <c:pt idx="16143">
                  <c:v>0.28790797217763497</c:v>
                </c:pt>
                <c:pt idx="16144">
                  <c:v>0.28792580702692999</c:v>
                </c:pt>
                <c:pt idx="16145">
                  <c:v>0.28794364187622601</c:v>
                </c:pt>
                <c:pt idx="16146">
                  <c:v>0.28796147672552103</c:v>
                </c:pt>
                <c:pt idx="16147">
                  <c:v>0.28797931157481699</c:v>
                </c:pt>
                <c:pt idx="16148">
                  <c:v>0.287997146424112</c:v>
                </c:pt>
                <c:pt idx="16149">
                  <c:v>0.28801498127340802</c:v>
                </c:pt>
                <c:pt idx="16150">
                  <c:v>0.28803281612270298</c:v>
                </c:pt>
                <c:pt idx="16151">
                  <c:v>0.288050650971999</c:v>
                </c:pt>
                <c:pt idx="16152">
                  <c:v>0.28806848582129402</c:v>
                </c:pt>
                <c:pt idx="16153">
                  <c:v>0.28808632067058998</c:v>
                </c:pt>
                <c:pt idx="16154">
                  <c:v>0.288104155519885</c:v>
                </c:pt>
                <c:pt idx="16155">
                  <c:v>0.28812199036918101</c:v>
                </c:pt>
                <c:pt idx="16156">
                  <c:v>0.28813982521847598</c:v>
                </c:pt>
                <c:pt idx="16157">
                  <c:v>0.28815766006777199</c:v>
                </c:pt>
                <c:pt idx="16158">
                  <c:v>0.28817549491706701</c:v>
                </c:pt>
                <c:pt idx="16159">
                  <c:v>0.28819332976636303</c:v>
                </c:pt>
                <c:pt idx="16160">
                  <c:v>0.28821116461565899</c:v>
                </c:pt>
                <c:pt idx="16161">
                  <c:v>0.28822899946495401</c:v>
                </c:pt>
                <c:pt idx="16162">
                  <c:v>0.28824683431425002</c:v>
                </c:pt>
                <c:pt idx="16163">
                  <c:v>0.28826466916354498</c:v>
                </c:pt>
                <c:pt idx="16164">
                  <c:v>0.288282504012841</c:v>
                </c:pt>
                <c:pt idx="16165">
                  <c:v>0.28830033886213602</c:v>
                </c:pt>
                <c:pt idx="16166">
                  <c:v>0.28831817371143198</c:v>
                </c:pt>
                <c:pt idx="16167">
                  <c:v>0.288336008560727</c:v>
                </c:pt>
                <c:pt idx="16168">
                  <c:v>0.28835384341002301</c:v>
                </c:pt>
                <c:pt idx="16169">
                  <c:v>0.28837167825931798</c:v>
                </c:pt>
                <c:pt idx="16170">
                  <c:v>0.28838951310861399</c:v>
                </c:pt>
                <c:pt idx="16171">
                  <c:v>0.28840734795790901</c:v>
                </c:pt>
                <c:pt idx="16172">
                  <c:v>0.28842518280720503</c:v>
                </c:pt>
                <c:pt idx="16173">
                  <c:v>0.28844301765649999</c:v>
                </c:pt>
                <c:pt idx="16174">
                  <c:v>0.28846085250579601</c:v>
                </c:pt>
                <c:pt idx="16175">
                  <c:v>0.28847868735509102</c:v>
                </c:pt>
                <c:pt idx="16176">
                  <c:v>0.28849652220438698</c:v>
                </c:pt>
                <c:pt idx="16177">
                  <c:v>0.288514357053682</c:v>
                </c:pt>
                <c:pt idx="16178">
                  <c:v>0.28853219190297802</c:v>
                </c:pt>
                <c:pt idx="16179">
                  <c:v>0.28855002675227298</c:v>
                </c:pt>
                <c:pt idx="16180">
                  <c:v>0.288567861601569</c:v>
                </c:pt>
                <c:pt idx="16181">
                  <c:v>0.28858569645086501</c:v>
                </c:pt>
                <c:pt idx="16182">
                  <c:v>0.28860353130015998</c:v>
                </c:pt>
                <c:pt idx="16183">
                  <c:v>0.28862136614945599</c:v>
                </c:pt>
                <c:pt idx="16184">
                  <c:v>0.28863920099875101</c:v>
                </c:pt>
                <c:pt idx="16185">
                  <c:v>0.28865703584804703</c:v>
                </c:pt>
                <c:pt idx="16186">
                  <c:v>0.28867487069734199</c:v>
                </c:pt>
                <c:pt idx="16187">
                  <c:v>0.28869270554663801</c:v>
                </c:pt>
                <c:pt idx="16188">
                  <c:v>0.28871054039593302</c:v>
                </c:pt>
                <c:pt idx="16189">
                  <c:v>0.28872837524522899</c:v>
                </c:pt>
                <c:pt idx="16190">
                  <c:v>0.288746210094524</c:v>
                </c:pt>
                <c:pt idx="16191">
                  <c:v>0.28876404494382002</c:v>
                </c:pt>
                <c:pt idx="16192">
                  <c:v>0.28878187979311498</c:v>
                </c:pt>
                <c:pt idx="16193">
                  <c:v>0.288799714642411</c:v>
                </c:pt>
                <c:pt idx="16194">
                  <c:v>0.28881754949170602</c:v>
                </c:pt>
                <c:pt idx="16195">
                  <c:v>0.28883538434100198</c:v>
                </c:pt>
                <c:pt idx="16196">
                  <c:v>0.28885321919029699</c:v>
                </c:pt>
                <c:pt idx="16197">
                  <c:v>0.28887105403959301</c:v>
                </c:pt>
                <c:pt idx="16198">
                  <c:v>0.28888888888888797</c:v>
                </c:pt>
                <c:pt idx="16199">
                  <c:v>0.28890672373818399</c:v>
                </c:pt>
                <c:pt idx="16200">
                  <c:v>0.28892455858747901</c:v>
                </c:pt>
                <c:pt idx="16201">
                  <c:v>0.28894239343677502</c:v>
                </c:pt>
                <c:pt idx="16202">
                  <c:v>0.28896022828607099</c:v>
                </c:pt>
                <c:pt idx="16203">
                  <c:v>0.288978063135366</c:v>
                </c:pt>
                <c:pt idx="16204">
                  <c:v>0.28899589798466202</c:v>
                </c:pt>
                <c:pt idx="16205">
                  <c:v>0.28901373283395698</c:v>
                </c:pt>
                <c:pt idx="16206">
                  <c:v>0.289031567683253</c:v>
                </c:pt>
                <c:pt idx="16207">
                  <c:v>0.28904940253254802</c:v>
                </c:pt>
                <c:pt idx="16208">
                  <c:v>0.28906723738184398</c:v>
                </c:pt>
                <c:pt idx="16209">
                  <c:v>0.289085072231139</c:v>
                </c:pt>
                <c:pt idx="16210">
                  <c:v>0.28910290708043501</c:v>
                </c:pt>
                <c:pt idx="16211">
                  <c:v>0.28912074192972997</c:v>
                </c:pt>
                <c:pt idx="16212">
                  <c:v>0.28913857677902599</c:v>
                </c:pt>
                <c:pt idx="16213">
                  <c:v>0.28915641162832101</c:v>
                </c:pt>
                <c:pt idx="16214">
                  <c:v>0.28917424647761703</c:v>
                </c:pt>
                <c:pt idx="16215">
                  <c:v>0.28919208132691199</c:v>
                </c:pt>
                <c:pt idx="16216">
                  <c:v>0.289209916176208</c:v>
                </c:pt>
                <c:pt idx="16217">
                  <c:v>0.28922775102550302</c:v>
                </c:pt>
                <c:pt idx="16218">
                  <c:v>0.28924558587479898</c:v>
                </c:pt>
                <c:pt idx="16219">
                  <c:v>0.289263420724094</c:v>
                </c:pt>
                <c:pt idx="16220">
                  <c:v>0.28928125557339002</c:v>
                </c:pt>
                <c:pt idx="16221">
                  <c:v>0.28929909042268498</c:v>
                </c:pt>
                <c:pt idx="16222">
                  <c:v>0.289316925271981</c:v>
                </c:pt>
                <c:pt idx="16223">
                  <c:v>0.28933476012127601</c:v>
                </c:pt>
                <c:pt idx="16224">
                  <c:v>0.28935259497057197</c:v>
                </c:pt>
                <c:pt idx="16225">
                  <c:v>0.28937042981986799</c:v>
                </c:pt>
                <c:pt idx="16226">
                  <c:v>0.28938826466916301</c:v>
                </c:pt>
                <c:pt idx="16227">
                  <c:v>0.28940609951845903</c:v>
                </c:pt>
                <c:pt idx="16228">
                  <c:v>0.28942393436775399</c:v>
                </c:pt>
                <c:pt idx="16229">
                  <c:v>0.28944176921705</c:v>
                </c:pt>
                <c:pt idx="16230">
                  <c:v>0.28945960406634502</c:v>
                </c:pt>
                <c:pt idx="16231">
                  <c:v>0.28947743891564098</c:v>
                </c:pt>
                <c:pt idx="16232">
                  <c:v>0.289495273764936</c:v>
                </c:pt>
                <c:pt idx="16233">
                  <c:v>0.28951310861423202</c:v>
                </c:pt>
                <c:pt idx="16234">
                  <c:v>0.28953094346352698</c:v>
                </c:pt>
                <c:pt idx="16235">
                  <c:v>0.289548778312823</c:v>
                </c:pt>
                <c:pt idx="16236">
                  <c:v>0.28956661316211801</c:v>
                </c:pt>
                <c:pt idx="16237">
                  <c:v>0.28958444801141398</c:v>
                </c:pt>
                <c:pt idx="16238">
                  <c:v>0.28960228286070899</c:v>
                </c:pt>
                <c:pt idx="16239">
                  <c:v>0.28962011771000501</c:v>
                </c:pt>
                <c:pt idx="16240">
                  <c:v>0.28963795255930003</c:v>
                </c:pt>
                <c:pt idx="16241">
                  <c:v>0.28965578740859599</c:v>
                </c:pt>
                <c:pt idx="16242">
                  <c:v>0.28967362225789101</c:v>
                </c:pt>
                <c:pt idx="16243">
                  <c:v>0.28969145710718702</c:v>
                </c:pt>
                <c:pt idx="16244">
                  <c:v>0.28970929195648298</c:v>
                </c:pt>
                <c:pt idx="16245">
                  <c:v>0.289727126805778</c:v>
                </c:pt>
                <c:pt idx="16246">
                  <c:v>0.28974496165507402</c:v>
                </c:pt>
                <c:pt idx="16247">
                  <c:v>0.28976279650436898</c:v>
                </c:pt>
                <c:pt idx="16248">
                  <c:v>0.289780631353665</c:v>
                </c:pt>
                <c:pt idx="16249">
                  <c:v>0.28979846620296001</c:v>
                </c:pt>
                <c:pt idx="16250">
                  <c:v>0.28981630105225598</c:v>
                </c:pt>
                <c:pt idx="16251">
                  <c:v>0.28983413590155099</c:v>
                </c:pt>
                <c:pt idx="16252">
                  <c:v>0.28985197075084701</c:v>
                </c:pt>
                <c:pt idx="16253">
                  <c:v>0.28986980560014203</c:v>
                </c:pt>
                <c:pt idx="16254">
                  <c:v>0.28988764044943799</c:v>
                </c:pt>
                <c:pt idx="16255">
                  <c:v>0.28990547529873301</c:v>
                </c:pt>
                <c:pt idx="16256">
                  <c:v>0.28992331014802902</c:v>
                </c:pt>
                <c:pt idx="16257">
                  <c:v>0.28994114499732399</c:v>
                </c:pt>
                <c:pt idx="16258">
                  <c:v>0.28995897984662</c:v>
                </c:pt>
                <c:pt idx="16259">
                  <c:v>0.28997681469591502</c:v>
                </c:pt>
                <c:pt idx="16260">
                  <c:v>0.28999464954521098</c:v>
                </c:pt>
                <c:pt idx="16261">
                  <c:v>0.290012484394506</c:v>
                </c:pt>
                <c:pt idx="16262">
                  <c:v>0.29003031924380202</c:v>
                </c:pt>
                <c:pt idx="16263">
                  <c:v>0.29004815409309698</c:v>
                </c:pt>
                <c:pt idx="16264">
                  <c:v>0.29006598894239299</c:v>
                </c:pt>
                <c:pt idx="16265">
                  <c:v>0.29008382379168801</c:v>
                </c:pt>
                <c:pt idx="16266">
                  <c:v>0.29010165864098397</c:v>
                </c:pt>
                <c:pt idx="16267">
                  <c:v>0.29011949349027999</c:v>
                </c:pt>
                <c:pt idx="16268">
                  <c:v>0.29013732833957501</c:v>
                </c:pt>
                <c:pt idx="16269">
                  <c:v>0.29015516318887102</c:v>
                </c:pt>
                <c:pt idx="16270">
                  <c:v>0.29017299803816599</c:v>
                </c:pt>
                <c:pt idx="16271">
                  <c:v>0.290190832887462</c:v>
                </c:pt>
                <c:pt idx="16272">
                  <c:v>0.29020866773675702</c:v>
                </c:pt>
                <c:pt idx="16273">
                  <c:v>0.29022650258605298</c:v>
                </c:pt>
                <c:pt idx="16274">
                  <c:v>0.290244337435348</c:v>
                </c:pt>
                <c:pt idx="16275">
                  <c:v>0.29026217228464402</c:v>
                </c:pt>
                <c:pt idx="16276">
                  <c:v>0.29028000713393898</c:v>
                </c:pt>
                <c:pt idx="16277">
                  <c:v>0.29029784198323499</c:v>
                </c:pt>
                <c:pt idx="16278">
                  <c:v>0.29031567683253001</c:v>
                </c:pt>
                <c:pt idx="16279">
                  <c:v>0.29033351168182597</c:v>
                </c:pt>
                <c:pt idx="16280">
                  <c:v>0.29035134653112099</c:v>
                </c:pt>
                <c:pt idx="16281">
                  <c:v>0.29036918138041701</c:v>
                </c:pt>
                <c:pt idx="16282">
                  <c:v>0.29038701622971202</c:v>
                </c:pt>
                <c:pt idx="16283">
                  <c:v>0.29040485107900799</c:v>
                </c:pt>
                <c:pt idx="16284">
                  <c:v>0.290422685928303</c:v>
                </c:pt>
                <c:pt idx="16285">
                  <c:v>0.29044052077759902</c:v>
                </c:pt>
                <c:pt idx="16286">
                  <c:v>0.29045835562689398</c:v>
                </c:pt>
                <c:pt idx="16287">
                  <c:v>0.29047619047619</c:v>
                </c:pt>
                <c:pt idx="16288">
                  <c:v>0.29049402532548602</c:v>
                </c:pt>
                <c:pt idx="16289">
                  <c:v>0.29051186017478098</c:v>
                </c:pt>
                <c:pt idx="16290">
                  <c:v>0.29052969502407699</c:v>
                </c:pt>
                <c:pt idx="16291">
                  <c:v>0.29054752987337201</c:v>
                </c:pt>
                <c:pt idx="16292">
                  <c:v>0.29056536472266797</c:v>
                </c:pt>
                <c:pt idx="16293">
                  <c:v>0.29058319957196299</c:v>
                </c:pt>
                <c:pt idx="16294">
                  <c:v>0.29060103442125901</c:v>
                </c:pt>
                <c:pt idx="16295">
                  <c:v>0.29061886927055403</c:v>
                </c:pt>
                <c:pt idx="16296">
                  <c:v>0.29063670411984999</c:v>
                </c:pt>
                <c:pt idx="16297">
                  <c:v>0.290654538969145</c:v>
                </c:pt>
                <c:pt idx="16298">
                  <c:v>0.29067237381844102</c:v>
                </c:pt>
                <c:pt idx="16299">
                  <c:v>0.29069020866773598</c:v>
                </c:pt>
                <c:pt idx="16300">
                  <c:v>0.290708043517032</c:v>
                </c:pt>
                <c:pt idx="16301">
                  <c:v>0.29072587836632702</c:v>
                </c:pt>
                <c:pt idx="16302">
                  <c:v>0.29074371321562298</c:v>
                </c:pt>
                <c:pt idx="16303">
                  <c:v>0.290761548064918</c:v>
                </c:pt>
                <c:pt idx="16304">
                  <c:v>0.29077938291421401</c:v>
                </c:pt>
                <c:pt idx="16305">
                  <c:v>0.29079721776350897</c:v>
                </c:pt>
                <c:pt idx="16306">
                  <c:v>0.29081505261280499</c:v>
                </c:pt>
                <c:pt idx="16307">
                  <c:v>0.29083288746210001</c:v>
                </c:pt>
                <c:pt idx="16308">
                  <c:v>0.29085072231139603</c:v>
                </c:pt>
                <c:pt idx="16309">
                  <c:v>0.29086855716069199</c:v>
                </c:pt>
                <c:pt idx="16310">
                  <c:v>0.290886392009987</c:v>
                </c:pt>
                <c:pt idx="16311">
                  <c:v>0.29090422685928302</c:v>
                </c:pt>
                <c:pt idx="16312">
                  <c:v>0.29092206170857798</c:v>
                </c:pt>
                <c:pt idx="16313">
                  <c:v>0.290939896557874</c:v>
                </c:pt>
                <c:pt idx="16314">
                  <c:v>0.29095773140716902</c:v>
                </c:pt>
                <c:pt idx="16315">
                  <c:v>0.29097556625646498</c:v>
                </c:pt>
                <c:pt idx="16316">
                  <c:v>0.29099340110576</c:v>
                </c:pt>
                <c:pt idx="16317">
                  <c:v>0.29101123595505601</c:v>
                </c:pt>
                <c:pt idx="16318">
                  <c:v>0.29102907080435098</c:v>
                </c:pt>
                <c:pt idx="16319">
                  <c:v>0.29104690565364699</c:v>
                </c:pt>
                <c:pt idx="16320">
                  <c:v>0.29106474050294201</c:v>
                </c:pt>
                <c:pt idx="16321">
                  <c:v>0.29108257535223803</c:v>
                </c:pt>
                <c:pt idx="16322">
                  <c:v>0.29110041020153299</c:v>
                </c:pt>
                <c:pt idx="16323">
                  <c:v>0.29111824505082901</c:v>
                </c:pt>
                <c:pt idx="16324">
                  <c:v>0.29113607990012402</c:v>
                </c:pt>
                <c:pt idx="16325">
                  <c:v>0.29115391474941998</c:v>
                </c:pt>
                <c:pt idx="16326">
                  <c:v>0.291171749598715</c:v>
                </c:pt>
                <c:pt idx="16327">
                  <c:v>0.29118958444801102</c:v>
                </c:pt>
                <c:pt idx="16328">
                  <c:v>0.29120741929730598</c:v>
                </c:pt>
                <c:pt idx="16329">
                  <c:v>0.291225254146602</c:v>
                </c:pt>
                <c:pt idx="16330">
                  <c:v>0.29124308899589701</c:v>
                </c:pt>
                <c:pt idx="16331">
                  <c:v>0.29126092384519298</c:v>
                </c:pt>
                <c:pt idx="16332">
                  <c:v>0.29127875869448899</c:v>
                </c:pt>
                <c:pt idx="16333">
                  <c:v>0.29129659354378401</c:v>
                </c:pt>
                <c:pt idx="16334">
                  <c:v>0.29131442839308003</c:v>
                </c:pt>
                <c:pt idx="16335">
                  <c:v>0.29133226324237499</c:v>
                </c:pt>
                <c:pt idx="16336">
                  <c:v>0.29135009809167101</c:v>
                </c:pt>
                <c:pt idx="16337">
                  <c:v>0.29136793294096602</c:v>
                </c:pt>
                <c:pt idx="16338">
                  <c:v>0.29138576779026198</c:v>
                </c:pt>
                <c:pt idx="16339">
                  <c:v>0.291403602639557</c:v>
                </c:pt>
                <c:pt idx="16340">
                  <c:v>0.29142143748885302</c:v>
                </c:pt>
                <c:pt idx="16341">
                  <c:v>0.29143927233814798</c:v>
                </c:pt>
                <c:pt idx="16342">
                  <c:v>0.291457107187444</c:v>
                </c:pt>
                <c:pt idx="16343">
                  <c:v>0.29147494203673902</c:v>
                </c:pt>
                <c:pt idx="16344">
                  <c:v>0.29149277688603498</c:v>
                </c:pt>
                <c:pt idx="16345">
                  <c:v>0.29151061173532999</c:v>
                </c:pt>
                <c:pt idx="16346">
                  <c:v>0.29152844658462601</c:v>
                </c:pt>
                <c:pt idx="16347">
                  <c:v>0.29154628143392097</c:v>
                </c:pt>
                <c:pt idx="16348">
                  <c:v>0.29156411628321699</c:v>
                </c:pt>
                <c:pt idx="16349">
                  <c:v>0.29158195113251201</c:v>
                </c:pt>
                <c:pt idx="16350">
                  <c:v>0.29159978598180802</c:v>
                </c:pt>
                <c:pt idx="16351">
                  <c:v>0.29161762083110399</c:v>
                </c:pt>
                <c:pt idx="16352">
                  <c:v>0.291635455680399</c:v>
                </c:pt>
                <c:pt idx="16353">
                  <c:v>0.29165329052969502</c:v>
                </c:pt>
                <c:pt idx="16354">
                  <c:v>0.29167112537898998</c:v>
                </c:pt>
                <c:pt idx="16355">
                  <c:v>0.291688960228286</c:v>
                </c:pt>
                <c:pt idx="16356">
                  <c:v>0.29170679507758102</c:v>
                </c:pt>
                <c:pt idx="16357">
                  <c:v>0.29172462992687698</c:v>
                </c:pt>
                <c:pt idx="16358">
                  <c:v>0.29174246477617199</c:v>
                </c:pt>
                <c:pt idx="16359">
                  <c:v>0.29176029962546801</c:v>
                </c:pt>
                <c:pt idx="16360">
                  <c:v>0.29177813447476297</c:v>
                </c:pt>
                <c:pt idx="16361">
                  <c:v>0.29179596932405899</c:v>
                </c:pt>
                <c:pt idx="16362">
                  <c:v>0.29181380417335401</c:v>
                </c:pt>
                <c:pt idx="16363">
                  <c:v>0.29183163902265002</c:v>
                </c:pt>
                <c:pt idx="16364">
                  <c:v>0.29184947387194499</c:v>
                </c:pt>
                <c:pt idx="16365">
                  <c:v>0.291867308721241</c:v>
                </c:pt>
                <c:pt idx="16366">
                  <c:v>0.29188514357053602</c:v>
                </c:pt>
                <c:pt idx="16367">
                  <c:v>0.29190297841983198</c:v>
                </c:pt>
                <c:pt idx="16368">
                  <c:v>0.291920813269127</c:v>
                </c:pt>
                <c:pt idx="16369">
                  <c:v>0.29193864811842302</c:v>
                </c:pt>
                <c:pt idx="16370">
                  <c:v>0.29195648296771798</c:v>
                </c:pt>
                <c:pt idx="16371">
                  <c:v>0.291974317817014</c:v>
                </c:pt>
                <c:pt idx="16372">
                  <c:v>0.29199215266630901</c:v>
                </c:pt>
                <c:pt idx="16373">
                  <c:v>0.29200998751560497</c:v>
                </c:pt>
                <c:pt idx="16374">
                  <c:v>0.29202782236490099</c:v>
                </c:pt>
                <c:pt idx="16375">
                  <c:v>0.29204565721419601</c:v>
                </c:pt>
                <c:pt idx="16376">
                  <c:v>0.29206349206349203</c:v>
                </c:pt>
                <c:pt idx="16377">
                  <c:v>0.29208132691278699</c:v>
                </c:pt>
                <c:pt idx="16378">
                  <c:v>0.292099161762083</c:v>
                </c:pt>
                <c:pt idx="16379">
                  <c:v>0.29211699661137802</c:v>
                </c:pt>
                <c:pt idx="16380">
                  <c:v>0.29213483146067398</c:v>
                </c:pt>
                <c:pt idx="16381">
                  <c:v>0.292152666309969</c:v>
                </c:pt>
                <c:pt idx="16382">
                  <c:v>0.29217050115926502</c:v>
                </c:pt>
                <c:pt idx="16383">
                  <c:v>0.29218833600855998</c:v>
                </c:pt>
                <c:pt idx="16384">
                  <c:v>0.292206170857856</c:v>
                </c:pt>
                <c:pt idx="16385">
                  <c:v>0.29222400570715101</c:v>
                </c:pt>
                <c:pt idx="16386">
                  <c:v>0.29224184055644697</c:v>
                </c:pt>
                <c:pt idx="16387">
                  <c:v>0.29225967540574199</c:v>
                </c:pt>
                <c:pt idx="16388">
                  <c:v>0.29227751025503801</c:v>
                </c:pt>
                <c:pt idx="16389">
                  <c:v>0.29229534510433303</c:v>
                </c:pt>
                <c:pt idx="16390">
                  <c:v>0.29231317995362899</c:v>
                </c:pt>
                <c:pt idx="16391">
                  <c:v>0.29233101480292401</c:v>
                </c:pt>
                <c:pt idx="16392">
                  <c:v>0.29234884965222002</c:v>
                </c:pt>
                <c:pt idx="16393">
                  <c:v>0.29236668450151598</c:v>
                </c:pt>
                <c:pt idx="16394">
                  <c:v>0.292384519350811</c:v>
                </c:pt>
                <c:pt idx="16395">
                  <c:v>0.29240235420010702</c:v>
                </c:pt>
                <c:pt idx="16396">
                  <c:v>0.29242018904940198</c:v>
                </c:pt>
                <c:pt idx="16397">
                  <c:v>0.292438023898698</c:v>
                </c:pt>
                <c:pt idx="16398">
                  <c:v>0.29245585874799301</c:v>
                </c:pt>
                <c:pt idx="16399">
                  <c:v>0.29247369359728898</c:v>
                </c:pt>
                <c:pt idx="16400">
                  <c:v>0.29249152844658399</c:v>
                </c:pt>
                <c:pt idx="16401">
                  <c:v>0.29250936329588001</c:v>
                </c:pt>
                <c:pt idx="16402">
                  <c:v>0.29252719814517503</c:v>
                </c:pt>
                <c:pt idx="16403">
                  <c:v>0.29254503299447099</c:v>
                </c:pt>
                <c:pt idx="16404">
                  <c:v>0.29256286784376601</c:v>
                </c:pt>
                <c:pt idx="16405">
                  <c:v>0.29258070269306202</c:v>
                </c:pt>
                <c:pt idx="16406">
                  <c:v>0.29259853754235698</c:v>
                </c:pt>
                <c:pt idx="16407">
                  <c:v>0.292616372391653</c:v>
                </c:pt>
                <c:pt idx="16408">
                  <c:v>0.29263420724094802</c:v>
                </c:pt>
                <c:pt idx="16409">
                  <c:v>0.29265204209024398</c:v>
                </c:pt>
                <c:pt idx="16410">
                  <c:v>0.292669876939539</c:v>
                </c:pt>
                <c:pt idx="16411">
                  <c:v>0.29268771178883501</c:v>
                </c:pt>
                <c:pt idx="16412">
                  <c:v>0.29270554663812998</c:v>
                </c:pt>
                <c:pt idx="16413">
                  <c:v>0.29272338148742599</c:v>
                </c:pt>
                <c:pt idx="16414">
                  <c:v>0.29274121633672101</c:v>
                </c:pt>
                <c:pt idx="16415">
                  <c:v>0.29275905118601703</c:v>
                </c:pt>
                <c:pt idx="16416">
                  <c:v>0.29277688603531299</c:v>
                </c:pt>
                <c:pt idx="16417">
                  <c:v>0.29279472088460801</c:v>
                </c:pt>
                <c:pt idx="16418">
                  <c:v>0.29281255573390402</c:v>
                </c:pt>
                <c:pt idx="16419">
                  <c:v>0.29283039058319899</c:v>
                </c:pt>
                <c:pt idx="16420">
                  <c:v>0.292848225432495</c:v>
                </c:pt>
                <c:pt idx="16421">
                  <c:v>0.29286606028179002</c:v>
                </c:pt>
                <c:pt idx="16422">
                  <c:v>0.29288389513108598</c:v>
                </c:pt>
                <c:pt idx="16423">
                  <c:v>0.292901729980381</c:v>
                </c:pt>
                <c:pt idx="16424">
                  <c:v>0.29291956482967701</c:v>
                </c:pt>
                <c:pt idx="16425">
                  <c:v>0.29293739967897198</c:v>
                </c:pt>
                <c:pt idx="16426">
                  <c:v>0.29295523452826799</c:v>
                </c:pt>
                <c:pt idx="16427">
                  <c:v>0.29297306937756301</c:v>
                </c:pt>
                <c:pt idx="16428">
                  <c:v>0.29299090422685897</c:v>
                </c:pt>
                <c:pt idx="16429">
                  <c:v>0.29300873907615399</c:v>
                </c:pt>
                <c:pt idx="16430">
                  <c:v>0.29302657392545001</c:v>
                </c:pt>
                <c:pt idx="16431">
                  <c:v>0.29304440877474502</c:v>
                </c:pt>
                <c:pt idx="16432">
                  <c:v>0.29306224362404099</c:v>
                </c:pt>
                <c:pt idx="16433">
                  <c:v>0.293080078473336</c:v>
                </c:pt>
                <c:pt idx="16434">
                  <c:v>0.29309791332263202</c:v>
                </c:pt>
                <c:pt idx="16435">
                  <c:v>0.29311574817192698</c:v>
                </c:pt>
                <c:pt idx="16436">
                  <c:v>0.293133583021223</c:v>
                </c:pt>
                <c:pt idx="16437">
                  <c:v>0.29315141787051902</c:v>
                </c:pt>
                <c:pt idx="16438">
                  <c:v>0.29316925271981398</c:v>
                </c:pt>
                <c:pt idx="16439">
                  <c:v>0.29318708756910999</c:v>
                </c:pt>
                <c:pt idx="16440">
                  <c:v>0.29320492241840501</c:v>
                </c:pt>
                <c:pt idx="16441">
                  <c:v>0.29322275726770097</c:v>
                </c:pt>
                <c:pt idx="16442">
                  <c:v>0.29324059211699599</c:v>
                </c:pt>
                <c:pt idx="16443">
                  <c:v>0.29325842696629201</c:v>
                </c:pt>
                <c:pt idx="16444">
                  <c:v>0.29327626181558702</c:v>
                </c:pt>
                <c:pt idx="16445">
                  <c:v>0.29329409666488299</c:v>
                </c:pt>
                <c:pt idx="16446">
                  <c:v>0.293311931514178</c:v>
                </c:pt>
                <c:pt idx="16447">
                  <c:v>0.29332976636347402</c:v>
                </c:pt>
                <c:pt idx="16448">
                  <c:v>0.29334760121276898</c:v>
                </c:pt>
                <c:pt idx="16449">
                  <c:v>0.293365436062065</c:v>
                </c:pt>
                <c:pt idx="16450">
                  <c:v>0.29338327091136002</c:v>
                </c:pt>
                <c:pt idx="16451">
                  <c:v>0.29340110576065598</c:v>
                </c:pt>
                <c:pt idx="16452">
                  <c:v>0.293418940609951</c:v>
                </c:pt>
                <c:pt idx="16453">
                  <c:v>0.29343677545924701</c:v>
                </c:pt>
                <c:pt idx="16454">
                  <c:v>0.29345461030854197</c:v>
                </c:pt>
                <c:pt idx="16455">
                  <c:v>0.29347244515783799</c:v>
                </c:pt>
                <c:pt idx="16456">
                  <c:v>0.29349028000713301</c:v>
                </c:pt>
                <c:pt idx="16457">
                  <c:v>0.29350811485642903</c:v>
                </c:pt>
                <c:pt idx="16458">
                  <c:v>0.29352594970572499</c:v>
                </c:pt>
                <c:pt idx="16459">
                  <c:v>0.29354378455502</c:v>
                </c:pt>
                <c:pt idx="16460">
                  <c:v>0.29356161940431602</c:v>
                </c:pt>
                <c:pt idx="16461">
                  <c:v>0.29357945425361098</c:v>
                </c:pt>
                <c:pt idx="16462">
                  <c:v>0.293597289102907</c:v>
                </c:pt>
                <c:pt idx="16463">
                  <c:v>0.29361512395220202</c:v>
                </c:pt>
                <c:pt idx="16464">
                  <c:v>0.29363295880149798</c:v>
                </c:pt>
                <c:pt idx="16465">
                  <c:v>0.293650793650793</c:v>
                </c:pt>
                <c:pt idx="16466">
                  <c:v>0.29366862850008901</c:v>
                </c:pt>
                <c:pt idx="16467">
                  <c:v>0.29368646334938397</c:v>
                </c:pt>
                <c:pt idx="16468">
                  <c:v>0.29370429819867999</c:v>
                </c:pt>
                <c:pt idx="16469">
                  <c:v>0.29372213304797501</c:v>
                </c:pt>
                <c:pt idx="16470">
                  <c:v>0.29373996789727103</c:v>
                </c:pt>
                <c:pt idx="16471">
                  <c:v>0.29375780274656599</c:v>
                </c:pt>
                <c:pt idx="16472">
                  <c:v>0.293775637595862</c:v>
                </c:pt>
                <c:pt idx="16473">
                  <c:v>0.29379347244515702</c:v>
                </c:pt>
                <c:pt idx="16474">
                  <c:v>0.29381130729445298</c:v>
                </c:pt>
                <c:pt idx="16475">
                  <c:v>0.293829142143748</c:v>
                </c:pt>
                <c:pt idx="16476">
                  <c:v>0.29384697699304402</c:v>
                </c:pt>
                <c:pt idx="16477">
                  <c:v>0.29386481184233898</c:v>
                </c:pt>
                <c:pt idx="16478">
                  <c:v>0.293882646691635</c:v>
                </c:pt>
                <c:pt idx="16479">
                  <c:v>0.29390048154093001</c:v>
                </c:pt>
                <c:pt idx="16480">
                  <c:v>0.29391831639022598</c:v>
                </c:pt>
                <c:pt idx="16481">
                  <c:v>0.29393615123952199</c:v>
                </c:pt>
                <c:pt idx="16482">
                  <c:v>0.29395398608881701</c:v>
                </c:pt>
                <c:pt idx="16483">
                  <c:v>0.29397182093811303</c:v>
                </c:pt>
                <c:pt idx="16484">
                  <c:v>0.29398965578740799</c:v>
                </c:pt>
                <c:pt idx="16485">
                  <c:v>0.29400749063670401</c:v>
                </c:pt>
                <c:pt idx="16486">
                  <c:v>0.29402532548599902</c:v>
                </c:pt>
                <c:pt idx="16487">
                  <c:v>0.29404316033529498</c:v>
                </c:pt>
                <c:pt idx="16488">
                  <c:v>0.29406099518459</c:v>
                </c:pt>
                <c:pt idx="16489">
                  <c:v>0.29407883003388602</c:v>
                </c:pt>
                <c:pt idx="16490">
                  <c:v>0.29409666488318098</c:v>
                </c:pt>
                <c:pt idx="16491">
                  <c:v>0.294114499732477</c:v>
                </c:pt>
                <c:pt idx="16492">
                  <c:v>0.29413233458177201</c:v>
                </c:pt>
                <c:pt idx="16493">
                  <c:v>0.29415016943106798</c:v>
                </c:pt>
                <c:pt idx="16494">
                  <c:v>0.29416800428036299</c:v>
                </c:pt>
                <c:pt idx="16495">
                  <c:v>0.29418583912965901</c:v>
                </c:pt>
                <c:pt idx="16496">
                  <c:v>0.29420367397895397</c:v>
                </c:pt>
                <c:pt idx="16497">
                  <c:v>0.29422150882824999</c:v>
                </c:pt>
                <c:pt idx="16498">
                  <c:v>0.29423934367754501</c:v>
                </c:pt>
                <c:pt idx="16499">
                  <c:v>0.29425717852684102</c:v>
                </c:pt>
                <c:pt idx="16500">
                  <c:v>0.29427501337613698</c:v>
                </c:pt>
                <c:pt idx="16501">
                  <c:v>0.294292848225432</c:v>
                </c:pt>
                <c:pt idx="16502">
                  <c:v>0.29431068307472802</c:v>
                </c:pt>
                <c:pt idx="16503">
                  <c:v>0.29432851792402298</c:v>
                </c:pt>
                <c:pt idx="16504">
                  <c:v>0.294346352773319</c:v>
                </c:pt>
                <c:pt idx="16505">
                  <c:v>0.29436418762261402</c:v>
                </c:pt>
                <c:pt idx="16506">
                  <c:v>0.29438202247190998</c:v>
                </c:pt>
                <c:pt idx="16507">
                  <c:v>0.29439985732120499</c:v>
                </c:pt>
                <c:pt idx="16508">
                  <c:v>0.29441769217050101</c:v>
                </c:pt>
                <c:pt idx="16509">
                  <c:v>0.29443552701979597</c:v>
                </c:pt>
                <c:pt idx="16510">
                  <c:v>0.29445336186909199</c:v>
                </c:pt>
                <c:pt idx="16511">
                  <c:v>0.29447119671838701</c:v>
                </c:pt>
                <c:pt idx="16512">
                  <c:v>0.29448903156768302</c:v>
                </c:pt>
                <c:pt idx="16513">
                  <c:v>0.29450686641697799</c:v>
                </c:pt>
                <c:pt idx="16514">
                  <c:v>0.294524701266274</c:v>
                </c:pt>
                <c:pt idx="16515">
                  <c:v>0.29454253611556902</c:v>
                </c:pt>
                <c:pt idx="16516">
                  <c:v>0.29456037096486498</c:v>
                </c:pt>
                <c:pt idx="16517">
                  <c:v>0.29457820581416</c:v>
                </c:pt>
                <c:pt idx="16518">
                  <c:v>0.29459604066345602</c:v>
                </c:pt>
                <c:pt idx="16519">
                  <c:v>0.29461387551275098</c:v>
                </c:pt>
                <c:pt idx="16520">
                  <c:v>0.29463171036204699</c:v>
                </c:pt>
                <c:pt idx="16521">
                  <c:v>0.29464954521134201</c:v>
                </c:pt>
                <c:pt idx="16522">
                  <c:v>0.29466738006063797</c:v>
                </c:pt>
                <c:pt idx="16523">
                  <c:v>0.29468521490993399</c:v>
                </c:pt>
                <c:pt idx="16524">
                  <c:v>0.29470304975922901</c:v>
                </c:pt>
                <c:pt idx="16525">
                  <c:v>0.29472088460852502</c:v>
                </c:pt>
                <c:pt idx="16526">
                  <c:v>0.29473871945781999</c:v>
                </c:pt>
                <c:pt idx="16527">
                  <c:v>0.294756554307116</c:v>
                </c:pt>
                <c:pt idx="16528">
                  <c:v>0.29477438915641102</c:v>
                </c:pt>
                <c:pt idx="16529">
                  <c:v>0.29479222400570698</c:v>
                </c:pt>
                <c:pt idx="16530">
                  <c:v>0.294810058855002</c:v>
                </c:pt>
                <c:pt idx="16531">
                  <c:v>0.29482789370429802</c:v>
                </c:pt>
                <c:pt idx="16532">
                  <c:v>0.29484572855359298</c:v>
                </c:pt>
                <c:pt idx="16533">
                  <c:v>0.294863563402889</c:v>
                </c:pt>
                <c:pt idx="16534">
                  <c:v>0.29488139825218401</c:v>
                </c:pt>
                <c:pt idx="16535">
                  <c:v>0.29489923310147997</c:v>
                </c:pt>
                <c:pt idx="16536">
                  <c:v>0.29491706795077499</c:v>
                </c:pt>
                <c:pt idx="16537">
                  <c:v>0.29493490280007101</c:v>
                </c:pt>
                <c:pt idx="16538">
                  <c:v>0.29495273764936603</c:v>
                </c:pt>
                <c:pt idx="16539">
                  <c:v>0.29497057249866199</c:v>
                </c:pt>
                <c:pt idx="16540">
                  <c:v>0.294988407347957</c:v>
                </c:pt>
                <c:pt idx="16541">
                  <c:v>0.29500624219725302</c:v>
                </c:pt>
                <c:pt idx="16542">
                  <c:v>0.29502407704654898</c:v>
                </c:pt>
                <c:pt idx="16543">
                  <c:v>0.295041911895844</c:v>
                </c:pt>
                <c:pt idx="16544">
                  <c:v>0.29505974674514002</c:v>
                </c:pt>
                <c:pt idx="16545">
                  <c:v>0.29507758159443498</c:v>
                </c:pt>
                <c:pt idx="16546">
                  <c:v>0.295095416443731</c:v>
                </c:pt>
                <c:pt idx="16547">
                  <c:v>0.29511325129302601</c:v>
                </c:pt>
                <c:pt idx="16548">
                  <c:v>0.29513108614232197</c:v>
                </c:pt>
                <c:pt idx="16549">
                  <c:v>0.29514892099161699</c:v>
                </c:pt>
                <c:pt idx="16550">
                  <c:v>0.29516675584091301</c:v>
                </c:pt>
                <c:pt idx="16551">
                  <c:v>0.29518459069020803</c:v>
                </c:pt>
                <c:pt idx="16552">
                  <c:v>0.29520242553950399</c:v>
                </c:pt>
                <c:pt idx="16553">
                  <c:v>0.29522026038879901</c:v>
                </c:pt>
                <c:pt idx="16554">
                  <c:v>0.29523809523809502</c:v>
                </c:pt>
                <c:pt idx="16555">
                  <c:v>0.29525593008738998</c:v>
                </c:pt>
                <c:pt idx="16556">
                  <c:v>0.295273764936686</c:v>
                </c:pt>
                <c:pt idx="16557">
                  <c:v>0.29529159978598102</c:v>
                </c:pt>
                <c:pt idx="16558">
                  <c:v>0.29530943463527698</c:v>
                </c:pt>
                <c:pt idx="16559">
                  <c:v>0.295327269484572</c:v>
                </c:pt>
                <c:pt idx="16560">
                  <c:v>0.29534510433386801</c:v>
                </c:pt>
                <c:pt idx="16561">
                  <c:v>0.29536293918316298</c:v>
                </c:pt>
                <c:pt idx="16562">
                  <c:v>0.29538077403245899</c:v>
                </c:pt>
                <c:pt idx="16563">
                  <c:v>0.29539860888175401</c:v>
                </c:pt>
                <c:pt idx="16564">
                  <c:v>0.29541644373105003</c:v>
                </c:pt>
                <c:pt idx="16565">
                  <c:v>0.29543427858034599</c:v>
                </c:pt>
                <c:pt idx="16566">
                  <c:v>0.29545211342964101</c:v>
                </c:pt>
                <c:pt idx="16567">
                  <c:v>0.29546994827893702</c:v>
                </c:pt>
                <c:pt idx="16568">
                  <c:v>0.29548778312823198</c:v>
                </c:pt>
                <c:pt idx="16569">
                  <c:v>0.295505617977528</c:v>
                </c:pt>
                <c:pt idx="16570">
                  <c:v>0.29552345282682302</c:v>
                </c:pt>
                <c:pt idx="16571">
                  <c:v>0.29554128767611898</c:v>
                </c:pt>
                <c:pt idx="16572">
                  <c:v>0.295559122525414</c:v>
                </c:pt>
                <c:pt idx="16573">
                  <c:v>0.29557695737471001</c:v>
                </c:pt>
                <c:pt idx="16574">
                  <c:v>0.29559479222400498</c:v>
                </c:pt>
                <c:pt idx="16575">
                  <c:v>0.29561262707330099</c:v>
                </c:pt>
                <c:pt idx="16576">
                  <c:v>0.29563046192259601</c:v>
                </c:pt>
                <c:pt idx="16577">
                  <c:v>0.29564829677189203</c:v>
                </c:pt>
                <c:pt idx="16578">
                  <c:v>0.29566613162118699</c:v>
                </c:pt>
                <c:pt idx="16579">
                  <c:v>0.29568396647048301</c:v>
                </c:pt>
                <c:pt idx="16580">
                  <c:v>0.29570180131977802</c:v>
                </c:pt>
                <c:pt idx="16581">
                  <c:v>0.29571963616907398</c:v>
                </c:pt>
                <c:pt idx="16582">
                  <c:v>0.295737471018369</c:v>
                </c:pt>
                <c:pt idx="16583">
                  <c:v>0.29575530586766502</c:v>
                </c:pt>
                <c:pt idx="16584">
                  <c:v>0.29577314071695998</c:v>
                </c:pt>
                <c:pt idx="16585">
                  <c:v>0.295790975566256</c:v>
                </c:pt>
                <c:pt idx="16586">
                  <c:v>0.29580881041555201</c:v>
                </c:pt>
                <c:pt idx="16587">
                  <c:v>0.29582664526484698</c:v>
                </c:pt>
                <c:pt idx="16588">
                  <c:v>0.29584448011414299</c:v>
                </c:pt>
                <c:pt idx="16589">
                  <c:v>0.29586231496343801</c:v>
                </c:pt>
                <c:pt idx="16590">
                  <c:v>0.29588014981273397</c:v>
                </c:pt>
                <c:pt idx="16591">
                  <c:v>0.29589798466202899</c:v>
                </c:pt>
                <c:pt idx="16592">
                  <c:v>0.29591581951132501</c:v>
                </c:pt>
                <c:pt idx="16593">
                  <c:v>0.29593365436062002</c:v>
                </c:pt>
                <c:pt idx="16594">
                  <c:v>0.29595148920991599</c:v>
                </c:pt>
                <c:pt idx="16595">
                  <c:v>0.295969324059211</c:v>
                </c:pt>
                <c:pt idx="16596">
                  <c:v>0.29598715890850702</c:v>
                </c:pt>
                <c:pt idx="16597">
                  <c:v>0.29600499375780198</c:v>
                </c:pt>
                <c:pt idx="16598">
                  <c:v>0.296022828607098</c:v>
                </c:pt>
                <c:pt idx="16599">
                  <c:v>0.29604066345639302</c:v>
                </c:pt>
                <c:pt idx="16600">
                  <c:v>0.29605849830568898</c:v>
                </c:pt>
                <c:pt idx="16601">
                  <c:v>0.29607633315498399</c:v>
                </c:pt>
                <c:pt idx="16602">
                  <c:v>0.29609416800428001</c:v>
                </c:pt>
                <c:pt idx="16603">
                  <c:v>0.29611200285357497</c:v>
                </c:pt>
                <c:pt idx="16604">
                  <c:v>0.29612983770287099</c:v>
                </c:pt>
                <c:pt idx="16605">
                  <c:v>0.29614767255216601</c:v>
                </c:pt>
                <c:pt idx="16606">
                  <c:v>0.29616550740146202</c:v>
                </c:pt>
                <c:pt idx="16607">
                  <c:v>0.29618334225075799</c:v>
                </c:pt>
                <c:pt idx="16608">
                  <c:v>0.296201177100053</c:v>
                </c:pt>
                <c:pt idx="16609">
                  <c:v>0.29621901194934902</c:v>
                </c:pt>
                <c:pt idx="16610">
                  <c:v>0.29623684679864398</c:v>
                </c:pt>
                <c:pt idx="16611">
                  <c:v>0.29625468164794</c:v>
                </c:pt>
                <c:pt idx="16612">
                  <c:v>0.29627251649723502</c:v>
                </c:pt>
                <c:pt idx="16613">
                  <c:v>0.29629035134653098</c:v>
                </c:pt>
                <c:pt idx="16614">
                  <c:v>0.296308186195826</c:v>
                </c:pt>
                <c:pt idx="16615">
                  <c:v>0.29632602104512201</c:v>
                </c:pt>
                <c:pt idx="16616">
                  <c:v>0.29634385589441697</c:v>
                </c:pt>
                <c:pt idx="16617">
                  <c:v>0.29636169074371299</c:v>
                </c:pt>
                <c:pt idx="16618">
                  <c:v>0.29637952559300801</c:v>
                </c:pt>
                <c:pt idx="16619">
                  <c:v>0.29639736044230403</c:v>
                </c:pt>
                <c:pt idx="16620">
                  <c:v>0.29641519529159899</c:v>
                </c:pt>
                <c:pt idx="16621">
                  <c:v>0.296433030140895</c:v>
                </c:pt>
                <c:pt idx="16622">
                  <c:v>0.29645086499019002</c:v>
                </c:pt>
                <c:pt idx="16623">
                  <c:v>0.29646869983948598</c:v>
                </c:pt>
                <c:pt idx="16624">
                  <c:v>0.296486534688781</c:v>
                </c:pt>
                <c:pt idx="16625">
                  <c:v>0.29650436953807702</c:v>
                </c:pt>
                <c:pt idx="16626">
                  <c:v>0.29652220438737198</c:v>
                </c:pt>
                <c:pt idx="16627">
                  <c:v>0.296540039236668</c:v>
                </c:pt>
                <c:pt idx="16628">
                  <c:v>0.29655787408596301</c:v>
                </c:pt>
                <c:pt idx="16629">
                  <c:v>0.29657570893525897</c:v>
                </c:pt>
                <c:pt idx="16630">
                  <c:v>0.29659354378455499</c:v>
                </c:pt>
                <c:pt idx="16631">
                  <c:v>0.29661137863385001</c:v>
                </c:pt>
                <c:pt idx="16632">
                  <c:v>0.29662921348314603</c:v>
                </c:pt>
                <c:pt idx="16633">
                  <c:v>0.29664704833244099</c:v>
                </c:pt>
                <c:pt idx="16634">
                  <c:v>0.296664883181737</c:v>
                </c:pt>
                <c:pt idx="16635">
                  <c:v>0.29668271803103202</c:v>
                </c:pt>
                <c:pt idx="16636">
                  <c:v>0.29670055288032798</c:v>
                </c:pt>
                <c:pt idx="16637">
                  <c:v>0.296718387729623</c:v>
                </c:pt>
                <c:pt idx="16638">
                  <c:v>0.29673622257891902</c:v>
                </c:pt>
                <c:pt idx="16639">
                  <c:v>0.29675405742821398</c:v>
                </c:pt>
                <c:pt idx="16640">
                  <c:v>0.29677189227751</c:v>
                </c:pt>
                <c:pt idx="16641">
                  <c:v>0.29678972712680501</c:v>
                </c:pt>
                <c:pt idx="16642">
                  <c:v>0.29680756197610098</c:v>
                </c:pt>
                <c:pt idx="16643">
                  <c:v>0.29682539682539599</c:v>
                </c:pt>
                <c:pt idx="16644">
                  <c:v>0.29684323167469201</c:v>
                </c:pt>
                <c:pt idx="16645">
                  <c:v>0.29686106652398703</c:v>
                </c:pt>
                <c:pt idx="16646">
                  <c:v>0.29687890137328299</c:v>
                </c:pt>
                <c:pt idx="16647">
                  <c:v>0.29689673622257801</c:v>
                </c:pt>
                <c:pt idx="16648">
                  <c:v>0.29691457107187402</c:v>
                </c:pt>
                <c:pt idx="16649">
                  <c:v>0.29693240592116998</c:v>
                </c:pt>
                <c:pt idx="16650">
                  <c:v>0.296950240770465</c:v>
                </c:pt>
                <c:pt idx="16651">
                  <c:v>0.29696807561976102</c:v>
                </c:pt>
                <c:pt idx="16652">
                  <c:v>0.29698591046905598</c:v>
                </c:pt>
                <c:pt idx="16653">
                  <c:v>0.297003745318352</c:v>
                </c:pt>
                <c:pt idx="16654">
                  <c:v>0.29702158016764701</c:v>
                </c:pt>
                <c:pt idx="16655">
                  <c:v>0.29703941501694298</c:v>
                </c:pt>
                <c:pt idx="16656">
                  <c:v>0.29705724986623799</c:v>
                </c:pt>
                <c:pt idx="16657">
                  <c:v>0.29707508471553401</c:v>
                </c:pt>
                <c:pt idx="16658">
                  <c:v>0.29709291956482897</c:v>
                </c:pt>
                <c:pt idx="16659">
                  <c:v>0.29711075441412499</c:v>
                </c:pt>
                <c:pt idx="16660">
                  <c:v>0.29712858926342001</c:v>
                </c:pt>
                <c:pt idx="16661">
                  <c:v>0.29714642411271602</c:v>
                </c:pt>
                <c:pt idx="16662">
                  <c:v>0.29716425896201099</c:v>
                </c:pt>
                <c:pt idx="16663">
                  <c:v>0.297182093811307</c:v>
                </c:pt>
                <c:pt idx="16664">
                  <c:v>0.29719992866060202</c:v>
                </c:pt>
                <c:pt idx="16665">
                  <c:v>0.29721776350989798</c:v>
                </c:pt>
                <c:pt idx="16666">
                  <c:v>0.297235598359193</c:v>
                </c:pt>
                <c:pt idx="16667">
                  <c:v>0.29725343320848902</c:v>
                </c:pt>
                <c:pt idx="16668">
                  <c:v>0.29727126805778398</c:v>
                </c:pt>
                <c:pt idx="16669">
                  <c:v>0.29728910290707999</c:v>
                </c:pt>
                <c:pt idx="16670">
                  <c:v>0.29730693775637501</c:v>
                </c:pt>
                <c:pt idx="16671">
                  <c:v>0.29732477260567097</c:v>
                </c:pt>
                <c:pt idx="16672">
                  <c:v>0.29734260745496699</c:v>
                </c:pt>
                <c:pt idx="16673">
                  <c:v>0.29736044230426201</c:v>
                </c:pt>
                <c:pt idx="16674">
                  <c:v>0.29737827715355802</c:v>
                </c:pt>
                <c:pt idx="16675">
                  <c:v>0.29739611200285299</c:v>
                </c:pt>
                <c:pt idx="16676">
                  <c:v>0.297413946852149</c:v>
                </c:pt>
                <c:pt idx="16677">
                  <c:v>0.29743178170144402</c:v>
                </c:pt>
                <c:pt idx="16678">
                  <c:v>0.29744961655073998</c:v>
                </c:pt>
                <c:pt idx="16679">
                  <c:v>0.297467451400035</c:v>
                </c:pt>
                <c:pt idx="16680">
                  <c:v>0.29748528624933102</c:v>
                </c:pt>
                <c:pt idx="16681">
                  <c:v>0.29750312109862598</c:v>
                </c:pt>
                <c:pt idx="16682">
                  <c:v>0.29752095594792199</c:v>
                </c:pt>
                <c:pt idx="16683">
                  <c:v>0.29753879079721701</c:v>
                </c:pt>
                <c:pt idx="16684">
                  <c:v>0.29755662564651297</c:v>
                </c:pt>
                <c:pt idx="16685">
                  <c:v>0.29757446049580799</c:v>
                </c:pt>
                <c:pt idx="16686">
                  <c:v>0.29759229534510401</c:v>
                </c:pt>
                <c:pt idx="16687">
                  <c:v>0.29761013019439903</c:v>
                </c:pt>
                <c:pt idx="16688">
                  <c:v>0.29762796504369499</c:v>
                </c:pt>
                <c:pt idx="16689">
                  <c:v>0.29764579989299</c:v>
                </c:pt>
                <c:pt idx="16690">
                  <c:v>0.29766363474228602</c:v>
                </c:pt>
                <c:pt idx="16691">
                  <c:v>0.29768146959158098</c:v>
                </c:pt>
                <c:pt idx="16692">
                  <c:v>0.297699304440877</c:v>
                </c:pt>
                <c:pt idx="16693">
                  <c:v>0.29771713929017302</c:v>
                </c:pt>
                <c:pt idx="16694">
                  <c:v>0.29773497413946798</c:v>
                </c:pt>
                <c:pt idx="16695">
                  <c:v>0.297752808988764</c:v>
                </c:pt>
                <c:pt idx="16696">
                  <c:v>0.29777064383805901</c:v>
                </c:pt>
                <c:pt idx="16697">
                  <c:v>0.29778847868735497</c:v>
                </c:pt>
                <c:pt idx="16698">
                  <c:v>0.29780631353664999</c:v>
                </c:pt>
                <c:pt idx="16699">
                  <c:v>0.29782414838594601</c:v>
                </c:pt>
                <c:pt idx="16700">
                  <c:v>0.29784198323524103</c:v>
                </c:pt>
                <c:pt idx="16701">
                  <c:v>0.29785981808453699</c:v>
                </c:pt>
                <c:pt idx="16702">
                  <c:v>0.297877652933832</c:v>
                </c:pt>
                <c:pt idx="16703">
                  <c:v>0.29789548778312802</c:v>
                </c:pt>
                <c:pt idx="16704">
                  <c:v>0.29791332263242298</c:v>
                </c:pt>
                <c:pt idx="16705">
                  <c:v>0.297931157481719</c:v>
                </c:pt>
                <c:pt idx="16706">
                  <c:v>0.29794899233101402</c:v>
                </c:pt>
                <c:pt idx="16707">
                  <c:v>0.29796682718030998</c:v>
                </c:pt>
                <c:pt idx="16708">
                  <c:v>0.297984662029605</c:v>
                </c:pt>
                <c:pt idx="16709">
                  <c:v>0.29800249687890101</c:v>
                </c:pt>
                <c:pt idx="16710">
                  <c:v>0.29802033172819598</c:v>
                </c:pt>
                <c:pt idx="16711">
                  <c:v>0.29803816657749199</c:v>
                </c:pt>
                <c:pt idx="16712">
                  <c:v>0.29805600142678701</c:v>
                </c:pt>
                <c:pt idx="16713">
                  <c:v>0.29807383627608303</c:v>
                </c:pt>
                <c:pt idx="16714">
                  <c:v>0.29809167112537899</c:v>
                </c:pt>
                <c:pt idx="16715">
                  <c:v>0.29810950597467401</c:v>
                </c:pt>
                <c:pt idx="16716">
                  <c:v>0.29812734082397002</c:v>
                </c:pt>
                <c:pt idx="16717">
                  <c:v>0.29814517567326498</c:v>
                </c:pt>
                <c:pt idx="16718">
                  <c:v>0.298163010522561</c:v>
                </c:pt>
                <c:pt idx="16719">
                  <c:v>0.29818084537185602</c:v>
                </c:pt>
                <c:pt idx="16720">
                  <c:v>0.29819868022115198</c:v>
                </c:pt>
                <c:pt idx="16721">
                  <c:v>0.298216515070447</c:v>
                </c:pt>
                <c:pt idx="16722">
                  <c:v>0.29823434991974301</c:v>
                </c:pt>
                <c:pt idx="16723">
                  <c:v>0.29825218476903798</c:v>
                </c:pt>
                <c:pt idx="16724">
                  <c:v>0.29827001961833399</c:v>
                </c:pt>
                <c:pt idx="16725">
                  <c:v>0.29828785446762901</c:v>
                </c:pt>
                <c:pt idx="16726">
                  <c:v>0.29830568931692503</c:v>
                </c:pt>
                <c:pt idx="16727">
                  <c:v>0.29832352416621999</c:v>
                </c:pt>
                <c:pt idx="16728">
                  <c:v>0.29834135901551601</c:v>
                </c:pt>
                <c:pt idx="16729">
                  <c:v>0.29835919386481102</c:v>
                </c:pt>
                <c:pt idx="16730">
                  <c:v>0.29837702871410698</c:v>
                </c:pt>
                <c:pt idx="16731">
                  <c:v>0.298394863563402</c:v>
                </c:pt>
                <c:pt idx="16732">
                  <c:v>0.29841269841269802</c:v>
                </c:pt>
                <c:pt idx="16733">
                  <c:v>0.29843053326199298</c:v>
                </c:pt>
                <c:pt idx="16734">
                  <c:v>0.298448368111289</c:v>
                </c:pt>
                <c:pt idx="16735">
                  <c:v>0.29846620296058402</c:v>
                </c:pt>
                <c:pt idx="16736">
                  <c:v>0.29848403780987998</c:v>
                </c:pt>
                <c:pt idx="16737">
                  <c:v>0.29850187265917599</c:v>
                </c:pt>
                <c:pt idx="16738">
                  <c:v>0.29851970750847101</c:v>
                </c:pt>
                <c:pt idx="16739">
                  <c:v>0.29853754235776703</c:v>
                </c:pt>
                <c:pt idx="16740">
                  <c:v>0.29855537720706199</c:v>
                </c:pt>
                <c:pt idx="16741">
                  <c:v>0.29857321205635801</c:v>
                </c:pt>
                <c:pt idx="16742">
                  <c:v>0.29859104690565302</c:v>
                </c:pt>
                <c:pt idx="16743">
                  <c:v>0.29860888175494898</c:v>
                </c:pt>
                <c:pt idx="16744">
                  <c:v>0.298626716604244</c:v>
                </c:pt>
                <c:pt idx="16745">
                  <c:v>0.29864455145354002</c:v>
                </c:pt>
                <c:pt idx="16746">
                  <c:v>0.29866238630283498</c:v>
                </c:pt>
                <c:pt idx="16747">
                  <c:v>0.298680221152131</c:v>
                </c:pt>
                <c:pt idx="16748">
                  <c:v>0.29869805600142602</c:v>
                </c:pt>
                <c:pt idx="16749">
                  <c:v>0.29871589085072198</c:v>
                </c:pt>
                <c:pt idx="16750">
                  <c:v>0.29873372570001699</c:v>
                </c:pt>
                <c:pt idx="16751">
                  <c:v>0.29875156054931301</c:v>
                </c:pt>
                <c:pt idx="16752">
                  <c:v>0.29876939539860797</c:v>
                </c:pt>
                <c:pt idx="16753">
                  <c:v>0.29878723024790399</c:v>
                </c:pt>
                <c:pt idx="16754">
                  <c:v>0.29880506509719901</c:v>
                </c:pt>
                <c:pt idx="16755">
                  <c:v>0.29882289994649502</c:v>
                </c:pt>
                <c:pt idx="16756">
                  <c:v>0.29884073479579099</c:v>
                </c:pt>
                <c:pt idx="16757">
                  <c:v>0.298858569645086</c:v>
                </c:pt>
                <c:pt idx="16758">
                  <c:v>0.29887640449438202</c:v>
                </c:pt>
                <c:pt idx="16759">
                  <c:v>0.29889423934367698</c:v>
                </c:pt>
                <c:pt idx="16760">
                  <c:v>0.298912074192973</c:v>
                </c:pt>
                <c:pt idx="16761">
                  <c:v>0.29892990904226802</c:v>
                </c:pt>
                <c:pt idx="16762">
                  <c:v>0.29894774389156398</c:v>
                </c:pt>
                <c:pt idx="16763">
                  <c:v>0.29896557874085899</c:v>
                </c:pt>
                <c:pt idx="16764">
                  <c:v>0.29898341359015501</c:v>
                </c:pt>
                <c:pt idx="16765">
                  <c:v>0.29900124843944997</c:v>
                </c:pt>
                <c:pt idx="16766">
                  <c:v>0.29901908328874599</c:v>
                </c:pt>
                <c:pt idx="16767">
                  <c:v>0.29903691813804101</c:v>
                </c:pt>
                <c:pt idx="16768">
                  <c:v>0.29905475298733702</c:v>
                </c:pt>
                <c:pt idx="16769">
                  <c:v>0.29907258783663199</c:v>
                </c:pt>
                <c:pt idx="16770">
                  <c:v>0.299090422685928</c:v>
                </c:pt>
                <c:pt idx="16771">
                  <c:v>0.29910825753522302</c:v>
                </c:pt>
                <c:pt idx="16772">
                  <c:v>0.29912609238451898</c:v>
                </c:pt>
                <c:pt idx="16773">
                  <c:v>0.299143927233814</c:v>
                </c:pt>
                <c:pt idx="16774">
                  <c:v>0.29916176208311002</c:v>
                </c:pt>
                <c:pt idx="16775">
                  <c:v>0.29917959693240498</c:v>
                </c:pt>
                <c:pt idx="16776">
                  <c:v>0.299197431781701</c:v>
                </c:pt>
                <c:pt idx="16777">
                  <c:v>0.29921526663099601</c:v>
                </c:pt>
                <c:pt idx="16778">
                  <c:v>0.29923310148029197</c:v>
                </c:pt>
                <c:pt idx="16779">
                  <c:v>0.29925093632958799</c:v>
                </c:pt>
                <c:pt idx="16780">
                  <c:v>0.29926877117888301</c:v>
                </c:pt>
                <c:pt idx="16781">
                  <c:v>0.29928660602817903</c:v>
                </c:pt>
                <c:pt idx="16782">
                  <c:v>0.29930444087747399</c:v>
                </c:pt>
                <c:pt idx="16783">
                  <c:v>0.29932227572677</c:v>
                </c:pt>
                <c:pt idx="16784">
                  <c:v>0.29934011057606502</c:v>
                </c:pt>
                <c:pt idx="16785">
                  <c:v>0.29935794542536098</c:v>
                </c:pt>
                <c:pt idx="16786">
                  <c:v>0.299375780274656</c:v>
                </c:pt>
                <c:pt idx="16787">
                  <c:v>0.29939361512395202</c:v>
                </c:pt>
                <c:pt idx="16788">
                  <c:v>0.29941144997324698</c:v>
                </c:pt>
                <c:pt idx="16789">
                  <c:v>0.299429284822543</c:v>
                </c:pt>
                <c:pt idx="16790">
                  <c:v>0.29944711967183801</c:v>
                </c:pt>
                <c:pt idx="16791">
                  <c:v>0.29946495452113397</c:v>
                </c:pt>
                <c:pt idx="16792">
                  <c:v>0.29948278937042899</c:v>
                </c:pt>
                <c:pt idx="16793">
                  <c:v>0.29950062421972501</c:v>
                </c:pt>
                <c:pt idx="16794">
                  <c:v>0.29951845906902003</c:v>
                </c:pt>
                <c:pt idx="16795">
                  <c:v>0.29953629391831599</c:v>
                </c:pt>
                <c:pt idx="16796">
                  <c:v>0.29955412876761101</c:v>
                </c:pt>
                <c:pt idx="16797">
                  <c:v>0.29957196361690702</c:v>
                </c:pt>
                <c:pt idx="16798">
                  <c:v>0.29958979846620298</c:v>
                </c:pt>
                <c:pt idx="16799">
                  <c:v>0.299607633315498</c:v>
                </c:pt>
                <c:pt idx="16800">
                  <c:v>0.29962546816479402</c:v>
                </c:pt>
                <c:pt idx="16801">
                  <c:v>0.29964330301408898</c:v>
                </c:pt>
                <c:pt idx="16802">
                  <c:v>0.299661137863385</c:v>
                </c:pt>
                <c:pt idx="16803">
                  <c:v>0.29967897271268001</c:v>
                </c:pt>
                <c:pt idx="16804">
                  <c:v>0.29969680756197598</c:v>
                </c:pt>
                <c:pt idx="16805">
                  <c:v>0.29971464241127099</c:v>
                </c:pt>
                <c:pt idx="16806">
                  <c:v>0.29973247726056701</c:v>
                </c:pt>
                <c:pt idx="16807">
                  <c:v>0.29975031210986203</c:v>
                </c:pt>
                <c:pt idx="16808">
                  <c:v>0.29976814695915799</c:v>
                </c:pt>
                <c:pt idx="16809">
                  <c:v>0.29978598180845301</c:v>
                </c:pt>
                <c:pt idx="16810">
                  <c:v>0.29980381665774902</c:v>
                </c:pt>
                <c:pt idx="16811">
                  <c:v>0.29982165150704398</c:v>
                </c:pt>
                <c:pt idx="16812">
                  <c:v>0.29983948635634</c:v>
                </c:pt>
                <c:pt idx="16813">
                  <c:v>0.29985732120563502</c:v>
                </c:pt>
                <c:pt idx="16814">
                  <c:v>0.29987515605493098</c:v>
                </c:pt>
                <c:pt idx="16815">
                  <c:v>0.299892990904226</c:v>
                </c:pt>
                <c:pt idx="16816">
                  <c:v>0.29991082575352201</c:v>
                </c:pt>
                <c:pt idx="16817">
                  <c:v>0.29992866060281698</c:v>
                </c:pt>
                <c:pt idx="16818">
                  <c:v>0.29994649545211299</c:v>
                </c:pt>
                <c:pt idx="16819">
                  <c:v>0.29996433030140801</c:v>
                </c:pt>
                <c:pt idx="16820">
                  <c:v>0.29998216515070403</c:v>
                </c:pt>
                <c:pt idx="16821">
                  <c:v>0.3</c:v>
                </c:pt>
                <c:pt idx="16822">
                  <c:v>0.30001783484929501</c:v>
                </c:pt>
                <c:pt idx="16823">
                  <c:v>0.30003566969859102</c:v>
                </c:pt>
                <c:pt idx="16824">
                  <c:v>0.30005350454788599</c:v>
                </c:pt>
                <c:pt idx="16825">
                  <c:v>0.300071339397182</c:v>
                </c:pt>
                <c:pt idx="16826">
                  <c:v>0.30008917424647702</c:v>
                </c:pt>
                <c:pt idx="16827">
                  <c:v>0.30010700909577298</c:v>
                </c:pt>
                <c:pt idx="16828">
                  <c:v>0.300124843945068</c:v>
                </c:pt>
                <c:pt idx="16829">
                  <c:v>0.30014267879436402</c:v>
                </c:pt>
                <c:pt idx="16830">
                  <c:v>0.30016051364365898</c:v>
                </c:pt>
                <c:pt idx="16831">
                  <c:v>0.30017834849295499</c:v>
                </c:pt>
                <c:pt idx="16832">
                  <c:v>0.30019618334225001</c:v>
                </c:pt>
                <c:pt idx="16833">
                  <c:v>0.30021401819154597</c:v>
                </c:pt>
                <c:pt idx="16834">
                  <c:v>0.30023185304084099</c:v>
                </c:pt>
                <c:pt idx="16835">
                  <c:v>0.30024968789013701</c:v>
                </c:pt>
                <c:pt idx="16836">
                  <c:v>0.30026752273943202</c:v>
                </c:pt>
                <c:pt idx="16837">
                  <c:v>0.30028535758872799</c:v>
                </c:pt>
                <c:pt idx="16838">
                  <c:v>0.300303192438023</c:v>
                </c:pt>
                <c:pt idx="16839">
                  <c:v>0.30032102728731902</c:v>
                </c:pt>
                <c:pt idx="16840">
                  <c:v>0.30033886213661398</c:v>
                </c:pt>
                <c:pt idx="16841">
                  <c:v>0.30035669698591</c:v>
                </c:pt>
                <c:pt idx="16842">
                  <c:v>0.30037453183520602</c:v>
                </c:pt>
                <c:pt idx="16843">
                  <c:v>0.30039236668450098</c:v>
                </c:pt>
                <c:pt idx="16844">
                  <c:v>0.30041020153379699</c:v>
                </c:pt>
                <c:pt idx="16845">
                  <c:v>0.30042803638309201</c:v>
                </c:pt>
                <c:pt idx="16846">
                  <c:v>0.30044587123238797</c:v>
                </c:pt>
                <c:pt idx="16847">
                  <c:v>0.30046370608168299</c:v>
                </c:pt>
                <c:pt idx="16848">
                  <c:v>0.30048154093097901</c:v>
                </c:pt>
                <c:pt idx="16849">
                  <c:v>0.30049937578027403</c:v>
                </c:pt>
                <c:pt idx="16850">
                  <c:v>0.30051721062956999</c:v>
                </c:pt>
                <c:pt idx="16851">
                  <c:v>0.300535045478865</c:v>
                </c:pt>
                <c:pt idx="16852">
                  <c:v>0.30055288032816102</c:v>
                </c:pt>
                <c:pt idx="16853">
                  <c:v>0.30057071517745598</c:v>
                </c:pt>
                <c:pt idx="16854">
                  <c:v>0.300588550026752</c:v>
                </c:pt>
                <c:pt idx="16855">
                  <c:v>0.30060638487604702</c:v>
                </c:pt>
                <c:pt idx="16856">
                  <c:v>0.30062421972534298</c:v>
                </c:pt>
                <c:pt idx="16857">
                  <c:v>0.300642054574638</c:v>
                </c:pt>
                <c:pt idx="16858">
                  <c:v>0.30065988942393401</c:v>
                </c:pt>
                <c:pt idx="16859">
                  <c:v>0.30067772427322897</c:v>
                </c:pt>
                <c:pt idx="16860">
                  <c:v>0.30069555912252499</c:v>
                </c:pt>
                <c:pt idx="16861">
                  <c:v>0.30071339397182001</c:v>
                </c:pt>
                <c:pt idx="16862">
                  <c:v>0.30073122882111603</c:v>
                </c:pt>
                <c:pt idx="16863">
                  <c:v>0.30074906367041199</c:v>
                </c:pt>
                <c:pt idx="16864">
                  <c:v>0.300766898519707</c:v>
                </c:pt>
                <c:pt idx="16865">
                  <c:v>0.30078473336900302</c:v>
                </c:pt>
                <c:pt idx="16866">
                  <c:v>0.30080256821829798</c:v>
                </c:pt>
                <c:pt idx="16867">
                  <c:v>0.300820403067594</c:v>
                </c:pt>
                <c:pt idx="16868">
                  <c:v>0.30083823791688902</c:v>
                </c:pt>
                <c:pt idx="16869">
                  <c:v>0.30085607276618498</c:v>
                </c:pt>
                <c:pt idx="16870">
                  <c:v>0.30087390761548</c:v>
                </c:pt>
                <c:pt idx="16871">
                  <c:v>0.30089174246477601</c:v>
                </c:pt>
                <c:pt idx="16872">
                  <c:v>0.30090957731407098</c:v>
                </c:pt>
                <c:pt idx="16873">
                  <c:v>0.30092741216336699</c:v>
                </c:pt>
                <c:pt idx="16874">
                  <c:v>0.30094524701266201</c:v>
                </c:pt>
                <c:pt idx="16875">
                  <c:v>0.30096308186195803</c:v>
                </c:pt>
                <c:pt idx="16876">
                  <c:v>0.30098091671125299</c:v>
                </c:pt>
                <c:pt idx="16877">
                  <c:v>0.300998751560549</c:v>
                </c:pt>
                <c:pt idx="16878">
                  <c:v>0.30101658640984402</c:v>
                </c:pt>
                <c:pt idx="16879">
                  <c:v>0.30103442125913998</c:v>
                </c:pt>
                <c:pt idx="16880">
                  <c:v>0.301052256108435</c:v>
                </c:pt>
                <c:pt idx="16881">
                  <c:v>0.30107009095773102</c:v>
                </c:pt>
                <c:pt idx="16882">
                  <c:v>0.30108792580702598</c:v>
                </c:pt>
                <c:pt idx="16883">
                  <c:v>0.301105760656322</c:v>
                </c:pt>
                <c:pt idx="16884">
                  <c:v>0.30112359550561701</c:v>
                </c:pt>
                <c:pt idx="16885">
                  <c:v>0.30114143035491298</c:v>
                </c:pt>
                <c:pt idx="16886">
                  <c:v>0.30115926520420899</c:v>
                </c:pt>
                <c:pt idx="16887">
                  <c:v>0.30117710005350401</c:v>
                </c:pt>
                <c:pt idx="16888">
                  <c:v>0.30119493490280003</c:v>
                </c:pt>
                <c:pt idx="16889">
                  <c:v>0.30121276975209499</c:v>
                </c:pt>
                <c:pt idx="16890">
                  <c:v>0.30123060460139101</c:v>
                </c:pt>
                <c:pt idx="16891">
                  <c:v>0.30124843945068602</c:v>
                </c:pt>
                <c:pt idx="16892">
                  <c:v>0.30126627429998198</c:v>
                </c:pt>
                <c:pt idx="16893">
                  <c:v>0.301284109149277</c:v>
                </c:pt>
                <c:pt idx="16894">
                  <c:v>0.30130194399857302</c:v>
                </c:pt>
                <c:pt idx="16895">
                  <c:v>0.30131977884786798</c:v>
                </c:pt>
                <c:pt idx="16896">
                  <c:v>0.301337613697164</c:v>
                </c:pt>
                <c:pt idx="16897">
                  <c:v>0.30135544854645901</c:v>
                </c:pt>
                <c:pt idx="16898">
                  <c:v>0.30137328339575498</c:v>
                </c:pt>
                <c:pt idx="16899">
                  <c:v>0.30139111824504999</c:v>
                </c:pt>
                <c:pt idx="16900">
                  <c:v>0.30140895309434601</c:v>
                </c:pt>
                <c:pt idx="16901">
                  <c:v>0.30142678794364097</c:v>
                </c:pt>
                <c:pt idx="16902">
                  <c:v>0.30144462279293699</c:v>
                </c:pt>
                <c:pt idx="16903">
                  <c:v>0.30146245764223201</c:v>
                </c:pt>
                <c:pt idx="16904">
                  <c:v>0.30148029249152802</c:v>
                </c:pt>
                <c:pt idx="16905">
                  <c:v>0.30149812734082398</c:v>
                </c:pt>
                <c:pt idx="16906">
                  <c:v>0.301515962190119</c:v>
                </c:pt>
                <c:pt idx="16907">
                  <c:v>0.30153379703941502</c:v>
                </c:pt>
                <c:pt idx="16908">
                  <c:v>0.30155163188870998</c:v>
                </c:pt>
                <c:pt idx="16909">
                  <c:v>0.301569466738006</c:v>
                </c:pt>
                <c:pt idx="16910">
                  <c:v>0.30158730158730102</c:v>
                </c:pt>
                <c:pt idx="16911">
                  <c:v>0.30160513643659698</c:v>
                </c:pt>
                <c:pt idx="16912">
                  <c:v>0.30162297128589199</c:v>
                </c:pt>
                <c:pt idx="16913">
                  <c:v>0.30164080613518801</c:v>
                </c:pt>
                <c:pt idx="16914">
                  <c:v>0.30165864098448297</c:v>
                </c:pt>
                <c:pt idx="16915">
                  <c:v>0.30167647583377899</c:v>
                </c:pt>
                <c:pt idx="16916">
                  <c:v>0.30169431068307401</c:v>
                </c:pt>
                <c:pt idx="16917">
                  <c:v>0.30171214553237002</c:v>
                </c:pt>
                <c:pt idx="16918">
                  <c:v>0.30172998038166499</c:v>
                </c:pt>
                <c:pt idx="16919">
                  <c:v>0.301747815230961</c:v>
                </c:pt>
                <c:pt idx="16920">
                  <c:v>0.30176565008025602</c:v>
                </c:pt>
                <c:pt idx="16921">
                  <c:v>0.30178348492955198</c:v>
                </c:pt>
                <c:pt idx="16922">
                  <c:v>0.301801319778847</c:v>
                </c:pt>
                <c:pt idx="16923">
                  <c:v>0.30181915462814302</c:v>
                </c:pt>
                <c:pt idx="16924">
                  <c:v>0.30183698947743798</c:v>
                </c:pt>
                <c:pt idx="16925">
                  <c:v>0.30185482432673399</c:v>
                </c:pt>
                <c:pt idx="16926">
                  <c:v>0.30187265917602901</c:v>
                </c:pt>
                <c:pt idx="16927">
                  <c:v>0.30189049402532497</c:v>
                </c:pt>
                <c:pt idx="16928">
                  <c:v>0.30190832887462099</c:v>
                </c:pt>
                <c:pt idx="16929">
                  <c:v>0.30192616372391601</c:v>
                </c:pt>
                <c:pt idx="16930">
                  <c:v>0.30194399857321202</c:v>
                </c:pt>
                <c:pt idx="16931">
                  <c:v>0.30196183342250699</c:v>
                </c:pt>
                <c:pt idx="16932">
                  <c:v>0.301979668271803</c:v>
                </c:pt>
                <c:pt idx="16933">
                  <c:v>0.30199750312109802</c:v>
                </c:pt>
                <c:pt idx="16934">
                  <c:v>0.30201533797039398</c:v>
                </c:pt>
                <c:pt idx="16935">
                  <c:v>0.302033172819689</c:v>
                </c:pt>
                <c:pt idx="16936">
                  <c:v>0.30205100766898502</c:v>
                </c:pt>
                <c:pt idx="16937">
                  <c:v>0.30206884251827998</c:v>
                </c:pt>
                <c:pt idx="16938">
                  <c:v>0.302086677367576</c:v>
                </c:pt>
                <c:pt idx="16939">
                  <c:v>0.30210451221687101</c:v>
                </c:pt>
                <c:pt idx="16940">
                  <c:v>0.30212234706616697</c:v>
                </c:pt>
                <c:pt idx="16941">
                  <c:v>0.30214018191546199</c:v>
                </c:pt>
                <c:pt idx="16942">
                  <c:v>0.30215801676475801</c:v>
                </c:pt>
                <c:pt idx="16943">
                  <c:v>0.30217585161405303</c:v>
                </c:pt>
                <c:pt idx="16944">
                  <c:v>0.30219368646334899</c:v>
                </c:pt>
                <c:pt idx="16945">
                  <c:v>0.302211521312644</c:v>
                </c:pt>
                <c:pt idx="16946">
                  <c:v>0.30222935616194002</c:v>
                </c:pt>
                <c:pt idx="16947">
                  <c:v>0.30224719101123598</c:v>
                </c:pt>
                <c:pt idx="16948">
                  <c:v>0.302265025860531</c:v>
                </c:pt>
                <c:pt idx="16949">
                  <c:v>0.30228286070982702</c:v>
                </c:pt>
                <c:pt idx="16950">
                  <c:v>0.30230069555912198</c:v>
                </c:pt>
                <c:pt idx="16951">
                  <c:v>0.302318530408418</c:v>
                </c:pt>
                <c:pt idx="16952">
                  <c:v>0.30233636525771301</c:v>
                </c:pt>
                <c:pt idx="16953">
                  <c:v>0.30235420010700897</c:v>
                </c:pt>
                <c:pt idx="16954">
                  <c:v>0.30237203495630399</c:v>
                </c:pt>
                <c:pt idx="16955">
                  <c:v>0.30238986980560001</c:v>
                </c:pt>
                <c:pt idx="16956">
                  <c:v>0.30240770465489503</c:v>
                </c:pt>
                <c:pt idx="16957">
                  <c:v>0.30242553950419099</c:v>
                </c:pt>
                <c:pt idx="16958">
                  <c:v>0.30244337435348601</c:v>
                </c:pt>
                <c:pt idx="16959">
                  <c:v>0.30246120920278202</c:v>
                </c:pt>
                <c:pt idx="16960">
                  <c:v>0.30247904405207698</c:v>
                </c:pt>
                <c:pt idx="16961">
                  <c:v>0.302496878901373</c:v>
                </c:pt>
                <c:pt idx="16962">
                  <c:v>0.30251471375066802</c:v>
                </c:pt>
                <c:pt idx="16963">
                  <c:v>0.30253254859996398</c:v>
                </c:pt>
                <c:pt idx="16964">
                  <c:v>0.302550383449259</c:v>
                </c:pt>
                <c:pt idx="16965">
                  <c:v>0.30256821829855501</c:v>
                </c:pt>
                <c:pt idx="16966">
                  <c:v>0.30258605314784998</c:v>
                </c:pt>
                <c:pt idx="16967">
                  <c:v>0.30260388799714599</c:v>
                </c:pt>
                <c:pt idx="16968">
                  <c:v>0.30262172284644101</c:v>
                </c:pt>
                <c:pt idx="16969">
                  <c:v>0.30263955769573703</c:v>
                </c:pt>
                <c:pt idx="16970">
                  <c:v>0.30265739254503299</c:v>
                </c:pt>
                <c:pt idx="16971">
                  <c:v>0.30267522739432801</c:v>
                </c:pt>
                <c:pt idx="16972">
                  <c:v>0.30269306224362402</c:v>
                </c:pt>
                <c:pt idx="16973">
                  <c:v>0.30271089709291898</c:v>
                </c:pt>
                <c:pt idx="16974">
                  <c:v>0.302728731942215</c:v>
                </c:pt>
                <c:pt idx="16975">
                  <c:v>0.30274656679151002</c:v>
                </c:pt>
                <c:pt idx="16976">
                  <c:v>0.30276440164080598</c:v>
                </c:pt>
                <c:pt idx="16977">
                  <c:v>0.302782236490101</c:v>
                </c:pt>
                <c:pt idx="16978">
                  <c:v>0.30280007133939701</c:v>
                </c:pt>
                <c:pt idx="16979">
                  <c:v>0.30281790618869198</c:v>
                </c:pt>
                <c:pt idx="16980">
                  <c:v>0.30283574103798799</c:v>
                </c:pt>
                <c:pt idx="16981">
                  <c:v>0.30285357588728301</c:v>
                </c:pt>
                <c:pt idx="16982">
                  <c:v>0.30287141073657903</c:v>
                </c:pt>
                <c:pt idx="16983">
                  <c:v>0.30288924558587399</c:v>
                </c:pt>
                <c:pt idx="16984">
                  <c:v>0.30290708043517001</c:v>
                </c:pt>
                <c:pt idx="16985">
                  <c:v>0.30292491528446502</c:v>
                </c:pt>
                <c:pt idx="16986">
                  <c:v>0.30294275013376099</c:v>
                </c:pt>
                <c:pt idx="16987">
                  <c:v>0.302960584983056</c:v>
                </c:pt>
                <c:pt idx="16988">
                  <c:v>0.30297841983235202</c:v>
                </c:pt>
                <c:pt idx="16989">
                  <c:v>0.30299625468164698</c:v>
                </c:pt>
                <c:pt idx="16990">
                  <c:v>0.303014089530943</c:v>
                </c:pt>
                <c:pt idx="16991">
                  <c:v>0.30303192438023802</c:v>
                </c:pt>
                <c:pt idx="16992">
                  <c:v>0.30304975922953398</c:v>
                </c:pt>
                <c:pt idx="16993">
                  <c:v>0.30306759407882999</c:v>
                </c:pt>
                <c:pt idx="16994">
                  <c:v>0.30308542892812501</c:v>
                </c:pt>
                <c:pt idx="16995">
                  <c:v>0.30310326377742097</c:v>
                </c:pt>
                <c:pt idx="16996">
                  <c:v>0.30312109862671599</c:v>
                </c:pt>
                <c:pt idx="16997">
                  <c:v>0.30313893347601201</c:v>
                </c:pt>
                <c:pt idx="16998">
                  <c:v>0.30315676832530702</c:v>
                </c:pt>
                <c:pt idx="16999">
                  <c:v>0.30317460317460299</c:v>
                </c:pt>
                <c:pt idx="17000">
                  <c:v>0.303192438023898</c:v>
                </c:pt>
                <c:pt idx="17001">
                  <c:v>0.30321027287319402</c:v>
                </c:pt>
                <c:pt idx="17002">
                  <c:v>0.30322810772248898</c:v>
                </c:pt>
                <c:pt idx="17003">
                  <c:v>0.303245942571785</c:v>
                </c:pt>
                <c:pt idx="17004">
                  <c:v>0.30326377742108002</c:v>
                </c:pt>
                <c:pt idx="17005">
                  <c:v>0.30328161227037598</c:v>
                </c:pt>
                <c:pt idx="17006">
                  <c:v>0.303299447119671</c:v>
                </c:pt>
                <c:pt idx="17007">
                  <c:v>0.30331728196896701</c:v>
                </c:pt>
                <c:pt idx="17008">
                  <c:v>0.30333511681826197</c:v>
                </c:pt>
                <c:pt idx="17009">
                  <c:v>0.30335295166755799</c:v>
                </c:pt>
                <c:pt idx="17010">
                  <c:v>0.30337078651685301</c:v>
                </c:pt>
                <c:pt idx="17011">
                  <c:v>0.30338862136614902</c:v>
                </c:pt>
                <c:pt idx="17012">
                  <c:v>0.30340645621544499</c:v>
                </c:pt>
                <c:pt idx="17013">
                  <c:v>0.30342429106474</c:v>
                </c:pt>
                <c:pt idx="17014">
                  <c:v>0.30344212591403602</c:v>
                </c:pt>
                <c:pt idx="17015">
                  <c:v>0.30345996076333098</c:v>
                </c:pt>
                <c:pt idx="17016">
                  <c:v>0.303477795612627</c:v>
                </c:pt>
                <c:pt idx="17017">
                  <c:v>0.30349563046192202</c:v>
                </c:pt>
                <c:pt idx="17018">
                  <c:v>0.30351346531121798</c:v>
                </c:pt>
                <c:pt idx="17019">
                  <c:v>0.303531300160513</c:v>
                </c:pt>
                <c:pt idx="17020">
                  <c:v>0.30354913500980901</c:v>
                </c:pt>
                <c:pt idx="17021">
                  <c:v>0.30356696985910397</c:v>
                </c:pt>
                <c:pt idx="17022">
                  <c:v>0.30358480470839999</c:v>
                </c:pt>
                <c:pt idx="17023">
                  <c:v>0.30360263955769501</c:v>
                </c:pt>
                <c:pt idx="17024">
                  <c:v>0.30362047440699103</c:v>
                </c:pt>
                <c:pt idx="17025">
                  <c:v>0.30363830925628599</c:v>
                </c:pt>
                <c:pt idx="17026">
                  <c:v>0.303656144105582</c:v>
                </c:pt>
                <c:pt idx="17027">
                  <c:v>0.30367397895487702</c:v>
                </c:pt>
                <c:pt idx="17028">
                  <c:v>0.30369181380417298</c:v>
                </c:pt>
                <c:pt idx="17029">
                  <c:v>0.303709648653468</c:v>
                </c:pt>
                <c:pt idx="17030">
                  <c:v>0.30372748350276402</c:v>
                </c:pt>
                <c:pt idx="17031">
                  <c:v>0.30374531835205898</c:v>
                </c:pt>
                <c:pt idx="17032">
                  <c:v>0.303763153201355</c:v>
                </c:pt>
                <c:pt idx="17033">
                  <c:v>0.30378098805065001</c:v>
                </c:pt>
                <c:pt idx="17034">
                  <c:v>0.30379882289994597</c:v>
                </c:pt>
                <c:pt idx="17035">
                  <c:v>0.30381665774924199</c:v>
                </c:pt>
                <c:pt idx="17036">
                  <c:v>0.30383449259853701</c:v>
                </c:pt>
                <c:pt idx="17037">
                  <c:v>0.30385232744783303</c:v>
                </c:pt>
                <c:pt idx="17038">
                  <c:v>0.30387016229712799</c:v>
                </c:pt>
                <c:pt idx="17039">
                  <c:v>0.303887997146424</c:v>
                </c:pt>
                <c:pt idx="17040">
                  <c:v>0.30390583199571902</c:v>
                </c:pt>
                <c:pt idx="17041">
                  <c:v>0.30392366684501498</c:v>
                </c:pt>
                <c:pt idx="17042">
                  <c:v>0.30394150169431</c:v>
                </c:pt>
                <c:pt idx="17043">
                  <c:v>0.30395933654360602</c:v>
                </c:pt>
                <c:pt idx="17044">
                  <c:v>0.30397717139290098</c:v>
                </c:pt>
                <c:pt idx="17045">
                  <c:v>0.303995006242197</c:v>
                </c:pt>
                <c:pt idx="17046">
                  <c:v>0.30401284109149201</c:v>
                </c:pt>
                <c:pt idx="17047">
                  <c:v>0.30403067594078798</c:v>
                </c:pt>
                <c:pt idx="17048">
                  <c:v>0.30404851079008299</c:v>
                </c:pt>
                <c:pt idx="17049">
                  <c:v>0.30406634563937901</c:v>
                </c:pt>
                <c:pt idx="17050">
                  <c:v>0.30408418048867403</c:v>
                </c:pt>
                <c:pt idx="17051">
                  <c:v>0.30410201533796999</c:v>
                </c:pt>
                <c:pt idx="17052">
                  <c:v>0.30411985018726501</c:v>
                </c:pt>
                <c:pt idx="17053">
                  <c:v>0.30413768503656102</c:v>
                </c:pt>
                <c:pt idx="17054">
                  <c:v>0.30415551988585698</c:v>
                </c:pt>
                <c:pt idx="17055">
                  <c:v>0.304173354735152</c:v>
                </c:pt>
                <c:pt idx="17056">
                  <c:v>0.30419118958444802</c:v>
                </c:pt>
                <c:pt idx="17057">
                  <c:v>0.30420902443374298</c:v>
                </c:pt>
                <c:pt idx="17058">
                  <c:v>0.304226859283039</c:v>
                </c:pt>
                <c:pt idx="17059">
                  <c:v>0.30424469413233401</c:v>
                </c:pt>
                <c:pt idx="17060">
                  <c:v>0.30426252898162998</c:v>
                </c:pt>
                <c:pt idx="17061">
                  <c:v>0.30428036383092499</c:v>
                </c:pt>
                <c:pt idx="17062">
                  <c:v>0.30429819868022101</c:v>
                </c:pt>
                <c:pt idx="17063">
                  <c:v>0.30431603352951597</c:v>
                </c:pt>
                <c:pt idx="17064">
                  <c:v>0.30433386837881199</c:v>
                </c:pt>
                <c:pt idx="17065">
                  <c:v>0.30435170322810701</c:v>
                </c:pt>
                <c:pt idx="17066">
                  <c:v>0.30436953807740302</c:v>
                </c:pt>
                <c:pt idx="17067">
                  <c:v>0.30438737292669799</c:v>
                </c:pt>
                <c:pt idx="17068">
                  <c:v>0.304405207775994</c:v>
                </c:pt>
                <c:pt idx="17069">
                  <c:v>0.30442304262528902</c:v>
                </c:pt>
                <c:pt idx="17070">
                  <c:v>0.30444087747458498</c:v>
                </c:pt>
                <c:pt idx="17071">
                  <c:v>0.30445871232388</c:v>
                </c:pt>
                <c:pt idx="17072">
                  <c:v>0.30447654717317602</c:v>
                </c:pt>
                <c:pt idx="17073">
                  <c:v>0.30449438202247098</c:v>
                </c:pt>
                <c:pt idx="17074">
                  <c:v>0.30451221687176699</c:v>
                </c:pt>
                <c:pt idx="17075">
                  <c:v>0.30453005172106201</c:v>
                </c:pt>
                <c:pt idx="17076">
                  <c:v>0.30454788657035797</c:v>
                </c:pt>
                <c:pt idx="17077">
                  <c:v>0.30456572141965399</c:v>
                </c:pt>
                <c:pt idx="17078">
                  <c:v>0.30458355626894901</c:v>
                </c:pt>
                <c:pt idx="17079">
                  <c:v>0.30460139111824502</c:v>
                </c:pt>
                <c:pt idx="17080">
                  <c:v>0.30461922596753999</c:v>
                </c:pt>
                <c:pt idx="17081">
                  <c:v>0.304637060816836</c:v>
                </c:pt>
                <c:pt idx="17082">
                  <c:v>0.30465489566613102</c:v>
                </c:pt>
                <c:pt idx="17083">
                  <c:v>0.30467273051542698</c:v>
                </c:pt>
                <c:pt idx="17084">
                  <c:v>0.304690565364722</c:v>
                </c:pt>
                <c:pt idx="17085">
                  <c:v>0.30470840021401802</c:v>
                </c:pt>
                <c:pt idx="17086">
                  <c:v>0.30472623506331298</c:v>
                </c:pt>
                <c:pt idx="17087">
                  <c:v>0.30474406991260899</c:v>
                </c:pt>
                <c:pt idx="17088">
                  <c:v>0.30476190476190401</c:v>
                </c:pt>
                <c:pt idx="17089">
                  <c:v>0.30477973961119997</c:v>
                </c:pt>
                <c:pt idx="17090">
                  <c:v>0.30479757446049499</c:v>
                </c:pt>
                <c:pt idx="17091">
                  <c:v>0.30481540930979101</c:v>
                </c:pt>
                <c:pt idx="17092">
                  <c:v>0.30483324415908603</c:v>
                </c:pt>
                <c:pt idx="17093">
                  <c:v>0.30485107900838199</c:v>
                </c:pt>
                <c:pt idx="17094">
                  <c:v>0.304868913857677</c:v>
                </c:pt>
                <c:pt idx="17095">
                  <c:v>0.30488674870697302</c:v>
                </c:pt>
                <c:pt idx="17096">
                  <c:v>0.30490458355626798</c:v>
                </c:pt>
                <c:pt idx="17097">
                  <c:v>0.304922418405564</c:v>
                </c:pt>
                <c:pt idx="17098">
                  <c:v>0.30494025325486002</c:v>
                </c:pt>
                <c:pt idx="17099">
                  <c:v>0.30495808810415498</c:v>
                </c:pt>
                <c:pt idx="17100">
                  <c:v>0.304975922953451</c:v>
                </c:pt>
                <c:pt idx="17101">
                  <c:v>0.30499375780274601</c:v>
                </c:pt>
                <c:pt idx="17102">
                  <c:v>0.30501159265204197</c:v>
                </c:pt>
                <c:pt idx="17103">
                  <c:v>0.30502942750133699</c:v>
                </c:pt>
                <c:pt idx="17104">
                  <c:v>0.30504726235063301</c:v>
                </c:pt>
                <c:pt idx="17105">
                  <c:v>0.30506509719992803</c:v>
                </c:pt>
                <c:pt idx="17106">
                  <c:v>0.30508293204922399</c:v>
                </c:pt>
                <c:pt idx="17107">
                  <c:v>0.305100766898519</c:v>
                </c:pt>
                <c:pt idx="17108">
                  <c:v>0.30511860174781502</c:v>
                </c:pt>
                <c:pt idx="17109">
                  <c:v>0.30513643659710998</c:v>
                </c:pt>
                <c:pt idx="17110">
                  <c:v>0.305154271446406</c:v>
                </c:pt>
                <c:pt idx="17111">
                  <c:v>0.30517210629570102</c:v>
                </c:pt>
                <c:pt idx="17112">
                  <c:v>0.30518994114499698</c:v>
                </c:pt>
                <c:pt idx="17113">
                  <c:v>0.305207775994292</c:v>
                </c:pt>
                <c:pt idx="17114">
                  <c:v>0.30522561084358801</c:v>
                </c:pt>
                <c:pt idx="17115">
                  <c:v>0.30524344569288298</c:v>
                </c:pt>
                <c:pt idx="17116">
                  <c:v>0.30526128054217899</c:v>
                </c:pt>
                <c:pt idx="17117">
                  <c:v>0.30527911539147401</c:v>
                </c:pt>
                <c:pt idx="17118">
                  <c:v>0.30529695024077003</c:v>
                </c:pt>
                <c:pt idx="17119">
                  <c:v>0.30531478509006599</c:v>
                </c:pt>
                <c:pt idx="17120">
                  <c:v>0.30533261993936101</c:v>
                </c:pt>
                <c:pt idx="17121">
                  <c:v>0.30535045478865702</c:v>
                </c:pt>
                <c:pt idx="17122">
                  <c:v>0.30536828963795198</c:v>
                </c:pt>
                <c:pt idx="17123">
                  <c:v>0.305386124487248</c:v>
                </c:pt>
                <c:pt idx="17124">
                  <c:v>0.30540395933654302</c:v>
                </c:pt>
                <c:pt idx="17125">
                  <c:v>0.30542179418583898</c:v>
                </c:pt>
                <c:pt idx="17126">
                  <c:v>0.305439629035134</c:v>
                </c:pt>
                <c:pt idx="17127">
                  <c:v>0.30545746388443001</c:v>
                </c:pt>
                <c:pt idx="17128">
                  <c:v>0.30547529873372498</c:v>
                </c:pt>
                <c:pt idx="17129">
                  <c:v>0.30549313358302099</c:v>
                </c:pt>
                <c:pt idx="17130">
                  <c:v>0.30551096843231601</c:v>
                </c:pt>
                <c:pt idx="17131">
                  <c:v>0.30552880328161203</c:v>
                </c:pt>
                <c:pt idx="17132">
                  <c:v>0.30554663813090699</c:v>
                </c:pt>
                <c:pt idx="17133">
                  <c:v>0.30556447298020301</c:v>
                </c:pt>
                <c:pt idx="17134">
                  <c:v>0.30558230782949802</c:v>
                </c:pt>
                <c:pt idx="17135">
                  <c:v>0.30560014267879398</c:v>
                </c:pt>
                <c:pt idx="17136">
                  <c:v>0.305617977528089</c:v>
                </c:pt>
                <c:pt idx="17137">
                  <c:v>0.30563581237738502</c:v>
                </c:pt>
                <c:pt idx="17138">
                  <c:v>0.30565364722667998</c:v>
                </c:pt>
                <c:pt idx="17139">
                  <c:v>0.305671482075976</c:v>
                </c:pt>
                <c:pt idx="17140">
                  <c:v>0.30568931692527102</c:v>
                </c:pt>
                <c:pt idx="17141">
                  <c:v>0.30570715177456698</c:v>
                </c:pt>
                <c:pt idx="17142">
                  <c:v>0.30572498662386299</c:v>
                </c:pt>
                <c:pt idx="17143">
                  <c:v>0.30574282147315801</c:v>
                </c:pt>
                <c:pt idx="17144">
                  <c:v>0.30576065632245403</c:v>
                </c:pt>
                <c:pt idx="17145">
                  <c:v>0.30577849117174899</c:v>
                </c:pt>
                <c:pt idx="17146">
                  <c:v>0.30579632602104501</c:v>
                </c:pt>
                <c:pt idx="17147">
                  <c:v>0.30581416087034002</c:v>
                </c:pt>
                <c:pt idx="17148">
                  <c:v>0.30583199571963599</c:v>
                </c:pt>
                <c:pt idx="17149">
                  <c:v>0.305849830568931</c:v>
                </c:pt>
                <c:pt idx="17150">
                  <c:v>0.30586766541822702</c:v>
                </c:pt>
                <c:pt idx="17151">
                  <c:v>0.30588550026752198</c:v>
                </c:pt>
                <c:pt idx="17152">
                  <c:v>0.305903335116818</c:v>
                </c:pt>
                <c:pt idx="17153">
                  <c:v>0.30592116996611302</c:v>
                </c:pt>
                <c:pt idx="17154">
                  <c:v>0.30593900481540898</c:v>
                </c:pt>
                <c:pt idx="17155">
                  <c:v>0.30595683966470399</c:v>
                </c:pt>
                <c:pt idx="17156">
                  <c:v>0.30597467451400001</c:v>
                </c:pt>
                <c:pt idx="17157">
                  <c:v>0.30599250936329497</c:v>
                </c:pt>
                <c:pt idx="17158">
                  <c:v>0.30601034421259099</c:v>
                </c:pt>
                <c:pt idx="17159">
                  <c:v>0.30602817906188601</c:v>
                </c:pt>
                <c:pt idx="17160">
                  <c:v>0.30604601391118202</c:v>
                </c:pt>
                <c:pt idx="17161">
                  <c:v>0.30606384876047799</c:v>
                </c:pt>
                <c:pt idx="17162">
                  <c:v>0.306081683609773</c:v>
                </c:pt>
                <c:pt idx="17163">
                  <c:v>0.30609951845906902</c:v>
                </c:pt>
                <c:pt idx="17164">
                  <c:v>0.30611735330836398</c:v>
                </c:pt>
                <c:pt idx="17165">
                  <c:v>0.30613518815766</c:v>
                </c:pt>
                <c:pt idx="17166">
                  <c:v>0.30615302300695502</c:v>
                </c:pt>
                <c:pt idx="17167">
                  <c:v>0.30617085785625098</c:v>
                </c:pt>
                <c:pt idx="17168">
                  <c:v>0.306188692705546</c:v>
                </c:pt>
                <c:pt idx="17169">
                  <c:v>0.30620652755484201</c:v>
                </c:pt>
                <c:pt idx="17170">
                  <c:v>0.30622436240413697</c:v>
                </c:pt>
                <c:pt idx="17171">
                  <c:v>0.30624219725343299</c:v>
                </c:pt>
                <c:pt idx="17172">
                  <c:v>0.30626003210272801</c:v>
                </c:pt>
                <c:pt idx="17173">
                  <c:v>0.30627786695202402</c:v>
                </c:pt>
                <c:pt idx="17174">
                  <c:v>0.30629570180131899</c:v>
                </c:pt>
                <c:pt idx="17175">
                  <c:v>0.306313536650615</c:v>
                </c:pt>
                <c:pt idx="17176">
                  <c:v>0.30633137149991002</c:v>
                </c:pt>
                <c:pt idx="17177">
                  <c:v>0.30634920634920598</c:v>
                </c:pt>
                <c:pt idx="17178">
                  <c:v>0.306367041198501</c:v>
                </c:pt>
                <c:pt idx="17179">
                  <c:v>0.30638487604779702</c:v>
                </c:pt>
                <c:pt idx="17180">
                  <c:v>0.30640271089709198</c:v>
                </c:pt>
                <c:pt idx="17181">
                  <c:v>0.306420545746388</c:v>
                </c:pt>
                <c:pt idx="17182">
                  <c:v>0.30643838059568301</c:v>
                </c:pt>
                <c:pt idx="17183">
                  <c:v>0.30645621544497897</c:v>
                </c:pt>
                <c:pt idx="17184">
                  <c:v>0.30647405029427499</c:v>
                </c:pt>
                <c:pt idx="17185">
                  <c:v>0.30649188514357001</c:v>
                </c:pt>
                <c:pt idx="17186">
                  <c:v>0.30650971999286603</c:v>
                </c:pt>
                <c:pt idx="17187">
                  <c:v>0.30652755484216099</c:v>
                </c:pt>
                <c:pt idx="17188">
                  <c:v>0.306545389691457</c:v>
                </c:pt>
                <c:pt idx="17189">
                  <c:v>0.30656322454075202</c:v>
                </c:pt>
                <c:pt idx="17190">
                  <c:v>0.30658105939004798</c:v>
                </c:pt>
                <c:pt idx="17191">
                  <c:v>0.306598894239343</c:v>
                </c:pt>
                <c:pt idx="17192">
                  <c:v>0.30661672908863902</c:v>
                </c:pt>
                <c:pt idx="17193">
                  <c:v>0.30663456393793398</c:v>
                </c:pt>
                <c:pt idx="17194">
                  <c:v>0.30665239878723</c:v>
                </c:pt>
                <c:pt idx="17195">
                  <c:v>0.30667023363652501</c:v>
                </c:pt>
                <c:pt idx="17196">
                  <c:v>0.30668806848582097</c:v>
                </c:pt>
                <c:pt idx="17197">
                  <c:v>0.30670590333511599</c:v>
                </c:pt>
                <c:pt idx="17198">
                  <c:v>0.30672373818441201</c:v>
                </c:pt>
                <c:pt idx="17199">
                  <c:v>0.30674157303370703</c:v>
                </c:pt>
                <c:pt idx="17200">
                  <c:v>0.30675940788300299</c:v>
                </c:pt>
                <c:pt idx="17201">
                  <c:v>0.30677724273229801</c:v>
                </c:pt>
                <c:pt idx="17202">
                  <c:v>0.30679507758159402</c:v>
                </c:pt>
                <c:pt idx="17203">
                  <c:v>0.30681291243088998</c:v>
                </c:pt>
                <c:pt idx="17204">
                  <c:v>0.306830747280185</c:v>
                </c:pt>
                <c:pt idx="17205">
                  <c:v>0.30684858212948102</c:v>
                </c:pt>
                <c:pt idx="17206">
                  <c:v>0.30686641697877598</c:v>
                </c:pt>
                <c:pt idx="17207">
                  <c:v>0.306884251828072</c:v>
                </c:pt>
                <c:pt idx="17208">
                  <c:v>0.30690208667736701</c:v>
                </c:pt>
                <c:pt idx="17209">
                  <c:v>0.30691992152666298</c:v>
                </c:pt>
                <c:pt idx="17210">
                  <c:v>0.30693775637595799</c:v>
                </c:pt>
                <c:pt idx="17211">
                  <c:v>0.30695559122525401</c:v>
                </c:pt>
                <c:pt idx="17212">
                  <c:v>0.30697342607454903</c:v>
                </c:pt>
                <c:pt idx="17213">
                  <c:v>0.30699126092384499</c:v>
                </c:pt>
                <c:pt idx="17214">
                  <c:v>0.30700909577314001</c:v>
                </c:pt>
                <c:pt idx="17215">
                  <c:v>0.30702693062243602</c:v>
                </c:pt>
                <c:pt idx="17216">
                  <c:v>0.30704476547173098</c:v>
                </c:pt>
                <c:pt idx="17217">
                  <c:v>0.307062600321027</c:v>
                </c:pt>
                <c:pt idx="17218">
                  <c:v>0.30708043517032202</c:v>
                </c:pt>
                <c:pt idx="17219">
                  <c:v>0.30709827001961798</c:v>
                </c:pt>
                <c:pt idx="17220">
                  <c:v>0.307116104868913</c:v>
                </c:pt>
                <c:pt idx="17221">
                  <c:v>0.30713393971820901</c:v>
                </c:pt>
                <c:pt idx="17222">
                  <c:v>0.30715177456750398</c:v>
                </c:pt>
                <c:pt idx="17223">
                  <c:v>0.30716960941679999</c:v>
                </c:pt>
                <c:pt idx="17224">
                  <c:v>0.30718744426609501</c:v>
                </c:pt>
                <c:pt idx="17225">
                  <c:v>0.30720527911539097</c:v>
                </c:pt>
                <c:pt idx="17226">
                  <c:v>0.30722311396468699</c:v>
                </c:pt>
                <c:pt idx="17227">
                  <c:v>0.30724094881398201</c:v>
                </c:pt>
                <c:pt idx="17228">
                  <c:v>0.30725878366327802</c:v>
                </c:pt>
                <c:pt idx="17229">
                  <c:v>0.30727661851257299</c:v>
                </c:pt>
                <c:pt idx="17230">
                  <c:v>0.307294453361869</c:v>
                </c:pt>
                <c:pt idx="17231">
                  <c:v>0.30731228821116402</c:v>
                </c:pt>
                <c:pt idx="17232">
                  <c:v>0.30733012306045998</c:v>
                </c:pt>
                <c:pt idx="17233">
                  <c:v>0.307347957909755</c:v>
                </c:pt>
                <c:pt idx="17234">
                  <c:v>0.30736579275905102</c:v>
                </c:pt>
                <c:pt idx="17235">
                  <c:v>0.30738362760834598</c:v>
                </c:pt>
                <c:pt idx="17236">
                  <c:v>0.30740146245764199</c:v>
                </c:pt>
                <c:pt idx="17237">
                  <c:v>0.30741929730693701</c:v>
                </c:pt>
                <c:pt idx="17238">
                  <c:v>0.30743713215623297</c:v>
                </c:pt>
                <c:pt idx="17239">
                  <c:v>0.30745496700552799</c:v>
                </c:pt>
                <c:pt idx="17240">
                  <c:v>0.30747280185482401</c:v>
                </c:pt>
                <c:pt idx="17241">
                  <c:v>0.30749063670411902</c:v>
                </c:pt>
                <c:pt idx="17242">
                  <c:v>0.30750847155341499</c:v>
                </c:pt>
                <c:pt idx="17243">
                  <c:v>0.30752630640271</c:v>
                </c:pt>
                <c:pt idx="17244">
                  <c:v>0.30754414125200602</c:v>
                </c:pt>
                <c:pt idx="17245">
                  <c:v>0.30756197610130098</c:v>
                </c:pt>
                <c:pt idx="17246">
                  <c:v>0.307579810950597</c:v>
                </c:pt>
                <c:pt idx="17247">
                  <c:v>0.30759764579989302</c:v>
                </c:pt>
                <c:pt idx="17248">
                  <c:v>0.30761548064918798</c:v>
                </c:pt>
                <c:pt idx="17249">
                  <c:v>0.30763331549848399</c:v>
                </c:pt>
                <c:pt idx="17250">
                  <c:v>0.30765115034777901</c:v>
                </c:pt>
                <c:pt idx="17251">
                  <c:v>0.30766898519707497</c:v>
                </c:pt>
                <c:pt idx="17252">
                  <c:v>0.30768682004636999</c:v>
                </c:pt>
                <c:pt idx="17253">
                  <c:v>0.30770465489566601</c:v>
                </c:pt>
                <c:pt idx="17254">
                  <c:v>0.30772248974496103</c:v>
                </c:pt>
                <c:pt idx="17255">
                  <c:v>0.30774032459425699</c:v>
                </c:pt>
                <c:pt idx="17256">
                  <c:v>0.307758159443552</c:v>
                </c:pt>
                <c:pt idx="17257">
                  <c:v>0.30777599429284802</c:v>
                </c:pt>
                <c:pt idx="17258">
                  <c:v>0.30779382914214298</c:v>
                </c:pt>
                <c:pt idx="17259">
                  <c:v>0.307811663991439</c:v>
                </c:pt>
                <c:pt idx="17260">
                  <c:v>0.30782949884073402</c:v>
                </c:pt>
                <c:pt idx="17261">
                  <c:v>0.30784733369002998</c:v>
                </c:pt>
                <c:pt idx="17262">
                  <c:v>0.307865168539325</c:v>
                </c:pt>
                <c:pt idx="17263">
                  <c:v>0.30788300338862101</c:v>
                </c:pt>
                <c:pt idx="17264">
                  <c:v>0.30790083823791597</c:v>
                </c:pt>
                <c:pt idx="17265">
                  <c:v>0.30791867308721199</c:v>
                </c:pt>
                <c:pt idx="17266">
                  <c:v>0.30793650793650701</c:v>
                </c:pt>
                <c:pt idx="17267">
                  <c:v>0.30795434278580303</c:v>
                </c:pt>
                <c:pt idx="17268">
                  <c:v>0.30797217763509899</c:v>
                </c:pt>
                <c:pt idx="17269">
                  <c:v>0.307990012484394</c:v>
                </c:pt>
                <c:pt idx="17270">
                  <c:v>0.30800784733369002</c:v>
                </c:pt>
                <c:pt idx="17271">
                  <c:v>0.30802568218298498</c:v>
                </c:pt>
                <c:pt idx="17272">
                  <c:v>0.308043517032281</c:v>
                </c:pt>
                <c:pt idx="17273">
                  <c:v>0.30806135188157602</c:v>
                </c:pt>
                <c:pt idx="17274">
                  <c:v>0.30807918673087198</c:v>
                </c:pt>
                <c:pt idx="17275">
                  <c:v>0.308097021580167</c:v>
                </c:pt>
                <c:pt idx="17276">
                  <c:v>0.30811485642946301</c:v>
                </c:pt>
                <c:pt idx="17277">
                  <c:v>0.30813269127875798</c:v>
                </c:pt>
                <c:pt idx="17278">
                  <c:v>0.30815052612805399</c:v>
                </c:pt>
                <c:pt idx="17279">
                  <c:v>0.30816836097734901</c:v>
                </c:pt>
                <c:pt idx="17280">
                  <c:v>0.30818619582664503</c:v>
                </c:pt>
                <c:pt idx="17281">
                  <c:v>0.30820403067593999</c:v>
                </c:pt>
                <c:pt idx="17282">
                  <c:v>0.30822186552523601</c:v>
                </c:pt>
                <c:pt idx="17283">
                  <c:v>0.30823970037453102</c:v>
                </c:pt>
                <c:pt idx="17284">
                  <c:v>0.30825753522382698</c:v>
                </c:pt>
                <c:pt idx="17285">
                  <c:v>0.308275370073122</c:v>
                </c:pt>
                <c:pt idx="17286">
                  <c:v>0.30829320492241802</c:v>
                </c:pt>
                <c:pt idx="17287">
                  <c:v>0.30831103977171298</c:v>
                </c:pt>
                <c:pt idx="17288">
                  <c:v>0.308328874621009</c:v>
                </c:pt>
                <c:pt idx="17289">
                  <c:v>0.30834670947030401</c:v>
                </c:pt>
                <c:pt idx="17290">
                  <c:v>0.30836454431959998</c:v>
                </c:pt>
                <c:pt idx="17291">
                  <c:v>0.30838237916889599</c:v>
                </c:pt>
                <c:pt idx="17292">
                  <c:v>0.30840021401819101</c:v>
                </c:pt>
                <c:pt idx="17293">
                  <c:v>0.30841804886748703</c:v>
                </c:pt>
                <c:pt idx="17294">
                  <c:v>0.30843588371678199</c:v>
                </c:pt>
                <c:pt idx="17295">
                  <c:v>0.30845371856607801</c:v>
                </c:pt>
                <c:pt idx="17296">
                  <c:v>0.30847155341537302</c:v>
                </c:pt>
                <c:pt idx="17297">
                  <c:v>0.30848938826466898</c:v>
                </c:pt>
                <c:pt idx="17298">
                  <c:v>0.308507223113964</c:v>
                </c:pt>
                <c:pt idx="17299">
                  <c:v>0.30852505796326002</c:v>
                </c:pt>
                <c:pt idx="17300">
                  <c:v>0.30854289281255498</c:v>
                </c:pt>
                <c:pt idx="17301">
                  <c:v>0.308560727661851</c:v>
                </c:pt>
                <c:pt idx="17302">
                  <c:v>0.30857856251114602</c:v>
                </c:pt>
                <c:pt idx="17303">
                  <c:v>0.30859639736044198</c:v>
                </c:pt>
                <c:pt idx="17304">
                  <c:v>0.30861423220973699</c:v>
                </c:pt>
                <c:pt idx="17305">
                  <c:v>0.30863206705903301</c:v>
                </c:pt>
                <c:pt idx="17306">
                  <c:v>0.30864990190832797</c:v>
                </c:pt>
                <c:pt idx="17307">
                  <c:v>0.30866773675762399</c:v>
                </c:pt>
                <c:pt idx="17308">
                  <c:v>0.30868557160691901</c:v>
                </c:pt>
                <c:pt idx="17309">
                  <c:v>0.30870340645621502</c:v>
                </c:pt>
                <c:pt idx="17310">
                  <c:v>0.30872124130551098</c:v>
                </c:pt>
                <c:pt idx="17311">
                  <c:v>0.308739076154806</c:v>
                </c:pt>
                <c:pt idx="17312">
                  <c:v>0.30875691100410202</c:v>
                </c:pt>
                <c:pt idx="17313">
                  <c:v>0.30877474585339698</c:v>
                </c:pt>
                <c:pt idx="17314">
                  <c:v>0.308792580702693</c:v>
                </c:pt>
                <c:pt idx="17315">
                  <c:v>0.30881041555198802</c:v>
                </c:pt>
                <c:pt idx="17316">
                  <c:v>0.30882825040128398</c:v>
                </c:pt>
                <c:pt idx="17317">
                  <c:v>0.30884608525057899</c:v>
                </c:pt>
                <c:pt idx="17318">
                  <c:v>0.30886392009987501</c:v>
                </c:pt>
                <c:pt idx="17319">
                  <c:v>0.30888175494916997</c:v>
                </c:pt>
                <c:pt idx="17320">
                  <c:v>0.30889958979846599</c:v>
                </c:pt>
                <c:pt idx="17321">
                  <c:v>0.30891742464776101</c:v>
                </c:pt>
                <c:pt idx="17322">
                  <c:v>0.30893525949705702</c:v>
                </c:pt>
                <c:pt idx="17323">
                  <c:v>0.30895309434635199</c:v>
                </c:pt>
                <c:pt idx="17324">
                  <c:v>0.308970929195648</c:v>
                </c:pt>
                <c:pt idx="17325">
                  <c:v>0.30898876404494302</c:v>
                </c:pt>
                <c:pt idx="17326">
                  <c:v>0.30900659889423898</c:v>
                </c:pt>
                <c:pt idx="17327">
                  <c:v>0.309024433743534</c:v>
                </c:pt>
                <c:pt idx="17328">
                  <c:v>0.30904226859283002</c:v>
                </c:pt>
                <c:pt idx="17329">
                  <c:v>0.30906010344212498</c:v>
                </c:pt>
                <c:pt idx="17330">
                  <c:v>0.30907793829142099</c:v>
                </c:pt>
                <c:pt idx="17331">
                  <c:v>0.30909577314071601</c:v>
                </c:pt>
                <c:pt idx="17332">
                  <c:v>0.30911360799001197</c:v>
                </c:pt>
                <c:pt idx="17333">
                  <c:v>0.30913144283930799</c:v>
                </c:pt>
                <c:pt idx="17334">
                  <c:v>0.30914927768860301</c:v>
                </c:pt>
                <c:pt idx="17335">
                  <c:v>0.30916711253789902</c:v>
                </c:pt>
                <c:pt idx="17336">
                  <c:v>0.30918494738719399</c:v>
                </c:pt>
                <c:pt idx="17337">
                  <c:v>0.30920278223649</c:v>
                </c:pt>
                <c:pt idx="17338">
                  <c:v>0.30922061708578502</c:v>
                </c:pt>
                <c:pt idx="17339">
                  <c:v>0.30923845193508098</c:v>
                </c:pt>
                <c:pt idx="17340">
                  <c:v>0.309256286784376</c:v>
                </c:pt>
                <c:pt idx="17341">
                  <c:v>0.30927412163367202</c:v>
                </c:pt>
                <c:pt idx="17342">
                  <c:v>0.30929195648296698</c:v>
                </c:pt>
                <c:pt idx="17343">
                  <c:v>0.309309791332263</c:v>
                </c:pt>
                <c:pt idx="17344">
                  <c:v>0.30932762618155801</c:v>
                </c:pt>
                <c:pt idx="17345">
                  <c:v>0.30934546103085397</c:v>
                </c:pt>
                <c:pt idx="17346">
                  <c:v>0.30936329588014899</c:v>
                </c:pt>
                <c:pt idx="17347">
                  <c:v>0.30938113072944501</c:v>
                </c:pt>
                <c:pt idx="17348">
                  <c:v>0.30939896557874003</c:v>
                </c:pt>
                <c:pt idx="17349">
                  <c:v>0.30941680042803599</c:v>
                </c:pt>
                <c:pt idx="17350">
                  <c:v>0.309434635277331</c:v>
                </c:pt>
                <c:pt idx="17351">
                  <c:v>0.30945247012662702</c:v>
                </c:pt>
                <c:pt idx="17352">
                  <c:v>0.30947030497592198</c:v>
                </c:pt>
                <c:pt idx="17353">
                  <c:v>0.309488139825218</c:v>
                </c:pt>
                <c:pt idx="17354">
                  <c:v>0.30950597467451402</c:v>
                </c:pt>
                <c:pt idx="17355">
                  <c:v>0.30952380952380898</c:v>
                </c:pt>
                <c:pt idx="17356">
                  <c:v>0.309541644373105</c:v>
                </c:pt>
                <c:pt idx="17357">
                  <c:v>0.30955947922240001</c:v>
                </c:pt>
                <c:pt idx="17358">
                  <c:v>0.30957731407169597</c:v>
                </c:pt>
                <c:pt idx="17359">
                  <c:v>0.30959514892099099</c:v>
                </c:pt>
                <c:pt idx="17360">
                  <c:v>0.30961298377028701</c:v>
                </c:pt>
                <c:pt idx="17361">
                  <c:v>0.30963081861958203</c:v>
                </c:pt>
                <c:pt idx="17362">
                  <c:v>0.30964865346887799</c:v>
                </c:pt>
                <c:pt idx="17363">
                  <c:v>0.30966648831817301</c:v>
                </c:pt>
                <c:pt idx="17364">
                  <c:v>0.30968432316746902</c:v>
                </c:pt>
                <c:pt idx="17365">
                  <c:v>0.30970215801676398</c:v>
                </c:pt>
                <c:pt idx="17366">
                  <c:v>0.30971999286606</c:v>
                </c:pt>
                <c:pt idx="17367">
                  <c:v>0.30973782771535502</c:v>
                </c:pt>
                <c:pt idx="17368">
                  <c:v>0.30975566256465098</c:v>
                </c:pt>
                <c:pt idx="17369">
                  <c:v>0.309773497413946</c:v>
                </c:pt>
                <c:pt idx="17370">
                  <c:v>0.30979133226324201</c:v>
                </c:pt>
                <c:pt idx="17371">
                  <c:v>0.30980916711253698</c:v>
                </c:pt>
                <c:pt idx="17372">
                  <c:v>0.30982700196183299</c:v>
                </c:pt>
                <c:pt idx="17373">
                  <c:v>0.30984483681112801</c:v>
                </c:pt>
                <c:pt idx="17374">
                  <c:v>0.30986267166042403</c:v>
                </c:pt>
                <c:pt idx="17375">
                  <c:v>0.30988050650971999</c:v>
                </c:pt>
                <c:pt idx="17376">
                  <c:v>0.30989834135901501</c:v>
                </c:pt>
                <c:pt idx="17377">
                  <c:v>0.30991617620831102</c:v>
                </c:pt>
                <c:pt idx="17378">
                  <c:v>0.30993401105760598</c:v>
                </c:pt>
                <c:pt idx="17379">
                  <c:v>0.309951845906902</c:v>
                </c:pt>
                <c:pt idx="17380">
                  <c:v>0.30996968075619702</c:v>
                </c:pt>
                <c:pt idx="17381">
                  <c:v>0.30998751560549298</c:v>
                </c:pt>
                <c:pt idx="17382">
                  <c:v>0.310005350454788</c:v>
                </c:pt>
                <c:pt idx="17383">
                  <c:v>0.31002318530408401</c:v>
                </c:pt>
                <c:pt idx="17384">
                  <c:v>0.31004102015337898</c:v>
                </c:pt>
                <c:pt idx="17385">
                  <c:v>0.31005885500267499</c:v>
                </c:pt>
                <c:pt idx="17386">
                  <c:v>0.31007668985197001</c:v>
                </c:pt>
                <c:pt idx="17387">
                  <c:v>0.31009452470126597</c:v>
                </c:pt>
                <c:pt idx="17388">
                  <c:v>0.31011235955056099</c:v>
                </c:pt>
                <c:pt idx="17389">
                  <c:v>0.31013019439985701</c:v>
                </c:pt>
                <c:pt idx="17390">
                  <c:v>0.31014802924915202</c:v>
                </c:pt>
                <c:pt idx="17391">
                  <c:v>0.31016586409844799</c:v>
                </c:pt>
                <c:pt idx="17392">
                  <c:v>0.310183698947743</c:v>
                </c:pt>
                <c:pt idx="17393">
                  <c:v>0.31020153379703902</c:v>
                </c:pt>
                <c:pt idx="17394">
                  <c:v>0.31021936864633398</c:v>
                </c:pt>
                <c:pt idx="17395">
                  <c:v>0.31023720349563</c:v>
                </c:pt>
                <c:pt idx="17396">
                  <c:v>0.31025503834492502</c:v>
                </c:pt>
                <c:pt idx="17397">
                  <c:v>0.31027287319422098</c:v>
                </c:pt>
                <c:pt idx="17398">
                  <c:v>0.31029070804351699</c:v>
                </c:pt>
                <c:pt idx="17399">
                  <c:v>0.31030854289281201</c:v>
                </c:pt>
                <c:pt idx="17400">
                  <c:v>0.31032637774210797</c:v>
                </c:pt>
                <c:pt idx="17401">
                  <c:v>0.31034421259140299</c:v>
                </c:pt>
                <c:pt idx="17402">
                  <c:v>0.31036204744069901</c:v>
                </c:pt>
                <c:pt idx="17403">
                  <c:v>0.31037988228999402</c:v>
                </c:pt>
                <c:pt idx="17404">
                  <c:v>0.31039771713928999</c:v>
                </c:pt>
                <c:pt idx="17405">
                  <c:v>0.310415551988585</c:v>
                </c:pt>
                <c:pt idx="17406">
                  <c:v>0.31043338683788102</c:v>
                </c:pt>
                <c:pt idx="17407">
                  <c:v>0.31045122168717598</c:v>
                </c:pt>
                <c:pt idx="17408">
                  <c:v>0.310469056536472</c:v>
                </c:pt>
                <c:pt idx="17409">
                  <c:v>0.31048689138576702</c:v>
                </c:pt>
                <c:pt idx="17410">
                  <c:v>0.31050472623506298</c:v>
                </c:pt>
                <c:pt idx="17411">
                  <c:v>0.310522561084358</c:v>
                </c:pt>
                <c:pt idx="17412">
                  <c:v>0.31054039593365401</c:v>
                </c:pt>
                <c:pt idx="17413">
                  <c:v>0.31055823078294897</c:v>
                </c:pt>
                <c:pt idx="17414">
                  <c:v>0.31057606563224499</c:v>
                </c:pt>
                <c:pt idx="17415">
                  <c:v>0.31059390048154001</c:v>
                </c:pt>
                <c:pt idx="17416">
                  <c:v>0.31061173533083603</c:v>
                </c:pt>
                <c:pt idx="17417">
                  <c:v>0.31062957018013199</c:v>
                </c:pt>
                <c:pt idx="17418">
                  <c:v>0.310647405029427</c:v>
                </c:pt>
                <c:pt idx="17419">
                  <c:v>0.31066523987872302</c:v>
                </c:pt>
                <c:pt idx="17420">
                  <c:v>0.31068307472801798</c:v>
                </c:pt>
                <c:pt idx="17421">
                  <c:v>0.310700909577314</c:v>
                </c:pt>
                <c:pt idx="17422">
                  <c:v>0.31071874442660902</c:v>
                </c:pt>
                <c:pt idx="17423">
                  <c:v>0.31073657927590498</c:v>
                </c:pt>
                <c:pt idx="17424">
                  <c:v>0.3107544141252</c:v>
                </c:pt>
                <c:pt idx="17425">
                  <c:v>0.31077224897449601</c:v>
                </c:pt>
                <c:pt idx="17426">
                  <c:v>0.31079008382379097</c:v>
                </c:pt>
                <c:pt idx="17427">
                  <c:v>0.31080791867308699</c:v>
                </c:pt>
                <c:pt idx="17428">
                  <c:v>0.31082575352238201</c:v>
                </c:pt>
                <c:pt idx="17429">
                  <c:v>0.31084358837167803</c:v>
                </c:pt>
                <c:pt idx="17430">
                  <c:v>0.31086142322097299</c:v>
                </c:pt>
                <c:pt idx="17431">
                  <c:v>0.310879258070269</c:v>
                </c:pt>
                <c:pt idx="17432">
                  <c:v>0.31089709291956402</c:v>
                </c:pt>
                <c:pt idx="17433">
                  <c:v>0.31091492776885998</c:v>
                </c:pt>
                <c:pt idx="17434">
                  <c:v>0.310932762618155</c:v>
                </c:pt>
                <c:pt idx="17435">
                  <c:v>0.31095059746745102</c:v>
                </c:pt>
                <c:pt idx="17436">
                  <c:v>0.31096843231674598</c:v>
                </c:pt>
                <c:pt idx="17437">
                  <c:v>0.310986267166042</c:v>
                </c:pt>
                <c:pt idx="17438">
                  <c:v>0.31100410201533701</c:v>
                </c:pt>
                <c:pt idx="17439">
                  <c:v>0.31102193686463298</c:v>
                </c:pt>
                <c:pt idx="17440">
                  <c:v>0.31103977171392899</c:v>
                </c:pt>
                <c:pt idx="17441">
                  <c:v>0.31105760656322401</c:v>
                </c:pt>
                <c:pt idx="17442">
                  <c:v>0.31107544141252003</c:v>
                </c:pt>
                <c:pt idx="17443">
                  <c:v>0.31109327626181499</c:v>
                </c:pt>
                <c:pt idx="17444">
                  <c:v>0.31111111111111101</c:v>
                </c:pt>
                <c:pt idx="17445">
                  <c:v>0.31112894596040602</c:v>
                </c:pt>
                <c:pt idx="17446">
                  <c:v>0.31114678080970198</c:v>
                </c:pt>
                <c:pt idx="17447">
                  <c:v>0.311164615658997</c:v>
                </c:pt>
                <c:pt idx="17448">
                  <c:v>0.31118245050829302</c:v>
                </c:pt>
                <c:pt idx="17449">
                  <c:v>0.31120028535758798</c:v>
                </c:pt>
                <c:pt idx="17450">
                  <c:v>0.311218120206884</c:v>
                </c:pt>
                <c:pt idx="17451">
                  <c:v>0.31123595505617901</c:v>
                </c:pt>
                <c:pt idx="17452">
                  <c:v>0.31125378990547498</c:v>
                </c:pt>
                <c:pt idx="17453">
                  <c:v>0.31127162475476999</c:v>
                </c:pt>
                <c:pt idx="17454">
                  <c:v>0.31128945960406601</c:v>
                </c:pt>
                <c:pt idx="17455">
                  <c:v>0.31130729445336103</c:v>
                </c:pt>
                <c:pt idx="17456">
                  <c:v>0.31132512930265699</c:v>
                </c:pt>
                <c:pt idx="17457">
                  <c:v>0.31134296415195201</c:v>
                </c:pt>
                <c:pt idx="17458">
                  <c:v>0.31136079900124802</c:v>
                </c:pt>
                <c:pt idx="17459">
                  <c:v>0.31137863385054398</c:v>
                </c:pt>
                <c:pt idx="17460">
                  <c:v>0.311396468699839</c:v>
                </c:pt>
                <c:pt idx="17461">
                  <c:v>0.31141430354913502</c:v>
                </c:pt>
                <c:pt idx="17462">
                  <c:v>0.31143213839842998</c:v>
                </c:pt>
                <c:pt idx="17463">
                  <c:v>0.311449973247726</c:v>
                </c:pt>
                <c:pt idx="17464">
                  <c:v>0.31146780809702102</c:v>
                </c:pt>
                <c:pt idx="17465">
                  <c:v>0.31148564294631698</c:v>
                </c:pt>
                <c:pt idx="17466">
                  <c:v>0.31150347779561199</c:v>
                </c:pt>
                <c:pt idx="17467">
                  <c:v>0.31152131264490801</c:v>
                </c:pt>
                <c:pt idx="17468">
                  <c:v>0.31153914749420297</c:v>
                </c:pt>
                <c:pt idx="17469">
                  <c:v>0.31155698234349899</c:v>
                </c:pt>
                <c:pt idx="17470">
                  <c:v>0.31157481719279401</c:v>
                </c:pt>
                <c:pt idx="17471">
                  <c:v>0.31159265204209002</c:v>
                </c:pt>
                <c:pt idx="17472">
                  <c:v>0.31161048689138499</c:v>
                </c:pt>
                <c:pt idx="17473">
                  <c:v>0.311628321740681</c:v>
                </c:pt>
                <c:pt idx="17474">
                  <c:v>0.31164615658997602</c:v>
                </c:pt>
                <c:pt idx="17475">
                  <c:v>0.31166399143927198</c:v>
                </c:pt>
                <c:pt idx="17476">
                  <c:v>0.311681826288567</c:v>
                </c:pt>
                <c:pt idx="17477">
                  <c:v>0.31169966113786302</c:v>
                </c:pt>
                <c:pt idx="17478">
                  <c:v>0.31171749598715798</c:v>
                </c:pt>
                <c:pt idx="17479">
                  <c:v>0.31173533083645399</c:v>
                </c:pt>
                <c:pt idx="17480">
                  <c:v>0.31175316568574901</c:v>
                </c:pt>
                <c:pt idx="17481">
                  <c:v>0.31177100053504497</c:v>
                </c:pt>
                <c:pt idx="17482">
                  <c:v>0.31178883538434099</c:v>
                </c:pt>
                <c:pt idx="17483">
                  <c:v>0.31180667023363601</c:v>
                </c:pt>
                <c:pt idx="17484">
                  <c:v>0.31182450508293202</c:v>
                </c:pt>
                <c:pt idx="17485">
                  <c:v>0.31184233993222699</c:v>
                </c:pt>
                <c:pt idx="17486">
                  <c:v>0.311860174781523</c:v>
                </c:pt>
                <c:pt idx="17487">
                  <c:v>0.31187800963081802</c:v>
                </c:pt>
                <c:pt idx="17488">
                  <c:v>0.31189584448011398</c:v>
                </c:pt>
                <c:pt idx="17489">
                  <c:v>0.311913679329409</c:v>
                </c:pt>
                <c:pt idx="17490">
                  <c:v>0.31193151417870502</c:v>
                </c:pt>
                <c:pt idx="17491">
                  <c:v>0.31194934902799998</c:v>
                </c:pt>
                <c:pt idx="17492">
                  <c:v>0.31196718387729599</c:v>
                </c:pt>
                <c:pt idx="17493">
                  <c:v>0.31198501872659101</c:v>
                </c:pt>
                <c:pt idx="17494">
                  <c:v>0.31200285357588697</c:v>
                </c:pt>
                <c:pt idx="17495">
                  <c:v>0.31202068842518199</c:v>
                </c:pt>
                <c:pt idx="17496">
                  <c:v>0.31203852327447801</c:v>
                </c:pt>
                <c:pt idx="17497">
                  <c:v>0.31205635812377303</c:v>
                </c:pt>
                <c:pt idx="17498">
                  <c:v>0.31207419297306899</c:v>
                </c:pt>
                <c:pt idx="17499">
                  <c:v>0.312092027822364</c:v>
                </c:pt>
                <c:pt idx="17500">
                  <c:v>0.31210986267166002</c:v>
                </c:pt>
                <c:pt idx="17501">
                  <c:v>0.31212769752095498</c:v>
                </c:pt>
                <c:pt idx="17502">
                  <c:v>0.312145532370251</c:v>
                </c:pt>
                <c:pt idx="17503">
                  <c:v>0.31216336721954702</c:v>
                </c:pt>
                <c:pt idx="17504">
                  <c:v>0.31218120206884198</c:v>
                </c:pt>
                <c:pt idx="17505">
                  <c:v>0.312199036918138</c:v>
                </c:pt>
                <c:pt idx="17506">
                  <c:v>0.31221687176743301</c:v>
                </c:pt>
                <c:pt idx="17507">
                  <c:v>0.31223470661672897</c:v>
                </c:pt>
                <c:pt idx="17508">
                  <c:v>0.31225254146602399</c:v>
                </c:pt>
                <c:pt idx="17509">
                  <c:v>0.31227037631532001</c:v>
                </c:pt>
                <c:pt idx="17510">
                  <c:v>0.31228821116461503</c:v>
                </c:pt>
                <c:pt idx="17511">
                  <c:v>0.31230604601391099</c:v>
                </c:pt>
                <c:pt idx="17512">
                  <c:v>0.312323880863206</c:v>
                </c:pt>
                <c:pt idx="17513">
                  <c:v>0.31234171571250202</c:v>
                </c:pt>
                <c:pt idx="17514">
                  <c:v>0.31235955056179698</c:v>
                </c:pt>
                <c:pt idx="17515">
                  <c:v>0.312377385411093</c:v>
                </c:pt>
                <c:pt idx="17516">
                  <c:v>0.31239522026038802</c:v>
                </c:pt>
                <c:pt idx="17517">
                  <c:v>0.31241305510968398</c:v>
                </c:pt>
                <c:pt idx="17518">
                  <c:v>0.312430889958979</c:v>
                </c:pt>
                <c:pt idx="17519">
                  <c:v>0.31244872480827501</c:v>
                </c:pt>
                <c:pt idx="17520">
                  <c:v>0.31246655965756998</c:v>
                </c:pt>
                <c:pt idx="17521">
                  <c:v>0.31248439450686599</c:v>
                </c:pt>
                <c:pt idx="17522">
                  <c:v>0.31250222935616101</c:v>
                </c:pt>
                <c:pt idx="17523">
                  <c:v>0.31252006420545703</c:v>
                </c:pt>
                <c:pt idx="17524">
                  <c:v>0.31253789905475299</c:v>
                </c:pt>
                <c:pt idx="17525">
                  <c:v>0.31255573390404801</c:v>
                </c:pt>
                <c:pt idx="17526">
                  <c:v>0.31257356875334402</c:v>
                </c:pt>
                <c:pt idx="17527">
                  <c:v>0.31259140360263898</c:v>
                </c:pt>
                <c:pt idx="17528">
                  <c:v>0.312609238451935</c:v>
                </c:pt>
                <c:pt idx="17529">
                  <c:v>0.31262707330123002</c:v>
                </c:pt>
                <c:pt idx="17530">
                  <c:v>0.31264490815052598</c:v>
                </c:pt>
                <c:pt idx="17531">
                  <c:v>0.312662742999821</c:v>
                </c:pt>
                <c:pt idx="17532">
                  <c:v>0.31268057784911701</c:v>
                </c:pt>
                <c:pt idx="17533">
                  <c:v>0.31269841269841198</c:v>
                </c:pt>
                <c:pt idx="17534">
                  <c:v>0.31271624754770799</c:v>
                </c:pt>
                <c:pt idx="17535">
                  <c:v>0.31273408239700301</c:v>
                </c:pt>
                <c:pt idx="17536">
                  <c:v>0.31275191724629903</c:v>
                </c:pt>
                <c:pt idx="17537">
                  <c:v>0.31276975209559399</c:v>
                </c:pt>
                <c:pt idx="17538">
                  <c:v>0.31278758694489001</c:v>
                </c:pt>
                <c:pt idx="17539">
                  <c:v>0.31280542179418502</c:v>
                </c:pt>
                <c:pt idx="17540">
                  <c:v>0.31282325664348098</c:v>
                </c:pt>
                <c:pt idx="17541">
                  <c:v>0.312841091492776</c:v>
                </c:pt>
                <c:pt idx="17542">
                  <c:v>0.31285892634207202</c:v>
                </c:pt>
                <c:pt idx="17543">
                  <c:v>0.31287676119136698</c:v>
                </c:pt>
                <c:pt idx="17544">
                  <c:v>0.312894596040663</c:v>
                </c:pt>
                <c:pt idx="17545">
                  <c:v>0.31291243088995802</c:v>
                </c:pt>
                <c:pt idx="17546">
                  <c:v>0.31293026573925398</c:v>
                </c:pt>
                <c:pt idx="17547">
                  <c:v>0.31294810058854999</c:v>
                </c:pt>
                <c:pt idx="17548">
                  <c:v>0.31296593543784501</c:v>
                </c:pt>
                <c:pt idx="17549">
                  <c:v>0.31298377028714103</c:v>
                </c:pt>
                <c:pt idx="17550">
                  <c:v>0.31300160513643599</c:v>
                </c:pt>
                <c:pt idx="17551">
                  <c:v>0.31301943998573201</c:v>
                </c:pt>
                <c:pt idx="17552">
                  <c:v>0.31303727483502702</c:v>
                </c:pt>
                <c:pt idx="17553">
                  <c:v>0.31305510968432299</c:v>
                </c:pt>
                <c:pt idx="17554">
                  <c:v>0.313072944533618</c:v>
                </c:pt>
                <c:pt idx="17555">
                  <c:v>0.31309077938291402</c:v>
                </c:pt>
                <c:pt idx="17556">
                  <c:v>0.31310861423220898</c:v>
                </c:pt>
                <c:pt idx="17557">
                  <c:v>0.313126449081505</c:v>
                </c:pt>
                <c:pt idx="17558">
                  <c:v>0.31314428393080002</c:v>
                </c:pt>
                <c:pt idx="17559">
                  <c:v>0.31316211878009598</c:v>
                </c:pt>
                <c:pt idx="17560">
                  <c:v>0.31317995362939099</c:v>
                </c:pt>
                <c:pt idx="17561">
                  <c:v>0.31319778847868701</c:v>
                </c:pt>
                <c:pt idx="17562">
                  <c:v>0.31321562332798197</c:v>
                </c:pt>
                <c:pt idx="17563">
                  <c:v>0.31323345817727799</c:v>
                </c:pt>
                <c:pt idx="17564">
                  <c:v>0.31325129302657301</c:v>
                </c:pt>
                <c:pt idx="17565">
                  <c:v>0.31326912787586902</c:v>
                </c:pt>
                <c:pt idx="17566">
                  <c:v>0.31328696272516499</c:v>
                </c:pt>
                <c:pt idx="17567">
                  <c:v>0.31330479757446</c:v>
                </c:pt>
                <c:pt idx="17568">
                  <c:v>0.31332263242375602</c:v>
                </c:pt>
                <c:pt idx="17569">
                  <c:v>0.31334046727305098</c:v>
                </c:pt>
                <c:pt idx="17570">
                  <c:v>0.313358302122347</c:v>
                </c:pt>
                <c:pt idx="17571">
                  <c:v>0.31337613697164202</c:v>
                </c:pt>
                <c:pt idx="17572">
                  <c:v>0.31339397182093798</c:v>
                </c:pt>
                <c:pt idx="17573">
                  <c:v>0.313411806670233</c:v>
                </c:pt>
                <c:pt idx="17574">
                  <c:v>0.31342964151952901</c:v>
                </c:pt>
                <c:pt idx="17575">
                  <c:v>0.31344747636882397</c:v>
                </c:pt>
                <c:pt idx="17576">
                  <c:v>0.31346531121811999</c:v>
                </c:pt>
                <c:pt idx="17577">
                  <c:v>0.31348314606741501</c:v>
                </c:pt>
                <c:pt idx="17578">
                  <c:v>0.31350098091671103</c:v>
                </c:pt>
                <c:pt idx="17579">
                  <c:v>0.31351881576600599</c:v>
                </c:pt>
                <c:pt idx="17580">
                  <c:v>0.313536650615302</c:v>
                </c:pt>
                <c:pt idx="17581">
                  <c:v>0.31355448546459702</c:v>
                </c:pt>
                <c:pt idx="17582">
                  <c:v>0.31357232031389298</c:v>
                </c:pt>
                <c:pt idx="17583">
                  <c:v>0.313590155163188</c:v>
                </c:pt>
                <c:pt idx="17584">
                  <c:v>0.31360799001248402</c:v>
                </c:pt>
                <c:pt idx="17585">
                  <c:v>0.31362582486177898</c:v>
                </c:pt>
                <c:pt idx="17586">
                  <c:v>0.313643659711075</c:v>
                </c:pt>
                <c:pt idx="17587">
                  <c:v>0.31366149456037001</c:v>
                </c:pt>
                <c:pt idx="17588">
                  <c:v>0.31367932940966597</c:v>
                </c:pt>
                <c:pt idx="17589">
                  <c:v>0.31369716425896199</c:v>
                </c:pt>
                <c:pt idx="17590">
                  <c:v>0.31371499910825701</c:v>
                </c:pt>
                <c:pt idx="17591">
                  <c:v>0.31373283395755303</c:v>
                </c:pt>
                <c:pt idx="17592">
                  <c:v>0.31375066880684799</c:v>
                </c:pt>
                <c:pt idx="17593">
                  <c:v>0.313768503656144</c:v>
                </c:pt>
                <c:pt idx="17594">
                  <c:v>0.31378633850543902</c:v>
                </c:pt>
                <c:pt idx="17595">
                  <c:v>0.31380417335473498</c:v>
                </c:pt>
                <c:pt idx="17596">
                  <c:v>0.31382200820403</c:v>
                </c:pt>
                <c:pt idx="17597">
                  <c:v>0.31383984305332602</c:v>
                </c:pt>
                <c:pt idx="17598">
                  <c:v>0.31385767790262098</c:v>
                </c:pt>
                <c:pt idx="17599">
                  <c:v>0.313875512751917</c:v>
                </c:pt>
                <c:pt idx="17600">
                  <c:v>0.31389334760121201</c:v>
                </c:pt>
                <c:pt idx="17601">
                  <c:v>0.31391118245050798</c:v>
                </c:pt>
                <c:pt idx="17602">
                  <c:v>0.31392901729980299</c:v>
                </c:pt>
                <c:pt idx="17603">
                  <c:v>0.31394685214909901</c:v>
                </c:pt>
                <c:pt idx="17604">
                  <c:v>0.31396468699839403</c:v>
                </c:pt>
                <c:pt idx="17605">
                  <c:v>0.31398252184768999</c:v>
                </c:pt>
                <c:pt idx="17606">
                  <c:v>0.31400035669698501</c:v>
                </c:pt>
                <c:pt idx="17607">
                  <c:v>0.31401819154628102</c:v>
                </c:pt>
                <c:pt idx="17608">
                  <c:v>0.31403602639557698</c:v>
                </c:pt>
                <c:pt idx="17609">
                  <c:v>0.314053861244872</c:v>
                </c:pt>
                <c:pt idx="17610">
                  <c:v>0.31407169609416802</c:v>
                </c:pt>
                <c:pt idx="17611">
                  <c:v>0.31408953094346298</c:v>
                </c:pt>
                <c:pt idx="17612">
                  <c:v>0.314107365792759</c:v>
                </c:pt>
                <c:pt idx="17613">
                  <c:v>0.31412520064205401</c:v>
                </c:pt>
                <c:pt idx="17614">
                  <c:v>0.31414303549134998</c:v>
                </c:pt>
                <c:pt idx="17615">
                  <c:v>0.31416087034064499</c:v>
                </c:pt>
                <c:pt idx="17616">
                  <c:v>0.31417870518994101</c:v>
                </c:pt>
                <c:pt idx="17617">
                  <c:v>0.31419654003923603</c:v>
                </c:pt>
                <c:pt idx="17618">
                  <c:v>0.31421437488853199</c:v>
                </c:pt>
                <c:pt idx="17619">
                  <c:v>0.31423220973782701</c:v>
                </c:pt>
                <c:pt idx="17620">
                  <c:v>0.31425004458712302</c:v>
                </c:pt>
                <c:pt idx="17621">
                  <c:v>0.31426787943641799</c:v>
                </c:pt>
                <c:pt idx="17622">
                  <c:v>0.314285714285714</c:v>
                </c:pt>
                <c:pt idx="17623">
                  <c:v>0.31430354913500902</c:v>
                </c:pt>
                <c:pt idx="17624">
                  <c:v>0.31432138398430498</c:v>
                </c:pt>
                <c:pt idx="17625">
                  <c:v>0.3143392188336</c:v>
                </c:pt>
                <c:pt idx="17626">
                  <c:v>0.31435705368289601</c:v>
                </c:pt>
                <c:pt idx="17627">
                  <c:v>0.31437488853219098</c:v>
                </c:pt>
                <c:pt idx="17628">
                  <c:v>0.31439272338148699</c:v>
                </c:pt>
                <c:pt idx="17629">
                  <c:v>0.31441055823078201</c:v>
                </c:pt>
                <c:pt idx="17630">
                  <c:v>0.31442839308007797</c:v>
                </c:pt>
                <c:pt idx="17631">
                  <c:v>0.31444622792937399</c:v>
                </c:pt>
                <c:pt idx="17632">
                  <c:v>0.31446406277866901</c:v>
                </c:pt>
                <c:pt idx="17633">
                  <c:v>0.31448189762796502</c:v>
                </c:pt>
                <c:pt idx="17634">
                  <c:v>0.31449973247725999</c:v>
                </c:pt>
                <c:pt idx="17635">
                  <c:v>0.314517567326556</c:v>
                </c:pt>
                <c:pt idx="17636">
                  <c:v>0.31453540217585102</c:v>
                </c:pt>
                <c:pt idx="17637">
                  <c:v>0.31455323702514698</c:v>
                </c:pt>
                <c:pt idx="17638">
                  <c:v>0.314571071874442</c:v>
                </c:pt>
                <c:pt idx="17639">
                  <c:v>0.31458890672373802</c:v>
                </c:pt>
                <c:pt idx="17640">
                  <c:v>0.31460674157303298</c:v>
                </c:pt>
                <c:pt idx="17641">
                  <c:v>0.31462457642232899</c:v>
                </c:pt>
                <c:pt idx="17642">
                  <c:v>0.31464241127162401</c:v>
                </c:pt>
                <c:pt idx="17643">
                  <c:v>0.31466024612091997</c:v>
                </c:pt>
                <c:pt idx="17644">
                  <c:v>0.31467808097021499</c:v>
                </c:pt>
                <c:pt idx="17645">
                  <c:v>0.31469591581951101</c:v>
                </c:pt>
                <c:pt idx="17646">
                  <c:v>0.31471375066880602</c:v>
                </c:pt>
                <c:pt idx="17647">
                  <c:v>0.31473158551810199</c:v>
                </c:pt>
                <c:pt idx="17648">
                  <c:v>0.314749420367397</c:v>
                </c:pt>
                <c:pt idx="17649">
                  <c:v>0.31476725521669302</c:v>
                </c:pt>
                <c:pt idx="17650">
                  <c:v>0.31478509006598798</c:v>
                </c:pt>
                <c:pt idx="17651">
                  <c:v>0.314802924915284</c:v>
                </c:pt>
                <c:pt idx="17652">
                  <c:v>0.31482075976458002</c:v>
                </c:pt>
                <c:pt idx="17653">
                  <c:v>0.31483859461387498</c:v>
                </c:pt>
                <c:pt idx="17654">
                  <c:v>0.31485642946317099</c:v>
                </c:pt>
                <c:pt idx="17655">
                  <c:v>0.31487426431246601</c:v>
                </c:pt>
                <c:pt idx="17656">
                  <c:v>0.31489209916176197</c:v>
                </c:pt>
                <c:pt idx="17657">
                  <c:v>0.31490993401105699</c:v>
                </c:pt>
                <c:pt idx="17658">
                  <c:v>0.31492776886035301</c:v>
                </c:pt>
                <c:pt idx="17659">
                  <c:v>0.31494560370964803</c:v>
                </c:pt>
                <c:pt idx="17660">
                  <c:v>0.31496343855894399</c:v>
                </c:pt>
                <c:pt idx="17661">
                  <c:v>0.314981273408239</c:v>
                </c:pt>
                <c:pt idx="17662">
                  <c:v>0.31499910825753502</c:v>
                </c:pt>
                <c:pt idx="17663">
                  <c:v>0.31501694310682998</c:v>
                </c:pt>
                <c:pt idx="17664">
                  <c:v>0.315034777956126</c:v>
                </c:pt>
                <c:pt idx="17665">
                  <c:v>0.31505261280542102</c:v>
                </c:pt>
                <c:pt idx="17666">
                  <c:v>0.31507044765471698</c:v>
                </c:pt>
                <c:pt idx="17667">
                  <c:v>0.315088282504012</c:v>
                </c:pt>
                <c:pt idx="17668">
                  <c:v>0.31510611735330801</c:v>
                </c:pt>
                <c:pt idx="17669">
                  <c:v>0.31512395220260297</c:v>
                </c:pt>
                <c:pt idx="17670">
                  <c:v>0.31514178705189899</c:v>
                </c:pt>
                <c:pt idx="17671">
                  <c:v>0.31515962190119401</c:v>
                </c:pt>
                <c:pt idx="17672">
                  <c:v>0.31517745675049003</c:v>
                </c:pt>
                <c:pt idx="17673">
                  <c:v>0.31519529159978599</c:v>
                </c:pt>
                <c:pt idx="17674">
                  <c:v>0.315213126449081</c:v>
                </c:pt>
                <c:pt idx="17675">
                  <c:v>0.31523096129837702</c:v>
                </c:pt>
                <c:pt idx="17676">
                  <c:v>0.31524879614767198</c:v>
                </c:pt>
                <c:pt idx="17677">
                  <c:v>0.315266630996968</c:v>
                </c:pt>
                <c:pt idx="17678">
                  <c:v>0.31528446584626302</c:v>
                </c:pt>
                <c:pt idx="17679">
                  <c:v>0.31530230069555898</c:v>
                </c:pt>
                <c:pt idx="17680">
                  <c:v>0.315320135544854</c:v>
                </c:pt>
                <c:pt idx="17681">
                  <c:v>0.31533797039415001</c:v>
                </c:pt>
                <c:pt idx="17682">
                  <c:v>0.31535580524344498</c:v>
                </c:pt>
                <c:pt idx="17683">
                  <c:v>0.31537364009274099</c:v>
                </c:pt>
                <c:pt idx="17684">
                  <c:v>0.31539147494203601</c:v>
                </c:pt>
                <c:pt idx="17685">
                  <c:v>0.31540930979133203</c:v>
                </c:pt>
                <c:pt idx="17686">
                  <c:v>0.31542714464062699</c:v>
                </c:pt>
                <c:pt idx="17687">
                  <c:v>0.31544497948992301</c:v>
                </c:pt>
                <c:pt idx="17688">
                  <c:v>0.31546281433921802</c:v>
                </c:pt>
                <c:pt idx="17689">
                  <c:v>0.31548064918851398</c:v>
                </c:pt>
                <c:pt idx="17690">
                  <c:v>0.315498484037809</c:v>
                </c:pt>
                <c:pt idx="17691">
                  <c:v>0.31551631888710502</c:v>
                </c:pt>
                <c:pt idx="17692">
                  <c:v>0.31553415373639998</c:v>
                </c:pt>
                <c:pt idx="17693">
                  <c:v>0.315551988585696</c:v>
                </c:pt>
                <c:pt idx="17694">
                  <c:v>0.31556982343499101</c:v>
                </c:pt>
                <c:pt idx="17695">
                  <c:v>0.31558765828428698</c:v>
                </c:pt>
                <c:pt idx="17696">
                  <c:v>0.31560549313358299</c:v>
                </c:pt>
                <c:pt idx="17697">
                  <c:v>0.31562332798287801</c:v>
                </c:pt>
                <c:pt idx="17698">
                  <c:v>0.31564116283217403</c:v>
                </c:pt>
                <c:pt idx="17699">
                  <c:v>0.31565899768146899</c:v>
                </c:pt>
                <c:pt idx="17700">
                  <c:v>0.31567683253076501</c:v>
                </c:pt>
                <c:pt idx="17701">
                  <c:v>0.31569466738006002</c:v>
                </c:pt>
                <c:pt idx="17702">
                  <c:v>0.31571250222935598</c:v>
                </c:pt>
                <c:pt idx="17703">
                  <c:v>0.315730337078651</c:v>
                </c:pt>
                <c:pt idx="17704">
                  <c:v>0.31574817192794702</c:v>
                </c:pt>
                <c:pt idx="17705">
                  <c:v>0.31576600677724198</c:v>
                </c:pt>
                <c:pt idx="17706">
                  <c:v>0.315783841626538</c:v>
                </c:pt>
                <c:pt idx="17707">
                  <c:v>0.31580167647583302</c:v>
                </c:pt>
                <c:pt idx="17708">
                  <c:v>0.31581951132512898</c:v>
                </c:pt>
                <c:pt idx="17709">
                  <c:v>0.31583734617442399</c:v>
                </c:pt>
                <c:pt idx="17710">
                  <c:v>0.31585518102372001</c:v>
                </c:pt>
                <c:pt idx="17711">
                  <c:v>0.31587301587301497</c:v>
                </c:pt>
                <c:pt idx="17712">
                  <c:v>0.31589085072231099</c:v>
                </c:pt>
                <c:pt idx="17713">
                  <c:v>0.31590868557160601</c:v>
                </c:pt>
                <c:pt idx="17714">
                  <c:v>0.31592652042090202</c:v>
                </c:pt>
                <c:pt idx="17715">
                  <c:v>0.31594435527019799</c:v>
                </c:pt>
                <c:pt idx="17716">
                  <c:v>0.315962190119493</c:v>
                </c:pt>
                <c:pt idx="17717">
                  <c:v>0.31598002496878902</c:v>
                </c:pt>
                <c:pt idx="17718">
                  <c:v>0.31599785981808398</c:v>
                </c:pt>
                <c:pt idx="17719">
                  <c:v>0.31601569466738</c:v>
                </c:pt>
                <c:pt idx="17720">
                  <c:v>0.31603352951667502</c:v>
                </c:pt>
                <c:pt idx="17721">
                  <c:v>0.31605136436597098</c:v>
                </c:pt>
                <c:pt idx="17722">
                  <c:v>0.31606919921526599</c:v>
                </c:pt>
                <c:pt idx="17723">
                  <c:v>0.31608703406456201</c:v>
                </c:pt>
                <c:pt idx="17724">
                  <c:v>0.31610486891385697</c:v>
                </c:pt>
                <c:pt idx="17725">
                  <c:v>0.31612270376315299</c:v>
                </c:pt>
                <c:pt idx="17726">
                  <c:v>0.31614053861244801</c:v>
                </c:pt>
                <c:pt idx="17727">
                  <c:v>0.31615837346174402</c:v>
                </c:pt>
                <c:pt idx="17728">
                  <c:v>0.31617620831103899</c:v>
                </c:pt>
                <c:pt idx="17729">
                  <c:v>0.316194043160335</c:v>
                </c:pt>
                <c:pt idx="17730">
                  <c:v>0.31621187800963002</c:v>
                </c:pt>
                <c:pt idx="17731">
                  <c:v>0.31622971285892598</c:v>
                </c:pt>
                <c:pt idx="17732">
                  <c:v>0.316247547708221</c:v>
                </c:pt>
                <c:pt idx="17733">
                  <c:v>0.31626538255751702</c:v>
                </c:pt>
                <c:pt idx="17734">
                  <c:v>0.31628321740681198</c:v>
                </c:pt>
                <c:pt idx="17735">
                  <c:v>0.316301052256108</c:v>
                </c:pt>
                <c:pt idx="17736">
                  <c:v>0.31631888710540301</c:v>
                </c:pt>
                <c:pt idx="17737">
                  <c:v>0.31633672195469897</c:v>
                </c:pt>
                <c:pt idx="17738">
                  <c:v>0.31635455680399499</c:v>
                </c:pt>
                <c:pt idx="17739">
                  <c:v>0.31637239165329001</c:v>
                </c:pt>
                <c:pt idx="17740">
                  <c:v>0.31639022650258602</c:v>
                </c:pt>
                <c:pt idx="17741">
                  <c:v>0.31640806135188099</c:v>
                </c:pt>
                <c:pt idx="17742">
                  <c:v>0.316425896201177</c:v>
                </c:pt>
                <c:pt idx="17743">
                  <c:v>0.31644373105047202</c:v>
                </c:pt>
                <c:pt idx="17744">
                  <c:v>0.31646156589976798</c:v>
                </c:pt>
                <c:pt idx="17745">
                  <c:v>0.316479400749063</c:v>
                </c:pt>
                <c:pt idx="17746">
                  <c:v>0.31649723559835902</c:v>
                </c:pt>
                <c:pt idx="17747">
                  <c:v>0.31651507044765398</c:v>
                </c:pt>
                <c:pt idx="17748">
                  <c:v>0.31653290529695</c:v>
                </c:pt>
                <c:pt idx="17749">
                  <c:v>0.31655074014624501</c:v>
                </c:pt>
                <c:pt idx="17750">
                  <c:v>0.31656857499554097</c:v>
                </c:pt>
                <c:pt idx="17751">
                  <c:v>0.31658640984483599</c:v>
                </c:pt>
                <c:pt idx="17752">
                  <c:v>0.31660424469413201</c:v>
                </c:pt>
                <c:pt idx="17753">
                  <c:v>0.31662207954342703</c:v>
                </c:pt>
                <c:pt idx="17754">
                  <c:v>0.31663991439272299</c:v>
                </c:pt>
                <c:pt idx="17755">
                  <c:v>0.31665774924201801</c:v>
                </c:pt>
                <c:pt idx="17756">
                  <c:v>0.31667558409131402</c:v>
                </c:pt>
                <c:pt idx="17757">
                  <c:v>0.31669341894060898</c:v>
                </c:pt>
                <c:pt idx="17758">
                  <c:v>0.316711253789905</c:v>
                </c:pt>
                <c:pt idx="17759">
                  <c:v>0.31672908863920102</c:v>
                </c:pt>
                <c:pt idx="17760">
                  <c:v>0.31674692348849598</c:v>
                </c:pt>
                <c:pt idx="17761">
                  <c:v>0.316764758337792</c:v>
                </c:pt>
                <c:pt idx="17762">
                  <c:v>0.31678259318708701</c:v>
                </c:pt>
                <c:pt idx="17763">
                  <c:v>0.31680042803638297</c:v>
                </c:pt>
                <c:pt idx="17764">
                  <c:v>0.31681826288567799</c:v>
                </c:pt>
                <c:pt idx="17765">
                  <c:v>0.31683609773497401</c:v>
                </c:pt>
                <c:pt idx="17766">
                  <c:v>0.31685393258426903</c:v>
                </c:pt>
                <c:pt idx="17767">
                  <c:v>0.31687176743356499</c:v>
                </c:pt>
                <c:pt idx="17768">
                  <c:v>0.31688960228286001</c:v>
                </c:pt>
                <c:pt idx="17769">
                  <c:v>0.31690743713215602</c:v>
                </c:pt>
                <c:pt idx="17770">
                  <c:v>0.31692527198145098</c:v>
                </c:pt>
                <c:pt idx="17771">
                  <c:v>0.316943106830747</c:v>
                </c:pt>
                <c:pt idx="17772">
                  <c:v>0.31696094168004202</c:v>
                </c:pt>
                <c:pt idx="17773">
                  <c:v>0.31697877652933798</c:v>
                </c:pt>
                <c:pt idx="17774">
                  <c:v>0.316996611378633</c:v>
                </c:pt>
                <c:pt idx="17775">
                  <c:v>0.31701444622792901</c:v>
                </c:pt>
                <c:pt idx="17776">
                  <c:v>0.31703228107722398</c:v>
                </c:pt>
                <c:pt idx="17777">
                  <c:v>0.31705011592651999</c:v>
                </c:pt>
                <c:pt idx="17778">
                  <c:v>0.31706795077581501</c:v>
                </c:pt>
                <c:pt idx="17779">
                  <c:v>0.31708578562511103</c:v>
                </c:pt>
                <c:pt idx="17780">
                  <c:v>0.31710362047440699</c:v>
                </c:pt>
                <c:pt idx="17781">
                  <c:v>0.31712145532370201</c:v>
                </c:pt>
                <c:pt idx="17782">
                  <c:v>0.31713929017299802</c:v>
                </c:pt>
                <c:pt idx="17783">
                  <c:v>0.31715712502229298</c:v>
                </c:pt>
                <c:pt idx="17784">
                  <c:v>0.317174959871589</c:v>
                </c:pt>
                <c:pt idx="17785">
                  <c:v>0.31719279472088402</c:v>
                </c:pt>
                <c:pt idx="17786">
                  <c:v>0.31721062957017998</c:v>
                </c:pt>
                <c:pt idx="17787">
                  <c:v>0.317228464419475</c:v>
                </c:pt>
                <c:pt idx="17788">
                  <c:v>0.31724629926877101</c:v>
                </c:pt>
                <c:pt idx="17789">
                  <c:v>0.31726413411806598</c:v>
                </c:pt>
                <c:pt idx="17790">
                  <c:v>0.31728196896736199</c:v>
                </c:pt>
                <c:pt idx="17791">
                  <c:v>0.31729980381665701</c:v>
                </c:pt>
                <c:pt idx="17792">
                  <c:v>0.31731763866595297</c:v>
                </c:pt>
                <c:pt idx="17793">
                  <c:v>0.31733547351524799</c:v>
                </c:pt>
                <c:pt idx="17794">
                  <c:v>0.31735330836454401</c:v>
                </c:pt>
                <c:pt idx="17795">
                  <c:v>0.31737114321383902</c:v>
                </c:pt>
                <c:pt idx="17796">
                  <c:v>0.31738897806313499</c:v>
                </c:pt>
                <c:pt idx="17797">
                  <c:v>0.31740681291243</c:v>
                </c:pt>
                <c:pt idx="17798">
                  <c:v>0.31742464776172602</c:v>
                </c:pt>
                <c:pt idx="17799">
                  <c:v>0.31744248261102098</c:v>
                </c:pt>
                <c:pt idx="17800">
                  <c:v>0.317460317460317</c:v>
                </c:pt>
                <c:pt idx="17801">
                  <c:v>0.31747815230961202</c:v>
                </c:pt>
                <c:pt idx="17802">
                  <c:v>0.31749598715890798</c:v>
                </c:pt>
                <c:pt idx="17803">
                  <c:v>0.31751382200820399</c:v>
                </c:pt>
                <c:pt idx="17804">
                  <c:v>0.31753165685749901</c:v>
                </c:pt>
                <c:pt idx="17805">
                  <c:v>0.31754949170679497</c:v>
                </c:pt>
                <c:pt idx="17806">
                  <c:v>0.31756732655608999</c:v>
                </c:pt>
                <c:pt idx="17807">
                  <c:v>0.31758516140538601</c:v>
                </c:pt>
                <c:pt idx="17808">
                  <c:v>0.31760299625468102</c:v>
                </c:pt>
                <c:pt idx="17809">
                  <c:v>0.31762083110397699</c:v>
                </c:pt>
                <c:pt idx="17810">
                  <c:v>0.317638665953272</c:v>
                </c:pt>
                <c:pt idx="17811">
                  <c:v>0.31765650080256802</c:v>
                </c:pt>
                <c:pt idx="17812">
                  <c:v>0.31767433565186298</c:v>
                </c:pt>
                <c:pt idx="17813">
                  <c:v>0.317692170501159</c:v>
                </c:pt>
                <c:pt idx="17814">
                  <c:v>0.31771000535045402</c:v>
                </c:pt>
                <c:pt idx="17815">
                  <c:v>0.31772784019974998</c:v>
                </c:pt>
                <c:pt idx="17816">
                  <c:v>0.317745675049045</c:v>
                </c:pt>
                <c:pt idx="17817">
                  <c:v>0.31776350989834101</c:v>
                </c:pt>
                <c:pt idx="17818">
                  <c:v>0.31778134474763597</c:v>
                </c:pt>
                <c:pt idx="17819">
                  <c:v>0.31779917959693199</c:v>
                </c:pt>
                <c:pt idx="17820">
                  <c:v>0.31781701444622701</c:v>
                </c:pt>
                <c:pt idx="17821">
                  <c:v>0.31783484929552303</c:v>
                </c:pt>
                <c:pt idx="17822">
                  <c:v>0.31785268414481899</c:v>
                </c:pt>
                <c:pt idx="17823">
                  <c:v>0.317870518994114</c:v>
                </c:pt>
                <c:pt idx="17824">
                  <c:v>0.31788835384341002</c:v>
                </c:pt>
                <c:pt idx="17825">
                  <c:v>0.31790618869270498</c:v>
                </c:pt>
                <c:pt idx="17826">
                  <c:v>0.317924023542001</c:v>
                </c:pt>
                <c:pt idx="17827">
                  <c:v>0.31794185839129602</c:v>
                </c:pt>
                <c:pt idx="17828">
                  <c:v>0.31795969324059198</c:v>
                </c:pt>
                <c:pt idx="17829">
                  <c:v>0.317977528089887</c:v>
                </c:pt>
                <c:pt idx="17830">
                  <c:v>0.31799536293918301</c:v>
                </c:pt>
                <c:pt idx="17831">
                  <c:v>0.31801319778847797</c:v>
                </c:pt>
                <c:pt idx="17832">
                  <c:v>0.31803103263777399</c:v>
                </c:pt>
                <c:pt idx="17833">
                  <c:v>0.31804886748706901</c:v>
                </c:pt>
                <c:pt idx="17834">
                  <c:v>0.31806670233636503</c:v>
                </c:pt>
                <c:pt idx="17835">
                  <c:v>0.31808453718565999</c:v>
                </c:pt>
                <c:pt idx="17836">
                  <c:v>0.318102372034956</c:v>
                </c:pt>
                <c:pt idx="17837">
                  <c:v>0.31812020688425102</c:v>
                </c:pt>
                <c:pt idx="17838">
                  <c:v>0.31813804173354698</c:v>
                </c:pt>
                <c:pt idx="17839">
                  <c:v>0.318155876582842</c:v>
                </c:pt>
                <c:pt idx="17840">
                  <c:v>0.31817371143213802</c:v>
                </c:pt>
                <c:pt idx="17841">
                  <c:v>0.31819154628143298</c:v>
                </c:pt>
                <c:pt idx="17842">
                  <c:v>0.318209381130729</c:v>
                </c:pt>
                <c:pt idx="17843">
                  <c:v>0.31822721598002401</c:v>
                </c:pt>
                <c:pt idx="17844">
                  <c:v>0.31824505082931998</c:v>
                </c:pt>
                <c:pt idx="17845">
                  <c:v>0.31826288567861599</c:v>
                </c:pt>
                <c:pt idx="17846">
                  <c:v>0.31828072052791101</c:v>
                </c:pt>
                <c:pt idx="17847">
                  <c:v>0.31829855537720703</c:v>
                </c:pt>
                <c:pt idx="17848">
                  <c:v>0.31831639022650199</c:v>
                </c:pt>
                <c:pt idx="17849">
                  <c:v>0.31833422507579801</c:v>
                </c:pt>
                <c:pt idx="17850">
                  <c:v>0.31835205992509302</c:v>
                </c:pt>
                <c:pt idx="17851">
                  <c:v>0.31836989477438898</c:v>
                </c:pt>
                <c:pt idx="17852">
                  <c:v>0.318387729623684</c:v>
                </c:pt>
                <c:pt idx="17853">
                  <c:v>0.31840556447298002</c:v>
                </c:pt>
                <c:pt idx="17854">
                  <c:v>0.31842339932227498</c:v>
                </c:pt>
                <c:pt idx="17855">
                  <c:v>0.318441234171571</c:v>
                </c:pt>
                <c:pt idx="17856">
                  <c:v>0.31845906902086601</c:v>
                </c:pt>
                <c:pt idx="17857">
                  <c:v>0.31847690387016198</c:v>
                </c:pt>
                <c:pt idx="17858">
                  <c:v>0.31849473871945699</c:v>
                </c:pt>
                <c:pt idx="17859">
                  <c:v>0.31851257356875301</c:v>
                </c:pt>
                <c:pt idx="17860">
                  <c:v>0.31853040841804803</c:v>
                </c:pt>
                <c:pt idx="17861">
                  <c:v>0.31854824326734399</c:v>
                </c:pt>
                <c:pt idx="17862">
                  <c:v>0.31856607811663901</c:v>
                </c:pt>
                <c:pt idx="17863">
                  <c:v>0.31858391296593502</c:v>
                </c:pt>
                <c:pt idx="17864">
                  <c:v>0.31860174781523098</c:v>
                </c:pt>
                <c:pt idx="17865">
                  <c:v>0.318619582664526</c:v>
                </c:pt>
                <c:pt idx="17866">
                  <c:v>0.31863741751382202</c:v>
                </c:pt>
                <c:pt idx="17867">
                  <c:v>0.31865525236311698</c:v>
                </c:pt>
                <c:pt idx="17868">
                  <c:v>0.318673087212413</c:v>
                </c:pt>
                <c:pt idx="17869">
                  <c:v>0.31869092206170802</c:v>
                </c:pt>
                <c:pt idx="17870">
                  <c:v>0.31870875691100398</c:v>
                </c:pt>
                <c:pt idx="17871">
                  <c:v>0.31872659176029899</c:v>
                </c:pt>
                <c:pt idx="17872">
                  <c:v>0.31874442660959501</c:v>
                </c:pt>
                <c:pt idx="17873">
                  <c:v>0.31876226145888997</c:v>
                </c:pt>
                <c:pt idx="17874">
                  <c:v>0.31878009630818599</c:v>
                </c:pt>
                <c:pt idx="17875">
                  <c:v>0.31879793115748101</c:v>
                </c:pt>
                <c:pt idx="17876">
                  <c:v>0.31881576600677702</c:v>
                </c:pt>
                <c:pt idx="17877">
                  <c:v>0.31883360085607199</c:v>
                </c:pt>
                <c:pt idx="17878">
                  <c:v>0.318851435705368</c:v>
                </c:pt>
                <c:pt idx="17879">
                  <c:v>0.31886927055466302</c:v>
                </c:pt>
                <c:pt idx="17880">
                  <c:v>0.31888710540395898</c:v>
                </c:pt>
                <c:pt idx="17881">
                  <c:v>0.318904940253254</c:v>
                </c:pt>
                <c:pt idx="17882">
                  <c:v>0.31892277510255002</c:v>
                </c:pt>
                <c:pt idx="17883">
                  <c:v>0.31894060995184498</c:v>
                </c:pt>
                <c:pt idx="17884">
                  <c:v>0.31895844480114099</c:v>
                </c:pt>
                <c:pt idx="17885">
                  <c:v>0.31897627965043601</c:v>
                </c:pt>
                <c:pt idx="17886">
                  <c:v>0.31899411449973197</c:v>
                </c:pt>
                <c:pt idx="17887">
                  <c:v>0.31901194934902799</c:v>
                </c:pt>
                <c:pt idx="17888">
                  <c:v>0.31902978419832301</c:v>
                </c:pt>
                <c:pt idx="17889">
                  <c:v>0.31904761904761902</c:v>
                </c:pt>
                <c:pt idx="17890">
                  <c:v>0.31906545389691399</c:v>
                </c:pt>
                <c:pt idx="17891">
                  <c:v>0.31908328874621</c:v>
                </c:pt>
                <c:pt idx="17892">
                  <c:v>0.31910112359550502</c:v>
                </c:pt>
                <c:pt idx="17893">
                  <c:v>0.31911895844480098</c:v>
                </c:pt>
                <c:pt idx="17894">
                  <c:v>0.319136793294096</c:v>
                </c:pt>
                <c:pt idx="17895">
                  <c:v>0.31915462814339202</c:v>
                </c:pt>
                <c:pt idx="17896">
                  <c:v>0.31917246299268698</c:v>
                </c:pt>
                <c:pt idx="17897">
                  <c:v>0.319190297841983</c:v>
                </c:pt>
                <c:pt idx="17898">
                  <c:v>0.31920813269127801</c:v>
                </c:pt>
                <c:pt idx="17899">
                  <c:v>0.31922596754057397</c:v>
                </c:pt>
                <c:pt idx="17900">
                  <c:v>0.31924380238986899</c:v>
                </c:pt>
                <c:pt idx="17901">
                  <c:v>0.31926163723916501</c:v>
                </c:pt>
                <c:pt idx="17902">
                  <c:v>0.31927947208846003</c:v>
                </c:pt>
                <c:pt idx="17903">
                  <c:v>0.31929730693775599</c:v>
                </c:pt>
                <c:pt idx="17904">
                  <c:v>0.319315141787051</c:v>
                </c:pt>
                <c:pt idx="17905">
                  <c:v>0.31933297663634702</c:v>
                </c:pt>
                <c:pt idx="17906">
                  <c:v>0.31935081148564198</c:v>
                </c:pt>
                <c:pt idx="17907">
                  <c:v>0.319368646334938</c:v>
                </c:pt>
                <c:pt idx="17908">
                  <c:v>0.31938648118423402</c:v>
                </c:pt>
                <c:pt idx="17909">
                  <c:v>0.31940431603352898</c:v>
                </c:pt>
                <c:pt idx="17910">
                  <c:v>0.319422150882825</c:v>
                </c:pt>
                <c:pt idx="17911">
                  <c:v>0.31943998573212001</c:v>
                </c:pt>
                <c:pt idx="17912">
                  <c:v>0.31945782058141597</c:v>
                </c:pt>
                <c:pt idx="17913">
                  <c:v>0.31947565543071099</c:v>
                </c:pt>
                <c:pt idx="17914">
                  <c:v>0.31949349028000701</c:v>
                </c:pt>
                <c:pt idx="17915">
                  <c:v>0.31951132512930203</c:v>
                </c:pt>
                <c:pt idx="17916">
                  <c:v>0.31952915997859799</c:v>
                </c:pt>
                <c:pt idx="17917">
                  <c:v>0.31954699482789301</c:v>
                </c:pt>
                <c:pt idx="17918">
                  <c:v>0.31956482967718902</c:v>
                </c:pt>
                <c:pt idx="17919">
                  <c:v>0.31958266452648398</c:v>
                </c:pt>
                <c:pt idx="17920">
                  <c:v>0.31960049937578</c:v>
                </c:pt>
                <c:pt idx="17921">
                  <c:v>0.31961833422507502</c:v>
                </c:pt>
                <c:pt idx="17922">
                  <c:v>0.31963616907437098</c:v>
                </c:pt>
                <c:pt idx="17923">
                  <c:v>0.319654003923666</c:v>
                </c:pt>
                <c:pt idx="17924">
                  <c:v>0.31967183877296201</c:v>
                </c:pt>
                <c:pt idx="17925">
                  <c:v>0.31968967362225698</c:v>
                </c:pt>
                <c:pt idx="17926">
                  <c:v>0.31970750847155299</c:v>
                </c:pt>
                <c:pt idx="17927">
                  <c:v>0.31972534332084801</c:v>
                </c:pt>
                <c:pt idx="17928">
                  <c:v>0.31974317817014403</c:v>
                </c:pt>
                <c:pt idx="17929">
                  <c:v>0.31976101301943999</c:v>
                </c:pt>
                <c:pt idx="17930">
                  <c:v>0.31977884786873501</c:v>
                </c:pt>
                <c:pt idx="17931">
                  <c:v>0.31979668271803102</c:v>
                </c:pt>
                <c:pt idx="17932">
                  <c:v>0.31981451756732598</c:v>
                </c:pt>
                <c:pt idx="17933">
                  <c:v>0.319832352416622</c:v>
                </c:pt>
                <c:pt idx="17934">
                  <c:v>0.31985018726591702</c:v>
                </c:pt>
                <c:pt idx="17935">
                  <c:v>0.31986802211521298</c:v>
                </c:pt>
                <c:pt idx="17936">
                  <c:v>0.319885856964508</c:v>
                </c:pt>
                <c:pt idx="17937">
                  <c:v>0.31990369181380401</c:v>
                </c:pt>
                <c:pt idx="17938">
                  <c:v>0.31992152666309898</c:v>
                </c:pt>
                <c:pt idx="17939">
                  <c:v>0.31993936151239499</c:v>
                </c:pt>
                <c:pt idx="17940">
                  <c:v>0.31995719636169001</c:v>
                </c:pt>
                <c:pt idx="17941">
                  <c:v>0.31997503121098603</c:v>
                </c:pt>
                <c:pt idx="17942">
                  <c:v>0.31999286606028099</c:v>
                </c:pt>
                <c:pt idx="17943">
                  <c:v>0.32001070090957701</c:v>
                </c:pt>
                <c:pt idx="17944">
                  <c:v>0.32002853575887202</c:v>
                </c:pt>
                <c:pt idx="17945">
                  <c:v>0.32004637060816798</c:v>
                </c:pt>
                <c:pt idx="17946">
                  <c:v>0.320064205457463</c:v>
                </c:pt>
                <c:pt idx="17947">
                  <c:v>0.32008204030675902</c:v>
                </c:pt>
                <c:pt idx="17948">
                  <c:v>0.32009987515605398</c:v>
                </c:pt>
                <c:pt idx="17949">
                  <c:v>0.32011771000535</c:v>
                </c:pt>
                <c:pt idx="17950">
                  <c:v>0.32013554485464502</c:v>
                </c:pt>
                <c:pt idx="17951">
                  <c:v>0.32015337970394098</c:v>
                </c:pt>
                <c:pt idx="17952">
                  <c:v>0.32017121455323699</c:v>
                </c:pt>
                <c:pt idx="17953">
                  <c:v>0.32018904940253201</c:v>
                </c:pt>
                <c:pt idx="17954">
                  <c:v>0.32020688425182797</c:v>
                </c:pt>
                <c:pt idx="17955">
                  <c:v>0.32022471910112299</c:v>
                </c:pt>
                <c:pt idx="17956">
                  <c:v>0.32024255395041901</c:v>
                </c:pt>
                <c:pt idx="17957">
                  <c:v>0.32026038879971402</c:v>
                </c:pt>
                <c:pt idx="17958">
                  <c:v>0.32027822364900999</c:v>
                </c:pt>
                <c:pt idx="17959">
                  <c:v>0.320296058498305</c:v>
                </c:pt>
                <c:pt idx="17960">
                  <c:v>0.32031389334760102</c:v>
                </c:pt>
                <c:pt idx="17961">
                  <c:v>0.32033172819689598</c:v>
                </c:pt>
                <c:pt idx="17962">
                  <c:v>0.320349563046192</c:v>
                </c:pt>
                <c:pt idx="17963">
                  <c:v>0.32036739789548702</c:v>
                </c:pt>
                <c:pt idx="17964">
                  <c:v>0.32038523274478298</c:v>
                </c:pt>
                <c:pt idx="17965">
                  <c:v>0.32040306759407799</c:v>
                </c:pt>
                <c:pt idx="17966">
                  <c:v>0.32042090244337401</c:v>
                </c:pt>
                <c:pt idx="17967">
                  <c:v>0.32043873729266897</c:v>
                </c:pt>
                <c:pt idx="17968">
                  <c:v>0.32045657214196499</c:v>
                </c:pt>
                <c:pt idx="17969">
                  <c:v>0.32047440699126001</c:v>
                </c:pt>
                <c:pt idx="17970">
                  <c:v>0.32049224184055602</c:v>
                </c:pt>
                <c:pt idx="17971">
                  <c:v>0.32051007668985199</c:v>
                </c:pt>
                <c:pt idx="17972">
                  <c:v>0.320527911539147</c:v>
                </c:pt>
                <c:pt idx="17973">
                  <c:v>0.32054574638844302</c:v>
                </c:pt>
                <c:pt idx="17974">
                  <c:v>0.32056358123773798</c:v>
                </c:pt>
                <c:pt idx="17975">
                  <c:v>0.320581416087034</c:v>
                </c:pt>
                <c:pt idx="17976">
                  <c:v>0.32059925093632902</c:v>
                </c:pt>
                <c:pt idx="17977">
                  <c:v>0.32061708578562498</c:v>
                </c:pt>
                <c:pt idx="17978">
                  <c:v>0.32063492063492</c:v>
                </c:pt>
                <c:pt idx="17979">
                  <c:v>0.32065275548421601</c:v>
                </c:pt>
                <c:pt idx="17980">
                  <c:v>0.32067059033351097</c:v>
                </c:pt>
                <c:pt idx="17981">
                  <c:v>0.32068842518280699</c:v>
                </c:pt>
                <c:pt idx="17982">
                  <c:v>0.32070626003210201</c:v>
                </c:pt>
                <c:pt idx="17983">
                  <c:v>0.32072409488139803</c:v>
                </c:pt>
                <c:pt idx="17984">
                  <c:v>0.32074192973069299</c:v>
                </c:pt>
                <c:pt idx="17985">
                  <c:v>0.320759764579989</c:v>
                </c:pt>
                <c:pt idx="17986">
                  <c:v>0.32077759942928402</c:v>
                </c:pt>
                <c:pt idx="17987">
                  <c:v>0.32079543427857998</c:v>
                </c:pt>
                <c:pt idx="17988">
                  <c:v>0.320813269127875</c:v>
                </c:pt>
                <c:pt idx="17989">
                  <c:v>0.32083110397717102</c:v>
                </c:pt>
                <c:pt idx="17990">
                  <c:v>0.32084893882646598</c:v>
                </c:pt>
                <c:pt idx="17991">
                  <c:v>0.320866773675762</c:v>
                </c:pt>
                <c:pt idx="17992">
                  <c:v>0.32088460852505701</c:v>
                </c:pt>
                <c:pt idx="17993">
                  <c:v>0.32090244337435297</c:v>
                </c:pt>
                <c:pt idx="17994">
                  <c:v>0.32092027822364899</c:v>
                </c:pt>
                <c:pt idx="17995">
                  <c:v>0.32093811307294401</c:v>
                </c:pt>
                <c:pt idx="17996">
                  <c:v>0.32095594792224003</c:v>
                </c:pt>
                <c:pt idx="17997">
                  <c:v>0.32097378277153499</c:v>
                </c:pt>
                <c:pt idx="17998">
                  <c:v>0.320991617620831</c:v>
                </c:pt>
                <c:pt idx="17999">
                  <c:v>0.32100945247012602</c:v>
                </c:pt>
                <c:pt idx="18000">
                  <c:v>0.32102728731942198</c:v>
                </c:pt>
                <c:pt idx="18001">
                  <c:v>0.321045122168717</c:v>
                </c:pt>
                <c:pt idx="18002">
                  <c:v>0.32106295701801302</c:v>
                </c:pt>
                <c:pt idx="18003">
                  <c:v>0.32108079186730798</c:v>
                </c:pt>
                <c:pt idx="18004">
                  <c:v>0.321098626716604</c:v>
                </c:pt>
                <c:pt idx="18005">
                  <c:v>0.32111646156589901</c:v>
                </c:pt>
                <c:pt idx="18006">
                  <c:v>0.32113429641519498</c:v>
                </c:pt>
                <c:pt idx="18007">
                  <c:v>0.32115213126448999</c:v>
                </c:pt>
                <c:pt idx="18008">
                  <c:v>0.32116996611378601</c:v>
                </c:pt>
                <c:pt idx="18009">
                  <c:v>0.32118780096308103</c:v>
                </c:pt>
                <c:pt idx="18010">
                  <c:v>0.32120563581237699</c:v>
                </c:pt>
                <c:pt idx="18011">
                  <c:v>0.32122347066167201</c:v>
                </c:pt>
                <c:pt idx="18012">
                  <c:v>0.32124130551096802</c:v>
                </c:pt>
                <c:pt idx="18013">
                  <c:v>0.32125914036026298</c:v>
                </c:pt>
                <c:pt idx="18014">
                  <c:v>0.321276975209559</c:v>
                </c:pt>
                <c:pt idx="18015">
                  <c:v>0.32129481005885502</c:v>
                </c:pt>
                <c:pt idx="18016">
                  <c:v>0.32131264490814998</c:v>
                </c:pt>
                <c:pt idx="18017">
                  <c:v>0.321330479757446</c:v>
                </c:pt>
                <c:pt idx="18018">
                  <c:v>0.32134831460674101</c:v>
                </c:pt>
                <c:pt idx="18019">
                  <c:v>0.32136614945603698</c:v>
                </c:pt>
                <c:pt idx="18020">
                  <c:v>0.32138398430533199</c:v>
                </c:pt>
                <c:pt idx="18021">
                  <c:v>0.32140181915462801</c:v>
                </c:pt>
                <c:pt idx="18022">
                  <c:v>0.32141965400392303</c:v>
                </c:pt>
                <c:pt idx="18023">
                  <c:v>0.32143748885321899</c:v>
                </c:pt>
                <c:pt idx="18024">
                  <c:v>0.32145532370251401</c:v>
                </c:pt>
                <c:pt idx="18025">
                  <c:v>0.32147315855181002</c:v>
                </c:pt>
                <c:pt idx="18026">
                  <c:v>0.32149099340110499</c:v>
                </c:pt>
                <c:pt idx="18027">
                  <c:v>0.321508828250401</c:v>
                </c:pt>
                <c:pt idx="18028">
                  <c:v>0.32152666309969602</c:v>
                </c:pt>
                <c:pt idx="18029">
                  <c:v>0.32154449794899198</c:v>
                </c:pt>
                <c:pt idx="18030">
                  <c:v>0.321562332798287</c:v>
                </c:pt>
                <c:pt idx="18031">
                  <c:v>0.32158016764758302</c:v>
                </c:pt>
                <c:pt idx="18032">
                  <c:v>0.32159800249687798</c:v>
                </c:pt>
                <c:pt idx="18033">
                  <c:v>0.32161583734617399</c:v>
                </c:pt>
                <c:pt idx="18034">
                  <c:v>0.32163367219546901</c:v>
                </c:pt>
                <c:pt idx="18035">
                  <c:v>0.32165150704476497</c:v>
                </c:pt>
                <c:pt idx="18036">
                  <c:v>0.32166934189406099</c:v>
                </c:pt>
                <c:pt idx="18037">
                  <c:v>0.32168717674335601</c:v>
                </c:pt>
                <c:pt idx="18038">
                  <c:v>0.32170501159265202</c:v>
                </c:pt>
                <c:pt idx="18039">
                  <c:v>0.32172284644194699</c:v>
                </c:pt>
                <c:pt idx="18040">
                  <c:v>0.321740681291243</c:v>
                </c:pt>
                <c:pt idx="18041">
                  <c:v>0.32175851614053802</c:v>
                </c:pt>
                <c:pt idx="18042">
                  <c:v>0.32177635098983398</c:v>
                </c:pt>
                <c:pt idx="18043">
                  <c:v>0.321794185839129</c:v>
                </c:pt>
                <c:pt idx="18044">
                  <c:v>0.32181202068842502</c:v>
                </c:pt>
                <c:pt idx="18045">
                  <c:v>0.32182985553771998</c:v>
                </c:pt>
                <c:pt idx="18046">
                  <c:v>0.32184769038701599</c:v>
                </c:pt>
                <c:pt idx="18047">
                  <c:v>0.32186552523631101</c:v>
                </c:pt>
                <c:pt idx="18048">
                  <c:v>0.32188336008560697</c:v>
                </c:pt>
                <c:pt idx="18049">
                  <c:v>0.32190119493490199</c:v>
                </c:pt>
                <c:pt idx="18050">
                  <c:v>0.32191902978419801</c:v>
                </c:pt>
                <c:pt idx="18051">
                  <c:v>0.32193686463349303</c:v>
                </c:pt>
                <c:pt idx="18052">
                  <c:v>0.32195469948278899</c:v>
                </c:pt>
                <c:pt idx="18053">
                  <c:v>0.321972534332084</c:v>
                </c:pt>
                <c:pt idx="18054">
                  <c:v>0.32199036918138002</c:v>
                </c:pt>
                <c:pt idx="18055">
                  <c:v>0.32200820403067498</c:v>
                </c:pt>
                <c:pt idx="18056">
                  <c:v>0.322026038879971</c:v>
                </c:pt>
                <c:pt idx="18057">
                  <c:v>0.32204387372926602</c:v>
                </c:pt>
                <c:pt idx="18058">
                  <c:v>0.32206170857856198</c:v>
                </c:pt>
                <c:pt idx="18059">
                  <c:v>0.32207954342785799</c:v>
                </c:pt>
                <c:pt idx="18060">
                  <c:v>0.32209737827715301</c:v>
                </c:pt>
                <c:pt idx="18061">
                  <c:v>0.32211521312644897</c:v>
                </c:pt>
                <c:pt idx="18062">
                  <c:v>0.32213304797574399</c:v>
                </c:pt>
                <c:pt idx="18063">
                  <c:v>0.32215088282504001</c:v>
                </c:pt>
                <c:pt idx="18064">
                  <c:v>0.32216871767433503</c:v>
                </c:pt>
                <c:pt idx="18065">
                  <c:v>0.32218655252363099</c:v>
                </c:pt>
                <c:pt idx="18066">
                  <c:v>0.322204387372926</c:v>
                </c:pt>
                <c:pt idx="18067">
                  <c:v>0.32222222222222202</c:v>
                </c:pt>
                <c:pt idx="18068">
                  <c:v>0.32224005707151698</c:v>
                </c:pt>
                <c:pt idx="18069">
                  <c:v>0.322257891920813</c:v>
                </c:pt>
                <c:pt idx="18070">
                  <c:v>0.32227572677010802</c:v>
                </c:pt>
                <c:pt idx="18071">
                  <c:v>0.32229356161940398</c:v>
                </c:pt>
                <c:pt idx="18072">
                  <c:v>0.322311396468699</c:v>
                </c:pt>
                <c:pt idx="18073">
                  <c:v>0.32232923131799501</c:v>
                </c:pt>
                <c:pt idx="18074">
                  <c:v>0.32234706616728998</c:v>
                </c:pt>
                <c:pt idx="18075">
                  <c:v>0.32236490101658599</c:v>
                </c:pt>
                <c:pt idx="18076">
                  <c:v>0.32238273586588101</c:v>
                </c:pt>
                <c:pt idx="18077">
                  <c:v>0.32240057071517703</c:v>
                </c:pt>
                <c:pt idx="18078">
                  <c:v>0.32241840556447299</c:v>
                </c:pt>
                <c:pt idx="18079">
                  <c:v>0.322436240413768</c:v>
                </c:pt>
                <c:pt idx="18080">
                  <c:v>0.32245407526306402</c:v>
                </c:pt>
                <c:pt idx="18081">
                  <c:v>0.32247191011235898</c:v>
                </c:pt>
                <c:pt idx="18082">
                  <c:v>0.322489744961655</c:v>
                </c:pt>
                <c:pt idx="18083">
                  <c:v>0.32250757981095002</c:v>
                </c:pt>
                <c:pt idx="18084">
                  <c:v>0.32252541466024598</c:v>
                </c:pt>
                <c:pt idx="18085">
                  <c:v>0.322543249509541</c:v>
                </c:pt>
                <c:pt idx="18086">
                  <c:v>0.32256108435883701</c:v>
                </c:pt>
                <c:pt idx="18087">
                  <c:v>0.32257891920813198</c:v>
                </c:pt>
                <c:pt idx="18088">
                  <c:v>0.32259675405742799</c:v>
                </c:pt>
                <c:pt idx="18089">
                  <c:v>0.32261458890672301</c:v>
                </c:pt>
                <c:pt idx="18090">
                  <c:v>0.32263242375601903</c:v>
                </c:pt>
                <c:pt idx="18091">
                  <c:v>0.32265025860531399</c:v>
                </c:pt>
                <c:pt idx="18092">
                  <c:v>0.32266809345461001</c:v>
                </c:pt>
                <c:pt idx="18093">
                  <c:v>0.32268592830390502</c:v>
                </c:pt>
                <c:pt idx="18094">
                  <c:v>0.32270376315320098</c:v>
                </c:pt>
                <c:pt idx="18095">
                  <c:v>0.322721598002496</c:v>
                </c:pt>
                <c:pt idx="18096">
                  <c:v>0.32273943285179202</c:v>
                </c:pt>
                <c:pt idx="18097">
                  <c:v>0.32275726770108698</c:v>
                </c:pt>
                <c:pt idx="18098">
                  <c:v>0.322775102550383</c:v>
                </c:pt>
                <c:pt idx="18099">
                  <c:v>0.32279293739967801</c:v>
                </c:pt>
                <c:pt idx="18100">
                  <c:v>0.32281077224897398</c:v>
                </c:pt>
                <c:pt idx="18101">
                  <c:v>0.32282860709826999</c:v>
                </c:pt>
                <c:pt idx="18102">
                  <c:v>0.32284644194756501</c:v>
                </c:pt>
                <c:pt idx="18103">
                  <c:v>0.32286427679686103</c:v>
                </c:pt>
                <c:pt idx="18104">
                  <c:v>0.32288211164615599</c:v>
                </c:pt>
                <c:pt idx="18105">
                  <c:v>0.32289994649545201</c:v>
                </c:pt>
                <c:pt idx="18106">
                  <c:v>0.32291778134474702</c:v>
                </c:pt>
                <c:pt idx="18107">
                  <c:v>0.32293561619404298</c:v>
                </c:pt>
                <c:pt idx="18108">
                  <c:v>0.322953451043338</c:v>
                </c:pt>
                <c:pt idx="18109">
                  <c:v>0.32297128589263402</c:v>
                </c:pt>
                <c:pt idx="18110">
                  <c:v>0.32298912074192898</c:v>
                </c:pt>
                <c:pt idx="18111">
                  <c:v>0.323006955591225</c:v>
                </c:pt>
                <c:pt idx="18112">
                  <c:v>0.32302479044052002</c:v>
                </c:pt>
                <c:pt idx="18113">
                  <c:v>0.32304262528981598</c:v>
                </c:pt>
                <c:pt idx="18114">
                  <c:v>0.32306046013911099</c:v>
                </c:pt>
                <c:pt idx="18115">
                  <c:v>0.32307829498840701</c:v>
                </c:pt>
                <c:pt idx="18116">
                  <c:v>0.32309612983770197</c:v>
                </c:pt>
                <c:pt idx="18117">
                  <c:v>0.32311396468699799</c:v>
                </c:pt>
                <c:pt idx="18118">
                  <c:v>0.32313179953629301</c:v>
                </c:pt>
                <c:pt idx="18119">
                  <c:v>0.32314963438558902</c:v>
                </c:pt>
                <c:pt idx="18120">
                  <c:v>0.32316746923488499</c:v>
                </c:pt>
                <c:pt idx="18121">
                  <c:v>0.32318530408418</c:v>
                </c:pt>
                <c:pt idx="18122">
                  <c:v>0.32320313893347602</c:v>
                </c:pt>
                <c:pt idx="18123">
                  <c:v>0.32322097378277098</c:v>
                </c:pt>
                <c:pt idx="18124">
                  <c:v>0.323238808632067</c:v>
                </c:pt>
                <c:pt idx="18125">
                  <c:v>0.32325664348136202</c:v>
                </c:pt>
                <c:pt idx="18126">
                  <c:v>0.32327447833065798</c:v>
                </c:pt>
                <c:pt idx="18127">
                  <c:v>0.32329231317995299</c:v>
                </c:pt>
                <c:pt idx="18128">
                  <c:v>0.32331014802924901</c:v>
                </c:pt>
                <c:pt idx="18129">
                  <c:v>0.32332798287854397</c:v>
                </c:pt>
                <c:pt idx="18130">
                  <c:v>0.32334581772783999</c:v>
                </c:pt>
                <c:pt idx="18131">
                  <c:v>0.32336365257713501</c:v>
                </c:pt>
                <c:pt idx="18132">
                  <c:v>0.32338148742643102</c:v>
                </c:pt>
                <c:pt idx="18133">
                  <c:v>0.32339932227572599</c:v>
                </c:pt>
                <c:pt idx="18134">
                  <c:v>0.323417157125022</c:v>
                </c:pt>
                <c:pt idx="18135">
                  <c:v>0.32343499197431702</c:v>
                </c:pt>
                <c:pt idx="18136">
                  <c:v>0.32345282682361298</c:v>
                </c:pt>
                <c:pt idx="18137">
                  <c:v>0.323470661672908</c:v>
                </c:pt>
                <c:pt idx="18138">
                  <c:v>0.32348849652220402</c:v>
                </c:pt>
                <c:pt idx="18139">
                  <c:v>0.32350633137149898</c:v>
                </c:pt>
                <c:pt idx="18140">
                  <c:v>0.323524166220795</c:v>
                </c:pt>
                <c:pt idx="18141">
                  <c:v>0.32354200107009001</c:v>
                </c:pt>
                <c:pt idx="18142">
                  <c:v>0.32355983591938597</c:v>
                </c:pt>
                <c:pt idx="18143">
                  <c:v>0.32357767076868199</c:v>
                </c:pt>
                <c:pt idx="18144">
                  <c:v>0.32359550561797701</c:v>
                </c:pt>
                <c:pt idx="18145">
                  <c:v>0.32361334046727303</c:v>
                </c:pt>
                <c:pt idx="18146">
                  <c:v>0.32363117531656799</c:v>
                </c:pt>
                <c:pt idx="18147">
                  <c:v>0.323649010165864</c:v>
                </c:pt>
                <c:pt idx="18148">
                  <c:v>0.32366684501515902</c:v>
                </c:pt>
                <c:pt idx="18149">
                  <c:v>0.32368467986445498</c:v>
                </c:pt>
                <c:pt idx="18150">
                  <c:v>0.32370251471375</c:v>
                </c:pt>
                <c:pt idx="18151">
                  <c:v>0.32372034956304602</c:v>
                </c:pt>
                <c:pt idx="18152">
                  <c:v>0.32373818441234098</c:v>
                </c:pt>
                <c:pt idx="18153">
                  <c:v>0.323756019261637</c:v>
                </c:pt>
                <c:pt idx="18154">
                  <c:v>0.32377385411093201</c:v>
                </c:pt>
                <c:pt idx="18155">
                  <c:v>0.32379168896022797</c:v>
                </c:pt>
                <c:pt idx="18156">
                  <c:v>0.32380952380952299</c:v>
                </c:pt>
                <c:pt idx="18157">
                  <c:v>0.32382735865881901</c:v>
                </c:pt>
                <c:pt idx="18158">
                  <c:v>0.32384519350811403</c:v>
                </c:pt>
                <c:pt idx="18159">
                  <c:v>0.32386302835740999</c:v>
                </c:pt>
                <c:pt idx="18160">
                  <c:v>0.32388086320670501</c:v>
                </c:pt>
                <c:pt idx="18161">
                  <c:v>0.32389869805600102</c:v>
                </c:pt>
                <c:pt idx="18162">
                  <c:v>0.32391653290529598</c:v>
                </c:pt>
                <c:pt idx="18163">
                  <c:v>0.323934367754592</c:v>
                </c:pt>
                <c:pt idx="18164">
                  <c:v>0.32395220260388802</c:v>
                </c:pt>
                <c:pt idx="18165">
                  <c:v>0.32397003745318298</c:v>
                </c:pt>
                <c:pt idx="18166">
                  <c:v>0.323987872302479</c:v>
                </c:pt>
                <c:pt idx="18167">
                  <c:v>0.32400570715177401</c:v>
                </c:pt>
                <c:pt idx="18168">
                  <c:v>0.32402354200106998</c:v>
                </c:pt>
                <c:pt idx="18169">
                  <c:v>0.32404137685036499</c:v>
                </c:pt>
                <c:pt idx="18170">
                  <c:v>0.32405921169966101</c:v>
                </c:pt>
                <c:pt idx="18171">
                  <c:v>0.32407704654895603</c:v>
                </c:pt>
                <c:pt idx="18172">
                  <c:v>0.32409488139825199</c:v>
                </c:pt>
                <c:pt idx="18173">
                  <c:v>0.32411271624754701</c:v>
                </c:pt>
                <c:pt idx="18174">
                  <c:v>0.32413055109684302</c:v>
                </c:pt>
                <c:pt idx="18175">
                  <c:v>0.32414838594613798</c:v>
                </c:pt>
                <c:pt idx="18176">
                  <c:v>0.324166220795434</c:v>
                </c:pt>
                <c:pt idx="18177">
                  <c:v>0.32418405564472902</c:v>
                </c:pt>
                <c:pt idx="18178">
                  <c:v>0.32420189049402498</c:v>
                </c:pt>
                <c:pt idx="18179">
                  <c:v>0.32421972534332</c:v>
                </c:pt>
                <c:pt idx="18180">
                  <c:v>0.32423756019261601</c:v>
                </c:pt>
                <c:pt idx="18181">
                  <c:v>0.32425539504191098</c:v>
                </c:pt>
                <c:pt idx="18182">
                  <c:v>0.32427322989120699</c:v>
                </c:pt>
                <c:pt idx="18183">
                  <c:v>0.32429106474050201</c:v>
                </c:pt>
                <c:pt idx="18184">
                  <c:v>0.32430889958979803</c:v>
                </c:pt>
                <c:pt idx="18185">
                  <c:v>0.32432673443909399</c:v>
                </c:pt>
                <c:pt idx="18186">
                  <c:v>0.32434456928838901</c:v>
                </c:pt>
                <c:pt idx="18187">
                  <c:v>0.32436240413768502</c:v>
                </c:pt>
                <c:pt idx="18188">
                  <c:v>0.32438023898697999</c:v>
                </c:pt>
                <c:pt idx="18189">
                  <c:v>0.324398073836276</c:v>
                </c:pt>
                <c:pt idx="18190">
                  <c:v>0.32441590868557102</c:v>
                </c:pt>
                <c:pt idx="18191">
                  <c:v>0.32443374353486698</c:v>
                </c:pt>
                <c:pt idx="18192">
                  <c:v>0.324451578384162</c:v>
                </c:pt>
                <c:pt idx="18193">
                  <c:v>0.32446941323345802</c:v>
                </c:pt>
                <c:pt idx="18194">
                  <c:v>0.32448724808275298</c:v>
                </c:pt>
                <c:pt idx="18195">
                  <c:v>0.32450508293204899</c:v>
                </c:pt>
                <c:pt idx="18196">
                  <c:v>0.32452291778134401</c:v>
                </c:pt>
                <c:pt idx="18197">
                  <c:v>0.32454075263063997</c:v>
                </c:pt>
                <c:pt idx="18198">
                  <c:v>0.32455858747993499</c:v>
                </c:pt>
                <c:pt idx="18199">
                  <c:v>0.32457642232923101</c:v>
                </c:pt>
                <c:pt idx="18200">
                  <c:v>0.32459425717852602</c:v>
                </c:pt>
                <c:pt idx="18201">
                  <c:v>0.32461209202782199</c:v>
                </c:pt>
                <c:pt idx="18202">
                  <c:v>0.324629926877117</c:v>
                </c:pt>
                <c:pt idx="18203">
                  <c:v>0.32464776172641302</c:v>
                </c:pt>
                <c:pt idx="18204">
                  <c:v>0.32466559657570798</c:v>
                </c:pt>
                <c:pt idx="18205">
                  <c:v>0.324683431425004</c:v>
                </c:pt>
                <c:pt idx="18206">
                  <c:v>0.32470126627429902</c:v>
                </c:pt>
                <c:pt idx="18207">
                  <c:v>0.32471910112359498</c:v>
                </c:pt>
                <c:pt idx="18208">
                  <c:v>0.32473693597289099</c:v>
                </c:pt>
                <c:pt idx="18209">
                  <c:v>0.32475477082218601</c:v>
                </c:pt>
                <c:pt idx="18210">
                  <c:v>0.32477260567148197</c:v>
                </c:pt>
                <c:pt idx="18211">
                  <c:v>0.32479044052077699</c:v>
                </c:pt>
                <c:pt idx="18212">
                  <c:v>0.32480827537007301</c:v>
                </c:pt>
                <c:pt idx="18213">
                  <c:v>0.32482611021936802</c:v>
                </c:pt>
                <c:pt idx="18214">
                  <c:v>0.32484394506866399</c:v>
                </c:pt>
                <c:pt idx="18215">
                  <c:v>0.324861779917959</c:v>
                </c:pt>
                <c:pt idx="18216">
                  <c:v>0.32487961476725502</c:v>
                </c:pt>
                <c:pt idx="18217">
                  <c:v>0.32489744961654998</c:v>
                </c:pt>
                <c:pt idx="18218">
                  <c:v>0.324915284465846</c:v>
                </c:pt>
                <c:pt idx="18219">
                  <c:v>0.32493311931514102</c:v>
                </c:pt>
                <c:pt idx="18220">
                  <c:v>0.32495095416443698</c:v>
                </c:pt>
                <c:pt idx="18221">
                  <c:v>0.324968789013732</c:v>
                </c:pt>
                <c:pt idx="18222">
                  <c:v>0.32498662386302801</c:v>
                </c:pt>
                <c:pt idx="18223">
                  <c:v>0.32500445871232297</c:v>
                </c:pt>
                <c:pt idx="18224">
                  <c:v>0.32502229356161899</c:v>
                </c:pt>
                <c:pt idx="18225">
                  <c:v>0.32504012841091401</c:v>
                </c:pt>
                <c:pt idx="18226">
                  <c:v>0.32505796326021003</c:v>
                </c:pt>
                <c:pt idx="18227">
                  <c:v>0.32507579810950599</c:v>
                </c:pt>
                <c:pt idx="18228">
                  <c:v>0.325093632958801</c:v>
                </c:pt>
                <c:pt idx="18229">
                  <c:v>0.32511146780809702</c:v>
                </c:pt>
                <c:pt idx="18230">
                  <c:v>0.32512930265739198</c:v>
                </c:pt>
                <c:pt idx="18231">
                  <c:v>0.325147137506688</c:v>
                </c:pt>
                <c:pt idx="18232">
                  <c:v>0.32516497235598302</c:v>
                </c:pt>
                <c:pt idx="18233">
                  <c:v>0.32518280720527898</c:v>
                </c:pt>
                <c:pt idx="18234">
                  <c:v>0.325200642054574</c:v>
                </c:pt>
                <c:pt idx="18235">
                  <c:v>0.32521847690387001</c:v>
                </c:pt>
                <c:pt idx="18236">
                  <c:v>0.32523631175316497</c:v>
                </c:pt>
                <c:pt idx="18237">
                  <c:v>0.32525414660246099</c:v>
                </c:pt>
                <c:pt idx="18238">
                  <c:v>0.32527198145175601</c:v>
                </c:pt>
                <c:pt idx="18239">
                  <c:v>0.32528981630105203</c:v>
                </c:pt>
                <c:pt idx="18240">
                  <c:v>0.32530765115034699</c:v>
                </c:pt>
                <c:pt idx="18241">
                  <c:v>0.325325485999643</c:v>
                </c:pt>
                <c:pt idx="18242">
                  <c:v>0.32534332084893802</c:v>
                </c:pt>
                <c:pt idx="18243">
                  <c:v>0.32536115569823398</c:v>
                </c:pt>
                <c:pt idx="18244">
                  <c:v>0.325378990547529</c:v>
                </c:pt>
                <c:pt idx="18245">
                  <c:v>0.32539682539682502</c:v>
                </c:pt>
                <c:pt idx="18246">
                  <c:v>0.32541466024611998</c:v>
                </c:pt>
                <c:pt idx="18247">
                  <c:v>0.325432495095416</c:v>
                </c:pt>
                <c:pt idx="18248">
                  <c:v>0.32545032994471101</c:v>
                </c:pt>
                <c:pt idx="18249">
                  <c:v>0.32546816479400698</c:v>
                </c:pt>
                <c:pt idx="18250">
                  <c:v>0.32548599964330299</c:v>
                </c:pt>
                <c:pt idx="18251">
                  <c:v>0.32550383449259801</c:v>
                </c:pt>
                <c:pt idx="18252">
                  <c:v>0.32552166934189403</c:v>
                </c:pt>
                <c:pt idx="18253">
                  <c:v>0.32553950419118899</c:v>
                </c:pt>
                <c:pt idx="18254">
                  <c:v>0.32555733904048501</c:v>
                </c:pt>
                <c:pt idx="18255">
                  <c:v>0.32557517388978002</c:v>
                </c:pt>
                <c:pt idx="18256">
                  <c:v>0.32559300873907598</c:v>
                </c:pt>
                <c:pt idx="18257">
                  <c:v>0.325610843588371</c:v>
                </c:pt>
                <c:pt idx="18258">
                  <c:v>0.32562867843766702</c:v>
                </c:pt>
                <c:pt idx="18259">
                  <c:v>0.32564651328696198</c:v>
                </c:pt>
                <c:pt idx="18260">
                  <c:v>0.325664348136258</c:v>
                </c:pt>
                <c:pt idx="18261">
                  <c:v>0.32568218298555301</c:v>
                </c:pt>
                <c:pt idx="18262">
                  <c:v>0.32570001783484898</c:v>
                </c:pt>
                <c:pt idx="18263">
                  <c:v>0.32571785268414399</c:v>
                </c:pt>
                <c:pt idx="18264">
                  <c:v>0.32573568753344001</c:v>
                </c:pt>
                <c:pt idx="18265">
                  <c:v>0.32575352238273497</c:v>
                </c:pt>
                <c:pt idx="18266">
                  <c:v>0.32577135723203099</c:v>
                </c:pt>
                <c:pt idx="18267">
                  <c:v>0.32578919208132601</c:v>
                </c:pt>
                <c:pt idx="18268">
                  <c:v>0.32580702693062202</c:v>
                </c:pt>
                <c:pt idx="18269">
                  <c:v>0.32582486177991798</c:v>
                </c:pt>
                <c:pt idx="18270">
                  <c:v>0.325842696629213</c:v>
                </c:pt>
                <c:pt idx="18271">
                  <c:v>0.32586053147850902</c:v>
                </c:pt>
                <c:pt idx="18272">
                  <c:v>0.32587836632780398</c:v>
                </c:pt>
                <c:pt idx="18273">
                  <c:v>0.3258962011771</c:v>
                </c:pt>
                <c:pt idx="18274">
                  <c:v>0.32591403602639502</c:v>
                </c:pt>
                <c:pt idx="18275">
                  <c:v>0.32593187087569098</c:v>
                </c:pt>
                <c:pt idx="18276">
                  <c:v>0.32594970572498599</c:v>
                </c:pt>
                <c:pt idx="18277">
                  <c:v>0.32596754057428201</c:v>
                </c:pt>
                <c:pt idx="18278">
                  <c:v>0.32598537542357697</c:v>
                </c:pt>
                <c:pt idx="18279">
                  <c:v>0.32600321027287299</c:v>
                </c:pt>
                <c:pt idx="18280">
                  <c:v>0.32602104512216801</c:v>
                </c:pt>
                <c:pt idx="18281">
                  <c:v>0.32603887997146402</c:v>
                </c:pt>
                <c:pt idx="18282">
                  <c:v>0.32605671482075899</c:v>
                </c:pt>
                <c:pt idx="18283">
                  <c:v>0.326074549670055</c:v>
                </c:pt>
                <c:pt idx="18284">
                  <c:v>0.32609238451935002</c:v>
                </c:pt>
                <c:pt idx="18285">
                  <c:v>0.32611021936864598</c:v>
                </c:pt>
                <c:pt idx="18286">
                  <c:v>0.326128054217941</c:v>
                </c:pt>
                <c:pt idx="18287">
                  <c:v>0.32614588906723702</c:v>
                </c:pt>
                <c:pt idx="18288">
                  <c:v>0.32616372391653198</c:v>
                </c:pt>
                <c:pt idx="18289">
                  <c:v>0.32618155876582799</c:v>
                </c:pt>
                <c:pt idx="18290">
                  <c:v>0.32619939361512301</c:v>
                </c:pt>
                <c:pt idx="18291">
                  <c:v>0.32621722846441897</c:v>
                </c:pt>
                <c:pt idx="18292">
                  <c:v>0.32623506331371499</c:v>
                </c:pt>
                <c:pt idx="18293">
                  <c:v>0.32625289816301001</c:v>
                </c:pt>
                <c:pt idx="18294">
                  <c:v>0.32627073301230602</c:v>
                </c:pt>
                <c:pt idx="18295">
                  <c:v>0.32628856786160099</c:v>
                </c:pt>
                <c:pt idx="18296">
                  <c:v>0.326306402710897</c:v>
                </c:pt>
                <c:pt idx="18297">
                  <c:v>0.32632423756019202</c:v>
                </c:pt>
                <c:pt idx="18298">
                  <c:v>0.32634207240948798</c:v>
                </c:pt>
                <c:pt idx="18299">
                  <c:v>0.326359907258783</c:v>
                </c:pt>
                <c:pt idx="18300">
                  <c:v>0.32637774210807902</c:v>
                </c:pt>
                <c:pt idx="18301">
                  <c:v>0.32639557695737398</c:v>
                </c:pt>
                <c:pt idx="18302">
                  <c:v>0.32641341180667</c:v>
                </c:pt>
                <c:pt idx="18303">
                  <c:v>0.32643124665596501</c:v>
                </c:pt>
                <c:pt idx="18304">
                  <c:v>0.32644908150526097</c:v>
                </c:pt>
                <c:pt idx="18305">
                  <c:v>0.32646691635455599</c:v>
                </c:pt>
                <c:pt idx="18306">
                  <c:v>0.32648475120385201</c:v>
                </c:pt>
                <c:pt idx="18307">
                  <c:v>0.32650258605314703</c:v>
                </c:pt>
                <c:pt idx="18308">
                  <c:v>0.32652042090244299</c:v>
                </c:pt>
                <c:pt idx="18309">
                  <c:v>0.326538255751738</c:v>
                </c:pt>
                <c:pt idx="18310">
                  <c:v>0.32655609060103402</c:v>
                </c:pt>
                <c:pt idx="18311">
                  <c:v>0.32657392545032898</c:v>
                </c:pt>
                <c:pt idx="18312">
                  <c:v>0.326591760299625</c:v>
                </c:pt>
                <c:pt idx="18313">
                  <c:v>0.32660959514892102</c:v>
                </c:pt>
                <c:pt idx="18314">
                  <c:v>0.32662742999821598</c:v>
                </c:pt>
                <c:pt idx="18315">
                  <c:v>0.326645264847512</c:v>
                </c:pt>
                <c:pt idx="18316">
                  <c:v>0.32666309969680701</c:v>
                </c:pt>
                <c:pt idx="18317">
                  <c:v>0.32668093454610297</c:v>
                </c:pt>
                <c:pt idx="18318">
                  <c:v>0.32669876939539799</c:v>
                </c:pt>
                <c:pt idx="18319">
                  <c:v>0.32671660424469401</c:v>
                </c:pt>
                <c:pt idx="18320">
                  <c:v>0.32673443909398903</c:v>
                </c:pt>
                <c:pt idx="18321">
                  <c:v>0.32675227394328499</c:v>
                </c:pt>
                <c:pt idx="18322">
                  <c:v>0.32677010879258001</c:v>
                </c:pt>
                <c:pt idx="18323">
                  <c:v>0.32678794364187602</c:v>
                </c:pt>
                <c:pt idx="18324">
                  <c:v>0.32680577849117098</c:v>
                </c:pt>
                <c:pt idx="18325">
                  <c:v>0.326823613340467</c:v>
                </c:pt>
                <c:pt idx="18326">
                  <c:v>0.32684144818976202</c:v>
                </c:pt>
                <c:pt idx="18327">
                  <c:v>0.32685928303905798</c:v>
                </c:pt>
                <c:pt idx="18328">
                  <c:v>0.326877117888353</c:v>
                </c:pt>
                <c:pt idx="18329">
                  <c:v>0.32689495273764901</c:v>
                </c:pt>
                <c:pt idx="18330">
                  <c:v>0.32691278758694398</c:v>
                </c:pt>
                <c:pt idx="18331">
                  <c:v>0.32693062243623999</c:v>
                </c:pt>
                <c:pt idx="18332">
                  <c:v>0.32694845728553501</c:v>
                </c:pt>
                <c:pt idx="18333">
                  <c:v>0.32696629213483103</c:v>
                </c:pt>
                <c:pt idx="18334">
                  <c:v>0.32698412698412699</c:v>
                </c:pt>
                <c:pt idx="18335">
                  <c:v>0.32700196183342201</c:v>
                </c:pt>
                <c:pt idx="18336">
                  <c:v>0.32701979668271802</c:v>
                </c:pt>
                <c:pt idx="18337">
                  <c:v>0.32703763153201298</c:v>
                </c:pt>
                <c:pt idx="18338">
                  <c:v>0.327055466381309</c:v>
                </c:pt>
                <c:pt idx="18339">
                  <c:v>0.32707330123060402</c:v>
                </c:pt>
                <c:pt idx="18340">
                  <c:v>0.32709113607989998</c:v>
                </c:pt>
                <c:pt idx="18341">
                  <c:v>0.327108970929195</c:v>
                </c:pt>
                <c:pt idx="18342">
                  <c:v>0.32712680577849101</c:v>
                </c:pt>
                <c:pt idx="18343">
                  <c:v>0.32714464062778598</c:v>
                </c:pt>
                <c:pt idx="18344">
                  <c:v>0.32716247547708199</c:v>
                </c:pt>
                <c:pt idx="18345">
                  <c:v>0.32718031032637701</c:v>
                </c:pt>
                <c:pt idx="18346">
                  <c:v>0.32719814517567303</c:v>
                </c:pt>
                <c:pt idx="18347">
                  <c:v>0.32721598002496799</c:v>
                </c:pt>
                <c:pt idx="18348">
                  <c:v>0.32723381487426401</c:v>
                </c:pt>
                <c:pt idx="18349">
                  <c:v>0.32725164972355902</c:v>
                </c:pt>
                <c:pt idx="18350">
                  <c:v>0.32726948457285499</c:v>
                </c:pt>
                <c:pt idx="18351">
                  <c:v>0.32728731942215</c:v>
                </c:pt>
                <c:pt idx="18352">
                  <c:v>0.32730515427144602</c:v>
                </c:pt>
                <c:pt idx="18353">
                  <c:v>0.32732298912074098</c:v>
                </c:pt>
                <c:pt idx="18354">
                  <c:v>0.327340823970037</c:v>
                </c:pt>
                <c:pt idx="18355">
                  <c:v>0.32735865881933202</c:v>
                </c:pt>
                <c:pt idx="18356">
                  <c:v>0.32737649366862798</c:v>
                </c:pt>
                <c:pt idx="18357">
                  <c:v>0.32739432851792399</c:v>
                </c:pt>
                <c:pt idx="18358">
                  <c:v>0.32741216336721901</c:v>
                </c:pt>
                <c:pt idx="18359">
                  <c:v>0.32742999821651497</c:v>
                </c:pt>
                <c:pt idx="18360">
                  <c:v>0.32744783306580999</c:v>
                </c:pt>
                <c:pt idx="18361">
                  <c:v>0.32746566791510601</c:v>
                </c:pt>
                <c:pt idx="18362">
                  <c:v>0.32748350276440102</c:v>
                </c:pt>
                <c:pt idx="18363">
                  <c:v>0.32750133761369699</c:v>
                </c:pt>
                <c:pt idx="18364">
                  <c:v>0.327519172462992</c:v>
                </c:pt>
                <c:pt idx="18365">
                  <c:v>0.32753700731228802</c:v>
                </c:pt>
                <c:pt idx="18366">
                  <c:v>0.32755484216158298</c:v>
                </c:pt>
                <c:pt idx="18367">
                  <c:v>0.327572677010879</c:v>
                </c:pt>
                <c:pt idx="18368">
                  <c:v>0.32759051186017402</c:v>
                </c:pt>
                <c:pt idx="18369">
                  <c:v>0.32760834670946998</c:v>
                </c:pt>
                <c:pt idx="18370">
                  <c:v>0.327626181558765</c:v>
                </c:pt>
                <c:pt idx="18371">
                  <c:v>0.32764401640806101</c:v>
                </c:pt>
                <c:pt idx="18372">
                  <c:v>0.32766185125735597</c:v>
                </c:pt>
                <c:pt idx="18373">
                  <c:v>0.32767968610665199</c:v>
                </c:pt>
                <c:pt idx="18374">
                  <c:v>0.32769752095594701</c:v>
                </c:pt>
                <c:pt idx="18375">
                  <c:v>0.32771535580524302</c:v>
                </c:pt>
                <c:pt idx="18376">
                  <c:v>0.32773319065453899</c:v>
                </c:pt>
                <c:pt idx="18377">
                  <c:v>0.327751025503834</c:v>
                </c:pt>
                <c:pt idx="18378">
                  <c:v>0.32776886035313002</c:v>
                </c:pt>
                <c:pt idx="18379">
                  <c:v>0.32778669520242498</c:v>
                </c:pt>
                <c:pt idx="18380">
                  <c:v>0.327804530051721</c:v>
                </c:pt>
                <c:pt idx="18381">
                  <c:v>0.32782236490101602</c:v>
                </c:pt>
                <c:pt idx="18382">
                  <c:v>0.32784019975031198</c:v>
                </c:pt>
                <c:pt idx="18383">
                  <c:v>0.327858034599607</c:v>
                </c:pt>
                <c:pt idx="18384">
                  <c:v>0.32787586944890301</c:v>
                </c:pt>
                <c:pt idx="18385">
                  <c:v>0.32789370429819797</c:v>
                </c:pt>
                <c:pt idx="18386">
                  <c:v>0.32791153914749399</c:v>
                </c:pt>
                <c:pt idx="18387">
                  <c:v>0.32792937399678901</c:v>
                </c:pt>
                <c:pt idx="18388">
                  <c:v>0.32794720884608503</c:v>
                </c:pt>
                <c:pt idx="18389">
                  <c:v>0.32796504369537999</c:v>
                </c:pt>
                <c:pt idx="18390">
                  <c:v>0.327982878544676</c:v>
                </c:pt>
                <c:pt idx="18391">
                  <c:v>0.32800071339397102</c:v>
                </c:pt>
                <c:pt idx="18392">
                  <c:v>0.32801854824326698</c:v>
                </c:pt>
                <c:pt idx="18393">
                  <c:v>0.328036383092562</c:v>
                </c:pt>
                <c:pt idx="18394">
                  <c:v>0.32805421794185802</c:v>
                </c:pt>
                <c:pt idx="18395">
                  <c:v>0.32807205279115298</c:v>
                </c:pt>
                <c:pt idx="18396">
                  <c:v>0.328089887640449</c:v>
                </c:pt>
                <c:pt idx="18397">
                  <c:v>0.32810772248974401</c:v>
                </c:pt>
                <c:pt idx="18398">
                  <c:v>0.32812555733903997</c:v>
                </c:pt>
                <c:pt idx="18399">
                  <c:v>0.32814339218833599</c:v>
                </c:pt>
                <c:pt idx="18400">
                  <c:v>0.32816122703763101</c:v>
                </c:pt>
                <c:pt idx="18401">
                  <c:v>0.32817906188692703</c:v>
                </c:pt>
                <c:pt idx="18402">
                  <c:v>0.32819689673622199</c:v>
                </c:pt>
                <c:pt idx="18403">
                  <c:v>0.328214731585518</c:v>
                </c:pt>
                <c:pt idx="18404">
                  <c:v>0.32823256643481302</c:v>
                </c:pt>
                <c:pt idx="18405">
                  <c:v>0.32825040128410898</c:v>
                </c:pt>
                <c:pt idx="18406">
                  <c:v>0.328268236133404</c:v>
                </c:pt>
                <c:pt idx="18407">
                  <c:v>0.32828607098270002</c:v>
                </c:pt>
                <c:pt idx="18408">
                  <c:v>0.32830390583199498</c:v>
                </c:pt>
                <c:pt idx="18409">
                  <c:v>0.328321740681291</c:v>
                </c:pt>
                <c:pt idx="18410">
                  <c:v>0.32833957553058601</c:v>
                </c:pt>
                <c:pt idx="18411">
                  <c:v>0.32835741037988198</c:v>
                </c:pt>
                <c:pt idx="18412">
                  <c:v>0.32837524522917699</c:v>
                </c:pt>
                <c:pt idx="18413">
                  <c:v>0.32839308007847301</c:v>
                </c:pt>
                <c:pt idx="18414">
                  <c:v>0.32841091492776803</c:v>
                </c:pt>
                <c:pt idx="18415">
                  <c:v>0.32842874977706399</c:v>
                </c:pt>
                <c:pt idx="18416">
                  <c:v>0.32844658462635901</c:v>
                </c:pt>
                <c:pt idx="18417">
                  <c:v>0.32846441947565502</c:v>
                </c:pt>
                <c:pt idx="18418">
                  <c:v>0.32848225432494998</c:v>
                </c:pt>
                <c:pt idx="18419">
                  <c:v>0.328500089174246</c:v>
                </c:pt>
                <c:pt idx="18420">
                  <c:v>0.32851792402354202</c:v>
                </c:pt>
                <c:pt idx="18421">
                  <c:v>0.32853575887283698</c:v>
                </c:pt>
                <c:pt idx="18422">
                  <c:v>0.328553593722133</c:v>
                </c:pt>
                <c:pt idx="18423">
                  <c:v>0.32857142857142801</c:v>
                </c:pt>
                <c:pt idx="18424">
                  <c:v>0.32858926342072398</c:v>
                </c:pt>
                <c:pt idx="18425">
                  <c:v>0.32860709827001899</c:v>
                </c:pt>
                <c:pt idx="18426">
                  <c:v>0.32862493311931501</c:v>
                </c:pt>
                <c:pt idx="18427">
                  <c:v>0.32864276796860997</c:v>
                </c:pt>
                <c:pt idx="18428">
                  <c:v>0.32866060281790599</c:v>
                </c:pt>
                <c:pt idx="18429">
                  <c:v>0.32867843766720101</c:v>
                </c:pt>
                <c:pt idx="18430">
                  <c:v>0.32869627251649702</c:v>
                </c:pt>
                <c:pt idx="18431">
                  <c:v>0.32871410736579199</c:v>
                </c:pt>
                <c:pt idx="18432">
                  <c:v>0.328731942215088</c:v>
                </c:pt>
                <c:pt idx="18433">
                  <c:v>0.32874977706438302</c:v>
                </c:pt>
                <c:pt idx="18434">
                  <c:v>0.32876761191367898</c:v>
                </c:pt>
                <c:pt idx="18435">
                  <c:v>0.328785446762974</c:v>
                </c:pt>
                <c:pt idx="18436">
                  <c:v>0.32880328161227002</c:v>
                </c:pt>
                <c:pt idx="18437">
                  <c:v>0.32882111646156498</c:v>
                </c:pt>
                <c:pt idx="18438">
                  <c:v>0.32883895131086099</c:v>
                </c:pt>
                <c:pt idx="18439">
                  <c:v>0.32885678616015601</c:v>
                </c:pt>
                <c:pt idx="18440">
                  <c:v>0.32887462100945197</c:v>
                </c:pt>
                <c:pt idx="18441">
                  <c:v>0.32889245585874799</c:v>
                </c:pt>
                <c:pt idx="18442">
                  <c:v>0.32891029070804301</c:v>
                </c:pt>
                <c:pt idx="18443">
                  <c:v>0.32892812555733902</c:v>
                </c:pt>
                <c:pt idx="18444">
                  <c:v>0.32894596040663399</c:v>
                </c:pt>
                <c:pt idx="18445">
                  <c:v>0.32896379525593</c:v>
                </c:pt>
                <c:pt idx="18446">
                  <c:v>0.32898163010522502</c:v>
                </c:pt>
                <c:pt idx="18447">
                  <c:v>0.32899946495452098</c:v>
                </c:pt>
                <c:pt idx="18448">
                  <c:v>0.329017299803816</c:v>
                </c:pt>
                <c:pt idx="18449">
                  <c:v>0.32903513465311202</c:v>
                </c:pt>
                <c:pt idx="18450">
                  <c:v>0.32905296950240698</c:v>
                </c:pt>
                <c:pt idx="18451">
                  <c:v>0.32907080435170299</c:v>
                </c:pt>
                <c:pt idx="18452">
                  <c:v>0.32908863920099801</c:v>
                </c:pt>
                <c:pt idx="18453">
                  <c:v>0.32910647405029397</c:v>
                </c:pt>
                <c:pt idx="18454">
                  <c:v>0.32912430889958899</c:v>
                </c:pt>
                <c:pt idx="18455">
                  <c:v>0.32914214374888501</c:v>
                </c:pt>
                <c:pt idx="18456">
                  <c:v>0.32915997859818003</c:v>
                </c:pt>
                <c:pt idx="18457">
                  <c:v>0.32917781344747599</c:v>
                </c:pt>
                <c:pt idx="18458">
                  <c:v>0.329195648296771</c:v>
                </c:pt>
                <c:pt idx="18459">
                  <c:v>0.32921348314606702</c:v>
                </c:pt>
                <c:pt idx="18460">
                  <c:v>0.32923131799536198</c:v>
                </c:pt>
                <c:pt idx="18461">
                  <c:v>0.329249152844658</c:v>
                </c:pt>
                <c:pt idx="18462">
                  <c:v>0.32926698769395302</c:v>
                </c:pt>
                <c:pt idx="18463">
                  <c:v>0.32928482254324898</c:v>
                </c:pt>
                <c:pt idx="18464">
                  <c:v>0.329302657392545</c:v>
                </c:pt>
                <c:pt idx="18465">
                  <c:v>0.32932049224184001</c:v>
                </c:pt>
                <c:pt idx="18466">
                  <c:v>0.32933832709113597</c:v>
                </c:pt>
                <c:pt idx="18467">
                  <c:v>0.32935616194043099</c:v>
                </c:pt>
                <c:pt idx="18468">
                  <c:v>0.32937399678972701</c:v>
                </c:pt>
                <c:pt idx="18469">
                  <c:v>0.32939183163902203</c:v>
                </c:pt>
                <c:pt idx="18470">
                  <c:v>0.32940966648831799</c:v>
                </c:pt>
                <c:pt idx="18471">
                  <c:v>0.329427501337613</c:v>
                </c:pt>
                <c:pt idx="18472">
                  <c:v>0.32944533618690902</c:v>
                </c:pt>
                <c:pt idx="18473">
                  <c:v>0.32946317103620398</c:v>
                </c:pt>
                <c:pt idx="18474">
                  <c:v>0.3294810058855</c:v>
                </c:pt>
                <c:pt idx="18475">
                  <c:v>0.32949884073479502</c:v>
                </c:pt>
                <c:pt idx="18476">
                  <c:v>0.32951667558409098</c:v>
                </c:pt>
                <c:pt idx="18477">
                  <c:v>0.329534510433386</c:v>
                </c:pt>
                <c:pt idx="18478">
                  <c:v>0.32955234528268201</c:v>
                </c:pt>
                <c:pt idx="18479">
                  <c:v>0.32957018013197698</c:v>
                </c:pt>
                <c:pt idx="18480">
                  <c:v>0.32958801498127299</c:v>
                </c:pt>
                <c:pt idx="18481">
                  <c:v>0.32960584983056801</c:v>
                </c:pt>
                <c:pt idx="18482">
                  <c:v>0.32962368467986403</c:v>
                </c:pt>
                <c:pt idx="18483">
                  <c:v>0.32964151952915999</c:v>
                </c:pt>
                <c:pt idx="18484">
                  <c:v>0.32965935437845501</c:v>
                </c:pt>
                <c:pt idx="18485">
                  <c:v>0.32967718922775102</c:v>
                </c:pt>
                <c:pt idx="18486">
                  <c:v>0.32969502407704598</c:v>
                </c:pt>
                <c:pt idx="18487">
                  <c:v>0.329712858926342</c:v>
                </c:pt>
                <c:pt idx="18488">
                  <c:v>0.32973069377563702</c:v>
                </c:pt>
                <c:pt idx="18489">
                  <c:v>0.32974852862493298</c:v>
                </c:pt>
                <c:pt idx="18490">
                  <c:v>0.329766363474228</c:v>
                </c:pt>
                <c:pt idx="18491">
                  <c:v>0.32978419832352401</c:v>
                </c:pt>
                <c:pt idx="18492">
                  <c:v>0.32980203317281898</c:v>
                </c:pt>
                <c:pt idx="18493">
                  <c:v>0.32981986802211499</c:v>
                </c:pt>
                <c:pt idx="18494">
                  <c:v>0.32983770287141001</c:v>
                </c:pt>
                <c:pt idx="18495">
                  <c:v>0.32985553772070603</c:v>
                </c:pt>
                <c:pt idx="18496">
                  <c:v>0.32987337257000099</c:v>
                </c:pt>
                <c:pt idx="18497">
                  <c:v>0.32989120741929701</c:v>
                </c:pt>
                <c:pt idx="18498">
                  <c:v>0.32990904226859202</c:v>
                </c:pt>
                <c:pt idx="18499">
                  <c:v>0.32992687711788798</c:v>
                </c:pt>
                <c:pt idx="18500">
                  <c:v>0.329944711967183</c:v>
                </c:pt>
                <c:pt idx="18501">
                  <c:v>0.32996254681647902</c:v>
                </c:pt>
                <c:pt idx="18502">
                  <c:v>0.32998038166577398</c:v>
                </c:pt>
                <c:pt idx="18503">
                  <c:v>0.32999821651507</c:v>
                </c:pt>
                <c:pt idx="18504">
                  <c:v>0.33001605136436502</c:v>
                </c:pt>
                <c:pt idx="18505">
                  <c:v>0.33003388621366098</c:v>
                </c:pt>
                <c:pt idx="18506">
                  <c:v>0.33005172106295699</c:v>
                </c:pt>
                <c:pt idx="18507">
                  <c:v>0.33006955591225201</c:v>
                </c:pt>
                <c:pt idx="18508">
                  <c:v>0.33008739076154803</c:v>
                </c:pt>
                <c:pt idx="18509">
                  <c:v>0.33010522561084299</c:v>
                </c:pt>
                <c:pt idx="18510">
                  <c:v>0.33012306046013901</c:v>
                </c:pt>
                <c:pt idx="18511">
                  <c:v>0.33014089530943402</c:v>
                </c:pt>
                <c:pt idx="18512">
                  <c:v>0.33015873015872998</c:v>
                </c:pt>
                <c:pt idx="18513">
                  <c:v>0.330176565008025</c:v>
                </c:pt>
                <c:pt idx="18514">
                  <c:v>0.33019439985732102</c:v>
                </c:pt>
                <c:pt idx="18515">
                  <c:v>0.33021223470661598</c:v>
                </c:pt>
                <c:pt idx="18516">
                  <c:v>0.330230069555912</c:v>
                </c:pt>
                <c:pt idx="18517">
                  <c:v>0.33024790440520702</c:v>
                </c:pt>
                <c:pt idx="18518">
                  <c:v>0.33026573925450298</c:v>
                </c:pt>
                <c:pt idx="18519">
                  <c:v>0.33028357410379799</c:v>
                </c:pt>
                <c:pt idx="18520">
                  <c:v>0.33030140895309401</c:v>
                </c:pt>
                <c:pt idx="18521">
                  <c:v>0.33031924380238897</c:v>
                </c:pt>
                <c:pt idx="18522">
                  <c:v>0.33033707865168499</c:v>
                </c:pt>
                <c:pt idx="18523">
                  <c:v>0.33035491350098001</c:v>
                </c:pt>
                <c:pt idx="18524">
                  <c:v>0.33037274835027602</c:v>
                </c:pt>
                <c:pt idx="18525">
                  <c:v>0.33039058319957199</c:v>
                </c:pt>
                <c:pt idx="18526">
                  <c:v>0.330408418048867</c:v>
                </c:pt>
                <c:pt idx="18527">
                  <c:v>0.33042625289816302</c:v>
                </c:pt>
                <c:pt idx="18528">
                  <c:v>0.33044408774745798</c:v>
                </c:pt>
                <c:pt idx="18529">
                  <c:v>0.330461922596754</c:v>
                </c:pt>
                <c:pt idx="18530">
                  <c:v>0.33047975744604902</c:v>
                </c:pt>
                <c:pt idx="18531">
                  <c:v>0.33049759229534498</c:v>
                </c:pt>
                <c:pt idx="18532">
                  <c:v>0.33051542714463999</c:v>
                </c:pt>
                <c:pt idx="18533">
                  <c:v>0.33053326199393601</c:v>
                </c:pt>
                <c:pt idx="18534">
                  <c:v>0.33055109684323097</c:v>
                </c:pt>
                <c:pt idx="18535">
                  <c:v>0.33056893169252699</c:v>
                </c:pt>
                <c:pt idx="18536">
                  <c:v>0.33058676654182201</c:v>
                </c:pt>
                <c:pt idx="18537">
                  <c:v>0.33060460139111802</c:v>
                </c:pt>
                <c:pt idx="18538">
                  <c:v>0.33062243624041299</c:v>
                </c:pt>
                <c:pt idx="18539">
                  <c:v>0.330640271089709</c:v>
                </c:pt>
                <c:pt idx="18540">
                  <c:v>0.33065810593900402</c:v>
                </c:pt>
                <c:pt idx="18541">
                  <c:v>0.33067594078829998</c:v>
                </c:pt>
                <c:pt idx="18542">
                  <c:v>0.330693775637595</c:v>
                </c:pt>
                <c:pt idx="18543">
                  <c:v>0.33071161048689102</c:v>
                </c:pt>
                <c:pt idx="18544">
                  <c:v>0.33072944533618598</c:v>
                </c:pt>
                <c:pt idx="18545">
                  <c:v>0.330747280185482</c:v>
                </c:pt>
                <c:pt idx="18546">
                  <c:v>0.33076511503477701</c:v>
                </c:pt>
                <c:pt idx="18547">
                  <c:v>0.33078294988407297</c:v>
                </c:pt>
                <c:pt idx="18548">
                  <c:v>0.33080078473336899</c:v>
                </c:pt>
                <c:pt idx="18549">
                  <c:v>0.33081861958266401</c:v>
                </c:pt>
                <c:pt idx="18550">
                  <c:v>0.33083645443196003</c:v>
                </c:pt>
                <c:pt idx="18551">
                  <c:v>0.33085428928125499</c:v>
                </c:pt>
                <c:pt idx="18552">
                  <c:v>0.330872124130551</c:v>
                </c:pt>
                <c:pt idx="18553">
                  <c:v>0.33088995897984602</c:v>
                </c:pt>
                <c:pt idx="18554">
                  <c:v>0.33090779382914198</c:v>
                </c:pt>
                <c:pt idx="18555">
                  <c:v>0.330925628678437</c:v>
                </c:pt>
                <c:pt idx="18556">
                  <c:v>0.33094346352773302</c:v>
                </c:pt>
                <c:pt idx="18557">
                  <c:v>0.33096129837702798</c:v>
                </c:pt>
                <c:pt idx="18558">
                  <c:v>0.330979133226324</c:v>
                </c:pt>
                <c:pt idx="18559">
                  <c:v>0.33099696807561901</c:v>
                </c:pt>
                <c:pt idx="18560">
                  <c:v>0.33101480292491497</c:v>
                </c:pt>
                <c:pt idx="18561">
                  <c:v>0.33103263777420999</c:v>
                </c:pt>
                <c:pt idx="18562">
                  <c:v>0.33105047262350601</c:v>
                </c:pt>
                <c:pt idx="18563">
                  <c:v>0.33106830747280103</c:v>
                </c:pt>
                <c:pt idx="18564">
                  <c:v>0.33108614232209699</c:v>
                </c:pt>
                <c:pt idx="18565">
                  <c:v>0.33110397717139201</c:v>
                </c:pt>
                <c:pt idx="18566">
                  <c:v>0.33112181202068802</c:v>
                </c:pt>
                <c:pt idx="18567">
                  <c:v>0.33113964686998298</c:v>
                </c:pt>
                <c:pt idx="18568">
                  <c:v>0.331157481719279</c:v>
                </c:pt>
                <c:pt idx="18569">
                  <c:v>0.33117531656857502</c:v>
                </c:pt>
                <c:pt idx="18570">
                  <c:v>0.33119315141786998</c:v>
                </c:pt>
                <c:pt idx="18571">
                  <c:v>0.331210986267166</c:v>
                </c:pt>
                <c:pt idx="18572">
                  <c:v>0.33122882111646101</c:v>
                </c:pt>
                <c:pt idx="18573">
                  <c:v>0.33124665596575698</c:v>
                </c:pt>
                <c:pt idx="18574">
                  <c:v>0.33126449081505199</c:v>
                </c:pt>
                <c:pt idx="18575">
                  <c:v>0.33128232566434801</c:v>
                </c:pt>
                <c:pt idx="18576">
                  <c:v>0.33130016051364303</c:v>
                </c:pt>
                <c:pt idx="18577">
                  <c:v>0.33131799536293899</c:v>
                </c:pt>
                <c:pt idx="18578">
                  <c:v>0.33133583021223401</c:v>
                </c:pt>
                <c:pt idx="18579">
                  <c:v>0.33135366506153002</c:v>
                </c:pt>
                <c:pt idx="18580">
                  <c:v>0.33137149991082498</c:v>
                </c:pt>
                <c:pt idx="18581">
                  <c:v>0.331389334760121</c:v>
                </c:pt>
                <c:pt idx="18582">
                  <c:v>0.33140716960941602</c:v>
                </c:pt>
                <c:pt idx="18583">
                  <c:v>0.33142500445871198</c:v>
                </c:pt>
                <c:pt idx="18584">
                  <c:v>0.331442839308007</c:v>
                </c:pt>
                <c:pt idx="18585">
                  <c:v>0.33146067415730301</c:v>
                </c:pt>
                <c:pt idx="18586">
                  <c:v>0.33147850900659798</c:v>
                </c:pt>
                <c:pt idx="18587">
                  <c:v>0.33149634385589399</c:v>
                </c:pt>
                <c:pt idx="18588">
                  <c:v>0.33151417870518901</c:v>
                </c:pt>
                <c:pt idx="18589">
                  <c:v>0.33153201355448503</c:v>
                </c:pt>
                <c:pt idx="18590">
                  <c:v>0.33154984840378099</c:v>
                </c:pt>
                <c:pt idx="18591">
                  <c:v>0.33156768325307601</c:v>
                </c:pt>
                <c:pt idx="18592">
                  <c:v>0.33158551810237202</c:v>
                </c:pt>
                <c:pt idx="18593">
                  <c:v>0.33160335295166699</c:v>
                </c:pt>
                <c:pt idx="18594">
                  <c:v>0.331621187800963</c:v>
                </c:pt>
                <c:pt idx="18595">
                  <c:v>0.33163902265025802</c:v>
                </c:pt>
                <c:pt idx="18596">
                  <c:v>0.33165685749955398</c:v>
                </c:pt>
                <c:pt idx="18597">
                  <c:v>0.331674692348849</c:v>
                </c:pt>
                <c:pt idx="18598">
                  <c:v>0.33169252719814502</c:v>
                </c:pt>
                <c:pt idx="18599">
                  <c:v>0.33171036204743998</c:v>
                </c:pt>
                <c:pt idx="18600">
                  <c:v>0.33172819689673599</c:v>
                </c:pt>
                <c:pt idx="18601">
                  <c:v>0.33174603174603101</c:v>
                </c:pt>
                <c:pt idx="18602">
                  <c:v>0.33176386659532697</c:v>
                </c:pt>
                <c:pt idx="18603">
                  <c:v>0.33178170144462199</c:v>
                </c:pt>
                <c:pt idx="18604">
                  <c:v>0.33179953629391801</c:v>
                </c:pt>
                <c:pt idx="18605">
                  <c:v>0.33181737114321302</c:v>
                </c:pt>
                <c:pt idx="18606">
                  <c:v>0.33183520599250899</c:v>
                </c:pt>
                <c:pt idx="18607">
                  <c:v>0.331853040841804</c:v>
                </c:pt>
                <c:pt idx="18608">
                  <c:v>0.33187087569110002</c:v>
                </c:pt>
                <c:pt idx="18609">
                  <c:v>0.33188871054039498</c:v>
                </c:pt>
                <c:pt idx="18610">
                  <c:v>0.331906545389691</c:v>
                </c:pt>
                <c:pt idx="18611">
                  <c:v>0.33192438023898602</c:v>
                </c:pt>
                <c:pt idx="18612">
                  <c:v>0.33194221508828198</c:v>
                </c:pt>
                <c:pt idx="18613">
                  <c:v>0.33196004993757799</c:v>
                </c:pt>
                <c:pt idx="18614">
                  <c:v>0.33197788478687301</c:v>
                </c:pt>
                <c:pt idx="18615">
                  <c:v>0.33199571963616897</c:v>
                </c:pt>
                <c:pt idx="18616">
                  <c:v>0.33201355448546399</c:v>
                </c:pt>
                <c:pt idx="18617">
                  <c:v>0.33203138933476001</c:v>
                </c:pt>
                <c:pt idx="18618">
                  <c:v>0.33204922418405503</c:v>
                </c:pt>
                <c:pt idx="18619">
                  <c:v>0.33206705903335099</c:v>
                </c:pt>
                <c:pt idx="18620">
                  <c:v>0.332084893882646</c:v>
                </c:pt>
                <c:pt idx="18621">
                  <c:v>0.33210272873194202</c:v>
                </c:pt>
                <c:pt idx="18622">
                  <c:v>0.33212056358123698</c:v>
                </c:pt>
                <c:pt idx="18623">
                  <c:v>0.332138398430533</c:v>
                </c:pt>
                <c:pt idx="18624">
                  <c:v>0.33215623327982802</c:v>
                </c:pt>
                <c:pt idx="18625">
                  <c:v>0.33217406812912398</c:v>
                </c:pt>
                <c:pt idx="18626">
                  <c:v>0.332191902978419</c:v>
                </c:pt>
                <c:pt idx="18627">
                  <c:v>0.33220973782771501</c:v>
                </c:pt>
                <c:pt idx="18628">
                  <c:v>0.33222757267700997</c:v>
                </c:pt>
                <c:pt idx="18629">
                  <c:v>0.33224540752630599</c:v>
                </c:pt>
                <c:pt idx="18630">
                  <c:v>0.33226324237560101</c:v>
                </c:pt>
                <c:pt idx="18631">
                  <c:v>0.33228107722489703</c:v>
                </c:pt>
                <c:pt idx="18632">
                  <c:v>0.33229891207419299</c:v>
                </c:pt>
                <c:pt idx="18633">
                  <c:v>0.332316746923488</c:v>
                </c:pt>
                <c:pt idx="18634">
                  <c:v>0.33233458177278402</c:v>
                </c:pt>
                <c:pt idx="18635">
                  <c:v>0.33235241662207898</c:v>
                </c:pt>
                <c:pt idx="18636">
                  <c:v>0.332370251471375</c:v>
                </c:pt>
                <c:pt idx="18637">
                  <c:v>0.33238808632067002</c:v>
                </c:pt>
                <c:pt idx="18638">
                  <c:v>0.33240592116996598</c:v>
                </c:pt>
                <c:pt idx="18639">
                  <c:v>0.332423756019261</c:v>
                </c:pt>
                <c:pt idx="18640">
                  <c:v>0.33244159086855701</c:v>
                </c:pt>
                <c:pt idx="18641">
                  <c:v>0.33245942571785198</c:v>
                </c:pt>
                <c:pt idx="18642">
                  <c:v>0.33247726056714799</c:v>
                </c:pt>
                <c:pt idx="18643">
                  <c:v>0.33249509541644301</c:v>
                </c:pt>
                <c:pt idx="18644">
                  <c:v>0.33251293026573903</c:v>
                </c:pt>
                <c:pt idx="18645">
                  <c:v>0.33253076511503399</c:v>
                </c:pt>
                <c:pt idx="18646">
                  <c:v>0.33254859996433001</c:v>
                </c:pt>
                <c:pt idx="18647">
                  <c:v>0.33256643481362502</c:v>
                </c:pt>
                <c:pt idx="18648">
                  <c:v>0.33258426966292098</c:v>
                </c:pt>
                <c:pt idx="18649">
                  <c:v>0.332602104512216</c:v>
                </c:pt>
                <c:pt idx="18650">
                  <c:v>0.33261993936151202</c:v>
                </c:pt>
                <c:pt idx="18651">
                  <c:v>0.33263777421080698</c:v>
                </c:pt>
                <c:pt idx="18652">
                  <c:v>0.332655609060103</c:v>
                </c:pt>
                <c:pt idx="18653">
                  <c:v>0.33267344390939801</c:v>
                </c:pt>
                <c:pt idx="18654">
                  <c:v>0.33269127875869398</c:v>
                </c:pt>
                <c:pt idx="18655">
                  <c:v>0.33270911360798999</c:v>
                </c:pt>
                <c:pt idx="18656">
                  <c:v>0.33272694845728501</c:v>
                </c:pt>
                <c:pt idx="18657">
                  <c:v>0.33274478330658103</c:v>
                </c:pt>
                <c:pt idx="18658">
                  <c:v>0.33276261815587599</c:v>
                </c:pt>
                <c:pt idx="18659">
                  <c:v>0.33278045300517201</c:v>
                </c:pt>
                <c:pt idx="18660">
                  <c:v>0.33279828785446702</c:v>
                </c:pt>
                <c:pt idx="18661">
                  <c:v>0.33281612270376298</c:v>
                </c:pt>
                <c:pt idx="18662">
                  <c:v>0.332833957553058</c:v>
                </c:pt>
                <c:pt idx="18663">
                  <c:v>0.33285179240235402</c:v>
                </c:pt>
                <c:pt idx="18664">
                  <c:v>0.33286962725164898</c:v>
                </c:pt>
                <c:pt idx="18665">
                  <c:v>0.332887462100945</c:v>
                </c:pt>
                <c:pt idx="18666">
                  <c:v>0.33290529695024001</c:v>
                </c:pt>
                <c:pt idx="18667">
                  <c:v>0.33292313179953598</c:v>
                </c:pt>
                <c:pt idx="18668">
                  <c:v>0.33294096664883099</c:v>
                </c:pt>
                <c:pt idx="18669">
                  <c:v>0.33295880149812701</c:v>
                </c:pt>
                <c:pt idx="18670">
                  <c:v>0.33297663634742197</c:v>
                </c:pt>
                <c:pt idx="18671">
                  <c:v>0.33299447119671799</c:v>
                </c:pt>
                <c:pt idx="18672">
                  <c:v>0.33301230604601301</c:v>
                </c:pt>
                <c:pt idx="18673">
                  <c:v>0.33303014089530902</c:v>
                </c:pt>
                <c:pt idx="18674">
                  <c:v>0.33304797574460498</c:v>
                </c:pt>
                <c:pt idx="18675">
                  <c:v>0.3330658105939</c:v>
                </c:pt>
                <c:pt idx="18676">
                  <c:v>0.33308364544319602</c:v>
                </c:pt>
                <c:pt idx="18677">
                  <c:v>0.33310148029249098</c:v>
                </c:pt>
                <c:pt idx="18678">
                  <c:v>0.333119315141787</c:v>
                </c:pt>
                <c:pt idx="18679">
                  <c:v>0.33313714999108202</c:v>
                </c:pt>
                <c:pt idx="18680">
                  <c:v>0.33315498484037798</c:v>
                </c:pt>
                <c:pt idx="18681">
                  <c:v>0.33317281968967299</c:v>
                </c:pt>
                <c:pt idx="18682">
                  <c:v>0.33319065453896901</c:v>
                </c:pt>
                <c:pt idx="18683">
                  <c:v>0.33320848938826397</c:v>
                </c:pt>
                <c:pt idx="18684">
                  <c:v>0.33322632423755999</c:v>
                </c:pt>
                <c:pt idx="18685">
                  <c:v>0.33324415908685501</c:v>
                </c:pt>
                <c:pt idx="18686">
                  <c:v>0.33326199393615102</c:v>
                </c:pt>
                <c:pt idx="18687">
                  <c:v>0.33327982878544599</c:v>
                </c:pt>
                <c:pt idx="18688">
                  <c:v>0.333297663634742</c:v>
                </c:pt>
                <c:pt idx="18689">
                  <c:v>0.33331549848403702</c:v>
                </c:pt>
                <c:pt idx="18690">
                  <c:v>0.33333333333333298</c:v>
                </c:pt>
                <c:pt idx="18691">
                  <c:v>0.333351168182628</c:v>
                </c:pt>
                <c:pt idx="18692">
                  <c:v>0.33336900303192402</c:v>
                </c:pt>
                <c:pt idx="18693">
                  <c:v>0.33338683788121898</c:v>
                </c:pt>
                <c:pt idx="18694">
                  <c:v>0.33340467273051499</c:v>
                </c:pt>
                <c:pt idx="18695">
                  <c:v>0.33342250757981001</c:v>
                </c:pt>
                <c:pt idx="18696">
                  <c:v>0.33344034242910597</c:v>
                </c:pt>
                <c:pt idx="18697">
                  <c:v>0.33345817727840199</c:v>
                </c:pt>
                <c:pt idx="18698">
                  <c:v>0.33347601212769701</c:v>
                </c:pt>
                <c:pt idx="18699">
                  <c:v>0.33349384697699302</c:v>
                </c:pt>
                <c:pt idx="18700">
                  <c:v>0.33351168182628799</c:v>
                </c:pt>
                <c:pt idx="18701">
                  <c:v>0.333529516675584</c:v>
                </c:pt>
                <c:pt idx="18702">
                  <c:v>0.33354735152487902</c:v>
                </c:pt>
                <c:pt idx="18703">
                  <c:v>0.33356518637417498</c:v>
                </c:pt>
                <c:pt idx="18704">
                  <c:v>0.33358302122347</c:v>
                </c:pt>
                <c:pt idx="18705">
                  <c:v>0.33360085607276602</c:v>
                </c:pt>
                <c:pt idx="18706">
                  <c:v>0.33361869092206098</c:v>
                </c:pt>
                <c:pt idx="18707">
                  <c:v>0.333636525771357</c:v>
                </c:pt>
                <c:pt idx="18708">
                  <c:v>0.33365436062065201</c:v>
                </c:pt>
                <c:pt idx="18709">
                  <c:v>0.33367219546994797</c:v>
                </c:pt>
                <c:pt idx="18710">
                  <c:v>0.33369003031924299</c:v>
                </c:pt>
                <c:pt idx="18711">
                  <c:v>0.33370786516853901</c:v>
                </c:pt>
                <c:pt idx="18712">
                  <c:v>0.33372570001783403</c:v>
                </c:pt>
                <c:pt idx="18713">
                  <c:v>0.33374353486712999</c:v>
                </c:pt>
                <c:pt idx="18714">
                  <c:v>0.333761369716425</c:v>
                </c:pt>
                <c:pt idx="18715">
                  <c:v>0.33377920456572102</c:v>
                </c:pt>
                <c:pt idx="18716">
                  <c:v>0.33379703941501598</c:v>
                </c:pt>
                <c:pt idx="18717">
                  <c:v>0.333814874264312</c:v>
                </c:pt>
                <c:pt idx="18718">
                  <c:v>0.33383270911360802</c:v>
                </c:pt>
                <c:pt idx="18719">
                  <c:v>0.33385054396290298</c:v>
                </c:pt>
                <c:pt idx="18720">
                  <c:v>0.333868378812199</c:v>
                </c:pt>
                <c:pt idx="18721">
                  <c:v>0.33388621366149401</c:v>
                </c:pt>
                <c:pt idx="18722">
                  <c:v>0.33390404851078997</c:v>
                </c:pt>
                <c:pt idx="18723">
                  <c:v>0.33392188336008499</c:v>
                </c:pt>
                <c:pt idx="18724">
                  <c:v>0.33393971820938101</c:v>
                </c:pt>
                <c:pt idx="18725">
                  <c:v>0.33395755305867603</c:v>
                </c:pt>
                <c:pt idx="18726">
                  <c:v>0.33397538790797199</c:v>
                </c:pt>
                <c:pt idx="18727">
                  <c:v>0.33399322275726701</c:v>
                </c:pt>
                <c:pt idx="18728">
                  <c:v>0.33401105760656302</c:v>
                </c:pt>
                <c:pt idx="18729">
                  <c:v>0.33402889245585798</c:v>
                </c:pt>
                <c:pt idx="18730">
                  <c:v>0.334046727305154</c:v>
                </c:pt>
                <c:pt idx="18731">
                  <c:v>0.33406456215444902</c:v>
                </c:pt>
                <c:pt idx="18732">
                  <c:v>0.33408239700374498</c:v>
                </c:pt>
                <c:pt idx="18733">
                  <c:v>0.33410023185304</c:v>
                </c:pt>
                <c:pt idx="18734">
                  <c:v>0.33411806670233601</c:v>
                </c:pt>
                <c:pt idx="18735">
                  <c:v>0.33413590155163098</c:v>
                </c:pt>
                <c:pt idx="18736">
                  <c:v>0.33415373640092699</c:v>
                </c:pt>
                <c:pt idx="18737">
                  <c:v>0.33417157125022201</c:v>
                </c:pt>
                <c:pt idx="18738">
                  <c:v>0.33418940609951803</c:v>
                </c:pt>
                <c:pt idx="18739">
                  <c:v>0.33420724094881399</c:v>
                </c:pt>
                <c:pt idx="18740">
                  <c:v>0.33422507579810901</c:v>
                </c:pt>
                <c:pt idx="18741">
                  <c:v>0.33424291064740502</c:v>
                </c:pt>
                <c:pt idx="18742">
                  <c:v>0.33426074549669998</c:v>
                </c:pt>
                <c:pt idx="18743">
                  <c:v>0.334278580345996</c:v>
                </c:pt>
                <c:pt idx="18744">
                  <c:v>0.33429641519529102</c:v>
                </c:pt>
                <c:pt idx="18745">
                  <c:v>0.33431425004458698</c:v>
                </c:pt>
                <c:pt idx="18746">
                  <c:v>0.334332084893882</c:v>
                </c:pt>
                <c:pt idx="18747">
                  <c:v>0.33434991974317801</c:v>
                </c:pt>
                <c:pt idx="18748">
                  <c:v>0.33436775459247298</c:v>
                </c:pt>
                <c:pt idx="18749">
                  <c:v>0.33438558944176899</c:v>
                </c:pt>
                <c:pt idx="18750">
                  <c:v>0.33440342429106401</c:v>
                </c:pt>
                <c:pt idx="18751">
                  <c:v>0.33442125914036003</c:v>
                </c:pt>
                <c:pt idx="18752">
                  <c:v>0.33443909398965499</c:v>
                </c:pt>
                <c:pt idx="18753">
                  <c:v>0.33445692883895101</c:v>
                </c:pt>
                <c:pt idx="18754">
                  <c:v>0.33447476368824602</c:v>
                </c:pt>
                <c:pt idx="18755">
                  <c:v>0.33449259853754199</c:v>
                </c:pt>
                <c:pt idx="18756">
                  <c:v>0.334510433386837</c:v>
                </c:pt>
                <c:pt idx="18757">
                  <c:v>0.33452826823613302</c:v>
                </c:pt>
                <c:pt idx="18758">
                  <c:v>0.33454610308542798</c:v>
                </c:pt>
                <c:pt idx="18759">
                  <c:v>0.334563937934724</c:v>
                </c:pt>
                <c:pt idx="18760">
                  <c:v>0.33458177278401902</c:v>
                </c:pt>
                <c:pt idx="18761">
                  <c:v>0.33459960763331498</c:v>
                </c:pt>
                <c:pt idx="18762">
                  <c:v>0.33461744248261099</c:v>
                </c:pt>
                <c:pt idx="18763">
                  <c:v>0.33463527733190601</c:v>
                </c:pt>
                <c:pt idx="18764">
                  <c:v>0.33465311218120197</c:v>
                </c:pt>
                <c:pt idx="18765">
                  <c:v>0.33467094703049699</c:v>
                </c:pt>
                <c:pt idx="18766">
                  <c:v>0.33468878187979301</c:v>
                </c:pt>
                <c:pt idx="18767">
                  <c:v>0.33470661672908802</c:v>
                </c:pt>
                <c:pt idx="18768">
                  <c:v>0.33472445157838399</c:v>
                </c:pt>
                <c:pt idx="18769">
                  <c:v>0.334742286427679</c:v>
                </c:pt>
                <c:pt idx="18770">
                  <c:v>0.33476012127697502</c:v>
                </c:pt>
                <c:pt idx="18771">
                  <c:v>0.33477795612626998</c:v>
                </c:pt>
                <c:pt idx="18772">
                  <c:v>0.334795790975566</c:v>
                </c:pt>
                <c:pt idx="18773">
                  <c:v>0.33481362582486102</c:v>
                </c:pt>
                <c:pt idx="18774">
                  <c:v>0.33483146067415698</c:v>
                </c:pt>
                <c:pt idx="18775">
                  <c:v>0.334849295523452</c:v>
                </c:pt>
                <c:pt idx="18776">
                  <c:v>0.33486713037274801</c:v>
                </c:pt>
                <c:pt idx="18777">
                  <c:v>0.33488496522204297</c:v>
                </c:pt>
                <c:pt idx="18778">
                  <c:v>0.33490280007133899</c:v>
                </c:pt>
                <c:pt idx="18779">
                  <c:v>0.33492063492063401</c:v>
                </c:pt>
                <c:pt idx="18780">
                  <c:v>0.33493846976993003</c:v>
                </c:pt>
                <c:pt idx="18781">
                  <c:v>0.33495630461922599</c:v>
                </c:pt>
                <c:pt idx="18782">
                  <c:v>0.334974139468521</c:v>
                </c:pt>
                <c:pt idx="18783">
                  <c:v>0.33499197431781702</c:v>
                </c:pt>
                <c:pt idx="18784">
                  <c:v>0.33500980916711198</c:v>
                </c:pt>
                <c:pt idx="18785">
                  <c:v>0.335027644016408</c:v>
                </c:pt>
                <c:pt idx="18786">
                  <c:v>0.33504547886570302</c:v>
                </c:pt>
                <c:pt idx="18787">
                  <c:v>0.33506331371499898</c:v>
                </c:pt>
                <c:pt idx="18788">
                  <c:v>0.335081148564294</c:v>
                </c:pt>
                <c:pt idx="18789">
                  <c:v>0.33509898341359001</c:v>
                </c:pt>
                <c:pt idx="18790">
                  <c:v>0.33511681826288497</c:v>
                </c:pt>
                <c:pt idx="18791">
                  <c:v>0.33513465311218099</c:v>
                </c:pt>
                <c:pt idx="18792">
                  <c:v>0.33515248796147601</c:v>
                </c:pt>
                <c:pt idx="18793">
                  <c:v>0.33517032281077203</c:v>
                </c:pt>
                <c:pt idx="18794">
                  <c:v>0.33518815766006699</c:v>
                </c:pt>
                <c:pt idx="18795">
                  <c:v>0.335205992509363</c:v>
                </c:pt>
                <c:pt idx="18796">
                  <c:v>0.33522382735865802</c:v>
                </c:pt>
                <c:pt idx="18797">
                  <c:v>0.33524166220795398</c:v>
                </c:pt>
                <c:pt idx="18798">
                  <c:v>0.335259497057249</c:v>
                </c:pt>
                <c:pt idx="18799">
                  <c:v>0.33527733190654502</c:v>
                </c:pt>
                <c:pt idx="18800">
                  <c:v>0.33529516675583998</c:v>
                </c:pt>
                <c:pt idx="18801">
                  <c:v>0.335313001605136</c:v>
                </c:pt>
                <c:pt idx="18802">
                  <c:v>0.33533083645443101</c:v>
                </c:pt>
                <c:pt idx="18803">
                  <c:v>0.33534867130372698</c:v>
                </c:pt>
                <c:pt idx="18804">
                  <c:v>0.33536650615302299</c:v>
                </c:pt>
                <c:pt idx="18805">
                  <c:v>0.33538434100231801</c:v>
                </c:pt>
                <c:pt idx="18806">
                  <c:v>0.33540217585161403</c:v>
                </c:pt>
                <c:pt idx="18807">
                  <c:v>0.33542001070090899</c:v>
                </c:pt>
                <c:pt idx="18808">
                  <c:v>0.335437845550205</c:v>
                </c:pt>
                <c:pt idx="18809">
                  <c:v>0.33545568039950002</c:v>
                </c:pt>
                <c:pt idx="18810">
                  <c:v>0.33547351524879598</c:v>
                </c:pt>
                <c:pt idx="18811">
                  <c:v>0.335491350098091</c:v>
                </c:pt>
                <c:pt idx="18812">
                  <c:v>0.33550918494738702</c:v>
                </c:pt>
                <c:pt idx="18813">
                  <c:v>0.33552701979668198</c:v>
                </c:pt>
                <c:pt idx="18814">
                  <c:v>0.335544854645978</c:v>
                </c:pt>
                <c:pt idx="18815">
                  <c:v>0.33556268949527301</c:v>
                </c:pt>
                <c:pt idx="18816">
                  <c:v>0.33558052434456898</c:v>
                </c:pt>
                <c:pt idx="18817">
                  <c:v>0.33559835919386399</c:v>
                </c:pt>
                <c:pt idx="18818">
                  <c:v>0.33561619404316001</c:v>
                </c:pt>
                <c:pt idx="18819">
                  <c:v>0.33563402889245503</c:v>
                </c:pt>
                <c:pt idx="18820">
                  <c:v>0.33565186374175099</c:v>
                </c:pt>
                <c:pt idx="18821">
                  <c:v>0.33566969859104601</c:v>
                </c:pt>
                <c:pt idx="18822">
                  <c:v>0.33568753344034202</c:v>
                </c:pt>
                <c:pt idx="18823">
                  <c:v>0.33570536828963699</c:v>
                </c:pt>
                <c:pt idx="18824">
                  <c:v>0.335723203138933</c:v>
                </c:pt>
                <c:pt idx="18825">
                  <c:v>0.33574103798822902</c:v>
                </c:pt>
                <c:pt idx="18826">
                  <c:v>0.33575887283752398</c:v>
                </c:pt>
                <c:pt idx="18827">
                  <c:v>0.33577670768682</c:v>
                </c:pt>
                <c:pt idx="18828">
                  <c:v>0.33579454253611501</c:v>
                </c:pt>
                <c:pt idx="18829">
                  <c:v>0.33581237738541098</c:v>
                </c:pt>
                <c:pt idx="18830">
                  <c:v>0.33583021223470599</c:v>
                </c:pt>
                <c:pt idx="18831">
                  <c:v>0.33584804708400201</c:v>
                </c:pt>
                <c:pt idx="18832">
                  <c:v>0.33586588193329697</c:v>
                </c:pt>
                <c:pt idx="18833">
                  <c:v>0.33588371678259299</c:v>
                </c:pt>
                <c:pt idx="18834">
                  <c:v>0.33590155163188801</c:v>
                </c:pt>
                <c:pt idx="18835">
                  <c:v>0.33591938648118402</c:v>
                </c:pt>
                <c:pt idx="18836">
                  <c:v>0.33593722133047899</c:v>
                </c:pt>
                <c:pt idx="18837">
                  <c:v>0.335955056179775</c:v>
                </c:pt>
                <c:pt idx="18838">
                  <c:v>0.33597289102907002</c:v>
                </c:pt>
                <c:pt idx="18839">
                  <c:v>0.33599072587836598</c:v>
                </c:pt>
                <c:pt idx="18840">
                  <c:v>0.336008560727661</c:v>
                </c:pt>
                <c:pt idx="18841">
                  <c:v>0.33602639557695702</c:v>
                </c:pt>
                <c:pt idx="18842">
                  <c:v>0.33604423042625198</c:v>
                </c:pt>
                <c:pt idx="18843">
                  <c:v>0.33606206527554799</c:v>
                </c:pt>
                <c:pt idx="18844">
                  <c:v>0.33607990012484301</c:v>
                </c:pt>
                <c:pt idx="18845">
                  <c:v>0.33609773497413897</c:v>
                </c:pt>
                <c:pt idx="18846">
                  <c:v>0.33611556982343499</c:v>
                </c:pt>
                <c:pt idx="18847">
                  <c:v>0.33613340467273001</c:v>
                </c:pt>
                <c:pt idx="18848">
                  <c:v>0.33615123952202602</c:v>
                </c:pt>
                <c:pt idx="18849">
                  <c:v>0.33616907437132099</c:v>
                </c:pt>
                <c:pt idx="18850">
                  <c:v>0.336186909220617</c:v>
                </c:pt>
                <c:pt idx="18851">
                  <c:v>0.33620474406991202</c:v>
                </c:pt>
                <c:pt idx="18852">
                  <c:v>0.33622257891920798</c:v>
                </c:pt>
                <c:pt idx="18853">
                  <c:v>0.336240413768503</c:v>
                </c:pt>
                <c:pt idx="18854">
                  <c:v>0.33625824861779902</c:v>
                </c:pt>
                <c:pt idx="18855">
                  <c:v>0.33627608346709398</c:v>
                </c:pt>
                <c:pt idx="18856">
                  <c:v>0.33629391831638999</c:v>
                </c:pt>
                <c:pt idx="18857">
                  <c:v>0.33631175316568501</c:v>
                </c:pt>
                <c:pt idx="18858">
                  <c:v>0.33632958801498097</c:v>
                </c:pt>
                <c:pt idx="18859">
                  <c:v>0.33634742286427599</c:v>
                </c:pt>
                <c:pt idx="18860">
                  <c:v>0.33636525771357201</c:v>
                </c:pt>
                <c:pt idx="18861">
                  <c:v>0.33638309256286703</c:v>
                </c:pt>
                <c:pt idx="18862">
                  <c:v>0.33640092741216299</c:v>
                </c:pt>
                <c:pt idx="18863">
                  <c:v>0.336418762261458</c:v>
                </c:pt>
                <c:pt idx="18864">
                  <c:v>0.33643659711075402</c:v>
                </c:pt>
                <c:pt idx="18865">
                  <c:v>0.33645443196004898</c:v>
                </c:pt>
                <c:pt idx="18866">
                  <c:v>0.336472266809345</c:v>
                </c:pt>
                <c:pt idx="18867">
                  <c:v>0.33649010165864002</c:v>
                </c:pt>
                <c:pt idx="18868">
                  <c:v>0.33650793650793598</c:v>
                </c:pt>
                <c:pt idx="18869">
                  <c:v>0.336525771357232</c:v>
                </c:pt>
                <c:pt idx="18870">
                  <c:v>0.33654360620652701</c:v>
                </c:pt>
                <c:pt idx="18871">
                  <c:v>0.33656144105582297</c:v>
                </c:pt>
                <c:pt idx="18872">
                  <c:v>0.33657927590511799</c:v>
                </c:pt>
                <c:pt idx="18873">
                  <c:v>0.33659711075441401</c:v>
                </c:pt>
                <c:pt idx="18874">
                  <c:v>0.33661494560370903</c:v>
                </c:pt>
                <c:pt idx="18875">
                  <c:v>0.33663278045300499</c:v>
                </c:pt>
                <c:pt idx="18876">
                  <c:v>0.3366506153023</c:v>
                </c:pt>
                <c:pt idx="18877">
                  <c:v>0.33666845015159602</c:v>
                </c:pt>
                <c:pt idx="18878">
                  <c:v>0.33668628500089098</c:v>
                </c:pt>
                <c:pt idx="18879">
                  <c:v>0.336704119850187</c:v>
                </c:pt>
                <c:pt idx="18880">
                  <c:v>0.33672195469948202</c:v>
                </c:pt>
                <c:pt idx="18881">
                  <c:v>0.33673978954877798</c:v>
                </c:pt>
                <c:pt idx="18882">
                  <c:v>0.336757624398073</c:v>
                </c:pt>
                <c:pt idx="18883">
                  <c:v>0.33677545924736901</c:v>
                </c:pt>
                <c:pt idx="18884">
                  <c:v>0.33679329409666398</c:v>
                </c:pt>
                <c:pt idx="18885">
                  <c:v>0.33681112894595999</c:v>
                </c:pt>
                <c:pt idx="18886">
                  <c:v>0.33682896379525501</c:v>
                </c:pt>
                <c:pt idx="18887">
                  <c:v>0.33684679864455103</c:v>
                </c:pt>
                <c:pt idx="18888">
                  <c:v>0.33686463349384699</c:v>
                </c:pt>
                <c:pt idx="18889">
                  <c:v>0.33688246834314201</c:v>
                </c:pt>
                <c:pt idx="18890">
                  <c:v>0.33690030319243802</c:v>
                </c:pt>
                <c:pt idx="18891">
                  <c:v>0.33691813804173298</c:v>
                </c:pt>
                <c:pt idx="18892">
                  <c:v>0.336935972891029</c:v>
                </c:pt>
                <c:pt idx="18893">
                  <c:v>0.33695380774032402</c:v>
                </c:pt>
                <c:pt idx="18894">
                  <c:v>0.33697164258961998</c:v>
                </c:pt>
                <c:pt idx="18895">
                  <c:v>0.336989477438915</c:v>
                </c:pt>
                <c:pt idx="18896">
                  <c:v>0.33700731228821101</c:v>
                </c:pt>
                <c:pt idx="18897">
                  <c:v>0.33702514713750598</c:v>
                </c:pt>
                <c:pt idx="18898">
                  <c:v>0.33704298198680199</c:v>
                </c:pt>
                <c:pt idx="18899">
                  <c:v>0.33706081683609701</c:v>
                </c:pt>
                <c:pt idx="18900">
                  <c:v>0.33707865168539303</c:v>
                </c:pt>
                <c:pt idx="18901">
                  <c:v>0.33709648653468799</c:v>
                </c:pt>
                <c:pt idx="18902">
                  <c:v>0.33711432138398401</c:v>
                </c:pt>
                <c:pt idx="18903">
                  <c:v>0.33713215623327902</c:v>
                </c:pt>
                <c:pt idx="18904">
                  <c:v>0.33714999108257498</c:v>
                </c:pt>
                <c:pt idx="18905">
                  <c:v>0.33716782593187</c:v>
                </c:pt>
                <c:pt idx="18906">
                  <c:v>0.33718566078116602</c:v>
                </c:pt>
                <c:pt idx="18907">
                  <c:v>0.33720349563046098</c:v>
                </c:pt>
                <c:pt idx="18908">
                  <c:v>0.337221330479757</c:v>
                </c:pt>
                <c:pt idx="18909">
                  <c:v>0.33723916532905202</c:v>
                </c:pt>
                <c:pt idx="18910">
                  <c:v>0.33725700017834798</c:v>
                </c:pt>
                <c:pt idx="18911">
                  <c:v>0.33727483502764399</c:v>
                </c:pt>
                <c:pt idx="18912">
                  <c:v>0.33729266987693901</c:v>
                </c:pt>
                <c:pt idx="18913">
                  <c:v>0.33731050472623503</c:v>
                </c:pt>
                <c:pt idx="18914">
                  <c:v>0.33732833957552999</c:v>
                </c:pt>
                <c:pt idx="18915">
                  <c:v>0.33734617442482601</c:v>
                </c:pt>
                <c:pt idx="18916">
                  <c:v>0.33736400927412102</c:v>
                </c:pt>
                <c:pt idx="18917">
                  <c:v>0.33738184412341699</c:v>
                </c:pt>
                <c:pt idx="18918">
                  <c:v>0.337399678972712</c:v>
                </c:pt>
                <c:pt idx="18919">
                  <c:v>0.33741751382200802</c:v>
                </c:pt>
                <c:pt idx="18920">
                  <c:v>0.33743534867130298</c:v>
                </c:pt>
                <c:pt idx="18921">
                  <c:v>0.337453183520599</c:v>
                </c:pt>
                <c:pt idx="18922">
                  <c:v>0.33747101836989402</c:v>
                </c:pt>
                <c:pt idx="18923">
                  <c:v>0.33748885321918998</c:v>
                </c:pt>
                <c:pt idx="18924">
                  <c:v>0.33750668806848499</c:v>
                </c:pt>
                <c:pt idx="18925">
                  <c:v>0.33752452291778101</c:v>
                </c:pt>
                <c:pt idx="18926">
                  <c:v>0.33754235776707597</c:v>
                </c:pt>
                <c:pt idx="18927">
                  <c:v>0.33756019261637199</c:v>
                </c:pt>
                <c:pt idx="18928">
                  <c:v>0.33757802746566701</c:v>
                </c:pt>
                <c:pt idx="18929">
                  <c:v>0.33759586231496302</c:v>
                </c:pt>
                <c:pt idx="18930">
                  <c:v>0.33761369716425899</c:v>
                </c:pt>
                <c:pt idx="18931">
                  <c:v>0.337631532013554</c:v>
                </c:pt>
                <c:pt idx="18932">
                  <c:v>0.33764936686285002</c:v>
                </c:pt>
                <c:pt idx="18933">
                  <c:v>0.33766720171214498</c:v>
                </c:pt>
                <c:pt idx="18934">
                  <c:v>0.337685036561441</c:v>
                </c:pt>
                <c:pt idx="18935">
                  <c:v>0.33770287141073602</c:v>
                </c:pt>
                <c:pt idx="18936">
                  <c:v>0.33772070626003198</c:v>
                </c:pt>
                <c:pt idx="18937">
                  <c:v>0.337738541109327</c:v>
                </c:pt>
                <c:pt idx="18938">
                  <c:v>0.33775637595862301</c:v>
                </c:pt>
                <c:pt idx="18939">
                  <c:v>0.33777421080791797</c:v>
                </c:pt>
                <c:pt idx="18940">
                  <c:v>0.33779204565721399</c:v>
                </c:pt>
                <c:pt idx="18941">
                  <c:v>0.33780988050650901</c:v>
                </c:pt>
                <c:pt idx="18942">
                  <c:v>0.33782771535580502</c:v>
                </c:pt>
                <c:pt idx="18943">
                  <c:v>0.33784555020509999</c:v>
                </c:pt>
                <c:pt idx="18944">
                  <c:v>0.337863385054396</c:v>
                </c:pt>
                <c:pt idx="18945">
                  <c:v>0.33788121990369102</c:v>
                </c:pt>
                <c:pt idx="18946">
                  <c:v>0.33789905475298698</c:v>
                </c:pt>
                <c:pt idx="18947">
                  <c:v>0.337916889602282</c:v>
                </c:pt>
                <c:pt idx="18948">
                  <c:v>0.33793472445157802</c:v>
                </c:pt>
                <c:pt idx="18949">
                  <c:v>0.33795255930087298</c:v>
                </c:pt>
                <c:pt idx="18950">
                  <c:v>0.337970394150169</c:v>
                </c:pt>
                <c:pt idx="18951">
                  <c:v>0.33798822899946401</c:v>
                </c:pt>
                <c:pt idx="18952">
                  <c:v>0.33800606384875997</c:v>
                </c:pt>
                <c:pt idx="18953">
                  <c:v>0.33802389869805599</c:v>
                </c:pt>
                <c:pt idx="18954">
                  <c:v>0.33804173354735101</c:v>
                </c:pt>
                <c:pt idx="18955">
                  <c:v>0.33805956839664703</c:v>
                </c:pt>
                <c:pt idx="18956">
                  <c:v>0.33807740324594199</c:v>
                </c:pt>
                <c:pt idx="18957">
                  <c:v>0.338095238095238</c:v>
                </c:pt>
                <c:pt idx="18958">
                  <c:v>0.33811307294453302</c:v>
                </c:pt>
                <c:pt idx="18959">
                  <c:v>0.33813090779382898</c:v>
                </c:pt>
                <c:pt idx="18960">
                  <c:v>0.338148742643124</c:v>
                </c:pt>
                <c:pt idx="18961">
                  <c:v>0.33816657749242002</c:v>
                </c:pt>
                <c:pt idx="18962">
                  <c:v>0.33818441234171498</c:v>
                </c:pt>
                <c:pt idx="18963">
                  <c:v>0.338202247191011</c:v>
                </c:pt>
                <c:pt idx="18964">
                  <c:v>0.33822008204030601</c:v>
                </c:pt>
                <c:pt idx="18965">
                  <c:v>0.33823791688960197</c:v>
                </c:pt>
                <c:pt idx="18966">
                  <c:v>0.33825575173889699</c:v>
                </c:pt>
                <c:pt idx="18967">
                  <c:v>0.33827358658819301</c:v>
                </c:pt>
                <c:pt idx="18968">
                  <c:v>0.33829142143748803</c:v>
                </c:pt>
                <c:pt idx="18969">
                  <c:v>0.33830925628678399</c:v>
                </c:pt>
                <c:pt idx="18970">
                  <c:v>0.33832709113607901</c:v>
                </c:pt>
                <c:pt idx="18971">
                  <c:v>0.33834492598537502</c:v>
                </c:pt>
                <c:pt idx="18972">
                  <c:v>0.33836276083466998</c:v>
                </c:pt>
                <c:pt idx="18973">
                  <c:v>0.338380595683966</c:v>
                </c:pt>
                <c:pt idx="18974">
                  <c:v>0.33839843053326202</c:v>
                </c:pt>
                <c:pt idx="18975">
                  <c:v>0.33841626538255698</c:v>
                </c:pt>
                <c:pt idx="18976">
                  <c:v>0.338434100231853</c:v>
                </c:pt>
                <c:pt idx="18977">
                  <c:v>0.33845193508114801</c:v>
                </c:pt>
                <c:pt idx="18978">
                  <c:v>0.33846976993044398</c:v>
                </c:pt>
                <c:pt idx="18979">
                  <c:v>0.33848760477973899</c:v>
                </c:pt>
                <c:pt idx="18980">
                  <c:v>0.33850543962903501</c:v>
                </c:pt>
                <c:pt idx="18981">
                  <c:v>0.33852327447833003</c:v>
                </c:pt>
                <c:pt idx="18982">
                  <c:v>0.33854110932762599</c:v>
                </c:pt>
                <c:pt idx="18983">
                  <c:v>0.33855894417692101</c:v>
                </c:pt>
                <c:pt idx="18984">
                  <c:v>0.33857677902621702</c:v>
                </c:pt>
                <c:pt idx="18985">
                  <c:v>0.33859461387551198</c:v>
                </c:pt>
                <c:pt idx="18986">
                  <c:v>0.338612448724808</c:v>
                </c:pt>
                <c:pt idx="18987">
                  <c:v>0.33863028357410302</c:v>
                </c:pt>
                <c:pt idx="18988">
                  <c:v>0.33864811842339898</c:v>
                </c:pt>
                <c:pt idx="18989">
                  <c:v>0.338665953272694</c:v>
                </c:pt>
                <c:pt idx="18990">
                  <c:v>0.33868378812199001</c:v>
                </c:pt>
                <c:pt idx="18991">
                  <c:v>0.33870162297128498</c:v>
                </c:pt>
                <c:pt idx="18992">
                  <c:v>0.33871945782058099</c:v>
                </c:pt>
                <c:pt idx="18993">
                  <c:v>0.33873729266987601</c:v>
                </c:pt>
                <c:pt idx="18994">
                  <c:v>0.33875512751917197</c:v>
                </c:pt>
                <c:pt idx="18995">
                  <c:v>0.33877296236846799</c:v>
                </c:pt>
                <c:pt idx="18996">
                  <c:v>0.33879079721776301</c:v>
                </c:pt>
                <c:pt idx="18997">
                  <c:v>0.33880863206705902</c:v>
                </c:pt>
                <c:pt idx="18998">
                  <c:v>0.33882646691635399</c:v>
                </c:pt>
                <c:pt idx="18999">
                  <c:v>0.33884430176565</c:v>
                </c:pt>
                <c:pt idx="19000">
                  <c:v>0.33886213661494502</c:v>
                </c:pt>
                <c:pt idx="19001">
                  <c:v>0.33887997146424098</c:v>
                </c:pt>
                <c:pt idx="19002">
                  <c:v>0.338897806313536</c:v>
                </c:pt>
                <c:pt idx="19003">
                  <c:v>0.33891564116283202</c:v>
                </c:pt>
                <c:pt idx="19004">
                  <c:v>0.33893347601212698</c:v>
                </c:pt>
                <c:pt idx="19005">
                  <c:v>0.33895131086142299</c:v>
                </c:pt>
                <c:pt idx="19006">
                  <c:v>0.33896914571071801</c:v>
                </c:pt>
                <c:pt idx="19007">
                  <c:v>0.33898698056001397</c:v>
                </c:pt>
                <c:pt idx="19008">
                  <c:v>0.33900481540930899</c:v>
                </c:pt>
                <c:pt idx="19009">
                  <c:v>0.33902265025860501</c:v>
                </c:pt>
                <c:pt idx="19010">
                  <c:v>0.33904048510790002</c:v>
                </c:pt>
                <c:pt idx="19011">
                  <c:v>0.33905831995719599</c:v>
                </c:pt>
                <c:pt idx="19012">
                  <c:v>0.339076154806491</c:v>
                </c:pt>
                <c:pt idx="19013">
                  <c:v>0.33909398965578702</c:v>
                </c:pt>
                <c:pt idx="19014">
                  <c:v>0.33911182450508198</c:v>
                </c:pt>
                <c:pt idx="19015">
                  <c:v>0.339129659354378</c:v>
                </c:pt>
                <c:pt idx="19016">
                  <c:v>0.33914749420367302</c:v>
                </c:pt>
                <c:pt idx="19017">
                  <c:v>0.33916532905296898</c:v>
                </c:pt>
                <c:pt idx="19018">
                  <c:v>0.33918316390226499</c:v>
                </c:pt>
                <c:pt idx="19019">
                  <c:v>0.33920099875156001</c:v>
                </c:pt>
                <c:pt idx="19020">
                  <c:v>0.33921883360085597</c:v>
                </c:pt>
                <c:pt idx="19021">
                  <c:v>0.33923666845015099</c:v>
                </c:pt>
                <c:pt idx="19022">
                  <c:v>0.33925450329944701</c:v>
                </c:pt>
                <c:pt idx="19023">
                  <c:v>0.33927233814874203</c:v>
                </c:pt>
                <c:pt idx="19024">
                  <c:v>0.33929017299803799</c:v>
                </c:pt>
                <c:pt idx="19025">
                  <c:v>0.339308007847333</c:v>
                </c:pt>
                <c:pt idx="19026">
                  <c:v>0.33932584269662902</c:v>
                </c:pt>
                <c:pt idx="19027">
                  <c:v>0.33934367754592398</c:v>
                </c:pt>
                <c:pt idx="19028">
                  <c:v>0.33936151239522</c:v>
                </c:pt>
                <c:pt idx="19029">
                  <c:v>0.33937934724451502</c:v>
                </c:pt>
                <c:pt idx="19030">
                  <c:v>0.33939718209381098</c:v>
                </c:pt>
                <c:pt idx="19031">
                  <c:v>0.339415016943106</c:v>
                </c:pt>
                <c:pt idx="19032">
                  <c:v>0.33943285179240201</c:v>
                </c:pt>
                <c:pt idx="19033">
                  <c:v>0.33945068664169697</c:v>
                </c:pt>
                <c:pt idx="19034">
                  <c:v>0.33946852149099299</c:v>
                </c:pt>
                <c:pt idx="19035">
                  <c:v>0.33948635634028801</c:v>
                </c:pt>
                <c:pt idx="19036">
                  <c:v>0.33950419118958403</c:v>
                </c:pt>
                <c:pt idx="19037">
                  <c:v>0.33952202603887999</c:v>
                </c:pt>
                <c:pt idx="19038">
                  <c:v>0.339539860888175</c:v>
                </c:pt>
                <c:pt idx="19039">
                  <c:v>0.33955769573747102</c:v>
                </c:pt>
                <c:pt idx="19040">
                  <c:v>0.33957553058676598</c:v>
                </c:pt>
                <c:pt idx="19041">
                  <c:v>0.339593365436062</c:v>
                </c:pt>
                <c:pt idx="19042">
                  <c:v>0.33961120028535702</c:v>
                </c:pt>
                <c:pt idx="19043">
                  <c:v>0.33962903513465298</c:v>
                </c:pt>
                <c:pt idx="19044">
                  <c:v>0.339646869983948</c:v>
                </c:pt>
                <c:pt idx="19045">
                  <c:v>0.33966470483324401</c:v>
                </c:pt>
                <c:pt idx="19046">
                  <c:v>0.33968253968253898</c:v>
                </c:pt>
                <c:pt idx="19047">
                  <c:v>0.33970037453183499</c:v>
                </c:pt>
                <c:pt idx="19048">
                  <c:v>0.33971820938113001</c:v>
                </c:pt>
                <c:pt idx="19049">
                  <c:v>0.33973604423042603</c:v>
                </c:pt>
                <c:pt idx="19050">
                  <c:v>0.33975387907972099</c:v>
                </c:pt>
                <c:pt idx="19051">
                  <c:v>0.33977171392901701</c:v>
                </c:pt>
                <c:pt idx="19052">
                  <c:v>0.33978954877831202</c:v>
                </c:pt>
                <c:pt idx="19053">
                  <c:v>0.33980738362760798</c:v>
                </c:pt>
                <c:pt idx="19054">
                  <c:v>0.339825218476903</c:v>
                </c:pt>
                <c:pt idx="19055">
                  <c:v>0.33984305332619902</c:v>
                </c:pt>
                <c:pt idx="19056">
                  <c:v>0.33986088817549398</c:v>
                </c:pt>
                <c:pt idx="19057">
                  <c:v>0.33987872302479</c:v>
                </c:pt>
                <c:pt idx="19058">
                  <c:v>0.33989655787408501</c:v>
                </c:pt>
                <c:pt idx="19059">
                  <c:v>0.33991439272338098</c:v>
                </c:pt>
                <c:pt idx="19060">
                  <c:v>0.33993222757267699</c:v>
                </c:pt>
                <c:pt idx="19061">
                  <c:v>0.33995006242197201</c:v>
                </c:pt>
                <c:pt idx="19062">
                  <c:v>0.33996789727126803</c:v>
                </c:pt>
                <c:pt idx="19063">
                  <c:v>0.33998573212056299</c:v>
                </c:pt>
                <c:pt idx="19064">
                  <c:v>0.34000356696985901</c:v>
                </c:pt>
                <c:pt idx="19065">
                  <c:v>0.34002140181915402</c:v>
                </c:pt>
                <c:pt idx="19066">
                  <c:v>0.34003923666844998</c:v>
                </c:pt>
                <c:pt idx="19067">
                  <c:v>0.340057071517745</c:v>
                </c:pt>
                <c:pt idx="19068">
                  <c:v>0.34007490636704102</c:v>
                </c:pt>
                <c:pt idx="19069">
                  <c:v>0.34009274121633598</c:v>
                </c:pt>
                <c:pt idx="19070">
                  <c:v>0.340110576065632</c:v>
                </c:pt>
                <c:pt idx="19071">
                  <c:v>0.34012841091492702</c:v>
                </c:pt>
                <c:pt idx="19072">
                  <c:v>0.34014624576422298</c:v>
                </c:pt>
                <c:pt idx="19073">
                  <c:v>0.34016408061351799</c:v>
                </c:pt>
                <c:pt idx="19074">
                  <c:v>0.34018191546281401</c:v>
                </c:pt>
                <c:pt idx="19075">
                  <c:v>0.34019975031210897</c:v>
                </c:pt>
                <c:pt idx="19076">
                  <c:v>0.34021758516140499</c:v>
                </c:pt>
                <c:pt idx="19077">
                  <c:v>0.34023542001070001</c:v>
                </c:pt>
                <c:pt idx="19078">
                  <c:v>0.34025325485999602</c:v>
                </c:pt>
                <c:pt idx="19079">
                  <c:v>0.34027108970929099</c:v>
                </c:pt>
                <c:pt idx="19080">
                  <c:v>0.340288924558587</c:v>
                </c:pt>
                <c:pt idx="19081">
                  <c:v>0.34030675940788302</c:v>
                </c:pt>
                <c:pt idx="19082">
                  <c:v>0.34032459425717798</c:v>
                </c:pt>
                <c:pt idx="19083">
                  <c:v>0.340342429106474</c:v>
                </c:pt>
                <c:pt idx="19084">
                  <c:v>0.34036026395576902</c:v>
                </c:pt>
                <c:pt idx="19085">
                  <c:v>0.34037809880506498</c:v>
                </c:pt>
                <c:pt idx="19086">
                  <c:v>0.34039593365435999</c:v>
                </c:pt>
                <c:pt idx="19087">
                  <c:v>0.34041376850365601</c:v>
                </c:pt>
                <c:pt idx="19088">
                  <c:v>0.34043160335295097</c:v>
                </c:pt>
                <c:pt idx="19089">
                  <c:v>0.34044943820224699</c:v>
                </c:pt>
                <c:pt idx="19090">
                  <c:v>0.34046727305154201</c:v>
                </c:pt>
                <c:pt idx="19091">
                  <c:v>0.34048510790083802</c:v>
                </c:pt>
                <c:pt idx="19092">
                  <c:v>0.34050294275013299</c:v>
                </c:pt>
                <c:pt idx="19093">
                  <c:v>0.340520777599429</c:v>
                </c:pt>
                <c:pt idx="19094">
                  <c:v>0.34053861244872402</c:v>
                </c:pt>
                <c:pt idx="19095">
                  <c:v>0.34055644729801998</c:v>
                </c:pt>
                <c:pt idx="19096">
                  <c:v>0.340574282147315</c:v>
                </c:pt>
                <c:pt idx="19097">
                  <c:v>0.34059211699661102</c:v>
                </c:pt>
                <c:pt idx="19098">
                  <c:v>0.34060995184590598</c:v>
                </c:pt>
                <c:pt idx="19099">
                  <c:v>0.340627786695202</c:v>
                </c:pt>
                <c:pt idx="19100">
                  <c:v>0.34064562154449701</c:v>
                </c:pt>
                <c:pt idx="19101">
                  <c:v>0.34066345639379297</c:v>
                </c:pt>
                <c:pt idx="19102">
                  <c:v>0.34068129124308899</c:v>
                </c:pt>
                <c:pt idx="19103">
                  <c:v>0.34069912609238401</c:v>
                </c:pt>
                <c:pt idx="19104">
                  <c:v>0.34071696094168002</c:v>
                </c:pt>
                <c:pt idx="19105">
                  <c:v>0.34073479579097499</c:v>
                </c:pt>
                <c:pt idx="19106">
                  <c:v>0.340752630640271</c:v>
                </c:pt>
                <c:pt idx="19107">
                  <c:v>0.34077046548956602</c:v>
                </c:pt>
                <c:pt idx="19108">
                  <c:v>0.34078830033886198</c:v>
                </c:pt>
                <c:pt idx="19109">
                  <c:v>0.340806135188157</c:v>
                </c:pt>
                <c:pt idx="19110">
                  <c:v>0.34082397003745302</c:v>
                </c:pt>
                <c:pt idx="19111">
                  <c:v>0.34084180488674798</c:v>
                </c:pt>
                <c:pt idx="19112">
                  <c:v>0.340859639736044</c:v>
                </c:pt>
                <c:pt idx="19113">
                  <c:v>0.34087747458533901</c:v>
                </c:pt>
                <c:pt idx="19114">
                  <c:v>0.34089530943463497</c:v>
                </c:pt>
                <c:pt idx="19115">
                  <c:v>0.34091314428392999</c:v>
                </c:pt>
                <c:pt idx="19116">
                  <c:v>0.34093097913322601</c:v>
                </c:pt>
                <c:pt idx="19117">
                  <c:v>0.34094881398252103</c:v>
                </c:pt>
                <c:pt idx="19118">
                  <c:v>0.34096664883181699</c:v>
                </c:pt>
                <c:pt idx="19119">
                  <c:v>0.34098448368111201</c:v>
                </c:pt>
                <c:pt idx="19120">
                  <c:v>0.34100231853040802</c:v>
                </c:pt>
                <c:pt idx="19121">
                  <c:v>0.34102015337970298</c:v>
                </c:pt>
                <c:pt idx="19122">
                  <c:v>0.341037988228999</c:v>
                </c:pt>
                <c:pt idx="19123">
                  <c:v>0.34105582307829402</c:v>
                </c:pt>
                <c:pt idx="19124">
                  <c:v>0.34107365792758998</c:v>
                </c:pt>
                <c:pt idx="19125">
                  <c:v>0.341091492776886</c:v>
                </c:pt>
                <c:pt idx="19126">
                  <c:v>0.34110932762618101</c:v>
                </c:pt>
                <c:pt idx="19127">
                  <c:v>0.34112716247547697</c:v>
                </c:pt>
                <c:pt idx="19128">
                  <c:v>0.34114499732477199</c:v>
                </c:pt>
                <c:pt idx="19129">
                  <c:v>0.34116283217406801</c:v>
                </c:pt>
                <c:pt idx="19130">
                  <c:v>0.34118066702336303</c:v>
                </c:pt>
                <c:pt idx="19131">
                  <c:v>0.34119850187265899</c:v>
                </c:pt>
                <c:pt idx="19132">
                  <c:v>0.34121633672195401</c:v>
                </c:pt>
                <c:pt idx="19133">
                  <c:v>0.34123417157125002</c:v>
                </c:pt>
                <c:pt idx="19134">
                  <c:v>0.34125200642054498</c:v>
                </c:pt>
                <c:pt idx="19135">
                  <c:v>0.341269841269841</c:v>
                </c:pt>
                <c:pt idx="19136">
                  <c:v>0.34128767611913602</c:v>
                </c:pt>
                <c:pt idx="19137">
                  <c:v>0.34130551096843198</c:v>
                </c:pt>
                <c:pt idx="19138">
                  <c:v>0.341323345817727</c:v>
                </c:pt>
                <c:pt idx="19139">
                  <c:v>0.34134118066702301</c:v>
                </c:pt>
                <c:pt idx="19140">
                  <c:v>0.34135901551631798</c:v>
                </c:pt>
                <c:pt idx="19141">
                  <c:v>0.34137685036561399</c:v>
                </c:pt>
                <c:pt idx="19142">
                  <c:v>0.34139468521490901</c:v>
                </c:pt>
                <c:pt idx="19143">
                  <c:v>0.34141252006420503</c:v>
                </c:pt>
                <c:pt idx="19144">
                  <c:v>0.34143035491350099</c:v>
                </c:pt>
                <c:pt idx="19145">
                  <c:v>0.34144818976279601</c:v>
                </c:pt>
                <c:pt idx="19146">
                  <c:v>0.34146602461209202</c:v>
                </c:pt>
                <c:pt idx="19147">
                  <c:v>0.34148385946138698</c:v>
                </c:pt>
                <c:pt idx="19148">
                  <c:v>0.341501694310683</c:v>
                </c:pt>
                <c:pt idx="19149">
                  <c:v>0.34151952915997802</c:v>
                </c:pt>
                <c:pt idx="19150">
                  <c:v>0.34153736400927398</c:v>
                </c:pt>
                <c:pt idx="19151">
                  <c:v>0.341555198858569</c:v>
                </c:pt>
                <c:pt idx="19152">
                  <c:v>0.34157303370786501</c:v>
                </c:pt>
                <c:pt idx="19153">
                  <c:v>0.34159086855715998</c:v>
                </c:pt>
                <c:pt idx="19154">
                  <c:v>0.34160870340645599</c:v>
                </c:pt>
                <c:pt idx="19155">
                  <c:v>0.34162653825575101</c:v>
                </c:pt>
                <c:pt idx="19156">
                  <c:v>0.34164437310504697</c:v>
                </c:pt>
                <c:pt idx="19157">
                  <c:v>0.34166220795434199</c:v>
                </c:pt>
                <c:pt idx="19158">
                  <c:v>0.34168004280363801</c:v>
                </c:pt>
                <c:pt idx="19159">
                  <c:v>0.34169787765293302</c:v>
                </c:pt>
                <c:pt idx="19160">
                  <c:v>0.34171571250222899</c:v>
                </c:pt>
                <c:pt idx="19161">
                  <c:v>0.341733547351524</c:v>
                </c:pt>
                <c:pt idx="19162">
                  <c:v>0.34175138220082002</c:v>
                </c:pt>
                <c:pt idx="19163">
                  <c:v>0.34176921705011498</c:v>
                </c:pt>
                <c:pt idx="19164">
                  <c:v>0.341787051899411</c:v>
                </c:pt>
                <c:pt idx="19165">
                  <c:v>0.34180488674870602</c:v>
                </c:pt>
                <c:pt idx="19166">
                  <c:v>0.34182272159800198</c:v>
                </c:pt>
                <c:pt idx="19167">
                  <c:v>0.34184055644729799</c:v>
                </c:pt>
                <c:pt idx="19168">
                  <c:v>0.34185839129659301</c:v>
                </c:pt>
                <c:pt idx="19169">
                  <c:v>0.34187622614588897</c:v>
                </c:pt>
                <c:pt idx="19170">
                  <c:v>0.34189406099518399</c:v>
                </c:pt>
                <c:pt idx="19171">
                  <c:v>0.34191189584448001</c:v>
                </c:pt>
                <c:pt idx="19172">
                  <c:v>0.34192973069377502</c:v>
                </c:pt>
                <c:pt idx="19173">
                  <c:v>0.34194756554307099</c:v>
                </c:pt>
                <c:pt idx="19174">
                  <c:v>0.341965400392366</c:v>
                </c:pt>
                <c:pt idx="19175">
                  <c:v>0.34198323524166202</c:v>
                </c:pt>
                <c:pt idx="19176">
                  <c:v>0.34200107009095698</c:v>
                </c:pt>
                <c:pt idx="19177">
                  <c:v>0.342018904940253</c:v>
                </c:pt>
                <c:pt idx="19178">
                  <c:v>0.34203673978954802</c:v>
                </c:pt>
                <c:pt idx="19179">
                  <c:v>0.34205457463884398</c:v>
                </c:pt>
                <c:pt idx="19180">
                  <c:v>0.342072409488139</c:v>
                </c:pt>
                <c:pt idx="19181">
                  <c:v>0.34209024433743501</c:v>
                </c:pt>
                <c:pt idx="19182">
                  <c:v>0.34210807918672997</c:v>
                </c:pt>
                <c:pt idx="19183">
                  <c:v>0.34212591403602599</c:v>
                </c:pt>
                <c:pt idx="19184">
                  <c:v>0.34214374888532101</c:v>
                </c:pt>
                <c:pt idx="19185">
                  <c:v>0.34216158373461703</c:v>
                </c:pt>
                <c:pt idx="19186">
                  <c:v>0.34217941858391299</c:v>
                </c:pt>
                <c:pt idx="19187">
                  <c:v>0.342197253433208</c:v>
                </c:pt>
                <c:pt idx="19188">
                  <c:v>0.34221508828250402</c:v>
                </c:pt>
                <c:pt idx="19189">
                  <c:v>0.34223292313179898</c:v>
                </c:pt>
                <c:pt idx="19190">
                  <c:v>0.342250757981095</c:v>
                </c:pt>
                <c:pt idx="19191">
                  <c:v>0.34226859283039002</c:v>
                </c:pt>
                <c:pt idx="19192">
                  <c:v>0.34228642767968598</c:v>
                </c:pt>
                <c:pt idx="19193">
                  <c:v>0.342304262528981</c:v>
                </c:pt>
                <c:pt idx="19194">
                  <c:v>0.34232209737827701</c:v>
                </c:pt>
                <c:pt idx="19195">
                  <c:v>0.34233993222757197</c:v>
                </c:pt>
                <c:pt idx="19196">
                  <c:v>0.34235776707686799</c:v>
                </c:pt>
                <c:pt idx="19197">
                  <c:v>0.34237560192616301</c:v>
                </c:pt>
                <c:pt idx="19198">
                  <c:v>0.34239343677545903</c:v>
                </c:pt>
                <c:pt idx="19199">
                  <c:v>0.34241127162475399</c:v>
                </c:pt>
                <c:pt idx="19200">
                  <c:v>0.34242910647405</c:v>
                </c:pt>
                <c:pt idx="19201">
                  <c:v>0.34244694132334502</c:v>
                </c:pt>
                <c:pt idx="19202">
                  <c:v>0.34246477617264098</c:v>
                </c:pt>
                <c:pt idx="19203">
                  <c:v>0.342482611021936</c:v>
                </c:pt>
                <c:pt idx="19204">
                  <c:v>0.34250044587123202</c:v>
                </c:pt>
                <c:pt idx="19205">
                  <c:v>0.34251828072052698</c:v>
                </c:pt>
                <c:pt idx="19206">
                  <c:v>0.342536115569823</c:v>
                </c:pt>
                <c:pt idx="19207">
                  <c:v>0.34255395041911801</c:v>
                </c:pt>
                <c:pt idx="19208">
                  <c:v>0.34257178526841398</c:v>
                </c:pt>
                <c:pt idx="19209">
                  <c:v>0.34258962011770999</c:v>
                </c:pt>
                <c:pt idx="19210">
                  <c:v>0.34260745496700501</c:v>
                </c:pt>
                <c:pt idx="19211">
                  <c:v>0.34262528981630103</c:v>
                </c:pt>
                <c:pt idx="19212">
                  <c:v>0.34264312466559599</c:v>
                </c:pt>
                <c:pt idx="19213">
                  <c:v>0.34266095951489201</c:v>
                </c:pt>
                <c:pt idx="19214">
                  <c:v>0.34267879436418702</c:v>
                </c:pt>
                <c:pt idx="19215">
                  <c:v>0.34269662921348298</c:v>
                </c:pt>
                <c:pt idx="19216">
                  <c:v>0.342714464062778</c:v>
                </c:pt>
                <c:pt idx="19217">
                  <c:v>0.34273229891207402</c:v>
                </c:pt>
                <c:pt idx="19218">
                  <c:v>0.34275013376136898</c:v>
                </c:pt>
                <c:pt idx="19219">
                  <c:v>0.342767968610665</c:v>
                </c:pt>
                <c:pt idx="19220">
                  <c:v>0.34278580345996001</c:v>
                </c:pt>
                <c:pt idx="19221">
                  <c:v>0.34280363830925598</c:v>
                </c:pt>
                <c:pt idx="19222">
                  <c:v>0.34282147315855099</c:v>
                </c:pt>
                <c:pt idx="19223">
                  <c:v>0.34283930800784701</c:v>
                </c:pt>
                <c:pt idx="19224">
                  <c:v>0.34285714285714203</c:v>
                </c:pt>
                <c:pt idx="19225">
                  <c:v>0.34287497770643799</c:v>
                </c:pt>
                <c:pt idx="19226">
                  <c:v>0.34289281255573301</c:v>
                </c:pt>
                <c:pt idx="19227">
                  <c:v>0.34291064740502902</c:v>
                </c:pt>
                <c:pt idx="19228">
                  <c:v>0.34292848225432399</c:v>
                </c:pt>
                <c:pt idx="19229">
                  <c:v>0.34294631710362</c:v>
                </c:pt>
                <c:pt idx="19230">
                  <c:v>0.34296415195291602</c:v>
                </c:pt>
                <c:pt idx="19231">
                  <c:v>0.34298198680221098</c:v>
                </c:pt>
                <c:pt idx="19232">
                  <c:v>0.342999821651507</c:v>
                </c:pt>
                <c:pt idx="19233">
                  <c:v>0.34301765650080202</c:v>
                </c:pt>
                <c:pt idx="19234">
                  <c:v>0.34303549135009798</c:v>
                </c:pt>
                <c:pt idx="19235">
                  <c:v>0.34305332619939299</c:v>
                </c:pt>
                <c:pt idx="19236">
                  <c:v>0.34307116104868901</c:v>
                </c:pt>
                <c:pt idx="19237">
                  <c:v>0.34308899589798397</c:v>
                </c:pt>
                <c:pt idx="19238">
                  <c:v>0.34310683074727999</c:v>
                </c:pt>
                <c:pt idx="19239">
                  <c:v>0.34312466559657501</c:v>
                </c:pt>
                <c:pt idx="19240">
                  <c:v>0.34314250044587102</c:v>
                </c:pt>
                <c:pt idx="19241">
                  <c:v>0.34316033529516599</c:v>
                </c:pt>
                <c:pt idx="19242">
                  <c:v>0.343178170144462</c:v>
                </c:pt>
                <c:pt idx="19243">
                  <c:v>0.34319600499375702</c:v>
                </c:pt>
                <c:pt idx="19244">
                  <c:v>0.34321383984305298</c:v>
                </c:pt>
                <c:pt idx="19245">
                  <c:v>0.343231674692348</c:v>
                </c:pt>
                <c:pt idx="19246">
                  <c:v>0.34324950954164402</c:v>
                </c:pt>
                <c:pt idx="19247">
                  <c:v>0.34326734439093898</c:v>
                </c:pt>
                <c:pt idx="19248">
                  <c:v>0.34328517924023499</c:v>
                </c:pt>
                <c:pt idx="19249">
                  <c:v>0.34330301408953001</c:v>
                </c:pt>
                <c:pt idx="19250">
                  <c:v>0.34332084893882597</c:v>
                </c:pt>
                <c:pt idx="19251">
                  <c:v>0.34333868378812199</c:v>
                </c:pt>
                <c:pt idx="19252">
                  <c:v>0.34335651863741701</c:v>
                </c:pt>
                <c:pt idx="19253">
                  <c:v>0.34337435348671302</c:v>
                </c:pt>
                <c:pt idx="19254">
                  <c:v>0.34339218833600799</c:v>
                </c:pt>
                <c:pt idx="19255">
                  <c:v>0.343410023185304</c:v>
                </c:pt>
                <c:pt idx="19256">
                  <c:v>0.34342785803459902</c:v>
                </c:pt>
                <c:pt idx="19257">
                  <c:v>0.34344569288389498</c:v>
                </c:pt>
                <c:pt idx="19258">
                  <c:v>0.34346352773319</c:v>
                </c:pt>
                <c:pt idx="19259">
                  <c:v>0.34348136258248602</c:v>
                </c:pt>
                <c:pt idx="19260">
                  <c:v>0.34349919743178098</c:v>
                </c:pt>
                <c:pt idx="19261">
                  <c:v>0.34351703228107699</c:v>
                </c:pt>
                <c:pt idx="19262">
                  <c:v>0.34353486713037201</c:v>
                </c:pt>
                <c:pt idx="19263">
                  <c:v>0.34355270197966797</c:v>
                </c:pt>
                <c:pt idx="19264">
                  <c:v>0.34357053682896299</c:v>
                </c:pt>
                <c:pt idx="19265">
                  <c:v>0.34358837167825901</c:v>
                </c:pt>
                <c:pt idx="19266">
                  <c:v>0.34360620652755403</c:v>
                </c:pt>
                <c:pt idx="19267">
                  <c:v>0.34362404137684999</c:v>
                </c:pt>
                <c:pt idx="19268">
                  <c:v>0.343641876226145</c:v>
                </c:pt>
                <c:pt idx="19269">
                  <c:v>0.34365971107544102</c:v>
                </c:pt>
                <c:pt idx="19270">
                  <c:v>0.34367754592473598</c:v>
                </c:pt>
                <c:pt idx="19271">
                  <c:v>0.343695380774032</c:v>
                </c:pt>
                <c:pt idx="19272">
                  <c:v>0.34371321562332702</c:v>
                </c:pt>
                <c:pt idx="19273">
                  <c:v>0.34373105047262298</c:v>
                </c:pt>
                <c:pt idx="19274">
                  <c:v>0.343748885321919</c:v>
                </c:pt>
                <c:pt idx="19275">
                  <c:v>0.34376672017121401</c:v>
                </c:pt>
                <c:pt idx="19276">
                  <c:v>0.34378455502050997</c:v>
                </c:pt>
                <c:pt idx="19277">
                  <c:v>0.34380238986980499</c:v>
                </c:pt>
                <c:pt idx="19278">
                  <c:v>0.34382022471910101</c:v>
                </c:pt>
                <c:pt idx="19279">
                  <c:v>0.34383805956839603</c:v>
                </c:pt>
                <c:pt idx="19280">
                  <c:v>0.34385589441769199</c:v>
                </c:pt>
                <c:pt idx="19281">
                  <c:v>0.343873729266987</c:v>
                </c:pt>
                <c:pt idx="19282">
                  <c:v>0.34389156411628302</c:v>
                </c:pt>
                <c:pt idx="19283">
                  <c:v>0.34390939896557798</c:v>
                </c:pt>
                <c:pt idx="19284">
                  <c:v>0.343927233814874</c:v>
                </c:pt>
                <c:pt idx="19285">
                  <c:v>0.34394506866416902</c:v>
                </c:pt>
                <c:pt idx="19286">
                  <c:v>0.34396290351346498</c:v>
                </c:pt>
                <c:pt idx="19287">
                  <c:v>0.34398073836276</c:v>
                </c:pt>
                <c:pt idx="19288">
                  <c:v>0.34399857321205601</c:v>
                </c:pt>
                <c:pt idx="19289">
                  <c:v>0.34401640806135098</c:v>
                </c:pt>
                <c:pt idx="19290">
                  <c:v>0.34403424291064699</c:v>
                </c:pt>
                <c:pt idx="19291">
                  <c:v>0.34405207775994201</c:v>
                </c:pt>
                <c:pt idx="19292">
                  <c:v>0.34406991260923803</c:v>
                </c:pt>
                <c:pt idx="19293">
                  <c:v>0.34408774745853399</c:v>
                </c:pt>
                <c:pt idx="19294">
                  <c:v>0.34410558230782901</c:v>
                </c:pt>
                <c:pt idx="19295">
                  <c:v>0.34412341715712502</c:v>
                </c:pt>
                <c:pt idx="19296">
                  <c:v>0.34414125200641998</c:v>
                </c:pt>
                <c:pt idx="19297">
                  <c:v>0.344159086855716</c:v>
                </c:pt>
                <c:pt idx="19298">
                  <c:v>0.34417692170501102</c:v>
                </c:pt>
                <c:pt idx="19299">
                  <c:v>0.34419475655430698</c:v>
                </c:pt>
                <c:pt idx="19300">
                  <c:v>0.344212591403602</c:v>
                </c:pt>
                <c:pt idx="19301">
                  <c:v>0.34423042625289801</c:v>
                </c:pt>
                <c:pt idx="19302">
                  <c:v>0.34424826110219298</c:v>
                </c:pt>
                <c:pt idx="19303">
                  <c:v>0.34426609595148899</c:v>
                </c:pt>
                <c:pt idx="19304">
                  <c:v>0.34428393080078401</c:v>
                </c:pt>
                <c:pt idx="19305">
                  <c:v>0.34430176565008003</c:v>
                </c:pt>
                <c:pt idx="19306">
                  <c:v>0.34431960049937499</c:v>
                </c:pt>
                <c:pt idx="19307">
                  <c:v>0.34433743534867101</c:v>
                </c:pt>
                <c:pt idx="19308">
                  <c:v>0.34435527019796602</c:v>
                </c:pt>
                <c:pt idx="19309">
                  <c:v>0.34437310504726198</c:v>
                </c:pt>
                <c:pt idx="19310">
                  <c:v>0.344390939896557</c:v>
                </c:pt>
                <c:pt idx="19311">
                  <c:v>0.34440877474585302</c:v>
                </c:pt>
                <c:pt idx="19312">
                  <c:v>0.34442660959514798</c:v>
                </c:pt>
                <c:pt idx="19313">
                  <c:v>0.344444444444444</c:v>
                </c:pt>
                <c:pt idx="19314">
                  <c:v>0.34446227929373902</c:v>
                </c:pt>
                <c:pt idx="19315">
                  <c:v>0.34448011414303498</c:v>
                </c:pt>
                <c:pt idx="19316">
                  <c:v>0.34449794899233099</c:v>
                </c:pt>
                <c:pt idx="19317">
                  <c:v>0.34451578384162601</c:v>
                </c:pt>
                <c:pt idx="19318">
                  <c:v>0.34453361869092203</c:v>
                </c:pt>
                <c:pt idx="19319">
                  <c:v>0.34455145354021699</c:v>
                </c:pt>
                <c:pt idx="19320">
                  <c:v>0.34456928838951301</c:v>
                </c:pt>
                <c:pt idx="19321">
                  <c:v>0.34458712323880802</c:v>
                </c:pt>
                <c:pt idx="19322">
                  <c:v>0.34460495808810399</c:v>
                </c:pt>
                <c:pt idx="19323">
                  <c:v>0.344622792937399</c:v>
                </c:pt>
                <c:pt idx="19324">
                  <c:v>0.34464062778669502</c:v>
                </c:pt>
                <c:pt idx="19325">
                  <c:v>0.34465846263598998</c:v>
                </c:pt>
                <c:pt idx="19326">
                  <c:v>0.344676297485286</c:v>
                </c:pt>
                <c:pt idx="19327">
                  <c:v>0.34469413233458102</c:v>
                </c:pt>
                <c:pt idx="19328">
                  <c:v>0.34471196718387698</c:v>
                </c:pt>
                <c:pt idx="19329">
                  <c:v>0.34472980203317199</c:v>
                </c:pt>
                <c:pt idx="19330">
                  <c:v>0.34474763688246801</c:v>
                </c:pt>
                <c:pt idx="19331">
                  <c:v>0.34476547173176297</c:v>
                </c:pt>
                <c:pt idx="19332">
                  <c:v>0.34478330658105899</c:v>
                </c:pt>
                <c:pt idx="19333">
                  <c:v>0.34480114143035401</c:v>
                </c:pt>
                <c:pt idx="19334">
                  <c:v>0.34481897627965002</c:v>
                </c:pt>
                <c:pt idx="19335">
                  <c:v>0.34483681112894599</c:v>
                </c:pt>
                <c:pt idx="19336">
                  <c:v>0.344854645978241</c:v>
                </c:pt>
                <c:pt idx="19337">
                  <c:v>0.34487248082753702</c:v>
                </c:pt>
                <c:pt idx="19338">
                  <c:v>0.34489031567683198</c:v>
                </c:pt>
                <c:pt idx="19339">
                  <c:v>0.344908150526128</c:v>
                </c:pt>
                <c:pt idx="19340">
                  <c:v>0.34492598537542302</c:v>
                </c:pt>
                <c:pt idx="19341">
                  <c:v>0.34494382022471898</c:v>
                </c:pt>
                <c:pt idx="19342">
                  <c:v>0.344961655074014</c:v>
                </c:pt>
                <c:pt idx="19343">
                  <c:v>0.34497948992331001</c:v>
                </c:pt>
                <c:pt idx="19344">
                  <c:v>0.34499732477260497</c:v>
                </c:pt>
                <c:pt idx="19345">
                  <c:v>0.34501515962190099</c:v>
                </c:pt>
                <c:pt idx="19346">
                  <c:v>0.34503299447119601</c:v>
                </c:pt>
                <c:pt idx="19347">
                  <c:v>0.34505082932049203</c:v>
                </c:pt>
                <c:pt idx="19348">
                  <c:v>0.34506866416978699</c:v>
                </c:pt>
                <c:pt idx="19349">
                  <c:v>0.345086499019083</c:v>
                </c:pt>
                <c:pt idx="19350">
                  <c:v>0.34510433386837802</c:v>
                </c:pt>
                <c:pt idx="19351">
                  <c:v>0.34512216871767398</c:v>
                </c:pt>
                <c:pt idx="19352">
                  <c:v>0.345140003566969</c:v>
                </c:pt>
                <c:pt idx="19353">
                  <c:v>0.34515783841626502</c:v>
                </c:pt>
                <c:pt idx="19354">
                  <c:v>0.34517567326555998</c:v>
                </c:pt>
                <c:pt idx="19355">
                  <c:v>0.345193508114856</c:v>
                </c:pt>
                <c:pt idx="19356">
                  <c:v>0.34521134296415101</c:v>
                </c:pt>
                <c:pt idx="19357">
                  <c:v>0.34522917781344697</c:v>
                </c:pt>
                <c:pt idx="19358">
                  <c:v>0.34524701266274299</c:v>
                </c:pt>
                <c:pt idx="19359">
                  <c:v>0.34526484751203801</c:v>
                </c:pt>
                <c:pt idx="19360">
                  <c:v>0.34528268236133403</c:v>
                </c:pt>
                <c:pt idx="19361">
                  <c:v>0.34530051721062899</c:v>
                </c:pt>
                <c:pt idx="19362">
                  <c:v>0.345318352059925</c:v>
                </c:pt>
                <c:pt idx="19363">
                  <c:v>0.34533618690922002</c:v>
                </c:pt>
                <c:pt idx="19364">
                  <c:v>0.34535402175851598</c:v>
                </c:pt>
                <c:pt idx="19365">
                  <c:v>0.345371856607811</c:v>
                </c:pt>
                <c:pt idx="19366">
                  <c:v>0.34538969145710702</c:v>
                </c:pt>
                <c:pt idx="19367">
                  <c:v>0.34540752630640198</c:v>
                </c:pt>
                <c:pt idx="19368">
                  <c:v>0.345425361155698</c:v>
                </c:pt>
                <c:pt idx="19369">
                  <c:v>0.34544319600499301</c:v>
                </c:pt>
                <c:pt idx="19370">
                  <c:v>0.34546103085428898</c:v>
                </c:pt>
                <c:pt idx="19371">
                  <c:v>0.34547886570358399</c:v>
                </c:pt>
                <c:pt idx="19372">
                  <c:v>0.34549670055288001</c:v>
                </c:pt>
                <c:pt idx="19373">
                  <c:v>0.34551453540217503</c:v>
                </c:pt>
                <c:pt idx="19374">
                  <c:v>0.34553237025147099</c:v>
                </c:pt>
                <c:pt idx="19375">
                  <c:v>0.34555020510076601</c:v>
                </c:pt>
                <c:pt idx="19376">
                  <c:v>0.34556803995006202</c:v>
                </c:pt>
                <c:pt idx="19377">
                  <c:v>0.34558587479935698</c:v>
                </c:pt>
                <c:pt idx="19378">
                  <c:v>0.345603709648653</c:v>
                </c:pt>
                <c:pt idx="19379">
                  <c:v>0.34562154449794902</c:v>
                </c:pt>
                <c:pt idx="19380">
                  <c:v>0.34563937934724398</c:v>
                </c:pt>
                <c:pt idx="19381">
                  <c:v>0.34565721419654</c:v>
                </c:pt>
                <c:pt idx="19382">
                  <c:v>0.34567504904583501</c:v>
                </c:pt>
                <c:pt idx="19383">
                  <c:v>0.34569288389513098</c:v>
                </c:pt>
                <c:pt idx="19384">
                  <c:v>0.34571071874442599</c:v>
                </c:pt>
                <c:pt idx="19385">
                  <c:v>0.34572855359372201</c:v>
                </c:pt>
                <c:pt idx="19386">
                  <c:v>0.34574638844301703</c:v>
                </c:pt>
                <c:pt idx="19387">
                  <c:v>0.34576422329231299</c:v>
                </c:pt>
                <c:pt idx="19388">
                  <c:v>0.34578205814160801</c:v>
                </c:pt>
                <c:pt idx="19389">
                  <c:v>0.34579989299090402</c:v>
                </c:pt>
                <c:pt idx="19390">
                  <c:v>0.34581772784019899</c:v>
                </c:pt>
                <c:pt idx="19391">
                  <c:v>0.345835562689495</c:v>
                </c:pt>
                <c:pt idx="19392">
                  <c:v>0.34585339753879002</c:v>
                </c:pt>
                <c:pt idx="19393">
                  <c:v>0.34587123238808598</c:v>
                </c:pt>
                <c:pt idx="19394">
                  <c:v>0.345889067237381</c:v>
                </c:pt>
                <c:pt idx="19395">
                  <c:v>0.34590690208667701</c:v>
                </c:pt>
                <c:pt idx="19396">
                  <c:v>0.34592473693597198</c:v>
                </c:pt>
                <c:pt idx="19397">
                  <c:v>0.34594257178526799</c:v>
                </c:pt>
                <c:pt idx="19398">
                  <c:v>0.34596040663456301</c:v>
                </c:pt>
                <c:pt idx="19399">
                  <c:v>0.34597824148385897</c:v>
                </c:pt>
                <c:pt idx="19400">
                  <c:v>0.34599607633315499</c:v>
                </c:pt>
                <c:pt idx="19401">
                  <c:v>0.34601391118245001</c:v>
                </c:pt>
                <c:pt idx="19402">
                  <c:v>0.34603174603174602</c:v>
                </c:pt>
                <c:pt idx="19403">
                  <c:v>0.34604958088104099</c:v>
                </c:pt>
                <c:pt idx="19404">
                  <c:v>0.346067415730337</c:v>
                </c:pt>
                <c:pt idx="19405">
                  <c:v>0.34608525057963202</c:v>
                </c:pt>
                <c:pt idx="19406">
                  <c:v>0.34610308542892798</c:v>
                </c:pt>
                <c:pt idx="19407">
                  <c:v>0.346120920278223</c:v>
                </c:pt>
                <c:pt idx="19408">
                  <c:v>0.34613875512751902</c:v>
                </c:pt>
                <c:pt idx="19409">
                  <c:v>0.34615658997681398</c:v>
                </c:pt>
                <c:pt idx="19410">
                  <c:v>0.34617442482610999</c:v>
                </c:pt>
                <c:pt idx="19411">
                  <c:v>0.34619225967540501</c:v>
                </c:pt>
                <c:pt idx="19412">
                  <c:v>0.34621009452470097</c:v>
                </c:pt>
                <c:pt idx="19413">
                  <c:v>0.34622792937399599</c:v>
                </c:pt>
                <c:pt idx="19414">
                  <c:v>0.34624576422329201</c:v>
                </c:pt>
                <c:pt idx="19415">
                  <c:v>0.34626359907258702</c:v>
                </c:pt>
                <c:pt idx="19416">
                  <c:v>0.34628143392188299</c:v>
                </c:pt>
                <c:pt idx="19417">
                  <c:v>0.346299268771178</c:v>
                </c:pt>
                <c:pt idx="19418">
                  <c:v>0.34631710362047402</c:v>
                </c:pt>
                <c:pt idx="19419">
                  <c:v>0.34633493846976898</c:v>
                </c:pt>
                <c:pt idx="19420">
                  <c:v>0.346352773319065</c:v>
                </c:pt>
                <c:pt idx="19421">
                  <c:v>0.34637060816836002</c:v>
                </c:pt>
                <c:pt idx="19422">
                  <c:v>0.34638844301765598</c:v>
                </c:pt>
                <c:pt idx="19423">
                  <c:v>0.34640627786695199</c:v>
                </c:pt>
                <c:pt idx="19424">
                  <c:v>0.34642411271624701</c:v>
                </c:pt>
                <c:pt idx="19425">
                  <c:v>0.34644194756554297</c:v>
                </c:pt>
                <c:pt idx="19426">
                  <c:v>0.34645978241483799</c:v>
                </c:pt>
                <c:pt idx="19427">
                  <c:v>0.34647761726413401</c:v>
                </c:pt>
                <c:pt idx="19428">
                  <c:v>0.34649545211342903</c:v>
                </c:pt>
                <c:pt idx="19429">
                  <c:v>0.34651328696272499</c:v>
                </c:pt>
                <c:pt idx="19430">
                  <c:v>0.34653112181202</c:v>
                </c:pt>
                <c:pt idx="19431">
                  <c:v>0.34654895666131602</c:v>
                </c:pt>
                <c:pt idx="19432">
                  <c:v>0.34656679151061098</c:v>
                </c:pt>
                <c:pt idx="19433">
                  <c:v>0.346584626359907</c:v>
                </c:pt>
                <c:pt idx="19434">
                  <c:v>0.34660246120920202</c:v>
                </c:pt>
                <c:pt idx="19435">
                  <c:v>0.34662029605849798</c:v>
                </c:pt>
                <c:pt idx="19436">
                  <c:v>0.346638130907793</c:v>
                </c:pt>
                <c:pt idx="19437">
                  <c:v>0.34665596575708901</c:v>
                </c:pt>
                <c:pt idx="19438">
                  <c:v>0.34667380060638397</c:v>
                </c:pt>
                <c:pt idx="19439">
                  <c:v>0.34669163545567999</c:v>
                </c:pt>
                <c:pt idx="19440">
                  <c:v>0.34670947030497501</c:v>
                </c:pt>
                <c:pt idx="19441">
                  <c:v>0.34672730515427103</c:v>
                </c:pt>
                <c:pt idx="19442">
                  <c:v>0.34674514000356699</c:v>
                </c:pt>
                <c:pt idx="19443">
                  <c:v>0.346762974852862</c:v>
                </c:pt>
                <c:pt idx="19444">
                  <c:v>0.34678080970215802</c:v>
                </c:pt>
                <c:pt idx="19445">
                  <c:v>0.34679864455145298</c:v>
                </c:pt>
                <c:pt idx="19446">
                  <c:v>0.346816479400749</c:v>
                </c:pt>
                <c:pt idx="19447">
                  <c:v>0.34683431425004402</c:v>
                </c:pt>
                <c:pt idx="19448">
                  <c:v>0.34685214909933998</c:v>
                </c:pt>
                <c:pt idx="19449">
                  <c:v>0.346869983948635</c:v>
                </c:pt>
                <c:pt idx="19450">
                  <c:v>0.34688781879793101</c:v>
                </c:pt>
                <c:pt idx="19451">
                  <c:v>0.34690565364722598</c:v>
                </c:pt>
                <c:pt idx="19452">
                  <c:v>0.34692348849652199</c:v>
                </c:pt>
                <c:pt idx="19453">
                  <c:v>0.34694132334581701</c:v>
                </c:pt>
                <c:pt idx="19454">
                  <c:v>0.34695915819511303</c:v>
                </c:pt>
                <c:pt idx="19455">
                  <c:v>0.34697699304440799</c:v>
                </c:pt>
                <c:pt idx="19456">
                  <c:v>0.34699482789370401</c:v>
                </c:pt>
                <c:pt idx="19457">
                  <c:v>0.34701266274299902</c:v>
                </c:pt>
                <c:pt idx="19458">
                  <c:v>0.34703049759229498</c:v>
                </c:pt>
                <c:pt idx="19459">
                  <c:v>0.34704833244159</c:v>
                </c:pt>
                <c:pt idx="19460">
                  <c:v>0.34706616729088602</c:v>
                </c:pt>
                <c:pt idx="19461">
                  <c:v>0.34708400214018098</c:v>
                </c:pt>
                <c:pt idx="19462">
                  <c:v>0.347101836989477</c:v>
                </c:pt>
                <c:pt idx="19463">
                  <c:v>0.34711967183877201</c:v>
                </c:pt>
                <c:pt idx="19464">
                  <c:v>0.34713750668806798</c:v>
                </c:pt>
                <c:pt idx="19465">
                  <c:v>0.34715534153736399</c:v>
                </c:pt>
                <c:pt idx="19466">
                  <c:v>0.34717317638665901</c:v>
                </c:pt>
                <c:pt idx="19467">
                  <c:v>0.34719101123595503</c:v>
                </c:pt>
                <c:pt idx="19468">
                  <c:v>0.34720884608524999</c:v>
                </c:pt>
                <c:pt idx="19469">
                  <c:v>0.34722668093454601</c:v>
                </c:pt>
                <c:pt idx="19470">
                  <c:v>0.34724451578384102</c:v>
                </c:pt>
                <c:pt idx="19471">
                  <c:v>0.34726235063313698</c:v>
                </c:pt>
                <c:pt idx="19472">
                  <c:v>0.347280185482432</c:v>
                </c:pt>
                <c:pt idx="19473">
                  <c:v>0.34729802033172802</c:v>
                </c:pt>
                <c:pt idx="19474">
                  <c:v>0.34731585518102298</c:v>
                </c:pt>
                <c:pt idx="19475">
                  <c:v>0.347333690030319</c:v>
                </c:pt>
                <c:pt idx="19476">
                  <c:v>0.34735152487961402</c:v>
                </c:pt>
                <c:pt idx="19477">
                  <c:v>0.34736935972890998</c:v>
                </c:pt>
                <c:pt idx="19478">
                  <c:v>0.34738719457820499</c:v>
                </c:pt>
                <c:pt idx="19479">
                  <c:v>0.34740502942750101</c:v>
                </c:pt>
                <c:pt idx="19480">
                  <c:v>0.34742286427679597</c:v>
                </c:pt>
                <c:pt idx="19481">
                  <c:v>0.34744069912609199</c:v>
                </c:pt>
                <c:pt idx="19482">
                  <c:v>0.34745853397538701</c:v>
                </c:pt>
                <c:pt idx="19483">
                  <c:v>0.34747636882468302</c:v>
                </c:pt>
                <c:pt idx="19484">
                  <c:v>0.34749420367397799</c:v>
                </c:pt>
                <c:pt idx="19485">
                  <c:v>0.347512038523274</c:v>
                </c:pt>
                <c:pt idx="19486">
                  <c:v>0.34752987337257002</c:v>
                </c:pt>
                <c:pt idx="19487">
                  <c:v>0.34754770822186498</c:v>
                </c:pt>
                <c:pt idx="19488">
                  <c:v>0.347565543071161</c:v>
                </c:pt>
                <c:pt idx="19489">
                  <c:v>0.34758337792045602</c:v>
                </c:pt>
                <c:pt idx="19490">
                  <c:v>0.34760121276975198</c:v>
                </c:pt>
                <c:pt idx="19491">
                  <c:v>0.34761904761904699</c:v>
                </c:pt>
                <c:pt idx="19492">
                  <c:v>0.34763688246834301</c:v>
                </c:pt>
                <c:pt idx="19493">
                  <c:v>0.34765471731763797</c:v>
                </c:pt>
                <c:pt idx="19494">
                  <c:v>0.34767255216693399</c:v>
                </c:pt>
                <c:pt idx="19495">
                  <c:v>0.34769038701622901</c:v>
                </c:pt>
                <c:pt idx="19496">
                  <c:v>0.34770822186552502</c:v>
                </c:pt>
                <c:pt idx="19497">
                  <c:v>0.34772605671481999</c:v>
                </c:pt>
                <c:pt idx="19498">
                  <c:v>0.347743891564116</c:v>
                </c:pt>
                <c:pt idx="19499">
                  <c:v>0.34776172641341102</c:v>
                </c:pt>
                <c:pt idx="19500">
                  <c:v>0.34777956126270698</c:v>
                </c:pt>
                <c:pt idx="19501">
                  <c:v>0.347797396112002</c:v>
                </c:pt>
                <c:pt idx="19502">
                  <c:v>0.34781523096129802</c:v>
                </c:pt>
                <c:pt idx="19503">
                  <c:v>0.34783306581059298</c:v>
                </c:pt>
                <c:pt idx="19504">
                  <c:v>0.347850900659889</c:v>
                </c:pt>
                <c:pt idx="19505">
                  <c:v>0.34786873550918401</c:v>
                </c:pt>
                <c:pt idx="19506">
                  <c:v>0.34788657035847997</c:v>
                </c:pt>
                <c:pt idx="19507">
                  <c:v>0.34790440520777599</c:v>
                </c:pt>
                <c:pt idx="19508">
                  <c:v>0.34792224005707101</c:v>
                </c:pt>
                <c:pt idx="19509">
                  <c:v>0.34794007490636703</c:v>
                </c:pt>
                <c:pt idx="19510">
                  <c:v>0.34795790975566199</c:v>
                </c:pt>
                <c:pt idx="19511">
                  <c:v>0.347975744604958</c:v>
                </c:pt>
                <c:pt idx="19512">
                  <c:v>0.34799357945425302</c:v>
                </c:pt>
                <c:pt idx="19513">
                  <c:v>0.34801141430354898</c:v>
                </c:pt>
                <c:pt idx="19514">
                  <c:v>0.348029249152844</c:v>
                </c:pt>
                <c:pt idx="19515">
                  <c:v>0.34804708400214002</c:v>
                </c:pt>
                <c:pt idx="19516">
                  <c:v>0.34806491885143498</c:v>
                </c:pt>
                <c:pt idx="19517">
                  <c:v>0.348082753700731</c:v>
                </c:pt>
                <c:pt idx="19518">
                  <c:v>0.34810058855002601</c:v>
                </c:pt>
                <c:pt idx="19519">
                  <c:v>0.34811842339932197</c:v>
                </c:pt>
                <c:pt idx="19520">
                  <c:v>0.34813625824861699</c:v>
                </c:pt>
                <c:pt idx="19521">
                  <c:v>0.34815409309791301</c:v>
                </c:pt>
                <c:pt idx="19522">
                  <c:v>0.34817192794720803</c:v>
                </c:pt>
                <c:pt idx="19523">
                  <c:v>0.34818976279650399</c:v>
                </c:pt>
                <c:pt idx="19524">
                  <c:v>0.34820759764579901</c:v>
                </c:pt>
                <c:pt idx="19525">
                  <c:v>0.34822543249509502</c:v>
                </c:pt>
                <c:pt idx="19526">
                  <c:v>0.34824326734438998</c:v>
                </c:pt>
                <c:pt idx="19527">
                  <c:v>0.348261102193686</c:v>
                </c:pt>
                <c:pt idx="19528">
                  <c:v>0.34827893704298102</c:v>
                </c:pt>
                <c:pt idx="19529">
                  <c:v>0.34829677189227698</c:v>
                </c:pt>
                <c:pt idx="19530">
                  <c:v>0.348314606741573</c:v>
                </c:pt>
                <c:pt idx="19531">
                  <c:v>0.34833244159086801</c:v>
                </c:pt>
                <c:pt idx="19532">
                  <c:v>0.34835027644016398</c:v>
                </c:pt>
                <c:pt idx="19533">
                  <c:v>0.34836811128945899</c:v>
                </c:pt>
                <c:pt idx="19534">
                  <c:v>0.34838594613875501</c:v>
                </c:pt>
                <c:pt idx="19535">
                  <c:v>0.34840378098805003</c:v>
                </c:pt>
                <c:pt idx="19536">
                  <c:v>0.34842161583734599</c:v>
                </c:pt>
                <c:pt idx="19537">
                  <c:v>0.34843945068664101</c:v>
                </c:pt>
                <c:pt idx="19538">
                  <c:v>0.34845728553593702</c:v>
                </c:pt>
                <c:pt idx="19539">
                  <c:v>0.34847512038523198</c:v>
                </c:pt>
                <c:pt idx="19540">
                  <c:v>0.348492955234528</c:v>
                </c:pt>
                <c:pt idx="19541">
                  <c:v>0.34851079008382302</c:v>
                </c:pt>
                <c:pt idx="19542">
                  <c:v>0.34852862493311898</c:v>
                </c:pt>
                <c:pt idx="19543">
                  <c:v>0.348546459782414</c:v>
                </c:pt>
                <c:pt idx="19544">
                  <c:v>0.34856429463171001</c:v>
                </c:pt>
                <c:pt idx="19545">
                  <c:v>0.34858212948100498</c:v>
                </c:pt>
                <c:pt idx="19546">
                  <c:v>0.34859996433030099</c:v>
                </c:pt>
                <c:pt idx="19547">
                  <c:v>0.34861779917959601</c:v>
                </c:pt>
                <c:pt idx="19548">
                  <c:v>0.34863563402889203</c:v>
                </c:pt>
                <c:pt idx="19549">
                  <c:v>0.34865346887818799</c:v>
                </c:pt>
                <c:pt idx="19550">
                  <c:v>0.34867130372748301</c:v>
                </c:pt>
                <c:pt idx="19551">
                  <c:v>0.34868913857677902</c:v>
                </c:pt>
                <c:pt idx="19552">
                  <c:v>0.34870697342607399</c:v>
                </c:pt>
                <c:pt idx="19553">
                  <c:v>0.34872480827537</c:v>
                </c:pt>
                <c:pt idx="19554">
                  <c:v>0.34874264312466502</c:v>
                </c:pt>
                <c:pt idx="19555">
                  <c:v>0.34876047797396098</c:v>
                </c:pt>
                <c:pt idx="19556">
                  <c:v>0.348778312823256</c:v>
                </c:pt>
                <c:pt idx="19557">
                  <c:v>0.34879614767255201</c:v>
                </c:pt>
                <c:pt idx="19558">
                  <c:v>0.34881398252184698</c:v>
                </c:pt>
                <c:pt idx="19559">
                  <c:v>0.34883181737114299</c:v>
                </c:pt>
                <c:pt idx="19560">
                  <c:v>0.34884965222043801</c:v>
                </c:pt>
                <c:pt idx="19561">
                  <c:v>0.34886748706973397</c:v>
                </c:pt>
                <c:pt idx="19562">
                  <c:v>0.34888532191902899</c:v>
                </c:pt>
                <c:pt idx="19563">
                  <c:v>0.34890315676832501</c:v>
                </c:pt>
                <c:pt idx="19564">
                  <c:v>0.34892099161762002</c:v>
                </c:pt>
                <c:pt idx="19565">
                  <c:v>0.34893882646691599</c:v>
                </c:pt>
                <c:pt idx="19566">
                  <c:v>0.348956661316211</c:v>
                </c:pt>
                <c:pt idx="19567">
                  <c:v>0.34897449616550702</c:v>
                </c:pt>
                <c:pt idx="19568">
                  <c:v>0.34899233101480198</c:v>
                </c:pt>
                <c:pt idx="19569">
                  <c:v>0.349010165864098</c:v>
                </c:pt>
                <c:pt idx="19570">
                  <c:v>0.34902800071339302</c:v>
                </c:pt>
                <c:pt idx="19571">
                  <c:v>0.34904583556268898</c:v>
                </c:pt>
                <c:pt idx="19572">
                  <c:v>0.34906367041198499</c:v>
                </c:pt>
                <c:pt idx="19573">
                  <c:v>0.34908150526128001</c:v>
                </c:pt>
                <c:pt idx="19574">
                  <c:v>0.34909934011057597</c:v>
                </c:pt>
                <c:pt idx="19575">
                  <c:v>0.34911717495987099</c:v>
                </c:pt>
                <c:pt idx="19576">
                  <c:v>0.34913500980916701</c:v>
                </c:pt>
                <c:pt idx="19577">
                  <c:v>0.34915284465846202</c:v>
                </c:pt>
                <c:pt idx="19578">
                  <c:v>0.34917067950775799</c:v>
                </c:pt>
                <c:pt idx="19579">
                  <c:v>0.349188514357053</c:v>
                </c:pt>
                <c:pt idx="19580">
                  <c:v>0.34920634920634902</c:v>
                </c:pt>
                <c:pt idx="19581">
                  <c:v>0.34922418405564398</c:v>
                </c:pt>
                <c:pt idx="19582">
                  <c:v>0.34924201890494</c:v>
                </c:pt>
                <c:pt idx="19583">
                  <c:v>0.34925985375423502</c:v>
                </c:pt>
                <c:pt idx="19584">
                  <c:v>0.34927768860353098</c:v>
                </c:pt>
                <c:pt idx="19585">
                  <c:v>0.349295523452826</c:v>
                </c:pt>
                <c:pt idx="19586">
                  <c:v>0.34931335830212201</c:v>
                </c:pt>
                <c:pt idx="19587">
                  <c:v>0.34933119315141697</c:v>
                </c:pt>
                <c:pt idx="19588">
                  <c:v>0.34934902800071299</c:v>
                </c:pt>
                <c:pt idx="19589">
                  <c:v>0.34936686285000801</c:v>
                </c:pt>
                <c:pt idx="19590">
                  <c:v>0.34938469769930403</c:v>
                </c:pt>
                <c:pt idx="19591">
                  <c:v>0.34940253254859999</c:v>
                </c:pt>
                <c:pt idx="19592">
                  <c:v>0.349420367397895</c:v>
                </c:pt>
                <c:pt idx="19593">
                  <c:v>0.34943820224719102</c:v>
                </c:pt>
                <c:pt idx="19594">
                  <c:v>0.34945603709648598</c:v>
                </c:pt>
                <c:pt idx="19595">
                  <c:v>0.349473871945782</c:v>
                </c:pt>
                <c:pt idx="19596">
                  <c:v>0.34949170679507702</c:v>
                </c:pt>
                <c:pt idx="19597">
                  <c:v>0.34950954164437298</c:v>
                </c:pt>
                <c:pt idx="19598">
                  <c:v>0.349527376493668</c:v>
                </c:pt>
                <c:pt idx="19599">
                  <c:v>0.34954521134296401</c:v>
                </c:pt>
                <c:pt idx="19600">
                  <c:v>0.34956304619225897</c:v>
                </c:pt>
                <c:pt idx="19601">
                  <c:v>0.34958088104155499</c:v>
                </c:pt>
                <c:pt idx="19602">
                  <c:v>0.34959871589085001</c:v>
                </c:pt>
                <c:pt idx="19603">
                  <c:v>0.34961655074014603</c:v>
                </c:pt>
                <c:pt idx="19604">
                  <c:v>0.34963438558944099</c:v>
                </c:pt>
                <c:pt idx="19605">
                  <c:v>0.349652220438737</c:v>
                </c:pt>
                <c:pt idx="19606">
                  <c:v>0.34967005528803202</c:v>
                </c:pt>
                <c:pt idx="19607">
                  <c:v>0.34968789013732798</c:v>
                </c:pt>
                <c:pt idx="19608">
                  <c:v>0.349705724986623</c:v>
                </c:pt>
                <c:pt idx="19609">
                  <c:v>0.34972355983591902</c:v>
                </c:pt>
                <c:pt idx="19610">
                  <c:v>0.34974139468521398</c:v>
                </c:pt>
                <c:pt idx="19611">
                  <c:v>0.34975922953451</c:v>
                </c:pt>
                <c:pt idx="19612">
                  <c:v>0.34977706438380501</c:v>
                </c:pt>
                <c:pt idx="19613">
                  <c:v>0.34979489923310098</c:v>
                </c:pt>
                <c:pt idx="19614">
                  <c:v>0.34981273408239699</c:v>
                </c:pt>
                <c:pt idx="19615">
                  <c:v>0.34983056893169201</c:v>
                </c:pt>
                <c:pt idx="19616">
                  <c:v>0.34984840378098803</c:v>
                </c:pt>
                <c:pt idx="19617">
                  <c:v>0.34986623863028299</c:v>
                </c:pt>
                <c:pt idx="19618">
                  <c:v>0.34988407347957901</c:v>
                </c:pt>
                <c:pt idx="19619">
                  <c:v>0.34990190832887402</c:v>
                </c:pt>
                <c:pt idx="19620">
                  <c:v>0.34991974317816998</c:v>
                </c:pt>
                <c:pt idx="19621">
                  <c:v>0.349937578027465</c:v>
                </c:pt>
                <c:pt idx="19622">
                  <c:v>0.34995541287676102</c:v>
                </c:pt>
                <c:pt idx="19623">
                  <c:v>0.34997324772605598</c:v>
                </c:pt>
                <c:pt idx="19624">
                  <c:v>0.349991082575352</c:v>
                </c:pt>
                <c:pt idx="19625">
                  <c:v>0.35000891742464701</c:v>
                </c:pt>
                <c:pt idx="19626">
                  <c:v>0.35002675227394298</c:v>
                </c:pt>
                <c:pt idx="19627">
                  <c:v>0.35004458712323799</c:v>
                </c:pt>
                <c:pt idx="19628">
                  <c:v>0.35006242197253401</c:v>
                </c:pt>
                <c:pt idx="19629">
                  <c:v>0.35008025682182897</c:v>
                </c:pt>
                <c:pt idx="19630">
                  <c:v>0.35009809167112499</c:v>
                </c:pt>
                <c:pt idx="19631">
                  <c:v>0.35011592652042001</c:v>
                </c:pt>
                <c:pt idx="19632">
                  <c:v>0.35013376136971602</c:v>
                </c:pt>
                <c:pt idx="19633">
                  <c:v>0.35015159621901099</c:v>
                </c:pt>
                <c:pt idx="19634">
                  <c:v>0.350169431068307</c:v>
                </c:pt>
                <c:pt idx="19635">
                  <c:v>0.35018726591760302</c:v>
                </c:pt>
                <c:pt idx="19636">
                  <c:v>0.35020510076689798</c:v>
                </c:pt>
                <c:pt idx="19637">
                  <c:v>0.350222935616194</c:v>
                </c:pt>
                <c:pt idx="19638">
                  <c:v>0.35024077046548902</c:v>
                </c:pt>
                <c:pt idx="19639">
                  <c:v>0.35025860531478498</c:v>
                </c:pt>
                <c:pt idx="19640">
                  <c:v>0.35027644016407999</c:v>
                </c:pt>
                <c:pt idx="19641">
                  <c:v>0.35029427501337601</c:v>
                </c:pt>
                <c:pt idx="19642">
                  <c:v>0.35031210986267097</c:v>
                </c:pt>
                <c:pt idx="19643">
                  <c:v>0.35032994471196699</c:v>
                </c:pt>
                <c:pt idx="19644">
                  <c:v>0.35034777956126201</c:v>
                </c:pt>
                <c:pt idx="19645">
                  <c:v>0.35036561441055802</c:v>
                </c:pt>
                <c:pt idx="19646">
                  <c:v>0.35038344925985299</c:v>
                </c:pt>
                <c:pt idx="19647">
                  <c:v>0.350401284109149</c:v>
                </c:pt>
                <c:pt idx="19648">
                  <c:v>0.35041911895844402</c:v>
                </c:pt>
                <c:pt idx="19649">
                  <c:v>0.35043695380773998</c:v>
                </c:pt>
                <c:pt idx="19650">
                  <c:v>0.350454788657035</c:v>
                </c:pt>
                <c:pt idx="19651">
                  <c:v>0.35047262350633102</c:v>
                </c:pt>
                <c:pt idx="19652">
                  <c:v>0.35049045835562598</c:v>
                </c:pt>
                <c:pt idx="19653">
                  <c:v>0.35050829320492199</c:v>
                </c:pt>
                <c:pt idx="19654">
                  <c:v>0.35052612805421701</c:v>
                </c:pt>
                <c:pt idx="19655">
                  <c:v>0.35054396290351297</c:v>
                </c:pt>
                <c:pt idx="19656">
                  <c:v>0.35056179775280899</c:v>
                </c:pt>
                <c:pt idx="19657">
                  <c:v>0.35057963260210401</c:v>
                </c:pt>
                <c:pt idx="19658">
                  <c:v>0.35059746745140002</c:v>
                </c:pt>
                <c:pt idx="19659">
                  <c:v>0.35061530230069499</c:v>
                </c:pt>
                <c:pt idx="19660">
                  <c:v>0.350633137149991</c:v>
                </c:pt>
                <c:pt idx="19661">
                  <c:v>0.35065097199928602</c:v>
                </c:pt>
                <c:pt idx="19662">
                  <c:v>0.35066880684858198</c:v>
                </c:pt>
                <c:pt idx="19663">
                  <c:v>0.350686641697877</c:v>
                </c:pt>
                <c:pt idx="19664">
                  <c:v>0.35070447654717302</c:v>
                </c:pt>
                <c:pt idx="19665">
                  <c:v>0.35072231139646798</c:v>
                </c:pt>
                <c:pt idx="19666">
                  <c:v>0.350740146245764</c:v>
                </c:pt>
                <c:pt idx="19667">
                  <c:v>0.35075798109505901</c:v>
                </c:pt>
                <c:pt idx="19668">
                  <c:v>0.35077581594435497</c:v>
                </c:pt>
                <c:pt idx="19669">
                  <c:v>0.35079365079364999</c:v>
                </c:pt>
                <c:pt idx="19670">
                  <c:v>0.35081148564294601</c:v>
                </c:pt>
                <c:pt idx="19671">
                  <c:v>0.35082932049224103</c:v>
                </c:pt>
                <c:pt idx="19672">
                  <c:v>0.35084715534153699</c:v>
                </c:pt>
                <c:pt idx="19673">
                  <c:v>0.350864990190832</c:v>
                </c:pt>
                <c:pt idx="19674">
                  <c:v>0.35088282504012802</c:v>
                </c:pt>
                <c:pt idx="19675">
                  <c:v>0.35090065988942298</c:v>
                </c:pt>
                <c:pt idx="19676">
                  <c:v>0.350918494738719</c:v>
                </c:pt>
                <c:pt idx="19677">
                  <c:v>0.35093632958801402</c:v>
                </c:pt>
                <c:pt idx="19678">
                  <c:v>0.35095416443730998</c:v>
                </c:pt>
                <c:pt idx="19679">
                  <c:v>0.350971999286606</c:v>
                </c:pt>
                <c:pt idx="19680">
                  <c:v>0.35098983413590101</c:v>
                </c:pt>
                <c:pt idx="19681">
                  <c:v>0.35100766898519697</c:v>
                </c:pt>
                <c:pt idx="19682">
                  <c:v>0.35102550383449199</c:v>
                </c:pt>
                <c:pt idx="19683">
                  <c:v>0.35104333868378801</c:v>
                </c:pt>
                <c:pt idx="19684">
                  <c:v>0.35106117353308303</c:v>
                </c:pt>
                <c:pt idx="19685">
                  <c:v>0.35107900838237899</c:v>
                </c:pt>
                <c:pt idx="19686">
                  <c:v>0.35109684323167401</c:v>
                </c:pt>
                <c:pt idx="19687">
                  <c:v>0.35111467808097002</c:v>
                </c:pt>
                <c:pt idx="19688">
                  <c:v>0.35113251293026498</c:v>
                </c:pt>
                <c:pt idx="19689">
                  <c:v>0.351150347779561</c:v>
                </c:pt>
                <c:pt idx="19690">
                  <c:v>0.35116818262885602</c:v>
                </c:pt>
                <c:pt idx="19691">
                  <c:v>0.35118601747815198</c:v>
                </c:pt>
                <c:pt idx="19692">
                  <c:v>0.351203852327447</c:v>
                </c:pt>
                <c:pt idx="19693">
                  <c:v>0.35122168717674301</c:v>
                </c:pt>
                <c:pt idx="19694">
                  <c:v>0.35123952202603798</c:v>
                </c:pt>
                <c:pt idx="19695">
                  <c:v>0.35125735687533399</c:v>
                </c:pt>
                <c:pt idx="19696">
                  <c:v>0.35127519172462901</c:v>
                </c:pt>
                <c:pt idx="19697">
                  <c:v>0.35129302657392503</c:v>
                </c:pt>
                <c:pt idx="19698">
                  <c:v>0.35131086142322099</c:v>
                </c:pt>
                <c:pt idx="19699">
                  <c:v>0.35132869627251601</c:v>
                </c:pt>
                <c:pt idx="19700">
                  <c:v>0.35134653112181202</c:v>
                </c:pt>
                <c:pt idx="19701">
                  <c:v>0.35136436597110698</c:v>
                </c:pt>
                <c:pt idx="19702">
                  <c:v>0.351382200820403</c:v>
                </c:pt>
                <c:pt idx="19703">
                  <c:v>0.35140003566969802</c:v>
                </c:pt>
                <c:pt idx="19704">
                  <c:v>0.35141787051899398</c:v>
                </c:pt>
                <c:pt idx="19705">
                  <c:v>0.351435705368289</c:v>
                </c:pt>
                <c:pt idx="19706">
                  <c:v>0.35145354021758501</c:v>
                </c:pt>
                <c:pt idx="19707">
                  <c:v>0.35147137506687998</c:v>
                </c:pt>
                <c:pt idx="19708">
                  <c:v>0.35148920991617599</c:v>
                </c:pt>
                <c:pt idx="19709">
                  <c:v>0.35150704476547101</c:v>
                </c:pt>
                <c:pt idx="19710">
                  <c:v>0.35152487961476703</c:v>
                </c:pt>
                <c:pt idx="19711">
                  <c:v>0.35154271446406199</c:v>
                </c:pt>
                <c:pt idx="19712">
                  <c:v>0.35156054931335801</c:v>
                </c:pt>
                <c:pt idx="19713">
                  <c:v>0.35157838416265302</c:v>
                </c:pt>
                <c:pt idx="19714">
                  <c:v>0.35159621901194898</c:v>
                </c:pt>
                <c:pt idx="19715">
                  <c:v>0.351614053861244</c:v>
                </c:pt>
                <c:pt idx="19716">
                  <c:v>0.35163188871054002</c:v>
                </c:pt>
                <c:pt idx="19717">
                  <c:v>0.35164972355983498</c:v>
                </c:pt>
                <c:pt idx="19718">
                  <c:v>0.351667558409131</c:v>
                </c:pt>
                <c:pt idx="19719">
                  <c:v>0.35168539325842602</c:v>
                </c:pt>
                <c:pt idx="19720">
                  <c:v>0.35170322810772198</c:v>
                </c:pt>
                <c:pt idx="19721">
                  <c:v>0.35172106295701799</c:v>
                </c:pt>
                <c:pt idx="19722">
                  <c:v>0.35173889780631301</c:v>
                </c:pt>
                <c:pt idx="19723">
                  <c:v>0.35175673265560897</c:v>
                </c:pt>
                <c:pt idx="19724">
                  <c:v>0.35177456750490399</c:v>
                </c:pt>
                <c:pt idx="19725">
                  <c:v>0.35179240235420001</c:v>
                </c:pt>
                <c:pt idx="19726">
                  <c:v>0.35181023720349502</c:v>
                </c:pt>
                <c:pt idx="19727">
                  <c:v>0.35182807205279099</c:v>
                </c:pt>
                <c:pt idx="19728">
                  <c:v>0.351845906902086</c:v>
                </c:pt>
                <c:pt idx="19729">
                  <c:v>0.35186374175138202</c:v>
                </c:pt>
                <c:pt idx="19730">
                  <c:v>0.35188157660067698</c:v>
                </c:pt>
                <c:pt idx="19731">
                  <c:v>0.351899411449973</c:v>
                </c:pt>
                <c:pt idx="19732">
                  <c:v>0.35191724629926802</c:v>
                </c:pt>
                <c:pt idx="19733">
                  <c:v>0.35193508114856398</c:v>
                </c:pt>
                <c:pt idx="19734">
                  <c:v>0.35195291599785899</c:v>
                </c:pt>
                <c:pt idx="19735">
                  <c:v>0.35197075084715501</c:v>
                </c:pt>
                <c:pt idx="19736">
                  <c:v>0.35198858569644997</c:v>
                </c:pt>
                <c:pt idx="19737">
                  <c:v>0.35200642054574599</c:v>
                </c:pt>
                <c:pt idx="19738">
                  <c:v>0.35202425539504101</c:v>
                </c:pt>
                <c:pt idx="19739">
                  <c:v>0.35204209024433702</c:v>
                </c:pt>
                <c:pt idx="19740">
                  <c:v>0.35205992509363299</c:v>
                </c:pt>
                <c:pt idx="19741">
                  <c:v>0.352077759942928</c:v>
                </c:pt>
                <c:pt idx="19742">
                  <c:v>0.35209559479222402</c:v>
                </c:pt>
                <c:pt idx="19743">
                  <c:v>0.35211342964151898</c:v>
                </c:pt>
                <c:pt idx="19744">
                  <c:v>0.352131264490815</c:v>
                </c:pt>
                <c:pt idx="19745">
                  <c:v>0.35214909934011002</c:v>
                </c:pt>
                <c:pt idx="19746">
                  <c:v>0.35216693418940598</c:v>
                </c:pt>
                <c:pt idx="19747">
                  <c:v>0.352184769038701</c:v>
                </c:pt>
                <c:pt idx="19748">
                  <c:v>0.35220260388799701</c:v>
                </c:pt>
                <c:pt idx="19749">
                  <c:v>0.35222043873729197</c:v>
                </c:pt>
                <c:pt idx="19750">
                  <c:v>0.35223827358658799</c:v>
                </c:pt>
                <c:pt idx="19751">
                  <c:v>0.35225610843588301</c:v>
                </c:pt>
                <c:pt idx="19752">
                  <c:v>0.35227394328517903</c:v>
                </c:pt>
                <c:pt idx="19753">
                  <c:v>0.35229177813447399</c:v>
                </c:pt>
                <c:pt idx="19754">
                  <c:v>0.35230961298377</c:v>
                </c:pt>
                <c:pt idx="19755">
                  <c:v>0.35232744783306502</c:v>
                </c:pt>
                <c:pt idx="19756">
                  <c:v>0.35234528268236098</c:v>
                </c:pt>
                <c:pt idx="19757">
                  <c:v>0.352363117531656</c:v>
                </c:pt>
                <c:pt idx="19758">
                  <c:v>0.35238095238095202</c:v>
                </c:pt>
                <c:pt idx="19759">
                  <c:v>0.35239878723024698</c:v>
                </c:pt>
                <c:pt idx="19760">
                  <c:v>0.352416622079543</c:v>
                </c:pt>
                <c:pt idx="19761">
                  <c:v>0.35243445692883801</c:v>
                </c:pt>
                <c:pt idx="19762">
                  <c:v>0.35245229177813397</c:v>
                </c:pt>
                <c:pt idx="19763">
                  <c:v>0.35247012662742999</c:v>
                </c:pt>
                <c:pt idx="19764">
                  <c:v>0.35248796147672501</c:v>
                </c:pt>
                <c:pt idx="19765">
                  <c:v>0.35250579632602103</c:v>
                </c:pt>
                <c:pt idx="19766">
                  <c:v>0.35252363117531599</c:v>
                </c:pt>
                <c:pt idx="19767">
                  <c:v>0.352541466024612</c:v>
                </c:pt>
                <c:pt idx="19768">
                  <c:v>0.35255930087390702</c:v>
                </c:pt>
                <c:pt idx="19769">
                  <c:v>0.35257713572320298</c:v>
                </c:pt>
                <c:pt idx="19770">
                  <c:v>0.352594970572498</c:v>
                </c:pt>
                <c:pt idx="19771">
                  <c:v>0.35261280542179402</c:v>
                </c:pt>
                <c:pt idx="19772">
                  <c:v>0.35263064027108898</c:v>
                </c:pt>
                <c:pt idx="19773">
                  <c:v>0.352648475120385</c:v>
                </c:pt>
                <c:pt idx="19774">
                  <c:v>0.35266630996968001</c:v>
                </c:pt>
                <c:pt idx="19775">
                  <c:v>0.35268414481897598</c:v>
                </c:pt>
                <c:pt idx="19776">
                  <c:v>0.35270197966827099</c:v>
                </c:pt>
                <c:pt idx="19777">
                  <c:v>0.35271981451756701</c:v>
                </c:pt>
                <c:pt idx="19778">
                  <c:v>0.35273764936686203</c:v>
                </c:pt>
                <c:pt idx="19779">
                  <c:v>0.35275548421615799</c:v>
                </c:pt>
                <c:pt idx="19780">
                  <c:v>0.35277331906545301</c:v>
                </c:pt>
                <c:pt idx="19781">
                  <c:v>0.35279115391474902</c:v>
                </c:pt>
                <c:pt idx="19782">
                  <c:v>0.35280898876404398</c:v>
                </c:pt>
                <c:pt idx="19783">
                  <c:v>0.35282682361334</c:v>
                </c:pt>
                <c:pt idx="19784">
                  <c:v>0.35284465846263602</c:v>
                </c:pt>
                <c:pt idx="19785">
                  <c:v>0.35286249331193098</c:v>
                </c:pt>
                <c:pt idx="19786">
                  <c:v>0.352880328161227</c:v>
                </c:pt>
                <c:pt idx="19787">
                  <c:v>0.35289816301052201</c:v>
                </c:pt>
                <c:pt idx="19788">
                  <c:v>0.35291599785981798</c:v>
                </c:pt>
                <c:pt idx="19789">
                  <c:v>0.35293383270911299</c:v>
                </c:pt>
                <c:pt idx="19790">
                  <c:v>0.35295166755840901</c:v>
                </c:pt>
                <c:pt idx="19791">
                  <c:v>0.35296950240770403</c:v>
                </c:pt>
                <c:pt idx="19792">
                  <c:v>0.35298733725699999</c:v>
                </c:pt>
                <c:pt idx="19793">
                  <c:v>0.35300517210629501</c:v>
                </c:pt>
                <c:pt idx="19794">
                  <c:v>0.35302300695559102</c:v>
                </c:pt>
                <c:pt idx="19795">
                  <c:v>0.35304084180488599</c:v>
                </c:pt>
                <c:pt idx="19796">
                  <c:v>0.353058676654182</c:v>
                </c:pt>
                <c:pt idx="19797">
                  <c:v>0.35307651150347702</c:v>
                </c:pt>
                <c:pt idx="19798">
                  <c:v>0.35309434635277298</c:v>
                </c:pt>
                <c:pt idx="19799">
                  <c:v>0.353112181202068</c:v>
                </c:pt>
                <c:pt idx="19800">
                  <c:v>0.35313001605136402</c:v>
                </c:pt>
                <c:pt idx="19801">
                  <c:v>0.35314785090065898</c:v>
                </c:pt>
                <c:pt idx="19802">
                  <c:v>0.35316568574995499</c:v>
                </c:pt>
                <c:pt idx="19803">
                  <c:v>0.35318352059925001</c:v>
                </c:pt>
                <c:pt idx="19804">
                  <c:v>0.35320135544854597</c:v>
                </c:pt>
                <c:pt idx="19805">
                  <c:v>0.35321919029784199</c:v>
                </c:pt>
                <c:pt idx="19806">
                  <c:v>0.35323702514713701</c:v>
                </c:pt>
                <c:pt idx="19807">
                  <c:v>0.35325485999643302</c:v>
                </c:pt>
                <c:pt idx="19808">
                  <c:v>0.35327269484572799</c:v>
                </c:pt>
                <c:pt idx="19809">
                  <c:v>0.353290529695024</c:v>
                </c:pt>
                <c:pt idx="19810">
                  <c:v>0.35330836454431902</c:v>
                </c:pt>
                <c:pt idx="19811">
                  <c:v>0.35332619939361498</c:v>
                </c:pt>
                <c:pt idx="19812">
                  <c:v>0.35334403424291</c:v>
                </c:pt>
                <c:pt idx="19813">
                  <c:v>0.35336186909220602</c:v>
                </c:pt>
                <c:pt idx="19814">
                  <c:v>0.35337970394150098</c:v>
                </c:pt>
                <c:pt idx="19815">
                  <c:v>0.35339753879079699</c:v>
                </c:pt>
                <c:pt idx="19816">
                  <c:v>0.35341537364009201</c:v>
                </c:pt>
                <c:pt idx="19817">
                  <c:v>0.35343320848938797</c:v>
                </c:pt>
                <c:pt idx="19818">
                  <c:v>0.35345104333868299</c:v>
                </c:pt>
                <c:pt idx="19819">
                  <c:v>0.35346887818797901</c:v>
                </c:pt>
                <c:pt idx="19820">
                  <c:v>0.35348671303727403</c:v>
                </c:pt>
                <c:pt idx="19821">
                  <c:v>0.35350454788656999</c:v>
                </c:pt>
                <c:pt idx="19822">
                  <c:v>0.353522382735865</c:v>
                </c:pt>
                <c:pt idx="19823">
                  <c:v>0.35354021758516102</c:v>
                </c:pt>
                <c:pt idx="19824">
                  <c:v>0.35355805243445598</c:v>
                </c:pt>
                <c:pt idx="19825">
                  <c:v>0.353575887283752</c:v>
                </c:pt>
                <c:pt idx="19826">
                  <c:v>0.35359372213304702</c:v>
                </c:pt>
                <c:pt idx="19827">
                  <c:v>0.35361155698234298</c:v>
                </c:pt>
                <c:pt idx="19828">
                  <c:v>0.353629391831639</c:v>
                </c:pt>
                <c:pt idx="19829">
                  <c:v>0.35364722668093401</c:v>
                </c:pt>
                <c:pt idx="19830">
                  <c:v>0.35366506153022997</c:v>
                </c:pt>
                <c:pt idx="19831">
                  <c:v>0.35368289637952499</c:v>
                </c:pt>
                <c:pt idx="19832">
                  <c:v>0.35370073122882101</c:v>
                </c:pt>
                <c:pt idx="19833">
                  <c:v>0.35371856607811603</c:v>
                </c:pt>
                <c:pt idx="19834">
                  <c:v>0.35373640092741199</c:v>
                </c:pt>
                <c:pt idx="19835">
                  <c:v>0.353754235776707</c:v>
                </c:pt>
                <c:pt idx="19836">
                  <c:v>0.35377207062600302</c:v>
                </c:pt>
                <c:pt idx="19837">
                  <c:v>0.35378990547529798</c:v>
                </c:pt>
                <c:pt idx="19838">
                  <c:v>0.353807740324594</c:v>
                </c:pt>
                <c:pt idx="19839">
                  <c:v>0.35382557517388902</c:v>
                </c:pt>
                <c:pt idx="19840">
                  <c:v>0.35384341002318498</c:v>
                </c:pt>
                <c:pt idx="19841">
                  <c:v>0.35386124487248</c:v>
                </c:pt>
                <c:pt idx="19842">
                  <c:v>0.35387907972177601</c:v>
                </c:pt>
                <c:pt idx="19843">
                  <c:v>0.35389691457107098</c:v>
                </c:pt>
                <c:pt idx="19844">
                  <c:v>0.35391474942036699</c:v>
                </c:pt>
                <c:pt idx="19845">
                  <c:v>0.35393258426966201</c:v>
                </c:pt>
                <c:pt idx="19846">
                  <c:v>0.35395041911895803</c:v>
                </c:pt>
                <c:pt idx="19847">
                  <c:v>0.35396825396825399</c:v>
                </c:pt>
                <c:pt idx="19848">
                  <c:v>0.35398608881754901</c:v>
                </c:pt>
                <c:pt idx="19849">
                  <c:v>0.35400392366684502</c:v>
                </c:pt>
                <c:pt idx="19850">
                  <c:v>0.35402175851613998</c:v>
                </c:pt>
                <c:pt idx="19851">
                  <c:v>0.354039593365436</c:v>
                </c:pt>
                <c:pt idx="19852">
                  <c:v>0.35405742821473102</c:v>
                </c:pt>
                <c:pt idx="19853">
                  <c:v>0.35407526306402698</c:v>
                </c:pt>
                <c:pt idx="19854">
                  <c:v>0.354093097913322</c:v>
                </c:pt>
                <c:pt idx="19855">
                  <c:v>0.35411093276261801</c:v>
                </c:pt>
                <c:pt idx="19856">
                  <c:v>0.35412876761191298</c:v>
                </c:pt>
                <c:pt idx="19857">
                  <c:v>0.35414660246120899</c:v>
                </c:pt>
                <c:pt idx="19858">
                  <c:v>0.35416443731050401</c:v>
                </c:pt>
                <c:pt idx="19859">
                  <c:v>0.35418227215980003</c:v>
                </c:pt>
                <c:pt idx="19860">
                  <c:v>0.35420010700909499</c:v>
                </c:pt>
                <c:pt idx="19861">
                  <c:v>0.35421794185839101</c:v>
                </c:pt>
                <c:pt idx="19862">
                  <c:v>0.35423577670768602</c:v>
                </c:pt>
                <c:pt idx="19863">
                  <c:v>0.35425361155698198</c:v>
                </c:pt>
                <c:pt idx="19864">
                  <c:v>0.354271446406277</c:v>
                </c:pt>
                <c:pt idx="19865">
                  <c:v>0.35428928125557302</c:v>
                </c:pt>
                <c:pt idx="19866">
                  <c:v>0.35430711610486798</c:v>
                </c:pt>
                <c:pt idx="19867">
                  <c:v>0.354324950954164</c:v>
                </c:pt>
                <c:pt idx="19868">
                  <c:v>0.35434278580345901</c:v>
                </c:pt>
                <c:pt idx="19869">
                  <c:v>0.35436062065275498</c:v>
                </c:pt>
                <c:pt idx="19870">
                  <c:v>0.35437845550205099</c:v>
                </c:pt>
                <c:pt idx="19871">
                  <c:v>0.35439629035134601</c:v>
                </c:pt>
                <c:pt idx="19872">
                  <c:v>0.35441412520064203</c:v>
                </c:pt>
                <c:pt idx="19873">
                  <c:v>0.35443196004993699</c:v>
                </c:pt>
                <c:pt idx="19874">
                  <c:v>0.35444979489923301</c:v>
                </c:pt>
                <c:pt idx="19875">
                  <c:v>0.35446762974852802</c:v>
                </c:pt>
                <c:pt idx="19876">
                  <c:v>0.35448546459782398</c:v>
                </c:pt>
                <c:pt idx="19877">
                  <c:v>0.354503299447119</c:v>
                </c:pt>
                <c:pt idx="19878">
                  <c:v>0.35452113429641502</c:v>
                </c:pt>
                <c:pt idx="19879">
                  <c:v>0.35453896914570998</c:v>
                </c:pt>
                <c:pt idx="19880">
                  <c:v>0.354556803995006</c:v>
                </c:pt>
                <c:pt idx="19881">
                  <c:v>0.35457463884430102</c:v>
                </c:pt>
                <c:pt idx="19882">
                  <c:v>0.35459247369359698</c:v>
                </c:pt>
                <c:pt idx="19883">
                  <c:v>0.35461030854289199</c:v>
                </c:pt>
                <c:pt idx="19884">
                  <c:v>0.35462814339218801</c:v>
                </c:pt>
                <c:pt idx="19885">
                  <c:v>0.35464597824148297</c:v>
                </c:pt>
                <c:pt idx="19886">
                  <c:v>0.35466381309077899</c:v>
                </c:pt>
                <c:pt idx="19887">
                  <c:v>0.35468164794007401</c:v>
                </c:pt>
                <c:pt idx="19888">
                  <c:v>0.35469948278937002</c:v>
                </c:pt>
                <c:pt idx="19889">
                  <c:v>0.35471731763866499</c:v>
                </c:pt>
                <c:pt idx="19890">
                  <c:v>0.354735152487961</c:v>
                </c:pt>
                <c:pt idx="19891">
                  <c:v>0.35475298733725702</c:v>
                </c:pt>
                <c:pt idx="19892">
                  <c:v>0.35477082218655198</c:v>
                </c:pt>
                <c:pt idx="19893">
                  <c:v>0.354788657035848</c:v>
                </c:pt>
                <c:pt idx="19894">
                  <c:v>0.35480649188514302</c:v>
                </c:pt>
                <c:pt idx="19895">
                  <c:v>0.35482432673443898</c:v>
                </c:pt>
                <c:pt idx="19896">
                  <c:v>0.35484216158373399</c:v>
                </c:pt>
                <c:pt idx="19897">
                  <c:v>0.35485999643303001</c:v>
                </c:pt>
                <c:pt idx="19898">
                  <c:v>0.35487783128232497</c:v>
                </c:pt>
                <c:pt idx="19899">
                  <c:v>0.35489566613162099</c:v>
                </c:pt>
                <c:pt idx="19900">
                  <c:v>0.35491350098091601</c:v>
                </c:pt>
                <c:pt idx="19901">
                  <c:v>0.35493133583021202</c:v>
                </c:pt>
                <c:pt idx="19902">
                  <c:v>0.35494917067950699</c:v>
                </c:pt>
                <c:pt idx="19903">
                  <c:v>0.354967005528803</c:v>
                </c:pt>
                <c:pt idx="19904">
                  <c:v>0.35498484037809802</c:v>
                </c:pt>
                <c:pt idx="19905">
                  <c:v>0.35500267522739398</c:v>
                </c:pt>
                <c:pt idx="19906">
                  <c:v>0.355020510076689</c:v>
                </c:pt>
                <c:pt idx="19907">
                  <c:v>0.35503834492598502</c:v>
                </c:pt>
                <c:pt idx="19908">
                  <c:v>0.35505617977527998</c:v>
                </c:pt>
                <c:pt idx="19909">
                  <c:v>0.355074014624576</c:v>
                </c:pt>
                <c:pt idx="19910">
                  <c:v>0.35509184947387101</c:v>
                </c:pt>
                <c:pt idx="19911">
                  <c:v>0.35510968432316697</c:v>
                </c:pt>
                <c:pt idx="19912">
                  <c:v>0.35512751917246299</c:v>
                </c:pt>
                <c:pt idx="19913">
                  <c:v>0.35514535402175801</c:v>
                </c:pt>
                <c:pt idx="19914">
                  <c:v>0.35516318887105403</c:v>
                </c:pt>
                <c:pt idx="19915">
                  <c:v>0.35518102372034899</c:v>
                </c:pt>
                <c:pt idx="19916">
                  <c:v>0.355198858569645</c:v>
                </c:pt>
                <c:pt idx="19917">
                  <c:v>0.35521669341894002</c:v>
                </c:pt>
                <c:pt idx="19918">
                  <c:v>0.35523452826823598</c:v>
                </c:pt>
                <c:pt idx="19919">
                  <c:v>0.355252363117531</c:v>
                </c:pt>
                <c:pt idx="19920">
                  <c:v>0.35527019796682702</c:v>
                </c:pt>
                <c:pt idx="19921">
                  <c:v>0.35528803281612198</c:v>
                </c:pt>
                <c:pt idx="19922">
                  <c:v>0.355305867665418</c:v>
                </c:pt>
                <c:pt idx="19923">
                  <c:v>0.35532370251471301</c:v>
                </c:pt>
                <c:pt idx="19924">
                  <c:v>0.35534153736400897</c:v>
                </c:pt>
                <c:pt idx="19925">
                  <c:v>0.35535937221330399</c:v>
                </c:pt>
                <c:pt idx="19926">
                  <c:v>0.35537720706260001</c:v>
                </c:pt>
                <c:pt idx="19927">
                  <c:v>0.35539504191189503</c:v>
                </c:pt>
                <c:pt idx="19928">
                  <c:v>0.35541287676119099</c:v>
                </c:pt>
                <c:pt idx="19929">
                  <c:v>0.35543071161048601</c:v>
                </c:pt>
                <c:pt idx="19930">
                  <c:v>0.35544854645978202</c:v>
                </c:pt>
                <c:pt idx="19931">
                  <c:v>0.35546638130907698</c:v>
                </c:pt>
                <c:pt idx="19932">
                  <c:v>0.355484216158373</c:v>
                </c:pt>
                <c:pt idx="19933">
                  <c:v>0.35550205100766802</c:v>
                </c:pt>
                <c:pt idx="19934">
                  <c:v>0.35551988585696398</c:v>
                </c:pt>
                <c:pt idx="19935">
                  <c:v>0.35553772070626</c:v>
                </c:pt>
                <c:pt idx="19936">
                  <c:v>0.35555555555555501</c:v>
                </c:pt>
                <c:pt idx="19937">
                  <c:v>0.35557339040485098</c:v>
                </c:pt>
                <c:pt idx="19938">
                  <c:v>0.35559122525414599</c:v>
                </c:pt>
                <c:pt idx="19939">
                  <c:v>0.35560906010344201</c:v>
                </c:pt>
                <c:pt idx="19940">
                  <c:v>0.35562689495273703</c:v>
                </c:pt>
                <c:pt idx="19941">
                  <c:v>0.35564472980203299</c:v>
                </c:pt>
                <c:pt idx="19942">
                  <c:v>0.35566256465132801</c:v>
                </c:pt>
                <c:pt idx="19943">
                  <c:v>0.35568039950062402</c:v>
                </c:pt>
                <c:pt idx="19944">
                  <c:v>0.35569823434991898</c:v>
                </c:pt>
                <c:pt idx="19945">
                  <c:v>0.355716069199215</c:v>
                </c:pt>
                <c:pt idx="19946">
                  <c:v>0.35573390404851002</c:v>
                </c:pt>
                <c:pt idx="19947">
                  <c:v>0.35575173889780598</c:v>
                </c:pt>
                <c:pt idx="19948">
                  <c:v>0.355769573747101</c:v>
                </c:pt>
                <c:pt idx="19949">
                  <c:v>0.35578740859639701</c:v>
                </c:pt>
                <c:pt idx="19950">
                  <c:v>0.35580524344569198</c:v>
                </c:pt>
                <c:pt idx="19951">
                  <c:v>0.35582307829498799</c:v>
                </c:pt>
                <c:pt idx="19952">
                  <c:v>0.35584091314428301</c:v>
                </c:pt>
                <c:pt idx="19953">
                  <c:v>0.35585874799357903</c:v>
                </c:pt>
                <c:pt idx="19954">
                  <c:v>0.35587658284287499</c:v>
                </c:pt>
                <c:pt idx="19955">
                  <c:v>0.35589441769217001</c:v>
                </c:pt>
                <c:pt idx="19956">
                  <c:v>0.35591225254146602</c:v>
                </c:pt>
                <c:pt idx="19957">
                  <c:v>0.35593008739076099</c:v>
                </c:pt>
                <c:pt idx="19958">
                  <c:v>0.355947922240057</c:v>
                </c:pt>
                <c:pt idx="19959">
                  <c:v>0.35596575708935202</c:v>
                </c:pt>
                <c:pt idx="19960">
                  <c:v>0.35598359193864798</c:v>
                </c:pt>
                <c:pt idx="19961">
                  <c:v>0.356001426787943</c:v>
                </c:pt>
                <c:pt idx="19962">
                  <c:v>0.35601926163723902</c:v>
                </c:pt>
                <c:pt idx="19963">
                  <c:v>0.35603709648653398</c:v>
                </c:pt>
                <c:pt idx="19964">
                  <c:v>0.35605493133582999</c:v>
                </c:pt>
                <c:pt idx="19965">
                  <c:v>0.35607276618512501</c:v>
                </c:pt>
                <c:pt idx="19966">
                  <c:v>0.35609060103442097</c:v>
                </c:pt>
                <c:pt idx="19967">
                  <c:v>0.35610843588371599</c:v>
                </c:pt>
                <c:pt idx="19968">
                  <c:v>0.35612627073301201</c:v>
                </c:pt>
                <c:pt idx="19969">
                  <c:v>0.35614410558230702</c:v>
                </c:pt>
                <c:pt idx="19970">
                  <c:v>0.35616194043160299</c:v>
                </c:pt>
                <c:pt idx="19971">
                  <c:v>0.356179775280898</c:v>
                </c:pt>
                <c:pt idx="19972">
                  <c:v>0.35619761013019402</c:v>
                </c:pt>
                <c:pt idx="19973">
                  <c:v>0.35621544497948898</c:v>
                </c:pt>
                <c:pt idx="19974">
                  <c:v>0.356233279828785</c:v>
                </c:pt>
                <c:pt idx="19975">
                  <c:v>0.35625111467808002</c:v>
                </c:pt>
                <c:pt idx="19976">
                  <c:v>0.35626894952737598</c:v>
                </c:pt>
                <c:pt idx="19977">
                  <c:v>0.35628678437667199</c:v>
                </c:pt>
                <c:pt idx="19978">
                  <c:v>0.35630461922596701</c:v>
                </c:pt>
                <c:pt idx="19979">
                  <c:v>0.35632245407526297</c:v>
                </c:pt>
                <c:pt idx="19980">
                  <c:v>0.35634028892455799</c:v>
                </c:pt>
                <c:pt idx="19981">
                  <c:v>0.35635812377385401</c:v>
                </c:pt>
                <c:pt idx="19982">
                  <c:v>0.35637595862314903</c:v>
                </c:pt>
                <c:pt idx="19983">
                  <c:v>0.35639379347244499</c:v>
                </c:pt>
                <c:pt idx="19984">
                  <c:v>0.35641162832174</c:v>
                </c:pt>
                <c:pt idx="19985">
                  <c:v>0.35642946317103602</c:v>
                </c:pt>
                <c:pt idx="19986">
                  <c:v>0.35644729802033098</c:v>
                </c:pt>
                <c:pt idx="19987">
                  <c:v>0.356465132869627</c:v>
                </c:pt>
                <c:pt idx="19988">
                  <c:v>0.35648296771892202</c:v>
                </c:pt>
                <c:pt idx="19989">
                  <c:v>0.35650080256821798</c:v>
                </c:pt>
                <c:pt idx="19990">
                  <c:v>0.356518637417513</c:v>
                </c:pt>
                <c:pt idx="19991">
                  <c:v>0.35653647226680901</c:v>
                </c:pt>
                <c:pt idx="19992">
                  <c:v>0.35655430711610397</c:v>
                </c:pt>
                <c:pt idx="19993">
                  <c:v>0.35657214196539999</c:v>
                </c:pt>
                <c:pt idx="19994">
                  <c:v>0.35658997681469501</c:v>
                </c:pt>
                <c:pt idx="19995">
                  <c:v>0.35660781166399103</c:v>
                </c:pt>
                <c:pt idx="19996">
                  <c:v>0.35662564651328699</c:v>
                </c:pt>
                <c:pt idx="19997">
                  <c:v>0.356643481362582</c:v>
                </c:pt>
                <c:pt idx="19998">
                  <c:v>0.35666131621187802</c:v>
                </c:pt>
                <c:pt idx="19999">
                  <c:v>0.35667915106117298</c:v>
                </c:pt>
                <c:pt idx="20000">
                  <c:v>0.356696985910469</c:v>
                </c:pt>
                <c:pt idx="20001">
                  <c:v>0.35671482075976402</c:v>
                </c:pt>
                <c:pt idx="20002">
                  <c:v>0.35673265560905998</c:v>
                </c:pt>
                <c:pt idx="20003">
                  <c:v>0.356750490458355</c:v>
                </c:pt>
                <c:pt idx="20004">
                  <c:v>0.35676832530765101</c:v>
                </c:pt>
                <c:pt idx="20005">
                  <c:v>0.35678616015694598</c:v>
                </c:pt>
                <c:pt idx="20006">
                  <c:v>0.35680399500624199</c:v>
                </c:pt>
                <c:pt idx="20007">
                  <c:v>0.35682182985553701</c:v>
                </c:pt>
                <c:pt idx="20008">
                  <c:v>0.35683966470483303</c:v>
                </c:pt>
                <c:pt idx="20009">
                  <c:v>0.35685749955412799</c:v>
                </c:pt>
                <c:pt idx="20010">
                  <c:v>0.356875334403424</c:v>
                </c:pt>
                <c:pt idx="20011">
                  <c:v>0.35689316925271902</c:v>
                </c:pt>
                <c:pt idx="20012">
                  <c:v>0.35691100410201498</c:v>
                </c:pt>
                <c:pt idx="20013">
                  <c:v>0.35692883895131</c:v>
                </c:pt>
                <c:pt idx="20014">
                  <c:v>0.35694667380060602</c:v>
                </c:pt>
                <c:pt idx="20015">
                  <c:v>0.35696450864990098</c:v>
                </c:pt>
                <c:pt idx="20016">
                  <c:v>0.356982343499197</c:v>
                </c:pt>
                <c:pt idx="20017">
                  <c:v>0.35700017834849201</c:v>
                </c:pt>
                <c:pt idx="20018">
                  <c:v>0.35701801319778798</c:v>
                </c:pt>
                <c:pt idx="20019">
                  <c:v>0.35703584804708399</c:v>
                </c:pt>
                <c:pt idx="20020">
                  <c:v>0.35705368289637901</c:v>
                </c:pt>
                <c:pt idx="20021">
                  <c:v>0.35707151774567503</c:v>
                </c:pt>
                <c:pt idx="20022">
                  <c:v>0.35708935259496999</c:v>
                </c:pt>
                <c:pt idx="20023">
                  <c:v>0.35710718744426601</c:v>
                </c:pt>
                <c:pt idx="20024">
                  <c:v>0.35712502229356102</c:v>
                </c:pt>
                <c:pt idx="20025">
                  <c:v>0.35714285714285698</c:v>
                </c:pt>
                <c:pt idx="20026">
                  <c:v>0.357160691992152</c:v>
                </c:pt>
                <c:pt idx="20027">
                  <c:v>0.35717852684144802</c:v>
                </c:pt>
                <c:pt idx="20028">
                  <c:v>0.35719636169074298</c:v>
                </c:pt>
                <c:pt idx="20029">
                  <c:v>0.357214196540039</c:v>
                </c:pt>
                <c:pt idx="20030">
                  <c:v>0.35723203138933401</c:v>
                </c:pt>
                <c:pt idx="20031">
                  <c:v>0.35724986623862998</c:v>
                </c:pt>
                <c:pt idx="20032">
                  <c:v>0.35726770108792499</c:v>
                </c:pt>
                <c:pt idx="20033">
                  <c:v>0.35728553593722101</c:v>
                </c:pt>
                <c:pt idx="20034">
                  <c:v>0.35730337078651597</c:v>
                </c:pt>
                <c:pt idx="20035">
                  <c:v>0.35732120563581199</c:v>
                </c:pt>
                <c:pt idx="20036">
                  <c:v>0.35733904048510701</c:v>
                </c:pt>
                <c:pt idx="20037">
                  <c:v>0.35735687533440302</c:v>
                </c:pt>
                <c:pt idx="20038">
                  <c:v>0.35737471018369799</c:v>
                </c:pt>
                <c:pt idx="20039">
                  <c:v>0.357392545032994</c:v>
                </c:pt>
                <c:pt idx="20040">
                  <c:v>0.35741037988229002</c:v>
                </c:pt>
                <c:pt idx="20041">
                  <c:v>0.35742821473158498</c:v>
                </c:pt>
                <c:pt idx="20042">
                  <c:v>0.357446049580881</c:v>
                </c:pt>
                <c:pt idx="20043">
                  <c:v>0.35746388443017602</c:v>
                </c:pt>
                <c:pt idx="20044">
                  <c:v>0.35748171927947198</c:v>
                </c:pt>
                <c:pt idx="20045">
                  <c:v>0.35749955412876699</c:v>
                </c:pt>
                <c:pt idx="20046">
                  <c:v>0.35751738897806301</c:v>
                </c:pt>
                <c:pt idx="20047">
                  <c:v>0.35753522382735797</c:v>
                </c:pt>
                <c:pt idx="20048">
                  <c:v>0.35755305867665399</c:v>
                </c:pt>
                <c:pt idx="20049">
                  <c:v>0.35757089352594901</c:v>
                </c:pt>
                <c:pt idx="20050">
                  <c:v>0.35758872837524502</c:v>
                </c:pt>
                <c:pt idx="20051">
                  <c:v>0.35760656322453999</c:v>
                </c:pt>
                <c:pt idx="20052">
                  <c:v>0.357624398073836</c:v>
                </c:pt>
                <c:pt idx="20053">
                  <c:v>0.35764223292313102</c:v>
                </c:pt>
                <c:pt idx="20054">
                  <c:v>0.35766006777242698</c:v>
                </c:pt>
                <c:pt idx="20055">
                  <c:v>0.357677902621722</c:v>
                </c:pt>
                <c:pt idx="20056">
                  <c:v>0.35769573747101802</c:v>
                </c:pt>
                <c:pt idx="20057">
                  <c:v>0.35771357232031298</c:v>
                </c:pt>
                <c:pt idx="20058">
                  <c:v>0.35773140716960899</c:v>
                </c:pt>
                <c:pt idx="20059">
                  <c:v>0.35774924201890401</c:v>
                </c:pt>
                <c:pt idx="20060">
                  <c:v>0.35776707686819997</c:v>
                </c:pt>
                <c:pt idx="20061">
                  <c:v>0.35778491171749599</c:v>
                </c:pt>
                <c:pt idx="20062">
                  <c:v>0.35780274656679101</c:v>
                </c:pt>
                <c:pt idx="20063">
                  <c:v>0.35782058141608702</c:v>
                </c:pt>
                <c:pt idx="20064">
                  <c:v>0.35783841626538199</c:v>
                </c:pt>
                <c:pt idx="20065">
                  <c:v>0.357856251114678</c:v>
                </c:pt>
                <c:pt idx="20066">
                  <c:v>0.35787408596397302</c:v>
                </c:pt>
                <c:pt idx="20067">
                  <c:v>0.35789192081326898</c:v>
                </c:pt>
                <c:pt idx="20068">
                  <c:v>0.357909755662564</c:v>
                </c:pt>
                <c:pt idx="20069">
                  <c:v>0.35792759051186002</c:v>
                </c:pt>
                <c:pt idx="20070">
                  <c:v>0.35794542536115498</c:v>
                </c:pt>
                <c:pt idx="20071">
                  <c:v>0.357963260210451</c:v>
                </c:pt>
                <c:pt idx="20072">
                  <c:v>0.35798109505974601</c:v>
                </c:pt>
                <c:pt idx="20073">
                  <c:v>0.35799892990904197</c:v>
                </c:pt>
                <c:pt idx="20074">
                  <c:v>0.35801676475833699</c:v>
                </c:pt>
                <c:pt idx="20075">
                  <c:v>0.35803459960763301</c:v>
                </c:pt>
                <c:pt idx="20076">
                  <c:v>0.35805243445692803</c:v>
                </c:pt>
                <c:pt idx="20077">
                  <c:v>0.35807026930622399</c:v>
                </c:pt>
                <c:pt idx="20078">
                  <c:v>0.358088104155519</c:v>
                </c:pt>
                <c:pt idx="20079">
                  <c:v>0.35810593900481502</c:v>
                </c:pt>
                <c:pt idx="20080">
                  <c:v>0.35812377385410998</c:v>
                </c:pt>
                <c:pt idx="20081">
                  <c:v>0.358141608703406</c:v>
                </c:pt>
                <c:pt idx="20082">
                  <c:v>0.35815944355270102</c:v>
                </c:pt>
                <c:pt idx="20083">
                  <c:v>0.35817727840199698</c:v>
                </c:pt>
                <c:pt idx="20084">
                  <c:v>0.358195113251293</c:v>
                </c:pt>
                <c:pt idx="20085">
                  <c:v>0.35821294810058801</c:v>
                </c:pt>
                <c:pt idx="20086">
                  <c:v>0.35823078294988397</c:v>
                </c:pt>
                <c:pt idx="20087">
                  <c:v>0.35824861779917899</c:v>
                </c:pt>
                <c:pt idx="20088">
                  <c:v>0.35826645264847501</c:v>
                </c:pt>
                <c:pt idx="20089">
                  <c:v>0.35828428749777003</c:v>
                </c:pt>
                <c:pt idx="20090">
                  <c:v>0.35830212234706599</c:v>
                </c:pt>
                <c:pt idx="20091">
                  <c:v>0.35831995719636101</c:v>
                </c:pt>
                <c:pt idx="20092">
                  <c:v>0.35833779204565702</c:v>
                </c:pt>
                <c:pt idx="20093">
                  <c:v>0.35835562689495198</c:v>
                </c:pt>
                <c:pt idx="20094">
                  <c:v>0.358373461744248</c:v>
                </c:pt>
                <c:pt idx="20095">
                  <c:v>0.35839129659354302</c:v>
                </c:pt>
                <c:pt idx="20096">
                  <c:v>0.35840913144283898</c:v>
                </c:pt>
                <c:pt idx="20097">
                  <c:v>0.358426966292134</c:v>
                </c:pt>
                <c:pt idx="20098">
                  <c:v>0.35844480114143001</c:v>
                </c:pt>
                <c:pt idx="20099">
                  <c:v>0.35846263599072498</c:v>
                </c:pt>
                <c:pt idx="20100">
                  <c:v>0.35848047084002099</c:v>
                </c:pt>
                <c:pt idx="20101">
                  <c:v>0.35849830568931601</c:v>
                </c:pt>
                <c:pt idx="20102">
                  <c:v>0.35851614053861203</c:v>
                </c:pt>
                <c:pt idx="20103">
                  <c:v>0.35853397538790799</c:v>
                </c:pt>
                <c:pt idx="20104">
                  <c:v>0.35855181023720301</c:v>
                </c:pt>
                <c:pt idx="20105">
                  <c:v>0.35856964508649902</c:v>
                </c:pt>
                <c:pt idx="20106">
                  <c:v>0.35858747993579398</c:v>
                </c:pt>
                <c:pt idx="20107">
                  <c:v>0.35860531478509</c:v>
                </c:pt>
                <c:pt idx="20108">
                  <c:v>0.35862314963438502</c:v>
                </c:pt>
                <c:pt idx="20109">
                  <c:v>0.35864098448368098</c:v>
                </c:pt>
                <c:pt idx="20110">
                  <c:v>0.358658819332976</c:v>
                </c:pt>
                <c:pt idx="20111">
                  <c:v>0.35867665418227201</c:v>
                </c:pt>
                <c:pt idx="20112">
                  <c:v>0.35869448903156698</c:v>
                </c:pt>
                <c:pt idx="20113">
                  <c:v>0.35871232388086299</c:v>
                </c:pt>
                <c:pt idx="20114">
                  <c:v>0.35873015873015801</c:v>
                </c:pt>
                <c:pt idx="20115">
                  <c:v>0.35874799357945403</c:v>
                </c:pt>
                <c:pt idx="20116">
                  <c:v>0.35876582842874899</c:v>
                </c:pt>
                <c:pt idx="20117">
                  <c:v>0.35878366327804501</c:v>
                </c:pt>
                <c:pt idx="20118">
                  <c:v>0.35880149812734002</c:v>
                </c:pt>
                <c:pt idx="20119">
                  <c:v>0.35881933297663599</c:v>
                </c:pt>
                <c:pt idx="20120">
                  <c:v>0.358837167825931</c:v>
                </c:pt>
                <c:pt idx="20121">
                  <c:v>0.35885500267522702</c:v>
                </c:pt>
                <c:pt idx="20122">
                  <c:v>0.35887283752452198</c:v>
                </c:pt>
                <c:pt idx="20123">
                  <c:v>0.358890672373818</c:v>
                </c:pt>
                <c:pt idx="20124">
                  <c:v>0.35890850722311302</c:v>
                </c:pt>
                <c:pt idx="20125">
                  <c:v>0.35892634207240898</c:v>
                </c:pt>
                <c:pt idx="20126">
                  <c:v>0.35894417692170499</c:v>
                </c:pt>
                <c:pt idx="20127">
                  <c:v>0.35896201177100001</c:v>
                </c:pt>
                <c:pt idx="20128">
                  <c:v>0.35897984662029597</c:v>
                </c:pt>
                <c:pt idx="20129">
                  <c:v>0.35899768146959099</c:v>
                </c:pt>
                <c:pt idx="20130">
                  <c:v>0.35901551631888701</c:v>
                </c:pt>
                <c:pt idx="20131">
                  <c:v>0.35903335116818202</c:v>
                </c:pt>
                <c:pt idx="20132">
                  <c:v>0.35905118601747799</c:v>
                </c:pt>
                <c:pt idx="20133">
                  <c:v>0.359069020866773</c:v>
                </c:pt>
                <c:pt idx="20134">
                  <c:v>0.35908685571606902</c:v>
                </c:pt>
                <c:pt idx="20135">
                  <c:v>0.35910469056536398</c:v>
                </c:pt>
                <c:pt idx="20136">
                  <c:v>0.35912252541466</c:v>
                </c:pt>
                <c:pt idx="20137">
                  <c:v>0.35914036026395502</c:v>
                </c:pt>
                <c:pt idx="20138">
                  <c:v>0.35915819511325098</c:v>
                </c:pt>
                <c:pt idx="20139">
                  <c:v>0.359176029962546</c:v>
                </c:pt>
                <c:pt idx="20140">
                  <c:v>0.35919386481184201</c:v>
                </c:pt>
                <c:pt idx="20141">
                  <c:v>0.35921169966113697</c:v>
                </c:pt>
                <c:pt idx="20142">
                  <c:v>0.35922953451043299</c:v>
                </c:pt>
                <c:pt idx="20143">
                  <c:v>0.35924736935972801</c:v>
                </c:pt>
                <c:pt idx="20144">
                  <c:v>0.35926520420902402</c:v>
                </c:pt>
                <c:pt idx="20145">
                  <c:v>0.35928303905831899</c:v>
                </c:pt>
                <c:pt idx="20146">
                  <c:v>0.359300873907615</c:v>
                </c:pt>
                <c:pt idx="20147">
                  <c:v>0.35931870875691102</c:v>
                </c:pt>
                <c:pt idx="20148">
                  <c:v>0.35933654360620598</c:v>
                </c:pt>
                <c:pt idx="20149">
                  <c:v>0.359354378455502</c:v>
                </c:pt>
                <c:pt idx="20150">
                  <c:v>0.35937221330479702</c:v>
                </c:pt>
                <c:pt idx="20151">
                  <c:v>0.35939004815409298</c:v>
                </c:pt>
                <c:pt idx="20152">
                  <c:v>0.359407883003388</c:v>
                </c:pt>
                <c:pt idx="20153">
                  <c:v>0.35942571785268401</c:v>
                </c:pt>
                <c:pt idx="20154">
                  <c:v>0.35944355270197897</c:v>
                </c:pt>
                <c:pt idx="20155">
                  <c:v>0.35946138755127499</c:v>
                </c:pt>
                <c:pt idx="20156">
                  <c:v>0.35947922240057001</c:v>
                </c:pt>
                <c:pt idx="20157">
                  <c:v>0.35949705724986603</c:v>
                </c:pt>
                <c:pt idx="20158">
                  <c:v>0.35951489209916099</c:v>
                </c:pt>
                <c:pt idx="20159">
                  <c:v>0.359532726948457</c:v>
                </c:pt>
                <c:pt idx="20160">
                  <c:v>0.35955056179775202</c:v>
                </c:pt>
                <c:pt idx="20161">
                  <c:v>0.35956839664704798</c:v>
                </c:pt>
                <c:pt idx="20162">
                  <c:v>0.359586231496343</c:v>
                </c:pt>
                <c:pt idx="20163">
                  <c:v>0.35960406634563902</c:v>
                </c:pt>
                <c:pt idx="20164">
                  <c:v>0.35962190119493398</c:v>
                </c:pt>
                <c:pt idx="20165">
                  <c:v>0.35963973604423</c:v>
                </c:pt>
                <c:pt idx="20166">
                  <c:v>0.35965757089352501</c:v>
                </c:pt>
                <c:pt idx="20167">
                  <c:v>0.35967540574282097</c:v>
                </c:pt>
                <c:pt idx="20168">
                  <c:v>0.35969324059211699</c:v>
                </c:pt>
                <c:pt idx="20169">
                  <c:v>0.35971107544141201</c:v>
                </c:pt>
                <c:pt idx="20170">
                  <c:v>0.35972891029070803</c:v>
                </c:pt>
                <c:pt idx="20171">
                  <c:v>0.35974674514000299</c:v>
                </c:pt>
                <c:pt idx="20172">
                  <c:v>0.359764579989299</c:v>
                </c:pt>
                <c:pt idx="20173">
                  <c:v>0.35978241483859402</c:v>
                </c:pt>
                <c:pt idx="20174">
                  <c:v>0.35980024968788998</c:v>
                </c:pt>
                <c:pt idx="20175">
                  <c:v>0.359818084537185</c:v>
                </c:pt>
                <c:pt idx="20176">
                  <c:v>0.35983591938648102</c:v>
                </c:pt>
                <c:pt idx="20177">
                  <c:v>0.35985375423577598</c:v>
                </c:pt>
                <c:pt idx="20178">
                  <c:v>0.359871589085072</c:v>
                </c:pt>
                <c:pt idx="20179">
                  <c:v>0.35988942393436701</c:v>
                </c:pt>
                <c:pt idx="20180">
                  <c:v>0.35990725878366298</c:v>
                </c:pt>
                <c:pt idx="20181">
                  <c:v>0.35992509363295799</c:v>
                </c:pt>
                <c:pt idx="20182">
                  <c:v>0.35994292848225401</c:v>
                </c:pt>
                <c:pt idx="20183">
                  <c:v>0.35996076333154903</c:v>
                </c:pt>
                <c:pt idx="20184">
                  <c:v>0.35997859818084499</c:v>
                </c:pt>
                <c:pt idx="20185">
                  <c:v>0.35999643303014001</c:v>
                </c:pt>
                <c:pt idx="20186">
                  <c:v>0.36001426787943602</c:v>
                </c:pt>
                <c:pt idx="20187">
                  <c:v>0.36003210272873098</c:v>
                </c:pt>
                <c:pt idx="20188">
                  <c:v>0.360049937578027</c:v>
                </c:pt>
                <c:pt idx="20189">
                  <c:v>0.36006777242732202</c:v>
                </c:pt>
                <c:pt idx="20190">
                  <c:v>0.36008560727661798</c:v>
                </c:pt>
                <c:pt idx="20191">
                  <c:v>0.360103442125914</c:v>
                </c:pt>
                <c:pt idx="20192">
                  <c:v>0.36012127697520901</c:v>
                </c:pt>
                <c:pt idx="20193">
                  <c:v>0.36013911182450498</c:v>
                </c:pt>
                <c:pt idx="20194">
                  <c:v>0.36015694667379999</c:v>
                </c:pt>
                <c:pt idx="20195">
                  <c:v>0.36017478152309601</c:v>
                </c:pt>
                <c:pt idx="20196">
                  <c:v>0.36019261637239097</c:v>
                </c:pt>
                <c:pt idx="20197">
                  <c:v>0.36021045122168699</c:v>
                </c:pt>
                <c:pt idx="20198">
                  <c:v>0.36022828607098201</c:v>
                </c:pt>
                <c:pt idx="20199">
                  <c:v>0.36024612092027802</c:v>
                </c:pt>
                <c:pt idx="20200">
                  <c:v>0.36026395576957299</c:v>
                </c:pt>
                <c:pt idx="20201">
                  <c:v>0.360281790618869</c:v>
                </c:pt>
                <c:pt idx="20202">
                  <c:v>0.36029962546816402</c:v>
                </c:pt>
                <c:pt idx="20203">
                  <c:v>0.36031746031745998</c:v>
                </c:pt>
                <c:pt idx="20204">
                  <c:v>0.360335295166755</c:v>
                </c:pt>
                <c:pt idx="20205">
                  <c:v>0.36035313001605102</c:v>
                </c:pt>
                <c:pt idx="20206">
                  <c:v>0.36037096486534598</c:v>
                </c:pt>
                <c:pt idx="20207">
                  <c:v>0.36038879971464199</c:v>
                </c:pt>
                <c:pt idx="20208">
                  <c:v>0.36040663456393701</c:v>
                </c:pt>
                <c:pt idx="20209">
                  <c:v>0.36042446941323297</c:v>
                </c:pt>
                <c:pt idx="20210">
                  <c:v>0.36044230426252899</c:v>
                </c:pt>
                <c:pt idx="20211">
                  <c:v>0.36046013911182401</c:v>
                </c:pt>
                <c:pt idx="20212">
                  <c:v>0.36047797396112002</c:v>
                </c:pt>
                <c:pt idx="20213">
                  <c:v>0.36049580881041499</c:v>
                </c:pt>
                <c:pt idx="20214">
                  <c:v>0.360513643659711</c:v>
                </c:pt>
                <c:pt idx="20215">
                  <c:v>0.36053147850900602</c:v>
                </c:pt>
                <c:pt idx="20216">
                  <c:v>0.36054931335830198</c:v>
                </c:pt>
                <c:pt idx="20217">
                  <c:v>0.360567148207597</c:v>
                </c:pt>
                <c:pt idx="20218">
                  <c:v>0.36058498305689302</c:v>
                </c:pt>
                <c:pt idx="20219">
                  <c:v>0.36060281790618798</c:v>
                </c:pt>
                <c:pt idx="20220">
                  <c:v>0.36062065275548399</c:v>
                </c:pt>
                <c:pt idx="20221">
                  <c:v>0.36063848760477901</c:v>
                </c:pt>
                <c:pt idx="20222">
                  <c:v>0.36065632245407497</c:v>
                </c:pt>
                <c:pt idx="20223">
                  <c:v>0.36067415730336999</c:v>
                </c:pt>
                <c:pt idx="20224">
                  <c:v>0.36069199215266601</c:v>
                </c:pt>
                <c:pt idx="20225">
                  <c:v>0.36070982700196103</c:v>
                </c:pt>
                <c:pt idx="20226">
                  <c:v>0.36072766185125699</c:v>
                </c:pt>
                <c:pt idx="20227">
                  <c:v>0.360745496700552</c:v>
                </c:pt>
                <c:pt idx="20228">
                  <c:v>0.36076333154984802</c:v>
                </c:pt>
                <c:pt idx="20229">
                  <c:v>0.36078116639914298</c:v>
                </c:pt>
                <c:pt idx="20230">
                  <c:v>0.360799001248439</c:v>
                </c:pt>
                <c:pt idx="20231">
                  <c:v>0.36081683609773402</c:v>
                </c:pt>
                <c:pt idx="20232">
                  <c:v>0.36083467094702998</c:v>
                </c:pt>
                <c:pt idx="20233">
                  <c:v>0.360852505796326</c:v>
                </c:pt>
                <c:pt idx="20234">
                  <c:v>0.36087034064562101</c:v>
                </c:pt>
                <c:pt idx="20235">
                  <c:v>0.36088817549491697</c:v>
                </c:pt>
                <c:pt idx="20236">
                  <c:v>0.36090601034421199</c:v>
                </c:pt>
                <c:pt idx="20237">
                  <c:v>0.36092384519350801</c:v>
                </c:pt>
                <c:pt idx="20238">
                  <c:v>0.36094168004280303</c:v>
                </c:pt>
                <c:pt idx="20239">
                  <c:v>0.36095951489209899</c:v>
                </c:pt>
                <c:pt idx="20240">
                  <c:v>0.360977349741394</c:v>
                </c:pt>
                <c:pt idx="20241">
                  <c:v>0.36099518459069002</c:v>
                </c:pt>
                <c:pt idx="20242">
                  <c:v>0.36101301943998498</c:v>
                </c:pt>
                <c:pt idx="20243">
                  <c:v>0.361030854289281</c:v>
                </c:pt>
                <c:pt idx="20244">
                  <c:v>0.36104868913857602</c:v>
                </c:pt>
                <c:pt idx="20245">
                  <c:v>0.36106652398787198</c:v>
                </c:pt>
                <c:pt idx="20246">
                  <c:v>0.361084358837167</c:v>
                </c:pt>
                <c:pt idx="20247">
                  <c:v>0.36110219368646301</c:v>
                </c:pt>
                <c:pt idx="20248">
                  <c:v>0.36112002853575798</c:v>
                </c:pt>
                <c:pt idx="20249">
                  <c:v>0.36113786338505399</c:v>
                </c:pt>
                <c:pt idx="20250">
                  <c:v>0.36115569823434901</c:v>
                </c:pt>
                <c:pt idx="20251">
                  <c:v>0.36117353308364503</c:v>
                </c:pt>
                <c:pt idx="20252">
                  <c:v>0.36119136793294099</c:v>
                </c:pt>
                <c:pt idx="20253">
                  <c:v>0.36120920278223601</c:v>
                </c:pt>
                <c:pt idx="20254">
                  <c:v>0.36122703763153202</c:v>
                </c:pt>
                <c:pt idx="20255">
                  <c:v>0.36124487248082698</c:v>
                </c:pt>
                <c:pt idx="20256">
                  <c:v>0.361262707330123</c:v>
                </c:pt>
                <c:pt idx="20257">
                  <c:v>0.36128054217941802</c:v>
                </c:pt>
                <c:pt idx="20258">
                  <c:v>0.36129837702871398</c:v>
                </c:pt>
                <c:pt idx="20259">
                  <c:v>0.361316211878009</c:v>
                </c:pt>
                <c:pt idx="20260">
                  <c:v>0.36133404672730501</c:v>
                </c:pt>
                <c:pt idx="20261">
                  <c:v>0.36135188157659998</c:v>
                </c:pt>
                <c:pt idx="20262">
                  <c:v>0.36136971642589599</c:v>
                </c:pt>
                <c:pt idx="20263">
                  <c:v>0.36138755127519101</c:v>
                </c:pt>
                <c:pt idx="20264">
                  <c:v>0.36140538612448703</c:v>
                </c:pt>
                <c:pt idx="20265">
                  <c:v>0.36142322097378199</c:v>
                </c:pt>
                <c:pt idx="20266">
                  <c:v>0.36144105582307801</c:v>
                </c:pt>
                <c:pt idx="20267">
                  <c:v>0.36145889067237302</c:v>
                </c:pt>
                <c:pt idx="20268">
                  <c:v>0.36147672552166898</c:v>
                </c:pt>
                <c:pt idx="20269">
                  <c:v>0.361494560370964</c:v>
                </c:pt>
                <c:pt idx="20270">
                  <c:v>0.36151239522026002</c:v>
                </c:pt>
                <c:pt idx="20271">
                  <c:v>0.36153023006955498</c:v>
                </c:pt>
                <c:pt idx="20272">
                  <c:v>0.361548064918851</c:v>
                </c:pt>
                <c:pt idx="20273">
                  <c:v>0.36156589976814602</c:v>
                </c:pt>
                <c:pt idx="20274">
                  <c:v>0.36158373461744198</c:v>
                </c:pt>
                <c:pt idx="20275">
                  <c:v>0.36160156946673799</c:v>
                </c:pt>
                <c:pt idx="20276">
                  <c:v>0.36161940431603301</c:v>
                </c:pt>
                <c:pt idx="20277">
                  <c:v>0.36163723916532903</c:v>
                </c:pt>
                <c:pt idx="20278">
                  <c:v>0.36165507401462399</c:v>
                </c:pt>
                <c:pt idx="20279">
                  <c:v>0.36167290886392001</c:v>
                </c:pt>
                <c:pt idx="20280">
                  <c:v>0.36169074371321502</c:v>
                </c:pt>
                <c:pt idx="20281">
                  <c:v>0.36170857856251099</c:v>
                </c:pt>
                <c:pt idx="20282">
                  <c:v>0.361726413411806</c:v>
                </c:pt>
                <c:pt idx="20283">
                  <c:v>0.36174424826110202</c:v>
                </c:pt>
                <c:pt idx="20284">
                  <c:v>0.36176208311039698</c:v>
                </c:pt>
                <c:pt idx="20285">
                  <c:v>0.361779917959693</c:v>
                </c:pt>
                <c:pt idx="20286">
                  <c:v>0.36179775280898802</c:v>
                </c:pt>
                <c:pt idx="20287">
                  <c:v>0.36181558765828398</c:v>
                </c:pt>
                <c:pt idx="20288">
                  <c:v>0.36183342250757899</c:v>
                </c:pt>
                <c:pt idx="20289">
                  <c:v>0.36185125735687501</c:v>
                </c:pt>
                <c:pt idx="20290">
                  <c:v>0.36186909220616997</c:v>
                </c:pt>
                <c:pt idx="20291">
                  <c:v>0.36188692705546599</c:v>
                </c:pt>
                <c:pt idx="20292">
                  <c:v>0.36190476190476101</c:v>
                </c:pt>
                <c:pt idx="20293">
                  <c:v>0.36192259675405702</c:v>
                </c:pt>
                <c:pt idx="20294">
                  <c:v>0.36194043160335199</c:v>
                </c:pt>
                <c:pt idx="20295">
                  <c:v>0.361958266452648</c:v>
                </c:pt>
                <c:pt idx="20296">
                  <c:v>0.36197610130194402</c:v>
                </c:pt>
                <c:pt idx="20297">
                  <c:v>0.36199393615123898</c:v>
                </c:pt>
                <c:pt idx="20298">
                  <c:v>0.362011771000535</c:v>
                </c:pt>
                <c:pt idx="20299">
                  <c:v>0.36202960584983002</c:v>
                </c:pt>
                <c:pt idx="20300">
                  <c:v>0.36204744069912598</c:v>
                </c:pt>
                <c:pt idx="20301">
                  <c:v>0.362065275548421</c:v>
                </c:pt>
                <c:pt idx="20302">
                  <c:v>0.36208311039771701</c:v>
                </c:pt>
                <c:pt idx="20303">
                  <c:v>0.36210094524701197</c:v>
                </c:pt>
                <c:pt idx="20304">
                  <c:v>0.36211878009630799</c:v>
                </c:pt>
                <c:pt idx="20305">
                  <c:v>0.36213661494560301</c:v>
                </c:pt>
                <c:pt idx="20306">
                  <c:v>0.36215444979489902</c:v>
                </c:pt>
                <c:pt idx="20307">
                  <c:v>0.36217228464419399</c:v>
                </c:pt>
                <c:pt idx="20308">
                  <c:v>0.36219011949349</c:v>
                </c:pt>
                <c:pt idx="20309">
                  <c:v>0.36220795434278502</c:v>
                </c:pt>
                <c:pt idx="20310">
                  <c:v>0.36222578919208098</c:v>
                </c:pt>
                <c:pt idx="20311">
                  <c:v>0.362243624041376</c:v>
                </c:pt>
                <c:pt idx="20312">
                  <c:v>0.36226145889067202</c:v>
                </c:pt>
                <c:pt idx="20313">
                  <c:v>0.36227929373996698</c:v>
                </c:pt>
                <c:pt idx="20314">
                  <c:v>0.362297128589263</c:v>
                </c:pt>
                <c:pt idx="20315">
                  <c:v>0.36231496343855801</c:v>
                </c:pt>
                <c:pt idx="20316">
                  <c:v>0.36233279828785397</c:v>
                </c:pt>
                <c:pt idx="20317">
                  <c:v>0.36235063313714999</c:v>
                </c:pt>
                <c:pt idx="20318">
                  <c:v>0.36236846798644501</c:v>
                </c:pt>
                <c:pt idx="20319">
                  <c:v>0.36238630283574103</c:v>
                </c:pt>
                <c:pt idx="20320">
                  <c:v>0.36240413768503599</c:v>
                </c:pt>
                <c:pt idx="20321">
                  <c:v>0.362421972534332</c:v>
                </c:pt>
                <c:pt idx="20322">
                  <c:v>0.36243980738362702</c:v>
                </c:pt>
                <c:pt idx="20323">
                  <c:v>0.36245764223292298</c:v>
                </c:pt>
                <c:pt idx="20324">
                  <c:v>0.362475477082218</c:v>
                </c:pt>
                <c:pt idx="20325">
                  <c:v>0.36249331193151402</c:v>
                </c:pt>
                <c:pt idx="20326">
                  <c:v>0.36251114678080898</c:v>
                </c:pt>
                <c:pt idx="20327">
                  <c:v>0.362528981630105</c:v>
                </c:pt>
                <c:pt idx="20328">
                  <c:v>0.36254681647940001</c:v>
                </c:pt>
                <c:pt idx="20329">
                  <c:v>0.36256465132869597</c:v>
                </c:pt>
                <c:pt idx="20330">
                  <c:v>0.36258248617799099</c:v>
                </c:pt>
                <c:pt idx="20331">
                  <c:v>0.36260032102728701</c:v>
                </c:pt>
                <c:pt idx="20332">
                  <c:v>0.36261815587658203</c:v>
                </c:pt>
                <c:pt idx="20333">
                  <c:v>0.36263599072587799</c:v>
                </c:pt>
                <c:pt idx="20334">
                  <c:v>0.36265382557517301</c:v>
                </c:pt>
                <c:pt idx="20335">
                  <c:v>0.36267166042446902</c:v>
                </c:pt>
                <c:pt idx="20336">
                  <c:v>0.36268949527376398</c:v>
                </c:pt>
                <c:pt idx="20337">
                  <c:v>0.36270733012306</c:v>
                </c:pt>
                <c:pt idx="20338">
                  <c:v>0.36272516497235502</c:v>
                </c:pt>
                <c:pt idx="20339">
                  <c:v>0.36274299982165098</c:v>
                </c:pt>
                <c:pt idx="20340">
                  <c:v>0.362760834670947</c:v>
                </c:pt>
                <c:pt idx="20341">
                  <c:v>0.36277866952024201</c:v>
                </c:pt>
                <c:pt idx="20342">
                  <c:v>0.36279650436953798</c:v>
                </c:pt>
                <c:pt idx="20343">
                  <c:v>0.36281433921883299</c:v>
                </c:pt>
                <c:pt idx="20344">
                  <c:v>0.36283217406812901</c:v>
                </c:pt>
                <c:pt idx="20345">
                  <c:v>0.36285000891742403</c:v>
                </c:pt>
                <c:pt idx="20346">
                  <c:v>0.36286784376671999</c:v>
                </c:pt>
                <c:pt idx="20347">
                  <c:v>0.36288567861601501</c:v>
                </c:pt>
                <c:pt idx="20348">
                  <c:v>0.36290351346531102</c:v>
                </c:pt>
                <c:pt idx="20349">
                  <c:v>0.36292134831460598</c:v>
                </c:pt>
                <c:pt idx="20350">
                  <c:v>0.362939183163902</c:v>
                </c:pt>
                <c:pt idx="20351">
                  <c:v>0.36295701801319702</c:v>
                </c:pt>
                <c:pt idx="20352">
                  <c:v>0.36297485286249298</c:v>
                </c:pt>
                <c:pt idx="20353">
                  <c:v>0.362992687711788</c:v>
                </c:pt>
                <c:pt idx="20354">
                  <c:v>0.36301052256108401</c:v>
                </c:pt>
                <c:pt idx="20355">
                  <c:v>0.36302835741037898</c:v>
                </c:pt>
                <c:pt idx="20356">
                  <c:v>0.36304619225967499</c:v>
                </c:pt>
                <c:pt idx="20357">
                  <c:v>0.36306402710897001</c:v>
                </c:pt>
                <c:pt idx="20358">
                  <c:v>0.36308186195826597</c:v>
                </c:pt>
                <c:pt idx="20359">
                  <c:v>0.36309969680756199</c:v>
                </c:pt>
                <c:pt idx="20360">
                  <c:v>0.36311753165685701</c:v>
                </c:pt>
                <c:pt idx="20361">
                  <c:v>0.36313536650615302</c:v>
                </c:pt>
                <c:pt idx="20362">
                  <c:v>0.36315320135544799</c:v>
                </c:pt>
                <c:pt idx="20363">
                  <c:v>0.363171036204744</c:v>
                </c:pt>
                <c:pt idx="20364">
                  <c:v>0.36318887105403902</c:v>
                </c:pt>
                <c:pt idx="20365">
                  <c:v>0.36320670590333498</c:v>
                </c:pt>
                <c:pt idx="20366">
                  <c:v>0.36322454075263</c:v>
                </c:pt>
                <c:pt idx="20367">
                  <c:v>0.36324237560192602</c:v>
                </c:pt>
                <c:pt idx="20368">
                  <c:v>0.36326021045122098</c:v>
                </c:pt>
                <c:pt idx="20369">
                  <c:v>0.36327804530051699</c:v>
                </c:pt>
                <c:pt idx="20370">
                  <c:v>0.36329588014981201</c:v>
                </c:pt>
                <c:pt idx="20371">
                  <c:v>0.36331371499910797</c:v>
                </c:pt>
                <c:pt idx="20372">
                  <c:v>0.36333154984840299</c:v>
                </c:pt>
                <c:pt idx="20373">
                  <c:v>0.36334938469769901</c:v>
                </c:pt>
                <c:pt idx="20374">
                  <c:v>0.36336721954699402</c:v>
                </c:pt>
                <c:pt idx="20375">
                  <c:v>0.36338505439628999</c:v>
                </c:pt>
                <c:pt idx="20376">
                  <c:v>0.363402889245585</c:v>
                </c:pt>
                <c:pt idx="20377">
                  <c:v>0.36342072409488102</c:v>
                </c:pt>
                <c:pt idx="20378">
                  <c:v>0.36343855894417598</c:v>
                </c:pt>
                <c:pt idx="20379">
                  <c:v>0.363456393793472</c:v>
                </c:pt>
                <c:pt idx="20380">
                  <c:v>0.36347422864276702</c:v>
                </c:pt>
                <c:pt idx="20381">
                  <c:v>0.36349206349206298</c:v>
                </c:pt>
                <c:pt idx="20382">
                  <c:v>0.36350989834135899</c:v>
                </c:pt>
                <c:pt idx="20383">
                  <c:v>0.36352773319065401</c:v>
                </c:pt>
                <c:pt idx="20384">
                  <c:v>0.36354556803994997</c:v>
                </c:pt>
                <c:pt idx="20385">
                  <c:v>0.36356340288924499</c:v>
                </c:pt>
                <c:pt idx="20386">
                  <c:v>0.36358123773854101</c:v>
                </c:pt>
                <c:pt idx="20387">
                  <c:v>0.36359907258783603</c:v>
                </c:pt>
                <c:pt idx="20388">
                  <c:v>0.36361690743713199</c:v>
                </c:pt>
                <c:pt idx="20389">
                  <c:v>0.363634742286427</c:v>
                </c:pt>
                <c:pt idx="20390">
                  <c:v>0.36365257713572302</c:v>
                </c:pt>
                <c:pt idx="20391">
                  <c:v>0.36367041198501798</c:v>
                </c:pt>
                <c:pt idx="20392">
                  <c:v>0.363688246834314</c:v>
                </c:pt>
                <c:pt idx="20393">
                  <c:v>0.36370608168360902</c:v>
                </c:pt>
                <c:pt idx="20394">
                  <c:v>0.36372391653290498</c:v>
                </c:pt>
                <c:pt idx="20395">
                  <c:v>0.3637417513822</c:v>
                </c:pt>
                <c:pt idx="20396">
                  <c:v>0.36375958623149601</c:v>
                </c:pt>
                <c:pt idx="20397">
                  <c:v>0.36377742108079097</c:v>
                </c:pt>
                <c:pt idx="20398">
                  <c:v>0.36379525593008699</c:v>
                </c:pt>
                <c:pt idx="20399">
                  <c:v>0.36381309077938201</c:v>
                </c:pt>
                <c:pt idx="20400">
                  <c:v>0.36383092562867803</c:v>
                </c:pt>
                <c:pt idx="20401">
                  <c:v>0.36384876047797399</c:v>
                </c:pt>
                <c:pt idx="20402">
                  <c:v>0.363866595327269</c:v>
                </c:pt>
                <c:pt idx="20403">
                  <c:v>0.36388443017656502</c:v>
                </c:pt>
                <c:pt idx="20404">
                  <c:v>0.36390226502585998</c:v>
                </c:pt>
                <c:pt idx="20405">
                  <c:v>0.363920099875156</c:v>
                </c:pt>
                <c:pt idx="20406">
                  <c:v>0.36393793472445102</c:v>
                </c:pt>
                <c:pt idx="20407">
                  <c:v>0.36395576957374698</c:v>
                </c:pt>
                <c:pt idx="20408">
                  <c:v>0.363973604423042</c:v>
                </c:pt>
                <c:pt idx="20409">
                  <c:v>0.36399143927233801</c:v>
                </c:pt>
                <c:pt idx="20410">
                  <c:v>0.36400927412163298</c:v>
                </c:pt>
                <c:pt idx="20411">
                  <c:v>0.36402710897092899</c:v>
                </c:pt>
                <c:pt idx="20412">
                  <c:v>0.36404494382022401</c:v>
                </c:pt>
                <c:pt idx="20413">
                  <c:v>0.36406277866952003</c:v>
                </c:pt>
                <c:pt idx="20414">
                  <c:v>0.36408061351881499</c:v>
                </c:pt>
                <c:pt idx="20415">
                  <c:v>0.36409844836811101</c:v>
                </c:pt>
                <c:pt idx="20416">
                  <c:v>0.36411628321740602</c:v>
                </c:pt>
                <c:pt idx="20417">
                  <c:v>0.36413411806670198</c:v>
                </c:pt>
                <c:pt idx="20418">
                  <c:v>0.364151952915997</c:v>
                </c:pt>
                <c:pt idx="20419">
                  <c:v>0.36416978776529302</c:v>
                </c:pt>
                <c:pt idx="20420">
                  <c:v>0.36418762261458798</c:v>
                </c:pt>
                <c:pt idx="20421">
                  <c:v>0.364205457463884</c:v>
                </c:pt>
                <c:pt idx="20422">
                  <c:v>0.36422329231317901</c:v>
                </c:pt>
                <c:pt idx="20423">
                  <c:v>0.36424112716247498</c:v>
                </c:pt>
                <c:pt idx="20424">
                  <c:v>0.36425896201177099</c:v>
                </c:pt>
                <c:pt idx="20425">
                  <c:v>0.36427679686106601</c:v>
                </c:pt>
                <c:pt idx="20426">
                  <c:v>0.36429463171036203</c:v>
                </c:pt>
                <c:pt idx="20427">
                  <c:v>0.36431246655965699</c:v>
                </c:pt>
                <c:pt idx="20428">
                  <c:v>0.36433030140895301</c:v>
                </c:pt>
                <c:pt idx="20429">
                  <c:v>0.36434813625824802</c:v>
                </c:pt>
                <c:pt idx="20430">
                  <c:v>0.36436597110754398</c:v>
                </c:pt>
                <c:pt idx="20431">
                  <c:v>0.364383805956839</c:v>
                </c:pt>
                <c:pt idx="20432">
                  <c:v>0.36440164080613502</c:v>
                </c:pt>
                <c:pt idx="20433">
                  <c:v>0.36441947565542998</c:v>
                </c:pt>
                <c:pt idx="20434">
                  <c:v>0.364437310504726</c:v>
                </c:pt>
                <c:pt idx="20435">
                  <c:v>0.36445514535402102</c:v>
                </c:pt>
                <c:pt idx="20436">
                  <c:v>0.36447298020331698</c:v>
                </c:pt>
                <c:pt idx="20437">
                  <c:v>0.36449081505261199</c:v>
                </c:pt>
                <c:pt idx="20438">
                  <c:v>0.36450864990190801</c:v>
                </c:pt>
                <c:pt idx="20439">
                  <c:v>0.36452648475120297</c:v>
                </c:pt>
                <c:pt idx="20440">
                  <c:v>0.36454431960049899</c:v>
                </c:pt>
                <c:pt idx="20441">
                  <c:v>0.36456215444979401</c:v>
                </c:pt>
                <c:pt idx="20442">
                  <c:v>0.36457998929909002</c:v>
                </c:pt>
                <c:pt idx="20443">
                  <c:v>0.36459782414838499</c:v>
                </c:pt>
                <c:pt idx="20444">
                  <c:v>0.364615658997681</c:v>
                </c:pt>
                <c:pt idx="20445">
                  <c:v>0.36463349384697702</c:v>
                </c:pt>
                <c:pt idx="20446">
                  <c:v>0.36465132869627198</c:v>
                </c:pt>
                <c:pt idx="20447">
                  <c:v>0.364669163545568</c:v>
                </c:pt>
                <c:pt idx="20448">
                  <c:v>0.36468699839486302</c:v>
                </c:pt>
                <c:pt idx="20449">
                  <c:v>0.36470483324415898</c:v>
                </c:pt>
                <c:pt idx="20450">
                  <c:v>0.36472266809345399</c:v>
                </c:pt>
                <c:pt idx="20451">
                  <c:v>0.36474050294275001</c:v>
                </c:pt>
                <c:pt idx="20452">
                  <c:v>0.36475833779204497</c:v>
                </c:pt>
                <c:pt idx="20453">
                  <c:v>0.36477617264134099</c:v>
                </c:pt>
                <c:pt idx="20454">
                  <c:v>0.36479400749063601</c:v>
                </c:pt>
                <c:pt idx="20455">
                  <c:v>0.36481184233993202</c:v>
                </c:pt>
                <c:pt idx="20456">
                  <c:v>0.36482967718922699</c:v>
                </c:pt>
                <c:pt idx="20457">
                  <c:v>0.364847512038523</c:v>
                </c:pt>
                <c:pt idx="20458">
                  <c:v>0.36486534688781802</c:v>
                </c:pt>
                <c:pt idx="20459">
                  <c:v>0.36488318173711398</c:v>
                </c:pt>
                <c:pt idx="20460">
                  <c:v>0.364901016586409</c:v>
                </c:pt>
                <c:pt idx="20461">
                  <c:v>0.36491885143570502</c:v>
                </c:pt>
                <c:pt idx="20462">
                  <c:v>0.36493668628499998</c:v>
                </c:pt>
                <c:pt idx="20463">
                  <c:v>0.36495452113429599</c:v>
                </c:pt>
                <c:pt idx="20464">
                  <c:v>0.36497235598359101</c:v>
                </c:pt>
                <c:pt idx="20465">
                  <c:v>0.36499019083288697</c:v>
                </c:pt>
                <c:pt idx="20466">
                  <c:v>0.36500802568218299</c:v>
                </c:pt>
                <c:pt idx="20467">
                  <c:v>0.36502586053147801</c:v>
                </c:pt>
                <c:pt idx="20468">
                  <c:v>0.36504369538077402</c:v>
                </c:pt>
                <c:pt idx="20469">
                  <c:v>0.36506153023006899</c:v>
                </c:pt>
                <c:pt idx="20470">
                  <c:v>0.365079365079365</c:v>
                </c:pt>
                <c:pt idx="20471">
                  <c:v>0.36509719992866002</c:v>
                </c:pt>
                <c:pt idx="20472">
                  <c:v>0.36511503477795598</c:v>
                </c:pt>
                <c:pt idx="20473">
                  <c:v>0.365132869627251</c:v>
                </c:pt>
                <c:pt idx="20474">
                  <c:v>0.36515070447654702</c:v>
                </c:pt>
                <c:pt idx="20475">
                  <c:v>0.36516853932584198</c:v>
                </c:pt>
                <c:pt idx="20476">
                  <c:v>0.365186374175138</c:v>
                </c:pt>
                <c:pt idx="20477">
                  <c:v>0.36520420902443301</c:v>
                </c:pt>
                <c:pt idx="20478">
                  <c:v>0.36522204387372897</c:v>
                </c:pt>
                <c:pt idx="20479">
                  <c:v>0.36523987872302399</c:v>
                </c:pt>
                <c:pt idx="20480">
                  <c:v>0.36525771357232001</c:v>
                </c:pt>
                <c:pt idx="20481">
                  <c:v>0.36527554842161503</c:v>
                </c:pt>
                <c:pt idx="20482">
                  <c:v>0.36529338327091099</c:v>
                </c:pt>
                <c:pt idx="20483">
                  <c:v>0.365311218120206</c:v>
                </c:pt>
                <c:pt idx="20484">
                  <c:v>0.36532905296950202</c:v>
                </c:pt>
                <c:pt idx="20485">
                  <c:v>0.36534688781879698</c:v>
                </c:pt>
                <c:pt idx="20486">
                  <c:v>0.365364722668093</c:v>
                </c:pt>
                <c:pt idx="20487">
                  <c:v>0.36538255751738802</c:v>
                </c:pt>
                <c:pt idx="20488">
                  <c:v>0.36540039236668398</c:v>
                </c:pt>
                <c:pt idx="20489">
                  <c:v>0.36541822721598</c:v>
                </c:pt>
                <c:pt idx="20490">
                  <c:v>0.36543606206527501</c:v>
                </c:pt>
                <c:pt idx="20491">
                  <c:v>0.36545389691457097</c:v>
                </c:pt>
                <c:pt idx="20492">
                  <c:v>0.36547173176386599</c:v>
                </c:pt>
                <c:pt idx="20493">
                  <c:v>0.36548956661316201</c:v>
                </c:pt>
                <c:pt idx="20494">
                  <c:v>0.36550740146245703</c:v>
                </c:pt>
                <c:pt idx="20495">
                  <c:v>0.36552523631175299</c:v>
                </c:pt>
                <c:pt idx="20496">
                  <c:v>0.36554307116104801</c:v>
                </c:pt>
                <c:pt idx="20497">
                  <c:v>0.36556090601034402</c:v>
                </c:pt>
                <c:pt idx="20498">
                  <c:v>0.36557874085963898</c:v>
                </c:pt>
                <c:pt idx="20499">
                  <c:v>0.365596575708935</c:v>
                </c:pt>
                <c:pt idx="20500">
                  <c:v>0.36561441055823002</c:v>
                </c:pt>
                <c:pt idx="20501">
                  <c:v>0.36563224540752598</c:v>
                </c:pt>
                <c:pt idx="20502">
                  <c:v>0.365650080256821</c:v>
                </c:pt>
                <c:pt idx="20503">
                  <c:v>0.36566791510611701</c:v>
                </c:pt>
                <c:pt idx="20504">
                  <c:v>0.36568574995541198</c:v>
                </c:pt>
                <c:pt idx="20505">
                  <c:v>0.36570358480470799</c:v>
                </c:pt>
                <c:pt idx="20506">
                  <c:v>0.36572141965400301</c:v>
                </c:pt>
                <c:pt idx="20507">
                  <c:v>0.36573925450329903</c:v>
                </c:pt>
                <c:pt idx="20508">
                  <c:v>0.36575708935259499</c:v>
                </c:pt>
                <c:pt idx="20509">
                  <c:v>0.36577492420189001</c:v>
                </c:pt>
                <c:pt idx="20510">
                  <c:v>0.36579275905118602</c:v>
                </c:pt>
                <c:pt idx="20511">
                  <c:v>0.36581059390048098</c:v>
                </c:pt>
                <c:pt idx="20512">
                  <c:v>0.365828428749777</c:v>
                </c:pt>
                <c:pt idx="20513">
                  <c:v>0.36584626359907202</c:v>
                </c:pt>
                <c:pt idx="20514">
                  <c:v>0.36586409844836798</c:v>
                </c:pt>
                <c:pt idx="20515">
                  <c:v>0.365881933297663</c:v>
                </c:pt>
                <c:pt idx="20516">
                  <c:v>0.36589976814695901</c:v>
                </c:pt>
                <c:pt idx="20517">
                  <c:v>0.36591760299625398</c:v>
                </c:pt>
                <c:pt idx="20518">
                  <c:v>0.36593543784554999</c:v>
                </c:pt>
                <c:pt idx="20519">
                  <c:v>0.36595327269484501</c:v>
                </c:pt>
                <c:pt idx="20520">
                  <c:v>0.36597110754414103</c:v>
                </c:pt>
                <c:pt idx="20521">
                  <c:v>0.36598894239343599</c:v>
                </c:pt>
                <c:pt idx="20522">
                  <c:v>0.36600677724273201</c:v>
                </c:pt>
                <c:pt idx="20523">
                  <c:v>0.36602461209202702</c:v>
                </c:pt>
                <c:pt idx="20524">
                  <c:v>0.36604244694132299</c:v>
                </c:pt>
                <c:pt idx="20525">
                  <c:v>0.366060281790618</c:v>
                </c:pt>
                <c:pt idx="20526">
                  <c:v>0.36607811663991402</c:v>
                </c:pt>
                <c:pt idx="20527">
                  <c:v>0.36609595148920898</c:v>
                </c:pt>
                <c:pt idx="20528">
                  <c:v>0.366113786338505</c:v>
                </c:pt>
                <c:pt idx="20529">
                  <c:v>0.36613162118780002</c:v>
                </c:pt>
                <c:pt idx="20530">
                  <c:v>0.36614945603709598</c:v>
                </c:pt>
                <c:pt idx="20531">
                  <c:v>0.36616729088639199</c:v>
                </c:pt>
                <c:pt idx="20532">
                  <c:v>0.36618512573568701</c:v>
                </c:pt>
                <c:pt idx="20533">
                  <c:v>0.36620296058498297</c:v>
                </c:pt>
                <c:pt idx="20534">
                  <c:v>0.36622079543427799</c:v>
                </c:pt>
                <c:pt idx="20535">
                  <c:v>0.36623863028357401</c:v>
                </c:pt>
                <c:pt idx="20536">
                  <c:v>0.36625646513286902</c:v>
                </c:pt>
                <c:pt idx="20537">
                  <c:v>0.36627429998216499</c:v>
                </c:pt>
                <c:pt idx="20538">
                  <c:v>0.36629213483146</c:v>
                </c:pt>
                <c:pt idx="20539">
                  <c:v>0.36630996968075602</c:v>
                </c:pt>
                <c:pt idx="20540">
                  <c:v>0.36632780453005098</c:v>
                </c:pt>
                <c:pt idx="20541">
                  <c:v>0.366345639379347</c:v>
                </c:pt>
                <c:pt idx="20542">
                  <c:v>0.36636347422864202</c:v>
                </c:pt>
                <c:pt idx="20543">
                  <c:v>0.36638130907793798</c:v>
                </c:pt>
                <c:pt idx="20544">
                  <c:v>0.366399143927233</c:v>
                </c:pt>
                <c:pt idx="20545">
                  <c:v>0.36641697877652901</c:v>
                </c:pt>
                <c:pt idx="20546">
                  <c:v>0.36643481362582397</c:v>
                </c:pt>
                <c:pt idx="20547">
                  <c:v>0.36645264847511999</c:v>
                </c:pt>
                <c:pt idx="20548">
                  <c:v>0.36647048332441501</c:v>
                </c:pt>
                <c:pt idx="20549">
                  <c:v>0.36648831817371103</c:v>
                </c:pt>
                <c:pt idx="20550">
                  <c:v>0.36650615302300599</c:v>
                </c:pt>
                <c:pt idx="20551">
                  <c:v>0.366523987872302</c:v>
                </c:pt>
                <c:pt idx="20552">
                  <c:v>0.36654182272159802</c:v>
                </c:pt>
                <c:pt idx="20553">
                  <c:v>0.36655965757089298</c:v>
                </c:pt>
                <c:pt idx="20554">
                  <c:v>0.366577492420189</c:v>
                </c:pt>
                <c:pt idx="20555">
                  <c:v>0.36659532726948402</c:v>
                </c:pt>
                <c:pt idx="20556">
                  <c:v>0.36661316211877998</c:v>
                </c:pt>
                <c:pt idx="20557">
                  <c:v>0.366630996968075</c:v>
                </c:pt>
                <c:pt idx="20558">
                  <c:v>0.36664883181737101</c:v>
                </c:pt>
                <c:pt idx="20559">
                  <c:v>0.36666666666666597</c:v>
                </c:pt>
                <c:pt idx="20560">
                  <c:v>0.36668450151596199</c:v>
                </c:pt>
                <c:pt idx="20561">
                  <c:v>0.36670233636525701</c:v>
                </c:pt>
                <c:pt idx="20562">
                  <c:v>0.36672017121455303</c:v>
                </c:pt>
                <c:pt idx="20563">
                  <c:v>0.36673800606384799</c:v>
                </c:pt>
                <c:pt idx="20564">
                  <c:v>0.366755840913144</c:v>
                </c:pt>
                <c:pt idx="20565">
                  <c:v>0.36677367576243902</c:v>
                </c:pt>
                <c:pt idx="20566">
                  <c:v>0.36679151061173498</c:v>
                </c:pt>
                <c:pt idx="20567">
                  <c:v>0.36680934546103</c:v>
                </c:pt>
                <c:pt idx="20568">
                  <c:v>0.36682718031032602</c:v>
                </c:pt>
                <c:pt idx="20569">
                  <c:v>0.36684501515962098</c:v>
                </c:pt>
                <c:pt idx="20570">
                  <c:v>0.366862850008917</c:v>
                </c:pt>
                <c:pt idx="20571">
                  <c:v>0.36688068485821201</c:v>
                </c:pt>
                <c:pt idx="20572">
                  <c:v>0.36689851970750798</c:v>
                </c:pt>
                <c:pt idx="20573">
                  <c:v>0.36691635455680399</c:v>
                </c:pt>
                <c:pt idx="20574">
                  <c:v>0.36693418940609901</c:v>
                </c:pt>
                <c:pt idx="20575">
                  <c:v>0.36695202425539503</c:v>
                </c:pt>
                <c:pt idx="20576">
                  <c:v>0.36696985910468999</c:v>
                </c:pt>
                <c:pt idx="20577">
                  <c:v>0.36698769395398601</c:v>
                </c:pt>
                <c:pt idx="20578">
                  <c:v>0.36700552880328102</c:v>
                </c:pt>
                <c:pt idx="20579">
                  <c:v>0.36702336365257698</c:v>
                </c:pt>
                <c:pt idx="20580">
                  <c:v>0.367041198501872</c:v>
                </c:pt>
                <c:pt idx="20581">
                  <c:v>0.36705903335116802</c:v>
                </c:pt>
                <c:pt idx="20582">
                  <c:v>0.36707686820046298</c:v>
                </c:pt>
                <c:pt idx="20583">
                  <c:v>0.367094703049759</c:v>
                </c:pt>
                <c:pt idx="20584">
                  <c:v>0.36711253789905401</c:v>
                </c:pt>
                <c:pt idx="20585">
                  <c:v>0.36713037274834998</c:v>
                </c:pt>
                <c:pt idx="20586">
                  <c:v>0.36714820759764499</c:v>
                </c:pt>
                <c:pt idx="20587">
                  <c:v>0.36716604244694101</c:v>
                </c:pt>
                <c:pt idx="20588">
                  <c:v>0.36718387729623603</c:v>
                </c:pt>
                <c:pt idx="20589">
                  <c:v>0.36720171214553199</c:v>
                </c:pt>
                <c:pt idx="20590">
                  <c:v>0.36721954699482701</c:v>
                </c:pt>
                <c:pt idx="20591">
                  <c:v>0.36723738184412302</c:v>
                </c:pt>
                <c:pt idx="20592">
                  <c:v>0.36725521669341799</c:v>
                </c:pt>
                <c:pt idx="20593">
                  <c:v>0.367273051542714</c:v>
                </c:pt>
                <c:pt idx="20594">
                  <c:v>0.36729088639200902</c:v>
                </c:pt>
                <c:pt idx="20595">
                  <c:v>0.36730872124130498</c:v>
                </c:pt>
                <c:pt idx="20596">
                  <c:v>0.367326556090601</c:v>
                </c:pt>
                <c:pt idx="20597">
                  <c:v>0.36734439093989601</c:v>
                </c:pt>
                <c:pt idx="20598">
                  <c:v>0.36736222578919198</c:v>
                </c:pt>
                <c:pt idx="20599">
                  <c:v>0.36738006063848699</c:v>
                </c:pt>
                <c:pt idx="20600">
                  <c:v>0.36739789548778301</c:v>
                </c:pt>
                <c:pt idx="20601">
                  <c:v>0.36741573033707797</c:v>
                </c:pt>
                <c:pt idx="20602">
                  <c:v>0.36743356518637399</c:v>
                </c:pt>
                <c:pt idx="20603">
                  <c:v>0.36745140003566901</c:v>
                </c:pt>
                <c:pt idx="20604">
                  <c:v>0.36746923488496502</c:v>
                </c:pt>
                <c:pt idx="20605">
                  <c:v>0.36748706973425999</c:v>
                </c:pt>
                <c:pt idx="20606">
                  <c:v>0.367504904583556</c:v>
                </c:pt>
                <c:pt idx="20607">
                  <c:v>0.36752273943285102</c:v>
                </c:pt>
                <c:pt idx="20608">
                  <c:v>0.36754057428214698</c:v>
                </c:pt>
                <c:pt idx="20609">
                  <c:v>0.367558409131442</c:v>
                </c:pt>
                <c:pt idx="20610">
                  <c:v>0.36757624398073802</c:v>
                </c:pt>
                <c:pt idx="20611">
                  <c:v>0.36759407883003298</c:v>
                </c:pt>
                <c:pt idx="20612">
                  <c:v>0.36761191367932899</c:v>
                </c:pt>
                <c:pt idx="20613">
                  <c:v>0.36762974852862401</c:v>
                </c:pt>
                <c:pt idx="20614">
                  <c:v>0.36764758337791997</c:v>
                </c:pt>
                <c:pt idx="20615">
                  <c:v>0.36766541822721599</c:v>
                </c:pt>
                <c:pt idx="20616">
                  <c:v>0.36768325307651101</c:v>
                </c:pt>
                <c:pt idx="20617">
                  <c:v>0.36770108792580702</c:v>
                </c:pt>
                <c:pt idx="20618">
                  <c:v>0.36771892277510199</c:v>
                </c:pt>
                <c:pt idx="20619">
                  <c:v>0.367736757624398</c:v>
                </c:pt>
                <c:pt idx="20620">
                  <c:v>0.36775459247369302</c:v>
                </c:pt>
                <c:pt idx="20621">
                  <c:v>0.36777242732298898</c:v>
                </c:pt>
                <c:pt idx="20622">
                  <c:v>0.367790262172284</c:v>
                </c:pt>
                <c:pt idx="20623">
                  <c:v>0.36780809702158002</c:v>
                </c:pt>
                <c:pt idx="20624">
                  <c:v>0.36782593187087498</c:v>
                </c:pt>
                <c:pt idx="20625">
                  <c:v>0.36784376672017099</c:v>
                </c:pt>
                <c:pt idx="20626">
                  <c:v>0.36786160156946601</c:v>
                </c:pt>
                <c:pt idx="20627">
                  <c:v>0.36787943641876197</c:v>
                </c:pt>
                <c:pt idx="20628">
                  <c:v>0.36789727126805699</c:v>
                </c:pt>
                <c:pt idx="20629">
                  <c:v>0.36791510611735301</c:v>
                </c:pt>
                <c:pt idx="20630">
                  <c:v>0.36793294096664803</c:v>
                </c:pt>
                <c:pt idx="20631">
                  <c:v>0.36795077581594399</c:v>
                </c:pt>
                <c:pt idx="20632">
                  <c:v>0.367968610665239</c:v>
                </c:pt>
                <c:pt idx="20633">
                  <c:v>0.36798644551453502</c:v>
                </c:pt>
                <c:pt idx="20634">
                  <c:v>0.36800428036382998</c:v>
                </c:pt>
                <c:pt idx="20635">
                  <c:v>0.368022115213126</c:v>
                </c:pt>
                <c:pt idx="20636">
                  <c:v>0.36803995006242102</c:v>
                </c:pt>
                <c:pt idx="20637">
                  <c:v>0.36805778491171698</c:v>
                </c:pt>
                <c:pt idx="20638">
                  <c:v>0.368075619761013</c:v>
                </c:pt>
                <c:pt idx="20639">
                  <c:v>0.36809345461030801</c:v>
                </c:pt>
                <c:pt idx="20640">
                  <c:v>0.36811128945960397</c:v>
                </c:pt>
                <c:pt idx="20641">
                  <c:v>0.36812912430889899</c:v>
                </c:pt>
                <c:pt idx="20642">
                  <c:v>0.36814695915819501</c:v>
                </c:pt>
                <c:pt idx="20643">
                  <c:v>0.36816479400749003</c:v>
                </c:pt>
                <c:pt idx="20644">
                  <c:v>0.36818262885678599</c:v>
                </c:pt>
                <c:pt idx="20645">
                  <c:v>0.368200463706081</c:v>
                </c:pt>
                <c:pt idx="20646">
                  <c:v>0.36821829855537702</c:v>
                </c:pt>
                <c:pt idx="20647">
                  <c:v>0.36823613340467198</c:v>
                </c:pt>
                <c:pt idx="20648">
                  <c:v>0.368253968253968</c:v>
                </c:pt>
                <c:pt idx="20649">
                  <c:v>0.36827180310326302</c:v>
                </c:pt>
                <c:pt idx="20650">
                  <c:v>0.36828963795255898</c:v>
                </c:pt>
                <c:pt idx="20651">
                  <c:v>0.368307472801854</c:v>
                </c:pt>
                <c:pt idx="20652">
                  <c:v>0.36832530765115001</c:v>
                </c:pt>
                <c:pt idx="20653">
                  <c:v>0.36834314250044498</c:v>
                </c:pt>
                <c:pt idx="20654">
                  <c:v>0.36836097734974099</c:v>
                </c:pt>
                <c:pt idx="20655">
                  <c:v>0.36837881219903601</c:v>
                </c:pt>
                <c:pt idx="20656">
                  <c:v>0.36839664704833203</c:v>
                </c:pt>
                <c:pt idx="20657">
                  <c:v>0.36841448189762799</c:v>
                </c:pt>
                <c:pt idx="20658">
                  <c:v>0.36843231674692301</c:v>
                </c:pt>
                <c:pt idx="20659">
                  <c:v>0.36845015159621902</c:v>
                </c:pt>
                <c:pt idx="20660">
                  <c:v>0.36846798644551398</c:v>
                </c:pt>
                <c:pt idx="20661">
                  <c:v>0.36848582129481</c:v>
                </c:pt>
                <c:pt idx="20662">
                  <c:v>0.36850365614410502</c:v>
                </c:pt>
                <c:pt idx="20663">
                  <c:v>0.36852149099340098</c:v>
                </c:pt>
                <c:pt idx="20664">
                  <c:v>0.368539325842696</c:v>
                </c:pt>
                <c:pt idx="20665">
                  <c:v>0.36855716069199201</c:v>
                </c:pt>
                <c:pt idx="20666">
                  <c:v>0.36857499554128698</c:v>
                </c:pt>
                <c:pt idx="20667">
                  <c:v>0.36859283039058299</c:v>
                </c:pt>
                <c:pt idx="20668">
                  <c:v>0.36861066523987801</c:v>
                </c:pt>
                <c:pt idx="20669">
                  <c:v>0.36862850008917403</c:v>
                </c:pt>
                <c:pt idx="20670">
                  <c:v>0.36864633493846899</c:v>
                </c:pt>
                <c:pt idx="20671">
                  <c:v>0.36866416978776501</c:v>
                </c:pt>
                <c:pt idx="20672">
                  <c:v>0.36868200463706002</c:v>
                </c:pt>
                <c:pt idx="20673">
                  <c:v>0.36869983948635598</c:v>
                </c:pt>
                <c:pt idx="20674">
                  <c:v>0.368717674335651</c:v>
                </c:pt>
                <c:pt idx="20675">
                  <c:v>0.36873550918494702</c:v>
                </c:pt>
                <c:pt idx="20676">
                  <c:v>0.36875334403424198</c:v>
                </c:pt>
                <c:pt idx="20677">
                  <c:v>0.368771178883538</c:v>
                </c:pt>
                <c:pt idx="20678">
                  <c:v>0.36878901373283302</c:v>
                </c:pt>
                <c:pt idx="20679">
                  <c:v>0.36880684858212898</c:v>
                </c:pt>
                <c:pt idx="20680">
                  <c:v>0.36882468343142499</c:v>
                </c:pt>
                <c:pt idx="20681">
                  <c:v>0.36884251828072001</c:v>
                </c:pt>
                <c:pt idx="20682">
                  <c:v>0.36886035313001603</c:v>
                </c:pt>
                <c:pt idx="20683">
                  <c:v>0.36887818797931099</c:v>
                </c:pt>
                <c:pt idx="20684">
                  <c:v>0.36889602282860701</c:v>
                </c:pt>
                <c:pt idx="20685">
                  <c:v>0.36891385767790202</c:v>
                </c:pt>
                <c:pt idx="20686">
                  <c:v>0.36893169252719799</c:v>
                </c:pt>
                <c:pt idx="20687">
                  <c:v>0.368949527376493</c:v>
                </c:pt>
                <c:pt idx="20688">
                  <c:v>0.36896736222578902</c:v>
                </c:pt>
                <c:pt idx="20689">
                  <c:v>0.36898519707508398</c:v>
                </c:pt>
                <c:pt idx="20690">
                  <c:v>0.36900303192438</c:v>
                </c:pt>
                <c:pt idx="20691">
                  <c:v>0.36902086677367502</c:v>
                </c:pt>
                <c:pt idx="20692">
                  <c:v>0.36903870162297098</c:v>
                </c:pt>
                <c:pt idx="20693">
                  <c:v>0.36905653647226599</c:v>
                </c:pt>
                <c:pt idx="20694">
                  <c:v>0.36907437132156201</c:v>
                </c:pt>
                <c:pt idx="20695">
                  <c:v>0.36909220617085697</c:v>
                </c:pt>
                <c:pt idx="20696">
                  <c:v>0.36911004102015299</c:v>
                </c:pt>
                <c:pt idx="20697">
                  <c:v>0.36912787586944801</c:v>
                </c:pt>
                <c:pt idx="20698">
                  <c:v>0.36914571071874402</c:v>
                </c:pt>
                <c:pt idx="20699">
                  <c:v>0.36916354556803899</c:v>
                </c:pt>
                <c:pt idx="20700">
                  <c:v>0.369181380417335</c:v>
                </c:pt>
                <c:pt idx="20701">
                  <c:v>0.36919921526663102</c:v>
                </c:pt>
                <c:pt idx="20702">
                  <c:v>0.36921705011592598</c:v>
                </c:pt>
                <c:pt idx="20703">
                  <c:v>0.369234884965222</c:v>
                </c:pt>
                <c:pt idx="20704">
                  <c:v>0.36925271981451702</c:v>
                </c:pt>
                <c:pt idx="20705">
                  <c:v>0.36927055466381298</c:v>
                </c:pt>
                <c:pt idx="20706">
                  <c:v>0.369288389513108</c:v>
                </c:pt>
                <c:pt idx="20707">
                  <c:v>0.36930622436240401</c:v>
                </c:pt>
                <c:pt idx="20708">
                  <c:v>0.36932405921169897</c:v>
                </c:pt>
                <c:pt idx="20709">
                  <c:v>0.36934189406099499</c:v>
                </c:pt>
                <c:pt idx="20710">
                  <c:v>0.36935972891029001</c:v>
                </c:pt>
                <c:pt idx="20711">
                  <c:v>0.36937756375958603</c:v>
                </c:pt>
                <c:pt idx="20712">
                  <c:v>0.36939539860888099</c:v>
                </c:pt>
                <c:pt idx="20713">
                  <c:v>0.369413233458177</c:v>
                </c:pt>
                <c:pt idx="20714">
                  <c:v>0.36943106830747202</c:v>
                </c:pt>
                <c:pt idx="20715">
                  <c:v>0.36944890315676798</c:v>
                </c:pt>
                <c:pt idx="20716">
                  <c:v>0.369466738006063</c:v>
                </c:pt>
                <c:pt idx="20717">
                  <c:v>0.36948457285535902</c:v>
                </c:pt>
                <c:pt idx="20718">
                  <c:v>0.36950240770465398</c:v>
                </c:pt>
                <c:pt idx="20719">
                  <c:v>0.36952024255395</c:v>
                </c:pt>
                <c:pt idx="20720">
                  <c:v>0.36953807740324501</c:v>
                </c:pt>
                <c:pt idx="20721">
                  <c:v>0.36955591225254097</c:v>
                </c:pt>
                <c:pt idx="20722">
                  <c:v>0.36957374710183699</c:v>
                </c:pt>
                <c:pt idx="20723">
                  <c:v>0.36959158195113201</c:v>
                </c:pt>
                <c:pt idx="20724">
                  <c:v>0.36960941680042803</c:v>
                </c:pt>
                <c:pt idx="20725">
                  <c:v>0.36962725164972299</c:v>
                </c:pt>
                <c:pt idx="20726">
                  <c:v>0.369645086499019</c:v>
                </c:pt>
                <c:pt idx="20727">
                  <c:v>0.36966292134831402</c:v>
                </c:pt>
                <c:pt idx="20728">
                  <c:v>0.36968075619760998</c:v>
                </c:pt>
                <c:pt idx="20729">
                  <c:v>0.369698591046905</c:v>
                </c:pt>
                <c:pt idx="20730">
                  <c:v>0.36971642589620102</c:v>
                </c:pt>
                <c:pt idx="20731">
                  <c:v>0.36973426074549598</c:v>
                </c:pt>
                <c:pt idx="20732">
                  <c:v>0.369752095594792</c:v>
                </c:pt>
                <c:pt idx="20733">
                  <c:v>0.36976993044408701</c:v>
                </c:pt>
                <c:pt idx="20734">
                  <c:v>0.36978776529338298</c:v>
                </c:pt>
                <c:pt idx="20735">
                  <c:v>0.36980560014267799</c:v>
                </c:pt>
                <c:pt idx="20736">
                  <c:v>0.36982343499197401</c:v>
                </c:pt>
                <c:pt idx="20737">
                  <c:v>0.36984126984126903</c:v>
                </c:pt>
                <c:pt idx="20738">
                  <c:v>0.36985910469056499</c:v>
                </c:pt>
                <c:pt idx="20739">
                  <c:v>0.36987693953986001</c:v>
                </c:pt>
                <c:pt idx="20740">
                  <c:v>0.36989477438915602</c:v>
                </c:pt>
                <c:pt idx="20741">
                  <c:v>0.36991260923845098</c:v>
                </c:pt>
                <c:pt idx="20742">
                  <c:v>0.369930444087747</c:v>
                </c:pt>
                <c:pt idx="20743">
                  <c:v>0.36994827893704202</c:v>
                </c:pt>
                <c:pt idx="20744">
                  <c:v>0.36996611378633798</c:v>
                </c:pt>
                <c:pt idx="20745">
                  <c:v>0.369983948635634</c:v>
                </c:pt>
                <c:pt idx="20746">
                  <c:v>0.37000178348492901</c:v>
                </c:pt>
                <c:pt idx="20747">
                  <c:v>0.37001961833422498</c:v>
                </c:pt>
                <c:pt idx="20748">
                  <c:v>0.37003745318351999</c:v>
                </c:pt>
                <c:pt idx="20749">
                  <c:v>0.37005528803281601</c:v>
                </c:pt>
                <c:pt idx="20750">
                  <c:v>0.37007312288211103</c:v>
                </c:pt>
                <c:pt idx="20751">
                  <c:v>0.37009095773140699</c:v>
                </c:pt>
                <c:pt idx="20752">
                  <c:v>0.37010879258070201</c:v>
                </c:pt>
                <c:pt idx="20753">
                  <c:v>0.37012662742999802</c:v>
                </c:pt>
                <c:pt idx="20754">
                  <c:v>0.37014446227929299</c:v>
                </c:pt>
                <c:pt idx="20755">
                  <c:v>0.370162297128589</c:v>
                </c:pt>
                <c:pt idx="20756">
                  <c:v>0.37018013197788402</c:v>
                </c:pt>
                <c:pt idx="20757">
                  <c:v>0.37019796682717998</c:v>
                </c:pt>
                <c:pt idx="20758">
                  <c:v>0.370215801676475</c:v>
                </c:pt>
                <c:pt idx="20759">
                  <c:v>0.37023363652577101</c:v>
                </c:pt>
                <c:pt idx="20760">
                  <c:v>0.37025147137506598</c:v>
                </c:pt>
                <c:pt idx="20761">
                  <c:v>0.37026930622436199</c:v>
                </c:pt>
                <c:pt idx="20762">
                  <c:v>0.37028714107365701</c:v>
                </c:pt>
                <c:pt idx="20763">
                  <c:v>0.37030497592295297</c:v>
                </c:pt>
                <c:pt idx="20764">
                  <c:v>0.37032281077224899</c:v>
                </c:pt>
                <c:pt idx="20765">
                  <c:v>0.37034064562154401</c:v>
                </c:pt>
                <c:pt idx="20766">
                  <c:v>0.37035848047084002</c:v>
                </c:pt>
                <c:pt idx="20767">
                  <c:v>0.37037631532013499</c:v>
                </c:pt>
                <c:pt idx="20768">
                  <c:v>0.370394150169431</c:v>
                </c:pt>
                <c:pt idx="20769">
                  <c:v>0.37041198501872602</c:v>
                </c:pt>
                <c:pt idx="20770">
                  <c:v>0.37042981986802198</c:v>
                </c:pt>
                <c:pt idx="20771">
                  <c:v>0.370447654717317</c:v>
                </c:pt>
                <c:pt idx="20772">
                  <c:v>0.37046548956661302</c:v>
                </c:pt>
                <c:pt idx="20773">
                  <c:v>0.37048332441590798</c:v>
                </c:pt>
                <c:pt idx="20774">
                  <c:v>0.37050115926520399</c:v>
                </c:pt>
                <c:pt idx="20775">
                  <c:v>0.37051899411449901</c:v>
                </c:pt>
                <c:pt idx="20776">
                  <c:v>0.37053682896379497</c:v>
                </c:pt>
                <c:pt idx="20777">
                  <c:v>0.37055466381308999</c:v>
                </c:pt>
                <c:pt idx="20778">
                  <c:v>0.37057249866238601</c:v>
                </c:pt>
                <c:pt idx="20779">
                  <c:v>0.37059033351168102</c:v>
                </c:pt>
                <c:pt idx="20780">
                  <c:v>0.37060816836097699</c:v>
                </c:pt>
                <c:pt idx="20781">
                  <c:v>0.370626003210272</c:v>
                </c:pt>
                <c:pt idx="20782">
                  <c:v>0.37064383805956802</c:v>
                </c:pt>
                <c:pt idx="20783">
                  <c:v>0.37066167290886298</c:v>
                </c:pt>
                <c:pt idx="20784">
                  <c:v>0.370679507758159</c:v>
                </c:pt>
                <c:pt idx="20785">
                  <c:v>0.37069734260745402</c:v>
                </c:pt>
                <c:pt idx="20786">
                  <c:v>0.37071517745674998</c:v>
                </c:pt>
                <c:pt idx="20787">
                  <c:v>0.37073301230604599</c:v>
                </c:pt>
                <c:pt idx="20788">
                  <c:v>0.37075084715534101</c:v>
                </c:pt>
                <c:pt idx="20789">
                  <c:v>0.37076868200463697</c:v>
                </c:pt>
                <c:pt idx="20790">
                  <c:v>0.37078651685393199</c:v>
                </c:pt>
                <c:pt idx="20791">
                  <c:v>0.37080435170322801</c:v>
                </c:pt>
                <c:pt idx="20792">
                  <c:v>0.37082218655252303</c:v>
                </c:pt>
                <c:pt idx="20793">
                  <c:v>0.37084002140181899</c:v>
                </c:pt>
                <c:pt idx="20794">
                  <c:v>0.370857856251114</c:v>
                </c:pt>
                <c:pt idx="20795">
                  <c:v>0.37087569110041002</c:v>
                </c:pt>
                <c:pt idx="20796">
                  <c:v>0.37089352594970498</c:v>
                </c:pt>
                <c:pt idx="20797">
                  <c:v>0.370911360799001</c:v>
                </c:pt>
                <c:pt idx="20798">
                  <c:v>0.37092919564829602</c:v>
                </c:pt>
                <c:pt idx="20799">
                  <c:v>0.37094703049759198</c:v>
                </c:pt>
                <c:pt idx="20800">
                  <c:v>0.370964865346887</c:v>
                </c:pt>
                <c:pt idx="20801">
                  <c:v>0.37098270019618301</c:v>
                </c:pt>
                <c:pt idx="20802">
                  <c:v>0.37100053504547797</c:v>
                </c:pt>
                <c:pt idx="20803">
                  <c:v>0.37101836989477399</c:v>
                </c:pt>
                <c:pt idx="20804">
                  <c:v>0.37103620474406901</c:v>
                </c:pt>
                <c:pt idx="20805">
                  <c:v>0.37105403959336503</c:v>
                </c:pt>
                <c:pt idx="20806">
                  <c:v>0.37107187444266099</c:v>
                </c:pt>
                <c:pt idx="20807">
                  <c:v>0.371089709291956</c:v>
                </c:pt>
                <c:pt idx="20808">
                  <c:v>0.37110754414125202</c:v>
                </c:pt>
                <c:pt idx="20809">
                  <c:v>0.37112537899054698</c:v>
                </c:pt>
                <c:pt idx="20810">
                  <c:v>0.371143213839843</c:v>
                </c:pt>
                <c:pt idx="20811">
                  <c:v>0.37116104868913802</c:v>
                </c:pt>
                <c:pt idx="20812">
                  <c:v>0.37117888353843398</c:v>
                </c:pt>
                <c:pt idx="20813">
                  <c:v>0.371196718387729</c:v>
                </c:pt>
                <c:pt idx="20814">
                  <c:v>0.37121455323702501</c:v>
                </c:pt>
                <c:pt idx="20815">
                  <c:v>0.37123238808631998</c:v>
                </c:pt>
                <c:pt idx="20816">
                  <c:v>0.37125022293561599</c:v>
                </c:pt>
                <c:pt idx="20817">
                  <c:v>0.37126805778491101</c:v>
                </c:pt>
                <c:pt idx="20818">
                  <c:v>0.37128589263420703</c:v>
                </c:pt>
                <c:pt idx="20819">
                  <c:v>0.37130372748350199</c:v>
                </c:pt>
                <c:pt idx="20820">
                  <c:v>0.37132156233279801</c:v>
                </c:pt>
                <c:pt idx="20821">
                  <c:v>0.37133939718209302</c:v>
                </c:pt>
                <c:pt idx="20822">
                  <c:v>0.37135723203138898</c:v>
                </c:pt>
                <c:pt idx="20823">
                  <c:v>0.371375066880684</c:v>
                </c:pt>
                <c:pt idx="20824">
                  <c:v>0.37139290172998002</c:v>
                </c:pt>
                <c:pt idx="20825">
                  <c:v>0.37141073657927498</c:v>
                </c:pt>
                <c:pt idx="20826">
                  <c:v>0.371428571428571</c:v>
                </c:pt>
                <c:pt idx="20827">
                  <c:v>0.37144640627786601</c:v>
                </c:pt>
                <c:pt idx="20828">
                  <c:v>0.37146424112716198</c:v>
                </c:pt>
                <c:pt idx="20829">
                  <c:v>0.37148207597645799</c:v>
                </c:pt>
                <c:pt idx="20830">
                  <c:v>0.37149991082575301</c:v>
                </c:pt>
                <c:pt idx="20831">
                  <c:v>0.37151774567504903</c:v>
                </c:pt>
                <c:pt idx="20832">
                  <c:v>0.37153558052434399</c:v>
                </c:pt>
                <c:pt idx="20833">
                  <c:v>0.37155341537364001</c:v>
                </c:pt>
                <c:pt idx="20834">
                  <c:v>0.37157125022293502</c:v>
                </c:pt>
                <c:pt idx="20835">
                  <c:v>0.37158908507223098</c:v>
                </c:pt>
                <c:pt idx="20836">
                  <c:v>0.371606919921526</c:v>
                </c:pt>
                <c:pt idx="20837">
                  <c:v>0.37162475477082202</c:v>
                </c:pt>
                <c:pt idx="20838">
                  <c:v>0.37164258962011698</c:v>
                </c:pt>
                <c:pt idx="20839">
                  <c:v>0.371660424469413</c:v>
                </c:pt>
                <c:pt idx="20840">
                  <c:v>0.37167825931870802</c:v>
                </c:pt>
                <c:pt idx="20841">
                  <c:v>0.37169609416800398</c:v>
                </c:pt>
                <c:pt idx="20842">
                  <c:v>0.37171392901729899</c:v>
                </c:pt>
                <c:pt idx="20843">
                  <c:v>0.37173176386659501</c:v>
                </c:pt>
                <c:pt idx="20844">
                  <c:v>0.37174959871588997</c:v>
                </c:pt>
                <c:pt idx="20845">
                  <c:v>0.37176743356518599</c:v>
                </c:pt>
                <c:pt idx="20846">
                  <c:v>0.37178526841448101</c:v>
                </c:pt>
                <c:pt idx="20847">
                  <c:v>0.37180310326377702</c:v>
                </c:pt>
                <c:pt idx="20848">
                  <c:v>0.37182093811307199</c:v>
                </c:pt>
                <c:pt idx="20849">
                  <c:v>0.371838772962368</c:v>
                </c:pt>
                <c:pt idx="20850">
                  <c:v>0.37185660781166302</c:v>
                </c:pt>
                <c:pt idx="20851">
                  <c:v>0.37187444266095898</c:v>
                </c:pt>
                <c:pt idx="20852">
                  <c:v>0.371892277510255</c:v>
                </c:pt>
                <c:pt idx="20853">
                  <c:v>0.37191011235955002</c:v>
                </c:pt>
                <c:pt idx="20854">
                  <c:v>0.37192794720884598</c:v>
                </c:pt>
                <c:pt idx="20855">
                  <c:v>0.37194578205814099</c:v>
                </c:pt>
                <c:pt idx="20856">
                  <c:v>0.37196361690743701</c:v>
                </c:pt>
                <c:pt idx="20857">
                  <c:v>0.37198145175673197</c:v>
                </c:pt>
                <c:pt idx="20858">
                  <c:v>0.37199928660602799</c:v>
                </c:pt>
                <c:pt idx="20859">
                  <c:v>0.37201712145532301</c:v>
                </c:pt>
                <c:pt idx="20860">
                  <c:v>0.37203495630461902</c:v>
                </c:pt>
                <c:pt idx="20861">
                  <c:v>0.37205279115391399</c:v>
                </c:pt>
                <c:pt idx="20862">
                  <c:v>0.37207062600321</c:v>
                </c:pt>
                <c:pt idx="20863">
                  <c:v>0.37208846085250502</c:v>
                </c:pt>
                <c:pt idx="20864">
                  <c:v>0.37210629570180098</c:v>
                </c:pt>
                <c:pt idx="20865">
                  <c:v>0.372124130551096</c:v>
                </c:pt>
                <c:pt idx="20866">
                  <c:v>0.37214196540039202</c:v>
                </c:pt>
                <c:pt idx="20867">
                  <c:v>0.37215980024968698</c:v>
                </c:pt>
                <c:pt idx="20868">
                  <c:v>0.372177635098983</c:v>
                </c:pt>
                <c:pt idx="20869">
                  <c:v>0.37219546994827801</c:v>
                </c:pt>
                <c:pt idx="20870">
                  <c:v>0.37221330479757397</c:v>
                </c:pt>
                <c:pt idx="20871">
                  <c:v>0.37223113964686999</c:v>
                </c:pt>
                <c:pt idx="20872">
                  <c:v>0.37224897449616501</c:v>
                </c:pt>
                <c:pt idx="20873">
                  <c:v>0.37226680934546102</c:v>
                </c:pt>
                <c:pt idx="20874">
                  <c:v>0.37228464419475599</c:v>
                </c:pt>
                <c:pt idx="20875">
                  <c:v>0.372302479044052</c:v>
                </c:pt>
                <c:pt idx="20876">
                  <c:v>0.37232031389334702</c:v>
                </c:pt>
                <c:pt idx="20877">
                  <c:v>0.37233814874264298</c:v>
                </c:pt>
                <c:pt idx="20878">
                  <c:v>0.372355983591938</c:v>
                </c:pt>
                <c:pt idx="20879">
                  <c:v>0.37237381844123402</c:v>
                </c:pt>
                <c:pt idx="20880">
                  <c:v>0.37239165329052898</c:v>
                </c:pt>
                <c:pt idx="20881">
                  <c:v>0.372409488139825</c:v>
                </c:pt>
                <c:pt idx="20882">
                  <c:v>0.37242732298912001</c:v>
                </c:pt>
                <c:pt idx="20883">
                  <c:v>0.37244515783841597</c:v>
                </c:pt>
                <c:pt idx="20884">
                  <c:v>0.37246299268771099</c:v>
                </c:pt>
                <c:pt idx="20885">
                  <c:v>0.37248082753700701</c:v>
                </c:pt>
                <c:pt idx="20886">
                  <c:v>0.37249866238630203</c:v>
                </c:pt>
                <c:pt idx="20887">
                  <c:v>0.37251649723559799</c:v>
                </c:pt>
                <c:pt idx="20888">
                  <c:v>0.37253433208489301</c:v>
                </c:pt>
                <c:pt idx="20889">
                  <c:v>0.37255216693418902</c:v>
                </c:pt>
                <c:pt idx="20890">
                  <c:v>0.37257000178348398</c:v>
                </c:pt>
                <c:pt idx="20891">
                  <c:v>0.37258783663278</c:v>
                </c:pt>
                <c:pt idx="20892">
                  <c:v>0.37260567148207502</c:v>
                </c:pt>
                <c:pt idx="20893">
                  <c:v>0.37262350633137098</c:v>
                </c:pt>
                <c:pt idx="20894">
                  <c:v>0.372641341180667</c:v>
                </c:pt>
                <c:pt idx="20895">
                  <c:v>0.37265917602996201</c:v>
                </c:pt>
                <c:pt idx="20896">
                  <c:v>0.37267701087925797</c:v>
                </c:pt>
                <c:pt idx="20897">
                  <c:v>0.37269484572855299</c:v>
                </c:pt>
                <c:pt idx="20898">
                  <c:v>0.37271268057784901</c:v>
                </c:pt>
                <c:pt idx="20899">
                  <c:v>0.37273051542714403</c:v>
                </c:pt>
                <c:pt idx="20900">
                  <c:v>0.37274835027643999</c:v>
                </c:pt>
                <c:pt idx="20901">
                  <c:v>0.37276618512573501</c:v>
                </c:pt>
                <c:pt idx="20902">
                  <c:v>0.37278401997503102</c:v>
                </c:pt>
                <c:pt idx="20903">
                  <c:v>0.37280185482432598</c:v>
                </c:pt>
                <c:pt idx="20904">
                  <c:v>0.372819689673622</c:v>
                </c:pt>
                <c:pt idx="20905">
                  <c:v>0.37283752452291702</c:v>
                </c:pt>
                <c:pt idx="20906">
                  <c:v>0.37285535937221298</c:v>
                </c:pt>
                <c:pt idx="20907">
                  <c:v>0.372873194221508</c:v>
                </c:pt>
                <c:pt idx="20908">
                  <c:v>0.37289102907080401</c:v>
                </c:pt>
                <c:pt idx="20909">
                  <c:v>0.37290886392009898</c:v>
                </c:pt>
                <c:pt idx="20910">
                  <c:v>0.37292669876939499</c:v>
                </c:pt>
                <c:pt idx="20911">
                  <c:v>0.37294453361869001</c:v>
                </c:pt>
                <c:pt idx="20912">
                  <c:v>0.37296236846798603</c:v>
                </c:pt>
                <c:pt idx="20913">
                  <c:v>0.37298020331728199</c:v>
                </c:pt>
                <c:pt idx="20914">
                  <c:v>0.37299803816657701</c:v>
                </c:pt>
                <c:pt idx="20915">
                  <c:v>0.37301587301587302</c:v>
                </c:pt>
                <c:pt idx="20916">
                  <c:v>0.37303370786516798</c:v>
                </c:pt>
                <c:pt idx="20917">
                  <c:v>0.373051542714464</c:v>
                </c:pt>
                <c:pt idx="20918">
                  <c:v>0.37306937756375902</c:v>
                </c:pt>
                <c:pt idx="20919">
                  <c:v>0.37308721241305498</c:v>
                </c:pt>
                <c:pt idx="20920">
                  <c:v>0.37310504726235</c:v>
                </c:pt>
                <c:pt idx="20921">
                  <c:v>0.37312288211164601</c:v>
                </c:pt>
                <c:pt idx="20922">
                  <c:v>0.37314071696094098</c:v>
                </c:pt>
                <c:pt idx="20923">
                  <c:v>0.37315855181023699</c:v>
                </c:pt>
                <c:pt idx="20924">
                  <c:v>0.37317638665953201</c:v>
                </c:pt>
                <c:pt idx="20925">
                  <c:v>0.37319422150882797</c:v>
                </c:pt>
                <c:pt idx="20926">
                  <c:v>0.37321205635812299</c:v>
                </c:pt>
                <c:pt idx="20927">
                  <c:v>0.37322989120741901</c:v>
                </c:pt>
                <c:pt idx="20928">
                  <c:v>0.37324772605671402</c:v>
                </c:pt>
                <c:pt idx="20929">
                  <c:v>0.37326556090600999</c:v>
                </c:pt>
                <c:pt idx="20930">
                  <c:v>0.373283395755305</c:v>
                </c:pt>
                <c:pt idx="20931">
                  <c:v>0.37330123060460102</c:v>
                </c:pt>
                <c:pt idx="20932">
                  <c:v>0.37331906545389598</c:v>
                </c:pt>
                <c:pt idx="20933">
                  <c:v>0.373336900303192</c:v>
                </c:pt>
                <c:pt idx="20934">
                  <c:v>0.37335473515248702</c:v>
                </c:pt>
                <c:pt idx="20935">
                  <c:v>0.37337257000178298</c:v>
                </c:pt>
                <c:pt idx="20936">
                  <c:v>0.37339040485107899</c:v>
                </c:pt>
                <c:pt idx="20937">
                  <c:v>0.37340823970037401</c:v>
                </c:pt>
                <c:pt idx="20938">
                  <c:v>0.37342607454966997</c:v>
                </c:pt>
                <c:pt idx="20939">
                  <c:v>0.37344390939896499</c:v>
                </c:pt>
                <c:pt idx="20940">
                  <c:v>0.37346174424826101</c:v>
                </c:pt>
                <c:pt idx="20941">
                  <c:v>0.37347957909755602</c:v>
                </c:pt>
                <c:pt idx="20942">
                  <c:v>0.37349741394685199</c:v>
                </c:pt>
                <c:pt idx="20943">
                  <c:v>0.373515248796147</c:v>
                </c:pt>
                <c:pt idx="20944">
                  <c:v>0.37353308364544302</c:v>
                </c:pt>
                <c:pt idx="20945">
                  <c:v>0.37355091849473798</c:v>
                </c:pt>
                <c:pt idx="20946">
                  <c:v>0.373568753344034</c:v>
                </c:pt>
                <c:pt idx="20947">
                  <c:v>0.37358658819332902</c:v>
                </c:pt>
                <c:pt idx="20948">
                  <c:v>0.37360442304262498</c:v>
                </c:pt>
                <c:pt idx="20949">
                  <c:v>0.37362225789192</c:v>
                </c:pt>
                <c:pt idx="20950">
                  <c:v>0.37364009274121601</c:v>
                </c:pt>
                <c:pt idx="20951">
                  <c:v>0.37365792759051097</c:v>
                </c:pt>
                <c:pt idx="20952">
                  <c:v>0.37367576243980699</c:v>
                </c:pt>
                <c:pt idx="20953">
                  <c:v>0.37369359728910201</c:v>
                </c:pt>
                <c:pt idx="20954">
                  <c:v>0.37371143213839803</c:v>
                </c:pt>
                <c:pt idx="20955">
                  <c:v>0.37372926698769299</c:v>
                </c:pt>
                <c:pt idx="20956">
                  <c:v>0.373747101836989</c:v>
                </c:pt>
                <c:pt idx="20957">
                  <c:v>0.37376493668628502</c:v>
                </c:pt>
                <c:pt idx="20958">
                  <c:v>0.37378277153557998</c:v>
                </c:pt>
                <c:pt idx="20959">
                  <c:v>0.373800606384876</c:v>
                </c:pt>
                <c:pt idx="20960">
                  <c:v>0.37381844123417102</c:v>
                </c:pt>
                <c:pt idx="20961">
                  <c:v>0.37383627608346698</c:v>
                </c:pt>
                <c:pt idx="20962">
                  <c:v>0.373854110932762</c:v>
                </c:pt>
                <c:pt idx="20963">
                  <c:v>0.37387194578205801</c:v>
                </c:pt>
                <c:pt idx="20964">
                  <c:v>0.37388978063135297</c:v>
                </c:pt>
                <c:pt idx="20965">
                  <c:v>0.37390761548064899</c:v>
                </c:pt>
                <c:pt idx="20966">
                  <c:v>0.37392545032994401</c:v>
                </c:pt>
                <c:pt idx="20967">
                  <c:v>0.37394328517924003</c:v>
                </c:pt>
                <c:pt idx="20968">
                  <c:v>0.37396112002853499</c:v>
                </c:pt>
                <c:pt idx="20969">
                  <c:v>0.373978954877831</c:v>
                </c:pt>
                <c:pt idx="20970">
                  <c:v>0.37399678972712602</c:v>
                </c:pt>
                <c:pt idx="20971">
                  <c:v>0.37401462457642198</c:v>
                </c:pt>
                <c:pt idx="20972">
                  <c:v>0.374032459425717</c:v>
                </c:pt>
                <c:pt idx="20973">
                  <c:v>0.37405029427501302</c:v>
                </c:pt>
                <c:pt idx="20974">
                  <c:v>0.37406812912430798</c:v>
                </c:pt>
                <c:pt idx="20975">
                  <c:v>0.374085963973604</c:v>
                </c:pt>
                <c:pt idx="20976">
                  <c:v>0.37410379882289901</c:v>
                </c:pt>
                <c:pt idx="20977">
                  <c:v>0.37412163367219498</c:v>
                </c:pt>
                <c:pt idx="20978">
                  <c:v>0.37413946852149099</c:v>
                </c:pt>
                <c:pt idx="20979">
                  <c:v>0.37415730337078601</c:v>
                </c:pt>
                <c:pt idx="20980">
                  <c:v>0.37417513822008203</c:v>
                </c:pt>
                <c:pt idx="20981">
                  <c:v>0.37419297306937699</c:v>
                </c:pt>
                <c:pt idx="20982">
                  <c:v>0.37421080791867301</c:v>
                </c:pt>
                <c:pt idx="20983">
                  <c:v>0.37422864276796802</c:v>
                </c:pt>
                <c:pt idx="20984">
                  <c:v>0.37424647761726398</c:v>
                </c:pt>
                <c:pt idx="20985">
                  <c:v>0.374264312466559</c:v>
                </c:pt>
                <c:pt idx="20986">
                  <c:v>0.37428214731585502</c:v>
                </c:pt>
                <c:pt idx="20987">
                  <c:v>0.37429998216514998</c:v>
                </c:pt>
                <c:pt idx="20988">
                  <c:v>0.374317817014446</c:v>
                </c:pt>
                <c:pt idx="20989">
                  <c:v>0.37433565186374101</c:v>
                </c:pt>
                <c:pt idx="20990">
                  <c:v>0.37435348671303698</c:v>
                </c:pt>
                <c:pt idx="20991">
                  <c:v>0.37437132156233199</c:v>
                </c:pt>
                <c:pt idx="20992">
                  <c:v>0.37438915641162801</c:v>
                </c:pt>
                <c:pt idx="20993">
                  <c:v>0.37440699126092303</c:v>
                </c:pt>
                <c:pt idx="20994">
                  <c:v>0.37442482611021899</c:v>
                </c:pt>
                <c:pt idx="20995">
                  <c:v>0.37444266095951401</c:v>
                </c:pt>
                <c:pt idx="20996">
                  <c:v>0.37446049580881002</c:v>
                </c:pt>
                <c:pt idx="20997">
                  <c:v>0.37447833065810499</c:v>
                </c:pt>
                <c:pt idx="20998">
                  <c:v>0.374496165507401</c:v>
                </c:pt>
                <c:pt idx="20999">
                  <c:v>0.37451400035669602</c:v>
                </c:pt>
                <c:pt idx="21000">
                  <c:v>0.37453183520599198</c:v>
                </c:pt>
                <c:pt idx="21001">
                  <c:v>0.374549670055288</c:v>
                </c:pt>
                <c:pt idx="21002">
                  <c:v>0.37456750490458302</c:v>
                </c:pt>
                <c:pt idx="21003">
                  <c:v>0.37458533975387898</c:v>
                </c:pt>
                <c:pt idx="21004">
                  <c:v>0.37460317460317399</c:v>
                </c:pt>
                <c:pt idx="21005">
                  <c:v>0.37462100945247001</c:v>
                </c:pt>
                <c:pt idx="21006">
                  <c:v>0.37463884430176497</c:v>
                </c:pt>
                <c:pt idx="21007">
                  <c:v>0.37465667915106099</c:v>
                </c:pt>
                <c:pt idx="21008">
                  <c:v>0.37467451400035601</c:v>
                </c:pt>
                <c:pt idx="21009">
                  <c:v>0.37469234884965202</c:v>
                </c:pt>
                <c:pt idx="21010">
                  <c:v>0.37471018369894699</c:v>
                </c:pt>
                <c:pt idx="21011">
                  <c:v>0.374728018548243</c:v>
                </c:pt>
                <c:pt idx="21012">
                  <c:v>0.37474585339753802</c:v>
                </c:pt>
                <c:pt idx="21013">
                  <c:v>0.37476368824683398</c:v>
                </c:pt>
                <c:pt idx="21014">
                  <c:v>0.374781523096129</c:v>
                </c:pt>
                <c:pt idx="21015">
                  <c:v>0.37479935794542502</c:v>
                </c:pt>
                <c:pt idx="21016">
                  <c:v>0.37481719279471998</c:v>
                </c:pt>
                <c:pt idx="21017">
                  <c:v>0.37483502764401599</c:v>
                </c:pt>
                <c:pt idx="21018">
                  <c:v>0.37485286249331101</c:v>
                </c:pt>
                <c:pt idx="21019">
                  <c:v>0.37487069734260697</c:v>
                </c:pt>
                <c:pt idx="21020">
                  <c:v>0.37488853219190299</c:v>
                </c:pt>
                <c:pt idx="21021">
                  <c:v>0.37490636704119801</c:v>
                </c:pt>
                <c:pt idx="21022">
                  <c:v>0.37492420189049402</c:v>
                </c:pt>
                <c:pt idx="21023">
                  <c:v>0.37494203673978899</c:v>
                </c:pt>
                <c:pt idx="21024">
                  <c:v>0.374959871589085</c:v>
                </c:pt>
                <c:pt idx="21025">
                  <c:v>0.37497770643838002</c:v>
                </c:pt>
                <c:pt idx="21026">
                  <c:v>0.37499554128767598</c:v>
                </c:pt>
                <c:pt idx="21027">
                  <c:v>0.375013376136971</c:v>
                </c:pt>
                <c:pt idx="21028">
                  <c:v>0.37503121098626702</c:v>
                </c:pt>
                <c:pt idx="21029">
                  <c:v>0.37504904583556198</c:v>
                </c:pt>
                <c:pt idx="21030">
                  <c:v>0.375066880684858</c:v>
                </c:pt>
                <c:pt idx="21031">
                  <c:v>0.37508471553415301</c:v>
                </c:pt>
                <c:pt idx="21032">
                  <c:v>0.37510255038344897</c:v>
                </c:pt>
                <c:pt idx="21033">
                  <c:v>0.37512038523274399</c:v>
                </c:pt>
                <c:pt idx="21034">
                  <c:v>0.37513822008204001</c:v>
                </c:pt>
                <c:pt idx="21035">
                  <c:v>0.37515605493133503</c:v>
                </c:pt>
                <c:pt idx="21036">
                  <c:v>0.37517388978063099</c:v>
                </c:pt>
                <c:pt idx="21037">
                  <c:v>0.375191724629926</c:v>
                </c:pt>
                <c:pt idx="21038">
                  <c:v>0.37520955947922202</c:v>
                </c:pt>
                <c:pt idx="21039">
                  <c:v>0.37522739432851698</c:v>
                </c:pt>
                <c:pt idx="21040">
                  <c:v>0.375245229177813</c:v>
                </c:pt>
                <c:pt idx="21041">
                  <c:v>0.37526306402710802</c:v>
                </c:pt>
                <c:pt idx="21042">
                  <c:v>0.37528089887640398</c:v>
                </c:pt>
                <c:pt idx="21043">
                  <c:v>0.3752987337257</c:v>
                </c:pt>
                <c:pt idx="21044">
                  <c:v>0.37531656857499501</c:v>
                </c:pt>
                <c:pt idx="21045">
                  <c:v>0.37533440342429097</c:v>
                </c:pt>
                <c:pt idx="21046">
                  <c:v>0.37535223827358599</c:v>
                </c:pt>
                <c:pt idx="21047">
                  <c:v>0.37537007312288201</c:v>
                </c:pt>
                <c:pt idx="21048">
                  <c:v>0.37538790797217703</c:v>
                </c:pt>
                <c:pt idx="21049">
                  <c:v>0.37540574282147299</c:v>
                </c:pt>
                <c:pt idx="21050">
                  <c:v>0.37542357767076801</c:v>
                </c:pt>
                <c:pt idx="21051">
                  <c:v>0.37544141252006402</c:v>
                </c:pt>
                <c:pt idx="21052">
                  <c:v>0.37545924736935898</c:v>
                </c:pt>
                <c:pt idx="21053">
                  <c:v>0.375477082218655</c:v>
                </c:pt>
                <c:pt idx="21054">
                  <c:v>0.37549491706795002</c:v>
                </c:pt>
                <c:pt idx="21055">
                  <c:v>0.37551275191724598</c:v>
                </c:pt>
                <c:pt idx="21056">
                  <c:v>0.375530586766541</c:v>
                </c:pt>
                <c:pt idx="21057">
                  <c:v>0.37554842161583701</c:v>
                </c:pt>
                <c:pt idx="21058">
                  <c:v>0.37556625646513198</c:v>
                </c:pt>
                <c:pt idx="21059">
                  <c:v>0.37558409131442799</c:v>
                </c:pt>
                <c:pt idx="21060">
                  <c:v>0.37560192616372301</c:v>
                </c:pt>
                <c:pt idx="21061">
                  <c:v>0.37561976101301903</c:v>
                </c:pt>
                <c:pt idx="21062">
                  <c:v>0.37563759586231499</c:v>
                </c:pt>
                <c:pt idx="21063">
                  <c:v>0.37565543071161001</c:v>
                </c:pt>
                <c:pt idx="21064">
                  <c:v>0.37567326556090602</c:v>
                </c:pt>
                <c:pt idx="21065">
                  <c:v>0.37569110041020098</c:v>
                </c:pt>
                <c:pt idx="21066">
                  <c:v>0.375708935259497</c:v>
                </c:pt>
                <c:pt idx="21067">
                  <c:v>0.37572677010879202</c:v>
                </c:pt>
                <c:pt idx="21068">
                  <c:v>0.37574460495808798</c:v>
                </c:pt>
                <c:pt idx="21069">
                  <c:v>0.375762439807383</c:v>
                </c:pt>
                <c:pt idx="21070">
                  <c:v>0.37578027465667901</c:v>
                </c:pt>
                <c:pt idx="21071">
                  <c:v>0.37579810950597398</c:v>
                </c:pt>
                <c:pt idx="21072">
                  <c:v>0.37581594435526999</c:v>
                </c:pt>
                <c:pt idx="21073">
                  <c:v>0.37583377920456501</c:v>
                </c:pt>
                <c:pt idx="21074">
                  <c:v>0.37585161405386103</c:v>
                </c:pt>
                <c:pt idx="21075">
                  <c:v>0.37586944890315599</c:v>
                </c:pt>
                <c:pt idx="21076">
                  <c:v>0.37588728375245201</c:v>
                </c:pt>
                <c:pt idx="21077">
                  <c:v>0.37590511860174702</c:v>
                </c:pt>
                <c:pt idx="21078">
                  <c:v>0.37592295345104298</c:v>
                </c:pt>
                <c:pt idx="21079">
                  <c:v>0.375940788300338</c:v>
                </c:pt>
                <c:pt idx="21080">
                  <c:v>0.37595862314963402</c:v>
                </c:pt>
                <c:pt idx="21081">
                  <c:v>0.37597645799892898</c:v>
                </c:pt>
                <c:pt idx="21082">
                  <c:v>0.375994292848225</c:v>
                </c:pt>
                <c:pt idx="21083">
                  <c:v>0.37601212769752002</c:v>
                </c:pt>
                <c:pt idx="21084">
                  <c:v>0.37602996254681598</c:v>
                </c:pt>
                <c:pt idx="21085">
                  <c:v>0.37604779739611199</c:v>
                </c:pt>
                <c:pt idx="21086">
                  <c:v>0.37606563224540701</c:v>
                </c:pt>
                <c:pt idx="21087">
                  <c:v>0.37608346709470297</c:v>
                </c:pt>
                <c:pt idx="21088">
                  <c:v>0.37610130194399799</c:v>
                </c:pt>
                <c:pt idx="21089">
                  <c:v>0.37611913679329401</c:v>
                </c:pt>
                <c:pt idx="21090">
                  <c:v>0.37613697164258902</c:v>
                </c:pt>
                <c:pt idx="21091">
                  <c:v>0.37615480649188499</c:v>
                </c:pt>
                <c:pt idx="21092">
                  <c:v>0.37617264134118</c:v>
                </c:pt>
                <c:pt idx="21093">
                  <c:v>0.37619047619047602</c:v>
                </c:pt>
                <c:pt idx="21094">
                  <c:v>0.37620831103977098</c:v>
                </c:pt>
                <c:pt idx="21095">
                  <c:v>0.376226145889067</c:v>
                </c:pt>
                <c:pt idx="21096">
                  <c:v>0.37624398073836202</c:v>
                </c:pt>
                <c:pt idx="21097">
                  <c:v>0.37626181558765798</c:v>
                </c:pt>
                <c:pt idx="21098">
                  <c:v>0.37627965043695299</c:v>
                </c:pt>
                <c:pt idx="21099">
                  <c:v>0.37629748528624901</c:v>
                </c:pt>
                <c:pt idx="21100">
                  <c:v>0.37631532013554397</c:v>
                </c:pt>
                <c:pt idx="21101">
                  <c:v>0.37633315498483999</c:v>
                </c:pt>
                <c:pt idx="21102">
                  <c:v>0.37635098983413501</c:v>
                </c:pt>
                <c:pt idx="21103">
                  <c:v>0.37636882468343102</c:v>
                </c:pt>
                <c:pt idx="21104">
                  <c:v>0.37638665953272599</c:v>
                </c:pt>
                <c:pt idx="21105">
                  <c:v>0.376404494382022</c:v>
                </c:pt>
                <c:pt idx="21106">
                  <c:v>0.37642232923131802</c:v>
                </c:pt>
                <c:pt idx="21107">
                  <c:v>0.37644016408061298</c:v>
                </c:pt>
                <c:pt idx="21108">
                  <c:v>0.376457998929909</c:v>
                </c:pt>
                <c:pt idx="21109">
                  <c:v>0.37647583377920402</c:v>
                </c:pt>
                <c:pt idx="21110">
                  <c:v>0.37649366862849998</c:v>
                </c:pt>
                <c:pt idx="21111">
                  <c:v>0.376511503477795</c:v>
                </c:pt>
                <c:pt idx="21112">
                  <c:v>0.37652933832709101</c:v>
                </c:pt>
                <c:pt idx="21113">
                  <c:v>0.37654717317638597</c:v>
                </c:pt>
                <c:pt idx="21114">
                  <c:v>0.37656500802568199</c:v>
                </c:pt>
                <c:pt idx="21115">
                  <c:v>0.37658284287497701</c:v>
                </c:pt>
                <c:pt idx="21116">
                  <c:v>0.37660067772427303</c:v>
                </c:pt>
                <c:pt idx="21117">
                  <c:v>0.37661851257356799</c:v>
                </c:pt>
                <c:pt idx="21118">
                  <c:v>0.376636347422864</c:v>
                </c:pt>
                <c:pt idx="21119">
                  <c:v>0.37665418227215902</c:v>
                </c:pt>
                <c:pt idx="21120">
                  <c:v>0.37667201712145498</c:v>
                </c:pt>
                <c:pt idx="21121">
                  <c:v>0.37668985197075</c:v>
                </c:pt>
                <c:pt idx="21122">
                  <c:v>0.37670768682004602</c:v>
                </c:pt>
                <c:pt idx="21123">
                  <c:v>0.37672552166934098</c:v>
                </c:pt>
                <c:pt idx="21124">
                  <c:v>0.376743356518637</c:v>
                </c:pt>
                <c:pt idx="21125">
                  <c:v>0.37676119136793201</c:v>
                </c:pt>
                <c:pt idx="21126">
                  <c:v>0.37677902621722797</c:v>
                </c:pt>
                <c:pt idx="21127">
                  <c:v>0.37679686106652399</c:v>
                </c:pt>
                <c:pt idx="21128">
                  <c:v>0.37681469591581901</c:v>
                </c:pt>
                <c:pt idx="21129">
                  <c:v>0.37683253076511503</c:v>
                </c:pt>
                <c:pt idx="21130">
                  <c:v>0.37685036561440999</c:v>
                </c:pt>
                <c:pt idx="21131">
                  <c:v>0.376868200463706</c:v>
                </c:pt>
                <c:pt idx="21132">
                  <c:v>0.37688603531300102</c:v>
                </c:pt>
                <c:pt idx="21133">
                  <c:v>0.37690387016229698</c:v>
                </c:pt>
                <c:pt idx="21134">
                  <c:v>0.376921705011592</c:v>
                </c:pt>
                <c:pt idx="21135">
                  <c:v>0.37693953986088802</c:v>
                </c:pt>
                <c:pt idx="21136">
                  <c:v>0.37695737471018298</c:v>
                </c:pt>
                <c:pt idx="21137">
                  <c:v>0.376975209559479</c:v>
                </c:pt>
                <c:pt idx="21138">
                  <c:v>0.37699304440877401</c:v>
                </c:pt>
                <c:pt idx="21139">
                  <c:v>0.37701087925806998</c:v>
                </c:pt>
                <c:pt idx="21140">
                  <c:v>0.37702871410736499</c:v>
                </c:pt>
                <c:pt idx="21141">
                  <c:v>0.37704654895666101</c:v>
                </c:pt>
                <c:pt idx="21142">
                  <c:v>0.37706438380595603</c:v>
                </c:pt>
                <c:pt idx="21143">
                  <c:v>0.37708221865525199</c:v>
                </c:pt>
                <c:pt idx="21144">
                  <c:v>0.37710005350454701</c:v>
                </c:pt>
                <c:pt idx="21145">
                  <c:v>0.37711788835384302</c:v>
                </c:pt>
                <c:pt idx="21146">
                  <c:v>0.37713572320313798</c:v>
                </c:pt>
                <c:pt idx="21147">
                  <c:v>0.377153558052434</c:v>
                </c:pt>
                <c:pt idx="21148">
                  <c:v>0.37717139290172902</c:v>
                </c:pt>
                <c:pt idx="21149">
                  <c:v>0.37718922775102498</c:v>
                </c:pt>
                <c:pt idx="21150">
                  <c:v>0.377207062600321</c:v>
                </c:pt>
                <c:pt idx="21151">
                  <c:v>0.37722489744961601</c:v>
                </c:pt>
                <c:pt idx="21152">
                  <c:v>0.37724273229891198</c:v>
                </c:pt>
                <c:pt idx="21153">
                  <c:v>0.37726056714820699</c:v>
                </c:pt>
                <c:pt idx="21154">
                  <c:v>0.37727840199750301</c:v>
                </c:pt>
                <c:pt idx="21155">
                  <c:v>0.37729623684679803</c:v>
                </c:pt>
                <c:pt idx="21156">
                  <c:v>0.37731407169609399</c:v>
                </c:pt>
                <c:pt idx="21157">
                  <c:v>0.37733190654538901</c:v>
                </c:pt>
                <c:pt idx="21158">
                  <c:v>0.37734974139468502</c:v>
                </c:pt>
                <c:pt idx="21159">
                  <c:v>0.37736757624397999</c:v>
                </c:pt>
                <c:pt idx="21160">
                  <c:v>0.377385411093276</c:v>
                </c:pt>
                <c:pt idx="21161">
                  <c:v>0.37740324594257102</c:v>
                </c:pt>
                <c:pt idx="21162">
                  <c:v>0.37742108079186698</c:v>
                </c:pt>
                <c:pt idx="21163">
                  <c:v>0.377438915641162</c:v>
                </c:pt>
                <c:pt idx="21164">
                  <c:v>0.37745675049045802</c:v>
                </c:pt>
                <c:pt idx="21165">
                  <c:v>0.37747458533975298</c:v>
                </c:pt>
                <c:pt idx="21166">
                  <c:v>0.37749242018904899</c:v>
                </c:pt>
                <c:pt idx="21167">
                  <c:v>0.37751025503834401</c:v>
                </c:pt>
                <c:pt idx="21168">
                  <c:v>0.37752808988763997</c:v>
                </c:pt>
                <c:pt idx="21169">
                  <c:v>0.37754592473693599</c:v>
                </c:pt>
                <c:pt idx="21170">
                  <c:v>0.37756375958623101</c:v>
                </c:pt>
                <c:pt idx="21171">
                  <c:v>0.37758159443552702</c:v>
                </c:pt>
                <c:pt idx="21172">
                  <c:v>0.37759942928482199</c:v>
                </c:pt>
                <c:pt idx="21173">
                  <c:v>0.377617264134118</c:v>
                </c:pt>
                <c:pt idx="21174">
                  <c:v>0.37763509898341302</c:v>
                </c:pt>
                <c:pt idx="21175">
                  <c:v>0.37765293383270898</c:v>
                </c:pt>
                <c:pt idx="21176">
                  <c:v>0.377670768682004</c:v>
                </c:pt>
                <c:pt idx="21177">
                  <c:v>0.37768860353130002</c:v>
                </c:pt>
                <c:pt idx="21178">
                  <c:v>0.37770643838059498</c:v>
                </c:pt>
                <c:pt idx="21179">
                  <c:v>0.37772427322989099</c:v>
                </c:pt>
                <c:pt idx="21180">
                  <c:v>0.37774210807918601</c:v>
                </c:pt>
                <c:pt idx="21181">
                  <c:v>0.37775994292848197</c:v>
                </c:pt>
                <c:pt idx="21182">
                  <c:v>0.37777777777777699</c:v>
                </c:pt>
                <c:pt idx="21183">
                  <c:v>0.37779561262707301</c:v>
                </c:pt>
                <c:pt idx="21184">
                  <c:v>0.37781344747636803</c:v>
                </c:pt>
                <c:pt idx="21185">
                  <c:v>0.37783128232566399</c:v>
                </c:pt>
                <c:pt idx="21186">
                  <c:v>0.377849117174959</c:v>
                </c:pt>
                <c:pt idx="21187">
                  <c:v>0.37786695202425502</c:v>
                </c:pt>
                <c:pt idx="21188">
                  <c:v>0.37788478687354998</c:v>
                </c:pt>
                <c:pt idx="21189">
                  <c:v>0.377902621722846</c:v>
                </c:pt>
                <c:pt idx="21190">
                  <c:v>0.37792045657214102</c:v>
                </c:pt>
                <c:pt idx="21191">
                  <c:v>0.37793829142143698</c:v>
                </c:pt>
                <c:pt idx="21192">
                  <c:v>0.37795612627073299</c:v>
                </c:pt>
                <c:pt idx="21193">
                  <c:v>0.37797396112002801</c:v>
                </c:pt>
                <c:pt idx="21194">
                  <c:v>0.37799179596932397</c:v>
                </c:pt>
                <c:pt idx="21195">
                  <c:v>0.37800963081861899</c:v>
                </c:pt>
                <c:pt idx="21196">
                  <c:v>0.37802746566791501</c:v>
                </c:pt>
                <c:pt idx="21197">
                  <c:v>0.37804530051721003</c:v>
                </c:pt>
                <c:pt idx="21198">
                  <c:v>0.37806313536650599</c:v>
                </c:pt>
                <c:pt idx="21199">
                  <c:v>0.378080970215801</c:v>
                </c:pt>
                <c:pt idx="21200">
                  <c:v>0.37809880506509702</c:v>
                </c:pt>
                <c:pt idx="21201">
                  <c:v>0.37811663991439198</c:v>
                </c:pt>
                <c:pt idx="21202">
                  <c:v>0.378134474763688</c:v>
                </c:pt>
                <c:pt idx="21203">
                  <c:v>0.37815230961298302</c:v>
                </c:pt>
                <c:pt idx="21204">
                  <c:v>0.37817014446227898</c:v>
                </c:pt>
                <c:pt idx="21205">
                  <c:v>0.378187979311574</c:v>
                </c:pt>
                <c:pt idx="21206">
                  <c:v>0.37820581416087001</c:v>
                </c:pt>
                <c:pt idx="21207">
                  <c:v>0.37822364901016498</c:v>
                </c:pt>
                <c:pt idx="21208">
                  <c:v>0.37824148385946099</c:v>
                </c:pt>
                <c:pt idx="21209">
                  <c:v>0.37825931870875601</c:v>
                </c:pt>
                <c:pt idx="21210">
                  <c:v>0.37827715355805203</c:v>
                </c:pt>
                <c:pt idx="21211">
                  <c:v>0.37829498840734699</c:v>
                </c:pt>
                <c:pt idx="21212">
                  <c:v>0.378312823256643</c:v>
                </c:pt>
                <c:pt idx="21213">
                  <c:v>0.37833065810593902</c:v>
                </c:pt>
                <c:pt idx="21214">
                  <c:v>0.37834849295523398</c:v>
                </c:pt>
                <c:pt idx="21215">
                  <c:v>0.37836632780453</c:v>
                </c:pt>
                <c:pt idx="21216">
                  <c:v>0.37838416265382502</c:v>
                </c:pt>
                <c:pt idx="21217">
                  <c:v>0.37840199750312098</c:v>
                </c:pt>
                <c:pt idx="21218">
                  <c:v>0.378419832352416</c:v>
                </c:pt>
                <c:pt idx="21219">
                  <c:v>0.37843766720171201</c:v>
                </c:pt>
                <c:pt idx="21220">
                  <c:v>0.37845550205100698</c:v>
                </c:pt>
                <c:pt idx="21221">
                  <c:v>0.37847333690030299</c:v>
                </c:pt>
                <c:pt idx="21222">
                  <c:v>0.37849117174959801</c:v>
                </c:pt>
                <c:pt idx="21223">
                  <c:v>0.37850900659889403</c:v>
                </c:pt>
                <c:pt idx="21224">
                  <c:v>0.37852684144818899</c:v>
                </c:pt>
                <c:pt idx="21225">
                  <c:v>0.37854467629748501</c:v>
                </c:pt>
                <c:pt idx="21226">
                  <c:v>0.37856251114678002</c:v>
                </c:pt>
                <c:pt idx="21227">
                  <c:v>0.37858034599607598</c:v>
                </c:pt>
                <c:pt idx="21228">
                  <c:v>0.378598180845371</c:v>
                </c:pt>
                <c:pt idx="21229">
                  <c:v>0.37861601569466702</c:v>
                </c:pt>
                <c:pt idx="21230">
                  <c:v>0.37863385054396198</c:v>
                </c:pt>
                <c:pt idx="21231">
                  <c:v>0.378651685393258</c:v>
                </c:pt>
                <c:pt idx="21232">
                  <c:v>0.37866952024255301</c:v>
                </c:pt>
                <c:pt idx="21233">
                  <c:v>0.37868735509184898</c:v>
                </c:pt>
                <c:pt idx="21234">
                  <c:v>0.37870518994114499</c:v>
                </c:pt>
                <c:pt idx="21235">
                  <c:v>0.37872302479044001</c:v>
                </c:pt>
                <c:pt idx="21236">
                  <c:v>0.37874085963973603</c:v>
                </c:pt>
                <c:pt idx="21237">
                  <c:v>0.37875869448903099</c:v>
                </c:pt>
                <c:pt idx="21238">
                  <c:v>0.37877652933832701</c:v>
                </c:pt>
                <c:pt idx="21239">
                  <c:v>0.37879436418762202</c:v>
                </c:pt>
                <c:pt idx="21240">
                  <c:v>0.37881219903691798</c:v>
                </c:pt>
                <c:pt idx="21241">
                  <c:v>0.378830033886213</c:v>
                </c:pt>
                <c:pt idx="21242">
                  <c:v>0.37884786873550902</c:v>
                </c:pt>
                <c:pt idx="21243">
                  <c:v>0.37886570358480398</c:v>
                </c:pt>
                <c:pt idx="21244">
                  <c:v>0.3788835384341</c:v>
                </c:pt>
                <c:pt idx="21245">
                  <c:v>0.37890137328339502</c:v>
                </c:pt>
                <c:pt idx="21246">
                  <c:v>0.37891920813269098</c:v>
                </c:pt>
                <c:pt idx="21247">
                  <c:v>0.37893704298198599</c:v>
                </c:pt>
                <c:pt idx="21248">
                  <c:v>0.37895487783128201</c:v>
                </c:pt>
                <c:pt idx="21249">
                  <c:v>0.37897271268057697</c:v>
                </c:pt>
                <c:pt idx="21250">
                  <c:v>0.37899054752987299</c:v>
                </c:pt>
                <c:pt idx="21251">
                  <c:v>0.37900838237916801</c:v>
                </c:pt>
                <c:pt idx="21252">
                  <c:v>0.37902621722846402</c:v>
                </c:pt>
                <c:pt idx="21253">
                  <c:v>0.37904405207775899</c:v>
                </c:pt>
                <c:pt idx="21254">
                  <c:v>0.379061886927055</c:v>
                </c:pt>
                <c:pt idx="21255">
                  <c:v>0.37907972177635002</c:v>
                </c:pt>
                <c:pt idx="21256">
                  <c:v>0.37909755662564598</c:v>
                </c:pt>
                <c:pt idx="21257">
                  <c:v>0.379115391474942</c:v>
                </c:pt>
                <c:pt idx="21258">
                  <c:v>0.37913322632423702</c:v>
                </c:pt>
                <c:pt idx="21259">
                  <c:v>0.37915106117353298</c:v>
                </c:pt>
                <c:pt idx="21260">
                  <c:v>0.37916889602282799</c:v>
                </c:pt>
                <c:pt idx="21261">
                  <c:v>0.37918673087212401</c:v>
                </c:pt>
                <c:pt idx="21262">
                  <c:v>0.37920456572141897</c:v>
                </c:pt>
                <c:pt idx="21263">
                  <c:v>0.37922240057071499</c:v>
                </c:pt>
                <c:pt idx="21264">
                  <c:v>0.37924023542001001</c:v>
                </c:pt>
                <c:pt idx="21265">
                  <c:v>0.37925807026930602</c:v>
                </c:pt>
                <c:pt idx="21266">
                  <c:v>0.37927590511860099</c:v>
                </c:pt>
                <c:pt idx="21267">
                  <c:v>0.379293739967897</c:v>
                </c:pt>
                <c:pt idx="21268">
                  <c:v>0.37931157481719202</c:v>
                </c:pt>
                <c:pt idx="21269">
                  <c:v>0.37932940966648798</c:v>
                </c:pt>
                <c:pt idx="21270">
                  <c:v>0.379347244515783</c:v>
                </c:pt>
                <c:pt idx="21271">
                  <c:v>0.37936507936507902</c:v>
                </c:pt>
                <c:pt idx="21272">
                  <c:v>0.37938291421437398</c:v>
                </c:pt>
                <c:pt idx="21273">
                  <c:v>0.37940074906367</c:v>
                </c:pt>
                <c:pt idx="21274">
                  <c:v>0.37941858391296501</c:v>
                </c:pt>
                <c:pt idx="21275">
                  <c:v>0.37943641876226097</c:v>
                </c:pt>
                <c:pt idx="21276">
                  <c:v>0.37945425361155699</c:v>
                </c:pt>
                <c:pt idx="21277">
                  <c:v>0.37947208846085201</c:v>
                </c:pt>
                <c:pt idx="21278">
                  <c:v>0.37948992331014803</c:v>
                </c:pt>
                <c:pt idx="21279">
                  <c:v>0.37950775815944299</c:v>
                </c:pt>
                <c:pt idx="21280">
                  <c:v>0.379525593008739</c:v>
                </c:pt>
                <c:pt idx="21281">
                  <c:v>0.37954342785803402</c:v>
                </c:pt>
                <c:pt idx="21282">
                  <c:v>0.37956126270732998</c:v>
                </c:pt>
                <c:pt idx="21283">
                  <c:v>0.379579097556625</c:v>
                </c:pt>
                <c:pt idx="21284">
                  <c:v>0.37959693240592102</c:v>
                </c:pt>
                <c:pt idx="21285">
                  <c:v>0.37961476725521598</c:v>
                </c:pt>
                <c:pt idx="21286">
                  <c:v>0.379632602104512</c:v>
                </c:pt>
                <c:pt idx="21287">
                  <c:v>0.37965043695380701</c:v>
                </c:pt>
                <c:pt idx="21288">
                  <c:v>0.37966827180310297</c:v>
                </c:pt>
                <c:pt idx="21289">
                  <c:v>0.37968610665239799</c:v>
                </c:pt>
                <c:pt idx="21290">
                  <c:v>0.37970394150169401</c:v>
                </c:pt>
                <c:pt idx="21291">
                  <c:v>0.37972177635098903</c:v>
                </c:pt>
                <c:pt idx="21292">
                  <c:v>0.37973961120028499</c:v>
                </c:pt>
                <c:pt idx="21293">
                  <c:v>0.37975744604958001</c:v>
                </c:pt>
                <c:pt idx="21294">
                  <c:v>0.37977528089887602</c:v>
                </c:pt>
                <c:pt idx="21295">
                  <c:v>0.37979311574817098</c:v>
                </c:pt>
                <c:pt idx="21296">
                  <c:v>0.379810950597467</c:v>
                </c:pt>
                <c:pt idx="21297">
                  <c:v>0.37982878544676202</c:v>
                </c:pt>
                <c:pt idx="21298">
                  <c:v>0.37984662029605798</c:v>
                </c:pt>
                <c:pt idx="21299">
                  <c:v>0.379864455145354</c:v>
                </c:pt>
                <c:pt idx="21300">
                  <c:v>0.37988228999464901</c:v>
                </c:pt>
                <c:pt idx="21301">
                  <c:v>0.37990012484394498</c:v>
                </c:pt>
                <c:pt idx="21302">
                  <c:v>0.37991795969323999</c:v>
                </c:pt>
                <c:pt idx="21303">
                  <c:v>0.37993579454253601</c:v>
                </c:pt>
                <c:pt idx="21304">
                  <c:v>0.37995362939183103</c:v>
                </c:pt>
                <c:pt idx="21305">
                  <c:v>0.37997146424112699</c:v>
                </c:pt>
                <c:pt idx="21306">
                  <c:v>0.37998929909042201</c:v>
                </c:pt>
                <c:pt idx="21307">
                  <c:v>0.38000713393971802</c:v>
                </c:pt>
                <c:pt idx="21308">
                  <c:v>0.38002496878901298</c:v>
                </c:pt>
                <c:pt idx="21309">
                  <c:v>0.380042803638309</c:v>
                </c:pt>
                <c:pt idx="21310">
                  <c:v>0.38006063848760402</c:v>
                </c:pt>
                <c:pt idx="21311">
                  <c:v>0.38007847333689998</c:v>
                </c:pt>
                <c:pt idx="21312">
                  <c:v>0.380096308186195</c:v>
                </c:pt>
                <c:pt idx="21313">
                  <c:v>0.38011414303549101</c:v>
                </c:pt>
                <c:pt idx="21314">
                  <c:v>0.38013197788478598</c:v>
                </c:pt>
                <c:pt idx="21315">
                  <c:v>0.38014981273408199</c:v>
                </c:pt>
                <c:pt idx="21316">
                  <c:v>0.38016764758337701</c:v>
                </c:pt>
                <c:pt idx="21317">
                  <c:v>0.38018548243267303</c:v>
                </c:pt>
                <c:pt idx="21318">
                  <c:v>0.38020331728196899</c:v>
                </c:pt>
                <c:pt idx="21319">
                  <c:v>0.38022115213126401</c:v>
                </c:pt>
                <c:pt idx="21320">
                  <c:v>0.38023898698056002</c:v>
                </c:pt>
                <c:pt idx="21321">
                  <c:v>0.38025682182985499</c:v>
                </c:pt>
                <c:pt idx="21322">
                  <c:v>0.380274656679151</c:v>
                </c:pt>
                <c:pt idx="21323">
                  <c:v>0.38029249152844602</c:v>
                </c:pt>
                <c:pt idx="21324">
                  <c:v>0.38031032637774198</c:v>
                </c:pt>
                <c:pt idx="21325">
                  <c:v>0.380328161227037</c:v>
                </c:pt>
                <c:pt idx="21326">
                  <c:v>0.38034599607633301</c:v>
                </c:pt>
                <c:pt idx="21327">
                  <c:v>0.38036383092562798</c:v>
                </c:pt>
                <c:pt idx="21328">
                  <c:v>0.38038166577492399</c:v>
                </c:pt>
                <c:pt idx="21329">
                  <c:v>0.38039950062421901</c:v>
                </c:pt>
                <c:pt idx="21330">
                  <c:v>0.38041733547351497</c:v>
                </c:pt>
                <c:pt idx="21331">
                  <c:v>0.38043517032280999</c:v>
                </c:pt>
                <c:pt idx="21332">
                  <c:v>0.38045300517210601</c:v>
                </c:pt>
                <c:pt idx="21333">
                  <c:v>0.38047084002140102</c:v>
                </c:pt>
                <c:pt idx="21334">
                  <c:v>0.38048867487069699</c:v>
                </c:pt>
                <c:pt idx="21335">
                  <c:v>0.380506509719992</c:v>
                </c:pt>
                <c:pt idx="21336">
                  <c:v>0.38052434456928802</c:v>
                </c:pt>
                <c:pt idx="21337">
                  <c:v>0.38054217941858298</c:v>
                </c:pt>
                <c:pt idx="21338">
                  <c:v>0.380560014267879</c:v>
                </c:pt>
                <c:pt idx="21339">
                  <c:v>0.38057784911717402</c:v>
                </c:pt>
                <c:pt idx="21340">
                  <c:v>0.38059568396646998</c:v>
                </c:pt>
                <c:pt idx="21341">
                  <c:v>0.38061351881576599</c:v>
                </c:pt>
                <c:pt idx="21342">
                  <c:v>0.38063135366506101</c:v>
                </c:pt>
                <c:pt idx="21343">
                  <c:v>0.38064918851435697</c:v>
                </c:pt>
                <c:pt idx="21344">
                  <c:v>0.38066702336365199</c:v>
                </c:pt>
                <c:pt idx="21345">
                  <c:v>0.38068485821294801</c:v>
                </c:pt>
                <c:pt idx="21346">
                  <c:v>0.38070269306224302</c:v>
                </c:pt>
                <c:pt idx="21347">
                  <c:v>0.38072052791153899</c:v>
                </c:pt>
                <c:pt idx="21348">
                  <c:v>0.380738362760834</c:v>
                </c:pt>
                <c:pt idx="21349">
                  <c:v>0.38075619761013002</c:v>
                </c:pt>
                <c:pt idx="21350">
                  <c:v>0.38077403245942498</c:v>
                </c:pt>
                <c:pt idx="21351">
                  <c:v>0.380791867308721</c:v>
                </c:pt>
                <c:pt idx="21352">
                  <c:v>0.38080970215801602</c:v>
                </c:pt>
                <c:pt idx="21353">
                  <c:v>0.38082753700731198</c:v>
                </c:pt>
                <c:pt idx="21354">
                  <c:v>0.380845371856607</c:v>
                </c:pt>
                <c:pt idx="21355">
                  <c:v>0.38086320670590301</c:v>
                </c:pt>
                <c:pt idx="21356">
                  <c:v>0.38088104155519797</c:v>
                </c:pt>
                <c:pt idx="21357">
                  <c:v>0.38089887640449399</c:v>
                </c:pt>
                <c:pt idx="21358">
                  <c:v>0.38091671125378901</c:v>
                </c:pt>
                <c:pt idx="21359">
                  <c:v>0.38093454610308503</c:v>
                </c:pt>
                <c:pt idx="21360">
                  <c:v>0.38095238095237999</c:v>
                </c:pt>
                <c:pt idx="21361">
                  <c:v>0.380970215801676</c:v>
                </c:pt>
                <c:pt idx="21362">
                  <c:v>0.38098805065097202</c:v>
                </c:pt>
                <c:pt idx="21363">
                  <c:v>0.38100588550026698</c:v>
                </c:pt>
                <c:pt idx="21364">
                  <c:v>0.381023720349563</c:v>
                </c:pt>
                <c:pt idx="21365">
                  <c:v>0.38104155519885802</c:v>
                </c:pt>
                <c:pt idx="21366">
                  <c:v>0.38105939004815398</c:v>
                </c:pt>
                <c:pt idx="21367">
                  <c:v>0.381077224897449</c:v>
                </c:pt>
                <c:pt idx="21368">
                  <c:v>0.38109505974674501</c:v>
                </c:pt>
                <c:pt idx="21369">
                  <c:v>0.38111289459603997</c:v>
                </c:pt>
                <c:pt idx="21370">
                  <c:v>0.38113072944533599</c:v>
                </c:pt>
                <c:pt idx="21371">
                  <c:v>0.38114856429463101</c:v>
                </c:pt>
                <c:pt idx="21372">
                  <c:v>0.38116639914392703</c:v>
                </c:pt>
                <c:pt idx="21373">
                  <c:v>0.38118423399322199</c:v>
                </c:pt>
                <c:pt idx="21374">
                  <c:v>0.381202068842518</c:v>
                </c:pt>
                <c:pt idx="21375">
                  <c:v>0.38121990369181302</c:v>
                </c:pt>
                <c:pt idx="21376">
                  <c:v>0.38123773854110898</c:v>
                </c:pt>
                <c:pt idx="21377">
                  <c:v>0.381255573390404</c:v>
                </c:pt>
                <c:pt idx="21378">
                  <c:v>0.38127340823970002</c:v>
                </c:pt>
                <c:pt idx="21379">
                  <c:v>0.38129124308899498</c:v>
                </c:pt>
                <c:pt idx="21380">
                  <c:v>0.381309077938291</c:v>
                </c:pt>
                <c:pt idx="21381">
                  <c:v>0.38132691278758601</c:v>
                </c:pt>
                <c:pt idx="21382">
                  <c:v>0.38134474763688198</c:v>
                </c:pt>
                <c:pt idx="21383">
                  <c:v>0.38136258248617799</c:v>
                </c:pt>
                <c:pt idx="21384">
                  <c:v>0.38138041733547301</c:v>
                </c:pt>
                <c:pt idx="21385">
                  <c:v>0.38139825218476903</c:v>
                </c:pt>
                <c:pt idx="21386">
                  <c:v>0.38141608703406399</c:v>
                </c:pt>
                <c:pt idx="21387">
                  <c:v>0.38143392188336001</c:v>
                </c:pt>
                <c:pt idx="21388">
                  <c:v>0.38145175673265502</c:v>
                </c:pt>
                <c:pt idx="21389">
                  <c:v>0.38146959158195098</c:v>
                </c:pt>
                <c:pt idx="21390">
                  <c:v>0.381487426431246</c:v>
                </c:pt>
                <c:pt idx="21391">
                  <c:v>0.38150526128054202</c:v>
                </c:pt>
                <c:pt idx="21392">
                  <c:v>0.38152309612983698</c:v>
                </c:pt>
                <c:pt idx="21393">
                  <c:v>0.381540930979133</c:v>
                </c:pt>
                <c:pt idx="21394">
                  <c:v>0.38155876582842801</c:v>
                </c:pt>
                <c:pt idx="21395">
                  <c:v>0.38157660067772398</c:v>
                </c:pt>
                <c:pt idx="21396">
                  <c:v>0.38159443552701899</c:v>
                </c:pt>
                <c:pt idx="21397">
                  <c:v>0.38161227037631501</c:v>
                </c:pt>
                <c:pt idx="21398">
                  <c:v>0.38163010522560997</c:v>
                </c:pt>
                <c:pt idx="21399">
                  <c:v>0.38164794007490599</c:v>
                </c:pt>
                <c:pt idx="21400">
                  <c:v>0.38166577492420101</c:v>
                </c:pt>
                <c:pt idx="21401">
                  <c:v>0.38168360977349702</c:v>
                </c:pt>
                <c:pt idx="21402">
                  <c:v>0.38170144462279199</c:v>
                </c:pt>
                <c:pt idx="21403">
                  <c:v>0.381719279472088</c:v>
                </c:pt>
                <c:pt idx="21404">
                  <c:v>0.38173711432138302</c:v>
                </c:pt>
                <c:pt idx="21405">
                  <c:v>0.38175494917067898</c:v>
                </c:pt>
                <c:pt idx="21406">
                  <c:v>0.381772784019975</c:v>
                </c:pt>
                <c:pt idx="21407">
                  <c:v>0.38179061886927002</c:v>
                </c:pt>
                <c:pt idx="21408">
                  <c:v>0.38180845371856598</c:v>
                </c:pt>
                <c:pt idx="21409">
                  <c:v>0.38182628856786099</c:v>
                </c:pt>
                <c:pt idx="21410">
                  <c:v>0.38184412341715701</c:v>
                </c:pt>
                <c:pt idx="21411">
                  <c:v>0.38186195826645197</c:v>
                </c:pt>
                <c:pt idx="21412">
                  <c:v>0.38187979311574799</c:v>
                </c:pt>
                <c:pt idx="21413">
                  <c:v>0.38189762796504301</c:v>
                </c:pt>
                <c:pt idx="21414">
                  <c:v>0.38191546281433902</c:v>
                </c:pt>
                <c:pt idx="21415">
                  <c:v>0.38193329766363399</c:v>
                </c:pt>
                <c:pt idx="21416">
                  <c:v>0.38195113251293</c:v>
                </c:pt>
                <c:pt idx="21417">
                  <c:v>0.38196896736222502</c:v>
                </c:pt>
                <c:pt idx="21418">
                  <c:v>0.38198680221152098</c:v>
                </c:pt>
                <c:pt idx="21419">
                  <c:v>0.382004637060816</c:v>
                </c:pt>
                <c:pt idx="21420">
                  <c:v>0.38202247191011202</c:v>
                </c:pt>
                <c:pt idx="21421">
                  <c:v>0.38204030675940698</c:v>
                </c:pt>
                <c:pt idx="21422">
                  <c:v>0.38205814160870299</c:v>
                </c:pt>
                <c:pt idx="21423">
                  <c:v>0.38207597645799801</c:v>
                </c:pt>
                <c:pt idx="21424">
                  <c:v>0.38209381130729397</c:v>
                </c:pt>
                <c:pt idx="21425">
                  <c:v>0.38211164615658999</c:v>
                </c:pt>
                <c:pt idx="21426">
                  <c:v>0.38212948100588501</c:v>
                </c:pt>
                <c:pt idx="21427">
                  <c:v>0.38214731585518102</c:v>
                </c:pt>
                <c:pt idx="21428">
                  <c:v>0.38216515070447599</c:v>
                </c:pt>
                <c:pt idx="21429">
                  <c:v>0.382182985553772</c:v>
                </c:pt>
                <c:pt idx="21430">
                  <c:v>0.38220082040306702</c:v>
                </c:pt>
                <c:pt idx="21431">
                  <c:v>0.38221865525236298</c:v>
                </c:pt>
                <c:pt idx="21432">
                  <c:v>0.382236490101658</c:v>
                </c:pt>
                <c:pt idx="21433">
                  <c:v>0.38225432495095402</c:v>
                </c:pt>
                <c:pt idx="21434">
                  <c:v>0.38227215980024898</c:v>
                </c:pt>
                <c:pt idx="21435">
                  <c:v>0.382289994649545</c:v>
                </c:pt>
                <c:pt idx="21436">
                  <c:v>0.38230782949884001</c:v>
                </c:pt>
                <c:pt idx="21437">
                  <c:v>0.38232566434813597</c:v>
                </c:pt>
                <c:pt idx="21438">
                  <c:v>0.38234349919743099</c:v>
                </c:pt>
                <c:pt idx="21439">
                  <c:v>0.38236133404672701</c:v>
                </c:pt>
                <c:pt idx="21440">
                  <c:v>0.38237916889602203</c:v>
                </c:pt>
                <c:pt idx="21441">
                  <c:v>0.38239700374531799</c:v>
                </c:pt>
                <c:pt idx="21442">
                  <c:v>0.382414838594613</c:v>
                </c:pt>
                <c:pt idx="21443">
                  <c:v>0.38243267344390902</c:v>
                </c:pt>
                <c:pt idx="21444">
                  <c:v>0.38245050829320398</c:v>
                </c:pt>
                <c:pt idx="21445">
                  <c:v>0.3824683431425</c:v>
                </c:pt>
                <c:pt idx="21446">
                  <c:v>0.38248617799179502</c:v>
                </c:pt>
                <c:pt idx="21447">
                  <c:v>0.38250401284109098</c:v>
                </c:pt>
                <c:pt idx="21448">
                  <c:v>0.382521847690387</c:v>
                </c:pt>
                <c:pt idx="21449">
                  <c:v>0.38253968253968201</c:v>
                </c:pt>
                <c:pt idx="21450">
                  <c:v>0.38255751738897797</c:v>
                </c:pt>
                <c:pt idx="21451">
                  <c:v>0.38257535223827299</c:v>
                </c:pt>
                <c:pt idx="21452">
                  <c:v>0.38259318708756901</c:v>
                </c:pt>
                <c:pt idx="21453">
                  <c:v>0.38261102193686403</c:v>
                </c:pt>
                <c:pt idx="21454">
                  <c:v>0.38262885678615999</c:v>
                </c:pt>
                <c:pt idx="21455">
                  <c:v>0.38264669163545501</c:v>
                </c:pt>
                <c:pt idx="21456">
                  <c:v>0.38266452648475102</c:v>
                </c:pt>
                <c:pt idx="21457">
                  <c:v>0.38268236133404598</c:v>
                </c:pt>
                <c:pt idx="21458">
                  <c:v>0.382700196183342</c:v>
                </c:pt>
                <c:pt idx="21459">
                  <c:v>0.38271803103263702</c:v>
                </c:pt>
                <c:pt idx="21460">
                  <c:v>0.38273586588193298</c:v>
                </c:pt>
                <c:pt idx="21461">
                  <c:v>0.382753700731228</c:v>
                </c:pt>
                <c:pt idx="21462">
                  <c:v>0.38277153558052401</c:v>
                </c:pt>
                <c:pt idx="21463">
                  <c:v>0.38278937042981898</c:v>
                </c:pt>
                <c:pt idx="21464">
                  <c:v>0.38280720527911499</c:v>
                </c:pt>
                <c:pt idx="21465">
                  <c:v>0.38282504012841001</c:v>
                </c:pt>
                <c:pt idx="21466">
                  <c:v>0.38284287497770603</c:v>
                </c:pt>
                <c:pt idx="21467">
                  <c:v>0.38286070982700199</c:v>
                </c:pt>
                <c:pt idx="21468">
                  <c:v>0.38287854467629701</c:v>
                </c:pt>
                <c:pt idx="21469">
                  <c:v>0.38289637952559302</c:v>
                </c:pt>
                <c:pt idx="21470">
                  <c:v>0.38291421437488798</c:v>
                </c:pt>
                <c:pt idx="21471">
                  <c:v>0.382932049224184</c:v>
                </c:pt>
                <c:pt idx="21472">
                  <c:v>0.38294988407347902</c:v>
                </c:pt>
                <c:pt idx="21473">
                  <c:v>0.38296771892277498</c:v>
                </c:pt>
                <c:pt idx="21474">
                  <c:v>0.38298555377207</c:v>
                </c:pt>
                <c:pt idx="21475">
                  <c:v>0.38300338862136601</c:v>
                </c:pt>
                <c:pt idx="21476">
                  <c:v>0.38302122347066098</c:v>
                </c:pt>
                <c:pt idx="21477">
                  <c:v>0.38303905831995699</c:v>
                </c:pt>
                <c:pt idx="21478">
                  <c:v>0.38305689316925201</c:v>
                </c:pt>
                <c:pt idx="21479">
                  <c:v>0.38307472801854803</c:v>
                </c:pt>
                <c:pt idx="21480">
                  <c:v>0.38309256286784299</c:v>
                </c:pt>
                <c:pt idx="21481">
                  <c:v>0.38311039771713901</c:v>
                </c:pt>
                <c:pt idx="21482">
                  <c:v>0.38312823256643402</c:v>
                </c:pt>
                <c:pt idx="21483">
                  <c:v>0.38314606741572999</c:v>
                </c:pt>
                <c:pt idx="21484">
                  <c:v>0.383163902265025</c:v>
                </c:pt>
                <c:pt idx="21485">
                  <c:v>0.38318173711432102</c:v>
                </c:pt>
                <c:pt idx="21486">
                  <c:v>0.38319957196361598</c:v>
                </c:pt>
                <c:pt idx="21487">
                  <c:v>0.383217406812912</c:v>
                </c:pt>
                <c:pt idx="21488">
                  <c:v>0.38323524166220702</c:v>
                </c:pt>
                <c:pt idx="21489">
                  <c:v>0.38325307651150298</c:v>
                </c:pt>
                <c:pt idx="21490">
                  <c:v>0.38327091136079899</c:v>
                </c:pt>
                <c:pt idx="21491">
                  <c:v>0.38328874621009401</c:v>
                </c:pt>
                <c:pt idx="21492">
                  <c:v>0.38330658105938997</c:v>
                </c:pt>
                <c:pt idx="21493">
                  <c:v>0.38332441590868499</c:v>
                </c:pt>
                <c:pt idx="21494">
                  <c:v>0.38334225075798101</c:v>
                </c:pt>
                <c:pt idx="21495">
                  <c:v>0.38336008560727602</c:v>
                </c:pt>
                <c:pt idx="21496">
                  <c:v>0.38337792045657199</c:v>
                </c:pt>
                <c:pt idx="21497">
                  <c:v>0.383395755305867</c:v>
                </c:pt>
                <c:pt idx="21498">
                  <c:v>0.38341359015516302</c:v>
                </c:pt>
                <c:pt idx="21499">
                  <c:v>0.38343142500445798</c:v>
                </c:pt>
                <c:pt idx="21500">
                  <c:v>0.383449259853754</c:v>
                </c:pt>
                <c:pt idx="21501">
                  <c:v>0.38346709470304902</c:v>
                </c:pt>
                <c:pt idx="21502">
                  <c:v>0.38348492955234498</c:v>
                </c:pt>
                <c:pt idx="21503">
                  <c:v>0.38350276440164</c:v>
                </c:pt>
                <c:pt idx="21504">
                  <c:v>0.38352059925093601</c:v>
                </c:pt>
                <c:pt idx="21505">
                  <c:v>0.38353843410023097</c:v>
                </c:pt>
                <c:pt idx="21506">
                  <c:v>0.38355626894952699</c:v>
                </c:pt>
                <c:pt idx="21507">
                  <c:v>0.38357410379882201</c:v>
                </c:pt>
                <c:pt idx="21508">
                  <c:v>0.38359193864811802</c:v>
                </c:pt>
                <c:pt idx="21509">
                  <c:v>0.38360977349741299</c:v>
                </c:pt>
                <c:pt idx="21510">
                  <c:v>0.383627608346709</c:v>
                </c:pt>
                <c:pt idx="21511">
                  <c:v>0.38364544319600502</c:v>
                </c:pt>
                <c:pt idx="21512">
                  <c:v>0.38366327804529998</c:v>
                </c:pt>
                <c:pt idx="21513">
                  <c:v>0.383681112894596</c:v>
                </c:pt>
                <c:pt idx="21514">
                  <c:v>0.38369894774389102</c:v>
                </c:pt>
                <c:pt idx="21515">
                  <c:v>0.38371678259318698</c:v>
                </c:pt>
                <c:pt idx="21516">
                  <c:v>0.383734617442482</c:v>
                </c:pt>
                <c:pt idx="21517">
                  <c:v>0.38375245229177801</c:v>
                </c:pt>
                <c:pt idx="21518">
                  <c:v>0.38377028714107297</c:v>
                </c:pt>
                <c:pt idx="21519">
                  <c:v>0.38378812199036899</c:v>
                </c:pt>
                <c:pt idx="21520">
                  <c:v>0.38380595683966401</c:v>
                </c:pt>
                <c:pt idx="21521">
                  <c:v>0.38382379168896003</c:v>
                </c:pt>
                <c:pt idx="21522">
                  <c:v>0.38384162653825499</c:v>
                </c:pt>
                <c:pt idx="21523">
                  <c:v>0.383859461387551</c:v>
                </c:pt>
                <c:pt idx="21524">
                  <c:v>0.38387729623684602</c:v>
                </c:pt>
                <c:pt idx="21525">
                  <c:v>0.38389513108614198</c:v>
                </c:pt>
                <c:pt idx="21526">
                  <c:v>0.383912965935437</c:v>
                </c:pt>
                <c:pt idx="21527">
                  <c:v>0.38393080078473302</c:v>
                </c:pt>
                <c:pt idx="21528">
                  <c:v>0.38394863563402798</c:v>
                </c:pt>
                <c:pt idx="21529">
                  <c:v>0.383966470483324</c:v>
                </c:pt>
                <c:pt idx="21530">
                  <c:v>0.38398430533261901</c:v>
                </c:pt>
                <c:pt idx="21531">
                  <c:v>0.38400214018191497</c:v>
                </c:pt>
                <c:pt idx="21532">
                  <c:v>0.38401997503121099</c:v>
                </c:pt>
                <c:pt idx="21533">
                  <c:v>0.38403780988050601</c:v>
                </c:pt>
                <c:pt idx="21534">
                  <c:v>0.38405564472980203</c:v>
                </c:pt>
                <c:pt idx="21535">
                  <c:v>0.38407347957909699</c:v>
                </c:pt>
                <c:pt idx="21536">
                  <c:v>0.384091314428393</c:v>
                </c:pt>
                <c:pt idx="21537">
                  <c:v>0.38410914927768802</c:v>
                </c:pt>
                <c:pt idx="21538">
                  <c:v>0.38412698412698398</c:v>
                </c:pt>
                <c:pt idx="21539">
                  <c:v>0.384144818976279</c:v>
                </c:pt>
                <c:pt idx="21540">
                  <c:v>0.38416265382557502</c:v>
                </c:pt>
                <c:pt idx="21541">
                  <c:v>0.38418048867486998</c:v>
                </c:pt>
                <c:pt idx="21542">
                  <c:v>0.384198323524166</c:v>
                </c:pt>
                <c:pt idx="21543">
                  <c:v>0.38421615837346101</c:v>
                </c:pt>
                <c:pt idx="21544">
                  <c:v>0.38423399322275698</c:v>
                </c:pt>
                <c:pt idx="21545">
                  <c:v>0.38425182807205199</c:v>
                </c:pt>
                <c:pt idx="21546">
                  <c:v>0.38426966292134801</c:v>
                </c:pt>
                <c:pt idx="21547">
                  <c:v>0.38428749777064303</c:v>
                </c:pt>
                <c:pt idx="21548">
                  <c:v>0.38430533261993899</c:v>
                </c:pt>
                <c:pt idx="21549">
                  <c:v>0.38432316746923401</c:v>
                </c:pt>
                <c:pt idx="21550">
                  <c:v>0.38434100231853002</c:v>
                </c:pt>
                <c:pt idx="21551">
                  <c:v>0.38435883716782498</c:v>
                </c:pt>
                <c:pt idx="21552">
                  <c:v>0.384376672017121</c:v>
                </c:pt>
                <c:pt idx="21553">
                  <c:v>0.38439450686641602</c:v>
                </c:pt>
                <c:pt idx="21554">
                  <c:v>0.38441234171571198</c:v>
                </c:pt>
                <c:pt idx="21555">
                  <c:v>0.384430176565008</c:v>
                </c:pt>
                <c:pt idx="21556">
                  <c:v>0.38444801141430301</c:v>
                </c:pt>
                <c:pt idx="21557">
                  <c:v>0.38446584626359898</c:v>
                </c:pt>
                <c:pt idx="21558">
                  <c:v>0.38448368111289399</c:v>
                </c:pt>
                <c:pt idx="21559">
                  <c:v>0.38450151596219001</c:v>
                </c:pt>
                <c:pt idx="21560">
                  <c:v>0.38451935081148497</c:v>
                </c:pt>
                <c:pt idx="21561">
                  <c:v>0.38453718566078099</c:v>
                </c:pt>
                <c:pt idx="21562">
                  <c:v>0.38455502051007601</c:v>
                </c:pt>
                <c:pt idx="21563">
                  <c:v>0.38457285535937202</c:v>
                </c:pt>
                <c:pt idx="21564">
                  <c:v>0.38459069020866699</c:v>
                </c:pt>
                <c:pt idx="21565">
                  <c:v>0.384608525057963</c:v>
                </c:pt>
                <c:pt idx="21566">
                  <c:v>0.38462635990725802</c:v>
                </c:pt>
                <c:pt idx="21567">
                  <c:v>0.38464419475655398</c:v>
                </c:pt>
                <c:pt idx="21568">
                  <c:v>0.384662029605849</c:v>
                </c:pt>
                <c:pt idx="21569">
                  <c:v>0.38467986445514502</c:v>
                </c:pt>
                <c:pt idx="21570">
                  <c:v>0.38469769930443998</c:v>
                </c:pt>
                <c:pt idx="21571">
                  <c:v>0.38471553415373599</c:v>
                </c:pt>
                <c:pt idx="21572">
                  <c:v>0.38473336900303101</c:v>
                </c:pt>
                <c:pt idx="21573">
                  <c:v>0.38475120385232697</c:v>
                </c:pt>
                <c:pt idx="21574">
                  <c:v>0.38476903870162299</c:v>
                </c:pt>
                <c:pt idx="21575">
                  <c:v>0.38478687355091801</c:v>
                </c:pt>
                <c:pt idx="21576">
                  <c:v>0.38480470840021402</c:v>
                </c:pt>
                <c:pt idx="21577">
                  <c:v>0.38482254324950899</c:v>
                </c:pt>
                <c:pt idx="21578">
                  <c:v>0.384840378098805</c:v>
                </c:pt>
                <c:pt idx="21579">
                  <c:v>0.38485821294810002</c:v>
                </c:pt>
                <c:pt idx="21580">
                  <c:v>0.38487604779739598</c:v>
                </c:pt>
                <c:pt idx="21581">
                  <c:v>0.384893882646691</c:v>
                </c:pt>
                <c:pt idx="21582">
                  <c:v>0.38491171749598702</c:v>
                </c:pt>
                <c:pt idx="21583">
                  <c:v>0.38492955234528198</c:v>
                </c:pt>
                <c:pt idx="21584">
                  <c:v>0.38494738719457799</c:v>
                </c:pt>
                <c:pt idx="21585">
                  <c:v>0.38496522204387301</c:v>
                </c:pt>
                <c:pt idx="21586">
                  <c:v>0.38498305689316897</c:v>
                </c:pt>
                <c:pt idx="21587">
                  <c:v>0.38500089174246399</c:v>
                </c:pt>
                <c:pt idx="21588">
                  <c:v>0.38501872659176001</c:v>
                </c:pt>
                <c:pt idx="21589">
                  <c:v>0.38503656144105503</c:v>
                </c:pt>
                <c:pt idx="21590">
                  <c:v>0.38505439629035099</c:v>
                </c:pt>
                <c:pt idx="21591">
                  <c:v>0.385072231139646</c:v>
                </c:pt>
                <c:pt idx="21592">
                  <c:v>0.38509006598894202</c:v>
                </c:pt>
                <c:pt idx="21593">
                  <c:v>0.38510790083823698</c:v>
                </c:pt>
                <c:pt idx="21594">
                  <c:v>0.385125735687533</c:v>
                </c:pt>
                <c:pt idx="21595">
                  <c:v>0.38514357053682802</c:v>
                </c:pt>
                <c:pt idx="21596">
                  <c:v>0.38516140538612398</c:v>
                </c:pt>
                <c:pt idx="21597">
                  <c:v>0.38517924023542</c:v>
                </c:pt>
                <c:pt idx="21598">
                  <c:v>0.38519707508471501</c:v>
                </c:pt>
                <c:pt idx="21599">
                  <c:v>0.38521490993401097</c:v>
                </c:pt>
                <c:pt idx="21600">
                  <c:v>0.38523274478330599</c:v>
                </c:pt>
                <c:pt idx="21601">
                  <c:v>0.38525057963260201</c:v>
                </c:pt>
                <c:pt idx="21602">
                  <c:v>0.38526841448189703</c:v>
                </c:pt>
                <c:pt idx="21603">
                  <c:v>0.38528624933119299</c:v>
                </c:pt>
                <c:pt idx="21604">
                  <c:v>0.385304084180488</c:v>
                </c:pt>
                <c:pt idx="21605">
                  <c:v>0.38532191902978402</c:v>
                </c:pt>
                <c:pt idx="21606">
                  <c:v>0.38533975387907898</c:v>
                </c:pt>
                <c:pt idx="21607">
                  <c:v>0.385357588728375</c:v>
                </c:pt>
                <c:pt idx="21608">
                  <c:v>0.38537542357767002</c:v>
                </c:pt>
                <c:pt idx="21609">
                  <c:v>0.38539325842696598</c:v>
                </c:pt>
                <c:pt idx="21610">
                  <c:v>0.385411093276261</c:v>
                </c:pt>
                <c:pt idx="21611">
                  <c:v>0.38542892812555701</c:v>
                </c:pt>
                <c:pt idx="21612">
                  <c:v>0.38544676297485198</c:v>
                </c:pt>
                <c:pt idx="21613">
                  <c:v>0.38546459782414799</c:v>
                </c:pt>
                <c:pt idx="21614">
                  <c:v>0.38548243267344301</c:v>
                </c:pt>
                <c:pt idx="21615">
                  <c:v>0.38550026752273903</c:v>
                </c:pt>
                <c:pt idx="21616">
                  <c:v>0.38551810237203399</c:v>
                </c:pt>
                <c:pt idx="21617">
                  <c:v>0.38553593722133001</c:v>
                </c:pt>
                <c:pt idx="21618">
                  <c:v>0.38555377207062602</c:v>
                </c:pt>
                <c:pt idx="21619">
                  <c:v>0.38557160691992098</c:v>
                </c:pt>
                <c:pt idx="21620">
                  <c:v>0.385589441769217</c:v>
                </c:pt>
                <c:pt idx="21621">
                  <c:v>0.38560727661851202</c:v>
                </c:pt>
                <c:pt idx="21622">
                  <c:v>0.38562511146780798</c:v>
                </c:pt>
                <c:pt idx="21623">
                  <c:v>0.385642946317103</c:v>
                </c:pt>
                <c:pt idx="21624">
                  <c:v>0.38566078116639901</c:v>
                </c:pt>
                <c:pt idx="21625">
                  <c:v>0.38567861601569398</c:v>
                </c:pt>
                <c:pt idx="21626">
                  <c:v>0.38569645086498999</c:v>
                </c:pt>
                <c:pt idx="21627">
                  <c:v>0.38571428571428501</c:v>
                </c:pt>
                <c:pt idx="21628">
                  <c:v>0.38573212056358103</c:v>
                </c:pt>
                <c:pt idx="21629">
                  <c:v>0.38574995541287599</c:v>
                </c:pt>
                <c:pt idx="21630">
                  <c:v>0.38576779026217201</c:v>
                </c:pt>
                <c:pt idx="21631">
                  <c:v>0.38578562511146702</c:v>
                </c:pt>
                <c:pt idx="21632">
                  <c:v>0.38580345996076298</c:v>
                </c:pt>
                <c:pt idx="21633">
                  <c:v>0.385821294810058</c:v>
                </c:pt>
                <c:pt idx="21634">
                  <c:v>0.38583912965935402</c:v>
                </c:pt>
                <c:pt idx="21635">
                  <c:v>0.38585696450864898</c:v>
                </c:pt>
                <c:pt idx="21636">
                  <c:v>0.385874799357945</c:v>
                </c:pt>
                <c:pt idx="21637">
                  <c:v>0.38589263420724002</c:v>
                </c:pt>
                <c:pt idx="21638">
                  <c:v>0.38591046905653598</c:v>
                </c:pt>
                <c:pt idx="21639">
                  <c:v>0.38592830390583199</c:v>
                </c:pt>
                <c:pt idx="21640">
                  <c:v>0.38594613875512701</c:v>
                </c:pt>
                <c:pt idx="21641">
                  <c:v>0.38596397360442303</c:v>
                </c:pt>
                <c:pt idx="21642">
                  <c:v>0.38598180845371799</c:v>
                </c:pt>
                <c:pt idx="21643">
                  <c:v>0.38599964330301401</c:v>
                </c:pt>
                <c:pt idx="21644">
                  <c:v>0.38601747815230902</c:v>
                </c:pt>
                <c:pt idx="21645">
                  <c:v>0.38603531300160498</c:v>
                </c:pt>
                <c:pt idx="21646">
                  <c:v>0.3860531478509</c:v>
                </c:pt>
                <c:pt idx="21647">
                  <c:v>0.38607098270019602</c:v>
                </c:pt>
                <c:pt idx="21648">
                  <c:v>0.38608881754949098</c:v>
                </c:pt>
                <c:pt idx="21649">
                  <c:v>0.386106652398787</c:v>
                </c:pt>
                <c:pt idx="21650">
                  <c:v>0.38612448724808202</c:v>
                </c:pt>
                <c:pt idx="21651">
                  <c:v>0.38614232209737798</c:v>
                </c:pt>
                <c:pt idx="21652">
                  <c:v>0.38616015694667299</c:v>
                </c:pt>
                <c:pt idx="21653">
                  <c:v>0.38617799179596901</c:v>
                </c:pt>
                <c:pt idx="21654">
                  <c:v>0.38619582664526397</c:v>
                </c:pt>
                <c:pt idx="21655">
                  <c:v>0.38621366149455999</c:v>
                </c:pt>
                <c:pt idx="21656">
                  <c:v>0.38623149634385501</c:v>
                </c:pt>
                <c:pt idx="21657">
                  <c:v>0.38624933119315102</c:v>
                </c:pt>
                <c:pt idx="21658">
                  <c:v>0.38626716604244599</c:v>
                </c:pt>
                <c:pt idx="21659">
                  <c:v>0.386285000891742</c:v>
                </c:pt>
                <c:pt idx="21660">
                  <c:v>0.38630283574103702</c:v>
                </c:pt>
                <c:pt idx="21661">
                  <c:v>0.38632067059033298</c:v>
                </c:pt>
                <c:pt idx="21662">
                  <c:v>0.386338505439629</c:v>
                </c:pt>
                <c:pt idx="21663">
                  <c:v>0.38635634028892402</c:v>
                </c:pt>
                <c:pt idx="21664">
                  <c:v>0.38637417513821998</c:v>
                </c:pt>
                <c:pt idx="21665">
                  <c:v>0.38639200998751499</c:v>
                </c:pt>
                <c:pt idx="21666">
                  <c:v>0.38640984483681101</c:v>
                </c:pt>
                <c:pt idx="21667">
                  <c:v>0.38642767968610597</c:v>
                </c:pt>
                <c:pt idx="21668">
                  <c:v>0.38644551453540199</c:v>
                </c:pt>
                <c:pt idx="21669">
                  <c:v>0.38646334938469701</c:v>
                </c:pt>
                <c:pt idx="21670">
                  <c:v>0.38648118423399302</c:v>
                </c:pt>
                <c:pt idx="21671">
                  <c:v>0.38649901908328799</c:v>
                </c:pt>
                <c:pt idx="21672">
                  <c:v>0.386516853932584</c:v>
                </c:pt>
                <c:pt idx="21673">
                  <c:v>0.38653468878187902</c:v>
                </c:pt>
                <c:pt idx="21674">
                  <c:v>0.38655252363117498</c:v>
                </c:pt>
                <c:pt idx="21675">
                  <c:v>0.38657035848047</c:v>
                </c:pt>
                <c:pt idx="21676">
                  <c:v>0.38658819332976602</c:v>
                </c:pt>
                <c:pt idx="21677">
                  <c:v>0.38660602817906098</c:v>
                </c:pt>
                <c:pt idx="21678">
                  <c:v>0.386623863028357</c:v>
                </c:pt>
                <c:pt idx="21679">
                  <c:v>0.38664169787765201</c:v>
                </c:pt>
                <c:pt idx="21680">
                  <c:v>0.38665953272694797</c:v>
                </c:pt>
                <c:pt idx="21681">
                  <c:v>0.38667736757624399</c:v>
                </c:pt>
                <c:pt idx="21682">
                  <c:v>0.38669520242553901</c:v>
                </c:pt>
                <c:pt idx="21683">
                  <c:v>0.38671303727483503</c:v>
                </c:pt>
                <c:pt idx="21684">
                  <c:v>0.38673087212412999</c:v>
                </c:pt>
                <c:pt idx="21685">
                  <c:v>0.386748706973426</c:v>
                </c:pt>
                <c:pt idx="21686">
                  <c:v>0.38676654182272102</c:v>
                </c:pt>
                <c:pt idx="21687">
                  <c:v>0.38678437667201698</c:v>
                </c:pt>
                <c:pt idx="21688">
                  <c:v>0.386802211521312</c:v>
                </c:pt>
                <c:pt idx="21689">
                  <c:v>0.38682004637060802</c:v>
                </c:pt>
                <c:pt idx="21690">
                  <c:v>0.38683788121990298</c:v>
                </c:pt>
                <c:pt idx="21691">
                  <c:v>0.386855716069199</c:v>
                </c:pt>
                <c:pt idx="21692">
                  <c:v>0.38687355091849401</c:v>
                </c:pt>
                <c:pt idx="21693">
                  <c:v>0.38689138576778997</c:v>
                </c:pt>
                <c:pt idx="21694">
                  <c:v>0.38690922061708499</c:v>
                </c:pt>
                <c:pt idx="21695">
                  <c:v>0.38692705546638101</c:v>
                </c:pt>
                <c:pt idx="21696">
                  <c:v>0.38694489031567603</c:v>
                </c:pt>
                <c:pt idx="21697">
                  <c:v>0.38696272516497199</c:v>
                </c:pt>
                <c:pt idx="21698">
                  <c:v>0.38698056001426701</c:v>
                </c:pt>
                <c:pt idx="21699">
                  <c:v>0.38699839486356302</c:v>
                </c:pt>
                <c:pt idx="21700">
                  <c:v>0.38701622971285798</c:v>
                </c:pt>
                <c:pt idx="21701">
                  <c:v>0.387034064562154</c:v>
                </c:pt>
                <c:pt idx="21702">
                  <c:v>0.38705189941144902</c:v>
                </c:pt>
                <c:pt idx="21703">
                  <c:v>0.38706973426074498</c:v>
                </c:pt>
                <c:pt idx="21704">
                  <c:v>0.387087569110041</c:v>
                </c:pt>
                <c:pt idx="21705">
                  <c:v>0.38710540395933601</c:v>
                </c:pt>
                <c:pt idx="21706">
                  <c:v>0.38712323880863198</c:v>
                </c:pt>
                <c:pt idx="21707">
                  <c:v>0.38714107365792699</c:v>
                </c:pt>
                <c:pt idx="21708">
                  <c:v>0.38715890850722301</c:v>
                </c:pt>
                <c:pt idx="21709">
                  <c:v>0.38717674335651803</c:v>
                </c:pt>
                <c:pt idx="21710">
                  <c:v>0.38719457820581399</c:v>
                </c:pt>
                <c:pt idx="21711">
                  <c:v>0.38721241305510901</c:v>
                </c:pt>
                <c:pt idx="21712">
                  <c:v>0.38723024790440502</c:v>
                </c:pt>
                <c:pt idx="21713">
                  <c:v>0.38724808275369998</c:v>
                </c:pt>
                <c:pt idx="21714">
                  <c:v>0.387265917602996</c:v>
                </c:pt>
                <c:pt idx="21715">
                  <c:v>0.38728375245229102</c:v>
                </c:pt>
                <c:pt idx="21716">
                  <c:v>0.38730158730158698</c:v>
                </c:pt>
                <c:pt idx="21717">
                  <c:v>0.387319422150882</c:v>
                </c:pt>
                <c:pt idx="21718">
                  <c:v>0.38733725700017801</c:v>
                </c:pt>
                <c:pt idx="21719">
                  <c:v>0.38735509184947298</c:v>
                </c:pt>
                <c:pt idx="21720">
                  <c:v>0.38737292669876899</c:v>
                </c:pt>
                <c:pt idx="21721">
                  <c:v>0.38739076154806401</c:v>
                </c:pt>
                <c:pt idx="21722">
                  <c:v>0.38740859639736003</c:v>
                </c:pt>
                <c:pt idx="21723">
                  <c:v>0.38742643124665599</c:v>
                </c:pt>
                <c:pt idx="21724">
                  <c:v>0.38744426609595101</c:v>
                </c:pt>
                <c:pt idx="21725">
                  <c:v>0.38746210094524702</c:v>
                </c:pt>
                <c:pt idx="21726">
                  <c:v>0.38747993579454199</c:v>
                </c:pt>
                <c:pt idx="21727">
                  <c:v>0.387497770643838</c:v>
                </c:pt>
                <c:pt idx="21728">
                  <c:v>0.38751560549313302</c:v>
                </c:pt>
                <c:pt idx="21729">
                  <c:v>0.38753344034242898</c:v>
                </c:pt>
                <c:pt idx="21730">
                  <c:v>0.387551275191724</c:v>
                </c:pt>
                <c:pt idx="21731">
                  <c:v>0.38756911004102002</c:v>
                </c:pt>
                <c:pt idx="21732">
                  <c:v>0.38758694489031498</c:v>
                </c:pt>
                <c:pt idx="21733">
                  <c:v>0.38760477973961099</c:v>
                </c:pt>
                <c:pt idx="21734">
                  <c:v>0.38762261458890601</c:v>
                </c:pt>
                <c:pt idx="21735">
                  <c:v>0.38764044943820197</c:v>
                </c:pt>
                <c:pt idx="21736">
                  <c:v>0.38765828428749699</c:v>
                </c:pt>
                <c:pt idx="21737">
                  <c:v>0.38767611913679301</c:v>
                </c:pt>
                <c:pt idx="21738">
                  <c:v>0.38769395398608802</c:v>
                </c:pt>
                <c:pt idx="21739">
                  <c:v>0.38771178883538399</c:v>
                </c:pt>
                <c:pt idx="21740">
                  <c:v>0.387729623684679</c:v>
                </c:pt>
                <c:pt idx="21741">
                  <c:v>0.38774745853397502</c:v>
                </c:pt>
                <c:pt idx="21742">
                  <c:v>0.38776529338326998</c:v>
                </c:pt>
                <c:pt idx="21743">
                  <c:v>0.387783128232566</c:v>
                </c:pt>
                <c:pt idx="21744">
                  <c:v>0.38780096308186102</c:v>
                </c:pt>
                <c:pt idx="21745">
                  <c:v>0.38781879793115698</c:v>
                </c:pt>
                <c:pt idx="21746">
                  <c:v>0.38783663278045299</c:v>
                </c:pt>
                <c:pt idx="21747">
                  <c:v>0.38785446762974801</c:v>
                </c:pt>
                <c:pt idx="21748">
                  <c:v>0.38787230247904397</c:v>
                </c:pt>
                <c:pt idx="21749">
                  <c:v>0.38789013732833899</c:v>
                </c:pt>
                <c:pt idx="21750">
                  <c:v>0.38790797217763501</c:v>
                </c:pt>
                <c:pt idx="21751">
                  <c:v>0.38792580702693003</c:v>
                </c:pt>
                <c:pt idx="21752">
                  <c:v>0.38794364187622599</c:v>
                </c:pt>
                <c:pt idx="21753">
                  <c:v>0.387961476725521</c:v>
                </c:pt>
                <c:pt idx="21754">
                  <c:v>0.38797931157481702</c:v>
                </c:pt>
                <c:pt idx="21755">
                  <c:v>0.38799714642411198</c:v>
                </c:pt>
                <c:pt idx="21756">
                  <c:v>0.388014981273408</c:v>
                </c:pt>
                <c:pt idx="21757">
                  <c:v>0.38803281612270302</c:v>
                </c:pt>
                <c:pt idx="21758">
                  <c:v>0.38805065097199898</c:v>
                </c:pt>
                <c:pt idx="21759">
                  <c:v>0.388068485821294</c:v>
                </c:pt>
                <c:pt idx="21760">
                  <c:v>0.38808632067059001</c:v>
                </c:pt>
                <c:pt idx="21761">
                  <c:v>0.38810415551988497</c:v>
                </c:pt>
                <c:pt idx="21762">
                  <c:v>0.38812199036918099</c:v>
                </c:pt>
                <c:pt idx="21763">
                  <c:v>0.38813982521847601</c:v>
                </c:pt>
                <c:pt idx="21764">
                  <c:v>0.38815766006777203</c:v>
                </c:pt>
                <c:pt idx="21765">
                  <c:v>0.38817549491706699</c:v>
                </c:pt>
                <c:pt idx="21766">
                  <c:v>0.388193329766363</c:v>
                </c:pt>
                <c:pt idx="21767">
                  <c:v>0.38821116461565902</c:v>
                </c:pt>
                <c:pt idx="21768">
                  <c:v>0.38822899946495398</c:v>
                </c:pt>
                <c:pt idx="21769">
                  <c:v>0.38824683431425</c:v>
                </c:pt>
                <c:pt idx="21770">
                  <c:v>0.38826466916354502</c:v>
                </c:pt>
                <c:pt idx="21771">
                  <c:v>0.38828250401284098</c:v>
                </c:pt>
                <c:pt idx="21772">
                  <c:v>0.388300338862136</c:v>
                </c:pt>
                <c:pt idx="21773">
                  <c:v>0.38831817371143201</c:v>
                </c:pt>
                <c:pt idx="21774">
                  <c:v>0.38833600856072698</c:v>
                </c:pt>
                <c:pt idx="21775">
                  <c:v>0.38835384341002299</c:v>
                </c:pt>
                <c:pt idx="21776">
                  <c:v>0.38837167825931801</c:v>
                </c:pt>
                <c:pt idx="21777">
                  <c:v>0.38838951310861403</c:v>
                </c:pt>
                <c:pt idx="21778">
                  <c:v>0.38840734795790899</c:v>
                </c:pt>
                <c:pt idx="21779">
                  <c:v>0.38842518280720501</c:v>
                </c:pt>
                <c:pt idx="21780">
                  <c:v>0.38844301765650002</c:v>
                </c:pt>
                <c:pt idx="21781">
                  <c:v>0.38846085250579598</c:v>
                </c:pt>
                <c:pt idx="21782">
                  <c:v>0.388478687355091</c:v>
                </c:pt>
                <c:pt idx="21783">
                  <c:v>0.38849652220438702</c:v>
                </c:pt>
                <c:pt idx="21784">
                  <c:v>0.38851435705368198</c:v>
                </c:pt>
                <c:pt idx="21785">
                  <c:v>0.388532191902978</c:v>
                </c:pt>
                <c:pt idx="21786">
                  <c:v>0.38855002675227301</c:v>
                </c:pt>
                <c:pt idx="21787">
                  <c:v>0.38856786160156898</c:v>
                </c:pt>
                <c:pt idx="21788">
                  <c:v>0.38858569645086499</c:v>
                </c:pt>
                <c:pt idx="21789">
                  <c:v>0.38860353130016001</c:v>
                </c:pt>
                <c:pt idx="21790">
                  <c:v>0.38862136614945603</c:v>
                </c:pt>
                <c:pt idx="21791">
                  <c:v>0.38863920099875099</c:v>
                </c:pt>
                <c:pt idx="21792">
                  <c:v>0.38865703584804701</c:v>
                </c:pt>
                <c:pt idx="21793">
                  <c:v>0.38867487069734202</c:v>
                </c:pt>
                <c:pt idx="21794">
                  <c:v>0.38869270554663798</c:v>
                </c:pt>
                <c:pt idx="21795">
                  <c:v>0.388710540395933</c:v>
                </c:pt>
                <c:pt idx="21796">
                  <c:v>0.38872837524522902</c:v>
                </c:pt>
                <c:pt idx="21797">
                  <c:v>0.38874621009452398</c:v>
                </c:pt>
                <c:pt idx="21798">
                  <c:v>0.38876404494382</c:v>
                </c:pt>
                <c:pt idx="21799">
                  <c:v>0.38878187979311501</c:v>
                </c:pt>
                <c:pt idx="21800">
                  <c:v>0.38879971464241098</c:v>
                </c:pt>
                <c:pt idx="21801">
                  <c:v>0.38881754949170599</c:v>
                </c:pt>
                <c:pt idx="21802">
                  <c:v>0.38883538434100201</c:v>
                </c:pt>
                <c:pt idx="21803">
                  <c:v>0.38885321919029697</c:v>
                </c:pt>
                <c:pt idx="21804">
                  <c:v>0.38887105403959299</c:v>
                </c:pt>
                <c:pt idx="21805">
                  <c:v>0.38888888888888801</c:v>
                </c:pt>
                <c:pt idx="21806">
                  <c:v>0.38890672373818402</c:v>
                </c:pt>
                <c:pt idx="21807">
                  <c:v>0.38892455858747899</c:v>
                </c:pt>
                <c:pt idx="21808">
                  <c:v>0.388942393436775</c:v>
                </c:pt>
                <c:pt idx="21809">
                  <c:v>0.38896022828607002</c:v>
                </c:pt>
                <c:pt idx="21810">
                  <c:v>0.38897806313536598</c:v>
                </c:pt>
                <c:pt idx="21811">
                  <c:v>0.388995897984662</c:v>
                </c:pt>
                <c:pt idx="21812">
                  <c:v>0.38901373283395702</c:v>
                </c:pt>
                <c:pt idx="21813">
                  <c:v>0.38903156768325298</c:v>
                </c:pt>
                <c:pt idx="21814">
                  <c:v>0.38904940253254799</c:v>
                </c:pt>
                <c:pt idx="21815">
                  <c:v>0.38906723738184401</c:v>
                </c:pt>
                <c:pt idx="21816">
                  <c:v>0.38908507223113897</c:v>
                </c:pt>
                <c:pt idx="21817">
                  <c:v>0.38910290708043499</c:v>
                </c:pt>
                <c:pt idx="21818">
                  <c:v>0.38912074192973001</c:v>
                </c:pt>
                <c:pt idx="21819">
                  <c:v>0.38913857677902602</c:v>
                </c:pt>
                <c:pt idx="21820">
                  <c:v>0.38915641162832099</c:v>
                </c:pt>
                <c:pt idx="21821">
                  <c:v>0.389174246477617</c:v>
                </c:pt>
                <c:pt idx="21822">
                  <c:v>0.38919208132691202</c:v>
                </c:pt>
                <c:pt idx="21823">
                  <c:v>0.38920991617620798</c:v>
                </c:pt>
                <c:pt idx="21824">
                  <c:v>0.389227751025503</c:v>
                </c:pt>
                <c:pt idx="21825">
                  <c:v>0.38924558587479902</c:v>
                </c:pt>
                <c:pt idx="21826">
                  <c:v>0.38926342072409398</c:v>
                </c:pt>
                <c:pt idx="21827">
                  <c:v>0.38928125557338999</c:v>
                </c:pt>
                <c:pt idx="21828">
                  <c:v>0.38929909042268501</c:v>
                </c:pt>
                <c:pt idx="21829">
                  <c:v>0.38931692527198097</c:v>
                </c:pt>
                <c:pt idx="21830">
                  <c:v>0.38933476012127699</c:v>
                </c:pt>
                <c:pt idx="21831">
                  <c:v>0.38935259497057201</c:v>
                </c:pt>
                <c:pt idx="21832">
                  <c:v>0.38937042981986802</c:v>
                </c:pt>
                <c:pt idx="21833">
                  <c:v>0.38938826466916299</c:v>
                </c:pt>
                <c:pt idx="21834">
                  <c:v>0.389406099518459</c:v>
                </c:pt>
                <c:pt idx="21835">
                  <c:v>0.38942393436775402</c:v>
                </c:pt>
                <c:pt idx="21836">
                  <c:v>0.38944176921704998</c:v>
                </c:pt>
                <c:pt idx="21837">
                  <c:v>0.389459604066345</c:v>
                </c:pt>
                <c:pt idx="21838">
                  <c:v>0.38947743891564102</c:v>
                </c:pt>
                <c:pt idx="21839">
                  <c:v>0.38949527376493598</c:v>
                </c:pt>
                <c:pt idx="21840">
                  <c:v>0.389513108614232</c:v>
                </c:pt>
                <c:pt idx="21841">
                  <c:v>0.38953094346352701</c:v>
                </c:pt>
                <c:pt idx="21842">
                  <c:v>0.38954877831282297</c:v>
                </c:pt>
                <c:pt idx="21843">
                  <c:v>0.38956661316211799</c:v>
                </c:pt>
                <c:pt idx="21844">
                  <c:v>0.38958444801141401</c:v>
                </c:pt>
                <c:pt idx="21845">
                  <c:v>0.38960228286070903</c:v>
                </c:pt>
                <c:pt idx="21846">
                  <c:v>0.38962011771000499</c:v>
                </c:pt>
                <c:pt idx="21847">
                  <c:v>0.3896379525593</c:v>
                </c:pt>
                <c:pt idx="21848">
                  <c:v>0.38965578740859602</c:v>
                </c:pt>
                <c:pt idx="21849">
                  <c:v>0.38967362225789098</c:v>
                </c:pt>
                <c:pt idx="21850">
                  <c:v>0.389691457107187</c:v>
                </c:pt>
                <c:pt idx="21851">
                  <c:v>0.38970929195648202</c:v>
                </c:pt>
                <c:pt idx="21852">
                  <c:v>0.38972712680577798</c:v>
                </c:pt>
                <c:pt idx="21853">
                  <c:v>0.389744961655074</c:v>
                </c:pt>
                <c:pt idx="21854">
                  <c:v>0.38976279650436901</c:v>
                </c:pt>
                <c:pt idx="21855">
                  <c:v>0.38978063135366497</c:v>
                </c:pt>
                <c:pt idx="21856">
                  <c:v>0.38979846620295999</c:v>
                </c:pt>
                <c:pt idx="21857">
                  <c:v>0.38981630105225601</c:v>
                </c:pt>
                <c:pt idx="21858">
                  <c:v>0.38983413590155103</c:v>
                </c:pt>
                <c:pt idx="21859">
                  <c:v>0.38985197075084699</c:v>
                </c:pt>
                <c:pt idx="21860">
                  <c:v>0.38986980560014201</c:v>
                </c:pt>
                <c:pt idx="21861">
                  <c:v>0.38988764044943802</c:v>
                </c:pt>
                <c:pt idx="21862">
                  <c:v>0.38990547529873298</c:v>
                </c:pt>
                <c:pt idx="21863">
                  <c:v>0.389923310148029</c:v>
                </c:pt>
                <c:pt idx="21864">
                  <c:v>0.38994114499732402</c:v>
                </c:pt>
                <c:pt idx="21865">
                  <c:v>0.38995897984661998</c:v>
                </c:pt>
                <c:pt idx="21866">
                  <c:v>0.389976814695915</c:v>
                </c:pt>
                <c:pt idx="21867">
                  <c:v>0.38999464954521101</c:v>
                </c:pt>
                <c:pt idx="21868">
                  <c:v>0.39001248439450598</c:v>
                </c:pt>
                <c:pt idx="21869">
                  <c:v>0.39003031924380199</c:v>
                </c:pt>
                <c:pt idx="21870">
                  <c:v>0.39004815409309701</c:v>
                </c:pt>
                <c:pt idx="21871">
                  <c:v>0.39006598894239303</c:v>
                </c:pt>
                <c:pt idx="21872">
                  <c:v>0.39008382379168799</c:v>
                </c:pt>
                <c:pt idx="21873">
                  <c:v>0.39010165864098401</c:v>
                </c:pt>
                <c:pt idx="21874">
                  <c:v>0.39011949349028002</c:v>
                </c:pt>
                <c:pt idx="21875">
                  <c:v>0.39013732833957498</c:v>
                </c:pt>
                <c:pt idx="21876">
                  <c:v>0.390155163188871</c:v>
                </c:pt>
                <c:pt idx="21877">
                  <c:v>0.39017299803816602</c:v>
                </c:pt>
                <c:pt idx="21878">
                  <c:v>0.39019083288746198</c:v>
                </c:pt>
                <c:pt idx="21879">
                  <c:v>0.390208667736757</c:v>
                </c:pt>
                <c:pt idx="21880">
                  <c:v>0.39022650258605301</c:v>
                </c:pt>
                <c:pt idx="21881">
                  <c:v>0.39024433743534798</c:v>
                </c:pt>
                <c:pt idx="21882">
                  <c:v>0.39026217228464399</c:v>
                </c:pt>
                <c:pt idx="21883">
                  <c:v>0.39028000713393901</c:v>
                </c:pt>
                <c:pt idx="21884">
                  <c:v>0.39029784198323503</c:v>
                </c:pt>
                <c:pt idx="21885">
                  <c:v>0.39031567683252999</c:v>
                </c:pt>
                <c:pt idx="21886">
                  <c:v>0.39033351168182601</c:v>
                </c:pt>
                <c:pt idx="21887">
                  <c:v>0.39035134653112102</c:v>
                </c:pt>
                <c:pt idx="21888">
                  <c:v>0.39036918138041699</c:v>
                </c:pt>
                <c:pt idx="21889">
                  <c:v>0.390387016229712</c:v>
                </c:pt>
                <c:pt idx="21890">
                  <c:v>0.39040485107900802</c:v>
                </c:pt>
                <c:pt idx="21891">
                  <c:v>0.39042268592830298</c:v>
                </c:pt>
                <c:pt idx="21892">
                  <c:v>0.390440520777599</c:v>
                </c:pt>
                <c:pt idx="21893">
                  <c:v>0.39045835562689402</c:v>
                </c:pt>
                <c:pt idx="21894">
                  <c:v>0.39047619047618998</c:v>
                </c:pt>
                <c:pt idx="21895">
                  <c:v>0.39049402532548599</c:v>
                </c:pt>
                <c:pt idx="21896">
                  <c:v>0.39051186017478101</c:v>
                </c:pt>
                <c:pt idx="21897">
                  <c:v>0.39052969502407697</c:v>
                </c:pt>
                <c:pt idx="21898">
                  <c:v>0.39054752987337199</c:v>
                </c:pt>
                <c:pt idx="21899">
                  <c:v>0.39056536472266801</c:v>
                </c:pt>
                <c:pt idx="21900">
                  <c:v>0.39058319957196302</c:v>
                </c:pt>
                <c:pt idx="21901">
                  <c:v>0.39060103442125899</c:v>
                </c:pt>
                <c:pt idx="21902">
                  <c:v>0.390618869270554</c:v>
                </c:pt>
                <c:pt idx="21903">
                  <c:v>0.39063670411985002</c:v>
                </c:pt>
                <c:pt idx="21904">
                  <c:v>0.39065453896914498</c:v>
                </c:pt>
                <c:pt idx="21905">
                  <c:v>0.390672373818441</c:v>
                </c:pt>
                <c:pt idx="21906">
                  <c:v>0.39069020866773602</c:v>
                </c:pt>
                <c:pt idx="21907">
                  <c:v>0.39070804351703198</c:v>
                </c:pt>
                <c:pt idx="21908">
                  <c:v>0.390725878366327</c:v>
                </c:pt>
                <c:pt idx="21909">
                  <c:v>0.39074371321562301</c:v>
                </c:pt>
                <c:pt idx="21910">
                  <c:v>0.39076154806491797</c:v>
                </c:pt>
                <c:pt idx="21911">
                  <c:v>0.39077938291421399</c:v>
                </c:pt>
                <c:pt idx="21912">
                  <c:v>0.39079721776350901</c:v>
                </c:pt>
                <c:pt idx="21913">
                  <c:v>0.39081505261280503</c:v>
                </c:pt>
                <c:pt idx="21914">
                  <c:v>0.39083288746209999</c:v>
                </c:pt>
                <c:pt idx="21915">
                  <c:v>0.390850722311396</c:v>
                </c:pt>
                <c:pt idx="21916">
                  <c:v>0.39086855716069102</c:v>
                </c:pt>
                <c:pt idx="21917">
                  <c:v>0.39088639200998698</c:v>
                </c:pt>
                <c:pt idx="21918">
                  <c:v>0.390904226859283</c:v>
                </c:pt>
                <c:pt idx="21919">
                  <c:v>0.39092206170857802</c:v>
                </c:pt>
                <c:pt idx="21920">
                  <c:v>0.39093989655787398</c:v>
                </c:pt>
                <c:pt idx="21921">
                  <c:v>0.390957731407169</c:v>
                </c:pt>
                <c:pt idx="21922">
                  <c:v>0.39097556625646501</c:v>
                </c:pt>
                <c:pt idx="21923">
                  <c:v>0.39099340110575997</c:v>
                </c:pt>
                <c:pt idx="21924">
                  <c:v>0.39101123595505599</c:v>
                </c:pt>
                <c:pt idx="21925">
                  <c:v>0.39102907080435101</c:v>
                </c:pt>
                <c:pt idx="21926">
                  <c:v>0.39104690565364703</c:v>
                </c:pt>
                <c:pt idx="21927">
                  <c:v>0.39106474050294199</c:v>
                </c:pt>
                <c:pt idx="21928">
                  <c:v>0.391082575352238</c:v>
                </c:pt>
                <c:pt idx="21929">
                  <c:v>0.39110041020153302</c:v>
                </c:pt>
                <c:pt idx="21930">
                  <c:v>0.39111824505082898</c:v>
                </c:pt>
                <c:pt idx="21931">
                  <c:v>0.391136079900124</c:v>
                </c:pt>
                <c:pt idx="21932">
                  <c:v>0.39115391474942002</c:v>
                </c:pt>
                <c:pt idx="21933">
                  <c:v>0.39117174959871498</c:v>
                </c:pt>
                <c:pt idx="21934">
                  <c:v>0.391189584448011</c:v>
                </c:pt>
                <c:pt idx="21935">
                  <c:v>0.39120741929730601</c:v>
                </c:pt>
                <c:pt idx="21936">
                  <c:v>0.39122525414660198</c:v>
                </c:pt>
                <c:pt idx="21937">
                  <c:v>0.39124308899589799</c:v>
                </c:pt>
                <c:pt idx="21938">
                  <c:v>0.39126092384519301</c:v>
                </c:pt>
                <c:pt idx="21939">
                  <c:v>0.39127875869448903</c:v>
                </c:pt>
                <c:pt idx="21940">
                  <c:v>0.39129659354378399</c:v>
                </c:pt>
                <c:pt idx="21941">
                  <c:v>0.39131442839308</c:v>
                </c:pt>
                <c:pt idx="21942">
                  <c:v>0.39133226324237502</c:v>
                </c:pt>
                <c:pt idx="21943">
                  <c:v>0.39135009809167098</c:v>
                </c:pt>
                <c:pt idx="21944">
                  <c:v>0.391367932940966</c:v>
                </c:pt>
                <c:pt idx="21945">
                  <c:v>0.39138576779026202</c:v>
                </c:pt>
                <c:pt idx="21946">
                  <c:v>0.39140360263955698</c:v>
                </c:pt>
                <c:pt idx="21947">
                  <c:v>0.391421437488853</c:v>
                </c:pt>
                <c:pt idx="21948">
                  <c:v>0.39143927233814801</c:v>
                </c:pt>
                <c:pt idx="21949">
                  <c:v>0.39145710718744398</c:v>
                </c:pt>
                <c:pt idx="21950">
                  <c:v>0.39147494203673899</c:v>
                </c:pt>
                <c:pt idx="21951">
                  <c:v>0.39149277688603501</c:v>
                </c:pt>
                <c:pt idx="21952">
                  <c:v>0.39151061173533003</c:v>
                </c:pt>
                <c:pt idx="21953">
                  <c:v>0.39152844658462599</c:v>
                </c:pt>
                <c:pt idx="21954">
                  <c:v>0.39154628143392101</c:v>
                </c:pt>
                <c:pt idx="21955">
                  <c:v>0.39156411628321702</c:v>
                </c:pt>
                <c:pt idx="21956">
                  <c:v>0.39158195113251199</c:v>
                </c:pt>
                <c:pt idx="21957">
                  <c:v>0.391599785981808</c:v>
                </c:pt>
                <c:pt idx="21958">
                  <c:v>0.39161762083110302</c:v>
                </c:pt>
                <c:pt idx="21959">
                  <c:v>0.39163545568039898</c:v>
                </c:pt>
                <c:pt idx="21960">
                  <c:v>0.391653290529695</c:v>
                </c:pt>
                <c:pt idx="21961">
                  <c:v>0.39167112537899001</c:v>
                </c:pt>
                <c:pt idx="21962">
                  <c:v>0.39168896022828598</c:v>
                </c:pt>
                <c:pt idx="21963">
                  <c:v>0.39170679507758099</c:v>
                </c:pt>
                <c:pt idx="21964">
                  <c:v>0.39172462992687701</c:v>
                </c:pt>
                <c:pt idx="21965">
                  <c:v>0.39174246477617197</c:v>
                </c:pt>
                <c:pt idx="21966">
                  <c:v>0.39176029962546799</c:v>
                </c:pt>
                <c:pt idx="21967">
                  <c:v>0.39177813447476301</c:v>
                </c:pt>
                <c:pt idx="21968">
                  <c:v>0.39179596932405902</c:v>
                </c:pt>
                <c:pt idx="21969">
                  <c:v>0.39181380417335399</c:v>
                </c:pt>
                <c:pt idx="21970">
                  <c:v>0.39183163902265</c:v>
                </c:pt>
                <c:pt idx="21971">
                  <c:v>0.39184947387194502</c:v>
                </c:pt>
                <c:pt idx="21972">
                  <c:v>0.39186730872124098</c:v>
                </c:pt>
                <c:pt idx="21973">
                  <c:v>0.391885143570536</c:v>
                </c:pt>
                <c:pt idx="21974">
                  <c:v>0.39190297841983202</c:v>
                </c:pt>
                <c:pt idx="21975">
                  <c:v>0.39192081326912698</c:v>
                </c:pt>
                <c:pt idx="21976">
                  <c:v>0.39193864811842299</c:v>
                </c:pt>
                <c:pt idx="21977">
                  <c:v>0.39195648296771801</c:v>
                </c:pt>
                <c:pt idx="21978">
                  <c:v>0.39197431781701397</c:v>
                </c:pt>
                <c:pt idx="21979">
                  <c:v>0.39199215266630999</c:v>
                </c:pt>
                <c:pt idx="21980">
                  <c:v>0.39200998751560501</c:v>
                </c:pt>
                <c:pt idx="21981">
                  <c:v>0.39202782236490102</c:v>
                </c:pt>
                <c:pt idx="21982">
                  <c:v>0.39204565721419599</c:v>
                </c:pt>
                <c:pt idx="21983">
                  <c:v>0.392063492063492</c:v>
                </c:pt>
                <c:pt idx="21984">
                  <c:v>0.39208132691278702</c:v>
                </c:pt>
                <c:pt idx="21985">
                  <c:v>0.39209916176208298</c:v>
                </c:pt>
                <c:pt idx="21986">
                  <c:v>0.392116996611378</c:v>
                </c:pt>
                <c:pt idx="21987">
                  <c:v>0.39213483146067402</c:v>
                </c:pt>
                <c:pt idx="21988">
                  <c:v>0.39215266630996898</c:v>
                </c:pt>
                <c:pt idx="21989">
                  <c:v>0.39217050115926499</c:v>
                </c:pt>
                <c:pt idx="21990">
                  <c:v>0.39218833600856001</c:v>
                </c:pt>
                <c:pt idx="21991">
                  <c:v>0.39220617085785597</c:v>
                </c:pt>
                <c:pt idx="21992">
                  <c:v>0.39222400570715099</c:v>
                </c:pt>
                <c:pt idx="21993">
                  <c:v>0.39224184055644701</c:v>
                </c:pt>
                <c:pt idx="21994">
                  <c:v>0.39225967540574203</c:v>
                </c:pt>
                <c:pt idx="21995">
                  <c:v>0.39227751025503799</c:v>
                </c:pt>
                <c:pt idx="21996">
                  <c:v>0.392295345104333</c:v>
                </c:pt>
                <c:pt idx="21997">
                  <c:v>0.39231317995362902</c:v>
                </c:pt>
                <c:pt idx="21998">
                  <c:v>0.39233101480292398</c:v>
                </c:pt>
                <c:pt idx="21999">
                  <c:v>0.39234884965222</c:v>
                </c:pt>
                <c:pt idx="22000">
                  <c:v>0.39236668450151502</c:v>
                </c:pt>
                <c:pt idx="22001">
                  <c:v>0.39238451935081098</c:v>
                </c:pt>
                <c:pt idx="22002">
                  <c:v>0.392402354200107</c:v>
                </c:pt>
                <c:pt idx="22003">
                  <c:v>0.39242018904940201</c:v>
                </c:pt>
                <c:pt idx="22004">
                  <c:v>0.39243802389869797</c:v>
                </c:pt>
                <c:pt idx="22005">
                  <c:v>0.39245585874799299</c:v>
                </c:pt>
                <c:pt idx="22006">
                  <c:v>0.39247369359728901</c:v>
                </c:pt>
                <c:pt idx="22007">
                  <c:v>0.39249152844658403</c:v>
                </c:pt>
                <c:pt idx="22008">
                  <c:v>0.39250936329587999</c:v>
                </c:pt>
                <c:pt idx="22009">
                  <c:v>0.392527198145175</c:v>
                </c:pt>
                <c:pt idx="22010">
                  <c:v>0.39254503299447102</c:v>
                </c:pt>
                <c:pt idx="22011">
                  <c:v>0.39256286784376598</c:v>
                </c:pt>
                <c:pt idx="22012">
                  <c:v>0.392580702693062</c:v>
                </c:pt>
                <c:pt idx="22013">
                  <c:v>0.39259853754235702</c:v>
                </c:pt>
                <c:pt idx="22014">
                  <c:v>0.39261637239165298</c:v>
                </c:pt>
                <c:pt idx="22015">
                  <c:v>0.392634207240948</c:v>
                </c:pt>
                <c:pt idx="22016">
                  <c:v>0.39265204209024401</c:v>
                </c:pt>
                <c:pt idx="22017">
                  <c:v>0.39266987693953898</c:v>
                </c:pt>
                <c:pt idx="22018">
                  <c:v>0.39268771178883499</c:v>
                </c:pt>
                <c:pt idx="22019">
                  <c:v>0.39270554663813001</c:v>
                </c:pt>
                <c:pt idx="22020">
                  <c:v>0.39272338148742603</c:v>
                </c:pt>
                <c:pt idx="22021">
                  <c:v>0.39274121633672099</c:v>
                </c:pt>
                <c:pt idx="22022">
                  <c:v>0.39275905118601701</c:v>
                </c:pt>
                <c:pt idx="22023">
                  <c:v>0.39277688603531302</c:v>
                </c:pt>
                <c:pt idx="22024">
                  <c:v>0.39279472088460798</c:v>
                </c:pt>
                <c:pt idx="22025">
                  <c:v>0.392812555733904</c:v>
                </c:pt>
                <c:pt idx="22026">
                  <c:v>0.39283039058319902</c:v>
                </c:pt>
                <c:pt idx="22027">
                  <c:v>0.39284822543249498</c:v>
                </c:pt>
                <c:pt idx="22028">
                  <c:v>0.39286606028179</c:v>
                </c:pt>
                <c:pt idx="22029">
                  <c:v>0.39288389513108601</c:v>
                </c:pt>
                <c:pt idx="22030">
                  <c:v>0.39290172998038098</c:v>
                </c:pt>
                <c:pt idx="22031">
                  <c:v>0.39291956482967699</c:v>
                </c:pt>
                <c:pt idx="22032">
                  <c:v>0.39293739967897201</c:v>
                </c:pt>
                <c:pt idx="22033">
                  <c:v>0.39295523452826803</c:v>
                </c:pt>
                <c:pt idx="22034">
                  <c:v>0.39297306937756299</c:v>
                </c:pt>
                <c:pt idx="22035">
                  <c:v>0.39299090422685901</c:v>
                </c:pt>
                <c:pt idx="22036">
                  <c:v>0.39300873907615402</c:v>
                </c:pt>
                <c:pt idx="22037">
                  <c:v>0.39302657392544998</c:v>
                </c:pt>
                <c:pt idx="22038">
                  <c:v>0.393044408774745</c:v>
                </c:pt>
                <c:pt idx="22039">
                  <c:v>0.39306224362404102</c:v>
                </c:pt>
                <c:pt idx="22040">
                  <c:v>0.39308007847333598</c:v>
                </c:pt>
                <c:pt idx="22041">
                  <c:v>0.393097913322632</c:v>
                </c:pt>
                <c:pt idx="22042">
                  <c:v>0.39311574817192702</c:v>
                </c:pt>
                <c:pt idx="22043">
                  <c:v>0.39313358302122298</c:v>
                </c:pt>
                <c:pt idx="22044">
                  <c:v>0.39315141787051899</c:v>
                </c:pt>
                <c:pt idx="22045">
                  <c:v>0.39316925271981401</c:v>
                </c:pt>
                <c:pt idx="22046">
                  <c:v>0.39318708756911003</c:v>
                </c:pt>
                <c:pt idx="22047">
                  <c:v>0.39320492241840499</c:v>
                </c:pt>
                <c:pt idx="22048">
                  <c:v>0.39322275726770101</c:v>
                </c:pt>
                <c:pt idx="22049">
                  <c:v>0.39324059211699602</c:v>
                </c:pt>
                <c:pt idx="22050">
                  <c:v>0.39325842696629199</c:v>
                </c:pt>
                <c:pt idx="22051">
                  <c:v>0.393276261815587</c:v>
                </c:pt>
                <c:pt idx="22052">
                  <c:v>0.39329409666488302</c:v>
                </c:pt>
                <c:pt idx="22053">
                  <c:v>0.39331193151417798</c:v>
                </c:pt>
                <c:pt idx="22054">
                  <c:v>0.393329766363474</c:v>
                </c:pt>
                <c:pt idx="22055">
                  <c:v>0.39334760121276902</c:v>
                </c:pt>
                <c:pt idx="22056">
                  <c:v>0.39336543606206498</c:v>
                </c:pt>
                <c:pt idx="22057">
                  <c:v>0.39338327091135999</c:v>
                </c:pt>
                <c:pt idx="22058">
                  <c:v>0.39340110576065601</c:v>
                </c:pt>
                <c:pt idx="22059">
                  <c:v>0.39341894060995097</c:v>
                </c:pt>
                <c:pt idx="22060">
                  <c:v>0.39343677545924699</c:v>
                </c:pt>
                <c:pt idx="22061">
                  <c:v>0.39345461030854201</c:v>
                </c:pt>
                <c:pt idx="22062">
                  <c:v>0.39347244515783802</c:v>
                </c:pt>
                <c:pt idx="22063">
                  <c:v>0.39349028000713299</c:v>
                </c:pt>
                <c:pt idx="22064">
                  <c:v>0.393508114856429</c:v>
                </c:pt>
                <c:pt idx="22065">
                  <c:v>0.39352594970572402</c:v>
                </c:pt>
                <c:pt idx="22066">
                  <c:v>0.39354378455501998</c:v>
                </c:pt>
                <c:pt idx="22067">
                  <c:v>0.393561619404316</c:v>
                </c:pt>
                <c:pt idx="22068">
                  <c:v>0.39357945425361102</c:v>
                </c:pt>
                <c:pt idx="22069">
                  <c:v>0.39359728910290698</c:v>
                </c:pt>
                <c:pt idx="22070">
                  <c:v>0.393615123952202</c:v>
                </c:pt>
                <c:pt idx="22071">
                  <c:v>0.39363295880149801</c:v>
                </c:pt>
                <c:pt idx="22072">
                  <c:v>0.39365079365079297</c:v>
                </c:pt>
                <c:pt idx="22073">
                  <c:v>0.39366862850008899</c:v>
                </c:pt>
                <c:pt idx="22074">
                  <c:v>0.39368646334938401</c:v>
                </c:pt>
                <c:pt idx="22075">
                  <c:v>0.39370429819868002</c:v>
                </c:pt>
                <c:pt idx="22076">
                  <c:v>0.39372213304797499</c:v>
                </c:pt>
                <c:pt idx="22077">
                  <c:v>0.393739967897271</c:v>
                </c:pt>
                <c:pt idx="22078">
                  <c:v>0.39375780274656602</c:v>
                </c:pt>
                <c:pt idx="22079">
                  <c:v>0.39377563759586198</c:v>
                </c:pt>
                <c:pt idx="22080">
                  <c:v>0.393793472445157</c:v>
                </c:pt>
                <c:pt idx="22081">
                  <c:v>0.39381130729445302</c:v>
                </c:pt>
                <c:pt idx="22082">
                  <c:v>0.39382914214374798</c:v>
                </c:pt>
                <c:pt idx="22083">
                  <c:v>0.393846976993044</c:v>
                </c:pt>
                <c:pt idx="22084">
                  <c:v>0.39386481184233901</c:v>
                </c:pt>
                <c:pt idx="22085">
                  <c:v>0.39388264669163497</c:v>
                </c:pt>
                <c:pt idx="22086">
                  <c:v>0.39390048154093099</c:v>
                </c:pt>
                <c:pt idx="22087">
                  <c:v>0.39391831639022601</c:v>
                </c:pt>
                <c:pt idx="22088">
                  <c:v>0.39393615123952203</c:v>
                </c:pt>
                <c:pt idx="22089">
                  <c:v>0.39395398608881699</c:v>
                </c:pt>
                <c:pt idx="22090">
                  <c:v>0.393971820938113</c:v>
                </c:pt>
                <c:pt idx="22091">
                  <c:v>0.39398965578740802</c:v>
                </c:pt>
                <c:pt idx="22092">
                  <c:v>0.39400749063670398</c:v>
                </c:pt>
                <c:pt idx="22093">
                  <c:v>0.394025325485999</c:v>
                </c:pt>
                <c:pt idx="22094">
                  <c:v>0.39404316033529502</c:v>
                </c:pt>
                <c:pt idx="22095">
                  <c:v>0.39406099518458998</c:v>
                </c:pt>
                <c:pt idx="22096">
                  <c:v>0.394078830033886</c:v>
                </c:pt>
                <c:pt idx="22097">
                  <c:v>0.39409666488318101</c:v>
                </c:pt>
                <c:pt idx="22098">
                  <c:v>0.39411449973247697</c:v>
                </c:pt>
                <c:pt idx="22099">
                  <c:v>0.39413233458177199</c:v>
                </c:pt>
                <c:pt idx="22100">
                  <c:v>0.39415016943106801</c:v>
                </c:pt>
                <c:pt idx="22101">
                  <c:v>0.39416800428036303</c:v>
                </c:pt>
                <c:pt idx="22102">
                  <c:v>0.39418583912965899</c:v>
                </c:pt>
                <c:pt idx="22103">
                  <c:v>0.39420367397895401</c:v>
                </c:pt>
                <c:pt idx="22104">
                  <c:v>0.39422150882825002</c:v>
                </c:pt>
                <c:pt idx="22105">
                  <c:v>0.39423934367754498</c:v>
                </c:pt>
                <c:pt idx="22106">
                  <c:v>0.394257178526841</c:v>
                </c:pt>
                <c:pt idx="22107">
                  <c:v>0.39427501337613602</c:v>
                </c:pt>
                <c:pt idx="22108">
                  <c:v>0.39429284822543198</c:v>
                </c:pt>
                <c:pt idx="22109">
                  <c:v>0.394310683074728</c:v>
                </c:pt>
                <c:pt idx="22110">
                  <c:v>0.39432851792402301</c:v>
                </c:pt>
                <c:pt idx="22111">
                  <c:v>0.39434635277331898</c:v>
                </c:pt>
                <c:pt idx="22112">
                  <c:v>0.39436418762261399</c:v>
                </c:pt>
                <c:pt idx="22113">
                  <c:v>0.39438202247191001</c:v>
                </c:pt>
                <c:pt idx="22114">
                  <c:v>0.39439985732120503</c:v>
                </c:pt>
                <c:pt idx="22115">
                  <c:v>0.39441769217050099</c:v>
                </c:pt>
                <c:pt idx="22116">
                  <c:v>0.39443552701979601</c:v>
                </c:pt>
                <c:pt idx="22117">
                  <c:v>0.39445336186909202</c:v>
                </c:pt>
                <c:pt idx="22118">
                  <c:v>0.39447119671838698</c:v>
                </c:pt>
                <c:pt idx="22119">
                  <c:v>0.394489031567683</c:v>
                </c:pt>
                <c:pt idx="22120">
                  <c:v>0.39450686641697802</c:v>
                </c:pt>
                <c:pt idx="22121">
                  <c:v>0.39452470126627398</c:v>
                </c:pt>
                <c:pt idx="22122">
                  <c:v>0.394542536115569</c:v>
                </c:pt>
                <c:pt idx="22123">
                  <c:v>0.39456037096486501</c:v>
                </c:pt>
                <c:pt idx="22124">
                  <c:v>0.39457820581415998</c:v>
                </c:pt>
                <c:pt idx="22125">
                  <c:v>0.39459604066345599</c:v>
                </c:pt>
                <c:pt idx="22126">
                  <c:v>0.39461387551275101</c:v>
                </c:pt>
                <c:pt idx="22127">
                  <c:v>0.39463171036204697</c:v>
                </c:pt>
                <c:pt idx="22128">
                  <c:v>0.39464954521134299</c:v>
                </c:pt>
                <c:pt idx="22129">
                  <c:v>0.39466738006063801</c:v>
                </c:pt>
                <c:pt idx="22130">
                  <c:v>0.39468521490993402</c:v>
                </c:pt>
                <c:pt idx="22131">
                  <c:v>0.39470304975922899</c:v>
                </c:pt>
                <c:pt idx="22132">
                  <c:v>0.394720884608525</c:v>
                </c:pt>
                <c:pt idx="22133">
                  <c:v>0.39473871945782002</c:v>
                </c:pt>
                <c:pt idx="22134">
                  <c:v>0.39475655430711598</c:v>
                </c:pt>
                <c:pt idx="22135">
                  <c:v>0.394774389156411</c:v>
                </c:pt>
                <c:pt idx="22136">
                  <c:v>0.39479222400570702</c:v>
                </c:pt>
                <c:pt idx="22137">
                  <c:v>0.39481005885500198</c:v>
                </c:pt>
                <c:pt idx="22138">
                  <c:v>0.39482789370429799</c:v>
                </c:pt>
                <c:pt idx="22139">
                  <c:v>0.39484572855359301</c:v>
                </c:pt>
                <c:pt idx="22140">
                  <c:v>0.39486356340288897</c:v>
                </c:pt>
                <c:pt idx="22141">
                  <c:v>0.39488139825218399</c:v>
                </c:pt>
                <c:pt idx="22142">
                  <c:v>0.39489923310148001</c:v>
                </c:pt>
                <c:pt idx="22143">
                  <c:v>0.39491706795077502</c:v>
                </c:pt>
                <c:pt idx="22144">
                  <c:v>0.39493490280007099</c:v>
                </c:pt>
                <c:pt idx="22145">
                  <c:v>0.394952737649366</c:v>
                </c:pt>
                <c:pt idx="22146">
                  <c:v>0.39497057249866202</c:v>
                </c:pt>
                <c:pt idx="22147">
                  <c:v>0.39498840734795698</c:v>
                </c:pt>
                <c:pt idx="22148">
                  <c:v>0.395006242197253</c:v>
                </c:pt>
                <c:pt idx="22149">
                  <c:v>0.39502407704654802</c:v>
                </c:pt>
                <c:pt idx="22150">
                  <c:v>0.39504191189584398</c:v>
                </c:pt>
                <c:pt idx="22151">
                  <c:v>0.39505974674513999</c:v>
                </c:pt>
                <c:pt idx="22152">
                  <c:v>0.39507758159443501</c:v>
                </c:pt>
                <c:pt idx="22153">
                  <c:v>0.39509541644373097</c:v>
                </c:pt>
                <c:pt idx="22154">
                  <c:v>0.39511325129302599</c:v>
                </c:pt>
                <c:pt idx="22155">
                  <c:v>0.39513108614232201</c:v>
                </c:pt>
                <c:pt idx="22156">
                  <c:v>0.39514892099161703</c:v>
                </c:pt>
                <c:pt idx="22157">
                  <c:v>0.39516675584091299</c:v>
                </c:pt>
                <c:pt idx="22158">
                  <c:v>0.395184590690208</c:v>
                </c:pt>
                <c:pt idx="22159">
                  <c:v>0.39520242553950402</c:v>
                </c:pt>
                <c:pt idx="22160">
                  <c:v>0.39522026038879898</c:v>
                </c:pt>
                <c:pt idx="22161">
                  <c:v>0.395238095238095</c:v>
                </c:pt>
                <c:pt idx="22162">
                  <c:v>0.39525593008739002</c:v>
                </c:pt>
                <c:pt idx="22163">
                  <c:v>0.39527376493668598</c:v>
                </c:pt>
                <c:pt idx="22164">
                  <c:v>0.395291599785981</c:v>
                </c:pt>
                <c:pt idx="22165">
                  <c:v>0.39530943463527701</c:v>
                </c:pt>
                <c:pt idx="22166">
                  <c:v>0.39532726948457197</c:v>
                </c:pt>
                <c:pt idx="22167">
                  <c:v>0.39534510433386799</c:v>
                </c:pt>
                <c:pt idx="22168">
                  <c:v>0.39536293918316301</c:v>
                </c:pt>
                <c:pt idx="22169">
                  <c:v>0.39538077403245903</c:v>
                </c:pt>
                <c:pt idx="22170">
                  <c:v>0.39539860888175399</c:v>
                </c:pt>
                <c:pt idx="22171">
                  <c:v>0.39541644373105</c:v>
                </c:pt>
                <c:pt idx="22172">
                  <c:v>0.39543427858034602</c:v>
                </c:pt>
                <c:pt idx="22173">
                  <c:v>0.39545211342964098</c:v>
                </c:pt>
                <c:pt idx="22174">
                  <c:v>0.395469948278937</c:v>
                </c:pt>
                <c:pt idx="22175">
                  <c:v>0.39548778312823202</c:v>
                </c:pt>
                <c:pt idx="22176">
                  <c:v>0.39550561797752798</c:v>
                </c:pt>
                <c:pt idx="22177">
                  <c:v>0.395523452826823</c:v>
                </c:pt>
                <c:pt idx="22178">
                  <c:v>0.39554128767611901</c:v>
                </c:pt>
                <c:pt idx="22179">
                  <c:v>0.39555912252541398</c:v>
                </c:pt>
                <c:pt idx="22180">
                  <c:v>0.39557695737470999</c:v>
                </c:pt>
                <c:pt idx="22181">
                  <c:v>0.39559479222400501</c:v>
                </c:pt>
                <c:pt idx="22182">
                  <c:v>0.39561262707330103</c:v>
                </c:pt>
                <c:pt idx="22183">
                  <c:v>0.39563046192259599</c:v>
                </c:pt>
                <c:pt idx="22184">
                  <c:v>0.39564829677189201</c:v>
                </c:pt>
                <c:pt idx="22185">
                  <c:v>0.39566613162118702</c:v>
                </c:pt>
                <c:pt idx="22186">
                  <c:v>0.39568396647048298</c:v>
                </c:pt>
                <c:pt idx="22187">
                  <c:v>0.395701801319778</c:v>
                </c:pt>
                <c:pt idx="22188">
                  <c:v>0.39571963616907402</c:v>
                </c:pt>
                <c:pt idx="22189">
                  <c:v>0.39573747101836898</c:v>
                </c:pt>
                <c:pt idx="22190">
                  <c:v>0.395755305867665</c:v>
                </c:pt>
                <c:pt idx="22191">
                  <c:v>0.39577314071696001</c:v>
                </c:pt>
                <c:pt idx="22192">
                  <c:v>0.39579097556625598</c:v>
                </c:pt>
                <c:pt idx="22193">
                  <c:v>0.39580881041555199</c:v>
                </c:pt>
                <c:pt idx="22194">
                  <c:v>0.39582664526484701</c:v>
                </c:pt>
                <c:pt idx="22195">
                  <c:v>0.39584448011414303</c:v>
                </c:pt>
                <c:pt idx="22196">
                  <c:v>0.39586231496343799</c:v>
                </c:pt>
                <c:pt idx="22197">
                  <c:v>0.39588014981273401</c:v>
                </c:pt>
                <c:pt idx="22198">
                  <c:v>0.39589798466202902</c:v>
                </c:pt>
                <c:pt idx="22199">
                  <c:v>0.39591581951132498</c:v>
                </c:pt>
                <c:pt idx="22200">
                  <c:v>0.39593365436062</c:v>
                </c:pt>
                <c:pt idx="22201">
                  <c:v>0.39595148920991602</c:v>
                </c:pt>
                <c:pt idx="22202">
                  <c:v>0.39596932405921098</c:v>
                </c:pt>
                <c:pt idx="22203">
                  <c:v>0.395987158908507</c:v>
                </c:pt>
                <c:pt idx="22204">
                  <c:v>0.39600499375780202</c:v>
                </c:pt>
                <c:pt idx="22205">
                  <c:v>0.39602282860709798</c:v>
                </c:pt>
                <c:pt idx="22206">
                  <c:v>0.39604066345639299</c:v>
                </c:pt>
                <c:pt idx="22207">
                  <c:v>0.39605849830568901</c:v>
                </c:pt>
                <c:pt idx="22208">
                  <c:v>0.39607633315498397</c:v>
                </c:pt>
                <c:pt idx="22209">
                  <c:v>0.39609416800427999</c:v>
                </c:pt>
                <c:pt idx="22210">
                  <c:v>0.39611200285357501</c:v>
                </c:pt>
                <c:pt idx="22211">
                  <c:v>0.39612983770287102</c:v>
                </c:pt>
                <c:pt idx="22212">
                  <c:v>0.39614767255216599</c:v>
                </c:pt>
                <c:pt idx="22213">
                  <c:v>0.396165507401462</c:v>
                </c:pt>
                <c:pt idx="22214">
                  <c:v>0.39618334225075702</c:v>
                </c:pt>
                <c:pt idx="22215">
                  <c:v>0.39620117710005298</c:v>
                </c:pt>
                <c:pt idx="22216">
                  <c:v>0.396219011949349</c:v>
                </c:pt>
                <c:pt idx="22217">
                  <c:v>0.39623684679864402</c:v>
                </c:pt>
                <c:pt idx="22218">
                  <c:v>0.39625468164793998</c:v>
                </c:pt>
                <c:pt idx="22219">
                  <c:v>0.39627251649723499</c:v>
                </c:pt>
                <c:pt idx="22220">
                  <c:v>0.39629035134653101</c:v>
                </c:pt>
                <c:pt idx="22221">
                  <c:v>0.39630818619582597</c:v>
                </c:pt>
                <c:pt idx="22222">
                  <c:v>0.39632602104512199</c:v>
                </c:pt>
                <c:pt idx="22223">
                  <c:v>0.39634385589441701</c:v>
                </c:pt>
                <c:pt idx="22224">
                  <c:v>0.39636169074371302</c:v>
                </c:pt>
                <c:pt idx="22225">
                  <c:v>0.39637952559300799</c:v>
                </c:pt>
                <c:pt idx="22226">
                  <c:v>0.396397360442304</c:v>
                </c:pt>
                <c:pt idx="22227">
                  <c:v>0.39641519529159902</c:v>
                </c:pt>
                <c:pt idx="22228">
                  <c:v>0.39643303014089498</c:v>
                </c:pt>
                <c:pt idx="22229">
                  <c:v>0.39645086499019</c:v>
                </c:pt>
                <c:pt idx="22230">
                  <c:v>0.39646869983948602</c:v>
                </c:pt>
                <c:pt idx="22231">
                  <c:v>0.39648653468878098</c:v>
                </c:pt>
                <c:pt idx="22232">
                  <c:v>0.396504369538077</c:v>
                </c:pt>
                <c:pt idx="22233">
                  <c:v>0.39652220438737201</c:v>
                </c:pt>
                <c:pt idx="22234">
                  <c:v>0.39654003923666797</c:v>
                </c:pt>
                <c:pt idx="22235">
                  <c:v>0.39655787408596399</c:v>
                </c:pt>
                <c:pt idx="22236">
                  <c:v>0.39657570893525901</c:v>
                </c:pt>
                <c:pt idx="22237">
                  <c:v>0.39659354378455502</c:v>
                </c:pt>
                <c:pt idx="22238">
                  <c:v>0.39661137863384999</c:v>
                </c:pt>
                <c:pt idx="22239">
                  <c:v>0.396629213483146</c:v>
                </c:pt>
                <c:pt idx="22240">
                  <c:v>0.39664704833244102</c:v>
                </c:pt>
                <c:pt idx="22241">
                  <c:v>0.39666488318173698</c:v>
                </c:pt>
                <c:pt idx="22242">
                  <c:v>0.396682718031032</c:v>
                </c:pt>
                <c:pt idx="22243">
                  <c:v>0.39670055288032802</c:v>
                </c:pt>
                <c:pt idx="22244">
                  <c:v>0.39671838772962298</c:v>
                </c:pt>
                <c:pt idx="22245">
                  <c:v>0.396736222578919</c:v>
                </c:pt>
                <c:pt idx="22246">
                  <c:v>0.39675405742821401</c:v>
                </c:pt>
                <c:pt idx="22247">
                  <c:v>0.39677189227750997</c:v>
                </c:pt>
                <c:pt idx="22248">
                  <c:v>0.39678972712680499</c:v>
                </c:pt>
                <c:pt idx="22249">
                  <c:v>0.39680756197610101</c:v>
                </c:pt>
                <c:pt idx="22250">
                  <c:v>0.39682539682539603</c:v>
                </c:pt>
                <c:pt idx="22251">
                  <c:v>0.39684323167469199</c:v>
                </c:pt>
                <c:pt idx="22252">
                  <c:v>0.39686106652398701</c:v>
                </c:pt>
                <c:pt idx="22253">
                  <c:v>0.39687890137328302</c:v>
                </c:pt>
                <c:pt idx="22254">
                  <c:v>0.39689673622257798</c:v>
                </c:pt>
                <c:pt idx="22255">
                  <c:v>0.396914571071874</c:v>
                </c:pt>
                <c:pt idx="22256">
                  <c:v>0.39693240592116902</c:v>
                </c:pt>
                <c:pt idx="22257">
                  <c:v>0.39695024077046498</c:v>
                </c:pt>
                <c:pt idx="22258">
                  <c:v>0.396968075619761</c:v>
                </c:pt>
                <c:pt idx="22259">
                  <c:v>0.39698591046905601</c:v>
                </c:pt>
                <c:pt idx="22260">
                  <c:v>0.39700374531835197</c:v>
                </c:pt>
                <c:pt idx="22261">
                  <c:v>0.39702158016764699</c:v>
                </c:pt>
                <c:pt idx="22262">
                  <c:v>0.39703941501694301</c:v>
                </c:pt>
                <c:pt idx="22263">
                  <c:v>0.39705724986623803</c:v>
                </c:pt>
                <c:pt idx="22264">
                  <c:v>0.39707508471553399</c:v>
                </c:pt>
                <c:pt idx="22265">
                  <c:v>0.39709291956482901</c:v>
                </c:pt>
                <c:pt idx="22266">
                  <c:v>0.39711075441412502</c:v>
                </c:pt>
                <c:pt idx="22267">
                  <c:v>0.39712858926341998</c:v>
                </c:pt>
                <c:pt idx="22268">
                  <c:v>0.397146424112716</c:v>
                </c:pt>
                <c:pt idx="22269">
                  <c:v>0.39716425896201102</c:v>
                </c:pt>
                <c:pt idx="22270">
                  <c:v>0.39718209381130698</c:v>
                </c:pt>
                <c:pt idx="22271">
                  <c:v>0.397199928660602</c:v>
                </c:pt>
                <c:pt idx="22272">
                  <c:v>0.39721776350989801</c:v>
                </c:pt>
                <c:pt idx="22273">
                  <c:v>0.39723559835919298</c:v>
                </c:pt>
                <c:pt idx="22274">
                  <c:v>0.39725343320848899</c:v>
                </c:pt>
                <c:pt idx="22275">
                  <c:v>0.39727126805778401</c:v>
                </c:pt>
                <c:pt idx="22276">
                  <c:v>0.39728910290708003</c:v>
                </c:pt>
                <c:pt idx="22277">
                  <c:v>0.39730693775637499</c:v>
                </c:pt>
                <c:pt idx="22278">
                  <c:v>0.39732477260567101</c:v>
                </c:pt>
                <c:pt idx="22279">
                  <c:v>0.39734260745496702</c:v>
                </c:pt>
                <c:pt idx="22280">
                  <c:v>0.39736044230426198</c:v>
                </c:pt>
                <c:pt idx="22281">
                  <c:v>0.397378277153558</c:v>
                </c:pt>
                <c:pt idx="22282">
                  <c:v>0.39739611200285302</c:v>
                </c:pt>
                <c:pt idx="22283">
                  <c:v>0.39741394685214898</c:v>
                </c:pt>
                <c:pt idx="22284">
                  <c:v>0.397431781701444</c:v>
                </c:pt>
                <c:pt idx="22285">
                  <c:v>0.39744961655074001</c:v>
                </c:pt>
                <c:pt idx="22286">
                  <c:v>0.39746745140003498</c:v>
                </c:pt>
                <c:pt idx="22287">
                  <c:v>0.39748528624933099</c:v>
                </c:pt>
                <c:pt idx="22288">
                  <c:v>0.39750312109862601</c:v>
                </c:pt>
                <c:pt idx="22289">
                  <c:v>0.39752095594792197</c:v>
                </c:pt>
                <c:pt idx="22290">
                  <c:v>0.39753879079721699</c:v>
                </c:pt>
                <c:pt idx="22291">
                  <c:v>0.39755662564651301</c:v>
                </c:pt>
                <c:pt idx="22292">
                  <c:v>0.39757446049580802</c:v>
                </c:pt>
                <c:pt idx="22293">
                  <c:v>0.39759229534510399</c:v>
                </c:pt>
                <c:pt idx="22294">
                  <c:v>0.397610130194399</c:v>
                </c:pt>
                <c:pt idx="22295">
                  <c:v>0.39762796504369502</c:v>
                </c:pt>
                <c:pt idx="22296">
                  <c:v>0.39764579989298998</c:v>
                </c:pt>
                <c:pt idx="22297">
                  <c:v>0.397663634742286</c:v>
                </c:pt>
                <c:pt idx="22298">
                  <c:v>0.39768146959158102</c:v>
                </c:pt>
                <c:pt idx="22299">
                  <c:v>0.39769930444087698</c:v>
                </c:pt>
                <c:pt idx="22300">
                  <c:v>0.39771713929017299</c:v>
                </c:pt>
                <c:pt idx="22301">
                  <c:v>0.39773497413946801</c:v>
                </c:pt>
                <c:pt idx="22302">
                  <c:v>0.39775280898876397</c:v>
                </c:pt>
                <c:pt idx="22303">
                  <c:v>0.39777064383805899</c:v>
                </c:pt>
                <c:pt idx="22304">
                  <c:v>0.39778847868735501</c:v>
                </c:pt>
                <c:pt idx="22305">
                  <c:v>0.39780631353665002</c:v>
                </c:pt>
                <c:pt idx="22306">
                  <c:v>0.39782414838594599</c:v>
                </c:pt>
                <c:pt idx="22307">
                  <c:v>0.397841983235241</c:v>
                </c:pt>
                <c:pt idx="22308">
                  <c:v>0.39785981808453702</c:v>
                </c:pt>
                <c:pt idx="22309">
                  <c:v>0.39787765293383198</c:v>
                </c:pt>
                <c:pt idx="22310">
                  <c:v>0.397895487783128</c:v>
                </c:pt>
                <c:pt idx="22311">
                  <c:v>0.39791332263242302</c:v>
                </c:pt>
                <c:pt idx="22312">
                  <c:v>0.39793115748171898</c:v>
                </c:pt>
                <c:pt idx="22313">
                  <c:v>0.397948992331014</c:v>
                </c:pt>
                <c:pt idx="22314">
                  <c:v>0.39796682718031001</c:v>
                </c:pt>
                <c:pt idx="22315">
                  <c:v>0.39798466202960497</c:v>
                </c:pt>
                <c:pt idx="22316">
                  <c:v>0.39800249687890099</c:v>
                </c:pt>
                <c:pt idx="22317">
                  <c:v>0.39802033172819601</c:v>
                </c:pt>
                <c:pt idx="22318">
                  <c:v>0.39803816657749203</c:v>
                </c:pt>
                <c:pt idx="22319">
                  <c:v>0.39805600142678699</c:v>
                </c:pt>
                <c:pt idx="22320">
                  <c:v>0.398073836276083</c:v>
                </c:pt>
                <c:pt idx="22321">
                  <c:v>0.39809167112537802</c:v>
                </c:pt>
                <c:pt idx="22322">
                  <c:v>0.39810950597467398</c:v>
                </c:pt>
                <c:pt idx="22323">
                  <c:v>0.39812734082397</c:v>
                </c:pt>
                <c:pt idx="22324">
                  <c:v>0.39814517567326502</c:v>
                </c:pt>
                <c:pt idx="22325">
                  <c:v>0.39816301052256098</c:v>
                </c:pt>
                <c:pt idx="22326">
                  <c:v>0.398180845371856</c:v>
                </c:pt>
                <c:pt idx="22327">
                  <c:v>0.39819868022115201</c:v>
                </c:pt>
                <c:pt idx="22328">
                  <c:v>0.39821651507044697</c:v>
                </c:pt>
                <c:pt idx="22329">
                  <c:v>0.39823434991974299</c:v>
                </c:pt>
                <c:pt idx="22330">
                  <c:v>0.39825218476903801</c:v>
                </c:pt>
                <c:pt idx="22331">
                  <c:v>0.39827001961833403</c:v>
                </c:pt>
                <c:pt idx="22332">
                  <c:v>0.39828785446762899</c:v>
                </c:pt>
                <c:pt idx="22333">
                  <c:v>0.398305689316925</c:v>
                </c:pt>
                <c:pt idx="22334">
                  <c:v>0.39832352416622002</c:v>
                </c:pt>
                <c:pt idx="22335">
                  <c:v>0.39834135901551598</c:v>
                </c:pt>
                <c:pt idx="22336">
                  <c:v>0.398359193864811</c:v>
                </c:pt>
                <c:pt idx="22337">
                  <c:v>0.39837702871410702</c:v>
                </c:pt>
                <c:pt idx="22338">
                  <c:v>0.39839486356340198</c:v>
                </c:pt>
                <c:pt idx="22339">
                  <c:v>0.398412698412698</c:v>
                </c:pt>
                <c:pt idx="22340">
                  <c:v>0.39843053326199301</c:v>
                </c:pt>
                <c:pt idx="22341">
                  <c:v>0.39844836811128898</c:v>
                </c:pt>
                <c:pt idx="22342">
                  <c:v>0.39846620296058499</c:v>
                </c:pt>
                <c:pt idx="22343">
                  <c:v>0.39848403780988001</c:v>
                </c:pt>
                <c:pt idx="22344">
                  <c:v>0.39850187265917603</c:v>
                </c:pt>
                <c:pt idx="22345">
                  <c:v>0.39851970750847099</c:v>
                </c:pt>
                <c:pt idx="22346">
                  <c:v>0.39853754235776701</c:v>
                </c:pt>
                <c:pt idx="22347">
                  <c:v>0.39855537720706202</c:v>
                </c:pt>
                <c:pt idx="22348">
                  <c:v>0.39857321205635798</c:v>
                </c:pt>
                <c:pt idx="22349">
                  <c:v>0.398591046905653</c:v>
                </c:pt>
                <c:pt idx="22350">
                  <c:v>0.39860888175494902</c:v>
                </c:pt>
                <c:pt idx="22351">
                  <c:v>0.39862671660424398</c:v>
                </c:pt>
                <c:pt idx="22352">
                  <c:v>0.39864455145354</c:v>
                </c:pt>
                <c:pt idx="22353">
                  <c:v>0.39866238630283501</c:v>
                </c:pt>
                <c:pt idx="22354">
                  <c:v>0.39868022115213098</c:v>
                </c:pt>
                <c:pt idx="22355">
                  <c:v>0.39869805600142599</c:v>
                </c:pt>
                <c:pt idx="22356">
                  <c:v>0.39871589085072201</c:v>
                </c:pt>
                <c:pt idx="22357">
                  <c:v>0.39873372570001703</c:v>
                </c:pt>
                <c:pt idx="22358">
                  <c:v>0.39875156054931299</c:v>
                </c:pt>
                <c:pt idx="22359">
                  <c:v>0.39876939539860801</c:v>
                </c:pt>
                <c:pt idx="22360">
                  <c:v>0.39878723024790402</c:v>
                </c:pt>
                <c:pt idx="22361">
                  <c:v>0.39880506509719899</c:v>
                </c:pt>
                <c:pt idx="22362">
                  <c:v>0.398822899946495</c:v>
                </c:pt>
                <c:pt idx="22363">
                  <c:v>0.39884073479579002</c:v>
                </c:pt>
                <c:pt idx="22364">
                  <c:v>0.39885856964508598</c:v>
                </c:pt>
                <c:pt idx="22365">
                  <c:v>0.398876404494382</c:v>
                </c:pt>
                <c:pt idx="22366">
                  <c:v>0.39889423934367702</c:v>
                </c:pt>
                <c:pt idx="22367">
                  <c:v>0.39891207419297298</c:v>
                </c:pt>
                <c:pt idx="22368">
                  <c:v>0.39892990904226799</c:v>
                </c:pt>
                <c:pt idx="22369">
                  <c:v>0.39894774389156401</c:v>
                </c:pt>
                <c:pt idx="22370">
                  <c:v>0.39896557874085897</c:v>
                </c:pt>
                <c:pt idx="22371">
                  <c:v>0.39898341359015499</c:v>
                </c:pt>
                <c:pt idx="22372">
                  <c:v>0.39900124843945001</c:v>
                </c:pt>
                <c:pt idx="22373">
                  <c:v>0.39901908328874602</c:v>
                </c:pt>
                <c:pt idx="22374">
                  <c:v>0.39903691813804099</c:v>
                </c:pt>
                <c:pt idx="22375">
                  <c:v>0.399054752987337</c:v>
                </c:pt>
                <c:pt idx="22376">
                  <c:v>0.39907258783663202</c:v>
                </c:pt>
                <c:pt idx="22377">
                  <c:v>0.39909042268592798</c:v>
                </c:pt>
                <c:pt idx="22378">
                  <c:v>0.399108257535223</c:v>
                </c:pt>
                <c:pt idx="22379">
                  <c:v>0.39912609238451902</c:v>
                </c:pt>
                <c:pt idx="22380">
                  <c:v>0.39914392723381398</c:v>
                </c:pt>
                <c:pt idx="22381">
                  <c:v>0.39916176208310999</c:v>
                </c:pt>
                <c:pt idx="22382">
                  <c:v>0.39917959693240501</c:v>
                </c:pt>
                <c:pt idx="22383">
                  <c:v>0.39919743178170097</c:v>
                </c:pt>
                <c:pt idx="22384">
                  <c:v>0.39921526663099699</c:v>
                </c:pt>
                <c:pt idx="22385">
                  <c:v>0.39923310148029201</c:v>
                </c:pt>
                <c:pt idx="22386">
                  <c:v>0.39925093632958802</c:v>
                </c:pt>
                <c:pt idx="22387">
                  <c:v>0.39926877117888299</c:v>
                </c:pt>
                <c:pt idx="22388">
                  <c:v>0.399286606028179</c:v>
                </c:pt>
                <c:pt idx="22389">
                  <c:v>0.39930444087747402</c:v>
                </c:pt>
                <c:pt idx="22390">
                  <c:v>0.39932227572676998</c:v>
                </c:pt>
                <c:pt idx="22391">
                  <c:v>0.399340110576065</c:v>
                </c:pt>
                <c:pt idx="22392">
                  <c:v>0.39935794542536102</c:v>
                </c:pt>
                <c:pt idx="22393">
                  <c:v>0.39937578027465598</c:v>
                </c:pt>
                <c:pt idx="22394">
                  <c:v>0.39939361512395199</c:v>
                </c:pt>
                <c:pt idx="22395">
                  <c:v>0.39941144997324701</c:v>
                </c:pt>
                <c:pt idx="22396">
                  <c:v>0.39942928482254297</c:v>
                </c:pt>
                <c:pt idx="22397">
                  <c:v>0.39944711967183799</c:v>
                </c:pt>
                <c:pt idx="22398">
                  <c:v>0.39946495452113401</c:v>
                </c:pt>
                <c:pt idx="22399">
                  <c:v>0.39948278937042903</c:v>
                </c:pt>
                <c:pt idx="22400">
                  <c:v>0.39950062421972499</c:v>
                </c:pt>
                <c:pt idx="22401">
                  <c:v>0.39951845906902</c:v>
                </c:pt>
                <c:pt idx="22402">
                  <c:v>0.39953629391831602</c:v>
                </c:pt>
                <c:pt idx="22403">
                  <c:v>0.39955412876761098</c:v>
                </c:pt>
                <c:pt idx="22404">
                  <c:v>0.399571963616907</c:v>
                </c:pt>
                <c:pt idx="22405">
                  <c:v>0.39958979846620202</c:v>
                </c:pt>
                <c:pt idx="22406">
                  <c:v>0.39960763331549798</c:v>
                </c:pt>
                <c:pt idx="22407">
                  <c:v>0.399625468164794</c:v>
                </c:pt>
                <c:pt idx="22408">
                  <c:v>0.39964330301408901</c:v>
                </c:pt>
                <c:pt idx="22409">
                  <c:v>0.39966113786338497</c:v>
                </c:pt>
                <c:pt idx="22410">
                  <c:v>0.39967897271267999</c:v>
                </c:pt>
                <c:pt idx="22411">
                  <c:v>0.39969680756197601</c:v>
                </c:pt>
                <c:pt idx="22412">
                  <c:v>0.39971464241127103</c:v>
                </c:pt>
                <c:pt idx="22413">
                  <c:v>0.39973247726056699</c:v>
                </c:pt>
                <c:pt idx="22414">
                  <c:v>0.399750312109862</c:v>
                </c:pt>
                <c:pt idx="22415">
                  <c:v>0.39976814695915802</c:v>
                </c:pt>
                <c:pt idx="22416">
                  <c:v>0.39978598180845298</c:v>
                </c:pt>
                <c:pt idx="22417">
                  <c:v>0.399803816657749</c:v>
                </c:pt>
                <c:pt idx="22418">
                  <c:v>0.39982165150704402</c:v>
                </c:pt>
                <c:pt idx="22419">
                  <c:v>0.39983948635633998</c:v>
                </c:pt>
                <c:pt idx="22420">
                  <c:v>0.399857321205635</c:v>
                </c:pt>
                <c:pt idx="22421">
                  <c:v>0.39987515605493101</c:v>
                </c:pt>
                <c:pt idx="22422">
                  <c:v>0.39989299090422598</c:v>
                </c:pt>
                <c:pt idx="22423">
                  <c:v>0.39991082575352199</c:v>
                </c:pt>
                <c:pt idx="22424">
                  <c:v>0.39992866060281701</c:v>
                </c:pt>
                <c:pt idx="22425">
                  <c:v>0.39994649545211303</c:v>
                </c:pt>
                <c:pt idx="22426">
                  <c:v>0.39996433030140799</c:v>
                </c:pt>
                <c:pt idx="22427">
                  <c:v>0.39998216515070401</c:v>
                </c:pt>
                <c:pt idx="22428">
                  <c:v>0.4</c:v>
                </c:pt>
                <c:pt idx="22429">
                  <c:v>0.40001783484929498</c:v>
                </c:pt>
                <c:pt idx="22430">
                  <c:v>0.400035669698591</c:v>
                </c:pt>
                <c:pt idx="22431">
                  <c:v>0.40005350454788602</c:v>
                </c:pt>
                <c:pt idx="22432">
                  <c:v>0.40007133939718198</c:v>
                </c:pt>
                <c:pt idx="22433">
                  <c:v>0.400089174246477</c:v>
                </c:pt>
                <c:pt idx="22434">
                  <c:v>0.40010700909577301</c:v>
                </c:pt>
                <c:pt idx="22435">
                  <c:v>0.40012484394506798</c:v>
                </c:pt>
                <c:pt idx="22436">
                  <c:v>0.40014267879436399</c:v>
                </c:pt>
                <c:pt idx="22437">
                  <c:v>0.40016051364365901</c:v>
                </c:pt>
                <c:pt idx="22438">
                  <c:v>0.40017834849295503</c:v>
                </c:pt>
                <c:pt idx="22439">
                  <c:v>0.40019618334224999</c:v>
                </c:pt>
                <c:pt idx="22440">
                  <c:v>0.40021401819154601</c:v>
                </c:pt>
                <c:pt idx="22441">
                  <c:v>0.40023185304084102</c:v>
                </c:pt>
                <c:pt idx="22442">
                  <c:v>0.40024968789013698</c:v>
                </c:pt>
                <c:pt idx="22443">
                  <c:v>0.400267522739432</c:v>
                </c:pt>
                <c:pt idx="22444">
                  <c:v>0.40028535758872802</c:v>
                </c:pt>
                <c:pt idx="22445">
                  <c:v>0.40030319243802298</c:v>
                </c:pt>
                <c:pt idx="22446">
                  <c:v>0.400321027287319</c:v>
                </c:pt>
                <c:pt idx="22447">
                  <c:v>0.40033886213661402</c:v>
                </c:pt>
                <c:pt idx="22448">
                  <c:v>0.40035669698590998</c:v>
                </c:pt>
                <c:pt idx="22449">
                  <c:v>0.40037453183520599</c:v>
                </c:pt>
                <c:pt idx="22450">
                  <c:v>0.40039236668450101</c:v>
                </c:pt>
                <c:pt idx="22451">
                  <c:v>0.40041020153379703</c:v>
                </c:pt>
                <c:pt idx="22452">
                  <c:v>0.40042803638309199</c:v>
                </c:pt>
                <c:pt idx="22453">
                  <c:v>0.40044587123238801</c:v>
                </c:pt>
                <c:pt idx="22454">
                  <c:v>0.40046370608168302</c:v>
                </c:pt>
                <c:pt idx="22455">
                  <c:v>0.40048154093097899</c:v>
                </c:pt>
                <c:pt idx="22456">
                  <c:v>0.400499375780274</c:v>
                </c:pt>
                <c:pt idx="22457">
                  <c:v>0.40051721062957002</c:v>
                </c:pt>
                <c:pt idx="22458">
                  <c:v>0.40053504547886498</c:v>
                </c:pt>
                <c:pt idx="22459">
                  <c:v>0.400552880328161</c:v>
                </c:pt>
                <c:pt idx="22460">
                  <c:v>0.40057071517745602</c:v>
                </c:pt>
                <c:pt idx="22461">
                  <c:v>0.40058855002675198</c:v>
                </c:pt>
                <c:pt idx="22462">
                  <c:v>0.40060638487604699</c:v>
                </c:pt>
                <c:pt idx="22463">
                  <c:v>0.40062421972534301</c:v>
                </c:pt>
                <c:pt idx="22464">
                  <c:v>0.40064205457463797</c:v>
                </c:pt>
                <c:pt idx="22465">
                  <c:v>0.40065988942393399</c:v>
                </c:pt>
                <c:pt idx="22466">
                  <c:v>0.40067772427322901</c:v>
                </c:pt>
                <c:pt idx="22467">
                  <c:v>0.40069555912252502</c:v>
                </c:pt>
                <c:pt idx="22468">
                  <c:v>0.40071339397181999</c:v>
                </c:pt>
                <c:pt idx="22469">
                  <c:v>0.400731228821116</c:v>
                </c:pt>
                <c:pt idx="22470">
                  <c:v>0.40074906367041102</c:v>
                </c:pt>
                <c:pt idx="22471">
                  <c:v>0.40076689851970698</c:v>
                </c:pt>
                <c:pt idx="22472">
                  <c:v>0.400784733369003</c:v>
                </c:pt>
                <c:pt idx="22473">
                  <c:v>0.40080256821829802</c:v>
                </c:pt>
                <c:pt idx="22474">
                  <c:v>0.40082040306759398</c:v>
                </c:pt>
                <c:pt idx="22475">
                  <c:v>0.400838237916889</c:v>
                </c:pt>
                <c:pt idx="22476">
                  <c:v>0.40085607276618501</c:v>
                </c:pt>
                <c:pt idx="22477">
                  <c:v>0.40087390761547997</c:v>
                </c:pt>
                <c:pt idx="22478">
                  <c:v>0.40089174246477599</c:v>
                </c:pt>
                <c:pt idx="22479">
                  <c:v>0.40090957731407101</c:v>
                </c:pt>
                <c:pt idx="22480">
                  <c:v>0.40092741216336703</c:v>
                </c:pt>
                <c:pt idx="22481">
                  <c:v>0.40094524701266199</c:v>
                </c:pt>
                <c:pt idx="22482">
                  <c:v>0.400963081861958</c:v>
                </c:pt>
                <c:pt idx="22483">
                  <c:v>0.40098091671125302</c:v>
                </c:pt>
                <c:pt idx="22484">
                  <c:v>0.40099875156054898</c:v>
                </c:pt>
                <c:pt idx="22485">
                  <c:v>0.401016586409844</c:v>
                </c:pt>
                <c:pt idx="22486">
                  <c:v>0.40103442125914002</c:v>
                </c:pt>
                <c:pt idx="22487">
                  <c:v>0.40105225610843498</c:v>
                </c:pt>
                <c:pt idx="22488">
                  <c:v>0.401070090957731</c:v>
                </c:pt>
                <c:pt idx="22489">
                  <c:v>0.40108792580702601</c:v>
                </c:pt>
                <c:pt idx="22490">
                  <c:v>0.40110576065632197</c:v>
                </c:pt>
                <c:pt idx="22491">
                  <c:v>0.40112359550561799</c:v>
                </c:pt>
                <c:pt idx="22492">
                  <c:v>0.40114143035491301</c:v>
                </c:pt>
                <c:pt idx="22493">
                  <c:v>0.40115926520420903</c:v>
                </c:pt>
                <c:pt idx="22494">
                  <c:v>0.40117710005350399</c:v>
                </c:pt>
                <c:pt idx="22495">
                  <c:v>0.4011949349028</c:v>
                </c:pt>
                <c:pt idx="22496">
                  <c:v>0.40121276975209502</c:v>
                </c:pt>
                <c:pt idx="22497">
                  <c:v>0.40123060460139098</c:v>
                </c:pt>
                <c:pt idx="22498">
                  <c:v>0.401248439450686</c:v>
                </c:pt>
                <c:pt idx="22499">
                  <c:v>0.40126627429998202</c:v>
                </c:pt>
                <c:pt idx="22500">
                  <c:v>0.40128410914927698</c:v>
                </c:pt>
                <c:pt idx="22501">
                  <c:v>0.401301943998573</c:v>
                </c:pt>
                <c:pt idx="22502">
                  <c:v>0.40131977884786801</c:v>
                </c:pt>
                <c:pt idx="22503">
                  <c:v>0.40133761369716398</c:v>
                </c:pt>
                <c:pt idx="22504">
                  <c:v>0.40135544854645899</c:v>
                </c:pt>
                <c:pt idx="22505">
                  <c:v>0.40137328339575501</c:v>
                </c:pt>
                <c:pt idx="22506">
                  <c:v>0.40139111824505003</c:v>
                </c:pt>
                <c:pt idx="22507">
                  <c:v>0.40140895309434599</c:v>
                </c:pt>
                <c:pt idx="22508">
                  <c:v>0.40142678794364101</c:v>
                </c:pt>
                <c:pt idx="22509">
                  <c:v>0.40144462279293702</c:v>
                </c:pt>
                <c:pt idx="22510">
                  <c:v>0.40146245764223198</c:v>
                </c:pt>
                <c:pt idx="22511">
                  <c:v>0.401480292491528</c:v>
                </c:pt>
                <c:pt idx="22512">
                  <c:v>0.40149812734082302</c:v>
                </c:pt>
                <c:pt idx="22513">
                  <c:v>0.40151596219011898</c:v>
                </c:pt>
                <c:pt idx="22514">
                  <c:v>0.401533797039415</c:v>
                </c:pt>
                <c:pt idx="22515">
                  <c:v>0.40155163188871001</c:v>
                </c:pt>
                <c:pt idx="22516">
                  <c:v>0.40156946673800598</c:v>
                </c:pt>
                <c:pt idx="22517">
                  <c:v>0.40158730158730099</c:v>
                </c:pt>
                <c:pt idx="22518">
                  <c:v>0.40160513643659701</c:v>
                </c:pt>
                <c:pt idx="22519">
                  <c:v>0.40162297128589203</c:v>
                </c:pt>
                <c:pt idx="22520">
                  <c:v>0.40164080613518799</c:v>
                </c:pt>
                <c:pt idx="22521">
                  <c:v>0.40165864098448301</c:v>
                </c:pt>
                <c:pt idx="22522">
                  <c:v>0.40167647583377902</c:v>
                </c:pt>
                <c:pt idx="22523">
                  <c:v>0.40169431068307399</c:v>
                </c:pt>
                <c:pt idx="22524">
                  <c:v>0.40171214553237</c:v>
                </c:pt>
                <c:pt idx="22525">
                  <c:v>0.40172998038166502</c:v>
                </c:pt>
                <c:pt idx="22526">
                  <c:v>0.40174781523096098</c:v>
                </c:pt>
                <c:pt idx="22527">
                  <c:v>0.401765650080256</c:v>
                </c:pt>
                <c:pt idx="22528">
                  <c:v>0.40178348492955201</c:v>
                </c:pt>
                <c:pt idx="22529">
                  <c:v>0.40180131977884698</c:v>
                </c:pt>
                <c:pt idx="22530">
                  <c:v>0.40181915462814299</c:v>
                </c:pt>
                <c:pt idx="22531">
                  <c:v>0.40183698947743801</c:v>
                </c:pt>
                <c:pt idx="22532">
                  <c:v>0.40185482432673397</c:v>
                </c:pt>
                <c:pt idx="22533">
                  <c:v>0.40187265917602999</c:v>
                </c:pt>
                <c:pt idx="22534">
                  <c:v>0.40189049402532501</c:v>
                </c:pt>
                <c:pt idx="22535">
                  <c:v>0.40190832887462102</c:v>
                </c:pt>
                <c:pt idx="22536">
                  <c:v>0.40192616372391599</c:v>
                </c:pt>
                <c:pt idx="22537">
                  <c:v>0.401943998573212</c:v>
                </c:pt>
                <c:pt idx="22538">
                  <c:v>0.40196183342250702</c:v>
                </c:pt>
                <c:pt idx="22539">
                  <c:v>0.40197966827180298</c:v>
                </c:pt>
                <c:pt idx="22540">
                  <c:v>0.401997503121098</c:v>
                </c:pt>
                <c:pt idx="22541">
                  <c:v>0.40201533797039402</c:v>
                </c:pt>
                <c:pt idx="22542">
                  <c:v>0.40203317281968898</c:v>
                </c:pt>
                <c:pt idx="22543">
                  <c:v>0.40205100766898499</c:v>
                </c:pt>
                <c:pt idx="22544">
                  <c:v>0.40206884251828001</c:v>
                </c:pt>
                <c:pt idx="22545">
                  <c:v>0.40208667736757597</c:v>
                </c:pt>
                <c:pt idx="22546">
                  <c:v>0.40210451221687099</c:v>
                </c:pt>
                <c:pt idx="22547">
                  <c:v>0.40212234706616701</c:v>
                </c:pt>
                <c:pt idx="22548">
                  <c:v>0.40214018191546202</c:v>
                </c:pt>
                <c:pt idx="22549">
                  <c:v>0.40215801676475799</c:v>
                </c:pt>
                <c:pt idx="22550">
                  <c:v>0.402175851614053</c:v>
                </c:pt>
                <c:pt idx="22551">
                  <c:v>0.40219368646334902</c:v>
                </c:pt>
                <c:pt idx="22552">
                  <c:v>0.40221152131264398</c:v>
                </c:pt>
                <c:pt idx="22553">
                  <c:v>0.40222935616194</c:v>
                </c:pt>
                <c:pt idx="22554">
                  <c:v>0.40224719101123502</c:v>
                </c:pt>
                <c:pt idx="22555">
                  <c:v>0.40226502586053098</c:v>
                </c:pt>
                <c:pt idx="22556">
                  <c:v>0.40228286070982699</c:v>
                </c:pt>
                <c:pt idx="22557">
                  <c:v>0.40230069555912201</c:v>
                </c:pt>
                <c:pt idx="22558">
                  <c:v>0.40231853040841797</c:v>
                </c:pt>
                <c:pt idx="22559">
                  <c:v>0.40233636525771299</c:v>
                </c:pt>
                <c:pt idx="22560">
                  <c:v>0.40235420010700901</c:v>
                </c:pt>
                <c:pt idx="22561">
                  <c:v>0.40237203495630403</c:v>
                </c:pt>
                <c:pt idx="22562">
                  <c:v>0.40238986980559999</c:v>
                </c:pt>
                <c:pt idx="22563">
                  <c:v>0.402407704654895</c:v>
                </c:pt>
                <c:pt idx="22564">
                  <c:v>0.40242553950419102</c:v>
                </c:pt>
                <c:pt idx="22565">
                  <c:v>0.40244337435348598</c:v>
                </c:pt>
                <c:pt idx="22566">
                  <c:v>0.402461209202782</c:v>
                </c:pt>
                <c:pt idx="22567">
                  <c:v>0.40247904405207702</c:v>
                </c:pt>
                <c:pt idx="22568">
                  <c:v>0.40249687890137298</c:v>
                </c:pt>
                <c:pt idx="22569">
                  <c:v>0.402514713750668</c:v>
                </c:pt>
                <c:pt idx="22570">
                  <c:v>0.40253254859996401</c:v>
                </c:pt>
                <c:pt idx="22571">
                  <c:v>0.40255038344925897</c:v>
                </c:pt>
                <c:pt idx="22572">
                  <c:v>0.40256821829855499</c:v>
                </c:pt>
                <c:pt idx="22573">
                  <c:v>0.40258605314785001</c:v>
                </c:pt>
                <c:pt idx="22574">
                  <c:v>0.40260388799714603</c:v>
                </c:pt>
                <c:pt idx="22575">
                  <c:v>0.40262172284644099</c:v>
                </c:pt>
                <c:pt idx="22576">
                  <c:v>0.402639557695737</c:v>
                </c:pt>
                <c:pt idx="22577">
                  <c:v>0.40265739254503302</c:v>
                </c:pt>
                <c:pt idx="22578">
                  <c:v>0.40267522739432798</c:v>
                </c:pt>
                <c:pt idx="22579">
                  <c:v>0.402693062243624</c:v>
                </c:pt>
                <c:pt idx="22580">
                  <c:v>0.40271089709291902</c:v>
                </c:pt>
                <c:pt idx="22581">
                  <c:v>0.40272873194221498</c:v>
                </c:pt>
                <c:pt idx="22582">
                  <c:v>0.40274656679151</c:v>
                </c:pt>
                <c:pt idx="22583">
                  <c:v>0.40276440164080601</c:v>
                </c:pt>
                <c:pt idx="22584">
                  <c:v>0.40278223649010098</c:v>
                </c:pt>
                <c:pt idx="22585">
                  <c:v>0.40280007133939699</c:v>
                </c:pt>
                <c:pt idx="22586">
                  <c:v>0.40281790618869201</c:v>
                </c:pt>
                <c:pt idx="22587">
                  <c:v>0.40283574103798803</c:v>
                </c:pt>
                <c:pt idx="22588">
                  <c:v>0.40285357588728299</c:v>
                </c:pt>
                <c:pt idx="22589">
                  <c:v>0.40287141073657901</c:v>
                </c:pt>
                <c:pt idx="22590">
                  <c:v>0.40288924558587402</c:v>
                </c:pt>
                <c:pt idx="22591">
                  <c:v>0.40290708043516998</c:v>
                </c:pt>
                <c:pt idx="22592">
                  <c:v>0.402924915284465</c:v>
                </c:pt>
                <c:pt idx="22593">
                  <c:v>0.40294275013376102</c:v>
                </c:pt>
                <c:pt idx="22594">
                  <c:v>0.40296058498305598</c:v>
                </c:pt>
                <c:pt idx="22595">
                  <c:v>0.402978419832352</c:v>
                </c:pt>
                <c:pt idx="22596">
                  <c:v>0.40299625468164701</c:v>
                </c:pt>
                <c:pt idx="22597">
                  <c:v>0.40301408953094298</c:v>
                </c:pt>
                <c:pt idx="22598">
                  <c:v>0.40303192438023899</c:v>
                </c:pt>
                <c:pt idx="22599">
                  <c:v>0.40304975922953401</c:v>
                </c:pt>
                <c:pt idx="22600">
                  <c:v>0.40306759407883003</c:v>
                </c:pt>
                <c:pt idx="22601">
                  <c:v>0.40308542892812499</c:v>
                </c:pt>
                <c:pt idx="22602">
                  <c:v>0.40310326377742101</c:v>
                </c:pt>
                <c:pt idx="22603">
                  <c:v>0.40312109862671602</c:v>
                </c:pt>
                <c:pt idx="22604">
                  <c:v>0.40313893347601198</c:v>
                </c:pt>
                <c:pt idx="22605">
                  <c:v>0.403156768325307</c:v>
                </c:pt>
                <c:pt idx="22606">
                  <c:v>0.40317460317460302</c:v>
                </c:pt>
                <c:pt idx="22607">
                  <c:v>0.40319243802389798</c:v>
                </c:pt>
                <c:pt idx="22608">
                  <c:v>0.403210272873194</c:v>
                </c:pt>
                <c:pt idx="22609">
                  <c:v>0.40322810772248902</c:v>
                </c:pt>
                <c:pt idx="22610">
                  <c:v>0.40324594257178498</c:v>
                </c:pt>
                <c:pt idx="22611">
                  <c:v>0.40326377742107999</c:v>
                </c:pt>
                <c:pt idx="22612">
                  <c:v>0.40328161227037601</c:v>
                </c:pt>
                <c:pt idx="22613">
                  <c:v>0.40329944711967097</c:v>
                </c:pt>
                <c:pt idx="22614">
                  <c:v>0.40331728196896699</c:v>
                </c:pt>
                <c:pt idx="22615">
                  <c:v>0.40333511681826201</c:v>
                </c:pt>
                <c:pt idx="22616">
                  <c:v>0.40335295166755802</c:v>
                </c:pt>
                <c:pt idx="22617">
                  <c:v>0.40337078651685299</c:v>
                </c:pt>
                <c:pt idx="22618">
                  <c:v>0.403388621366149</c:v>
                </c:pt>
                <c:pt idx="22619">
                  <c:v>0.40340645621544402</c:v>
                </c:pt>
                <c:pt idx="22620">
                  <c:v>0.40342429106473998</c:v>
                </c:pt>
                <c:pt idx="22621">
                  <c:v>0.403442125914036</c:v>
                </c:pt>
                <c:pt idx="22622">
                  <c:v>0.40345996076333102</c:v>
                </c:pt>
                <c:pt idx="22623">
                  <c:v>0.40347779561262698</c:v>
                </c:pt>
                <c:pt idx="22624">
                  <c:v>0.40349563046192199</c:v>
                </c:pt>
                <c:pt idx="22625">
                  <c:v>0.40351346531121801</c:v>
                </c:pt>
                <c:pt idx="22626">
                  <c:v>0.40353130016051297</c:v>
                </c:pt>
                <c:pt idx="22627">
                  <c:v>0.40354913500980899</c:v>
                </c:pt>
                <c:pt idx="22628">
                  <c:v>0.40356696985910401</c:v>
                </c:pt>
                <c:pt idx="22629">
                  <c:v>0.40358480470840002</c:v>
                </c:pt>
                <c:pt idx="22630">
                  <c:v>0.40360263955769499</c:v>
                </c:pt>
                <c:pt idx="22631">
                  <c:v>0.403620474406991</c:v>
                </c:pt>
                <c:pt idx="22632">
                  <c:v>0.40363830925628602</c:v>
                </c:pt>
                <c:pt idx="22633">
                  <c:v>0.40365614410558198</c:v>
                </c:pt>
                <c:pt idx="22634">
                  <c:v>0.403673978954877</c:v>
                </c:pt>
                <c:pt idx="22635">
                  <c:v>0.40369181380417302</c:v>
                </c:pt>
                <c:pt idx="22636">
                  <c:v>0.40370964865346798</c:v>
                </c:pt>
                <c:pt idx="22637">
                  <c:v>0.403727483502764</c:v>
                </c:pt>
                <c:pt idx="22638">
                  <c:v>0.40374531835205901</c:v>
                </c:pt>
                <c:pt idx="22639">
                  <c:v>0.40376315320135497</c:v>
                </c:pt>
                <c:pt idx="22640">
                  <c:v>0.40378098805065099</c:v>
                </c:pt>
                <c:pt idx="22641">
                  <c:v>0.40379882289994601</c:v>
                </c:pt>
                <c:pt idx="22642">
                  <c:v>0.40381665774924203</c:v>
                </c:pt>
                <c:pt idx="22643">
                  <c:v>0.40383449259853699</c:v>
                </c:pt>
                <c:pt idx="22644">
                  <c:v>0.403852327447833</c:v>
                </c:pt>
                <c:pt idx="22645">
                  <c:v>0.40387016229712802</c:v>
                </c:pt>
                <c:pt idx="22646">
                  <c:v>0.40388799714642398</c:v>
                </c:pt>
                <c:pt idx="22647">
                  <c:v>0.403905831995719</c:v>
                </c:pt>
                <c:pt idx="22648">
                  <c:v>0.40392366684501502</c:v>
                </c:pt>
                <c:pt idx="22649">
                  <c:v>0.40394150169430998</c:v>
                </c:pt>
                <c:pt idx="22650">
                  <c:v>0.403959336543606</c:v>
                </c:pt>
                <c:pt idx="22651">
                  <c:v>0.40397717139290101</c:v>
                </c:pt>
                <c:pt idx="22652">
                  <c:v>0.40399500624219697</c:v>
                </c:pt>
                <c:pt idx="22653">
                  <c:v>0.40401284109149199</c:v>
                </c:pt>
                <c:pt idx="22654">
                  <c:v>0.40403067594078801</c:v>
                </c:pt>
                <c:pt idx="22655">
                  <c:v>0.40404851079008303</c:v>
                </c:pt>
                <c:pt idx="22656">
                  <c:v>0.40406634563937899</c:v>
                </c:pt>
                <c:pt idx="22657">
                  <c:v>0.40408418048867401</c:v>
                </c:pt>
                <c:pt idx="22658">
                  <c:v>0.40410201533797002</c:v>
                </c:pt>
                <c:pt idx="22659">
                  <c:v>0.40411985018726498</c:v>
                </c:pt>
                <c:pt idx="22660">
                  <c:v>0.404137685036561</c:v>
                </c:pt>
                <c:pt idx="22661">
                  <c:v>0.40415551988585602</c:v>
                </c:pt>
                <c:pt idx="22662">
                  <c:v>0.40417335473515198</c:v>
                </c:pt>
                <c:pt idx="22663">
                  <c:v>0.404191189584448</c:v>
                </c:pt>
                <c:pt idx="22664">
                  <c:v>0.40420902443374301</c:v>
                </c:pt>
                <c:pt idx="22665">
                  <c:v>0.40422685928303898</c:v>
                </c:pt>
                <c:pt idx="22666">
                  <c:v>0.40424469413233399</c:v>
                </c:pt>
                <c:pt idx="22667">
                  <c:v>0.40426252898163001</c:v>
                </c:pt>
                <c:pt idx="22668">
                  <c:v>0.40428036383092503</c:v>
                </c:pt>
                <c:pt idx="22669">
                  <c:v>0.40429819868022099</c:v>
                </c:pt>
                <c:pt idx="22670">
                  <c:v>0.40431603352951601</c:v>
                </c:pt>
                <c:pt idx="22671">
                  <c:v>0.40433386837881202</c:v>
                </c:pt>
                <c:pt idx="22672">
                  <c:v>0.40435170322810698</c:v>
                </c:pt>
                <c:pt idx="22673">
                  <c:v>0.404369538077403</c:v>
                </c:pt>
                <c:pt idx="22674">
                  <c:v>0.40438737292669802</c:v>
                </c:pt>
                <c:pt idx="22675">
                  <c:v>0.40440520777599398</c:v>
                </c:pt>
                <c:pt idx="22676">
                  <c:v>0.404423042625289</c:v>
                </c:pt>
                <c:pt idx="22677">
                  <c:v>0.40444087747458501</c:v>
                </c:pt>
                <c:pt idx="22678">
                  <c:v>0.40445871232387998</c:v>
                </c:pt>
                <c:pt idx="22679">
                  <c:v>0.40447654717317599</c:v>
                </c:pt>
                <c:pt idx="22680">
                  <c:v>0.40449438202247101</c:v>
                </c:pt>
                <c:pt idx="22681">
                  <c:v>0.40451221687176703</c:v>
                </c:pt>
                <c:pt idx="22682">
                  <c:v>0.40453005172106199</c:v>
                </c:pt>
                <c:pt idx="22683">
                  <c:v>0.40454788657035801</c:v>
                </c:pt>
                <c:pt idx="22684">
                  <c:v>0.40456572141965402</c:v>
                </c:pt>
                <c:pt idx="22685">
                  <c:v>0.40458355626894899</c:v>
                </c:pt>
                <c:pt idx="22686">
                  <c:v>0.404601391118245</c:v>
                </c:pt>
                <c:pt idx="22687">
                  <c:v>0.40461922596754002</c:v>
                </c:pt>
                <c:pt idx="22688">
                  <c:v>0.40463706081683598</c:v>
                </c:pt>
                <c:pt idx="22689">
                  <c:v>0.404654895666131</c:v>
                </c:pt>
                <c:pt idx="22690">
                  <c:v>0.40467273051542701</c:v>
                </c:pt>
                <c:pt idx="22691">
                  <c:v>0.40469056536472198</c:v>
                </c:pt>
                <c:pt idx="22692">
                  <c:v>0.40470840021401799</c:v>
                </c:pt>
                <c:pt idx="22693">
                  <c:v>0.40472623506331301</c:v>
                </c:pt>
                <c:pt idx="22694">
                  <c:v>0.40474406991260897</c:v>
                </c:pt>
                <c:pt idx="22695">
                  <c:v>0.40476190476190399</c:v>
                </c:pt>
                <c:pt idx="22696">
                  <c:v>0.40477973961120001</c:v>
                </c:pt>
                <c:pt idx="22697">
                  <c:v>0.40479757446049502</c:v>
                </c:pt>
                <c:pt idx="22698">
                  <c:v>0.40481540930979099</c:v>
                </c:pt>
                <c:pt idx="22699">
                  <c:v>0.404833244159086</c:v>
                </c:pt>
                <c:pt idx="22700">
                  <c:v>0.40485107900838202</c:v>
                </c:pt>
                <c:pt idx="22701">
                  <c:v>0.40486891385767698</c:v>
                </c:pt>
                <c:pt idx="22702">
                  <c:v>0.404886748706973</c:v>
                </c:pt>
                <c:pt idx="22703">
                  <c:v>0.40490458355626802</c:v>
                </c:pt>
                <c:pt idx="22704">
                  <c:v>0.40492241840556398</c:v>
                </c:pt>
                <c:pt idx="22705">
                  <c:v>0.40494025325485999</c:v>
                </c:pt>
                <c:pt idx="22706">
                  <c:v>0.40495808810415501</c:v>
                </c:pt>
                <c:pt idx="22707">
                  <c:v>0.40497592295345097</c:v>
                </c:pt>
                <c:pt idx="22708">
                  <c:v>0.40499375780274599</c:v>
                </c:pt>
                <c:pt idx="22709">
                  <c:v>0.40501159265204201</c:v>
                </c:pt>
                <c:pt idx="22710">
                  <c:v>0.40502942750133702</c:v>
                </c:pt>
                <c:pt idx="22711">
                  <c:v>0.40504726235063299</c:v>
                </c:pt>
                <c:pt idx="22712">
                  <c:v>0.405065097199928</c:v>
                </c:pt>
                <c:pt idx="22713">
                  <c:v>0.40508293204922402</c:v>
                </c:pt>
                <c:pt idx="22714">
                  <c:v>0.40510076689851898</c:v>
                </c:pt>
                <c:pt idx="22715">
                  <c:v>0.405118601747815</c:v>
                </c:pt>
                <c:pt idx="22716">
                  <c:v>0.40513643659711002</c:v>
                </c:pt>
                <c:pt idx="22717">
                  <c:v>0.40515427144640598</c:v>
                </c:pt>
                <c:pt idx="22718">
                  <c:v>0.405172106295701</c:v>
                </c:pt>
                <c:pt idx="22719">
                  <c:v>0.40518994114499701</c:v>
                </c:pt>
                <c:pt idx="22720">
                  <c:v>0.40520777599429197</c:v>
                </c:pt>
                <c:pt idx="22721">
                  <c:v>0.40522561084358799</c:v>
                </c:pt>
                <c:pt idx="22722">
                  <c:v>0.40524344569288301</c:v>
                </c:pt>
                <c:pt idx="22723">
                  <c:v>0.40526128054217903</c:v>
                </c:pt>
                <c:pt idx="22724">
                  <c:v>0.40527911539147399</c:v>
                </c:pt>
                <c:pt idx="22725">
                  <c:v>0.40529695024077</c:v>
                </c:pt>
                <c:pt idx="22726">
                  <c:v>0.40531478509006502</c:v>
                </c:pt>
                <c:pt idx="22727">
                  <c:v>0.40533261993936098</c:v>
                </c:pt>
                <c:pt idx="22728">
                  <c:v>0.405350454788657</c:v>
                </c:pt>
                <c:pt idx="22729">
                  <c:v>0.40536828963795202</c:v>
                </c:pt>
                <c:pt idx="22730">
                  <c:v>0.40538612448724798</c:v>
                </c:pt>
                <c:pt idx="22731">
                  <c:v>0.405403959336543</c:v>
                </c:pt>
                <c:pt idx="22732">
                  <c:v>0.40542179418583901</c:v>
                </c:pt>
                <c:pt idx="22733">
                  <c:v>0.40543962903513397</c:v>
                </c:pt>
                <c:pt idx="22734">
                  <c:v>0.40545746388442999</c:v>
                </c:pt>
                <c:pt idx="22735">
                  <c:v>0.40547529873372501</c:v>
                </c:pt>
                <c:pt idx="22736">
                  <c:v>0.40549313358302103</c:v>
                </c:pt>
                <c:pt idx="22737">
                  <c:v>0.40551096843231599</c:v>
                </c:pt>
                <c:pt idx="22738">
                  <c:v>0.405528803281612</c:v>
                </c:pt>
                <c:pt idx="22739">
                  <c:v>0.40554663813090702</c:v>
                </c:pt>
                <c:pt idx="22740">
                  <c:v>0.40556447298020298</c:v>
                </c:pt>
                <c:pt idx="22741">
                  <c:v>0.405582307829498</c:v>
                </c:pt>
                <c:pt idx="22742">
                  <c:v>0.40560014267879402</c:v>
                </c:pt>
                <c:pt idx="22743">
                  <c:v>0.40561797752808898</c:v>
                </c:pt>
                <c:pt idx="22744">
                  <c:v>0.405635812377385</c:v>
                </c:pt>
                <c:pt idx="22745">
                  <c:v>0.40565364722668001</c:v>
                </c:pt>
                <c:pt idx="22746">
                  <c:v>0.40567148207597598</c:v>
                </c:pt>
                <c:pt idx="22747">
                  <c:v>0.40568931692527199</c:v>
                </c:pt>
                <c:pt idx="22748">
                  <c:v>0.40570715177456701</c:v>
                </c:pt>
                <c:pt idx="22749">
                  <c:v>0.40572498662386303</c:v>
                </c:pt>
                <c:pt idx="22750">
                  <c:v>0.40574282147315799</c:v>
                </c:pt>
                <c:pt idx="22751">
                  <c:v>0.40576065632245401</c:v>
                </c:pt>
                <c:pt idx="22752">
                  <c:v>0.40577849117174902</c:v>
                </c:pt>
                <c:pt idx="22753">
                  <c:v>0.40579632602104498</c:v>
                </c:pt>
                <c:pt idx="22754">
                  <c:v>0.40581416087034</c:v>
                </c:pt>
                <c:pt idx="22755">
                  <c:v>0.40583199571963602</c:v>
                </c:pt>
                <c:pt idx="22756">
                  <c:v>0.40584983056893098</c:v>
                </c:pt>
                <c:pt idx="22757">
                  <c:v>0.405867665418227</c:v>
                </c:pt>
                <c:pt idx="22758">
                  <c:v>0.40588550026752201</c:v>
                </c:pt>
                <c:pt idx="22759">
                  <c:v>0.40590333511681798</c:v>
                </c:pt>
                <c:pt idx="22760">
                  <c:v>0.40592116996611299</c:v>
                </c:pt>
                <c:pt idx="22761">
                  <c:v>0.40593900481540901</c:v>
                </c:pt>
                <c:pt idx="22762">
                  <c:v>0.40595683966470397</c:v>
                </c:pt>
                <c:pt idx="22763">
                  <c:v>0.40597467451399999</c:v>
                </c:pt>
                <c:pt idx="22764">
                  <c:v>0.40599250936329501</c:v>
                </c:pt>
                <c:pt idx="22765">
                  <c:v>0.40601034421259102</c:v>
                </c:pt>
                <c:pt idx="22766">
                  <c:v>0.40602817906188599</c:v>
                </c:pt>
                <c:pt idx="22767">
                  <c:v>0.406046013911182</c:v>
                </c:pt>
                <c:pt idx="22768">
                  <c:v>0.40606384876047702</c:v>
                </c:pt>
                <c:pt idx="22769">
                  <c:v>0.40608168360977298</c:v>
                </c:pt>
                <c:pt idx="22770">
                  <c:v>0.406099518459069</c:v>
                </c:pt>
                <c:pt idx="22771">
                  <c:v>0.40611735330836402</c:v>
                </c:pt>
                <c:pt idx="22772">
                  <c:v>0.40613518815765998</c:v>
                </c:pt>
                <c:pt idx="22773">
                  <c:v>0.40615302300695499</c:v>
                </c:pt>
                <c:pt idx="22774">
                  <c:v>0.40617085785625101</c:v>
                </c:pt>
                <c:pt idx="22775">
                  <c:v>0.40618869270554597</c:v>
                </c:pt>
                <c:pt idx="22776">
                  <c:v>0.40620652755484199</c:v>
                </c:pt>
                <c:pt idx="22777">
                  <c:v>0.40622436240413701</c:v>
                </c:pt>
                <c:pt idx="22778">
                  <c:v>0.40624219725343302</c:v>
                </c:pt>
                <c:pt idx="22779">
                  <c:v>0.40626003210272799</c:v>
                </c:pt>
                <c:pt idx="22780">
                  <c:v>0.406277866952024</c:v>
                </c:pt>
                <c:pt idx="22781">
                  <c:v>0.40629570180131902</c:v>
                </c:pt>
                <c:pt idx="22782">
                  <c:v>0.40631353665061498</c:v>
                </c:pt>
                <c:pt idx="22783">
                  <c:v>0.40633137149991</c:v>
                </c:pt>
                <c:pt idx="22784">
                  <c:v>0.40634920634920602</c:v>
                </c:pt>
                <c:pt idx="22785">
                  <c:v>0.40636704119850098</c:v>
                </c:pt>
                <c:pt idx="22786">
                  <c:v>0.40638487604779699</c:v>
                </c:pt>
                <c:pt idx="22787">
                  <c:v>0.40640271089709201</c:v>
                </c:pt>
                <c:pt idx="22788">
                  <c:v>0.40642054574638797</c:v>
                </c:pt>
                <c:pt idx="22789">
                  <c:v>0.40643838059568399</c:v>
                </c:pt>
                <c:pt idx="22790">
                  <c:v>0.40645621544497901</c:v>
                </c:pt>
                <c:pt idx="22791">
                  <c:v>0.40647405029427502</c:v>
                </c:pt>
                <c:pt idx="22792">
                  <c:v>0.40649188514356999</c:v>
                </c:pt>
                <c:pt idx="22793">
                  <c:v>0.406509719992866</c:v>
                </c:pt>
                <c:pt idx="22794">
                  <c:v>0.40652755484216102</c:v>
                </c:pt>
                <c:pt idx="22795">
                  <c:v>0.40654538969145698</c:v>
                </c:pt>
                <c:pt idx="22796">
                  <c:v>0.406563224540752</c:v>
                </c:pt>
                <c:pt idx="22797">
                  <c:v>0.40658105939004802</c:v>
                </c:pt>
                <c:pt idx="22798">
                  <c:v>0.40659889423934298</c:v>
                </c:pt>
                <c:pt idx="22799">
                  <c:v>0.406616729088639</c:v>
                </c:pt>
                <c:pt idx="22800">
                  <c:v>0.40663456393793401</c:v>
                </c:pt>
                <c:pt idx="22801">
                  <c:v>0.40665239878722997</c:v>
                </c:pt>
                <c:pt idx="22802">
                  <c:v>0.40667023363652499</c:v>
                </c:pt>
                <c:pt idx="22803">
                  <c:v>0.40668806848582101</c:v>
                </c:pt>
                <c:pt idx="22804">
                  <c:v>0.40670590333511603</c:v>
                </c:pt>
                <c:pt idx="22805">
                  <c:v>0.40672373818441199</c:v>
                </c:pt>
                <c:pt idx="22806">
                  <c:v>0.406741573033707</c:v>
                </c:pt>
                <c:pt idx="22807">
                  <c:v>0.40675940788300302</c:v>
                </c:pt>
                <c:pt idx="22808">
                  <c:v>0.40677724273229798</c:v>
                </c:pt>
                <c:pt idx="22809">
                  <c:v>0.406795077581594</c:v>
                </c:pt>
                <c:pt idx="22810">
                  <c:v>0.40681291243088902</c:v>
                </c:pt>
                <c:pt idx="22811">
                  <c:v>0.40683074728018498</c:v>
                </c:pt>
                <c:pt idx="22812">
                  <c:v>0.406848582129481</c:v>
                </c:pt>
                <c:pt idx="22813">
                  <c:v>0.40686641697877601</c:v>
                </c:pt>
                <c:pt idx="22814">
                  <c:v>0.40688425182807197</c:v>
                </c:pt>
                <c:pt idx="22815">
                  <c:v>0.40690208667736699</c:v>
                </c:pt>
                <c:pt idx="22816">
                  <c:v>0.40691992152666301</c:v>
                </c:pt>
                <c:pt idx="22817">
                  <c:v>0.40693775637595803</c:v>
                </c:pt>
                <c:pt idx="22818">
                  <c:v>0.40695559122525399</c:v>
                </c:pt>
                <c:pt idx="22819">
                  <c:v>0.40697342607454901</c:v>
                </c:pt>
                <c:pt idx="22820">
                  <c:v>0.40699126092384502</c:v>
                </c:pt>
                <c:pt idx="22821">
                  <c:v>0.40700909577313998</c:v>
                </c:pt>
                <c:pt idx="22822">
                  <c:v>0.407026930622436</c:v>
                </c:pt>
                <c:pt idx="22823">
                  <c:v>0.40704476547173102</c:v>
                </c:pt>
                <c:pt idx="22824">
                  <c:v>0.40706260032102698</c:v>
                </c:pt>
                <c:pt idx="22825">
                  <c:v>0.407080435170322</c:v>
                </c:pt>
                <c:pt idx="22826">
                  <c:v>0.40709827001961801</c:v>
                </c:pt>
                <c:pt idx="22827">
                  <c:v>0.40711610486891298</c:v>
                </c:pt>
                <c:pt idx="22828">
                  <c:v>0.40713393971820899</c:v>
                </c:pt>
                <c:pt idx="22829">
                  <c:v>0.40715177456750401</c:v>
                </c:pt>
                <c:pt idx="22830">
                  <c:v>0.40716960941680003</c:v>
                </c:pt>
                <c:pt idx="22831">
                  <c:v>0.40718744426609499</c:v>
                </c:pt>
                <c:pt idx="22832">
                  <c:v>0.40720527911539101</c:v>
                </c:pt>
                <c:pt idx="22833">
                  <c:v>0.40722311396468702</c:v>
                </c:pt>
                <c:pt idx="22834">
                  <c:v>0.40724094881398198</c:v>
                </c:pt>
                <c:pt idx="22835">
                  <c:v>0.407258783663278</c:v>
                </c:pt>
                <c:pt idx="22836">
                  <c:v>0.40727661851257302</c:v>
                </c:pt>
                <c:pt idx="22837">
                  <c:v>0.40729445336186898</c:v>
                </c:pt>
                <c:pt idx="22838">
                  <c:v>0.407312288211164</c:v>
                </c:pt>
                <c:pt idx="22839">
                  <c:v>0.40733012306046001</c:v>
                </c:pt>
                <c:pt idx="22840">
                  <c:v>0.40734795790975498</c:v>
                </c:pt>
                <c:pt idx="22841">
                  <c:v>0.40736579275905099</c:v>
                </c:pt>
                <c:pt idx="22842">
                  <c:v>0.40738362760834601</c:v>
                </c:pt>
                <c:pt idx="22843">
                  <c:v>0.40740146245764203</c:v>
                </c:pt>
                <c:pt idx="22844">
                  <c:v>0.40741929730693699</c:v>
                </c:pt>
                <c:pt idx="22845">
                  <c:v>0.40743713215623301</c:v>
                </c:pt>
                <c:pt idx="22846">
                  <c:v>0.40745496700552802</c:v>
                </c:pt>
                <c:pt idx="22847">
                  <c:v>0.40747280185482398</c:v>
                </c:pt>
                <c:pt idx="22848">
                  <c:v>0.407490636704119</c:v>
                </c:pt>
                <c:pt idx="22849">
                  <c:v>0.40750847155341502</c:v>
                </c:pt>
                <c:pt idx="22850">
                  <c:v>0.40752630640270998</c:v>
                </c:pt>
                <c:pt idx="22851">
                  <c:v>0.407544141252006</c:v>
                </c:pt>
                <c:pt idx="22852">
                  <c:v>0.40756197610130102</c:v>
                </c:pt>
                <c:pt idx="22853">
                  <c:v>0.40757981095059698</c:v>
                </c:pt>
                <c:pt idx="22854">
                  <c:v>0.40759764579989299</c:v>
                </c:pt>
                <c:pt idx="22855">
                  <c:v>0.40761548064918801</c:v>
                </c:pt>
                <c:pt idx="22856">
                  <c:v>0.40763331549848397</c:v>
                </c:pt>
                <c:pt idx="22857">
                  <c:v>0.40765115034777899</c:v>
                </c:pt>
                <c:pt idx="22858">
                  <c:v>0.40766898519707501</c:v>
                </c:pt>
                <c:pt idx="22859">
                  <c:v>0.40768682004637002</c:v>
                </c:pt>
                <c:pt idx="22860">
                  <c:v>0.40770465489566599</c:v>
                </c:pt>
                <c:pt idx="22861">
                  <c:v>0.407722489744961</c:v>
                </c:pt>
                <c:pt idx="22862">
                  <c:v>0.40774032459425702</c:v>
                </c:pt>
                <c:pt idx="22863">
                  <c:v>0.40775815944355198</c:v>
                </c:pt>
                <c:pt idx="22864">
                  <c:v>0.407775994292848</c:v>
                </c:pt>
                <c:pt idx="22865">
                  <c:v>0.40779382914214302</c:v>
                </c:pt>
                <c:pt idx="22866">
                  <c:v>0.40781166399143898</c:v>
                </c:pt>
                <c:pt idx="22867">
                  <c:v>0.40782949884073399</c:v>
                </c:pt>
                <c:pt idx="22868">
                  <c:v>0.40784733369003001</c:v>
                </c:pt>
                <c:pt idx="22869">
                  <c:v>0.40786516853932497</c:v>
                </c:pt>
                <c:pt idx="22870">
                  <c:v>0.40788300338862099</c:v>
                </c:pt>
                <c:pt idx="22871">
                  <c:v>0.40790083823791601</c:v>
                </c:pt>
                <c:pt idx="22872">
                  <c:v>0.40791867308721202</c:v>
                </c:pt>
                <c:pt idx="22873">
                  <c:v>0.40793650793650699</c:v>
                </c:pt>
                <c:pt idx="22874">
                  <c:v>0.407954342785803</c:v>
                </c:pt>
                <c:pt idx="22875">
                  <c:v>0.40797217763509802</c:v>
                </c:pt>
                <c:pt idx="22876">
                  <c:v>0.40799001248439398</c:v>
                </c:pt>
                <c:pt idx="22877">
                  <c:v>0.40800784733369</c:v>
                </c:pt>
                <c:pt idx="22878">
                  <c:v>0.40802568218298502</c:v>
                </c:pt>
                <c:pt idx="22879">
                  <c:v>0.40804351703228098</c:v>
                </c:pt>
                <c:pt idx="22880">
                  <c:v>0.408061351881576</c:v>
                </c:pt>
                <c:pt idx="22881">
                  <c:v>0.40807918673087201</c:v>
                </c:pt>
                <c:pt idx="22882">
                  <c:v>0.40809702158016697</c:v>
                </c:pt>
                <c:pt idx="22883">
                  <c:v>0.40811485642946299</c:v>
                </c:pt>
                <c:pt idx="22884">
                  <c:v>0.40813269127875801</c:v>
                </c:pt>
                <c:pt idx="22885">
                  <c:v>0.40815052612805403</c:v>
                </c:pt>
                <c:pt idx="22886">
                  <c:v>0.40816836097734899</c:v>
                </c:pt>
                <c:pt idx="22887">
                  <c:v>0.408186195826645</c:v>
                </c:pt>
                <c:pt idx="22888">
                  <c:v>0.40820403067594002</c:v>
                </c:pt>
                <c:pt idx="22889">
                  <c:v>0.40822186552523598</c:v>
                </c:pt>
                <c:pt idx="22890">
                  <c:v>0.408239700374531</c:v>
                </c:pt>
                <c:pt idx="22891">
                  <c:v>0.40825753522382702</c:v>
                </c:pt>
                <c:pt idx="22892">
                  <c:v>0.40827537007312198</c:v>
                </c:pt>
                <c:pt idx="22893">
                  <c:v>0.408293204922418</c:v>
                </c:pt>
                <c:pt idx="22894">
                  <c:v>0.40831103977171301</c:v>
                </c:pt>
                <c:pt idx="22895">
                  <c:v>0.40832887462100897</c:v>
                </c:pt>
                <c:pt idx="22896">
                  <c:v>0.40834670947030499</c:v>
                </c:pt>
                <c:pt idx="22897">
                  <c:v>0.40836454431960001</c:v>
                </c:pt>
                <c:pt idx="22898">
                  <c:v>0.40838237916889603</c:v>
                </c:pt>
                <c:pt idx="22899">
                  <c:v>0.40840021401819099</c:v>
                </c:pt>
                <c:pt idx="22900">
                  <c:v>0.408418048867487</c:v>
                </c:pt>
                <c:pt idx="22901">
                  <c:v>0.40843588371678202</c:v>
                </c:pt>
                <c:pt idx="22902">
                  <c:v>0.40845371856607798</c:v>
                </c:pt>
                <c:pt idx="22903">
                  <c:v>0.408471553415373</c:v>
                </c:pt>
                <c:pt idx="22904">
                  <c:v>0.40848938826466902</c:v>
                </c:pt>
                <c:pt idx="22905">
                  <c:v>0.40850722311396398</c:v>
                </c:pt>
                <c:pt idx="22906">
                  <c:v>0.40852505796326</c:v>
                </c:pt>
                <c:pt idx="22907">
                  <c:v>0.40854289281255501</c:v>
                </c:pt>
                <c:pt idx="22908">
                  <c:v>0.40856072766185098</c:v>
                </c:pt>
                <c:pt idx="22909">
                  <c:v>0.40857856251114599</c:v>
                </c:pt>
                <c:pt idx="22910">
                  <c:v>0.40859639736044201</c:v>
                </c:pt>
                <c:pt idx="22911">
                  <c:v>0.40861423220973703</c:v>
                </c:pt>
                <c:pt idx="22912">
                  <c:v>0.40863206705903299</c:v>
                </c:pt>
                <c:pt idx="22913">
                  <c:v>0.40864990190832801</c:v>
                </c:pt>
                <c:pt idx="22914">
                  <c:v>0.40866773675762402</c:v>
                </c:pt>
                <c:pt idx="22915">
                  <c:v>0.40868557160691898</c:v>
                </c:pt>
                <c:pt idx="22916">
                  <c:v>0.408703406456215</c:v>
                </c:pt>
                <c:pt idx="22917">
                  <c:v>0.40872124130551002</c:v>
                </c:pt>
                <c:pt idx="22918">
                  <c:v>0.40873907615480598</c:v>
                </c:pt>
                <c:pt idx="22919">
                  <c:v>0.408756911004102</c:v>
                </c:pt>
                <c:pt idx="22920">
                  <c:v>0.40877474585339701</c:v>
                </c:pt>
                <c:pt idx="22921">
                  <c:v>0.40879258070269298</c:v>
                </c:pt>
                <c:pt idx="22922">
                  <c:v>0.40881041555198799</c:v>
                </c:pt>
                <c:pt idx="22923">
                  <c:v>0.40882825040128401</c:v>
                </c:pt>
                <c:pt idx="22924">
                  <c:v>0.40884608525057903</c:v>
                </c:pt>
                <c:pt idx="22925">
                  <c:v>0.40886392009987499</c:v>
                </c:pt>
                <c:pt idx="22926">
                  <c:v>0.40888175494917001</c:v>
                </c:pt>
                <c:pt idx="22927">
                  <c:v>0.40889958979846602</c:v>
                </c:pt>
                <c:pt idx="22928">
                  <c:v>0.40891742464776099</c:v>
                </c:pt>
                <c:pt idx="22929">
                  <c:v>0.408935259497057</c:v>
                </c:pt>
                <c:pt idx="22930">
                  <c:v>0.40895309434635202</c:v>
                </c:pt>
                <c:pt idx="22931">
                  <c:v>0.40897092919564798</c:v>
                </c:pt>
                <c:pt idx="22932">
                  <c:v>0.408988764044943</c:v>
                </c:pt>
                <c:pt idx="22933">
                  <c:v>0.40900659889423902</c:v>
                </c:pt>
                <c:pt idx="22934">
                  <c:v>0.40902443374353398</c:v>
                </c:pt>
                <c:pt idx="22935">
                  <c:v>0.40904226859282999</c:v>
                </c:pt>
                <c:pt idx="22936">
                  <c:v>0.40906010344212501</c:v>
                </c:pt>
                <c:pt idx="22937">
                  <c:v>0.40907793829142097</c:v>
                </c:pt>
                <c:pt idx="22938">
                  <c:v>0.40909577314071599</c:v>
                </c:pt>
                <c:pt idx="22939">
                  <c:v>0.40911360799001201</c:v>
                </c:pt>
                <c:pt idx="22940">
                  <c:v>0.40913144283930802</c:v>
                </c:pt>
                <c:pt idx="22941">
                  <c:v>0.40914927768860299</c:v>
                </c:pt>
                <c:pt idx="22942">
                  <c:v>0.409167112537899</c:v>
                </c:pt>
                <c:pt idx="22943">
                  <c:v>0.40918494738719402</c:v>
                </c:pt>
                <c:pt idx="22944">
                  <c:v>0.40920278223648998</c:v>
                </c:pt>
                <c:pt idx="22945">
                  <c:v>0.409220617085785</c:v>
                </c:pt>
                <c:pt idx="22946">
                  <c:v>0.40923845193508102</c:v>
                </c:pt>
                <c:pt idx="22947">
                  <c:v>0.40925628678437598</c:v>
                </c:pt>
                <c:pt idx="22948">
                  <c:v>0.40927412163367199</c:v>
                </c:pt>
                <c:pt idx="22949">
                  <c:v>0.40929195648296701</c:v>
                </c:pt>
                <c:pt idx="22950">
                  <c:v>0.40930979133226297</c:v>
                </c:pt>
                <c:pt idx="22951">
                  <c:v>0.40932762618155799</c:v>
                </c:pt>
                <c:pt idx="22952">
                  <c:v>0.40934546103085401</c:v>
                </c:pt>
                <c:pt idx="22953">
                  <c:v>0.40936329588014903</c:v>
                </c:pt>
                <c:pt idx="22954">
                  <c:v>0.40938113072944499</c:v>
                </c:pt>
                <c:pt idx="22955">
                  <c:v>0.40939896557874</c:v>
                </c:pt>
                <c:pt idx="22956">
                  <c:v>0.40941680042803602</c:v>
                </c:pt>
                <c:pt idx="22957">
                  <c:v>0.40943463527733098</c:v>
                </c:pt>
                <c:pt idx="22958">
                  <c:v>0.409452470126627</c:v>
                </c:pt>
                <c:pt idx="22959">
                  <c:v>0.40947030497592202</c:v>
                </c:pt>
                <c:pt idx="22960">
                  <c:v>0.40948813982521798</c:v>
                </c:pt>
                <c:pt idx="22961">
                  <c:v>0.409505974674514</c:v>
                </c:pt>
                <c:pt idx="22962">
                  <c:v>0.40952380952380901</c:v>
                </c:pt>
                <c:pt idx="22963">
                  <c:v>0.40954164437310497</c:v>
                </c:pt>
                <c:pt idx="22964">
                  <c:v>0.40955947922239999</c:v>
                </c:pt>
                <c:pt idx="22965">
                  <c:v>0.40957731407169601</c:v>
                </c:pt>
                <c:pt idx="22966">
                  <c:v>0.40959514892099103</c:v>
                </c:pt>
                <c:pt idx="22967">
                  <c:v>0.40961298377028699</c:v>
                </c:pt>
                <c:pt idx="22968">
                  <c:v>0.409630818619582</c:v>
                </c:pt>
                <c:pt idx="22969">
                  <c:v>0.40964865346887802</c:v>
                </c:pt>
                <c:pt idx="22970">
                  <c:v>0.40966648831817298</c:v>
                </c:pt>
                <c:pt idx="22971">
                  <c:v>0.409684323167469</c:v>
                </c:pt>
                <c:pt idx="22972">
                  <c:v>0.40970215801676402</c:v>
                </c:pt>
                <c:pt idx="22973">
                  <c:v>0.40971999286605998</c:v>
                </c:pt>
                <c:pt idx="22974">
                  <c:v>0.409737827715355</c:v>
                </c:pt>
                <c:pt idx="22975">
                  <c:v>0.40975566256465101</c:v>
                </c:pt>
                <c:pt idx="22976">
                  <c:v>0.40977349741394598</c:v>
                </c:pt>
                <c:pt idx="22977">
                  <c:v>0.40979133226324199</c:v>
                </c:pt>
                <c:pt idx="22978">
                  <c:v>0.40980916711253701</c:v>
                </c:pt>
                <c:pt idx="22979">
                  <c:v>0.40982700196183303</c:v>
                </c:pt>
                <c:pt idx="22980">
                  <c:v>0.40984483681112799</c:v>
                </c:pt>
                <c:pt idx="22981">
                  <c:v>0.40986267166042401</c:v>
                </c:pt>
                <c:pt idx="22982">
                  <c:v>0.40988050650971902</c:v>
                </c:pt>
                <c:pt idx="22983">
                  <c:v>0.40989834135901498</c:v>
                </c:pt>
                <c:pt idx="22984">
                  <c:v>0.409916176208311</c:v>
                </c:pt>
                <c:pt idx="22985">
                  <c:v>0.40993401105760602</c:v>
                </c:pt>
                <c:pt idx="22986">
                  <c:v>0.40995184590690198</c:v>
                </c:pt>
                <c:pt idx="22987">
                  <c:v>0.409969680756197</c:v>
                </c:pt>
                <c:pt idx="22988">
                  <c:v>0.40998751560549301</c:v>
                </c:pt>
                <c:pt idx="22989">
                  <c:v>0.41000535045478798</c:v>
                </c:pt>
                <c:pt idx="22990">
                  <c:v>0.41002318530408399</c:v>
                </c:pt>
                <c:pt idx="22991">
                  <c:v>0.41004102015337901</c:v>
                </c:pt>
                <c:pt idx="22992">
                  <c:v>0.41005885500267503</c:v>
                </c:pt>
                <c:pt idx="22993">
                  <c:v>0.41007668985196999</c:v>
                </c:pt>
                <c:pt idx="22994">
                  <c:v>0.41009452470126601</c:v>
                </c:pt>
                <c:pt idx="22995">
                  <c:v>0.41011235955056102</c:v>
                </c:pt>
                <c:pt idx="22996">
                  <c:v>0.41013019439985698</c:v>
                </c:pt>
                <c:pt idx="22997">
                  <c:v>0.410148029249152</c:v>
                </c:pt>
                <c:pt idx="22998">
                  <c:v>0.41016586409844802</c:v>
                </c:pt>
                <c:pt idx="22999">
                  <c:v>0.41018369894774298</c:v>
                </c:pt>
                <c:pt idx="23000">
                  <c:v>0.410201533797039</c:v>
                </c:pt>
                <c:pt idx="23001">
                  <c:v>0.41021936864633401</c:v>
                </c:pt>
                <c:pt idx="23002">
                  <c:v>0.41023720349562998</c:v>
                </c:pt>
                <c:pt idx="23003">
                  <c:v>0.41025503834492599</c:v>
                </c:pt>
                <c:pt idx="23004">
                  <c:v>0.41027287319422101</c:v>
                </c:pt>
                <c:pt idx="23005">
                  <c:v>0.41029070804351703</c:v>
                </c:pt>
                <c:pt idx="23006">
                  <c:v>0.41030854289281199</c:v>
                </c:pt>
                <c:pt idx="23007">
                  <c:v>0.41032637774210801</c:v>
                </c:pt>
                <c:pt idx="23008">
                  <c:v>0.41034421259140302</c:v>
                </c:pt>
                <c:pt idx="23009">
                  <c:v>0.41036204744069898</c:v>
                </c:pt>
                <c:pt idx="23010">
                  <c:v>0.410379882289994</c:v>
                </c:pt>
                <c:pt idx="23011">
                  <c:v>0.41039771713929002</c:v>
                </c:pt>
                <c:pt idx="23012">
                  <c:v>0.41041555198858498</c:v>
                </c:pt>
                <c:pt idx="23013">
                  <c:v>0.410433386837881</c:v>
                </c:pt>
                <c:pt idx="23014">
                  <c:v>0.41045122168717602</c:v>
                </c:pt>
                <c:pt idx="23015">
                  <c:v>0.41046905653647198</c:v>
                </c:pt>
                <c:pt idx="23016">
                  <c:v>0.41048689138576699</c:v>
                </c:pt>
                <c:pt idx="23017">
                  <c:v>0.41050472623506301</c:v>
                </c:pt>
                <c:pt idx="23018">
                  <c:v>0.41052256108435797</c:v>
                </c:pt>
                <c:pt idx="23019">
                  <c:v>0.41054039593365399</c:v>
                </c:pt>
                <c:pt idx="23020">
                  <c:v>0.41055823078294901</c:v>
                </c:pt>
                <c:pt idx="23021">
                  <c:v>0.41057606563224502</c:v>
                </c:pt>
                <c:pt idx="23022">
                  <c:v>0.41059390048153999</c:v>
                </c:pt>
                <c:pt idx="23023">
                  <c:v>0.410611735330836</c:v>
                </c:pt>
                <c:pt idx="23024">
                  <c:v>0.41062957018013102</c:v>
                </c:pt>
                <c:pt idx="23025">
                  <c:v>0.41064740502942698</c:v>
                </c:pt>
                <c:pt idx="23026">
                  <c:v>0.410665239878723</c:v>
                </c:pt>
                <c:pt idx="23027">
                  <c:v>0.41068307472801802</c:v>
                </c:pt>
                <c:pt idx="23028">
                  <c:v>0.41070090957731398</c:v>
                </c:pt>
                <c:pt idx="23029">
                  <c:v>0.41071874442660899</c:v>
                </c:pt>
                <c:pt idx="23030">
                  <c:v>0.41073657927590501</c:v>
                </c:pt>
                <c:pt idx="23031">
                  <c:v>0.41075441412519997</c:v>
                </c:pt>
                <c:pt idx="23032">
                  <c:v>0.41077224897449599</c:v>
                </c:pt>
                <c:pt idx="23033">
                  <c:v>0.41079008382379101</c:v>
                </c:pt>
                <c:pt idx="23034">
                  <c:v>0.41080791867308702</c:v>
                </c:pt>
                <c:pt idx="23035">
                  <c:v>0.41082575352238199</c:v>
                </c:pt>
                <c:pt idx="23036">
                  <c:v>0.410843588371678</c:v>
                </c:pt>
                <c:pt idx="23037">
                  <c:v>0.41086142322097302</c:v>
                </c:pt>
                <c:pt idx="23038">
                  <c:v>0.41087925807026898</c:v>
                </c:pt>
                <c:pt idx="23039">
                  <c:v>0.410897092919564</c:v>
                </c:pt>
                <c:pt idx="23040">
                  <c:v>0.41091492776886002</c:v>
                </c:pt>
                <c:pt idx="23041">
                  <c:v>0.41093276261815498</c:v>
                </c:pt>
                <c:pt idx="23042">
                  <c:v>0.410950597467451</c:v>
                </c:pt>
                <c:pt idx="23043">
                  <c:v>0.41096843231674601</c:v>
                </c:pt>
                <c:pt idx="23044">
                  <c:v>0.41098626716604197</c:v>
                </c:pt>
                <c:pt idx="23045">
                  <c:v>0.41100410201533799</c:v>
                </c:pt>
                <c:pt idx="23046">
                  <c:v>0.41102193686463301</c:v>
                </c:pt>
                <c:pt idx="23047">
                  <c:v>0.41103977171392903</c:v>
                </c:pt>
                <c:pt idx="23048">
                  <c:v>0.41105760656322399</c:v>
                </c:pt>
                <c:pt idx="23049">
                  <c:v>0.41107544141252</c:v>
                </c:pt>
                <c:pt idx="23050">
                  <c:v>0.41109327626181502</c:v>
                </c:pt>
                <c:pt idx="23051">
                  <c:v>0.41111111111111098</c:v>
                </c:pt>
                <c:pt idx="23052">
                  <c:v>0.411128945960406</c:v>
                </c:pt>
                <c:pt idx="23053">
                  <c:v>0.41114678080970202</c:v>
                </c:pt>
                <c:pt idx="23054">
                  <c:v>0.41116461565899698</c:v>
                </c:pt>
                <c:pt idx="23055">
                  <c:v>0.411182450508293</c:v>
                </c:pt>
                <c:pt idx="23056">
                  <c:v>0.41120028535758801</c:v>
                </c:pt>
                <c:pt idx="23057">
                  <c:v>0.41121812020688397</c:v>
                </c:pt>
                <c:pt idx="23058">
                  <c:v>0.41123595505617899</c:v>
                </c:pt>
                <c:pt idx="23059">
                  <c:v>0.41125378990547501</c:v>
                </c:pt>
                <c:pt idx="23060">
                  <c:v>0.41127162475477003</c:v>
                </c:pt>
                <c:pt idx="23061">
                  <c:v>0.41128945960406599</c:v>
                </c:pt>
                <c:pt idx="23062">
                  <c:v>0.41130729445336101</c:v>
                </c:pt>
                <c:pt idx="23063">
                  <c:v>0.41132512930265702</c:v>
                </c:pt>
                <c:pt idx="23064">
                  <c:v>0.41134296415195198</c:v>
                </c:pt>
                <c:pt idx="23065">
                  <c:v>0.411360799001248</c:v>
                </c:pt>
                <c:pt idx="23066">
                  <c:v>0.41137863385054302</c:v>
                </c:pt>
                <c:pt idx="23067">
                  <c:v>0.41139646869983898</c:v>
                </c:pt>
                <c:pt idx="23068">
                  <c:v>0.411414303549135</c:v>
                </c:pt>
                <c:pt idx="23069">
                  <c:v>0.41143213839843001</c:v>
                </c:pt>
                <c:pt idx="23070">
                  <c:v>0.41144997324772598</c:v>
                </c:pt>
                <c:pt idx="23071">
                  <c:v>0.41146780809702099</c:v>
                </c:pt>
                <c:pt idx="23072">
                  <c:v>0.41148564294631701</c:v>
                </c:pt>
                <c:pt idx="23073">
                  <c:v>0.41150347779561203</c:v>
                </c:pt>
                <c:pt idx="23074">
                  <c:v>0.41152131264490799</c:v>
                </c:pt>
                <c:pt idx="23075">
                  <c:v>0.41153914749420301</c:v>
                </c:pt>
                <c:pt idx="23076">
                  <c:v>0.41155698234349902</c:v>
                </c:pt>
                <c:pt idx="23077">
                  <c:v>0.41157481719279398</c:v>
                </c:pt>
                <c:pt idx="23078">
                  <c:v>0.41159265204209</c:v>
                </c:pt>
                <c:pt idx="23079">
                  <c:v>0.41161048689138502</c:v>
                </c:pt>
                <c:pt idx="23080">
                  <c:v>0.41162832174068098</c:v>
                </c:pt>
                <c:pt idx="23081">
                  <c:v>0.411646156589976</c:v>
                </c:pt>
                <c:pt idx="23082">
                  <c:v>0.41166399143927201</c:v>
                </c:pt>
                <c:pt idx="23083">
                  <c:v>0.41168182628856698</c:v>
                </c:pt>
                <c:pt idx="23084">
                  <c:v>0.41169966113786299</c:v>
                </c:pt>
                <c:pt idx="23085">
                  <c:v>0.41171749598715801</c:v>
                </c:pt>
                <c:pt idx="23086">
                  <c:v>0.41173533083645403</c:v>
                </c:pt>
                <c:pt idx="23087">
                  <c:v>0.41175316568574899</c:v>
                </c:pt>
                <c:pt idx="23088">
                  <c:v>0.41177100053504501</c:v>
                </c:pt>
                <c:pt idx="23089">
                  <c:v>0.41178883538434102</c:v>
                </c:pt>
                <c:pt idx="23090">
                  <c:v>0.41180667023363599</c:v>
                </c:pt>
                <c:pt idx="23091">
                  <c:v>0.411824505082932</c:v>
                </c:pt>
                <c:pt idx="23092">
                  <c:v>0.41184233993222702</c:v>
                </c:pt>
                <c:pt idx="23093">
                  <c:v>0.41186017478152298</c:v>
                </c:pt>
                <c:pt idx="23094">
                  <c:v>0.411878009630818</c:v>
                </c:pt>
                <c:pt idx="23095">
                  <c:v>0.41189584448011402</c:v>
                </c:pt>
                <c:pt idx="23096">
                  <c:v>0.41191367932940898</c:v>
                </c:pt>
                <c:pt idx="23097">
                  <c:v>0.41193151417870499</c:v>
                </c:pt>
                <c:pt idx="23098">
                  <c:v>0.41194934902800001</c:v>
                </c:pt>
                <c:pt idx="23099">
                  <c:v>0.41196718387729597</c:v>
                </c:pt>
                <c:pt idx="23100">
                  <c:v>0.41198501872659099</c:v>
                </c:pt>
                <c:pt idx="23101">
                  <c:v>0.41200285357588701</c:v>
                </c:pt>
                <c:pt idx="23102">
                  <c:v>0.41202068842518202</c:v>
                </c:pt>
                <c:pt idx="23103">
                  <c:v>0.41203852327447799</c:v>
                </c:pt>
                <c:pt idx="23104">
                  <c:v>0.412056358123773</c:v>
                </c:pt>
                <c:pt idx="23105">
                  <c:v>0.41207419297306902</c:v>
                </c:pt>
                <c:pt idx="23106">
                  <c:v>0.41209202782236398</c:v>
                </c:pt>
                <c:pt idx="23107">
                  <c:v>0.41210986267166</c:v>
                </c:pt>
                <c:pt idx="23108">
                  <c:v>0.41212769752095502</c:v>
                </c:pt>
                <c:pt idx="23109">
                  <c:v>0.41214553237025098</c:v>
                </c:pt>
                <c:pt idx="23110">
                  <c:v>0.41216336721954699</c:v>
                </c:pt>
                <c:pt idx="23111">
                  <c:v>0.41218120206884201</c:v>
                </c:pt>
                <c:pt idx="23112">
                  <c:v>0.41219903691813797</c:v>
                </c:pt>
                <c:pt idx="23113">
                  <c:v>0.41221687176743299</c:v>
                </c:pt>
                <c:pt idx="23114">
                  <c:v>0.41223470661672901</c:v>
                </c:pt>
                <c:pt idx="23115">
                  <c:v>0.41225254146602403</c:v>
                </c:pt>
                <c:pt idx="23116">
                  <c:v>0.41227037631531999</c:v>
                </c:pt>
                <c:pt idx="23117">
                  <c:v>0.412288211164615</c:v>
                </c:pt>
                <c:pt idx="23118">
                  <c:v>0.41230604601391102</c:v>
                </c:pt>
                <c:pt idx="23119">
                  <c:v>0.41232388086320598</c:v>
                </c:pt>
                <c:pt idx="23120">
                  <c:v>0.412341715712502</c:v>
                </c:pt>
                <c:pt idx="23121">
                  <c:v>0.41235955056179702</c:v>
                </c:pt>
                <c:pt idx="23122">
                  <c:v>0.41237738541109298</c:v>
                </c:pt>
                <c:pt idx="23123">
                  <c:v>0.412395220260388</c:v>
                </c:pt>
                <c:pt idx="23124">
                  <c:v>0.41241305510968401</c:v>
                </c:pt>
                <c:pt idx="23125">
                  <c:v>0.41243088995897897</c:v>
                </c:pt>
                <c:pt idx="23126">
                  <c:v>0.41244872480827499</c:v>
                </c:pt>
                <c:pt idx="23127">
                  <c:v>0.41246655965757001</c:v>
                </c:pt>
                <c:pt idx="23128">
                  <c:v>0.41248439450686603</c:v>
                </c:pt>
                <c:pt idx="23129">
                  <c:v>0.41250222935616099</c:v>
                </c:pt>
                <c:pt idx="23130">
                  <c:v>0.412520064205457</c:v>
                </c:pt>
                <c:pt idx="23131">
                  <c:v>0.41253789905475202</c:v>
                </c:pt>
                <c:pt idx="23132">
                  <c:v>0.41255573390404798</c:v>
                </c:pt>
                <c:pt idx="23133">
                  <c:v>0.412573568753344</c:v>
                </c:pt>
                <c:pt idx="23134">
                  <c:v>0.41259140360263902</c:v>
                </c:pt>
                <c:pt idx="23135">
                  <c:v>0.41260923845193498</c:v>
                </c:pt>
                <c:pt idx="23136">
                  <c:v>0.41262707330123</c:v>
                </c:pt>
                <c:pt idx="23137">
                  <c:v>0.41264490815052601</c:v>
                </c:pt>
                <c:pt idx="23138">
                  <c:v>0.41266274299982098</c:v>
                </c:pt>
                <c:pt idx="23139">
                  <c:v>0.41268057784911699</c:v>
                </c:pt>
                <c:pt idx="23140">
                  <c:v>0.41269841269841201</c:v>
                </c:pt>
                <c:pt idx="23141">
                  <c:v>0.41271624754770803</c:v>
                </c:pt>
                <c:pt idx="23142">
                  <c:v>0.41273408239700299</c:v>
                </c:pt>
                <c:pt idx="23143">
                  <c:v>0.412751917246299</c:v>
                </c:pt>
                <c:pt idx="23144">
                  <c:v>0.41276975209559402</c:v>
                </c:pt>
                <c:pt idx="23145">
                  <c:v>0.41278758694488998</c:v>
                </c:pt>
                <c:pt idx="23146">
                  <c:v>0.412805421794185</c:v>
                </c:pt>
                <c:pt idx="23147">
                  <c:v>0.41282325664348102</c:v>
                </c:pt>
                <c:pt idx="23148">
                  <c:v>0.41284109149277598</c:v>
                </c:pt>
                <c:pt idx="23149">
                  <c:v>0.412858926342072</c:v>
                </c:pt>
                <c:pt idx="23150">
                  <c:v>0.41287676119136701</c:v>
                </c:pt>
                <c:pt idx="23151">
                  <c:v>0.41289459604066298</c:v>
                </c:pt>
                <c:pt idx="23152">
                  <c:v>0.41291243088995899</c:v>
                </c:pt>
                <c:pt idx="23153">
                  <c:v>0.41293026573925401</c:v>
                </c:pt>
                <c:pt idx="23154">
                  <c:v>0.41294810058855003</c:v>
                </c:pt>
                <c:pt idx="23155">
                  <c:v>0.41296593543784499</c:v>
                </c:pt>
                <c:pt idx="23156">
                  <c:v>0.41298377028714101</c:v>
                </c:pt>
                <c:pt idx="23157">
                  <c:v>0.41300160513643602</c:v>
                </c:pt>
                <c:pt idx="23158">
                  <c:v>0.41301943998573198</c:v>
                </c:pt>
                <c:pt idx="23159">
                  <c:v>0.413037274835027</c:v>
                </c:pt>
                <c:pt idx="23160">
                  <c:v>0.41305510968432302</c:v>
                </c:pt>
                <c:pt idx="23161">
                  <c:v>0.41307294453361798</c:v>
                </c:pt>
                <c:pt idx="23162">
                  <c:v>0.413090779382914</c:v>
                </c:pt>
                <c:pt idx="23163">
                  <c:v>0.41310861423220901</c:v>
                </c:pt>
                <c:pt idx="23164">
                  <c:v>0.41312644908150498</c:v>
                </c:pt>
                <c:pt idx="23165">
                  <c:v>0.41314428393079999</c:v>
                </c:pt>
                <c:pt idx="23166">
                  <c:v>0.41316211878009601</c:v>
                </c:pt>
                <c:pt idx="23167">
                  <c:v>0.41317995362939097</c:v>
                </c:pt>
                <c:pt idx="23168">
                  <c:v>0.41319778847868699</c:v>
                </c:pt>
                <c:pt idx="23169">
                  <c:v>0.41321562332798201</c:v>
                </c:pt>
                <c:pt idx="23170">
                  <c:v>0.41323345817727802</c:v>
                </c:pt>
                <c:pt idx="23171">
                  <c:v>0.41325129302657299</c:v>
                </c:pt>
                <c:pt idx="23172">
                  <c:v>0.413269127875869</c:v>
                </c:pt>
                <c:pt idx="23173">
                  <c:v>0.41328696272516402</c:v>
                </c:pt>
                <c:pt idx="23174">
                  <c:v>0.41330479757445998</c:v>
                </c:pt>
                <c:pt idx="23175">
                  <c:v>0.413322632423756</c:v>
                </c:pt>
                <c:pt idx="23176">
                  <c:v>0.41334046727305102</c:v>
                </c:pt>
                <c:pt idx="23177">
                  <c:v>0.41335830212234698</c:v>
                </c:pt>
                <c:pt idx="23178">
                  <c:v>0.41337613697164199</c:v>
                </c:pt>
                <c:pt idx="23179">
                  <c:v>0.41339397182093801</c:v>
                </c:pt>
                <c:pt idx="23180">
                  <c:v>0.41341180667023297</c:v>
                </c:pt>
                <c:pt idx="23181">
                  <c:v>0.41342964151952899</c:v>
                </c:pt>
                <c:pt idx="23182">
                  <c:v>0.41344747636882401</c:v>
                </c:pt>
                <c:pt idx="23183">
                  <c:v>0.41346531121812002</c:v>
                </c:pt>
                <c:pt idx="23184">
                  <c:v>0.41348314606741499</c:v>
                </c:pt>
                <c:pt idx="23185">
                  <c:v>0.413500980916711</c:v>
                </c:pt>
                <c:pt idx="23186">
                  <c:v>0.41351881576600602</c:v>
                </c:pt>
                <c:pt idx="23187">
                  <c:v>0.41353665061530198</c:v>
                </c:pt>
                <c:pt idx="23188">
                  <c:v>0.413554485464597</c:v>
                </c:pt>
                <c:pt idx="23189">
                  <c:v>0.41357232031389302</c:v>
                </c:pt>
                <c:pt idx="23190">
                  <c:v>0.41359015516318798</c:v>
                </c:pt>
                <c:pt idx="23191">
                  <c:v>0.41360799001248399</c:v>
                </c:pt>
                <c:pt idx="23192">
                  <c:v>0.41362582486177901</c:v>
                </c:pt>
                <c:pt idx="23193">
                  <c:v>0.41364365971107497</c:v>
                </c:pt>
                <c:pt idx="23194">
                  <c:v>0.41366149456037099</c:v>
                </c:pt>
                <c:pt idx="23195">
                  <c:v>0.41367932940966601</c:v>
                </c:pt>
                <c:pt idx="23196">
                  <c:v>0.41369716425896202</c:v>
                </c:pt>
                <c:pt idx="23197">
                  <c:v>0.41371499910825699</c:v>
                </c:pt>
                <c:pt idx="23198">
                  <c:v>0.413732833957553</c:v>
                </c:pt>
                <c:pt idx="23199">
                  <c:v>0.41375066880684802</c:v>
                </c:pt>
                <c:pt idx="23200">
                  <c:v>0.41376850365614398</c:v>
                </c:pt>
                <c:pt idx="23201">
                  <c:v>0.413786338505439</c:v>
                </c:pt>
                <c:pt idx="23202">
                  <c:v>0.41380417335473502</c:v>
                </c:pt>
                <c:pt idx="23203">
                  <c:v>0.41382200820402998</c:v>
                </c:pt>
                <c:pt idx="23204">
                  <c:v>0.413839843053326</c:v>
                </c:pt>
                <c:pt idx="23205">
                  <c:v>0.41385767790262101</c:v>
                </c:pt>
                <c:pt idx="23206">
                  <c:v>0.41387551275191697</c:v>
                </c:pt>
                <c:pt idx="23207">
                  <c:v>0.41389334760121199</c:v>
                </c:pt>
                <c:pt idx="23208">
                  <c:v>0.41391118245050801</c:v>
                </c:pt>
                <c:pt idx="23209">
                  <c:v>0.41392901729980303</c:v>
                </c:pt>
                <c:pt idx="23210">
                  <c:v>0.41394685214909899</c:v>
                </c:pt>
                <c:pt idx="23211">
                  <c:v>0.413964686998394</c:v>
                </c:pt>
                <c:pt idx="23212">
                  <c:v>0.41398252184769002</c:v>
                </c:pt>
                <c:pt idx="23213">
                  <c:v>0.41400035669698498</c:v>
                </c:pt>
                <c:pt idx="23214">
                  <c:v>0.414018191546281</c:v>
                </c:pt>
                <c:pt idx="23215">
                  <c:v>0.41403602639557602</c:v>
                </c:pt>
                <c:pt idx="23216">
                  <c:v>0.41405386124487198</c:v>
                </c:pt>
                <c:pt idx="23217">
                  <c:v>0.414071696094168</c:v>
                </c:pt>
                <c:pt idx="23218">
                  <c:v>0.41408953094346301</c:v>
                </c:pt>
                <c:pt idx="23219">
                  <c:v>0.41410736579275897</c:v>
                </c:pt>
                <c:pt idx="23220">
                  <c:v>0.41412520064205399</c:v>
                </c:pt>
                <c:pt idx="23221">
                  <c:v>0.41414303549135001</c:v>
                </c:pt>
                <c:pt idx="23222">
                  <c:v>0.41416087034064503</c:v>
                </c:pt>
                <c:pt idx="23223">
                  <c:v>0.41417870518994099</c:v>
                </c:pt>
                <c:pt idx="23224">
                  <c:v>0.41419654003923601</c:v>
                </c:pt>
                <c:pt idx="23225">
                  <c:v>0.41421437488853202</c:v>
                </c:pt>
                <c:pt idx="23226">
                  <c:v>0.41423220973782698</c:v>
                </c:pt>
                <c:pt idx="23227">
                  <c:v>0.414250044587123</c:v>
                </c:pt>
                <c:pt idx="23228">
                  <c:v>0.41426787943641802</c:v>
                </c:pt>
                <c:pt idx="23229">
                  <c:v>0.41428571428571398</c:v>
                </c:pt>
                <c:pt idx="23230">
                  <c:v>0.414303549135009</c:v>
                </c:pt>
                <c:pt idx="23231">
                  <c:v>0.41432138398430501</c:v>
                </c:pt>
                <c:pt idx="23232">
                  <c:v>0.41433921883359998</c:v>
                </c:pt>
                <c:pt idx="23233">
                  <c:v>0.41435705368289599</c:v>
                </c:pt>
                <c:pt idx="23234">
                  <c:v>0.41437488853219101</c:v>
                </c:pt>
                <c:pt idx="23235">
                  <c:v>0.41439272338148703</c:v>
                </c:pt>
                <c:pt idx="23236">
                  <c:v>0.41441055823078199</c:v>
                </c:pt>
                <c:pt idx="23237">
                  <c:v>0.41442839308007801</c:v>
                </c:pt>
                <c:pt idx="23238">
                  <c:v>0.41444622792937402</c:v>
                </c:pt>
                <c:pt idx="23239">
                  <c:v>0.41446406277866898</c:v>
                </c:pt>
                <c:pt idx="23240">
                  <c:v>0.414481897627965</c:v>
                </c:pt>
                <c:pt idx="23241">
                  <c:v>0.41449973247726002</c:v>
                </c:pt>
                <c:pt idx="23242">
                  <c:v>0.41451756732655598</c:v>
                </c:pt>
                <c:pt idx="23243">
                  <c:v>0.414535402175851</c:v>
                </c:pt>
                <c:pt idx="23244">
                  <c:v>0.41455323702514701</c:v>
                </c:pt>
                <c:pt idx="23245">
                  <c:v>0.41457107187444198</c:v>
                </c:pt>
                <c:pt idx="23246">
                  <c:v>0.41458890672373799</c:v>
                </c:pt>
                <c:pt idx="23247">
                  <c:v>0.41460674157303301</c:v>
                </c:pt>
                <c:pt idx="23248">
                  <c:v>0.41462457642232903</c:v>
                </c:pt>
                <c:pt idx="23249">
                  <c:v>0.41464241127162399</c:v>
                </c:pt>
                <c:pt idx="23250">
                  <c:v>0.41466024612092001</c:v>
                </c:pt>
                <c:pt idx="23251">
                  <c:v>0.41467808097021502</c:v>
                </c:pt>
                <c:pt idx="23252">
                  <c:v>0.41469591581951099</c:v>
                </c:pt>
                <c:pt idx="23253">
                  <c:v>0.414713750668806</c:v>
                </c:pt>
                <c:pt idx="23254">
                  <c:v>0.41473158551810202</c:v>
                </c:pt>
                <c:pt idx="23255">
                  <c:v>0.41474942036739698</c:v>
                </c:pt>
                <c:pt idx="23256">
                  <c:v>0.414767255216693</c:v>
                </c:pt>
                <c:pt idx="23257">
                  <c:v>0.41478509006598802</c:v>
                </c:pt>
                <c:pt idx="23258">
                  <c:v>0.41480292491528398</c:v>
                </c:pt>
                <c:pt idx="23259">
                  <c:v>0.41482075976457999</c:v>
                </c:pt>
                <c:pt idx="23260">
                  <c:v>0.41483859461387501</c:v>
                </c:pt>
                <c:pt idx="23261">
                  <c:v>0.41485642946317097</c:v>
                </c:pt>
                <c:pt idx="23262">
                  <c:v>0.41487426431246599</c:v>
                </c:pt>
                <c:pt idx="23263">
                  <c:v>0.41489209916176201</c:v>
                </c:pt>
                <c:pt idx="23264">
                  <c:v>0.41490993401105702</c:v>
                </c:pt>
                <c:pt idx="23265">
                  <c:v>0.41492776886035299</c:v>
                </c:pt>
                <c:pt idx="23266">
                  <c:v>0.414945603709648</c:v>
                </c:pt>
                <c:pt idx="23267">
                  <c:v>0.41496343855894402</c:v>
                </c:pt>
                <c:pt idx="23268">
                  <c:v>0.41498127340823898</c:v>
                </c:pt>
                <c:pt idx="23269">
                  <c:v>0.414999108257535</c:v>
                </c:pt>
                <c:pt idx="23270">
                  <c:v>0.41501694310683002</c:v>
                </c:pt>
                <c:pt idx="23271">
                  <c:v>0.41503477795612598</c:v>
                </c:pt>
                <c:pt idx="23272">
                  <c:v>0.415052612805421</c:v>
                </c:pt>
                <c:pt idx="23273">
                  <c:v>0.41507044765471701</c:v>
                </c:pt>
                <c:pt idx="23274">
                  <c:v>0.41508828250401197</c:v>
                </c:pt>
                <c:pt idx="23275">
                  <c:v>0.41510611735330799</c:v>
                </c:pt>
                <c:pt idx="23276">
                  <c:v>0.41512395220260301</c:v>
                </c:pt>
                <c:pt idx="23277">
                  <c:v>0.41514178705189902</c:v>
                </c:pt>
                <c:pt idx="23278">
                  <c:v>0.41515962190119399</c:v>
                </c:pt>
                <c:pt idx="23279">
                  <c:v>0.41517745675049</c:v>
                </c:pt>
                <c:pt idx="23280">
                  <c:v>0.41519529159978502</c:v>
                </c:pt>
                <c:pt idx="23281">
                  <c:v>0.41521312644908098</c:v>
                </c:pt>
                <c:pt idx="23282">
                  <c:v>0.415230961298377</c:v>
                </c:pt>
                <c:pt idx="23283">
                  <c:v>0.41524879614767202</c:v>
                </c:pt>
                <c:pt idx="23284">
                  <c:v>0.41526663099696798</c:v>
                </c:pt>
                <c:pt idx="23285">
                  <c:v>0.415284465846263</c:v>
                </c:pt>
                <c:pt idx="23286">
                  <c:v>0.41530230069555901</c:v>
                </c:pt>
                <c:pt idx="23287">
                  <c:v>0.41532013554485397</c:v>
                </c:pt>
                <c:pt idx="23288">
                  <c:v>0.41533797039414999</c:v>
                </c:pt>
                <c:pt idx="23289">
                  <c:v>0.41535580524344501</c:v>
                </c:pt>
                <c:pt idx="23290">
                  <c:v>0.41537364009274103</c:v>
                </c:pt>
                <c:pt idx="23291">
                  <c:v>0.41539147494203599</c:v>
                </c:pt>
                <c:pt idx="23292">
                  <c:v>0.415409309791332</c:v>
                </c:pt>
                <c:pt idx="23293">
                  <c:v>0.41542714464062702</c:v>
                </c:pt>
                <c:pt idx="23294">
                  <c:v>0.41544497948992298</c:v>
                </c:pt>
                <c:pt idx="23295">
                  <c:v>0.415462814339218</c:v>
                </c:pt>
                <c:pt idx="23296">
                  <c:v>0.41548064918851402</c:v>
                </c:pt>
                <c:pt idx="23297">
                  <c:v>0.41549848403780898</c:v>
                </c:pt>
                <c:pt idx="23298">
                  <c:v>0.415516318887105</c:v>
                </c:pt>
                <c:pt idx="23299">
                  <c:v>0.41553415373640001</c:v>
                </c:pt>
                <c:pt idx="23300">
                  <c:v>0.41555198858569597</c:v>
                </c:pt>
                <c:pt idx="23301">
                  <c:v>0.41556982343499199</c:v>
                </c:pt>
                <c:pt idx="23302">
                  <c:v>0.41558765828428701</c:v>
                </c:pt>
                <c:pt idx="23303">
                  <c:v>0.41560549313358303</c:v>
                </c:pt>
                <c:pt idx="23304">
                  <c:v>0.41562332798287799</c:v>
                </c:pt>
                <c:pt idx="23305">
                  <c:v>0.415641162832174</c:v>
                </c:pt>
                <c:pt idx="23306">
                  <c:v>0.41565899768146902</c:v>
                </c:pt>
                <c:pt idx="23307">
                  <c:v>0.41567683253076498</c:v>
                </c:pt>
                <c:pt idx="23308">
                  <c:v>0.41569466738006</c:v>
                </c:pt>
                <c:pt idx="23309">
                  <c:v>0.41571250222935602</c:v>
                </c:pt>
                <c:pt idx="23310">
                  <c:v>0.41573033707865098</c:v>
                </c:pt>
                <c:pt idx="23311">
                  <c:v>0.415748171927947</c:v>
                </c:pt>
                <c:pt idx="23312">
                  <c:v>0.41576600677724201</c:v>
                </c:pt>
                <c:pt idx="23313">
                  <c:v>0.41578384162653798</c:v>
                </c:pt>
                <c:pt idx="23314">
                  <c:v>0.41580167647583299</c:v>
                </c:pt>
                <c:pt idx="23315">
                  <c:v>0.41581951132512901</c:v>
                </c:pt>
                <c:pt idx="23316">
                  <c:v>0.41583734617442403</c:v>
                </c:pt>
                <c:pt idx="23317">
                  <c:v>0.41585518102371999</c:v>
                </c:pt>
                <c:pt idx="23318">
                  <c:v>0.41587301587301501</c:v>
                </c:pt>
                <c:pt idx="23319">
                  <c:v>0.41589085072231102</c:v>
                </c:pt>
                <c:pt idx="23320">
                  <c:v>0.41590868557160598</c:v>
                </c:pt>
                <c:pt idx="23321">
                  <c:v>0.415926520420902</c:v>
                </c:pt>
                <c:pt idx="23322">
                  <c:v>0.41594435527019702</c:v>
                </c:pt>
                <c:pt idx="23323">
                  <c:v>0.41596219011949298</c:v>
                </c:pt>
                <c:pt idx="23324">
                  <c:v>0.415980024968789</c:v>
                </c:pt>
                <c:pt idx="23325">
                  <c:v>0.41599785981808401</c:v>
                </c:pt>
                <c:pt idx="23326">
                  <c:v>0.41601569466737998</c:v>
                </c:pt>
                <c:pt idx="23327">
                  <c:v>0.41603352951667499</c:v>
                </c:pt>
                <c:pt idx="23328">
                  <c:v>0.41605136436597101</c:v>
                </c:pt>
                <c:pt idx="23329">
                  <c:v>0.41606919921526597</c:v>
                </c:pt>
                <c:pt idx="23330">
                  <c:v>0.41608703406456199</c:v>
                </c:pt>
                <c:pt idx="23331">
                  <c:v>0.41610486891385701</c:v>
                </c:pt>
                <c:pt idx="23332">
                  <c:v>0.41612270376315302</c:v>
                </c:pt>
                <c:pt idx="23333">
                  <c:v>0.41614053861244799</c:v>
                </c:pt>
                <c:pt idx="23334">
                  <c:v>0.416158373461744</c:v>
                </c:pt>
                <c:pt idx="23335">
                  <c:v>0.41617620831103902</c:v>
                </c:pt>
                <c:pt idx="23336">
                  <c:v>0.41619404316033498</c:v>
                </c:pt>
                <c:pt idx="23337">
                  <c:v>0.41621187800963</c:v>
                </c:pt>
                <c:pt idx="23338">
                  <c:v>0.41622971285892602</c:v>
                </c:pt>
                <c:pt idx="23339">
                  <c:v>0.41624754770822098</c:v>
                </c:pt>
                <c:pt idx="23340">
                  <c:v>0.41626538255751699</c:v>
                </c:pt>
                <c:pt idx="23341">
                  <c:v>0.41628321740681201</c:v>
                </c:pt>
                <c:pt idx="23342">
                  <c:v>0.41630105225610797</c:v>
                </c:pt>
                <c:pt idx="23343">
                  <c:v>0.41631888710540299</c:v>
                </c:pt>
                <c:pt idx="23344">
                  <c:v>0.41633672195469901</c:v>
                </c:pt>
                <c:pt idx="23345">
                  <c:v>0.41635455680399502</c:v>
                </c:pt>
                <c:pt idx="23346">
                  <c:v>0.41637239165328999</c:v>
                </c:pt>
                <c:pt idx="23347">
                  <c:v>0.416390226502586</c:v>
                </c:pt>
                <c:pt idx="23348">
                  <c:v>0.41640806135188102</c:v>
                </c:pt>
                <c:pt idx="23349">
                  <c:v>0.41642589620117698</c:v>
                </c:pt>
                <c:pt idx="23350">
                  <c:v>0.416443731050472</c:v>
                </c:pt>
                <c:pt idx="23351">
                  <c:v>0.41646156589976802</c:v>
                </c:pt>
                <c:pt idx="23352">
                  <c:v>0.41647940074906298</c:v>
                </c:pt>
                <c:pt idx="23353">
                  <c:v>0.41649723559835899</c:v>
                </c:pt>
                <c:pt idx="23354">
                  <c:v>0.41651507044765401</c:v>
                </c:pt>
                <c:pt idx="23355">
                  <c:v>0.41653290529694997</c:v>
                </c:pt>
                <c:pt idx="23356">
                  <c:v>0.41655074014624499</c:v>
                </c:pt>
                <c:pt idx="23357">
                  <c:v>0.41656857499554101</c:v>
                </c:pt>
                <c:pt idx="23358">
                  <c:v>0.41658640984483603</c:v>
                </c:pt>
                <c:pt idx="23359">
                  <c:v>0.41660424469413199</c:v>
                </c:pt>
                <c:pt idx="23360">
                  <c:v>0.416622079543427</c:v>
                </c:pt>
                <c:pt idx="23361">
                  <c:v>0.41663991439272302</c:v>
                </c:pt>
                <c:pt idx="23362">
                  <c:v>0.41665774924201798</c:v>
                </c:pt>
                <c:pt idx="23363">
                  <c:v>0.416675584091314</c:v>
                </c:pt>
                <c:pt idx="23364">
                  <c:v>0.41669341894060902</c:v>
                </c:pt>
                <c:pt idx="23365">
                  <c:v>0.41671125378990498</c:v>
                </c:pt>
                <c:pt idx="23366">
                  <c:v>0.416729088639201</c:v>
                </c:pt>
                <c:pt idx="23367">
                  <c:v>0.41674692348849601</c:v>
                </c:pt>
                <c:pt idx="23368">
                  <c:v>0.41676475833779197</c:v>
                </c:pt>
                <c:pt idx="23369">
                  <c:v>0.41678259318708699</c:v>
                </c:pt>
                <c:pt idx="23370">
                  <c:v>0.41680042803638301</c:v>
                </c:pt>
                <c:pt idx="23371">
                  <c:v>0.41681826288567803</c:v>
                </c:pt>
                <c:pt idx="23372">
                  <c:v>0.41683609773497399</c:v>
                </c:pt>
                <c:pt idx="23373">
                  <c:v>0.416853932584269</c:v>
                </c:pt>
                <c:pt idx="23374">
                  <c:v>0.41687176743356502</c:v>
                </c:pt>
                <c:pt idx="23375">
                  <c:v>0.41688960228285998</c:v>
                </c:pt>
                <c:pt idx="23376">
                  <c:v>0.416907437132156</c:v>
                </c:pt>
                <c:pt idx="23377">
                  <c:v>0.41692527198145102</c:v>
                </c:pt>
                <c:pt idx="23378">
                  <c:v>0.41694310683074698</c:v>
                </c:pt>
                <c:pt idx="23379">
                  <c:v>0.416960941680042</c:v>
                </c:pt>
                <c:pt idx="23380">
                  <c:v>0.41697877652933801</c:v>
                </c:pt>
                <c:pt idx="23381">
                  <c:v>0.41699661137863298</c:v>
                </c:pt>
                <c:pt idx="23382">
                  <c:v>0.41701444622792899</c:v>
                </c:pt>
                <c:pt idx="23383">
                  <c:v>0.41703228107722401</c:v>
                </c:pt>
                <c:pt idx="23384">
                  <c:v>0.41705011592652003</c:v>
                </c:pt>
                <c:pt idx="23385">
                  <c:v>0.41706795077581499</c:v>
                </c:pt>
                <c:pt idx="23386">
                  <c:v>0.41708578562511101</c:v>
                </c:pt>
                <c:pt idx="23387">
                  <c:v>0.41710362047440602</c:v>
                </c:pt>
                <c:pt idx="23388">
                  <c:v>0.41712145532370198</c:v>
                </c:pt>
                <c:pt idx="23389">
                  <c:v>0.417139290172998</c:v>
                </c:pt>
                <c:pt idx="23390">
                  <c:v>0.41715712502229302</c:v>
                </c:pt>
                <c:pt idx="23391">
                  <c:v>0.41717495987158898</c:v>
                </c:pt>
                <c:pt idx="23392">
                  <c:v>0.417192794720884</c:v>
                </c:pt>
                <c:pt idx="23393">
                  <c:v>0.41721062957018001</c:v>
                </c:pt>
                <c:pt idx="23394">
                  <c:v>0.41722846441947498</c:v>
                </c:pt>
                <c:pt idx="23395">
                  <c:v>0.41724629926877099</c:v>
                </c:pt>
                <c:pt idx="23396">
                  <c:v>0.41726413411806601</c:v>
                </c:pt>
                <c:pt idx="23397">
                  <c:v>0.41728196896736203</c:v>
                </c:pt>
                <c:pt idx="23398">
                  <c:v>0.41729980381665699</c:v>
                </c:pt>
                <c:pt idx="23399">
                  <c:v>0.41731763866595301</c:v>
                </c:pt>
                <c:pt idx="23400">
                  <c:v>0.41733547351524802</c:v>
                </c:pt>
                <c:pt idx="23401">
                  <c:v>0.41735330836454398</c:v>
                </c:pt>
                <c:pt idx="23402">
                  <c:v>0.417371143213839</c:v>
                </c:pt>
                <c:pt idx="23403">
                  <c:v>0.41738897806313502</c:v>
                </c:pt>
                <c:pt idx="23404">
                  <c:v>0.41740681291242998</c:v>
                </c:pt>
                <c:pt idx="23405">
                  <c:v>0.417424647761726</c:v>
                </c:pt>
                <c:pt idx="23406">
                  <c:v>0.41744248261102102</c:v>
                </c:pt>
                <c:pt idx="23407">
                  <c:v>0.41746031746031698</c:v>
                </c:pt>
                <c:pt idx="23408">
                  <c:v>0.41747815230961299</c:v>
                </c:pt>
                <c:pt idx="23409">
                  <c:v>0.41749598715890801</c:v>
                </c:pt>
                <c:pt idx="23410">
                  <c:v>0.41751382200820403</c:v>
                </c:pt>
                <c:pt idx="23411">
                  <c:v>0.41753165685749899</c:v>
                </c:pt>
                <c:pt idx="23412">
                  <c:v>0.41754949170679501</c:v>
                </c:pt>
                <c:pt idx="23413">
                  <c:v>0.41756732655609002</c:v>
                </c:pt>
                <c:pt idx="23414">
                  <c:v>0.41758516140538599</c:v>
                </c:pt>
                <c:pt idx="23415">
                  <c:v>0.417602996254681</c:v>
                </c:pt>
                <c:pt idx="23416">
                  <c:v>0.41762083110397702</c:v>
                </c:pt>
                <c:pt idx="23417">
                  <c:v>0.41763866595327198</c:v>
                </c:pt>
                <c:pt idx="23418">
                  <c:v>0.417656500802568</c:v>
                </c:pt>
                <c:pt idx="23419">
                  <c:v>0.41767433565186302</c:v>
                </c:pt>
                <c:pt idx="23420">
                  <c:v>0.41769217050115898</c:v>
                </c:pt>
                <c:pt idx="23421">
                  <c:v>0.41771000535045399</c:v>
                </c:pt>
                <c:pt idx="23422">
                  <c:v>0.41772784019975001</c:v>
                </c:pt>
                <c:pt idx="23423">
                  <c:v>0.41774567504904497</c:v>
                </c:pt>
                <c:pt idx="23424">
                  <c:v>0.41776350989834099</c:v>
                </c:pt>
                <c:pt idx="23425">
                  <c:v>0.41778134474763601</c:v>
                </c:pt>
                <c:pt idx="23426">
                  <c:v>0.41779917959693202</c:v>
                </c:pt>
                <c:pt idx="23427">
                  <c:v>0.41781701444622699</c:v>
                </c:pt>
                <c:pt idx="23428">
                  <c:v>0.417834849295523</c:v>
                </c:pt>
                <c:pt idx="23429">
                  <c:v>0.41785268414481802</c:v>
                </c:pt>
                <c:pt idx="23430">
                  <c:v>0.41787051899411398</c:v>
                </c:pt>
                <c:pt idx="23431">
                  <c:v>0.41788835384341</c:v>
                </c:pt>
                <c:pt idx="23432">
                  <c:v>0.41790618869270502</c:v>
                </c:pt>
                <c:pt idx="23433">
                  <c:v>0.41792402354200098</c:v>
                </c:pt>
                <c:pt idx="23434">
                  <c:v>0.417941858391296</c:v>
                </c:pt>
                <c:pt idx="23435">
                  <c:v>0.41795969324059201</c:v>
                </c:pt>
                <c:pt idx="23436">
                  <c:v>0.41797752808988697</c:v>
                </c:pt>
                <c:pt idx="23437">
                  <c:v>0.41799536293918299</c:v>
                </c:pt>
                <c:pt idx="23438">
                  <c:v>0.41801319778847801</c:v>
                </c:pt>
                <c:pt idx="23439">
                  <c:v>0.41803103263777402</c:v>
                </c:pt>
                <c:pt idx="23440">
                  <c:v>0.41804886748706899</c:v>
                </c:pt>
                <c:pt idx="23441">
                  <c:v>0.418066702336365</c:v>
                </c:pt>
                <c:pt idx="23442">
                  <c:v>0.41808453718566002</c:v>
                </c:pt>
                <c:pt idx="23443">
                  <c:v>0.41810237203495598</c:v>
                </c:pt>
                <c:pt idx="23444">
                  <c:v>0.418120206884251</c:v>
                </c:pt>
                <c:pt idx="23445">
                  <c:v>0.41813804173354702</c:v>
                </c:pt>
                <c:pt idx="23446">
                  <c:v>0.41815587658284198</c:v>
                </c:pt>
                <c:pt idx="23447">
                  <c:v>0.418173711432138</c:v>
                </c:pt>
                <c:pt idx="23448">
                  <c:v>0.41819154628143301</c:v>
                </c:pt>
                <c:pt idx="23449">
                  <c:v>0.41820938113072897</c:v>
                </c:pt>
                <c:pt idx="23450">
                  <c:v>0.41822721598002499</c:v>
                </c:pt>
                <c:pt idx="23451">
                  <c:v>0.41824505082932001</c:v>
                </c:pt>
                <c:pt idx="23452">
                  <c:v>0.41826288567861603</c:v>
                </c:pt>
                <c:pt idx="23453">
                  <c:v>0.41828072052791099</c:v>
                </c:pt>
                <c:pt idx="23454">
                  <c:v>0.418298555377207</c:v>
                </c:pt>
                <c:pt idx="23455">
                  <c:v>0.41831639022650202</c:v>
                </c:pt>
                <c:pt idx="23456">
                  <c:v>0.41833422507579798</c:v>
                </c:pt>
                <c:pt idx="23457">
                  <c:v>0.418352059925093</c:v>
                </c:pt>
                <c:pt idx="23458">
                  <c:v>0.41836989477438902</c:v>
                </c:pt>
                <c:pt idx="23459">
                  <c:v>0.41838772962368398</c:v>
                </c:pt>
                <c:pt idx="23460">
                  <c:v>0.41840556447298</c:v>
                </c:pt>
                <c:pt idx="23461">
                  <c:v>0.41842339932227501</c:v>
                </c:pt>
                <c:pt idx="23462">
                  <c:v>0.41844123417157097</c:v>
                </c:pt>
                <c:pt idx="23463">
                  <c:v>0.41845906902086599</c:v>
                </c:pt>
                <c:pt idx="23464">
                  <c:v>0.41847690387016201</c:v>
                </c:pt>
                <c:pt idx="23465">
                  <c:v>0.41849473871945703</c:v>
                </c:pt>
                <c:pt idx="23466">
                  <c:v>0.41851257356875299</c:v>
                </c:pt>
                <c:pt idx="23467">
                  <c:v>0.41853040841804801</c:v>
                </c:pt>
                <c:pt idx="23468">
                  <c:v>0.41854824326734402</c:v>
                </c:pt>
                <c:pt idx="23469">
                  <c:v>0.41856607811663898</c:v>
                </c:pt>
                <c:pt idx="23470">
                  <c:v>0.418583912965935</c:v>
                </c:pt>
                <c:pt idx="23471">
                  <c:v>0.41860174781523002</c:v>
                </c:pt>
                <c:pt idx="23472">
                  <c:v>0.41861958266452598</c:v>
                </c:pt>
                <c:pt idx="23473">
                  <c:v>0.418637417513822</c:v>
                </c:pt>
                <c:pt idx="23474">
                  <c:v>0.41865525236311701</c:v>
                </c:pt>
                <c:pt idx="23475">
                  <c:v>0.41867308721241298</c:v>
                </c:pt>
                <c:pt idx="23476">
                  <c:v>0.41869092206170799</c:v>
                </c:pt>
                <c:pt idx="23477">
                  <c:v>0.41870875691100401</c:v>
                </c:pt>
                <c:pt idx="23478">
                  <c:v>0.41872659176029903</c:v>
                </c:pt>
                <c:pt idx="23479">
                  <c:v>0.41874442660959499</c:v>
                </c:pt>
                <c:pt idx="23480">
                  <c:v>0.41876226145889001</c:v>
                </c:pt>
                <c:pt idx="23481">
                  <c:v>0.41878009630818602</c:v>
                </c:pt>
                <c:pt idx="23482">
                  <c:v>0.41879793115748098</c:v>
                </c:pt>
                <c:pt idx="23483">
                  <c:v>0.418815766006777</c:v>
                </c:pt>
                <c:pt idx="23484">
                  <c:v>0.41883360085607202</c:v>
                </c:pt>
                <c:pt idx="23485">
                  <c:v>0.41885143570536798</c:v>
                </c:pt>
                <c:pt idx="23486">
                  <c:v>0.418869270554663</c:v>
                </c:pt>
                <c:pt idx="23487">
                  <c:v>0.41888710540395901</c:v>
                </c:pt>
                <c:pt idx="23488">
                  <c:v>0.41890494025325398</c:v>
                </c:pt>
                <c:pt idx="23489">
                  <c:v>0.41892277510254999</c:v>
                </c:pt>
                <c:pt idx="23490">
                  <c:v>0.41894060995184501</c:v>
                </c:pt>
                <c:pt idx="23491">
                  <c:v>0.41895844480114097</c:v>
                </c:pt>
                <c:pt idx="23492">
                  <c:v>0.41897627965043599</c:v>
                </c:pt>
                <c:pt idx="23493">
                  <c:v>0.41899411449973201</c:v>
                </c:pt>
                <c:pt idx="23494">
                  <c:v>0.41901194934902802</c:v>
                </c:pt>
                <c:pt idx="23495">
                  <c:v>0.41902978419832299</c:v>
                </c:pt>
                <c:pt idx="23496">
                  <c:v>0.419047619047619</c:v>
                </c:pt>
                <c:pt idx="23497">
                  <c:v>0.41906545389691402</c:v>
                </c:pt>
                <c:pt idx="23498">
                  <c:v>0.41908328874620998</c:v>
                </c:pt>
                <c:pt idx="23499">
                  <c:v>0.419101123595505</c:v>
                </c:pt>
                <c:pt idx="23500">
                  <c:v>0.41911895844480102</c:v>
                </c:pt>
                <c:pt idx="23501">
                  <c:v>0.41913679329409598</c:v>
                </c:pt>
                <c:pt idx="23502">
                  <c:v>0.41915462814339199</c:v>
                </c:pt>
                <c:pt idx="23503">
                  <c:v>0.41917246299268701</c:v>
                </c:pt>
                <c:pt idx="23504">
                  <c:v>0.41919029784198297</c:v>
                </c:pt>
                <c:pt idx="23505">
                  <c:v>0.41920813269127799</c:v>
                </c:pt>
                <c:pt idx="23506">
                  <c:v>0.41922596754057401</c:v>
                </c:pt>
                <c:pt idx="23507">
                  <c:v>0.41924380238986902</c:v>
                </c:pt>
                <c:pt idx="23508">
                  <c:v>0.41926163723916499</c:v>
                </c:pt>
                <c:pt idx="23509">
                  <c:v>0.41927947208846</c:v>
                </c:pt>
                <c:pt idx="23510">
                  <c:v>0.41929730693775602</c:v>
                </c:pt>
                <c:pt idx="23511">
                  <c:v>0.41931514178705098</c:v>
                </c:pt>
                <c:pt idx="23512">
                  <c:v>0.419332976636347</c:v>
                </c:pt>
                <c:pt idx="23513">
                  <c:v>0.41935081148564202</c:v>
                </c:pt>
                <c:pt idx="23514">
                  <c:v>0.41936864633493798</c:v>
                </c:pt>
                <c:pt idx="23515">
                  <c:v>0.41938648118423399</c:v>
                </c:pt>
                <c:pt idx="23516">
                  <c:v>0.41940431603352901</c:v>
                </c:pt>
                <c:pt idx="23517">
                  <c:v>0.41942215088282497</c:v>
                </c:pt>
                <c:pt idx="23518">
                  <c:v>0.41943998573211999</c:v>
                </c:pt>
                <c:pt idx="23519">
                  <c:v>0.41945782058141601</c:v>
                </c:pt>
                <c:pt idx="23520">
                  <c:v>0.41947565543071103</c:v>
                </c:pt>
                <c:pt idx="23521">
                  <c:v>0.41949349028000699</c:v>
                </c:pt>
                <c:pt idx="23522">
                  <c:v>0.419511325129302</c:v>
                </c:pt>
                <c:pt idx="23523">
                  <c:v>0.41952915997859802</c:v>
                </c:pt>
                <c:pt idx="23524">
                  <c:v>0.41954699482789298</c:v>
                </c:pt>
                <c:pt idx="23525">
                  <c:v>0.419564829677189</c:v>
                </c:pt>
                <c:pt idx="23526">
                  <c:v>0.41958266452648402</c:v>
                </c:pt>
                <c:pt idx="23527">
                  <c:v>0.41960049937577998</c:v>
                </c:pt>
                <c:pt idx="23528">
                  <c:v>0.419618334225075</c:v>
                </c:pt>
                <c:pt idx="23529">
                  <c:v>0.41963616907437101</c:v>
                </c:pt>
                <c:pt idx="23530">
                  <c:v>0.41965400392366597</c:v>
                </c:pt>
                <c:pt idx="23531">
                  <c:v>0.41967183877296199</c:v>
                </c:pt>
                <c:pt idx="23532">
                  <c:v>0.41968967362225701</c:v>
                </c:pt>
                <c:pt idx="23533">
                  <c:v>0.41970750847155303</c:v>
                </c:pt>
                <c:pt idx="23534">
                  <c:v>0.41972534332084799</c:v>
                </c:pt>
                <c:pt idx="23535">
                  <c:v>0.419743178170144</c:v>
                </c:pt>
                <c:pt idx="23536">
                  <c:v>0.41976101301943902</c:v>
                </c:pt>
                <c:pt idx="23537">
                  <c:v>0.41977884786873498</c:v>
                </c:pt>
                <c:pt idx="23538">
                  <c:v>0.419796682718031</c:v>
                </c:pt>
                <c:pt idx="23539">
                  <c:v>0.41981451756732602</c:v>
                </c:pt>
                <c:pt idx="23540">
                  <c:v>0.41983235241662198</c:v>
                </c:pt>
                <c:pt idx="23541">
                  <c:v>0.419850187265917</c:v>
                </c:pt>
                <c:pt idx="23542">
                  <c:v>0.41986802211521301</c:v>
                </c:pt>
                <c:pt idx="23543">
                  <c:v>0.41988585696450798</c:v>
                </c:pt>
                <c:pt idx="23544">
                  <c:v>0.41990369181380399</c:v>
                </c:pt>
                <c:pt idx="23545">
                  <c:v>0.41992152666309901</c:v>
                </c:pt>
                <c:pt idx="23546">
                  <c:v>0.41993936151239503</c:v>
                </c:pt>
                <c:pt idx="23547">
                  <c:v>0.41995719636168999</c:v>
                </c:pt>
                <c:pt idx="23548">
                  <c:v>0.41997503121098601</c:v>
                </c:pt>
                <c:pt idx="23549">
                  <c:v>0.41999286606028102</c:v>
                </c:pt>
                <c:pt idx="23550">
                  <c:v>0.42001070090957698</c:v>
                </c:pt>
                <c:pt idx="23551">
                  <c:v>0.420028535758872</c:v>
                </c:pt>
                <c:pt idx="23552">
                  <c:v>0.42004637060816802</c:v>
                </c:pt>
                <c:pt idx="23553">
                  <c:v>0.42006420545746298</c:v>
                </c:pt>
                <c:pt idx="23554">
                  <c:v>0.420082040306759</c:v>
                </c:pt>
                <c:pt idx="23555">
                  <c:v>0.42009987515605401</c:v>
                </c:pt>
                <c:pt idx="23556">
                  <c:v>0.42011771000534998</c:v>
                </c:pt>
                <c:pt idx="23557">
                  <c:v>0.42013554485464599</c:v>
                </c:pt>
                <c:pt idx="23558">
                  <c:v>0.42015337970394101</c:v>
                </c:pt>
                <c:pt idx="23559">
                  <c:v>0.42017121455323703</c:v>
                </c:pt>
                <c:pt idx="23560">
                  <c:v>0.42018904940253199</c:v>
                </c:pt>
                <c:pt idx="23561">
                  <c:v>0.42020688425182801</c:v>
                </c:pt>
                <c:pt idx="23562">
                  <c:v>0.42022471910112302</c:v>
                </c:pt>
                <c:pt idx="23563">
                  <c:v>0.42024255395041898</c:v>
                </c:pt>
                <c:pt idx="23564">
                  <c:v>0.420260388799714</c:v>
                </c:pt>
                <c:pt idx="23565">
                  <c:v>0.42027822364901002</c:v>
                </c:pt>
                <c:pt idx="23566">
                  <c:v>0.42029605849830498</c:v>
                </c:pt>
                <c:pt idx="23567">
                  <c:v>0.420313893347601</c:v>
                </c:pt>
                <c:pt idx="23568">
                  <c:v>0.42033172819689602</c:v>
                </c:pt>
                <c:pt idx="23569">
                  <c:v>0.42034956304619198</c:v>
                </c:pt>
                <c:pt idx="23570">
                  <c:v>0.42036739789548699</c:v>
                </c:pt>
                <c:pt idx="23571">
                  <c:v>0.42038523274478301</c:v>
                </c:pt>
                <c:pt idx="23572">
                  <c:v>0.42040306759407797</c:v>
                </c:pt>
                <c:pt idx="23573">
                  <c:v>0.42042090244337399</c:v>
                </c:pt>
                <c:pt idx="23574">
                  <c:v>0.42043873729266901</c:v>
                </c:pt>
                <c:pt idx="23575">
                  <c:v>0.42045657214196502</c:v>
                </c:pt>
                <c:pt idx="23576">
                  <c:v>0.42047440699125999</c:v>
                </c:pt>
                <c:pt idx="23577">
                  <c:v>0.420492241840556</c:v>
                </c:pt>
                <c:pt idx="23578">
                  <c:v>0.42051007668985102</c:v>
                </c:pt>
                <c:pt idx="23579">
                  <c:v>0.42052791153914698</c:v>
                </c:pt>
                <c:pt idx="23580">
                  <c:v>0.420545746388443</c:v>
                </c:pt>
                <c:pt idx="23581">
                  <c:v>0.42056358123773802</c:v>
                </c:pt>
                <c:pt idx="23582">
                  <c:v>0.42058141608703398</c:v>
                </c:pt>
                <c:pt idx="23583">
                  <c:v>0.42059925093632899</c:v>
                </c:pt>
                <c:pt idx="23584">
                  <c:v>0.42061708578562501</c:v>
                </c:pt>
                <c:pt idx="23585">
                  <c:v>0.42063492063491997</c:v>
                </c:pt>
                <c:pt idx="23586">
                  <c:v>0.42065275548421599</c:v>
                </c:pt>
                <c:pt idx="23587">
                  <c:v>0.42067059033351101</c:v>
                </c:pt>
                <c:pt idx="23588">
                  <c:v>0.42068842518280702</c:v>
                </c:pt>
                <c:pt idx="23589">
                  <c:v>0.42070626003210199</c:v>
                </c:pt>
                <c:pt idx="23590">
                  <c:v>0.420724094881398</c:v>
                </c:pt>
                <c:pt idx="23591">
                  <c:v>0.42074192973069302</c:v>
                </c:pt>
                <c:pt idx="23592">
                  <c:v>0.42075976457998898</c:v>
                </c:pt>
                <c:pt idx="23593">
                  <c:v>0.420777599429284</c:v>
                </c:pt>
                <c:pt idx="23594">
                  <c:v>0.42079543427858002</c:v>
                </c:pt>
                <c:pt idx="23595">
                  <c:v>0.42081326912787498</c:v>
                </c:pt>
                <c:pt idx="23596">
                  <c:v>0.42083110397717099</c:v>
                </c:pt>
                <c:pt idx="23597">
                  <c:v>0.42084893882646601</c:v>
                </c:pt>
                <c:pt idx="23598">
                  <c:v>0.42086677367576197</c:v>
                </c:pt>
                <c:pt idx="23599">
                  <c:v>0.42088460852505799</c:v>
                </c:pt>
                <c:pt idx="23600">
                  <c:v>0.42090244337435301</c:v>
                </c:pt>
                <c:pt idx="23601">
                  <c:v>0.42092027822364902</c:v>
                </c:pt>
                <c:pt idx="23602">
                  <c:v>0.42093811307294399</c:v>
                </c:pt>
                <c:pt idx="23603">
                  <c:v>0.42095594792224</c:v>
                </c:pt>
                <c:pt idx="23604">
                  <c:v>0.42097378277153502</c:v>
                </c:pt>
                <c:pt idx="23605">
                  <c:v>0.42099161762083098</c:v>
                </c:pt>
                <c:pt idx="23606">
                  <c:v>0.421009452470126</c:v>
                </c:pt>
                <c:pt idx="23607">
                  <c:v>0.42102728731942202</c:v>
                </c:pt>
                <c:pt idx="23608">
                  <c:v>0.42104512216871698</c:v>
                </c:pt>
                <c:pt idx="23609">
                  <c:v>0.421062957018013</c:v>
                </c:pt>
                <c:pt idx="23610">
                  <c:v>0.42108079186730801</c:v>
                </c:pt>
                <c:pt idx="23611">
                  <c:v>0.42109862671660397</c:v>
                </c:pt>
                <c:pt idx="23612">
                  <c:v>0.42111646156589899</c:v>
                </c:pt>
                <c:pt idx="23613">
                  <c:v>0.42113429641519501</c:v>
                </c:pt>
                <c:pt idx="23614">
                  <c:v>0.42115213126449003</c:v>
                </c:pt>
                <c:pt idx="23615">
                  <c:v>0.42116996611378599</c:v>
                </c:pt>
                <c:pt idx="23616">
                  <c:v>0.421187800963081</c:v>
                </c:pt>
                <c:pt idx="23617">
                  <c:v>0.42120563581237702</c:v>
                </c:pt>
                <c:pt idx="23618">
                  <c:v>0.42122347066167198</c:v>
                </c:pt>
                <c:pt idx="23619">
                  <c:v>0.421241305510968</c:v>
                </c:pt>
                <c:pt idx="23620">
                  <c:v>0.42125914036026302</c:v>
                </c:pt>
                <c:pt idx="23621">
                  <c:v>0.42127697520955898</c:v>
                </c:pt>
                <c:pt idx="23622">
                  <c:v>0.421294810058855</c:v>
                </c:pt>
                <c:pt idx="23623">
                  <c:v>0.42131264490815001</c:v>
                </c:pt>
                <c:pt idx="23624">
                  <c:v>0.42133047975744597</c:v>
                </c:pt>
                <c:pt idx="23625">
                  <c:v>0.42134831460674099</c:v>
                </c:pt>
                <c:pt idx="23626">
                  <c:v>0.42136614945603701</c:v>
                </c:pt>
                <c:pt idx="23627">
                  <c:v>0.42138398430533203</c:v>
                </c:pt>
                <c:pt idx="23628">
                  <c:v>0.42140181915462799</c:v>
                </c:pt>
                <c:pt idx="23629">
                  <c:v>0.42141965400392301</c:v>
                </c:pt>
                <c:pt idx="23630">
                  <c:v>0.42143748885321902</c:v>
                </c:pt>
                <c:pt idx="23631">
                  <c:v>0.42145532370251398</c:v>
                </c:pt>
                <c:pt idx="23632">
                  <c:v>0.42147315855181</c:v>
                </c:pt>
                <c:pt idx="23633">
                  <c:v>0.42149099340110502</c:v>
                </c:pt>
                <c:pt idx="23634">
                  <c:v>0.42150882825040098</c:v>
                </c:pt>
                <c:pt idx="23635">
                  <c:v>0.421526663099696</c:v>
                </c:pt>
                <c:pt idx="23636">
                  <c:v>0.42154449794899201</c:v>
                </c:pt>
                <c:pt idx="23637">
                  <c:v>0.42156233279828698</c:v>
                </c:pt>
                <c:pt idx="23638">
                  <c:v>0.42158016764758299</c:v>
                </c:pt>
                <c:pt idx="23639">
                  <c:v>0.42159800249687801</c:v>
                </c:pt>
                <c:pt idx="23640">
                  <c:v>0.42161583734617403</c:v>
                </c:pt>
                <c:pt idx="23641">
                  <c:v>0.42163367219546899</c:v>
                </c:pt>
                <c:pt idx="23642">
                  <c:v>0.42165150704476501</c:v>
                </c:pt>
                <c:pt idx="23643">
                  <c:v>0.42166934189406102</c:v>
                </c:pt>
                <c:pt idx="23644">
                  <c:v>0.42168717674335598</c:v>
                </c:pt>
                <c:pt idx="23645">
                  <c:v>0.421705011592652</c:v>
                </c:pt>
                <c:pt idx="23646">
                  <c:v>0.42172284644194702</c:v>
                </c:pt>
                <c:pt idx="23647">
                  <c:v>0.42174068129124298</c:v>
                </c:pt>
                <c:pt idx="23648">
                  <c:v>0.421758516140538</c:v>
                </c:pt>
                <c:pt idx="23649">
                  <c:v>0.42177635098983401</c:v>
                </c:pt>
                <c:pt idx="23650">
                  <c:v>0.42179418583912898</c:v>
                </c:pt>
                <c:pt idx="23651">
                  <c:v>0.42181202068842499</c:v>
                </c:pt>
                <c:pt idx="23652">
                  <c:v>0.42182985553772001</c:v>
                </c:pt>
                <c:pt idx="23653">
                  <c:v>0.42184769038701603</c:v>
                </c:pt>
                <c:pt idx="23654">
                  <c:v>0.42186552523631099</c:v>
                </c:pt>
                <c:pt idx="23655">
                  <c:v>0.42188336008560701</c:v>
                </c:pt>
                <c:pt idx="23656">
                  <c:v>0.42190119493490202</c:v>
                </c:pt>
                <c:pt idx="23657">
                  <c:v>0.42191902978419799</c:v>
                </c:pt>
                <c:pt idx="23658">
                  <c:v>0.421936864633493</c:v>
                </c:pt>
                <c:pt idx="23659">
                  <c:v>0.42195469948278902</c:v>
                </c:pt>
                <c:pt idx="23660">
                  <c:v>0.42197253433208398</c:v>
                </c:pt>
                <c:pt idx="23661">
                  <c:v>0.42199036918138</c:v>
                </c:pt>
                <c:pt idx="23662">
                  <c:v>0.42200820403067502</c:v>
                </c:pt>
                <c:pt idx="23663">
                  <c:v>0.42202603887997098</c:v>
                </c:pt>
                <c:pt idx="23664">
                  <c:v>0.42204387372926699</c:v>
                </c:pt>
                <c:pt idx="23665">
                  <c:v>0.42206170857856201</c:v>
                </c:pt>
                <c:pt idx="23666">
                  <c:v>0.42207954342785797</c:v>
                </c:pt>
                <c:pt idx="23667">
                  <c:v>0.42209737827715299</c:v>
                </c:pt>
                <c:pt idx="23668">
                  <c:v>0.42211521312644901</c:v>
                </c:pt>
                <c:pt idx="23669">
                  <c:v>0.42213304797574402</c:v>
                </c:pt>
                <c:pt idx="23670">
                  <c:v>0.42215088282503999</c:v>
                </c:pt>
                <c:pt idx="23671">
                  <c:v>0.422168717674335</c:v>
                </c:pt>
                <c:pt idx="23672">
                  <c:v>0.42218655252363102</c:v>
                </c:pt>
                <c:pt idx="23673">
                  <c:v>0.42220438737292598</c:v>
                </c:pt>
                <c:pt idx="23674">
                  <c:v>0.422222222222222</c:v>
                </c:pt>
                <c:pt idx="23675">
                  <c:v>0.42224005707151702</c:v>
                </c:pt>
                <c:pt idx="23676">
                  <c:v>0.42225789192081298</c:v>
                </c:pt>
                <c:pt idx="23677">
                  <c:v>0.422275726770108</c:v>
                </c:pt>
                <c:pt idx="23678">
                  <c:v>0.42229356161940401</c:v>
                </c:pt>
                <c:pt idx="23679">
                  <c:v>0.42231139646869897</c:v>
                </c:pt>
                <c:pt idx="23680">
                  <c:v>0.42232923131799499</c:v>
                </c:pt>
                <c:pt idx="23681">
                  <c:v>0.42234706616729001</c:v>
                </c:pt>
                <c:pt idx="23682">
                  <c:v>0.42236490101658603</c:v>
                </c:pt>
                <c:pt idx="23683">
                  <c:v>0.42238273586588099</c:v>
                </c:pt>
                <c:pt idx="23684">
                  <c:v>0.422400570715177</c:v>
                </c:pt>
                <c:pt idx="23685">
                  <c:v>0.42241840556447202</c:v>
                </c:pt>
                <c:pt idx="23686">
                  <c:v>0.42243624041376798</c:v>
                </c:pt>
                <c:pt idx="23687">
                  <c:v>0.422454075263064</c:v>
                </c:pt>
                <c:pt idx="23688">
                  <c:v>0.42247191011235902</c:v>
                </c:pt>
                <c:pt idx="23689">
                  <c:v>0.42248974496165498</c:v>
                </c:pt>
                <c:pt idx="23690">
                  <c:v>0.42250757981095</c:v>
                </c:pt>
                <c:pt idx="23691">
                  <c:v>0.42252541466024601</c:v>
                </c:pt>
                <c:pt idx="23692">
                  <c:v>0.42254324950954097</c:v>
                </c:pt>
                <c:pt idx="23693">
                  <c:v>0.42256108435883699</c:v>
                </c:pt>
                <c:pt idx="23694">
                  <c:v>0.42257891920813201</c:v>
                </c:pt>
                <c:pt idx="23695">
                  <c:v>0.42259675405742803</c:v>
                </c:pt>
                <c:pt idx="23696">
                  <c:v>0.42261458890672299</c:v>
                </c:pt>
                <c:pt idx="23697">
                  <c:v>0.422632423756019</c:v>
                </c:pt>
                <c:pt idx="23698">
                  <c:v>0.42265025860531402</c:v>
                </c:pt>
                <c:pt idx="23699">
                  <c:v>0.42266809345460998</c:v>
                </c:pt>
                <c:pt idx="23700">
                  <c:v>0.422685928303905</c:v>
                </c:pt>
                <c:pt idx="23701">
                  <c:v>0.42270376315320102</c:v>
                </c:pt>
                <c:pt idx="23702">
                  <c:v>0.42272159800249598</c:v>
                </c:pt>
                <c:pt idx="23703">
                  <c:v>0.422739432851792</c:v>
                </c:pt>
                <c:pt idx="23704">
                  <c:v>0.42275726770108701</c:v>
                </c:pt>
                <c:pt idx="23705">
                  <c:v>0.42277510255038298</c:v>
                </c:pt>
                <c:pt idx="23706">
                  <c:v>0.42279293739967899</c:v>
                </c:pt>
                <c:pt idx="23707">
                  <c:v>0.42281077224897401</c:v>
                </c:pt>
                <c:pt idx="23708">
                  <c:v>0.42282860709827003</c:v>
                </c:pt>
                <c:pt idx="23709">
                  <c:v>0.42284644194756499</c:v>
                </c:pt>
                <c:pt idx="23710">
                  <c:v>0.42286427679686101</c:v>
                </c:pt>
                <c:pt idx="23711">
                  <c:v>0.42288211164615602</c:v>
                </c:pt>
                <c:pt idx="23712">
                  <c:v>0.42289994649545198</c:v>
                </c:pt>
                <c:pt idx="23713">
                  <c:v>0.422917781344747</c:v>
                </c:pt>
                <c:pt idx="23714">
                  <c:v>0.42293561619404302</c:v>
                </c:pt>
                <c:pt idx="23715">
                  <c:v>0.42295345104333798</c:v>
                </c:pt>
                <c:pt idx="23716">
                  <c:v>0.422971285892634</c:v>
                </c:pt>
                <c:pt idx="23717">
                  <c:v>0.42298912074192901</c:v>
                </c:pt>
                <c:pt idx="23718">
                  <c:v>0.42300695559122498</c:v>
                </c:pt>
                <c:pt idx="23719">
                  <c:v>0.42302479044051999</c:v>
                </c:pt>
                <c:pt idx="23720">
                  <c:v>0.42304262528981601</c:v>
                </c:pt>
                <c:pt idx="23721">
                  <c:v>0.42306046013911103</c:v>
                </c:pt>
                <c:pt idx="23722">
                  <c:v>0.42307829498840699</c:v>
                </c:pt>
                <c:pt idx="23723">
                  <c:v>0.42309612983770201</c:v>
                </c:pt>
                <c:pt idx="23724">
                  <c:v>0.42311396468699802</c:v>
                </c:pt>
                <c:pt idx="23725">
                  <c:v>0.42313179953629299</c:v>
                </c:pt>
                <c:pt idx="23726">
                  <c:v>0.423149634385589</c:v>
                </c:pt>
                <c:pt idx="23727">
                  <c:v>0.42316746923488402</c:v>
                </c:pt>
                <c:pt idx="23728">
                  <c:v>0.42318530408417998</c:v>
                </c:pt>
                <c:pt idx="23729">
                  <c:v>0.423203138933476</c:v>
                </c:pt>
                <c:pt idx="23730">
                  <c:v>0.42322097378277101</c:v>
                </c:pt>
                <c:pt idx="23731">
                  <c:v>0.42323880863206698</c:v>
                </c:pt>
                <c:pt idx="23732">
                  <c:v>0.42325664348136199</c:v>
                </c:pt>
                <c:pt idx="23733">
                  <c:v>0.42327447833065801</c:v>
                </c:pt>
                <c:pt idx="23734">
                  <c:v>0.42329231317995297</c:v>
                </c:pt>
                <c:pt idx="23735">
                  <c:v>0.42331014802924899</c:v>
                </c:pt>
                <c:pt idx="23736">
                  <c:v>0.42332798287854401</c:v>
                </c:pt>
                <c:pt idx="23737">
                  <c:v>0.42334581772784002</c:v>
                </c:pt>
                <c:pt idx="23738">
                  <c:v>0.42336365257713499</c:v>
                </c:pt>
                <c:pt idx="23739">
                  <c:v>0.423381487426431</c:v>
                </c:pt>
                <c:pt idx="23740">
                  <c:v>0.42339932227572602</c:v>
                </c:pt>
                <c:pt idx="23741">
                  <c:v>0.42341715712502198</c:v>
                </c:pt>
                <c:pt idx="23742">
                  <c:v>0.423434991974317</c:v>
                </c:pt>
                <c:pt idx="23743">
                  <c:v>0.42345282682361302</c:v>
                </c:pt>
                <c:pt idx="23744">
                  <c:v>0.42347066167290798</c:v>
                </c:pt>
                <c:pt idx="23745">
                  <c:v>0.42348849652220399</c:v>
                </c:pt>
                <c:pt idx="23746">
                  <c:v>0.42350633137149901</c:v>
                </c:pt>
                <c:pt idx="23747">
                  <c:v>0.42352416622079497</c:v>
                </c:pt>
                <c:pt idx="23748">
                  <c:v>0.42354200107008999</c:v>
                </c:pt>
                <c:pt idx="23749">
                  <c:v>0.42355983591938601</c:v>
                </c:pt>
                <c:pt idx="23750">
                  <c:v>0.42357767076868202</c:v>
                </c:pt>
                <c:pt idx="23751">
                  <c:v>0.42359550561797699</c:v>
                </c:pt>
                <c:pt idx="23752">
                  <c:v>0.423613340467273</c:v>
                </c:pt>
                <c:pt idx="23753">
                  <c:v>0.42363117531656802</c:v>
                </c:pt>
                <c:pt idx="23754">
                  <c:v>0.42364901016586398</c:v>
                </c:pt>
                <c:pt idx="23755">
                  <c:v>0.423666845015159</c:v>
                </c:pt>
                <c:pt idx="23756">
                  <c:v>0.42368467986445502</c:v>
                </c:pt>
                <c:pt idx="23757">
                  <c:v>0.42370251471374998</c:v>
                </c:pt>
                <c:pt idx="23758">
                  <c:v>0.42372034956304599</c:v>
                </c:pt>
                <c:pt idx="23759">
                  <c:v>0.42373818441234101</c:v>
                </c:pt>
                <c:pt idx="23760">
                  <c:v>0.42375601926163697</c:v>
                </c:pt>
                <c:pt idx="23761">
                  <c:v>0.42377385411093199</c:v>
                </c:pt>
                <c:pt idx="23762">
                  <c:v>0.42379168896022801</c:v>
                </c:pt>
                <c:pt idx="23763">
                  <c:v>0.42380952380952303</c:v>
                </c:pt>
                <c:pt idx="23764">
                  <c:v>0.42382735865881899</c:v>
                </c:pt>
                <c:pt idx="23765">
                  <c:v>0.423845193508114</c:v>
                </c:pt>
                <c:pt idx="23766">
                  <c:v>0.42386302835741002</c:v>
                </c:pt>
                <c:pt idx="23767">
                  <c:v>0.42388086320670498</c:v>
                </c:pt>
                <c:pt idx="23768">
                  <c:v>0.423898698056001</c:v>
                </c:pt>
                <c:pt idx="23769">
                  <c:v>0.42391653290529602</c:v>
                </c:pt>
                <c:pt idx="23770">
                  <c:v>0.42393436775459198</c:v>
                </c:pt>
                <c:pt idx="23771">
                  <c:v>0.423952202603888</c:v>
                </c:pt>
                <c:pt idx="23772">
                  <c:v>0.42397003745318301</c:v>
                </c:pt>
                <c:pt idx="23773">
                  <c:v>0.42398787230247897</c:v>
                </c:pt>
                <c:pt idx="23774">
                  <c:v>0.42400570715177399</c:v>
                </c:pt>
                <c:pt idx="23775">
                  <c:v>0.42402354200107001</c:v>
                </c:pt>
                <c:pt idx="23776">
                  <c:v>0.42404137685036503</c:v>
                </c:pt>
                <c:pt idx="23777">
                  <c:v>0.42405921169966099</c:v>
                </c:pt>
                <c:pt idx="23778">
                  <c:v>0.424077046548956</c:v>
                </c:pt>
                <c:pt idx="23779">
                  <c:v>0.42409488139825202</c:v>
                </c:pt>
                <c:pt idx="23780">
                  <c:v>0.42411271624754698</c:v>
                </c:pt>
                <c:pt idx="23781">
                  <c:v>0.424130551096843</c:v>
                </c:pt>
                <c:pt idx="23782">
                  <c:v>0.42414838594613802</c:v>
                </c:pt>
                <c:pt idx="23783">
                  <c:v>0.42416622079543398</c:v>
                </c:pt>
                <c:pt idx="23784">
                  <c:v>0.424184055644729</c:v>
                </c:pt>
                <c:pt idx="23785">
                  <c:v>0.42420189049402501</c:v>
                </c:pt>
                <c:pt idx="23786">
                  <c:v>0.42421972534331998</c:v>
                </c:pt>
                <c:pt idx="23787">
                  <c:v>0.42423756019261599</c:v>
                </c:pt>
                <c:pt idx="23788">
                  <c:v>0.42425539504191101</c:v>
                </c:pt>
                <c:pt idx="23789">
                  <c:v>0.42427322989120703</c:v>
                </c:pt>
                <c:pt idx="23790">
                  <c:v>0.42429106474050199</c:v>
                </c:pt>
                <c:pt idx="23791">
                  <c:v>0.42430889958979801</c:v>
                </c:pt>
                <c:pt idx="23792">
                  <c:v>0.42432673443909302</c:v>
                </c:pt>
                <c:pt idx="23793">
                  <c:v>0.42434456928838898</c:v>
                </c:pt>
                <c:pt idx="23794">
                  <c:v>0.424362404137685</c:v>
                </c:pt>
                <c:pt idx="23795">
                  <c:v>0.42438023898698002</c:v>
                </c:pt>
                <c:pt idx="23796">
                  <c:v>0.42439807383627598</c:v>
                </c:pt>
                <c:pt idx="23797">
                  <c:v>0.424415908685571</c:v>
                </c:pt>
                <c:pt idx="23798">
                  <c:v>0.42443374353486701</c:v>
                </c:pt>
                <c:pt idx="23799">
                  <c:v>0.42445157838416198</c:v>
                </c:pt>
                <c:pt idx="23800">
                  <c:v>0.42446941323345799</c:v>
                </c:pt>
                <c:pt idx="23801">
                  <c:v>0.42448724808275301</c:v>
                </c:pt>
                <c:pt idx="23802">
                  <c:v>0.42450508293204903</c:v>
                </c:pt>
                <c:pt idx="23803">
                  <c:v>0.42452291778134399</c:v>
                </c:pt>
                <c:pt idx="23804">
                  <c:v>0.42454075263064001</c:v>
                </c:pt>
                <c:pt idx="23805">
                  <c:v>0.42455858747993502</c:v>
                </c:pt>
                <c:pt idx="23806">
                  <c:v>0.42457642232923098</c:v>
                </c:pt>
                <c:pt idx="23807">
                  <c:v>0.424594257178526</c:v>
                </c:pt>
                <c:pt idx="23808">
                  <c:v>0.42461209202782202</c:v>
                </c:pt>
                <c:pt idx="23809">
                  <c:v>0.42462992687711698</c:v>
                </c:pt>
                <c:pt idx="23810">
                  <c:v>0.424647761726413</c:v>
                </c:pt>
                <c:pt idx="23811">
                  <c:v>0.42466559657570802</c:v>
                </c:pt>
                <c:pt idx="23812">
                  <c:v>0.42468343142500398</c:v>
                </c:pt>
                <c:pt idx="23813">
                  <c:v>0.42470126627429999</c:v>
                </c:pt>
                <c:pt idx="23814">
                  <c:v>0.42471910112359501</c:v>
                </c:pt>
                <c:pt idx="23815">
                  <c:v>0.42473693597289103</c:v>
                </c:pt>
                <c:pt idx="23816">
                  <c:v>0.42475477082218599</c:v>
                </c:pt>
                <c:pt idx="23817">
                  <c:v>0.42477260567148201</c:v>
                </c:pt>
                <c:pt idx="23818">
                  <c:v>0.42479044052077702</c:v>
                </c:pt>
                <c:pt idx="23819">
                  <c:v>0.42480827537007299</c:v>
                </c:pt>
                <c:pt idx="23820">
                  <c:v>0.424826110219368</c:v>
                </c:pt>
                <c:pt idx="23821">
                  <c:v>0.42484394506866402</c:v>
                </c:pt>
                <c:pt idx="23822">
                  <c:v>0.42486177991795898</c:v>
                </c:pt>
                <c:pt idx="23823">
                  <c:v>0.424879614767255</c:v>
                </c:pt>
                <c:pt idx="23824">
                  <c:v>0.42489744961655002</c:v>
                </c:pt>
                <c:pt idx="23825">
                  <c:v>0.42491528446584598</c:v>
                </c:pt>
                <c:pt idx="23826">
                  <c:v>0.42493311931514099</c:v>
                </c:pt>
                <c:pt idx="23827">
                  <c:v>0.42495095416443701</c:v>
                </c:pt>
                <c:pt idx="23828">
                  <c:v>0.42496878901373197</c:v>
                </c:pt>
                <c:pt idx="23829">
                  <c:v>0.42498662386302799</c:v>
                </c:pt>
                <c:pt idx="23830">
                  <c:v>0.42500445871232301</c:v>
                </c:pt>
                <c:pt idx="23831">
                  <c:v>0.42502229356161902</c:v>
                </c:pt>
                <c:pt idx="23832">
                  <c:v>0.42504012841091399</c:v>
                </c:pt>
                <c:pt idx="23833">
                  <c:v>0.42505796326021</c:v>
                </c:pt>
                <c:pt idx="23834">
                  <c:v>0.42507579810950502</c:v>
                </c:pt>
                <c:pt idx="23835">
                  <c:v>0.42509363295880098</c:v>
                </c:pt>
                <c:pt idx="23836">
                  <c:v>0.425111467808097</c:v>
                </c:pt>
                <c:pt idx="23837">
                  <c:v>0.42512930265739202</c:v>
                </c:pt>
                <c:pt idx="23838">
                  <c:v>0.42514713750668798</c:v>
                </c:pt>
                <c:pt idx="23839">
                  <c:v>0.425164972355983</c:v>
                </c:pt>
                <c:pt idx="23840">
                  <c:v>0.42518280720527901</c:v>
                </c:pt>
                <c:pt idx="23841">
                  <c:v>0.42520064205457397</c:v>
                </c:pt>
                <c:pt idx="23842">
                  <c:v>0.42521847690386999</c:v>
                </c:pt>
                <c:pt idx="23843">
                  <c:v>0.42523631175316501</c:v>
                </c:pt>
                <c:pt idx="23844">
                  <c:v>0.42525414660246103</c:v>
                </c:pt>
                <c:pt idx="23845">
                  <c:v>0.42527198145175599</c:v>
                </c:pt>
                <c:pt idx="23846">
                  <c:v>0.425289816301052</c:v>
                </c:pt>
                <c:pt idx="23847">
                  <c:v>0.42530765115034702</c:v>
                </c:pt>
                <c:pt idx="23848">
                  <c:v>0.42532548599964298</c:v>
                </c:pt>
                <c:pt idx="23849">
                  <c:v>0.425343320848938</c:v>
                </c:pt>
                <c:pt idx="23850">
                  <c:v>0.42536115569823402</c:v>
                </c:pt>
                <c:pt idx="23851">
                  <c:v>0.42537899054752898</c:v>
                </c:pt>
                <c:pt idx="23852">
                  <c:v>0.425396825396825</c:v>
                </c:pt>
                <c:pt idx="23853">
                  <c:v>0.42541466024612001</c:v>
                </c:pt>
                <c:pt idx="23854">
                  <c:v>0.42543249509541597</c:v>
                </c:pt>
                <c:pt idx="23855">
                  <c:v>0.42545032994471199</c:v>
                </c:pt>
                <c:pt idx="23856">
                  <c:v>0.42546816479400701</c:v>
                </c:pt>
                <c:pt idx="23857">
                  <c:v>0.42548599964330303</c:v>
                </c:pt>
                <c:pt idx="23858">
                  <c:v>0.42550383449259799</c:v>
                </c:pt>
                <c:pt idx="23859">
                  <c:v>0.425521669341894</c:v>
                </c:pt>
                <c:pt idx="23860">
                  <c:v>0.42553950419118902</c:v>
                </c:pt>
                <c:pt idx="23861">
                  <c:v>0.42555733904048498</c:v>
                </c:pt>
                <c:pt idx="23862">
                  <c:v>0.42557517388978</c:v>
                </c:pt>
                <c:pt idx="23863">
                  <c:v>0.42559300873907602</c:v>
                </c:pt>
                <c:pt idx="23864">
                  <c:v>0.42561084358837098</c:v>
                </c:pt>
                <c:pt idx="23865">
                  <c:v>0.425628678437667</c:v>
                </c:pt>
                <c:pt idx="23866">
                  <c:v>0.42564651328696201</c:v>
                </c:pt>
                <c:pt idx="23867">
                  <c:v>0.42566434813625798</c:v>
                </c:pt>
                <c:pt idx="23868">
                  <c:v>0.42568218298555299</c:v>
                </c:pt>
                <c:pt idx="23869">
                  <c:v>0.42570001783484901</c:v>
                </c:pt>
                <c:pt idx="23870">
                  <c:v>0.42571785268414403</c:v>
                </c:pt>
                <c:pt idx="23871">
                  <c:v>0.42573568753343999</c:v>
                </c:pt>
                <c:pt idx="23872">
                  <c:v>0.42575352238273501</c:v>
                </c:pt>
                <c:pt idx="23873">
                  <c:v>0.42577135723203102</c:v>
                </c:pt>
                <c:pt idx="23874">
                  <c:v>0.42578919208132598</c:v>
                </c:pt>
                <c:pt idx="23875">
                  <c:v>0.425807026930622</c:v>
                </c:pt>
                <c:pt idx="23876">
                  <c:v>0.42582486177991702</c:v>
                </c:pt>
                <c:pt idx="23877">
                  <c:v>0.42584269662921298</c:v>
                </c:pt>
                <c:pt idx="23878">
                  <c:v>0.425860531478509</c:v>
                </c:pt>
                <c:pt idx="23879">
                  <c:v>0.42587836632780401</c:v>
                </c:pt>
                <c:pt idx="23880">
                  <c:v>0.42589620117709998</c:v>
                </c:pt>
                <c:pt idx="23881">
                  <c:v>0.42591403602639499</c:v>
                </c:pt>
                <c:pt idx="23882">
                  <c:v>0.42593187087569101</c:v>
                </c:pt>
                <c:pt idx="23883">
                  <c:v>0.42594970572498603</c:v>
                </c:pt>
                <c:pt idx="23884">
                  <c:v>0.42596754057428199</c:v>
                </c:pt>
                <c:pt idx="23885">
                  <c:v>0.42598537542357701</c:v>
                </c:pt>
                <c:pt idx="23886">
                  <c:v>0.42600321027287302</c:v>
                </c:pt>
                <c:pt idx="23887">
                  <c:v>0.42602104512216799</c:v>
                </c:pt>
                <c:pt idx="23888">
                  <c:v>0.426038879971464</c:v>
                </c:pt>
                <c:pt idx="23889">
                  <c:v>0.42605671482075902</c:v>
                </c:pt>
                <c:pt idx="23890">
                  <c:v>0.42607454967005498</c:v>
                </c:pt>
                <c:pt idx="23891">
                  <c:v>0.42609238451935</c:v>
                </c:pt>
                <c:pt idx="23892">
                  <c:v>0.42611021936864601</c:v>
                </c:pt>
                <c:pt idx="23893">
                  <c:v>0.42612805421794098</c:v>
                </c:pt>
                <c:pt idx="23894">
                  <c:v>0.42614588906723699</c:v>
                </c:pt>
                <c:pt idx="23895">
                  <c:v>0.42616372391653201</c:v>
                </c:pt>
                <c:pt idx="23896">
                  <c:v>0.42618155876582797</c:v>
                </c:pt>
                <c:pt idx="23897">
                  <c:v>0.42619939361512299</c:v>
                </c:pt>
                <c:pt idx="23898">
                  <c:v>0.42621722846441901</c:v>
                </c:pt>
                <c:pt idx="23899">
                  <c:v>0.42623506331371502</c:v>
                </c:pt>
                <c:pt idx="23900">
                  <c:v>0.42625289816300999</c:v>
                </c:pt>
                <c:pt idx="23901">
                  <c:v>0.426270733012306</c:v>
                </c:pt>
                <c:pt idx="23902">
                  <c:v>0.42628856786160102</c:v>
                </c:pt>
                <c:pt idx="23903">
                  <c:v>0.42630640271089698</c:v>
                </c:pt>
                <c:pt idx="23904">
                  <c:v>0.426324237560192</c:v>
                </c:pt>
                <c:pt idx="23905">
                  <c:v>0.42634207240948802</c:v>
                </c:pt>
                <c:pt idx="23906">
                  <c:v>0.42635990725878298</c:v>
                </c:pt>
                <c:pt idx="23907">
                  <c:v>0.42637774210807899</c:v>
                </c:pt>
                <c:pt idx="23908">
                  <c:v>0.42639557695737401</c:v>
                </c:pt>
                <c:pt idx="23909">
                  <c:v>0.42641341180666997</c:v>
                </c:pt>
                <c:pt idx="23910">
                  <c:v>0.42643124665596499</c:v>
                </c:pt>
                <c:pt idx="23911">
                  <c:v>0.42644908150526101</c:v>
                </c:pt>
                <c:pt idx="23912">
                  <c:v>0.42646691635455602</c:v>
                </c:pt>
                <c:pt idx="23913">
                  <c:v>0.42648475120385199</c:v>
                </c:pt>
                <c:pt idx="23914">
                  <c:v>0.426502586053147</c:v>
                </c:pt>
                <c:pt idx="23915">
                  <c:v>0.42652042090244302</c:v>
                </c:pt>
                <c:pt idx="23916">
                  <c:v>0.42653825575173798</c:v>
                </c:pt>
                <c:pt idx="23917">
                  <c:v>0.426556090601034</c:v>
                </c:pt>
                <c:pt idx="23918">
                  <c:v>0.42657392545032902</c:v>
                </c:pt>
                <c:pt idx="23919">
                  <c:v>0.42659176029962498</c:v>
                </c:pt>
                <c:pt idx="23920">
                  <c:v>0.42660959514892099</c:v>
                </c:pt>
                <c:pt idx="23921">
                  <c:v>0.42662742999821601</c:v>
                </c:pt>
                <c:pt idx="23922">
                  <c:v>0.42664526484751197</c:v>
                </c:pt>
                <c:pt idx="23923">
                  <c:v>0.42666309969680699</c:v>
                </c:pt>
                <c:pt idx="23924">
                  <c:v>0.42668093454610301</c:v>
                </c:pt>
                <c:pt idx="23925">
                  <c:v>0.42669876939539803</c:v>
                </c:pt>
                <c:pt idx="23926">
                  <c:v>0.42671660424469399</c:v>
                </c:pt>
                <c:pt idx="23927">
                  <c:v>0.426734439093989</c:v>
                </c:pt>
                <c:pt idx="23928">
                  <c:v>0.42675227394328502</c:v>
                </c:pt>
                <c:pt idx="23929">
                  <c:v>0.42677010879257998</c:v>
                </c:pt>
                <c:pt idx="23930">
                  <c:v>0.426787943641876</c:v>
                </c:pt>
                <c:pt idx="23931">
                  <c:v>0.42680577849117102</c:v>
                </c:pt>
                <c:pt idx="23932">
                  <c:v>0.42682361334046698</c:v>
                </c:pt>
                <c:pt idx="23933">
                  <c:v>0.426841448189762</c:v>
                </c:pt>
                <c:pt idx="23934">
                  <c:v>0.42685928303905801</c:v>
                </c:pt>
                <c:pt idx="23935">
                  <c:v>0.42687711788835297</c:v>
                </c:pt>
                <c:pt idx="23936">
                  <c:v>0.42689495273764899</c:v>
                </c:pt>
                <c:pt idx="23937">
                  <c:v>0.42691278758694401</c:v>
                </c:pt>
                <c:pt idx="23938">
                  <c:v>0.42693062243624003</c:v>
                </c:pt>
                <c:pt idx="23939">
                  <c:v>0.42694845728553499</c:v>
                </c:pt>
                <c:pt idx="23940">
                  <c:v>0.426966292134831</c:v>
                </c:pt>
                <c:pt idx="23941">
                  <c:v>0.42698412698412602</c:v>
                </c:pt>
                <c:pt idx="23942">
                  <c:v>0.42700196183342198</c:v>
                </c:pt>
                <c:pt idx="23943">
                  <c:v>0.427019796682718</c:v>
                </c:pt>
                <c:pt idx="23944">
                  <c:v>0.42703763153201302</c:v>
                </c:pt>
                <c:pt idx="23945">
                  <c:v>0.42705546638130898</c:v>
                </c:pt>
                <c:pt idx="23946">
                  <c:v>0.427073301230604</c:v>
                </c:pt>
                <c:pt idx="23947">
                  <c:v>0.42709113607990001</c:v>
                </c:pt>
                <c:pt idx="23948">
                  <c:v>0.42710897092919498</c:v>
                </c:pt>
                <c:pt idx="23949">
                  <c:v>0.42712680577849099</c:v>
                </c:pt>
                <c:pt idx="23950">
                  <c:v>0.42714464062778601</c:v>
                </c:pt>
                <c:pt idx="23951">
                  <c:v>0.42716247547708203</c:v>
                </c:pt>
                <c:pt idx="23952">
                  <c:v>0.42718031032637699</c:v>
                </c:pt>
                <c:pt idx="23953">
                  <c:v>0.42719814517567301</c:v>
                </c:pt>
                <c:pt idx="23954">
                  <c:v>0.42721598002496802</c:v>
                </c:pt>
                <c:pt idx="23955">
                  <c:v>0.42723381487426398</c:v>
                </c:pt>
                <c:pt idx="23956">
                  <c:v>0.427251649723559</c:v>
                </c:pt>
                <c:pt idx="23957">
                  <c:v>0.42726948457285502</c:v>
                </c:pt>
                <c:pt idx="23958">
                  <c:v>0.42728731942214998</c:v>
                </c:pt>
                <c:pt idx="23959">
                  <c:v>0.427305154271446</c:v>
                </c:pt>
                <c:pt idx="23960">
                  <c:v>0.42732298912074101</c:v>
                </c:pt>
                <c:pt idx="23961">
                  <c:v>0.42734082397003698</c:v>
                </c:pt>
                <c:pt idx="23962">
                  <c:v>0.42735865881933299</c:v>
                </c:pt>
                <c:pt idx="23963">
                  <c:v>0.42737649366862801</c:v>
                </c:pt>
                <c:pt idx="23964">
                  <c:v>0.42739432851792403</c:v>
                </c:pt>
                <c:pt idx="23965">
                  <c:v>0.42741216336721899</c:v>
                </c:pt>
                <c:pt idx="23966">
                  <c:v>0.42742999821651501</c:v>
                </c:pt>
                <c:pt idx="23967">
                  <c:v>0.42744783306581002</c:v>
                </c:pt>
                <c:pt idx="23968">
                  <c:v>0.42746566791510598</c:v>
                </c:pt>
                <c:pt idx="23969">
                  <c:v>0.427483502764401</c:v>
                </c:pt>
                <c:pt idx="23970">
                  <c:v>0.42750133761369702</c:v>
                </c:pt>
                <c:pt idx="23971">
                  <c:v>0.42751917246299198</c:v>
                </c:pt>
                <c:pt idx="23972">
                  <c:v>0.427537007312288</c:v>
                </c:pt>
                <c:pt idx="23973">
                  <c:v>0.42755484216158302</c:v>
                </c:pt>
                <c:pt idx="23974">
                  <c:v>0.42757267701087898</c:v>
                </c:pt>
                <c:pt idx="23975">
                  <c:v>0.42759051186017399</c:v>
                </c:pt>
                <c:pt idx="23976">
                  <c:v>0.42760834670947001</c:v>
                </c:pt>
                <c:pt idx="23977">
                  <c:v>0.42762618155876497</c:v>
                </c:pt>
                <c:pt idx="23978">
                  <c:v>0.42764401640806099</c:v>
                </c:pt>
                <c:pt idx="23979">
                  <c:v>0.42766185125735601</c:v>
                </c:pt>
                <c:pt idx="23980">
                  <c:v>0.42767968610665202</c:v>
                </c:pt>
                <c:pt idx="23981">
                  <c:v>0.42769752095594699</c:v>
                </c:pt>
                <c:pt idx="23982">
                  <c:v>0.427715355805243</c:v>
                </c:pt>
                <c:pt idx="23983">
                  <c:v>0.42773319065453802</c:v>
                </c:pt>
                <c:pt idx="23984">
                  <c:v>0.42775102550383398</c:v>
                </c:pt>
                <c:pt idx="23985">
                  <c:v>0.42776886035313</c:v>
                </c:pt>
                <c:pt idx="23986">
                  <c:v>0.42778669520242502</c:v>
                </c:pt>
                <c:pt idx="23987">
                  <c:v>0.42780453005172098</c:v>
                </c:pt>
                <c:pt idx="23988">
                  <c:v>0.42782236490101599</c:v>
                </c:pt>
                <c:pt idx="23989">
                  <c:v>0.42784019975031201</c:v>
                </c:pt>
                <c:pt idx="23990">
                  <c:v>0.42785803459960697</c:v>
                </c:pt>
                <c:pt idx="23991">
                  <c:v>0.42787586944890299</c:v>
                </c:pt>
                <c:pt idx="23992">
                  <c:v>0.42789370429819801</c:v>
                </c:pt>
                <c:pt idx="23993">
                  <c:v>0.42791153914749402</c:v>
                </c:pt>
                <c:pt idx="23994">
                  <c:v>0.42792937399678899</c:v>
                </c:pt>
                <c:pt idx="23995">
                  <c:v>0.427947208846085</c:v>
                </c:pt>
                <c:pt idx="23996">
                  <c:v>0.42796504369538002</c:v>
                </c:pt>
                <c:pt idx="23997">
                  <c:v>0.42798287854467598</c:v>
                </c:pt>
                <c:pt idx="23998">
                  <c:v>0.428000713393971</c:v>
                </c:pt>
                <c:pt idx="23999">
                  <c:v>0.42801854824326702</c:v>
                </c:pt>
                <c:pt idx="24000">
                  <c:v>0.42803638309256198</c:v>
                </c:pt>
                <c:pt idx="24001">
                  <c:v>0.428054217941858</c:v>
                </c:pt>
                <c:pt idx="24002">
                  <c:v>0.42807205279115301</c:v>
                </c:pt>
                <c:pt idx="24003">
                  <c:v>0.42808988764044897</c:v>
                </c:pt>
                <c:pt idx="24004">
                  <c:v>0.42810772248974399</c:v>
                </c:pt>
                <c:pt idx="24005">
                  <c:v>0.42812555733904001</c:v>
                </c:pt>
                <c:pt idx="24006">
                  <c:v>0.42814339218833602</c:v>
                </c:pt>
                <c:pt idx="24007">
                  <c:v>0.42816122703763099</c:v>
                </c:pt>
                <c:pt idx="24008">
                  <c:v>0.428179061886927</c:v>
                </c:pt>
                <c:pt idx="24009">
                  <c:v>0.42819689673622202</c:v>
                </c:pt>
                <c:pt idx="24010">
                  <c:v>0.42821473158551798</c:v>
                </c:pt>
                <c:pt idx="24011">
                  <c:v>0.428232566434813</c:v>
                </c:pt>
                <c:pt idx="24012">
                  <c:v>0.42825040128410902</c:v>
                </c:pt>
                <c:pt idx="24013">
                  <c:v>0.42826823613340398</c:v>
                </c:pt>
                <c:pt idx="24014">
                  <c:v>0.4282860709827</c:v>
                </c:pt>
                <c:pt idx="24015">
                  <c:v>0.42830390583199501</c:v>
                </c:pt>
                <c:pt idx="24016">
                  <c:v>0.42832174068129097</c:v>
                </c:pt>
                <c:pt idx="24017">
                  <c:v>0.42833957553058599</c:v>
                </c:pt>
                <c:pt idx="24018">
                  <c:v>0.42835741037988201</c:v>
                </c:pt>
                <c:pt idx="24019">
                  <c:v>0.42837524522917703</c:v>
                </c:pt>
                <c:pt idx="24020">
                  <c:v>0.42839308007847299</c:v>
                </c:pt>
                <c:pt idx="24021">
                  <c:v>0.42841091492776801</c:v>
                </c:pt>
                <c:pt idx="24022">
                  <c:v>0.42842874977706402</c:v>
                </c:pt>
                <c:pt idx="24023">
                  <c:v>0.42844658462635898</c:v>
                </c:pt>
                <c:pt idx="24024">
                  <c:v>0.428464419475655</c:v>
                </c:pt>
                <c:pt idx="24025">
                  <c:v>0.42848225432495002</c:v>
                </c:pt>
                <c:pt idx="24026">
                  <c:v>0.42850008917424598</c:v>
                </c:pt>
                <c:pt idx="24027">
                  <c:v>0.428517924023542</c:v>
                </c:pt>
                <c:pt idx="24028">
                  <c:v>0.42853575887283701</c:v>
                </c:pt>
                <c:pt idx="24029">
                  <c:v>0.42855359372213297</c:v>
                </c:pt>
                <c:pt idx="24030">
                  <c:v>0.42857142857142799</c:v>
                </c:pt>
                <c:pt idx="24031">
                  <c:v>0.42858926342072401</c:v>
                </c:pt>
                <c:pt idx="24032">
                  <c:v>0.42860709827001903</c:v>
                </c:pt>
                <c:pt idx="24033">
                  <c:v>0.42862493311931499</c:v>
                </c:pt>
                <c:pt idx="24034">
                  <c:v>0.42864276796861001</c:v>
                </c:pt>
                <c:pt idx="24035">
                  <c:v>0.42866060281790602</c:v>
                </c:pt>
                <c:pt idx="24036">
                  <c:v>0.42867843766720098</c:v>
                </c:pt>
                <c:pt idx="24037">
                  <c:v>0.428696272516497</c:v>
                </c:pt>
                <c:pt idx="24038">
                  <c:v>0.42871410736579202</c:v>
                </c:pt>
                <c:pt idx="24039">
                  <c:v>0.42873194221508798</c:v>
                </c:pt>
                <c:pt idx="24040">
                  <c:v>0.428749777064383</c:v>
                </c:pt>
                <c:pt idx="24041">
                  <c:v>0.42876761191367901</c:v>
                </c:pt>
                <c:pt idx="24042">
                  <c:v>0.42878544676297398</c:v>
                </c:pt>
                <c:pt idx="24043">
                  <c:v>0.42880328161226999</c:v>
                </c:pt>
                <c:pt idx="24044">
                  <c:v>0.42882111646156501</c:v>
                </c:pt>
                <c:pt idx="24045">
                  <c:v>0.42883895131086103</c:v>
                </c:pt>
                <c:pt idx="24046">
                  <c:v>0.42885678616015599</c:v>
                </c:pt>
                <c:pt idx="24047">
                  <c:v>0.42887462100945201</c:v>
                </c:pt>
                <c:pt idx="24048">
                  <c:v>0.42889245585874702</c:v>
                </c:pt>
                <c:pt idx="24049">
                  <c:v>0.42891029070804298</c:v>
                </c:pt>
                <c:pt idx="24050">
                  <c:v>0.428928125557339</c:v>
                </c:pt>
                <c:pt idx="24051">
                  <c:v>0.42894596040663402</c:v>
                </c:pt>
                <c:pt idx="24052">
                  <c:v>0.42896379525592998</c:v>
                </c:pt>
                <c:pt idx="24053">
                  <c:v>0.428981630105225</c:v>
                </c:pt>
                <c:pt idx="24054">
                  <c:v>0.42899946495452101</c:v>
                </c:pt>
                <c:pt idx="24055">
                  <c:v>0.42901729980381598</c:v>
                </c:pt>
                <c:pt idx="24056">
                  <c:v>0.42903513465311199</c:v>
                </c:pt>
                <c:pt idx="24057">
                  <c:v>0.42905296950240701</c:v>
                </c:pt>
                <c:pt idx="24058">
                  <c:v>0.42907080435170297</c:v>
                </c:pt>
                <c:pt idx="24059">
                  <c:v>0.42908863920099799</c:v>
                </c:pt>
                <c:pt idx="24060">
                  <c:v>0.42910647405029401</c:v>
                </c:pt>
                <c:pt idx="24061">
                  <c:v>0.42912430889958902</c:v>
                </c:pt>
                <c:pt idx="24062">
                  <c:v>0.42914214374888499</c:v>
                </c:pt>
                <c:pt idx="24063">
                  <c:v>0.42915997859818</c:v>
                </c:pt>
                <c:pt idx="24064">
                  <c:v>0.42917781344747602</c:v>
                </c:pt>
                <c:pt idx="24065">
                  <c:v>0.42919564829677098</c:v>
                </c:pt>
                <c:pt idx="24066">
                  <c:v>0.429213483146067</c:v>
                </c:pt>
                <c:pt idx="24067">
                  <c:v>0.42923131799536202</c:v>
                </c:pt>
                <c:pt idx="24068">
                  <c:v>0.42924915284465798</c:v>
                </c:pt>
                <c:pt idx="24069">
                  <c:v>0.42926698769395399</c:v>
                </c:pt>
                <c:pt idx="24070">
                  <c:v>0.42928482254324901</c:v>
                </c:pt>
                <c:pt idx="24071">
                  <c:v>0.42930265739254497</c:v>
                </c:pt>
                <c:pt idx="24072">
                  <c:v>0.42932049224183999</c:v>
                </c:pt>
                <c:pt idx="24073">
                  <c:v>0.42933832709113601</c:v>
                </c:pt>
                <c:pt idx="24074">
                  <c:v>0.42935616194043102</c:v>
                </c:pt>
                <c:pt idx="24075">
                  <c:v>0.42937399678972699</c:v>
                </c:pt>
                <c:pt idx="24076">
                  <c:v>0.429391831639022</c:v>
                </c:pt>
                <c:pt idx="24077">
                  <c:v>0.42940966648831802</c:v>
                </c:pt>
                <c:pt idx="24078">
                  <c:v>0.42942750133761298</c:v>
                </c:pt>
                <c:pt idx="24079">
                  <c:v>0.429445336186909</c:v>
                </c:pt>
                <c:pt idx="24080">
                  <c:v>0.42946317103620402</c:v>
                </c:pt>
                <c:pt idx="24081">
                  <c:v>0.42948100588549998</c:v>
                </c:pt>
                <c:pt idx="24082">
                  <c:v>0.429498840734795</c:v>
                </c:pt>
                <c:pt idx="24083">
                  <c:v>0.42951667558409101</c:v>
                </c:pt>
                <c:pt idx="24084">
                  <c:v>0.42953451043338597</c:v>
                </c:pt>
                <c:pt idx="24085">
                  <c:v>0.42955234528268199</c:v>
                </c:pt>
                <c:pt idx="24086">
                  <c:v>0.42957018013197701</c:v>
                </c:pt>
                <c:pt idx="24087">
                  <c:v>0.42958801498127303</c:v>
                </c:pt>
                <c:pt idx="24088">
                  <c:v>0.42960584983056799</c:v>
                </c:pt>
                <c:pt idx="24089">
                  <c:v>0.429623684679864</c:v>
                </c:pt>
                <c:pt idx="24090">
                  <c:v>0.42964151952915902</c:v>
                </c:pt>
                <c:pt idx="24091">
                  <c:v>0.42965935437845498</c:v>
                </c:pt>
                <c:pt idx="24092">
                  <c:v>0.429677189227751</c:v>
                </c:pt>
                <c:pt idx="24093">
                  <c:v>0.42969502407704602</c:v>
                </c:pt>
                <c:pt idx="24094">
                  <c:v>0.42971285892634198</c:v>
                </c:pt>
                <c:pt idx="24095">
                  <c:v>0.429730693775637</c:v>
                </c:pt>
                <c:pt idx="24096">
                  <c:v>0.42974852862493301</c:v>
                </c:pt>
                <c:pt idx="24097">
                  <c:v>0.42976636347422797</c:v>
                </c:pt>
                <c:pt idx="24098">
                  <c:v>0.42978419832352399</c:v>
                </c:pt>
                <c:pt idx="24099">
                  <c:v>0.42980203317281901</c:v>
                </c:pt>
                <c:pt idx="24100">
                  <c:v>0.42981986802211503</c:v>
                </c:pt>
                <c:pt idx="24101">
                  <c:v>0.42983770287140999</c:v>
                </c:pt>
                <c:pt idx="24102">
                  <c:v>0.429855537720706</c:v>
                </c:pt>
                <c:pt idx="24103">
                  <c:v>0.42987337257000102</c:v>
                </c:pt>
                <c:pt idx="24104">
                  <c:v>0.42989120741929698</c:v>
                </c:pt>
                <c:pt idx="24105">
                  <c:v>0.429909042268592</c:v>
                </c:pt>
                <c:pt idx="24106">
                  <c:v>0.42992687711788802</c:v>
                </c:pt>
                <c:pt idx="24107">
                  <c:v>0.42994471196718298</c:v>
                </c:pt>
                <c:pt idx="24108">
                  <c:v>0.429962546816479</c:v>
                </c:pt>
                <c:pt idx="24109">
                  <c:v>0.42998038166577401</c:v>
                </c:pt>
                <c:pt idx="24110">
                  <c:v>0.42999821651506998</c:v>
                </c:pt>
                <c:pt idx="24111">
                  <c:v>0.43001605136436599</c:v>
                </c:pt>
                <c:pt idx="24112">
                  <c:v>0.43003388621366101</c:v>
                </c:pt>
                <c:pt idx="24113">
                  <c:v>0.43005172106295703</c:v>
                </c:pt>
                <c:pt idx="24114">
                  <c:v>0.43006955591225199</c:v>
                </c:pt>
                <c:pt idx="24115">
                  <c:v>0.43008739076154801</c:v>
                </c:pt>
                <c:pt idx="24116">
                  <c:v>0.43010522561084302</c:v>
                </c:pt>
                <c:pt idx="24117">
                  <c:v>0.43012306046013898</c:v>
                </c:pt>
                <c:pt idx="24118">
                  <c:v>0.430140895309434</c:v>
                </c:pt>
                <c:pt idx="24119">
                  <c:v>0.43015873015873002</c:v>
                </c:pt>
                <c:pt idx="24120">
                  <c:v>0.43017656500802498</c:v>
                </c:pt>
                <c:pt idx="24121">
                  <c:v>0.430194399857321</c:v>
                </c:pt>
                <c:pt idx="24122">
                  <c:v>0.43021223470661601</c:v>
                </c:pt>
                <c:pt idx="24123">
                  <c:v>0.43023006955591198</c:v>
                </c:pt>
                <c:pt idx="24124">
                  <c:v>0.43024790440520699</c:v>
                </c:pt>
                <c:pt idx="24125">
                  <c:v>0.43026573925450301</c:v>
                </c:pt>
                <c:pt idx="24126">
                  <c:v>0.43028357410379803</c:v>
                </c:pt>
                <c:pt idx="24127">
                  <c:v>0.43030140895309399</c:v>
                </c:pt>
                <c:pt idx="24128">
                  <c:v>0.43031924380238901</c:v>
                </c:pt>
                <c:pt idx="24129">
                  <c:v>0.43033707865168502</c:v>
                </c:pt>
                <c:pt idx="24130">
                  <c:v>0.43035491350097999</c:v>
                </c:pt>
                <c:pt idx="24131">
                  <c:v>0.430372748350276</c:v>
                </c:pt>
                <c:pt idx="24132">
                  <c:v>0.43039058319957102</c:v>
                </c:pt>
                <c:pt idx="24133">
                  <c:v>0.43040841804886698</c:v>
                </c:pt>
                <c:pt idx="24134">
                  <c:v>0.430426252898163</c:v>
                </c:pt>
                <c:pt idx="24135">
                  <c:v>0.43044408774745802</c:v>
                </c:pt>
                <c:pt idx="24136">
                  <c:v>0.43046192259675398</c:v>
                </c:pt>
                <c:pt idx="24137">
                  <c:v>0.43047975744604899</c:v>
                </c:pt>
                <c:pt idx="24138">
                  <c:v>0.43049759229534501</c:v>
                </c:pt>
                <c:pt idx="24139">
                  <c:v>0.43051542714463997</c:v>
                </c:pt>
                <c:pt idx="24140">
                  <c:v>0.43053326199393599</c:v>
                </c:pt>
                <c:pt idx="24141">
                  <c:v>0.43055109684323101</c:v>
                </c:pt>
                <c:pt idx="24142">
                  <c:v>0.43056893169252702</c:v>
                </c:pt>
                <c:pt idx="24143">
                  <c:v>0.43058676654182199</c:v>
                </c:pt>
                <c:pt idx="24144">
                  <c:v>0.430604601391118</c:v>
                </c:pt>
                <c:pt idx="24145">
                  <c:v>0.43062243624041302</c:v>
                </c:pt>
                <c:pt idx="24146">
                  <c:v>0.43064027108970898</c:v>
                </c:pt>
                <c:pt idx="24147">
                  <c:v>0.430658105939004</c:v>
                </c:pt>
                <c:pt idx="24148">
                  <c:v>0.43067594078830002</c:v>
                </c:pt>
                <c:pt idx="24149">
                  <c:v>0.43069377563759498</c:v>
                </c:pt>
                <c:pt idx="24150">
                  <c:v>0.43071161048689099</c:v>
                </c:pt>
                <c:pt idx="24151">
                  <c:v>0.43072944533618601</c:v>
                </c:pt>
                <c:pt idx="24152">
                  <c:v>0.43074728018548197</c:v>
                </c:pt>
                <c:pt idx="24153">
                  <c:v>0.43076511503477699</c:v>
                </c:pt>
                <c:pt idx="24154">
                  <c:v>0.43078294988407301</c:v>
                </c:pt>
                <c:pt idx="24155">
                  <c:v>0.43080078473336902</c:v>
                </c:pt>
                <c:pt idx="24156">
                  <c:v>0.43081861958266399</c:v>
                </c:pt>
                <c:pt idx="24157">
                  <c:v>0.43083645443196</c:v>
                </c:pt>
                <c:pt idx="24158">
                  <c:v>0.43085428928125502</c:v>
                </c:pt>
                <c:pt idx="24159">
                  <c:v>0.43087212413055098</c:v>
                </c:pt>
                <c:pt idx="24160">
                  <c:v>0.430889958979846</c:v>
                </c:pt>
                <c:pt idx="24161">
                  <c:v>0.43090779382914202</c:v>
                </c:pt>
                <c:pt idx="24162">
                  <c:v>0.43092562867843698</c:v>
                </c:pt>
                <c:pt idx="24163">
                  <c:v>0.430943463527733</c:v>
                </c:pt>
                <c:pt idx="24164">
                  <c:v>0.43096129837702801</c:v>
                </c:pt>
                <c:pt idx="24165">
                  <c:v>0.43097913322632397</c:v>
                </c:pt>
                <c:pt idx="24166">
                  <c:v>0.43099696807561899</c:v>
                </c:pt>
                <c:pt idx="24167">
                  <c:v>0.43101480292491501</c:v>
                </c:pt>
                <c:pt idx="24168">
                  <c:v>0.43103263777421003</c:v>
                </c:pt>
                <c:pt idx="24169">
                  <c:v>0.43105047262350599</c:v>
                </c:pt>
                <c:pt idx="24170">
                  <c:v>0.431068307472801</c:v>
                </c:pt>
                <c:pt idx="24171">
                  <c:v>0.43108614232209702</c:v>
                </c:pt>
                <c:pt idx="24172">
                  <c:v>0.43110397717139198</c:v>
                </c:pt>
                <c:pt idx="24173">
                  <c:v>0.431121812020688</c:v>
                </c:pt>
                <c:pt idx="24174">
                  <c:v>0.43113964686998302</c:v>
                </c:pt>
                <c:pt idx="24175">
                  <c:v>0.43115748171927898</c:v>
                </c:pt>
                <c:pt idx="24176">
                  <c:v>0.431175316568575</c:v>
                </c:pt>
                <c:pt idx="24177">
                  <c:v>0.43119315141787001</c:v>
                </c:pt>
                <c:pt idx="24178">
                  <c:v>0.43121098626716597</c:v>
                </c:pt>
                <c:pt idx="24179">
                  <c:v>0.43122882111646099</c:v>
                </c:pt>
                <c:pt idx="24180">
                  <c:v>0.43124665596575701</c:v>
                </c:pt>
                <c:pt idx="24181">
                  <c:v>0.43126449081505203</c:v>
                </c:pt>
                <c:pt idx="24182">
                  <c:v>0.43128232566434799</c:v>
                </c:pt>
                <c:pt idx="24183">
                  <c:v>0.43130016051364301</c:v>
                </c:pt>
                <c:pt idx="24184">
                  <c:v>0.43131799536293902</c:v>
                </c:pt>
                <c:pt idx="24185">
                  <c:v>0.43133583021223398</c:v>
                </c:pt>
                <c:pt idx="24186">
                  <c:v>0.43135366506153</c:v>
                </c:pt>
                <c:pt idx="24187">
                  <c:v>0.43137149991082502</c:v>
                </c:pt>
                <c:pt idx="24188">
                  <c:v>0.43138933476012098</c:v>
                </c:pt>
                <c:pt idx="24189">
                  <c:v>0.431407169609416</c:v>
                </c:pt>
                <c:pt idx="24190">
                  <c:v>0.43142500445871201</c:v>
                </c:pt>
                <c:pt idx="24191">
                  <c:v>0.43144283930800698</c:v>
                </c:pt>
                <c:pt idx="24192">
                  <c:v>0.43146067415730299</c:v>
                </c:pt>
                <c:pt idx="24193">
                  <c:v>0.43147850900659801</c:v>
                </c:pt>
                <c:pt idx="24194">
                  <c:v>0.43149634385589403</c:v>
                </c:pt>
                <c:pt idx="24195">
                  <c:v>0.43151417870518899</c:v>
                </c:pt>
                <c:pt idx="24196">
                  <c:v>0.43153201355448501</c:v>
                </c:pt>
                <c:pt idx="24197">
                  <c:v>0.43154984840378002</c:v>
                </c:pt>
                <c:pt idx="24198">
                  <c:v>0.43156768325307598</c:v>
                </c:pt>
                <c:pt idx="24199">
                  <c:v>0.431585518102372</c:v>
                </c:pt>
                <c:pt idx="24200">
                  <c:v>0.43160335295166702</c:v>
                </c:pt>
                <c:pt idx="24201">
                  <c:v>0.43162118780096298</c:v>
                </c:pt>
                <c:pt idx="24202">
                  <c:v>0.431639022650258</c:v>
                </c:pt>
                <c:pt idx="24203">
                  <c:v>0.43165685749955401</c:v>
                </c:pt>
                <c:pt idx="24204">
                  <c:v>0.43167469234884898</c:v>
                </c:pt>
                <c:pt idx="24205">
                  <c:v>0.43169252719814499</c:v>
                </c:pt>
                <c:pt idx="24206">
                  <c:v>0.43171036204744001</c:v>
                </c:pt>
                <c:pt idx="24207">
                  <c:v>0.43172819689673603</c:v>
                </c:pt>
                <c:pt idx="24208">
                  <c:v>0.43174603174603099</c:v>
                </c:pt>
                <c:pt idx="24209">
                  <c:v>0.43176386659532701</c:v>
                </c:pt>
                <c:pt idx="24210">
                  <c:v>0.43178170144462202</c:v>
                </c:pt>
                <c:pt idx="24211">
                  <c:v>0.43179953629391798</c:v>
                </c:pt>
                <c:pt idx="24212">
                  <c:v>0.431817371143213</c:v>
                </c:pt>
                <c:pt idx="24213">
                  <c:v>0.43183520599250902</c:v>
                </c:pt>
                <c:pt idx="24214">
                  <c:v>0.43185304084180398</c:v>
                </c:pt>
                <c:pt idx="24215">
                  <c:v>0.4318708756911</c:v>
                </c:pt>
                <c:pt idx="24216">
                  <c:v>0.43188871054039502</c:v>
                </c:pt>
                <c:pt idx="24217">
                  <c:v>0.43190654538969098</c:v>
                </c:pt>
                <c:pt idx="24218">
                  <c:v>0.43192438023898699</c:v>
                </c:pt>
                <c:pt idx="24219">
                  <c:v>0.43194221508828201</c:v>
                </c:pt>
                <c:pt idx="24220">
                  <c:v>0.43196004993757797</c:v>
                </c:pt>
                <c:pt idx="24221">
                  <c:v>0.43197788478687299</c:v>
                </c:pt>
                <c:pt idx="24222">
                  <c:v>0.43199571963616901</c:v>
                </c:pt>
                <c:pt idx="24223">
                  <c:v>0.43201355448546402</c:v>
                </c:pt>
                <c:pt idx="24224">
                  <c:v>0.43203138933475999</c:v>
                </c:pt>
                <c:pt idx="24225">
                  <c:v>0.432049224184055</c:v>
                </c:pt>
                <c:pt idx="24226">
                  <c:v>0.43206705903335102</c:v>
                </c:pt>
                <c:pt idx="24227">
                  <c:v>0.43208489388264598</c:v>
                </c:pt>
                <c:pt idx="24228">
                  <c:v>0.432102728731942</c:v>
                </c:pt>
                <c:pt idx="24229">
                  <c:v>0.43212056358123702</c:v>
                </c:pt>
                <c:pt idx="24230">
                  <c:v>0.43213839843053298</c:v>
                </c:pt>
                <c:pt idx="24231">
                  <c:v>0.43215623327982799</c:v>
                </c:pt>
                <c:pt idx="24232">
                  <c:v>0.43217406812912401</c:v>
                </c:pt>
                <c:pt idx="24233">
                  <c:v>0.43219190297841897</c:v>
                </c:pt>
                <c:pt idx="24234">
                  <c:v>0.43220973782771499</c:v>
                </c:pt>
                <c:pt idx="24235">
                  <c:v>0.43222757267701001</c:v>
                </c:pt>
                <c:pt idx="24236">
                  <c:v>0.43224540752630602</c:v>
                </c:pt>
                <c:pt idx="24237">
                  <c:v>0.43226324237560099</c:v>
                </c:pt>
                <c:pt idx="24238">
                  <c:v>0.432281077224897</c:v>
                </c:pt>
                <c:pt idx="24239">
                  <c:v>0.43229891207419202</c:v>
                </c:pt>
                <c:pt idx="24240">
                  <c:v>0.43231674692348798</c:v>
                </c:pt>
                <c:pt idx="24241">
                  <c:v>0.432334581772784</c:v>
                </c:pt>
                <c:pt idx="24242">
                  <c:v>0.43235241662207902</c:v>
                </c:pt>
                <c:pt idx="24243">
                  <c:v>0.43237025147137498</c:v>
                </c:pt>
                <c:pt idx="24244">
                  <c:v>0.43238808632067</c:v>
                </c:pt>
                <c:pt idx="24245">
                  <c:v>0.43240592116996601</c:v>
                </c:pt>
                <c:pt idx="24246">
                  <c:v>0.43242375601926097</c:v>
                </c:pt>
                <c:pt idx="24247">
                  <c:v>0.43244159086855699</c:v>
                </c:pt>
                <c:pt idx="24248">
                  <c:v>0.43245942571785201</c:v>
                </c:pt>
                <c:pt idx="24249">
                  <c:v>0.43247726056714803</c:v>
                </c:pt>
                <c:pt idx="24250">
                  <c:v>0.43249509541644299</c:v>
                </c:pt>
                <c:pt idx="24251">
                  <c:v>0.432512930265739</c:v>
                </c:pt>
                <c:pt idx="24252">
                  <c:v>0.43253076511503402</c:v>
                </c:pt>
                <c:pt idx="24253">
                  <c:v>0.43254859996432998</c:v>
                </c:pt>
                <c:pt idx="24254">
                  <c:v>0.432566434813625</c:v>
                </c:pt>
                <c:pt idx="24255">
                  <c:v>0.43258426966292102</c:v>
                </c:pt>
                <c:pt idx="24256">
                  <c:v>0.43260210451221598</c:v>
                </c:pt>
                <c:pt idx="24257">
                  <c:v>0.432619939361512</c:v>
                </c:pt>
                <c:pt idx="24258">
                  <c:v>0.43263777421080701</c:v>
                </c:pt>
                <c:pt idx="24259">
                  <c:v>0.43265560906010297</c:v>
                </c:pt>
                <c:pt idx="24260">
                  <c:v>0.43267344390939899</c:v>
                </c:pt>
                <c:pt idx="24261">
                  <c:v>0.43269127875869401</c:v>
                </c:pt>
                <c:pt idx="24262">
                  <c:v>0.43270911360799003</c:v>
                </c:pt>
                <c:pt idx="24263">
                  <c:v>0.43272694845728499</c:v>
                </c:pt>
                <c:pt idx="24264">
                  <c:v>0.432744783306581</c:v>
                </c:pt>
                <c:pt idx="24265">
                  <c:v>0.43276261815587602</c:v>
                </c:pt>
                <c:pt idx="24266">
                  <c:v>0.43278045300517198</c:v>
                </c:pt>
                <c:pt idx="24267">
                  <c:v>0.432798287854467</c:v>
                </c:pt>
                <c:pt idx="24268">
                  <c:v>0.43281612270376302</c:v>
                </c:pt>
                <c:pt idx="24269">
                  <c:v>0.43283395755305798</c:v>
                </c:pt>
                <c:pt idx="24270">
                  <c:v>0.432851792402354</c:v>
                </c:pt>
                <c:pt idx="24271">
                  <c:v>0.43286962725164901</c:v>
                </c:pt>
                <c:pt idx="24272">
                  <c:v>0.43288746210094498</c:v>
                </c:pt>
                <c:pt idx="24273">
                  <c:v>0.43290529695023999</c:v>
                </c:pt>
                <c:pt idx="24274">
                  <c:v>0.43292313179953601</c:v>
                </c:pt>
                <c:pt idx="24275">
                  <c:v>0.43294096664883103</c:v>
                </c:pt>
                <c:pt idx="24276">
                  <c:v>0.43295880149812699</c:v>
                </c:pt>
                <c:pt idx="24277">
                  <c:v>0.43297663634742201</c:v>
                </c:pt>
                <c:pt idx="24278">
                  <c:v>0.43299447119671802</c:v>
                </c:pt>
                <c:pt idx="24279">
                  <c:v>0.43301230604601298</c:v>
                </c:pt>
                <c:pt idx="24280">
                  <c:v>0.433030140895309</c:v>
                </c:pt>
                <c:pt idx="24281">
                  <c:v>0.43304797574460402</c:v>
                </c:pt>
                <c:pt idx="24282">
                  <c:v>0.43306581059389998</c:v>
                </c:pt>
                <c:pt idx="24283">
                  <c:v>0.433083645443196</c:v>
                </c:pt>
                <c:pt idx="24284">
                  <c:v>0.43310148029249101</c:v>
                </c:pt>
                <c:pt idx="24285">
                  <c:v>0.43311931514178698</c:v>
                </c:pt>
                <c:pt idx="24286">
                  <c:v>0.43313714999108199</c:v>
                </c:pt>
                <c:pt idx="24287">
                  <c:v>0.43315498484037801</c:v>
                </c:pt>
                <c:pt idx="24288">
                  <c:v>0.43317281968967303</c:v>
                </c:pt>
                <c:pt idx="24289">
                  <c:v>0.43319065453896899</c:v>
                </c:pt>
                <c:pt idx="24290">
                  <c:v>0.43320848938826401</c:v>
                </c:pt>
                <c:pt idx="24291">
                  <c:v>0.43322632423756002</c:v>
                </c:pt>
                <c:pt idx="24292">
                  <c:v>0.43324415908685499</c:v>
                </c:pt>
                <c:pt idx="24293">
                  <c:v>0.433261993936151</c:v>
                </c:pt>
                <c:pt idx="24294">
                  <c:v>0.43327982878544602</c:v>
                </c:pt>
                <c:pt idx="24295">
                  <c:v>0.43329766363474198</c:v>
                </c:pt>
                <c:pt idx="24296">
                  <c:v>0.433315498484037</c:v>
                </c:pt>
                <c:pt idx="24297">
                  <c:v>0.43333333333333302</c:v>
                </c:pt>
                <c:pt idx="24298">
                  <c:v>0.43335116818262798</c:v>
                </c:pt>
                <c:pt idx="24299">
                  <c:v>0.43336900303192399</c:v>
                </c:pt>
                <c:pt idx="24300">
                  <c:v>0.43338683788121901</c:v>
                </c:pt>
                <c:pt idx="24301">
                  <c:v>0.43340467273051497</c:v>
                </c:pt>
                <c:pt idx="24302">
                  <c:v>0.43342250757980999</c:v>
                </c:pt>
                <c:pt idx="24303">
                  <c:v>0.43344034242910601</c:v>
                </c:pt>
                <c:pt idx="24304">
                  <c:v>0.43345817727840202</c:v>
                </c:pt>
                <c:pt idx="24305">
                  <c:v>0.43347601212769699</c:v>
                </c:pt>
                <c:pt idx="24306">
                  <c:v>0.433493846976993</c:v>
                </c:pt>
                <c:pt idx="24307">
                  <c:v>0.43351168182628802</c:v>
                </c:pt>
                <c:pt idx="24308">
                  <c:v>0.43352951667558398</c:v>
                </c:pt>
                <c:pt idx="24309">
                  <c:v>0.433547351524879</c:v>
                </c:pt>
                <c:pt idx="24310">
                  <c:v>0.43356518637417502</c:v>
                </c:pt>
                <c:pt idx="24311">
                  <c:v>0.43358302122346998</c:v>
                </c:pt>
                <c:pt idx="24312">
                  <c:v>0.43360085607276599</c:v>
                </c:pt>
                <c:pt idx="24313">
                  <c:v>0.43361869092206101</c:v>
                </c:pt>
                <c:pt idx="24314">
                  <c:v>0.43363652577135697</c:v>
                </c:pt>
                <c:pt idx="24315">
                  <c:v>0.43365436062065199</c:v>
                </c:pt>
                <c:pt idx="24316">
                  <c:v>0.43367219546994801</c:v>
                </c:pt>
                <c:pt idx="24317">
                  <c:v>0.43369003031924303</c:v>
                </c:pt>
                <c:pt idx="24318">
                  <c:v>0.43370786516853899</c:v>
                </c:pt>
                <c:pt idx="24319">
                  <c:v>0.433725700017834</c:v>
                </c:pt>
                <c:pt idx="24320">
                  <c:v>0.43374353486713002</c:v>
                </c:pt>
                <c:pt idx="24321">
                  <c:v>0.43376136971642498</c:v>
                </c:pt>
                <c:pt idx="24322">
                  <c:v>0.433779204565721</c:v>
                </c:pt>
                <c:pt idx="24323">
                  <c:v>0.43379703941501602</c:v>
                </c:pt>
                <c:pt idx="24324">
                  <c:v>0.43381487426431198</c:v>
                </c:pt>
                <c:pt idx="24325">
                  <c:v>0.43383270911360799</c:v>
                </c:pt>
                <c:pt idx="24326">
                  <c:v>0.43385054396290301</c:v>
                </c:pt>
                <c:pt idx="24327">
                  <c:v>0.43386837881219897</c:v>
                </c:pt>
                <c:pt idx="24328">
                  <c:v>0.43388621366149399</c:v>
                </c:pt>
                <c:pt idx="24329">
                  <c:v>0.43390404851079001</c:v>
                </c:pt>
                <c:pt idx="24330">
                  <c:v>0.43392188336008503</c:v>
                </c:pt>
                <c:pt idx="24331">
                  <c:v>0.43393971820938099</c:v>
                </c:pt>
                <c:pt idx="24332">
                  <c:v>0.433957553058676</c:v>
                </c:pt>
                <c:pt idx="24333">
                  <c:v>0.43397538790797202</c:v>
                </c:pt>
                <c:pt idx="24334">
                  <c:v>0.43399322275726698</c:v>
                </c:pt>
                <c:pt idx="24335">
                  <c:v>0.434011057606563</c:v>
                </c:pt>
                <c:pt idx="24336">
                  <c:v>0.43402889245585802</c:v>
                </c:pt>
                <c:pt idx="24337">
                  <c:v>0.43404672730515398</c:v>
                </c:pt>
                <c:pt idx="24338">
                  <c:v>0.434064562154449</c:v>
                </c:pt>
                <c:pt idx="24339">
                  <c:v>0.43408239700374501</c:v>
                </c:pt>
                <c:pt idx="24340">
                  <c:v>0.43410023185303998</c:v>
                </c:pt>
                <c:pt idx="24341">
                  <c:v>0.43411806670233599</c:v>
                </c:pt>
                <c:pt idx="24342">
                  <c:v>0.43413590155163101</c:v>
                </c:pt>
                <c:pt idx="24343">
                  <c:v>0.43415373640092703</c:v>
                </c:pt>
                <c:pt idx="24344">
                  <c:v>0.43417157125022199</c:v>
                </c:pt>
                <c:pt idx="24345">
                  <c:v>0.434189406099518</c:v>
                </c:pt>
                <c:pt idx="24346">
                  <c:v>0.43420724094881302</c:v>
                </c:pt>
                <c:pt idx="24347">
                  <c:v>0.43422507579810898</c:v>
                </c:pt>
                <c:pt idx="24348">
                  <c:v>0.434242910647405</c:v>
                </c:pt>
                <c:pt idx="24349">
                  <c:v>0.43426074549670002</c:v>
                </c:pt>
                <c:pt idx="24350">
                  <c:v>0.43427858034599598</c:v>
                </c:pt>
                <c:pt idx="24351">
                  <c:v>0.434296415195291</c:v>
                </c:pt>
                <c:pt idx="24352">
                  <c:v>0.43431425004458701</c:v>
                </c:pt>
                <c:pt idx="24353">
                  <c:v>0.43433208489388198</c:v>
                </c:pt>
                <c:pt idx="24354">
                  <c:v>0.43434991974317799</c:v>
                </c:pt>
                <c:pt idx="24355">
                  <c:v>0.43436775459247301</c:v>
                </c:pt>
                <c:pt idx="24356">
                  <c:v>0.43438558944176903</c:v>
                </c:pt>
                <c:pt idx="24357">
                  <c:v>0.43440342429106399</c:v>
                </c:pt>
                <c:pt idx="24358">
                  <c:v>0.43442125914036001</c:v>
                </c:pt>
                <c:pt idx="24359">
                  <c:v>0.43443909398965502</c:v>
                </c:pt>
                <c:pt idx="24360">
                  <c:v>0.43445692883895098</c:v>
                </c:pt>
                <c:pt idx="24361">
                  <c:v>0.434474763688246</c:v>
                </c:pt>
                <c:pt idx="24362">
                  <c:v>0.43449259853754202</c:v>
                </c:pt>
                <c:pt idx="24363">
                  <c:v>0.43451043338683698</c:v>
                </c:pt>
                <c:pt idx="24364">
                  <c:v>0.434528268236133</c:v>
                </c:pt>
                <c:pt idx="24365">
                  <c:v>0.43454610308542801</c:v>
                </c:pt>
                <c:pt idx="24366">
                  <c:v>0.43456393793472398</c:v>
                </c:pt>
                <c:pt idx="24367">
                  <c:v>0.43458177278401999</c:v>
                </c:pt>
                <c:pt idx="24368">
                  <c:v>0.43459960763331501</c:v>
                </c:pt>
                <c:pt idx="24369">
                  <c:v>0.43461744248261103</c:v>
                </c:pt>
                <c:pt idx="24370">
                  <c:v>0.43463527733190599</c:v>
                </c:pt>
                <c:pt idx="24371">
                  <c:v>0.43465311218120201</c:v>
                </c:pt>
                <c:pt idx="24372">
                  <c:v>0.43467094703049702</c:v>
                </c:pt>
                <c:pt idx="24373">
                  <c:v>0.43468878187979298</c:v>
                </c:pt>
                <c:pt idx="24374">
                  <c:v>0.434706616729088</c:v>
                </c:pt>
                <c:pt idx="24375">
                  <c:v>0.43472445157838402</c:v>
                </c:pt>
                <c:pt idx="24376">
                  <c:v>0.43474228642767898</c:v>
                </c:pt>
                <c:pt idx="24377">
                  <c:v>0.434760121276975</c:v>
                </c:pt>
                <c:pt idx="24378">
                  <c:v>0.43477795612627002</c:v>
                </c:pt>
                <c:pt idx="24379">
                  <c:v>0.43479579097556598</c:v>
                </c:pt>
                <c:pt idx="24380">
                  <c:v>0.43481362582486099</c:v>
                </c:pt>
                <c:pt idx="24381">
                  <c:v>0.43483146067415701</c:v>
                </c:pt>
                <c:pt idx="24382">
                  <c:v>0.43484929552345197</c:v>
                </c:pt>
                <c:pt idx="24383">
                  <c:v>0.43486713037274799</c:v>
                </c:pt>
                <c:pt idx="24384">
                  <c:v>0.43488496522204301</c:v>
                </c:pt>
                <c:pt idx="24385">
                  <c:v>0.43490280007133902</c:v>
                </c:pt>
                <c:pt idx="24386">
                  <c:v>0.43492063492063399</c:v>
                </c:pt>
                <c:pt idx="24387">
                  <c:v>0.43493846976993</c:v>
                </c:pt>
                <c:pt idx="24388">
                  <c:v>0.43495630461922502</c:v>
                </c:pt>
                <c:pt idx="24389">
                  <c:v>0.43497413946852098</c:v>
                </c:pt>
                <c:pt idx="24390">
                  <c:v>0.434991974317817</c:v>
                </c:pt>
                <c:pt idx="24391">
                  <c:v>0.43500980916711202</c:v>
                </c:pt>
                <c:pt idx="24392">
                  <c:v>0.43502764401640798</c:v>
                </c:pt>
                <c:pt idx="24393">
                  <c:v>0.43504547886570299</c:v>
                </c:pt>
                <c:pt idx="24394">
                  <c:v>0.43506331371499901</c:v>
                </c:pt>
                <c:pt idx="24395">
                  <c:v>0.43508114856429397</c:v>
                </c:pt>
                <c:pt idx="24396">
                  <c:v>0.43509898341358999</c:v>
                </c:pt>
                <c:pt idx="24397">
                  <c:v>0.43511681826288501</c:v>
                </c:pt>
                <c:pt idx="24398">
                  <c:v>0.43513465311218102</c:v>
                </c:pt>
                <c:pt idx="24399">
                  <c:v>0.43515248796147599</c:v>
                </c:pt>
                <c:pt idx="24400">
                  <c:v>0.435170322810772</c:v>
                </c:pt>
                <c:pt idx="24401">
                  <c:v>0.43518815766006702</c:v>
                </c:pt>
                <c:pt idx="24402">
                  <c:v>0.43520599250936298</c:v>
                </c:pt>
                <c:pt idx="24403">
                  <c:v>0.435223827358658</c:v>
                </c:pt>
                <c:pt idx="24404">
                  <c:v>0.43524166220795402</c:v>
                </c:pt>
                <c:pt idx="24405">
                  <c:v>0.43525949705724898</c:v>
                </c:pt>
                <c:pt idx="24406">
                  <c:v>0.435277331906545</c:v>
                </c:pt>
                <c:pt idx="24407">
                  <c:v>0.43529516675584001</c:v>
                </c:pt>
                <c:pt idx="24408">
                  <c:v>0.43531300160513597</c:v>
                </c:pt>
                <c:pt idx="24409">
                  <c:v>0.43533083645443099</c:v>
                </c:pt>
                <c:pt idx="24410">
                  <c:v>0.43534867130372701</c:v>
                </c:pt>
                <c:pt idx="24411">
                  <c:v>0.43536650615302303</c:v>
                </c:pt>
                <c:pt idx="24412">
                  <c:v>0.43538434100231799</c:v>
                </c:pt>
                <c:pt idx="24413">
                  <c:v>0.435402175851614</c:v>
                </c:pt>
                <c:pt idx="24414">
                  <c:v>0.43542001070090902</c:v>
                </c:pt>
                <c:pt idx="24415">
                  <c:v>0.43543784555020498</c:v>
                </c:pt>
                <c:pt idx="24416">
                  <c:v>0.4354556803995</c:v>
                </c:pt>
                <c:pt idx="24417">
                  <c:v>0.43547351524879602</c:v>
                </c:pt>
                <c:pt idx="24418">
                  <c:v>0.43549135009809098</c:v>
                </c:pt>
                <c:pt idx="24419">
                  <c:v>0.435509184947387</c:v>
                </c:pt>
                <c:pt idx="24420">
                  <c:v>0.43552701979668201</c:v>
                </c:pt>
                <c:pt idx="24421">
                  <c:v>0.43554485464597797</c:v>
                </c:pt>
                <c:pt idx="24422">
                  <c:v>0.43556268949527299</c:v>
                </c:pt>
                <c:pt idx="24423">
                  <c:v>0.43558052434456901</c:v>
                </c:pt>
                <c:pt idx="24424">
                  <c:v>0.43559835919386403</c:v>
                </c:pt>
                <c:pt idx="24425">
                  <c:v>0.43561619404315999</c:v>
                </c:pt>
                <c:pt idx="24426">
                  <c:v>0.43563402889245501</c:v>
                </c:pt>
                <c:pt idx="24427">
                  <c:v>0.43565186374175102</c:v>
                </c:pt>
                <c:pt idx="24428">
                  <c:v>0.43566969859104598</c:v>
                </c:pt>
                <c:pt idx="24429">
                  <c:v>0.435687533440342</c:v>
                </c:pt>
                <c:pt idx="24430">
                  <c:v>0.43570536828963702</c:v>
                </c:pt>
                <c:pt idx="24431">
                  <c:v>0.43572320313893298</c:v>
                </c:pt>
                <c:pt idx="24432">
                  <c:v>0.435741037988229</c:v>
                </c:pt>
                <c:pt idx="24433">
                  <c:v>0.43575887283752401</c:v>
                </c:pt>
                <c:pt idx="24434">
                  <c:v>0.43577670768681998</c:v>
                </c:pt>
                <c:pt idx="24435">
                  <c:v>0.43579454253611499</c:v>
                </c:pt>
                <c:pt idx="24436">
                  <c:v>0.43581237738541101</c:v>
                </c:pt>
                <c:pt idx="24437">
                  <c:v>0.43583021223470603</c:v>
                </c:pt>
                <c:pt idx="24438">
                  <c:v>0.43584804708400199</c:v>
                </c:pt>
                <c:pt idx="24439">
                  <c:v>0.43586588193329701</c:v>
                </c:pt>
                <c:pt idx="24440">
                  <c:v>0.43588371678259302</c:v>
                </c:pt>
                <c:pt idx="24441">
                  <c:v>0.43590155163188798</c:v>
                </c:pt>
                <c:pt idx="24442">
                  <c:v>0.435919386481184</c:v>
                </c:pt>
                <c:pt idx="24443">
                  <c:v>0.43593722133047902</c:v>
                </c:pt>
                <c:pt idx="24444">
                  <c:v>0.43595505617977498</c:v>
                </c:pt>
                <c:pt idx="24445">
                  <c:v>0.43597289102907</c:v>
                </c:pt>
                <c:pt idx="24446">
                  <c:v>0.43599072587836601</c:v>
                </c:pt>
                <c:pt idx="24447">
                  <c:v>0.43600856072766098</c:v>
                </c:pt>
                <c:pt idx="24448">
                  <c:v>0.43602639557695699</c:v>
                </c:pt>
                <c:pt idx="24449">
                  <c:v>0.43604423042625201</c:v>
                </c:pt>
                <c:pt idx="24450">
                  <c:v>0.43606206527554803</c:v>
                </c:pt>
                <c:pt idx="24451">
                  <c:v>0.43607990012484299</c:v>
                </c:pt>
                <c:pt idx="24452">
                  <c:v>0.43609773497413901</c:v>
                </c:pt>
                <c:pt idx="24453">
                  <c:v>0.43611556982343402</c:v>
                </c:pt>
                <c:pt idx="24454">
                  <c:v>0.43613340467272999</c:v>
                </c:pt>
                <c:pt idx="24455">
                  <c:v>0.436151239522026</c:v>
                </c:pt>
                <c:pt idx="24456">
                  <c:v>0.43616907437132102</c:v>
                </c:pt>
                <c:pt idx="24457">
                  <c:v>0.43618690922061698</c:v>
                </c:pt>
                <c:pt idx="24458">
                  <c:v>0.436204744069912</c:v>
                </c:pt>
                <c:pt idx="24459">
                  <c:v>0.43622257891920801</c:v>
                </c:pt>
                <c:pt idx="24460">
                  <c:v>0.43624041376850298</c:v>
                </c:pt>
                <c:pt idx="24461">
                  <c:v>0.43625824861779899</c:v>
                </c:pt>
                <c:pt idx="24462">
                  <c:v>0.43627608346709401</c:v>
                </c:pt>
                <c:pt idx="24463">
                  <c:v>0.43629391831638997</c:v>
                </c:pt>
                <c:pt idx="24464">
                  <c:v>0.43631175316568499</c:v>
                </c:pt>
                <c:pt idx="24465">
                  <c:v>0.43632958801498101</c:v>
                </c:pt>
                <c:pt idx="24466">
                  <c:v>0.43634742286427602</c:v>
                </c:pt>
                <c:pt idx="24467">
                  <c:v>0.43636525771357199</c:v>
                </c:pt>
                <c:pt idx="24468">
                  <c:v>0.436383092562867</c:v>
                </c:pt>
                <c:pt idx="24469">
                  <c:v>0.43640092741216302</c:v>
                </c:pt>
                <c:pt idx="24470">
                  <c:v>0.43641876226145798</c:v>
                </c:pt>
                <c:pt idx="24471">
                  <c:v>0.436436597110754</c:v>
                </c:pt>
                <c:pt idx="24472">
                  <c:v>0.43645443196004902</c:v>
                </c:pt>
                <c:pt idx="24473">
                  <c:v>0.43647226680934498</c:v>
                </c:pt>
                <c:pt idx="24474">
                  <c:v>0.43649010165864099</c:v>
                </c:pt>
                <c:pt idx="24475">
                  <c:v>0.43650793650793601</c:v>
                </c:pt>
                <c:pt idx="24476">
                  <c:v>0.43652577135723197</c:v>
                </c:pt>
                <c:pt idx="24477">
                  <c:v>0.43654360620652699</c:v>
                </c:pt>
                <c:pt idx="24478">
                  <c:v>0.43656144105582301</c:v>
                </c:pt>
                <c:pt idx="24479">
                  <c:v>0.43657927590511802</c:v>
                </c:pt>
                <c:pt idx="24480">
                  <c:v>0.43659711075441399</c:v>
                </c:pt>
                <c:pt idx="24481">
                  <c:v>0.436614945603709</c:v>
                </c:pt>
                <c:pt idx="24482">
                  <c:v>0.43663278045300502</c:v>
                </c:pt>
                <c:pt idx="24483">
                  <c:v>0.43665061530229998</c:v>
                </c:pt>
                <c:pt idx="24484">
                  <c:v>0.436668450151596</c:v>
                </c:pt>
                <c:pt idx="24485">
                  <c:v>0.43668628500089102</c:v>
                </c:pt>
                <c:pt idx="24486">
                  <c:v>0.43670411985018698</c:v>
                </c:pt>
                <c:pt idx="24487">
                  <c:v>0.436721954699482</c:v>
                </c:pt>
                <c:pt idx="24488">
                  <c:v>0.43673978954877801</c:v>
                </c:pt>
                <c:pt idx="24489">
                  <c:v>0.43675762439807297</c:v>
                </c:pt>
                <c:pt idx="24490">
                  <c:v>0.43677545924736899</c:v>
                </c:pt>
                <c:pt idx="24491">
                  <c:v>0.43679329409666401</c:v>
                </c:pt>
                <c:pt idx="24492">
                  <c:v>0.43681112894596003</c:v>
                </c:pt>
                <c:pt idx="24493">
                  <c:v>0.43682896379525499</c:v>
                </c:pt>
                <c:pt idx="24494">
                  <c:v>0.436846798644551</c:v>
                </c:pt>
                <c:pt idx="24495">
                  <c:v>0.43686463349384602</c:v>
                </c:pt>
                <c:pt idx="24496">
                  <c:v>0.43688246834314198</c:v>
                </c:pt>
                <c:pt idx="24497">
                  <c:v>0.436900303192438</c:v>
                </c:pt>
                <c:pt idx="24498">
                  <c:v>0.43691813804173302</c:v>
                </c:pt>
                <c:pt idx="24499">
                  <c:v>0.43693597289102898</c:v>
                </c:pt>
                <c:pt idx="24500">
                  <c:v>0.436953807740324</c:v>
                </c:pt>
                <c:pt idx="24501">
                  <c:v>0.43697164258962001</c:v>
                </c:pt>
                <c:pt idx="24502">
                  <c:v>0.43698947743891497</c:v>
                </c:pt>
                <c:pt idx="24503">
                  <c:v>0.43700731228821099</c:v>
                </c:pt>
                <c:pt idx="24504">
                  <c:v>0.43702514713750601</c:v>
                </c:pt>
                <c:pt idx="24505">
                  <c:v>0.43704298198680203</c:v>
                </c:pt>
                <c:pt idx="24506">
                  <c:v>0.43706081683609699</c:v>
                </c:pt>
                <c:pt idx="24507">
                  <c:v>0.437078651685393</c:v>
                </c:pt>
                <c:pt idx="24508">
                  <c:v>0.43709648653468802</c:v>
                </c:pt>
                <c:pt idx="24509">
                  <c:v>0.43711432138398398</c:v>
                </c:pt>
                <c:pt idx="24510">
                  <c:v>0.437132156233279</c:v>
                </c:pt>
                <c:pt idx="24511">
                  <c:v>0.43714999108257502</c:v>
                </c:pt>
                <c:pt idx="24512">
                  <c:v>0.43716782593186998</c:v>
                </c:pt>
                <c:pt idx="24513">
                  <c:v>0.437185660781166</c:v>
                </c:pt>
                <c:pt idx="24514">
                  <c:v>0.43720349563046101</c:v>
                </c:pt>
                <c:pt idx="24515">
                  <c:v>0.43722133047975698</c:v>
                </c:pt>
                <c:pt idx="24516">
                  <c:v>0.43723916532905299</c:v>
                </c:pt>
                <c:pt idx="24517">
                  <c:v>0.43725700017834801</c:v>
                </c:pt>
                <c:pt idx="24518">
                  <c:v>0.43727483502764403</c:v>
                </c:pt>
                <c:pt idx="24519">
                  <c:v>0.43729266987693899</c:v>
                </c:pt>
                <c:pt idx="24520">
                  <c:v>0.43731050472623501</c:v>
                </c:pt>
                <c:pt idx="24521">
                  <c:v>0.43732833957553002</c:v>
                </c:pt>
                <c:pt idx="24522">
                  <c:v>0.43734617442482598</c:v>
                </c:pt>
                <c:pt idx="24523">
                  <c:v>0.437364009274121</c:v>
                </c:pt>
                <c:pt idx="24524">
                  <c:v>0.43738184412341702</c:v>
                </c:pt>
                <c:pt idx="24525">
                  <c:v>0.43739967897271198</c:v>
                </c:pt>
                <c:pt idx="24526">
                  <c:v>0.437417513822008</c:v>
                </c:pt>
                <c:pt idx="24527">
                  <c:v>0.43743534867130301</c:v>
                </c:pt>
                <c:pt idx="24528">
                  <c:v>0.43745318352059898</c:v>
                </c:pt>
                <c:pt idx="24529">
                  <c:v>0.43747101836989399</c:v>
                </c:pt>
                <c:pt idx="24530">
                  <c:v>0.43748885321919001</c:v>
                </c:pt>
                <c:pt idx="24531">
                  <c:v>0.43750668806848497</c:v>
                </c:pt>
                <c:pt idx="24532">
                  <c:v>0.43752452291778099</c:v>
                </c:pt>
                <c:pt idx="24533">
                  <c:v>0.43754235776707601</c:v>
                </c:pt>
                <c:pt idx="24534">
                  <c:v>0.43756019261637202</c:v>
                </c:pt>
                <c:pt idx="24535">
                  <c:v>0.43757802746566699</c:v>
                </c:pt>
                <c:pt idx="24536">
                  <c:v>0.437595862314963</c:v>
                </c:pt>
                <c:pt idx="24537">
                  <c:v>0.43761369716425802</c:v>
                </c:pt>
                <c:pt idx="24538">
                  <c:v>0.43763153201355398</c:v>
                </c:pt>
                <c:pt idx="24539">
                  <c:v>0.43764936686285</c:v>
                </c:pt>
                <c:pt idx="24540">
                  <c:v>0.43766720171214502</c:v>
                </c:pt>
                <c:pt idx="24541">
                  <c:v>0.43768503656144098</c:v>
                </c:pt>
                <c:pt idx="24542">
                  <c:v>0.43770287141073599</c:v>
                </c:pt>
                <c:pt idx="24543">
                  <c:v>0.43772070626003201</c:v>
                </c:pt>
                <c:pt idx="24544">
                  <c:v>0.43773854110932697</c:v>
                </c:pt>
                <c:pt idx="24545">
                  <c:v>0.43775637595862299</c:v>
                </c:pt>
                <c:pt idx="24546">
                  <c:v>0.43777421080791801</c:v>
                </c:pt>
                <c:pt idx="24547">
                  <c:v>0.43779204565721402</c:v>
                </c:pt>
                <c:pt idx="24548">
                  <c:v>0.43780988050650899</c:v>
                </c:pt>
                <c:pt idx="24549">
                  <c:v>0.437827715355805</c:v>
                </c:pt>
                <c:pt idx="24550">
                  <c:v>0.43784555020510002</c:v>
                </c:pt>
                <c:pt idx="24551">
                  <c:v>0.43786338505439598</c:v>
                </c:pt>
                <c:pt idx="24552">
                  <c:v>0.437881219903691</c:v>
                </c:pt>
                <c:pt idx="24553">
                  <c:v>0.43789905475298702</c:v>
                </c:pt>
                <c:pt idx="24554">
                  <c:v>0.43791688960228198</c:v>
                </c:pt>
                <c:pt idx="24555">
                  <c:v>0.43793472445157799</c:v>
                </c:pt>
                <c:pt idx="24556">
                  <c:v>0.43795255930087301</c:v>
                </c:pt>
                <c:pt idx="24557">
                  <c:v>0.43797039415016897</c:v>
                </c:pt>
                <c:pt idx="24558">
                  <c:v>0.43798822899946399</c:v>
                </c:pt>
                <c:pt idx="24559">
                  <c:v>0.43800606384876001</c:v>
                </c:pt>
                <c:pt idx="24560">
                  <c:v>0.43802389869805602</c:v>
                </c:pt>
                <c:pt idx="24561">
                  <c:v>0.43804173354735099</c:v>
                </c:pt>
                <c:pt idx="24562">
                  <c:v>0.438059568396647</c:v>
                </c:pt>
                <c:pt idx="24563">
                  <c:v>0.43807740324594202</c:v>
                </c:pt>
                <c:pt idx="24564">
                  <c:v>0.43809523809523798</c:v>
                </c:pt>
                <c:pt idx="24565">
                  <c:v>0.438113072944533</c:v>
                </c:pt>
                <c:pt idx="24566">
                  <c:v>0.43813090779382902</c:v>
                </c:pt>
                <c:pt idx="24567">
                  <c:v>0.43814874264312398</c:v>
                </c:pt>
                <c:pt idx="24568">
                  <c:v>0.43816657749242</c:v>
                </c:pt>
                <c:pt idx="24569">
                  <c:v>0.43818441234171501</c:v>
                </c:pt>
                <c:pt idx="24570">
                  <c:v>0.43820224719101097</c:v>
                </c:pt>
                <c:pt idx="24571">
                  <c:v>0.43822008204030599</c:v>
                </c:pt>
                <c:pt idx="24572">
                  <c:v>0.43823791688960201</c:v>
                </c:pt>
                <c:pt idx="24573">
                  <c:v>0.43825575173889703</c:v>
                </c:pt>
                <c:pt idx="24574">
                  <c:v>0.43827358658819299</c:v>
                </c:pt>
                <c:pt idx="24575">
                  <c:v>0.438291421437488</c:v>
                </c:pt>
                <c:pt idx="24576">
                  <c:v>0.43830925628678402</c:v>
                </c:pt>
                <c:pt idx="24577">
                  <c:v>0.43832709113607898</c:v>
                </c:pt>
                <c:pt idx="24578">
                  <c:v>0.438344925985375</c:v>
                </c:pt>
                <c:pt idx="24579">
                  <c:v>0.43836276083467002</c:v>
                </c:pt>
                <c:pt idx="24580">
                  <c:v>0.43838059568396598</c:v>
                </c:pt>
                <c:pt idx="24581">
                  <c:v>0.438398430533262</c:v>
                </c:pt>
                <c:pt idx="24582">
                  <c:v>0.43841626538255701</c:v>
                </c:pt>
                <c:pt idx="24583">
                  <c:v>0.43843410023185297</c:v>
                </c:pt>
                <c:pt idx="24584">
                  <c:v>0.43845193508114799</c:v>
                </c:pt>
                <c:pt idx="24585">
                  <c:v>0.43846976993044401</c:v>
                </c:pt>
                <c:pt idx="24586">
                  <c:v>0.43848760477973903</c:v>
                </c:pt>
                <c:pt idx="24587">
                  <c:v>0.43850543962903499</c:v>
                </c:pt>
                <c:pt idx="24588">
                  <c:v>0.43852327447833001</c:v>
                </c:pt>
                <c:pt idx="24589">
                  <c:v>0.43854110932762602</c:v>
                </c:pt>
                <c:pt idx="24590">
                  <c:v>0.43855894417692098</c:v>
                </c:pt>
                <c:pt idx="24591">
                  <c:v>0.438576779026217</c:v>
                </c:pt>
                <c:pt idx="24592">
                  <c:v>0.43859461387551202</c:v>
                </c:pt>
                <c:pt idx="24593">
                  <c:v>0.43861244872480798</c:v>
                </c:pt>
                <c:pt idx="24594">
                  <c:v>0.438630283574103</c:v>
                </c:pt>
                <c:pt idx="24595">
                  <c:v>0.43864811842339901</c:v>
                </c:pt>
                <c:pt idx="24596">
                  <c:v>0.43866595327269398</c:v>
                </c:pt>
                <c:pt idx="24597">
                  <c:v>0.43868378812198999</c:v>
                </c:pt>
                <c:pt idx="24598">
                  <c:v>0.43870162297128501</c:v>
                </c:pt>
                <c:pt idx="24599">
                  <c:v>0.43871945782058103</c:v>
                </c:pt>
                <c:pt idx="24600">
                  <c:v>0.43873729266987599</c:v>
                </c:pt>
                <c:pt idx="24601">
                  <c:v>0.43875512751917201</c:v>
                </c:pt>
                <c:pt idx="24602">
                  <c:v>0.43877296236846702</c:v>
                </c:pt>
                <c:pt idx="24603">
                  <c:v>0.43879079721776298</c:v>
                </c:pt>
                <c:pt idx="24604">
                  <c:v>0.438808632067059</c:v>
                </c:pt>
                <c:pt idx="24605">
                  <c:v>0.43882646691635402</c:v>
                </c:pt>
                <c:pt idx="24606">
                  <c:v>0.43884430176564998</c:v>
                </c:pt>
                <c:pt idx="24607">
                  <c:v>0.438862136614945</c:v>
                </c:pt>
                <c:pt idx="24608">
                  <c:v>0.43887997146424101</c:v>
                </c:pt>
                <c:pt idx="24609">
                  <c:v>0.43889780631353598</c:v>
                </c:pt>
                <c:pt idx="24610">
                  <c:v>0.43891564116283199</c:v>
                </c:pt>
                <c:pt idx="24611">
                  <c:v>0.43893347601212701</c:v>
                </c:pt>
                <c:pt idx="24612">
                  <c:v>0.43895131086142303</c:v>
                </c:pt>
                <c:pt idx="24613">
                  <c:v>0.43896914571071799</c:v>
                </c:pt>
                <c:pt idx="24614">
                  <c:v>0.43898698056001401</c:v>
                </c:pt>
                <c:pt idx="24615">
                  <c:v>0.43900481540930902</c:v>
                </c:pt>
                <c:pt idx="24616">
                  <c:v>0.43902265025860499</c:v>
                </c:pt>
                <c:pt idx="24617">
                  <c:v>0.4390404851079</c:v>
                </c:pt>
                <c:pt idx="24618">
                  <c:v>0.43905831995719602</c:v>
                </c:pt>
                <c:pt idx="24619">
                  <c:v>0.43907615480649098</c:v>
                </c:pt>
                <c:pt idx="24620">
                  <c:v>0.439093989655787</c:v>
                </c:pt>
                <c:pt idx="24621">
                  <c:v>0.43911182450508202</c:v>
                </c:pt>
                <c:pt idx="24622">
                  <c:v>0.43912965935437798</c:v>
                </c:pt>
                <c:pt idx="24623">
                  <c:v>0.43914749420367399</c:v>
                </c:pt>
                <c:pt idx="24624">
                  <c:v>0.43916532905296901</c:v>
                </c:pt>
                <c:pt idx="24625">
                  <c:v>0.43918316390226497</c:v>
                </c:pt>
                <c:pt idx="24626">
                  <c:v>0.43920099875155999</c:v>
                </c:pt>
                <c:pt idx="24627">
                  <c:v>0.43921883360085601</c:v>
                </c:pt>
                <c:pt idx="24628">
                  <c:v>0.43923666845015102</c:v>
                </c:pt>
                <c:pt idx="24629">
                  <c:v>0.43925450329944699</c:v>
                </c:pt>
                <c:pt idx="24630">
                  <c:v>0.439272338148742</c:v>
                </c:pt>
                <c:pt idx="24631">
                  <c:v>0.43929017299803802</c:v>
                </c:pt>
                <c:pt idx="24632">
                  <c:v>0.43930800784733298</c:v>
                </c:pt>
                <c:pt idx="24633">
                  <c:v>0.439325842696629</c:v>
                </c:pt>
                <c:pt idx="24634">
                  <c:v>0.43934367754592402</c:v>
                </c:pt>
                <c:pt idx="24635">
                  <c:v>0.43936151239521998</c:v>
                </c:pt>
                <c:pt idx="24636">
                  <c:v>0.439379347244515</c:v>
                </c:pt>
                <c:pt idx="24637">
                  <c:v>0.43939718209381101</c:v>
                </c:pt>
                <c:pt idx="24638">
                  <c:v>0.43941501694310597</c:v>
                </c:pt>
                <c:pt idx="24639">
                  <c:v>0.43943285179240199</c:v>
                </c:pt>
                <c:pt idx="24640">
                  <c:v>0.43945068664169701</c:v>
                </c:pt>
                <c:pt idx="24641">
                  <c:v>0.43946852149099302</c:v>
                </c:pt>
                <c:pt idx="24642">
                  <c:v>0.43948635634028799</c:v>
                </c:pt>
                <c:pt idx="24643">
                  <c:v>0.439504191189584</c:v>
                </c:pt>
                <c:pt idx="24644">
                  <c:v>0.43952202603887902</c:v>
                </c:pt>
                <c:pt idx="24645">
                  <c:v>0.43953986088817498</c:v>
                </c:pt>
                <c:pt idx="24646">
                  <c:v>0.439557695737471</c:v>
                </c:pt>
                <c:pt idx="24647">
                  <c:v>0.43957553058676602</c:v>
                </c:pt>
                <c:pt idx="24648">
                  <c:v>0.43959336543606198</c:v>
                </c:pt>
                <c:pt idx="24649">
                  <c:v>0.439611200285357</c:v>
                </c:pt>
                <c:pt idx="24650">
                  <c:v>0.43962903513465301</c:v>
                </c:pt>
                <c:pt idx="24651">
                  <c:v>0.43964686998394797</c:v>
                </c:pt>
                <c:pt idx="24652">
                  <c:v>0.43966470483324399</c:v>
                </c:pt>
                <c:pt idx="24653">
                  <c:v>0.43968253968253901</c:v>
                </c:pt>
                <c:pt idx="24654">
                  <c:v>0.43970037453183503</c:v>
                </c:pt>
                <c:pt idx="24655">
                  <c:v>0.43971820938112999</c:v>
                </c:pt>
                <c:pt idx="24656">
                  <c:v>0.439736044230426</c:v>
                </c:pt>
                <c:pt idx="24657">
                  <c:v>0.43975387907972102</c:v>
                </c:pt>
                <c:pt idx="24658">
                  <c:v>0.43977171392901698</c:v>
                </c:pt>
                <c:pt idx="24659">
                  <c:v>0.439789548778312</c:v>
                </c:pt>
                <c:pt idx="24660">
                  <c:v>0.43980738362760802</c:v>
                </c:pt>
                <c:pt idx="24661">
                  <c:v>0.43982521847690298</c:v>
                </c:pt>
                <c:pt idx="24662">
                  <c:v>0.439843053326199</c:v>
                </c:pt>
                <c:pt idx="24663">
                  <c:v>0.43986088817549401</c:v>
                </c:pt>
                <c:pt idx="24664">
                  <c:v>0.43987872302478997</c:v>
                </c:pt>
                <c:pt idx="24665">
                  <c:v>0.43989655787408599</c:v>
                </c:pt>
                <c:pt idx="24666">
                  <c:v>0.43991439272338101</c:v>
                </c:pt>
                <c:pt idx="24667">
                  <c:v>0.43993222757267703</c:v>
                </c:pt>
                <c:pt idx="24668">
                  <c:v>0.43995006242197199</c:v>
                </c:pt>
                <c:pt idx="24669">
                  <c:v>0.439967897271268</c:v>
                </c:pt>
                <c:pt idx="24670">
                  <c:v>0.43998573212056302</c:v>
                </c:pt>
                <c:pt idx="24671">
                  <c:v>0.44000356696985898</c:v>
                </c:pt>
                <c:pt idx="24672">
                  <c:v>0.440021401819154</c:v>
                </c:pt>
                <c:pt idx="24673">
                  <c:v>0.44003923666845002</c:v>
                </c:pt>
                <c:pt idx="24674">
                  <c:v>0.44005707151774498</c:v>
                </c:pt>
                <c:pt idx="24675">
                  <c:v>0.440074906367041</c:v>
                </c:pt>
                <c:pt idx="24676">
                  <c:v>0.44009274121633601</c:v>
                </c:pt>
                <c:pt idx="24677">
                  <c:v>0.44011057606563198</c:v>
                </c:pt>
                <c:pt idx="24678">
                  <c:v>0.44012841091492699</c:v>
                </c:pt>
                <c:pt idx="24679">
                  <c:v>0.44014624576422301</c:v>
                </c:pt>
                <c:pt idx="24680">
                  <c:v>0.44016408061351803</c:v>
                </c:pt>
                <c:pt idx="24681">
                  <c:v>0.44018191546281399</c:v>
                </c:pt>
                <c:pt idx="24682">
                  <c:v>0.44019975031210901</c:v>
                </c:pt>
                <c:pt idx="24683">
                  <c:v>0.44021758516140502</c:v>
                </c:pt>
                <c:pt idx="24684">
                  <c:v>0.44023542001069998</c:v>
                </c:pt>
                <c:pt idx="24685">
                  <c:v>0.440253254859996</c:v>
                </c:pt>
                <c:pt idx="24686">
                  <c:v>0.44027108970929102</c:v>
                </c:pt>
                <c:pt idx="24687">
                  <c:v>0.44028892455858698</c:v>
                </c:pt>
                <c:pt idx="24688">
                  <c:v>0.440306759407883</c:v>
                </c:pt>
                <c:pt idx="24689">
                  <c:v>0.44032459425717801</c:v>
                </c:pt>
                <c:pt idx="24690">
                  <c:v>0.44034242910647398</c:v>
                </c:pt>
                <c:pt idx="24691">
                  <c:v>0.44036026395576899</c:v>
                </c:pt>
                <c:pt idx="24692">
                  <c:v>0.44037809880506501</c:v>
                </c:pt>
                <c:pt idx="24693">
                  <c:v>0.44039593365435997</c:v>
                </c:pt>
                <c:pt idx="24694">
                  <c:v>0.44041376850365599</c:v>
                </c:pt>
                <c:pt idx="24695">
                  <c:v>0.44043160335295101</c:v>
                </c:pt>
                <c:pt idx="24696">
                  <c:v>0.44044943820224702</c:v>
                </c:pt>
                <c:pt idx="24697">
                  <c:v>0.44046727305154199</c:v>
                </c:pt>
                <c:pt idx="24698">
                  <c:v>0.440485107900838</c:v>
                </c:pt>
                <c:pt idx="24699">
                  <c:v>0.44050294275013302</c:v>
                </c:pt>
                <c:pt idx="24700">
                  <c:v>0.44052077759942898</c:v>
                </c:pt>
                <c:pt idx="24701">
                  <c:v>0.440538612448724</c:v>
                </c:pt>
                <c:pt idx="24702">
                  <c:v>0.44055644729802002</c:v>
                </c:pt>
                <c:pt idx="24703">
                  <c:v>0.44057428214731498</c:v>
                </c:pt>
                <c:pt idx="24704">
                  <c:v>0.44059211699661099</c:v>
                </c:pt>
                <c:pt idx="24705">
                  <c:v>0.44060995184590601</c:v>
                </c:pt>
                <c:pt idx="24706">
                  <c:v>0.44062778669520197</c:v>
                </c:pt>
                <c:pt idx="24707">
                  <c:v>0.44064562154449699</c:v>
                </c:pt>
                <c:pt idx="24708">
                  <c:v>0.44066345639379301</c:v>
                </c:pt>
                <c:pt idx="24709">
                  <c:v>0.44068129124308802</c:v>
                </c:pt>
                <c:pt idx="24710">
                  <c:v>0.44069912609238399</c:v>
                </c:pt>
                <c:pt idx="24711">
                  <c:v>0.44071696094168</c:v>
                </c:pt>
                <c:pt idx="24712">
                  <c:v>0.44073479579097502</c:v>
                </c:pt>
                <c:pt idx="24713">
                  <c:v>0.44075263064027098</c:v>
                </c:pt>
                <c:pt idx="24714">
                  <c:v>0.440770465489566</c:v>
                </c:pt>
                <c:pt idx="24715">
                  <c:v>0.44078830033886202</c:v>
                </c:pt>
                <c:pt idx="24716">
                  <c:v>0.44080613518815698</c:v>
                </c:pt>
                <c:pt idx="24717">
                  <c:v>0.44082397003745299</c:v>
                </c:pt>
                <c:pt idx="24718">
                  <c:v>0.44084180488674801</c:v>
                </c:pt>
                <c:pt idx="24719">
                  <c:v>0.44085963973604397</c:v>
                </c:pt>
                <c:pt idx="24720">
                  <c:v>0.44087747458533899</c:v>
                </c:pt>
                <c:pt idx="24721">
                  <c:v>0.44089530943463501</c:v>
                </c:pt>
                <c:pt idx="24722">
                  <c:v>0.44091314428393003</c:v>
                </c:pt>
                <c:pt idx="24723">
                  <c:v>0.44093097913322599</c:v>
                </c:pt>
                <c:pt idx="24724">
                  <c:v>0.440948813982521</c:v>
                </c:pt>
                <c:pt idx="24725">
                  <c:v>0.44096664883181702</c:v>
                </c:pt>
                <c:pt idx="24726">
                  <c:v>0.44098448368111198</c:v>
                </c:pt>
                <c:pt idx="24727">
                  <c:v>0.441002318530408</c:v>
                </c:pt>
                <c:pt idx="24728">
                  <c:v>0.44102015337970302</c:v>
                </c:pt>
                <c:pt idx="24729">
                  <c:v>0.44103798822899898</c:v>
                </c:pt>
                <c:pt idx="24730">
                  <c:v>0.441055823078295</c:v>
                </c:pt>
                <c:pt idx="24731">
                  <c:v>0.44107365792759001</c:v>
                </c:pt>
                <c:pt idx="24732">
                  <c:v>0.44109149277688597</c:v>
                </c:pt>
                <c:pt idx="24733">
                  <c:v>0.44110932762618099</c:v>
                </c:pt>
                <c:pt idx="24734">
                  <c:v>0.44112716247547701</c:v>
                </c:pt>
                <c:pt idx="24735">
                  <c:v>0.44114499732477203</c:v>
                </c:pt>
                <c:pt idx="24736">
                  <c:v>0.44116283217406799</c:v>
                </c:pt>
                <c:pt idx="24737">
                  <c:v>0.441180667023363</c:v>
                </c:pt>
                <c:pt idx="24738">
                  <c:v>0.44119850187265902</c:v>
                </c:pt>
                <c:pt idx="24739">
                  <c:v>0.44121633672195398</c:v>
                </c:pt>
                <c:pt idx="24740">
                  <c:v>0.44123417157125</c:v>
                </c:pt>
                <c:pt idx="24741">
                  <c:v>0.44125200642054502</c:v>
                </c:pt>
                <c:pt idx="24742">
                  <c:v>0.44126984126984098</c:v>
                </c:pt>
                <c:pt idx="24743">
                  <c:v>0.441287676119136</c:v>
                </c:pt>
                <c:pt idx="24744">
                  <c:v>0.44130551096843201</c:v>
                </c:pt>
                <c:pt idx="24745">
                  <c:v>0.44132334581772698</c:v>
                </c:pt>
                <c:pt idx="24746">
                  <c:v>0.44134118066702299</c:v>
                </c:pt>
                <c:pt idx="24747">
                  <c:v>0.44135901551631801</c:v>
                </c:pt>
                <c:pt idx="24748">
                  <c:v>0.44137685036561403</c:v>
                </c:pt>
                <c:pt idx="24749">
                  <c:v>0.44139468521490899</c:v>
                </c:pt>
                <c:pt idx="24750">
                  <c:v>0.44141252006420501</c:v>
                </c:pt>
                <c:pt idx="24751">
                  <c:v>0.44143035491350002</c:v>
                </c:pt>
                <c:pt idx="24752">
                  <c:v>0.44144818976279598</c:v>
                </c:pt>
                <c:pt idx="24753">
                  <c:v>0.441466024612092</c:v>
                </c:pt>
                <c:pt idx="24754">
                  <c:v>0.44148385946138702</c:v>
                </c:pt>
                <c:pt idx="24755">
                  <c:v>0.44150169431068298</c:v>
                </c:pt>
                <c:pt idx="24756">
                  <c:v>0.441519529159978</c:v>
                </c:pt>
                <c:pt idx="24757">
                  <c:v>0.44153736400927401</c:v>
                </c:pt>
                <c:pt idx="24758">
                  <c:v>0.44155519885856898</c:v>
                </c:pt>
                <c:pt idx="24759">
                  <c:v>0.44157303370786499</c:v>
                </c:pt>
                <c:pt idx="24760">
                  <c:v>0.44159086855716001</c:v>
                </c:pt>
                <c:pt idx="24761">
                  <c:v>0.44160870340645603</c:v>
                </c:pt>
                <c:pt idx="24762">
                  <c:v>0.44162653825575099</c:v>
                </c:pt>
                <c:pt idx="24763">
                  <c:v>0.44164437310504701</c:v>
                </c:pt>
                <c:pt idx="24764">
                  <c:v>0.44166220795434202</c:v>
                </c:pt>
                <c:pt idx="24765">
                  <c:v>0.44168004280363798</c:v>
                </c:pt>
                <c:pt idx="24766">
                  <c:v>0.441697877652933</c:v>
                </c:pt>
                <c:pt idx="24767">
                  <c:v>0.44171571250222902</c:v>
                </c:pt>
                <c:pt idx="24768">
                  <c:v>0.44173354735152398</c:v>
                </c:pt>
                <c:pt idx="24769">
                  <c:v>0.44175138220082</c:v>
                </c:pt>
                <c:pt idx="24770">
                  <c:v>0.44176921705011502</c:v>
                </c:pt>
                <c:pt idx="24771">
                  <c:v>0.44178705189941098</c:v>
                </c:pt>
                <c:pt idx="24772">
                  <c:v>0.44180488674870699</c:v>
                </c:pt>
                <c:pt idx="24773">
                  <c:v>0.44182272159800201</c:v>
                </c:pt>
                <c:pt idx="24774">
                  <c:v>0.44184055644729803</c:v>
                </c:pt>
                <c:pt idx="24775">
                  <c:v>0.44185839129659299</c:v>
                </c:pt>
                <c:pt idx="24776">
                  <c:v>0.44187622614588901</c:v>
                </c:pt>
                <c:pt idx="24777">
                  <c:v>0.44189406099518402</c:v>
                </c:pt>
                <c:pt idx="24778">
                  <c:v>0.44191189584447998</c:v>
                </c:pt>
                <c:pt idx="24779">
                  <c:v>0.441929730693775</c:v>
                </c:pt>
                <c:pt idx="24780">
                  <c:v>0.44194756554307102</c:v>
                </c:pt>
                <c:pt idx="24781">
                  <c:v>0.44196540039236598</c:v>
                </c:pt>
                <c:pt idx="24782">
                  <c:v>0.441983235241662</c:v>
                </c:pt>
                <c:pt idx="24783">
                  <c:v>0.44200107009095702</c:v>
                </c:pt>
                <c:pt idx="24784">
                  <c:v>0.44201890494025298</c:v>
                </c:pt>
                <c:pt idx="24785">
                  <c:v>0.44203673978954799</c:v>
                </c:pt>
                <c:pt idx="24786">
                  <c:v>0.44205457463884401</c:v>
                </c:pt>
                <c:pt idx="24787">
                  <c:v>0.44207240948813897</c:v>
                </c:pt>
                <c:pt idx="24788">
                  <c:v>0.44209024433743499</c:v>
                </c:pt>
                <c:pt idx="24789">
                  <c:v>0.44210807918673001</c:v>
                </c:pt>
                <c:pt idx="24790">
                  <c:v>0.44212591403602602</c:v>
                </c:pt>
                <c:pt idx="24791">
                  <c:v>0.44214374888532099</c:v>
                </c:pt>
                <c:pt idx="24792">
                  <c:v>0.442161583734617</c:v>
                </c:pt>
                <c:pt idx="24793">
                  <c:v>0.44217941858391202</c:v>
                </c:pt>
                <c:pt idx="24794">
                  <c:v>0.44219725343320798</c:v>
                </c:pt>
                <c:pt idx="24795">
                  <c:v>0.442215088282504</c:v>
                </c:pt>
                <c:pt idx="24796">
                  <c:v>0.44223292313179902</c:v>
                </c:pt>
                <c:pt idx="24797">
                  <c:v>0.44225075798109498</c:v>
                </c:pt>
                <c:pt idx="24798">
                  <c:v>0.44226859283038999</c:v>
                </c:pt>
                <c:pt idx="24799">
                  <c:v>0.44228642767968601</c:v>
                </c:pt>
                <c:pt idx="24800">
                  <c:v>0.44230426252898097</c:v>
                </c:pt>
                <c:pt idx="24801">
                  <c:v>0.44232209737827699</c:v>
                </c:pt>
                <c:pt idx="24802">
                  <c:v>0.44233993222757201</c:v>
                </c:pt>
                <c:pt idx="24803">
                  <c:v>0.44235776707686802</c:v>
                </c:pt>
                <c:pt idx="24804">
                  <c:v>0.44237560192616299</c:v>
                </c:pt>
                <c:pt idx="24805">
                  <c:v>0.442393436775459</c:v>
                </c:pt>
                <c:pt idx="24806">
                  <c:v>0.44241127162475402</c:v>
                </c:pt>
                <c:pt idx="24807">
                  <c:v>0.44242910647404998</c:v>
                </c:pt>
                <c:pt idx="24808">
                  <c:v>0.442446941323345</c:v>
                </c:pt>
                <c:pt idx="24809">
                  <c:v>0.44246477617264102</c:v>
                </c:pt>
                <c:pt idx="24810">
                  <c:v>0.44248261102193598</c:v>
                </c:pt>
                <c:pt idx="24811">
                  <c:v>0.442500445871232</c:v>
                </c:pt>
                <c:pt idx="24812">
                  <c:v>0.44251828072052701</c:v>
                </c:pt>
                <c:pt idx="24813">
                  <c:v>0.44253611556982297</c:v>
                </c:pt>
                <c:pt idx="24814">
                  <c:v>0.44255395041911799</c:v>
                </c:pt>
                <c:pt idx="24815">
                  <c:v>0.44257178526841401</c:v>
                </c:pt>
                <c:pt idx="24816">
                  <c:v>0.44258962011771003</c:v>
                </c:pt>
                <c:pt idx="24817">
                  <c:v>0.44260745496700499</c:v>
                </c:pt>
                <c:pt idx="24818">
                  <c:v>0.442625289816301</c:v>
                </c:pt>
                <c:pt idx="24819">
                  <c:v>0.44264312466559602</c:v>
                </c:pt>
                <c:pt idx="24820">
                  <c:v>0.44266095951489198</c:v>
                </c:pt>
                <c:pt idx="24821">
                  <c:v>0.442678794364187</c:v>
                </c:pt>
                <c:pt idx="24822">
                  <c:v>0.44269662921348302</c:v>
                </c:pt>
                <c:pt idx="24823">
                  <c:v>0.44271446406277798</c:v>
                </c:pt>
                <c:pt idx="24824">
                  <c:v>0.442732298912074</c:v>
                </c:pt>
                <c:pt idx="24825">
                  <c:v>0.44275013376136901</c:v>
                </c:pt>
                <c:pt idx="24826">
                  <c:v>0.44276796861066497</c:v>
                </c:pt>
                <c:pt idx="24827">
                  <c:v>0.44278580345995999</c:v>
                </c:pt>
                <c:pt idx="24828">
                  <c:v>0.44280363830925601</c:v>
                </c:pt>
                <c:pt idx="24829">
                  <c:v>0.44282147315855103</c:v>
                </c:pt>
                <c:pt idx="24830">
                  <c:v>0.44283930800784699</c:v>
                </c:pt>
                <c:pt idx="24831">
                  <c:v>0.44285714285714201</c:v>
                </c:pt>
                <c:pt idx="24832">
                  <c:v>0.44287497770643802</c:v>
                </c:pt>
                <c:pt idx="24833">
                  <c:v>0.44289281255573298</c:v>
                </c:pt>
                <c:pt idx="24834">
                  <c:v>0.442910647405029</c:v>
                </c:pt>
                <c:pt idx="24835">
                  <c:v>0.44292848225432402</c:v>
                </c:pt>
                <c:pt idx="24836">
                  <c:v>0.44294631710361998</c:v>
                </c:pt>
                <c:pt idx="24837">
                  <c:v>0.442964151952916</c:v>
                </c:pt>
                <c:pt idx="24838">
                  <c:v>0.44298198680221101</c:v>
                </c:pt>
                <c:pt idx="24839">
                  <c:v>0.44299982165150698</c:v>
                </c:pt>
                <c:pt idx="24840">
                  <c:v>0.44301765650080199</c:v>
                </c:pt>
                <c:pt idx="24841">
                  <c:v>0.44303549135009801</c:v>
                </c:pt>
                <c:pt idx="24842">
                  <c:v>0.44305332619939303</c:v>
                </c:pt>
                <c:pt idx="24843">
                  <c:v>0.44307116104868899</c:v>
                </c:pt>
                <c:pt idx="24844">
                  <c:v>0.44308899589798401</c:v>
                </c:pt>
                <c:pt idx="24845">
                  <c:v>0.44310683074728002</c:v>
                </c:pt>
                <c:pt idx="24846">
                  <c:v>0.44312466559657498</c:v>
                </c:pt>
                <c:pt idx="24847">
                  <c:v>0.443142500445871</c:v>
                </c:pt>
                <c:pt idx="24848">
                  <c:v>0.44316033529516602</c:v>
                </c:pt>
                <c:pt idx="24849">
                  <c:v>0.44317817014446198</c:v>
                </c:pt>
                <c:pt idx="24850">
                  <c:v>0.443196004993757</c:v>
                </c:pt>
                <c:pt idx="24851">
                  <c:v>0.44321383984305301</c:v>
                </c:pt>
                <c:pt idx="24852">
                  <c:v>0.44323167469234798</c:v>
                </c:pt>
                <c:pt idx="24853">
                  <c:v>0.44324950954164399</c:v>
                </c:pt>
                <c:pt idx="24854">
                  <c:v>0.44326734439093901</c:v>
                </c:pt>
                <c:pt idx="24855">
                  <c:v>0.44328517924023503</c:v>
                </c:pt>
                <c:pt idx="24856">
                  <c:v>0.44330301408952999</c:v>
                </c:pt>
                <c:pt idx="24857">
                  <c:v>0.44332084893882601</c:v>
                </c:pt>
                <c:pt idx="24858">
                  <c:v>0.44333868378812102</c:v>
                </c:pt>
                <c:pt idx="24859">
                  <c:v>0.44335651863741699</c:v>
                </c:pt>
                <c:pt idx="24860">
                  <c:v>0.443374353486713</c:v>
                </c:pt>
                <c:pt idx="24861">
                  <c:v>0.44339218833600802</c:v>
                </c:pt>
                <c:pt idx="24862">
                  <c:v>0.44341002318530398</c:v>
                </c:pt>
                <c:pt idx="24863">
                  <c:v>0.443427858034599</c:v>
                </c:pt>
                <c:pt idx="24864">
                  <c:v>0.44344569288389502</c:v>
                </c:pt>
                <c:pt idx="24865">
                  <c:v>0.44346352773318998</c:v>
                </c:pt>
                <c:pt idx="24866">
                  <c:v>0.44348136258248599</c:v>
                </c:pt>
                <c:pt idx="24867">
                  <c:v>0.44349919743178101</c:v>
                </c:pt>
                <c:pt idx="24868">
                  <c:v>0.44351703228107697</c:v>
                </c:pt>
                <c:pt idx="24869">
                  <c:v>0.44353486713037199</c:v>
                </c:pt>
                <c:pt idx="24870">
                  <c:v>0.44355270197966801</c:v>
                </c:pt>
                <c:pt idx="24871">
                  <c:v>0.44357053682896302</c:v>
                </c:pt>
                <c:pt idx="24872">
                  <c:v>0.44358837167825899</c:v>
                </c:pt>
                <c:pt idx="24873">
                  <c:v>0.443606206527554</c:v>
                </c:pt>
                <c:pt idx="24874">
                  <c:v>0.44362404137685002</c:v>
                </c:pt>
                <c:pt idx="24875">
                  <c:v>0.44364187622614498</c:v>
                </c:pt>
                <c:pt idx="24876">
                  <c:v>0.443659711075441</c:v>
                </c:pt>
                <c:pt idx="24877">
                  <c:v>0.44367754592473602</c:v>
                </c:pt>
                <c:pt idx="24878">
                  <c:v>0.44369538077403198</c:v>
                </c:pt>
                <c:pt idx="24879">
                  <c:v>0.44371321562332799</c:v>
                </c:pt>
                <c:pt idx="24880">
                  <c:v>0.44373105047262301</c:v>
                </c:pt>
                <c:pt idx="24881">
                  <c:v>0.44374888532191897</c:v>
                </c:pt>
                <c:pt idx="24882">
                  <c:v>0.44376672017121399</c:v>
                </c:pt>
                <c:pt idx="24883">
                  <c:v>0.44378455502051001</c:v>
                </c:pt>
                <c:pt idx="24884">
                  <c:v>0.44380238986980503</c:v>
                </c:pt>
                <c:pt idx="24885">
                  <c:v>0.44382022471910099</c:v>
                </c:pt>
                <c:pt idx="24886">
                  <c:v>0.443838059568396</c:v>
                </c:pt>
                <c:pt idx="24887">
                  <c:v>0.44385589441769202</c:v>
                </c:pt>
                <c:pt idx="24888">
                  <c:v>0.44387372926698698</c:v>
                </c:pt>
                <c:pt idx="24889">
                  <c:v>0.443891564116283</c:v>
                </c:pt>
                <c:pt idx="24890">
                  <c:v>0.44390939896557802</c:v>
                </c:pt>
                <c:pt idx="24891">
                  <c:v>0.44392723381487398</c:v>
                </c:pt>
                <c:pt idx="24892">
                  <c:v>0.443945068664169</c:v>
                </c:pt>
                <c:pt idx="24893">
                  <c:v>0.44396290351346501</c:v>
                </c:pt>
                <c:pt idx="24894">
                  <c:v>0.44398073836275997</c:v>
                </c:pt>
                <c:pt idx="24895">
                  <c:v>0.44399857321205599</c:v>
                </c:pt>
                <c:pt idx="24896">
                  <c:v>0.44401640806135101</c:v>
                </c:pt>
                <c:pt idx="24897">
                  <c:v>0.44403424291064703</c:v>
                </c:pt>
                <c:pt idx="24898">
                  <c:v>0.44405207775994199</c:v>
                </c:pt>
                <c:pt idx="24899">
                  <c:v>0.444069912609238</c:v>
                </c:pt>
                <c:pt idx="24900">
                  <c:v>0.44408774745853302</c:v>
                </c:pt>
                <c:pt idx="24901">
                  <c:v>0.44410558230782898</c:v>
                </c:pt>
                <c:pt idx="24902">
                  <c:v>0.444123417157125</c:v>
                </c:pt>
                <c:pt idx="24903">
                  <c:v>0.44414125200642002</c:v>
                </c:pt>
                <c:pt idx="24904">
                  <c:v>0.44415908685571598</c:v>
                </c:pt>
                <c:pt idx="24905">
                  <c:v>0.444176921705011</c:v>
                </c:pt>
                <c:pt idx="24906">
                  <c:v>0.44419475655430701</c:v>
                </c:pt>
                <c:pt idx="24907">
                  <c:v>0.44421259140360198</c:v>
                </c:pt>
                <c:pt idx="24908">
                  <c:v>0.44423042625289799</c:v>
                </c:pt>
                <c:pt idx="24909">
                  <c:v>0.44424826110219301</c:v>
                </c:pt>
                <c:pt idx="24910">
                  <c:v>0.44426609595148903</c:v>
                </c:pt>
                <c:pt idx="24911">
                  <c:v>0.44428393080078399</c:v>
                </c:pt>
                <c:pt idx="24912">
                  <c:v>0.44430176565008</c:v>
                </c:pt>
                <c:pt idx="24913">
                  <c:v>0.44431960049937502</c:v>
                </c:pt>
                <c:pt idx="24914">
                  <c:v>0.44433743534867098</c:v>
                </c:pt>
                <c:pt idx="24915">
                  <c:v>0.444355270197966</c:v>
                </c:pt>
                <c:pt idx="24916">
                  <c:v>0.44437310504726202</c:v>
                </c:pt>
                <c:pt idx="24917">
                  <c:v>0.44439093989655698</c:v>
                </c:pt>
                <c:pt idx="24918">
                  <c:v>0.444408774745853</c:v>
                </c:pt>
                <c:pt idx="24919">
                  <c:v>0.44442660959514801</c:v>
                </c:pt>
                <c:pt idx="24920">
                  <c:v>0.44444444444444398</c:v>
                </c:pt>
                <c:pt idx="24921">
                  <c:v>0.44446227929373999</c:v>
                </c:pt>
                <c:pt idx="24922">
                  <c:v>0.44448011414303501</c:v>
                </c:pt>
                <c:pt idx="24923">
                  <c:v>0.44449794899233103</c:v>
                </c:pt>
                <c:pt idx="24924">
                  <c:v>0.44451578384162599</c:v>
                </c:pt>
                <c:pt idx="24925">
                  <c:v>0.44453361869092201</c:v>
                </c:pt>
                <c:pt idx="24926">
                  <c:v>0.44455145354021702</c:v>
                </c:pt>
                <c:pt idx="24927">
                  <c:v>0.44456928838951298</c:v>
                </c:pt>
                <c:pt idx="24928">
                  <c:v>0.444587123238808</c:v>
                </c:pt>
                <c:pt idx="24929">
                  <c:v>0.44460495808810402</c:v>
                </c:pt>
                <c:pt idx="24930">
                  <c:v>0.44462279293739898</c:v>
                </c:pt>
                <c:pt idx="24931">
                  <c:v>0.444640627786695</c:v>
                </c:pt>
                <c:pt idx="24932">
                  <c:v>0.44465846263599001</c:v>
                </c:pt>
                <c:pt idx="24933">
                  <c:v>0.44467629748528598</c:v>
                </c:pt>
                <c:pt idx="24934">
                  <c:v>0.44469413233458099</c:v>
                </c:pt>
                <c:pt idx="24935">
                  <c:v>0.44471196718387701</c:v>
                </c:pt>
                <c:pt idx="24936">
                  <c:v>0.44472980203317197</c:v>
                </c:pt>
                <c:pt idx="24937">
                  <c:v>0.44474763688246799</c:v>
                </c:pt>
                <c:pt idx="24938">
                  <c:v>0.44476547173176301</c:v>
                </c:pt>
                <c:pt idx="24939">
                  <c:v>0.44478330658105902</c:v>
                </c:pt>
                <c:pt idx="24940">
                  <c:v>0.44480114143035399</c:v>
                </c:pt>
                <c:pt idx="24941">
                  <c:v>0.44481897627965</c:v>
                </c:pt>
                <c:pt idx="24942">
                  <c:v>0.44483681112894502</c:v>
                </c:pt>
                <c:pt idx="24943">
                  <c:v>0.44485464597824098</c:v>
                </c:pt>
                <c:pt idx="24944">
                  <c:v>0.444872480827537</c:v>
                </c:pt>
                <c:pt idx="24945">
                  <c:v>0.44489031567683202</c:v>
                </c:pt>
                <c:pt idx="24946">
                  <c:v>0.44490815052612798</c:v>
                </c:pt>
                <c:pt idx="24947">
                  <c:v>0.44492598537542299</c:v>
                </c:pt>
                <c:pt idx="24948">
                  <c:v>0.44494382022471901</c:v>
                </c:pt>
                <c:pt idx="24949">
                  <c:v>0.44496165507401397</c:v>
                </c:pt>
                <c:pt idx="24950">
                  <c:v>0.44497948992330999</c:v>
                </c:pt>
                <c:pt idx="24951">
                  <c:v>0.44499732477260501</c:v>
                </c:pt>
                <c:pt idx="24952">
                  <c:v>0.44501515962190102</c:v>
                </c:pt>
                <c:pt idx="24953">
                  <c:v>0.44503299447119599</c:v>
                </c:pt>
                <c:pt idx="24954">
                  <c:v>0.445050829320492</c:v>
                </c:pt>
                <c:pt idx="24955">
                  <c:v>0.44506866416978702</c:v>
                </c:pt>
                <c:pt idx="24956">
                  <c:v>0.44508649901908298</c:v>
                </c:pt>
                <c:pt idx="24957">
                  <c:v>0.445104333868378</c:v>
                </c:pt>
                <c:pt idx="24958">
                  <c:v>0.44512216871767402</c:v>
                </c:pt>
                <c:pt idx="24959">
                  <c:v>0.44514000356696898</c:v>
                </c:pt>
                <c:pt idx="24960">
                  <c:v>0.44515783841626499</c:v>
                </c:pt>
                <c:pt idx="24961">
                  <c:v>0.44517567326556001</c:v>
                </c:pt>
                <c:pt idx="24962">
                  <c:v>0.44519350811485597</c:v>
                </c:pt>
                <c:pt idx="24963">
                  <c:v>0.44521134296415099</c:v>
                </c:pt>
                <c:pt idx="24964">
                  <c:v>0.44522917781344701</c:v>
                </c:pt>
                <c:pt idx="24965">
                  <c:v>0.44524701266274302</c:v>
                </c:pt>
                <c:pt idx="24966">
                  <c:v>0.44526484751203799</c:v>
                </c:pt>
                <c:pt idx="24967">
                  <c:v>0.445282682361334</c:v>
                </c:pt>
                <c:pt idx="24968">
                  <c:v>0.44530051721062902</c:v>
                </c:pt>
                <c:pt idx="24969">
                  <c:v>0.44531835205992498</c:v>
                </c:pt>
                <c:pt idx="24970">
                  <c:v>0.44533618690922</c:v>
                </c:pt>
                <c:pt idx="24971">
                  <c:v>0.44535402175851602</c:v>
                </c:pt>
                <c:pt idx="24972">
                  <c:v>0.44537185660781098</c:v>
                </c:pt>
                <c:pt idx="24973">
                  <c:v>0.445389691457107</c:v>
                </c:pt>
                <c:pt idx="24974">
                  <c:v>0.44540752630640201</c:v>
                </c:pt>
                <c:pt idx="24975">
                  <c:v>0.44542536115569797</c:v>
                </c:pt>
                <c:pt idx="24976">
                  <c:v>0.44544319600499299</c:v>
                </c:pt>
                <c:pt idx="24977">
                  <c:v>0.44546103085428901</c:v>
                </c:pt>
                <c:pt idx="24978">
                  <c:v>0.44547886570358403</c:v>
                </c:pt>
                <c:pt idx="24979">
                  <c:v>0.44549670055287999</c:v>
                </c:pt>
                <c:pt idx="24980">
                  <c:v>0.445514535402175</c:v>
                </c:pt>
                <c:pt idx="24981">
                  <c:v>0.44553237025147102</c:v>
                </c:pt>
                <c:pt idx="24982">
                  <c:v>0.44555020510076598</c:v>
                </c:pt>
                <c:pt idx="24983">
                  <c:v>0.445568039950062</c:v>
                </c:pt>
                <c:pt idx="24984">
                  <c:v>0.44558587479935702</c:v>
                </c:pt>
                <c:pt idx="24985">
                  <c:v>0.44560370964865298</c:v>
                </c:pt>
                <c:pt idx="24986">
                  <c:v>0.445621544497949</c:v>
                </c:pt>
                <c:pt idx="24987">
                  <c:v>0.44563937934724401</c:v>
                </c:pt>
                <c:pt idx="24988">
                  <c:v>0.44565721419653997</c:v>
                </c:pt>
                <c:pt idx="24989">
                  <c:v>0.44567504904583499</c:v>
                </c:pt>
                <c:pt idx="24990">
                  <c:v>0.44569288389513101</c:v>
                </c:pt>
                <c:pt idx="24991">
                  <c:v>0.44571071874442603</c:v>
                </c:pt>
                <c:pt idx="24992">
                  <c:v>0.44572855359372199</c:v>
                </c:pt>
                <c:pt idx="24993">
                  <c:v>0.44574638844301701</c:v>
                </c:pt>
                <c:pt idx="24994">
                  <c:v>0.44576422329231302</c:v>
                </c:pt>
                <c:pt idx="24995">
                  <c:v>0.44578205814160798</c:v>
                </c:pt>
                <c:pt idx="24996">
                  <c:v>0.445799892990904</c:v>
                </c:pt>
                <c:pt idx="24997">
                  <c:v>0.44581772784019902</c:v>
                </c:pt>
                <c:pt idx="24998">
                  <c:v>0.44583556268949498</c:v>
                </c:pt>
                <c:pt idx="24999">
                  <c:v>0.44585339753879</c:v>
                </c:pt>
                <c:pt idx="25000">
                  <c:v>0.44587123238808601</c:v>
                </c:pt>
                <c:pt idx="25001">
                  <c:v>0.44588906723738098</c:v>
                </c:pt>
                <c:pt idx="25002">
                  <c:v>0.44590690208667699</c:v>
                </c:pt>
                <c:pt idx="25003">
                  <c:v>0.44592473693597201</c:v>
                </c:pt>
                <c:pt idx="25004">
                  <c:v>0.44594257178526803</c:v>
                </c:pt>
                <c:pt idx="25005">
                  <c:v>0.44596040663456299</c:v>
                </c:pt>
                <c:pt idx="25006">
                  <c:v>0.44597824148385901</c:v>
                </c:pt>
                <c:pt idx="25007">
                  <c:v>0.44599607633315402</c:v>
                </c:pt>
                <c:pt idx="25008">
                  <c:v>0.44601391118244998</c:v>
                </c:pt>
                <c:pt idx="25009">
                  <c:v>0.446031746031746</c:v>
                </c:pt>
                <c:pt idx="25010">
                  <c:v>0.44604958088104102</c:v>
                </c:pt>
                <c:pt idx="25011">
                  <c:v>0.44606741573033698</c:v>
                </c:pt>
                <c:pt idx="25012">
                  <c:v>0.446085250579632</c:v>
                </c:pt>
                <c:pt idx="25013">
                  <c:v>0.44610308542892801</c:v>
                </c:pt>
                <c:pt idx="25014">
                  <c:v>0.44612092027822298</c:v>
                </c:pt>
                <c:pt idx="25015">
                  <c:v>0.44613875512751899</c:v>
                </c:pt>
                <c:pt idx="25016">
                  <c:v>0.44615658997681401</c:v>
                </c:pt>
                <c:pt idx="25017">
                  <c:v>0.44617442482611003</c:v>
                </c:pt>
                <c:pt idx="25018">
                  <c:v>0.44619225967540499</c:v>
                </c:pt>
                <c:pt idx="25019">
                  <c:v>0.44621009452470101</c:v>
                </c:pt>
                <c:pt idx="25020">
                  <c:v>0.44622792937399602</c:v>
                </c:pt>
                <c:pt idx="25021">
                  <c:v>0.44624576422329199</c:v>
                </c:pt>
                <c:pt idx="25022">
                  <c:v>0.446263599072587</c:v>
                </c:pt>
                <c:pt idx="25023">
                  <c:v>0.44628143392188302</c:v>
                </c:pt>
                <c:pt idx="25024">
                  <c:v>0.44629926877117798</c:v>
                </c:pt>
                <c:pt idx="25025">
                  <c:v>0.446317103620474</c:v>
                </c:pt>
                <c:pt idx="25026">
                  <c:v>0.44633493846976902</c:v>
                </c:pt>
                <c:pt idx="25027">
                  <c:v>0.44635277331906498</c:v>
                </c:pt>
                <c:pt idx="25028">
                  <c:v>0.44637060816836099</c:v>
                </c:pt>
                <c:pt idx="25029">
                  <c:v>0.44638844301765601</c:v>
                </c:pt>
                <c:pt idx="25030">
                  <c:v>0.44640627786695197</c:v>
                </c:pt>
                <c:pt idx="25031">
                  <c:v>0.44642411271624699</c:v>
                </c:pt>
                <c:pt idx="25032">
                  <c:v>0.44644194756554301</c:v>
                </c:pt>
                <c:pt idx="25033">
                  <c:v>0.44645978241483802</c:v>
                </c:pt>
                <c:pt idx="25034">
                  <c:v>0.44647761726413399</c:v>
                </c:pt>
                <c:pt idx="25035">
                  <c:v>0.446495452113429</c:v>
                </c:pt>
                <c:pt idx="25036">
                  <c:v>0.44651328696272502</c:v>
                </c:pt>
                <c:pt idx="25037">
                  <c:v>0.44653112181201998</c:v>
                </c:pt>
                <c:pt idx="25038">
                  <c:v>0.446548956661316</c:v>
                </c:pt>
                <c:pt idx="25039">
                  <c:v>0.44656679151061102</c:v>
                </c:pt>
                <c:pt idx="25040">
                  <c:v>0.44658462635990698</c:v>
                </c:pt>
                <c:pt idx="25041">
                  <c:v>0.446602461209202</c:v>
                </c:pt>
                <c:pt idx="25042">
                  <c:v>0.44662029605849801</c:v>
                </c:pt>
                <c:pt idx="25043">
                  <c:v>0.44663813090779297</c:v>
                </c:pt>
                <c:pt idx="25044">
                  <c:v>0.44665596575708899</c:v>
                </c:pt>
                <c:pt idx="25045">
                  <c:v>0.44667380060638401</c:v>
                </c:pt>
                <c:pt idx="25046">
                  <c:v>0.44669163545568003</c:v>
                </c:pt>
                <c:pt idx="25047">
                  <c:v>0.44670947030497499</c:v>
                </c:pt>
                <c:pt idx="25048">
                  <c:v>0.446727305154271</c:v>
                </c:pt>
                <c:pt idx="25049">
                  <c:v>0.44674514000356602</c:v>
                </c:pt>
                <c:pt idx="25050">
                  <c:v>0.44676297485286198</c:v>
                </c:pt>
                <c:pt idx="25051">
                  <c:v>0.446780809702158</c:v>
                </c:pt>
                <c:pt idx="25052">
                  <c:v>0.44679864455145302</c:v>
                </c:pt>
                <c:pt idx="25053">
                  <c:v>0.44681647940074898</c:v>
                </c:pt>
                <c:pt idx="25054">
                  <c:v>0.446834314250044</c:v>
                </c:pt>
                <c:pt idx="25055">
                  <c:v>0.44685214909934001</c:v>
                </c:pt>
                <c:pt idx="25056">
                  <c:v>0.44686998394863497</c:v>
                </c:pt>
                <c:pt idx="25057">
                  <c:v>0.44688781879793099</c:v>
                </c:pt>
                <c:pt idx="25058">
                  <c:v>0.44690565364722601</c:v>
                </c:pt>
                <c:pt idx="25059">
                  <c:v>0.44692348849652203</c:v>
                </c:pt>
                <c:pt idx="25060">
                  <c:v>0.44694132334581699</c:v>
                </c:pt>
                <c:pt idx="25061">
                  <c:v>0.446959158195113</c:v>
                </c:pt>
                <c:pt idx="25062">
                  <c:v>0.44697699304440802</c:v>
                </c:pt>
                <c:pt idx="25063">
                  <c:v>0.44699482789370398</c:v>
                </c:pt>
                <c:pt idx="25064">
                  <c:v>0.447012662742999</c:v>
                </c:pt>
                <c:pt idx="25065">
                  <c:v>0.44703049759229502</c:v>
                </c:pt>
                <c:pt idx="25066">
                  <c:v>0.44704833244158998</c:v>
                </c:pt>
                <c:pt idx="25067">
                  <c:v>0.447066167290886</c:v>
                </c:pt>
                <c:pt idx="25068">
                  <c:v>0.44708400214018101</c:v>
                </c:pt>
                <c:pt idx="25069">
                  <c:v>0.44710183698947698</c:v>
                </c:pt>
                <c:pt idx="25070">
                  <c:v>0.44711967183877199</c:v>
                </c:pt>
                <c:pt idx="25071">
                  <c:v>0.44713750668806801</c:v>
                </c:pt>
                <c:pt idx="25072">
                  <c:v>0.44715534153736403</c:v>
                </c:pt>
                <c:pt idx="25073">
                  <c:v>0.44717317638665899</c:v>
                </c:pt>
                <c:pt idx="25074">
                  <c:v>0.447191011235955</c:v>
                </c:pt>
                <c:pt idx="25075">
                  <c:v>0.44720884608525002</c:v>
                </c:pt>
                <c:pt idx="25076">
                  <c:v>0.44722668093454598</c:v>
                </c:pt>
                <c:pt idx="25077">
                  <c:v>0.447244515783841</c:v>
                </c:pt>
                <c:pt idx="25078">
                  <c:v>0.44726235063313702</c:v>
                </c:pt>
                <c:pt idx="25079">
                  <c:v>0.44728018548243198</c:v>
                </c:pt>
                <c:pt idx="25080">
                  <c:v>0.447298020331728</c:v>
                </c:pt>
                <c:pt idx="25081">
                  <c:v>0.44731585518102301</c:v>
                </c:pt>
                <c:pt idx="25082">
                  <c:v>0.44733369003031898</c:v>
                </c:pt>
                <c:pt idx="25083">
                  <c:v>0.44735152487961399</c:v>
                </c:pt>
                <c:pt idx="25084">
                  <c:v>0.44736935972891001</c:v>
                </c:pt>
                <c:pt idx="25085">
                  <c:v>0.44738719457820503</c:v>
                </c:pt>
                <c:pt idx="25086">
                  <c:v>0.44740502942750099</c:v>
                </c:pt>
                <c:pt idx="25087">
                  <c:v>0.44742286427679601</c:v>
                </c:pt>
                <c:pt idx="25088">
                  <c:v>0.44744069912609202</c:v>
                </c:pt>
                <c:pt idx="25089">
                  <c:v>0.44745853397538699</c:v>
                </c:pt>
                <c:pt idx="25090">
                  <c:v>0.447476368824683</c:v>
                </c:pt>
                <c:pt idx="25091">
                  <c:v>0.44749420367397802</c:v>
                </c:pt>
                <c:pt idx="25092">
                  <c:v>0.44751203852327398</c:v>
                </c:pt>
                <c:pt idx="25093">
                  <c:v>0.44752987337257</c:v>
                </c:pt>
                <c:pt idx="25094">
                  <c:v>0.44754770822186501</c:v>
                </c:pt>
                <c:pt idx="25095">
                  <c:v>0.44756554307116098</c:v>
                </c:pt>
                <c:pt idx="25096">
                  <c:v>0.44758337792045599</c:v>
                </c:pt>
                <c:pt idx="25097">
                  <c:v>0.44760121276975201</c:v>
                </c:pt>
                <c:pt idx="25098">
                  <c:v>0.44761904761904697</c:v>
                </c:pt>
                <c:pt idx="25099">
                  <c:v>0.44763688246834299</c:v>
                </c:pt>
                <c:pt idx="25100">
                  <c:v>0.44765471731763801</c:v>
                </c:pt>
                <c:pt idx="25101">
                  <c:v>0.44767255216693402</c:v>
                </c:pt>
                <c:pt idx="25102">
                  <c:v>0.44769038701622899</c:v>
                </c:pt>
                <c:pt idx="25103">
                  <c:v>0.447708221865525</c:v>
                </c:pt>
                <c:pt idx="25104">
                  <c:v>0.44772605671482002</c:v>
                </c:pt>
                <c:pt idx="25105">
                  <c:v>0.44774389156411598</c:v>
                </c:pt>
                <c:pt idx="25106">
                  <c:v>0.447761726413411</c:v>
                </c:pt>
                <c:pt idx="25107">
                  <c:v>0.44777956126270702</c:v>
                </c:pt>
                <c:pt idx="25108">
                  <c:v>0.44779739611200198</c:v>
                </c:pt>
                <c:pt idx="25109">
                  <c:v>0.44781523096129799</c:v>
                </c:pt>
                <c:pt idx="25110">
                  <c:v>0.44783306581059301</c:v>
                </c:pt>
                <c:pt idx="25111">
                  <c:v>0.44785090065988897</c:v>
                </c:pt>
                <c:pt idx="25112">
                  <c:v>0.44786873550918399</c:v>
                </c:pt>
                <c:pt idx="25113">
                  <c:v>0.44788657035848001</c:v>
                </c:pt>
                <c:pt idx="25114">
                  <c:v>0.44790440520777502</c:v>
                </c:pt>
                <c:pt idx="25115">
                  <c:v>0.44792224005707099</c:v>
                </c:pt>
                <c:pt idx="25116">
                  <c:v>0.447940074906367</c:v>
                </c:pt>
                <c:pt idx="25117">
                  <c:v>0.44795790975566202</c:v>
                </c:pt>
                <c:pt idx="25118">
                  <c:v>0.44797574460495798</c:v>
                </c:pt>
                <c:pt idx="25119">
                  <c:v>0.447993579454253</c:v>
                </c:pt>
                <c:pt idx="25120">
                  <c:v>0.44801141430354902</c:v>
                </c:pt>
                <c:pt idx="25121">
                  <c:v>0.44802924915284398</c:v>
                </c:pt>
                <c:pt idx="25122">
                  <c:v>0.44804708400213999</c:v>
                </c:pt>
                <c:pt idx="25123">
                  <c:v>0.44806491885143501</c:v>
                </c:pt>
                <c:pt idx="25124">
                  <c:v>0.44808275370073097</c:v>
                </c:pt>
                <c:pt idx="25125">
                  <c:v>0.44810058855002599</c:v>
                </c:pt>
                <c:pt idx="25126">
                  <c:v>0.44811842339932201</c:v>
                </c:pt>
                <c:pt idx="25127">
                  <c:v>0.44813625824861703</c:v>
                </c:pt>
                <c:pt idx="25128">
                  <c:v>0.44815409309791299</c:v>
                </c:pt>
                <c:pt idx="25129">
                  <c:v>0.448171927947208</c:v>
                </c:pt>
                <c:pt idx="25130">
                  <c:v>0.44818976279650402</c:v>
                </c:pt>
                <c:pt idx="25131">
                  <c:v>0.44820759764579898</c:v>
                </c:pt>
                <c:pt idx="25132">
                  <c:v>0.448225432495095</c:v>
                </c:pt>
                <c:pt idx="25133">
                  <c:v>0.44824326734439002</c:v>
                </c:pt>
                <c:pt idx="25134">
                  <c:v>0.44826110219368598</c:v>
                </c:pt>
                <c:pt idx="25135">
                  <c:v>0.448278937042982</c:v>
                </c:pt>
                <c:pt idx="25136">
                  <c:v>0.44829677189227701</c:v>
                </c:pt>
                <c:pt idx="25137">
                  <c:v>0.44831460674157297</c:v>
                </c:pt>
                <c:pt idx="25138">
                  <c:v>0.44833244159086799</c:v>
                </c:pt>
                <c:pt idx="25139">
                  <c:v>0.44835027644016401</c:v>
                </c:pt>
                <c:pt idx="25140">
                  <c:v>0.44836811128945903</c:v>
                </c:pt>
                <c:pt idx="25141">
                  <c:v>0.44838594613875499</c:v>
                </c:pt>
                <c:pt idx="25142">
                  <c:v>0.44840378098805</c:v>
                </c:pt>
                <c:pt idx="25143">
                  <c:v>0.44842161583734602</c:v>
                </c:pt>
                <c:pt idx="25144">
                  <c:v>0.44843945068664098</c:v>
                </c:pt>
                <c:pt idx="25145">
                  <c:v>0.448457285535937</c:v>
                </c:pt>
                <c:pt idx="25146">
                  <c:v>0.44847512038523202</c:v>
                </c:pt>
                <c:pt idx="25147">
                  <c:v>0.44849295523452798</c:v>
                </c:pt>
                <c:pt idx="25148">
                  <c:v>0.448510790083823</c:v>
                </c:pt>
                <c:pt idx="25149">
                  <c:v>0.44852862493311901</c:v>
                </c:pt>
                <c:pt idx="25150">
                  <c:v>0.44854645978241398</c:v>
                </c:pt>
                <c:pt idx="25151">
                  <c:v>0.44856429463170999</c:v>
                </c:pt>
                <c:pt idx="25152">
                  <c:v>0.44858212948100501</c:v>
                </c:pt>
                <c:pt idx="25153">
                  <c:v>0.44859996433030103</c:v>
                </c:pt>
                <c:pt idx="25154">
                  <c:v>0.44861779917959599</c:v>
                </c:pt>
                <c:pt idx="25155">
                  <c:v>0.44863563402889201</c:v>
                </c:pt>
                <c:pt idx="25156">
                  <c:v>0.44865346887818702</c:v>
                </c:pt>
                <c:pt idx="25157">
                  <c:v>0.44867130372748298</c:v>
                </c:pt>
                <c:pt idx="25158">
                  <c:v>0.448689138576779</c:v>
                </c:pt>
                <c:pt idx="25159">
                  <c:v>0.44870697342607402</c:v>
                </c:pt>
                <c:pt idx="25160">
                  <c:v>0.44872480827536998</c:v>
                </c:pt>
                <c:pt idx="25161">
                  <c:v>0.448742643124665</c:v>
                </c:pt>
                <c:pt idx="25162">
                  <c:v>0.44876047797396101</c:v>
                </c:pt>
                <c:pt idx="25163">
                  <c:v>0.44877831282325598</c:v>
                </c:pt>
                <c:pt idx="25164">
                  <c:v>0.44879614767255199</c:v>
                </c:pt>
                <c:pt idx="25165">
                  <c:v>0.44881398252184701</c:v>
                </c:pt>
                <c:pt idx="25166">
                  <c:v>0.44883181737114303</c:v>
                </c:pt>
                <c:pt idx="25167">
                  <c:v>0.44884965222043799</c:v>
                </c:pt>
                <c:pt idx="25168">
                  <c:v>0.44886748706973401</c:v>
                </c:pt>
                <c:pt idx="25169">
                  <c:v>0.44888532191902902</c:v>
                </c:pt>
                <c:pt idx="25170">
                  <c:v>0.44890315676832498</c:v>
                </c:pt>
                <c:pt idx="25171">
                  <c:v>0.44892099161762</c:v>
                </c:pt>
                <c:pt idx="25172">
                  <c:v>0.44893882646691602</c:v>
                </c:pt>
                <c:pt idx="25173">
                  <c:v>0.44895666131621098</c:v>
                </c:pt>
                <c:pt idx="25174">
                  <c:v>0.448974496165507</c:v>
                </c:pt>
                <c:pt idx="25175">
                  <c:v>0.44899233101480202</c:v>
                </c:pt>
                <c:pt idx="25176">
                  <c:v>0.44901016586409798</c:v>
                </c:pt>
                <c:pt idx="25177">
                  <c:v>0.44902800071339399</c:v>
                </c:pt>
                <c:pt idx="25178">
                  <c:v>0.44904583556268901</c:v>
                </c:pt>
                <c:pt idx="25179">
                  <c:v>0.44906367041198503</c:v>
                </c:pt>
                <c:pt idx="25180">
                  <c:v>0.44908150526127999</c:v>
                </c:pt>
                <c:pt idx="25181">
                  <c:v>0.44909934011057601</c:v>
                </c:pt>
                <c:pt idx="25182">
                  <c:v>0.44911717495987102</c:v>
                </c:pt>
                <c:pt idx="25183">
                  <c:v>0.44913500980916699</c:v>
                </c:pt>
                <c:pt idx="25184">
                  <c:v>0.449152844658462</c:v>
                </c:pt>
                <c:pt idx="25185">
                  <c:v>0.44917067950775802</c:v>
                </c:pt>
                <c:pt idx="25186">
                  <c:v>0.44918851435705298</c:v>
                </c:pt>
                <c:pt idx="25187">
                  <c:v>0.449206349206349</c:v>
                </c:pt>
                <c:pt idx="25188">
                  <c:v>0.44922418405564402</c:v>
                </c:pt>
                <c:pt idx="25189">
                  <c:v>0.44924201890493998</c:v>
                </c:pt>
                <c:pt idx="25190">
                  <c:v>0.44925985375423499</c:v>
                </c:pt>
                <c:pt idx="25191">
                  <c:v>0.44927768860353101</c:v>
                </c:pt>
                <c:pt idx="25192">
                  <c:v>0.44929552345282597</c:v>
                </c:pt>
                <c:pt idx="25193">
                  <c:v>0.44931335830212199</c:v>
                </c:pt>
                <c:pt idx="25194">
                  <c:v>0.44933119315141701</c:v>
                </c:pt>
                <c:pt idx="25195">
                  <c:v>0.44934902800071302</c:v>
                </c:pt>
                <c:pt idx="25196">
                  <c:v>0.44936686285000799</c:v>
                </c:pt>
                <c:pt idx="25197">
                  <c:v>0.449384697699304</c:v>
                </c:pt>
                <c:pt idx="25198">
                  <c:v>0.44940253254859902</c:v>
                </c:pt>
                <c:pt idx="25199">
                  <c:v>0.44942036739789498</c:v>
                </c:pt>
                <c:pt idx="25200">
                  <c:v>0.449438202247191</c:v>
                </c:pt>
                <c:pt idx="25201">
                  <c:v>0.44945603709648602</c:v>
                </c:pt>
                <c:pt idx="25202">
                  <c:v>0.44947387194578198</c:v>
                </c:pt>
                <c:pt idx="25203">
                  <c:v>0.449491706795077</c:v>
                </c:pt>
                <c:pt idx="25204">
                  <c:v>0.44950954164437301</c:v>
                </c:pt>
                <c:pt idx="25205">
                  <c:v>0.44952737649366797</c:v>
                </c:pt>
                <c:pt idx="25206">
                  <c:v>0.44954521134296399</c:v>
                </c:pt>
                <c:pt idx="25207">
                  <c:v>0.44956304619225901</c:v>
                </c:pt>
                <c:pt idx="25208">
                  <c:v>0.44958088104155502</c:v>
                </c:pt>
                <c:pt idx="25209">
                  <c:v>0.44959871589084999</c:v>
                </c:pt>
                <c:pt idx="25210">
                  <c:v>0.449616550740146</c:v>
                </c:pt>
                <c:pt idx="25211">
                  <c:v>0.44963438558944102</c:v>
                </c:pt>
                <c:pt idx="25212">
                  <c:v>0.44965222043873698</c:v>
                </c:pt>
                <c:pt idx="25213">
                  <c:v>0.449670055288032</c:v>
                </c:pt>
                <c:pt idx="25214">
                  <c:v>0.44968789013732802</c:v>
                </c:pt>
                <c:pt idx="25215">
                  <c:v>0.44970572498662298</c:v>
                </c:pt>
                <c:pt idx="25216">
                  <c:v>0.449723559835919</c:v>
                </c:pt>
                <c:pt idx="25217">
                  <c:v>0.44974139468521401</c:v>
                </c:pt>
                <c:pt idx="25218">
                  <c:v>0.44975922953450997</c:v>
                </c:pt>
                <c:pt idx="25219">
                  <c:v>0.44977706438380499</c:v>
                </c:pt>
                <c:pt idx="25220">
                  <c:v>0.44979489923310101</c:v>
                </c:pt>
                <c:pt idx="25221">
                  <c:v>0.44981273408239703</c:v>
                </c:pt>
                <c:pt idx="25222">
                  <c:v>0.44983056893169199</c:v>
                </c:pt>
                <c:pt idx="25223">
                  <c:v>0.449848403780988</c:v>
                </c:pt>
                <c:pt idx="25224">
                  <c:v>0.44986623863028302</c:v>
                </c:pt>
                <c:pt idx="25225">
                  <c:v>0.44988407347957898</c:v>
                </c:pt>
                <c:pt idx="25226">
                  <c:v>0.449901908328874</c:v>
                </c:pt>
                <c:pt idx="25227">
                  <c:v>0.44991974317817002</c:v>
                </c:pt>
                <c:pt idx="25228">
                  <c:v>0.44993757802746498</c:v>
                </c:pt>
                <c:pt idx="25229">
                  <c:v>0.449955412876761</c:v>
                </c:pt>
                <c:pt idx="25230">
                  <c:v>0.44997324772605601</c:v>
                </c:pt>
                <c:pt idx="25231">
                  <c:v>0.44999108257535197</c:v>
                </c:pt>
                <c:pt idx="25232">
                  <c:v>0.45000891742464699</c:v>
                </c:pt>
                <c:pt idx="25233">
                  <c:v>0.45002675227394301</c:v>
                </c:pt>
                <c:pt idx="25234">
                  <c:v>0.45004458712323803</c:v>
                </c:pt>
                <c:pt idx="25235">
                  <c:v>0.45006242197253399</c:v>
                </c:pt>
                <c:pt idx="25236">
                  <c:v>0.45008025682182901</c:v>
                </c:pt>
                <c:pt idx="25237">
                  <c:v>0.45009809167112502</c:v>
                </c:pt>
                <c:pt idx="25238">
                  <c:v>0.45011592652041998</c:v>
                </c:pt>
                <c:pt idx="25239">
                  <c:v>0.450133761369716</c:v>
                </c:pt>
                <c:pt idx="25240">
                  <c:v>0.45015159621901102</c:v>
                </c:pt>
                <c:pt idx="25241">
                  <c:v>0.45016943106830698</c:v>
                </c:pt>
                <c:pt idx="25242">
                  <c:v>0.450187265917603</c:v>
                </c:pt>
                <c:pt idx="25243">
                  <c:v>0.45020510076689801</c:v>
                </c:pt>
                <c:pt idx="25244">
                  <c:v>0.45022293561619398</c:v>
                </c:pt>
                <c:pt idx="25245">
                  <c:v>0.45024077046548899</c:v>
                </c:pt>
                <c:pt idx="25246">
                  <c:v>0.45025860531478501</c:v>
                </c:pt>
                <c:pt idx="25247">
                  <c:v>0.45027644016408003</c:v>
                </c:pt>
                <c:pt idx="25248">
                  <c:v>0.45029427501337599</c:v>
                </c:pt>
                <c:pt idx="25249">
                  <c:v>0.45031210986267101</c:v>
                </c:pt>
                <c:pt idx="25250">
                  <c:v>0.45032994471196702</c:v>
                </c:pt>
                <c:pt idx="25251">
                  <c:v>0.45034777956126198</c:v>
                </c:pt>
                <c:pt idx="25252">
                  <c:v>0.450365614410558</c:v>
                </c:pt>
                <c:pt idx="25253">
                  <c:v>0.45038344925985302</c:v>
                </c:pt>
                <c:pt idx="25254">
                  <c:v>0.45040128410914898</c:v>
                </c:pt>
                <c:pt idx="25255">
                  <c:v>0.450419118958444</c:v>
                </c:pt>
                <c:pt idx="25256">
                  <c:v>0.45043695380774001</c:v>
                </c:pt>
                <c:pt idx="25257">
                  <c:v>0.45045478865703498</c:v>
                </c:pt>
                <c:pt idx="25258">
                  <c:v>0.45047262350633099</c:v>
                </c:pt>
                <c:pt idx="25259">
                  <c:v>0.45049045835562601</c:v>
                </c:pt>
                <c:pt idx="25260">
                  <c:v>0.45050829320492197</c:v>
                </c:pt>
                <c:pt idx="25261">
                  <c:v>0.45052612805421699</c:v>
                </c:pt>
                <c:pt idx="25262">
                  <c:v>0.45054396290351301</c:v>
                </c:pt>
                <c:pt idx="25263">
                  <c:v>0.45056179775280802</c:v>
                </c:pt>
                <c:pt idx="25264">
                  <c:v>0.45057963260210399</c:v>
                </c:pt>
                <c:pt idx="25265">
                  <c:v>0.4505974674514</c:v>
                </c:pt>
                <c:pt idx="25266">
                  <c:v>0.45061530230069502</c:v>
                </c:pt>
                <c:pt idx="25267">
                  <c:v>0.45063313714999098</c:v>
                </c:pt>
                <c:pt idx="25268">
                  <c:v>0.450650971999286</c:v>
                </c:pt>
                <c:pt idx="25269">
                  <c:v>0.45066880684858202</c:v>
                </c:pt>
                <c:pt idx="25270">
                  <c:v>0.45068664169787698</c:v>
                </c:pt>
                <c:pt idx="25271">
                  <c:v>0.45070447654717299</c:v>
                </c:pt>
                <c:pt idx="25272">
                  <c:v>0.45072231139646801</c:v>
                </c:pt>
                <c:pt idx="25273">
                  <c:v>0.45074014624576397</c:v>
                </c:pt>
                <c:pt idx="25274">
                  <c:v>0.45075798109505899</c:v>
                </c:pt>
                <c:pt idx="25275">
                  <c:v>0.45077581594435501</c:v>
                </c:pt>
                <c:pt idx="25276">
                  <c:v>0.45079365079365002</c:v>
                </c:pt>
                <c:pt idx="25277">
                  <c:v>0.45081148564294599</c:v>
                </c:pt>
                <c:pt idx="25278">
                  <c:v>0.450829320492241</c:v>
                </c:pt>
                <c:pt idx="25279">
                  <c:v>0.45084715534153702</c:v>
                </c:pt>
                <c:pt idx="25280">
                  <c:v>0.45086499019083198</c:v>
                </c:pt>
                <c:pt idx="25281">
                  <c:v>0.450882825040128</c:v>
                </c:pt>
                <c:pt idx="25282">
                  <c:v>0.45090065988942302</c:v>
                </c:pt>
                <c:pt idx="25283">
                  <c:v>0.45091849473871898</c:v>
                </c:pt>
                <c:pt idx="25284">
                  <c:v>0.45093632958801499</c:v>
                </c:pt>
                <c:pt idx="25285">
                  <c:v>0.45095416443731001</c:v>
                </c:pt>
                <c:pt idx="25286">
                  <c:v>0.45097199928660597</c:v>
                </c:pt>
                <c:pt idx="25287">
                  <c:v>0.45098983413590099</c:v>
                </c:pt>
                <c:pt idx="25288">
                  <c:v>0.45100766898519701</c:v>
                </c:pt>
                <c:pt idx="25289">
                  <c:v>0.45102550383449203</c:v>
                </c:pt>
                <c:pt idx="25290">
                  <c:v>0.45104333868378799</c:v>
                </c:pt>
                <c:pt idx="25291">
                  <c:v>0.451061173533083</c:v>
                </c:pt>
                <c:pt idx="25292">
                  <c:v>0.45107900838237902</c:v>
                </c:pt>
                <c:pt idx="25293">
                  <c:v>0.45109684323167398</c:v>
                </c:pt>
                <c:pt idx="25294">
                  <c:v>0.45111467808097</c:v>
                </c:pt>
                <c:pt idx="25295">
                  <c:v>0.45113251293026502</c:v>
                </c:pt>
                <c:pt idx="25296">
                  <c:v>0.45115034777956098</c:v>
                </c:pt>
                <c:pt idx="25297">
                  <c:v>0.451168182628856</c:v>
                </c:pt>
                <c:pt idx="25298">
                  <c:v>0.45118601747815201</c:v>
                </c:pt>
                <c:pt idx="25299">
                  <c:v>0.45120385232744697</c:v>
                </c:pt>
                <c:pt idx="25300">
                  <c:v>0.45122168717674299</c:v>
                </c:pt>
                <c:pt idx="25301">
                  <c:v>0.45123952202603801</c:v>
                </c:pt>
                <c:pt idx="25302">
                  <c:v>0.45125735687533403</c:v>
                </c:pt>
                <c:pt idx="25303">
                  <c:v>0.45127519172462899</c:v>
                </c:pt>
                <c:pt idx="25304">
                  <c:v>0.451293026573925</c:v>
                </c:pt>
                <c:pt idx="25305">
                  <c:v>0.45131086142322002</c:v>
                </c:pt>
                <c:pt idx="25306">
                  <c:v>0.45132869627251598</c:v>
                </c:pt>
                <c:pt idx="25307">
                  <c:v>0.451346531121812</c:v>
                </c:pt>
                <c:pt idx="25308">
                  <c:v>0.45136436597110702</c:v>
                </c:pt>
                <c:pt idx="25309">
                  <c:v>0.45138220082040298</c:v>
                </c:pt>
                <c:pt idx="25310">
                  <c:v>0.451400035669698</c:v>
                </c:pt>
                <c:pt idx="25311">
                  <c:v>0.45141787051899401</c:v>
                </c:pt>
                <c:pt idx="25312">
                  <c:v>0.45143570536828898</c:v>
                </c:pt>
                <c:pt idx="25313">
                  <c:v>0.45145354021758499</c:v>
                </c:pt>
                <c:pt idx="25314">
                  <c:v>0.45147137506688001</c:v>
                </c:pt>
                <c:pt idx="25315">
                  <c:v>0.45148920991617603</c:v>
                </c:pt>
                <c:pt idx="25316">
                  <c:v>0.45150704476547099</c:v>
                </c:pt>
                <c:pt idx="25317">
                  <c:v>0.45152487961476701</c:v>
                </c:pt>
                <c:pt idx="25318">
                  <c:v>0.45154271446406202</c:v>
                </c:pt>
                <c:pt idx="25319">
                  <c:v>0.45156054931335798</c:v>
                </c:pt>
                <c:pt idx="25320">
                  <c:v>0.451578384162653</c:v>
                </c:pt>
                <c:pt idx="25321">
                  <c:v>0.45159621901194902</c:v>
                </c:pt>
                <c:pt idx="25322">
                  <c:v>0.45161405386124398</c:v>
                </c:pt>
                <c:pt idx="25323">
                  <c:v>0.45163188871054</c:v>
                </c:pt>
                <c:pt idx="25324">
                  <c:v>0.45164972355983501</c:v>
                </c:pt>
                <c:pt idx="25325">
                  <c:v>0.45166755840913098</c:v>
                </c:pt>
                <c:pt idx="25326">
                  <c:v>0.45168539325842699</c:v>
                </c:pt>
                <c:pt idx="25327">
                  <c:v>0.45170322810772201</c:v>
                </c:pt>
                <c:pt idx="25328">
                  <c:v>0.45172106295701803</c:v>
                </c:pt>
                <c:pt idx="25329">
                  <c:v>0.45173889780631299</c:v>
                </c:pt>
                <c:pt idx="25330">
                  <c:v>0.45175673265560901</c:v>
                </c:pt>
                <c:pt idx="25331">
                  <c:v>0.45177456750490402</c:v>
                </c:pt>
                <c:pt idx="25332">
                  <c:v>0.45179240235419998</c:v>
                </c:pt>
                <c:pt idx="25333">
                  <c:v>0.451810237203495</c:v>
                </c:pt>
                <c:pt idx="25334">
                  <c:v>0.45182807205279102</c:v>
                </c:pt>
                <c:pt idx="25335">
                  <c:v>0.45184590690208598</c:v>
                </c:pt>
                <c:pt idx="25336">
                  <c:v>0.451863741751382</c:v>
                </c:pt>
                <c:pt idx="25337">
                  <c:v>0.45188157660067702</c:v>
                </c:pt>
                <c:pt idx="25338">
                  <c:v>0.45189941144997298</c:v>
                </c:pt>
                <c:pt idx="25339">
                  <c:v>0.45191724629926799</c:v>
                </c:pt>
                <c:pt idx="25340">
                  <c:v>0.45193508114856401</c:v>
                </c:pt>
                <c:pt idx="25341">
                  <c:v>0.45195291599785897</c:v>
                </c:pt>
                <c:pt idx="25342">
                  <c:v>0.45197075084715499</c:v>
                </c:pt>
                <c:pt idx="25343">
                  <c:v>0.45198858569645001</c:v>
                </c:pt>
                <c:pt idx="25344">
                  <c:v>0.45200642054574602</c:v>
                </c:pt>
                <c:pt idx="25345">
                  <c:v>0.45202425539504099</c:v>
                </c:pt>
                <c:pt idx="25346">
                  <c:v>0.452042090244337</c:v>
                </c:pt>
                <c:pt idx="25347">
                  <c:v>0.45205992509363202</c:v>
                </c:pt>
                <c:pt idx="25348">
                  <c:v>0.45207775994292798</c:v>
                </c:pt>
                <c:pt idx="25349">
                  <c:v>0.452095594792224</c:v>
                </c:pt>
                <c:pt idx="25350">
                  <c:v>0.45211342964151902</c:v>
                </c:pt>
                <c:pt idx="25351">
                  <c:v>0.45213126449081498</c:v>
                </c:pt>
                <c:pt idx="25352">
                  <c:v>0.45214909934010999</c:v>
                </c:pt>
                <c:pt idx="25353">
                  <c:v>0.45216693418940601</c:v>
                </c:pt>
                <c:pt idx="25354">
                  <c:v>0.45218476903870097</c:v>
                </c:pt>
                <c:pt idx="25355">
                  <c:v>0.45220260388799699</c:v>
                </c:pt>
                <c:pt idx="25356">
                  <c:v>0.45222043873729201</c:v>
                </c:pt>
                <c:pt idx="25357">
                  <c:v>0.45223827358658802</c:v>
                </c:pt>
                <c:pt idx="25358">
                  <c:v>0.45225610843588299</c:v>
                </c:pt>
                <c:pt idx="25359">
                  <c:v>0.452273943285179</c:v>
                </c:pt>
                <c:pt idx="25360">
                  <c:v>0.45229177813447402</c:v>
                </c:pt>
                <c:pt idx="25361">
                  <c:v>0.45230961298376998</c:v>
                </c:pt>
                <c:pt idx="25362">
                  <c:v>0.452327447833065</c:v>
                </c:pt>
                <c:pt idx="25363">
                  <c:v>0.45234528268236102</c:v>
                </c:pt>
                <c:pt idx="25364">
                  <c:v>0.45236311753165598</c:v>
                </c:pt>
                <c:pt idx="25365">
                  <c:v>0.452380952380952</c:v>
                </c:pt>
                <c:pt idx="25366">
                  <c:v>0.45239878723024701</c:v>
                </c:pt>
                <c:pt idx="25367">
                  <c:v>0.45241662207954297</c:v>
                </c:pt>
                <c:pt idx="25368">
                  <c:v>0.45243445692883799</c:v>
                </c:pt>
                <c:pt idx="25369">
                  <c:v>0.45245229177813401</c:v>
                </c:pt>
                <c:pt idx="25370">
                  <c:v>0.45247012662743002</c:v>
                </c:pt>
                <c:pt idx="25371">
                  <c:v>0.45248796147672499</c:v>
                </c:pt>
                <c:pt idx="25372">
                  <c:v>0.452505796326021</c:v>
                </c:pt>
                <c:pt idx="25373">
                  <c:v>0.45252363117531602</c:v>
                </c:pt>
                <c:pt idx="25374">
                  <c:v>0.45254146602461198</c:v>
                </c:pt>
                <c:pt idx="25375">
                  <c:v>0.452559300873907</c:v>
                </c:pt>
                <c:pt idx="25376">
                  <c:v>0.45257713572320302</c:v>
                </c:pt>
                <c:pt idx="25377">
                  <c:v>0.45259497057249798</c:v>
                </c:pt>
                <c:pt idx="25378">
                  <c:v>0.452612805421794</c:v>
                </c:pt>
                <c:pt idx="25379">
                  <c:v>0.45263064027108901</c:v>
                </c:pt>
                <c:pt idx="25380">
                  <c:v>0.45264847512038497</c:v>
                </c:pt>
                <c:pt idx="25381">
                  <c:v>0.45266630996967999</c:v>
                </c:pt>
                <c:pt idx="25382">
                  <c:v>0.45268414481897601</c:v>
                </c:pt>
                <c:pt idx="25383">
                  <c:v>0.45270197966827103</c:v>
                </c:pt>
                <c:pt idx="25384">
                  <c:v>0.45271981451756699</c:v>
                </c:pt>
                <c:pt idx="25385">
                  <c:v>0.452737649366862</c:v>
                </c:pt>
                <c:pt idx="25386">
                  <c:v>0.45275548421615802</c:v>
                </c:pt>
                <c:pt idx="25387">
                  <c:v>0.45277331906545298</c:v>
                </c:pt>
                <c:pt idx="25388">
                  <c:v>0.452791153914749</c:v>
                </c:pt>
                <c:pt idx="25389">
                  <c:v>0.45280898876404402</c:v>
                </c:pt>
                <c:pt idx="25390">
                  <c:v>0.45282682361333998</c:v>
                </c:pt>
                <c:pt idx="25391">
                  <c:v>0.452844658462636</c:v>
                </c:pt>
                <c:pt idx="25392">
                  <c:v>0.45286249331193101</c:v>
                </c:pt>
                <c:pt idx="25393">
                  <c:v>0.45288032816122697</c:v>
                </c:pt>
                <c:pt idx="25394">
                  <c:v>0.45289816301052199</c:v>
                </c:pt>
                <c:pt idx="25395">
                  <c:v>0.45291599785981801</c:v>
                </c:pt>
                <c:pt idx="25396">
                  <c:v>0.45293383270911303</c:v>
                </c:pt>
                <c:pt idx="25397">
                  <c:v>0.45295166755840899</c:v>
                </c:pt>
                <c:pt idx="25398">
                  <c:v>0.45296950240770401</c:v>
                </c:pt>
                <c:pt idx="25399">
                  <c:v>0.45298733725700002</c:v>
                </c:pt>
                <c:pt idx="25400">
                  <c:v>0.45300517210629498</c:v>
                </c:pt>
                <c:pt idx="25401">
                  <c:v>0.453023006955591</c:v>
                </c:pt>
                <c:pt idx="25402">
                  <c:v>0.45304084180488602</c:v>
                </c:pt>
                <c:pt idx="25403">
                  <c:v>0.45305867665418198</c:v>
                </c:pt>
                <c:pt idx="25404">
                  <c:v>0.453076511503477</c:v>
                </c:pt>
                <c:pt idx="25405">
                  <c:v>0.45309434635277301</c:v>
                </c:pt>
                <c:pt idx="25406">
                  <c:v>0.45311218120206798</c:v>
                </c:pt>
                <c:pt idx="25407">
                  <c:v>0.45313001605136399</c:v>
                </c:pt>
                <c:pt idx="25408">
                  <c:v>0.45314785090065901</c:v>
                </c:pt>
                <c:pt idx="25409">
                  <c:v>0.45316568574995503</c:v>
                </c:pt>
                <c:pt idx="25410">
                  <c:v>0.45318352059924999</c:v>
                </c:pt>
                <c:pt idx="25411">
                  <c:v>0.45320135544854601</c:v>
                </c:pt>
                <c:pt idx="25412">
                  <c:v>0.45321919029784102</c:v>
                </c:pt>
                <c:pt idx="25413">
                  <c:v>0.45323702514713698</c:v>
                </c:pt>
                <c:pt idx="25414">
                  <c:v>0.453254859996433</c:v>
                </c:pt>
                <c:pt idx="25415">
                  <c:v>0.45327269484572802</c:v>
                </c:pt>
                <c:pt idx="25416">
                  <c:v>0.45329052969502398</c:v>
                </c:pt>
                <c:pt idx="25417">
                  <c:v>0.453308364544319</c:v>
                </c:pt>
                <c:pt idx="25418">
                  <c:v>0.45332619939361501</c:v>
                </c:pt>
                <c:pt idx="25419">
                  <c:v>0.45334403424290998</c:v>
                </c:pt>
                <c:pt idx="25420">
                  <c:v>0.45336186909220599</c:v>
                </c:pt>
                <c:pt idx="25421">
                  <c:v>0.45337970394150101</c:v>
                </c:pt>
                <c:pt idx="25422">
                  <c:v>0.45339753879079697</c:v>
                </c:pt>
                <c:pt idx="25423">
                  <c:v>0.45341537364009199</c:v>
                </c:pt>
                <c:pt idx="25424">
                  <c:v>0.45343320848938801</c:v>
                </c:pt>
                <c:pt idx="25425">
                  <c:v>0.45345104333868302</c:v>
                </c:pt>
                <c:pt idx="25426">
                  <c:v>0.45346887818797899</c:v>
                </c:pt>
                <c:pt idx="25427">
                  <c:v>0.453486713037274</c:v>
                </c:pt>
                <c:pt idx="25428">
                  <c:v>0.45350454788657002</c:v>
                </c:pt>
                <c:pt idx="25429">
                  <c:v>0.45352238273586498</c:v>
                </c:pt>
                <c:pt idx="25430">
                  <c:v>0.453540217585161</c:v>
                </c:pt>
                <c:pt idx="25431">
                  <c:v>0.45355805243445602</c:v>
                </c:pt>
                <c:pt idx="25432">
                  <c:v>0.45357588728375198</c:v>
                </c:pt>
                <c:pt idx="25433">
                  <c:v>0.45359372213304799</c:v>
                </c:pt>
                <c:pt idx="25434">
                  <c:v>0.45361155698234301</c:v>
                </c:pt>
                <c:pt idx="25435">
                  <c:v>0.45362939183163897</c:v>
                </c:pt>
                <c:pt idx="25436">
                  <c:v>0.45364722668093399</c:v>
                </c:pt>
                <c:pt idx="25437">
                  <c:v>0.45366506153023001</c:v>
                </c:pt>
                <c:pt idx="25438">
                  <c:v>0.45368289637952502</c:v>
                </c:pt>
                <c:pt idx="25439">
                  <c:v>0.45370073122882099</c:v>
                </c:pt>
                <c:pt idx="25440">
                  <c:v>0.453718566078116</c:v>
                </c:pt>
                <c:pt idx="25441">
                  <c:v>0.45373640092741202</c:v>
                </c:pt>
                <c:pt idx="25442">
                  <c:v>0.45375423577670698</c:v>
                </c:pt>
                <c:pt idx="25443">
                  <c:v>0.453772070626003</c:v>
                </c:pt>
                <c:pt idx="25444">
                  <c:v>0.45378990547529802</c:v>
                </c:pt>
                <c:pt idx="25445">
                  <c:v>0.45380774032459398</c:v>
                </c:pt>
                <c:pt idx="25446">
                  <c:v>0.453825575173889</c:v>
                </c:pt>
                <c:pt idx="25447">
                  <c:v>0.45384341002318501</c:v>
                </c:pt>
                <c:pt idx="25448">
                  <c:v>0.45386124487247997</c:v>
                </c:pt>
                <c:pt idx="25449">
                  <c:v>0.45387907972177599</c:v>
                </c:pt>
                <c:pt idx="25450">
                  <c:v>0.45389691457107101</c:v>
                </c:pt>
                <c:pt idx="25451">
                  <c:v>0.45391474942036703</c:v>
                </c:pt>
                <c:pt idx="25452">
                  <c:v>0.45393258426966199</c:v>
                </c:pt>
                <c:pt idx="25453">
                  <c:v>0.453950419118958</c:v>
                </c:pt>
                <c:pt idx="25454">
                  <c:v>0.45396825396825302</c:v>
                </c:pt>
                <c:pt idx="25455">
                  <c:v>0.45398608881754898</c:v>
                </c:pt>
                <c:pt idx="25456">
                  <c:v>0.454003923666845</c:v>
                </c:pt>
                <c:pt idx="25457">
                  <c:v>0.45402175851614002</c:v>
                </c:pt>
                <c:pt idx="25458">
                  <c:v>0.45403959336543598</c:v>
                </c:pt>
                <c:pt idx="25459">
                  <c:v>0.454057428214731</c:v>
                </c:pt>
                <c:pt idx="25460">
                  <c:v>0.45407526306402701</c:v>
                </c:pt>
                <c:pt idx="25461">
                  <c:v>0.45409309791332197</c:v>
                </c:pt>
                <c:pt idx="25462">
                  <c:v>0.45411093276261799</c:v>
                </c:pt>
                <c:pt idx="25463">
                  <c:v>0.45412876761191301</c:v>
                </c:pt>
                <c:pt idx="25464">
                  <c:v>0.45414660246120903</c:v>
                </c:pt>
                <c:pt idx="25465">
                  <c:v>0.45416443731050399</c:v>
                </c:pt>
                <c:pt idx="25466">
                  <c:v>0.4541822721598</c:v>
                </c:pt>
                <c:pt idx="25467">
                  <c:v>0.45420010700909502</c:v>
                </c:pt>
                <c:pt idx="25468">
                  <c:v>0.45421794185839098</c:v>
                </c:pt>
                <c:pt idx="25469">
                  <c:v>0.454235776707686</c:v>
                </c:pt>
                <c:pt idx="25470">
                  <c:v>0.45425361155698202</c:v>
                </c:pt>
                <c:pt idx="25471">
                  <c:v>0.45427144640627698</c:v>
                </c:pt>
                <c:pt idx="25472">
                  <c:v>0.454289281255573</c:v>
                </c:pt>
                <c:pt idx="25473">
                  <c:v>0.45430711610486801</c:v>
                </c:pt>
                <c:pt idx="25474">
                  <c:v>0.45432495095416398</c:v>
                </c:pt>
                <c:pt idx="25475">
                  <c:v>0.45434278580345899</c:v>
                </c:pt>
                <c:pt idx="25476">
                  <c:v>0.45436062065275501</c:v>
                </c:pt>
                <c:pt idx="25477">
                  <c:v>0.45437845550205103</c:v>
                </c:pt>
                <c:pt idx="25478">
                  <c:v>0.45439629035134599</c:v>
                </c:pt>
                <c:pt idx="25479">
                  <c:v>0.45441412520064201</c:v>
                </c:pt>
                <c:pt idx="25480">
                  <c:v>0.45443196004993702</c:v>
                </c:pt>
                <c:pt idx="25481">
                  <c:v>0.45444979489923298</c:v>
                </c:pt>
                <c:pt idx="25482">
                  <c:v>0.454467629748528</c:v>
                </c:pt>
                <c:pt idx="25483">
                  <c:v>0.45448546459782402</c:v>
                </c:pt>
                <c:pt idx="25484">
                  <c:v>0.45450329944711898</c:v>
                </c:pt>
                <c:pt idx="25485">
                  <c:v>0.454521134296415</c:v>
                </c:pt>
                <c:pt idx="25486">
                  <c:v>0.45453896914571001</c:v>
                </c:pt>
                <c:pt idx="25487">
                  <c:v>0.45455680399500598</c:v>
                </c:pt>
                <c:pt idx="25488">
                  <c:v>0.45457463884430099</c:v>
                </c:pt>
                <c:pt idx="25489">
                  <c:v>0.45459247369359701</c:v>
                </c:pt>
                <c:pt idx="25490">
                  <c:v>0.45461030854289203</c:v>
                </c:pt>
                <c:pt idx="25491">
                  <c:v>0.45462814339218799</c:v>
                </c:pt>
                <c:pt idx="25492">
                  <c:v>0.45464597824148301</c:v>
                </c:pt>
                <c:pt idx="25493">
                  <c:v>0.45466381309077902</c:v>
                </c:pt>
                <c:pt idx="25494">
                  <c:v>0.45468164794007399</c:v>
                </c:pt>
                <c:pt idx="25495">
                  <c:v>0.45469948278937</c:v>
                </c:pt>
                <c:pt idx="25496">
                  <c:v>0.45471731763866502</c:v>
                </c:pt>
                <c:pt idx="25497">
                  <c:v>0.45473515248796098</c:v>
                </c:pt>
                <c:pt idx="25498">
                  <c:v>0.454752987337257</c:v>
                </c:pt>
                <c:pt idx="25499">
                  <c:v>0.45477082218655202</c:v>
                </c:pt>
                <c:pt idx="25500">
                  <c:v>0.45478865703584798</c:v>
                </c:pt>
                <c:pt idx="25501">
                  <c:v>0.45480649188514299</c:v>
                </c:pt>
                <c:pt idx="25502">
                  <c:v>0.45482432673443901</c:v>
                </c:pt>
                <c:pt idx="25503">
                  <c:v>0.45484216158373397</c:v>
                </c:pt>
                <c:pt idx="25504">
                  <c:v>0.45485999643302999</c:v>
                </c:pt>
                <c:pt idx="25505">
                  <c:v>0.45487783128232501</c:v>
                </c:pt>
                <c:pt idx="25506">
                  <c:v>0.45489566613162102</c:v>
                </c:pt>
                <c:pt idx="25507">
                  <c:v>0.45491350098091599</c:v>
                </c:pt>
                <c:pt idx="25508">
                  <c:v>0.454931335830212</c:v>
                </c:pt>
                <c:pt idx="25509">
                  <c:v>0.45494917067950702</c:v>
                </c:pt>
                <c:pt idx="25510">
                  <c:v>0.45496700552880298</c:v>
                </c:pt>
                <c:pt idx="25511">
                  <c:v>0.454984840378098</c:v>
                </c:pt>
                <c:pt idx="25512">
                  <c:v>0.45500267522739402</c:v>
                </c:pt>
                <c:pt idx="25513">
                  <c:v>0.45502051007668898</c:v>
                </c:pt>
                <c:pt idx="25514">
                  <c:v>0.45503834492598499</c:v>
                </c:pt>
                <c:pt idx="25515">
                  <c:v>0.45505617977528001</c:v>
                </c:pt>
                <c:pt idx="25516">
                  <c:v>0.45507401462457597</c:v>
                </c:pt>
                <c:pt idx="25517">
                  <c:v>0.45509184947387099</c:v>
                </c:pt>
                <c:pt idx="25518">
                  <c:v>0.45510968432316701</c:v>
                </c:pt>
                <c:pt idx="25519">
                  <c:v>0.45512751917246203</c:v>
                </c:pt>
                <c:pt idx="25520">
                  <c:v>0.45514535402175799</c:v>
                </c:pt>
                <c:pt idx="25521">
                  <c:v>0.455163188871054</c:v>
                </c:pt>
                <c:pt idx="25522">
                  <c:v>0.45518102372034902</c:v>
                </c:pt>
                <c:pt idx="25523">
                  <c:v>0.45519885856964498</c:v>
                </c:pt>
                <c:pt idx="25524">
                  <c:v>0.45521669341894</c:v>
                </c:pt>
                <c:pt idx="25525">
                  <c:v>0.45523452826823602</c:v>
                </c:pt>
                <c:pt idx="25526">
                  <c:v>0.45525236311753098</c:v>
                </c:pt>
                <c:pt idx="25527">
                  <c:v>0.45527019796682699</c:v>
                </c:pt>
                <c:pt idx="25528">
                  <c:v>0.45528803281612201</c:v>
                </c:pt>
                <c:pt idx="25529">
                  <c:v>0.45530586766541797</c:v>
                </c:pt>
                <c:pt idx="25530">
                  <c:v>0.45532370251471299</c:v>
                </c:pt>
                <c:pt idx="25531">
                  <c:v>0.45534153736400901</c:v>
                </c:pt>
                <c:pt idx="25532">
                  <c:v>0.45535937221330403</c:v>
                </c:pt>
                <c:pt idx="25533">
                  <c:v>0.45537720706259999</c:v>
                </c:pt>
                <c:pt idx="25534">
                  <c:v>0.455395041911895</c:v>
                </c:pt>
                <c:pt idx="25535">
                  <c:v>0.45541287676119102</c:v>
                </c:pt>
                <c:pt idx="25536">
                  <c:v>0.45543071161048598</c:v>
                </c:pt>
                <c:pt idx="25537">
                  <c:v>0.455448546459782</c:v>
                </c:pt>
                <c:pt idx="25538">
                  <c:v>0.45546638130907702</c:v>
                </c:pt>
                <c:pt idx="25539">
                  <c:v>0.45548421615837298</c:v>
                </c:pt>
                <c:pt idx="25540">
                  <c:v>0.455502051007669</c:v>
                </c:pt>
                <c:pt idx="25541">
                  <c:v>0.45551988585696401</c:v>
                </c:pt>
                <c:pt idx="25542">
                  <c:v>0.45553772070625997</c:v>
                </c:pt>
                <c:pt idx="25543">
                  <c:v>0.45555555555555499</c:v>
                </c:pt>
                <c:pt idx="25544">
                  <c:v>0.45557339040485101</c:v>
                </c:pt>
                <c:pt idx="25545">
                  <c:v>0.45559122525414603</c:v>
                </c:pt>
                <c:pt idx="25546">
                  <c:v>0.45560906010344199</c:v>
                </c:pt>
                <c:pt idx="25547">
                  <c:v>0.455626894952737</c:v>
                </c:pt>
                <c:pt idx="25548">
                  <c:v>0.45564472980203302</c:v>
                </c:pt>
                <c:pt idx="25549">
                  <c:v>0.45566256465132798</c:v>
                </c:pt>
                <c:pt idx="25550">
                  <c:v>0.455680399500624</c:v>
                </c:pt>
                <c:pt idx="25551">
                  <c:v>0.45569823434991902</c:v>
                </c:pt>
                <c:pt idx="25552">
                  <c:v>0.45571606919921498</c:v>
                </c:pt>
                <c:pt idx="25553">
                  <c:v>0.45573390404851</c:v>
                </c:pt>
                <c:pt idx="25554">
                  <c:v>0.45575173889780601</c:v>
                </c:pt>
                <c:pt idx="25555">
                  <c:v>0.45576957374710098</c:v>
                </c:pt>
                <c:pt idx="25556">
                  <c:v>0.45578740859639699</c:v>
                </c:pt>
                <c:pt idx="25557">
                  <c:v>0.45580524344569201</c:v>
                </c:pt>
                <c:pt idx="25558">
                  <c:v>0.45582307829498803</c:v>
                </c:pt>
                <c:pt idx="25559">
                  <c:v>0.45584091314428299</c:v>
                </c:pt>
                <c:pt idx="25560">
                  <c:v>0.45585874799357901</c:v>
                </c:pt>
                <c:pt idx="25561">
                  <c:v>0.45587658284287402</c:v>
                </c:pt>
                <c:pt idx="25562">
                  <c:v>0.45589441769216998</c:v>
                </c:pt>
                <c:pt idx="25563">
                  <c:v>0.455912252541466</c:v>
                </c:pt>
                <c:pt idx="25564">
                  <c:v>0.45593008739076102</c:v>
                </c:pt>
                <c:pt idx="25565">
                  <c:v>0.45594792224005698</c:v>
                </c:pt>
                <c:pt idx="25566">
                  <c:v>0.455965757089352</c:v>
                </c:pt>
                <c:pt idx="25567">
                  <c:v>0.45598359193864801</c:v>
                </c:pt>
                <c:pt idx="25568">
                  <c:v>0.45600142678794298</c:v>
                </c:pt>
                <c:pt idx="25569">
                  <c:v>0.45601926163723899</c:v>
                </c:pt>
                <c:pt idx="25570">
                  <c:v>0.45603709648653401</c:v>
                </c:pt>
                <c:pt idx="25571">
                  <c:v>0.45605493133583003</c:v>
                </c:pt>
                <c:pt idx="25572">
                  <c:v>0.45607276618512499</c:v>
                </c:pt>
                <c:pt idx="25573">
                  <c:v>0.45609060103442101</c:v>
                </c:pt>
                <c:pt idx="25574">
                  <c:v>0.45610843588371602</c:v>
                </c:pt>
                <c:pt idx="25575">
                  <c:v>0.45612627073301198</c:v>
                </c:pt>
                <c:pt idx="25576">
                  <c:v>0.456144105582307</c:v>
                </c:pt>
                <c:pt idx="25577">
                  <c:v>0.45616194043160302</c:v>
                </c:pt>
                <c:pt idx="25578">
                  <c:v>0.45617977528089798</c:v>
                </c:pt>
                <c:pt idx="25579">
                  <c:v>0.456197610130194</c:v>
                </c:pt>
                <c:pt idx="25580">
                  <c:v>0.45621544497948902</c:v>
                </c:pt>
                <c:pt idx="25581">
                  <c:v>0.45623327982878498</c:v>
                </c:pt>
                <c:pt idx="25582">
                  <c:v>0.45625111467808099</c:v>
                </c:pt>
                <c:pt idx="25583">
                  <c:v>0.45626894952737601</c:v>
                </c:pt>
                <c:pt idx="25584">
                  <c:v>0.45628678437667203</c:v>
                </c:pt>
                <c:pt idx="25585">
                  <c:v>0.45630461922596699</c:v>
                </c:pt>
                <c:pt idx="25586">
                  <c:v>0.45632245407526301</c:v>
                </c:pt>
                <c:pt idx="25587">
                  <c:v>0.45634028892455802</c:v>
                </c:pt>
                <c:pt idx="25588">
                  <c:v>0.45635812377385399</c:v>
                </c:pt>
                <c:pt idx="25589">
                  <c:v>0.456375958623149</c:v>
                </c:pt>
                <c:pt idx="25590">
                  <c:v>0.45639379347244502</c:v>
                </c:pt>
                <c:pt idx="25591">
                  <c:v>0.45641162832173998</c:v>
                </c:pt>
                <c:pt idx="25592">
                  <c:v>0.456429463171036</c:v>
                </c:pt>
                <c:pt idx="25593">
                  <c:v>0.45644729802033102</c:v>
                </c:pt>
                <c:pt idx="25594">
                  <c:v>0.45646513286962698</c:v>
                </c:pt>
                <c:pt idx="25595">
                  <c:v>0.45648296771892199</c:v>
                </c:pt>
                <c:pt idx="25596">
                  <c:v>0.45650080256821801</c:v>
                </c:pt>
                <c:pt idx="25597">
                  <c:v>0.45651863741751297</c:v>
                </c:pt>
                <c:pt idx="25598">
                  <c:v>0.45653647226680899</c:v>
                </c:pt>
                <c:pt idx="25599">
                  <c:v>0.45655430711610401</c:v>
                </c:pt>
                <c:pt idx="25600">
                  <c:v>0.45657214196540002</c:v>
                </c:pt>
                <c:pt idx="25601">
                  <c:v>0.45658997681469499</c:v>
                </c:pt>
                <c:pt idx="25602">
                  <c:v>0.456607811663991</c:v>
                </c:pt>
                <c:pt idx="25603">
                  <c:v>0.45662564651328602</c:v>
                </c:pt>
                <c:pt idx="25604">
                  <c:v>0.45664348136258198</c:v>
                </c:pt>
                <c:pt idx="25605">
                  <c:v>0.456661316211878</c:v>
                </c:pt>
                <c:pt idx="25606">
                  <c:v>0.45667915106117302</c:v>
                </c:pt>
                <c:pt idx="25607">
                  <c:v>0.45669698591046898</c:v>
                </c:pt>
                <c:pt idx="25608">
                  <c:v>0.456714820759764</c:v>
                </c:pt>
                <c:pt idx="25609">
                  <c:v>0.45673265560906001</c:v>
                </c:pt>
                <c:pt idx="25610">
                  <c:v>0.45675049045835497</c:v>
                </c:pt>
                <c:pt idx="25611">
                  <c:v>0.45676832530765099</c:v>
                </c:pt>
                <c:pt idx="25612">
                  <c:v>0.45678616015694601</c:v>
                </c:pt>
                <c:pt idx="25613">
                  <c:v>0.45680399500624203</c:v>
                </c:pt>
                <c:pt idx="25614">
                  <c:v>0.45682182985553699</c:v>
                </c:pt>
                <c:pt idx="25615">
                  <c:v>0.456839664704833</c:v>
                </c:pt>
                <c:pt idx="25616">
                  <c:v>0.45685749955412802</c:v>
                </c:pt>
                <c:pt idx="25617">
                  <c:v>0.45687533440342398</c:v>
                </c:pt>
                <c:pt idx="25618">
                  <c:v>0.456893169252719</c:v>
                </c:pt>
                <c:pt idx="25619">
                  <c:v>0.45691100410201502</c:v>
                </c:pt>
                <c:pt idx="25620">
                  <c:v>0.45692883895130998</c:v>
                </c:pt>
                <c:pt idx="25621">
                  <c:v>0.456946673800606</c:v>
                </c:pt>
                <c:pt idx="25622">
                  <c:v>0.45696450864990101</c:v>
                </c:pt>
                <c:pt idx="25623">
                  <c:v>0.45698234349919697</c:v>
                </c:pt>
                <c:pt idx="25624">
                  <c:v>0.45700017834849199</c:v>
                </c:pt>
                <c:pt idx="25625">
                  <c:v>0.45701801319778801</c:v>
                </c:pt>
                <c:pt idx="25626">
                  <c:v>0.45703584804708403</c:v>
                </c:pt>
                <c:pt idx="25627">
                  <c:v>0.45705368289637899</c:v>
                </c:pt>
                <c:pt idx="25628">
                  <c:v>0.457071517745675</c:v>
                </c:pt>
                <c:pt idx="25629">
                  <c:v>0.45708935259497002</c:v>
                </c:pt>
                <c:pt idx="25630">
                  <c:v>0.45710718744426598</c:v>
                </c:pt>
                <c:pt idx="25631">
                  <c:v>0.457125022293561</c:v>
                </c:pt>
                <c:pt idx="25632">
                  <c:v>0.45714285714285702</c:v>
                </c:pt>
                <c:pt idx="25633">
                  <c:v>0.45716069199215198</c:v>
                </c:pt>
                <c:pt idx="25634">
                  <c:v>0.457178526841448</c:v>
                </c:pt>
                <c:pt idx="25635">
                  <c:v>0.45719636169074301</c:v>
                </c:pt>
                <c:pt idx="25636">
                  <c:v>0.45721419654003898</c:v>
                </c:pt>
                <c:pt idx="25637">
                  <c:v>0.45723203138933399</c:v>
                </c:pt>
                <c:pt idx="25638">
                  <c:v>0.45724986623863001</c:v>
                </c:pt>
                <c:pt idx="25639">
                  <c:v>0.45726770108792503</c:v>
                </c:pt>
                <c:pt idx="25640">
                  <c:v>0.45728553593722099</c:v>
                </c:pt>
                <c:pt idx="25641">
                  <c:v>0.45730337078651601</c:v>
                </c:pt>
                <c:pt idx="25642">
                  <c:v>0.45732120563581202</c:v>
                </c:pt>
                <c:pt idx="25643">
                  <c:v>0.45733904048510698</c:v>
                </c:pt>
                <c:pt idx="25644">
                  <c:v>0.457356875334403</c:v>
                </c:pt>
                <c:pt idx="25645">
                  <c:v>0.45737471018369802</c:v>
                </c:pt>
                <c:pt idx="25646">
                  <c:v>0.45739254503299398</c:v>
                </c:pt>
                <c:pt idx="25647">
                  <c:v>0.45741037988229</c:v>
                </c:pt>
                <c:pt idx="25648">
                  <c:v>0.45742821473158501</c:v>
                </c:pt>
                <c:pt idx="25649">
                  <c:v>0.45744604958088098</c:v>
                </c:pt>
                <c:pt idx="25650">
                  <c:v>0.45746388443017599</c:v>
                </c:pt>
                <c:pt idx="25651">
                  <c:v>0.45748171927947201</c:v>
                </c:pt>
                <c:pt idx="25652">
                  <c:v>0.45749955412876703</c:v>
                </c:pt>
                <c:pt idx="25653">
                  <c:v>0.45751738897806299</c:v>
                </c:pt>
                <c:pt idx="25654">
                  <c:v>0.45753522382735801</c:v>
                </c:pt>
                <c:pt idx="25655">
                  <c:v>0.45755305867665402</c:v>
                </c:pt>
                <c:pt idx="25656">
                  <c:v>0.45757089352594899</c:v>
                </c:pt>
                <c:pt idx="25657">
                  <c:v>0.457588728375245</c:v>
                </c:pt>
                <c:pt idx="25658">
                  <c:v>0.45760656322454002</c:v>
                </c:pt>
                <c:pt idx="25659">
                  <c:v>0.45762439807383598</c:v>
                </c:pt>
                <c:pt idx="25660">
                  <c:v>0.457642232923131</c:v>
                </c:pt>
                <c:pt idx="25661">
                  <c:v>0.45766006777242701</c:v>
                </c:pt>
                <c:pt idx="25662">
                  <c:v>0.45767790262172198</c:v>
                </c:pt>
                <c:pt idx="25663">
                  <c:v>0.45769573747101799</c:v>
                </c:pt>
                <c:pt idx="25664">
                  <c:v>0.45771357232031301</c:v>
                </c:pt>
                <c:pt idx="25665">
                  <c:v>0.45773140716960897</c:v>
                </c:pt>
                <c:pt idx="25666">
                  <c:v>0.45774924201890399</c:v>
                </c:pt>
                <c:pt idx="25667">
                  <c:v>0.45776707686820001</c:v>
                </c:pt>
                <c:pt idx="25668">
                  <c:v>0.45778491171749502</c:v>
                </c:pt>
                <c:pt idx="25669">
                  <c:v>0.45780274656679099</c:v>
                </c:pt>
                <c:pt idx="25670">
                  <c:v>0.457820581416087</c:v>
                </c:pt>
                <c:pt idx="25671">
                  <c:v>0.45783841626538202</c:v>
                </c:pt>
                <c:pt idx="25672">
                  <c:v>0.45785625111467798</c:v>
                </c:pt>
                <c:pt idx="25673">
                  <c:v>0.457874085963973</c:v>
                </c:pt>
                <c:pt idx="25674">
                  <c:v>0.45789192081326902</c:v>
                </c:pt>
                <c:pt idx="25675">
                  <c:v>0.45790975566256398</c:v>
                </c:pt>
                <c:pt idx="25676">
                  <c:v>0.45792759051185999</c:v>
                </c:pt>
                <c:pt idx="25677">
                  <c:v>0.45794542536115501</c:v>
                </c:pt>
                <c:pt idx="25678">
                  <c:v>0.45796326021045097</c:v>
                </c:pt>
                <c:pt idx="25679">
                  <c:v>0.45798109505974599</c:v>
                </c:pt>
                <c:pt idx="25680">
                  <c:v>0.45799892990904201</c:v>
                </c:pt>
                <c:pt idx="25681">
                  <c:v>0.45801676475833702</c:v>
                </c:pt>
                <c:pt idx="25682">
                  <c:v>0.45803459960763299</c:v>
                </c:pt>
                <c:pt idx="25683">
                  <c:v>0.458052434456928</c:v>
                </c:pt>
                <c:pt idx="25684">
                  <c:v>0.45807026930622402</c:v>
                </c:pt>
                <c:pt idx="25685">
                  <c:v>0.45808810415551898</c:v>
                </c:pt>
                <c:pt idx="25686">
                  <c:v>0.458105939004815</c:v>
                </c:pt>
                <c:pt idx="25687">
                  <c:v>0.45812377385411002</c:v>
                </c:pt>
                <c:pt idx="25688">
                  <c:v>0.45814160870340598</c:v>
                </c:pt>
                <c:pt idx="25689">
                  <c:v>0.45815944355270199</c:v>
                </c:pt>
                <c:pt idx="25690">
                  <c:v>0.45817727840199701</c:v>
                </c:pt>
                <c:pt idx="25691">
                  <c:v>0.45819511325129297</c:v>
                </c:pt>
                <c:pt idx="25692">
                  <c:v>0.45821294810058799</c:v>
                </c:pt>
                <c:pt idx="25693">
                  <c:v>0.45823078294988401</c:v>
                </c:pt>
                <c:pt idx="25694">
                  <c:v>0.45824861779917903</c:v>
                </c:pt>
                <c:pt idx="25695">
                  <c:v>0.45826645264847499</c:v>
                </c:pt>
                <c:pt idx="25696">
                  <c:v>0.45828428749777</c:v>
                </c:pt>
                <c:pt idx="25697">
                  <c:v>0.45830212234706602</c:v>
                </c:pt>
                <c:pt idx="25698">
                  <c:v>0.45831995719636098</c:v>
                </c:pt>
                <c:pt idx="25699">
                  <c:v>0.458337792045657</c:v>
                </c:pt>
                <c:pt idx="25700">
                  <c:v>0.45835562689495202</c:v>
                </c:pt>
                <c:pt idx="25701">
                  <c:v>0.45837346174424798</c:v>
                </c:pt>
                <c:pt idx="25702">
                  <c:v>0.458391296593543</c:v>
                </c:pt>
                <c:pt idx="25703">
                  <c:v>0.45840913144283901</c:v>
                </c:pt>
                <c:pt idx="25704">
                  <c:v>0.45842696629213397</c:v>
                </c:pt>
                <c:pt idx="25705">
                  <c:v>0.45844480114142999</c:v>
                </c:pt>
                <c:pt idx="25706">
                  <c:v>0.45846263599072501</c:v>
                </c:pt>
                <c:pt idx="25707">
                  <c:v>0.45848047084002103</c:v>
                </c:pt>
                <c:pt idx="25708">
                  <c:v>0.45849830568931599</c:v>
                </c:pt>
                <c:pt idx="25709">
                  <c:v>0.458516140538612</c:v>
                </c:pt>
                <c:pt idx="25710">
                  <c:v>0.45853397538790702</c:v>
                </c:pt>
                <c:pt idx="25711">
                  <c:v>0.45855181023720298</c:v>
                </c:pt>
                <c:pt idx="25712">
                  <c:v>0.458569645086499</c:v>
                </c:pt>
                <c:pt idx="25713">
                  <c:v>0.45858747993579402</c:v>
                </c:pt>
                <c:pt idx="25714">
                  <c:v>0.45860531478508998</c:v>
                </c:pt>
                <c:pt idx="25715">
                  <c:v>0.458623149634385</c:v>
                </c:pt>
                <c:pt idx="25716">
                  <c:v>0.45864098448368101</c:v>
                </c:pt>
                <c:pt idx="25717">
                  <c:v>0.45865881933297598</c:v>
                </c:pt>
                <c:pt idx="25718">
                  <c:v>0.45867665418227199</c:v>
                </c:pt>
                <c:pt idx="25719">
                  <c:v>0.45869448903156701</c:v>
                </c:pt>
                <c:pt idx="25720">
                  <c:v>0.45871232388086303</c:v>
                </c:pt>
                <c:pt idx="25721">
                  <c:v>0.45873015873015799</c:v>
                </c:pt>
                <c:pt idx="25722">
                  <c:v>0.45874799357945401</c:v>
                </c:pt>
                <c:pt idx="25723">
                  <c:v>0.45876582842874902</c:v>
                </c:pt>
                <c:pt idx="25724">
                  <c:v>0.45878366327804498</c:v>
                </c:pt>
                <c:pt idx="25725">
                  <c:v>0.45880149812734</c:v>
                </c:pt>
                <c:pt idx="25726">
                  <c:v>0.45881933297663602</c:v>
                </c:pt>
                <c:pt idx="25727">
                  <c:v>0.45883716782593098</c:v>
                </c:pt>
                <c:pt idx="25728">
                  <c:v>0.458855002675227</c:v>
                </c:pt>
                <c:pt idx="25729">
                  <c:v>0.45887283752452201</c:v>
                </c:pt>
                <c:pt idx="25730">
                  <c:v>0.45889067237381798</c:v>
                </c:pt>
                <c:pt idx="25731">
                  <c:v>0.45890850722311299</c:v>
                </c:pt>
                <c:pt idx="25732">
                  <c:v>0.45892634207240901</c:v>
                </c:pt>
                <c:pt idx="25733">
                  <c:v>0.45894417692170503</c:v>
                </c:pt>
                <c:pt idx="25734">
                  <c:v>0.45896201177099999</c:v>
                </c:pt>
                <c:pt idx="25735">
                  <c:v>0.45897984662029601</c:v>
                </c:pt>
                <c:pt idx="25736">
                  <c:v>0.45899768146959102</c:v>
                </c:pt>
                <c:pt idx="25737">
                  <c:v>0.45901551631888698</c:v>
                </c:pt>
                <c:pt idx="25738">
                  <c:v>0.459033351168182</c:v>
                </c:pt>
                <c:pt idx="25739">
                  <c:v>0.45905118601747802</c:v>
                </c:pt>
                <c:pt idx="25740">
                  <c:v>0.45906902086677298</c:v>
                </c:pt>
                <c:pt idx="25741">
                  <c:v>0.459086855716069</c:v>
                </c:pt>
                <c:pt idx="25742">
                  <c:v>0.45910469056536402</c:v>
                </c:pt>
                <c:pt idx="25743">
                  <c:v>0.45912252541465998</c:v>
                </c:pt>
                <c:pt idx="25744">
                  <c:v>0.45914036026395499</c:v>
                </c:pt>
                <c:pt idx="25745">
                  <c:v>0.45915819511325101</c:v>
                </c:pt>
                <c:pt idx="25746">
                  <c:v>0.45917602996254597</c:v>
                </c:pt>
                <c:pt idx="25747">
                  <c:v>0.45919386481184199</c:v>
                </c:pt>
                <c:pt idx="25748">
                  <c:v>0.45921169966113701</c:v>
                </c:pt>
                <c:pt idx="25749">
                  <c:v>0.45922953451043302</c:v>
                </c:pt>
                <c:pt idx="25750">
                  <c:v>0.45924736935972799</c:v>
                </c:pt>
                <c:pt idx="25751">
                  <c:v>0.459265204209024</c:v>
                </c:pt>
                <c:pt idx="25752">
                  <c:v>0.45928303905831902</c:v>
                </c:pt>
                <c:pt idx="25753">
                  <c:v>0.45930087390761498</c:v>
                </c:pt>
                <c:pt idx="25754">
                  <c:v>0.459318708756911</c:v>
                </c:pt>
                <c:pt idx="25755">
                  <c:v>0.45933654360620602</c:v>
                </c:pt>
                <c:pt idx="25756">
                  <c:v>0.45935437845550198</c:v>
                </c:pt>
                <c:pt idx="25757">
                  <c:v>0.45937221330479699</c:v>
                </c:pt>
                <c:pt idx="25758">
                  <c:v>0.45939004815409301</c:v>
                </c:pt>
                <c:pt idx="25759">
                  <c:v>0.45940788300338797</c:v>
                </c:pt>
                <c:pt idx="25760">
                  <c:v>0.45942571785268399</c:v>
                </c:pt>
                <c:pt idx="25761">
                  <c:v>0.45944355270197901</c:v>
                </c:pt>
                <c:pt idx="25762">
                  <c:v>0.45946138755127502</c:v>
                </c:pt>
                <c:pt idx="25763">
                  <c:v>0.45947922240056999</c:v>
                </c:pt>
                <c:pt idx="25764">
                  <c:v>0.459497057249866</c:v>
                </c:pt>
                <c:pt idx="25765">
                  <c:v>0.45951489209916102</c:v>
                </c:pt>
                <c:pt idx="25766">
                  <c:v>0.45953272694845698</c:v>
                </c:pt>
                <c:pt idx="25767">
                  <c:v>0.459550561797752</c:v>
                </c:pt>
                <c:pt idx="25768">
                  <c:v>0.45956839664704802</c:v>
                </c:pt>
                <c:pt idx="25769">
                  <c:v>0.45958623149634298</c:v>
                </c:pt>
                <c:pt idx="25770">
                  <c:v>0.459604066345639</c:v>
                </c:pt>
                <c:pt idx="25771">
                  <c:v>0.45962190119493401</c:v>
                </c:pt>
                <c:pt idx="25772">
                  <c:v>0.45963973604422997</c:v>
                </c:pt>
                <c:pt idx="25773">
                  <c:v>0.45965757089352499</c:v>
                </c:pt>
                <c:pt idx="25774">
                  <c:v>0.45967540574282101</c:v>
                </c:pt>
                <c:pt idx="25775">
                  <c:v>0.45969324059211603</c:v>
                </c:pt>
                <c:pt idx="25776">
                  <c:v>0.45971107544141199</c:v>
                </c:pt>
                <c:pt idx="25777">
                  <c:v>0.459728910290708</c:v>
                </c:pt>
                <c:pt idx="25778">
                  <c:v>0.45974674514000302</c:v>
                </c:pt>
                <c:pt idx="25779">
                  <c:v>0.45976457998929898</c:v>
                </c:pt>
                <c:pt idx="25780">
                  <c:v>0.459782414838594</c:v>
                </c:pt>
                <c:pt idx="25781">
                  <c:v>0.45980024968789002</c:v>
                </c:pt>
                <c:pt idx="25782">
                  <c:v>0.45981808453718498</c:v>
                </c:pt>
                <c:pt idx="25783">
                  <c:v>0.459835919386481</c:v>
                </c:pt>
                <c:pt idx="25784">
                  <c:v>0.45985375423577601</c:v>
                </c:pt>
                <c:pt idx="25785">
                  <c:v>0.45987158908507197</c:v>
                </c:pt>
                <c:pt idx="25786">
                  <c:v>0.45988942393436699</c:v>
                </c:pt>
                <c:pt idx="25787">
                  <c:v>0.45990725878366301</c:v>
                </c:pt>
                <c:pt idx="25788">
                  <c:v>0.45992509363295803</c:v>
                </c:pt>
                <c:pt idx="25789">
                  <c:v>0.45994292848225399</c:v>
                </c:pt>
                <c:pt idx="25790">
                  <c:v>0.45996076333154901</c:v>
                </c:pt>
                <c:pt idx="25791">
                  <c:v>0.45997859818084502</c:v>
                </c:pt>
                <c:pt idx="25792">
                  <c:v>0.45999643303013998</c:v>
                </c:pt>
                <c:pt idx="25793">
                  <c:v>0.460014267879436</c:v>
                </c:pt>
                <c:pt idx="25794">
                  <c:v>0.46003210272873102</c:v>
                </c:pt>
                <c:pt idx="25795">
                  <c:v>0.46004993757802698</c:v>
                </c:pt>
                <c:pt idx="25796">
                  <c:v>0.460067772427323</c:v>
                </c:pt>
                <c:pt idx="25797">
                  <c:v>0.46008560727661801</c:v>
                </c:pt>
                <c:pt idx="25798">
                  <c:v>0.46010344212591398</c:v>
                </c:pt>
                <c:pt idx="25799">
                  <c:v>0.46012127697520899</c:v>
                </c:pt>
                <c:pt idx="25800">
                  <c:v>0.46013911182450501</c:v>
                </c:pt>
                <c:pt idx="25801">
                  <c:v>0.46015694667380003</c:v>
                </c:pt>
                <c:pt idx="25802">
                  <c:v>0.46017478152309599</c:v>
                </c:pt>
                <c:pt idx="25803">
                  <c:v>0.46019261637239101</c:v>
                </c:pt>
                <c:pt idx="25804">
                  <c:v>0.46021045122168702</c:v>
                </c:pt>
                <c:pt idx="25805">
                  <c:v>0.46022828607098198</c:v>
                </c:pt>
                <c:pt idx="25806">
                  <c:v>0.460246120920278</c:v>
                </c:pt>
                <c:pt idx="25807">
                  <c:v>0.46026395576957302</c:v>
                </c:pt>
                <c:pt idx="25808">
                  <c:v>0.46028179061886898</c:v>
                </c:pt>
                <c:pt idx="25809">
                  <c:v>0.460299625468164</c:v>
                </c:pt>
                <c:pt idx="25810">
                  <c:v>0.46031746031746001</c:v>
                </c:pt>
                <c:pt idx="25811">
                  <c:v>0.46033529516675498</c:v>
                </c:pt>
                <c:pt idx="25812">
                  <c:v>0.46035313001605099</c:v>
                </c:pt>
                <c:pt idx="25813">
                  <c:v>0.46037096486534601</c:v>
                </c:pt>
                <c:pt idx="25814">
                  <c:v>0.46038879971464203</c:v>
                </c:pt>
                <c:pt idx="25815">
                  <c:v>0.46040663456393699</c:v>
                </c:pt>
                <c:pt idx="25816">
                  <c:v>0.46042446941323301</c:v>
                </c:pt>
                <c:pt idx="25817">
                  <c:v>0.46044230426252802</c:v>
                </c:pt>
                <c:pt idx="25818">
                  <c:v>0.46046013911182399</c:v>
                </c:pt>
                <c:pt idx="25819">
                  <c:v>0.46047797396112</c:v>
                </c:pt>
                <c:pt idx="25820">
                  <c:v>0.46049580881041502</c:v>
                </c:pt>
                <c:pt idx="25821">
                  <c:v>0.46051364365971098</c:v>
                </c:pt>
                <c:pt idx="25822">
                  <c:v>0.460531478509006</c:v>
                </c:pt>
                <c:pt idx="25823">
                  <c:v>0.46054931335830201</c:v>
                </c:pt>
                <c:pt idx="25824">
                  <c:v>0.46056714820759698</c:v>
                </c:pt>
                <c:pt idx="25825">
                  <c:v>0.46058498305689299</c:v>
                </c:pt>
                <c:pt idx="25826">
                  <c:v>0.46060281790618801</c:v>
                </c:pt>
                <c:pt idx="25827">
                  <c:v>0.46062065275548397</c:v>
                </c:pt>
                <c:pt idx="25828">
                  <c:v>0.46063848760477899</c:v>
                </c:pt>
                <c:pt idx="25829">
                  <c:v>0.46065632245407501</c:v>
                </c:pt>
                <c:pt idx="25830">
                  <c:v>0.46067415730337002</c:v>
                </c:pt>
                <c:pt idx="25831">
                  <c:v>0.46069199215266599</c:v>
                </c:pt>
                <c:pt idx="25832">
                  <c:v>0.460709827001961</c:v>
                </c:pt>
                <c:pt idx="25833">
                  <c:v>0.46072766185125702</c:v>
                </c:pt>
                <c:pt idx="25834">
                  <c:v>0.46074549670055198</c:v>
                </c:pt>
                <c:pt idx="25835">
                  <c:v>0.460763331549848</c:v>
                </c:pt>
                <c:pt idx="25836">
                  <c:v>0.46078116639914302</c:v>
                </c:pt>
                <c:pt idx="25837">
                  <c:v>0.46079900124843898</c:v>
                </c:pt>
                <c:pt idx="25838">
                  <c:v>0.46081683609773499</c:v>
                </c:pt>
                <c:pt idx="25839">
                  <c:v>0.46083467094703001</c:v>
                </c:pt>
                <c:pt idx="25840">
                  <c:v>0.46085250579632597</c:v>
                </c:pt>
                <c:pt idx="25841">
                  <c:v>0.46087034064562099</c:v>
                </c:pt>
                <c:pt idx="25842">
                  <c:v>0.46088817549491701</c:v>
                </c:pt>
                <c:pt idx="25843">
                  <c:v>0.46090601034421202</c:v>
                </c:pt>
                <c:pt idx="25844">
                  <c:v>0.46092384519350799</c:v>
                </c:pt>
                <c:pt idx="25845">
                  <c:v>0.460941680042803</c:v>
                </c:pt>
                <c:pt idx="25846">
                  <c:v>0.46095951489209902</c:v>
                </c:pt>
                <c:pt idx="25847">
                  <c:v>0.46097734974139398</c:v>
                </c:pt>
                <c:pt idx="25848">
                  <c:v>0.46099518459069</c:v>
                </c:pt>
                <c:pt idx="25849">
                  <c:v>0.46101301943998502</c:v>
                </c:pt>
                <c:pt idx="25850">
                  <c:v>0.46103085428928098</c:v>
                </c:pt>
                <c:pt idx="25851">
                  <c:v>0.461048689138576</c:v>
                </c:pt>
                <c:pt idx="25852">
                  <c:v>0.46106652398787201</c:v>
                </c:pt>
                <c:pt idx="25853">
                  <c:v>0.46108435883716697</c:v>
                </c:pt>
                <c:pt idx="25854">
                  <c:v>0.46110219368646299</c:v>
                </c:pt>
                <c:pt idx="25855">
                  <c:v>0.46112002853575801</c:v>
                </c:pt>
                <c:pt idx="25856">
                  <c:v>0.46113786338505403</c:v>
                </c:pt>
                <c:pt idx="25857">
                  <c:v>0.46115569823434899</c:v>
                </c:pt>
                <c:pt idx="25858">
                  <c:v>0.461173533083645</c:v>
                </c:pt>
                <c:pt idx="25859">
                  <c:v>0.46119136793294002</c:v>
                </c:pt>
                <c:pt idx="25860">
                  <c:v>0.46120920278223598</c:v>
                </c:pt>
                <c:pt idx="25861">
                  <c:v>0.461227037631532</c:v>
                </c:pt>
                <c:pt idx="25862">
                  <c:v>0.46124487248082702</c:v>
                </c:pt>
                <c:pt idx="25863">
                  <c:v>0.46126270733012298</c:v>
                </c:pt>
                <c:pt idx="25864">
                  <c:v>0.461280542179418</c:v>
                </c:pt>
                <c:pt idx="25865">
                  <c:v>0.46129837702871401</c:v>
                </c:pt>
                <c:pt idx="25866">
                  <c:v>0.46131621187800897</c:v>
                </c:pt>
                <c:pt idx="25867">
                  <c:v>0.46133404672730499</c:v>
                </c:pt>
                <c:pt idx="25868">
                  <c:v>0.46135188157660001</c:v>
                </c:pt>
                <c:pt idx="25869">
                  <c:v>0.46136971642589603</c:v>
                </c:pt>
                <c:pt idx="25870">
                  <c:v>0.46138755127519099</c:v>
                </c:pt>
                <c:pt idx="25871">
                  <c:v>0.461405386124487</c:v>
                </c:pt>
                <c:pt idx="25872">
                  <c:v>0.46142322097378202</c:v>
                </c:pt>
                <c:pt idx="25873">
                  <c:v>0.46144105582307798</c:v>
                </c:pt>
                <c:pt idx="25874">
                  <c:v>0.461458890672373</c:v>
                </c:pt>
                <c:pt idx="25875">
                  <c:v>0.46147672552166902</c:v>
                </c:pt>
                <c:pt idx="25876">
                  <c:v>0.46149456037096398</c:v>
                </c:pt>
                <c:pt idx="25877">
                  <c:v>0.46151239522026</c:v>
                </c:pt>
                <c:pt idx="25878">
                  <c:v>0.46153023006955501</c:v>
                </c:pt>
                <c:pt idx="25879">
                  <c:v>0.46154806491885098</c:v>
                </c:pt>
                <c:pt idx="25880">
                  <c:v>0.46156589976814599</c:v>
                </c:pt>
                <c:pt idx="25881">
                  <c:v>0.46158373461744201</c:v>
                </c:pt>
                <c:pt idx="25882">
                  <c:v>0.46160156946673803</c:v>
                </c:pt>
                <c:pt idx="25883">
                  <c:v>0.46161940431603299</c:v>
                </c:pt>
                <c:pt idx="25884">
                  <c:v>0.46163723916532901</c:v>
                </c:pt>
                <c:pt idx="25885">
                  <c:v>0.46165507401462402</c:v>
                </c:pt>
                <c:pt idx="25886">
                  <c:v>0.46167290886391998</c:v>
                </c:pt>
                <c:pt idx="25887">
                  <c:v>0.461690743713215</c:v>
                </c:pt>
                <c:pt idx="25888">
                  <c:v>0.46170857856251102</c:v>
                </c:pt>
                <c:pt idx="25889">
                  <c:v>0.46172641341180598</c:v>
                </c:pt>
                <c:pt idx="25890">
                  <c:v>0.461744248261102</c:v>
                </c:pt>
                <c:pt idx="25891">
                  <c:v>0.46176208311039701</c:v>
                </c:pt>
                <c:pt idx="25892">
                  <c:v>0.46177991795969298</c:v>
                </c:pt>
                <c:pt idx="25893">
                  <c:v>0.46179775280898799</c:v>
                </c:pt>
                <c:pt idx="25894">
                  <c:v>0.46181558765828401</c:v>
                </c:pt>
                <c:pt idx="25895">
                  <c:v>0.46183342250757897</c:v>
                </c:pt>
                <c:pt idx="25896">
                  <c:v>0.46185125735687499</c:v>
                </c:pt>
                <c:pt idx="25897">
                  <c:v>0.46186909220617001</c:v>
                </c:pt>
                <c:pt idx="25898">
                  <c:v>0.46188692705546602</c:v>
                </c:pt>
                <c:pt idx="25899">
                  <c:v>0.46190476190476099</c:v>
                </c:pt>
                <c:pt idx="25900">
                  <c:v>0.461922596754057</c:v>
                </c:pt>
                <c:pt idx="25901">
                  <c:v>0.46194043160335202</c:v>
                </c:pt>
                <c:pt idx="25902">
                  <c:v>0.46195826645264798</c:v>
                </c:pt>
                <c:pt idx="25903">
                  <c:v>0.461976101301944</c:v>
                </c:pt>
                <c:pt idx="25904">
                  <c:v>0.46199393615123902</c:v>
                </c:pt>
                <c:pt idx="25905">
                  <c:v>0.46201177100053498</c:v>
                </c:pt>
                <c:pt idx="25906">
                  <c:v>0.46202960584982999</c:v>
                </c:pt>
                <c:pt idx="25907">
                  <c:v>0.46204744069912601</c:v>
                </c:pt>
                <c:pt idx="25908">
                  <c:v>0.46206527554842097</c:v>
                </c:pt>
                <c:pt idx="25909">
                  <c:v>0.46208311039771699</c:v>
                </c:pt>
                <c:pt idx="25910">
                  <c:v>0.46210094524701201</c:v>
                </c:pt>
                <c:pt idx="25911">
                  <c:v>0.46211878009630802</c:v>
                </c:pt>
                <c:pt idx="25912">
                  <c:v>0.46213661494560299</c:v>
                </c:pt>
                <c:pt idx="25913">
                  <c:v>0.462154449794899</c:v>
                </c:pt>
                <c:pt idx="25914">
                  <c:v>0.46217228464419402</c:v>
                </c:pt>
                <c:pt idx="25915">
                  <c:v>0.46219011949348998</c:v>
                </c:pt>
                <c:pt idx="25916">
                  <c:v>0.462207954342785</c:v>
                </c:pt>
                <c:pt idx="25917">
                  <c:v>0.46222578919208102</c:v>
                </c:pt>
                <c:pt idx="25918">
                  <c:v>0.46224362404137598</c:v>
                </c:pt>
                <c:pt idx="25919">
                  <c:v>0.46226145889067199</c:v>
                </c:pt>
                <c:pt idx="25920">
                  <c:v>0.46227929373996701</c:v>
                </c:pt>
                <c:pt idx="25921">
                  <c:v>0.46229712858926297</c:v>
                </c:pt>
                <c:pt idx="25922">
                  <c:v>0.46231496343855799</c:v>
                </c:pt>
                <c:pt idx="25923">
                  <c:v>0.46233279828785401</c:v>
                </c:pt>
                <c:pt idx="25924">
                  <c:v>0.46235063313714903</c:v>
                </c:pt>
                <c:pt idx="25925">
                  <c:v>0.46236846798644499</c:v>
                </c:pt>
                <c:pt idx="25926">
                  <c:v>0.462386302835741</c:v>
                </c:pt>
                <c:pt idx="25927">
                  <c:v>0.46240413768503602</c:v>
                </c:pt>
                <c:pt idx="25928">
                  <c:v>0.46242197253433198</c:v>
                </c:pt>
                <c:pt idx="25929">
                  <c:v>0.462439807383627</c:v>
                </c:pt>
                <c:pt idx="25930">
                  <c:v>0.46245764223292302</c:v>
                </c:pt>
                <c:pt idx="25931">
                  <c:v>0.46247547708221798</c:v>
                </c:pt>
                <c:pt idx="25932">
                  <c:v>0.462493311931514</c:v>
                </c:pt>
                <c:pt idx="25933">
                  <c:v>0.46251114678080901</c:v>
                </c:pt>
                <c:pt idx="25934">
                  <c:v>0.46252898163010497</c:v>
                </c:pt>
                <c:pt idx="25935">
                  <c:v>0.46254681647939999</c:v>
                </c:pt>
                <c:pt idx="25936">
                  <c:v>0.46256465132869601</c:v>
                </c:pt>
                <c:pt idx="25937">
                  <c:v>0.46258248617799103</c:v>
                </c:pt>
                <c:pt idx="25938">
                  <c:v>0.46260032102728699</c:v>
                </c:pt>
                <c:pt idx="25939">
                  <c:v>0.462618155876582</c:v>
                </c:pt>
                <c:pt idx="25940">
                  <c:v>0.46263599072587802</c:v>
                </c:pt>
                <c:pt idx="25941">
                  <c:v>0.46265382557517298</c:v>
                </c:pt>
                <c:pt idx="25942">
                  <c:v>0.462671660424469</c:v>
                </c:pt>
                <c:pt idx="25943">
                  <c:v>0.46268949527376402</c:v>
                </c:pt>
                <c:pt idx="25944">
                  <c:v>0.46270733012305998</c:v>
                </c:pt>
                <c:pt idx="25945">
                  <c:v>0.462725164972356</c:v>
                </c:pt>
                <c:pt idx="25946">
                  <c:v>0.46274299982165101</c:v>
                </c:pt>
                <c:pt idx="25947">
                  <c:v>0.46276083467094697</c:v>
                </c:pt>
                <c:pt idx="25948">
                  <c:v>0.46277866952024199</c:v>
                </c:pt>
                <c:pt idx="25949">
                  <c:v>0.46279650436953801</c:v>
                </c:pt>
                <c:pt idx="25950">
                  <c:v>0.46281433921883303</c:v>
                </c:pt>
                <c:pt idx="25951">
                  <c:v>0.46283217406812899</c:v>
                </c:pt>
                <c:pt idx="25952">
                  <c:v>0.46285000891742401</c:v>
                </c:pt>
                <c:pt idx="25953">
                  <c:v>0.46286784376672002</c:v>
                </c:pt>
                <c:pt idx="25954">
                  <c:v>0.46288567861601498</c:v>
                </c:pt>
                <c:pt idx="25955">
                  <c:v>0.462903513465311</c:v>
                </c:pt>
                <c:pt idx="25956">
                  <c:v>0.46292134831460602</c:v>
                </c:pt>
                <c:pt idx="25957">
                  <c:v>0.46293918316390198</c:v>
                </c:pt>
                <c:pt idx="25958">
                  <c:v>0.462957018013197</c:v>
                </c:pt>
                <c:pt idx="25959">
                  <c:v>0.46297485286249301</c:v>
                </c:pt>
                <c:pt idx="25960">
                  <c:v>0.46299268771178798</c:v>
                </c:pt>
                <c:pt idx="25961">
                  <c:v>0.46301052256108399</c:v>
                </c:pt>
                <c:pt idx="25962">
                  <c:v>0.46302835741037901</c:v>
                </c:pt>
                <c:pt idx="25963">
                  <c:v>0.46304619225967503</c:v>
                </c:pt>
                <c:pt idx="25964">
                  <c:v>0.46306402710896999</c:v>
                </c:pt>
                <c:pt idx="25965">
                  <c:v>0.46308186195826601</c:v>
                </c:pt>
                <c:pt idx="25966">
                  <c:v>0.46309969680756102</c:v>
                </c:pt>
                <c:pt idx="25967">
                  <c:v>0.46311753165685698</c:v>
                </c:pt>
                <c:pt idx="25968">
                  <c:v>0.463135366506153</c:v>
                </c:pt>
                <c:pt idx="25969">
                  <c:v>0.46315320135544802</c:v>
                </c:pt>
                <c:pt idx="25970">
                  <c:v>0.46317103620474398</c:v>
                </c:pt>
                <c:pt idx="25971">
                  <c:v>0.463188871054039</c:v>
                </c:pt>
                <c:pt idx="25972">
                  <c:v>0.46320670590333501</c:v>
                </c:pt>
                <c:pt idx="25973">
                  <c:v>0.46322454075262998</c:v>
                </c:pt>
                <c:pt idx="25974">
                  <c:v>0.46324237560192599</c:v>
                </c:pt>
                <c:pt idx="25975">
                  <c:v>0.46326021045122101</c:v>
                </c:pt>
                <c:pt idx="25976">
                  <c:v>0.46327804530051703</c:v>
                </c:pt>
                <c:pt idx="25977">
                  <c:v>0.46329588014981199</c:v>
                </c:pt>
                <c:pt idx="25978">
                  <c:v>0.46331371499910801</c:v>
                </c:pt>
                <c:pt idx="25979">
                  <c:v>0.46333154984840302</c:v>
                </c:pt>
                <c:pt idx="25980">
                  <c:v>0.46334938469769898</c:v>
                </c:pt>
                <c:pt idx="25981">
                  <c:v>0.463367219546994</c:v>
                </c:pt>
                <c:pt idx="25982">
                  <c:v>0.46338505439629002</c:v>
                </c:pt>
                <c:pt idx="25983">
                  <c:v>0.46340288924558498</c:v>
                </c:pt>
                <c:pt idx="25984">
                  <c:v>0.463420724094881</c:v>
                </c:pt>
                <c:pt idx="25985">
                  <c:v>0.46343855894417602</c:v>
                </c:pt>
                <c:pt idx="25986">
                  <c:v>0.46345639379347198</c:v>
                </c:pt>
                <c:pt idx="25987">
                  <c:v>0.46347422864276799</c:v>
                </c:pt>
                <c:pt idx="25988">
                  <c:v>0.46349206349206301</c:v>
                </c:pt>
                <c:pt idx="25989">
                  <c:v>0.46350989834135897</c:v>
                </c:pt>
                <c:pt idx="25990">
                  <c:v>0.46352773319065399</c:v>
                </c:pt>
                <c:pt idx="25991">
                  <c:v>0.46354556803995001</c:v>
                </c:pt>
                <c:pt idx="25992">
                  <c:v>0.46356340288924502</c:v>
                </c:pt>
                <c:pt idx="25993">
                  <c:v>0.46358123773854099</c:v>
                </c:pt>
                <c:pt idx="25994">
                  <c:v>0.463599072587836</c:v>
                </c:pt>
                <c:pt idx="25995">
                  <c:v>0.46361690743713202</c:v>
                </c:pt>
                <c:pt idx="25996">
                  <c:v>0.46363474228642698</c:v>
                </c:pt>
                <c:pt idx="25997">
                  <c:v>0.463652577135723</c:v>
                </c:pt>
                <c:pt idx="25998">
                  <c:v>0.46367041198501802</c:v>
                </c:pt>
                <c:pt idx="25999">
                  <c:v>0.46368824683431398</c:v>
                </c:pt>
                <c:pt idx="26000">
                  <c:v>0.46370608168360899</c:v>
                </c:pt>
                <c:pt idx="26001">
                  <c:v>0.46372391653290501</c:v>
                </c:pt>
                <c:pt idx="26002">
                  <c:v>0.46374175138219997</c:v>
                </c:pt>
                <c:pt idx="26003">
                  <c:v>0.46375958623149599</c:v>
                </c:pt>
                <c:pt idx="26004">
                  <c:v>0.46377742108079101</c:v>
                </c:pt>
                <c:pt idx="26005">
                  <c:v>0.46379525593008702</c:v>
                </c:pt>
                <c:pt idx="26006">
                  <c:v>0.46381309077938199</c:v>
                </c:pt>
                <c:pt idx="26007">
                  <c:v>0.463830925628678</c:v>
                </c:pt>
                <c:pt idx="26008">
                  <c:v>0.46384876047797302</c:v>
                </c:pt>
                <c:pt idx="26009">
                  <c:v>0.46386659532726898</c:v>
                </c:pt>
                <c:pt idx="26010">
                  <c:v>0.463884430176565</c:v>
                </c:pt>
                <c:pt idx="26011">
                  <c:v>0.46390226502586002</c:v>
                </c:pt>
                <c:pt idx="26012">
                  <c:v>0.46392009987515598</c:v>
                </c:pt>
                <c:pt idx="26013">
                  <c:v>0.463937934724451</c:v>
                </c:pt>
                <c:pt idx="26014">
                  <c:v>0.46395576957374701</c:v>
                </c:pt>
                <c:pt idx="26015">
                  <c:v>0.46397360442304197</c:v>
                </c:pt>
                <c:pt idx="26016">
                  <c:v>0.46399143927233799</c:v>
                </c:pt>
                <c:pt idx="26017">
                  <c:v>0.46400927412163301</c:v>
                </c:pt>
                <c:pt idx="26018">
                  <c:v>0.46402710897092903</c:v>
                </c:pt>
                <c:pt idx="26019">
                  <c:v>0.46404494382022399</c:v>
                </c:pt>
                <c:pt idx="26020">
                  <c:v>0.46406277866952</c:v>
                </c:pt>
                <c:pt idx="26021">
                  <c:v>0.46408061351881502</c:v>
                </c:pt>
                <c:pt idx="26022">
                  <c:v>0.46409844836811098</c:v>
                </c:pt>
                <c:pt idx="26023">
                  <c:v>0.464116283217406</c:v>
                </c:pt>
                <c:pt idx="26024">
                  <c:v>0.46413411806670202</c:v>
                </c:pt>
                <c:pt idx="26025">
                  <c:v>0.46415195291599698</c:v>
                </c:pt>
                <c:pt idx="26026">
                  <c:v>0.464169787765293</c:v>
                </c:pt>
                <c:pt idx="26027">
                  <c:v>0.46418762261458801</c:v>
                </c:pt>
                <c:pt idx="26028">
                  <c:v>0.46420545746388397</c:v>
                </c:pt>
                <c:pt idx="26029">
                  <c:v>0.46422329231317899</c:v>
                </c:pt>
                <c:pt idx="26030">
                  <c:v>0.46424112716247501</c:v>
                </c:pt>
                <c:pt idx="26031">
                  <c:v>0.46425896201177103</c:v>
                </c:pt>
                <c:pt idx="26032">
                  <c:v>0.46427679686106599</c:v>
                </c:pt>
                <c:pt idx="26033">
                  <c:v>0.464294631710362</c:v>
                </c:pt>
                <c:pt idx="26034">
                  <c:v>0.46431246655965702</c:v>
                </c:pt>
                <c:pt idx="26035">
                  <c:v>0.46433030140895298</c:v>
                </c:pt>
                <c:pt idx="26036">
                  <c:v>0.464348136258248</c:v>
                </c:pt>
                <c:pt idx="26037">
                  <c:v>0.46436597110754402</c:v>
                </c:pt>
                <c:pt idx="26038">
                  <c:v>0.46438380595683898</c:v>
                </c:pt>
                <c:pt idx="26039">
                  <c:v>0.464401640806135</c:v>
                </c:pt>
                <c:pt idx="26040">
                  <c:v>0.46441947565543001</c:v>
                </c:pt>
                <c:pt idx="26041">
                  <c:v>0.46443731050472598</c:v>
                </c:pt>
                <c:pt idx="26042">
                  <c:v>0.46445514535402099</c:v>
                </c:pt>
                <c:pt idx="26043">
                  <c:v>0.46447298020331701</c:v>
                </c:pt>
                <c:pt idx="26044">
                  <c:v>0.46449081505261203</c:v>
                </c:pt>
                <c:pt idx="26045">
                  <c:v>0.46450864990190799</c:v>
                </c:pt>
                <c:pt idx="26046">
                  <c:v>0.46452648475120301</c:v>
                </c:pt>
                <c:pt idx="26047">
                  <c:v>0.46454431960049902</c:v>
                </c:pt>
                <c:pt idx="26048">
                  <c:v>0.46456215444979398</c:v>
                </c:pt>
                <c:pt idx="26049">
                  <c:v>0.46457998929909</c:v>
                </c:pt>
                <c:pt idx="26050">
                  <c:v>0.46459782414838502</c:v>
                </c:pt>
                <c:pt idx="26051">
                  <c:v>0.46461565899768098</c:v>
                </c:pt>
                <c:pt idx="26052">
                  <c:v>0.464633493846977</c:v>
                </c:pt>
                <c:pt idx="26053">
                  <c:v>0.46465132869627201</c:v>
                </c:pt>
                <c:pt idx="26054">
                  <c:v>0.46466916354556798</c:v>
                </c:pt>
                <c:pt idx="26055">
                  <c:v>0.46468699839486299</c:v>
                </c:pt>
                <c:pt idx="26056">
                  <c:v>0.46470483324415901</c:v>
                </c:pt>
                <c:pt idx="26057">
                  <c:v>0.46472266809345403</c:v>
                </c:pt>
                <c:pt idx="26058">
                  <c:v>0.46474050294274999</c:v>
                </c:pt>
                <c:pt idx="26059">
                  <c:v>0.46475833779204501</c:v>
                </c:pt>
                <c:pt idx="26060">
                  <c:v>0.46477617264134102</c:v>
                </c:pt>
                <c:pt idx="26061">
                  <c:v>0.46479400749063599</c:v>
                </c:pt>
                <c:pt idx="26062">
                  <c:v>0.464811842339932</c:v>
                </c:pt>
                <c:pt idx="26063">
                  <c:v>0.46482967718922702</c:v>
                </c:pt>
                <c:pt idx="26064">
                  <c:v>0.46484751203852298</c:v>
                </c:pt>
                <c:pt idx="26065">
                  <c:v>0.464865346887818</c:v>
                </c:pt>
                <c:pt idx="26066">
                  <c:v>0.46488318173711402</c:v>
                </c:pt>
                <c:pt idx="26067">
                  <c:v>0.46490101658640898</c:v>
                </c:pt>
                <c:pt idx="26068">
                  <c:v>0.46491885143570499</c:v>
                </c:pt>
                <c:pt idx="26069">
                  <c:v>0.46493668628500001</c:v>
                </c:pt>
                <c:pt idx="26070">
                  <c:v>0.46495452113429597</c:v>
                </c:pt>
                <c:pt idx="26071">
                  <c:v>0.46497235598359099</c:v>
                </c:pt>
                <c:pt idx="26072">
                  <c:v>0.46499019083288701</c:v>
                </c:pt>
                <c:pt idx="26073">
                  <c:v>0.46500802568218202</c:v>
                </c:pt>
                <c:pt idx="26074">
                  <c:v>0.46502586053147799</c:v>
                </c:pt>
                <c:pt idx="26075">
                  <c:v>0.465043695380774</c:v>
                </c:pt>
                <c:pt idx="26076">
                  <c:v>0.46506153023006902</c:v>
                </c:pt>
                <c:pt idx="26077">
                  <c:v>0.46507936507936498</c:v>
                </c:pt>
                <c:pt idx="26078">
                  <c:v>0.46509719992866</c:v>
                </c:pt>
                <c:pt idx="26079">
                  <c:v>0.46511503477795602</c:v>
                </c:pt>
                <c:pt idx="26080">
                  <c:v>0.46513286962725098</c:v>
                </c:pt>
                <c:pt idx="26081">
                  <c:v>0.46515070447654699</c:v>
                </c:pt>
                <c:pt idx="26082">
                  <c:v>0.46516853932584201</c:v>
                </c:pt>
                <c:pt idx="26083">
                  <c:v>0.46518637417513797</c:v>
                </c:pt>
                <c:pt idx="26084">
                  <c:v>0.46520420902443299</c:v>
                </c:pt>
                <c:pt idx="26085">
                  <c:v>0.46522204387372901</c:v>
                </c:pt>
                <c:pt idx="26086">
                  <c:v>0.46523987872302403</c:v>
                </c:pt>
                <c:pt idx="26087">
                  <c:v>0.46525771357231999</c:v>
                </c:pt>
                <c:pt idx="26088">
                  <c:v>0.465275548421615</c:v>
                </c:pt>
                <c:pt idx="26089">
                  <c:v>0.46529338327091102</c:v>
                </c:pt>
                <c:pt idx="26090">
                  <c:v>0.46531121812020598</c:v>
                </c:pt>
                <c:pt idx="26091">
                  <c:v>0.465329052969502</c:v>
                </c:pt>
                <c:pt idx="26092">
                  <c:v>0.46534688781879702</c:v>
                </c:pt>
                <c:pt idx="26093">
                  <c:v>0.46536472266809298</c:v>
                </c:pt>
                <c:pt idx="26094">
                  <c:v>0.465382557517389</c:v>
                </c:pt>
                <c:pt idx="26095">
                  <c:v>0.46540039236668401</c:v>
                </c:pt>
                <c:pt idx="26096">
                  <c:v>0.46541822721597997</c:v>
                </c:pt>
                <c:pt idx="26097">
                  <c:v>0.46543606206527499</c:v>
                </c:pt>
                <c:pt idx="26098">
                  <c:v>0.46545389691457101</c:v>
                </c:pt>
                <c:pt idx="26099">
                  <c:v>0.46547173176386603</c:v>
                </c:pt>
                <c:pt idx="26100">
                  <c:v>0.46548956661316199</c:v>
                </c:pt>
                <c:pt idx="26101">
                  <c:v>0.465507401462457</c:v>
                </c:pt>
                <c:pt idx="26102">
                  <c:v>0.46552523631175302</c:v>
                </c:pt>
                <c:pt idx="26103">
                  <c:v>0.46554307116104798</c:v>
                </c:pt>
                <c:pt idx="26104">
                  <c:v>0.465560906010344</c:v>
                </c:pt>
                <c:pt idx="26105">
                  <c:v>0.46557874085963902</c:v>
                </c:pt>
                <c:pt idx="26106">
                  <c:v>0.46559657570893498</c:v>
                </c:pt>
                <c:pt idx="26107">
                  <c:v>0.46561441055823</c:v>
                </c:pt>
                <c:pt idx="26108">
                  <c:v>0.46563224540752601</c:v>
                </c:pt>
                <c:pt idx="26109">
                  <c:v>0.46565008025682098</c:v>
                </c:pt>
                <c:pt idx="26110">
                  <c:v>0.46566791510611699</c:v>
                </c:pt>
                <c:pt idx="26111">
                  <c:v>0.46568574995541201</c:v>
                </c:pt>
                <c:pt idx="26112">
                  <c:v>0.46570358480470803</c:v>
                </c:pt>
                <c:pt idx="26113">
                  <c:v>0.46572141965400299</c:v>
                </c:pt>
                <c:pt idx="26114">
                  <c:v>0.465739254503299</c:v>
                </c:pt>
                <c:pt idx="26115">
                  <c:v>0.46575708935259402</c:v>
                </c:pt>
                <c:pt idx="26116">
                  <c:v>0.46577492420188998</c:v>
                </c:pt>
                <c:pt idx="26117">
                  <c:v>0.465792759051186</c:v>
                </c:pt>
                <c:pt idx="26118">
                  <c:v>0.46581059390048102</c:v>
                </c:pt>
                <c:pt idx="26119">
                  <c:v>0.46582842874977698</c:v>
                </c:pt>
                <c:pt idx="26120">
                  <c:v>0.465846263599072</c:v>
                </c:pt>
                <c:pt idx="26121">
                  <c:v>0.46586409844836801</c:v>
                </c:pt>
                <c:pt idx="26122">
                  <c:v>0.46588193329766298</c:v>
                </c:pt>
                <c:pt idx="26123">
                  <c:v>0.46589976814695899</c:v>
                </c:pt>
                <c:pt idx="26124">
                  <c:v>0.46591760299625401</c:v>
                </c:pt>
                <c:pt idx="26125">
                  <c:v>0.46593543784555003</c:v>
                </c:pt>
                <c:pt idx="26126">
                  <c:v>0.46595327269484499</c:v>
                </c:pt>
                <c:pt idx="26127">
                  <c:v>0.46597110754414101</c:v>
                </c:pt>
                <c:pt idx="26128">
                  <c:v>0.46598894239343602</c:v>
                </c:pt>
                <c:pt idx="26129">
                  <c:v>0.46600677724273198</c:v>
                </c:pt>
                <c:pt idx="26130">
                  <c:v>0.466024612092027</c:v>
                </c:pt>
                <c:pt idx="26131">
                  <c:v>0.46604244694132302</c:v>
                </c:pt>
                <c:pt idx="26132">
                  <c:v>0.46606028179061798</c:v>
                </c:pt>
                <c:pt idx="26133">
                  <c:v>0.466078116639914</c:v>
                </c:pt>
                <c:pt idx="26134">
                  <c:v>0.46609595148920901</c:v>
                </c:pt>
                <c:pt idx="26135">
                  <c:v>0.46611378633850498</c:v>
                </c:pt>
                <c:pt idx="26136">
                  <c:v>0.46613162118779999</c:v>
                </c:pt>
                <c:pt idx="26137">
                  <c:v>0.46614945603709601</c:v>
                </c:pt>
                <c:pt idx="26138">
                  <c:v>0.46616729088639203</c:v>
                </c:pt>
                <c:pt idx="26139">
                  <c:v>0.46618512573568699</c:v>
                </c:pt>
                <c:pt idx="26140">
                  <c:v>0.46620296058498301</c:v>
                </c:pt>
                <c:pt idx="26141">
                  <c:v>0.46622079543427802</c:v>
                </c:pt>
                <c:pt idx="26142">
                  <c:v>0.46623863028357398</c:v>
                </c:pt>
                <c:pt idx="26143">
                  <c:v>0.466256465132869</c:v>
                </c:pt>
                <c:pt idx="26144">
                  <c:v>0.46627429998216502</c:v>
                </c:pt>
                <c:pt idx="26145">
                  <c:v>0.46629213483145998</c:v>
                </c:pt>
                <c:pt idx="26146">
                  <c:v>0.466309969680756</c:v>
                </c:pt>
                <c:pt idx="26147">
                  <c:v>0.46632780453005102</c:v>
                </c:pt>
                <c:pt idx="26148">
                  <c:v>0.46634563937934698</c:v>
                </c:pt>
                <c:pt idx="26149">
                  <c:v>0.46636347422864199</c:v>
                </c:pt>
                <c:pt idx="26150">
                  <c:v>0.46638130907793801</c:v>
                </c:pt>
                <c:pt idx="26151">
                  <c:v>0.46639914392723297</c:v>
                </c:pt>
                <c:pt idx="26152">
                  <c:v>0.46641697877652899</c:v>
                </c:pt>
                <c:pt idx="26153">
                  <c:v>0.46643481362582401</c:v>
                </c:pt>
                <c:pt idx="26154">
                  <c:v>0.46645264847512002</c:v>
                </c:pt>
                <c:pt idx="26155">
                  <c:v>0.46647048332441499</c:v>
                </c:pt>
                <c:pt idx="26156">
                  <c:v>0.466488318173711</c:v>
                </c:pt>
                <c:pt idx="26157">
                  <c:v>0.46650615302300602</c:v>
                </c:pt>
                <c:pt idx="26158">
                  <c:v>0.46652398787230198</c:v>
                </c:pt>
                <c:pt idx="26159">
                  <c:v>0.466541822721598</c:v>
                </c:pt>
                <c:pt idx="26160">
                  <c:v>0.46655965757089302</c:v>
                </c:pt>
                <c:pt idx="26161">
                  <c:v>0.46657749242018898</c:v>
                </c:pt>
                <c:pt idx="26162">
                  <c:v>0.46659532726948399</c:v>
                </c:pt>
                <c:pt idx="26163">
                  <c:v>0.46661316211878001</c:v>
                </c:pt>
                <c:pt idx="26164">
                  <c:v>0.46663099696807497</c:v>
                </c:pt>
                <c:pt idx="26165">
                  <c:v>0.46664883181737099</c:v>
                </c:pt>
                <c:pt idx="26166">
                  <c:v>0.46666666666666601</c:v>
                </c:pt>
                <c:pt idx="26167">
                  <c:v>0.46668450151596202</c:v>
                </c:pt>
                <c:pt idx="26168">
                  <c:v>0.46670233636525699</c:v>
                </c:pt>
                <c:pt idx="26169">
                  <c:v>0.466720171214553</c:v>
                </c:pt>
                <c:pt idx="26170">
                  <c:v>0.46673800606384802</c:v>
                </c:pt>
                <c:pt idx="26171">
                  <c:v>0.46675584091314398</c:v>
                </c:pt>
                <c:pt idx="26172">
                  <c:v>0.466773675762439</c:v>
                </c:pt>
                <c:pt idx="26173">
                  <c:v>0.46679151061173502</c:v>
                </c:pt>
                <c:pt idx="26174">
                  <c:v>0.46680934546102998</c:v>
                </c:pt>
                <c:pt idx="26175">
                  <c:v>0.466827180310326</c:v>
                </c:pt>
                <c:pt idx="26176">
                  <c:v>0.46684501515962101</c:v>
                </c:pt>
                <c:pt idx="26177">
                  <c:v>0.46686285000891697</c:v>
                </c:pt>
                <c:pt idx="26178">
                  <c:v>0.46688068485821199</c:v>
                </c:pt>
                <c:pt idx="26179">
                  <c:v>0.46689851970750801</c:v>
                </c:pt>
                <c:pt idx="26180">
                  <c:v>0.46691635455680303</c:v>
                </c:pt>
                <c:pt idx="26181">
                  <c:v>0.46693418940609899</c:v>
                </c:pt>
                <c:pt idx="26182">
                  <c:v>0.466952024255395</c:v>
                </c:pt>
                <c:pt idx="26183">
                  <c:v>0.46696985910469002</c:v>
                </c:pt>
                <c:pt idx="26184">
                  <c:v>0.46698769395398598</c:v>
                </c:pt>
                <c:pt idx="26185">
                  <c:v>0.467005528803281</c:v>
                </c:pt>
                <c:pt idx="26186">
                  <c:v>0.46702336365257702</c:v>
                </c:pt>
                <c:pt idx="26187">
                  <c:v>0.46704119850187198</c:v>
                </c:pt>
                <c:pt idx="26188">
                  <c:v>0.467059033351168</c:v>
                </c:pt>
                <c:pt idx="26189">
                  <c:v>0.46707686820046301</c:v>
                </c:pt>
                <c:pt idx="26190">
                  <c:v>0.46709470304975897</c:v>
                </c:pt>
                <c:pt idx="26191">
                  <c:v>0.46711253789905399</c:v>
                </c:pt>
                <c:pt idx="26192">
                  <c:v>0.46713037274835001</c:v>
                </c:pt>
                <c:pt idx="26193">
                  <c:v>0.46714820759764503</c:v>
                </c:pt>
                <c:pt idx="26194">
                  <c:v>0.46716604244694099</c:v>
                </c:pt>
                <c:pt idx="26195">
                  <c:v>0.46718387729623601</c:v>
                </c:pt>
                <c:pt idx="26196">
                  <c:v>0.46720171214553202</c:v>
                </c:pt>
                <c:pt idx="26197">
                  <c:v>0.46721954699482698</c:v>
                </c:pt>
                <c:pt idx="26198">
                  <c:v>0.467237381844123</c:v>
                </c:pt>
                <c:pt idx="26199">
                  <c:v>0.46725521669341802</c:v>
                </c:pt>
                <c:pt idx="26200">
                  <c:v>0.46727305154271398</c:v>
                </c:pt>
                <c:pt idx="26201">
                  <c:v>0.46729088639201</c:v>
                </c:pt>
                <c:pt idx="26202">
                  <c:v>0.46730872124130501</c:v>
                </c:pt>
                <c:pt idx="26203">
                  <c:v>0.46732655609060098</c:v>
                </c:pt>
                <c:pt idx="26204">
                  <c:v>0.46734439093989599</c:v>
                </c:pt>
                <c:pt idx="26205">
                  <c:v>0.46736222578919201</c:v>
                </c:pt>
                <c:pt idx="26206">
                  <c:v>0.46738006063848703</c:v>
                </c:pt>
                <c:pt idx="26207">
                  <c:v>0.46739789548778299</c:v>
                </c:pt>
                <c:pt idx="26208">
                  <c:v>0.46741573033707801</c:v>
                </c:pt>
                <c:pt idx="26209">
                  <c:v>0.46743356518637402</c:v>
                </c:pt>
                <c:pt idx="26210">
                  <c:v>0.46745140003566898</c:v>
                </c:pt>
                <c:pt idx="26211">
                  <c:v>0.467469234884965</c:v>
                </c:pt>
                <c:pt idx="26212">
                  <c:v>0.46748706973426002</c:v>
                </c:pt>
                <c:pt idx="26213">
                  <c:v>0.46750490458355598</c:v>
                </c:pt>
                <c:pt idx="26214">
                  <c:v>0.467522739432851</c:v>
                </c:pt>
                <c:pt idx="26215">
                  <c:v>0.46754057428214701</c:v>
                </c:pt>
                <c:pt idx="26216">
                  <c:v>0.46755840913144198</c:v>
                </c:pt>
                <c:pt idx="26217">
                  <c:v>0.46757624398073799</c:v>
                </c:pt>
                <c:pt idx="26218">
                  <c:v>0.46759407883003301</c:v>
                </c:pt>
                <c:pt idx="26219">
                  <c:v>0.46761191367932903</c:v>
                </c:pt>
                <c:pt idx="26220">
                  <c:v>0.46762974852862399</c:v>
                </c:pt>
                <c:pt idx="26221">
                  <c:v>0.46764758337792001</c:v>
                </c:pt>
                <c:pt idx="26222">
                  <c:v>0.46766541822721502</c:v>
                </c:pt>
                <c:pt idx="26223">
                  <c:v>0.46768325307651099</c:v>
                </c:pt>
                <c:pt idx="26224">
                  <c:v>0.467701087925807</c:v>
                </c:pt>
                <c:pt idx="26225">
                  <c:v>0.46771892277510202</c:v>
                </c:pt>
                <c:pt idx="26226">
                  <c:v>0.46773675762439798</c:v>
                </c:pt>
                <c:pt idx="26227">
                  <c:v>0.467754592473693</c:v>
                </c:pt>
                <c:pt idx="26228">
                  <c:v>0.46777242732298902</c:v>
                </c:pt>
                <c:pt idx="26229">
                  <c:v>0.46779026217228398</c:v>
                </c:pt>
                <c:pt idx="26230">
                  <c:v>0.46780809702157999</c:v>
                </c:pt>
                <c:pt idx="26231">
                  <c:v>0.46782593187087501</c:v>
                </c:pt>
                <c:pt idx="26232">
                  <c:v>0.46784376672017097</c:v>
                </c:pt>
                <c:pt idx="26233">
                  <c:v>0.46786160156946599</c:v>
                </c:pt>
                <c:pt idx="26234">
                  <c:v>0.46787943641876201</c:v>
                </c:pt>
                <c:pt idx="26235">
                  <c:v>0.46789727126805702</c:v>
                </c:pt>
                <c:pt idx="26236">
                  <c:v>0.46791510611735299</c:v>
                </c:pt>
                <c:pt idx="26237">
                  <c:v>0.467932940966648</c:v>
                </c:pt>
                <c:pt idx="26238">
                  <c:v>0.46795077581594402</c:v>
                </c:pt>
                <c:pt idx="26239">
                  <c:v>0.46796861066523898</c:v>
                </c:pt>
                <c:pt idx="26240">
                  <c:v>0.467986445514535</c:v>
                </c:pt>
                <c:pt idx="26241">
                  <c:v>0.46800428036383002</c:v>
                </c:pt>
                <c:pt idx="26242">
                  <c:v>0.46802211521312598</c:v>
                </c:pt>
                <c:pt idx="26243">
                  <c:v>0.46803995006242199</c:v>
                </c:pt>
                <c:pt idx="26244">
                  <c:v>0.46805778491171701</c:v>
                </c:pt>
                <c:pt idx="26245">
                  <c:v>0.46807561976101297</c:v>
                </c:pt>
                <c:pt idx="26246">
                  <c:v>0.46809345461030799</c:v>
                </c:pt>
                <c:pt idx="26247">
                  <c:v>0.46811128945960401</c:v>
                </c:pt>
                <c:pt idx="26248">
                  <c:v>0.46812912430889903</c:v>
                </c:pt>
                <c:pt idx="26249">
                  <c:v>0.46814695915819499</c:v>
                </c:pt>
                <c:pt idx="26250">
                  <c:v>0.46816479400749</c:v>
                </c:pt>
                <c:pt idx="26251">
                  <c:v>0.46818262885678602</c:v>
                </c:pt>
                <c:pt idx="26252">
                  <c:v>0.46820046370608098</c:v>
                </c:pt>
                <c:pt idx="26253">
                  <c:v>0.468218298555377</c:v>
                </c:pt>
                <c:pt idx="26254">
                  <c:v>0.46823613340467202</c:v>
                </c:pt>
                <c:pt idx="26255">
                  <c:v>0.46825396825396798</c:v>
                </c:pt>
                <c:pt idx="26256">
                  <c:v>0.468271803103263</c:v>
                </c:pt>
                <c:pt idx="26257">
                  <c:v>0.46828963795255901</c:v>
                </c:pt>
                <c:pt idx="26258">
                  <c:v>0.46830747280185397</c:v>
                </c:pt>
                <c:pt idx="26259">
                  <c:v>0.46832530765114999</c:v>
                </c:pt>
                <c:pt idx="26260">
                  <c:v>0.46834314250044501</c:v>
                </c:pt>
                <c:pt idx="26261">
                  <c:v>0.46836097734974103</c:v>
                </c:pt>
                <c:pt idx="26262">
                  <c:v>0.46837881219903599</c:v>
                </c:pt>
                <c:pt idx="26263">
                  <c:v>0.468396647048332</c:v>
                </c:pt>
                <c:pt idx="26264">
                  <c:v>0.46841448189762702</c:v>
                </c:pt>
                <c:pt idx="26265">
                  <c:v>0.46843231674692298</c:v>
                </c:pt>
                <c:pt idx="26266">
                  <c:v>0.468450151596219</c:v>
                </c:pt>
                <c:pt idx="26267">
                  <c:v>0.46846798644551402</c:v>
                </c:pt>
                <c:pt idx="26268">
                  <c:v>0.46848582129480998</c:v>
                </c:pt>
                <c:pt idx="26269">
                  <c:v>0.468503656144105</c:v>
                </c:pt>
                <c:pt idx="26270">
                  <c:v>0.46852149099340101</c:v>
                </c:pt>
                <c:pt idx="26271">
                  <c:v>0.46853932584269598</c:v>
                </c:pt>
                <c:pt idx="26272">
                  <c:v>0.46855716069199199</c:v>
                </c:pt>
                <c:pt idx="26273">
                  <c:v>0.46857499554128701</c:v>
                </c:pt>
                <c:pt idx="26274">
                  <c:v>0.46859283039058303</c:v>
                </c:pt>
                <c:pt idx="26275">
                  <c:v>0.46861066523987799</c:v>
                </c:pt>
                <c:pt idx="26276">
                  <c:v>0.468628500089174</c:v>
                </c:pt>
                <c:pt idx="26277">
                  <c:v>0.46864633493846902</c:v>
                </c:pt>
                <c:pt idx="26278">
                  <c:v>0.46866416978776498</c:v>
                </c:pt>
                <c:pt idx="26279">
                  <c:v>0.46868200463706</c:v>
                </c:pt>
                <c:pt idx="26280">
                  <c:v>0.46869983948635602</c:v>
                </c:pt>
                <c:pt idx="26281">
                  <c:v>0.46871767433565098</c:v>
                </c:pt>
                <c:pt idx="26282">
                  <c:v>0.468735509184947</c:v>
                </c:pt>
                <c:pt idx="26283">
                  <c:v>0.46875334403424201</c:v>
                </c:pt>
                <c:pt idx="26284">
                  <c:v>0.46877117888353798</c:v>
                </c:pt>
                <c:pt idx="26285">
                  <c:v>0.46878901373283299</c:v>
                </c:pt>
                <c:pt idx="26286">
                  <c:v>0.46880684858212901</c:v>
                </c:pt>
                <c:pt idx="26287">
                  <c:v>0.46882468343142503</c:v>
                </c:pt>
                <c:pt idx="26288">
                  <c:v>0.46884251828071999</c:v>
                </c:pt>
                <c:pt idx="26289">
                  <c:v>0.46886035313001601</c:v>
                </c:pt>
                <c:pt idx="26290">
                  <c:v>0.46887818797931102</c:v>
                </c:pt>
                <c:pt idx="26291">
                  <c:v>0.46889602282860698</c:v>
                </c:pt>
                <c:pt idx="26292">
                  <c:v>0.468913857677902</c:v>
                </c:pt>
                <c:pt idx="26293">
                  <c:v>0.46893169252719802</c:v>
                </c:pt>
                <c:pt idx="26294">
                  <c:v>0.46894952737649298</c:v>
                </c:pt>
                <c:pt idx="26295">
                  <c:v>0.468967362225789</c:v>
                </c:pt>
                <c:pt idx="26296">
                  <c:v>0.46898519707508401</c:v>
                </c:pt>
                <c:pt idx="26297">
                  <c:v>0.46900303192437998</c:v>
                </c:pt>
                <c:pt idx="26298">
                  <c:v>0.46902086677367499</c:v>
                </c:pt>
                <c:pt idx="26299">
                  <c:v>0.46903870162297101</c:v>
                </c:pt>
                <c:pt idx="26300">
                  <c:v>0.46905653647226597</c:v>
                </c:pt>
                <c:pt idx="26301">
                  <c:v>0.46907437132156199</c:v>
                </c:pt>
                <c:pt idx="26302">
                  <c:v>0.46909220617085701</c:v>
                </c:pt>
                <c:pt idx="26303">
                  <c:v>0.46911004102015302</c:v>
                </c:pt>
                <c:pt idx="26304">
                  <c:v>0.46912787586944799</c:v>
                </c:pt>
                <c:pt idx="26305">
                  <c:v>0.469145710718744</c:v>
                </c:pt>
                <c:pt idx="26306">
                  <c:v>0.46916354556803902</c:v>
                </c:pt>
                <c:pt idx="26307">
                  <c:v>0.46918138041733498</c:v>
                </c:pt>
                <c:pt idx="26308">
                  <c:v>0.469199215266631</c:v>
                </c:pt>
                <c:pt idx="26309">
                  <c:v>0.46921705011592602</c:v>
                </c:pt>
                <c:pt idx="26310">
                  <c:v>0.46923488496522198</c:v>
                </c:pt>
                <c:pt idx="26311">
                  <c:v>0.46925271981451699</c:v>
                </c:pt>
                <c:pt idx="26312">
                  <c:v>0.46927055466381301</c:v>
                </c:pt>
                <c:pt idx="26313">
                  <c:v>0.46928838951310797</c:v>
                </c:pt>
                <c:pt idx="26314">
                  <c:v>0.46930622436240399</c:v>
                </c:pt>
                <c:pt idx="26315">
                  <c:v>0.46932405921169901</c:v>
                </c:pt>
                <c:pt idx="26316">
                  <c:v>0.46934189406099502</c:v>
                </c:pt>
                <c:pt idx="26317">
                  <c:v>0.46935972891028999</c:v>
                </c:pt>
                <c:pt idx="26318">
                  <c:v>0.469377563759586</c:v>
                </c:pt>
                <c:pt idx="26319">
                  <c:v>0.46939539860888102</c:v>
                </c:pt>
                <c:pt idx="26320">
                  <c:v>0.46941323345817698</c:v>
                </c:pt>
                <c:pt idx="26321">
                  <c:v>0.469431068307472</c:v>
                </c:pt>
                <c:pt idx="26322">
                  <c:v>0.46944890315676802</c:v>
                </c:pt>
                <c:pt idx="26323">
                  <c:v>0.46946673800606298</c:v>
                </c:pt>
                <c:pt idx="26324">
                  <c:v>0.46948457285535899</c:v>
                </c:pt>
                <c:pt idx="26325">
                  <c:v>0.46950240770465401</c:v>
                </c:pt>
                <c:pt idx="26326">
                  <c:v>0.46952024255394997</c:v>
                </c:pt>
                <c:pt idx="26327">
                  <c:v>0.46953807740324499</c:v>
                </c:pt>
                <c:pt idx="26328">
                  <c:v>0.46955591225254101</c:v>
                </c:pt>
                <c:pt idx="26329">
                  <c:v>0.46957374710183603</c:v>
                </c:pt>
                <c:pt idx="26330">
                  <c:v>0.46959158195113199</c:v>
                </c:pt>
                <c:pt idx="26331">
                  <c:v>0.469609416800428</c:v>
                </c:pt>
                <c:pt idx="26332">
                  <c:v>0.46962725164972302</c:v>
                </c:pt>
                <c:pt idx="26333">
                  <c:v>0.46964508649901898</c:v>
                </c:pt>
                <c:pt idx="26334">
                  <c:v>0.469662921348314</c:v>
                </c:pt>
                <c:pt idx="26335">
                  <c:v>0.46968075619761002</c:v>
                </c:pt>
                <c:pt idx="26336">
                  <c:v>0.46969859104690498</c:v>
                </c:pt>
                <c:pt idx="26337">
                  <c:v>0.469716425896201</c:v>
                </c:pt>
                <c:pt idx="26338">
                  <c:v>0.46973426074549601</c:v>
                </c:pt>
                <c:pt idx="26339">
                  <c:v>0.46975209559479197</c:v>
                </c:pt>
                <c:pt idx="26340">
                  <c:v>0.46976993044408699</c:v>
                </c:pt>
                <c:pt idx="26341">
                  <c:v>0.46978776529338301</c:v>
                </c:pt>
                <c:pt idx="26342">
                  <c:v>0.46980560014267803</c:v>
                </c:pt>
                <c:pt idx="26343">
                  <c:v>0.46982343499197399</c:v>
                </c:pt>
                <c:pt idx="26344">
                  <c:v>0.469841269841269</c:v>
                </c:pt>
                <c:pt idx="26345">
                  <c:v>0.46985910469056502</c:v>
                </c:pt>
                <c:pt idx="26346">
                  <c:v>0.46987693953985998</c:v>
                </c:pt>
                <c:pt idx="26347">
                  <c:v>0.469894774389156</c:v>
                </c:pt>
                <c:pt idx="26348">
                  <c:v>0.46991260923845102</c:v>
                </c:pt>
                <c:pt idx="26349">
                  <c:v>0.46993044408774698</c:v>
                </c:pt>
                <c:pt idx="26350">
                  <c:v>0.469948278937043</c:v>
                </c:pt>
                <c:pt idx="26351">
                  <c:v>0.46996611378633801</c:v>
                </c:pt>
                <c:pt idx="26352">
                  <c:v>0.46998394863563397</c:v>
                </c:pt>
                <c:pt idx="26353">
                  <c:v>0.47000178348492899</c:v>
                </c:pt>
                <c:pt idx="26354">
                  <c:v>0.47001961833422501</c:v>
                </c:pt>
                <c:pt idx="26355">
                  <c:v>0.47003745318352003</c:v>
                </c:pt>
                <c:pt idx="26356">
                  <c:v>0.47005528803281599</c:v>
                </c:pt>
                <c:pt idx="26357">
                  <c:v>0.47007312288211101</c:v>
                </c:pt>
                <c:pt idx="26358">
                  <c:v>0.47009095773140702</c:v>
                </c:pt>
                <c:pt idx="26359">
                  <c:v>0.47010879258070198</c:v>
                </c:pt>
                <c:pt idx="26360">
                  <c:v>0.470126627429998</c:v>
                </c:pt>
                <c:pt idx="26361">
                  <c:v>0.47014446227929302</c:v>
                </c:pt>
                <c:pt idx="26362">
                  <c:v>0.47016229712858898</c:v>
                </c:pt>
                <c:pt idx="26363">
                  <c:v>0.470180131977884</c:v>
                </c:pt>
                <c:pt idx="26364">
                  <c:v>0.47019796682718001</c:v>
                </c:pt>
                <c:pt idx="26365">
                  <c:v>0.47021580167647498</c:v>
                </c:pt>
                <c:pt idx="26366">
                  <c:v>0.47023363652577099</c:v>
                </c:pt>
                <c:pt idx="26367">
                  <c:v>0.47025147137506601</c:v>
                </c:pt>
                <c:pt idx="26368">
                  <c:v>0.47026930622436203</c:v>
                </c:pt>
                <c:pt idx="26369">
                  <c:v>0.47028714107365699</c:v>
                </c:pt>
                <c:pt idx="26370">
                  <c:v>0.47030497592295301</c:v>
                </c:pt>
                <c:pt idx="26371">
                  <c:v>0.47032281077224802</c:v>
                </c:pt>
                <c:pt idx="26372">
                  <c:v>0.47034064562154398</c:v>
                </c:pt>
                <c:pt idx="26373">
                  <c:v>0.47035848047084</c:v>
                </c:pt>
                <c:pt idx="26374">
                  <c:v>0.47037631532013502</c:v>
                </c:pt>
                <c:pt idx="26375">
                  <c:v>0.47039415016943098</c:v>
                </c:pt>
                <c:pt idx="26376">
                  <c:v>0.470411985018726</c:v>
                </c:pt>
                <c:pt idx="26377">
                  <c:v>0.47042981986802201</c:v>
                </c:pt>
                <c:pt idx="26378">
                  <c:v>0.47044765471731698</c:v>
                </c:pt>
                <c:pt idx="26379">
                  <c:v>0.47046548956661299</c:v>
                </c:pt>
                <c:pt idx="26380">
                  <c:v>0.47048332441590801</c:v>
                </c:pt>
                <c:pt idx="26381">
                  <c:v>0.47050115926520403</c:v>
                </c:pt>
                <c:pt idx="26382">
                  <c:v>0.47051899411449899</c:v>
                </c:pt>
                <c:pt idx="26383">
                  <c:v>0.47053682896379501</c:v>
                </c:pt>
                <c:pt idx="26384">
                  <c:v>0.47055466381309002</c:v>
                </c:pt>
                <c:pt idx="26385">
                  <c:v>0.47057249866238599</c:v>
                </c:pt>
                <c:pt idx="26386">
                  <c:v>0.470590333511681</c:v>
                </c:pt>
                <c:pt idx="26387">
                  <c:v>0.47060816836097702</c:v>
                </c:pt>
                <c:pt idx="26388">
                  <c:v>0.47062600321027198</c:v>
                </c:pt>
                <c:pt idx="26389">
                  <c:v>0.470643838059568</c:v>
                </c:pt>
                <c:pt idx="26390">
                  <c:v>0.47066167290886302</c:v>
                </c:pt>
                <c:pt idx="26391">
                  <c:v>0.47067950775815898</c:v>
                </c:pt>
                <c:pt idx="26392">
                  <c:v>0.47069734260745499</c:v>
                </c:pt>
                <c:pt idx="26393">
                  <c:v>0.47071517745675001</c:v>
                </c:pt>
                <c:pt idx="26394">
                  <c:v>0.47073301230604597</c:v>
                </c:pt>
                <c:pt idx="26395">
                  <c:v>0.47075084715534099</c:v>
                </c:pt>
                <c:pt idx="26396">
                  <c:v>0.47076868200463701</c:v>
                </c:pt>
                <c:pt idx="26397">
                  <c:v>0.47078651685393202</c:v>
                </c:pt>
                <c:pt idx="26398">
                  <c:v>0.47080435170322799</c:v>
                </c:pt>
                <c:pt idx="26399">
                  <c:v>0.470822186552523</c:v>
                </c:pt>
                <c:pt idx="26400">
                  <c:v>0.47084002140181902</c:v>
                </c:pt>
                <c:pt idx="26401">
                  <c:v>0.47085785625111398</c:v>
                </c:pt>
                <c:pt idx="26402">
                  <c:v>0.47087569110041</c:v>
                </c:pt>
                <c:pt idx="26403">
                  <c:v>0.47089352594970502</c:v>
                </c:pt>
                <c:pt idx="26404">
                  <c:v>0.47091136079900098</c:v>
                </c:pt>
                <c:pt idx="26405">
                  <c:v>0.470929195648296</c:v>
                </c:pt>
                <c:pt idx="26406">
                  <c:v>0.47094703049759201</c:v>
                </c:pt>
                <c:pt idx="26407">
                  <c:v>0.47096486534688697</c:v>
                </c:pt>
                <c:pt idx="26408">
                  <c:v>0.47098270019618299</c:v>
                </c:pt>
                <c:pt idx="26409">
                  <c:v>0.47100053504547801</c:v>
                </c:pt>
                <c:pt idx="26410">
                  <c:v>0.47101836989477402</c:v>
                </c:pt>
                <c:pt idx="26411">
                  <c:v>0.47103620474406899</c:v>
                </c:pt>
                <c:pt idx="26412">
                  <c:v>0.471054039593365</c:v>
                </c:pt>
                <c:pt idx="26413">
                  <c:v>0.47107187444266002</c:v>
                </c:pt>
                <c:pt idx="26414">
                  <c:v>0.47108970929195598</c:v>
                </c:pt>
                <c:pt idx="26415">
                  <c:v>0.471107544141252</c:v>
                </c:pt>
                <c:pt idx="26416">
                  <c:v>0.47112537899054702</c:v>
                </c:pt>
                <c:pt idx="26417">
                  <c:v>0.47114321383984298</c:v>
                </c:pt>
                <c:pt idx="26418">
                  <c:v>0.471161048689138</c:v>
                </c:pt>
                <c:pt idx="26419">
                  <c:v>0.47117888353843401</c:v>
                </c:pt>
                <c:pt idx="26420">
                  <c:v>0.47119671838772897</c:v>
                </c:pt>
                <c:pt idx="26421">
                  <c:v>0.47121455323702499</c:v>
                </c:pt>
                <c:pt idx="26422">
                  <c:v>0.47123238808632001</c:v>
                </c:pt>
                <c:pt idx="26423">
                  <c:v>0.47125022293561603</c:v>
                </c:pt>
                <c:pt idx="26424">
                  <c:v>0.47126805778491099</c:v>
                </c:pt>
                <c:pt idx="26425">
                  <c:v>0.471285892634207</c:v>
                </c:pt>
                <c:pt idx="26426">
                  <c:v>0.47130372748350202</c:v>
                </c:pt>
                <c:pt idx="26427">
                  <c:v>0.47132156233279798</c:v>
                </c:pt>
                <c:pt idx="26428">
                  <c:v>0.471339397182093</c:v>
                </c:pt>
                <c:pt idx="26429">
                  <c:v>0.47135723203138902</c:v>
                </c:pt>
                <c:pt idx="26430">
                  <c:v>0.47137506688068398</c:v>
                </c:pt>
                <c:pt idx="26431">
                  <c:v>0.47139290172998</c:v>
                </c:pt>
                <c:pt idx="26432">
                  <c:v>0.47141073657927501</c:v>
                </c:pt>
                <c:pt idx="26433">
                  <c:v>0.47142857142857097</c:v>
                </c:pt>
                <c:pt idx="26434">
                  <c:v>0.47144640627786599</c:v>
                </c:pt>
                <c:pt idx="26435">
                  <c:v>0.47146424112716201</c:v>
                </c:pt>
                <c:pt idx="26436">
                  <c:v>0.47148207597645803</c:v>
                </c:pt>
                <c:pt idx="26437">
                  <c:v>0.47149991082575299</c:v>
                </c:pt>
                <c:pt idx="26438">
                  <c:v>0.471517745675049</c:v>
                </c:pt>
                <c:pt idx="26439">
                  <c:v>0.47153558052434402</c:v>
                </c:pt>
                <c:pt idx="26440">
                  <c:v>0.47155341537363998</c:v>
                </c:pt>
                <c:pt idx="26441">
                  <c:v>0.471571250222935</c:v>
                </c:pt>
                <c:pt idx="26442">
                  <c:v>0.47158908507223102</c:v>
                </c:pt>
                <c:pt idx="26443">
                  <c:v>0.47160691992152598</c:v>
                </c:pt>
                <c:pt idx="26444">
                  <c:v>0.471624754770822</c:v>
                </c:pt>
                <c:pt idx="26445">
                  <c:v>0.47164258962011701</c:v>
                </c:pt>
                <c:pt idx="26446">
                  <c:v>0.47166042446941298</c:v>
                </c:pt>
                <c:pt idx="26447">
                  <c:v>0.47167825931870799</c:v>
                </c:pt>
                <c:pt idx="26448">
                  <c:v>0.47169609416800401</c:v>
                </c:pt>
                <c:pt idx="26449">
                  <c:v>0.47171392901729903</c:v>
                </c:pt>
                <c:pt idx="26450">
                  <c:v>0.47173176386659499</c:v>
                </c:pt>
                <c:pt idx="26451">
                  <c:v>0.47174959871589001</c:v>
                </c:pt>
                <c:pt idx="26452">
                  <c:v>0.47176743356518602</c:v>
                </c:pt>
                <c:pt idx="26453">
                  <c:v>0.47178526841448098</c:v>
                </c:pt>
                <c:pt idx="26454">
                  <c:v>0.471803103263777</c:v>
                </c:pt>
                <c:pt idx="26455">
                  <c:v>0.47182093811307202</c:v>
                </c:pt>
                <c:pt idx="26456">
                  <c:v>0.47183877296236798</c:v>
                </c:pt>
                <c:pt idx="26457">
                  <c:v>0.471856607811664</c:v>
                </c:pt>
                <c:pt idx="26458">
                  <c:v>0.47187444266095901</c:v>
                </c:pt>
                <c:pt idx="26459">
                  <c:v>0.47189227751025498</c:v>
                </c:pt>
                <c:pt idx="26460">
                  <c:v>0.47191011235954999</c:v>
                </c:pt>
                <c:pt idx="26461">
                  <c:v>0.47192794720884601</c:v>
                </c:pt>
                <c:pt idx="26462">
                  <c:v>0.47194578205814097</c:v>
                </c:pt>
                <c:pt idx="26463">
                  <c:v>0.47196361690743699</c:v>
                </c:pt>
                <c:pt idx="26464">
                  <c:v>0.47198145175673201</c:v>
                </c:pt>
                <c:pt idx="26465">
                  <c:v>0.47199928660602802</c:v>
                </c:pt>
                <c:pt idx="26466">
                  <c:v>0.47201712145532299</c:v>
                </c:pt>
                <c:pt idx="26467">
                  <c:v>0.472034956304619</c:v>
                </c:pt>
                <c:pt idx="26468">
                  <c:v>0.47205279115391402</c:v>
                </c:pt>
                <c:pt idx="26469">
                  <c:v>0.47207062600320998</c:v>
                </c:pt>
                <c:pt idx="26470">
                  <c:v>0.472088460852505</c:v>
                </c:pt>
                <c:pt idx="26471">
                  <c:v>0.47210629570180102</c:v>
                </c:pt>
                <c:pt idx="26472">
                  <c:v>0.47212413055109598</c:v>
                </c:pt>
                <c:pt idx="26473">
                  <c:v>0.47214196540039199</c:v>
                </c:pt>
                <c:pt idx="26474">
                  <c:v>0.47215980024968701</c:v>
                </c:pt>
                <c:pt idx="26475">
                  <c:v>0.47217763509898297</c:v>
                </c:pt>
                <c:pt idx="26476">
                  <c:v>0.47219546994827799</c:v>
                </c:pt>
                <c:pt idx="26477">
                  <c:v>0.47221330479757401</c:v>
                </c:pt>
                <c:pt idx="26478">
                  <c:v>0.47223113964686902</c:v>
                </c:pt>
                <c:pt idx="26479">
                  <c:v>0.47224897449616499</c:v>
                </c:pt>
                <c:pt idx="26480">
                  <c:v>0.472266809345461</c:v>
                </c:pt>
                <c:pt idx="26481">
                  <c:v>0.47228464419475602</c:v>
                </c:pt>
                <c:pt idx="26482">
                  <c:v>0.47230247904405198</c:v>
                </c:pt>
                <c:pt idx="26483">
                  <c:v>0.472320313893347</c:v>
                </c:pt>
                <c:pt idx="26484">
                  <c:v>0.47233814874264302</c:v>
                </c:pt>
                <c:pt idx="26485">
                  <c:v>0.47235598359193798</c:v>
                </c:pt>
                <c:pt idx="26486">
                  <c:v>0.47237381844123399</c:v>
                </c:pt>
                <c:pt idx="26487">
                  <c:v>0.47239165329052901</c:v>
                </c:pt>
                <c:pt idx="26488">
                  <c:v>0.47240948813982497</c:v>
                </c:pt>
                <c:pt idx="26489">
                  <c:v>0.47242732298911999</c:v>
                </c:pt>
                <c:pt idx="26490">
                  <c:v>0.47244515783841601</c:v>
                </c:pt>
                <c:pt idx="26491">
                  <c:v>0.47246299268771103</c:v>
                </c:pt>
                <c:pt idx="26492">
                  <c:v>0.47248082753700699</c:v>
                </c:pt>
                <c:pt idx="26493">
                  <c:v>0.472498662386302</c:v>
                </c:pt>
                <c:pt idx="26494">
                  <c:v>0.47251649723559802</c:v>
                </c:pt>
                <c:pt idx="26495">
                  <c:v>0.47253433208489298</c:v>
                </c:pt>
                <c:pt idx="26496">
                  <c:v>0.472552166934189</c:v>
                </c:pt>
                <c:pt idx="26497">
                  <c:v>0.47257000178348402</c:v>
                </c:pt>
                <c:pt idx="26498">
                  <c:v>0.47258783663277998</c:v>
                </c:pt>
                <c:pt idx="26499">
                  <c:v>0.472605671482076</c:v>
                </c:pt>
                <c:pt idx="26500">
                  <c:v>0.47262350633137101</c:v>
                </c:pt>
                <c:pt idx="26501">
                  <c:v>0.47264134118066697</c:v>
                </c:pt>
                <c:pt idx="26502">
                  <c:v>0.47265917602996199</c:v>
                </c:pt>
                <c:pt idx="26503">
                  <c:v>0.47267701087925801</c:v>
                </c:pt>
                <c:pt idx="26504">
                  <c:v>0.47269484572855303</c:v>
                </c:pt>
                <c:pt idx="26505">
                  <c:v>0.47271268057784899</c:v>
                </c:pt>
                <c:pt idx="26506">
                  <c:v>0.472730515427144</c:v>
                </c:pt>
                <c:pt idx="26507">
                  <c:v>0.47274835027644002</c:v>
                </c:pt>
                <c:pt idx="26508">
                  <c:v>0.47276618512573498</c:v>
                </c:pt>
                <c:pt idx="26509">
                  <c:v>0.472784019975031</c:v>
                </c:pt>
                <c:pt idx="26510">
                  <c:v>0.47280185482432602</c:v>
                </c:pt>
                <c:pt idx="26511">
                  <c:v>0.47281968967362198</c:v>
                </c:pt>
                <c:pt idx="26512">
                  <c:v>0.472837524522917</c:v>
                </c:pt>
                <c:pt idx="26513">
                  <c:v>0.47285535937221301</c:v>
                </c:pt>
                <c:pt idx="26514">
                  <c:v>0.47287319422150798</c:v>
                </c:pt>
                <c:pt idx="26515">
                  <c:v>0.47289102907080399</c:v>
                </c:pt>
                <c:pt idx="26516">
                  <c:v>0.47290886392009901</c:v>
                </c:pt>
                <c:pt idx="26517">
                  <c:v>0.47292669876939503</c:v>
                </c:pt>
                <c:pt idx="26518">
                  <c:v>0.47294453361868999</c:v>
                </c:pt>
                <c:pt idx="26519">
                  <c:v>0.47296236846798601</c:v>
                </c:pt>
                <c:pt idx="26520">
                  <c:v>0.47298020331728102</c:v>
                </c:pt>
                <c:pt idx="26521">
                  <c:v>0.47299803816657698</c:v>
                </c:pt>
                <c:pt idx="26522">
                  <c:v>0.473015873015873</c:v>
                </c:pt>
                <c:pt idx="26523">
                  <c:v>0.47303370786516802</c:v>
                </c:pt>
                <c:pt idx="26524">
                  <c:v>0.47305154271446398</c:v>
                </c:pt>
                <c:pt idx="26525">
                  <c:v>0.473069377563759</c:v>
                </c:pt>
                <c:pt idx="26526">
                  <c:v>0.47308721241305501</c:v>
                </c:pt>
                <c:pt idx="26527">
                  <c:v>0.47310504726234998</c:v>
                </c:pt>
                <c:pt idx="26528">
                  <c:v>0.47312288211164599</c:v>
                </c:pt>
                <c:pt idx="26529">
                  <c:v>0.47314071696094101</c:v>
                </c:pt>
                <c:pt idx="26530">
                  <c:v>0.47315855181023703</c:v>
                </c:pt>
                <c:pt idx="26531">
                  <c:v>0.47317638665953199</c:v>
                </c:pt>
                <c:pt idx="26532">
                  <c:v>0.47319422150882801</c:v>
                </c:pt>
                <c:pt idx="26533">
                  <c:v>0.47321205635812302</c:v>
                </c:pt>
                <c:pt idx="26534">
                  <c:v>0.47322989120741898</c:v>
                </c:pt>
                <c:pt idx="26535">
                  <c:v>0.473247726056714</c:v>
                </c:pt>
                <c:pt idx="26536">
                  <c:v>0.47326556090601002</c:v>
                </c:pt>
                <c:pt idx="26537">
                  <c:v>0.47328339575530498</c:v>
                </c:pt>
                <c:pt idx="26538">
                  <c:v>0.473301230604601</c:v>
                </c:pt>
                <c:pt idx="26539">
                  <c:v>0.47331906545389602</c:v>
                </c:pt>
                <c:pt idx="26540">
                  <c:v>0.47333690030319198</c:v>
                </c:pt>
                <c:pt idx="26541">
                  <c:v>0.47335473515248699</c:v>
                </c:pt>
                <c:pt idx="26542">
                  <c:v>0.47337257000178301</c:v>
                </c:pt>
                <c:pt idx="26543">
                  <c:v>0.47339040485107903</c:v>
                </c:pt>
                <c:pt idx="26544">
                  <c:v>0.47340823970037399</c:v>
                </c:pt>
                <c:pt idx="26545">
                  <c:v>0.47342607454967001</c:v>
                </c:pt>
                <c:pt idx="26546">
                  <c:v>0.47344390939896502</c:v>
                </c:pt>
                <c:pt idx="26547">
                  <c:v>0.47346174424826099</c:v>
                </c:pt>
                <c:pt idx="26548">
                  <c:v>0.473479579097556</c:v>
                </c:pt>
                <c:pt idx="26549">
                  <c:v>0.47349741394685202</c:v>
                </c:pt>
                <c:pt idx="26550">
                  <c:v>0.47351524879614698</c:v>
                </c:pt>
                <c:pt idx="26551">
                  <c:v>0.473533083645443</c:v>
                </c:pt>
                <c:pt idx="26552">
                  <c:v>0.47355091849473802</c:v>
                </c:pt>
                <c:pt idx="26553">
                  <c:v>0.47356875334403398</c:v>
                </c:pt>
                <c:pt idx="26554">
                  <c:v>0.47358658819332899</c:v>
                </c:pt>
                <c:pt idx="26555">
                  <c:v>0.47360442304262501</c:v>
                </c:pt>
                <c:pt idx="26556">
                  <c:v>0.47362225789191997</c:v>
                </c:pt>
                <c:pt idx="26557">
                  <c:v>0.47364009274121599</c:v>
                </c:pt>
                <c:pt idx="26558">
                  <c:v>0.47365792759051101</c:v>
                </c:pt>
                <c:pt idx="26559">
                  <c:v>0.47367576243980702</c:v>
                </c:pt>
                <c:pt idx="26560">
                  <c:v>0.47369359728910199</c:v>
                </c:pt>
                <c:pt idx="26561">
                  <c:v>0.473711432138398</c:v>
                </c:pt>
                <c:pt idx="26562">
                  <c:v>0.47372926698769302</c:v>
                </c:pt>
                <c:pt idx="26563">
                  <c:v>0.47374710183698898</c:v>
                </c:pt>
                <c:pt idx="26564">
                  <c:v>0.473764936686285</c:v>
                </c:pt>
                <c:pt idx="26565">
                  <c:v>0.47378277153558002</c:v>
                </c:pt>
                <c:pt idx="26566">
                  <c:v>0.47380060638487598</c:v>
                </c:pt>
                <c:pt idx="26567">
                  <c:v>0.473818441234171</c:v>
                </c:pt>
                <c:pt idx="26568">
                  <c:v>0.47383627608346701</c:v>
                </c:pt>
                <c:pt idx="26569">
                  <c:v>0.47385411093276197</c:v>
                </c:pt>
                <c:pt idx="26570">
                  <c:v>0.47387194578205799</c:v>
                </c:pt>
                <c:pt idx="26571">
                  <c:v>0.47388978063135301</c:v>
                </c:pt>
                <c:pt idx="26572">
                  <c:v>0.47390761548064902</c:v>
                </c:pt>
                <c:pt idx="26573">
                  <c:v>0.47392545032994399</c:v>
                </c:pt>
                <c:pt idx="26574">
                  <c:v>0.47394328517924</c:v>
                </c:pt>
                <c:pt idx="26575">
                  <c:v>0.47396112002853502</c:v>
                </c:pt>
                <c:pt idx="26576">
                  <c:v>0.47397895487783098</c:v>
                </c:pt>
                <c:pt idx="26577">
                  <c:v>0.473996789727126</c:v>
                </c:pt>
                <c:pt idx="26578">
                  <c:v>0.47401462457642202</c:v>
                </c:pt>
                <c:pt idx="26579">
                  <c:v>0.47403245942571698</c:v>
                </c:pt>
                <c:pt idx="26580">
                  <c:v>0.474050294275013</c:v>
                </c:pt>
                <c:pt idx="26581">
                  <c:v>0.47406812912430801</c:v>
                </c:pt>
                <c:pt idx="26582">
                  <c:v>0.47408596397360397</c:v>
                </c:pt>
                <c:pt idx="26583">
                  <c:v>0.47410379882289899</c:v>
                </c:pt>
                <c:pt idx="26584">
                  <c:v>0.47412163367219501</c:v>
                </c:pt>
                <c:pt idx="26585">
                  <c:v>0.47413946852149003</c:v>
                </c:pt>
                <c:pt idx="26586">
                  <c:v>0.47415730337078599</c:v>
                </c:pt>
                <c:pt idx="26587">
                  <c:v>0.474175138220082</c:v>
                </c:pt>
                <c:pt idx="26588">
                  <c:v>0.47419297306937702</c:v>
                </c:pt>
                <c:pt idx="26589">
                  <c:v>0.47421080791867298</c:v>
                </c:pt>
                <c:pt idx="26590">
                  <c:v>0.474228642767968</c:v>
                </c:pt>
                <c:pt idx="26591">
                  <c:v>0.47424647761726402</c:v>
                </c:pt>
                <c:pt idx="26592">
                  <c:v>0.47426431246655898</c:v>
                </c:pt>
                <c:pt idx="26593">
                  <c:v>0.474282147315855</c:v>
                </c:pt>
                <c:pt idx="26594">
                  <c:v>0.47429998216515001</c:v>
                </c:pt>
                <c:pt idx="26595">
                  <c:v>0.47431781701444597</c:v>
                </c:pt>
                <c:pt idx="26596">
                  <c:v>0.47433565186374099</c:v>
                </c:pt>
                <c:pt idx="26597">
                  <c:v>0.47435348671303701</c:v>
                </c:pt>
                <c:pt idx="26598">
                  <c:v>0.47437132156233203</c:v>
                </c:pt>
                <c:pt idx="26599">
                  <c:v>0.47438915641162799</c:v>
                </c:pt>
                <c:pt idx="26600">
                  <c:v>0.47440699126092301</c:v>
                </c:pt>
                <c:pt idx="26601">
                  <c:v>0.47442482611021902</c:v>
                </c:pt>
                <c:pt idx="26602">
                  <c:v>0.47444266095951398</c:v>
                </c:pt>
                <c:pt idx="26603">
                  <c:v>0.47446049580881</c:v>
                </c:pt>
                <c:pt idx="26604">
                  <c:v>0.47447833065810502</c:v>
                </c:pt>
                <c:pt idx="26605">
                  <c:v>0.47449616550740098</c:v>
                </c:pt>
                <c:pt idx="26606">
                  <c:v>0.474514000356697</c:v>
                </c:pt>
                <c:pt idx="26607">
                  <c:v>0.47453183520599201</c:v>
                </c:pt>
                <c:pt idx="26608">
                  <c:v>0.47454967005528798</c:v>
                </c:pt>
                <c:pt idx="26609">
                  <c:v>0.47456750490458299</c:v>
                </c:pt>
                <c:pt idx="26610">
                  <c:v>0.47458533975387901</c:v>
                </c:pt>
                <c:pt idx="26611">
                  <c:v>0.47460317460317403</c:v>
                </c:pt>
                <c:pt idx="26612">
                  <c:v>0.47462100945246999</c:v>
                </c:pt>
                <c:pt idx="26613">
                  <c:v>0.47463884430176501</c:v>
                </c:pt>
                <c:pt idx="26614">
                  <c:v>0.47465667915106102</c:v>
                </c:pt>
                <c:pt idx="26615">
                  <c:v>0.47467451400035598</c:v>
                </c:pt>
                <c:pt idx="26616">
                  <c:v>0.474692348849652</c:v>
                </c:pt>
                <c:pt idx="26617">
                  <c:v>0.47471018369894702</c:v>
                </c:pt>
                <c:pt idx="26618">
                  <c:v>0.47472801854824298</c:v>
                </c:pt>
                <c:pt idx="26619">
                  <c:v>0.474745853397538</c:v>
                </c:pt>
                <c:pt idx="26620">
                  <c:v>0.47476368824683401</c:v>
                </c:pt>
                <c:pt idx="26621">
                  <c:v>0.47478152309612898</c:v>
                </c:pt>
                <c:pt idx="26622">
                  <c:v>0.47479935794542499</c:v>
                </c:pt>
                <c:pt idx="26623">
                  <c:v>0.47481719279472001</c:v>
                </c:pt>
                <c:pt idx="26624">
                  <c:v>0.47483502764401597</c:v>
                </c:pt>
                <c:pt idx="26625">
                  <c:v>0.47485286249331099</c:v>
                </c:pt>
                <c:pt idx="26626">
                  <c:v>0.47487069734260701</c:v>
                </c:pt>
                <c:pt idx="26627">
                  <c:v>0.47488853219190202</c:v>
                </c:pt>
                <c:pt idx="26628">
                  <c:v>0.47490636704119799</c:v>
                </c:pt>
                <c:pt idx="26629">
                  <c:v>0.474924201890494</c:v>
                </c:pt>
                <c:pt idx="26630">
                  <c:v>0.47494203673978902</c:v>
                </c:pt>
                <c:pt idx="26631">
                  <c:v>0.47495987158908498</c:v>
                </c:pt>
                <c:pt idx="26632">
                  <c:v>0.47497770643838</c:v>
                </c:pt>
                <c:pt idx="26633">
                  <c:v>0.47499554128767602</c:v>
                </c:pt>
                <c:pt idx="26634">
                  <c:v>0.47501337613697098</c:v>
                </c:pt>
                <c:pt idx="26635">
                  <c:v>0.47503121098626699</c:v>
                </c:pt>
                <c:pt idx="26636">
                  <c:v>0.47504904583556201</c:v>
                </c:pt>
                <c:pt idx="26637">
                  <c:v>0.47506688068485797</c:v>
                </c:pt>
                <c:pt idx="26638">
                  <c:v>0.47508471553415299</c:v>
                </c:pt>
                <c:pt idx="26639">
                  <c:v>0.47510255038344901</c:v>
                </c:pt>
                <c:pt idx="26640">
                  <c:v>0.47512038523274402</c:v>
                </c:pt>
                <c:pt idx="26641">
                  <c:v>0.47513822008203999</c:v>
                </c:pt>
                <c:pt idx="26642">
                  <c:v>0.475156054931335</c:v>
                </c:pt>
                <c:pt idx="26643">
                  <c:v>0.47517388978063102</c:v>
                </c:pt>
                <c:pt idx="26644">
                  <c:v>0.47519172462992598</c:v>
                </c:pt>
                <c:pt idx="26645">
                  <c:v>0.475209559479222</c:v>
                </c:pt>
                <c:pt idx="26646">
                  <c:v>0.47522739432851702</c:v>
                </c:pt>
                <c:pt idx="26647">
                  <c:v>0.47524522917781298</c:v>
                </c:pt>
                <c:pt idx="26648">
                  <c:v>0.47526306402710899</c:v>
                </c:pt>
                <c:pt idx="26649">
                  <c:v>0.47528089887640401</c:v>
                </c:pt>
                <c:pt idx="26650">
                  <c:v>0.47529873372569997</c:v>
                </c:pt>
                <c:pt idx="26651">
                  <c:v>0.47531656857499499</c:v>
                </c:pt>
                <c:pt idx="26652">
                  <c:v>0.47533440342429101</c:v>
                </c:pt>
                <c:pt idx="26653">
                  <c:v>0.47535223827358603</c:v>
                </c:pt>
                <c:pt idx="26654">
                  <c:v>0.47537007312288199</c:v>
                </c:pt>
                <c:pt idx="26655">
                  <c:v>0.475387907972177</c:v>
                </c:pt>
                <c:pt idx="26656">
                  <c:v>0.47540574282147302</c:v>
                </c:pt>
                <c:pt idx="26657">
                  <c:v>0.47542357767076798</c:v>
                </c:pt>
                <c:pt idx="26658">
                  <c:v>0.475441412520064</c:v>
                </c:pt>
                <c:pt idx="26659">
                  <c:v>0.47545924736935902</c:v>
                </c:pt>
                <c:pt idx="26660">
                  <c:v>0.47547708221865498</c:v>
                </c:pt>
                <c:pt idx="26661">
                  <c:v>0.47549491706795</c:v>
                </c:pt>
                <c:pt idx="26662">
                  <c:v>0.47551275191724601</c:v>
                </c:pt>
                <c:pt idx="26663">
                  <c:v>0.47553058676654097</c:v>
                </c:pt>
                <c:pt idx="26664">
                  <c:v>0.47554842161583699</c:v>
                </c:pt>
                <c:pt idx="26665">
                  <c:v>0.47556625646513201</c:v>
                </c:pt>
                <c:pt idx="26666">
                  <c:v>0.47558409131442803</c:v>
                </c:pt>
                <c:pt idx="26667">
                  <c:v>0.47560192616372299</c:v>
                </c:pt>
                <c:pt idx="26668">
                  <c:v>0.475619761013019</c:v>
                </c:pt>
                <c:pt idx="26669">
                  <c:v>0.47563759586231402</c:v>
                </c:pt>
                <c:pt idx="26670">
                  <c:v>0.47565543071160998</c:v>
                </c:pt>
                <c:pt idx="26671">
                  <c:v>0.475673265560906</c:v>
                </c:pt>
                <c:pt idx="26672">
                  <c:v>0.47569110041020102</c:v>
                </c:pt>
                <c:pt idx="26673">
                  <c:v>0.47570893525949698</c:v>
                </c:pt>
                <c:pt idx="26674">
                  <c:v>0.475726770108792</c:v>
                </c:pt>
                <c:pt idx="26675">
                  <c:v>0.47574460495808801</c:v>
                </c:pt>
                <c:pt idx="26676">
                  <c:v>0.47576243980738298</c:v>
                </c:pt>
                <c:pt idx="26677">
                  <c:v>0.47578027465667899</c:v>
                </c:pt>
                <c:pt idx="26678">
                  <c:v>0.47579810950597401</c:v>
                </c:pt>
                <c:pt idx="26679">
                  <c:v>0.47581594435527003</c:v>
                </c:pt>
                <c:pt idx="26680">
                  <c:v>0.47583377920456499</c:v>
                </c:pt>
                <c:pt idx="26681">
                  <c:v>0.47585161405386101</c:v>
                </c:pt>
                <c:pt idx="26682">
                  <c:v>0.47586944890315602</c:v>
                </c:pt>
                <c:pt idx="26683">
                  <c:v>0.47588728375245198</c:v>
                </c:pt>
                <c:pt idx="26684">
                  <c:v>0.475905118601747</c:v>
                </c:pt>
                <c:pt idx="26685">
                  <c:v>0.47592295345104302</c:v>
                </c:pt>
                <c:pt idx="26686">
                  <c:v>0.47594078830033798</c:v>
                </c:pt>
                <c:pt idx="26687">
                  <c:v>0.475958623149634</c:v>
                </c:pt>
                <c:pt idx="26688">
                  <c:v>0.47597645799892901</c:v>
                </c:pt>
                <c:pt idx="26689">
                  <c:v>0.47599429284822498</c:v>
                </c:pt>
                <c:pt idx="26690">
                  <c:v>0.47601212769751999</c:v>
                </c:pt>
                <c:pt idx="26691">
                  <c:v>0.47602996254681601</c:v>
                </c:pt>
                <c:pt idx="26692">
                  <c:v>0.47604779739611203</c:v>
                </c:pt>
                <c:pt idx="26693">
                  <c:v>0.47606563224540699</c:v>
                </c:pt>
                <c:pt idx="26694">
                  <c:v>0.47608346709470301</c:v>
                </c:pt>
                <c:pt idx="26695">
                  <c:v>0.47610130194399802</c:v>
                </c:pt>
                <c:pt idx="26696">
                  <c:v>0.47611913679329398</c:v>
                </c:pt>
                <c:pt idx="26697">
                  <c:v>0.476136971642589</c:v>
                </c:pt>
                <c:pt idx="26698">
                  <c:v>0.47615480649188502</c:v>
                </c:pt>
                <c:pt idx="26699">
                  <c:v>0.47617264134117998</c:v>
                </c:pt>
                <c:pt idx="26700">
                  <c:v>0.476190476190476</c:v>
                </c:pt>
                <c:pt idx="26701">
                  <c:v>0.47620831103977102</c:v>
                </c:pt>
                <c:pt idx="26702">
                  <c:v>0.47622614588906698</c:v>
                </c:pt>
                <c:pt idx="26703">
                  <c:v>0.47624398073836199</c:v>
                </c:pt>
                <c:pt idx="26704">
                  <c:v>0.47626181558765801</c:v>
                </c:pt>
                <c:pt idx="26705">
                  <c:v>0.47627965043695297</c:v>
                </c:pt>
                <c:pt idx="26706">
                  <c:v>0.47629748528624899</c:v>
                </c:pt>
                <c:pt idx="26707">
                  <c:v>0.47631532013554401</c:v>
                </c:pt>
                <c:pt idx="26708">
                  <c:v>0.47633315498484002</c:v>
                </c:pt>
                <c:pt idx="26709">
                  <c:v>0.47635098983413499</c:v>
                </c:pt>
                <c:pt idx="26710">
                  <c:v>0.476368824683431</c:v>
                </c:pt>
                <c:pt idx="26711">
                  <c:v>0.47638665953272602</c:v>
                </c:pt>
                <c:pt idx="26712">
                  <c:v>0.47640449438202198</c:v>
                </c:pt>
                <c:pt idx="26713">
                  <c:v>0.476422329231318</c:v>
                </c:pt>
                <c:pt idx="26714">
                  <c:v>0.47644016408061302</c:v>
                </c:pt>
                <c:pt idx="26715">
                  <c:v>0.47645799892990898</c:v>
                </c:pt>
                <c:pt idx="26716">
                  <c:v>0.47647583377920399</c:v>
                </c:pt>
                <c:pt idx="26717">
                  <c:v>0.47649366862850001</c:v>
                </c:pt>
                <c:pt idx="26718">
                  <c:v>0.47651150347779497</c:v>
                </c:pt>
                <c:pt idx="26719">
                  <c:v>0.47652933832709099</c:v>
                </c:pt>
                <c:pt idx="26720">
                  <c:v>0.47654717317638601</c:v>
                </c:pt>
                <c:pt idx="26721">
                  <c:v>0.47656500802568202</c:v>
                </c:pt>
                <c:pt idx="26722">
                  <c:v>0.47658284287497699</c:v>
                </c:pt>
                <c:pt idx="26723">
                  <c:v>0.476600677724273</c:v>
                </c:pt>
                <c:pt idx="26724">
                  <c:v>0.47661851257356802</c:v>
                </c:pt>
                <c:pt idx="26725">
                  <c:v>0.47663634742286398</c:v>
                </c:pt>
                <c:pt idx="26726">
                  <c:v>0.476654182272159</c:v>
                </c:pt>
                <c:pt idx="26727">
                  <c:v>0.47667201712145502</c:v>
                </c:pt>
                <c:pt idx="26728">
                  <c:v>0.47668985197074998</c:v>
                </c:pt>
                <c:pt idx="26729">
                  <c:v>0.47670768682004599</c:v>
                </c:pt>
                <c:pt idx="26730">
                  <c:v>0.47672552166934101</c:v>
                </c:pt>
                <c:pt idx="26731">
                  <c:v>0.47674335651863697</c:v>
                </c:pt>
                <c:pt idx="26732">
                  <c:v>0.47676119136793199</c:v>
                </c:pt>
                <c:pt idx="26733">
                  <c:v>0.47677902621722801</c:v>
                </c:pt>
                <c:pt idx="26734">
                  <c:v>0.47679686106652303</c:v>
                </c:pt>
                <c:pt idx="26735">
                  <c:v>0.47681469591581899</c:v>
                </c:pt>
                <c:pt idx="26736">
                  <c:v>0.476832530765115</c:v>
                </c:pt>
                <c:pt idx="26737">
                  <c:v>0.47685036561441002</c:v>
                </c:pt>
                <c:pt idx="26738">
                  <c:v>0.47686820046370598</c:v>
                </c:pt>
                <c:pt idx="26739">
                  <c:v>0.476886035313001</c:v>
                </c:pt>
                <c:pt idx="26740">
                  <c:v>0.47690387016229702</c:v>
                </c:pt>
                <c:pt idx="26741">
                  <c:v>0.47692170501159198</c:v>
                </c:pt>
                <c:pt idx="26742">
                  <c:v>0.476939539860888</c:v>
                </c:pt>
                <c:pt idx="26743">
                  <c:v>0.47695737471018301</c:v>
                </c:pt>
                <c:pt idx="26744">
                  <c:v>0.47697520955947897</c:v>
                </c:pt>
                <c:pt idx="26745">
                  <c:v>0.47699304440877399</c:v>
                </c:pt>
                <c:pt idx="26746">
                  <c:v>0.47701087925807001</c:v>
                </c:pt>
                <c:pt idx="26747">
                  <c:v>0.47702871410736503</c:v>
                </c:pt>
                <c:pt idx="26748">
                  <c:v>0.47704654895666099</c:v>
                </c:pt>
                <c:pt idx="26749">
                  <c:v>0.477064383805956</c:v>
                </c:pt>
                <c:pt idx="26750">
                  <c:v>0.47708221865525202</c:v>
                </c:pt>
                <c:pt idx="26751">
                  <c:v>0.47710005350454698</c:v>
                </c:pt>
                <c:pt idx="26752">
                  <c:v>0.477117888353843</c:v>
                </c:pt>
                <c:pt idx="26753">
                  <c:v>0.47713572320313802</c:v>
                </c:pt>
                <c:pt idx="26754">
                  <c:v>0.47715355805243398</c:v>
                </c:pt>
                <c:pt idx="26755">
                  <c:v>0.47717139290173</c:v>
                </c:pt>
                <c:pt idx="26756">
                  <c:v>0.47718922775102501</c:v>
                </c:pt>
                <c:pt idx="26757">
                  <c:v>0.47720706260032097</c:v>
                </c:pt>
                <c:pt idx="26758">
                  <c:v>0.47722489744961599</c:v>
                </c:pt>
                <c:pt idx="26759">
                  <c:v>0.47724273229891201</c:v>
                </c:pt>
                <c:pt idx="26760">
                  <c:v>0.47726056714820703</c:v>
                </c:pt>
                <c:pt idx="26761">
                  <c:v>0.47727840199750299</c:v>
                </c:pt>
                <c:pt idx="26762">
                  <c:v>0.47729623684679801</c:v>
                </c:pt>
                <c:pt idx="26763">
                  <c:v>0.47731407169609402</c:v>
                </c:pt>
                <c:pt idx="26764">
                  <c:v>0.47733190654538898</c:v>
                </c:pt>
                <c:pt idx="26765">
                  <c:v>0.477349741394685</c:v>
                </c:pt>
                <c:pt idx="26766">
                  <c:v>0.47736757624398002</c:v>
                </c:pt>
                <c:pt idx="26767">
                  <c:v>0.47738541109327598</c:v>
                </c:pt>
                <c:pt idx="26768">
                  <c:v>0.477403245942571</c:v>
                </c:pt>
                <c:pt idx="26769">
                  <c:v>0.47742108079186701</c:v>
                </c:pt>
                <c:pt idx="26770">
                  <c:v>0.47743891564116198</c:v>
                </c:pt>
                <c:pt idx="26771">
                  <c:v>0.47745675049045799</c:v>
                </c:pt>
                <c:pt idx="26772">
                  <c:v>0.47747458533975301</c:v>
                </c:pt>
                <c:pt idx="26773">
                  <c:v>0.47749242018904903</c:v>
                </c:pt>
                <c:pt idx="26774">
                  <c:v>0.47751025503834399</c:v>
                </c:pt>
                <c:pt idx="26775">
                  <c:v>0.47752808988764001</c:v>
                </c:pt>
                <c:pt idx="26776">
                  <c:v>0.47754592473693502</c:v>
                </c:pt>
                <c:pt idx="26777">
                  <c:v>0.47756375958623098</c:v>
                </c:pt>
                <c:pt idx="26778">
                  <c:v>0.477581594435527</c:v>
                </c:pt>
                <c:pt idx="26779">
                  <c:v>0.47759942928482202</c:v>
                </c:pt>
                <c:pt idx="26780">
                  <c:v>0.47761726413411798</c:v>
                </c:pt>
                <c:pt idx="26781">
                  <c:v>0.477635098983413</c:v>
                </c:pt>
                <c:pt idx="26782">
                  <c:v>0.47765293383270901</c:v>
                </c:pt>
                <c:pt idx="26783">
                  <c:v>0.47767076868200398</c:v>
                </c:pt>
                <c:pt idx="26784">
                  <c:v>0.47768860353129999</c:v>
                </c:pt>
                <c:pt idx="26785">
                  <c:v>0.47770643838059501</c:v>
                </c:pt>
                <c:pt idx="26786">
                  <c:v>0.47772427322989103</c:v>
                </c:pt>
                <c:pt idx="26787">
                  <c:v>0.47774210807918599</c:v>
                </c:pt>
                <c:pt idx="26788">
                  <c:v>0.47775994292848201</c:v>
                </c:pt>
                <c:pt idx="26789">
                  <c:v>0.47777777777777702</c:v>
                </c:pt>
                <c:pt idx="26790">
                  <c:v>0.47779561262707299</c:v>
                </c:pt>
                <c:pt idx="26791">
                  <c:v>0.477813447476368</c:v>
                </c:pt>
                <c:pt idx="26792">
                  <c:v>0.47783128232566402</c:v>
                </c:pt>
                <c:pt idx="26793">
                  <c:v>0.47784911717495898</c:v>
                </c:pt>
                <c:pt idx="26794">
                  <c:v>0.477866952024255</c:v>
                </c:pt>
                <c:pt idx="26795">
                  <c:v>0.47788478687355002</c:v>
                </c:pt>
                <c:pt idx="26796">
                  <c:v>0.47790262172284598</c:v>
                </c:pt>
                <c:pt idx="26797">
                  <c:v>0.47792045657214099</c:v>
                </c:pt>
                <c:pt idx="26798">
                  <c:v>0.47793829142143701</c:v>
                </c:pt>
                <c:pt idx="26799">
                  <c:v>0.47795612627073297</c:v>
                </c:pt>
                <c:pt idx="26800">
                  <c:v>0.47797396112002799</c:v>
                </c:pt>
                <c:pt idx="26801">
                  <c:v>0.47799179596932401</c:v>
                </c:pt>
                <c:pt idx="26802">
                  <c:v>0.47800963081861902</c:v>
                </c:pt>
                <c:pt idx="26803">
                  <c:v>0.47802746566791499</c:v>
                </c:pt>
                <c:pt idx="26804">
                  <c:v>0.47804530051721</c:v>
                </c:pt>
                <c:pt idx="26805">
                  <c:v>0.47806313536650602</c:v>
                </c:pt>
                <c:pt idx="26806">
                  <c:v>0.47808097021580098</c:v>
                </c:pt>
                <c:pt idx="26807">
                  <c:v>0.478098805065097</c:v>
                </c:pt>
                <c:pt idx="26808">
                  <c:v>0.47811663991439202</c:v>
                </c:pt>
                <c:pt idx="26809">
                  <c:v>0.47813447476368798</c:v>
                </c:pt>
                <c:pt idx="26810">
                  <c:v>0.478152309612983</c:v>
                </c:pt>
                <c:pt idx="26811">
                  <c:v>0.47817014446227901</c:v>
                </c:pt>
                <c:pt idx="26812">
                  <c:v>0.47818797931157397</c:v>
                </c:pt>
                <c:pt idx="26813">
                  <c:v>0.47820581416086999</c:v>
                </c:pt>
                <c:pt idx="26814">
                  <c:v>0.47822364901016501</c:v>
                </c:pt>
                <c:pt idx="26815">
                  <c:v>0.47824148385946103</c:v>
                </c:pt>
                <c:pt idx="26816">
                  <c:v>0.47825931870875599</c:v>
                </c:pt>
                <c:pt idx="26817">
                  <c:v>0.478277153558052</c:v>
                </c:pt>
                <c:pt idx="26818">
                  <c:v>0.47829498840734702</c:v>
                </c:pt>
                <c:pt idx="26819">
                  <c:v>0.47831282325664298</c:v>
                </c:pt>
                <c:pt idx="26820">
                  <c:v>0.478330658105939</c:v>
                </c:pt>
                <c:pt idx="26821">
                  <c:v>0.47834849295523402</c:v>
                </c:pt>
                <c:pt idx="26822">
                  <c:v>0.47836632780452998</c:v>
                </c:pt>
                <c:pt idx="26823">
                  <c:v>0.478384162653825</c:v>
                </c:pt>
                <c:pt idx="26824">
                  <c:v>0.47840199750312101</c:v>
                </c:pt>
                <c:pt idx="26825">
                  <c:v>0.47841983235241597</c:v>
                </c:pt>
                <c:pt idx="26826">
                  <c:v>0.47843766720171199</c:v>
                </c:pt>
                <c:pt idx="26827">
                  <c:v>0.47845550205100701</c:v>
                </c:pt>
                <c:pt idx="26828">
                  <c:v>0.47847333690030303</c:v>
                </c:pt>
                <c:pt idx="26829">
                  <c:v>0.47849117174959799</c:v>
                </c:pt>
                <c:pt idx="26830">
                  <c:v>0.478509006598894</c:v>
                </c:pt>
                <c:pt idx="26831">
                  <c:v>0.47852684144818902</c:v>
                </c:pt>
                <c:pt idx="26832">
                  <c:v>0.47854467629748498</c:v>
                </c:pt>
                <c:pt idx="26833">
                  <c:v>0.47856251114678</c:v>
                </c:pt>
                <c:pt idx="26834">
                  <c:v>0.47858034599607602</c:v>
                </c:pt>
                <c:pt idx="26835">
                  <c:v>0.47859818084537098</c:v>
                </c:pt>
                <c:pt idx="26836">
                  <c:v>0.478616015694667</c:v>
                </c:pt>
                <c:pt idx="26837">
                  <c:v>0.47863385054396201</c:v>
                </c:pt>
                <c:pt idx="26838">
                  <c:v>0.47865168539325798</c:v>
                </c:pt>
                <c:pt idx="26839">
                  <c:v>0.47866952024255299</c:v>
                </c:pt>
                <c:pt idx="26840">
                  <c:v>0.47868735509184901</c:v>
                </c:pt>
                <c:pt idx="26841">
                  <c:v>0.47870518994114403</c:v>
                </c:pt>
                <c:pt idx="26842">
                  <c:v>0.47872302479043999</c:v>
                </c:pt>
                <c:pt idx="26843">
                  <c:v>0.478740859639736</c:v>
                </c:pt>
                <c:pt idx="26844">
                  <c:v>0.47875869448903102</c:v>
                </c:pt>
                <c:pt idx="26845">
                  <c:v>0.47877652933832698</c:v>
                </c:pt>
                <c:pt idx="26846">
                  <c:v>0.478794364187622</c:v>
                </c:pt>
                <c:pt idx="26847">
                  <c:v>0.47881219903691802</c:v>
                </c:pt>
                <c:pt idx="26848">
                  <c:v>0.47883003388621298</c:v>
                </c:pt>
                <c:pt idx="26849">
                  <c:v>0.478847868735509</c:v>
                </c:pt>
                <c:pt idx="26850">
                  <c:v>0.47886570358480401</c:v>
                </c:pt>
                <c:pt idx="26851">
                  <c:v>0.47888353843409998</c:v>
                </c:pt>
                <c:pt idx="26852">
                  <c:v>0.47890137328339499</c:v>
                </c:pt>
                <c:pt idx="26853">
                  <c:v>0.47891920813269101</c:v>
                </c:pt>
                <c:pt idx="26854">
                  <c:v>0.47893704298198603</c:v>
                </c:pt>
                <c:pt idx="26855">
                  <c:v>0.47895487783128199</c:v>
                </c:pt>
                <c:pt idx="26856">
                  <c:v>0.47897271268057701</c:v>
                </c:pt>
                <c:pt idx="26857">
                  <c:v>0.47899054752987302</c:v>
                </c:pt>
                <c:pt idx="26858">
                  <c:v>0.47900838237916799</c:v>
                </c:pt>
                <c:pt idx="26859">
                  <c:v>0.479026217228464</c:v>
                </c:pt>
                <c:pt idx="26860">
                  <c:v>0.47904405207775902</c:v>
                </c:pt>
                <c:pt idx="26861">
                  <c:v>0.47906188692705498</c:v>
                </c:pt>
                <c:pt idx="26862">
                  <c:v>0.479079721776351</c:v>
                </c:pt>
                <c:pt idx="26863">
                  <c:v>0.47909755662564601</c:v>
                </c:pt>
                <c:pt idx="26864">
                  <c:v>0.47911539147494198</c:v>
                </c:pt>
                <c:pt idx="26865">
                  <c:v>0.47913322632423699</c:v>
                </c:pt>
                <c:pt idx="26866">
                  <c:v>0.47915106117353301</c:v>
                </c:pt>
                <c:pt idx="26867">
                  <c:v>0.47916889602282797</c:v>
                </c:pt>
                <c:pt idx="26868">
                  <c:v>0.47918673087212399</c:v>
                </c:pt>
                <c:pt idx="26869">
                  <c:v>0.47920456572141901</c:v>
                </c:pt>
                <c:pt idx="26870">
                  <c:v>0.47922240057071502</c:v>
                </c:pt>
                <c:pt idx="26871">
                  <c:v>0.47924023542000999</c:v>
                </c:pt>
                <c:pt idx="26872">
                  <c:v>0.479258070269306</c:v>
                </c:pt>
                <c:pt idx="26873">
                  <c:v>0.47927590511860102</c:v>
                </c:pt>
                <c:pt idx="26874">
                  <c:v>0.47929373996789698</c:v>
                </c:pt>
                <c:pt idx="26875">
                  <c:v>0.479311574817192</c:v>
                </c:pt>
                <c:pt idx="26876">
                  <c:v>0.47932940966648802</c:v>
                </c:pt>
                <c:pt idx="26877">
                  <c:v>0.47934724451578298</c:v>
                </c:pt>
                <c:pt idx="26878">
                  <c:v>0.47936507936507899</c:v>
                </c:pt>
                <c:pt idx="26879">
                  <c:v>0.47938291421437401</c:v>
                </c:pt>
                <c:pt idx="26880">
                  <c:v>0.47940074906366997</c:v>
                </c:pt>
                <c:pt idx="26881">
                  <c:v>0.47941858391296499</c:v>
                </c:pt>
                <c:pt idx="26882">
                  <c:v>0.47943641876226101</c:v>
                </c:pt>
                <c:pt idx="26883">
                  <c:v>0.47945425361155602</c:v>
                </c:pt>
                <c:pt idx="26884">
                  <c:v>0.47947208846085199</c:v>
                </c:pt>
                <c:pt idx="26885">
                  <c:v>0.479489923310148</c:v>
                </c:pt>
                <c:pt idx="26886">
                  <c:v>0.47950775815944302</c:v>
                </c:pt>
                <c:pt idx="26887">
                  <c:v>0.47952559300873898</c:v>
                </c:pt>
                <c:pt idx="26888">
                  <c:v>0.479543427858034</c:v>
                </c:pt>
                <c:pt idx="26889">
                  <c:v>0.47956126270733002</c:v>
                </c:pt>
                <c:pt idx="26890">
                  <c:v>0.47957909755662498</c:v>
                </c:pt>
                <c:pt idx="26891">
                  <c:v>0.47959693240592099</c:v>
                </c:pt>
                <c:pt idx="26892">
                  <c:v>0.47961476725521601</c:v>
                </c:pt>
                <c:pt idx="26893">
                  <c:v>0.47963260210451197</c:v>
                </c:pt>
                <c:pt idx="26894">
                  <c:v>0.47965043695380699</c:v>
                </c:pt>
                <c:pt idx="26895">
                  <c:v>0.47966827180310301</c:v>
                </c:pt>
                <c:pt idx="26896">
                  <c:v>0.47968610665239803</c:v>
                </c:pt>
                <c:pt idx="26897">
                  <c:v>0.47970394150169399</c:v>
                </c:pt>
                <c:pt idx="26898">
                  <c:v>0.479721776350989</c:v>
                </c:pt>
                <c:pt idx="26899">
                  <c:v>0.47973961120028502</c:v>
                </c:pt>
                <c:pt idx="26900">
                  <c:v>0.47975744604957998</c:v>
                </c:pt>
                <c:pt idx="26901">
                  <c:v>0.479775280898876</c:v>
                </c:pt>
                <c:pt idx="26902">
                  <c:v>0.47979311574817102</c:v>
                </c:pt>
                <c:pt idx="26903">
                  <c:v>0.47981095059746698</c:v>
                </c:pt>
                <c:pt idx="26904">
                  <c:v>0.479828785446763</c:v>
                </c:pt>
                <c:pt idx="26905">
                  <c:v>0.47984662029605801</c:v>
                </c:pt>
                <c:pt idx="26906">
                  <c:v>0.47986445514535397</c:v>
                </c:pt>
                <c:pt idx="26907">
                  <c:v>0.47988228999464899</c:v>
                </c:pt>
                <c:pt idx="26908">
                  <c:v>0.47990012484394501</c:v>
                </c:pt>
                <c:pt idx="26909">
                  <c:v>0.47991795969324003</c:v>
                </c:pt>
                <c:pt idx="26910">
                  <c:v>0.47993579454253599</c:v>
                </c:pt>
                <c:pt idx="26911">
                  <c:v>0.479953629391831</c:v>
                </c:pt>
                <c:pt idx="26912">
                  <c:v>0.47997146424112702</c:v>
                </c:pt>
                <c:pt idx="26913">
                  <c:v>0.47998929909042198</c:v>
                </c:pt>
                <c:pt idx="26914">
                  <c:v>0.480007133939718</c:v>
                </c:pt>
                <c:pt idx="26915">
                  <c:v>0.48002496878901302</c:v>
                </c:pt>
                <c:pt idx="26916">
                  <c:v>0.48004280363830898</c:v>
                </c:pt>
                <c:pt idx="26917">
                  <c:v>0.480060638487604</c:v>
                </c:pt>
                <c:pt idx="26918">
                  <c:v>0.48007847333690001</c:v>
                </c:pt>
                <c:pt idx="26919">
                  <c:v>0.48009630818619498</c:v>
                </c:pt>
                <c:pt idx="26920">
                  <c:v>0.48011414303549099</c:v>
                </c:pt>
                <c:pt idx="26921">
                  <c:v>0.48013197788478601</c:v>
                </c:pt>
                <c:pt idx="26922">
                  <c:v>0.48014981273408203</c:v>
                </c:pt>
                <c:pt idx="26923">
                  <c:v>0.48016764758337699</c:v>
                </c:pt>
                <c:pt idx="26924">
                  <c:v>0.48018548243267301</c:v>
                </c:pt>
                <c:pt idx="26925">
                  <c:v>0.48020331728196802</c:v>
                </c:pt>
                <c:pt idx="26926">
                  <c:v>0.48022115213126398</c:v>
                </c:pt>
                <c:pt idx="26927">
                  <c:v>0.48023898698056</c:v>
                </c:pt>
                <c:pt idx="26928">
                  <c:v>0.48025682182985502</c:v>
                </c:pt>
                <c:pt idx="26929">
                  <c:v>0.48027465667915098</c:v>
                </c:pt>
                <c:pt idx="26930">
                  <c:v>0.480292491528446</c:v>
                </c:pt>
                <c:pt idx="26931">
                  <c:v>0.48031032637774201</c:v>
                </c:pt>
                <c:pt idx="26932">
                  <c:v>0.48032816122703698</c:v>
                </c:pt>
                <c:pt idx="26933">
                  <c:v>0.48034599607633299</c:v>
                </c:pt>
                <c:pt idx="26934">
                  <c:v>0.48036383092562801</c:v>
                </c:pt>
                <c:pt idx="26935">
                  <c:v>0.48038166577492403</c:v>
                </c:pt>
                <c:pt idx="26936">
                  <c:v>0.48039950062421899</c:v>
                </c:pt>
                <c:pt idx="26937">
                  <c:v>0.48041733547351501</c:v>
                </c:pt>
                <c:pt idx="26938">
                  <c:v>0.48043517032281002</c:v>
                </c:pt>
                <c:pt idx="26939">
                  <c:v>0.48045300517210598</c:v>
                </c:pt>
                <c:pt idx="26940">
                  <c:v>0.480470840021401</c:v>
                </c:pt>
                <c:pt idx="26941">
                  <c:v>0.48048867487069702</c:v>
                </c:pt>
                <c:pt idx="26942">
                  <c:v>0.48050650971999198</c:v>
                </c:pt>
                <c:pt idx="26943">
                  <c:v>0.480524344569288</c:v>
                </c:pt>
                <c:pt idx="26944">
                  <c:v>0.48054217941858302</c:v>
                </c:pt>
                <c:pt idx="26945">
                  <c:v>0.48056001426787898</c:v>
                </c:pt>
                <c:pt idx="26946">
                  <c:v>0.48057784911717399</c:v>
                </c:pt>
                <c:pt idx="26947">
                  <c:v>0.48059568396647001</c:v>
                </c:pt>
                <c:pt idx="26948">
                  <c:v>0.48061351881576603</c:v>
                </c:pt>
                <c:pt idx="26949">
                  <c:v>0.48063135366506099</c:v>
                </c:pt>
                <c:pt idx="26950">
                  <c:v>0.48064918851435701</c:v>
                </c:pt>
                <c:pt idx="26951">
                  <c:v>0.48066702336365202</c:v>
                </c:pt>
                <c:pt idx="26952">
                  <c:v>0.48068485821294799</c:v>
                </c:pt>
                <c:pt idx="26953">
                  <c:v>0.480702693062243</c:v>
                </c:pt>
                <c:pt idx="26954">
                  <c:v>0.48072052791153902</c:v>
                </c:pt>
                <c:pt idx="26955">
                  <c:v>0.48073836276083398</c:v>
                </c:pt>
                <c:pt idx="26956">
                  <c:v>0.48075619761013</c:v>
                </c:pt>
                <c:pt idx="26957">
                  <c:v>0.48077403245942502</c:v>
                </c:pt>
                <c:pt idx="26958">
                  <c:v>0.48079186730872098</c:v>
                </c:pt>
                <c:pt idx="26959">
                  <c:v>0.48080970215801599</c:v>
                </c:pt>
                <c:pt idx="26960">
                  <c:v>0.48082753700731201</c:v>
                </c:pt>
                <c:pt idx="26961">
                  <c:v>0.48084537185660697</c:v>
                </c:pt>
                <c:pt idx="26962">
                  <c:v>0.48086320670590299</c:v>
                </c:pt>
                <c:pt idx="26963">
                  <c:v>0.48088104155519801</c:v>
                </c:pt>
                <c:pt idx="26964">
                  <c:v>0.48089887640449402</c:v>
                </c:pt>
                <c:pt idx="26965">
                  <c:v>0.48091671125378899</c:v>
                </c:pt>
                <c:pt idx="26966">
                  <c:v>0.480934546103085</c:v>
                </c:pt>
                <c:pt idx="26967">
                  <c:v>0.48095238095238002</c:v>
                </c:pt>
                <c:pt idx="26968">
                  <c:v>0.48097021580167598</c:v>
                </c:pt>
                <c:pt idx="26969">
                  <c:v>0.480988050650972</c:v>
                </c:pt>
                <c:pt idx="26970">
                  <c:v>0.48100588550026702</c:v>
                </c:pt>
                <c:pt idx="26971">
                  <c:v>0.48102372034956298</c:v>
                </c:pt>
                <c:pt idx="26972">
                  <c:v>0.481041555198858</c:v>
                </c:pt>
                <c:pt idx="26973">
                  <c:v>0.48105939004815401</c:v>
                </c:pt>
                <c:pt idx="26974">
                  <c:v>0.48107722489744897</c:v>
                </c:pt>
                <c:pt idx="26975">
                  <c:v>0.48109505974674499</c:v>
                </c:pt>
                <c:pt idx="26976">
                  <c:v>0.48111289459604001</c:v>
                </c:pt>
                <c:pt idx="26977">
                  <c:v>0.48113072944533603</c:v>
                </c:pt>
                <c:pt idx="26978">
                  <c:v>0.48114856429463099</c:v>
                </c:pt>
                <c:pt idx="26979">
                  <c:v>0.481166399143927</c:v>
                </c:pt>
                <c:pt idx="26980">
                  <c:v>0.48118423399322202</c:v>
                </c:pt>
                <c:pt idx="26981">
                  <c:v>0.48120206884251798</c:v>
                </c:pt>
                <c:pt idx="26982">
                  <c:v>0.481219903691813</c:v>
                </c:pt>
                <c:pt idx="26983">
                  <c:v>0.48123773854110902</c:v>
                </c:pt>
                <c:pt idx="26984">
                  <c:v>0.48125557339040398</c:v>
                </c:pt>
                <c:pt idx="26985">
                  <c:v>0.4812734082397</c:v>
                </c:pt>
                <c:pt idx="26986">
                  <c:v>0.48129124308899501</c:v>
                </c:pt>
                <c:pt idx="26987">
                  <c:v>0.48130907793829097</c:v>
                </c:pt>
                <c:pt idx="26988">
                  <c:v>0.48132691278758599</c:v>
                </c:pt>
                <c:pt idx="26989">
                  <c:v>0.48134474763688201</c:v>
                </c:pt>
                <c:pt idx="26990">
                  <c:v>0.48136258248617703</c:v>
                </c:pt>
                <c:pt idx="26991">
                  <c:v>0.48138041733547299</c:v>
                </c:pt>
                <c:pt idx="26992">
                  <c:v>0.481398252184769</c:v>
                </c:pt>
                <c:pt idx="26993">
                  <c:v>0.48141608703406402</c:v>
                </c:pt>
                <c:pt idx="26994">
                  <c:v>0.48143392188335998</c:v>
                </c:pt>
                <c:pt idx="26995">
                  <c:v>0.481451756732655</c:v>
                </c:pt>
                <c:pt idx="26996">
                  <c:v>0.48146959158195102</c:v>
                </c:pt>
                <c:pt idx="26997">
                  <c:v>0.48148742643124598</c:v>
                </c:pt>
                <c:pt idx="26998">
                  <c:v>0.481505261280542</c:v>
                </c:pt>
                <c:pt idx="26999">
                  <c:v>0.48152309612983701</c:v>
                </c:pt>
                <c:pt idx="27000">
                  <c:v>0.48154093097913298</c:v>
                </c:pt>
                <c:pt idx="27001">
                  <c:v>0.48155876582842799</c:v>
                </c:pt>
                <c:pt idx="27002">
                  <c:v>0.48157660067772401</c:v>
                </c:pt>
                <c:pt idx="27003">
                  <c:v>0.48159443552701903</c:v>
                </c:pt>
                <c:pt idx="27004">
                  <c:v>0.48161227037631499</c:v>
                </c:pt>
                <c:pt idx="27005">
                  <c:v>0.48163010522561001</c:v>
                </c:pt>
                <c:pt idx="27006">
                  <c:v>0.48164794007490602</c:v>
                </c:pt>
                <c:pt idx="27007">
                  <c:v>0.48166577492420098</c:v>
                </c:pt>
                <c:pt idx="27008">
                  <c:v>0.481683609773497</c:v>
                </c:pt>
                <c:pt idx="27009">
                  <c:v>0.48170144462279202</c:v>
                </c:pt>
                <c:pt idx="27010">
                  <c:v>0.48171927947208798</c:v>
                </c:pt>
                <c:pt idx="27011">
                  <c:v>0.481737114321384</c:v>
                </c:pt>
                <c:pt idx="27012">
                  <c:v>0.48175494917067901</c:v>
                </c:pt>
                <c:pt idx="27013">
                  <c:v>0.48177278401997498</c:v>
                </c:pt>
                <c:pt idx="27014">
                  <c:v>0.48179061886926999</c:v>
                </c:pt>
                <c:pt idx="27015">
                  <c:v>0.48180845371856601</c:v>
                </c:pt>
                <c:pt idx="27016">
                  <c:v>0.48182628856786103</c:v>
                </c:pt>
                <c:pt idx="27017">
                  <c:v>0.48184412341715699</c:v>
                </c:pt>
                <c:pt idx="27018">
                  <c:v>0.48186195826645201</c:v>
                </c:pt>
                <c:pt idx="27019">
                  <c:v>0.48187979311574802</c:v>
                </c:pt>
                <c:pt idx="27020">
                  <c:v>0.48189762796504299</c:v>
                </c:pt>
                <c:pt idx="27021">
                  <c:v>0.481915462814339</c:v>
                </c:pt>
                <c:pt idx="27022">
                  <c:v>0.48193329766363402</c:v>
                </c:pt>
                <c:pt idx="27023">
                  <c:v>0.48195113251292998</c:v>
                </c:pt>
                <c:pt idx="27024">
                  <c:v>0.481968967362225</c:v>
                </c:pt>
                <c:pt idx="27025">
                  <c:v>0.48198680221152101</c:v>
                </c:pt>
                <c:pt idx="27026">
                  <c:v>0.48200463706081598</c:v>
                </c:pt>
                <c:pt idx="27027">
                  <c:v>0.48202247191011199</c:v>
                </c:pt>
                <c:pt idx="27028">
                  <c:v>0.48204030675940701</c:v>
                </c:pt>
                <c:pt idx="27029">
                  <c:v>0.48205814160870297</c:v>
                </c:pt>
                <c:pt idx="27030">
                  <c:v>0.48207597645799799</c:v>
                </c:pt>
                <c:pt idx="27031">
                  <c:v>0.48209381130729401</c:v>
                </c:pt>
                <c:pt idx="27032">
                  <c:v>0.48211164615658902</c:v>
                </c:pt>
                <c:pt idx="27033">
                  <c:v>0.48212948100588499</c:v>
                </c:pt>
                <c:pt idx="27034">
                  <c:v>0.482147315855181</c:v>
                </c:pt>
                <c:pt idx="27035">
                  <c:v>0.48216515070447602</c:v>
                </c:pt>
                <c:pt idx="27036">
                  <c:v>0.48218298555377198</c:v>
                </c:pt>
                <c:pt idx="27037">
                  <c:v>0.482200820403067</c:v>
                </c:pt>
                <c:pt idx="27038">
                  <c:v>0.48221865525236302</c:v>
                </c:pt>
                <c:pt idx="27039">
                  <c:v>0.48223649010165798</c:v>
                </c:pt>
                <c:pt idx="27040">
                  <c:v>0.48225432495095399</c:v>
                </c:pt>
                <c:pt idx="27041">
                  <c:v>0.48227215980024901</c:v>
                </c:pt>
                <c:pt idx="27042">
                  <c:v>0.48228999464954497</c:v>
                </c:pt>
                <c:pt idx="27043">
                  <c:v>0.48230782949883999</c:v>
                </c:pt>
                <c:pt idx="27044">
                  <c:v>0.48232566434813601</c:v>
                </c:pt>
                <c:pt idx="27045">
                  <c:v>0.48234349919743102</c:v>
                </c:pt>
                <c:pt idx="27046">
                  <c:v>0.48236133404672699</c:v>
                </c:pt>
                <c:pt idx="27047">
                  <c:v>0.482379168896022</c:v>
                </c:pt>
                <c:pt idx="27048">
                  <c:v>0.48239700374531802</c:v>
                </c:pt>
                <c:pt idx="27049">
                  <c:v>0.48241483859461298</c:v>
                </c:pt>
                <c:pt idx="27050">
                  <c:v>0.482432673443909</c:v>
                </c:pt>
                <c:pt idx="27051">
                  <c:v>0.48245050829320402</c:v>
                </c:pt>
                <c:pt idx="27052">
                  <c:v>0.48246834314249998</c:v>
                </c:pt>
                <c:pt idx="27053">
                  <c:v>0.48248617799179599</c:v>
                </c:pt>
                <c:pt idx="27054">
                  <c:v>0.48250401284109101</c:v>
                </c:pt>
                <c:pt idx="27055">
                  <c:v>0.48252184769038697</c:v>
                </c:pt>
                <c:pt idx="27056">
                  <c:v>0.48253968253968199</c:v>
                </c:pt>
                <c:pt idx="27057">
                  <c:v>0.48255751738897801</c:v>
                </c:pt>
                <c:pt idx="27058">
                  <c:v>0.48257535223827303</c:v>
                </c:pt>
                <c:pt idx="27059">
                  <c:v>0.48259318708756899</c:v>
                </c:pt>
                <c:pt idx="27060">
                  <c:v>0.482611021936864</c:v>
                </c:pt>
                <c:pt idx="27061">
                  <c:v>0.48262885678616002</c:v>
                </c:pt>
                <c:pt idx="27062">
                  <c:v>0.48264669163545498</c:v>
                </c:pt>
                <c:pt idx="27063">
                  <c:v>0.482664526484751</c:v>
                </c:pt>
                <c:pt idx="27064">
                  <c:v>0.48268236133404602</c:v>
                </c:pt>
                <c:pt idx="27065">
                  <c:v>0.48270019618334198</c:v>
                </c:pt>
                <c:pt idx="27066">
                  <c:v>0.482718031032637</c:v>
                </c:pt>
                <c:pt idx="27067">
                  <c:v>0.48273586588193301</c:v>
                </c:pt>
                <c:pt idx="27068">
                  <c:v>0.48275370073122797</c:v>
                </c:pt>
                <c:pt idx="27069">
                  <c:v>0.48277153558052399</c:v>
                </c:pt>
                <c:pt idx="27070">
                  <c:v>0.48278937042981901</c:v>
                </c:pt>
                <c:pt idx="27071">
                  <c:v>0.48280720527911503</c:v>
                </c:pt>
                <c:pt idx="27072">
                  <c:v>0.48282504012840999</c:v>
                </c:pt>
                <c:pt idx="27073">
                  <c:v>0.482842874977706</c:v>
                </c:pt>
                <c:pt idx="27074">
                  <c:v>0.48286070982700102</c:v>
                </c:pt>
                <c:pt idx="27075">
                  <c:v>0.48287854467629698</c:v>
                </c:pt>
                <c:pt idx="27076">
                  <c:v>0.482896379525593</c:v>
                </c:pt>
                <c:pt idx="27077">
                  <c:v>0.48291421437488802</c:v>
                </c:pt>
                <c:pt idx="27078">
                  <c:v>0.48293204922418398</c:v>
                </c:pt>
                <c:pt idx="27079">
                  <c:v>0.482949884073479</c:v>
                </c:pt>
                <c:pt idx="27080">
                  <c:v>0.48296771892277501</c:v>
                </c:pt>
                <c:pt idx="27081">
                  <c:v>0.48298555377206998</c:v>
                </c:pt>
                <c:pt idx="27082">
                  <c:v>0.48300338862136599</c:v>
                </c:pt>
                <c:pt idx="27083">
                  <c:v>0.48302122347066101</c:v>
                </c:pt>
                <c:pt idx="27084">
                  <c:v>0.48303905831995703</c:v>
                </c:pt>
                <c:pt idx="27085">
                  <c:v>0.48305689316925199</c:v>
                </c:pt>
                <c:pt idx="27086">
                  <c:v>0.48307472801854801</c:v>
                </c:pt>
                <c:pt idx="27087">
                  <c:v>0.48309256286784302</c:v>
                </c:pt>
                <c:pt idx="27088">
                  <c:v>0.48311039771713898</c:v>
                </c:pt>
                <c:pt idx="27089">
                  <c:v>0.483128232566434</c:v>
                </c:pt>
                <c:pt idx="27090">
                  <c:v>0.48314606741573002</c:v>
                </c:pt>
                <c:pt idx="27091">
                  <c:v>0.48316390226502498</c:v>
                </c:pt>
                <c:pt idx="27092">
                  <c:v>0.483181737114321</c:v>
                </c:pt>
                <c:pt idx="27093">
                  <c:v>0.48319957196361601</c:v>
                </c:pt>
                <c:pt idx="27094">
                  <c:v>0.48321740681291198</c:v>
                </c:pt>
                <c:pt idx="27095">
                  <c:v>0.48323524166220699</c:v>
                </c:pt>
                <c:pt idx="27096">
                  <c:v>0.48325307651150301</c:v>
                </c:pt>
                <c:pt idx="27097">
                  <c:v>0.48327091136079903</c:v>
                </c:pt>
                <c:pt idx="27098">
                  <c:v>0.48328874621009399</c:v>
                </c:pt>
                <c:pt idx="27099">
                  <c:v>0.48330658105939001</c:v>
                </c:pt>
                <c:pt idx="27100">
                  <c:v>0.48332441590868502</c:v>
                </c:pt>
                <c:pt idx="27101">
                  <c:v>0.48334225075798098</c:v>
                </c:pt>
                <c:pt idx="27102">
                  <c:v>0.483360085607276</c:v>
                </c:pt>
                <c:pt idx="27103">
                  <c:v>0.48337792045657202</c:v>
                </c:pt>
                <c:pt idx="27104">
                  <c:v>0.48339575530586698</c:v>
                </c:pt>
                <c:pt idx="27105">
                  <c:v>0.483413590155163</c:v>
                </c:pt>
                <c:pt idx="27106">
                  <c:v>0.48343142500445802</c:v>
                </c:pt>
                <c:pt idx="27107">
                  <c:v>0.48344925985375398</c:v>
                </c:pt>
                <c:pt idx="27108">
                  <c:v>0.48346709470304899</c:v>
                </c:pt>
                <c:pt idx="27109">
                  <c:v>0.48348492955234501</c:v>
                </c:pt>
                <c:pt idx="27110">
                  <c:v>0.48350276440163997</c:v>
                </c:pt>
                <c:pt idx="27111">
                  <c:v>0.48352059925093599</c:v>
                </c:pt>
                <c:pt idx="27112">
                  <c:v>0.48353843410023101</c:v>
                </c:pt>
                <c:pt idx="27113">
                  <c:v>0.48355626894952702</c:v>
                </c:pt>
                <c:pt idx="27114">
                  <c:v>0.48357410379882199</c:v>
                </c:pt>
                <c:pt idx="27115">
                  <c:v>0.483591938648118</c:v>
                </c:pt>
                <c:pt idx="27116">
                  <c:v>0.48360977349741302</c:v>
                </c:pt>
                <c:pt idx="27117">
                  <c:v>0.48362760834670898</c:v>
                </c:pt>
                <c:pt idx="27118">
                  <c:v>0.483645443196005</c:v>
                </c:pt>
                <c:pt idx="27119">
                  <c:v>0.48366327804530002</c:v>
                </c:pt>
                <c:pt idx="27120">
                  <c:v>0.48368111289459598</c:v>
                </c:pt>
                <c:pt idx="27121">
                  <c:v>0.48369894774389099</c:v>
                </c:pt>
                <c:pt idx="27122">
                  <c:v>0.48371678259318701</c:v>
                </c:pt>
                <c:pt idx="27123">
                  <c:v>0.48373461744248197</c:v>
                </c:pt>
                <c:pt idx="27124">
                  <c:v>0.48375245229177799</c:v>
                </c:pt>
                <c:pt idx="27125">
                  <c:v>0.48377028714107301</c:v>
                </c:pt>
                <c:pt idx="27126">
                  <c:v>0.48378812199036902</c:v>
                </c:pt>
                <c:pt idx="27127">
                  <c:v>0.48380595683966399</c:v>
                </c:pt>
                <c:pt idx="27128">
                  <c:v>0.48382379168896</c:v>
                </c:pt>
                <c:pt idx="27129">
                  <c:v>0.48384162653825502</c:v>
                </c:pt>
                <c:pt idx="27130">
                  <c:v>0.48385946138755098</c:v>
                </c:pt>
                <c:pt idx="27131">
                  <c:v>0.483877296236846</c:v>
                </c:pt>
                <c:pt idx="27132">
                  <c:v>0.48389513108614202</c:v>
                </c:pt>
                <c:pt idx="27133">
                  <c:v>0.48391296593543698</c:v>
                </c:pt>
                <c:pt idx="27134">
                  <c:v>0.483930800784733</c:v>
                </c:pt>
                <c:pt idx="27135">
                  <c:v>0.48394863563402801</c:v>
                </c:pt>
                <c:pt idx="27136">
                  <c:v>0.48396647048332397</c:v>
                </c:pt>
                <c:pt idx="27137">
                  <c:v>0.48398430533261899</c:v>
                </c:pt>
                <c:pt idx="27138">
                  <c:v>0.48400214018191501</c:v>
                </c:pt>
                <c:pt idx="27139">
                  <c:v>0.48401997503121003</c:v>
                </c:pt>
                <c:pt idx="27140">
                  <c:v>0.48403780988050599</c:v>
                </c:pt>
                <c:pt idx="27141">
                  <c:v>0.484055644729802</c:v>
                </c:pt>
                <c:pt idx="27142">
                  <c:v>0.48407347957909702</c:v>
                </c:pt>
                <c:pt idx="27143">
                  <c:v>0.48409131442839298</c:v>
                </c:pt>
                <c:pt idx="27144">
                  <c:v>0.484109149277688</c:v>
                </c:pt>
                <c:pt idx="27145">
                  <c:v>0.48412698412698402</c:v>
                </c:pt>
                <c:pt idx="27146">
                  <c:v>0.48414481897627898</c:v>
                </c:pt>
                <c:pt idx="27147">
                  <c:v>0.484162653825575</c:v>
                </c:pt>
                <c:pt idx="27148">
                  <c:v>0.48418048867487001</c:v>
                </c:pt>
                <c:pt idx="27149">
                  <c:v>0.48419832352416597</c:v>
                </c:pt>
                <c:pt idx="27150">
                  <c:v>0.48421615837346099</c:v>
                </c:pt>
                <c:pt idx="27151">
                  <c:v>0.48423399322275701</c:v>
                </c:pt>
                <c:pt idx="27152">
                  <c:v>0.48425182807205203</c:v>
                </c:pt>
                <c:pt idx="27153">
                  <c:v>0.48426966292134799</c:v>
                </c:pt>
                <c:pt idx="27154">
                  <c:v>0.48428749777064301</c:v>
                </c:pt>
                <c:pt idx="27155">
                  <c:v>0.48430533261993902</c:v>
                </c:pt>
                <c:pt idx="27156">
                  <c:v>0.48432316746923398</c:v>
                </c:pt>
                <c:pt idx="27157">
                  <c:v>0.48434100231853</c:v>
                </c:pt>
                <c:pt idx="27158">
                  <c:v>0.48435883716782502</c:v>
                </c:pt>
                <c:pt idx="27159">
                  <c:v>0.48437667201712098</c:v>
                </c:pt>
                <c:pt idx="27160">
                  <c:v>0.484394506866417</c:v>
                </c:pt>
                <c:pt idx="27161">
                  <c:v>0.48441234171571201</c:v>
                </c:pt>
                <c:pt idx="27162">
                  <c:v>0.48443017656500797</c:v>
                </c:pt>
                <c:pt idx="27163">
                  <c:v>0.48444801141430299</c:v>
                </c:pt>
                <c:pt idx="27164">
                  <c:v>0.48446584626359901</c:v>
                </c:pt>
                <c:pt idx="27165">
                  <c:v>0.48448368111289403</c:v>
                </c:pt>
                <c:pt idx="27166">
                  <c:v>0.48450151596218999</c:v>
                </c:pt>
                <c:pt idx="27167">
                  <c:v>0.48451935081148501</c:v>
                </c:pt>
                <c:pt idx="27168">
                  <c:v>0.48453718566078102</c:v>
                </c:pt>
                <c:pt idx="27169">
                  <c:v>0.48455502051007598</c:v>
                </c:pt>
                <c:pt idx="27170">
                  <c:v>0.484572855359372</c:v>
                </c:pt>
                <c:pt idx="27171">
                  <c:v>0.48459069020866702</c:v>
                </c:pt>
                <c:pt idx="27172">
                  <c:v>0.48460852505796298</c:v>
                </c:pt>
                <c:pt idx="27173">
                  <c:v>0.484626359907258</c:v>
                </c:pt>
                <c:pt idx="27174">
                  <c:v>0.48464419475655401</c:v>
                </c:pt>
                <c:pt idx="27175">
                  <c:v>0.48466202960584898</c:v>
                </c:pt>
                <c:pt idx="27176">
                  <c:v>0.48467986445514499</c:v>
                </c:pt>
                <c:pt idx="27177">
                  <c:v>0.48469769930444001</c:v>
                </c:pt>
                <c:pt idx="27178">
                  <c:v>0.48471553415373603</c:v>
                </c:pt>
                <c:pt idx="27179">
                  <c:v>0.48473336900303099</c:v>
                </c:pt>
                <c:pt idx="27180">
                  <c:v>0.48475120385232701</c:v>
                </c:pt>
                <c:pt idx="27181">
                  <c:v>0.48476903870162202</c:v>
                </c:pt>
                <c:pt idx="27182">
                  <c:v>0.48478687355091798</c:v>
                </c:pt>
                <c:pt idx="27183">
                  <c:v>0.484804708400214</c:v>
                </c:pt>
                <c:pt idx="27184">
                  <c:v>0.48482254324950902</c:v>
                </c:pt>
                <c:pt idx="27185">
                  <c:v>0.48484037809880498</c:v>
                </c:pt>
                <c:pt idx="27186">
                  <c:v>0.4848582129481</c:v>
                </c:pt>
                <c:pt idx="27187">
                  <c:v>0.48487604779739601</c:v>
                </c:pt>
                <c:pt idx="27188">
                  <c:v>0.48489388264669098</c:v>
                </c:pt>
                <c:pt idx="27189">
                  <c:v>0.48491171749598699</c:v>
                </c:pt>
                <c:pt idx="27190">
                  <c:v>0.48492955234528201</c:v>
                </c:pt>
                <c:pt idx="27191">
                  <c:v>0.48494738719457797</c:v>
                </c:pt>
                <c:pt idx="27192">
                  <c:v>0.48496522204387299</c:v>
                </c:pt>
                <c:pt idx="27193">
                  <c:v>0.48498305689316901</c:v>
                </c:pt>
                <c:pt idx="27194">
                  <c:v>0.48500089174246402</c:v>
                </c:pt>
                <c:pt idx="27195">
                  <c:v>0.48501872659175999</c:v>
                </c:pt>
                <c:pt idx="27196">
                  <c:v>0.485036561441055</c:v>
                </c:pt>
                <c:pt idx="27197">
                  <c:v>0.48505439629035102</c:v>
                </c:pt>
                <c:pt idx="27198">
                  <c:v>0.48507223113964598</c:v>
                </c:pt>
                <c:pt idx="27199">
                  <c:v>0.485090065988942</c:v>
                </c:pt>
                <c:pt idx="27200">
                  <c:v>0.48510790083823702</c:v>
                </c:pt>
                <c:pt idx="27201">
                  <c:v>0.48512573568753298</c:v>
                </c:pt>
                <c:pt idx="27202">
                  <c:v>0.48514357053682799</c:v>
                </c:pt>
                <c:pt idx="27203">
                  <c:v>0.48516140538612401</c:v>
                </c:pt>
                <c:pt idx="27204">
                  <c:v>0.48517924023541997</c:v>
                </c:pt>
                <c:pt idx="27205">
                  <c:v>0.48519707508471499</c:v>
                </c:pt>
                <c:pt idx="27206">
                  <c:v>0.48521490993401101</c:v>
                </c:pt>
                <c:pt idx="27207">
                  <c:v>0.48523274478330602</c:v>
                </c:pt>
                <c:pt idx="27208">
                  <c:v>0.48525057963260199</c:v>
                </c:pt>
                <c:pt idx="27209">
                  <c:v>0.485268414481897</c:v>
                </c:pt>
                <c:pt idx="27210">
                  <c:v>0.48528624933119302</c:v>
                </c:pt>
                <c:pt idx="27211">
                  <c:v>0.48530408418048798</c:v>
                </c:pt>
                <c:pt idx="27212">
                  <c:v>0.485321919029784</c:v>
                </c:pt>
                <c:pt idx="27213">
                  <c:v>0.48533975387907902</c:v>
                </c:pt>
                <c:pt idx="27214">
                  <c:v>0.48535758872837498</c:v>
                </c:pt>
                <c:pt idx="27215">
                  <c:v>0.48537542357767</c:v>
                </c:pt>
                <c:pt idx="27216">
                  <c:v>0.48539325842696601</c:v>
                </c:pt>
                <c:pt idx="27217">
                  <c:v>0.48541109327626097</c:v>
                </c:pt>
                <c:pt idx="27218">
                  <c:v>0.48542892812555699</c:v>
                </c:pt>
                <c:pt idx="27219">
                  <c:v>0.48544676297485201</c:v>
                </c:pt>
                <c:pt idx="27220">
                  <c:v>0.48546459782414803</c:v>
                </c:pt>
                <c:pt idx="27221">
                  <c:v>0.48548243267344299</c:v>
                </c:pt>
                <c:pt idx="27222">
                  <c:v>0.485500267522739</c:v>
                </c:pt>
                <c:pt idx="27223">
                  <c:v>0.48551810237203402</c:v>
                </c:pt>
                <c:pt idx="27224">
                  <c:v>0.48553593722132998</c:v>
                </c:pt>
                <c:pt idx="27225">
                  <c:v>0.485553772070626</c:v>
                </c:pt>
                <c:pt idx="27226">
                  <c:v>0.48557160691992102</c:v>
                </c:pt>
                <c:pt idx="27227">
                  <c:v>0.48558944176921698</c:v>
                </c:pt>
                <c:pt idx="27228">
                  <c:v>0.485607276618512</c:v>
                </c:pt>
                <c:pt idx="27229">
                  <c:v>0.48562511146780801</c:v>
                </c:pt>
                <c:pt idx="27230">
                  <c:v>0.48564294631710297</c:v>
                </c:pt>
                <c:pt idx="27231">
                  <c:v>0.48566078116639899</c:v>
                </c:pt>
                <c:pt idx="27232">
                  <c:v>0.48567861601569401</c:v>
                </c:pt>
                <c:pt idx="27233">
                  <c:v>0.48569645086499003</c:v>
                </c:pt>
                <c:pt idx="27234">
                  <c:v>0.48571428571428499</c:v>
                </c:pt>
                <c:pt idx="27235">
                  <c:v>0.485732120563581</c:v>
                </c:pt>
                <c:pt idx="27236">
                  <c:v>0.48574995541287602</c:v>
                </c:pt>
                <c:pt idx="27237">
                  <c:v>0.48576779026217198</c:v>
                </c:pt>
                <c:pt idx="27238">
                  <c:v>0.485785625111467</c:v>
                </c:pt>
                <c:pt idx="27239">
                  <c:v>0.48580345996076302</c:v>
                </c:pt>
                <c:pt idx="27240">
                  <c:v>0.48582129481005798</c:v>
                </c:pt>
                <c:pt idx="27241">
                  <c:v>0.485839129659354</c:v>
                </c:pt>
                <c:pt idx="27242">
                  <c:v>0.48585696450864901</c:v>
                </c:pt>
                <c:pt idx="27243">
                  <c:v>0.48587479935794498</c:v>
                </c:pt>
                <c:pt idx="27244">
                  <c:v>0.48589263420723999</c:v>
                </c:pt>
                <c:pt idx="27245">
                  <c:v>0.48591046905653601</c:v>
                </c:pt>
                <c:pt idx="27246">
                  <c:v>0.48592830390583103</c:v>
                </c:pt>
                <c:pt idx="27247">
                  <c:v>0.48594613875512699</c:v>
                </c:pt>
                <c:pt idx="27248">
                  <c:v>0.48596397360442301</c:v>
                </c:pt>
                <c:pt idx="27249">
                  <c:v>0.48598180845371802</c:v>
                </c:pt>
                <c:pt idx="27250">
                  <c:v>0.48599964330301398</c:v>
                </c:pt>
                <c:pt idx="27251">
                  <c:v>0.486017478152309</c:v>
                </c:pt>
                <c:pt idx="27252">
                  <c:v>0.48603531300160502</c:v>
                </c:pt>
                <c:pt idx="27253">
                  <c:v>0.48605314785089998</c:v>
                </c:pt>
                <c:pt idx="27254">
                  <c:v>0.486070982700196</c:v>
                </c:pt>
                <c:pt idx="27255">
                  <c:v>0.48608881754949101</c:v>
                </c:pt>
                <c:pt idx="27256">
                  <c:v>0.48610665239878698</c:v>
                </c:pt>
                <c:pt idx="27257">
                  <c:v>0.48612448724808199</c:v>
                </c:pt>
                <c:pt idx="27258">
                  <c:v>0.48614232209737801</c:v>
                </c:pt>
                <c:pt idx="27259">
                  <c:v>0.48616015694667303</c:v>
                </c:pt>
                <c:pt idx="27260">
                  <c:v>0.48617799179596899</c:v>
                </c:pt>
                <c:pt idx="27261">
                  <c:v>0.48619582664526401</c:v>
                </c:pt>
                <c:pt idx="27262">
                  <c:v>0.48621366149456002</c:v>
                </c:pt>
                <c:pt idx="27263">
                  <c:v>0.48623149634385499</c:v>
                </c:pt>
                <c:pt idx="27264">
                  <c:v>0.486249331193151</c:v>
                </c:pt>
                <c:pt idx="27265">
                  <c:v>0.48626716604244602</c:v>
                </c:pt>
                <c:pt idx="27266">
                  <c:v>0.48628500089174198</c:v>
                </c:pt>
                <c:pt idx="27267">
                  <c:v>0.486302835741038</c:v>
                </c:pt>
                <c:pt idx="27268">
                  <c:v>0.48632067059033302</c:v>
                </c:pt>
                <c:pt idx="27269">
                  <c:v>0.48633850543962898</c:v>
                </c:pt>
                <c:pt idx="27270">
                  <c:v>0.48635634028892399</c:v>
                </c:pt>
                <c:pt idx="27271">
                  <c:v>0.48637417513822001</c:v>
                </c:pt>
                <c:pt idx="27272">
                  <c:v>0.48639200998751497</c:v>
                </c:pt>
                <c:pt idx="27273">
                  <c:v>0.48640984483681099</c:v>
                </c:pt>
                <c:pt idx="27274">
                  <c:v>0.48642767968610601</c:v>
                </c:pt>
                <c:pt idx="27275">
                  <c:v>0.48644551453540202</c:v>
                </c:pt>
                <c:pt idx="27276">
                  <c:v>0.48646334938469699</c:v>
                </c:pt>
                <c:pt idx="27277">
                  <c:v>0.486481184233993</c:v>
                </c:pt>
                <c:pt idx="27278">
                  <c:v>0.48649901908328802</c:v>
                </c:pt>
                <c:pt idx="27279">
                  <c:v>0.48651685393258398</c:v>
                </c:pt>
                <c:pt idx="27280">
                  <c:v>0.486534688781879</c:v>
                </c:pt>
                <c:pt idx="27281">
                  <c:v>0.48655252363117502</c:v>
                </c:pt>
                <c:pt idx="27282">
                  <c:v>0.48657035848046998</c:v>
                </c:pt>
                <c:pt idx="27283">
                  <c:v>0.48658819332976599</c:v>
                </c:pt>
                <c:pt idx="27284">
                  <c:v>0.48660602817906101</c:v>
                </c:pt>
                <c:pt idx="27285">
                  <c:v>0.48662386302835697</c:v>
                </c:pt>
                <c:pt idx="27286">
                  <c:v>0.48664169787765199</c:v>
                </c:pt>
                <c:pt idx="27287">
                  <c:v>0.48665953272694801</c:v>
                </c:pt>
                <c:pt idx="27288">
                  <c:v>0.48667736757624303</c:v>
                </c:pt>
                <c:pt idx="27289">
                  <c:v>0.48669520242553899</c:v>
                </c:pt>
                <c:pt idx="27290">
                  <c:v>0.486713037274835</c:v>
                </c:pt>
                <c:pt idx="27291">
                  <c:v>0.48673087212413002</c:v>
                </c:pt>
                <c:pt idx="27292">
                  <c:v>0.48674870697342598</c:v>
                </c:pt>
                <c:pt idx="27293">
                  <c:v>0.486766541822721</c:v>
                </c:pt>
                <c:pt idx="27294">
                  <c:v>0.48678437667201702</c:v>
                </c:pt>
                <c:pt idx="27295">
                  <c:v>0.48680221152131198</c:v>
                </c:pt>
                <c:pt idx="27296">
                  <c:v>0.486820046370608</c:v>
                </c:pt>
                <c:pt idx="27297">
                  <c:v>0.48683788121990301</c:v>
                </c:pt>
                <c:pt idx="27298">
                  <c:v>0.48685571606919897</c:v>
                </c:pt>
                <c:pt idx="27299">
                  <c:v>0.48687355091849399</c:v>
                </c:pt>
                <c:pt idx="27300">
                  <c:v>0.48689138576779001</c:v>
                </c:pt>
                <c:pt idx="27301">
                  <c:v>0.48690922061708503</c:v>
                </c:pt>
                <c:pt idx="27302">
                  <c:v>0.48692705546638099</c:v>
                </c:pt>
                <c:pt idx="27303">
                  <c:v>0.486944890315676</c:v>
                </c:pt>
                <c:pt idx="27304">
                  <c:v>0.48696272516497202</c:v>
                </c:pt>
                <c:pt idx="27305">
                  <c:v>0.48698056001426698</c:v>
                </c:pt>
                <c:pt idx="27306">
                  <c:v>0.486998394863563</c:v>
                </c:pt>
                <c:pt idx="27307">
                  <c:v>0.48701622971285802</c:v>
                </c:pt>
                <c:pt idx="27308">
                  <c:v>0.48703406456215398</c:v>
                </c:pt>
                <c:pt idx="27309">
                  <c:v>0.48705189941145</c:v>
                </c:pt>
                <c:pt idx="27310">
                  <c:v>0.48706973426074501</c:v>
                </c:pt>
                <c:pt idx="27311">
                  <c:v>0.48708756911004097</c:v>
                </c:pt>
                <c:pt idx="27312">
                  <c:v>0.48710540395933599</c:v>
                </c:pt>
                <c:pt idx="27313">
                  <c:v>0.48712323880863201</c:v>
                </c:pt>
                <c:pt idx="27314">
                  <c:v>0.48714107365792703</c:v>
                </c:pt>
                <c:pt idx="27315">
                  <c:v>0.48715890850722299</c:v>
                </c:pt>
                <c:pt idx="27316">
                  <c:v>0.487176743356518</c:v>
                </c:pt>
                <c:pt idx="27317">
                  <c:v>0.48719457820581402</c:v>
                </c:pt>
                <c:pt idx="27318">
                  <c:v>0.48721241305510898</c:v>
                </c:pt>
                <c:pt idx="27319">
                  <c:v>0.487230247904405</c:v>
                </c:pt>
                <c:pt idx="27320">
                  <c:v>0.48724808275370002</c:v>
                </c:pt>
                <c:pt idx="27321">
                  <c:v>0.48726591760299598</c:v>
                </c:pt>
                <c:pt idx="27322">
                  <c:v>0.487283752452291</c:v>
                </c:pt>
                <c:pt idx="27323">
                  <c:v>0.48730158730158701</c:v>
                </c:pt>
                <c:pt idx="27324">
                  <c:v>0.48731942215088198</c:v>
                </c:pt>
                <c:pt idx="27325">
                  <c:v>0.48733725700017799</c:v>
                </c:pt>
                <c:pt idx="27326">
                  <c:v>0.48735509184947301</c:v>
                </c:pt>
                <c:pt idx="27327">
                  <c:v>0.48737292669876903</c:v>
                </c:pt>
                <c:pt idx="27328">
                  <c:v>0.48739076154806399</c:v>
                </c:pt>
                <c:pt idx="27329">
                  <c:v>0.48740859639736001</c:v>
                </c:pt>
                <c:pt idx="27330">
                  <c:v>0.48742643124665502</c:v>
                </c:pt>
                <c:pt idx="27331">
                  <c:v>0.48744426609595098</c:v>
                </c:pt>
                <c:pt idx="27332">
                  <c:v>0.487462100945247</c:v>
                </c:pt>
                <c:pt idx="27333">
                  <c:v>0.48747993579454202</c:v>
                </c:pt>
                <c:pt idx="27334">
                  <c:v>0.48749777064383798</c:v>
                </c:pt>
                <c:pt idx="27335">
                  <c:v>0.487515605493133</c:v>
                </c:pt>
                <c:pt idx="27336">
                  <c:v>0.48753344034242901</c:v>
                </c:pt>
                <c:pt idx="27337">
                  <c:v>0.48755127519172398</c:v>
                </c:pt>
                <c:pt idx="27338">
                  <c:v>0.48756911004101999</c:v>
                </c:pt>
                <c:pt idx="27339">
                  <c:v>0.48758694489031501</c:v>
                </c:pt>
                <c:pt idx="27340">
                  <c:v>0.48760477973961103</c:v>
                </c:pt>
                <c:pt idx="27341">
                  <c:v>0.48762261458890599</c:v>
                </c:pt>
                <c:pt idx="27342">
                  <c:v>0.48764044943820201</c:v>
                </c:pt>
                <c:pt idx="27343">
                  <c:v>0.48765828428749702</c:v>
                </c:pt>
                <c:pt idx="27344">
                  <c:v>0.48767611913679298</c:v>
                </c:pt>
                <c:pt idx="27345">
                  <c:v>0.487693953986088</c:v>
                </c:pt>
                <c:pt idx="27346">
                  <c:v>0.48771178883538402</c:v>
                </c:pt>
                <c:pt idx="27347">
                  <c:v>0.48772962368467898</c:v>
                </c:pt>
                <c:pt idx="27348">
                  <c:v>0.487747458533975</c:v>
                </c:pt>
                <c:pt idx="27349">
                  <c:v>0.48776529338327002</c:v>
                </c:pt>
                <c:pt idx="27350">
                  <c:v>0.48778312823256598</c:v>
                </c:pt>
                <c:pt idx="27351">
                  <c:v>0.48780096308186099</c:v>
                </c:pt>
                <c:pt idx="27352">
                  <c:v>0.48781879793115701</c:v>
                </c:pt>
                <c:pt idx="27353">
                  <c:v>0.48783663278045297</c:v>
                </c:pt>
                <c:pt idx="27354">
                  <c:v>0.48785446762974799</c:v>
                </c:pt>
                <c:pt idx="27355">
                  <c:v>0.48787230247904401</c:v>
                </c:pt>
                <c:pt idx="27356">
                  <c:v>0.48789013732833902</c:v>
                </c:pt>
                <c:pt idx="27357">
                  <c:v>0.48790797217763499</c:v>
                </c:pt>
                <c:pt idx="27358">
                  <c:v>0.48792580702693</c:v>
                </c:pt>
                <c:pt idx="27359">
                  <c:v>0.48794364187622602</c:v>
                </c:pt>
                <c:pt idx="27360">
                  <c:v>0.48796147672552098</c:v>
                </c:pt>
                <c:pt idx="27361">
                  <c:v>0.487979311574817</c:v>
                </c:pt>
                <c:pt idx="27362">
                  <c:v>0.48799714642411202</c:v>
                </c:pt>
                <c:pt idx="27363">
                  <c:v>0.48801498127340798</c:v>
                </c:pt>
                <c:pt idx="27364">
                  <c:v>0.48803281612270299</c:v>
                </c:pt>
                <c:pt idx="27365">
                  <c:v>0.48805065097199901</c:v>
                </c:pt>
                <c:pt idx="27366">
                  <c:v>0.48806848582129397</c:v>
                </c:pt>
                <c:pt idx="27367">
                  <c:v>0.48808632067058999</c:v>
                </c:pt>
                <c:pt idx="27368">
                  <c:v>0.48810415551988501</c:v>
                </c:pt>
                <c:pt idx="27369">
                  <c:v>0.48812199036918102</c:v>
                </c:pt>
                <c:pt idx="27370">
                  <c:v>0.48813982521847599</c:v>
                </c:pt>
                <c:pt idx="27371">
                  <c:v>0.488157660067772</c:v>
                </c:pt>
                <c:pt idx="27372">
                  <c:v>0.48817549491706702</c:v>
                </c:pt>
                <c:pt idx="27373">
                  <c:v>0.48819332976636298</c:v>
                </c:pt>
                <c:pt idx="27374">
                  <c:v>0.488211164615659</c:v>
                </c:pt>
                <c:pt idx="27375">
                  <c:v>0.48822899946495402</c:v>
                </c:pt>
                <c:pt idx="27376">
                  <c:v>0.48824683431424998</c:v>
                </c:pt>
                <c:pt idx="27377">
                  <c:v>0.488264669163545</c:v>
                </c:pt>
                <c:pt idx="27378">
                  <c:v>0.48828250401284101</c:v>
                </c:pt>
                <c:pt idx="27379">
                  <c:v>0.48830033886213597</c:v>
                </c:pt>
                <c:pt idx="27380">
                  <c:v>0.48831817371143199</c:v>
                </c:pt>
                <c:pt idx="27381">
                  <c:v>0.48833600856072701</c:v>
                </c:pt>
                <c:pt idx="27382">
                  <c:v>0.48835384341002303</c:v>
                </c:pt>
                <c:pt idx="27383">
                  <c:v>0.48837167825931799</c:v>
                </c:pt>
                <c:pt idx="27384">
                  <c:v>0.488389513108614</c:v>
                </c:pt>
                <c:pt idx="27385">
                  <c:v>0.48840734795790902</c:v>
                </c:pt>
                <c:pt idx="27386">
                  <c:v>0.48842518280720498</c:v>
                </c:pt>
                <c:pt idx="27387">
                  <c:v>0.4884430176565</c:v>
                </c:pt>
                <c:pt idx="27388">
                  <c:v>0.48846085250579602</c:v>
                </c:pt>
                <c:pt idx="27389">
                  <c:v>0.48847868735509098</c:v>
                </c:pt>
                <c:pt idx="27390">
                  <c:v>0.488496522204387</c:v>
                </c:pt>
                <c:pt idx="27391">
                  <c:v>0.48851435705368201</c:v>
                </c:pt>
                <c:pt idx="27392">
                  <c:v>0.48853219190297797</c:v>
                </c:pt>
                <c:pt idx="27393">
                  <c:v>0.48855002675227299</c:v>
                </c:pt>
                <c:pt idx="27394">
                  <c:v>0.48856786160156901</c:v>
                </c:pt>
                <c:pt idx="27395">
                  <c:v>0.48858569645086403</c:v>
                </c:pt>
                <c:pt idx="27396">
                  <c:v>0.48860353130015999</c:v>
                </c:pt>
                <c:pt idx="27397">
                  <c:v>0.488621366149456</c:v>
                </c:pt>
                <c:pt idx="27398">
                  <c:v>0.48863920099875102</c:v>
                </c:pt>
                <c:pt idx="27399">
                  <c:v>0.48865703584804698</c:v>
                </c:pt>
                <c:pt idx="27400">
                  <c:v>0.488674870697342</c:v>
                </c:pt>
                <c:pt idx="27401">
                  <c:v>0.48869270554663802</c:v>
                </c:pt>
                <c:pt idx="27402">
                  <c:v>0.48871054039593298</c:v>
                </c:pt>
                <c:pt idx="27403">
                  <c:v>0.488728375245229</c:v>
                </c:pt>
                <c:pt idx="27404">
                  <c:v>0.48874621009452401</c:v>
                </c:pt>
                <c:pt idx="27405">
                  <c:v>0.48876404494381998</c:v>
                </c:pt>
                <c:pt idx="27406">
                  <c:v>0.48878187979311499</c:v>
                </c:pt>
                <c:pt idx="27407">
                  <c:v>0.48879971464241101</c:v>
                </c:pt>
                <c:pt idx="27408">
                  <c:v>0.48881754949170603</c:v>
                </c:pt>
                <c:pt idx="27409">
                  <c:v>0.48883538434100199</c:v>
                </c:pt>
                <c:pt idx="27410">
                  <c:v>0.48885321919029701</c:v>
                </c:pt>
                <c:pt idx="27411">
                  <c:v>0.48887105403959302</c:v>
                </c:pt>
                <c:pt idx="27412">
                  <c:v>0.48888888888888798</c:v>
                </c:pt>
                <c:pt idx="27413">
                  <c:v>0.488906723738184</c:v>
                </c:pt>
                <c:pt idx="27414">
                  <c:v>0.48892455858747902</c:v>
                </c:pt>
                <c:pt idx="27415">
                  <c:v>0.48894239343677498</c:v>
                </c:pt>
                <c:pt idx="27416">
                  <c:v>0.488960228286071</c:v>
                </c:pt>
                <c:pt idx="27417">
                  <c:v>0.48897806313536601</c:v>
                </c:pt>
                <c:pt idx="27418">
                  <c:v>0.48899589798466198</c:v>
                </c:pt>
                <c:pt idx="27419">
                  <c:v>0.48901373283395699</c:v>
                </c:pt>
                <c:pt idx="27420">
                  <c:v>0.48903156768325301</c:v>
                </c:pt>
                <c:pt idx="27421">
                  <c:v>0.48904940253254803</c:v>
                </c:pt>
                <c:pt idx="27422">
                  <c:v>0.48906723738184399</c:v>
                </c:pt>
                <c:pt idx="27423">
                  <c:v>0.48908507223113901</c:v>
                </c:pt>
                <c:pt idx="27424">
                  <c:v>0.48910290708043502</c:v>
                </c:pt>
                <c:pt idx="27425">
                  <c:v>0.48912074192972999</c:v>
                </c:pt>
                <c:pt idx="27426">
                  <c:v>0.489138576779026</c:v>
                </c:pt>
                <c:pt idx="27427">
                  <c:v>0.48915641162832102</c:v>
                </c:pt>
                <c:pt idx="27428">
                  <c:v>0.48917424647761698</c:v>
                </c:pt>
                <c:pt idx="27429">
                  <c:v>0.489192081326912</c:v>
                </c:pt>
                <c:pt idx="27430">
                  <c:v>0.48920991617620802</c:v>
                </c:pt>
                <c:pt idx="27431">
                  <c:v>0.48922775102550298</c:v>
                </c:pt>
                <c:pt idx="27432">
                  <c:v>0.48924558587479899</c:v>
                </c:pt>
                <c:pt idx="27433">
                  <c:v>0.48926342072409401</c:v>
                </c:pt>
                <c:pt idx="27434">
                  <c:v>0.48928125557338997</c:v>
                </c:pt>
                <c:pt idx="27435">
                  <c:v>0.48929909042268499</c:v>
                </c:pt>
                <c:pt idx="27436">
                  <c:v>0.48931692527198101</c:v>
                </c:pt>
                <c:pt idx="27437">
                  <c:v>0.48933476012127602</c:v>
                </c:pt>
                <c:pt idx="27438">
                  <c:v>0.48935259497057199</c:v>
                </c:pt>
                <c:pt idx="27439">
                  <c:v>0.489370429819868</c:v>
                </c:pt>
                <c:pt idx="27440">
                  <c:v>0.48938826466916302</c:v>
                </c:pt>
                <c:pt idx="27441">
                  <c:v>0.48940609951845898</c:v>
                </c:pt>
                <c:pt idx="27442">
                  <c:v>0.489423934367754</c:v>
                </c:pt>
                <c:pt idx="27443">
                  <c:v>0.48944176921705002</c:v>
                </c:pt>
                <c:pt idx="27444">
                  <c:v>0.48945960406634498</c:v>
                </c:pt>
                <c:pt idx="27445">
                  <c:v>0.48947743891564099</c:v>
                </c:pt>
                <c:pt idx="27446">
                  <c:v>0.48949527376493601</c:v>
                </c:pt>
                <c:pt idx="27447">
                  <c:v>0.48951310861423197</c:v>
                </c:pt>
                <c:pt idx="27448">
                  <c:v>0.48953094346352699</c:v>
                </c:pt>
                <c:pt idx="27449">
                  <c:v>0.48954877831282301</c:v>
                </c:pt>
                <c:pt idx="27450">
                  <c:v>0.48956661316211803</c:v>
                </c:pt>
                <c:pt idx="27451">
                  <c:v>0.48958444801141399</c:v>
                </c:pt>
                <c:pt idx="27452">
                  <c:v>0.489602282860709</c:v>
                </c:pt>
                <c:pt idx="27453">
                  <c:v>0.48962011771000502</c:v>
                </c:pt>
                <c:pt idx="27454">
                  <c:v>0.48963795255929998</c:v>
                </c:pt>
                <c:pt idx="27455">
                  <c:v>0.489655787408596</c:v>
                </c:pt>
                <c:pt idx="27456">
                  <c:v>0.48967362225789102</c:v>
                </c:pt>
                <c:pt idx="27457">
                  <c:v>0.48969145710718698</c:v>
                </c:pt>
                <c:pt idx="27458">
                  <c:v>0.48970929195648299</c:v>
                </c:pt>
                <c:pt idx="27459">
                  <c:v>0.48972712680577801</c:v>
                </c:pt>
                <c:pt idx="27460">
                  <c:v>0.48974496165507397</c:v>
                </c:pt>
                <c:pt idx="27461">
                  <c:v>0.48976279650436899</c:v>
                </c:pt>
                <c:pt idx="27462">
                  <c:v>0.48978063135366501</c:v>
                </c:pt>
                <c:pt idx="27463">
                  <c:v>0.48979846620296003</c:v>
                </c:pt>
                <c:pt idx="27464">
                  <c:v>0.48981630105225599</c:v>
                </c:pt>
                <c:pt idx="27465">
                  <c:v>0.489834135901551</c:v>
                </c:pt>
                <c:pt idx="27466">
                  <c:v>0.48985197075084702</c:v>
                </c:pt>
                <c:pt idx="27467">
                  <c:v>0.48986980560014198</c:v>
                </c:pt>
                <c:pt idx="27468">
                  <c:v>0.489887640449438</c:v>
                </c:pt>
                <c:pt idx="27469">
                  <c:v>0.48990547529873302</c:v>
                </c:pt>
                <c:pt idx="27470">
                  <c:v>0.48992331014802898</c:v>
                </c:pt>
                <c:pt idx="27471">
                  <c:v>0.489941144997324</c:v>
                </c:pt>
                <c:pt idx="27472">
                  <c:v>0.48995897984662001</c:v>
                </c:pt>
                <c:pt idx="27473">
                  <c:v>0.48997681469591498</c:v>
                </c:pt>
                <c:pt idx="27474">
                  <c:v>0.48999464954521099</c:v>
                </c:pt>
                <c:pt idx="27475">
                  <c:v>0.49001248439450601</c:v>
                </c:pt>
                <c:pt idx="27476">
                  <c:v>0.49003031924380203</c:v>
                </c:pt>
                <c:pt idx="27477">
                  <c:v>0.49004815409309699</c:v>
                </c:pt>
                <c:pt idx="27478">
                  <c:v>0.490065988942393</c:v>
                </c:pt>
                <c:pt idx="27479">
                  <c:v>0.49008382379168802</c:v>
                </c:pt>
                <c:pt idx="27480">
                  <c:v>0.49010165864098398</c:v>
                </c:pt>
                <c:pt idx="27481">
                  <c:v>0.49011949349028</c:v>
                </c:pt>
                <c:pt idx="27482">
                  <c:v>0.49013732833957502</c:v>
                </c:pt>
                <c:pt idx="27483">
                  <c:v>0.49015516318887098</c:v>
                </c:pt>
                <c:pt idx="27484">
                  <c:v>0.490172998038166</c:v>
                </c:pt>
                <c:pt idx="27485">
                  <c:v>0.49019083288746201</c:v>
                </c:pt>
                <c:pt idx="27486">
                  <c:v>0.49020866773675698</c:v>
                </c:pt>
                <c:pt idx="27487">
                  <c:v>0.49022650258605299</c:v>
                </c:pt>
                <c:pt idx="27488">
                  <c:v>0.49024433743534801</c:v>
                </c:pt>
                <c:pt idx="27489">
                  <c:v>0.49026217228464403</c:v>
                </c:pt>
                <c:pt idx="27490">
                  <c:v>0.49028000713393899</c:v>
                </c:pt>
                <c:pt idx="27491">
                  <c:v>0.49029784198323501</c:v>
                </c:pt>
                <c:pt idx="27492">
                  <c:v>0.49031567683253002</c:v>
                </c:pt>
                <c:pt idx="27493">
                  <c:v>0.49033351168182598</c:v>
                </c:pt>
                <c:pt idx="27494">
                  <c:v>0.490351346531121</c:v>
                </c:pt>
                <c:pt idx="27495">
                  <c:v>0.49036918138041702</c:v>
                </c:pt>
                <c:pt idx="27496">
                  <c:v>0.49038701622971198</c:v>
                </c:pt>
                <c:pt idx="27497">
                  <c:v>0.490404851079008</c:v>
                </c:pt>
                <c:pt idx="27498">
                  <c:v>0.49042268592830301</c:v>
                </c:pt>
                <c:pt idx="27499">
                  <c:v>0.49044052077759898</c:v>
                </c:pt>
                <c:pt idx="27500">
                  <c:v>0.49045835562689399</c:v>
                </c:pt>
                <c:pt idx="27501">
                  <c:v>0.49047619047619001</c:v>
                </c:pt>
                <c:pt idx="27502">
                  <c:v>0.49049402532548603</c:v>
                </c:pt>
                <c:pt idx="27503">
                  <c:v>0.49051186017478099</c:v>
                </c:pt>
                <c:pt idx="27504">
                  <c:v>0.49052969502407701</c:v>
                </c:pt>
                <c:pt idx="27505">
                  <c:v>0.49054752987337202</c:v>
                </c:pt>
                <c:pt idx="27506">
                  <c:v>0.49056536472266798</c:v>
                </c:pt>
                <c:pt idx="27507">
                  <c:v>0.490583199571963</c:v>
                </c:pt>
                <c:pt idx="27508">
                  <c:v>0.49060103442125902</c:v>
                </c:pt>
                <c:pt idx="27509">
                  <c:v>0.49061886927055398</c:v>
                </c:pt>
                <c:pt idx="27510">
                  <c:v>0.49063670411985</c:v>
                </c:pt>
                <c:pt idx="27511">
                  <c:v>0.49065453896914502</c:v>
                </c:pt>
                <c:pt idx="27512">
                  <c:v>0.49067237381844098</c:v>
                </c:pt>
                <c:pt idx="27513">
                  <c:v>0.49069020866773599</c:v>
                </c:pt>
                <c:pt idx="27514">
                  <c:v>0.49070804351703201</c:v>
                </c:pt>
                <c:pt idx="27515">
                  <c:v>0.49072587836632697</c:v>
                </c:pt>
                <c:pt idx="27516">
                  <c:v>0.49074371321562299</c:v>
                </c:pt>
                <c:pt idx="27517">
                  <c:v>0.49076154806491801</c:v>
                </c:pt>
                <c:pt idx="27518">
                  <c:v>0.49077938291421402</c:v>
                </c:pt>
                <c:pt idx="27519">
                  <c:v>0.49079721776350899</c:v>
                </c:pt>
                <c:pt idx="27520">
                  <c:v>0.490815052612805</c:v>
                </c:pt>
                <c:pt idx="27521">
                  <c:v>0.49083288746210002</c:v>
                </c:pt>
                <c:pt idx="27522">
                  <c:v>0.49085072231139598</c:v>
                </c:pt>
                <c:pt idx="27523">
                  <c:v>0.490868557160692</c:v>
                </c:pt>
                <c:pt idx="27524">
                  <c:v>0.49088639200998702</c:v>
                </c:pt>
                <c:pt idx="27525">
                  <c:v>0.49090422685928298</c:v>
                </c:pt>
                <c:pt idx="27526">
                  <c:v>0.49092206170857799</c:v>
                </c:pt>
                <c:pt idx="27527">
                  <c:v>0.49093989655787401</c:v>
                </c:pt>
                <c:pt idx="27528">
                  <c:v>0.49095773140716897</c:v>
                </c:pt>
                <c:pt idx="27529">
                  <c:v>0.49097556625646499</c:v>
                </c:pt>
                <c:pt idx="27530">
                  <c:v>0.49099340110576001</c:v>
                </c:pt>
                <c:pt idx="27531">
                  <c:v>0.49101123595505602</c:v>
                </c:pt>
                <c:pt idx="27532">
                  <c:v>0.49102907080435099</c:v>
                </c:pt>
                <c:pt idx="27533">
                  <c:v>0.491046905653647</c:v>
                </c:pt>
                <c:pt idx="27534">
                  <c:v>0.49106474050294202</c:v>
                </c:pt>
                <c:pt idx="27535">
                  <c:v>0.49108257535223798</c:v>
                </c:pt>
                <c:pt idx="27536">
                  <c:v>0.491100410201533</c:v>
                </c:pt>
                <c:pt idx="27537">
                  <c:v>0.49111824505082902</c:v>
                </c:pt>
                <c:pt idx="27538">
                  <c:v>0.49113607990012398</c:v>
                </c:pt>
                <c:pt idx="27539">
                  <c:v>0.49115391474942</c:v>
                </c:pt>
                <c:pt idx="27540">
                  <c:v>0.49117174959871501</c:v>
                </c:pt>
                <c:pt idx="27541">
                  <c:v>0.49118958444801097</c:v>
                </c:pt>
                <c:pt idx="27542">
                  <c:v>0.49120741929730599</c:v>
                </c:pt>
                <c:pt idx="27543">
                  <c:v>0.49122525414660201</c:v>
                </c:pt>
                <c:pt idx="27544">
                  <c:v>0.49124308899589703</c:v>
                </c:pt>
                <c:pt idx="27545">
                  <c:v>0.49126092384519299</c:v>
                </c:pt>
                <c:pt idx="27546">
                  <c:v>0.491278758694489</c:v>
                </c:pt>
                <c:pt idx="27547">
                  <c:v>0.49129659354378402</c:v>
                </c:pt>
                <c:pt idx="27548">
                  <c:v>0.49131442839307998</c:v>
                </c:pt>
                <c:pt idx="27549">
                  <c:v>0.491332263242375</c:v>
                </c:pt>
                <c:pt idx="27550">
                  <c:v>0.49135009809167102</c:v>
                </c:pt>
                <c:pt idx="27551">
                  <c:v>0.49136793294096598</c:v>
                </c:pt>
                <c:pt idx="27552">
                  <c:v>0.491385767790262</c:v>
                </c:pt>
                <c:pt idx="27553">
                  <c:v>0.49140360263955701</c:v>
                </c:pt>
                <c:pt idx="27554">
                  <c:v>0.49142143748885297</c:v>
                </c:pt>
                <c:pt idx="27555">
                  <c:v>0.49143927233814799</c:v>
                </c:pt>
                <c:pt idx="27556">
                  <c:v>0.49145710718744401</c:v>
                </c:pt>
                <c:pt idx="27557">
                  <c:v>0.49147494203673903</c:v>
                </c:pt>
                <c:pt idx="27558">
                  <c:v>0.49149277688603499</c:v>
                </c:pt>
                <c:pt idx="27559">
                  <c:v>0.49151061173533001</c:v>
                </c:pt>
                <c:pt idx="27560">
                  <c:v>0.49152844658462602</c:v>
                </c:pt>
                <c:pt idx="27561">
                  <c:v>0.49154628143392098</c:v>
                </c:pt>
                <c:pt idx="27562">
                  <c:v>0.491564116283217</c:v>
                </c:pt>
                <c:pt idx="27563">
                  <c:v>0.49158195113251202</c:v>
                </c:pt>
                <c:pt idx="27564">
                  <c:v>0.49159978598180798</c:v>
                </c:pt>
                <c:pt idx="27565">
                  <c:v>0.491617620831104</c:v>
                </c:pt>
                <c:pt idx="27566">
                  <c:v>0.49163545568039901</c:v>
                </c:pt>
                <c:pt idx="27567">
                  <c:v>0.49165329052969498</c:v>
                </c:pt>
                <c:pt idx="27568">
                  <c:v>0.49167112537898999</c:v>
                </c:pt>
                <c:pt idx="27569">
                  <c:v>0.49168896022828601</c:v>
                </c:pt>
                <c:pt idx="27570">
                  <c:v>0.49170679507758103</c:v>
                </c:pt>
                <c:pt idx="27571">
                  <c:v>0.49172462992687699</c:v>
                </c:pt>
                <c:pt idx="27572">
                  <c:v>0.49174246477617201</c:v>
                </c:pt>
                <c:pt idx="27573">
                  <c:v>0.49176029962546802</c:v>
                </c:pt>
                <c:pt idx="27574">
                  <c:v>0.49177813447476298</c:v>
                </c:pt>
                <c:pt idx="27575">
                  <c:v>0.491795969324059</c:v>
                </c:pt>
                <c:pt idx="27576">
                  <c:v>0.49181380417335402</c:v>
                </c:pt>
                <c:pt idx="27577">
                  <c:v>0.49183163902264998</c:v>
                </c:pt>
                <c:pt idx="27578">
                  <c:v>0.491849473871945</c:v>
                </c:pt>
                <c:pt idx="27579">
                  <c:v>0.49186730872124101</c:v>
                </c:pt>
                <c:pt idx="27580">
                  <c:v>0.49188514357053598</c:v>
                </c:pt>
                <c:pt idx="27581">
                  <c:v>0.49190297841983199</c:v>
                </c:pt>
                <c:pt idx="27582">
                  <c:v>0.49192081326912701</c:v>
                </c:pt>
                <c:pt idx="27583">
                  <c:v>0.49193864811842303</c:v>
                </c:pt>
                <c:pt idx="27584">
                  <c:v>0.49195648296771799</c:v>
                </c:pt>
                <c:pt idx="27585">
                  <c:v>0.49197431781701401</c:v>
                </c:pt>
                <c:pt idx="27586">
                  <c:v>0.49199215266630902</c:v>
                </c:pt>
                <c:pt idx="27587">
                  <c:v>0.49200998751560499</c:v>
                </c:pt>
                <c:pt idx="27588">
                  <c:v>0.492027822364901</c:v>
                </c:pt>
                <c:pt idx="27589">
                  <c:v>0.49204565721419602</c:v>
                </c:pt>
                <c:pt idx="27590">
                  <c:v>0.49206349206349198</c:v>
                </c:pt>
                <c:pt idx="27591">
                  <c:v>0.492081326912787</c:v>
                </c:pt>
                <c:pt idx="27592">
                  <c:v>0.49209916176208301</c:v>
                </c:pt>
                <c:pt idx="27593">
                  <c:v>0.49211699661137798</c:v>
                </c:pt>
                <c:pt idx="27594">
                  <c:v>0.49213483146067399</c:v>
                </c:pt>
                <c:pt idx="27595">
                  <c:v>0.49215266630996901</c:v>
                </c:pt>
                <c:pt idx="27596">
                  <c:v>0.49217050115926497</c:v>
                </c:pt>
                <c:pt idx="27597">
                  <c:v>0.49218833600855999</c:v>
                </c:pt>
                <c:pt idx="27598">
                  <c:v>0.49220617085785601</c:v>
                </c:pt>
                <c:pt idx="27599">
                  <c:v>0.49222400570715102</c:v>
                </c:pt>
                <c:pt idx="27600">
                  <c:v>0.49224184055644699</c:v>
                </c:pt>
                <c:pt idx="27601">
                  <c:v>0.492259675405742</c:v>
                </c:pt>
                <c:pt idx="27602">
                  <c:v>0.49227751025503802</c:v>
                </c:pt>
                <c:pt idx="27603">
                  <c:v>0.49229534510433298</c:v>
                </c:pt>
                <c:pt idx="27604">
                  <c:v>0.492313179953629</c:v>
                </c:pt>
                <c:pt idx="27605">
                  <c:v>0.49233101480292402</c:v>
                </c:pt>
                <c:pt idx="27606">
                  <c:v>0.49234884965221998</c:v>
                </c:pt>
                <c:pt idx="27607">
                  <c:v>0.492366684501515</c:v>
                </c:pt>
                <c:pt idx="27608">
                  <c:v>0.49238451935081101</c:v>
                </c:pt>
                <c:pt idx="27609">
                  <c:v>0.49240235420010697</c:v>
                </c:pt>
                <c:pt idx="27610">
                  <c:v>0.49242018904940199</c:v>
                </c:pt>
                <c:pt idx="27611">
                  <c:v>0.49243802389869801</c:v>
                </c:pt>
                <c:pt idx="27612">
                  <c:v>0.49245585874799302</c:v>
                </c:pt>
                <c:pt idx="27613">
                  <c:v>0.49247369359728899</c:v>
                </c:pt>
                <c:pt idx="27614">
                  <c:v>0.492491528446584</c:v>
                </c:pt>
                <c:pt idx="27615">
                  <c:v>0.49250936329588002</c:v>
                </c:pt>
                <c:pt idx="27616">
                  <c:v>0.49252719814517498</c:v>
                </c:pt>
                <c:pt idx="27617">
                  <c:v>0.492545032994471</c:v>
                </c:pt>
                <c:pt idx="27618">
                  <c:v>0.49256286784376602</c:v>
                </c:pt>
                <c:pt idx="27619">
                  <c:v>0.49258070269306198</c:v>
                </c:pt>
                <c:pt idx="27620">
                  <c:v>0.492598537542357</c:v>
                </c:pt>
                <c:pt idx="27621">
                  <c:v>0.49261637239165301</c:v>
                </c:pt>
                <c:pt idx="27622">
                  <c:v>0.49263420724094797</c:v>
                </c:pt>
                <c:pt idx="27623">
                  <c:v>0.49265204209024399</c:v>
                </c:pt>
                <c:pt idx="27624">
                  <c:v>0.49266987693953901</c:v>
                </c:pt>
                <c:pt idx="27625">
                  <c:v>0.49268771178883503</c:v>
                </c:pt>
                <c:pt idx="27626">
                  <c:v>0.49270554663812999</c:v>
                </c:pt>
                <c:pt idx="27627">
                  <c:v>0.492723381487426</c:v>
                </c:pt>
                <c:pt idx="27628">
                  <c:v>0.49274121633672102</c:v>
                </c:pt>
                <c:pt idx="27629">
                  <c:v>0.49275905118601698</c:v>
                </c:pt>
                <c:pt idx="27630">
                  <c:v>0.492776886035313</c:v>
                </c:pt>
                <c:pt idx="27631">
                  <c:v>0.49279472088460802</c:v>
                </c:pt>
                <c:pt idx="27632">
                  <c:v>0.49281255573390398</c:v>
                </c:pt>
                <c:pt idx="27633">
                  <c:v>0.492830390583199</c:v>
                </c:pt>
                <c:pt idx="27634">
                  <c:v>0.49284822543249501</c:v>
                </c:pt>
                <c:pt idx="27635">
                  <c:v>0.49286606028178997</c:v>
                </c:pt>
                <c:pt idx="27636">
                  <c:v>0.49288389513108599</c:v>
                </c:pt>
                <c:pt idx="27637">
                  <c:v>0.49290172998038101</c:v>
                </c:pt>
                <c:pt idx="27638">
                  <c:v>0.49291956482967703</c:v>
                </c:pt>
                <c:pt idx="27639">
                  <c:v>0.49293739967897199</c:v>
                </c:pt>
                <c:pt idx="27640">
                  <c:v>0.492955234528268</c:v>
                </c:pt>
                <c:pt idx="27641">
                  <c:v>0.49297306937756302</c:v>
                </c:pt>
                <c:pt idx="27642">
                  <c:v>0.49299090422685898</c:v>
                </c:pt>
                <c:pt idx="27643">
                  <c:v>0.493008739076154</c:v>
                </c:pt>
                <c:pt idx="27644">
                  <c:v>0.49302657392545002</c:v>
                </c:pt>
                <c:pt idx="27645">
                  <c:v>0.49304440877474498</c:v>
                </c:pt>
                <c:pt idx="27646">
                  <c:v>0.493062243624041</c:v>
                </c:pt>
                <c:pt idx="27647">
                  <c:v>0.49308007847333601</c:v>
                </c:pt>
                <c:pt idx="27648">
                  <c:v>0.49309791332263198</c:v>
                </c:pt>
                <c:pt idx="27649">
                  <c:v>0.49311574817192699</c:v>
                </c:pt>
                <c:pt idx="27650">
                  <c:v>0.49313358302122301</c:v>
                </c:pt>
                <c:pt idx="27651">
                  <c:v>0.49315141787051803</c:v>
                </c:pt>
                <c:pt idx="27652">
                  <c:v>0.49316925271981399</c:v>
                </c:pt>
                <c:pt idx="27653">
                  <c:v>0.49318708756911001</c:v>
                </c:pt>
                <c:pt idx="27654">
                  <c:v>0.49320492241840502</c:v>
                </c:pt>
                <c:pt idx="27655">
                  <c:v>0.49322275726770098</c:v>
                </c:pt>
                <c:pt idx="27656">
                  <c:v>0.493240592116996</c:v>
                </c:pt>
                <c:pt idx="27657">
                  <c:v>0.49325842696629202</c:v>
                </c:pt>
                <c:pt idx="27658">
                  <c:v>0.49327626181558698</c:v>
                </c:pt>
                <c:pt idx="27659">
                  <c:v>0.493294096664883</c:v>
                </c:pt>
                <c:pt idx="27660">
                  <c:v>0.49331193151417801</c:v>
                </c:pt>
                <c:pt idx="27661">
                  <c:v>0.49332976636347398</c:v>
                </c:pt>
                <c:pt idx="27662">
                  <c:v>0.49334760121276899</c:v>
                </c:pt>
                <c:pt idx="27663">
                  <c:v>0.49336543606206501</c:v>
                </c:pt>
                <c:pt idx="27664">
                  <c:v>0.49338327091135997</c:v>
                </c:pt>
                <c:pt idx="27665">
                  <c:v>0.49340110576065599</c:v>
                </c:pt>
                <c:pt idx="27666">
                  <c:v>0.49341894060995101</c:v>
                </c:pt>
                <c:pt idx="27667">
                  <c:v>0.49343677545924702</c:v>
                </c:pt>
                <c:pt idx="27668">
                  <c:v>0.49345461030854199</c:v>
                </c:pt>
                <c:pt idx="27669">
                  <c:v>0.493472445157838</c:v>
                </c:pt>
                <c:pt idx="27670">
                  <c:v>0.49349028000713302</c:v>
                </c:pt>
                <c:pt idx="27671">
                  <c:v>0.49350811485642898</c:v>
                </c:pt>
                <c:pt idx="27672">
                  <c:v>0.493525949705725</c:v>
                </c:pt>
                <c:pt idx="27673">
                  <c:v>0.49354378455502002</c:v>
                </c:pt>
                <c:pt idx="27674">
                  <c:v>0.49356161940431598</c:v>
                </c:pt>
                <c:pt idx="27675">
                  <c:v>0.49357945425361099</c:v>
                </c:pt>
                <c:pt idx="27676">
                  <c:v>0.49359728910290701</c:v>
                </c:pt>
                <c:pt idx="27677">
                  <c:v>0.49361512395220197</c:v>
                </c:pt>
                <c:pt idx="27678">
                  <c:v>0.49363295880149799</c:v>
                </c:pt>
                <c:pt idx="27679">
                  <c:v>0.49365079365079301</c:v>
                </c:pt>
                <c:pt idx="27680">
                  <c:v>0.49366862850008902</c:v>
                </c:pt>
                <c:pt idx="27681">
                  <c:v>0.49368646334938399</c:v>
                </c:pt>
                <c:pt idx="27682">
                  <c:v>0.49370429819868</c:v>
                </c:pt>
                <c:pt idx="27683">
                  <c:v>0.49372213304797502</c:v>
                </c:pt>
                <c:pt idx="27684">
                  <c:v>0.49373996789727098</c:v>
                </c:pt>
                <c:pt idx="27685">
                  <c:v>0.493757802746566</c:v>
                </c:pt>
                <c:pt idx="27686">
                  <c:v>0.49377563759586202</c:v>
                </c:pt>
                <c:pt idx="27687">
                  <c:v>0.49379347244515698</c:v>
                </c:pt>
                <c:pt idx="27688">
                  <c:v>0.49381130729445299</c:v>
                </c:pt>
                <c:pt idx="27689">
                  <c:v>0.49382914214374801</c:v>
                </c:pt>
                <c:pt idx="27690">
                  <c:v>0.49384697699304397</c:v>
                </c:pt>
                <c:pt idx="27691">
                  <c:v>0.49386481184233899</c:v>
                </c:pt>
                <c:pt idx="27692">
                  <c:v>0.49388264669163501</c:v>
                </c:pt>
                <c:pt idx="27693">
                  <c:v>0.49390048154093003</c:v>
                </c:pt>
                <c:pt idx="27694">
                  <c:v>0.49391831639022599</c:v>
                </c:pt>
                <c:pt idx="27695">
                  <c:v>0.493936151239522</c:v>
                </c:pt>
                <c:pt idx="27696">
                  <c:v>0.49395398608881702</c:v>
                </c:pt>
                <c:pt idx="27697">
                  <c:v>0.49397182093811298</c:v>
                </c:pt>
                <c:pt idx="27698">
                  <c:v>0.493989655787408</c:v>
                </c:pt>
                <c:pt idx="27699">
                  <c:v>0.49400749063670402</c:v>
                </c:pt>
                <c:pt idx="27700">
                  <c:v>0.49402532548599898</c:v>
                </c:pt>
                <c:pt idx="27701">
                  <c:v>0.494043160335295</c:v>
                </c:pt>
                <c:pt idx="27702">
                  <c:v>0.49406099518459001</c:v>
                </c:pt>
                <c:pt idx="27703">
                  <c:v>0.49407883003388597</c:v>
                </c:pt>
                <c:pt idx="27704">
                  <c:v>0.49409666488318099</c:v>
                </c:pt>
                <c:pt idx="27705">
                  <c:v>0.49411449973247701</c:v>
                </c:pt>
                <c:pt idx="27706">
                  <c:v>0.49413233458177203</c:v>
                </c:pt>
                <c:pt idx="27707">
                  <c:v>0.49415016943106799</c:v>
                </c:pt>
                <c:pt idx="27708">
                  <c:v>0.494168004280363</c:v>
                </c:pt>
                <c:pt idx="27709">
                  <c:v>0.49418583912965902</c:v>
                </c:pt>
                <c:pt idx="27710">
                  <c:v>0.49420367397895398</c:v>
                </c:pt>
                <c:pt idx="27711">
                  <c:v>0.49422150882825</c:v>
                </c:pt>
                <c:pt idx="27712">
                  <c:v>0.49423934367754502</c:v>
                </c:pt>
                <c:pt idx="27713">
                  <c:v>0.49425717852684098</c:v>
                </c:pt>
                <c:pt idx="27714">
                  <c:v>0.494275013376137</c:v>
                </c:pt>
                <c:pt idx="27715">
                  <c:v>0.49429284822543201</c:v>
                </c:pt>
                <c:pt idx="27716">
                  <c:v>0.49431068307472797</c:v>
                </c:pt>
                <c:pt idx="27717">
                  <c:v>0.49432851792402299</c:v>
                </c:pt>
                <c:pt idx="27718">
                  <c:v>0.49434635277331901</c:v>
                </c:pt>
                <c:pt idx="27719">
                  <c:v>0.49436418762261403</c:v>
                </c:pt>
                <c:pt idx="27720">
                  <c:v>0.49438202247190999</c:v>
                </c:pt>
                <c:pt idx="27721">
                  <c:v>0.49439985732120501</c:v>
                </c:pt>
                <c:pt idx="27722">
                  <c:v>0.49441769217050102</c:v>
                </c:pt>
                <c:pt idx="27723">
                  <c:v>0.49443552701979598</c:v>
                </c:pt>
                <c:pt idx="27724">
                  <c:v>0.494453361869092</c:v>
                </c:pt>
                <c:pt idx="27725">
                  <c:v>0.49447119671838702</c:v>
                </c:pt>
                <c:pt idx="27726">
                  <c:v>0.49448903156768298</c:v>
                </c:pt>
                <c:pt idx="27727">
                  <c:v>0.494506866416978</c:v>
                </c:pt>
                <c:pt idx="27728">
                  <c:v>0.49452470126627401</c:v>
                </c:pt>
                <c:pt idx="27729">
                  <c:v>0.49454253611556898</c:v>
                </c:pt>
                <c:pt idx="27730">
                  <c:v>0.49456037096486499</c:v>
                </c:pt>
                <c:pt idx="27731">
                  <c:v>0.49457820581416001</c:v>
                </c:pt>
                <c:pt idx="27732">
                  <c:v>0.49459604066345603</c:v>
                </c:pt>
                <c:pt idx="27733">
                  <c:v>0.49461387551275099</c:v>
                </c:pt>
                <c:pt idx="27734">
                  <c:v>0.49463171036204701</c:v>
                </c:pt>
                <c:pt idx="27735">
                  <c:v>0.49464954521134202</c:v>
                </c:pt>
                <c:pt idx="27736">
                  <c:v>0.49466738006063798</c:v>
                </c:pt>
                <c:pt idx="27737">
                  <c:v>0.494685214909934</c:v>
                </c:pt>
                <c:pt idx="27738">
                  <c:v>0.49470304975922902</c:v>
                </c:pt>
                <c:pt idx="27739">
                  <c:v>0.49472088460852498</c:v>
                </c:pt>
                <c:pt idx="27740">
                  <c:v>0.49473871945782</c:v>
                </c:pt>
                <c:pt idx="27741">
                  <c:v>0.49475655430711601</c:v>
                </c:pt>
                <c:pt idx="27742">
                  <c:v>0.49477438915641098</c:v>
                </c:pt>
                <c:pt idx="27743">
                  <c:v>0.49479222400570699</c:v>
                </c:pt>
                <c:pt idx="27744">
                  <c:v>0.49481005885500201</c:v>
                </c:pt>
                <c:pt idx="27745">
                  <c:v>0.49482789370429803</c:v>
                </c:pt>
                <c:pt idx="27746">
                  <c:v>0.49484572855359299</c:v>
                </c:pt>
                <c:pt idx="27747">
                  <c:v>0.49486356340288901</c:v>
                </c:pt>
                <c:pt idx="27748">
                  <c:v>0.49488139825218402</c:v>
                </c:pt>
                <c:pt idx="27749">
                  <c:v>0.49489923310147999</c:v>
                </c:pt>
                <c:pt idx="27750">
                  <c:v>0.494917067950775</c:v>
                </c:pt>
                <c:pt idx="27751">
                  <c:v>0.49493490280007102</c:v>
                </c:pt>
                <c:pt idx="27752">
                  <c:v>0.49495273764936598</c:v>
                </c:pt>
                <c:pt idx="27753">
                  <c:v>0.494970572498662</c:v>
                </c:pt>
                <c:pt idx="27754">
                  <c:v>0.49498840734795702</c:v>
                </c:pt>
                <c:pt idx="27755">
                  <c:v>0.49500624219725298</c:v>
                </c:pt>
                <c:pt idx="27756">
                  <c:v>0.49502407704654799</c:v>
                </c:pt>
                <c:pt idx="27757">
                  <c:v>0.49504191189584401</c:v>
                </c:pt>
                <c:pt idx="27758">
                  <c:v>0.49505974674513997</c:v>
                </c:pt>
                <c:pt idx="27759">
                  <c:v>0.49507758159443499</c:v>
                </c:pt>
                <c:pt idx="27760">
                  <c:v>0.49509541644373101</c:v>
                </c:pt>
                <c:pt idx="27761">
                  <c:v>0.49511325129302602</c:v>
                </c:pt>
                <c:pt idx="27762">
                  <c:v>0.49513108614232199</c:v>
                </c:pt>
                <c:pt idx="27763">
                  <c:v>0.495148920991617</c:v>
                </c:pt>
                <c:pt idx="27764">
                  <c:v>0.49516675584091302</c:v>
                </c:pt>
                <c:pt idx="27765">
                  <c:v>0.49518459069020798</c:v>
                </c:pt>
                <c:pt idx="27766">
                  <c:v>0.495202425539504</c:v>
                </c:pt>
                <c:pt idx="27767">
                  <c:v>0.49522026038879902</c:v>
                </c:pt>
                <c:pt idx="27768">
                  <c:v>0.49523809523809498</c:v>
                </c:pt>
                <c:pt idx="27769">
                  <c:v>0.49525593008739</c:v>
                </c:pt>
                <c:pt idx="27770">
                  <c:v>0.49527376493668601</c:v>
                </c:pt>
                <c:pt idx="27771">
                  <c:v>0.49529159978598097</c:v>
                </c:pt>
                <c:pt idx="27772">
                  <c:v>0.49530943463527699</c:v>
                </c:pt>
                <c:pt idx="27773">
                  <c:v>0.49532726948457201</c:v>
                </c:pt>
                <c:pt idx="27774">
                  <c:v>0.49534510433386802</c:v>
                </c:pt>
                <c:pt idx="27775">
                  <c:v>0.49536293918316299</c:v>
                </c:pt>
                <c:pt idx="27776">
                  <c:v>0.495380774032459</c:v>
                </c:pt>
                <c:pt idx="27777">
                  <c:v>0.49539860888175402</c:v>
                </c:pt>
                <c:pt idx="27778">
                  <c:v>0.49541644373104998</c:v>
                </c:pt>
                <c:pt idx="27779">
                  <c:v>0.495434278580346</c:v>
                </c:pt>
                <c:pt idx="27780">
                  <c:v>0.49545211342964102</c:v>
                </c:pt>
                <c:pt idx="27781">
                  <c:v>0.49546994827893698</c:v>
                </c:pt>
                <c:pt idx="27782">
                  <c:v>0.495487783128232</c:v>
                </c:pt>
                <c:pt idx="27783">
                  <c:v>0.49550561797752801</c:v>
                </c:pt>
                <c:pt idx="27784">
                  <c:v>0.49552345282682297</c:v>
                </c:pt>
                <c:pt idx="27785">
                  <c:v>0.49554128767611899</c:v>
                </c:pt>
                <c:pt idx="27786">
                  <c:v>0.49555912252541401</c:v>
                </c:pt>
                <c:pt idx="27787">
                  <c:v>0.49557695737471003</c:v>
                </c:pt>
                <c:pt idx="27788">
                  <c:v>0.49559479222400499</c:v>
                </c:pt>
                <c:pt idx="27789">
                  <c:v>0.495612627073301</c:v>
                </c:pt>
                <c:pt idx="27790">
                  <c:v>0.49563046192259602</c:v>
                </c:pt>
                <c:pt idx="27791">
                  <c:v>0.49564829677189198</c:v>
                </c:pt>
                <c:pt idx="27792">
                  <c:v>0.495666131621187</c:v>
                </c:pt>
                <c:pt idx="27793">
                  <c:v>0.49568396647048302</c:v>
                </c:pt>
                <c:pt idx="27794">
                  <c:v>0.49570180131977798</c:v>
                </c:pt>
                <c:pt idx="27795">
                  <c:v>0.495719636169074</c:v>
                </c:pt>
                <c:pt idx="27796">
                  <c:v>0.49573747101836901</c:v>
                </c:pt>
                <c:pt idx="27797">
                  <c:v>0.49575530586766497</c:v>
                </c:pt>
                <c:pt idx="27798">
                  <c:v>0.49577314071695999</c:v>
                </c:pt>
                <c:pt idx="27799">
                  <c:v>0.49579097556625601</c:v>
                </c:pt>
                <c:pt idx="27800">
                  <c:v>0.49580881041555103</c:v>
                </c:pt>
                <c:pt idx="27801">
                  <c:v>0.49582664526484699</c:v>
                </c:pt>
                <c:pt idx="27802">
                  <c:v>0.495844480114143</c:v>
                </c:pt>
                <c:pt idx="27803">
                  <c:v>0.49586231496343802</c:v>
                </c:pt>
                <c:pt idx="27804">
                  <c:v>0.49588014981273398</c:v>
                </c:pt>
                <c:pt idx="27805">
                  <c:v>0.495897984662029</c:v>
                </c:pt>
                <c:pt idx="27806">
                  <c:v>0.49591581951132502</c:v>
                </c:pt>
                <c:pt idx="27807">
                  <c:v>0.49593365436061998</c:v>
                </c:pt>
                <c:pt idx="27808">
                  <c:v>0.495951489209916</c:v>
                </c:pt>
                <c:pt idx="27809">
                  <c:v>0.49596932405921101</c:v>
                </c:pt>
                <c:pt idx="27810">
                  <c:v>0.49598715890850698</c:v>
                </c:pt>
                <c:pt idx="27811">
                  <c:v>0.49600499375780199</c:v>
                </c:pt>
                <c:pt idx="27812">
                  <c:v>0.49602282860709801</c:v>
                </c:pt>
                <c:pt idx="27813">
                  <c:v>0.49604066345639303</c:v>
                </c:pt>
                <c:pt idx="27814">
                  <c:v>0.49605849830568899</c:v>
                </c:pt>
                <c:pt idx="27815">
                  <c:v>0.49607633315498401</c:v>
                </c:pt>
                <c:pt idx="27816">
                  <c:v>0.49609416800428002</c:v>
                </c:pt>
                <c:pt idx="27817">
                  <c:v>0.49611200285357498</c:v>
                </c:pt>
                <c:pt idx="27818">
                  <c:v>0.496129837702871</c:v>
                </c:pt>
                <c:pt idx="27819">
                  <c:v>0.49614767255216602</c:v>
                </c:pt>
                <c:pt idx="27820">
                  <c:v>0.49616550740146198</c:v>
                </c:pt>
                <c:pt idx="27821">
                  <c:v>0.496183342250758</c:v>
                </c:pt>
                <c:pt idx="27822">
                  <c:v>0.49620117710005301</c:v>
                </c:pt>
                <c:pt idx="27823">
                  <c:v>0.49621901194934898</c:v>
                </c:pt>
                <c:pt idx="27824">
                  <c:v>0.49623684679864399</c:v>
                </c:pt>
                <c:pt idx="27825">
                  <c:v>0.49625468164794001</c:v>
                </c:pt>
                <c:pt idx="27826">
                  <c:v>0.49627251649723497</c:v>
                </c:pt>
                <c:pt idx="27827">
                  <c:v>0.49629035134653099</c:v>
                </c:pt>
                <c:pt idx="27828">
                  <c:v>0.49630818619582601</c:v>
                </c:pt>
                <c:pt idx="27829">
                  <c:v>0.49632602104512202</c:v>
                </c:pt>
                <c:pt idx="27830">
                  <c:v>0.49634385589441699</c:v>
                </c:pt>
                <c:pt idx="27831">
                  <c:v>0.496361690743713</c:v>
                </c:pt>
                <c:pt idx="27832">
                  <c:v>0.49637952559300802</c:v>
                </c:pt>
                <c:pt idx="27833">
                  <c:v>0.49639736044230398</c:v>
                </c:pt>
                <c:pt idx="27834">
                  <c:v>0.496415195291599</c:v>
                </c:pt>
                <c:pt idx="27835">
                  <c:v>0.49643303014089502</c:v>
                </c:pt>
                <c:pt idx="27836">
                  <c:v>0.49645086499018998</c:v>
                </c:pt>
                <c:pt idx="27837">
                  <c:v>0.49646869983948599</c:v>
                </c:pt>
                <c:pt idx="27838">
                  <c:v>0.49648653468878101</c:v>
                </c:pt>
                <c:pt idx="27839">
                  <c:v>0.49650436953807697</c:v>
                </c:pt>
                <c:pt idx="27840">
                  <c:v>0.49652220438737199</c:v>
                </c:pt>
                <c:pt idx="27841">
                  <c:v>0.49654003923666801</c:v>
                </c:pt>
                <c:pt idx="27842">
                  <c:v>0.49655787408596302</c:v>
                </c:pt>
                <c:pt idx="27843">
                  <c:v>0.49657570893525899</c:v>
                </c:pt>
                <c:pt idx="27844">
                  <c:v>0.496593543784555</c:v>
                </c:pt>
                <c:pt idx="27845">
                  <c:v>0.49661137863385002</c:v>
                </c:pt>
                <c:pt idx="27846">
                  <c:v>0.49662921348314598</c:v>
                </c:pt>
                <c:pt idx="27847">
                  <c:v>0.496647048332441</c:v>
                </c:pt>
                <c:pt idx="27848">
                  <c:v>0.49666488318173702</c:v>
                </c:pt>
                <c:pt idx="27849">
                  <c:v>0.49668271803103198</c:v>
                </c:pt>
                <c:pt idx="27850">
                  <c:v>0.49670055288032799</c:v>
                </c:pt>
                <c:pt idx="27851">
                  <c:v>0.49671838772962301</c:v>
                </c:pt>
                <c:pt idx="27852">
                  <c:v>0.49673622257891897</c:v>
                </c:pt>
                <c:pt idx="27853">
                  <c:v>0.49675405742821399</c:v>
                </c:pt>
                <c:pt idx="27854">
                  <c:v>0.49677189227751001</c:v>
                </c:pt>
                <c:pt idx="27855">
                  <c:v>0.49678972712680503</c:v>
                </c:pt>
                <c:pt idx="27856">
                  <c:v>0.49680756197610099</c:v>
                </c:pt>
                <c:pt idx="27857">
                  <c:v>0.496825396825396</c:v>
                </c:pt>
                <c:pt idx="27858">
                  <c:v>0.49684323167469202</c:v>
                </c:pt>
                <c:pt idx="27859">
                  <c:v>0.49686106652398698</c:v>
                </c:pt>
                <c:pt idx="27860">
                  <c:v>0.496878901373283</c:v>
                </c:pt>
                <c:pt idx="27861">
                  <c:v>0.49689673622257802</c:v>
                </c:pt>
                <c:pt idx="27862">
                  <c:v>0.49691457107187398</c:v>
                </c:pt>
                <c:pt idx="27863">
                  <c:v>0.496932405921169</c:v>
                </c:pt>
                <c:pt idx="27864">
                  <c:v>0.49695024077046501</c:v>
                </c:pt>
                <c:pt idx="27865">
                  <c:v>0.49696807561976097</c:v>
                </c:pt>
                <c:pt idx="27866">
                  <c:v>0.49698591046905599</c:v>
                </c:pt>
                <c:pt idx="27867">
                  <c:v>0.49700374531835201</c:v>
                </c:pt>
                <c:pt idx="27868">
                  <c:v>0.49702158016764703</c:v>
                </c:pt>
                <c:pt idx="27869">
                  <c:v>0.49703941501694299</c:v>
                </c:pt>
                <c:pt idx="27870">
                  <c:v>0.497057249866238</c:v>
                </c:pt>
                <c:pt idx="27871">
                  <c:v>0.49707508471553402</c:v>
                </c:pt>
                <c:pt idx="27872">
                  <c:v>0.49709291956482898</c:v>
                </c:pt>
                <c:pt idx="27873">
                  <c:v>0.497110754414125</c:v>
                </c:pt>
                <c:pt idx="27874">
                  <c:v>0.49712858926342002</c:v>
                </c:pt>
                <c:pt idx="27875">
                  <c:v>0.49714642411271598</c:v>
                </c:pt>
                <c:pt idx="27876">
                  <c:v>0.497164258962011</c:v>
                </c:pt>
                <c:pt idx="27877">
                  <c:v>0.49718209381130701</c:v>
                </c:pt>
                <c:pt idx="27878">
                  <c:v>0.49719992866060198</c:v>
                </c:pt>
                <c:pt idx="27879">
                  <c:v>0.49721776350989799</c:v>
                </c:pt>
                <c:pt idx="27880">
                  <c:v>0.49723559835919301</c:v>
                </c:pt>
                <c:pt idx="27881">
                  <c:v>0.49725343320848903</c:v>
                </c:pt>
                <c:pt idx="27882">
                  <c:v>0.49727126805778399</c:v>
                </c:pt>
                <c:pt idx="27883">
                  <c:v>0.49728910290708001</c:v>
                </c:pt>
                <c:pt idx="27884">
                  <c:v>0.49730693775637502</c:v>
                </c:pt>
                <c:pt idx="27885">
                  <c:v>0.49732477260567098</c:v>
                </c:pt>
                <c:pt idx="27886">
                  <c:v>0.497342607454967</c:v>
                </c:pt>
                <c:pt idx="27887">
                  <c:v>0.49736044230426202</c:v>
                </c:pt>
                <c:pt idx="27888">
                  <c:v>0.49737827715355798</c:v>
                </c:pt>
                <c:pt idx="27889">
                  <c:v>0.497396112002853</c:v>
                </c:pt>
                <c:pt idx="27890">
                  <c:v>0.49741394685214901</c:v>
                </c:pt>
                <c:pt idx="27891">
                  <c:v>0.49743178170144398</c:v>
                </c:pt>
                <c:pt idx="27892">
                  <c:v>0.49744961655073999</c:v>
                </c:pt>
                <c:pt idx="27893">
                  <c:v>0.49746745140003501</c:v>
                </c:pt>
                <c:pt idx="27894">
                  <c:v>0.49748528624933103</c:v>
                </c:pt>
                <c:pt idx="27895">
                  <c:v>0.49750312109862599</c:v>
                </c:pt>
                <c:pt idx="27896">
                  <c:v>0.49752095594792201</c:v>
                </c:pt>
                <c:pt idx="27897">
                  <c:v>0.49753879079721702</c:v>
                </c:pt>
                <c:pt idx="27898">
                  <c:v>0.49755662564651298</c:v>
                </c:pt>
                <c:pt idx="27899">
                  <c:v>0.497574460495808</c:v>
                </c:pt>
                <c:pt idx="27900">
                  <c:v>0.49759229534510402</c:v>
                </c:pt>
                <c:pt idx="27901">
                  <c:v>0.49761013019439898</c:v>
                </c:pt>
                <c:pt idx="27902">
                  <c:v>0.497627965043695</c:v>
                </c:pt>
                <c:pt idx="27903">
                  <c:v>0.49764579989299002</c:v>
                </c:pt>
                <c:pt idx="27904">
                  <c:v>0.49766363474228598</c:v>
                </c:pt>
                <c:pt idx="27905">
                  <c:v>0.49768146959158099</c:v>
                </c:pt>
                <c:pt idx="27906">
                  <c:v>0.49769930444087701</c:v>
                </c:pt>
                <c:pt idx="27907">
                  <c:v>0.49771713929017197</c:v>
                </c:pt>
                <c:pt idx="27908">
                  <c:v>0.49773497413946799</c:v>
                </c:pt>
                <c:pt idx="27909">
                  <c:v>0.49775280898876401</c:v>
                </c:pt>
                <c:pt idx="27910">
                  <c:v>0.49777064383805902</c:v>
                </c:pt>
                <c:pt idx="27911">
                  <c:v>0.49778847868735498</c:v>
                </c:pt>
                <c:pt idx="27912">
                  <c:v>0.49780631353665</c:v>
                </c:pt>
                <c:pt idx="27913">
                  <c:v>0.49782414838594602</c:v>
                </c:pt>
                <c:pt idx="27914">
                  <c:v>0.49784198323524098</c:v>
                </c:pt>
                <c:pt idx="27915">
                  <c:v>0.497859818084537</c:v>
                </c:pt>
                <c:pt idx="27916">
                  <c:v>0.49787765293383202</c:v>
                </c:pt>
                <c:pt idx="27917">
                  <c:v>0.49789548778312798</c:v>
                </c:pt>
                <c:pt idx="27918">
                  <c:v>0.49791332263242299</c:v>
                </c:pt>
                <c:pt idx="27919">
                  <c:v>0.49793115748171901</c:v>
                </c:pt>
                <c:pt idx="27920">
                  <c:v>0.49794899233101397</c:v>
                </c:pt>
                <c:pt idx="27921">
                  <c:v>0.49796682718030999</c:v>
                </c:pt>
                <c:pt idx="27922">
                  <c:v>0.49798466202960501</c:v>
                </c:pt>
                <c:pt idx="27923">
                  <c:v>0.49800249687890102</c:v>
                </c:pt>
                <c:pt idx="27924">
                  <c:v>0.49802033172819599</c:v>
                </c:pt>
                <c:pt idx="27925">
                  <c:v>0.498038166577492</c:v>
                </c:pt>
                <c:pt idx="27926">
                  <c:v>0.49805600142678702</c:v>
                </c:pt>
                <c:pt idx="27927">
                  <c:v>0.49807383627608298</c:v>
                </c:pt>
                <c:pt idx="27928">
                  <c:v>0.498091671125379</c:v>
                </c:pt>
                <c:pt idx="27929">
                  <c:v>0.49810950597467402</c:v>
                </c:pt>
                <c:pt idx="27930">
                  <c:v>0.49812734082396998</c:v>
                </c:pt>
                <c:pt idx="27931">
                  <c:v>0.49814517567326499</c:v>
                </c:pt>
                <c:pt idx="27932">
                  <c:v>0.49816301052256101</c:v>
                </c:pt>
                <c:pt idx="27933">
                  <c:v>0.49818084537185597</c:v>
                </c:pt>
                <c:pt idx="27934">
                  <c:v>0.49819868022115199</c:v>
                </c:pt>
                <c:pt idx="27935">
                  <c:v>0.49821651507044701</c:v>
                </c:pt>
                <c:pt idx="27936">
                  <c:v>0.49823434991974302</c:v>
                </c:pt>
                <c:pt idx="27937">
                  <c:v>0.49825218476903799</c:v>
                </c:pt>
                <c:pt idx="27938">
                  <c:v>0.498270019618334</c:v>
                </c:pt>
                <c:pt idx="27939">
                  <c:v>0.49828785446762902</c:v>
                </c:pt>
                <c:pt idx="27940">
                  <c:v>0.49830568931692498</c:v>
                </c:pt>
                <c:pt idx="27941">
                  <c:v>0.49832352416622</c:v>
                </c:pt>
                <c:pt idx="27942">
                  <c:v>0.49834135901551602</c:v>
                </c:pt>
                <c:pt idx="27943">
                  <c:v>0.49835919386481098</c:v>
                </c:pt>
                <c:pt idx="27944">
                  <c:v>0.498377028714107</c:v>
                </c:pt>
                <c:pt idx="27945">
                  <c:v>0.49839486356340201</c:v>
                </c:pt>
                <c:pt idx="27946">
                  <c:v>0.49841269841269797</c:v>
                </c:pt>
                <c:pt idx="27947">
                  <c:v>0.49843053326199299</c:v>
                </c:pt>
                <c:pt idx="27948">
                  <c:v>0.49844836811128901</c:v>
                </c:pt>
                <c:pt idx="27949">
                  <c:v>0.49846620296058403</c:v>
                </c:pt>
                <c:pt idx="27950">
                  <c:v>0.49848403780987999</c:v>
                </c:pt>
                <c:pt idx="27951">
                  <c:v>0.498501872659176</c:v>
                </c:pt>
                <c:pt idx="27952">
                  <c:v>0.49851970750847102</c:v>
                </c:pt>
                <c:pt idx="27953">
                  <c:v>0.49853754235776698</c:v>
                </c:pt>
                <c:pt idx="27954">
                  <c:v>0.498555377207062</c:v>
                </c:pt>
                <c:pt idx="27955">
                  <c:v>0.49857321205635802</c:v>
                </c:pt>
                <c:pt idx="27956">
                  <c:v>0.49859104690565298</c:v>
                </c:pt>
                <c:pt idx="27957">
                  <c:v>0.498608881754949</c:v>
                </c:pt>
                <c:pt idx="27958">
                  <c:v>0.49862671660424401</c:v>
                </c:pt>
                <c:pt idx="27959">
                  <c:v>0.49864455145353997</c:v>
                </c:pt>
                <c:pt idx="27960">
                  <c:v>0.49866238630283499</c:v>
                </c:pt>
                <c:pt idx="27961">
                  <c:v>0.49868022115213101</c:v>
                </c:pt>
                <c:pt idx="27962">
                  <c:v>0.49869805600142603</c:v>
                </c:pt>
                <c:pt idx="27963">
                  <c:v>0.49871589085072199</c:v>
                </c:pt>
                <c:pt idx="27964">
                  <c:v>0.49873372570001701</c:v>
                </c:pt>
                <c:pt idx="27965">
                  <c:v>0.49875156054931302</c:v>
                </c:pt>
                <c:pt idx="27966">
                  <c:v>0.49876939539860798</c:v>
                </c:pt>
                <c:pt idx="27967">
                  <c:v>0.498787230247904</c:v>
                </c:pt>
                <c:pt idx="27968">
                  <c:v>0.49880506509719902</c:v>
                </c:pt>
                <c:pt idx="27969">
                  <c:v>0.49882289994649498</c:v>
                </c:pt>
                <c:pt idx="27970">
                  <c:v>0.498840734795791</c:v>
                </c:pt>
                <c:pt idx="27971">
                  <c:v>0.49885856964508601</c:v>
                </c:pt>
                <c:pt idx="27972">
                  <c:v>0.49887640449438198</c:v>
                </c:pt>
                <c:pt idx="27973">
                  <c:v>0.49889423934367699</c:v>
                </c:pt>
                <c:pt idx="27974">
                  <c:v>0.49891207419297301</c:v>
                </c:pt>
                <c:pt idx="27975">
                  <c:v>0.49892990904226803</c:v>
                </c:pt>
                <c:pt idx="27976">
                  <c:v>0.49894774389156399</c:v>
                </c:pt>
                <c:pt idx="27977">
                  <c:v>0.49896557874085901</c:v>
                </c:pt>
                <c:pt idx="27978">
                  <c:v>0.49898341359015502</c:v>
                </c:pt>
                <c:pt idx="27979">
                  <c:v>0.49900124843944998</c:v>
                </c:pt>
                <c:pt idx="27980">
                  <c:v>0.499019083288746</c:v>
                </c:pt>
                <c:pt idx="27981">
                  <c:v>0.49903691813804102</c:v>
                </c:pt>
                <c:pt idx="27982">
                  <c:v>0.49905475298733698</c:v>
                </c:pt>
                <c:pt idx="27983">
                  <c:v>0.499072587836632</c:v>
                </c:pt>
                <c:pt idx="27984">
                  <c:v>0.49909042268592801</c:v>
                </c:pt>
                <c:pt idx="27985">
                  <c:v>0.49910825753522298</c:v>
                </c:pt>
                <c:pt idx="27986">
                  <c:v>0.49912609238451899</c:v>
                </c:pt>
                <c:pt idx="27987">
                  <c:v>0.49914392723381401</c:v>
                </c:pt>
                <c:pt idx="27988">
                  <c:v>0.49916176208311003</c:v>
                </c:pt>
                <c:pt idx="27989">
                  <c:v>0.49917959693240499</c:v>
                </c:pt>
                <c:pt idx="27990">
                  <c:v>0.49919743178170101</c:v>
                </c:pt>
                <c:pt idx="27991">
                  <c:v>0.49921526663099602</c:v>
                </c:pt>
                <c:pt idx="27992">
                  <c:v>0.49923310148029199</c:v>
                </c:pt>
                <c:pt idx="27993">
                  <c:v>0.499250936329588</c:v>
                </c:pt>
                <c:pt idx="27994">
                  <c:v>0.49926877117888302</c:v>
                </c:pt>
                <c:pt idx="27995">
                  <c:v>0.49928660602817898</c:v>
                </c:pt>
                <c:pt idx="27996">
                  <c:v>0.499304440877474</c:v>
                </c:pt>
                <c:pt idx="27997">
                  <c:v>0.49932227572677002</c:v>
                </c:pt>
                <c:pt idx="27998">
                  <c:v>0.49934011057606498</c:v>
                </c:pt>
                <c:pt idx="27999">
                  <c:v>0.49935794542536099</c:v>
                </c:pt>
                <c:pt idx="28000">
                  <c:v>0.49937578027465601</c:v>
                </c:pt>
                <c:pt idx="28001">
                  <c:v>0.49939361512395197</c:v>
                </c:pt>
                <c:pt idx="28002">
                  <c:v>0.49941144997324699</c:v>
                </c:pt>
                <c:pt idx="28003">
                  <c:v>0.49942928482254301</c:v>
                </c:pt>
                <c:pt idx="28004">
                  <c:v>0.49944711967183802</c:v>
                </c:pt>
                <c:pt idx="28005">
                  <c:v>0.49946495452113399</c:v>
                </c:pt>
                <c:pt idx="28006">
                  <c:v>0.499482789370429</c:v>
                </c:pt>
                <c:pt idx="28007">
                  <c:v>0.49950062421972502</c:v>
                </c:pt>
                <c:pt idx="28008">
                  <c:v>0.49951845906901998</c:v>
                </c:pt>
                <c:pt idx="28009">
                  <c:v>0.499536293918316</c:v>
                </c:pt>
                <c:pt idx="28010">
                  <c:v>0.49955412876761102</c:v>
                </c:pt>
                <c:pt idx="28011">
                  <c:v>0.49957196361690698</c:v>
                </c:pt>
                <c:pt idx="28012">
                  <c:v>0.499589798466202</c:v>
                </c:pt>
                <c:pt idx="28013">
                  <c:v>0.49960763331549801</c:v>
                </c:pt>
                <c:pt idx="28014">
                  <c:v>0.49962546816479397</c:v>
                </c:pt>
                <c:pt idx="28015">
                  <c:v>0.49964330301408899</c:v>
                </c:pt>
                <c:pt idx="28016">
                  <c:v>0.49966113786338501</c:v>
                </c:pt>
                <c:pt idx="28017">
                  <c:v>0.49967897271268003</c:v>
                </c:pt>
                <c:pt idx="28018">
                  <c:v>0.49969680756197599</c:v>
                </c:pt>
                <c:pt idx="28019">
                  <c:v>0.499714642411271</c:v>
                </c:pt>
                <c:pt idx="28020">
                  <c:v>0.49973247726056702</c:v>
                </c:pt>
                <c:pt idx="28021">
                  <c:v>0.49975031210986198</c:v>
                </c:pt>
                <c:pt idx="28022">
                  <c:v>0.499768146959158</c:v>
                </c:pt>
                <c:pt idx="28023">
                  <c:v>0.49978598180845302</c:v>
                </c:pt>
                <c:pt idx="28024">
                  <c:v>0.49980381665774898</c:v>
                </c:pt>
                <c:pt idx="28025">
                  <c:v>0.499821651507044</c:v>
                </c:pt>
                <c:pt idx="28026">
                  <c:v>0.49983948635634001</c:v>
                </c:pt>
                <c:pt idx="28027">
                  <c:v>0.49985732120563497</c:v>
                </c:pt>
                <c:pt idx="28028">
                  <c:v>0.49987515605493099</c:v>
                </c:pt>
                <c:pt idx="28029">
                  <c:v>0.49989299090422601</c:v>
                </c:pt>
                <c:pt idx="28030">
                  <c:v>0.49991082575352203</c:v>
                </c:pt>
                <c:pt idx="28031">
                  <c:v>0.49992866060281699</c:v>
                </c:pt>
                <c:pt idx="28032">
                  <c:v>0.499946495452113</c:v>
                </c:pt>
                <c:pt idx="28033">
                  <c:v>0.49996433030140802</c:v>
                </c:pt>
                <c:pt idx="28034">
                  <c:v>0.49998216515070398</c:v>
                </c:pt>
                <c:pt idx="28035">
                  <c:v>0.5</c:v>
                </c:pt>
                <c:pt idx="28036">
                  <c:v>0.50001783484929496</c:v>
                </c:pt>
                <c:pt idx="28037">
                  <c:v>0.50003566969859103</c:v>
                </c:pt>
                <c:pt idx="28038">
                  <c:v>0.500053504547886</c:v>
                </c:pt>
                <c:pt idx="28039">
                  <c:v>0.50007133939718196</c:v>
                </c:pt>
                <c:pt idx="28040">
                  <c:v>0.50008917424647703</c:v>
                </c:pt>
                <c:pt idx="28041">
                  <c:v>0.50010700909577299</c:v>
                </c:pt>
                <c:pt idx="28042">
                  <c:v>0.50012484394506795</c:v>
                </c:pt>
                <c:pt idx="28043">
                  <c:v>0.50014267879436403</c:v>
                </c:pt>
                <c:pt idx="28044">
                  <c:v>0.50016051364365899</c:v>
                </c:pt>
                <c:pt idx="28045">
                  <c:v>0.50017834849295495</c:v>
                </c:pt>
                <c:pt idx="28046">
                  <c:v>0.50019618334225002</c:v>
                </c:pt>
                <c:pt idx="28047">
                  <c:v>0.50021401819154598</c:v>
                </c:pt>
                <c:pt idx="28048">
                  <c:v>0.50023185304084095</c:v>
                </c:pt>
                <c:pt idx="28049">
                  <c:v>0.50024968789013702</c:v>
                </c:pt>
                <c:pt idx="28050">
                  <c:v>0.50026752273943198</c:v>
                </c:pt>
                <c:pt idx="28051">
                  <c:v>0.50028535758872805</c:v>
                </c:pt>
                <c:pt idx="28052">
                  <c:v>0.50030319243802301</c:v>
                </c:pt>
                <c:pt idx="28053">
                  <c:v>0.50032102728731898</c:v>
                </c:pt>
                <c:pt idx="28054">
                  <c:v>0.50033886213661405</c:v>
                </c:pt>
                <c:pt idx="28055">
                  <c:v>0.50035669698591001</c:v>
                </c:pt>
                <c:pt idx="28056">
                  <c:v>0.50037453183520597</c:v>
                </c:pt>
                <c:pt idx="28057">
                  <c:v>0.50039236668450104</c:v>
                </c:pt>
                <c:pt idx="28058">
                  <c:v>0.50041020153379701</c:v>
                </c:pt>
                <c:pt idx="28059">
                  <c:v>0.50042803638309197</c:v>
                </c:pt>
                <c:pt idx="28060">
                  <c:v>0.50044587123238804</c:v>
                </c:pt>
                <c:pt idx="28061">
                  <c:v>0.500463706081683</c:v>
                </c:pt>
                <c:pt idx="28062">
                  <c:v>0.50048154093097896</c:v>
                </c:pt>
                <c:pt idx="28063">
                  <c:v>0.50049937578027404</c:v>
                </c:pt>
                <c:pt idx="28064">
                  <c:v>0.50051721062957</c:v>
                </c:pt>
                <c:pt idx="28065">
                  <c:v>0.50053504547886496</c:v>
                </c:pt>
                <c:pt idx="28066">
                  <c:v>0.50055288032816103</c:v>
                </c:pt>
                <c:pt idx="28067">
                  <c:v>0.50057071517745599</c:v>
                </c:pt>
                <c:pt idx="28068">
                  <c:v>0.50058855002675196</c:v>
                </c:pt>
                <c:pt idx="28069">
                  <c:v>0.50060638487604703</c:v>
                </c:pt>
                <c:pt idx="28070">
                  <c:v>0.50062421972534299</c:v>
                </c:pt>
                <c:pt idx="28071">
                  <c:v>0.50064205457463795</c:v>
                </c:pt>
                <c:pt idx="28072">
                  <c:v>0.50065988942393402</c:v>
                </c:pt>
                <c:pt idx="28073">
                  <c:v>0.50067772427322899</c:v>
                </c:pt>
                <c:pt idx="28074">
                  <c:v>0.50069555912252495</c:v>
                </c:pt>
                <c:pt idx="28075">
                  <c:v>0.50071339397182002</c:v>
                </c:pt>
                <c:pt idx="28076">
                  <c:v>0.50073122882111598</c:v>
                </c:pt>
                <c:pt idx="28077">
                  <c:v>0.50074906367041105</c:v>
                </c:pt>
                <c:pt idx="28078">
                  <c:v>0.50076689851970702</c:v>
                </c:pt>
                <c:pt idx="28079">
                  <c:v>0.50078473336900298</c:v>
                </c:pt>
                <c:pt idx="28080">
                  <c:v>0.50080256821829805</c:v>
                </c:pt>
                <c:pt idx="28081">
                  <c:v>0.50082040306759401</c:v>
                </c:pt>
                <c:pt idx="28082">
                  <c:v>0.50083823791688897</c:v>
                </c:pt>
                <c:pt idx="28083">
                  <c:v>0.50085607276618505</c:v>
                </c:pt>
                <c:pt idx="28084">
                  <c:v>0.50087390761548001</c:v>
                </c:pt>
                <c:pt idx="28085">
                  <c:v>0.50089174246477597</c:v>
                </c:pt>
                <c:pt idx="28086">
                  <c:v>0.50090957731407104</c:v>
                </c:pt>
                <c:pt idx="28087">
                  <c:v>0.500927412163367</c:v>
                </c:pt>
                <c:pt idx="28088">
                  <c:v>0.50094524701266196</c:v>
                </c:pt>
                <c:pt idx="28089">
                  <c:v>0.50096308186195804</c:v>
                </c:pt>
                <c:pt idx="28090">
                  <c:v>0.500980916711253</c:v>
                </c:pt>
                <c:pt idx="28091">
                  <c:v>0.50099875156054896</c:v>
                </c:pt>
                <c:pt idx="28092">
                  <c:v>0.50101658640984403</c:v>
                </c:pt>
                <c:pt idx="28093">
                  <c:v>0.50103442125913999</c:v>
                </c:pt>
                <c:pt idx="28094">
                  <c:v>0.50105225610843496</c:v>
                </c:pt>
                <c:pt idx="28095">
                  <c:v>0.50107009095773103</c:v>
                </c:pt>
                <c:pt idx="28096">
                  <c:v>0.50108792580702599</c:v>
                </c:pt>
                <c:pt idx="28097">
                  <c:v>0.50110576065632195</c:v>
                </c:pt>
                <c:pt idx="28098">
                  <c:v>0.50112359550561802</c:v>
                </c:pt>
                <c:pt idx="28099">
                  <c:v>0.50114143035491299</c:v>
                </c:pt>
                <c:pt idx="28100">
                  <c:v>0.50115926520420895</c:v>
                </c:pt>
                <c:pt idx="28101">
                  <c:v>0.50117710005350402</c:v>
                </c:pt>
                <c:pt idx="28102">
                  <c:v>0.50119493490279998</c:v>
                </c:pt>
                <c:pt idx="28103">
                  <c:v>0.50121276975209506</c:v>
                </c:pt>
                <c:pt idx="28104">
                  <c:v>0.50123060460139102</c:v>
                </c:pt>
                <c:pt idx="28105">
                  <c:v>0.50124843945068598</c:v>
                </c:pt>
                <c:pt idx="28106">
                  <c:v>0.50126627429998205</c:v>
                </c:pt>
                <c:pt idx="28107">
                  <c:v>0.50128410914927701</c:v>
                </c:pt>
                <c:pt idx="28108">
                  <c:v>0.50130194399857297</c:v>
                </c:pt>
                <c:pt idx="28109">
                  <c:v>0.50131977884786805</c:v>
                </c:pt>
                <c:pt idx="28110">
                  <c:v>0.50133761369716401</c:v>
                </c:pt>
                <c:pt idx="28111">
                  <c:v>0.50135544854645897</c:v>
                </c:pt>
                <c:pt idx="28112">
                  <c:v>0.50137328339575504</c:v>
                </c:pt>
                <c:pt idx="28113">
                  <c:v>0.50139111824505</c:v>
                </c:pt>
                <c:pt idx="28114">
                  <c:v>0.50140895309434597</c:v>
                </c:pt>
                <c:pt idx="28115">
                  <c:v>0.50142678794364104</c:v>
                </c:pt>
                <c:pt idx="28116">
                  <c:v>0.501444622792937</c:v>
                </c:pt>
                <c:pt idx="28117">
                  <c:v>0.50146245764223296</c:v>
                </c:pt>
                <c:pt idx="28118">
                  <c:v>0.50148029249152803</c:v>
                </c:pt>
                <c:pt idx="28119">
                  <c:v>0.501498127340824</c:v>
                </c:pt>
                <c:pt idx="28120">
                  <c:v>0.50151596219011896</c:v>
                </c:pt>
                <c:pt idx="28121">
                  <c:v>0.50153379703941503</c:v>
                </c:pt>
                <c:pt idx="28122">
                  <c:v>0.50155163188870999</c:v>
                </c:pt>
                <c:pt idx="28123">
                  <c:v>0.50156946673800595</c:v>
                </c:pt>
                <c:pt idx="28124">
                  <c:v>0.50158730158730103</c:v>
                </c:pt>
                <c:pt idx="28125">
                  <c:v>0.50160513643659699</c:v>
                </c:pt>
                <c:pt idx="28126">
                  <c:v>0.50162297128589195</c:v>
                </c:pt>
                <c:pt idx="28127">
                  <c:v>0.50164080613518802</c:v>
                </c:pt>
                <c:pt idx="28128">
                  <c:v>0.50165864098448298</c:v>
                </c:pt>
                <c:pt idx="28129">
                  <c:v>0.50167647583377895</c:v>
                </c:pt>
                <c:pt idx="28130">
                  <c:v>0.50169431068307402</c:v>
                </c:pt>
                <c:pt idx="28131">
                  <c:v>0.50171214553236998</c:v>
                </c:pt>
                <c:pt idx="28132">
                  <c:v>0.50172998038166505</c:v>
                </c:pt>
                <c:pt idx="28133">
                  <c:v>0.50174781523096101</c:v>
                </c:pt>
                <c:pt idx="28134">
                  <c:v>0.50176565008025598</c:v>
                </c:pt>
                <c:pt idx="28135">
                  <c:v>0.50178348492955205</c:v>
                </c:pt>
                <c:pt idx="28136">
                  <c:v>0.50180131977884701</c:v>
                </c:pt>
                <c:pt idx="28137">
                  <c:v>0.50181915462814297</c:v>
                </c:pt>
                <c:pt idx="28138">
                  <c:v>0.50183698947743804</c:v>
                </c:pt>
                <c:pt idx="28139">
                  <c:v>0.50185482432673401</c:v>
                </c:pt>
                <c:pt idx="28140">
                  <c:v>0.50187265917602997</c:v>
                </c:pt>
                <c:pt idx="28141">
                  <c:v>0.50189049402532504</c:v>
                </c:pt>
                <c:pt idx="28142">
                  <c:v>0.501908328874621</c:v>
                </c:pt>
                <c:pt idx="28143">
                  <c:v>0.50192616372391596</c:v>
                </c:pt>
                <c:pt idx="28144">
                  <c:v>0.50194399857321204</c:v>
                </c:pt>
                <c:pt idx="28145">
                  <c:v>0.501961833422507</c:v>
                </c:pt>
                <c:pt idx="28146">
                  <c:v>0.50197966827180296</c:v>
                </c:pt>
                <c:pt idx="28147">
                  <c:v>0.50199750312109803</c:v>
                </c:pt>
                <c:pt idx="28148">
                  <c:v>0.50201533797039399</c:v>
                </c:pt>
                <c:pt idx="28149">
                  <c:v>0.50203317281968896</c:v>
                </c:pt>
                <c:pt idx="28150">
                  <c:v>0.50205100766898503</c:v>
                </c:pt>
                <c:pt idx="28151">
                  <c:v>0.50206884251827999</c:v>
                </c:pt>
                <c:pt idx="28152">
                  <c:v>0.50208667736757595</c:v>
                </c:pt>
                <c:pt idx="28153">
                  <c:v>0.50210451221687102</c:v>
                </c:pt>
                <c:pt idx="28154">
                  <c:v>0.50212234706616699</c:v>
                </c:pt>
                <c:pt idx="28155">
                  <c:v>0.50214018191546195</c:v>
                </c:pt>
                <c:pt idx="28156">
                  <c:v>0.50215801676475802</c:v>
                </c:pt>
                <c:pt idx="28157">
                  <c:v>0.50217585161405298</c:v>
                </c:pt>
                <c:pt idx="28158">
                  <c:v>0.50219368646334905</c:v>
                </c:pt>
                <c:pt idx="28159">
                  <c:v>0.50221152131264402</c:v>
                </c:pt>
                <c:pt idx="28160">
                  <c:v>0.50222935616193998</c:v>
                </c:pt>
                <c:pt idx="28161">
                  <c:v>0.50224719101123505</c:v>
                </c:pt>
                <c:pt idx="28162">
                  <c:v>0.50226502586053101</c:v>
                </c:pt>
                <c:pt idx="28163">
                  <c:v>0.50228286070982697</c:v>
                </c:pt>
                <c:pt idx="28164">
                  <c:v>0.50230069555912205</c:v>
                </c:pt>
                <c:pt idx="28165">
                  <c:v>0.50231853040841801</c:v>
                </c:pt>
                <c:pt idx="28166">
                  <c:v>0.50233636525771297</c:v>
                </c:pt>
                <c:pt idx="28167">
                  <c:v>0.50235420010700904</c:v>
                </c:pt>
                <c:pt idx="28168">
                  <c:v>0.502372034956304</c:v>
                </c:pt>
                <c:pt idx="28169">
                  <c:v>0.50238986980559996</c:v>
                </c:pt>
                <c:pt idx="28170">
                  <c:v>0.50240770465489504</c:v>
                </c:pt>
                <c:pt idx="28171">
                  <c:v>0.502425539504191</c:v>
                </c:pt>
                <c:pt idx="28172">
                  <c:v>0.50244337435348596</c:v>
                </c:pt>
                <c:pt idx="28173">
                  <c:v>0.50246120920278203</c:v>
                </c:pt>
                <c:pt idx="28174">
                  <c:v>0.502479044052077</c:v>
                </c:pt>
                <c:pt idx="28175">
                  <c:v>0.50249687890137296</c:v>
                </c:pt>
                <c:pt idx="28176">
                  <c:v>0.50251471375066803</c:v>
                </c:pt>
                <c:pt idx="28177">
                  <c:v>0.50253254859996399</c:v>
                </c:pt>
                <c:pt idx="28178">
                  <c:v>0.50255038344925895</c:v>
                </c:pt>
                <c:pt idx="28179">
                  <c:v>0.50256821829855503</c:v>
                </c:pt>
                <c:pt idx="28180">
                  <c:v>0.50258605314784999</c:v>
                </c:pt>
                <c:pt idx="28181">
                  <c:v>0.50260388799714595</c:v>
                </c:pt>
                <c:pt idx="28182">
                  <c:v>0.50262172284644102</c:v>
                </c:pt>
                <c:pt idx="28183">
                  <c:v>0.50263955769573698</c:v>
                </c:pt>
                <c:pt idx="28184">
                  <c:v>0.50265739254503194</c:v>
                </c:pt>
                <c:pt idx="28185">
                  <c:v>0.50267522739432802</c:v>
                </c:pt>
                <c:pt idx="28186">
                  <c:v>0.50269306224362398</c:v>
                </c:pt>
                <c:pt idx="28187">
                  <c:v>0.50271089709291905</c:v>
                </c:pt>
                <c:pt idx="28188">
                  <c:v>0.50272873194221501</c:v>
                </c:pt>
                <c:pt idx="28189">
                  <c:v>0.50274656679150997</c:v>
                </c:pt>
                <c:pt idx="28190">
                  <c:v>0.50276440164080605</c:v>
                </c:pt>
                <c:pt idx="28191">
                  <c:v>0.50278223649010101</c:v>
                </c:pt>
                <c:pt idx="28192">
                  <c:v>0.50280007133939697</c:v>
                </c:pt>
                <c:pt idx="28193">
                  <c:v>0.50281790618869204</c:v>
                </c:pt>
                <c:pt idx="28194">
                  <c:v>0.502835741037988</c:v>
                </c:pt>
                <c:pt idx="28195">
                  <c:v>0.50285357588728297</c:v>
                </c:pt>
                <c:pt idx="28196">
                  <c:v>0.50287141073657904</c:v>
                </c:pt>
                <c:pt idx="28197">
                  <c:v>0.502889245585874</c:v>
                </c:pt>
                <c:pt idx="28198">
                  <c:v>0.50290708043516996</c:v>
                </c:pt>
                <c:pt idx="28199">
                  <c:v>0.50292491528446504</c:v>
                </c:pt>
                <c:pt idx="28200">
                  <c:v>0.502942750133761</c:v>
                </c:pt>
                <c:pt idx="28201">
                  <c:v>0.50296058498305596</c:v>
                </c:pt>
                <c:pt idx="28202">
                  <c:v>0.50297841983235203</c:v>
                </c:pt>
                <c:pt idx="28203">
                  <c:v>0.50299625468164799</c:v>
                </c:pt>
                <c:pt idx="28204">
                  <c:v>0.50301408953094295</c:v>
                </c:pt>
                <c:pt idx="28205">
                  <c:v>0.50303192438023903</c:v>
                </c:pt>
                <c:pt idx="28206">
                  <c:v>0.50304975922953399</c:v>
                </c:pt>
                <c:pt idx="28207">
                  <c:v>0.50306759407882995</c:v>
                </c:pt>
                <c:pt idx="28208">
                  <c:v>0.50308542892812502</c:v>
                </c:pt>
                <c:pt idx="28209">
                  <c:v>0.50310326377742098</c:v>
                </c:pt>
                <c:pt idx="28210">
                  <c:v>0.50312109862671595</c:v>
                </c:pt>
                <c:pt idx="28211">
                  <c:v>0.50313893347601202</c:v>
                </c:pt>
                <c:pt idx="28212">
                  <c:v>0.50315676832530698</c:v>
                </c:pt>
                <c:pt idx="28213">
                  <c:v>0.50317460317460305</c:v>
                </c:pt>
                <c:pt idx="28214">
                  <c:v>0.50319243802389801</c:v>
                </c:pt>
                <c:pt idx="28215">
                  <c:v>0.50321027287319398</c:v>
                </c:pt>
                <c:pt idx="28216">
                  <c:v>0.50322810772248905</c:v>
                </c:pt>
                <c:pt idx="28217">
                  <c:v>0.50324594257178501</c:v>
                </c:pt>
                <c:pt idx="28218">
                  <c:v>0.50326377742107997</c:v>
                </c:pt>
                <c:pt idx="28219">
                  <c:v>0.50328161227037604</c:v>
                </c:pt>
                <c:pt idx="28220">
                  <c:v>0.50329944711967101</c:v>
                </c:pt>
                <c:pt idx="28221">
                  <c:v>0.50331728196896697</c:v>
                </c:pt>
                <c:pt idx="28222">
                  <c:v>0.50333511681826204</c:v>
                </c:pt>
                <c:pt idx="28223">
                  <c:v>0.503352951667558</c:v>
                </c:pt>
                <c:pt idx="28224">
                  <c:v>0.50337078651685396</c:v>
                </c:pt>
                <c:pt idx="28225">
                  <c:v>0.50338862136614904</c:v>
                </c:pt>
                <c:pt idx="28226">
                  <c:v>0.503406456215445</c:v>
                </c:pt>
                <c:pt idx="28227">
                  <c:v>0.50342429106473996</c:v>
                </c:pt>
                <c:pt idx="28228">
                  <c:v>0.50344212591403603</c:v>
                </c:pt>
                <c:pt idx="28229">
                  <c:v>0.50345996076333099</c:v>
                </c:pt>
                <c:pt idx="28230">
                  <c:v>0.50347779561262695</c:v>
                </c:pt>
                <c:pt idx="28231">
                  <c:v>0.50349563046192203</c:v>
                </c:pt>
                <c:pt idx="28232">
                  <c:v>0.50351346531121799</c:v>
                </c:pt>
                <c:pt idx="28233">
                  <c:v>0.50353130016051295</c:v>
                </c:pt>
                <c:pt idx="28234">
                  <c:v>0.50354913500980902</c:v>
                </c:pt>
                <c:pt idx="28235">
                  <c:v>0.50356696985910399</c:v>
                </c:pt>
                <c:pt idx="28236">
                  <c:v>0.50358480470839995</c:v>
                </c:pt>
                <c:pt idx="28237">
                  <c:v>0.50360263955769502</c:v>
                </c:pt>
                <c:pt idx="28238">
                  <c:v>0.50362047440699098</c:v>
                </c:pt>
                <c:pt idx="28239">
                  <c:v>0.50363830925628605</c:v>
                </c:pt>
                <c:pt idx="28240">
                  <c:v>0.50365614410558202</c:v>
                </c:pt>
                <c:pt idx="28241">
                  <c:v>0.50367397895487698</c:v>
                </c:pt>
                <c:pt idx="28242">
                  <c:v>0.50369181380417305</c:v>
                </c:pt>
                <c:pt idx="28243">
                  <c:v>0.50370964865346801</c:v>
                </c:pt>
                <c:pt idx="28244">
                  <c:v>0.50372748350276397</c:v>
                </c:pt>
                <c:pt idx="28245">
                  <c:v>0.50374531835205905</c:v>
                </c:pt>
                <c:pt idx="28246">
                  <c:v>0.50376315320135501</c:v>
                </c:pt>
                <c:pt idx="28247">
                  <c:v>0.50378098805065097</c:v>
                </c:pt>
                <c:pt idx="28248">
                  <c:v>0.50379882289994604</c:v>
                </c:pt>
                <c:pt idx="28249">
                  <c:v>0.503816657749242</c:v>
                </c:pt>
                <c:pt idx="28250">
                  <c:v>0.50383449259853696</c:v>
                </c:pt>
                <c:pt idx="28251">
                  <c:v>0.50385232744783304</c:v>
                </c:pt>
                <c:pt idx="28252">
                  <c:v>0.503870162297128</c:v>
                </c:pt>
                <c:pt idx="28253">
                  <c:v>0.50388799714642396</c:v>
                </c:pt>
                <c:pt idx="28254">
                  <c:v>0.50390583199571903</c:v>
                </c:pt>
                <c:pt idx="28255">
                  <c:v>0.50392366684501499</c:v>
                </c:pt>
                <c:pt idx="28256">
                  <c:v>0.50394150169430996</c:v>
                </c:pt>
                <c:pt idx="28257">
                  <c:v>0.50395933654360603</c:v>
                </c:pt>
                <c:pt idx="28258">
                  <c:v>0.50397717139290099</c:v>
                </c:pt>
                <c:pt idx="28259">
                  <c:v>0.50399500624219695</c:v>
                </c:pt>
                <c:pt idx="28260">
                  <c:v>0.50401284109149203</c:v>
                </c:pt>
                <c:pt idx="28261">
                  <c:v>0.50403067594078799</c:v>
                </c:pt>
                <c:pt idx="28262">
                  <c:v>0.50404851079008295</c:v>
                </c:pt>
                <c:pt idx="28263">
                  <c:v>0.50406634563937902</c:v>
                </c:pt>
                <c:pt idx="28264">
                  <c:v>0.50408418048867398</c:v>
                </c:pt>
                <c:pt idx="28265">
                  <c:v>0.50410201533797006</c:v>
                </c:pt>
                <c:pt idx="28266">
                  <c:v>0.50411985018726502</c:v>
                </c:pt>
                <c:pt idx="28267">
                  <c:v>0.50413768503656098</c:v>
                </c:pt>
                <c:pt idx="28268">
                  <c:v>0.50415551988585605</c:v>
                </c:pt>
                <c:pt idx="28269">
                  <c:v>0.50417335473515201</c:v>
                </c:pt>
                <c:pt idx="28270">
                  <c:v>0.50419118958444797</c:v>
                </c:pt>
                <c:pt idx="28271">
                  <c:v>0.50420902443374305</c:v>
                </c:pt>
                <c:pt idx="28272">
                  <c:v>0.50422685928303901</c:v>
                </c:pt>
                <c:pt idx="28273">
                  <c:v>0.50424469413233397</c:v>
                </c:pt>
                <c:pt idx="28274">
                  <c:v>0.50426252898163004</c:v>
                </c:pt>
                <c:pt idx="28275">
                  <c:v>0.504280363830925</c:v>
                </c:pt>
                <c:pt idx="28276">
                  <c:v>0.50429819868022097</c:v>
                </c:pt>
                <c:pt idx="28277">
                  <c:v>0.50431603352951604</c:v>
                </c:pt>
                <c:pt idx="28278">
                  <c:v>0.504333868378812</c:v>
                </c:pt>
                <c:pt idx="28279">
                  <c:v>0.50435170322810696</c:v>
                </c:pt>
                <c:pt idx="28280">
                  <c:v>0.50436953807740303</c:v>
                </c:pt>
                <c:pt idx="28281">
                  <c:v>0.504387372926698</c:v>
                </c:pt>
                <c:pt idx="28282">
                  <c:v>0.50440520777599396</c:v>
                </c:pt>
                <c:pt idx="28283">
                  <c:v>0.50442304262528903</c:v>
                </c:pt>
                <c:pt idx="28284">
                  <c:v>0.50444087747458499</c:v>
                </c:pt>
                <c:pt idx="28285">
                  <c:v>0.50445871232387995</c:v>
                </c:pt>
                <c:pt idx="28286">
                  <c:v>0.50447654717317603</c:v>
                </c:pt>
                <c:pt idx="28287">
                  <c:v>0.50449438202247099</c:v>
                </c:pt>
                <c:pt idx="28288">
                  <c:v>0.50451221687176695</c:v>
                </c:pt>
                <c:pt idx="28289">
                  <c:v>0.50453005172106202</c:v>
                </c:pt>
                <c:pt idx="28290">
                  <c:v>0.50454788657035798</c:v>
                </c:pt>
                <c:pt idx="28291">
                  <c:v>0.50456572141965395</c:v>
                </c:pt>
                <c:pt idx="28292">
                  <c:v>0.50458355626894902</c:v>
                </c:pt>
                <c:pt idx="28293">
                  <c:v>0.50460139111824498</c:v>
                </c:pt>
                <c:pt idx="28294">
                  <c:v>0.50461922596754005</c:v>
                </c:pt>
                <c:pt idx="28295">
                  <c:v>0.50463706081683601</c:v>
                </c:pt>
                <c:pt idx="28296">
                  <c:v>0.50465489566613098</c:v>
                </c:pt>
                <c:pt idx="28297">
                  <c:v>0.50467273051542705</c:v>
                </c:pt>
                <c:pt idx="28298">
                  <c:v>0.50469056536472201</c:v>
                </c:pt>
                <c:pt idx="28299">
                  <c:v>0.50470840021401797</c:v>
                </c:pt>
                <c:pt idx="28300">
                  <c:v>0.50472623506331304</c:v>
                </c:pt>
                <c:pt idx="28301">
                  <c:v>0.50474406991260901</c:v>
                </c:pt>
                <c:pt idx="28302">
                  <c:v>0.50476190476190397</c:v>
                </c:pt>
                <c:pt idx="28303">
                  <c:v>0.50477973961120004</c:v>
                </c:pt>
                <c:pt idx="28304">
                  <c:v>0.504797574460495</c:v>
                </c:pt>
                <c:pt idx="28305">
                  <c:v>0.50481540930979096</c:v>
                </c:pt>
                <c:pt idx="28306">
                  <c:v>0.50483324415908604</c:v>
                </c:pt>
                <c:pt idx="28307">
                  <c:v>0.504851079008382</c:v>
                </c:pt>
                <c:pt idx="28308">
                  <c:v>0.50486891385767696</c:v>
                </c:pt>
                <c:pt idx="28309">
                  <c:v>0.50488674870697303</c:v>
                </c:pt>
                <c:pt idx="28310">
                  <c:v>0.50490458355626899</c:v>
                </c:pt>
                <c:pt idx="28311">
                  <c:v>0.50492241840556396</c:v>
                </c:pt>
                <c:pt idx="28312">
                  <c:v>0.50494025325486003</c:v>
                </c:pt>
                <c:pt idx="28313">
                  <c:v>0.50495808810415499</c:v>
                </c:pt>
                <c:pt idx="28314">
                  <c:v>0.50497592295345095</c:v>
                </c:pt>
                <c:pt idx="28315">
                  <c:v>0.50499375780274602</c:v>
                </c:pt>
                <c:pt idx="28316">
                  <c:v>0.50501159265204199</c:v>
                </c:pt>
                <c:pt idx="28317">
                  <c:v>0.50502942750133695</c:v>
                </c:pt>
                <c:pt idx="28318">
                  <c:v>0.50504726235063302</c:v>
                </c:pt>
                <c:pt idx="28319">
                  <c:v>0.50506509719992798</c:v>
                </c:pt>
                <c:pt idx="28320">
                  <c:v>0.50508293204922405</c:v>
                </c:pt>
                <c:pt idx="28321">
                  <c:v>0.50510076689851902</c:v>
                </c:pt>
                <c:pt idx="28322">
                  <c:v>0.50511860174781498</c:v>
                </c:pt>
                <c:pt idx="28323">
                  <c:v>0.50513643659711005</c:v>
                </c:pt>
                <c:pt idx="28324">
                  <c:v>0.50515427144640601</c:v>
                </c:pt>
                <c:pt idx="28325">
                  <c:v>0.50517210629570097</c:v>
                </c:pt>
                <c:pt idx="28326">
                  <c:v>0.50518994114499705</c:v>
                </c:pt>
                <c:pt idx="28327">
                  <c:v>0.50520777599429201</c:v>
                </c:pt>
                <c:pt idx="28328">
                  <c:v>0.50522561084358797</c:v>
                </c:pt>
                <c:pt idx="28329">
                  <c:v>0.50524344569288304</c:v>
                </c:pt>
                <c:pt idx="28330">
                  <c:v>0.505261280542179</c:v>
                </c:pt>
                <c:pt idx="28331">
                  <c:v>0.50527911539147496</c:v>
                </c:pt>
                <c:pt idx="28332">
                  <c:v>0.50529695024077004</c:v>
                </c:pt>
                <c:pt idx="28333">
                  <c:v>0.505314785090066</c:v>
                </c:pt>
                <c:pt idx="28334">
                  <c:v>0.50533261993936096</c:v>
                </c:pt>
                <c:pt idx="28335">
                  <c:v>0.50535045478865703</c:v>
                </c:pt>
                <c:pt idx="28336">
                  <c:v>0.505368289637952</c:v>
                </c:pt>
                <c:pt idx="28337">
                  <c:v>0.50538612448724796</c:v>
                </c:pt>
                <c:pt idx="28338">
                  <c:v>0.50540395933654303</c:v>
                </c:pt>
                <c:pt idx="28339">
                  <c:v>0.50542179418583899</c:v>
                </c:pt>
                <c:pt idx="28340">
                  <c:v>0.50543962903513395</c:v>
                </c:pt>
                <c:pt idx="28341">
                  <c:v>0.50545746388443002</c:v>
                </c:pt>
                <c:pt idx="28342">
                  <c:v>0.50547529873372499</c:v>
                </c:pt>
                <c:pt idx="28343">
                  <c:v>0.50549313358302095</c:v>
                </c:pt>
                <c:pt idx="28344">
                  <c:v>0.50551096843231602</c:v>
                </c:pt>
                <c:pt idx="28345">
                  <c:v>0.50552880328161198</c:v>
                </c:pt>
                <c:pt idx="28346">
                  <c:v>0.50554663813090694</c:v>
                </c:pt>
                <c:pt idx="28347">
                  <c:v>0.50556447298020302</c:v>
                </c:pt>
                <c:pt idx="28348">
                  <c:v>0.50558230782949798</c:v>
                </c:pt>
                <c:pt idx="28349">
                  <c:v>0.50560014267879405</c:v>
                </c:pt>
                <c:pt idx="28350">
                  <c:v>0.50561797752808901</c:v>
                </c:pt>
                <c:pt idx="28351">
                  <c:v>0.50563581237738497</c:v>
                </c:pt>
                <c:pt idx="28352">
                  <c:v>0.50565364722668005</c:v>
                </c:pt>
                <c:pt idx="28353">
                  <c:v>0.50567148207597601</c:v>
                </c:pt>
                <c:pt idx="28354">
                  <c:v>0.50568931692527197</c:v>
                </c:pt>
                <c:pt idx="28355">
                  <c:v>0.50570715177456704</c:v>
                </c:pt>
                <c:pt idx="28356">
                  <c:v>0.505724986623863</c:v>
                </c:pt>
                <c:pt idx="28357">
                  <c:v>0.50574282147315797</c:v>
                </c:pt>
                <c:pt idx="28358">
                  <c:v>0.50576065632245404</c:v>
                </c:pt>
                <c:pt idx="28359">
                  <c:v>0.505778491171749</c:v>
                </c:pt>
                <c:pt idx="28360">
                  <c:v>0.50579632602104496</c:v>
                </c:pt>
                <c:pt idx="28361">
                  <c:v>0.50581416087034003</c:v>
                </c:pt>
                <c:pt idx="28362">
                  <c:v>0.505831995719636</c:v>
                </c:pt>
                <c:pt idx="28363">
                  <c:v>0.50584983056893096</c:v>
                </c:pt>
                <c:pt idx="28364">
                  <c:v>0.50586766541822703</c:v>
                </c:pt>
                <c:pt idx="28365">
                  <c:v>0.50588550026752199</c:v>
                </c:pt>
                <c:pt idx="28366">
                  <c:v>0.50590333511681795</c:v>
                </c:pt>
                <c:pt idx="28367">
                  <c:v>0.50592116996611303</c:v>
                </c:pt>
                <c:pt idx="28368">
                  <c:v>0.50593900481540899</c:v>
                </c:pt>
                <c:pt idx="28369">
                  <c:v>0.50595683966470395</c:v>
                </c:pt>
                <c:pt idx="28370">
                  <c:v>0.50597467451400002</c:v>
                </c:pt>
                <c:pt idx="28371">
                  <c:v>0.50599250936329498</c:v>
                </c:pt>
                <c:pt idx="28372">
                  <c:v>0.50601034421259095</c:v>
                </c:pt>
                <c:pt idx="28373">
                  <c:v>0.50602817906188602</c:v>
                </c:pt>
                <c:pt idx="28374">
                  <c:v>0.50604601391118198</c:v>
                </c:pt>
                <c:pt idx="28375">
                  <c:v>0.50606384876047705</c:v>
                </c:pt>
                <c:pt idx="28376">
                  <c:v>0.50608168360977301</c:v>
                </c:pt>
                <c:pt idx="28377">
                  <c:v>0.50609951845906898</c:v>
                </c:pt>
                <c:pt idx="28378">
                  <c:v>0.50611735330836405</c:v>
                </c:pt>
                <c:pt idx="28379">
                  <c:v>0.50613518815766001</c:v>
                </c:pt>
                <c:pt idx="28380">
                  <c:v>0.50615302300695497</c:v>
                </c:pt>
                <c:pt idx="28381">
                  <c:v>0.50617085785625104</c:v>
                </c:pt>
                <c:pt idx="28382">
                  <c:v>0.50618869270554601</c:v>
                </c:pt>
                <c:pt idx="28383">
                  <c:v>0.50620652755484197</c:v>
                </c:pt>
                <c:pt idx="28384">
                  <c:v>0.50622436240413704</c:v>
                </c:pt>
                <c:pt idx="28385">
                  <c:v>0.506242197253433</c:v>
                </c:pt>
                <c:pt idx="28386">
                  <c:v>0.50626003210272796</c:v>
                </c:pt>
                <c:pt idx="28387">
                  <c:v>0.50627786695202404</c:v>
                </c:pt>
                <c:pt idx="28388">
                  <c:v>0.506295701801319</c:v>
                </c:pt>
                <c:pt idx="28389">
                  <c:v>0.50631353665061496</c:v>
                </c:pt>
                <c:pt idx="28390">
                  <c:v>0.50633137149991003</c:v>
                </c:pt>
                <c:pt idx="28391">
                  <c:v>0.50634920634920599</c:v>
                </c:pt>
                <c:pt idx="28392">
                  <c:v>0.50636704119850096</c:v>
                </c:pt>
                <c:pt idx="28393">
                  <c:v>0.50638487604779703</c:v>
                </c:pt>
                <c:pt idx="28394">
                  <c:v>0.50640271089709199</c:v>
                </c:pt>
                <c:pt idx="28395">
                  <c:v>0.50642054574638795</c:v>
                </c:pt>
                <c:pt idx="28396">
                  <c:v>0.50643838059568302</c:v>
                </c:pt>
                <c:pt idx="28397">
                  <c:v>0.50645621544497899</c:v>
                </c:pt>
                <c:pt idx="28398">
                  <c:v>0.50647405029427495</c:v>
                </c:pt>
                <c:pt idx="28399">
                  <c:v>0.50649188514357002</c:v>
                </c:pt>
                <c:pt idx="28400">
                  <c:v>0.50650971999286598</c:v>
                </c:pt>
                <c:pt idx="28401">
                  <c:v>0.50652755484216105</c:v>
                </c:pt>
                <c:pt idx="28402">
                  <c:v>0.50654538969145702</c:v>
                </c:pt>
                <c:pt idx="28403">
                  <c:v>0.50656322454075198</c:v>
                </c:pt>
                <c:pt idx="28404">
                  <c:v>0.50658105939004805</c:v>
                </c:pt>
                <c:pt idx="28405">
                  <c:v>0.50659889423934301</c:v>
                </c:pt>
                <c:pt idx="28406">
                  <c:v>0.50661672908863897</c:v>
                </c:pt>
                <c:pt idx="28407">
                  <c:v>0.50663456393793405</c:v>
                </c:pt>
                <c:pt idx="28408">
                  <c:v>0.50665239878723001</c:v>
                </c:pt>
                <c:pt idx="28409">
                  <c:v>0.50667023363652497</c:v>
                </c:pt>
                <c:pt idx="28410">
                  <c:v>0.50668806848582104</c:v>
                </c:pt>
                <c:pt idx="28411">
                  <c:v>0.506705903335116</c:v>
                </c:pt>
                <c:pt idx="28412">
                  <c:v>0.50672373818441196</c:v>
                </c:pt>
                <c:pt idx="28413">
                  <c:v>0.50674157303370704</c:v>
                </c:pt>
                <c:pt idx="28414">
                  <c:v>0.506759407883003</c:v>
                </c:pt>
                <c:pt idx="28415">
                  <c:v>0.50677724273229896</c:v>
                </c:pt>
                <c:pt idx="28416">
                  <c:v>0.50679507758159403</c:v>
                </c:pt>
                <c:pt idx="28417">
                  <c:v>0.50681291243088999</c:v>
                </c:pt>
                <c:pt idx="28418">
                  <c:v>0.50683074728018496</c:v>
                </c:pt>
                <c:pt idx="28419">
                  <c:v>0.50684858212948103</c:v>
                </c:pt>
                <c:pt idx="28420">
                  <c:v>0.50686641697877599</c:v>
                </c:pt>
                <c:pt idx="28421">
                  <c:v>0.50688425182807195</c:v>
                </c:pt>
                <c:pt idx="28422">
                  <c:v>0.50690208667736703</c:v>
                </c:pt>
                <c:pt idx="28423">
                  <c:v>0.50691992152666299</c:v>
                </c:pt>
                <c:pt idx="28424">
                  <c:v>0.50693775637595795</c:v>
                </c:pt>
                <c:pt idx="28425">
                  <c:v>0.50695559122525402</c:v>
                </c:pt>
                <c:pt idx="28426">
                  <c:v>0.50697342607454898</c:v>
                </c:pt>
                <c:pt idx="28427">
                  <c:v>0.50699126092384506</c:v>
                </c:pt>
                <c:pt idx="28428">
                  <c:v>0.50700909577314002</c:v>
                </c:pt>
                <c:pt idx="28429">
                  <c:v>0.50702693062243598</c:v>
                </c:pt>
                <c:pt idx="28430">
                  <c:v>0.50704476547173105</c:v>
                </c:pt>
                <c:pt idx="28431">
                  <c:v>0.50706260032102701</c:v>
                </c:pt>
                <c:pt idx="28432">
                  <c:v>0.50708043517032197</c:v>
                </c:pt>
                <c:pt idx="28433">
                  <c:v>0.50709827001961805</c:v>
                </c:pt>
                <c:pt idx="28434">
                  <c:v>0.50711610486891301</c:v>
                </c:pt>
                <c:pt idx="28435">
                  <c:v>0.50713393971820897</c:v>
                </c:pt>
                <c:pt idx="28436">
                  <c:v>0.50715177456750404</c:v>
                </c:pt>
                <c:pt idx="28437">
                  <c:v>0.5071696094168</c:v>
                </c:pt>
                <c:pt idx="28438">
                  <c:v>0.50718744426609597</c:v>
                </c:pt>
                <c:pt idx="28439">
                  <c:v>0.50720527911539104</c:v>
                </c:pt>
                <c:pt idx="28440">
                  <c:v>0.507223113964687</c:v>
                </c:pt>
                <c:pt idx="28441">
                  <c:v>0.50724094881398196</c:v>
                </c:pt>
                <c:pt idx="28442">
                  <c:v>0.50725878366327803</c:v>
                </c:pt>
                <c:pt idx="28443">
                  <c:v>0.507276618512573</c:v>
                </c:pt>
                <c:pt idx="28444">
                  <c:v>0.50729445336186896</c:v>
                </c:pt>
                <c:pt idx="28445">
                  <c:v>0.50731228821116403</c:v>
                </c:pt>
                <c:pt idx="28446">
                  <c:v>0.50733012306045999</c:v>
                </c:pt>
                <c:pt idx="28447">
                  <c:v>0.50734795790975495</c:v>
                </c:pt>
                <c:pt idx="28448">
                  <c:v>0.50736579275905103</c:v>
                </c:pt>
                <c:pt idx="28449">
                  <c:v>0.50738362760834599</c:v>
                </c:pt>
                <c:pt idx="28450">
                  <c:v>0.50740146245764195</c:v>
                </c:pt>
                <c:pt idx="28451">
                  <c:v>0.50741929730693702</c:v>
                </c:pt>
                <c:pt idx="28452">
                  <c:v>0.50743713215623298</c:v>
                </c:pt>
                <c:pt idx="28453">
                  <c:v>0.50745496700552795</c:v>
                </c:pt>
                <c:pt idx="28454">
                  <c:v>0.50747280185482402</c:v>
                </c:pt>
                <c:pt idx="28455">
                  <c:v>0.50749063670411898</c:v>
                </c:pt>
                <c:pt idx="28456">
                  <c:v>0.50750847155341505</c:v>
                </c:pt>
                <c:pt idx="28457">
                  <c:v>0.50752630640271001</c:v>
                </c:pt>
                <c:pt idx="28458">
                  <c:v>0.50754414125200598</c:v>
                </c:pt>
                <c:pt idx="28459">
                  <c:v>0.50756197610130105</c:v>
                </c:pt>
                <c:pt idx="28460">
                  <c:v>0.50757981095059701</c:v>
                </c:pt>
                <c:pt idx="28461">
                  <c:v>0.50759764579989297</c:v>
                </c:pt>
                <c:pt idx="28462">
                  <c:v>0.50761548064918804</c:v>
                </c:pt>
                <c:pt idx="28463">
                  <c:v>0.50763331549848401</c:v>
                </c:pt>
                <c:pt idx="28464">
                  <c:v>0.50765115034777897</c:v>
                </c:pt>
                <c:pt idx="28465">
                  <c:v>0.50766898519707504</c:v>
                </c:pt>
                <c:pt idx="28466">
                  <c:v>0.50768682004637</c:v>
                </c:pt>
                <c:pt idx="28467">
                  <c:v>0.50770465489566596</c:v>
                </c:pt>
                <c:pt idx="28468">
                  <c:v>0.50772248974496104</c:v>
                </c:pt>
                <c:pt idx="28469">
                  <c:v>0.507740324594257</c:v>
                </c:pt>
                <c:pt idx="28470">
                  <c:v>0.50775815944355196</c:v>
                </c:pt>
                <c:pt idx="28471">
                  <c:v>0.50777599429284803</c:v>
                </c:pt>
                <c:pt idx="28472">
                  <c:v>0.50779382914214299</c:v>
                </c:pt>
                <c:pt idx="28473">
                  <c:v>0.50781166399143896</c:v>
                </c:pt>
                <c:pt idx="28474">
                  <c:v>0.50782949884073403</c:v>
                </c:pt>
                <c:pt idx="28475">
                  <c:v>0.50784733369002999</c:v>
                </c:pt>
                <c:pt idx="28476">
                  <c:v>0.50786516853932495</c:v>
                </c:pt>
                <c:pt idx="28477">
                  <c:v>0.50788300338862102</c:v>
                </c:pt>
                <c:pt idx="28478">
                  <c:v>0.50790083823791599</c:v>
                </c:pt>
                <c:pt idx="28479">
                  <c:v>0.50791867308721195</c:v>
                </c:pt>
                <c:pt idx="28480">
                  <c:v>0.50793650793650702</c:v>
                </c:pt>
                <c:pt idx="28481">
                  <c:v>0.50795434278580298</c:v>
                </c:pt>
                <c:pt idx="28482">
                  <c:v>0.50797217763509805</c:v>
                </c:pt>
                <c:pt idx="28483">
                  <c:v>0.50799001248439402</c:v>
                </c:pt>
                <c:pt idx="28484">
                  <c:v>0.50800784733368998</c:v>
                </c:pt>
                <c:pt idx="28485">
                  <c:v>0.50802568218298505</c:v>
                </c:pt>
                <c:pt idx="28486">
                  <c:v>0.50804351703228101</c:v>
                </c:pt>
                <c:pt idx="28487">
                  <c:v>0.50806135188157597</c:v>
                </c:pt>
                <c:pt idx="28488">
                  <c:v>0.50807918673087205</c:v>
                </c:pt>
                <c:pt idx="28489">
                  <c:v>0.50809702158016701</c:v>
                </c:pt>
                <c:pt idx="28490">
                  <c:v>0.50811485642946297</c:v>
                </c:pt>
                <c:pt idx="28491">
                  <c:v>0.50813269127875804</c:v>
                </c:pt>
                <c:pt idx="28492">
                  <c:v>0.508150526128054</c:v>
                </c:pt>
                <c:pt idx="28493">
                  <c:v>0.50816836097734897</c:v>
                </c:pt>
                <c:pt idx="28494">
                  <c:v>0.50818619582664504</c:v>
                </c:pt>
                <c:pt idx="28495">
                  <c:v>0.50820403067594</c:v>
                </c:pt>
                <c:pt idx="28496">
                  <c:v>0.50822186552523596</c:v>
                </c:pt>
                <c:pt idx="28497">
                  <c:v>0.50823970037453103</c:v>
                </c:pt>
                <c:pt idx="28498">
                  <c:v>0.508257535223827</c:v>
                </c:pt>
                <c:pt idx="28499">
                  <c:v>0.50827537007312196</c:v>
                </c:pt>
                <c:pt idx="28500">
                  <c:v>0.50829320492241803</c:v>
                </c:pt>
                <c:pt idx="28501">
                  <c:v>0.50831103977171299</c:v>
                </c:pt>
                <c:pt idx="28502">
                  <c:v>0.50832887462100895</c:v>
                </c:pt>
                <c:pt idx="28503">
                  <c:v>0.50834670947030502</c:v>
                </c:pt>
                <c:pt idx="28504">
                  <c:v>0.50836454431959999</c:v>
                </c:pt>
                <c:pt idx="28505">
                  <c:v>0.50838237916889595</c:v>
                </c:pt>
                <c:pt idx="28506">
                  <c:v>0.50840021401819102</c:v>
                </c:pt>
                <c:pt idx="28507">
                  <c:v>0.50841804886748698</c:v>
                </c:pt>
                <c:pt idx="28508">
                  <c:v>0.50843588371678194</c:v>
                </c:pt>
                <c:pt idx="28509">
                  <c:v>0.50845371856607802</c:v>
                </c:pt>
                <c:pt idx="28510">
                  <c:v>0.50847155341537298</c:v>
                </c:pt>
                <c:pt idx="28511">
                  <c:v>0.50848938826466905</c:v>
                </c:pt>
                <c:pt idx="28512">
                  <c:v>0.50850722311396401</c:v>
                </c:pt>
                <c:pt idx="28513">
                  <c:v>0.50852505796325997</c:v>
                </c:pt>
                <c:pt idx="28514">
                  <c:v>0.50854289281255505</c:v>
                </c:pt>
                <c:pt idx="28515">
                  <c:v>0.50856072766185101</c:v>
                </c:pt>
                <c:pt idx="28516">
                  <c:v>0.50857856251114597</c:v>
                </c:pt>
                <c:pt idx="28517">
                  <c:v>0.50859639736044204</c:v>
                </c:pt>
                <c:pt idx="28518">
                  <c:v>0.508614232209737</c:v>
                </c:pt>
                <c:pt idx="28519">
                  <c:v>0.50863206705903297</c:v>
                </c:pt>
                <c:pt idx="28520">
                  <c:v>0.50864990190832804</c:v>
                </c:pt>
                <c:pt idx="28521">
                  <c:v>0.508667736757624</c:v>
                </c:pt>
                <c:pt idx="28522">
                  <c:v>0.50868557160691996</c:v>
                </c:pt>
                <c:pt idx="28523">
                  <c:v>0.50870340645621503</c:v>
                </c:pt>
                <c:pt idx="28524">
                  <c:v>0.508721241305511</c:v>
                </c:pt>
                <c:pt idx="28525">
                  <c:v>0.50873907615480596</c:v>
                </c:pt>
                <c:pt idx="28526">
                  <c:v>0.50875691100410203</c:v>
                </c:pt>
                <c:pt idx="28527">
                  <c:v>0.50877474585339699</c:v>
                </c:pt>
                <c:pt idx="28528">
                  <c:v>0.50879258070269295</c:v>
                </c:pt>
                <c:pt idx="28529">
                  <c:v>0.50881041555198803</c:v>
                </c:pt>
                <c:pt idx="28530">
                  <c:v>0.50882825040128399</c:v>
                </c:pt>
                <c:pt idx="28531">
                  <c:v>0.50884608525057895</c:v>
                </c:pt>
                <c:pt idx="28532">
                  <c:v>0.50886392009987502</c:v>
                </c:pt>
                <c:pt idx="28533">
                  <c:v>0.50888175494916998</c:v>
                </c:pt>
                <c:pt idx="28534">
                  <c:v>0.50889958979846595</c:v>
                </c:pt>
                <c:pt idx="28535">
                  <c:v>0.50891742464776102</c:v>
                </c:pt>
                <c:pt idx="28536">
                  <c:v>0.50893525949705698</c:v>
                </c:pt>
                <c:pt idx="28537">
                  <c:v>0.50895309434635205</c:v>
                </c:pt>
                <c:pt idx="28538">
                  <c:v>0.50897092919564801</c:v>
                </c:pt>
                <c:pt idx="28539">
                  <c:v>0.50898876404494298</c:v>
                </c:pt>
                <c:pt idx="28540">
                  <c:v>0.50900659889423905</c:v>
                </c:pt>
                <c:pt idx="28541">
                  <c:v>0.50902443374353401</c:v>
                </c:pt>
                <c:pt idx="28542">
                  <c:v>0.50904226859282997</c:v>
                </c:pt>
                <c:pt idx="28543">
                  <c:v>0.50906010344212504</c:v>
                </c:pt>
                <c:pt idx="28544">
                  <c:v>0.50907793829142101</c:v>
                </c:pt>
                <c:pt idx="28545">
                  <c:v>0.50909577314071697</c:v>
                </c:pt>
                <c:pt idx="28546">
                  <c:v>0.50911360799001204</c:v>
                </c:pt>
                <c:pt idx="28547">
                  <c:v>0.509131442839308</c:v>
                </c:pt>
                <c:pt idx="28548">
                  <c:v>0.50914927768860296</c:v>
                </c:pt>
                <c:pt idx="28549">
                  <c:v>0.50916711253789904</c:v>
                </c:pt>
                <c:pt idx="28550">
                  <c:v>0.509184947387194</c:v>
                </c:pt>
                <c:pt idx="28551">
                  <c:v>0.50920278223648996</c:v>
                </c:pt>
                <c:pt idx="28552">
                  <c:v>0.50922061708578503</c:v>
                </c:pt>
                <c:pt idx="28553">
                  <c:v>0.50923845193508099</c:v>
                </c:pt>
                <c:pt idx="28554">
                  <c:v>0.50925628678437596</c:v>
                </c:pt>
                <c:pt idx="28555">
                  <c:v>0.50927412163367203</c:v>
                </c:pt>
                <c:pt idx="28556">
                  <c:v>0.50929195648296699</c:v>
                </c:pt>
                <c:pt idx="28557">
                  <c:v>0.50930979133226295</c:v>
                </c:pt>
                <c:pt idx="28558">
                  <c:v>0.50932762618155802</c:v>
                </c:pt>
                <c:pt idx="28559">
                  <c:v>0.50934546103085399</c:v>
                </c:pt>
                <c:pt idx="28560">
                  <c:v>0.50936329588014895</c:v>
                </c:pt>
                <c:pt idx="28561">
                  <c:v>0.50938113072944502</c:v>
                </c:pt>
                <c:pt idx="28562">
                  <c:v>0.50939896557873998</c:v>
                </c:pt>
                <c:pt idx="28563">
                  <c:v>0.50941680042803605</c:v>
                </c:pt>
                <c:pt idx="28564">
                  <c:v>0.50943463527733102</c:v>
                </c:pt>
                <c:pt idx="28565">
                  <c:v>0.50945247012662698</c:v>
                </c:pt>
                <c:pt idx="28566">
                  <c:v>0.50947030497592205</c:v>
                </c:pt>
                <c:pt idx="28567">
                  <c:v>0.50948813982521801</c:v>
                </c:pt>
                <c:pt idx="28568">
                  <c:v>0.50950597467451397</c:v>
                </c:pt>
                <c:pt idx="28569">
                  <c:v>0.50952380952380905</c:v>
                </c:pt>
                <c:pt idx="28570">
                  <c:v>0.50954164437310501</c:v>
                </c:pt>
                <c:pt idx="28571">
                  <c:v>0.50955947922239997</c:v>
                </c:pt>
                <c:pt idx="28572">
                  <c:v>0.50957731407169604</c:v>
                </c:pt>
                <c:pt idx="28573">
                  <c:v>0.509595148920991</c:v>
                </c:pt>
                <c:pt idx="28574">
                  <c:v>0.50961298377028696</c:v>
                </c:pt>
                <c:pt idx="28575">
                  <c:v>0.50963081861958204</c:v>
                </c:pt>
                <c:pt idx="28576">
                  <c:v>0.509648653468878</c:v>
                </c:pt>
                <c:pt idx="28577">
                  <c:v>0.50966648831817296</c:v>
                </c:pt>
                <c:pt idx="28578">
                  <c:v>0.50968432316746903</c:v>
                </c:pt>
                <c:pt idx="28579">
                  <c:v>0.509702158016764</c:v>
                </c:pt>
                <c:pt idx="28580">
                  <c:v>0.50971999286605996</c:v>
                </c:pt>
                <c:pt idx="28581">
                  <c:v>0.50973782771535503</c:v>
                </c:pt>
                <c:pt idx="28582">
                  <c:v>0.50975566256465099</c:v>
                </c:pt>
                <c:pt idx="28583">
                  <c:v>0.50977349741394595</c:v>
                </c:pt>
                <c:pt idx="28584">
                  <c:v>0.50979133226324203</c:v>
                </c:pt>
                <c:pt idx="28585">
                  <c:v>0.50980916711253699</c:v>
                </c:pt>
                <c:pt idx="28586">
                  <c:v>0.50982700196183295</c:v>
                </c:pt>
                <c:pt idx="28587">
                  <c:v>0.50984483681112802</c:v>
                </c:pt>
                <c:pt idx="28588">
                  <c:v>0.50986267166042398</c:v>
                </c:pt>
                <c:pt idx="28589">
                  <c:v>0.50988050650971894</c:v>
                </c:pt>
                <c:pt idx="28590">
                  <c:v>0.50989834135901502</c:v>
                </c:pt>
                <c:pt idx="28591">
                  <c:v>0.50991617620831098</c:v>
                </c:pt>
                <c:pt idx="28592">
                  <c:v>0.50993401105760605</c:v>
                </c:pt>
                <c:pt idx="28593">
                  <c:v>0.50995184590690201</c:v>
                </c:pt>
                <c:pt idx="28594">
                  <c:v>0.50996968075619697</c:v>
                </c:pt>
                <c:pt idx="28595">
                  <c:v>0.50998751560549305</c:v>
                </c:pt>
                <c:pt idx="28596">
                  <c:v>0.51000535045478801</c:v>
                </c:pt>
                <c:pt idx="28597">
                  <c:v>0.51002318530408397</c:v>
                </c:pt>
                <c:pt idx="28598">
                  <c:v>0.51004102015337904</c:v>
                </c:pt>
                <c:pt idx="28599">
                  <c:v>0.510058855002675</c:v>
                </c:pt>
                <c:pt idx="28600">
                  <c:v>0.51007668985196997</c:v>
                </c:pt>
                <c:pt idx="28601">
                  <c:v>0.51009452470126604</c:v>
                </c:pt>
                <c:pt idx="28602">
                  <c:v>0.510112359550561</c:v>
                </c:pt>
                <c:pt idx="28603">
                  <c:v>0.51013019439985696</c:v>
                </c:pt>
                <c:pt idx="28604">
                  <c:v>0.51014802924915204</c:v>
                </c:pt>
                <c:pt idx="28605">
                  <c:v>0.510165864098448</c:v>
                </c:pt>
                <c:pt idx="28606">
                  <c:v>0.51018369894774296</c:v>
                </c:pt>
                <c:pt idx="28607">
                  <c:v>0.51020153379703903</c:v>
                </c:pt>
                <c:pt idx="28608">
                  <c:v>0.51021936864633499</c:v>
                </c:pt>
                <c:pt idx="28609">
                  <c:v>0.51023720349562995</c:v>
                </c:pt>
                <c:pt idx="28610">
                  <c:v>0.51025503834492603</c:v>
                </c:pt>
                <c:pt idx="28611">
                  <c:v>0.51027287319422099</c:v>
                </c:pt>
                <c:pt idx="28612">
                  <c:v>0.51029070804351695</c:v>
                </c:pt>
                <c:pt idx="28613">
                  <c:v>0.51030854289281202</c:v>
                </c:pt>
                <c:pt idx="28614">
                  <c:v>0.51032637774210798</c:v>
                </c:pt>
                <c:pt idx="28615">
                  <c:v>0.51034421259140295</c:v>
                </c:pt>
                <c:pt idx="28616">
                  <c:v>0.51036204744069902</c:v>
                </c:pt>
                <c:pt idx="28617">
                  <c:v>0.51037988228999398</c:v>
                </c:pt>
                <c:pt idx="28618">
                  <c:v>0.51039771713929005</c:v>
                </c:pt>
                <c:pt idx="28619">
                  <c:v>0.51041555198858501</c:v>
                </c:pt>
                <c:pt idx="28620">
                  <c:v>0.51043338683788098</c:v>
                </c:pt>
                <c:pt idx="28621">
                  <c:v>0.51045122168717605</c:v>
                </c:pt>
                <c:pt idx="28622">
                  <c:v>0.51046905653647201</c:v>
                </c:pt>
                <c:pt idx="28623">
                  <c:v>0.51048689138576697</c:v>
                </c:pt>
                <c:pt idx="28624">
                  <c:v>0.51050472623506304</c:v>
                </c:pt>
                <c:pt idx="28625">
                  <c:v>0.51052256108435801</c:v>
                </c:pt>
                <c:pt idx="28626">
                  <c:v>0.51054039593365397</c:v>
                </c:pt>
                <c:pt idx="28627">
                  <c:v>0.51055823078294904</c:v>
                </c:pt>
                <c:pt idx="28628">
                  <c:v>0.510576065632245</c:v>
                </c:pt>
                <c:pt idx="28629">
                  <c:v>0.51059390048154096</c:v>
                </c:pt>
                <c:pt idx="28630">
                  <c:v>0.51061173533083604</c:v>
                </c:pt>
                <c:pt idx="28631">
                  <c:v>0.510629570180132</c:v>
                </c:pt>
                <c:pt idx="28632">
                  <c:v>0.51064740502942696</c:v>
                </c:pt>
                <c:pt idx="28633">
                  <c:v>0.51066523987872303</c:v>
                </c:pt>
                <c:pt idx="28634">
                  <c:v>0.51068307472801799</c:v>
                </c:pt>
                <c:pt idx="28635">
                  <c:v>0.51070090957731396</c:v>
                </c:pt>
                <c:pt idx="28636">
                  <c:v>0.51071874442660903</c:v>
                </c:pt>
                <c:pt idx="28637">
                  <c:v>0.51073657927590499</c:v>
                </c:pt>
                <c:pt idx="28638">
                  <c:v>0.51075441412519995</c:v>
                </c:pt>
                <c:pt idx="28639">
                  <c:v>0.51077224897449602</c:v>
                </c:pt>
                <c:pt idx="28640">
                  <c:v>0.51079008382379099</c:v>
                </c:pt>
                <c:pt idx="28641">
                  <c:v>0.51080791867308695</c:v>
                </c:pt>
                <c:pt idx="28642">
                  <c:v>0.51082575352238202</c:v>
                </c:pt>
                <c:pt idx="28643">
                  <c:v>0.51084358837167798</c:v>
                </c:pt>
                <c:pt idx="28644">
                  <c:v>0.51086142322097305</c:v>
                </c:pt>
                <c:pt idx="28645">
                  <c:v>0.51087925807026902</c:v>
                </c:pt>
                <c:pt idx="28646">
                  <c:v>0.51089709291956398</c:v>
                </c:pt>
                <c:pt idx="28647">
                  <c:v>0.51091492776886005</c:v>
                </c:pt>
                <c:pt idx="28648">
                  <c:v>0.51093276261815501</c:v>
                </c:pt>
                <c:pt idx="28649">
                  <c:v>0.51095059746745097</c:v>
                </c:pt>
                <c:pt idx="28650">
                  <c:v>0.51096843231674605</c:v>
                </c:pt>
                <c:pt idx="28651">
                  <c:v>0.51098626716604201</c:v>
                </c:pt>
                <c:pt idx="28652">
                  <c:v>0.51100410201533797</c:v>
                </c:pt>
                <c:pt idx="28653">
                  <c:v>0.51102193686463304</c:v>
                </c:pt>
                <c:pt idx="28654">
                  <c:v>0.511039771713929</c:v>
                </c:pt>
                <c:pt idx="28655">
                  <c:v>0.51105760656322397</c:v>
                </c:pt>
                <c:pt idx="28656">
                  <c:v>0.51107544141252004</c:v>
                </c:pt>
                <c:pt idx="28657">
                  <c:v>0.511093276261815</c:v>
                </c:pt>
                <c:pt idx="28658">
                  <c:v>0.51111111111111096</c:v>
                </c:pt>
                <c:pt idx="28659">
                  <c:v>0.51112894596040603</c:v>
                </c:pt>
                <c:pt idx="28660">
                  <c:v>0.51114678080970199</c:v>
                </c:pt>
                <c:pt idx="28661">
                  <c:v>0.51116461565899696</c:v>
                </c:pt>
                <c:pt idx="28662">
                  <c:v>0.51118245050829303</c:v>
                </c:pt>
                <c:pt idx="28663">
                  <c:v>0.51120028535758799</c:v>
                </c:pt>
                <c:pt idx="28664">
                  <c:v>0.51121812020688395</c:v>
                </c:pt>
                <c:pt idx="28665">
                  <c:v>0.51123595505617903</c:v>
                </c:pt>
                <c:pt idx="28666">
                  <c:v>0.51125378990547499</c:v>
                </c:pt>
                <c:pt idx="28667">
                  <c:v>0.51127162475476995</c:v>
                </c:pt>
                <c:pt idx="28668">
                  <c:v>0.51128945960406602</c:v>
                </c:pt>
                <c:pt idx="28669">
                  <c:v>0.51130729445336098</c:v>
                </c:pt>
                <c:pt idx="28670">
                  <c:v>0.51132512930265706</c:v>
                </c:pt>
                <c:pt idx="28671">
                  <c:v>0.51134296415195202</c:v>
                </c:pt>
                <c:pt idx="28672">
                  <c:v>0.51136079900124798</c:v>
                </c:pt>
                <c:pt idx="28673">
                  <c:v>0.51137863385054305</c:v>
                </c:pt>
                <c:pt idx="28674">
                  <c:v>0.51139646869983901</c:v>
                </c:pt>
                <c:pt idx="28675">
                  <c:v>0.51141430354913497</c:v>
                </c:pt>
                <c:pt idx="28676">
                  <c:v>0.51143213839843005</c:v>
                </c:pt>
                <c:pt idx="28677">
                  <c:v>0.51144997324772601</c:v>
                </c:pt>
                <c:pt idx="28678">
                  <c:v>0.51146780809702097</c:v>
                </c:pt>
                <c:pt idx="28679">
                  <c:v>0.51148564294631704</c:v>
                </c:pt>
                <c:pt idx="28680">
                  <c:v>0.511503477795612</c:v>
                </c:pt>
                <c:pt idx="28681">
                  <c:v>0.51152131264490797</c:v>
                </c:pt>
                <c:pt idx="28682">
                  <c:v>0.51153914749420304</c:v>
                </c:pt>
                <c:pt idx="28683">
                  <c:v>0.511556982343499</c:v>
                </c:pt>
                <c:pt idx="28684">
                  <c:v>0.51157481719279396</c:v>
                </c:pt>
                <c:pt idx="28685">
                  <c:v>0.51159265204209003</c:v>
                </c:pt>
                <c:pt idx="28686">
                  <c:v>0.511610486891385</c:v>
                </c:pt>
                <c:pt idx="28687">
                  <c:v>0.51162832174068096</c:v>
                </c:pt>
                <c:pt idx="28688">
                  <c:v>0.51164615658997603</c:v>
                </c:pt>
                <c:pt idx="28689">
                  <c:v>0.51166399143927199</c:v>
                </c:pt>
                <c:pt idx="28690">
                  <c:v>0.51168182628856695</c:v>
                </c:pt>
                <c:pt idx="28691">
                  <c:v>0.51169966113786303</c:v>
                </c:pt>
                <c:pt idx="28692">
                  <c:v>0.51171749598715799</c:v>
                </c:pt>
                <c:pt idx="28693">
                  <c:v>0.51173533083645395</c:v>
                </c:pt>
                <c:pt idx="28694">
                  <c:v>0.51175316568574902</c:v>
                </c:pt>
                <c:pt idx="28695">
                  <c:v>0.51177100053504498</c:v>
                </c:pt>
                <c:pt idx="28696">
                  <c:v>0.51178883538434095</c:v>
                </c:pt>
                <c:pt idx="28697">
                  <c:v>0.51180667023363602</c:v>
                </c:pt>
                <c:pt idx="28698">
                  <c:v>0.51182450508293198</c:v>
                </c:pt>
                <c:pt idx="28699">
                  <c:v>0.51184233993222705</c:v>
                </c:pt>
                <c:pt idx="28700">
                  <c:v>0.51186017478152301</c:v>
                </c:pt>
                <c:pt idx="28701">
                  <c:v>0.51187800963081798</c:v>
                </c:pt>
                <c:pt idx="28702">
                  <c:v>0.51189584448011405</c:v>
                </c:pt>
                <c:pt idx="28703">
                  <c:v>0.51191367932940901</c:v>
                </c:pt>
                <c:pt idx="28704">
                  <c:v>0.51193151417870497</c:v>
                </c:pt>
                <c:pt idx="28705">
                  <c:v>0.51194934902800004</c:v>
                </c:pt>
                <c:pt idx="28706">
                  <c:v>0.51196718387729601</c:v>
                </c:pt>
                <c:pt idx="28707">
                  <c:v>0.51198501872659097</c:v>
                </c:pt>
                <c:pt idx="28708">
                  <c:v>0.51200285357588704</c:v>
                </c:pt>
                <c:pt idx="28709">
                  <c:v>0.512020688425182</c:v>
                </c:pt>
                <c:pt idx="28710">
                  <c:v>0.51203852327447796</c:v>
                </c:pt>
                <c:pt idx="28711">
                  <c:v>0.51205635812377304</c:v>
                </c:pt>
                <c:pt idx="28712">
                  <c:v>0.512074192973069</c:v>
                </c:pt>
                <c:pt idx="28713">
                  <c:v>0.51209202782236396</c:v>
                </c:pt>
                <c:pt idx="28714">
                  <c:v>0.51210986267166003</c:v>
                </c:pt>
                <c:pt idx="28715">
                  <c:v>0.51212769752095599</c:v>
                </c:pt>
                <c:pt idx="28716">
                  <c:v>0.51214553237025096</c:v>
                </c:pt>
                <c:pt idx="28717">
                  <c:v>0.51216336721954703</c:v>
                </c:pt>
                <c:pt idx="28718">
                  <c:v>0.51218120206884199</c:v>
                </c:pt>
                <c:pt idx="28719">
                  <c:v>0.51219903691813795</c:v>
                </c:pt>
                <c:pt idx="28720">
                  <c:v>0.51221687176743302</c:v>
                </c:pt>
                <c:pt idx="28721">
                  <c:v>0.51223470661672899</c:v>
                </c:pt>
                <c:pt idx="28722">
                  <c:v>0.51225254146602395</c:v>
                </c:pt>
                <c:pt idx="28723">
                  <c:v>0.51227037631532002</c:v>
                </c:pt>
                <c:pt idx="28724">
                  <c:v>0.51228821116461498</c:v>
                </c:pt>
                <c:pt idx="28725">
                  <c:v>0.51230604601391105</c:v>
                </c:pt>
                <c:pt idx="28726">
                  <c:v>0.51232388086320602</c:v>
                </c:pt>
                <c:pt idx="28727">
                  <c:v>0.51234171571250198</c:v>
                </c:pt>
                <c:pt idx="28728">
                  <c:v>0.51235955056179705</c:v>
                </c:pt>
                <c:pt idx="28729">
                  <c:v>0.51237738541109301</c:v>
                </c:pt>
                <c:pt idx="28730">
                  <c:v>0.51239522026038797</c:v>
                </c:pt>
                <c:pt idx="28731">
                  <c:v>0.51241305510968405</c:v>
                </c:pt>
                <c:pt idx="28732">
                  <c:v>0.51243088995897901</c:v>
                </c:pt>
                <c:pt idx="28733">
                  <c:v>0.51244872480827497</c:v>
                </c:pt>
                <c:pt idx="28734">
                  <c:v>0.51246655965757004</c:v>
                </c:pt>
                <c:pt idx="28735">
                  <c:v>0.512484394506866</c:v>
                </c:pt>
                <c:pt idx="28736">
                  <c:v>0.51250222935616196</c:v>
                </c:pt>
                <c:pt idx="28737">
                  <c:v>0.51252006420545704</c:v>
                </c:pt>
                <c:pt idx="28738">
                  <c:v>0.512537899054753</c:v>
                </c:pt>
                <c:pt idx="28739">
                  <c:v>0.51255573390404796</c:v>
                </c:pt>
                <c:pt idx="28740">
                  <c:v>0.51257356875334403</c:v>
                </c:pt>
                <c:pt idx="28741">
                  <c:v>0.512591403602639</c:v>
                </c:pt>
                <c:pt idx="28742">
                  <c:v>0.51260923845193496</c:v>
                </c:pt>
                <c:pt idx="28743">
                  <c:v>0.51262707330123003</c:v>
                </c:pt>
                <c:pt idx="28744">
                  <c:v>0.51264490815052599</c:v>
                </c:pt>
                <c:pt idx="28745">
                  <c:v>0.51266274299982095</c:v>
                </c:pt>
                <c:pt idx="28746">
                  <c:v>0.51268057784911703</c:v>
                </c:pt>
                <c:pt idx="28747">
                  <c:v>0.51269841269841199</c:v>
                </c:pt>
                <c:pt idx="28748">
                  <c:v>0.51271624754770795</c:v>
                </c:pt>
                <c:pt idx="28749">
                  <c:v>0.51273408239700302</c:v>
                </c:pt>
                <c:pt idx="28750">
                  <c:v>0.51275191724629898</c:v>
                </c:pt>
                <c:pt idx="28751">
                  <c:v>0.51276975209559394</c:v>
                </c:pt>
                <c:pt idx="28752">
                  <c:v>0.51278758694489002</c:v>
                </c:pt>
                <c:pt idx="28753">
                  <c:v>0.51280542179418498</c:v>
                </c:pt>
                <c:pt idx="28754">
                  <c:v>0.51282325664348105</c:v>
                </c:pt>
                <c:pt idx="28755">
                  <c:v>0.51284109149277601</c:v>
                </c:pt>
                <c:pt idx="28756">
                  <c:v>0.51285892634207197</c:v>
                </c:pt>
                <c:pt idx="28757">
                  <c:v>0.51287676119136705</c:v>
                </c:pt>
                <c:pt idx="28758">
                  <c:v>0.51289459604066301</c:v>
                </c:pt>
                <c:pt idx="28759">
                  <c:v>0.51291243088995897</c:v>
                </c:pt>
                <c:pt idx="28760">
                  <c:v>0.51293026573925404</c:v>
                </c:pt>
                <c:pt idx="28761">
                  <c:v>0.51294810058855</c:v>
                </c:pt>
                <c:pt idx="28762">
                  <c:v>0.51296593543784497</c:v>
                </c:pt>
                <c:pt idx="28763">
                  <c:v>0.51298377028714104</c:v>
                </c:pt>
                <c:pt idx="28764">
                  <c:v>0.513001605136436</c:v>
                </c:pt>
                <c:pt idx="28765">
                  <c:v>0.51301943998573196</c:v>
                </c:pt>
                <c:pt idx="28766">
                  <c:v>0.51303727483502704</c:v>
                </c:pt>
                <c:pt idx="28767">
                  <c:v>0.513055109684323</c:v>
                </c:pt>
                <c:pt idx="28768">
                  <c:v>0.51307294453361796</c:v>
                </c:pt>
                <c:pt idx="28769">
                  <c:v>0.51309077938291403</c:v>
                </c:pt>
                <c:pt idx="28770">
                  <c:v>0.51310861423220899</c:v>
                </c:pt>
                <c:pt idx="28771">
                  <c:v>0.51312644908150495</c:v>
                </c:pt>
                <c:pt idx="28772">
                  <c:v>0.51314428393080003</c:v>
                </c:pt>
                <c:pt idx="28773">
                  <c:v>0.51316211878009599</c:v>
                </c:pt>
                <c:pt idx="28774">
                  <c:v>0.51317995362939095</c:v>
                </c:pt>
                <c:pt idx="28775">
                  <c:v>0.51319778847868702</c:v>
                </c:pt>
                <c:pt idx="28776">
                  <c:v>0.51321562332798198</c:v>
                </c:pt>
                <c:pt idx="28777">
                  <c:v>0.51323345817727795</c:v>
                </c:pt>
                <c:pt idx="28778">
                  <c:v>0.51325129302657302</c:v>
                </c:pt>
                <c:pt idx="28779">
                  <c:v>0.51326912787586898</c:v>
                </c:pt>
                <c:pt idx="28780">
                  <c:v>0.51328696272516405</c:v>
                </c:pt>
                <c:pt idx="28781">
                  <c:v>0.51330479757446001</c:v>
                </c:pt>
                <c:pt idx="28782">
                  <c:v>0.51332263242375598</c:v>
                </c:pt>
                <c:pt idx="28783">
                  <c:v>0.51334046727305105</c:v>
                </c:pt>
                <c:pt idx="28784">
                  <c:v>0.51335830212234701</c:v>
                </c:pt>
                <c:pt idx="28785">
                  <c:v>0.51337613697164197</c:v>
                </c:pt>
                <c:pt idx="28786">
                  <c:v>0.51339397182093804</c:v>
                </c:pt>
                <c:pt idx="28787">
                  <c:v>0.51341180667023301</c:v>
                </c:pt>
                <c:pt idx="28788">
                  <c:v>0.51342964151952897</c:v>
                </c:pt>
                <c:pt idx="28789">
                  <c:v>0.51344747636882404</c:v>
                </c:pt>
                <c:pt idx="28790">
                  <c:v>0.51346531121812</c:v>
                </c:pt>
                <c:pt idx="28791">
                  <c:v>0.51348314606741496</c:v>
                </c:pt>
                <c:pt idx="28792">
                  <c:v>0.51350098091671104</c:v>
                </c:pt>
                <c:pt idx="28793">
                  <c:v>0.513518815766006</c:v>
                </c:pt>
                <c:pt idx="28794">
                  <c:v>0.51353665061530196</c:v>
                </c:pt>
                <c:pt idx="28795">
                  <c:v>0.51355448546459703</c:v>
                </c:pt>
                <c:pt idx="28796">
                  <c:v>0.51357232031389299</c:v>
                </c:pt>
                <c:pt idx="28797">
                  <c:v>0.51359015516318796</c:v>
                </c:pt>
                <c:pt idx="28798">
                  <c:v>0.51360799001248403</c:v>
                </c:pt>
                <c:pt idx="28799">
                  <c:v>0.51362582486177899</c:v>
                </c:pt>
                <c:pt idx="28800">
                  <c:v>0.51364365971107495</c:v>
                </c:pt>
                <c:pt idx="28801">
                  <c:v>0.51366149456037002</c:v>
                </c:pt>
                <c:pt idx="28802">
                  <c:v>0.51367932940966599</c:v>
                </c:pt>
                <c:pt idx="28803">
                  <c:v>0.51369716425896195</c:v>
                </c:pt>
                <c:pt idx="28804">
                  <c:v>0.51371499910825702</c:v>
                </c:pt>
                <c:pt idx="28805">
                  <c:v>0.51373283395755298</c:v>
                </c:pt>
                <c:pt idx="28806">
                  <c:v>0.51375066880684805</c:v>
                </c:pt>
                <c:pt idx="28807">
                  <c:v>0.51376850365614402</c:v>
                </c:pt>
                <c:pt idx="28808">
                  <c:v>0.51378633850543898</c:v>
                </c:pt>
                <c:pt idx="28809">
                  <c:v>0.51380417335473505</c:v>
                </c:pt>
                <c:pt idx="28810">
                  <c:v>0.51382200820403001</c:v>
                </c:pt>
                <c:pt idx="28811">
                  <c:v>0.51383984305332597</c:v>
                </c:pt>
                <c:pt idx="28812">
                  <c:v>0.51385767790262105</c:v>
                </c:pt>
                <c:pt idx="28813">
                  <c:v>0.51387551275191701</c:v>
                </c:pt>
                <c:pt idx="28814">
                  <c:v>0.51389334760121197</c:v>
                </c:pt>
                <c:pt idx="28815">
                  <c:v>0.51391118245050804</c:v>
                </c:pt>
                <c:pt idx="28816">
                  <c:v>0.513929017299803</c:v>
                </c:pt>
                <c:pt idx="28817">
                  <c:v>0.51394685214909896</c:v>
                </c:pt>
                <c:pt idx="28818">
                  <c:v>0.51396468699839404</c:v>
                </c:pt>
                <c:pt idx="28819">
                  <c:v>0.51398252184769</c:v>
                </c:pt>
                <c:pt idx="28820">
                  <c:v>0.51400035669698596</c:v>
                </c:pt>
                <c:pt idx="28821">
                  <c:v>0.51401819154628103</c:v>
                </c:pt>
                <c:pt idx="28822">
                  <c:v>0.51403602639557699</c:v>
                </c:pt>
                <c:pt idx="28823">
                  <c:v>0.51405386124487196</c:v>
                </c:pt>
                <c:pt idx="28824">
                  <c:v>0.51407169609416803</c:v>
                </c:pt>
                <c:pt idx="28825">
                  <c:v>0.51408953094346299</c:v>
                </c:pt>
                <c:pt idx="28826">
                  <c:v>0.51410736579275895</c:v>
                </c:pt>
                <c:pt idx="28827">
                  <c:v>0.51412520064205403</c:v>
                </c:pt>
                <c:pt idx="28828">
                  <c:v>0.51414303549134999</c:v>
                </c:pt>
                <c:pt idx="28829">
                  <c:v>0.51416087034064495</c:v>
                </c:pt>
                <c:pt idx="28830">
                  <c:v>0.51417870518994102</c:v>
                </c:pt>
                <c:pt idx="28831">
                  <c:v>0.51419654003923598</c:v>
                </c:pt>
                <c:pt idx="28832">
                  <c:v>0.51421437488853206</c:v>
                </c:pt>
                <c:pt idx="28833">
                  <c:v>0.51423220973782702</c:v>
                </c:pt>
                <c:pt idx="28834">
                  <c:v>0.51425004458712298</c:v>
                </c:pt>
                <c:pt idx="28835">
                  <c:v>0.51426787943641805</c:v>
                </c:pt>
                <c:pt idx="28836">
                  <c:v>0.51428571428571401</c:v>
                </c:pt>
                <c:pt idx="28837">
                  <c:v>0.51430354913500897</c:v>
                </c:pt>
                <c:pt idx="28838">
                  <c:v>0.51432138398430505</c:v>
                </c:pt>
                <c:pt idx="28839">
                  <c:v>0.51433921883360001</c:v>
                </c:pt>
                <c:pt idx="28840">
                  <c:v>0.51435705368289597</c:v>
                </c:pt>
                <c:pt idx="28841">
                  <c:v>0.51437488853219104</c:v>
                </c:pt>
                <c:pt idx="28842">
                  <c:v>0.514392723381487</c:v>
                </c:pt>
                <c:pt idx="28843">
                  <c:v>0.51441055823078297</c:v>
                </c:pt>
                <c:pt idx="28844">
                  <c:v>0.51442839308007804</c:v>
                </c:pt>
                <c:pt idx="28845">
                  <c:v>0.514446227929374</c:v>
                </c:pt>
                <c:pt idx="28846">
                  <c:v>0.51446406277866896</c:v>
                </c:pt>
                <c:pt idx="28847">
                  <c:v>0.51448189762796503</c:v>
                </c:pt>
                <c:pt idx="28848">
                  <c:v>0.51449973247726</c:v>
                </c:pt>
                <c:pt idx="28849">
                  <c:v>0.51451756732655596</c:v>
                </c:pt>
                <c:pt idx="28850">
                  <c:v>0.51453540217585103</c:v>
                </c:pt>
                <c:pt idx="28851">
                  <c:v>0.51455323702514699</c:v>
                </c:pt>
                <c:pt idx="28852">
                  <c:v>0.51457107187444195</c:v>
                </c:pt>
                <c:pt idx="28853">
                  <c:v>0.51458890672373803</c:v>
                </c:pt>
                <c:pt idx="28854">
                  <c:v>0.51460674157303299</c:v>
                </c:pt>
                <c:pt idx="28855">
                  <c:v>0.51462457642232895</c:v>
                </c:pt>
                <c:pt idx="28856">
                  <c:v>0.51464241127162402</c:v>
                </c:pt>
                <c:pt idx="28857">
                  <c:v>0.51466024612091998</c:v>
                </c:pt>
                <c:pt idx="28858">
                  <c:v>0.51467808097021495</c:v>
                </c:pt>
                <c:pt idx="28859">
                  <c:v>0.51469591581951102</c:v>
                </c:pt>
                <c:pt idx="28860">
                  <c:v>0.51471375066880598</c:v>
                </c:pt>
                <c:pt idx="28861">
                  <c:v>0.51473158551810205</c:v>
                </c:pt>
                <c:pt idx="28862">
                  <c:v>0.51474942036739701</c:v>
                </c:pt>
                <c:pt idx="28863">
                  <c:v>0.51476725521669298</c:v>
                </c:pt>
                <c:pt idx="28864">
                  <c:v>0.51478509006598805</c:v>
                </c:pt>
                <c:pt idx="28865">
                  <c:v>0.51480292491528401</c:v>
                </c:pt>
                <c:pt idx="28866">
                  <c:v>0.51482075976457997</c:v>
                </c:pt>
                <c:pt idx="28867">
                  <c:v>0.51483859461387504</c:v>
                </c:pt>
                <c:pt idx="28868">
                  <c:v>0.51485642946317101</c:v>
                </c:pt>
                <c:pt idx="28869">
                  <c:v>0.51487426431246597</c:v>
                </c:pt>
                <c:pt idx="28870">
                  <c:v>0.51489209916176204</c:v>
                </c:pt>
                <c:pt idx="28871">
                  <c:v>0.514909934011057</c:v>
                </c:pt>
                <c:pt idx="28872">
                  <c:v>0.51492776886035296</c:v>
                </c:pt>
                <c:pt idx="28873">
                  <c:v>0.51494560370964804</c:v>
                </c:pt>
                <c:pt idx="28874">
                  <c:v>0.514963438558944</c:v>
                </c:pt>
                <c:pt idx="28875">
                  <c:v>0.51498127340823896</c:v>
                </c:pt>
                <c:pt idx="28876">
                  <c:v>0.51499910825753503</c:v>
                </c:pt>
                <c:pt idx="28877">
                  <c:v>0.51501694310682999</c:v>
                </c:pt>
                <c:pt idx="28878">
                  <c:v>0.51503477795612596</c:v>
                </c:pt>
                <c:pt idx="28879">
                  <c:v>0.51505261280542103</c:v>
                </c:pt>
                <c:pt idx="28880">
                  <c:v>0.51507044765471699</c:v>
                </c:pt>
                <c:pt idx="28881">
                  <c:v>0.51508828250401195</c:v>
                </c:pt>
                <c:pt idx="28882">
                  <c:v>0.51510611735330802</c:v>
                </c:pt>
                <c:pt idx="28883">
                  <c:v>0.51512395220260299</c:v>
                </c:pt>
                <c:pt idx="28884">
                  <c:v>0.51514178705189895</c:v>
                </c:pt>
                <c:pt idx="28885">
                  <c:v>0.51515962190119402</c:v>
                </c:pt>
                <c:pt idx="28886">
                  <c:v>0.51517745675048998</c:v>
                </c:pt>
                <c:pt idx="28887">
                  <c:v>0.51519529159978505</c:v>
                </c:pt>
                <c:pt idx="28888">
                  <c:v>0.51521312644908102</c:v>
                </c:pt>
                <c:pt idx="28889">
                  <c:v>0.51523096129837698</c:v>
                </c:pt>
                <c:pt idx="28890">
                  <c:v>0.51524879614767205</c:v>
                </c:pt>
                <c:pt idx="28891">
                  <c:v>0.51526663099696801</c:v>
                </c:pt>
                <c:pt idx="28892">
                  <c:v>0.51528446584626297</c:v>
                </c:pt>
                <c:pt idx="28893">
                  <c:v>0.51530230069555905</c:v>
                </c:pt>
                <c:pt idx="28894">
                  <c:v>0.51532013554485401</c:v>
                </c:pt>
                <c:pt idx="28895">
                  <c:v>0.51533797039414997</c:v>
                </c:pt>
                <c:pt idx="28896">
                  <c:v>0.51535580524344504</c:v>
                </c:pt>
                <c:pt idx="28897">
                  <c:v>0.515373640092741</c:v>
                </c:pt>
                <c:pt idx="28898">
                  <c:v>0.51539147494203597</c:v>
                </c:pt>
                <c:pt idx="28899">
                  <c:v>0.51540930979133204</c:v>
                </c:pt>
                <c:pt idx="28900">
                  <c:v>0.515427144640627</c:v>
                </c:pt>
                <c:pt idx="28901">
                  <c:v>0.51544497948992296</c:v>
                </c:pt>
                <c:pt idx="28902">
                  <c:v>0.51546281433921803</c:v>
                </c:pt>
                <c:pt idx="28903">
                  <c:v>0.515480649188514</c:v>
                </c:pt>
                <c:pt idx="28904">
                  <c:v>0.51549848403780896</c:v>
                </c:pt>
                <c:pt idx="28905">
                  <c:v>0.51551631888710503</c:v>
                </c:pt>
                <c:pt idx="28906">
                  <c:v>0.51553415373639999</c:v>
                </c:pt>
                <c:pt idx="28907">
                  <c:v>0.51555198858569595</c:v>
                </c:pt>
                <c:pt idx="28908">
                  <c:v>0.51556982343499203</c:v>
                </c:pt>
                <c:pt idx="28909">
                  <c:v>0.51558765828428699</c:v>
                </c:pt>
                <c:pt idx="28910">
                  <c:v>0.51560549313358295</c:v>
                </c:pt>
                <c:pt idx="28911">
                  <c:v>0.51562332798287802</c:v>
                </c:pt>
                <c:pt idx="28912">
                  <c:v>0.51564116283217398</c:v>
                </c:pt>
                <c:pt idx="28913">
                  <c:v>0.51565899768146894</c:v>
                </c:pt>
                <c:pt idx="28914">
                  <c:v>0.51567683253076502</c:v>
                </c:pt>
                <c:pt idx="28915">
                  <c:v>0.51569466738005998</c:v>
                </c:pt>
                <c:pt idx="28916">
                  <c:v>0.51571250222935605</c:v>
                </c:pt>
                <c:pt idx="28917">
                  <c:v>0.51573033707865101</c:v>
                </c:pt>
                <c:pt idx="28918">
                  <c:v>0.51574817192794697</c:v>
                </c:pt>
                <c:pt idx="28919">
                  <c:v>0.51576600677724205</c:v>
                </c:pt>
                <c:pt idx="28920">
                  <c:v>0.51578384162653801</c:v>
                </c:pt>
                <c:pt idx="28921">
                  <c:v>0.51580167647583297</c:v>
                </c:pt>
                <c:pt idx="28922">
                  <c:v>0.51581951132512904</c:v>
                </c:pt>
                <c:pt idx="28923">
                  <c:v>0.51583734617442401</c:v>
                </c:pt>
                <c:pt idx="28924">
                  <c:v>0.51585518102371997</c:v>
                </c:pt>
                <c:pt idx="28925">
                  <c:v>0.51587301587301504</c:v>
                </c:pt>
                <c:pt idx="28926">
                  <c:v>0.515890850722311</c:v>
                </c:pt>
                <c:pt idx="28927">
                  <c:v>0.51590868557160696</c:v>
                </c:pt>
                <c:pt idx="28928">
                  <c:v>0.51592652042090204</c:v>
                </c:pt>
                <c:pt idx="28929">
                  <c:v>0.515944355270198</c:v>
                </c:pt>
                <c:pt idx="28930">
                  <c:v>0.51596219011949296</c:v>
                </c:pt>
                <c:pt idx="28931">
                  <c:v>0.51598002496878903</c:v>
                </c:pt>
                <c:pt idx="28932">
                  <c:v>0.51599785981808399</c:v>
                </c:pt>
                <c:pt idx="28933">
                  <c:v>0.51601569466737995</c:v>
                </c:pt>
                <c:pt idx="28934">
                  <c:v>0.51603352951667503</c:v>
                </c:pt>
                <c:pt idx="28935">
                  <c:v>0.51605136436597099</c:v>
                </c:pt>
                <c:pt idx="28936">
                  <c:v>0.51606919921526595</c:v>
                </c:pt>
                <c:pt idx="28937">
                  <c:v>0.51608703406456202</c:v>
                </c:pt>
                <c:pt idx="28938">
                  <c:v>0.51610486891385698</c:v>
                </c:pt>
                <c:pt idx="28939">
                  <c:v>0.51612270376315295</c:v>
                </c:pt>
                <c:pt idx="28940">
                  <c:v>0.51614053861244802</c:v>
                </c:pt>
                <c:pt idx="28941">
                  <c:v>0.51615837346174398</c:v>
                </c:pt>
                <c:pt idx="28942">
                  <c:v>0.51617620831103905</c:v>
                </c:pt>
                <c:pt idx="28943">
                  <c:v>0.51619404316033501</c:v>
                </c:pt>
                <c:pt idx="28944">
                  <c:v>0.51621187800962998</c:v>
                </c:pt>
                <c:pt idx="28945">
                  <c:v>0.51622971285892605</c:v>
                </c:pt>
                <c:pt idx="28946">
                  <c:v>0.51624754770822101</c:v>
                </c:pt>
                <c:pt idx="28947">
                  <c:v>0.51626538255751697</c:v>
                </c:pt>
                <c:pt idx="28948">
                  <c:v>0.51628321740681204</c:v>
                </c:pt>
                <c:pt idx="28949">
                  <c:v>0.51630105225610801</c:v>
                </c:pt>
                <c:pt idx="28950">
                  <c:v>0.51631888710540397</c:v>
                </c:pt>
                <c:pt idx="28951">
                  <c:v>0.51633672195469904</c:v>
                </c:pt>
                <c:pt idx="28952">
                  <c:v>0.516354556803995</c:v>
                </c:pt>
                <c:pt idx="28953">
                  <c:v>0.51637239165328996</c:v>
                </c:pt>
                <c:pt idx="28954">
                  <c:v>0.51639022650258604</c:v>
                </c:pt>
                <c:pt idx="28955">
                  <c:v>0.516408061351881</c:v>
                </c:pt>
                <c:pt idx="28956">
                  <c:v>0.51642589620117696</c:v>
                </c:pt>
                <c:pt idx="28957">
                  <c:v>0.51644373105047203</c:v>
                </c:pt>
                <c:pt idx="28958">
                  <c:v>0.51646156589976799</c:v>
                </c:pt>
                <c:pt idx="28959">
                  <c:v>0.51647940074906296</c:v>
                </c:pt>
                <c:pt idx="28960">
                  <c:v>0.51649723559835903</c:v>
                </c:pt>
                <c:pt idx="28961">
                  <c:v>0.51651507044765399</c:v>
                </c:pt>
                <c:pt idx="28962">
                  <c:v>0.51653290529694995</c:v>
                </c:pt>
                <c:pt idx="28963">
                  <c:v>0.51655074014624502</c:v>
                </c:pt>
                <c:pt idx="28964">
                  <c:v>0.51656857499554099</c:v>
                </c:pt>
                <c:pt idx="28965">
                  <c:v>0.51658640984483595</c:v>
                </c:pt>
                <c:pt idx="28966">
                  <c:v>0.51660424469413202</c:v>
                </c:pt>
                <c:pt idx="28967">
                  <c:v>0.51662207954342698</c:v>
                </c:pt>
                <c:pt idx="28968">
                  <c:v>0.51663991439272305</c:v>
                </c:pt>
                <c:pt idx="28969">
                  <c:v>0.51665774924201802</c:v>
                </c:pt>
                <c:pt idx="28970">
                  <c:v>0.51667558409131398</c:v>
                </c:pt>
                <c:pt idx="28971">
                  <c:v>0.51669341894060905</c:v>
                </c:pt>
                <c:pt idx="28972">
                  <c:v>0.51671125378990501</c:v>
                </c:pt>
                <c:pt idx="28973">
                  <c:v>0.51672908863920097</c:v>
                </c:pt>
                <c:pt idx="28974">
                  <c:v>0.51674692348849605</c:v>
                </c:pt>
                <c:pt idx="28975">
                  <c:v>0.51676475833779201</c:v>
                </c:pt>
                <c:pt idx="28976">
                  <c:v>0.51678259318708697</c:v>
                </c:pt>
                <c:pt idx="28977">
                  <c:v>0.51680042803638304</c:v>
                </c:pt>
                <c:pt idx="28978">
                  <c:v>0.516818262885678</c:v>
                </c:pt>
                <c:pt idx="28979">
                  <c:v>0.51683609773497396</c:v>
                </c:pt>
                <c:pt idx="28980">
                  <c:v>0.51685393258426904</c:v>
                </c:pt>
                <c:pt idx="28981">
                  <c:v>0.516871767433565</c:v>
                </c:pt>
                <c:pt idx="28982">
                  <c:v>0.51688960228285996</c:v>
                </c:pt>
                <c:pt idx="28983">
                  <c:v>0.51690743713215603</c:v>
                </c:pt>
                <c:pt idx="28984">
                  <c:v>0.516925271981451</c:v>
                </c:pt>
                <c:pt idx="28985">
                  <c:v>0.51694310683074696</c:v>
                </c:pt>
                <c:pt idx="28986">
                  <c:v>0.51696094168004203</c:v>
                </c:pt>
                <c:pt idx="28987">
                  <c:v>0.51697877652933799</c:v>
                </c:pt>
                <c:pt idx="28988">
                  <c:v>0.51699661137863295</c:v>
                </c:pt>
                <c:pt idx="28989">
                  <c:v>0.51701444622792903</c:v>
                </c:pt>
                <c:pt idx="28990">
                  <c:v>0.51703228107722399</c:v>
                </c:pt>
                <c:pt idx="28991">
                  <c:v>0.51705011592651995</c:v>
                </c:pt>
                <c:pt idx="28992">
                  <c:v>0.51706795077581502</c:v>
                </c:pt>
                <c:pt idx="28993">
                  <c:v>0.51708578562511098</c:v>
                </c:pt>
                <c:pt idx="28994">
                  <c:v>0.51710362047440595</c:v>
                </c:pt>
                <c:pt idx="28995">
                  <c:v>0.51712145532370202</c:v>
                </c:pt>
                <c:pt idx="28996">
                  <c:v>0.51713929017299798</c:v>
                </c:pt>
                <c:pt idx="28997">
                  <c:v>0.51715712502229305</c:v>
                </c:pt>
                <c:pt idx="28998">
                  <c:v>0.51717495987158901</c:v>
                </c:pt>
                <c:pt idx="28999">
                  <c:v>0.51719279472088397</c:v>
                </c:pt>
                <c:pt idx="29000">
                  <c:v>0.51721062957018005</c:v>
                </c:pt>
                <c:pt idx="29001">
                  <c:v>0.51722846441947501</c:v>
                </c:pt>
                <c:pt idx="29002">
                  <c:v>0.51724629926877097</c:v>
                </c:pt>
                <c:pt idx="29003">
                  <c:v>0.51726413411806604</c:v>
                </c:pt>
                <c:pt idx="29004">
                  <c:v>0.517281968967362</c:v>
                </c:pt>
                <c:pt idx="29005">
                  <c:v>0.51729980381665697</c:v>
                </c:pt>
                <c:pt idx="29006">
                  <c:v>0.51731763866595304</c:v>
                </c:pt>
                <c:pt idx="29007">
                  <c:v>0.517335473515248</c:v>
                </c:pt>
                <c:pt idx="29008">
                  <c:v>0.51735330836454396</c:v>
                </c:pt>
                <c:pt idx="29009">
                  <c:v>0.51737114321383904</c:v>
                </c:pt>
                <c:pt idx="29010">
                  <c:v>0.517388978063135</c:v>
                </c:pt>
                <c:pt idx="29011">
                  <c:v>0.51740681291242996</c:v>
                </c:pt>
                <c:pt idx="29012">
                  <c:v>0.51742464776172603</c:v>
                </c:pt>
                <c:pt idx="29013">
                  <c:v>0.51744248261102199</c:v>
                </c:pt>
                <c:pt idx="29014">
                  <c:v>0.51746031746031695</c:v>
                </c:pt>
                <c:pt idx="29015">
                  <c:v>0.51747815230961303</c:v>
                </c:pt>
                <c:pt idx="29016">
                  <c:v>0.51749598715890799</c:v>
                </c:pt>
                <c:pt idx="29017">
                  <c:v>0.51751382200820395</c:v>
                </c:pt>
                <c:pt idx="29018">
                  <c:v>0.51753165685749902</c:v>
                </c:pt>
                <c:pt idx="29019">
                  <c:v>0.51754949170679498</c:v>
                </c:pt>
                <c:pt idx="29020">
                  <c:v>0.51756732655608995</c:v>
                </c:pt>
                <c:pt idx="29021">
                  <c:v>0.51758516140538602</c:v>
                </c:pt>
                <c:pt idx="29022">
                  <c:v>0.51760299625468098</c:v>
                </c:pt>
                <c:pt idx="29023">
                  <c:v>0.51762083110397705</c:v>
                </c:pt>
                <c:pt idx="29024">
                  <c:v>0.51763866595327201</c:v>
                </c:pt>
                <c:pt idx="29025">
                  <c:v>0.51765650080256798</c:v>
                </c:pt>
                <c:pt idx="29026">
                  <c:v>0.51767433565186305</c:v>
                </c:pt>
                <c:pt idx="29027">
                  <c:v>0.51769217050115901</c:v>
                </c:pt>
                <c:pt idx="29028">
                  <c:v>0.51771000535045397</c:v>
                </c:pt>
                <c:pt idx="29029">
                  <c:v>0.51772784019975004</c:v>
                </c:pt>
                <c:pt idx="29030">
                  <c:v>0.51774567504904501</c:v>
                </c:pt>
                <c:pt idx="29031">
                  <c:v>0.51776350989834097</c:v>
                </c:pt>
                <c:pt idx="29032">
                  <c:v>0.51778134474763604</c:v>
                </c:pt>
                <c:pt idx="29033">
                  <c:v>0.517799179596932</c:v>
                </c:pt>
                <c:pt idx="29034">
                  <c:v>0.51781701444622796</c:v>
                </c:pt>
                <c:pt idx="29035">
                  <c:v>0.51783484929552304</c:v>
                </c:pt>
                <c:pt idx="29036">
                  <c:v>0.517852684144819</c:v>
                </c:pt>
                <c:pt idx="29037">
                  <c:v>0.51787051899411396</c:v>
                </c:pt>
                <c:pt idx="29038">
                  <c:v>0.51788835384341003</c:v>
                </c:pt>
                <c:pt idx="29039">
                  <c:v>0.51790618869270499</c:v>
                </c:pt>
                <c:pt idx="29040">
                  <c:v>0.51792402354200096</c:v>
                </c:pt>
                <c:pt idx="29041">
                  <c:v>0.51794185839129603</c:v>
                </c:pt>
                <c:pt idx="29042">
                  <c:v>0.51795969324059199</c:v>
                </c:pt>
                <c:pt idx="29043">
                  <c:v>0.51797752808988695</c:v>
                </c:pt>
                <c:pt idx="29044">
                  <c:v>0.51799536293918302</c:v>
                </c:pt>
                <c:pt idx="29045">
                  <c:v>0.51801319778847799</c:v>
                </c:pt>
                <c:pt idx="29046">
                  <c:v>0.51803103263777395</c:v>
                </c:pt>
                <c:pt idx="29047">
                  <c:v>0.51804886748706902</c:v>
                </c:pt>
                <c:pt idx="29048">
                  <c:v>0.51806670233636498</c:v>
                </c:pt>
                <c:pt idx="29049">
                  <c:v>0.51808453718566005</c:v>
                </c:pt>
                <c:pt idx="29050">
                  <c:v>0.51810237203495602</c:v>
                </c:pt>
                <c:pt idx="29051">
                  <c:v>0.51812020688425098</c:v>
                </c:pt>
                <c:pt idx="29052">
                  <c:v>0.51813804173354705</c:v>
                </c:pt>
                <c:pt idx="29053">
                  <c:v>0.51815587658284201</c:v>
                </c:pt>
                <c:pt idx="29054">
                  <c:v>0.51817371143213797</c:v>
                </c:pt>
                <c:pt idx="29055">
                  <c:v>0.51819154628143305</c:v>
                </c:pt>
                <c:pt idx="29056">
                  <c:v>0.51820938113072901</c:v>
                </c:pt>
                <c:pt idx="29057">
                  <c:v>0.51822721598002497</c:v>
                </c:pt>
                <c:pt idx="29058">
                  <c:v>0.51824505082932004</c:v>
                </c:pt>
                <c:pt idx="29059">
                  <c:v>0.518262885678616</c:v>
                </c:pt>
                <c:pt idx="29060">
                  <c:v>0.51828072052791097</c:v>
                </c:pt>
                <c:pt idx="29061">
                  <c:v>0.51829855537720704</c:v>
                </c:pt>
                <c:pt idx="29062">
                  <c:v>0.518316390226502</c:v>
                </c:pt>
                <c:pt idx="29063">
                  <c:v>0.51833422507579796</c:v>
                </c:pt>
                <c:pt idx="29064">
                  <c:v>0.51835205992509303</c:v>
                </c:pt>
                <c:pt idx="29065">
                  <c:v>0.518369894774389</c:v>
                </c:pt>
                <c:pt idx="29066">
                  <c:v>0.51838772962368396</c:v>
                </c:pt>
                <c:pt idx="29067">
                  <c:v>0.51840556447298003</c:v>
                </c:pt>
                <c:pt idx="29068">
                  <c:v>0.51842339932227499</c:v>
                </c:pt>
                <c:pt idx="29069">
                  <c:v>0.51844123417157095</c:v>
                </c:pt>
                <c:pt idx="29070">
                  <c:v>0.51845906902086603</c:v>
                </c:pt>
                <c:pt idx="29071">
                  <c:v>0.51847690387016199</c:v>
                </c:pt>
                <c:pt idx="29072">
                  <c:v>0.51849473871945695</c:v>
                </c:pt>
                <c:pt idx="29073">
                  <c:v>0.51851257356875302</c:v>
                </c:pt>
                <c:pt idx="29074">
                  <c:v>0.51853040841804798</c:v>
                </c:pt>
                <c:pt idx="29075">
                  <c:v>0.51854824326734394</c:v>
                </c:pt>
                <c:pt idx="29076">
                  <c:v>0.51856607811663902</c:v>
                </c:pt>
                <c:pt idx="29077">
                  <c:v>0.51858391296593498</c:v>
                </c:pt>
                <c:pt idx="29078">
                  <c:v>0.51860174781523005</c:v>
                </c:pt>
                <c:pt idx="29079">
                  <c:v>0.51861958266452601</c:v>
                </c:pt>
                <c:pt idx="29080">
                  <c:v>0.51863741751382197</c:v>
                </c:pt>
                <c:pt idx="29081">
                  <c:v>0.51865525236311705</c:v>
                </c:pt>
                <c:pt idx="29082">
                  <c:v>0.51867308721241301</c:v>
                </c:pt>
                <c:pt idx="29083">
                  <c:v>0.51869092206170797</c:v>
                </c:pt>
                <c:pt idx="29084">
                  <c:v>0.51870875691100404</c:v>
                </c:pt>
                <c:pt idx="29085">
                  <c:v>0.51872659176029901</c:v>
                </c:pt>
                <c:pt idx="29086">
                  <c:v>0.51874442660959497</c:v>
                </c:pt>
                <c:pt idx="29087">
                  <c:v>0.51876226145889004</c:v>
                </c:pt>
                <c:pt idx="29088">
                  <c:v>0.518780096308186</c:v>
                </c:pt>
                <c:pt idx="29089">
                  <c:v>0.51879793115748096</c:v>
                </c:pt>
                <c:pt idx="29090">
                  <c:v>0.51881576600677703</c:v>
                </c:pt>
                <c:pt idx="29091">
                  <c:v>0.518833600856072</c:v>
                </c:pt>
                <c:pt idx="29092">
                  <c:v>0.51885143570536796</c:v>
                </c:pt>
                <c:pt idx="29093">
                  <c:v>0.51886927055466303</c:v>
                </c:pt>
                <c:pt idx="29094">
                  <c:v>0.51888710540395899</c:v>
                </c:pt>
                <c:pt idx="29095">
                  <c:v>0.51890494025325395</c:v>
                </c:pt>
                <c:pt idx="29096">
                  <c:v>0.51892277510255003</c:v>
                </c:pt>
                <c:pt idx="29097">
                  <c:v>0.51894060995184499</c:v>
                </c:pt>
                <c:pt idx="29098">
                  <c:v>0.51895844480114095</c:v>
                </c:pt>
                <c:pt idx="29099">
                  <c:v>0.51897627965043602</c:v>
                </c:pt>
                <c:pt idx="29100">
                  <c:v>0.51899411449973198</c:v>
                </c:pt>
                <c:pt idx="29101">
                  <c:v>0.51901194934902795</c:v>
                </c:pt>
                <c:pt idx="29102">
                  <c:v>0.51902978419832302</c:v>
                </c:pt>
                <c:pt idx="29103">
                  <c:v>0.51904761904761898</c:v>
                </c:pt>
                <c:pt idx="29104">
                  <c:v>0.51906545389691405</c:v>
                </c:pt>
                <c:pt idx="29105">
                  <c:v>0.51908328874621001</c:v>
                </c:pt>
                <c:pt idx="29106">
                  <c:v>0.51910112359550498</c:v>
                </c:pt>
                <c:pt idx="29107">
                  <c:v>0.51911895844480105</c:v>
                </c:pt>
                <c:pt idx="29108">
                  <c:v>0.51913679329409601</c:v>
                </c:pt>
                <c:pt idx="29109">
                  <c:v>0.51915462814339197</c:v>
                </c:pt>
                <c:pt idx="29110">
                  <c:v>0.51917246299268704</c:v>
                </c:pt>
                <c:pt idx="29111">
                  <c:v>0.51919029784198301</c:v>
                </c:pt>
                <c:pt idx="29112">
                  <c:v>0.51920813269127797</c:v>
                </c:pt>
                <c:pt idx="29113">
                  <c:v>0.51922596754057404</c:v>
                </c:pt>
                <c:pt idx="29114">
                  <c:v>0.519243802389869</c:v>
                </c:pt>
                <c:pt idx="29115">
                  <c:v>0.51926163723916496</c:v>
                </c:pt>
                <c:pt idx="29116">
                  <c:v>0.51927947208846004</c:v>
                </c:pt>
                <c:pt idx="29117">
                  <c:v>0.519297306937756</c:v>
                </c:pt>
                <c:pt idx="29118">
                  <c:v>0.51931514178705096</c:v>
                </c:pt>
                <c:pt idx="29119">
                  <c:v>0.51933297663634703</c:v>
                </c:pt>
                <c:pt idx="29120">
                  <c:v>0.51935081148564299</c:v>
                </c:pt>
                <c:pt idx="29121">
                  <c:v>0.51936864633493796</c:v>
                </c:pt>
                <c:pt idx="29122">
                  <c:v>0.51938648118423403</c:v>
                </c:pt>
                <c:pt idx="29123">
                  <c:v>0.51940431603352899</c:v>
                </c:pt>
                <c:pt idx="29124">
                  <c:v>0.51942215088282495</c:v>
                </c:pt>
                <c:pt idx="29125">
                  <c:v>0.51943998573212002</c:v>
                </c:pt>
                <c:pt idx="29126">
                  <c:v>0.51945782058141599</c:v>
                </c:pt>
                <c:pt idx="29127">
                  <c:v>0.51947565543071095</c:v>
                </c:pt>
                <c:pt idx="29128">
                  <c:v>0.51949349028000702</c:v>
                </c:pt>
                <c:pt idx="29129">
                  <c:v>0.51951132512930198</c:v>
                </c:pt>
                <c:pt idx="29130">
                  <c:v>0.51952915997859805</c:v>
                </c:pt>
                <c:pt idx="29131">
                  <c:v>0.51954699482789302</c:v>
                </c:pt>
                <c:pt idx="29132">
                  <c:v>0.51956482967718898</c:v>
                </c:pt>
                <c:pt idx="29133">
                  <c:v>0.51958266452648405</c:v>
                </c:pt>
                <c:pt idx="29134">
                  <c:v>0.51960049937578001</c:v>
                </c:pt>
                <c:pt idx="29135">
                  <c:v>0.51961833422507497</c:v>
                </c:pt>
                <c:pt idx="29136">
                  <c:v>0.51963616907437105</c:v>
                </c:pt>
                <c:pt idx="29137">
                  <c:v>0.51965400392366601</c:v>
                </c:pt>
                <c:pt idx="29138">
                  <c:v>0.51967183877296197</c:v>
                </c:pt>
                <c:pt idx="29139">
                  <c:v>0.51968967362225704</c:v>
                </c:pt>
                <c:pt idx="29140">
                  <c:v>0.519707508471553</c:v>
                </c:pt>
                <c:pt idx="29141">
                  <c:v>0.51972534332084896</c:v>
                </c:pt>
                <c:pt idx="29142">
                  <c:v>0.51974317817014404</c:v>
                </c:pt>
                <c:pt idx="29143">
                  <c:v>0.51976101301944</c:v>
                </c:pt>
                <c:pt idx="29144">
                  <c:v>0.51977884786873496</c:v>
                </c:pt>
                <c:pt idx="29145">
                  <c:v>0.51979668271803103</c:v>
                </c:pt>
                <c:pt idx="29146">
                  <c:v>0.519814517567326</c:v>
                </c:pt>
                <c:pt idx="29147">
                  <c:v>0.51983235241662196</c:v>
                </c:pt>
                <c:pt idx="29148">
                  <c:v>0.51985018726591703</c:v>
                </c:pt>
                <c:pt idx="29149">
                  <c:v>0.51986802211521299</c:v>
                </c:pt>
                <c:pt idx="29150">
                  <c:v>0.51988585696450795</c:v>
                </c:pt>
                <c:pt idx="29151">
                  <c:v>0.51990369181380403</c:v>
                </c:pt>
                <c:pt idx="29152">
                  <c:v>0.51992152666309899</c:v>
                </c:pt>
                <c:pt idx="29153">
                  <c:v>0.51993936151239495</c:v>
                </c:pt>
                <c:pt idx="29154">
                  <c:v>0.51995719636169002</c:v>
                </c:pt>
                <c:pt idx="29155">
                  <c:v>0.51997503121098598</c:v>
                </c:pt>
                <c:pt idx="29156">
                  <c:v>0.51999286606028094</c:v>
                </c:pt>
                <c:pt idx="29157">
                  <c:v>0.52001070090957702</c:v>
                </c:pt>
                <c:pt idx="29158">
                  <c:v>0.52002853575887198</c:v>
                </c:pt>
                <c:pt idx="29159">
                  <c:v>0.52004637060816805</c:v>
                </c:pt>
                <c:pt idx="29160">
                  <c:v>0.52006420545746301</c:v>
                </c:pt>
                <c:pt idx="29161">
                  <c:v>0.52008204030675897</c:v>
                </c:pt>
                <c:pt idx="29162">
                  <c:v>0.52009987515605405</c:v>
                </c:pt>
                <c:pt idx="29163">
                  <c:v>0.52011771000535001</c:v>
                </c:pt>
                <c:pt idx="29164">
                  <c:v>0.52013554485464597</c:v>
                </c:pt>
                <c:pt idx="29165">
                  <c:v>0.52015337970394104</c:v>
                </c:pt>
                <c:pt idx="29166">
                  <c:v>0.520171214553237</c:v>
                </c:pt>
                <c:pt idx="29167">
                  <c:v>0.52018904940253197</c:v>
                </c:pt>
                <c:pt idx="29168">
                  <c:v>0.52020688425182804</c:v>
                </c:pt>
                <c:pt idx="29169">
                  <c:v>0.520224719101123</c:v>
                </c:pt>
                <c:pt idx="29170">
                  <c:v>0.52024255395041896</c:v>
                </c:pt>
                <c:pt idx="29171">
                  <c:v>0.52026038879971404</c:v>
                </c:pt>
                <c:pt idx="29172">
                  <c:v>0.52027822364901</c:v>
                </c:pt>
                <c:pt idx="29173">
                  <c:v>0.52029605849830496</c:v>
                </c:pt>
                <c:pt idx="29174">
                  <c:v>0.52031389334760103</c:v>
                </c:pt>
                <c:pt idx="29175">
                  <c:v>0.52033172819689599</c:v>
                </c:pt>
                <c:pt idx="29176">
                  <c:v>0.52034956304619195</c:v>
                </c:pt>
                <c:pt idx="29177">
                  <c:v>0.52036739789548703</c:v>
                </c:pt>
                <c:pt idx="29178">
                  <c:v>0.52038523274478299</c:v>
                </c:pt>
                <c:pt idx="29179">
                  <c:v>0.52040306759407795</c:v>
                </c:pt>
                <c:pt idx="29180">
                  <c:v>0.52042090244337402</c:v>
                </c:pt>
                <c:pt idx="29181">
                  <c:v>0.52043873729266898</c:v>
                </c:pt>
                <c:pt idx="29182">
                  <c:v>0.52045657214196495</c:v>
                </c:pt>
                <c:pt idx="29183">
                  <c:v>0.52047440699126002</c:v>
                </c:pt>
                <c:pt idx="29184">
                  <c:v>0.52049224184055598</c:v>
                </c:pt>
                <c:pt idx="29185">
                  <c:v>0.52051007668985105</c:v>
                </c:pt>
                <c:pt idx="29186">
                  <c:v>0.52052791153914701</c:v>
                </c:pt>
                <c:pt idx="29187">
                  <c:v>0.52054574638844298</c:v>
                </c:pt>
                <c:pt idx="29188">
                  <c:v>0.52056358123773805</c:v>
                </c:pt>
                <c:pt idx="29189">
                  <c:v>0.52058141608703401</c:v>
                </c:pt>
                <c:pt idx="29190">
                  <c:v>0.52059925093632897</c:v>
                </c:pt>
                <c:pt idx="29191">
                  <c:v>0.52061708578562504</c:v>
                </c:pt>
                <c:pt idx="29192">
                  <c:v>0.52063492063492001</c:v>
                </c:pt>
                <c:pt idx="29193">
                  <c:v>0.52065275548421597</c:v>
                </c:pt>
                <c:pt idx="29194">
                  <c:v>0.52067059033351104</c:v>
                </c:pt>
                <c:pt idx="29195">
                  <c:v>0.520688425182807</c:v>
                </c:pt>
                <c:pt idx="29196">
                  <c:v>0.52070626003210196</c:v>
                </c:pt>
                <c:pt idx="29197">
                  <c:v>0.52072409488139804</c:v>
                </c:pt>
                <c:pt idx="29198">
                  <c:v>0.520741929730693</c:v>
                </c:pt>
                <c:pt idx="29199">
                  <c:v>0.52075976457998896</c:v>
                </c:pt>
                <c:pt idx="29200">
                  <c:v>0.52077759942928403</c:v>
                </c:pt>
                <c:pt idx="29201">
                  <c:v>0.52079543427857999</c:v>
                </c:pt>
                <c:pt idx="29202">
                  <c:v>0.52081326912787496</c:v>
                </c:pt>
                <c:pt idx="29203">
                  <c:v>0.52083110397717103</c:v>
                </c:pt>
                <c:pt idx="29204">
                  <c:v>0.52084893882646599</c:v>
                </c:pt>
                <c:pt idx="29205">
                  <c:v>0.52086677367576195</c:v>
                </c:pt>
                <c:pt idx="29206">
                  <c:v>0.52088460852505702</c:v>
                </c:pt>
                <c:pt idx="29207">
                  <c:v>0.52090244337435299</c:v>
                </c:pt>
                <c:pt idx="29208">
                  <c:v>0.52092027822364895</c:v>
                </c:pt>
                <c:pt idx="29209">
                  <c:v>0.52093811307294402</c:v>
                </c:pt>
                <c:pt idx="29210">
                  <c:v>0.52095594792223998</c:v>
                </c:pt>
                <c:pt idx="29211">
                  <c:v>0.52097378277153505</c:v>
                </c:pt>
                <c:pt idx="29212">
                  <c:v>0.52099161762083102</c:v>
                </c:pt>
                <c:pt idx="29213">
                  <c:v>0.52100945247012598</c:v>
                </c:pt>
                <c:pt idx="29214">
                  <c:v>0.52102728731942205</c:v>
                </c:pt>
                <c:pt idx="29215">
                  <c:v>0.52104512216871701</c:v>
                </c:pt>
                <c:pt idx="29216">
                  <c:v>0.52106295701801297</c:v>
                </c:pt>
                <c:pt idx="29217">
                  <c:v>0.52108079186730805</c:v>
                </c:pt>
                <c:pt idx="29218">
                  <c:v>0.52109862671660401</c:v>
                </c:pt>
                <c:pt idx="29219">
                  <c:v>0.52111646156589897</c:v>
                </c:pt>
                <c:pt idx="29220">
                  <c:v>0.52113429641519504</c:v>
                </c:pt>
                <c:pt idx="29221">
                  <c:v>0.52115213126449</c:v>
                </c:pt>
                <c:pt idx="29222">
                  <c:v>0.52116996611378597</c:v>
                </c:pt>
                <c:pt idx="29223">
                  <c:v>0.52118780096308104</c:v>
                </c:pt>
                <c:pt idx="29224">
                  <c:v>0.521205635812377</c:v>
                </c:pt>
                <c:pt idx="29225">
                  <c:v>0.52122347066167296</c:v>
                </c:pt>
                <c:pt idx="29226">
                  <c:v>0.52124130551096803</c:v>
                </c:pt>
                <c:pt idx="29227">
                  <c:v>0.521259140360264</c:v>
                </c:pt>
                <c:pt idx="29228">
                  <c:v>0.52127697520955896</c:v>
                </c:pt>
                <c:pt idx="29229">
                  <c:v>0.52129481005885503</c:v>
                </c:pt>
                <c:pt idx="29230">
                  <c:v>0.52131264490814999</c:v>
                </c:pt>
                <c:pt idx="29231">
                  <c:v>0.52133047975744595</c:v>
                </c:pt>
                <c:pt idx="29232">
                  <c:v>0.52134831460674103</c:v>
                </c:pt>
                <c:pt idx="29233">
                  <c:v>0.52136614945603699</c:v>
                </c:pt>
                <c:pt idx="29234">
                  <c:v>0.52138398430533195</c:v>
                </c:pt>
                <c:pt idx="29235">
                  <c:v>0.52140181915462802</c:v>
                </c:pt>
                <c:pt idx="29236">
                  <c:v>0.52141965400392298</c:v>
                </c:pt>
                <c:pt idx="29237">
                  <c:v>0.52143748885321894</c:v>
                </c:pt>
                <c:pt idx="29238">
                  <c:v>0.52145532370251402</c:v>
                </c:pt>
                <c:pt idx="29239">
                  <c:v>0.52147315855180998</c:v>
                </c:pt>
                <c:pt idx="29240">
                  <c:v>0.52149099340110505</c:v>
                </c:pt>
                <c:pt idx="29241">
                  <c:v>0.52150882825040101</c:v>
                </c:pt>
                <c:pt idx="29242">
                  <c:v>0.52152666309969598</c:v>
                </c:pt>
                <c:pt idx="29243">
                  <c:v>0.52154449794899205</c:v>
                </c:pt>
                <c:pt idx="29244">
                  <c:v>0.52156233279828701</c:v>
                </c:pt>
                <c:pt idx="29245">
                  <c:v>0.52158016764758297</c:v>
                </c:pt>
                <c:pt idx="29246">
                  <c:v>0.52159800249687804</c:v>
                </c:pt>
                <c:pt idx="29247">
                  <c:v>0.521615837346174</c:v>
                </c:pt>
                <c:pt idx="29248">
                  <c:v>0.52163367219546997</c:v>
                </c:pt>
                <c:pt idx="29249">
                  <c:v>0.52165150704476504</c:v>
                </c:pt>
                <c:pt idx="29250">
                  <c:v>0.521669341894061</c:v>
                </c:pt>
                <c:pt idx="29251">
                  <c:v>0.52168717674335596</c:v>
                </c:pt>
                <c:pt idx="29252">
                  <c:v>0.52170501159265203</c:v>
                </c:pt>
                <c:pt idx="29253">
                  <c:v>0.521722846441947</c:v>
                </c:pt>
                <c:pt idx="29254">
                  <c:v>0.52174068129124296</c:v>
                </c:pt>
                <c:pt idx="29255">
                  <c:v>0.52175851614053803</c:v>
                </c:pt>
                <c:pt idx="29256">
                  <c:v>0.52177635098983399</c:v>
                </c:pt>
                <c:pt idx="29257">
                  <c:v>0.52179418583912895</c:v>
                </c:pt>
                <c:pt idx="29258">
                  <c:v>0.52181202068842503</c:v>
                </c:pt>
                <c:pt idx="29259">
                  <c:v>0.52182985553771999</c:v>
                </c:pt>
                <c:pt idx="29260">
                  <c:v>0.52184769038701595</c:v>
                </c:pt>
                <c:pt idx="29261">
                  <c:v>0.52186552523631102</c:v>
                </c:pt>
                <c:pt idx="29262">
                  <c:v>0.52188336008560698</c:v>
                </c:pt>
                <c:pt idx="29263">
                  <c:v>0.52190119493490195</c:v>
                </c:pt>
                <c:pt idx="29264">
                  <c:v>0.52191902978419802</c:v>
                </c:pt>
                <c:pt idx="29265">
                  <c:v>0.52193686463349298</c:v>
                </c:pt>
                <c:pt idx="29266">
                  <c:v>0.52195469948278905</c:v>
                </c:pt>
                <c:pt idx="29267">
                  <c:v>0.52197253433208401</c:v>
                </c:pt>
                <c:pt idx="29268">
                  <c:v>0.52199036918137998</c:v>
                </c:pt>
                <c:pt idx="29269">
                  <c:v>0.52200820403067505</c:v>
                </c:pt>
                <c:pt idx="29270">
                  <c:v>0.52202603887997101</c:v>
                </c:pt>
                <c:pt idx="29271">
                  <c:v>0.52204387372926697</c:v>
                </c:pt>
                <c:pt idx="29272">
                  <c:v>0.52206170857856204</c:v>
                </c:pt>
                <c:pt idx="29273">
                  <c:v>0.52207954342785801</c:v>
                </c:pt>
                <c:pt idx="29274">
                  <c:v>0.52209737827715297</c:v>
                </c:pt>
                <c:pt idx="29275">
                  <c:v>0.52211521312644904</c:v>
                </c:pt>
                <c:pt idx="29276">
                  <c:v>0.522133047975744</c:v>
                </c:pt>
                <c:pt idx="29277">
                  <c:v>0.52215088282503996</c:v>
                </c:pt>
                <c:pt idx="29278">
                  <c:v>0.52216871767433504</c:v>
                </c:pt>
                <c:pt idx="29279">
                  <c:v>0.522186552523631</c:v>
                </c:pt>
                <c:pt idx="29280">
                  <c:v>0.52220438737292596</c:v>
                </c:pt>
                <c:pt idx="29281">
                  <c:v>0.52222222222222203</c:v>
                </c:pt>
                <c:pt idx="29282">
                  <c:v>0.52224005707151699</c:v>
                </c:pt>
                <c:pt idx="29283">
                  <c:v>0.52225789192081296</c:v>
                </c:pt>
                <c:pt idx="29284">
                  <c:v>0.52227572677010803</c:v>
                </c:pt>
                <c:pt idx="29285">
                  <c:v>0.52229356161940399</c:v>
                </c:pt>
                <c:pt idx="29286">
                  <c:v>0.52231139646869895</c:v>
                </c:pt>
                <c:pt idx="29287">
                  <c:v>0.52232923131799502</c:v>
                </c:pt>
                <c:pt idx="29288">
                  <c:v>0.52234706616728999</c:v>
                </c:pt>
                <c:pt idx="29289">
                  <c:v>0.52236490101658595</c:v>
                </c:pt>
                <c:pt idx="29290">
                  <c:v>0.52238273586588102</c:v>
                </c:pt>
                <c:pt idx="29291">
                  <c:v>0.52240057071517698</c:v>
                </c:pt>
                <c:pt idx="29292">
                  <c:v>0.52241840556447205</c:v>
                </c:pt>
                <c:pt idx="29293">
                  <c:v>0.52243624041376802</c:v>
                </c:pt>
                <c:pt idx="29294">
                  <c:v>0.52245407526306398</c:v>
                </c:pt>
                <c:pt idx="29295">
                  <c:v>0.52247191011235905</c:v>
                </c:pt>
                <c:pt idx="29296">
                  <c:v>0.52248974496165501</c:v>
                </c:pt>
                <c:pt idx="29297">
                  <c:v>0.52250757981094997</c:v>
                </c:pt>
                <c:pt idx="29298">
                  <c:v>0.52252541466024605</c:v>
                </c:pt>
                <c:pt idx="29299">
                  <c:v>0.52254324950954101</c:v>
                </c:pt>
                <c:pt idx="29300">
                  <c:v>0.52256108435883697</c:v>
                </c:pt>
                <c:pt idx="29301">
                  <c:v>0.52257891920813204</c:v>
                </c:pt>
                <c:pt idx="29302">
                  <c:v>0.522596754057428</c:v>
                </c:pt>
                <c:pt idx="29303">
                  <c:v>0.52261458890672297</c:v>
                </c:pt>
                <c:pt idx="29304">
                  <c:v>0.52263242375601904</c:v>
                </c:pt>
                <c:pt idx="29305">
                  <c:v>0.522650258605314</c:v>
                </c:pt>
                <c:pt idx="29306">
                  <c:v>0.52266809345460996</c:v>
                </c:pt>
                <c:pt idx="29307">
                  <c:v>0.52268592830390503</c:v>
                </c:pt>
                <c:pt idx="29308">
                  <c:v>0.522703763153201</c:v>
                </c:pt>
                <c:pt idx="29309">
                  <c:v>0.52272159800249596</c:v>
                </c:pt>
                <c:pt idx="29310">
                  <c:v>0.52273943285179203</c:v>
                </c:pt>
                <c:pt idx="29311">
                  <c:v>0.52275726770108699</c:v>
                </c:pt>
                <c:pt idx="29312">
                  <c:v>0.52277510255038295</c:v>
                </c:pt>
                <c:pt idx="29313">
                  <c:v>0.52279293739967903</c:v>
                </c:pt>
                <c:pt idx="29314">
                  <c:v>0.52281077224897399</c:v>
                </c:pt>
                <c:pt idx="29315">
                  <c:v>0.52282860709826995</c:v>
                </c:pt>
                <c:pt idx="29316">
                  <c:v>0.52284644194756502</c:v>
                </c:pt>
                <c:pt idx="29317">
                  <c:v>0.52286427679686098</c:v>
                </c:pt>
                <c:pt idx="29318">
                  <c:v>0.52288211164615594</c:v>
                </c:pt>
                <c:pt idx="29319">
                  <c:v>0.52289994649545202</c:v>
                </c:pt>
                <c:pt idx="29320">
                  <c:v>0.52291778134474698</c:v>
                </c:pt>
                <c:pt idx="29321">
                  <c:v>0.52293561619404305</c:v>
                </c:pt>
                <c:pt idx="29322">
                  <c:v>0.52295345104333801</c:v>
                </c:pt>
                <c:pt idx="29323">
                  <c:v>0.52297128589263397</c:v>
                </c:pt>
                <c:pt idx="29324">
                  <c:v>0.52298912074192905</c:v>
                </c:pt>
                <c:pt idx="29325">
                  <c:v>0.52300695559122501</c:v>
                </c:pt>
                <c:pt idx="29326">
                  <c:v>0.52302479044051997</c:v>
                </c:pt>
                <c:pt idx="29327">
                  <c:v>0.52304262528981604</c:v>
                </c:pt>
                <c:pt idx="29328">
                  <c:v>0.52306046013911101</c:v>
                </c:pt>
                <c:pt idx="29329">
                  <c:v>0.52307829498840697</c:v>
                </c:pt>
                <c:pt idx="29330">
                  <c:v>0.52309612983770204</c:v>
                </c:pt>
                <c:pt idx="29331">
                  <c:v>0.523113964686998</c:v>
                </c:pt>
                <c:pt idx="29332">
                  <c:v>0.52313179953629396</c:v>
                </c:pt>
                <c:pt idx="29333">
                  <c:v>0.52314963438558904</c:v>
                </c:pt>
                <c:pt idx="29334">
                  <c:v>0.523167469234885</c:v>
                </c:pt>
                <c:pt idx="29335">
                  <c:v>0.52318530408417996</c:v>
                </c:pt>
                <c:pt idx="29336">
                  <c:v>0.52320313893347603</c:v>
                </c:pt>
                <c:pt idx="29337">
                  <c:v>0.52322097378277099</c:v>
                </c:pt>
                <c:pt idx="29338">
                  <c:v>0.52323880863206695</c:v>
                </c:pt>
                <c:pt idx="29339">
                  <c:v>0.52325664348136203</c:v>
                </c:pt>
                <c:pt idx="29340">
                  <c:v>0.52327447833065799</c:v>
                </c:pt>
                <c:pt idx="29341">
                  <c:v>0.52329231317995295</c:v>
                </c:pt>
                <c:pt idx="29342">
                  <c:v>0.52331014802924902</c:v>
                </c:pt>
                <c:pt idx="29343">
                  <c:v>0.52332798287854398</c:v>
                </c:pt>
                <c:pt idx="29344">
                  <c:v>0.52334581772783995</c:v>
                </c:pt>
                <c:pt idx="29345">
                  <c:v>0.52336365257713502</c:v>
                </c:pt>
                <c:pt idx="29346">
                  <c:v>0.52338148742643098</c:v>
                </c:pt>
                <c:pt idx="29347">
                  <c:v>0.52339932227572605</c:v>
                </c:pt>
                <c:pt idx="29348">
                  <c:v>0.52341715712502201</c:v>
                </c:pt>
                <c:pt idx="29349">
                  <c:v>0.52343499197431698</c:v>
                </c:pt>
                <c:pt idx="29350">
                  <c:v>0.52345282682361305</c:v>
                </c:pt>
                <c:pt idx="29351">
                  <c:v>0.52347066167290801</c:v>
                </c:pt>
                <c:pt idx="29352">
                  <c:v>0.52348849652220397</c:v>
                </c:pt>
                <c:pt idx="29353">
                  <c:v>0.52350633137149905</c:v>
                </c:pt>
                <c:pt idx="29354">
                  <c:v>0.52352416622079501</c:v>
                </c:pt>
                <c:pt idx="29355">
                  <c:v>0.52354200107009097</c:v>
                </c:pt>
                <c:pt idx="29356">
                  <c:v>0.52355983591938604</c:v>
                </c:pt>
                <c:pt idx="29357">
                  <c:v>0.523577670768682</c:v>
                </c:pt>
                <c:pt idx="29358">
                  <c:v>0.52359550561797696</c:v>
                </c:pt>
                <c:pt idx="29359">
                  <c:v>0.52361334046727304</c:v>
                </c:pt>
                <c:pt idx="29360">
                  <c:v>0.523631175316568</c:v>
                </c:pt>
                <c:pt idx="29361">
                  <c:v>0.52364901016586396</c:v>
                </c:pt>
                <c:pt idx="29362">
                  <c:v>0.52366684501515903</c:v>
                </c:pt>
                <c:pt idx="29363">
                  <c:v>0.52368467986445499</c:v>
                </c:pt>
                <c:pt idx="29364">
                  <c:v>0.52370251471374996</c:v>
                </c:pt>
                <c:pt idx="29365">
                  <c:v>0.52372034956304603</c:v>
                </c:pt>
                <c:pt idx="29366">
                  <c:v>0.52373818441234099</c:v>
                </c:pt>
                <c:pt idx="29367">
                  <c:v>0.52375601926163695</c:v>
                </c:pt>
                <c:pt idx="29368">
                  <c:v>0.52377385411093202</c:v>
                </c:pt>
                <c:pt idx="29369">
                  <c:v>0.52379168896022799</c:v>
                </c:pt>
                <c:pt idx="29370">
                  <c:v>0.52380952380952295</c:v>
                </c:pt>
                <c:pt idx="29371">
                  <c:v>0.52382735865881902</c:v>
                </c:pt>
                <c:pt idx="29372">
                  <c:v>0.52384519350811398</c:v>
                </c:pt>
                <c:pt idx="29373">
                  <c:v>0.52386302835741005</c:v>
                </c:pt>
                <c:pt idx="29374">
                  <c:v>0.52388086320670502</c:v>
                </c:pt>
                <c:pt idx="29375">
                  <c:v>0.52389869805600098</c:v>
                </c:pt>
                <c:pt idx="29376">
                  <c:v>0.52391653290529605</c:v>
                </c:pt>
                <c:pt idx="29377">
                  <c:v>0.52393436775459201</c:v>
                </c:pt>
                <c:pt idx="29378">
                  <c:v>0.52395220260388797</c:v>
                </c:pt>
                <c:pt idx="29379">
                  <c:v>0.52397003745318305</c:v>
                </c:pt>
                <c:pt idx="29380">
                  <c:v>0.52398787230247901</c:v>
                </c:pt>
                <c:pt idx="29381">
                  <c:v>0.52400570715177397</c:v>
                </c:pt>
                <c:pt idx="29382">
                  <c:v>0.52402354200107004</c:v>
                </c:pt>
                <c:pt idx="29383">
                  <c:v>0.524041376850365</c:v>
                </c:pt>
                <c:pt idx="29384">
                  <c:v>0.52405921169966097</c:v>
                </c:pt>
                <c:pt idx="29385">
                  <c:v>0.52407704654895604</c:v>
                </c:pt>
                <c:pt idx="29386">
                  <c:v>0.524094881398252</c:v>
                </c:pt>
                <c:pt idx="29387">
                  <c:v>0.52411271624754696</c:v>
                </c:pt>
                <c:pt idx="29388">
                  <c:v>0.52413055109684303</c:v>
                </c:pt>
                <c:pt idx="29389">
                  <c:v>0.524148385946138</c:v>
                </c:pt>
                <c:pt idx="29390">
                  <c:v>0.52416622079543396</c:v>
                </c:pt>
                <c:pt idx="29391">
                  <c:v>0.52418405564472903</c:v>
                </c:pt>
                <c:pt idx="29392">
                  <c:v>0.52420189049402499</c:v>
                </c:pt>
                <c:pt idx="29393">
                  <c:v>0.52421972534331995</c:v>
                </c:pt>
                <c:pt idx="29394">
                  <c:v>0.52423756019261603</c:v>
                </c:pt>
                <c:pt idx="29395">
                  <c:v>0.52425539504191099</c:v>
                </c:pt>
                <c:pt idx="29396">
                  <c:v>0.52427322989120695</c:v>
                </c:pt>
                <c:pt idx="29397">
                  <c:v>0.52429106474050202</c:v>
                </c:pt>
                <c:pt idx="29398">
                  <c:v>0.52430889958979798</c:v>
                </c:pt>
                <c:pt idx="29399">
                  <c:v>0.52432673443909295</c:v>
                </c:pt>
                <c:pt idx="29400">
                  <c:v>0.52434456928838902</c:v>
                </c:pt>
                <c:pt idx="29401">
                  <c:v>0.52436240413768498</c:v>
                </c:pt>
                <c:pt idx="29402">
                  <c:v>0.52438023898698005</c:v>
                </c:pt>
                <c:pt idx="29403">
                  <c:v>0.52439807383627601</c:v>
                </c:pt>
                <c:pt idx="29404">
                  <c:v>0.52441590868557098</c:v>
                </c:pt>
                <c:pt idx="29405">
                  <c:v>0.52443374353486705</c:v>
                </c:pt>
                <c:pt idx="29406">
                  <c:v>0.52445157838416201</c:v>
                </c:pt>
                <c:pt idx="29407">
                  <c:v>0.52446941323345797</c:v>
                </c:pt>
                <c:pt idx="29408">
                  <c:v>0.52448724808275304</c:v>
                </c:pt>
                <c:pt idx="29409">
                  <c:v>0.524505082932049</c:v>
                </c:pt>
                <c:pt idx="29410">
                  <c:v>0.52452291778134397</c:v>
                </c:pt>
                <c:pt idx="29411">
                  <c:v>0.52454075263064004</c:v>
                </c:pt>
                <c:pt idx="29412">
                  <c:v>0.524558587479935</c:v>
                </c:pt>
                <c:pt idx="29413">
                  <c:v>0.52457642232923096</c:v>
                </c:pt>
                <c:pt idx="29414">
                  <c:v>0.52459425717852604</c:v>
                </c:pt>
                <c:pt idx="29415">
                  <c:v>0.524612092027822</c:v>
                </c:pt>
                <c:pt idx="29416">
                  <c:v>0.52462992687711696</c:v>
                </c:pt>
                <c:pt idx="29417">
                  <c:v>0.52464776172641303</c:v>
                </c:pt>
                <c:pt idx="29418">
                  <c:v>0.52466559657570799</c:v>
                </c:pt>
                <c:pt idx="29419">
                  <c:v>0.52468343142500395</c:v>
                </c:pt>
                <c:pt idx="29420">
                  <c:v>0.52470126627430003</c:v>
                </c:pt>
                <c:pt idx="29421">
                  <c:v>0.52471910112359499</c:v>
                </c:pt>
                <c:pt idx="29422">
                  <c:v>0.52473693597289095</c:v>
                </c:pt>
                <c:pt idx="29423">
                  <c:v>0.52475477082218602</c:v>
                </c:pt>
                <c:pt idx="29424">
                  <c:v>0.52477260567148198</c:v>
                </c:pt>
                <c:pt idx="29425">
                  <c:v>0.52479044052077695</c:v>
                </c:pt>
                <c:pt idx="29426">
                  <c:v>0.52480827537007302</c:v>
                </c:pt>
                <c:pt idx="29427">
                  <c:v>0.52482611021936798</c:v>
                </c:pt>
                <c:pt idx="29428">
                  <c:v>0.52484394506866405</c:v>
                </c:pt>
                <c:pt idx="29429">
                  <c:v>0.52486177991795901</c:v>
                </c:pt>
                <c:pt idx="29430">
                  <c:v>0.52487961476725498</c:v>
                </c:pt>
                <c:pt idx="29431">
                  <c:v>0.52489744961655005</c:v>
                </c:pt>
                <c:pt idx="29432">
                  <c:v>0.52491528446584601</c:v>
                </c:pt>
                <c:pt idx="29433">
                  <c:v>0.52493311931514097</c:v>
                </c:pt>
                <c:pt idx="29434">
                  <c:v>0.52495095416443704</c:v>
                </c:pt>
                <c:pt idx="29435">
                  <c:v>0.52496878901373201</c:v>
                </c:pt>
                <c:pt idx="29436">
                  <c:v>0.52498662386302797</c:v>
                </c:pt>
                <c:pt idx="29437">
                  <c:v>0.52500445871232304</c:v>
                </c:pt>
                <c:pt idx="29438">
                  <c:v>0.525022293561619</c:v>
                </c:pt>
                <c:pt idx="29439">
                  <c:v>0.52504012841091496</c:v>
                </c:pt>
                <c:pt idx="29440">
                  <c:v>0.52505796326021004</c:v>
                </c:pt>
                <c:pt idx="29441">
                  <c:v>0.525075798109506</c:v>
                </c:pt>
                <c:pt idx="29442">
                  <c:v>0.52509363295880096</c:v>
                </c:pt>
                <c:pt idx="29443">
                  <c:v>0.52511146780809703</c:v>
                </c:pt>
                <c:pt idx="29444">
                  <c:v>0.52512930265739199</c:v>
                </c:pt>
                <c:pt idx="29445">
                  <c:v>0.52514713750668796</c:v>
                </c:pt>
                <c:pt idx="29446">
                  <c:v>0.52516497235598303</c:v>
                </c:pt>
                <c:pt idx="29447">
                  <c:v>0.52518280720527899</c:v>
                </c:pt>
                <c:pt idx="29448">
                  <c:v>0.52520064205457395</c:v>
                </c:pt>
                <c:pt idx="29449">
                  <c:v>0.52521847690387002</c:v>
                </c:pt>
                <c:pt idx="29450">
                  <c:v>0.52523631175316499</c:v>
                </c:pt>
                <c:pt idx="29451">
                  <c:v>0.52525414660246095</c:v>
                </c:pt>
                <c:pt idx="29452">
                  <c:v>0.52527198145175602</c:v>
                </c:pt>
                <c:pt idx="29453">
                  <c:v>0.52528981630105198</c:v>
                </c:pt>
                <c:pt idx="29454">
                  <c:v>0.52530765115034705</c:v>
                </c:pt>
                <c:pt idx="29455">
                  <c:v>0.52532548599964302</c:v>
                </c:pt>
                <c:pt idx="29456">
                  <c:v>0.52534332084893798</c:v>
                </c:pt>
                <c:pt idx="29457">
                  <c:v>0.52536115569823405</c:v>
                </c:pt>
                <c:pt idx="29458">
                  <c:v>0.52537899054752901</c:v>
                </c:pt>
                <c:pt idx="29459">
                  <c:v>0.52539682539682497</c:v>
                </c:pt>
                <c:pt idx="29460">
                  <c:v>0.52541466024612005</c:v>
                </c:pt>
                <c:pt idx="29461">
                  <c:v>0.52543249509541601</c:v>
                </c:pt>
                <c:pt idx="29462">
                  <c:v>0.52545032994471197</c:v>
                </c:pt>
                <c:pt idx="29463">
                  <c:v>0.52546816479400704</c:v>
                </c:pt>
                <c:pt idx="29464">
                  <c:v>0.525485999643303</c:v>
                </c:pt>
                <c:pt idx="29465">
                  <c:v>0.52550383449259797</c:v>
                </c:pt>
                <c:pt idx="29466">
                  <c:v>0.52552166934189404</c:v>
                </c:pt>
                <c:pt idx="29467">
                  <c:v>0.525539504191189</c:v>
                </c:pt>
                <c:pt idx="29468">
                  <c:v>0.52555733904048496</c:v>
                </c:pt>
                <c:pt idx="29469">
                  <c:v>0.52557517388978003</c:v>
                </c:pt>
                <c:pt idx="29470">
                  <c:v>0.525593008739076</c:v>
                </c:pt>
                <c:pt idx="29471">
                  <c:v>0.52561084358837096</c:v>
                </c:pt>
                <c:pt idx="29472">
                  <c:v>0.52562867843766703</c:v>
                </c:pt>
                <c:pt idx="29473">
                  <c:v>0.52564651328696199</c:v>
                </c:pt>
                <c:pt idx="29474">
                  <c:v>0.52566434813625795</c:v>
                </c:pt>
                <c:pt idx="29475">
                  <c:v>0.52568218298555303</c:v>
                </c:pt>
                <c:pt idx="29476">
                  <c:v>0.52570001783484899</c:v>
                </c:pt>
                <c:pt idx="29477">
                  <c:v>0.52571785268414395</c:v>
                </c:pt>
                <c:pt idx="29478">
                  <c:v>0.52573568753344002</c:v>
                </c:pt>
                <c:pt idx="29479">
                  <c:v>0.52575352238273498</c:v>
                </c:pt>
                <c:pt idx="29480">
                  <c:v>0.52577135723203094</c:v>
                </c:pt>
                <c:pt idx="29481">
                  <c:v>0.52578919208132602</c:v>
                </c:pt>
                <c:pt idx="29482">
                  <c:v>0.52580702693062198</c:v>
                </c:pt>
                <c:pt idx="29483">
                  <c:v>0.52582486177991705</c:v>
                </c:pt>
                <c:pt idx="29484">
                  <c:v>0.52584269662921301</c:v>
                </c:pt>
                <c:pt idx="29485">
                  <c:v>0.52586053147850897</c:v>
                </c:pt>
                <c:pt idx="29486">
                  <c:v>0.52587836632780405</c:v>
                </c:pt>
                <c:pt idx="29487">
                  <c:v>0.52589620117710001</c:v>
                </c:pt>
                <c:pt idx="29488">
                  <c:v>0.52591403602639497</c:v>
                </c:pt>
                <c:pt idx="29489">
                  <c:v>0.52593187087569104</c:v>
                </c:pt>
                <c:pt idx="29490">
                  <c:v>0.52594970572498601</c:v>
                </c:pt>
                <c:pt idx="29491">
                  <c:v>0.52596754057428197</c:v>
                </c:pt>
                <c:pt idx="29492">
                  <c:v>0.52598537542357704</c:v>
                </c:pt>
                <c:pt idx="29493">
                  <c:v>0.526003210272873</c:v>
                </c:pt>
                <c:pt idx="29494">
                  <c:v>0.52602104512216796</c:v>
                </c:pt>
                <c:pt idx="29495">
                  <c:v>0.52603887997146404</c:v>
                </c:pt>
                <c:pt idx="29496">
                  <c:v>0.526056714820759</c:v>
                </c:pt>
                <c:pt idx="29497">
                  <c:v>0.52607454967005496</c:v>
                </c:pt>
                <c:pt idx="29498">
                  <c:v>0.52609238451935003</c:v>
                </c:pt>
                <c:pt idx="29499">
                  <c:v>0.52611021936864599</c:v>
                </c:pt>
                <c:pt idx="29500">
                  <c:v>0.52612805421794095</c:v>
                </c:pt>
                <c:pt idx="29501">
                  <c:v>0.52614588906723703</c:v>
                </c:pt>
                <c:pt idx="29502">
                  <c:v>0.52616372391653199</c:v>
                </c:pt>
                <c:pt idx="29503">
                  <c:v>0.52618155876582795</c:v>
                </c:pt>
                <c:pt idx="29504">
                  <c:v>0.52619939361512302</c:v>
                </c:pt>
                <c:pt idx="29505">
                  <c:v>0.52621722846441898</c:v>
                </c:pt>
                <c:pt idx="29506">
                  <c:v>0.52623506331371495</c:v>
                </c:pt>
                <c:pt idx="29507">
                  <c:v>0.52625289816301002</c:v>
                </c:pt>
                <c:pt idx="29508">
                  <c:v>0.52627073301230598</c:v>
                </c:pt>
                <c:pt idx="29509">
                  <c:v>0.52628856786160105</c:v>
                </c:pt>
                <c:pt idx="29510">
                  <c:v>0.52630640271089701</c:v>
                </c:pt>
                <c:pt idx="29511">
                  <c:v>0.52632423756019198</c:v>
                </c:pt>
                <c:pt idx="29512">
                  <c:v>0.52634207240948805</c:v>
                </c:pt>
                <c:pt idx="29513">
                  <c:v>0.52635990725878301</c:v>
                </c:pt>
                <c:pt idx="29514">
                  <c:v>0.52637774210807897</c:v>
                </c:pt>
                <c:pt idx="29515">
                  <c:v>0.52639557695737405</c:v>
                </c:pt>
                <c:pt idx="29516">
                  <c:v>0.52641341180667001</c:v>
                </c:pt>
                <c:pt idx="29517">
                  <c:v>0.52643124665596497</c:v>
                </c:pt>
                <c:pt idx="29518">
                  <c:v>0.52644908150526104</c:v>
                </c:pt>
                <c:pt idx="29519">
                  <c:v>0.526466916354556</c:v>
                </c:pt>
                <c:pt idx="29520">
                  <c:v>0.52648475120385196</c:v>
                </c:pt>
                <c:pt idx="29521">
                  <c:v>0.52650258605314704</c:v>
                </c:pt>
                <c:pt idx="29522">
                  <c:v>0.526520420902443</c:v>
                </c:pt>
                <c:pt idx="29523">
                  <c:v>0.52653825575173796</c:v>
                </c:pt>
                <c:pt idx="29524">
                  <c:v>0.52655609060103403</c:v>
                </c:pt>
                <c:pt idx="29525">
                  <c:v>0.52657392545032999</c:v>
                </c:pt>
                <c:pt idx="29526">
                  <c:v>0.52659176029962496</c:v>
                </c:pt>
                <c:pt idx="29527">
                  <c:v>0.52660959514892103</c:v>
                </c:pt>
                <c:pt idx="29528">
                  <c:v>0.52662742999821599</c:v>
                </c:pt>
                <c:pt idx="29529">
                  <c:v>0.52664526484751195</c:v>
                </c:pt>
                <c:pt idx="29530">
                  <c:v>0.52666309969680702</c:v>
                </c:pt>
                <c:pt idx="29531">
                  <c:v>0.52668093454610299</c:v>
                </c:pt>
                <c:pt idx="29532">
                  <c:v>0.52669876939539795</c:v>
                </c:pt>
                <c:pt idx="29533">
                  <c:v>0.52671660424469402</c:v>
                </c:pt>
                <c:pt idx="29534">
                  <c:v>0.52673443909398898</c:v>
                </c:pt>
                <c:pt idx="29535">
                  <c:v>0.52675227394328505</c:v>
                </c:pt>
                <c:pt idx="29536">
                  <c:v>0.52677010879258002</c:v>
                </c:pt>
                <c:pt idx="29537">
                  <c:v>0.52678794364187598</c:v>
                </c:pt>
                <c:pt idx="29538">
                  <c:v>0.52680577849117105</c:v>
                </c:pt>
                <c:pt idx="29539">
                  <c:v>0.52682361334046701</c:v>
                </c:pt>
                <c:pt idx="29540">
                  <c:v>0.52684144818976197</c:v>
                </c:pt>
                <c:pt idx="29541">
                  <c:v>0.52685928303905805</c:v>
                </c:pt>
                <c:pt idx="29542">
                  <c:v>0.52687711788835301</c:v>
                </c:pt>
                <c:pt idx="29543">
                  <c:v>0.52689495273764897</c:v>
                </c:pt>
                <c:pt idx="29544">
                  <c:v>0.52691278758694404</c:v>
                </c:pt>
                <c:pt idx="29545">
                  <c:v>0.52693062243624</c:v>
                </c:pt>
                <c:pt idx="29546">
                  <c:v>0.52694845728553596</c:v>
                </c:pt>
                <c:pt idx="29547">
                  <c:v>0.52696629213483104</c:v>
                </c:pt>
                <c:pt idx="29548">
                  <c:v>0.526984126984127</c:v>
                </c:pt>
                <c:pt idx="29549">
                  <c:v>0.52700196183342196</c:v>
                </c:pt>
                <c:pt idx="29550">
                  <c:v>0.52701979668271803</c:v>
                </c:pt>
                <c:pt idx="29551">
                  <c:v>0.527037631532013</c:v>
                </c:pt>
                <c:pt idx="29552">
                  <c:v>0.52705546638130896</c:v>
                </c:pt>
                <c:pt idx="29553">
                  <c:v>0.52707330123060403</c:v>
                </c:pt>
                <c:pt idx="29554">
                  <c:v>0.52709113607989999</c:v>
                </c:pt>
                <c:pt idx="29555">
                  <c:v>0.52710897092919495</c:v>
                </c:pt>
                <c:pt idx="29556">
                  <c:v>0.52712680577849103</c:v>
                </c:pt>
                <c:pt idx="29557">
                  <c:v>0.52714464062778599</c:v>
                </c:pt>
                <c:pt idx="29558">
                  <c:v>0.52716247547708195</c:v>
                </c:pt>
                <c:pt idx="29559">
                  <c:v>0.52718031032637702</c:v>
                </c:pt>
                <c:pt idx="29560">
                  <c:v>0.52719814517567298</c:v>
                </c:pt>
                <c:pt idx="29561">
                  <c:v>0.52721598002496795</c:v>
                </c:pt>
                <c:pt idx="29562">
                  <c:v>0.52723381487426402</c:v>
                </c:pt>
                <c:pt idx="29563">
                  <c:v>0.52725164972355898</c:v>
                </c:pt>
                <c:pt idx="29564">
                  <c:v>0.52726948457285505</c:v>
                </c:pt>
                <c:pt idx="29565">
                  <c:v>0.52728731942215001</c:v>
                </c:pt>
                <c:pt idx="29566">
                  <c:v>0.52730515427144597</c:v>
                </c:pt>
                <c:pt idx="29567">
                  <c:v>0.52732298912074105</c:v>
                </c:pt>
                <c:pt idx="29568">
                  <c:v>0.52734082397003701</c:v>
                </c:pt>
                <c:pt idx="29569">
                  <c:v>0.52735865881933297</c:v>
                </c:pt>
                <c:pt idx="29570">
                  <c:v>0.52737649366862804</c:v>
                </c:pt>
                <c:pt idx="29571">
                  <c:v>0.527394328517924</c:v>
                </c:pt>
                <c:pt idx="29572">
                  <c:v>0.52741216336721897</c:v>
                </c:pt>
                <c:pt idx="29573">
                  <c:v>0.52742999821651504</c:v>
                </c:pt>
                <c:pt idx="29574">
                  <c:v>0.52744783306581</c:v>
                </c:pt>
                <c:pt idx="29575">
                  <c:v>0.52746566791510596</c:v>
                </c:pt>
                <c:pt idx="29576">
                  <c:v>0.52748350276440104</c:v>
                </c:pt>
                <c:pt idx="29577">
                  <c:v>0.527501337613697</c:v>
                </c:pt>
                <c:pt idx="29578">
                  <c:v>0.52751917246299196</c:v>
                </c:pt>
                <c:pt idx="29579">
                  <c:v>0.52753700731228803</c:v>
                </c:pt>
                <c:pt idx="29580">
                  <c:v>0.52755484216158299</c:v>
                </c:pt>
                <c:pt idx="29581">
                  <c:v>0.52757267701087895</c:v>
                </c:pt>
                <c:pt idx="29582">
                  <c:v>0.52759051186017403</c:v>
                </c:pt>
                <c:pt idx="29583">
                  <c:v>0.52760834670946999</c:v>
                </c:pt>
                <c:pt idx="29584">
                  <c:v>0.52762618155876495</c:v>
                </c:pt>
                <c:pt idx="29585">
                  <c:v>0.52764401640806102</c:v>
                </c:pt>
                <c:pt idx="29586">
                  <c:v>0.52766185125735598</c:v>
                </c:pt>
                <c:pt idx="29587">
                  <c:v>0.52767968610665195</c:v>
                </c:pt>
                <c:pt idx="29588">
                  <c:v>0.52769752095594702</c:v>
                </c:pt>
                <c:pt idx="29589">
                  <c:v>0.52771535580524298</c:v>
                </c:pt>
                <c:pt idx="29590">
                  <c:v>0.52773319065453805</c:v>
                </c:pt>
                <c:pt idx="29591">
                  <c:v>0.52775102550383401</c:v>
                </c:pt>
                <c:pt idx="29592">
                  <c:v>0.52776886035312998</c:v>
                </c:pt>
                <c:pt idx="29593">
                  <c:v>0.52778669520242505</c:v>
                </c:pt>
                <c:pt idx="29594">
                  <c:v>0.52780453005172101</c:v>
                </c:pt>
                <c:pt idx="29595">
                  <c:v>0.52782236490101597</c:v>
                </c:pt>
                <c:pt idx="29596">
                  <c:v>0.52784019975031204</c:v>
                </c:pt>
                <c:pt idx="29597">
                  <c:v>0.52785803459960701</c:v>
                </c:pt>
                <c:pt idx="29598">
                  <c:v>0.52787586944890297</c:v>
                </c:pt>
                <c:pt idx="29599">
                  <c:v>0.52789370429819804</c:v>
                </c:pt>
                <c:pt idx="29600">
                  <c:v>0.527911539147494</c:v>
                </c:pt>
                <c:pt idx="29601">
                  <c:v>0.52792937399678896</c:v>
                </c:pt>
                <c:pt idx="29602">
                  <c:v>0.52794720884608504</c:v>
                </c:pt>
                <c:pt idx="29603">
                  <c:v>0.52796504369538</c:v>
                </c:pt>
                <c:pt idx="29604">
                  <c:v>0.52798287854467596</c:v>
                </c:pt>
                <c:pt idx="29605">
                  <c:v>0.52800071339397103</c:v>
                </c:pt>
                <c:pt idx="29606">
                  <c:v>0.52801854824326699</c:v>
                </c:pt>
                <c:pt idx="29607">
                  <c:v>0.52803638309256196</c:v>
                </c:pt>
                <c:pt idx="29608">
                  <c:v>0.52805421794185803</c:v>
                </c:pt>
                <c:pt idx="29609">
                  <c:v>0.52807205279115299</c:v>
                </c:pt>
                <c:pt idx="29610">
                  <c:v>0.52808988764044895</c:v>
                </c:pt>
                <c:pt idx="29611">
                  <c:v>0.52810772248974402</c:v>
                </c:pt>
                <c:pt idx="29612">
                  <c:v>0.52812555733903999</c:v>
                </c:pt>
                <c:pt idx="29613">
                  <c:v>0.52814339218833595</c:v>
                </c:pt>
                <c:pt idx="29614">
                  <c:v>0.52816122703763102</c:v>
                </c:pt>
                <c:pt idx="29615">
                  <c:v>0.52817906188692698</c:v>
                </c:pt>
                <c:pt idx="29616">
                  <c:v>0.52819689673622205</c:v>
                </c:pt>
                <c:pt idx="29617">
                  <c:v>0.52821473158551802</c:v>
                </c:pt>
                <c:pt idx="29618">
                  <c:v>0.52823256643481298</c:v>
                </c:pt>
                <c:pt idx="29619">
                  <c:v>0.52825040128410905</c:v>
                </c:pt>
                <c:pt idx="29620">
                  <c:v>0.52826823613340401</c:v>
                </c:pt>
                <c:pt idx="29621">
                  <c:v>0.52828607098269997</c:v>
                </c:pt>
                <c:pt idx="29622">
                  <c:v>0.52830390583199505</c:v>
                </c:pt>
                <c:pt idx="29623">
                  <c:v>0.52832174068129101</c:v>
                </c:pt>
                <c:pt idx="29624">
                  <c:v>0.52833957553058597</c:v>
                </c:pt>
                <c:pt idx="29625">
                  <c:v>0.52835741037988204</c:v>
                </c:pt>
                <c:pt idx="29626">
                  <c:v>0.528375245229177</c:v>
                </c:pt>
                <c:pt idx="29627">
                  <c:v>0.52839308007847297</c:v>
                </c:pt>
                <c:pt idx="29628">
                  <c:v>0.52841091492776804</c:v>
                </c:pt>
                <c:pt idx="29629">
                  <c:v>0.528428749777064</c:v>
                </c:pt>
                <c:pt idx="29630">
                  <c:v>0.52844658462635996</c:v>
                </c:pt>
                <c:pt idx="29631">
                  <c:v>0.52846441947565503</c:v>
                </c:pt>
                <c:pt idx="29632">
                  <c:v>0.528482254324951</c:v>
                </c:pt>
                <c:pt idx="29633">
                  <c:v>0.52850008917424596</c:v>
                </c:pt>
                <c:pt idx="29634">
                  <c:v>0.52851792402354203</c:v>
                </c:pt>
                <c:pt idx="29635">
                  <c:v>0.52853575887283699</c:v>
                </c:pt>
                <c:pt idx="29636">
                  <c:v>0.52855359372213295</c:v>
                </c:pt>
                <c:pt idx="29637">
                  <c:v>0.52857142857142803</c:v>
                </c:pt>
                <c:pt idx="29638">
                  <c:v>0.52858926342072399</c:v>
                </c:pt>
                <c:pt idx="29639">
                  <c:v>0.52860709827001895</c:v>
                </c:pt>
                <c:pt idx="29640">
                  <c:v>0.52862493311931502</c:v>
                </c:pt>
                <c:pt idx="29641">
                  <c:v>0.52864276796860998</c:v>
                </c:pt>
                <c:pt idx="29642">
                  <c:v>0.52866060281790594</c:v>
                </c:pt>
                <c:pt idx="29643">
                  <c:v>0.52867843766720102</c:v>
                </c:pt>
                <c:pt idx="29644">
                  <c:v>0.52869627251649698</c:v>
                </c:pt>
                <c:pt idx="29645">
                  <c:v>0.52871410736579205</c:v>
                </c:pt>
                <c:pt idx="29646">
                  <c:v>0.52873194221508801</c:v>
                </c:pt>
                <c:pt idx="29647">
                  <c:v>0.52874977706438298</c:v>
                </c:pt>
                <c:pt idx="29648">
                  <c:v>0.52876761191367905</c:v>
                </c:pt>
                <c:pt idx="29649">
                  <c:v>0.52878544676297401</c:v>
                </c:pt>
                <c:pt idx="29650">
                  <c:v>0.52880328161226997</c:v>
                </c:pt>
                <c:pt idx="29651">
                  <c:v>0.52882111646156504</c:v>
                </c:pt>
                <c:pt idx="29652">
                  <c:v>0.52883895131086101</c:v>
                </c:pt>
                <c:pt idx="29653">
                  <c:v>0.52885678616015697</c:v>
                </c:pt>
                <c:pt idx="29654">
                  <c:v>0.52887462100945204</c:v>
                </c:pt>
                <c:pt idx="29655">
                  <c:v>0.528892455858748</c:v>
                </c:pt>
                <c:pt idx="29656">
                  <c:v>0.52891029070804296</c:v>
                </c:pt>
                <c:pt idx="29657">
                  <c:v>0.52892812555733904</c:v>
                </c:pt>
                <c:pt idx="29658">
                  <c:v>0.528945960406634</c:v>
                </c:pt>
                <c:pt idx="29659">
                  <c:v>0.52896379525592996</c:v>
                </c:pt>
                <c:pt idx="29660">
                  <c:v>0.52898163010522503</c:v>
                </c:pt>
                <c:pt idx="29661">
                  <c:v>0.52899946495452099</c:v>
                </c:pt>
                <c:pt idx="29662">
                  <c:v>0.52901729980381595</c:v>
                </c:pt>
                <c:pt idx="29663">
                  <c:v>0.52903513465311203</c:v>
                </c:pt>
                <c:pt idx="29664">
                  <c:v>0.52905296950240699</c:v>
                </c:pt>
                <c:pt idx="29665">
                  <c:v>0.52907080435170295</c:v>
                </c:pt>
                <c:pt idx="29666">
                  <c:v>0.52908863920099802</c:v>
                </c:pt>
                <c:pt idx="29667">
                  <c:v>0.52910647405029398</c:v>
                </c:pt>
                <c:pt idx="29668">
                  <c:v>0.52912430889958895</c:v>
                </c:pt>
                <c:pt idx="29669">
                  <c:v>0.52914214374888502</c:v>
                </c:pt>
                <c:pt idx="29670">
                  <c:v>0.52915997859817998</c:v>
                </c:pt>
                <c:pt idx="29671">
                  <c:v>0.52917781344747605</c:v>
                </c:pt>
                <c:pt idx="29672">
                  <c:v>0.52919564829677102</c:v>
                </c:pt>
                <c:pt idx="29673">
                  <c:v>0.52921348314606698</c:v>
                </c:pt>
                <c:pt idx="29674">
                  <c:v>0.52923131799536205</c:v>
                </c:pt>
                <c:pt idx="29675">
                  <c:v>0.52924915284465801</c:v>
                </c:pt>
                <c:pt idx="29676">
                  <c:v>0.52926698769395397</c:v>
                </c:pt>
                <c:pt idx="29677">
                  <c:v>0.52928482254324904</c:v>
                </c:pt>
                <c:pt idx="29678">
                  <c:v>0.52930265739254501</c:v>
                </c:pt>
                <c:pt idx="29679">
                  <c:v>0.52932049224183997</c:v>
                </c:pt>
                <c:pt idx="29680">
                  <c:v>0.52933832709113604</c:v>
                </c:pt>
                <c:pt idx="29681">
                  <c:v>0.529356161940431</c:v>
                </c:pt>
                <c:pt idx="29682">
                  <c:v>0.52937399678972696</c:v>
                </c:pt>
                <c:pt idx="29683">
                  <c:v>0.52939183163902204</c:v>
                </c:pt>
                <c:pt idx="29684">
                  <c:v>0.529409666488318</c:v>
                </c:pt>
                <c:pt idx="29685">
                  <c:v>0.52942750133761296</c:v>
                </c:pt>
                <c:pt idx="29686">
                  <c:v>0.52944533618690903</c:v>
                </c:pt>
                <c:pt idx="29687">
                  <c:v>0.52946317103620399</c:v>
                </c:pt>
                <c:pt idx="29688">
                  <c:v>0.52948100588549996</c:v>
                </c:pt>
                <c:pt idx="29689">
                  <c:v>0.52949884073479503</c:v>
                </c:pt>
                <c:pt idx="29690">
                  <c:v>0.52951667558409099</c:v>
                </c:pt>
                <c:pt idx="29691">
                  <c:v>0.52953451043338595</c:v>
                </c:pt>
                <c:pt idx="29692">
                  <c:v>0.52955234528268202</c:v>
                </c:pt>
                <c:pt idx="29693">
                  <c:v>0.52957018013197699</c:v>
                </c:pt>
                <c:pt idx="29694">
                  <c:v>0.52958801498127295</c:v>
                </c:pt>
                <c:pt idx="29695">
                  <c:v>0.52960584983056802</c:v>
                </c:pt>
                <c:pt idx="29696">
                  <c:v>0.52962368467986398</c:v>
                </c:pt>
                <c:pt idx="29697">
                  <c:v>0.52964151952915905</c:v>
                </c:pt>
                <c:pt idx="29698">
                  <c:v>0.52965935437845502</c:v>
                </c:pt>
                <c:pt idx="29699">
                  <c:v>0.52967718922775098</c:v>
                </c:pt>
                <c:pt idx="29700">
                  <c:v>0.52969502407704605</c:v>
                </c:pt>
                <c:pt idx="29701">
                  <c:v>0.52971285892634201</c:v>
                </c:pt>
                <c:pt idx="29702">
                  <c:v>0.52973069377563697</c:v>
                </c:pt>
                <c:pt idx="29703">
                  <c:v>0.52974852862493305</c:v>
                </c:pt>
                <c:pt idx="29704">
                  <c:v>0.52976636347422801</c:v>
                </c:pt>
                <c:pt idx="29705">
                  <c:v>0.52978419832352397</c:v>
                </c:pt>
                <c:pt idx="29706">
                  <c:v>0.52980203317281904</c:v>
                </c:pt>
                <c:pt idx="29707">
                  <c:v>0.529819868022115</c:v>
                </c:pt>
                <c:pt idx="29708">
                  <c:v>0.52983770287140997</c:v>
                </c:pt>
                <c:pt idx="29709">
                  <c:v>0.52985553772070604</c:v>
                </c:pt>
                <c:pt idx="29710">
                  <c:v>0.529873372570001</c:v>
                </c:pt>
                <c:pt idx="29711">
                  <c:v>0.52989120741929696</c:v>
                </c:pt>
                <c:pt idx="29712">
                  <c:v>0.52990904226859203</c:v>
                </c:pt>
                <c:pt idx="29713">
                  <c:v>0.529926877117888</c:v>
                </c:pt>
                <c:pt idx="29714">
                  <c:v>0.52994471196718296</c:v>
                </c:pt>
                <c:pt idx="29715">
                  <c:v>0.52996254681647903</c:v>
                </c:pt>
                <c:pt idx="29716">
                  <c:v>0.52998038166577399</c:v>
                </c:pt>
                <c:pt idx="29717">
                  <c:v>0.52999821651506995</c:v>
                </c:pt>
                <c:pt idx="29718">
                  <c:v>0.53001605136436603</c:v>
                </c:pt>
                <c:pt idx="29719">
                  <c:v>0.53003388621366099</c:v>
                </c:pt>
                <c:pt idx="29720">
                  <c:v>0.53005172106295695</c:v>
                </c:pt>
                <c:pt idx="29721">
                  <c:v>0.53006955591225202</c:v>
                </c:pt>
                <c:pt idx="29722">
                  <c:v>0.53008739076154798</c:v>
                </c:pt>
                <c:pt idx="29723">
                  <c:v>0.53010522561084295</c:v>
                </c:pt>
                <c:pt idx="29724">
                  <c:v>0.53012306046013902</c:v>
                </c:pt>
                <c:pt idx="29725">
                  <c:v>0.53014089530943398</c:v>
                </c:pt>
                <c:pt idx="29726">
                  <c:v>0.53015873015873005</c:v>
                </c:pt>
                <c:pt idx="29727">
                  <c:v>0.53017656500802501</c:v>
                </c:pt>
                <c:pt idx="29728">
                  <c:v>0.53019439985732097</c:v>
                </c:pt>
                <c:pt idx="29729">
                  <c:v>0.53021223470661605</c:v>
                </c:pt>
                <c:pt idx="29730">
                  <c:v>0.53023006955591201</c:v>
                </c:pt>
                <c:pt idx="29731">
                  <c:v>0.53024790440520697</c:v>
                </c:pt>
                <c:pt idx="29732">
                  <c:v>0.53026573925450304</c:v>
                </c:pt>
                <c:pt idx="29733">
                  <c:v>0.53028357410379801</c:v>
                </c:pt>
                <c:pt idx="29734">
                  <c:v>0.53030140895309397</c:v>
                </c:pt>
                <c:pt idx="29735">
                  <c:v>0.53031924380238904</c:v>
                </c:pt>
                <c:pt idx="29736">
                  <c:v>0.530337078651685</c:v>
                </c:pt>
                <c:pt idx="29737">
                  <c:v>0.53035491350098096</c:v>
                </c:pt>
                <c:pt idx="29738">
                  <c:v>0.53037274835027604</c:v>
                </c:pt>
                <c:pt idx="29739">
                  <c:v>0.530390583199572</c:v>
                </c:pt>
                <c:pt idx="29740">
                  <c:v>0.53040841804886696</c:v>
                </c:pt>
                <c:pt idx="29741">
                  <c:v>0.53042625289816303</c:v>
                </c:pt>
                <c:pt idx="29742">
                  <c:v>0.53044408774745799</c:v>
                </c:pt>
                <c:pt idx="29743">
                  <c:v>0.53046192259675395</c:v>
                </c:pt>
                <c:pt idx="29744">
                  <c:v>0.53047975744604903</c:v>
                </c:pt>
                <c:pt idx="29745">
                  <c:v>0.53049759229534499</c:v>
                </c:pt>
                <c:pt idx="29746">
                  <c:v>0.53051542714463995</c:v>
                </c:pt>
                <c:pt idx="29747">
                  <c:v>0.53053326199393602</c:v>
                </c:pt>
                <c:pt idx="29748">
                  <c:v>0.53055109684323098</c:v>
                </c:pt>
                <c:pt idx="29749">
                  <c:v>0.53056893169252695</c:v>
                </c:pt>
                <c:pt idx="29750">
                  <c:v>0.53058676654182202</c:v>
                </c:pt>
                <c:pt idx="29751">
                  <c:v>0.53060460139111798</c:v>
                </c:pt>
                <c:pt idx="29752">
                  <c:v>0.53062243624041305</c:v>
                </c:pt>
                <c:pt idx="29753">
                  <c:v>0.53064027108970901</c:v>
                </c:pt>
                <c:pt idx="29754">
                  <c:v>0.53065810593900398</c:v>
                </c:pt>
                <c:pt idx="29755">
                  <c:v>0.53067594078830005</c:v>
                </c:pt>
                <c:pt idx="29756">
                  <c:v>0.53069377563759501</c:v>
                </c:pt>
                <c:pt idx="29757">
                  <c:v>0.53071161048689097</c:v>
                </c:pt>
                <c:pt idx="29758">
                  <c:v>0.53072944533618605</c:v>
                </c:pt>
                <c:pt idx="29759">
                  <c:v>0.53074728018548201</c:v>
                </c:pt>
                <c:pt idx="29760">
                  <c:v>0.53076511503477797</c:v>
                </c:pt>
                <c:pt idx="29761">
                  <c:v>0.53078294988407304</c:v>
                </c:pt>
                <c:pt idx="29762">
                  <c:v>0.530800784733369</c:v>
                </c:pt>
                <c:pt idx="29763">
                  <c:v>0.53081861958266396</c:v>
                </c:pt>
                <c:pt idx="29764">
                  <c:v>0.53083645443196004</c:v>
                </c:pt>
                <c:pt idx="29765">
                  <c:v>0.530854289281255</c:v>
                </c:pt>
                <c:pt idx="29766">
                  <c:v>0.53087212413055096</c:v>
                </c:pt>
                <c:pt idx="29767">
                  <c:v>0.53088995897984603</c:v>
                </c:pt>
                <c:pt idx="29768">
                  <c:v>0.53090779382914199</c:v>
                </c:pt>
                <c:pt idx="29769">
                  <c:v>0.53092562867843696</c:v>
                </c:pt>
                <c:pt idx="29770">
                  <c:v>0.53094346352773303</c:v>
                </c:pt>
                <c:pt idx="29771">
                  <c:v>0.53096129837702799</c:v>
                </c:pt>
                <c:pt idx="29772">
                  <c:v>0.53097913322632395</c:v>
                </c:pt>
                <c:pt idx="29773">
                  <c:v>0.53099696807561902</c:v>
                </c:pt>
                <c:pt idx="29774">
                  <c:v>0.53101480292491499</c:v>
                </c:pt>
                <c:pt idx="29775">
                  <c:v>0.53103263777420995</c:v>
                </c:pt>
                <c:pt idx="29776">
                  <c:v>0.53105047262350602</c:v>
                </c:pt>
                <c:pt idx="29777">
                  <c:v>0.53106830747280098</c:v>
                </c:pt>
                <c:pt idx="29778">
                  <c:v>0.53108614232209705</c:v>
                </c:pt>
                <c:pt idx="29779">
                  <c:v>0.53110397717139202</c:v>
                </c:pt>
                <c:pt idx="29780">
                  <c:v>0.53112181202068798</c:v>
                </c:pt>
                <c:pt idx="29781">
                  <c:v>0.53113964686998305</c:v>
                </c:pt>
                <c:pt idx="29782">
                  <c:v>0.53115748171927901</c:v>
                </c:pt>
                <c:pt idx="29783">
                  <c:v>0.53117531656857497</c:v>
                </c:pt>
                <c:pt idx="29784">
                  <c:v>0.53119315141787005</c:v>
                </c:pt>
                <c:pt idx="29785">
                  <c:v>0.53121098626716601</c:v>
                </c:pt>
                <c:pt idx="29786">
                  <c:v>0.53122882111646097</c:v>
                </c:pt>
                <c:pt idx="29787">
                  <c:v>0.53124665596575704</c:v>
                </c:pt>
                <c:pt idx="29788">
                  <c:v>0.531264490815052</c:v>
                </c:pt>
                <c:pt idx="29789">
                  <c:v>0.53128232566434797</c:v>
                </c:pt>
                <c:pt idx="29790">
                  <c:v>0.53130016051364304</c:v>
                </c:pt>
                <c:pt idx="29791">
                  <c:v>0.531317995362939</c:v>
                </c:pt>
                <c:pt idx="29792">
                  <c:v>0.53133583021223396</c:v>
                </c:pt>
                <c:pt idx="29793">
                  <c:v>0.53135366506153003</c:v>
                </c:pt>
                <c:pt idx="29794">
                  <c:v>0.531371499910825</c:v>
                </c:pt>
                <c:pt idx="29795">
                  <c:v>0.53138933476012096</c:v>
                </c:pt>
                <c:pt idx="29796">
                  <c:v>0.53140716960941603</c:v>
                </c:pt>
                <c:pt idx="29797">
                  <c:v>0.53142500445871199</c:v>
                </c:pt>
                <c:pt idx="29798">
                  <c:v>0.53144283930800695</c:v>
                </c:pt>
                <c:pt idx="29799">
                  <c:v>0.53146067415730303</c:v>
                </c:pt>
                <c:pt idx="29800">
                  <c:v>0.53147850900659799</c:v>
                </c:pt>
                <c:pt idx="29801">
                  <c:v>0.53149634385589395</c:v>
                </c:pt>
                <c:pt idx="29802">
                  <c:v>0.53151417870518902</c:v>
                </c:pt>
                <c:pt idx="29803">
                  <c:v>0.53153201355448498</c:v>
                </c:pt>
                <c:pt idx="29804">
                  <c:v>0.53154984840378094</c:v>
                </c:pt>
                <c:pt idx="29805">
                  <c:v>0.53156768325307602</c:v>
                </c:pt>
                <c:pt idx="29806">
                  <c:v>0.53158551810237198</c:v>
                </c:pt>
                <c:pt idx="29807">
                  <c:v>0.53160335295166705</c:v>
                </c:pt>
                <c:pt idx="29808">
                  <c:v>0.53162118780096301</c:v>
                </c:pt>
                <c:pt idx="29809">
                  <c:v>0.53163902265025798</c:v>
                </c:pt>
                <c:pt idx="29810">
                  <c:v>0.53165685749955405</c:v>
                </c:pt>
                <c:pt idx="29811">
                  <c:v>0.53167469234884901</c:v>
                </c:pt>
                <c:pt idx="29812">
                  <c:v>0.53169252719814497</c:v>
                </c:pt>
                <c:pt idx="29813">
                  <c:v>0.53171036204744004</c:v>
                </c:pt>
                <c:pt idx="29814">
                  <c:v>0.53172819689673601</c:v>
                </c:pt>
                <c:pt idx="29815">
                  <c:v>0.53174603174603097</c:v>
                </c:pt>
                <c:pt idx="29816">
                  <c:v>0.53176386659532704</c:v>
                </c:pt>
                <c:pt idx="29817">
                  <c:v>0.531781701444622</c:v>
                </c:pt>
                <c:pt idx="29818">
                  <c:v>0.53179953629391796</c:v>
                </c:pt>
                <c:pt idx="29819">
                  <c:v>0.53181737114321304</c:v>
                </c:pt>
                <c:pt idx="29820">
                  <c:v>0.531835205992509</c:v>
                </c:pt>
                <c:pt idx="29821">
                  <c:v>0.53185304084180396</c:v>
                </c:pt>
                <c:pt idx="29822">
                  <c:v>0.53187087569110003</c:v>
                </c:pt>
                <c:pt idx="29823">
                  <c:v>0.53188871054039499</c:v>
                </c:pt>
                <c:pt idx="29824">
                  <c:v>0.53190654538969095</c:v>
                </c:pt>
                <c:pt idx="29825">
                  <c:v>0.53192438023898703</c:v>
                </c:pt>
                <c:pt idx="29826">
                  <c:v>0.53194221508828199</c:v>
                </c:pt>
                <c:pt idx="29827">
                  <c:v>0.53196004993757795</c:v>
                </c:pt>
                <c:pt idx="29828">
                  <c:v>0.53197788478687302</c:v>
                </c:pt>
                <c:pt idx="29829">
                  <c:v>0.53199571963616898</c:v>
                </c:pt>
                <c:pt idx="29830">
                  <c:v>0.53201355448546395</c:v>
                </c:pt>
                <c:pt idx="29831">
                  <c:v>0.53203138933476002</c:v>
                </c:pt>
                <c:pt idx="29832">
                  <c:v>0.53204922418405498</c:v>
                </c:pt>
                <c:pt idx="29833">
                  <c:v>0.53206705903335105</c:v>
                </c:pt>
                <c:pt idx="29834">
                  <c:v>0.53208489388264602</c:v>
                </c:pt>
                <c:pt idx="29835">
                  <c:v>0.53210272873194198</c:v>
                </c:pt>
                <c:pt idx="29836">
                  <c:v>0.53212056358123705</c:v>
                </c:pt>
                <c:pt idx="29837">
                  <c:v>0.53213839843053301</c:v>
                </c:pt>
                <c:pt idx="29838">
                  <c:v>0.53215623327982797</c:v>
                </c:pt>
                <c:pt idx="29839">
                  <c:v>0.53217406812912404</c:v>
                </c:pt>
                <c:pt idx="29840">
                  <c:v>0.53219190297841901</c:v>
                </c:pt>
                <c:pt idx="29841">
                  <c:v>0.53220973782771497</c:v>
                </c:pt>
                <c:pt idx="29842">
                  <c:v>0.53222757267701004</c:v>
                </c:pt>
                <c:pt idx="29843">
                  <c:v>0.532245407526306</c:v>
                </c:pt>
                <c:pt idx="29844">
                  <c:v>0.53226324237560196</c:v>
                </c:pt>
                <c:pt idx="29845">
                  <c:v>0.53228107722489704</c:v>
                </c:pt>
                <c:pt idx="29846">
                  <c:v>0.532298912074193</c:v>
                </c:pt>
                <c:pt idx="29847">
                  <c:v>0.53231674692348796</c:v>
                </c:pt>
                <c:pt idx="29848">
                  <c:v>0.53233458177278403</c:v>
                </c:pt>
                <c:pt idx="29849">
                  <c:v>0.53235241662207899</c:v>
                </c:pt>
                <c:pt idx="29850">
                  <c:v>0.53237025147137496</c:v>
                </c:pt>
                <c:pt idx="29851">
                  <c:v>0.53238808632067003</c:v>
                </c:pt>
                <c:pt idx="29852">
                  <c:v>0.53240592116996599</c:v>
                </c:pt>
                <c:pt idx="29853">
                  <c:v>0.53242375601926095</c:v>
                </c:pt>
                <c:pt idx="29854">
                  <c:v>0.53244159086855702</c:v>
                </c:pt>
                <c:pt idx="29855">
                  <c:v>0.53245942571785199</c:v>
                </c:pt>
                <c:pt idx="29856">
                  <c:v>0.53247726056714795</c:v>
                </c:pt>
                <c:pt idx="29857">
                  <c:v>0.53249509541644302</c:v>
                </c:pt>
                <c:pt idx="29858">
                  <c:v>0.53251293026573898</c:v>
                </c:pt>
                <c:pt idx="29859">
                  <c:v>0.53253076511503405</c:v>
                </c:pt>
                <c:pt idx="29860">
                  <c:v>0.53254859996433002</c:v>
                </c:pt>
                <c:pt idx="29861">
                  <c:v>0.53256643481362498</c:v>
                </c:pt>
                <c:pt idx="29862">
                  <c:v>0.53258426966292105</c:v>
                </c:pt>
                <c:pt idx="29863">
                  <c:v>0.53260210451221601</c:v>
                </c:pt>
                <c:pt idx="29864">
                  <c:v>0.53261993936151197</c:v>
                </c:pt>
                <c:pt idx="29865">
                  <c:v>0.53263777421080705</c:v>
                </c:pt>
                <c:pt idx="29866">
                  <c:v>0.53265560906010301</c:v>
                </c:pt>
                <c:pt idx="29867">
                  <c:v>0.53267344390939897</c:v>
                </c:pt>
                <c:pt idx="29868">
                  <c:v>0.53269127875869404</c:v>
                </c:pt>
                <c:pt idx="29869">
                  <c:v>0.53270911360799</c:v>
                </c:pt>
                <c:pt idx="29870">
                  <c:v>0.53272694845728497</c:v>
                </c:pt>
                <c:pt idx="29871">
                  <c:v>0.53274478330658104</c:v>
                </c:pt>
                <c:pt idx="29872">
                  <c:v>0.532762618155876</c:v>
                </c:pt>
                <c:pt idx="29873">
                  <c:v>0.53278045300517196</c:v>
                </c:pt>
                <c:pt idx="29874">
                  <c:v>0.53279828785446703</c:v>
                </c:pt>
                <c:pt idx="29875">
                  <c:v>0.532816122703763</c:v>
                </c:pt>
                <c:pt idx="29876">
                  <c:v>0.53283395755305796</c:v>
                </c:pt>
                <c:pt idx="29877">
                  <c:v>0.53285179240235403</c:v>
                </c:pt>
                <c:pt idx="29878">
                  <c:v>0.53286962725164899</c:v>
                </c:pt>
                <c:pt idx="29879">
                  <c:v>0.53288746210094495</c:v>
                </c:pt>
                <c:pt idx="29880">
                  <c:v>0.53290529695024003</c:v>
                </c:pt>
                <c:pt idx="29881">
                  <c:v>0.53292313179953599</c:v>
                </c:pt>
                <c:pt idx="29882">
                  <c:v>0.53294096664883095</c:v>
                </c:pt>
                <c:pt idx="29883">
                  <c:v>0.53295880149812702</c:v>
                </c:pt>
                <c:pt idx="29884">
                  <c:v>0.53297663634742198</c:v>
                </c:pt>
                <c:pt idx="29885">
                  <c:v>0.53299447119671794</c:v>
                </c:pt>
                <c:pt idx="29886">
                  <c:v>0.53301230604601302</c:v>
                </c:pt>
                <c:pt idx="29887">
                  <c:v>0.53303014089530898</c:v>
                </c:pt>
                <c:pt idx="29888">
                  <c:v>0.53304797574460405</c:v>
                </c:pt>
                <c:pt idx="29889">
                  <c:v>0.53306581059390001</c:v>
                </c:pt>
                <c:pt idx="29890">
                  <c:v>0.53308364544319597</c:v>
                </c:pt>
                <c:pt idx="29891">
                  <c:v>0.53310148029249105</c:v>
                </c:pt>
                <c:pt idx="29892">
                  <c:v>0.53311931514178701</c:v>
                </c:pt>
                <c:pt idx="29893">
                  <c:v>0.53313714999108197</c:v>
                </c:pt>
                <c:pt idx="29894">
                  <c:v>0.53315498484037804</c:v>
                </c:pt>
                <c:pt idx="29895">
                  <c:v>0.53317281968967301</c:v>
                </c:pt>
                <c:pt idx="29896">
                  <c:v>0.53319065453896897</c:v>
                </c:pt>
                <c:pt idx="29897">
                  <c:v>0.53320848938826404</c:v>
                </c:pt>
                <c:pt idx="29898">
                  <c:v>0.53322632423756</c:v>
                </c:pt>
                <c:pt idx="29899">
                  <c:v>0.53324415908685496</c:v>
                </c:pt>
                <c:pt idx="29900">
                  <c:v>0.53326199393615104</c:v>
                </c:pt>
                <c:pt idx="29901">
                  <c:v>0.533279828785446</c:v>
                </c:pt>
                <c:pt idx="29902">
                  <c:v>0.53329766363474196</c:v>
                </c:pt>
                <c:pt idx="29903">
                  <c:v>0.53331549848403703</c:v>
                </c:pt>
                <c:pt idx="29904">
                  <c:v>0.53333333333333299</c:v>
                </c:pt>
                <c:pt idx="29905">
                  <c:v>0.53335116818262795</c:v>
                </c:pt>
                <c:pt idx="29906">
                  <c:v>0.53336900303192403</c:v>
                </c:pt>
                <c:pt idx="29907">
                  <c:v>0.53338683788121899</c:v>
                </c:pt>
                <c:pt idx="29908">
                  <c:v>0.53340467273051495</c:v>
                </c:pt>
                <c:pt idx="29909">
                  <c:v>0.53342250757981002</c:v>
                </c:pt>
                <c:pt idx="29910">
                  <c:v>0.53344034242910598</c:v>
                </c:pt>
                <c:pt idx="29911">
                  <c:v>0.53345817727840195</c:v>
                </c:pt>
                <c:pt idx="29912">
                  <c:v>0.53347601212769702</c:v>
                </c:pt>
                <c:pt idx="29913">
                  <c:v>0.53349384697699298</c:v>
                </c:pt>
                <c:pt idx="29914">
                  <c:v>0.53351168182628805</c:v>
                </c:pt>
                <c:pt idx="29915">
                  <c:v>0.53352951667558401</c:v>
                </c:pt>
                <c:pt idx="29916">
                  <c:v>0.53354735152487898</c:v>
                </c:pt>
                <c:pt idx="29917">
                  <c:v>0.53356518637417505</c:v>
                </c:pt>
                <c:pt idx="29918">
                  <c:v>0.53358302122347001</c:v>
                </c:pt>
                <c:pt idx="29919">
                  <c:v>0.53360085607276597</c:v>
                </c:pt>
                <c:pt idx="29920">
                  <c:v>0.53361869092206105</c:v>
                </c:pt>
                <c:pt idx="29921">
                  <c:v>0.53363652577135701</c:v>
                </c:pt>
                <c:pt idx="29922">
                  <c:v>0.53365436062065197</c:v>
                </c:pt>
                <c:pt idx="29923">
                  <c:v>0.53367219546994804</c:v>
                </c:pt>
                <c:pt idx="29924">
                  <c:v>0.533690030319243</c:v>
                </c:pt>
                <c:pt idx="29925">
                  <c:v>0.53370786516853896</c:v>
                </c:pt>
                <c:pt idx="29926">
                  <c:v>0.53372570001783404</c:v>
                </c:pt>
                <c:pt idx="29927">
                  <c:v>0.53374353486713</c:v>
                </c:pt>
                <c:pt idx="29928">
                  <c:v>0.53376136971642496</c:v>
                </c:pt>
                <c:pt idx="29929">
                  <c:v>0.53377920456572103</c:v>
                </c:pt>
                <c:pt idx="29930">
                  <c:v>0.53379703941501699</c:v>
                </c:pt>
                <c:pt idx="29931">
                  <c:v>0.53381487426431196</c:v>
                </c:pt>
                <c:pt idx="29932">
                  <c:v>0.53383270911360803</c:v>
                </c:pt>
                <c:pt idx="29933">
                  <c:v>0.53385054396290299</c:v>
                </c:pt>
                <c:pt idx="29934">
                  <c:v>0.53386837881219895</c:v>
                </c:pt>
                <c:pt idx="29935">
                  <c:v>0.53388621366149402</c:v>
                </c:pt>
                <c:pt idx="29936">
                  <c:v>0.53390404851078999</c:v>
                </c:pt>
                <c:pt idx="29937">
                  <c:v>0.53392188336008495</c:v>
                </c:pt>
                <c:pt idx="29938">
                  <c:v>0.53393971820938102</c:v>
                </c:pt>
                <c:pt idx="29939">
                  <c:v>0.53395755305867598</c:v>
                </c:pt>
                <c:pt idx="29940">
                  <c:v>0.53397538790797205</c:v>
                </c:pt>
                <c:pt idx="29941">
                  <c:v>0.53399322275726702</c:v>
                </c:pt>
                <c:pt idx="29942">
                  <c:v>0.53401105760656298</c:v>
                </c:pt>
                <c:pt idx="29943">
                  <c:v>0.53402889245585805</c:v>
                </c:pt>
                <c:pt idx="29944">
                  <c:v>0.53404672730515401</c:v>
                </c:pt>
                <c:pt idx="29945">
                  <c:v>0.53406456215444897</c:v>
                </c:pt>
                <c:pt idx="29946">
                  <c:v>0.53408239700374505</c:v>
                </c:pt>
                <c:pt idx="29947">
                  <c:v>0.53410023185304001</c:v>
                </c:pt>
                <c:pt idx="29948">
                  <c:v>0.53411806670233597</c:v>
                </c:pt>
                <c:pt idx="29949">
                  <c:v>0.53413590155163104</c:v>
                </c:pt>
                <c:pt idx="29950">
                  <c:v>0.534153736400927</c:v>
                </c:pt>
                <c:pt idx="29951">
                  <c:v>0.53417157125022297</c:v>
                </c:pt>
                <c:pt idx="29952">
                  <c:v>0.53418940609951804</c:v>
                </c:pt>
                <c:pt idx="29953">
                  <c:v>0.534207240948814</c:v>
                </c:pt>
                <c:pt idx="29954">
                  <c:v>0.53422507579810896</c:v>
                </c:pt>
                <c:pt idx="29955">
                  <c:v>0.53424291064740503</c:v>
                </c:pt>
                <c:pt idx="29956">
                  <c:v>0.5342607454967</c:v>
                </c:pt>
                <c:pt idx="29957">
                  <c:v>0.53427858034599596</c:v>
                </c:pt>
                <c:pt idx="29958">
                  <c:v>0.53429641519529103</c:v>
                </c:pt>
                <c:pt idx="29959">
                  <c:v>0.53431425004458699</c:v>
                </c:pt>
                <c:pt idx="29960">
                  <c:v>0.53433208489388195</c:v>
                </c:pt>
                <c:pt idx="29961">
                  <c:v>0.53434991974317803</c:v>
                </c:pt>
                <c:pt idx="29962">
                  <c:v>0.53436775459247299</c:v>
                </c:pt>
                <c:pt idx="29963">
                  <c:v>0.53438558944176895</c:v>
                </c:pt>
                <c:pt idx="29964">
                  <c:v>0.53440342429106402</c:v>
                </c:pt>
                <c:pt idx="29965">
                  <c:v>0.53442125914035998</c:v>
                </c:pt>
                <c:pt idx="29966">
                  <c:v>0.53443909398965495</c:v>
                </c:pt>
                <c:pt idx="29967">
                  <c:v>0.53445692883895102</c:v>
                </c:pt>
                <c:pt idx="29968">
                  <c:v>0.53447476368824598</c:v>
                </c:pt>
                <c:pt idx="29969">
                  <c:v>0.53449259853754205</c:v>
                </c:pt>
                <c:pt idx="29970">
                  <c:v>0.53451043338683701</c:v>
                </c:pt>
                <c:pt idx="29971">
                  <c:v>0.53452826823613298</c:v>
                </c:pt>
                <c:pt idx="29972">
                  <c:v>0.53454610308542805</c:v>
                </c:pt>
                <c:pt idx="29973">
                  <c:v>0.53456393793472401</c:v>
                </c:pt>
                <c:pt idx="29974">
                  <c:v>0.53458177278401997</c:v>
                </c:pt>
                <c:pt idx="29975">
                  <c:v>0.53459960763331504</c:v>
                </c:pt>
                <c:pt idx="29976">
                  <c:v>0.534617442482611</c:v>
                </c:pt>
                <c:pt idx="29977">
                  <c:v>0.53463527733190597</c:v>
                </c:pt>
                <c:pt idx="29978">
                  <c:v>0.53465311218120204</c:v>
                </c:pt>
                <c:pt idx="29979">
                  <c:v>0.534670947030497</c:v>
                </c:pt>
                <c:pt idx="29980">
                  <c:v>0.53468878187979296</c:v>
                </c:pt>
                <c:pt idx="29981">
                  <c:v>0.53470661672908804</c:v>
                </c:pt>
                <c:pt idx="29982">
                  <c:v>0.534724451578384</c:v>
                </c:pt>
                <c:pt idx="29983">
                  <c:v>0.53474228642767896</c:v>
                </c:pt>
                <c:pt idx="29984">
                  <c:v>0.53476012127697503</c:v>
                </c:pt>
                <c:pt idx="29985">
                  <c:v>0.53477795612626999</c:v>
                </c:pt>
                <c:pt idx="29986">
                  <c:v>0.53479579097556595</c:v>
                </c:pt>
                <c:pt idx="29987">
                  <c:v>0.53481362582486103</c:v>
                </c:pt>
                <c:pt idx="29988">
                  <c:v>0.53483146067415699</c:v>
                </c:pt>
                <c:pt idx="29989">
                  <c:v>0.53484929552345195</c:v>
                </c:pt>
                <c:pt idx="29990">
                  <c:v>0.53486713037274802</c:v>
                </c:pt>
                <c:pt idx="29991">
                  <c:v>0.53488496522204299</c:v>
                </c:pt>
                <c:pt idx="29992">
                  <c:v>0.53490280007133895</c:v>
                </c:pt>
                <c:pt idx="29993">
                  <c:v>0.53492063492063402</c:v>
                </c:pt>
                <c:pt idx="29994">
                  <c:v>0.53493846976992998</c:v>
                </c:pt>
                <c:pt idx="29995">
                  <c:v>0.53495630461922505</c:v>
                </c:pt>
                <c:pt idx="29996">
                  <c:v>0.53497413946852101</c:v>
                </c:pt>
                <c:pt idx="29997">
                  <c:v>0.53499197431781698</c:v>
                </c:pt>
                <c:pt idx="29998">
                  <c:v>0.53500980916711205</c:v>
                </c:pt>
                <c:pt idx="29999">
                  <c:v>0.53502764401640801</c:v>
                </c:pt>
                <c:pt idx="30000">
                  <c:v>0.53504547886570297</c:v>
                </c:pt>
                <c:pt idx="30001">
                  <c:v>0.53506331371499904</c:v>
                </c:pt>
                <c:pt idx="30002">
                  <c:v>0.53508114856429401</c:v>
                </c:pt>
                <c:pt idx="30003">
                  <c:v>0.53509898341358997</c:v>
                </c:pt>
                <c:pt idx="30004">
                  <c:v>0.53511681826288504</c:v>
                </c:pt>
                <c:pt idx="30005">
                  <c:v>0.535134653112181</c:v>
                </c:pt>
                <c:pt idx="30006">
                  <c:v>0.53515248796147596</c:v>
                </c:pt>
                <c:pt idx="30007">
                  <c:v>0.53517032281077204</c:v>
                </c:pt>
                <c:pt idx="30008">
                  <c:v>0.535188157660067</c:v>
                </c:pt>
                <c:pt idx="30009">
                  <c:v>0.53520599250936296</c:v>
                </c:pt>
                <c:pt idx="30010">
                  <c:v>0.53522382735865803</c:v>
                </c:pt>
                <c:pt idx="30011">
                  <c:v>0.53524166220795399</c:v>
                </c:pt>
                <c:pt idx="30012">
                  <c:v>0.53525949705724896</c:v>
                </c:pt>
                <c:pt idx="30013">
                  <c:v>0.53527733190654503</c:v>
                </c:pt>
                <c:pt idx="30014">
                  <c:v>0.53529516675583999</c:v>
                </c:pt>
                <c:pt idx="30015">
                  <c:v>0.53531300160513595</c:v>
                </c:pt>
                <c:pt idx="30016">
                  <c:v>0.53533083645443102</c:v>
                </c:pt>
                <c:pt idx="30017">
                  <c:v>0.53534867130372699</c:v>
                </c:pt>
                <c:pt idx="30018">
                  <c:v>0.53536650615302295</c:v>
                </c:pt>
                <c:pt idx="30019">
                  <c:v>0.53538434100231802</c:v>
                </c:pt>
                <c:pt idx="30020">
                  <c:v>0.53540217585161398</c:v>
                </c:pt>
                <c:pt idx="30021">
                  <c:v>0.53542001070090905</c:v>
                </c:pt>
                <c:pt idx="30022">
                  <c:v>0.53543784555020502</c:v>
                </c:pt>
                <c:pt idx="30023">
                  <c:v>0.53545568039949998</c:v>
                </c:pt>
                <c:pt idx="30024">
                  <c:v>0.53547351524879605</c:v>
                </c:pt>
                <c:pt idx="30025">
                  <c:v>0.53549135009809101</c:v>
                </c:pt>
                <c:pt idx="30026">
                  <c:v>0.53550918494738697</c:v>
                </c:pt>
                <c:pt idx="30027">
                  <c:v>0.53552701979668205</c:v>
                </c:pt>
                <c:pt idx="30028">
                  <c:v>0.53554485464597801</c:v>
                </c:pt>
                <c:pt idx="30029">
                  <c:v>0.53556268949527297</c:v>
                </c:pt>
                <c:pt idx="30030">
                  <c:v>0.53558052434456904</c:v>
                </c:pt>
                <c:pt idx="30031">
                  <c:v>0.535598359193864</c:v>
                </c:pt>
                <c:pt idx="30032">
                  <c:v>0.53561619404315997</c:v>
                </c:pt>
                <c:pt idx="30033">
                  <c:v>0.53563402889245504</c:v>
                </c:pt>
                <c:pt idx="30034">
                  <c:v>0.535651863741751</c:v>
                </c:pt>
                <c:pt idx="30035">
                  <c:v>0.53566969859104696</c:v>
                </c:pt>
                <c:pt idx="30036">
                  <c:v>0.53568753344034203</c:v>
                </c:pt>
                <c:pt idx="30037">
                  <c:v>0.535705368289638</c:v>
                </c:pt>
                <c:pt idx="30038">
                  <c:v>0.53572320313893296</c:v>
                </c:pt>
                <c:pt idx="30039">
                  <c:v>0.53574103798822903</c:v>
                </c:pt>
                <c:pt idx="30040">
                  <c:v>0.53575887283752399</c:v>
                </c:pt>
                <c:pt idx="30041">
                  <c:v>0.53577670768681995</c:v>
                </c:pt>
                <c:pt idx="30042">
                  <c:v>0.53579454253611503</c:v>
                </c:pt>
                <c:pt idx="30043">
                  <c:v>0.53581237738541099</c:v>
                </c:pt>
                <c:pt idx="30044">
                  <c:v>0.53583021223470595</c:v>
                </c:pt>
                <c:pt idx="30045">
                  <c:v>0.53584804708400202</c:v>
                </c:pt>
                <c:pt idx="30046">
                  <c:v>0.53586588193329698</c:v>
                </c:pt>
                <c:pt idx="30047">
                  <c:v>0.53588371678259294</c:v>
                </c:pt>
                <c:pt idx="30048">
                  <c:v>0.53590155163188802</c:v>
                </c:pt>
                <c:pt idx="30049">
                  <c:v>0.53591938648118398</c:v>
                </c:pt>
                <c:pt idx="30050">
                  <c:v>0.53593722133047905</c:v>
                </c:pt>
                <c:pt idx="30051">
                  <c:v>0.53595505617977501</c:v>
                </c:pt>
                <c:pt idx="30052">
                  <c:v>0.53597289102906998</c:v>
                </c:pt>
                <c:pt idx="30053">
                  <c:v>0.53599072587836605</c:v>
                </c:pt>
                <c:pt idx="30054">
                  <c:v>0.53600856072766101</c:v>
                </c:pt>
                <c:pt idx="30055">
                  <c:v>0.53602639557695697</c:v>
                </c:pt>
                <c:pt idx="30056">
                  <c:v>0.53604423042625204</c:v>
                </c:pt>
                <c:pt idx="30057">
                  <c:v>0.53606206527554801</c:v>
                </c:pt>
                <c:pt idx="30058">
                  <c:v>0.53607990012484397</c:v>
                </c:pt>
                <c:pt idx="30059">
                  <c:v>0.53609773497413904</c:v>
                </c:pt>
                <c:pt idx="30060">
                  <c:v>0.536115569823435</c:v>
                </c:pt>
                <c:pt idx="30061">
                  <c:v>0.53613340467272996</c:v>
                </c:pt>
                <c:pt idx="30062">
                  <c:v>0.53615123952202604</c:v>
                </c:pt>
                <c:pt idx="30063">
                  <c:v>0.536169074371321</c:v>
                </c:pt>
                <c:pt idx="30064">
                  <c:v>0.53618690922061696</c:v>
                </c:pt>
                <c:pt idx="30065">
                  <c:v>0.53620474406991203</c:v>
                </c:pt>
                <c:pt idx="30066">
                  <c:v>0.53622257891920799</c:v>
                </c:pt>
                <c:pt idx="30067">
                  <c:v>0.53624041376850295</c:v>
                </c:pt>
                <c:pt idx="30068">
                  <c:v>0.53625824861779903</c:v>
                </c:pt>
                <c:pt idx="30069">
                  <c:v>0.53627608346709399</c:v>
                </c:pt>
                <c:pt idx="30070">
                  <c:v>0.53629391831638995</c:v>
                </c:pt>
                <c:pt idx="30071">
                  <c:v>0.53631175316568502</c:v>
                </c:pt>
                <c:pt idx="30072">
                  <c:v>0.53632958801498098</c:v>
                </c:pt>
                <c:pt idx="30073">
                  <c:v>0.53634742286427595</c:v>
                </c:pt>
                <c:pt idx="30074">
                  <c:v>0.53636525771357202</c:v>
                </c:pt>
                <c:pt idx="30075">
                  <c:v>0.53638309256286698</c:v>
                </c:pt>
                <c:pt idx="30076">
                  <c:v>0.53640092741216305</c:v>
                </c:pt>
                <c:pt idx="30077">
                  <c:v>0.53641876226145802</c:v>
                </c:pt>
                <c:pt idx="30078">
                  <c:v>0.53643659711075398</c:v>
                </c:pt>
                <c:pt idx="30079">
                  <c:v>0.53645443196004905</c:v>
                </c:pt>
                <c:pt idx="30080">
                  <c:v>0.53647226680934501</c:v>
                </c:pt>
                <c:pt idx="30081">
                  <c:v>0.53649010165864097</c:v>
                </c:pt>
                <c:pt idx="30082">
                  <c:v>0.53650793650793605</c:v>
                </c:pt>
                <c:pt idx="30083">
                  <c:v>0.53652577135723201</c:v>
                </c:pt>
                <c:pt idx="30084">
                  <c:v>0.53654360620652697</c:v>
                </c:pt>
                <c:pt idx="30085">
                  <c:v>0.53656144105582304</c:v>
                </c:pt>
                <c:pt idx="30086">
                  <c:v>0.536579275905118</c:v>
                </c:pt>
                <c:pt idx="30087">
                  <c:v>0.53659711075441396</c:v>
                </c:pt>
                <c:pt idx="30088">
                  <c:v>0.53661494560370904</c:v>
                </c:pt>
                <c:pt idx="30089">
                  <c:v>0.536632780453005</c:v>
                </c:pt>
                <c:pt idx="30090">
                  <c:v>0.53665061530229996</c:v>
                </c:pt>
                <c:pt idx="30091">
                  <c:v>0.53666845015159603</c:v>
                </c:pt>
                <c:pt idx="30092">
                  <c:v>0.53668628500089099</c:v>
                </c:pt>
                <c:pt idx="30093">
                  <c:v>0.53670411985018696</c:v>
                </c:pt>
                <c:pt idx="30094">
                  <c:v>0.53672195469948203</c:v>
                </c:pt>
                <c:pt idx="30095">
                  <c:v>0.53673978954877799</c:v>
                </c:pt>
                <c:pt idx="30096">
                  <c:v>0.53675762439807295</c:v>
                </c:pt>
                <c:pt idx="30097">
                  <c:v>0.53677545924736902</c:v>
                </c:pt>
                <c:pt idx="30098">
                  <c:v>0.53679329409666399</c:v>
                </c:pt>
                <c:pt idx="30099">
                  <c:v>0.53681112894595995</c:v>
                </c:pt>
                <c:pt idx="30100">
                  <c:v>0.53682896379525502</c:v>
                </c:pt>
                <c:pt idx="30101">
                  <c:v>0.53684679864455098</c:v>
                </c:pt>
                <c:pt idx="30102">
                  <c:v>0.53686463349384606</c:v>
                </c:pt>
                <c:pt idx="30103">
                  <c:v>0.53688246834314202</c:v>
                </c:pt>
                <c:pt idx="30104">
                  <c:v>0.53690030319243798</c:v>
                </c:pt>
                <c:pt idx="30105">
                  <c:v>0.53691813804173305</c:v>
                </c:pt>
                <c:pt idx="30106">
                  <c:v>0.53693597289102901</c:v>
                </c:pt>
                <c:pt idx="30107">
                  <c:v>0.53695380774032397</c:v>
                </c:pt>
                <c:pt idx="30108">
                  <c:v>0.53697164258962005</c:v>
                </c:pt>
                <c:pt idx="30109">
                  <c:v>0.53698947743891501</c:v>
                </c:pt>
                <c:pt idx="30110">
                  <c:v>0.53700731228821097</c:v>
                </c:pt>
                <c:pt idx="30111">
                  <c:v>0.53702514713750604</c:v>
                </c:pt>
                <c:pt idx="30112">
                  <c:v>0.537042981986802</c:v>
                </c:pt>
                <c:pt idx="30113">
                  <c:v>0.53706081683609697</c:v>
                </c:pt>
                <c:pt idx="30114">
                  <c:v>0.53707865168539304</c:v>
                </c:pt>
                <c:pt idx="30115">
                  <c:v>0.537096486534688</c:v>
                </c:pt>
                <c:pt idx="30116">
                  <c:v>0.53711432138398396</c:v>
                </c:pt>
                <c:pt idx="30117">
                  <c:v>0.53713215623327903</c:v>
                </c:pt>
                <c:pt idx="30118">
                  <c:v>0.537149991082575</c:v>
                </c:pt>
                <c:pt idx="30119">
                  <c:v>0.53716782593186996</c:v>
                </c:pt>
                <c:pt idx="30120">
                  <c:v>0.53718566078116603</c:v>
                </c:pt>
                <c:pt idx="30121">
                  <c:v>0.53720349563046099</c:v>
                </c:pt>
                <c:pt idx="30122">
                  <c:v>0.53722133047975695</c:v>
                </c:pt>
                <c:pt idx="30123">
                  <c:v>0.53723916532905203</c:v>
                </c:pt>
                <c:pt idx="30124">
                  <c:v>0.53725700017834799</c:v>
                </c:pt>
                <c:pt idx="30125">
                  <c:v>0.53727483502764395</c:v>
                </c:pt>
                <c:pt idx="30126">
                  <c:v>0.53729266987693902</c:v>
                </c:pt>
                <c:pt idx="30127">
                  <c:v>0.53731050472623498</c:v>
                </c:pt>
                <c:pt idx="30128">
                  <c:v>0.53732833957552995</c:v>
                </c:pt>
                <c:pt idx="30129">
                  <c:v>0.53734617442482602</c:v>
                </c:pt>
                <c:pt idx="30130">
                  <c:v>0.53736400927412098</c:v>
                </c:pt>
                <c:pt idx="30131">
                  <c:v>0.53738184412341705</c:v>
                </c:pt>
                <c:pt idx="30132">
                  <c:v>0.53739967897271201</c:v>
                </c:pt>
                <c:pt idx="30133">
                  <c:v>0.53741751382200798</c:v>
                </c:pt>
                <c:pt idx="30134">
                  <c:v>0.53743534867130305</c:v>
                </c:pt>
                <c:pt idx="30135">
                  <c:v>0.53745318352059901</c:v>
                </c:pt>
                <c:pt idx="30136">
                  <c:v>0.53747101836989397</c:v>
                </c:pt>
                <c:pt idx="30137">
                  <c:v>0.53748885321919004</c:v>
                </c:pt>
                <c:pt idx="30138">
                  <c:v>0.53750668806848501</c:v>
                </c:pt>
                <c:pt idx="30139">
                  <c:v>0.53752452291778097</c:v>
                </c:pt>
                <c:pt idx="30140">
                  <c:v>0.53754235776707604</c:v>
                </c:pt>
                <c:pt idx="30141">
                  <c:v>0.537560192616372</c:v>
                </c:pt>
                <c:pt idx="30142">
                  <c:v>0.53757802746566796</c:v>
                </c:pt>
                <c:pt idx="30143">
                  <c:v>0.53759586231496304</c:v>
                </c:pt>
                <c:pt idx="30144">
                  <c:v>0.537613697164259</c:v>
                </c:pt>
                <c:pt idx="30145">
                  <c:v>0.53763153201355396</c:v>
                </c:pt>
                <c:pt idx="30146">
                  <c:v>0.53764936686285003</c:v>
                </c:pt>
                <c:pt idx="30147">
                  <c:v>0.53766720171214499</c:v>
                </c:pt>
                <c:pt idx="30148">
                  <c:v>0.53768503656144095</c:v>
                </c:pt>
                <c:pt idx="30149">
                  <c:v>0.53770287141073603</c:v>
                </c:pt>
                <c:pt idx="30150">
                  <c:v>0.53772070626003199</c:v>
                </c:pt>
                <c:pt idx="30151">
                  <c:v>0.53773854110932695</c:v>
                </c:pt>
                <c:pt idx="30152">
                  <c:v>0.53775637595862302</c:v>
                </c:pt>
                <c:pt idx="30153">
                  <c:v>0.53777421080791799</c:v>
                </c:pt>
                <c:pt idx="30154">
                  <c:v>0.53779204565721395</c:v>
                </c:pt>
                <c:pt idx="30155">
                  <c:v>0.53780988050650902</c:v>
                </c:pt>
                <c:pt idx="30156">
                  <c:v>0.53782771535580498</c:v>
                </c:pt>
                <c:pt idx="30157">
                  <c:v>0.53784555020510005</c:v>
                </c:pt>
                <c:pt idx="30158">
                  <c:v>0.53786338505439601</c:v>
                </c:pt>
                <c:pt idx="30159">
                  <c:v>0.53788121990369098</c:v>
                </c:pt>
                <c:pt idx="30160">
                  <c:v>0.53789905475298705</c:v>
                </c:pt>
                <c:pt idx="30161">
                  <c:v>0.53791688960228201</c:v>
                </c:pt>
                <c:pt idx="30162">
                  <c:v>0.53793472445157797</c:v>
                </c:pt>
                <c:pt idx="30163">
                  <c:v>0.53795255930087305</c:v>
                </c:pt>
                <c:pt idx="30164">
                  <c:v>0.53797039415016901</c:v>
                </c:pt>
                <c:pt idx="30165">
                  <c:v>0.53798822899946497</c:v>
                </c:pt>
                <c:pt idx="30166">
                  <c:v>0.53800606384876004</c:v>
                </c:pt>
                <c:pt idx="30167">
                  <c:v>0.538023898698056</c:v>
                </c:pt>
                <c:pt idx="30168">
                  <c:v>0.53804173354735096</c:v>
                </c:pt>
                <c:pt idx="30169">
                  <c:v>0.53805956839664704</c:v>
                </c:pt>
                <c:pt idx="30170">
                  <c:v>0.538077403245942</c:v>
                </c:pt>
                <c:pt idx="30171">
                  <c:v>0.53809523809523796</c:v>
                </c:pt>
                <c:pt idx="30172">
                  <c:v>0.53811307294453303</c:v>
                </c:pt>
                <c:pt idx="30173">
                  <c:v>0.53813090779382899</c:v>
                </c:pt>
                <c:pt idx="30174">
                  <c:v>0.53814874264312396</c:v>
                </c:pt>
                <c:pt idx="30175">
                  <c:v>0.53816657749242003</c:v>
                </c:pt>
                <c:pt idx="30176">
                  <c:v>0.53818441234171499</c:v>
                </c:pt>
                <c:pt idx="30177">
                  <c:v>0.53820224719101095</c:v>
                </c:pt>
                <c:pt idx="30178">
                  <c:v>0.53822008204030602</c:v>
                </c:pt>
                <c:pt idx="30179">
                  <c:v>0.53823791688960199</c:v>
                </c:pt>
                <c:pt idx="30180">
                  <c:v>0.53825575173889695</c:v>
                </c:pt>
                <c:pt idx="30181">
                  <c:v>0.53827358658819302</c:v>
                </c:pt>
                <c:pt idx="30182">
                  <c:v>0.53829142143748798</c:v>
                </c:pt>
                <c:pt idx="30183">
                  <c:v>0.53830925628678405</c:v>
                </c:pt>
                <c:pt idx="30184">
                  <c:v>0.53832709113607902</c:v>
                </c:pt>
                <c:pt idx="30185">
                  <c:v>0.53834492598537498</c:v>
                </c:pt>
                <c:pt idx="30186">
                  <c:v>0.53836276083467005</c:v>
                </c:pt>
                <c:pt idx="30187">
                  <c:v>0.53838059568396601</c:v>
                </c:pt>
                <c:pt idx="30188">
                  <c:v>0.53839843053326197</c:v>
                </c:pt>
                <c:pt idx="30189">
                  <c:v>0.53841626538255705</c:v>
                </c:pt>
                <c:pt idx="30190">
                  <c:v>0.53843410023185301</c:v>
                </c:pt>
                <c:pt idx="30191">
                  <c:v>0.53845193508114797</c:v>
                </c:pt>
                <c:pt idx="30192">
                  <c:v>0.53846976993044404</c:v>
                </c:pt>
                <c:pt idx="30193">
                  <c:v>0.538487604779739</c:v>
                </c:pt>
                <c:pt idx="30194">
                  <c:v>0.53850543962903497</c:v>
                </c:pt>
                <c:pt idx="30195">
                  <c:v>0.53852327447833004</c:v>
                </c:pt>
                <c:pt idx="30196">
                  <c:v>0.538541109327626</c:v>
                </c:pt>
                <c:pt idx="30197">
                  <c:v>0.53855894417692096</c:v>
                </c:pt>
                <c:pt idx="30198">
                  <c:v>0.53857677902621703</c:v>
                </c:pt>
                <c:pt idx="30199">
                  <c:v>0.538594613875512</c:v>
                </c:pt>
                <c:pt idx="30200">
                  <c:v>0.53861244872480796</c:v>
                </c:pt>
                <c:pt idx="30201">
                  <c:v>0.53863028357410303</c:v>
                </c:pt>
                <c:pt idx="30202">
                  <c:v>0.53864811842339899</c:v>
                </c:pt>
                <c:pt idx="30203">
                  <c:v>0.53866595327269395</c:v>
                </c:pt>
                <c:pt idx="30204">
                  <c:v>0.53868378812199003</c:v>
                </c:pt>
                <c:pt idx="30205">
                  <c:v>0.53870162297128499</c:v>
                </c:pt>
                <c:pt idx="30206">
                  <c:v>0.53871945782058095</c:v>
                </c:pt>
                <c:pt idx="30207">
                  <c:v>0.53873729266987602</c:v>
                </c:pt>
                <c:pt idx="30208">
                  <c:v>0.53875512751917198</c:v>
                </c:pt>
                <c:pt idx="30209">
                  <c:v>0.53877296236846794</c:v>
                </c:pt>
                <c:pt idx="30210">
                  <c:v>0.53879079721776302</c:v>
                </c:pt>
                <c:pt idx="30211">
                  <c:v>0.53880863206705898</c:v>
                </c:pt>
                <c:pt idx="30212">
                  <c:v>0.53882646691635405</c:v>
                </c:pt>
                <c:pt idx="30213">
                  <c:v>0.53884430176565001</c:v>
                </c:pt>
                <c:pt idx="30214">
                  <c:v>0.53886213661494498</c:v>
                </c:pt>
                <c:pt idx="30215">
                  <c:v>0.53887997146424105</c:v>
                </c:pt>
                <c:pt idx="30216">
                  <c:v>0.53889780631353601</c:v>
                </c:pt>
                <c:pt idx="30217">
                  <c:v>0.53891564116283197</c:v>
                </c:pt>
                <c:pt idx="30218">
                  <c:v>0.53893347601212704</c:v>
                </c:pt>
                <c:pt idx="30219">
                  <c:v>0.53895131086142301</c:v>
                </c:pt>
                <c:pt idx="30220">
                  <c:v>0.53896914571071797</c:v>
                </c:pt>
                <c:pt idx="30221">
                  <c:v>0.53898698056001404</c:v>
                </c:pt>
                <c:pt idx="30222">
                  <c:v>0.539004815409309</c:v>
                </c:pt>
                <c:pt idx="30223">
                  <c:v>0.53902265025860496</c:v>
                </c:pt>
                <c:pt idx="30224">
                  <c:v>0.53904048510790004</c:v>
                </c:pt>
                <c:pt idx="30225">
                  <c:v>0.539058319957196</c:v>
                </c:pt>
                <c:pt idx="30226">
                  <c:v>0.53907615480649096</c:v>
                </c:pt>
                <c:pt idx="30227">
                  <c:v>0.53909398965578703</c:v>
                </c:pt>
                <c:pt idx="30228">
                  <c:v>0.53911182450508199</c:v>
                </c:pt>
                <c:pt idx="30229">
                  <c:v>0.53912965935437795</c:v>
                </c:pt>
                <c:pt idx="30230">
                  <c:v>0.53914749420367403</c:v>
                </c:pt>
                <c:pt idx="30231">
                  <c:v>0.53916532905296899</c:v>
                </c:pt>
                <c:pt idx="30232">
                  <c:v>0.53918316390226495</c:v>
                </c:pt>
                <c:pt idx="30233">
                  <c:v>0.53920099875156002</c:v>
                </c:pt>
                <c:pt idx="30234">
                  <c:v>0.53921883360085598</c:v>
                </c:pt>
                <c:pt idx="30235">
                  <c:v>0.53923666845015095</c:v>
                </c:pt>
                <c:pt idx="30236">
                  <c:v>0.53925450329944702</c:v>
                </c:pt>
                <c:pt idx="30237">
                  <c:v>0.53927233814874198</c:v>
                </c:pt>
                <c:pt idx="30238">
                  <c:v>0.53929017299803805</c:v>
                </c:pt>
                <c:pt idx="30239">
                  <c:v>0.53930800784733302</c:v>
                </c:pt>
                <c:pt idx="30240">
                  <c:v>0.53932584269662898</c:v>
                </c:pt>
                <c:pt idx="30241">
                  <c:v>0.53934367754592405</c:v>
                </c:pt>
                <c:pt idx="30242">
                  <c:v>0.53936151239522001</c:v>
                </c:pt>
                <c:pt idx="30243">
                  <c:v>0.53937934724451497</c:v>
                </c:pt>
                <c:pt idx="30244">
                  <c:v>0.53939718209381105</c:v>
                </c:pt>
                <c:pt idx="30245">
                  <c:v>0.53941501694310601</c:v>
                </c:pt>
                <c:pt idx="30246">
                  <c:v>0.53943285179240197</c:v>
                </c:pt>
                <c:pt idx="30247">
                  <c:v>0.53945068664169704</c:v>
                </c:pt>
                <c:pt idx="30248">
                  <c:v>0.539468521490993</c:v>
                </c:pt>
                <c:pt idx="30249">
                  <c:v>0.53948635634028896</c:v>
                </c:pt>
                <c:pt idx="30250">
                  <c:v>0.53950419118958404</c:v>
                </c:pt>
                <c:pt idx="30251">
                  <c:v>0.53952202603888</c:v>
                </c:pt>
                <c:pt idx="30252">
                  <c:v>0.53953986088817496</c:v>
                </c:pt>
                <c:pt idx="30253">
                  <c:v>0.53955769573747103</c:v>
                </c:pt>
                <c:pt idx="30254">
                  <c:v>0.53957553058676599</c:v>
                </c:pt>
                <c:pt idx="30255">
                  <c:v>0.53959336543606196</c:v>
                </c:pt>
                <c:pt idx="30256">
                  <c:v>0.53961120028535703</c:v>
                </c:pt>
                <c:pt idx="30257">
                  <c:v>0.53962903513465299</c:v>
                </c:pt>
                <c:pt idx="30258">
                  <c:v>0.53964686998394795</c:v>
                </c:pt>
                <c:pt idx="30259">
                  <c:v>0.53966470483324402</c:v>
                </c:pt>
                <c:pt idx="30260">
                  <c:v>0.53968253968253899</c:v>
                </c:pt>
                <c:pt idx="30261">
                  <c:v>0.53970037453183495</c:v>
                </c:pt>
                <c:pt idx="30262">
                  <c:v>0.53971820938113002</c:v>
                </c:pt>
                <c:pt idx="30263">
                  <c:v>0.53973604423042598</c:v>
                </c:pt>
                <c:pt idx="30264">
                  <c:v>0.53975387907972106</c:v>
                </c:pt>
                <c:pt idx="30265">
                  <c:v>0.53977171392901702</c:v>
                </c:pt>
                <c:pt idx="30266">
                  <c:v>0.53978954877831198</c:v>
                </c:pt>
                <c:pt idx="30267">
                  <c:v>0.53980738362760805</c:v>
                </c:pt>
                <c:pt idx="30268">
                  <c:v>0.53982521847690301</c:v>
                </c:pt>
                <c:pt idx="30269">
                  <c:v>0.53984305332619897</c:v>
                </c:pt>
                <c:pt idx="30270">
                  <c:v>0.53986088817549405</c:v>
                </c:pt>
                <c:pt idx="30271">
                  <c:v>0.53987872302479001</c:v>
                </c:pt>
                <c:pt idx="30272">
                  <c:v>0.53989655787408597</c:v>
                </c:pt>
                <c:pt idx="30273">
                  <c:v>0.53991439272338104</c:v>
                </c:pt>
                <c:pt idx="30274">
                  <c:v>0.539932227572677</c:v>
                </c:pt>
                <c:pt idx="30275">
                  <c:v>0.53995006242197197</c:v>
                </c:pt>
                <c:pt idx="30276">
                  <c:v>0.53996789727126804</c:v>
                </c:pt>
                <c:pt idx="30277">
                  <c:v>0.539985732120563</c:v>
                </c:pt>
                <c:pt idx="30278">
                  <c:v>0.54000356696985896</c:v>
                </c:pt>
                <c:pt idx="30279">
                  <c:v>0.54002140181915403</c:v>
                </c:pt>
                <c:pt idx="30280">
                  <c:v>0.54003923666845</c:v>
                </c:pt>
                <c:pt idx="30281">
                  <c:v>0.54005707151774496</c:v>
                </c:pt>
                <c:pt idx="30282">
                  <c:v>0.54007490636704103</c:v>
                </c:pt>
                <c:pt idx="30283">
                  <c:v>0.54009274121633599</c:v>
                </c:pt>
                <c:pt idx="30284">
                  <c:v>0.54011057606563195</c:v>
                </c:pt>
                <c:pt idx="30285">
                  <c:v>0.54012841091492703</c:v>
                </c:pt>
                <c:pt idx="30286">
                  <c:v>0.54014624576422299</c:v>
                </c:pt>
                <c:pt idx="30287">
                  <c:v>0.54016408061351795</c:v>
                </c:pt>
                <c:pt idx="30288">
                  <c:v>0.54018191546281402</c:v>
                </c:pt>
                <c:pt idx="30289">
                  <c:v>0.54019975031210898</c:v>
                </c:pt>
                <c:pt idx="30290">
                  <c:v>0.54021758516140495</c:v>
                </c:pt>
                <c:pt idx="30291">
                  <c:v>0.54023542001070002</c:v>
                </c:pt>
                <c:pt idx="30292">
                  <c:v>0.54025325485999598</c:v>
                </c:pt>
                <c:pt idx="30293">
                  <c:v>0.54027108970929105</c:v>
                </c:pt>
                <c:pt idx="30294">
                  <c:v>0.54028892455858701</c:v>
                </c:pt>
                <c:pt idx="30295">
                  <c:v>0.54030675940788297</c:v>
                </c:pt>
                <c:pt idx="30296">
                  <c:v>0.54032459425717805</c:v>
                </c:pt>
                <c:pt idx="30297">
                  <c:v>0.54034242910647401</c:v>
                </c:pt>
                <c:pt idx="30298">
                  <c:v>0.54036026395576897</c:v>
                </c:pt>
                <c:pt idx="30299">
                  <c:v>0.54037809880506504</c:v>
                </c:pt>
                <c:pt idx="30300">
                  <c:v>0.54039593365436001</c:v>
                </c:pt>
                <c:pt idx="30301">
                  <c:v>0.54041376850365597</c:v>
                </c:pt>
                <c:pt idx="30302">
                  <c:v>0.54043160335295104</c:v>
                </c:pt>
                <c:pt idx="30303">
                  <c:v>0.540449438202247</c:v>
                </c:pt>
                <c:pt idx="30304">
                  <c:v>0.54046727305154196</c:v>
                </c:pt>
                <c:pt idx="30305">
                  <c:v>0.54048510790083804</c:v>
                </c:pt>
                <c:pt idx="30306">
                  <c:v>0.540502942750133</c:v>
                </c:pt>
                <c:pt idx="30307">
                  <c:v>0.54052077759942896</c:v>
                </c:pt>
                <c:pt idx="30308">
                  <c:v>0.54053861244872403</c:v>
                </c:pt>
                <c:pt idx="30309">
                  <c:v>0.54055644729801999</c:v>
                </c:pt>
                <c:pt idx="30310">
                  <c:v>0.54057428214731496</c:v>
                </c:pt>
                <c:pt idx="30311">
                  <c:v>0.54059211699661103</c:v>
                </c:pt>
                <c:pt idx="30312">
                  <c:v>0.54060995184590599</c:v>
                </c:pt>
                <c:pt idx="30313">
                  <c:v>0.54062778669520195</c:v>
                </c:pt>
                <c:pt idx="30314">
                  <c:v>0.54064562154449702</c:v>
                </c:pt>
                <c:pt idx="30315">
                  <c:v>0.54066345639379298</c:v>
                </c:pt>
                <c:pt idx="30316">
                  <c:v>0.54068129124308895</c:v>
                </c:pt>
                <c:pt idx="30317">
                  <c:v>0.54069912609238402</c:v>
                </c:pt>
                <c:pt idx="30318">
                  <c:v>0.54071696094167998</c:v>
                </c:pt>
                <c:pt idx="30319">
                  <c:v>0.54073479579097505</c:v>
                </c:pt>
                <c:pt idx="30320">
                  <c:v>0.54075263064027101</c:v>
                </c:pt>
                <c:pt idx="30321">
                  <c:v>0.54077046548956598</c:v>
                </c:pt>
                <c:pt idx="30322">
                  <c:v>0.54078830033886205</c:v>
                </c:pt>
                <c:pt idx="30323">
                  <c:v>0.54080613518815701</c:v>
                </c:pt>
                <c:pt idx="30324">
                  <c:v>0.54082397003745297</c:v>
                </c:pt>
                <c:pt idx="30325">
                  <c:v>0.54084180488674805</c:v>
                </c:pt>
                <c:pt idx="30326">
                  <c:v>0.54085963973604401</c:v>
                </c:pt>
                <c:pt idx="30327">
                  <c:v>0.54087747458533897</c:v>
                </c:pt>
                <c:pt idx="30328">
                  <c:v>0.54089530943463504</c:v>
                </c:pt>
                <c:pt idx="30329">
                  <c:v>0.54091314428393</c:v>
                </c:pt>
                <c:pt idx="30330">
                  <c:v>0.54093097913322596</c:v>
                </c:pt>
                <c:pt idx="30331">
                  <c:v>0.54094881398252104</c:v>
                </c:pt>
                <c:pt idx="30332">
                  <c:v>0.540966648831817</c:v>
                </c:pt>
                <c:pt idx="30333">
                  <c:v>0.54098448368111196</c:v>
                </c:pt>
                <c:pt idx="30334">
                  <c:v>0.54100231853040803</c:v>
                </c:pt>
                <c:pt idx="30335">
                  <c:v>0.54102015337970399</c:v>
                </c:pt>
                <c:pt idx="30336">
                  <c:v>0.54103798822899896</c:v>
                </c:pt>
                <c:pt idx="30337">
                  <c:v>0.54105582307829503</c:v>
                </c:pt>
                <c:pt idx="30338">
                  <c:v>0.54107365792758999</c:v>
                </c:pt>
                <c:pt idx="30339">
                  <c:v>0.54109149277688595</c:v>
                </c:pt>
                <c:pt idx="30340">
                  <c:v>0.54110932762618102</c:v>
                </c:pt>
                <c:pt idx="30341">
                  <c:v>0.54112716247547699</c:v>
                </c:pt>
                <c:pt idx="30342">
                  <c:v>0.54114499732477195</c:v>
                </c:pt>
                <c:pt idx="30343">
                  <c:v>0.54116283217406802</c:v>
                </c:pt>
                <c:pt idx="30344">
                  <c:v>0.54118066702336298</c:v>
                </c:pt>
                <c:pt idx="30345">
                  <c:v>0.54119850187265905</c:v>
                </c:pt>
                <c:pt idx="30346">
                  <c:v>0.54121633672195402</c:v>
                </c:pt>
                <c:pt idx="30347">
                  <c:v>0.54123417157124998</c:v>
                </c:pt>
                <c:pt idx="30348">
                  <c:v>0.54125200642054505</c:v>
                </c:pt>
                <c:pt idx="30349">
                  <c:v>0.54126984126984101</c:v>
                </c:pt>
                <c:pt idx="30350">
                  <c:v>0.54128767611913597</c:v>
                </c:pt>
                <c:pt idx="30351">
                  <c:v>0.54130551096843205</c:v>
                </c:pt>
                <c:pt idx="30352">
                  <c:v>0.54132334581772701</c:v>
                </c:pt>
                <c:pt idx="30353">
                  <c:v>0.54134118066702297</c:v>
                </c:pt>
                <c:pt idx="30354">
                  <c:v>0.54135901551631804</c:v>
                </c:pt>
                <c:pt idx="30355">
                  <c:v>0.541376850365614</c:v>
                </c:pt>
                <c:pt idx="30356">
                  <c:v>0.54139468521490997</c:v>
                </c:pt>
                <c:pt idx="30357">
                  <c:v>0.54141252006420504</c:v>
                </c:pt>
                <c:pt idx="30358">
                  <c:v>0.541430354913501</c:v>
                </c:pt>
                <c:pt idx="30359">
                  <c:v>0.54144818976279596</c:v>
                </c:pt>
                <c:pt idx="30360">
                  <c:v>0.54146602461209203</c:v>
                </c:pt>
                <c:pt idx="30361">
                  <c:v>0.541483859461387</c:v>
                </c:pt>
                <c:pt idx="30362">
                  <c:v>0.54150169431068296</c:v>
                </c:pt>
                <c:pt idx="30363">
                  <c:v>0.54151952915997803</c:v>
                </c:pt>
                <c:pt idx="30364">
                  <c:v>0.54153736400927399</c:v>
                </c:pt>
                <c:pt idx="30365">
                  <c:v>0.54155519885856895</c:v>
                </c:pt>
                <c:pt idx="30366">
                  <c:v>0.54157303370786503</c:v>
                </c:pt>
                <c:pt idx="30367">
                  <c:v>0.54159086855715999</c:v>
                </c:pt>
                <c:pt idx="30368">
                  <c:v>0.54160870340645595</c:v>
                </c:pt>
                <c:pt idx="30369">
                  <c:v>0.54162653825575102</c:v>
                </c:pt>
                <c:pt idx="30370">
                  <c:v>0.54164437310504698</c:v>
                </c:pt>
                <c:pt idx="30371">
                  <c:v>0.54166220795434195</c:v>
                </c:pt>
                <c:pt idx="30372">
                  <c:v>0.54168004280363802</c:v>
                </c:pt>
                <c:pt idx="30373">
                  <c:v>0.54169787765293298</c:v>
                </c:pt>
                <c:pt idx="30374">
                  <c:v>0.54171571250222905</c:v>
                </c:pt>
                <c:pt idx="30375">
                  <c:v>0.54173354735152401</c:v>
                </c:pt>
                <c:pt idx="30376">
                  <c:v>0.54175138220081998</c:v>
                </c:pt>
                <c:pt idx="30377">
                  <c:v>0.54176921705011505</c:v>
                </c:pt>
                <c:pt idx="30378">
                  <c:v>0.54178705189941101</c:v>
                </c:pt>
                <c:pt idx="30379">
                  <c:v>0.54180488674870697</c:v>
                </c:pt>
                <c:pt idx="30380">
                  <c:v>0.54182272159800204</c:v>
                </c:pt>
                <c:pt idx="30381">
                  <c:v>0.54184055644729801</c:v>
                </c:pt>
                <c:pt idx="30382">
                  <c:v>0.54185839129659297</c:v>
                </c:pt>
                <c:pt idx="30383">
                  <c:v>0.54187622614588904</c:v>
                </c:pt>
                <c:pt idx="30384">
                  <c:v>0.541894060995184</c:v>
                </c:pt>
                <c:pt idx="30385">
                  <c:v>0.54191189584447996</c:v>
                </c:pt>
                <c:pt idx="30386">
                  <c:v>0.54192973069377504</c:v>
                </c:pt>
                <c:pt idx="30387">
                  <c:v>0.541947565543071</c:v>
                </c:pt>
                <c:pt idx="30388">
                  <c:v>0.54196540039236596</c:v>
                </c:pt>
                <c:pt idx="30389">
                  <c:v>0.54198323524166203</c:v>
                </c:pt>
                <c:pt idx="30390">
                  <c:v>0.54200107009095699</c:v>
                </c:pt>
                <c:pt idx="30391">
                  <c:v>0.54201890494025295</c:v>
                </c:pt>
                <c:pt idx="30392">
                  <c:v>0.54203673978954803</c:v>
                </c:pt>
                <c:pt idx="30393">
                  <c:v>0.54205457463884399</c:v>
                </c:pt>
                <c:pt idx="30394">
                  <c:v>0.54207240948813895</c:v>
                </c:pt>
                <c:pt idx="30395">
                  <c:v>0.54209024433743502</c:v>
                </c:pt>
                <c:pt idx="30396">
                  <c:v>0.54210807918672999</c:v>
                </c:pt>
                <c:pt idx="30397">
                  <c:v>0.54212591403602595</c:v>
                </c:pt>
                <c:pt idx="30398">
                  <c:v>0.54214374888532102</c:v>
                </c:pt>
                <c:pt idx="30399">
                  <c:v>0.54216158373461698</c:v>
                </c:pt>
                <c:pt idx="30400">
                  <c:v>0.54217941858391205</c:v>
                </c:pt>
                <c:pt idx="30401">
                  <c:v>0.54219725343320802</c:v>
                </c:pt>
                <c:pt idx="30402">
                  <c:v>0.54221508828250398</c:v>
                </c:pt>
                <c:pt idx="30403">
                  <c:v>0.54223292313179905</c:v>
                </c:pt>
                <c:pt idx="30404">
                  <c:v>0.54225075798109501</c:v>
                </c:pt>
                <c:pt idx="30405">
                  <c:v>0.54226859283038997</c:v>
                </c:pt>
                <c:pt idx="30406">
                  <c:v>0.54228642767968604</c:v>
                </c:pt>
                <c:pt idx="30407">
                  <c:v>0.54230426252898101</c:v>
                </c:pt>
                <c:pt idx="30408">
                  <c:v>0.54232209737827697</c:v>
                </c:pt>
                <c:pt idx="30409">
                  <c:v>0.54233993222757204</c:v>
                </c:pt>
                <c:pt idx="30410">
                  <c:v>0.542357767076868</c:v>
                </c:pt>
                <c:pt idx="30411">
                  <c:v>0.54237560192616296</c:v>
                </c:pt>
                <c:pt idx="30412">
                  <c:v>0.54239343677545904</c:v>
                </c:pt>
                <c:pt idx="30413">
                  <c:v>0.542411271624754</c:v>
                </c:pt>
                <c:pt idx="30414">
                  <c:v>0.54242910647404996</c:v>
                </c:pt>
                <c:pt idx="30415">
                  <c:v>0.54244694132334503</c:v>
                </c:pt>
                <c:pt idx="30416">
                  <c:v>0.54246477617264099</c:v>
                </c:pt>
                <c:pt idx="30417">
                  <c:v>0.54248261102193596</c:v>
                </c:pt>
                <c:pt idx="30418">
                  <c:v>0.54250044587123203</c:v>
                </c:pt>
                <c:pt idx="30419">
                  <c:v>0.54251828072052699</c:v>
                </c:pt>
                <c:pt idx="30420">
                  <c:v>0.54253611556982295</c:v>
                </c:pt>
                <c:pt idx="30421">
                  <c:v>0.54255395041911803</c:v>
                </c:pt>
                <c:pt idx="30422">
                  <c:v>0.54257178526841399</c:v>
                </c:pt>
                <c:pt idx="30423">
                  <c:v>0.54258962011770995</c:v>
                </c:pt>
                <c:pt idx="30424">
                  <c:v>0.54260745496700502</c:v>
                </c:pt>
                <c:pt idx="30425">
                  <c:v>0.54262528981630098</c:v>
                </c:pt>
                <c:pt idx="30426">
                  <c:v>0.54264312466559605</c:v>
                </c:pt>
                <c:pt idx="30427">
                  <c:v>0.54266095951489202</c:v>
                </c:pt>
                <c:pt idx="30428">
                  <c:v>0.54267879436418698</c:v>
                </c:pt>
                <c:pt idx="30429">
                  <c:v>0.54269662921348305</c:v>
                </c:pt>
                <c:pt idx="30430">
                  <c:v>0.54271446406277801</c:v>
                </c:pt>
                <c:pt idx="30431">
                  <c:v>0.54273229891207397</c:v>
                </c:pt>
                <c:pt idx="30432">
                  <c:v>0.54275013376136905</c:v>
                </c:pt>
                <c:pt idx="30433">
                  <c:v>0.54276796861066501</c:v>
                </c:pt>
                <c:pt idx="30434">
                  <c:v>0.54278580345995997</c:v>
                </c:pt>
                <c:pt idx="30435">
                  <c:v>0.54280363830925604</c:v>
                </c:pt>
                <c:pt idx="30436">
                  <c:v>0.542821473158551</c:v>
                </c:pt>
                <c:pt idx="30437">
                  <c:v>0.54283930800784697</c:v>
                </c:pt>
                <c:pt idx="30438">
                  <c:v>0.54285714285714204</c:v>
                </c:pt>
                <c:pt idx="30439">
                  <c:v>0.542874977706438</c:v>
                </c:pt>
                <c:pt idx="30440">
                  <c:v>0.54289281255573296</c:v>
                </c:pt>
                <c:pt idx="30441">
                  <c:v>0.54291064740502903</c:v>
                </c:pt>
                <c:pt idx="30442">
                  <c:v>0.542928482254325</c:v>
                </c:pt>
                <c:pt idx="30443">
                  <c:v>0.54294631710361996</c:v>
                </c:pt>
                <c:pt idx="30444">
                  <c:v>0.54296415195291603</c:v>
                </c:pt>
                <c:pt idx="30445">
                  <c:v>0.54298198680221099</c:v>
                </c:pt>
                <c:pt idx="30446">
                  <c:v>0.54299982165150695</c:v>
                </c:pt>
                <c:pt idx="30447">
                  <c:v>0.54301765650080203</c:v>
                </c:pt>
                <c:pt idx="30448">
                  <c:v>0.54303549135009799</c:v>
                </c:pt>
                <c:pt idx="30449">
                  <c:v>0.54305332619939295</c:v>
                </c:pt>
                <c:pt idx="30450">
                  <c:v>0.54307116104868902</c:v>
                </c:pt>
                <c:pt idx="30451">
                  <c:v>0.54308899589798398</c:v>
                </c:pt>
                <c:pt idx="30452">
                  <c:v>0.54310683074727995</c:v>
                </c:pt>
                <c:pt idx="30453">
                  <c:v>0.54312466559657502</c:v>
                </c:pt>
                <c:pt idx="30454">
                  <c:v>0.54314250044587098</c:v>
                </c:pt>
                <c:pt idx="30455">
                  <c:v>0.54316033529516605</c:v>
                </c:pt>
                <c:pt idx="30456">
                  <c:v>0.54317817014446201</c:v>
                </c:pt>
                <c:pt idx="30457">
                  <c:v>0.54319600499375698</c:v>
                </c:pt>
                <c:pt idx="30458">
                  <c:v>0.54321383984305305</c:v>
                </c:pt>
                <c:pt idx="30459">
                  <c:v>0.54323167469234801</c:v>
                </c:pt>
                <c:pt idx="30460">
                  <c:v>0.54324950954164397</c:v>
                </c:pt>
                <c:pt idx="30461">
                  <c:v>0.54326734439093904</c:v>
                </c:pt>
                <c:pt idx="30462">
                  <c:v>0.54328517924023501</c:v>
                </c:pt>
                <c:pt idx="30463">
                  <c:v>0.54330301408953097</c:v>
                </c:pt>
                <c:pt idx="30464">
                  <c:v>0.54332084893882604</c:v>
                </c:pt>
                <c:pt idx="30465">
                  <c:v>0.543338683788122</c:v>
                </c:pt>
                <c:pt idx="30466">
                  <c:v>0.54335651863741696</c:v>
                </c:pt>
                <c:pt idx="30467">
                  <c:v>0.54337435348671304</c:v>
                </c:pt>
                <c:pt idx="30468">
                  <c:v>0.543392188336008</c:v>
                </c:pt>
                <c:pt idx="30469">
                  <c:v>0.54341002318530396</c:v>
                </c:pt>
                <c:pt idx="30470">
                  <c:v>0.54342785803459903</c:v>
                </c:pt>
                <c:pt idx="30471">
                  <c:v>0.54344569288389499</c:v>
                </c:pt>
                <c:pt idx="30472">
                  <c:v>0.54346352773318995</c:v>
                </c:pt>
                <c:pt idx="30473">
                  <c:v>0.54348136258248603</c:v>
                </c:pt>
                <c:pt idx="30474">
                  <c:v>0.54349919743178099</c:v>
                </c:pt>
                <c:pt idx="30475">
                  <c:v>0.54351703228107695</c:v>
                </c:pt>
                <c:pt idx="30476">
                  <c:v>0.54353486713037202</c:v>
                </c:pt>
                <c:pt idx="30477">
                  <c:v>0.54355270197966798</c:v>
                </c:pt>
                <c:pt idx="30478">
                  <c:v>0.54357053682896295</c:v>
                </c:pt>
                <c:pt idx="30479">
                  <c:v>0.54358837167825902</c:v>
                </c:pt>
                <c:pt idx="30480">
                  <c:v>0.54360620652755398</c:v>
                </c:pt>
                <c:pt idx="30481">
                  <c:v>0.54362404137685005</c:v>
                </c:pt>
                <c:pt idx="30482">
                  <c:v>0.54364187622614502</c:v>
                </c:pt>
                <c:pt idx="30483">
                  <c:v>0.54365971107544098</c:v>
                </c:pt>
                <c:pt idx="30484">
                  <c:v>0.54367754592473605</c:v>
                </c:pt>
                <c:pt idx="30485">
                  <c:v>0.54369538077403201</c:v>
                </c:pt>
                <c:pt idx="30486">
                  <c:v>0.54371321562332797</c:v>
                </c:pt>
                <c:pt idx="30487">
                  <c:v>0.54373105047262305</c:v>
                </c:pt>
                <c:pt idx="30488">
                  <c:v>0.54374888532191901</c:v>
                </c:pt>
                <c:pt idx="30489">
                  <c:v>0.54376672017121397</c:v>
                </c:pt>
                <c:pt idx="30490">
                  <c:v>0.54378455502051004</c:v>
                </c:pt>
                <c:pt idx="30491">
                  <c:v>0.543802389869805</c:v>
                </c:pt>
                <c:pt idx="30492">
                  <c:v>0.54382022471910096</c:v>
                </c:pt>
                <c:pt idx="30493">
                  <c:v>0.54383805956839604</c:v>
                </c:pt>
                <c:pt idx="30494">
                  <c:v>0.543855894417692</c:v>
                </c:pt>
                <c:pt idx="30495">
                  <c:v>0.54387372926698696</c:v>
                </c:pt>
                <c:pt idx="30496">
                  <c:v>0.54389156411628303</c:v>
                </c:pt>
                <c:pt idx="30497">
                  <c:v>0.54390939896557799</c:v>
                </c:pt>
                <c:pt idx="30498">
                  <c:v>0.54392723381487396</c:v>
                </c:pt>
                <c:pt idx="30499">
                  <c:v>0.54394506866416903</c:v>
                </c:pt>
                <c:pt idx="30500">
                  <c:v>0.54396290351346499</c:v>
                </c:pt>
                <c:pt idx="30501">
                  <c:v>0.54398073836275995</c:v>
                </c:pt>
                <c:pt idx="30502">
                  <c:v>0.54399857321205602</c:v>
                </c:pt>
                <c:pt idx="30503">
                  <c:v>0.54401640806135099</c:v>
                </c:pt>
                <c:pt idx="30504">
                  <c:v>0.54403424291064695</c:v>
                </c:pt>
                <c:pt idx="30505">
                  <c:v>0.54405207775994202</c:v>
                </c:pt>
                <c:pt idx="30506">
                  <c:v>0.54406991260923798</c:v>
                </c:pt>
                <c:pt idx="30507">
                  <c:v>0.54408774745853306</c:v>
                </c:pt>
                <c:pt idx="30508">
                  <c:v>0.54410558230782902</c:v>
                </c:pt>
                <c:pt idx="30509">
                  <c:v>0.54412341715712498</c:v>
                </c:pt>
                <c:pt idx="30510">
                  <c:v>0.54414125200642005</c:v>
                </c:pt>
                <c:pt idx="30511">
                  <c:v>0.54415908685571601</c:v>
                </c:pt>
                <c:pt idx="30512">
                  <c:v>0.54417692170501097</c:v>
                </c:pt>
                <c:pt idx="30513">
                  <c:v>0.54419475655430705</c:v>
                </c:pt>
                <c:pt idx="30514">
                  <c:v>0.54421259140360201</c:v>
                </c:pt>
                <c:pt idx="30515">
                  <c:v>0.54423042625289797</c:v>
                </c:pt>
                <c:pt idx="30516">
                  <c:v>0.54424826110219304</c:v>
                </c:pt>
                <c:pt idx="30517">
                  <c:v>0.544266095951489</c:v>
                </c:pt>
                <c:pt idx="30518">
                  <c:v>0.54428393080078397</c:v>
                </c:pt>
                <c:pt idx="30519">
                  <c:v>0.54430176565008004</c:v>
                </c:pt>
                <c:pt idx="30520">
                  <c:v>0.544319600499375</c:v>
                </c:pt>
                <c:pt idx="30521">
                  <c:v>0.54433743534867096</c:v>
                </c:pt>
                <c:pt idx="30522">
                  <c:v>0.54435527019796603</c:v>
                </c:pt>
                <c:pt idx="30523">
                  <c:v>0.544373105047262</c:v>
                </c:pt>
                <c:pt idx="30524">
                  <c:v>0.54439093989655696</c:v>
                </c:pt>
                <c:pt idx="30525">
                  <c:v>0.54440877474585303</c:v>
                </c:pt>
                <c:pt idx="30526">
                  <c:v>0.54442660959514799</c:v>
                </c:pt>
                <c:pt idx="30527">
                  <c:v>0.54444444444444395</c:v>
                </c:pt>
                <c:pt idx="30528">
                  <c:v>0.54446227929373903</c:v>
                </c:pt>
                <c:pt idx="30529">
                  <c:v>0.54448011414303499</c:v>
                </c:pt>
                <c:pt idx="30530">
                  <c:v>0.54449794899233095</c:v>
                </c:pt>
                <c:pt idx="30531">
                  <c:v>0.54451578384162602</c:v>
                </c:pt>
                <c:pt idx="30532">
                  <c:v>0.54453361869092198</c:v>
                </c:pt>
                <c:pt idx="30533">
                  <c:v>0.54455145354021695</c:v>
                </c:pt>
                <c:pt idx="30534">
                  <c:v>0.54456928838951302</c:v>
                </c:pt>
                <c:pt idx="30535">
                  <c:v>0.54458712323880798</c:v>
                </c:pt>
                <c:pt idx="30536">
                  <c:v>0.54460495808810405</c:v>
                </c:pt>
                <c:pt idx="30537">
                  <c:v>0.54462279293739901</c:v>
                </c:pt>
                <c:pt idx="30538">
                  <c:v>0.54464062778669498</c:v>
                </c:pt>
                <c:pt idx="30539">
                  <c:v>0.54465846263599005</c:v>
                </c:pt>
                <c:pt idx="30540">
                  <c:v>0.54467629748528601</c:v>
                </c:pt>
                <c:pt idx="30541">
                  <c:v>0.54469413233458097</c:v>
                </c:pt>
                <c:pt idx="30542">
                  <c:v>0.54471196718387704</c:v>
                </c:pt>
                <c:pt idx="30543">
                  <c:v>0.54472980203317201</c:v>
                </c:pt>
                <c:pt idx="30544">
                  <c:v>0.54474763688246797</c:v>
                </c:pt>
                <c:pt idx="30545">
                  <c:v>0.54476547173176304</c:v>
                </c:pt>
                <c:pt idx="30546">
                  <c:v>0.544783306581059</c:v>
                </c:pt>
                <c:pt idx="30547">
                  <c:v>0.54480114143035496</c:v>
                </c:pt>
                <c:pt idx="30548">
                  <c:v>0.54481897627965004</c:v>
                </c:pt>
                <c:pt idx="30549">
                  <c:v>0.544836811128946</c:v>
                </c:pt>
                <c:pt idx="30550">
                  <c:v>0.54485464597824096</c:v>
                </c:pt>
                <c:pt idx="30551">
                  <c:v>0.54487248082753703</c:v>
                </c:pt>
                <c:pt idx="30552">
                  <c:v>0.54489031567683199</c:v>
                </c:pt>
                <c:pt idx="30553">
                  <c:v>0.54490815052612795</c:v>
                </c:pt>
                <c:pt idx="30554">
                  <c:v>0.54492598537542303</c:v>
                </c:pt>
                <c:pt idx="30555">
                  <c:v>0.54494382022471899</c:v>
                </c:pt>
                <c:pt idx="30556">
                  <c:v>0.54496165507401395</c:v>
                </c:pt>
                <c:pt idx="30557">
                  <c:v>0.54497948992331002</c:v>
                </c:pt>
                <c:pt idx="30558">
                  <c:v>0.54499732477260499</c:v>
                </c:pt>
                <c:pt idx="30559">
                  <c:v>0.54501515962190095</c:v>
                </c:pt>
                <c:pt idx="30560">
                  <c:v>0.54503299447119602</c:v>
                </c:pt>
                <c:pt idx="30561">
                  <c:v>0.54505082932049198</c:v>
                </c:pt>
                <c:pt idx="30562">
                  <c:v>0.54506866416978705</c:v>
                </c:pt>
                <c:pt idx="30563">
                  <c:v>0.54508649901908302</c:v>
                </c:pt>
                <c:pt idx="30564">
                  <c:v>0.54510433386837798</c:v>
                </c:pt>
                <c:pt idx="30565">
                  <c:v>0.54512216871767405</c:v>
                </c:pt>
                <c:pt idx="30566">
                  <c:v>0.54514000356696901</c:v>
                </c:pt>
                <c:pt idx="30567">
                  <c:v>0.54515783841626497</c:v>
                </c:pt>
                <c:pt idx="30568">
                  <c:v>0.54517567326556005</c:v>
                </c:pt>
                <c:pt idx="30569">
                  <c:v>0.54519350811485601</c:v>
                </c:pt>
                <c:pt idx="30570">
                  <c:v>0.54521134296415197</c:v>
                </c:pt>
                <c:pt idx="30571">
                  <c:v>0.54522917781344704</c:v>
                </c:pt>
                <c:pt idx="30572">
                  <c:v>0.545247012662743</c:v>
                </c:pt>
                <c:pt idx="30573">
                  <c:v>0.54526484751203796</c:v>
                </c:pt>
                <c:pt idx="30574">
                  <c:v>0.54528268236133404</c:v>
                </c:pt>
                <c:pt idx="30575">
                  <c:v>0.545300517210629</c:v>
                </c:pt>
                <c:pt idx="30576">
                  <c:v>0.54531835205992496</c:v>
                </c:pt>
                <c:pt idx="30577">
                  <c:v>0.54533618690922003</c:v>
                </c:pt>
                <c:pt idx="30578">
                  <c:v>0.54535402175851599</c:v>
                </c:pt>
                <c:pt idx="30579">
                  <c:v>0.54537185660781096</c:v>
                </c:pt>
                <c:pt idx="30580">
                  <c:v>0.54538969145710703</c:v>
                </c:pt>
                <c:pt idx="30581">
                  <c:v>0.54540752630640199</c:v>
                </c:pt>
                <c:pt idx="30582">
                  <c:v>0.54542536115569795</c:v>
                </c:pt>
                <c:pt idx="30583">
                  <c:v>0.54544319600499303</c:v>
                </c:pt>
                <c:pt idx="30584">
                  <c:v>0.54546103085428899</c:v>
                </c:pt>
                <c:pt idx="30585">
                  <c:v>0.54547886570358395</c:v>
                </c:pt>
                <c:pt idx="30586">
                  <c:v>0.54549670055288002</c:v>
                </c:pt>
                <c:pt idx="30587">
                  <c:v>0.54551453540217498</c:v>
                </c:pt>
                <c:pt idx="30588">
                  <c:v>0.54553237025147105</c:v>
                </c:pt>
                <c:pt idx="30589">
                  <c:v>0.54555020510076602</c:v>
                </c:pt>
                <c:pt idx="30590">
                  <c:v>0.54556803995006198</c:v>
                </c:pt>
                <c:pt idx="30591">
                  <c:v>0.54558587479935705</c:v>
                </c:pt>
                <c:pt idx="30592">
                  <c:v>0.54560370964865301</c:v>
                </c:pt>
                <c:pt idx="30593">
                  <c:v>0.54562154449794897</c:v>
                </c:pt>
                <c:pt idx="30594">
                  <c:v>0.54563937934724405</c:v>
                </c:pt>
                <c:pt idx="30595">
                  <c:v>0.54565721419654001</c:v>
                </c:pt>
                <c:pt idx="30596">
                  <c:v>0.54567504904583497</c:v>
                </c:pt>
                <c:pt idx="30597">
                  <c:v>0.54569288389513104</c:v>
                </c:pt>
                <c:pt idx="30598">
                  <c:v>0.545710718744426</c:v>
                </c:pt>
                <c:pt idx="30599">
                  <c:v>0.54572855359372197</c:v>
                </c:pt>
                <c:pt idx="30600">
                  <c:v>0.54574638844301704</c:v>
                </c:pt>
                <c:pt idx="30601">
                  <c:v>0.545764223292313</c:v>
                </c:pt>
                <c:pt idx="30602">
                  <c:v>0.54578205814160796</c:v>
                </c:pt>
                <c:pt idx="30603">
                  <c:v>0.54579989299090403</c:v>
                </c:pt>
                <c:pt idx="30604">
                  <c:v>0.545817727840199</c:v>
                </c:pt>
                <c:pt idx="30605">
                  <c:v>0.54583556268949496</c:v>
                </c:pt>
                <c:pt idx="30606">
                  <c:v>0.54585339753879003</c:v>
                </c:pt>
                <c:pt idx="30607">
                  <c:v>0.54587123238808599</c:v>
                </c:pt>
                <c:pt idx="30608">
                  <c:v>0.54588906723738095</c:v>
                </c:pt>
                <c:pt idx="30609">
                  <c:v>0.54590690208667703</c:v>
                </c:pt>
                <c:pt idx="30610">
                  <c:v>0.54592473693597199</c:v>
                </c:pt>
                <c:pt idx="30611">
                  <c:v>0.54594257178526795</c:v>
                </c:pt>
                <c:pt idx="30612">
                  <c:v>0.54596040663456302</c:v>
                </c:pt>
                <c:pt idx="30613">
                  <c:v>0.54597824148385898</c:v>
                </c:pt>
                <c:pt idx="30614">
                  <c:v>0.54599607633315494</c:v>
                </c:pt>
                <c:pt idx="30615">
                  <c:v>0.54601391118245002</c:v>
                </c:pt>
                <c:pt idx="30616">
                  <c:v>0.54603174603174598</c:v>
                </c:pt>
                <c:pt idx="30617">
                  <c:v>0.54604958088104105</c:v>
                </c:pt>
                <c:pt idx="30618">
                  <c:v>0.54606741573033701</c:v>
                </c:pt>
                <c:pt idx="30619">
                  <c:v>0.54608525057963198</c:v>
                </c:pt>
                <c:pt idx="30620">
                  <c:v>0.54610308542892805</c:v>
                </c:pt>
                <c:pt idx="30621">
                  <c:v>0.54612092027822301</c:v>
                </c:pt>
                <c:pt idx="30622">
                  <c:v>0.54613875512751897</c:v>
                </c:pt>
                <c:pt idx="30623">
                  <c:v>0.54615658997681404</c:v>
                </c:pt>
                <c:pt idx="30624">
                  <c:v>0.54617442482611001</c:v>
                </c:pt>
                <c:pt idx="30625">
                  <c:v>0.54619225967540497</c:v>
                </c:pt>
                <c:pt idx="30626">
                  <c:v>0.54621009452470104</c:v>
                </c:pt>
                <c:pt idx="30627">
                  <c:v>0.546227929373996</c:v>
                </c:pt>
                <c:pt idx="30628">
                  <c:v>0.54624576422329196</c:v>
                </c:pt>
                <c:pt idx="30629">
                  <c:v>0.54626359907258704</c:v>
                </c:pt>
                <c:pt idx="30630">
                  <c:v>0.546281433921883</c:v>
                </c:pt>
                <c:pt idx="30631">
                  <c:v>0.54629926877117796</c:v>
                </c:pt>
                <c:pt idx="30632">
                  <c:v>0.54631710362047403</c:v>
                </c:pt>
                <c:pt idx="30633">
                  <c:v>0.54633493846976899</c:v>
                </c:pt>
                <c:pt idx="30634">
                  <c:v>0.54635277331906495</c:v>
                </c:pt>
                <c:pt idx="30635">
                  <c:v>0.54637060816836103</c:v>
                </c:pt>
                <c:pt idx="30636">
                  <c:v>0.54638844301765599</c:v>
                </c:pt>
                <c:pt idx="30637">
                  <c:v>0.54640627786695195</c:v>
                </c:pt>
                <c:pt idx="30638">
                  <c:v>0.54642411271624702</c:v>
                </c:pt>
                <c:pt idx="30639">
                  <c:v>0.54644194756554298</c:v>
                </c:pt>
                <c:pt idx="30640">
                  <c:v>0.54645978241483795</c:v>
                </c:pt>
                <c:pt idx="30641">
                  <c:v>0.54647761726413402</c:v>
                </c:pt>
                <c:pt idx="30642">
                  <c:v>0.54649545211342898</c:v>
                </c:pt>
                <c:pt idx="30643">
                  <c:v>0.54651328696272505</c:v>
                </c:pt>
                <c:pt idx="30644">
                  <c:v>0.54653112181202002</c:v>
                </c:pt>
                <c:pt idx="30645">
                  <c:v>0.54654895666131598</c:v>
                </c:pt>
                <c:pt idx="30646">
                  <c:v>0.54656679151061105</c:v>
                </c:pt>
                <c:pt idx="30647">
                  <c:v>0.54658462635990701</c:v>
                </c:pt>
                <c:pt idx="30648">
                  <c:v>0.54660246120920197</c:v>
                </c:pt>
                <c:pt idx="30649">
                  <c:v>0.54662029605849805</c:v>
                </c:pt>
                <c:pt idx="30650">
                  <c:v>0.54663813090779301</c:v>
                </c:pt>
                <c:pt idx="30651">
                  <c:v>0.54665596575708897</c:v>
                </c:pt>
                <c:pt idx="30652">
                  <c:v>0.54667380060638404</c:v>
                </c:pt>
                <c:pt idx="30653">
                  <c:v>0.54669163545568</c:v>
                </c:pt>
                <c:pt idx="30654">
                  <c:v>0.54670947030497596</c:v>
                </c:pt>
                <c:pt idx="30655">
                  <c:v>0.54672730515427104</c:v>
                </c:pt>
                <c:pt idx="30656">
                  <c:v>0.546745140003567</c:v>
                </c:pt>
                <c:pt idx="30657">
                  <c:v>0.54676297485286196</c:v>
                </c:pt>
                <c:pt idx="30658">
                  <c:v>0.54678080970215803</c:v>
                </c:pt>
                <c:pt idx="30659">
                  <c:v>0.54679864455145299</c:v>
                </c:pt>
                <c:pt idx="30660">
                  <c:v>0.54681647940074896</c:v>
                </c:pt>
                <c:pt idx="30661">
                  <c:v>0.54683431425004403</c:v>
                </c:pt>
                <c:pt idx="30662">
                  <c:v>0.54685214909933999</c:v>
                </c:pt>
                <c:pt idx="30663">
                  <c:v>0.54686998394863495</c:v>
                </c:pt>
                <c:pt idx="30664">
                  <c:v>0.54688781879793102</c:v>
                </c:pt>
                <c:pt idx="30665">
                  <c:v>0.54690565364722599</c:v>
                </c:pt>
                <c:pt idx="30666">
                  <c:v>0.54692348849652195</c:v>
                </c:pt>
                <c:pt idx="30667">
                  <c:v>0.54694132334581702</c:v>
                </c:pt>
                <c:pt idx="30668">
                  <c:v>0.54695915819511298</c:v>
                </c:pt>
                <c:pt idx="30669">
                  <c:v>0.54697699304440806</c:v>
                </c:pt>
                <c:pt idx="30670">
                  <c:v>0.54699482789370402</c:v>
                </c:pt>
                <c:pt idx="30671">
                  <c:v>0.54701266274299898</c:v>
                </c:pt>
                <c:pt idx="30672">
                  <c:v>0.54703049759229505</c:v>
                </c:pt>
                <c:pt idx="30673">
                  <c:v>0.54704833244159001</c:v>
                </c:pt>
                <c:pt idx="30674">
                  <c:v>0.54706616729088597</c:v>
                </c:pt>
                <c:pt idx="30675">
                  <c:v>0.54708400214018105</c:v>
                </c:pt>
                <c:pt idx="30676">
                  <c:v>0.54710183698947701</c:v>
                </c:pt>
                <c:pt idx="30677">
                  <c:v>0.54711967183877297</c:v>
                </c:pt>
                <c:pt idx="30678">
                  <c:v>0.54713750668806804</c:v>
                </c:pt>
                <c:pt idx="30679">
                  <c:v>0.547155341537364</c:v>
                </c:pt>
                <c:pt idx="30680">
                  <c:v>0.54717317638665897</c:v>
                </c:pt>
                <c:pt idx="30681">
                  <c:v>0.54719101123595504</c:v>
                </c:pt>
                <c:pt idx="30682">
                  <c:v>0.54720884608525</c:v>
                </c:pt>
                <c:pt idx="30683">
                  <c:v>0.54722668093454596</c:v>
                </c:pt>
                <c:pt idx="30684">
                  <c:v>0.54724451578384103</c:v>
                </c:pt>
                <c:pt idx="30685">
                  <c:v>0.547262350633137</c:v>
                </c:pt>
                <c:pt idx="30686">
                  <c:v>0.54728018548243196</c:v>
                </c:pt>
                <c:pt idx="30687">
                  <c:v>0.54729802033172803</c:v>
                </c:pt>
                <c:pt idx="30688">
                  <c:v>0.54731585518102299</c:v>
                </c:pt>
                <c:pt idx="30689">
                  <c:v>0.54733369003031895</c:v>
                </c:pt>
                <c:pt idx="30690">
                  <c:v>0.54735152487961403</c:v>
                </c:pt>
                <c:pt idx="30691">
                  <c:v>0.54736935972890999</c:v>
                </c:pt>
                <c:pt idx="30692">
                  <c:v>0.54738719457820495</c:v>
                </c:pt>
                <c:pt idx="30693">
                  <c:v>0.54740502942750102</c:v>
                </c:pt>
                <c:pt idx="30694">
                  <c:v>0.54742286427679598</c:v>
                </c:pt>
                <c:pt idx="30695">
                  <c:v>0.54744069912609195</c:v>
                </c:pt>
                <c:pt idx="30696">
                  <c:v>0.54745853397538702</c:v>
                </c:pt>
                <c:pt idx="30697">
                  <c:v>0.54747636882468298</c:v>
                </c:pt>
                <c:pt idx="30698">
                  <c:v>0.54749420367397805</c:v>
                </c:pt>
                <c:pt idx="30699">
                  <c:v>0.54751203852327401</c:v>
                </c:pt>
                <c:pt idx="30700">
                  <c:v>0.54752987337256998</c:v>
                </c:pt>
                <c:pt idx="30701">
                  <c:v>0.54754770822186505</c:v>
                </c:pt>
                <c:pt idx="30702">
                  <c:v>0.54756554307116101</c:v>
                </c:pt>
                <c:pt idx="30703">
                  <c:v>0.54758337792045597</c:v>
                </c:pt>
                <c:pt idx="30704">
                  <c:v>0.54760121276975204</c:v>
                </c:pt>
                <c:pt idx="30705">
                  <c:v>0.54761904761904701</c:v>
                </c:pt>
                <c:pt idx="30706">
                  <c:v>0.54763688246834297</c:v>
                </c:pt>
                <c:pt idx="30707">
                  <c:v>0.54765471731763804</c:v>
                </c:pt>
                <c:pt idx="30708">
                  <c:v>0.547672552166934</c:v>
                </c:pt>
                <c:pt idx="30709">
                  <c:v>0.54769038701622896</c:v>
                </c:pt>
                <c:pt idx="30710">
                  <c:v>0.54770822186552504</c:v>
                </c:pt>
                <c:pt idx="30711">
                  <c:v>0.54772605671482</c:v>
                </c:pt>
                <c:pt idx="30712">
                  <c:v>0.54774389156411596</c:v>
                </c:pt>
                <c:pt idx="30713">
                  <c:v>0.54776172641341103</c:v>
                </c:pt>
                <c:pt idx="30714">
                  <c:v>0.54777956126270699</c:v>
                </c:pt>
                <c:pt idx="30715">
                  <c:v>0.54779739611200196</c:v>
                </c:pt>
                <c:pt idx="30716">
                  <c:v>0.54781523096129803</c:v>
                </c:pt>
                <c:pt idx="30717">
                  <c:v>0.54783306581059299</c:v>
                </c:pt>
                <c:pt idx="30718">
                  <c:v>0.54785090065988895</c:v>
                </c:pt>
                <c:pt idx="30719">
                  <c:v>0.54786873550918402</c:v>
                </c:pt>
                <c:pt idx="30720">
                  <c:v>0.54788657035847999</c:v>
                </c:pt>
                <c:pt idx="30721">
                  <c:v>0.54790440520777595</c:v>
                </c:pt>
                <c:pt idx="30722">
                  <c:v>0.54792224005707102</c:v>
                </c:pt>
                <c:pt idx="30723">
                  <c:v>0.54794007490636698</c:v>
                </c:pt>
                <c:pt idx="30724">
                  <c:v>0.54795790975566205</c:v>
                </c:pt>
                <c:pt idx="30725">
                  <c:v>0.54797574460495801</c:v>
                </c:pt>
                <c:pt idx="30726">
                  <c:v>0.54799357945425298</c:v>
                </c:pt>
                <c:pt idx="30727">
                  <c:v>0.54801141430354905</c:v>
                </c:pt>
                <c:pt idx="30728">
                  <c:v>0.54802924915284401</c:v>
                </c:pt>
                <c:pt idx="30729">
                  <c:v>0.54804708400213997</c:v>
                </c:pt>
                <c:pt idx="30730">
                  <c:v>0.54806491885143505</c:v>
                </c:pt>
                <c:pt idx="30731">
                  <c:v>0.54808275370073101</c:v>
                </c:pt>
                <c:pt idx="30732">
                  <c:v>0.54810058855002597</c:v>
                </c:pt>
                <c:pt idx="30733">
                  <c:v>0.54811842339932204</c:v>
                </c:pt>
                <c:pt idx="30734">
                  <c:v>0.548136258248617</c:v>
                </c:pt>
                <c:pt idx="30735">
                  <c:v>0.54815409309791296</c:v>
                </c:pt>
                <c:pt idx="30736">
                  <c:v>0.54817192794720804</c:v>
                </c:pt>
                <c:pt idx="30737">
                  <c:v>0.548189762796504</c:v>
                </c:pt>
                <c:pt idx="30738">
                  <c:v>0.54820759764579896</c:v>
                </c:pt>
                <c:pt idx="30739">
                  <c:v>0.54822543249509503</c:v>
                </c:pt>
                <c:pt idx="30740">
                  <c:v>0.54824326734439099</c:v>
                </c:pt>
                <c:pt idx="30741">
                  <c:v>0.54826110219368596</c:v>
                </c:pt>
                <c:pt idx="30742">
                  <c:v>0.54827893704298203</c:v>
                </c:pt>
                <c:pt idx="30743">
                  <c:v>0.54829677189227699</c:v>
                </c:pt>
                <c:pt idx="30744">
                  <c:v>0.54831460674157295</c:v>
                </c:pt>
                <c:pt idx="30745">
                  <c:v>0.54833244159086802</c:v>
                </c:pt>
                <c:pt idx="30746">
                  <c:v>0.54835027644016399</c:v>
                </c:pt>
                <c:pt idx="30747">
                  <c:v>0.54836811128945895</c:v>
                </c:pt>
                <c:pt idx="30748">
                  <c:v>0.54838594613875502</c:v>
                </c:pt>
                <c:pt idx="30749">
                  <c:v>0.54840378098804998</c:v>
                </c:pt>
                <c:pt idx="30750">
                  <c:v>0.54842161583734605</c:v>
                </c:pt>
                <c:pt idx="30751">
                  <c:v>0.54843945068664102</c:v>
                </c:pt>
                <c:pt idx="30752">
                  <c:v>0.54845728553593698</c:v>
                </c:pt>
                <c:pt idx="30753">
                  <c:v>0.54847512038523205</c:v>
                </c:pt>
                <c:pt idx="30754">
                  <c:v>0.54849295523452801</c:v>
                </c:pt>
                <c:pt idx="30755">
                  <c:v>0.54851079008382297</c:v>
                </c:pt>
                <c:pt idx="30756">
                  <c:v>0.54852862493311905</c:v>
                </c:pt>
                <c:pt idx="30757">
                  <c:v>0.54854645978241401</c:v>
                </c:pt>
                <c:pt idx="30758">
                  <c:v>0.54856429463170997</c:v>
                </c:pt>
                <c:pt idx="30759">
                  <c:v>0.54858212948100504</c:v>
                </c:pt>
                <c:pt idx="30760">
                  <c:v>0.548599964330301</c:v>
                </c:pt>
                <c:pt idx="30761">
                  <c:v>0.54861779917959697</c:v>
                </c:pt>
                <c:pt idx="30762">
                  <c:v>0.54863563402889204</c:v>
                </c:pt>
                <c:pt idx="30763">
                  <c:v>0.548653468878188</c:v>
                </c:pt>
                <c:pt idx="30764">
                  <c:v>0.54867130372748296</c:v>
                </c:pt>
                <c:pt idx="30765">
                  <c:v>0.54868913857677903</c:v>
                </c:pt>
                <c:pt idx="30766">
                  <c:v>0.548706973426074</c:v>
                </c:pt>
                <c:pt idx="30767">
                  <c:v>0.54872480827536996</c:v>
                </c:pt>
                <c:pt idx="30768">
                  <c:v>0.54874264312466503</c:v>
                </c:pt>
                <c:pt idx="30769">
                  <c:v>0.54876047797396099</c:v>
                </c:pt>
                <c:pt idx="30770">
                  <c:v>0.54877831282325595</c:v>
                </c:pt>
                <c:pt idx="30771">
                  <c:v>0.54879614767255203</c:v>
                </c:pt>
                <c:pt idx="30772">
                  <c:v>0.54881398252184699</c:v>
                </c:pt>
                <c:pt idx="30773">
                  <c:v>0.54883181737114295</c:v>
                </c:pt>
                <c:pt idx="30774">
                  <c:v>0.54884965222043802</c:v>
                </c:pt>
                <c:pt idx="30775">
                  <c:v>0.54886748706973398</c:v>
                </c:pt>
                <c:pt idx="30776">
                  <c:v>0.54888532191902895</c:v>
                </c:pt>
                <c:pt idx="30777">
                  <c:v>0.54890315676832502</c:v>
                </c:pt>
                <c:pt idx="30778">
                  <c:v>0.54892099161761998</c:v>
                </c:pt>
                <c:pt idx="30779">
                  <c:v>0.54893882646691605</c:v>
                </c:pt>
                <c:pt idx="30780">
                  <c:v>0.54895666131621101</c:v>
                </c:pt>
                <c:pt idx="30781">
                  <c:v>0.54897449616550698</c:v>
                </c:pt>
                <c:pt idx="30782">
                  <c:v>0.54899233101480205</c:v>
                </c:pt>
                <c:pt idx="30783">
                  <c:v>0.54901016586409801</c:v>
                </c:pt>
                <c:pt idx="30784">
                  <c:v>0.54902800071339397</c:v>
                </c:pt>
                <c:pt idx="30785">
                  <c:v>0.54904583556268904</c:v>
                </c:pt>
                <c:pt idx="30786">
                  <c:v>0.54906367041198501</c:v>
                </c:pt>
                <c:pt idx="30787">
                  <c:v>0.54908150526127997</c:v>
                </c:pt>
                <c:pt idx="30788">
                  <c:v>0.54909934011057604</c:v>
                </c:pt>
                <c:pt idx="30789">
                  <c:v>0.549117174959871</c:v>
                </c:pt>
                <c:pt idx="30790">
                  <c:v>0.54913500980916696</c:v>
                </c:pt>
                <c:pt idx="30791">
                  <c:v>0.54915284465846204</c:v>
                </c:pt>
                <c:pt idx="30792">
                  <c:v>0.549170679507758</c:v>
                </c:pt>
                <c:pt idx="30793">
                  <c:v>0.54918851435705296</c:v>
                </c:pt>
                <c:pt idx="30794">
                  <c:v>0.54920634920634903</c:v>
                </c:pt>
                <c:pt idx="30795">
                  <c:v>0.54922418405564399</c:v>
                </c:pt>
                <c:pt idx="30796">
                  <c:v>0.54924201890493995</c:v>
                </c:pt>
                <c:pt idx="30797">
                  <c:v>0.54925985375423503</c:v>
                </c:pt>
                <c:pt idx="30798">
                  <c:v>0.54927768860353099</c:v>
                </c:pt>
                <c:pt idx="30799">
                  <c:v>0.54929552345282595</c:v>
                </c:pt>
                <c:pt idx="30800">
                  <c:v>0.54931335830212202</c:v>
                </c:pt>
                <c:pt idx="30801">
                  <c:v>0.54933119315141699</c:v>
                </c:pt>
                <c:pt idx="30802">
                  <c:v>0.54934902800071295</c:v>
                </c:pt>
                <c:pt idx="30803">
                  <c:v>0.54936686285000802</c:v>
                </c:pt>
                <c:pt idx="30804">
                  <c:v>0.54938469769930398</c:v>
                </c:pt>
                <c:pt idx="30805">
                  <c:v>0.54940253254859905</c:v>
                </c:pt>
                <c:pt idx="30806">
                  <c:v>0.54942036739789502</c:v>
                </c:pt>
                <c:pt idx="30807">
                  <c:v>0.54943820224719098</c:v>
                </c:pt>
                <c:pt idx="30808">
                  <c:v>0.54945603709648605</c:v>
                </c:pt>
                <c:pt idx="30809">
                  <c:v>0.54947387194578201</c:v>
                </c:pt>
                <c:pt idx="30810">
                  <c:v>0.54949170679507697</c:v>
                </c:pt>
                <c:pt idx="30811">
                  <c:v>0.54950954164437305</c:v>
                </c:pt>
                <c:pt idx="30812">
                  <c:v>0.54952737649366801</c:v>
                </c:pt>
                <c:pt idx="30813">
                  <c:v>0.54954521134296397</c:v>
                </c:pt>
                <c:pt idx="30814">
                  <c:v>0.54956304619225904</c:v>
                </c:pt>
                <c:pt idx="30815">
                  <c:v>0.549580881041555</c:v>
                </c:pt>
                <c:pt idx="30816">
                  <c:v>0.54959871589084996</c:v>
                </c:pt>
                <c:pt idx="30817">
                  <c:v>0.54961655074014604</c:v>
                </c:pt>
                <c:pt idx="30818">
                  <c:v>0.549634385589441</c:v>
                </c:pt>
                <c:pt idx="30819">
                  <c:v>0.54965222043873696</c:v>
                </c:pt>
                <c:pt idx="30820">
                  <c:v>0.54967005528803203</c:v>
                </c:pt>
                <c:pt idx="30821">
                  <c:v>0.54968789013732799</c:v>
                </c:pt>
                <c:pt idx="30822">
                  <c:v>0.54970572498662296</c:v>
                </c:pt>
                <c:pt idx="30823">
                  <c:v>0.54972355983591903</c:v>
                </c:pt>
                <c:pt idx="30824">
                  <c:v>0.54974139468521399</c:v>
                </c:pt>
                <c:pt idx="30825">
                  <c:v>0.54975922953450995</c:v>
                </c:pt>
                <c:pt idx="30826">
                  <c:v>0.54977706438380503</c:v>
                </c:pt>
                <c:pt idx="30827">
                  <c:v>0.54979489923310099</c:v>
                </c:pt>
                <c:pt idx="30828">
                  <c:v>0.54981273408239695</c:v>
                </c:pt>
                <c:pt idx="30829">
                  <c:v>0.54983056893169202</c:v>
                </c:pt>
                <c:pt idx="30830">
                  <c:v>0.54984840378098798</c:v>
                </c:pt>
                <c:pt idx="30831">
                  <c:v>0.54986623863028306</c:v>
                </c:pt>
                <c:pt idx="30832">
                  <c:v>0.54988407347957902</c:v>
                </c:pt>
                <c:pt idx="30833">
                  <c:v>0.54990190832887398</c:v>
                </c:pt>
                <c:pt idx="30834">
                  <c:v>0.54991974317817005</c:v>
                </c:pt>
                <c:pt idx="30835">
                  <c:v>0.54993757802746501</c:v>
                </c:pt>
                <c:pt idx="30836">
                  <c:v>0.54995541287676097</c:v>
                </c:pt>
                <c:pt idx="30837">
                  <c:v>0.54997324772605605</c:v>
                </c:pt>
                <c:pt idx="30838">
                  <c:v>0.54999108257535201</c:v>
                </c:pt>
                <c:pt idx="30839">
                  <c:v>0.55000891742464697</c:v>
                </c:pt>
                <c:pt idx="30840">
                  <c:v>0.55002675227394304</c:v>
                </c:pt>
                <c:pt idx="30841">
                  <c:v>0.550044587123238</c:v>
                </c:pt>
                <c:pt idx="30842">
                  <c:v>0.55006242197253397</c:v>
                </c:pt>
                <c:pt idx="30843">
                  <c:v>0.55008025682182904</c:v>
                </c:pt>
                <c:pt idx="30844">
                  <c:v>0.550098091671125</c:v>
                </c:pt>
                <c:pt idx="30845">
                  <c:v>0.55011592652041996</c:v>
                </c:pt>
                <c:pt idx="30846">
                  <c:v>0.55013376136971603</c:v>
                </c:pt>
                <c:pt idx="30847">
                  <c:v>0.550151596219012</c:v>
                </c:pt>
                <c:pt idx="30848">
                  <c:v>0.55016943106830696</c:v>
                </c:pt>
                <c:pt idx="30849">
                  <c:v>0.55018726591760303</c:v>
                </c:pt>
                <c:pt idx="30850">
                  <c:v>0.55020510076689799</c:v>
                </c:pt>
                <c:pt idx="30851">
                  <c:v>0.55022293561619395</c:v>
                </c:pt>
                <c:pt idx="30852">
                  <c:v>0.55024077046548903</c:v>
                </c:pt>
                <c:pt idx="30853">
                  <c:v>0.55025860531478499</c:v>
                </c:pt>
                <c:pt idx="30854">
                  <c:v>0.55027644016407995</c:v>
                </c:pt>
                <c:pt idx="30855">
                  <c:v>0.55029427501337602</c:v>
                </c:pt>
                <c:pt idx="30856">
                  <c:v>0.55031210986267098</c:v>
                </c:pt>
                <c:pt idx="30857">
                  <c:v>0.55032994471196695</c:v>
                </c:pt>
                <c:pt idx="30858">
                  <c:v>0.55034777956126202</c:v>
                </c:pt>
                <c:pt idx="30859">
                  <c:v>0.55036561441055798</c:v>
                </c:pt>
                <c:pt idx="30860">
                  <c:v>0.55038344925985305</c:v>
                </c:pt>
                <c:pt idx="30861">
                  <c:v>0.55040128410914901</c:v>
                </c:pt>
                <c:pt idx="30862">
                  <c:v>0.55041911895844398</c:v>
                </c:pt>
                <c:pt idx="30863">
                  <c:v>0.55043695380774005</c:v>
                </c:pt>
                <c:pt idx="30864">
                  <c:v>0.55045478865703501</c:v>
                </c:pt>
                <c:pt idx="30865">
                  <c:v>0.55047262350633097</c:v>
                </c:pt>
                <c:pt idx="30866">
                  <c:v>0.55049045835562604</c:v>
                </c:pt>
                <c:pt idx="30867">
                  <c:v>0.55050829320492201</c:v>
                </c:pt>
                <c:pt idx="30868">
                  <c:v>0.55052612805421797</c:v>
                </c:pt>
                <c:pt idx="30869">
                  <c:v>0.55054396290351304</c:v>
                </c:pt>
                <c:pt idx="30870">
                  <c:v>0.550561797752809</c:v>
                </c:pt>
                <c:pt idx="30871">
                  <c:v>0.55057963260210396</c:v>
                </c:pt>
                <c:pt idx="30872">
                  <c:v>0.55059746745140004</c:v>
                </c:pt>
                <c:pt idx="30873">
                  <c:v>0.550615302300695</c:v>
                </c:pt>
                <c:pt idx="30874">
                  <c:v>0.55063313714999096</c:v>
                </c:pt>
                <c:pt idx="30875">
                  <c:v>0.55065097199928603</c:v>
                </c:pt>
                <c:pt idx="30876">
                  <c:v>0.55066880684858199</c:v>
                </c:pt>
                <c:pt idx="30877">
                  <c:v>0.55068664169787696</c:v>
                </c:pt>
                <c:pt idx="30878">
                  <c:v>0.55070447654717303</c:v>
                </c:pt>
                <c:pt idx="30879">
                  <c:v>0.55072231139646799</c:v>
                </c:pt>
                <c:pt idx="30880">
                  <c:v>0.55074014624576395</c:v>
                </c:pt>
                <c:pt idx="30881">
                  <c:v>0.55075798109505902</c:v>
                </c:pt>
                <c:pt idx="30882">
                  <c:v>0.55077581594435499</c:v>
                </c:pt>
                <c:pt idx="30883">
                  <c:v>0.55079365079364995</c:v>
                </c:pt>
                <c:pt idx="30884">
                  <c:v>0.55081148564294602</c:v>
                </c:pt>
                <c:pt idx="30885">
                  <c:v>0.55082932049224098</c:v>
                </c:pt>
                <c:pt idx="30886">
                  <c:v>0.55084715534153705</c:v>
                </c:pt>
                <c:pt idx="30887">
                  <c:v>0.55086499019083202</c:v>
                </c:pt>
                <c:pt idx="30888">
                  <c:v>0.55088282504012798</c:v>
                </c:pt>
                <c:pt idx="30889">
                  <c:v>0.55090065988942305</c:v>
                </c:pt>
                <c:pt idx="30890">
                  <c:v>0.55091849473871901</c:v>
                </c:pt>
                <c:pt idx="30891">
                  <c:v>0.55093632958801497</c:v>
                </c:pt>
                <c:pt idx="30892">
                  <c:v>0.55095416443731005</c:v>
                </c:pt>
                <c:pt idx="30893">
                  <c:v>0.55097199928660601</c:v>
                </c:pt>
                <c:pt idx="30894">
                  <c:v>0.55098983413590097</c:v>
                </c:pt>
                <c:pt idx="30895">
                  <c:v>0.55100766898519704</c:v>
                </c:pt>
                <c:pt idx="30896">
                  <c:v>0.551025503834492</c:v>
                </c:pt>
                <c:pt idx="30897">
                  <c:v>0.55104333868378796</c:v>
                </c:pt>
                <c:pt idx="30898">
                  <c:v>0.55106117353308304</c:v>
                </c:pt>
                <c:pt idx="30899">
                  <c:v>0.551079008382379</c:v>
                </c:pt>
                <c:pt idx="30900">
                  <c:v>0.55109684323167396</c:v>
                </c:pt>
                <c:pt idx="30901">
                  <c:v>0.55111467808097003</c:v>
                </c:pt>
                <c:pt idx="30902">
                  <c:v>0.55113251293026499</c:v>
                </c:pt>
                <c:pt idx="30903">
                  <c:v>0.55115034777956096</c:v>
                </c:pt>
                <c:pt idx="30904">
                  <c:v>0.55116818262885603</c:v>
                </c:pt>
                <c:pt idx="30905">
                  <c:v>0.55118601747815199</c:v>
                </c:pt>
                <c:pt idx="30906">
                  <c:v>0.55120385232744695</c:v>
                </c:pt>
                <c:pt idx="30907">
                  <c:v>0.55122168717674302</c:v>
                </c:pt>
                <c:pt idx="30908">
                  <c:v>0.55123952202603799</c:v>
                </c:pt>
                <c:pt idx="30909">
                  <c:v>0.55125735687533395</c:v>
                </c:pt>
                <c:pt idx="30910">
                  <c:v>0.55127519172462902</c:v>
                </c:pt>
                <c:pt idx="30911">
                  <c:v>0.55129302657392498</c:v>
                </c:pt>
                <c:pt idx="30912">
                  <c:v>0.55131086142322006</c:v>
                </c:pt>
                <c:pt idx="30913">
                  <c:v>0.55132869627251602</c:v>
                </c:pt>
                <c:pt idx="30914">
                  <c:v>0.55134653112181198</c:v>
                </c:pt>
                <c:pt idx="30915">
                  <c:v>0.55136436597110705</c:v>
                </c:pt>
                <c:pt idx="30916">
                  <c:v>0.55138220082040301</c:v>
                </c:pt>
                <c:pt idx="30917">
                  <c:v>0.55140003566969797</c:v>
                </c:pt>
                <c:pt idx="30918">
                  <c:v>0.55141787051899405</c:v>
                </c:pt>
                <c:pt idx="30919">
                  <c:v>0.55143570536828901</c:v>
                </c:pt>
                <c:pt idx="30920">
                  <c:v>0.55145354021758497</c:v>
                </c:pt>
                <c:pt idx="30921">
                  <c:v>0.55147137506688004</c:v>
                </c:pt>
                <c:pt idx="30922">
                  <c:v>0.551489209916176</c:v>
                </c:pt>
                <c:pt idx="30923">
                  <c:v>0.55150704476547097</c:v>
                </c:pt>
                <c:pt idx="30924">
                  <c:v>0.55152487961476704</c:v>
                </c:pt>
                <c:pt idx="30925">
                  <c:v>0.551542714464062</c:v>
                </c:pt>
                <c:pt idx="30926">
                  <c:v>0.55156054931335796</c:v>
                </c:pt>
                <c:pt idx="30927">
                  <c:v>0.55157838416265303</c:v>
                </c:pt>
                <c:pt idx="30928">
                  <c:v>0.551596219011949</c:v>
                </c:pt>
                <c:pt idx="30929">
                  <c:v>0.55161405386124396</c:v>
                </c:pt>
                <c:pt idx="30930">
                  <c:v>0.55163188871054003</c:v>
                </c:pt>
                <c:pt idx="30931">
                  <c:v>0.55164972355983499</c:v>
                </c:pt>
                <c:pt idx="30932">
                  <c:v>0.55166755840913095</c:v>
                </c:pt>
                <c:pt idx="30933">
                  <c:v>0.55168539325842603</c:v>
                </c:pt>
                <c:pt idx="30934">
                  <c:v>0.55170322810772199</c:v>
                </c:pt>
                <c:pt idx="30935">
                  <c:v>0.55172106295701795</c:v>
                </c:pt>
                <c:pt idx="30936">
                  <c:v>0.55173889780631302</c:v>
                </c:pt>
                <c:pt idx="30937">
                  <c:v>0.55175673265560898</c:v>
                </c:pt>
                <c:pt idx="30938">
                  <c:v>0.55177456750490395</c:v>
                </c:pt>
                <c:pt idx="30939">
                  <c:v>0.55179240235420002</c:v>
                </c:pt>
                <c:pt idx="30940">
                  <c:v>0.55181023720349498</c:v>
                </c:pt>
                <c:pt idx="30941">
                  <c:v>0.55182807205279105</c:v>
                </c:pt>
                <c:pt idx="30942">
                  <c:v>0.55184590690208601</c:v>
                </c:pt>
                <c:pt idx="30943">
                  <c:v>0.55186374175138198</c:v>
                </c:pt>
                <c:pt idx="30944">
                  <c:v>0.55188157660067705</c:v>
                </c:pt>
                <c:pt idx="30945">
                  <c:v>0.55189941144997301</c:v>
                </c:pt>
                <c:pt idx="30946">
                  <c:v>0.55191724629926797</c:v>
                </c:pt>
                <c:pt idx="30947">
                  <c:v>0.55193508114856404</c:v>
                </c:pt>
                <c:pt idx="30948">
                  <c:v>0.55195291599785901</c:v>
                </c:pt>
                <c:pt idx="30949">
                  <c:v>0.55197075084715497</c:v>
                </c:pt>
                <c:pt idx="30950">
                  <c:v>0.55198858569645004</c:v>
                </c:pt>
                <c:pt idx="30951">
                  <c:v>0.552006420545746</c:v>
                </c:pt>
                <c:pt idx="30952">
                  <c:v>0.55202425539504196</c:v>
                </c:pt>
                <c:pt idx="30953">
                  <c:v>0.55204209024433704</c:v>
                </c:pt>
                <c:pt idx="30954">
                  <c:v>0.552059925093633</c:v>
                </c:pt>
                <c:pt idx="30955">
                  <c:v>0.55207775994292796</c:v>
                </c:pt>
                <c:pt idx="30956">
                  <c:v>0.55209559479222403</c:v>
                </c:pt>
                <c:pt idx="30957">
                  <c:v>0.55211342964151899</c:v>
                </c:pt>
                <c:pt idx="30958">
                  <c:v>0.55213126449081495</c:v>
                </c:pt>
                <c:pt idx="30959">
                  <c:v>0.55214909934011003</c:v>
                </c:pt>
                <c:pt idx="30960">
                  <c:v>0.55216693418940599</c:v>
                </c:pt>
                <c:pt idx="30961">
                  <c:v>0.55218476903870095</c:v>
                </c:pt>
                <c:pt idx="30962">
                  <c:v>0.55220260388799702</c:v>
                </c:pt>
                <c:pt idx="30963">
                  <c:v>0.55222043873729199</c:v>
                </c:pt>
                <c:pt idx="30964">
                  <c:v>0.55223827358658795</c:v>
                </c:pt>
                <c:pt idx="30965">
                  <c:v>0.55225610843588302</c:v>
                </c:pt>
                <c:pt idx="30966">
                  <c:v>0.55227394328517898</c:v>
                </c:pt>
                <c:pt idx="30967">
                  <c:v>0.55229177813447405</c:v>
                </c:pt>
                <c:pt idx="30968">
                  <c:v>0.55230961298377002</c:v>
                </c:pt>
                <c:pt idx="30969">
                  <c:v>0.55232744783306498</c:v>
                </c:pt>
                <c:pt idx="30970">
                  <c:v>0.55234528268236105</c:v>
                </c:pt>
                <c:pt idx="30971">
                  <c:v>0.55236311753165601</c:v>
                </c:pt>
                <c:pt idx="30972">
                  <c:v>0.55238095238095197</c:v>
                </c:pt>
                <c:pt idx="30973">
                  <c:v>0.55239878723024705</c:v>
                </c:pt>
                <c:pt idx="30974">
                  <c:v>0.55241662207954301</c:v>
                </c:pt>
                <c:pt idx="30975">
                  <c:v>0.55243445692883897</c:v>
                </c:pt>
                <c:pt idx="30976">
                  <c:v>0.55245229177813404</c:v>
                </c:pt>
                <c:pt idx="30977">
                  <c:v>0.55247012662743</c:v>
                </c:pt>
                <c:pt idx="30978">
                  <c:v>0.55248796147672496</c:v>
                </c:pt>
                <c:pt idx="30979">
                  <c:v>0.55250579632602104</c:v>
                </c:pt>
                <c:pt idx="30980">
                  <c:v>0.552523631175316</c:v>
                </c:pt>
                <c:pt idx="30981">
                  <c:v>0.55254146602461196</c:v>
                </c:pt>
                <c:pt idx="30982">
                  <c:v>0.55255930087390703</c:v>
                </c:pt>
                <c:pt idx="30983">
                  <c:v>0.55257713572320299</c:v>
                </c:pt>
                <c:pt idx="30984">
                  <c:v>0.55259497057249796</c:v>
                </c:pt>
                <c:pt idx="30985">
                  <c:v>0.55261280542179403</c:v>
                </c:pt>
                <c:pt idx="30986">
                  <c:v>0.55263064027108899</c:v>
                </c:pt>
                <c:pt idx="30987">
                  <c:v>0.55264847512038495</c:v>
                </c:pt>
                <c:pt idx="30988">
                  <c:v>0.55266630996968003</c:v>
                </c:pt>
                <c:pt idx="30989">
                  <c:v>0.55268414481897599</c:v>
                </c:pt>
                <c:pt idx="30990">
                  <c:v>0.55270197966827095</c:v>
                </c:pt>
                <c:pt idx="30991">
                  <c:v>0.55271981451756702</c:v>
                </c:pt>
                <c:pt idx="30992">
                  <c:v>0.55273764936686198</c:v>
                </c:pt>
                <c:pt idx="30993">
                  <c:v>0.55275548421615806</c:v>
                </c:pt>
                <c:pt idx="30994">
                  <c:v>0.55277331906545302</c:v>
                </c:pt>
                <c:pt idx="30995">
                  <c:v>0.55279115391474898</c:v>
                </c:pt>
                <c:pt idx="30996">
                  <c:v>0.55280898876404405</c:v>
                </c:pt>
                <c:pt idx="30997">
                  <c:v>0.55282682361334001</c:v>
                </c:pt>
                <c:pt idx="30998">
                  <c:v>0.55284465846263597</c:v>
                </c:pt>
                <c:pt idx="30999">
                  <c:v>0.55286249331193105</c:v>
                </c:pt>
                <c:pt idx="31000">
                  <c:v>0.55288032816122701</c:v>
                </c:pt>
                <c:pt idx="31001">
                  <c:v>0.55289816301052197</c:v>
                </c:pt>
                <c:pt idx="31002">
                  <c:v>0.55291599785981804</c:v>
                </c:pt>
                <c:pt idx="31003">
                  <c:v>0.552933832709113</c:v>
                </c:pt>
                <c:pt idx="31004">
                  <c:v>0.55295166755840897</c:v>
                </c:pt>
                <c:pt idx="31005">
                  <c:v>0.55296950240770404</c:v>
                </c:pt>
                <c:pt idx="31006">
                  <c:v>0.552987337257</c:v>
                </c:pt>
                <c:pt idx="31007">
                  <c:v>0.55300517210629496</c:v>
                </c:pt>
                <c:pt idx="31008">
                  <c:v>0.55302300695559103</c:v>
                </c:pt>
                <c:pt idx="31009">
                  <c:v>0.553040841804886</c:v>
                </c:pt>
                <c:pt idx="31010">
                  <c:v>0.55305867665418196</c:v>
                </c:pt>
                <c:pt idx="31011">
                  <c:v>0.55307651150347703</c:v>
                </c:pt>
                <c:pt idx="31012">
                  <c:v>0.55309434635277299</c:v>
                </c:pt>
                <c:pt idx="31013">
                  <c:v>0.55311218120206795</c:v>
                </c:pt>
                <c:pt idx="31014">
                  <c:v>0.55313001605136403</c:v>
                </c:pt>
                <c:pt idx="31015">
                  <c:v>0.55314785090065899</c:v>
                </c:pt>
                <c:pt idx="31016">
                  <c:v>0.55316568574995495</c:v>
                </c:pt>
                <c:pt idx="31017">
                  <c:v>0.55318352059925002</c:v>
                </c:pt>
                <c:pt idx="31018">
                  <c:v>0.55320135544854598</c:v>
                </c:pt>
                <c:pt idx="31019">
                  <c:v>0.55321919029784195</c:v>
                </c:pt>
                <c:pt idx="31020">
                  <c:v>0.55323702514713702</c:v>
                </c:pt>
                <c:pt idx="31021">
                  <c:v>0.55325485999643298</c:v>
                </c:pt>
                <c:pt idx="31022">
                  <c:v>0.55327269484572805</c:v>
                </c:pt>
                <c:pt idx="31023">
                  <c:v>0.55329052969502401</c:v>
                </c:pt>
                <c:pt idx="31024">
                  <c:v>0.55330836454431898</c:v>
                </c:pt>
                <c:pt idx="31025">
                  <c:v>0.55332619939361505</c:v>
                </c:pt>
                <c:pt idx="31026">
                  <c:v>0.55334403424291001</c:v>
                </c:pt>
                <c:pt idx="31027">
                  <c:v>0.55336186909220597</c:v>
                </c:pt>
                <c:pt idx="31028">
                  <c:v>0.55337970394150104</c:v>
                </c:pt>
                <c:pt idx="31029">
                  <c:v>0.55339753879079701</c:v>
                </c:pt>
                <c:pt idx="31030">
                  <c:v>0.55341537364009197</c:v>
                </c:pt>
                <c:pt idx="31031">
                  <c:v>0.55343320848938804</c:v>
                </c:pt>
                <c:pt idx="31032">
                  <c:v>0.553451043338683</c:v>
                </c:pt>
                <c:pt idx="31033">
                  <c:v>0.55346887818797896</c:v>
                </c:pt>
                <c:pt idx="31034">
                  <c:v>0.55348671303727404</c:v>
                </c:pt>
                <c:pt idx="31035">
                  <c:v>0.55350454788657</c:v>
                </c:pt>
                <c:pt idx="31036">
                  <c:v>0.55352238273586496</c:v>
                </c:pt>
                <c:pt idx="31037">
                  <c:v>0.55354021758516103</c:v>
                </c:pt>
                <c:pt idx="31038">
                  <c:v>0.55355805243445599</c:v>
                </c:pt>
                <c:pt idx="31039">
                  <c:v>0.55357588728375196</c:v>
                </c:pt>
                <c:pt idx="31040">
                  <c:v>0.55359372213304803</c:v>
                </c:pt>
                <c:pt idx="31041">
                  <c:v>0.55361155698234299</c:v>
                </c:pt>
                <c:pt idx="31042">
                  <c:v>0.55362939183163895</c:v>
                </c:pt>
                <c:pt idx="31043">
                  <c:v>0.55364722668093402</c:v>
                </c:pt>
                <c:pt idx="31044">
                  <c:v>0.55366506153022998</c:v>
                </c:pt>
                <c:pt idx="31045">
                  <c:v>0.55368289637952495</c:v>
                </c:pt>
                <c:pt idx="31046">
                  <c:v>0.55370073122882102</c:v>
                </c:pt>
                <c:pt idx="31047">
                  <c:v>0.55371856607811598</c:v>
                </c:pt>
                <c:pt idx="31048">
                  <c:v>0.55373640092741205</c:v>
                </c:pt>
                <c:pt idx="31049">
                  <c:v>0.55375423577670702</c:v>
                </c:pt>
                <c:pt idx="31050">
                  <c:v>0.55377207062600298</c:v>
                </c:pt>
                <c:pt idx="31051">
                  <c:v>0.55378990547529805</c:v>
                </c:pt>
                <c:pt idx="31052">
                  <c:v>0.55380774032459401</c:v>
                </c:pt>
                <c:pt idx="31053">
                  <c:v>0.55382557517388897</c:v>
                </c:pt>
                <c:pt idx="31054">
                  <c:v>0.55384341002318505</c:v>
                </c:pt>
                <c:pt idx="31055">
                  <c:v>0.55386124487248001</c:v>
                </c:pt>
                <c:pt idx="31056">
                  <c:v>0.55387907972177597</c:v>
                </c:pt>
                <c:pt idx="31057">
                  <c:v>0.55389691457107104</c:v>
                </c:pt>
                <c:pt idx="31058">
                  <c:v>0.553914749420367</c:v>
                </c:pt>
                <c:pt idx="31059">
                  <c:v>0.55393258426966296</c:v>
                </c:pt>
                <c:pt idx="31060">
                  <c:v>0.55395041911895804</c:v>
                </c:pt>
                <c:pt idx="31061">
                  <c:v>0.553968253968254</c:v>
                </c:pt>
                <c:pt idx="31062">
                  <c:v>0.55398608881754896</c:v>
                </c:pt>
                <c:pt idx="31063">
                  <c:v>0.55400392366684503</c:v>
                </c:pt>
                <c:pt idx="31064">
                  <c:v>0.55402175851613999</c:v>
                </c:pt>
                <c:pt idx="31065">
                  <c:v>0.55403959336543596</c:v>
                </c:pt>
                <c:pt idx="31066">
                  <c:v>0.55405742821473103</c:v>
                </c:pt>
                <c:pt idx="31067">
                  <c:v>0.55407526306402699</c:v>
                </c:pt>
                <c:pt idx="31068">
                  <c:v>0.55409309791332195</c:v>
                </c:pt>
                <c:pt idx="31069">
                  <c:v>0.55411093276261802</c:v>
                </c:pt>
                <c:pt idx="31070">
                  <c:v>0.55412876761191299</c:v>
                </c:pt>
                <c:pt idx="31071">
                  <c:v>0.55414660246120895</c:v>
                </c:pt>
                <c:pt idx="31072">
                  <c:v>0.55416443731050402</c:v>
                </c:pt>
                <c:pt idx="31073">
                  <c:v>0.55418227215979998</c:v>
                </c:pt>
                <c:pt idx="31074">
                  <c:v>0.55420010700909506</c:v>
                </c:pt>
                <c:pt idx="31075">
                  <c:v>0.55421794185839102</c:v>
                </c:pt>
                <c:pt idx="31076">
                  <c:v>0.55423577670768598</c:v>
                </c:pt>
                <c:pt idx="31077">
                  <c:v>0.55425361155698205</c:v>
                </c:pt>
                <c:pt idx="31078">
                  <c:v>0.55427144640627701</c:v>
                </c:pt>
                <c:pt idx="31079">
                  <c:v>0.55428928125557297</c:v>
                </c:pt>
                <c:pt idx="31080">
                  <c:v>0.55430711610486805</c:v>
                </c:pt>
                <c:pt idx="31081">
                  <c:v>0.55432495095416401</c:v>
                </c:pt>
                <c:pt idx="31082">
                  <c:v>0.55434278580345997</c:v>
                </c:pt>
                <c:pt idx="31083">
                  <c:v>0.55436062065275504</c:v>
                </c:pt>
                <c:pt idx="31084">
                  <c:v>0.554378455502051</c:v>
                </c:pt>
                <c:pt idx="31085">
                  <c:v>0.55439629035134597</c:v>
                </c:pt>
                <c:pt idx="31086">
                  <c:v>0.55441412520064204</c:v>
                </c:pt>
                <c:pt idx="31087">
                  <c:v>0.554431960049937</c:v>
                </c:pt>
                <c:pt idx="31088">
                  <c:v>0.55444979489923296</c:v>
                </c:pt>
                <c:pt idx="31089">
                  <c:v>0.55446762974852803</c:v>
                </c:pt>
                <c:pt idx="31090">
                  <c:v>0.554485464597824</c:v>
                </c:pt>
                <c:pt idx="31091">
                  <c:v>0.55450329944711896</c:v>
                </c:pt>
                <c:pt idx="31092">
                  <c:v>0.55452113429641503</c:v>
                </c:pt>
                <c:pt idx="31093">
                  <c:v>0.55453896914570999</c:v>
                </c:pt>
                <c:pt idx="31094">
                  <c:v>0.55455680399500595</c:v>
                </c:pt>
                <c:pt idx="31095">
                  <c:v>0.55457463884430103</c:v>
                </c:pt>
                <c:pt idx="31096">
                  <c:v>0.55459247369359699</c:v>
                </c:pt>
                <c:pt idx="31097">
                  <c:v>0.55461030854289195</c:v>
                </c:pt>
                <c:pt idx="31098">
                  <c:v>0.55462814339218802</c:v>
                </c:pt>
                <c:pt idx="31099">
                  <c:v>0.55464597824148298</c:v>
                </c:pt>
                <c:pt idx="31100">
                  <c:v>0.55466381309077895</c:v>
                </c:pt>
                <c:pt idx="31101">
                  <c:v>0.55468164794007402</c:v>
                </c:pt>
                <c:pt idx="31102">
                  <c:v>0.55469948278936998</c:v>
                </c:pt>
                <c:pt idx="31103">
                  <c:v>0.55471731763866505</c:v>
                </c:pt>
                <c:pt idx="31104">
                  <c:v>0.55473515248796101</c:v>
                </c:pt>
                <c:pt idx="31105">
                  <c:v>0.55475298733725698</c:v>
                </c:pt>
                <c:pt idx="31106">
                  <c:v>0.55477082218655205</c:v>
                </c:pt>
                <c:pt idx="31107">
                  <c:v>0.55478865703584801</c:v>
                </c:pt>
                <c:pt idx="31108">
                  <c:v>0.55480649188514297</c:v>
                </c:pt>
                <c:pt idx="31109">
                  <c:v>0.55482432673443904</c:v>
                </c:pt>
                <c:pt idx="31110">
                  <c:v>0.55484216158373401</c:v>
                </c:pt>
                <c:pt idx="31111">
                  <c:v>0.55485999643302997</c:v>
                </c:pt>
                <c:pt idx="31112">
                  <c:v>0.55487783128232504</c:v>
                </c:pt>
                <c:pt idx="31113">
                  <c:v>0.554895666131621</c:v>
                </c:pt>
                <c:pt idx="31114">
                  <c:v>0.55491350098091596</c:v>
                </c:pt>
                <c:pt idx="31115">
                  <c:v>0.55493133583021204</c:v>
                </c:pt>
                <c:pt idx="31116">
                  <c:v>0.554949170679507</c:v>
                </c:pt>
                <c:pt idx="31117">
                  <c:v>0.55496700552880296</c:v>
                </c:pt>
                <c:pt idx="31118">
                  <c:v>0.55498484037809803</c:v>
                </c:pt>
                <c:pt idx="31119">
                  <c:v>0.55500267522739399</c:v>
                </c:pt>
                <c:pt idx="31120">
                  <c:v>0.55502051007668896</c:v>
                </c:pt>
                <c:pt idx="31121">
                  <c:v>0.55503834492598503</c:v>
                </c:pt>
                <c:pt idx="31122">
                  <c:v>0.55505617977527999</c:v>
                </c:pt>
                <c:pt idx="31123">
                  <c:v>0.55507401462457595</c:v>
                </c:pt>
                <c:pt idx="31124">
                  <c:v>0.55509184947387102</c:v>
                </c:pt>
                <c:pt idx="31125">
                  <c:v>0.55510968432316699</c:v>
                </c:pt>
                <c:pt idx="31126">
                  <c:v>0.55512751917246295</c:v>
                </c:pt>
                <c:pt idx="31127">
                  <c:v>0.55514535402175802</c:v>
                </c:pt>
                <c:pt idx="31128">
                  <c:v>0.55516318887105398</c:v>
                </c:pt>
                <c:pt idx="31129">
                  <c:v>0.55518102372034905</c:v>
                </c:pt>
                <c:pt idx="31130">
                  <c:v>0.55519885856964502</c:v>
                </c:pt>
                <c:pt idx="31131">
                  <c:v>0.55521669341893998</c:v>
                </c:pt>
                <c:pt idx="31132">
                  <c:v>0.55523452826823605</c:v>
                </c:pt>
                <c:pt idx="31133">
                  <c:v>0.55525236311753101</c:v>
                </c:pt>
                <c:pt idx="31134">
                  <c:v>0.55527019796682697</c:v>
                </c:pt>
                <c:pt idx="31135">
                  <c:v>0.55528803281612205</c:v>
                </c:pt>
                <c:pt idx="31136">
                  <c:v>0.55530586766541801</c:v>
                </c:pt>
                <c:pt idx="31137">
                  <c:v>0.55532370251471297</c:v>
                </c:pt>
                <c:pt idx="31138">
                  <c:v>0.55534153736400904</c:v>
                </c:pt>
                <c:pt idx="31139">
                  <c:v>0.555359372213304</c:v>
                </c:pt>
                <c:pt idx="31140">
                  <c:v>0.55537720706259996</c:v>
                </c:pt>
                <c:pt idx="31141">
                  <c:v>0.55539504191189504</c:v>
                </c:pt>
                <c:pt idx="31142">
                  <c:v>0.555412876761191</c:v>
                </c:pt>
                <c:pt idx="31143">
                  <c:v>0.55543071161048596</c:v>
                </c:pt>
                <c:pt idx="31144">
                  <c:v>0.55544854645978203</c:v>
                </c:pt>
                <c:pt idx="31145">
                  <c:v>0.555466381309077</c:v>
                </c:pt>
                <c:pt idx="31146">
                  <c:v>0.55548421615837296</c:v>
                </c:pt>
                <c:pt idx="31147">
                  <c:v>0.55550205100766903</c:v>
                </c:pt>
                <c:pt idx="31148">
                  <c:v>0.55551988585696399</c:v>
                </c:pt>
                <c:pt idx="31149">
                  <c:v>0.55553772070625995</c:v>
                </c:pt>
                <c:pt idx="31150">
                  <c:v>0.55555555555555503</c:v>
                </c:pt>
                <c:pt idx="31151">
                  <c:v>0.55557339040485099</c:v>
                </c:pt>
                <c:pt idx="31152">
                  <c:v>0.55559122525414595</c:v>
                </c:pt>
                <c:pt idx="31153">
                  <c:v>0.55560906010344202</c:v>
                </c:pt>
                <c:pt idx="31154">
                  <c:v>0.55562689495273698</c:v>
                </c:pt>
                <c:pt idx="31155">
                  <c:v>0.55564472980203305</c:v>
                </c:pt>
                <c:pt idx="31156">
                  <c:v>0.55566256465132802</c:v>
                </c:pt>
                <c:pt idx="31157">
                  <c:v>0.55568039950062398</c:v>
                </c:pt>
                <c:pt idx="31158">
                  <c:v>0.55569823434991905</c:v>
                </c:pt>
                <c:pt idx="31159">
                  <c:v>0.55571606919921501</c:v>
                </c:pt>
                <c:pt idx="31160">
                  <c:v>0.55573390404850997</c:v>
                </c:pt>
                <c:pt idx="31161">
                  <c:v>0.55575173889780605</c:v>
                </c:pt>
                <c:pt idx="31162">
                  <c:v>0.55576957374710101</c:v>
                </c:pt>
                <c:pt idx="31163">
                  <c:v>0.55578740859639697</c:v>
                </c:pt>
                <c:pt idx="31164">
                  <c:v>0.55580524344569204</c:v>
                </c:pt>
                <c:pt idx="31165">
                  <c:v>0.555823078294988</c:v>
                </c:pt>
                <c:pt idx="31166">
                  <c:v>0.55584091314428397</c:v>
                </c:pt>
                <c:pt idx="31167">
                  <c:v>0.55585874799357904</c:v>
                </c:pt>
                <c:pt idx="31168">
                  <c:v>0.555876582842875</c:v>
                </c:pt>
                <c:pt idx="31169">
                  <c:v>0.55589441769216996</c:v>
                </c:pt>
                <c:pt idx="31170">
                  <c:v>0.55591225254146603</c:v>
                </c:pt>
                <c:pt idx="31171">
                  <c:v>0.555930087390761</c:v>
                </c:pt>
                <c:pt idx="31172">
                  <c:v>0.55594792224005696</c:v>
                </c:pt>
                <c:pt idx="31173">
                  <c:v>0.55596575708935203</c:v>
                </c:pt>
                <c:pt idx="31174">
                  <c:v>0.55598359193864799</c:v>
                </c:pt>
                <c:pt idx="31175">
                  <c:v>0.55600142678794295</c:v>
                </c:pt>
                <c:pt idx="31176">
                  <c:v>0.55601926163723903</c:v>
                </c:pt>
                <c:pt idx="31177">
                  <c:v>0.55603709648653399</c:v>
                </c:pt>
                <c:pt idx="31178">
                  <c:v>0.55605493133582995</c:v>
                </c:pt>
                <c:pt idx="31179">
                  <c:v>0.55607276618512502</c:v>
                </c:pt>
                <c:pt idx="31180">
                  <c:v>0.55609060103442098</c:v>
                </c:pt>
                <c:pt idx="31181">
                  <c:v>0.55610843588371595</c:v>
                </c:pt>
                <c:pt idx="31182">
                  <c:v>0.55612627073301202</c:v>
                </c:pt>
                <c:pt idx="31183">
                  <c:v>0.55614410558230698</c:v>
                </c:pt>
                <c:pt idx="31184">
                  <c:v>0.55616194043160305</c:v>
                </c:pt>
                <c:pt idx="31185">
                  <c:v>0.55617977528089801</c:v>
                </c:pt>
                <c:pt idx="31186">
                  <c:v>0.55619761013019398</c:v>
                </c:pt>
                <c:pt idx="31187">
                  <c:v>0.55621544497948905</c:v>
                </c:pt>
                <c:pt idx="31188">
                  <c:v>0.55623327982878501</c:v>
                </c:pt>
                <c:pt idx="31189">
                  <c:v>0.55625111467808097</c:v>
                </c:pt>
                <c:pt idx="31190">
                  <c:v>0.55626894952737604</c:v>
                </c:pt>
                <c:pt idx="31191">
                  <c:v>0.55628678437667201</c:v>
                </c:pt>
                <c:pt idx="31192">
                  <c:v>0.55630461922596697</c:v>
                </c:pt>
                <c:pt idx="31193">
                  <c:v>0.55632245407526304</c:v>
                </c:pt>
                <c:pt idx="31194">
                  <c:v>0.556340288924558</c:v>
                </c:pt>
                <c:pt idx="31195">
                  <c:v>0.55635812377385396</c:v>
                </c:pt>
                <c:pt idx="31196">
                  <c:v>0.55637595862314904</c:v>
                </c:pt>
                <c:pt idx="31197">
                  <c:v>0.556393793472445</c:v>
                </c:pt>
                <c:pt idx="31198">
                  <c:v>0.55641162832173996</c:v>
                </c:pt>
                <c:pt idx="31199">
                  <c:v>0.55642946317103603</c:v>
                </c:pt>
                <c:pt idx="31200">
                  <c:v>0.55644729802033099</c:v>
                </c:pt>
                <c:pt idx="31201">
                  <c:v>0.55646513286962695</c:v>
                </c:pt>
                <c:pt idx="31202">
                  <c:v>0.55648296771892203</c:v>
                </c:pt>
                <c:pt idx="31203">
                  <c:v>0.55650080256821799</c:v>
                </c:pt>
                <c:pt idx="31204">
                  <c:v>0.55651863741751295</c:v>
                </c:pt>
                <c:pt idx="31205">
                  <c:v>0.55653647226680902</c:v>
                </c:pt>
                <c:pt idx="31206">
                  <c:v>0.55655430711610399</c:v>
                </c:pt>
                <c:pt idx="31207">
                  <c:v>0.55657214196539995</c:v>
                </c:pt>
                <c:pt idx="31208">
                  <c:v>0.55658997681469502</c:v>
                </c:pt>
                <c:pt idx="31209">
                  <c:v>0.55660781166399098</c:v>
                </c:pt>
                <c:pt idx="31210">
                  <c:v>0.55662564651328605</c:v>
                </c:pt>
                <c:pt idx="31211">
                  <c:v>0.55664348136258202</c:v>
                </c:pt>
                <c:pt idx="31212">
                  <c:v>0.55666131621187798</c:v>
                </c:pt>
                <c:pt idx="31213">
                  <c:v>0.55667915106117305</c:v>
                </c:pt>
                <c:pt idx="31214">
                  <c:v>0.55669698591046901</c:v>
                </c:pt>
                <c:pt idx="31215">
                  <c:v>0.55671482075976397</c:v>
                </c:pt>
                <c:pt idx="31216">
                  <c:v>0.55673265560906005</c:v>
                </c:pt>
                <c:pt idx="31217">
                  <c:v>0.55675049045835501</c:v>
                </c:pt>
                <c:pt idx="31218">
                  <c:v>0.55676832530765097</c:v>
                </c:pt>
                <c:pt idx="31219">
                  <c:v>0.55678616015694604</c:v>
                </c:pt>
                <c:pt idx="31220">
                  <c:v>0.556803995006242</c:v>
                </c:pt>
                <c:pt idx="31221">
                  <c:v>0.55682182985553696</c:v>
                </c:pt>
                <c:pt idx="31222">
                  <c:v>0.55683966470483304</c:v>
                </c:pt>
                <c:pt idx="31223">
                  <c:v>0.556857499554128</c:v>
                </c:pt>
                <c:pt idx="31224">
                  <c:v>0.55687533440342396</c:v>
                </c:pt>
                <c:pt idx="31225">
                  <c:v>0.55689316925271903</c:v>
                </c:pt>
                <c:pt idx="31226">
                  <c:v>0.55691100410201499</c:v>
                </c:pt>
                <c:pt idx="31227">
                  <c:v>0.55692883895130996</c:v>
                </c:pt>
                <c:pt idx="31228">
                  <c:v>0.55694667380060603</c:v>
                </c:pt>
                <c:pt idx="31229">
                  <c:v>0.55696450864990099</c:v>
                </c:pt>
                <c:pt idx="31230">
                  <c:v>0.55698234349919695</c:v>
                </c:pt>
                <c:pt idx="31231">
                  <c:v>0.55700017834849203</c:v>
                </c:pt>
                <c:pt idx="31232">
                  <c:v>0.55701801319778799</c:v>
                </c:pt>
                <c:pt idx="31233">
                  <c:v>0.55703584804708395</c:v>
                </c:pt>
                <c:pt idx="31234">
                  <c:v>0.55705368289637902</c:v>
                </c:pt>
                <c:pt idx="31235">
                  <c:v>0.55707151774567498</c:v>
                </c:pt>
                <c:pt idx="31236">
                  <c:v>0.55708935259497006</c:v>
                </c:pt>
                <c:pt idx="31237">
                  <c:v>0.55710718744426602</c:v>
                </c:pt>
                <c:pt idx="31238">
                  <c:v>0.55712502229356098</c:v>
                </c:pt>
                <c:pt idx="31239">
                  <c:v>0.55714285714285705</c:v>
                </c:pt>
                <c:pt idx="31240">
                  <c:v>0.55716069199215201</c:v>
                </c:pt>
                <c:pt idx="31241">
                  <c:v>0.55717852684144797</c:v>
                </c:pt>
                <c:pt idx="31242">
                  <c:v>0.55719636169074305</c:v>
                </c:pt>
                <c:pt idx="31243">
                  <c:v>0.55721419654003901</c:v>
                </c:pt>
                <c:pt idx="31244">
                  <c:v>0.55723203138933397</c:v>
                </c:pt>
                <c:pt idx="31245">
                  <c:v>0.55724986623863004</c:v>
                </c:pt>
                <c:pt idx="31246">
                  <c:v>0.557267701087925</c:v>
                </c:pt>
                <c:pt idx="31247">
                  <c:v>0.55728553593722097</c:v>
                </c:pt>
                <c:pt idx="31248">
                  <c:v>0.55730337078651604</c:v>
                </c:pt>
                <c:pt idx="31249">
                  <c:v>0.557321205635812</c:v>
                </c:pt>
                <c:pt idx="31250">
                  <c:v>0.55733904048510696</c:v>
                </c:pt>
                <c:pt idx="31251">
                  <c:v>0.55735687533440303</c:v>
                </c:pt>
                <c:pt idx="31252">
                  <c:v>0.557374710183699</c:v>
                </c:pt>
                <c:pt idx="31253">
                  <c:v>0.55739254503299396</c:v>
                </c:pt>
                <c:pt idx="31254">
                  <c:v>0.55741037988229003</c:v>
                </c:pt>
                <c:pt idx="31255">
                  <c:v>0.55742821473158499</c:v>
                </c:pt>
                <c:pt idx="31256">
                  <c:v>0.55744604958088095</c:v>
                </c:pt>
                <c:pt idx="31257">
                  <c:v>0.55746388443017603</c:v>
                </c:pt>
                <c:pt idx="31258">
                  <c:v>0.55748171927947199</c:v>
                </c:pt>
                <c:pt idx="31259">
                  <c:v>0.55749955412876695</c:v>
                </c:pt>
                <c:pt idx="31260">
                  <c:v>0.55751738897806302</c:v>
                </c:pt>
                <c:pt idx="31261">
                  <c:v>0.55753522382735798</c:v>
                </c:pt>
                <c:pt idx="31262">
                  <c:v>0.55755305867665395</c:v>
                </c:pt>
                <c:pt idx="31263">
                  <c:v>0.55757089352594902</c:v>
                </c:pt>
                <c:pt idx="31264">
                  <c:v>0.55758872837524498</c:v>
                </c:pt>
                <c:pt idx="31265">
                  <c:v>0.55760656322454005</c:v>
                </c:pt>
                <c:pt idx="31266">
                  <c:v>0.55762439807383601</c:v>
                </c:pt>
                <c:pt idx="31267">
                  <c:v>0.55764223292313098</c:v>
                </c:pt>
                <c:pt idx="31268">
                  <c:v>0.55766006777242705</c:v>
                </c:pt>
                <c:pt idx="31269">
                  <c:v>0.55767790262172201</c:v>
                </c:pt>
                <c:pt idx="31270">
                  <c:v>0.55769573747101797</c:v>
                </c:pt>
                <c:pt idx="31271">
                  <c:v>0.55771357232031304</c:v>
                </c:pt>
                <c:pt idx="31272">
                  <c:v>0.55773140716960901</c:v>
                </c:pt>
                <c:pt idx="31273">
                  <c:v>0.55774924201890497</c:v>
                </c:pt>
                <c:pt idx="31274">
                  <c:v>0.55776707686820004</c:v>
                </c:pt>
                <c:pt idx="31275">
                  <c:v>0.557784911717496</c:v>
                </c:pt>
                <c:pt idx="31276">
                  <c:v>0.55780274656679096</c:v>
                </c:pt>
                <c:pt idx="31277">
                  <c:v>0.55782058141608704</c:v>
                </c:pt>
                <c:pt idx="31278">
                  <c:v>0.557838416265382</c:v>
                </c:pt>
                <c:pt idx="31279">
                  <c:v>0.55785625111467796</c:v>
                </c:pt>
                <c:pt idx="31280">
                  <c:v>0.55787408596397303</c:v>
                </c:pt>
                <c:pt idx="31281">
                  <c:v>0.55789192081326899</c:v>
                </c:pt>
                <c:pt idx="31282">
                  <c:v>0.55790975566256396</c:v>
                </c:pt>
                <c:pt idx="31283">
                  <c:v>0.55792759051186003</c:v>
                </c:pt>
                <c:pt idx="31284">
                  <c:v>0.55794542536115499</c:v>
                </c:pt>
                <c:pt idx="31285">
                  <c:v>0.55796326021045095</c:v>
                </c:pt>
                <c:pt idx="31286">
                  <c:v>0.55798109505974602</c:v>
                </c:pt>
                <c:pt idx="31287">
                  <c:v>0.55799892990904199</c:v>
                </c:pt>
                <c:pt idx="31288">
                  <c:v>0.55801676475833695</c:v>
                </c:pt>
                <c:pt idx="31289">
                  <c:v>0.55803459960763302</c:v>
                </c:pt>
                <c:pt idx="31290">
                  <c:v>0.55805243445692798</c:v>
                </c:pt>
                <c:pt idx="31291">
                  <c:v>0.55807026930622405</c:v>
                </c:pt>
                <c:pt idx="31292">
                  <c:v>0.55808810415551902</c:v>
                </c:pt>
                <c:pt idx="31293">
                  <c:v>0.55810593900481498</c:v>
                </c:pt>
                <c:pt idx="31294">
                  <c:v>0.55812377385411005</c:v>
                </c:pt>
                <c:pt idx="31295">
                  <c:v>0.55814160870340601</c:v>
                </c:pt>
                <c:pt idx="31296">
                  <c:v>0.55815944355270197</c:v>
                </c:pt>
                <c:pt idx="31297">
                  <c:v>0.55817727840199705</c:v>
                </c:pt>
                <c:pt idx="31298">
                  <c:v>0.55819511325129301</c:v>
                </c:pt>
                <c:pt idx="31299">
                  <c:v>0.55821294810058797</c:v>
                </c:pt>
                <c:pt idx="31300">
                  <c:v>0.55823078294988404</c:v>
                </c:pt>
                <c:pt idx="31301">
                  <c:v>0.558248617799179</c:v>
                </c:pt>
                <c:pt idx="31302">
                  <c:v>0.55826645264847496</c:v>
                </c:pt>
                <c:pt idx="31303">
                  <c:v>0.55828428749777004</c:v>
                </c:pt>
                <c:pt idx="31304">
                  <c:v>0.558302122347066</c:v>
                </c:pt>
                <c:pt idx="31305">
                  <c:v>0.55831995719636096</c:v>
                </c:pt>
                <c:pt idx="31306">
                  <c:v>0.55833779204565703</c:v>
                </c:pt>
                <c:pt idx="31307">
                  <c:v>0.558355626894952</c:v>
                </c:pt>
                <c:pt idx="31308">
                  <c:v>0.55837346174424796</c:v>
                </c:pt>
                <c:pt idx="31309">
                  <c:v>0.55839129659354303</c:v>
                </c:pt>
                <c:pt idx="31310">
                  <c:v>0.55840913144283899</c:v>
                </c:pt>
                <c:pt idx="31311">
                  <c:v>0.55842696629213395</c:v>
                </c:pt>
                <c:pt idx="31312">
                  <c:v>0.55844480114143003</c:v>
                </c:pt>
                <c:pt idx="31313">
                  <c:v>0.55846263599072499</c:v>
                </c:pt>
                <c:pt idx="31314">
                  <c:v>0.55848047084002095</c:v>
                </c:pt>
                <c:pt idx="31315">
                  <c:v>0.55849830568931602</c:v>
                </c:pt>
                <c:pt idx="31316">
                  <c:v>0.55851614053861198</c:v>
                </c:pt>
                <c:pt idx="31317">
                  <c:v>0.55853397538790694</c:v>
                </c:pt>
                <c:pt idx="31318">
                  <c:v>0.55855181023720302</c:v>
                </c:pt>
                <c:pt idx="31319">
                  <c:v>0.55856964508649898</c:v>
                </c:pt>
                <c:pt idx="31320">
                  <c:v>0.55858747993579405</c:v>
                </c:pt>
                <c:pt idx="31321">
                  <c:v>0.55860531478509001</c:v>
                </c:pt>
                <c:pt idx="31322">
                  <c:v>0.55862314963438497</c:v>
                </c:pt>
                <c:pt idx="31323">
                  <c:v>0.55864098448368105</c:v>
                </c:pt>
                <c:pt idx="31324">
                  <c:v>0.55865881933297601</c:v>
                </c:pt>
                <c:pt idx="31325">
                  <c:v>0.55867665418227197</c:v>
                </c:pt>
                <c:pt idx="31326">
                  <c:v>0.55869448903156704</c:v>
                </c:pt>
                <c:pt idx="31327">
                  <c:v>0.558712323880863</c:v>
                </c:pt>
                <c:pt idx="31328">
                  <c:v>0.55873015873015797</c:v>
                </c:pt>
                <c:pt idx="31329">
                  <c:v>0.55874799357945404</c:v>
                </c:pt>
                <c:pt idx="31330">
                  <c:v>0.558765828428749</c:v>
                </c:pt>
                <c:pt idx="31331">
                  <c:v>0.55878366327804496</c:v>
                </c:pt>
                <c:pt idx="31332">
                  <c:v>0.55880149812734004</c:v>
                </c:pt>
                <c:pt idx="31333">
                  <c:v>0.558819332976636</c:v>
                </c:pt>
                <c:pt idx="31334">
                  <c:v>0.55883716782593096</c:v>
                </c:pt>
                <c:pt idx="31335">
                  <c:v>0.55885500267522703</c:v>
                </c:pt>
                <c:pt idx="31336">
                  <c:v>0.55887283752452199</c:v>
                </c:pt>
                <c:pt idx="31337">
                  <c:v>0.55889067237381795</c:v>
                </c:pt>
                <c:pt idx="31338">
                  <c:v>0.55890850722311303</c:v>
                </c:pt>
                <c:pt idx="31339">
                  <c:v>0.55892634207240899</c:v>
                </c:pt>
                <c:pt idx="31340">
                  <c:v>0.55894417692170495</c:v>
                </c:pt>
                <c:pt idx="31341">
                  <c:v>0.55896201177100002</c:v>
                </c:pt>
                <c:pt idx="31342">
                  <c:v>0.55897984662029598</c:v>
                </c:pt>
                <c:pt idx="31343">
                  <c:v>0.55899768146959095</c:v>
                </c:pt>
                <c:pt idx="31344">
                  <c:v>0.55901551631888702</c:v>
                </c:pt>
                <c:pt idx="31345">
                  <c:v>0.55903335116818198</c:v>
                </c:pt>
                <c:pt idx="31346">
                  <c:v>0.55905118601747805</c:v>
                </c:pt>
                <c:pt idx="31347">
                  <c:v>0.55906902086677301</c:v>
                </c:pt>
                <c:pt idx="31348">
                  <c:v>0.55908685571606898</c:v>
                </c:pt>
                <c:pt idx="31349">
                  <c:v>0.55910469056536405</c:v>
                </c:pt>
                <c:pt idx="31350">
                  <c:v>0.55912252541466001</c:v>
                </c:pt>
                <c:pt idx="31351">
                  <c:v>0.55914036026395497</c:v>
                </c:pt>
                <c:pt idx="31352">
                  <c:v>0.55915819511325104</c:v>
                </c:pt>
                <c:pt idx="31353">
                  <c:v>0.55917602996254601</c:v>
                </c:pt>
                <c:pt idx="31354">
                  <c:v>0.55919386481184197</c:v>
                </c:pt>
                <c:pt idx="31355">
                  <c:v>0.55921169966113704</c:v>
                </c:pt>
                <c:pt idx="31356">
                  <c:v>0.559229534510433</c:v>
                </c:pt>
                <c:pt idx="31357">
                  <c:v>0.55924736935972896</c:v>
                </c:pt>
                <c:pt idx="31358">
                  <c:v>0.55926520420902404</c:v>
                </c:pt>
                <c:pt idx="31359">
                  <c:v>0.55928303905832</c:v>
                </c:pt>
                <c:pt idx="31360">
                  <c:v>0.55930087390761496</c:v>
                </c:pt>
                <c:pt idx="31361">
                  <c:v>0.55931870875691103</c:v>
                </c:pt>
                <c:pt idx="31362">
                  <c:v>0.55933654360620599</c:v>
                </c:pt>
                <c:pt idx="31363">
                  <c:v>0.55935437845550195</c:v>
                </c:pt>
                <c:pt idx="31364">
                  <c:v>0.55937221330479703</c:v>
                </c:pt>
                <c:pt idx="31365">
                  <c:v>0.55939004815409299</c:v>
                </c:pt>
                <c:pt idx="31366">
                  <c:v>0.55940788300338795</c:v>
                </c:pt>
                <c:pt idx="31367">
                  <c:v>0.55942571785268402</c:v>
                </c:pt>
                <c:pt idx="31368">
                  <c:v>0.55944355270197899</c:v>
                </c:pt>
                <c:pt idx="31369">
                  <c:v>0.55946138755127495</c:v>
                </c:pt>
                <c:pt idx="31370">
                  <c:v>0.55947922240057002</c:v>
                </c:pt>
                <c:pt idx="31371">
                  <c:v>0.55949705724986598</c:v>
                </c:pt>
                <c:pt idx="31372">
                  <c:v>0.55951489209916105</c:v>
                </c:pt>
                <c:pt idx="31373">
                  <c:v>0.55953272694845702</c:v>
                </c:pt>
                <c:pt idx="31374">
                  <c:v>0.55955056179775198</c:v>
                </c:pt>
                <c:pt idx="31375">
                  <c:v>0.55956839664704805</c:v>
                </c:pt>
                <c:pt idx="31376">
                  <c:v>0.55958623149634301</c:v>
                </c:pt>
                <c:pt idx="31377">
                  <c:v>0.55960406634563897</c:v>
                </c:pt>
                <c:pt idx="31378">
                  <c:v>0.55962190119493405</c:v>
                </c:pt>
                <c:pt idx="31379">
                  <c:v>0.55963973604423001</c:v>
                </c:pt>
                <c:pt idx="31380">
                  <c:v>0.55965757089352597</c:v>
                </c:pt>
                <c:pt idx="31381">
                  <c:v>0.55967540574282104</c:v>
                </c:pt>
                <c:pt idx="31382">
                  <c:v>0.559693240592117</c:v>
                </c:pt>
                <c:pt idx="31383">
                  <c:v>0.55971107544141196</c:v>
                </c:pt>
                <c:pt idx="31384">
                  <c:v>0.55972891029070804</c:v>
                </c:pt>
                <c:pt idx="31385">
                  <c:v>0.559746745140003</c:v>
                </c:pt>
                <c:pt idx="31386">
                  <c:v>0.55976457998929896</c:v>
                </c:pt>
                <c:pt idx="31387">
                  <c:v>0.55978241483859403</c:v>
                </c:pt>
                <c:pt idx="31388">
                  <c:v>0.55980024968788999</c:v>
                </c:pt>
                <c:pt idx="31389">
                  <c:v>0.55981808453718496</c:v>
                </c:pt>
                <c:pt idx="31390">
                  <c:v>0.55983591938648103</c:v>
                </c:pt>
                <c:pt idx="31391">
                  <c:v>0.55985375423577599</c:v>
                </c:pt>
                <c:pt idx="31392">
                  <c:v>0.55987158908507195</c:v>
                </c:pt>
                <c:pt idx="31393">
                  <c:v>0.55988942393436703</c:v>
                </c:pt>
                <c:pt idx="31394">
                  <c:v>0.55990725878366299</c:v>
                </c:pt>
                <c:pt idx="31395">
                  <c:v>0.55992509363295795</c:v>
                </c:pt>
                <c:pt idx="31396">
                  <c:v>0.55994292848225402</c:v>
                </c:pt>
                <c:pt idx="31397">
                  <c:v>0.55996076333154898</c:v>
                </c:pt>
                <c:pt idx="31398">
                  <c:v>0.55997859818084506</c:v>
                </c:pt>
                <c:pt idx="31399">
                  <c:v>0.55999643303014002</c:v>
                </c:pt>
                <c:pt idx="31400">
                  <c:v>0.56001426787943598</c:v>
                </c:pt>
                <c:pt idx="31401">
                  <c:v>0.56003210272873105</c:v>
                </c:pt>
                <c:pt idx="31402">
                  <c:v>0.56004993757802701</c:v>
                </c:pt>
                <c:pt idx="31403">
                  <c:v>0.56006777242732297</c:v>
                </c:pt>
                <c:pt idx="31404">
                  <c:v>0.56008560727661805</c:v>
                </c:pt>
                <c:pt idx="31405">
                  <c:v>0.56010344212591401</c:v>
                </c:pt>
                <c:pt idx="31406">
                  <c:v>0.56012127697520897</c:v>
                </c:pt>
                <c:pt idx="31407">
                  <c:v>0.56013911182450504</c:v>
                </c:pt>
                <c:pt idx="31408">
                  <c:v>0.5601569466738</c:v>
                </c:pt>
                <c:pt idx="31409">
                  <c:v>0.56017478152309597</c:v>
                </c:pt>
                <c:pt idx="31410">
                  <c:v>0.56019261637239104</c:v>
                </c:pt>
                <c:pt idx="31411">
                  <c:v>0.560210451221687</c:v>
                </c:pt>
                <c:pt idx="31412">
                  <c:v>0.56022828607098196</c:v>
                </c:pt>
                <c:pt idx="31413">
                  <c:v>0.56024612092027803</c:v>
                </c:pt>
                <c:pt idx="31414">
                  <c:v>0.560263955769573</c:v>
                </c:pt>
                <c:pt idx="31415">
                  <c:v>0.56028179061886896</c:v>
                </c:pt>
                <c:pt idx="31416">
                  <c:v>0.56029962546816403</c:v>
                </c:pt>
                <c:pt idx="31417">
                  <c:v>0.56031746031745999</c:v>
                </c:pt>
                <c:pt idx="31418">
                  <c:v>0.56033529516675495</c:v>
                </c:pt>
                <c:pt idx="31419">
                  <c:v>0.56035313001605103</c:v>
                </c:pt>
                <c:pt idx="31420">
                  <c:v>0.56037096486534599</c:v>
                </c:pt>
                <c:pt idx="31421">
                  <c:v>0.56038879971464195</c:v>
                </c:pt>
                <c:pt idx="31422">
                  <c:v>0.56040663456393702</c:v>
                </c:pt>
                <c:pt idx="31423">
                  <c:v>0.56042446941323298</c:v>
                </c:pt>
                <c:pt idx="31424">
                  <c:v>0.56044230426252895</c:v>
                </c:pt>
                <c:pt idx="31425">
                  <c:v>0.56046013911182402</c:v>
                </c:pt>
                <c:pt idx="31426">
                  <c:v>0.56047797396111998</c:v>
                </c:pt>
                <c:pt idx="31427">
                  <c:v>0.56049580881041505</c:v>
                </c:pt>
                <c:pt idx="31428">
                  <c:v>0.56051364365971101</c:v>
                </c:pt>
                <c:pt idx="31429">
                  <c:v>0.56053147850900598</c:v>
                </c:pt>
                <c:pt idx="31430">
                  <c:v>0.56054931335830205</c:v>
                </c:pt>
                <c:pt idx="31431">
                  <c:v>0.56056714820759701</c:v>
                </c:pt>
                <c:pt idx="31432">
                  <c:v>0.56058498305689297</c:v>
                </c:pt>
                <c:pt idx="31433">
                  <c:v>0.56060281790618804</c:v>
                </c:pt>
                <c:pt idx="31434">
                  <c:v>0.56062065275548401</c:v>
                </c:pt>
                <c:pt idx="31435">
                  <c:v>0.56063848760477897</c:v>
                </c:pt>
                <c:pt idx="31436">
                  <c:v>0.56065632245407504</c:v>
                </c:pt>
                <c:pt idx="31437">
                  <c:v>0.56067415730337</c:v>
                </c:pt>
                <c:pt idx="31438">
                  <c:v>0.56069199215266596</c:v>
                </c:pt>
                <c:pt idx="31439">
                  <c:v>0.56070982700196104</c:v>
                </c:pt>
                <c:pt idx="31440">
                  <c:v>0.560727661851257</c:v>
                </c:pt>
                <c:pt idx="31441">
                  <c:v>0.56074549670055196</c:v>
                </c:pt>
                <c:pt idx="31442">
                  <c:v>0.56076333154984803</c:v>
                </c:pt>
                <c:pt idx="31443">
                  <c:v>0.56078116639914299</c:v>
                </c:pt>
                <c:pt idx="31444">
                  <c:v>0.56079900124843896</c:v>
                </c:pt>
                <c:pt idx="31445">
                  <c:v>0.56081683609773503</c:v>
                </c:pt>
                <c:pt idx="31446">
                  <c:v>0.56083467094702999</c:v>
                </c:pt>
                <c:pt idx="31447">
                  <c:v>0.56085250579632595</c:v>
                </c:pt>
                <c:pt idx="31448">
                  <c:v>0.56087034064562102</c:v>
                </c:pt>
                <c:pt idx="31449">
                  <c:v>0.56088817549491699</c:v>
                </c:pt>
                <c:pt idx="31450">
                  <c:v>0.56090601034421195</c:v>
                </c:pt>
                <c:pt idx="31451">
                  <c:v>0.56092384519350802</c:v>
                </c:pt>
                <c:pt idx="31452">
                  <c:v>0.56094168004280298</c:v>
                </c:pt>
                <c:pt idx="31453">
                  <c:v>0.56095951489209905</c:v>
                </c:pt>
                <c:pt idx="31454">
                  <c:v>0.56097734974139402</c:v>
                </c:pt>
                <c:pt idx="31455">
                  <c:v>0.56099518459068998</c:v>
                </c:pt>
                <c:pt idx="31456">
                  <c:v>0.56101301943998505</c:v>
                </c:pt>
                <c:pt idx="31457">
                  <c:v>0.56103085428928101</c:v>
                </c:pt>
                <c:pt idx="31458">
                  <c:v>0.56104868913857597</c:v>
                </c:pt>
                <c:pt idx="31459">
                  <c:v>0.56106652398787205</c:v>
                </c:pt>
                <c:pt idx="31460">
                  <c:v>0.56108435883716701</c:v>
                </c:pt>
                <c:pt idx="31461">
                  <c:v>0.56110219368646297</c:v>
                </c:pt>
                <c:pt idx="31462">
                  <c:v>0.56112002853575804</c:v>
                </c:pt>
                <c:pt idx="31463">
                  <c:v>0.561137863385054</c:v>
                </c:pt>
                <c:pt idx="31464">
                  <c:v>0.56115569823434996</c:v>
                </c:pt>
                <c:pt idx="31465">
                  <c:v>0.56117353308364504</c:v>
                </c:pt>
                <c:pt idx="31466">
                  <c:v>0.561191367932941</c:v>
                </c:pt>
                <c:pt idx="31467">
                  <c:v>0.56120920278223596</c:v>
                </c:pt>
                <c:pt idx="31468">
                  <c:v>0.56122703763153203</c:v>
                </c:pt>
                <c:pt idx="31469">
                  <c:v>0.561244872480827</c:v>
                </c:pt>
                <c:pt idx="31470">
                  <c:v>0.56126270733012296</c:v>
                </c:pt>
                <c:pt idx="31471">
                  <c:v>0.56128054217941803</c:v>
                </c:pt>
                <c:pt idx="31472">
                  <c:v>0.56129837702871399</c:v>
                </c:pt>
                <c:pt idx="31473">
                  <c:v>0.56131621187800895</c:v>
                </c:pt>
                <c:pt idx="31474">
                  <c:v>0.56133404672730502</c:v>
                </c:pt>
                <c:pt idx="31475">
                  <c:v>0.56135188157659999</c:v>
                </c:pt>
                <c:pt idx="31476">
                  <c:v>0.56136971642589595</c:v>
                </c:pt>
                <c:pt idx="31477">
                  <c:v>0.56138755127519102</c:v>
                </c:pt>
                <c:pt idx="31478">
                  <c:v>0.56140538612448698</c:v>
                </c:pt>
                <c:pt idx="31479">
                  <c:v>0.56142322097378194</c:v>
                </c:pt>
                <c:pt idx="31480">
                  <c:v>0.56144105582307802</c:v>
                </c:pt>
                <c:pt idx="31481">
                  <c:v>0.56145889067237298</c:v>
                </c:pt>
                <c:pt idx="31482">
                  <c:v>0.56147672552166905</c:v>
                </c:pt>
                <c:pt idx="31483">
                  <c:v>0.56149456037096401</c:v>
                </c:pt>
                <c:pt idx="31484">
                  <c:v>0.56151239522025997</c:v>
                </c:pt>
                <c:pt idx="31485">
                  <c:v>0.56153023006955505</c:v>
                </c:pt>
                <c:pt idx="31486">
                  <c:v>0.56154806491885101</c:v>
                </c:pt>
                <c:pt idx="31487">
                  <c:v>0.56156589976814697</c:v>
                </c:pt>
                <c:pt idx="31488">
                  <c:v>0.56158373461744204</c:v>
                </c:pt>
                <c:pt idx="31489">
                  <c:v>0.561601569466738</c:v>
                </c:pt>
                <c:pt idx="31490">
                  <c:v>0.56161940431603297</c:v>
                </c:pt>
                <c:pt idx="31491">
                  <c:v>0.56163723916532904</c:v>
                </c:pt>
                <c:pt idx="31492">
                  <c:v>0.561655074014624</c:v>
                </c:pt>
                <c:pt idx="31493">
                  <c:v>0.56167290886391996</c:v>
                </c:pt>
                <c:pt idx="31494">
                  <c:v>0.56169074371321503</c:v>
                </c:pt>
                <c:pt idx="31495">
                  <c:v>0.561708578562511</c:v>
                </c:pt>
                <c:pt idx="31496">
                  <c:v>0.56172641341180596</c:v>
                </c:pt>
                <c:pt idx="31497">
                  <c:v>0.56174424826110203</c:v>
                </c:pt>
                <c:pt idx="31498">
                  <c:v>0.56176208311039699</c:v>
                </c:pt>
                <c:pt idx="31499">
                  <c:v>0.56177991795969295</c:v>
                </c:pt>
                <c:pt idx="31500">
                  <c:v>0.56179775280898803</c:v>
                </c:pt>
                <c:pt idx="31501">
                  <c:v>0.56181558765828399</c:v>
                </c:pt>
                <c:pt idx="31502">
                  <c:v>0.56183342250757895</c:v>
                </c:pt>
                <c:pt idx="31503">
                  <c:v>0.56185125735687502</c:v>
                </c:pt>
                <c:pt idx="31504">
                  <c:v>0.56186909220616998</c:v>
                </c:pt>
                <c:pt idx="31505">
                  <c:v>0.56188692705546595</c:v>
                </c:pt>
                <c:pt idx="31506">
                  <c:v>0.56190476190476102</c:v>
                </c:pt>
                <c:pt idx="31507">
                  <c:v>0.56192259675405698</c:v>
                </c:pt>
                <c:pt idx="31508">
                  <c:v>0.56194043160335205</c:v>
                </c:pt>
                <c:pt idx="31509">
                  <c:v>0.56195826645264801</c:v>
                </c:pt>
                <c:pt idx="31510">
                  <c:v>0.56197610130194398</c:v>
                </c:pt>
                <c:pt idx="31511">
                  <c:v>0.56199393615123905</c:v>
                </c:pt>
                <c:pt idx="31512">
                  <c:v>0.56201177100053501</c:v>
                </c:pt>
                <c:pt idx="31513">
                  <c:v>0.56202960584982997</c:v>
                </c:pt>
                <c:pt idx="31514">
                  <c:v>0.56204744069912604</c:v>
                </c:pt>
                <c:pt idx="31515">
                  <c:v>0.56206527554842101</c:v>
                </c:pt>
                <c:pt idx="31516">
                  <c:v>0.56208311039771697</c:v>
                </c:pt>
                <c:pt idx="31517">
                  <c:v>0.56210094524701204</c:v>
                </c:pt>
                <c:pt idx="31518">
                  <c:v>0.562118780096308</c:v>
                </c:pt>
                <c:pt idx="31519">
                  <c:v>0.56213661494560296</c:v>
                </c:pt>
                <c:pt idx="31520">
                  <c:v>0.56215444979489904</c:v>
                </c:pt>
                <c:pt idx="31521">
                  <c:v>0.562172284644194</c:v>
                </c:pt>
                <c:pt idx="31522">
                  <c:v>0.56219011949348996</c:v>
                </c:pt>
                <c:pt idx="31523">
                  <c:v>0.56220795434278503</c:v>
                </c:pt>
                <c:pt idx="31524">
                  <c:v>0.56222578919208099</c:v>
                </c:pt>
                <c:pt idx="31525">
                  <c:v>0.56224362404137596</c:v>
                </c:pt>
                <c:pt idx="31526">
                  <c:v>0.56226145889067203</c:v>
                </c:pt>
                <c:pt idx="31527">
                  <c:v>0.56227929373996699</c:v>
                </c:pt>
                <c:pt idx="31528">
                  <c:v>0.56229712858926295</c:v>
                </c:pt>
                <c:pt idx="31529">
                  <c:v>0.56231496343855802</c:v>
                </c:pt>
                <c:pt idx="31530">
                  <c:v>0.56233279828785399</c:v>
                </c:pt>
                <c:pt idx="31531">
                  <c:v>0.56235063313714995</c:v>
                </c:pt>
                <c:pt idx="31532">
                  <c:v>0.56236846798644502</c:v>
                </c:pt>
                <c:pt idx="31533">
                  <c:v>0.56238630283574098</c:v>
                </c:pt>
                <c:pt idx="31534">
                  <c:v>0.56240413768503605</c:v>
                </c:pt>
                <c:pt idx="31535">
                  <c:v>0.56242197253433202</c:v>
                </c:pt>
                <c:pt idx="31536">
                  <c:v>0.56243980738362698</c:v>
                </c:pt>
                <c:pt idx="31537">
                  <c:v>0.56245764223292305</c:v>
                </c:pt>
                <c:pt idx="31538">
                  <c:v>0.56247547708221801</c:v>
                </c:pt>
                <c:pt idx="31539">
                  <c:v>0.56249331193151397</c:v>
                </c:pt>
                <c:pt idx="31540">
                  <c:v>0.56251114678080905</c:v>
                </c:pt>
                <c:pt idx="31541">
                  <c:v>0.56252898163010501</c:v>
                </c:pt>
                <c:pt idx="31542">
                  <c:v>0.56254681647939997</c:v>
                </c:pt>
                <c:pt idx="31543">
                  <c:v>0.56256465132869604</c:v>
                </c:pt>
                <c:pt idx="31544">
                  <c:v>0.562582486177991</c:v>
                </c:pt>
                <c:pt idx="31545">
                  <c:v>0.56260032102728696</c:v>
                </c:pt>
                <c:pt idx="31546">
                  <c:v>0.56261815587658204</c:v>
                </c:pt>
                <c:pt idx="31547">
                  <c:v>0.562635990725878</c:v>
                </c:pt>
                <c:pt idx="31548">
                  <c:v>0.56265382557517296</c:v>
                </c:pt>
                <c:pt idx="31549">
                  <c:v>0.56267166042446903</c:v>
                </c:pt>
                <c:pt idx="31550">
                  <c:v>0.562689495273764</c:v>
                </c:pt>
                <c:pt idx="31551">
                  <c:v>0.56270733012305996</c:v>
                </c:pt>
                <c:pt idx="31552">
                  <c:v>0.56272516497235603</c:v>
                </c:pt>
                <c:pt idx="31553">
                  <c:v>0.56274299982165099</c:v>
                </c:pt>
                <c:pt idx="31554">
                  <c:v>0.56276083467094695</c:v>
                </c:pt>
                <c:pt idx="31555">
                  <c:v>0.56277866952024203</c:v>
                </c:pt>
                <c:pt idx="31556">
                  <c:v>0.56279650436953799</c:v>
                </c:pt>
                <c:pt idx="31557">
                  <c:v>0.56281433921883295</c:v>
                </c:pt>
                <c:pt idx="31558">
                  <c:v>0.56283217406812902</c:v>
                </c:pt>
                <c:pt idx="31559">
                  <c:v>0.56285000891742398</c:v>
                </c:pt>
                <c:pt idx="31560">
                  <c:v>0.56286784376672006</c:v>
                </c:pt>
                <c:pt idx="31561">
                  <c:v>0.56288567861601502</c:v>
                </c:pt>
                <c:pt idx="31562">
                  <c:v>0.56290351346531098</c:v>
                </c:pt>
                <c:pt idx="31563">
                  <c:v>0.56292134831460605</c:v>
                </c:pt>
                <c:pt idx="31564">
                  <c:v>0.56293918316390201</c:v>
                </c:pt>
                <c:pt idx="31565">
                  <c:v>0.56295701801319697</c:v>
                </c:pt>
                <c:pt idx="31566">
                  <c:v>0.56297485286249305</c:v>
                </c:pt>
                <c:pt idx="31567">
                  <c:v>0.56299268771178801</c:v>
                </c:pt>
                <c:pt idx="31568">
                  <c:v>0.56301052256108397</c:v>
                </c:pt>
                <c:pt idx="31569">
                  <c:v>0.56302835741037904</c:v>
                </c:pt>
                <c:pt idx="31570">
                  <c:v>0.563046192259675</c:v>
                </c:pt>
                <c:pt idx="31571">
                  <c:v>0.56306402710897097</c:v>
                </c:pt>
                <c:pt idx="31572">
                  <c:v>0.56308186195826604</c:v>
                </c:pt>
                <c:pt idx="31573">
                  <c:v>0.563099696807562</c:v>
                </c:pt>
                <c:pt idx="31574">
                  <c:v>0.56311753165685696</c:v>
                </c:pt>
                <c:pt idx="31575">
                  <c:v>0.56313536650615303</c:v>
                </c:pt>
                <c:pt idx="31576">
                  <c:v>0.563153201355448</c:v>
                </c:pt>
                <c:pt idx="31577">
                  <c:v>0.56317103620474396</c:v>
                </c:pt>
                <c:pt idx="31578">
                  <c:v>0.56318887105403903</c:v>
                </c:pt>
                <c:pt idx="31579">
                  <c:v>0.56320670590333499</c:v>
                </c:pt>
                <c:pt idx="31580">
                  <c:v>0.56322454075262995</c:v>
                </c:pt>
                <c:pt idx="31581">
                  <c:v>0.56324237560192603</c:v>
                </c:pt>
                <c:pt idx="31582">
                  <c:v>0.56326021045122099</c:v>
                </c:pt>
                <c:pt idx="31583">
                  <c:v>0.56327804530051695</c:v>
                </c:pt>
                <c:pt idx="31584">
                  <c:v>0.56329588014981202</c:v>
                </c:pt>
                <c:pt idx="31585">
                  <c:v>0.56331371499910798</c:v>
                </c:pt>
                <c:pt idx="31586">
                  <c:v>0.56333154984840295</c:v>
                </c:pt>
                <c:pt idx="31587">
                  <c:v>0.56334938469769902</c:v>
                </c:pt>
                <c:pt idx="31588">
                  <c:v>0.56336721954699398</c:v>
                </c:pt>
                <c:pt idx="31589">
                  <c:v>0.56338505439629005</c:v>
                </c:pt>
                <c:pt idx="31590">
                  <c:v>0.56340288924558501</c:v>
                </c:pt>
                <c:pt idx="31591">
                  <c:v>0.56342072409488098</c:v>
                </c:pt>
                <c:pt idx="31592">
                  <c:v>0.56343855894417605</c:v>
                </c:pt>
                <c:pt idx="31593">
                  <c:v>0.56345639379347201</c:v>
                </c:pt>
                <c:pt idx="31594">
                  <c:v>0.56347422864276797</c:v>
                </c:pt>
                <c:pt idx="31595">
                  <c:v>0.56349206349206304</c:v>
                </c:pt>
                <c:pt idx="31596">
                  <c:v>0.56350989834135901</c:v>
                </c:pt>
                <c:pt idx="31597">
                  <c:v>0.56352773319065397</c:v>
                </c:pt>
                <c:pt idx="31598">
                  <c:v>0.56354556803995004</c:v>
                </c:pt>
                <c:pt idx="31599">
                  <c:v>0.563563402889245</c:v>
                </c:pt>
                <c:pt idx="31600">
                  <c:v>0.56358123773854096</c:v>
                </c:pt>
                <c:pt idx="31601">
                  <c:v>0.56359907258783604</c:v>
                </c:pt>
                <c:pt idx="31602">
                  <c:v>0.563616907437132</c:v>
                </c:pt>
                <c:pt idx="31603">
                  <c:v>0.56363474228642696</c:v>
                </c:pt>
                <c:pt idx="31604">
                  <c:v>0.56365257713572303</c:v>
                </c:pt>
                <c:pt idx="31605">
                  <c:v>0.56367041198501799</c:v>
                </c:pt>
                <c:pt idx="31606">
                  <c:v>0.56368824683431396</c:v>
                </c:pt>
                <c:pt idx="31607">
                  <c:v>0.56370608168360903</c:v>
                </c:pt>
                <c:pt idx="31608">
                  <c:v>0.56372391653290499</c:v>
                </c:pt>
                <c:pt idx="31609">
                  <c:v>0.56374175138219995</c:v>
                </c:pt>
                <c:pt idx="31610">
                  <c:v>0.56375958623149602</c:v>
                </c:pt>
                <c:pt idx="31611">
                  <c:v>0.56377742108079099</c:v>
                </c:pt>
                <c:pt idx="31612">
                  <c:v>0.56379525593008695</c:v>
                </c:pt>
                <c:pt idx="31613">
                  <c:v>0.56381309077938202</c:v>
                </c:pt>
                <c:pt idx="31614">
                  <c:v>0.56383092562867798</c:v>
                </c:pt>
                <c:pt idx="31615">
                  <c:v>0.56384876047797305</c:v>
                </c:pt>
                <c:pt idx="31616">
                  <c:v>0.56386659532726902</c:v>
                </c:pt>
                <c:pt idx="31617">
                  <c:v>0.56388443017656498</c:v>
                </c:pt>
                <c:pt idx="31618">
                  <c:v>0.56390226502586005</c:v>
                </c:pt>
                <c:pt idx="31619">
                  <c:v>0.56392009987515601</c:v>
                </c:pt>
                <c:pt idx="31620">
                  <c:v>0.56393793472445097</c:v>
                </c:pt>
                <c:pt idx="31621">
                  <c:v>0.56395576957374705</c:v>
                </c:pt>
                <c:pt idx="31622">
                  <c:v>0.56397360442304201</c:v>
                </c:pt>
                <c:pt idx="31623">
                  <c:v>0.56399143927233797</c:v>
                </c:pt>
                <c:pt idx="31624">
                  <c:v>0.56400927412163304</c:v>
                </c:pt>
                <c:pt idx="31625">
                  <c:v>0.564027108970929</c:v>
                </c:pt>
                <c:pt idx="31626">
                  <c:v>0.56404494382022397</c:v>
                </c:pt>
                <c:pt idx="31627">
                  <c:v>0.56406277866952004</c:v>
                </c:pt>
                <c:pt idx="31628">
                  <c:v>0.564080613518815</c:v>
                </c:pt>
                <c:pt idx="31629">
                  <c:v>0.56409844836811096</c:v>
                </c:pt>
                <c:pt idx="31630">
                  <c:v>0.56411628321740603</c:v>
                </c:pt>
                <c:pt idx="31631">
                  <c:v>0.56413411806670199</c:v>
                </c:pt>
                <c:pt idx="31632">
                  <c:v>0.56415195291599696</c:v>
                </c:pt>
                <c:pt idx="31633">
                  <c:v>0.56416978776529303</c:v>
                </c:pt>
                <c:pt idx="31634">
                  <c:v>0.56418762261458799</c:v>
                </c:pt>
                <c:pt idx="31635">
                  <c:v>0.56420545746388395</c:v>
                </c:pt>
                <c:pt idx="31636">
                  <c:v>0.56422329231317903</c:v>
                </c:pt>
                <c:pt idx="31637">
                  <c:v>0.56424112716247499</c:v>
                </c:pt>
                <c:pt idx="31638">
                  <c:v>0.56425896201177095</c:v>
                </c:pt>
                <c:pt idx="31639">
                  <c:v>0.56427679686106602</c:v>
                </c:pt>
                <c:pt idx="31640">
                  <c:v>0.56429463171036198</c:v>
                </c:pt>
                <c:pt idx="31641">
                  <c:v>0.56431246655965706</c:v>
                </c:pt>
                <c:pt idx="31642">
                  <c:v>0.56433030140895302</c:v>
                </c:pt>
                <c:pt idx="31643">
                  <c:v>0.56434813625824798</c:v>
                </c:pt>
                <c:pt idx="31644">
                  <c:v>0.56436597110754405</c:v>
                </c:pt>
                <c:pt idx="31645">
                  <c:v>0.56438380595683901</c:v>
                </c:pt>
                <c:pt idx="31646">
                  <c:v>0.56440164080613497</c:v>
                </c:pt>
                <c:pt idx="31647">
                  <c:v>0.56441947565543005</c:v>
                </c:pt>
                <c:pt idx="31648">
                  <c:v>0.56443731050472601</c:v>
                </c:pt>
                <c:pt idx="31649">
                  <c:v>0.56445514535402097</c:v>
                </c:pt>
                <c:pt idx="31650">
                  <c:v>0.56447298020331704</c:v>
                </c:pt>
                <c:pt idx="31651">
                  <c:v>0.564490815052612</c:v>
                </c:pt>
                <c:pt idx="31652">
                  <c:v>0.56450864990190797</c:v>
                </c:pt>
                <c:pt idx="31653">
                  <c:v>0.56452648475120304</c:v>
                </c:pt>
                <c:pt idx="31654">
                  <c:v>0.564544319600499</c:v>
                </c:pt>
                <c:pt idx="31655">
                  <c:v>0.56456215444979396</c:v>
                </c:pt>
                <c:pt idx="31656">
                  <c:v>0.56457998929909003</c:v>
                </c:pt>
                <c:pt idx="31657">
                  <c:v>0.564597824148386</c:v>
                </c:pt>
                <c:pt idx="31658">
                  <c:v>0.56461565899768096</c:v>
                </c:pt>
                <c:pt idx="31659">
                  <c:v>0.56463349384697703</c:v>
                </c:pt>
                <c:pt idx="31660">
                  <c:v>0.56465132869627199</c:v>
                </c:pt>
                <c:pt idx="31661">
                  <c:v>0.56466916354556795</c:v>
                </c:pt>
                <c:pt idx="31662">
                  <c:v>0.56468699839486303</c:v>
                </c:pt>
                <c:pt idx="31663">
                  <c:v>0.56470483324415899</c:v>
                </c:pt>
                <c:pt idx="31664">
                  <c:v>0.56472266809345395</c:v>
                </c:pt>
                <c:pt idx="31665">
                  <c:v>0.56474050294275002</c:v>
                </c:pt>
                <c:pt idx="31666">
                  <c:v>0.56475833779204498</c:v>
                </c:pt>
                <c:pt idx="31667">
                  <c:v>0.56477617264134095</c:v>
                </c:pt>
                <c:pt idx="31668">
                  <c:v>0.56479400749063602</c:v>
                </c:pt>
                <c:pt idx="31669">
                  <c:v>0.56481184233993198</c:v>
                </c:pt>
                <c:pt idx="31670">
                  <c:v>0.56482967718922705</c:v>
                </c:pt>
                <c:pt idx="31671">
                  <c:v>0.56484751203852301</c:v>
                </c:pt>
                <c:pt idx="31672">
                  <c:v>0.56486534688781798</c:v>
                </c:pt>
                <c:pt idx="31673">
                  <c:v>0.56488318173711405</c:v>
                </c:pt>
                <c:pt idx="31674">
                  <c:v>0.56490101658640901</c:v>
                </c:pt>
                <c:pt idx="31675">
                  <c:v>0.56491885143570497</c:v>
                </c:pt>
                <c:pt idx="31676">
                  <c:v>0.56493668628500004</c:v>
                </c:pt>
                <c:pt idx="31677">
                  <c:v>0.56495452113429601</c:v>
                </c:pt>
                <c:pt idx="31678">
                  <c:v>0.56497235598359197</c:v>
                </c:pt>
                <c:pt idx="31679">
                  <c:v>0.56499019083288704</c:v>
                </c:pt>
                <c:pt idx="31680">
                  <c:v>0.565008025682183</c:v>
                </c:pt>
                <c:pt idx="31681">
                  <c:v>0.56502586053147796</c:v>
                </c:pt>
                <c:pt idx="31682">
                  <c:v>0.56504369538077404</c:v>
                </c:pt>
                <c:pt idx="31683">
                  <c:v>0.565061530230069</c:v>
                </c:pt>
                <c:pt idx="31684">
                  <c:v>0.56507936507936496</c:v>
                </c:pt>
                <c:pt idx="31685">
                  <c:v>0.56509719992866003</c:v>
                </c:pt>
                <c:pt idx="31686">
                  <c:v>0.56511503477795599</c:v>
                </c:pt>
                <c:pt idx="31687">
                  <c:v>0.56513286962725096</c:v>
                </c:pt>
                <c:pt idx="31688">
                  <c:v>0.56515070447654703</c:v>
                </c:pt>
                <c:pt idx="31689">
                  <c:v>0.56516853932584199</c:v>
                </c:pt>
                <c:pt idx="31690">
                  <c:v>0.56518637417513795</c:v>
                </c:pt>
                <c:pt idx="31691">
                  <c:v>0.56520420902443302</c:v>
                </c:pt>
                <c:pt idx="31692">
                  <c:v>0.56522204387372899</c:v>
                </c:pt>
                <c:pt idx="31693">
                  <c:v>0.56523987872302395</c:v>
                </c:pt>
                <c:pt idx="31694">
                  <c:v>0.56525771357232002</c:v>
                </c:pt>
                <c:pt idx="31695">
                  <c:v>0.56527554842161498</c:v>
                </c:pt>
                <c:pt idx="31696">
                  <c:v>0.56529338327091105</c:v>
                </c:pt>
                <c:pt idx="31697">
                  <c:v>0.56531121812020602</c:v>
                </c:pt>
                <c:pt idx="31698">
                  <c:v>0.56532905296950198</c:v>
                </c:pt>
                <c:pt idx="31699">
                  <c:v>0.56534688781879705</c:v>
                </c:pt>
                <c:pt idx="31700">
                  <c:v>0.56536472266809301</c:v>
                </c:pt>
                <c:pt idx="31701">
                  <c:v>0.56538255751738897</c:v>
                </c:pt>
                <c:pt idx="31702">
                  <c:v>0.56540039236668405</c:v>
                </c:pt>
                <c:pt idx="31703">
                  <c:v>0.56541822721598001</c:v>
                </c:pt>
                <c:pt idx="31704">
                  <c:v>0.56543606206527497</c:v>
                </c:pt>
                <c:pt idx="31705">
                  <c:v>0.56545389691457104</c:v>
                </c:pt>
                <c:pt idx="31706">
                  <c:v>0.565471731763866</c:v>
                </c:pt>
                <c:pt idx="31707">
                  <c:v>0.56548956661316196</c:v>
                </c:pt>
                <c:pt idx="31708">
                  <c:v>0.56550740146245704</c:v>
                </c:pt>
                <c:pt idx="31709">
                  <c:v>0.565525236311753</c:v>
                </c:pt>
                <c:pt idx="31710">
                  <c:v>0.56554307116104796</c:v>
                </c:pt>
                <c:pt idx="31711">
                  <c:v>0.56556090601034403</c:v>
                </c:pt>
                <c:pt idx="31712">
                  <c:v>0.565578740859639</c:v>
                </c:pt>
                <c:pt idx="31713">
                  <c:v>0.56559657570893496</c:v>
                </c:pt>
                <c:pt idx="31714">
                  <c:v>0.56561441055823003</c:v>
                </c:pt>
                <c:pt idx="31715">
                  <c:v>0.56563224540752599</c:v>
                </c:pt>
                <c:pt idx="31716">
                  <c:v>0.56565008025682095</c:v>
                </c:pt>
                <c:pt idx="31717">
                  <c:v>0.56566791510611703</c:v>
                </c:pt>
                <c:pt idx="31718">
                  <c:v>0.56568574995541199</c:v>
                </c:pt>
                <c:pt idx="31719">
                  <c:v>0.56570358480470795</c:v>
                </c:pt>
                <c:pt idx="31720">
                  <c:v>0.56572141965400302</c:v>
                </c:pt>
                <c:pt idx="31721">
                  <c:v>0.56573925450329898</c:v>
                </c:pt>
                <c:pt idx="31722">
                  <c:v>0.56575708935259394</c:v>
                </c:pt>
                <c:pt idx="31723">
                  <c:v>0.56577492420189002</c:v>
                </c:pt>
                <c:pt idx="31724">
                  <c:v>0.56579275905118598</c:v>
                </c:pt>
                <c:pt idx="31725">
                  <c:v>0.56581059390048105</c:v>
                </c:pt>
                <c:pt idx="31726">
                  <c:v>0.56582842874977701</c:v>
                </c:pt>
                <c:pt idx="31727">
                  <c:v>0.56584626359907197</c:v>
                </c:pt>
                <c:pt idx="31728">
                  <c:v>0.56586409844836805</c:v>
                </c:pt>
                <c:pt idx="31729">
                  <c:v>0.56588193329766301</c:v>
                </c:pt>
                <c:pt idx="31730">
                  <c:v>0.56589976814695897</c:v>
                </c:pt>
                <c:pt idx="31731">
                  <c:v>0.56591760299625404</c:v>
                </c:pt>
                <c:pt idx="31732">
                  <c:v>0.56593543784555</c:v>
                </c:pt>
                <c:pt idx="31733">
                  <c:v>0.56595327269484497</c:v>
                </c:pt>
                <c:pt idx="31734">
                  <c:v>0.56597110754414104</c:v>
                </c:pt>
                <c:pt idx="31735">
                  <c:v>0.565988942393436</c:v>
                </c:pt>
                <c:pt idx="31736">
                  <c:v>0.56600677724273196</c:v>
                </c:pt>
                <c:pt idx="31737">
                  <c:v>0.56602461209202704</c:v>
                </c:pt>
                <c:pt idx="31738">
                  <c:v>0.566042446941323</c:v>
                </c:pt>
                <c:pt idx="31739">
                  <c:v>0.56606028179061796</c:v>
                </c:pt>
                <c:pt idx="31740">
                  <c:v>0.56607811663991403</c:v>
                </c:pt>
                <c:pt idx="31741">
                  <c:v>0.56609595148920899</c:v>
                </c:pt>
                <c:pt idx="31742">
                  <c:v>0.56611378633850495</c:v>
                </c:pt>
                <c:pt idx="31743">
                  <c:v>0.56613162118780003</c:v>
                </c:pt>
                <c:pt idx="31744">
                  <c:v>0.56614945603709599</c:v>
                </c:pt>
                <c:pt idx="31745">
                  <c:v>0.56616729088639195</c:v>
                </c:pt>
                <c:pt idx="31746">
                  <c:v>0.56618512573568702</c:v>
                </c:pt>
                <c:pt idx="31747">
                  <c:v>0.56620296058498298</c:v>
                </c:pt>
                <c:pt idx="31748">
                  <c:v>0.56622079543427795</c:v>
                </c:pt>
                <c:pt idx="31749">
                  <c:v>0.56623863028357402</c:v>
                </c:pt>
                <c:pt idx="31750">
                  <c:v>0.56625646513286898</c:v>
                </c:pt>
                <c:pt idx="31751">
                  <c:v>0.56627429998216505</c:v>
                </c:pt>
                <c:pt idx="31752">
                  <c:v>0.56629213483146001</c:v>
                </c:pt>
                <c:pt idx="31753">
                  <c:v>0.56630996968075598</c:v>
                </c:pt>
                <c:pt idx="31754">
                  <c:v>0.56632780453005105</c:v>
                </c:pt>
                <c:pt idx="31755">
                  <c:v>0.56634563937934701</c:v>
                </c:pt>
                <c:pt idx="31756">
                  <c:v>0.56636347422864197</c:v>
                </c:pt>
                <c:pt idx="31757">
                  <c:v>0.56638130907793804</c:v>
                </c:pt>
                <c:pt idx="31758">
                  <c:v>0.56639914392723301</c:v>
                </c:pt>
                <c:pt idx="31759">
                  <c:v>0.56641697877652897</c:v>
                </c:pt>
                <c:pt idx="31760">
                  <c:v>0.56643481362582404</c:v>
                </c:pt>
                <c:pt idx="31761">
                  <c:v>0.56645264847512</c:v>
                </c:pt>
                <c:pt idx="31762">
                  <c:v>0.56647048332441596</c:v>
                </c:pt>
                <c:pt idx="31763">
                  <c:v>0.56648831817371104</c:v>
                </c:pt>
                <c:pt idx="31764">
                  <c:v>0.566506153023007</c:v>
                </c:pt>
                <c:pt idx="31765">
                  <c:v>0.56652398787230196</c:v>
                </c:pt>
                <c:pt idx="31766">
                  <c:v>0.56654182272159803</c:v>
                </c:pt>
                <c:pt idx="31767">
                  <c:v>0.56655965757089299</c:v>
                </c:pt>
                <c:pt idx="31768">
                  <c:v>0.56657749242018896</c:v>
                </c:pt>
                <c:pt idx="31769">
                  <c:v>0.56659532726948403</c:v>
                </c:pt>
                <c:pt idx="31770">
                  <c:v>0.56661316211877999</c:v>
                </c:pt>
                <c:pt idx="31771">
                  <c:v>0.56663099696807495</c:v>
                </c:pt>
                <c:pt idx="31772">
                  <c:v>0.56664883181737102</c:v>
                </c:pt>
                <c:pt idx="31773">
                  <c:v>0.56666666666666599</c:v>
                </c:pt>
                <c:pt idx="31774">
                  <c:v>0.56668450151596195</c:v>
                </c:pt>
                <c:pt idx="31775">
                  <c:v>0.56670233636525702</c:v>
                </c:pt>
                <c:pt idx="31776">
                  <c:v>0.56672017121455298</c:v>
                </c:pt>
                <c:pt idx="31777">
                  <c:v>0.56673800606384805</c:v>
                </c:pt>
                <c:pt idx="31778">
                  <c:v>0.56675584091314402</c:v>
                </c:pt>
                <c:pt idx="31779">
                  <c:v>0.56677367576243898</c:v>
                </c:pt>
                <c:pt idx="31780">
                  <c:v>0.56679151061173505</c:v>
                </c:pt>
                <c:pt idx="31781">
                  <c:v>0.56680934546103001</c:v>
                </c:pt>
                <c:pt idx="31782">
                  <c:v>0.56682718031032597</c:v>
                </c:pt>
                <c:pt idx="31783">
                  <c:v>0.56684501515962105</c:v>
                </c:pt>
                <c:pt idx="31784">
                  <c:v>0.56686285000891701</c:v>
                </c:pt>
                <c:pt idx="31785">
                  <c:v>0.56688068485821297</c:v>
                </c:pt>
                <c:pt idx="31786">
                  <c:v>0.56689851970750804</c:v>
                </c:pt>
                <c:pt idx="31787">
                  <c:v>0.566916354556804</c:v>
                </c:pt>
                <c:pt idx="31788">
                  <c:v>0.56693418940609897</c:v>
                </c:pt>
                <c:pt idx="31789">
                  <c:v>0.56695202425539504</c:v>
                </c:pt>
                <c:pt idx="31790">
                  <c:v>0.56696985910469</c:v>
                </c:pt>
                <c:pt idx="31791">
                  <c:v>0.56698769395398596</c:v>
                </c:pt>
                <c:pt idx="31792">
                  <c:v>0.56700552880328103</c:v>
                </c:pt>
                <c:pt idx="31793">
                  <c:v>0.56702336365257699</c:v>
                </c:pt>
                <c:pt idx="31794">
                  <c:v>0.56704119850187196</c:v>
                </c:pt>
                <c:pt idx="31795">
                  <c:v>0.56705903335116803</c:v>
                </c:pt>
                <c:pt idx="31796">
                  <c:v>0.56707686820046299</c:v>
                </c:pt>
                <c:pt idx="31797">
                  <c:v>0.56709470304975895</c:v>
                </c:pt>
                <c:pt idx="31798">
                  <c:v>0.56711253789905403</c:v>
                </c:pt>
                <c:pt idx="31799">
                  <c:v>0.56713037274834999</c:v>
                </c:pt>
                <c:pt idx="31800">
                  <c:v>0.56714820759764495</c:v>
                </c:pt>
                <c:pt idx="31801">
                  <c:v>0.56716604244694102</c:v>
                </c:pt>
                <c:pt idx="31802">
                  <c:v>0.56718387729623598</c:v>
                </c:pt>
                <c:pt idx="31803">
                  <c:v>0.56720171214553206</c:v>
                </c:pt>
                <c:pt idx="31804">
                  <c:v>0.56721954699482702</c:v>
                </c:pt>
                <c:pt idx="31805">
                  <c:v>0.56723738184412298</c:v>
                </c:pt>
                <c:pt idx="31806">
                  <c:v>0.56725521669341805</c:v>
                </c:pt>
                <c:pt idx="31807">
                  <c:v>0.56727305154271401</c:v>
                </c:pt>
                <c:pt idx="31808">
                  <c:v>0.56729088639200997</c:v>
                </c:pt>
                <c:pt idx="31809">
                  <c:v>0.56730872124130505</c:v>
                </c:pt>
                <c:pt idx="31810">
                  <c:v>0.56732655609060101</c:v>
                </c:pt>
                <c:pt idx="31811">
                  <c:v>0.56734439093989597</c:v>
                </c:pt>
                <c:pt idx="31812">
                  <c:v>0.56736222578919204</c:v>
                </c:pt>
                <c:pt idx="31813">
                  <c:v>0.567380060638487</c:v>
                </c:pt>
                <c:pt idx="31814">
                  <c:v>0.56739789548778297</c:v>
                </c:pt>
                <c:pt idx="31815">
                  <c:v>0.56741573033707804</c:v>
                </c:pt>
                <c:pt idx="31816">
                  <c:v>0.567433565186374</c:v>
                </c:pt>
                <c:pt idx="31817">
                  <c:v>0.56745140003566896</c:v>
                </c:pt>
                <c:pt idx="31818">
                  <c:v>0.56746923488496503</c:v>
                </c:pt>
                <c:pt idx="31819">
                  <c:v>0.56748706973426</c:v>
                </c:pt>
                <c:pt idx="31820">
                  <c:v>0.56750490458355596</c:v>
                </c:pt>
                <c:pt idx="31821">
                  <c:v>0.56752273943285103</c:v>
                </c:pt>
                <c:pt idx="31822">
                  <c:v>0.56754057428214699</c:v>
                </c:pt>
                <c:pt idx="31823">
                  <c:v>0.56755840913144195</c:v>
                </c:pt>
                <c:pt idx="31824">
                  <c:v>0.56757624398073803</c:v>
                </c:pt>
                <c:pt idx="31825">
                  <c:v>0.56759407883003299</c:v>
                </c:pt>
                <c:pt idx="31826">
                  <c:v>0.56761191367932895</c:v>
                </c:pt>
                <c:pt idx="31827">
                  <c:v>0.56762974852862402</c:v>
                </c:pt>
                <c:pt idx="31828">
                  <c:v>0.56764758337791998</c:v>
                </c:pt>
                <c:pt idx="31829">
                  <c:v>0.56766541822721595</c:v>
                </c:pt>
                <c:pt idx="31830">
                  <c:v>0.56768325307651102</c:v>
                </c:pt>
                <c:pt idx="31831">
                  <c:v>0.56770108792580698</c:v>
                </c:pt>
                <c:pt idx="31832">
                  <c:v>0.56771892277510205</c:v>
                </c:pt>
                <c:pt idx="31833">
                  <c:v>0.56773675762439801</c:v>
                </c:pt>
                <c:pt idx="31834">
                  <c:v>0.56775459247369298</c:v>
                </c:pt>
                <c:pt idx="31835">
                  <c:v>0.56777242732298905</c:v>
                </c:pt>
                <c:pt idx="31836">
                  <c:v>0.56779026217228401</c:v>
                </c:pt>
                <c:pt idx="31837">
                  <c:v>0.56780809702157997</c:v>
                </c:pt>
                <c:pt idx="31838">
                  <c:v>0.56782593187087504</c:v>
                </c:pt>
                <c:pt idx="31839">
                  <c:v>0.56784376672017101</c:v>
                </c:pt>
                <c:pt idx="31840">
                  <c:v>0.56786160156946597</c:v>
                </c:pt>
                <c:pt idx="31841">
                  <c:v>0.56787943641876204</c:v>
                </c:pt>
                <c:pt idx="31842">
                  <c:v>0.567897271268057</c:v>
                </c:pt>
                <c:pt idx="31843">
                  <c:v>0.56791510611735296</c:v>
                </c:pt>
                <c:pt idx="31844">
                  <c:v>0.56793294096664804</c:v>
                </c:pt>
                <c:pt idx="31845">
                  <c:v>0.567950775815944</c:v>
                </c:pt>
                <c:pt idx="31846">
                  <c:v>0.56796861066523896</c:v>
                </c:pt>
                <c:pt idx="31847">
                  <c:v>0.56798644551453503</c:v>
                </c:pt>
                <c:pt idx="31848">
                  <c:v>0.56800428036382999</c:v>
                </c:pt>
                <c:pt idx="31849">
                  <c:v>0.56802211521312596</c:v>
                </c:pt>
                <c:pt idx="31850">
                  <c:v>0.56803995006242203</c:v>
                </c:pt>
                <c:pt idx="31851">
                  <c:v>0.56805778491171699</c:v>
                </c:pt>
                <c:pt idx="31852">
                  <c:v>0.56807561976101295</c:v>
                </c:pt>
                <c:pt idx="31853">
                  <c:v>0.56809345461030802</c:v>
                </c:pt>
                <c:pt idx="31854">
                  <c:v>0.56811128945960399</c:v>
                </c:pt>
                <c:pt idx="31855">
                  <c:v>0.56812912430889895</c:v>
                </c:pt>
                <c:pt idx="31856">
                  <c:v>0.56814695915819502</c:v>
                </c:pt>
                <c:pt idx="31857">
                  <c:v>0.56816479400748998</c:v>
                </c:pt>
                <c:pt idx="31858">
                  <c:v>0.56818262885678605</c:v>
                </c:pt>
                <c:pt idx="31859">
                  <c:v>0.56820046370608102</c:v>
                </c:pt>
                <c:pt idx="31860">
                  <c:v>0.56821829855537698</c:v>
                </c:pt>
                <c:pt idx="31861">
                  <c:v>0.56823613340467205</c:v>
                </c:pt>
                <c:pt idx="31862">
                  <c:v>0.56825396825396801</c:v>
                </c:pt>
                <c:pt idx="31863">
                  <c:v>0.56827180310326297</c:v>
                </c:pt>
                <c:pt idx="31864">
                  <c:v>0.56828963795255905</c:v>
                </c:pt>
                <c:pt idx="31865">
                  <c:v>0.56830747280185401</c:v>
                </c:pt>
                <c:pt idx="31866">
                  <c:v>0.56832530765114997</c:v>
                </c:pt>
                <c:pt idx="31867">
                  <c:v>0.56834314250044504</c:v>
                </c:pt>
                <c:pt idx="31868">
                  <c:v>0.568360977349741</c:v>
                </c:pt>
                <c:pt idx="31869">
                  <c:v>0.56837881219903696</c:v>
                </c:pt>
                <c:pt idx="31870">
                  <c:v>0.56839664704833204</c:v>
                </c:pt>
                <c:pt idx="31871">
                  <c:v>0.568414481897628</c:v>
                </c:pt>
                <c:pt idx="31872">
                  <c:v>0.56843231674692296</c:v>
                </c:pt>
                <c:pt idx="31873">
                  <c:v>0.56845015159621903</c:v>
                </c:pt>
                <c:pt idx="31874">
                  <c:v>0.568467986445514</c:v>
                </c:pt>
                <c:pt idx="31875">
                  <c:v>0.56848582129480996</c:v>
                </c:pt>
                <c:pt idx="31876">
                  <c:v>0.56850365614410503</c:v>
                </c:pt>
                <c:pt idx="31877">
                  <c:v>0.56852149099340099</c:v>
                </c:pt>
                <c:pt idx="31878">
                  <c:v>0.56853932584269595</c:v>
                </c:pt>
                <c:pt idx="31879">
                  <c:v>0.56855716069199203</c:v>
                </c:pt>
                <c:pt idx="31880">
                  <c:v>0.56857499554128699</c:v>
                </c:pt>
                <c:pt idx="31881">
                  <c:v>0.56859283039058295</c:v>
                </c:pt>
                <c:pt idx="31882">
                  <c:v>0.56861066523987802</c:v>
                </c:pt>
                <c:pt idx="31883">
                  <c:v>0.56862850008917398</c:v>
                </c:pt>
                <c:pt idx="31884">
                  <c:v>0.56864633493846894</c:v>
                </c:pt>
                <c:pt idx="31885">
                  <c:v>0.56866416978776502</c:v>
                </c:pt>
                <c:pt idx="31886">
                  <c:v>0.56868200463705998</c:v>
                </c:pt>
                <c:pt idx="31887">
                  <c:v>0.56869983948635605</c:v>
                </c:pt>
                <c:pt idx="31888">
                  <c:v>0.56871767433565101</c:v>
                </c:pt>
                <c:pt idx="31889">
                  <c:v>0.56873550918494697</c:v>
                </c:pt>
                <c:pt idx="31890">
                  <c:v>0.56875334403424205</c:v>
                </c:pt>
                <c:pt idx="31891">
                  <c:v>0.56877117888353801</c:v>
                </c:pt>
                <c:pt idx="31892">
                  <c:v>0.56878901373283397</c:v>
                </c:pt>
                <c:pt idx="31893">
                  <c:v>0.56880684858212904</c:v>
                </c:pt>
                <c:pt idx="31894">
                  <c:v>0.568824683431425</c:v>
                </c:pt>
                <c:pt idx="31895">
                  <c:v>0.56884251828071997</c:v>
                </c:pt>
                <c:pt idx="31896">
                  <c:v>0.56886035313001604</c:v>
                </c:pt>
                <c:pt idx="31897">
                  <c:v>0.568878187979311</c:v>
                </c:pt>
                <c:pt idx="31898">
                  <c:v>0.56889602282860696</c:v>
                </c:pt>
                <c:pt idx="31899">
                  <c:v>0.56891385767790204</c:v>
                </c:pt>
                <c:pt idx="31900">
                  <c:v>0.568931692527198</c:v>
                </c:pt>
                <c:pt idx="31901">
                  <c:v>0.56894952737649296</c:v>
                </c:pt>
                <c:pt idx="31902">
                  <c:v>0.56896736222578903</c:v>
                </c:pt>
                <c:pt idx="31903">
                  <c:v>0.56898519707508399</c:v>
                </c:pt>
                <c:pt idx="31904">
                  <c:v>0.56900303192437995</c:v>
                </c:pt>
                <c:pt idx="31905">
                  <c:v>0.56902086677367503</c:v>
                </c:pt>
                <c:pt idx="31906">
                  <c:v>0.56903870162297099</c:v>
                </c:pt>
                <c:pt idx="31907">
                  <c:v>0.56905653647226595</c:v>
                </c:pt>
                <c:pt idx="31908">
                  <c:v>0.56907437132156202</c:v>
                </c:pt>
                <c:pt idx="31909">
                  <c:v>0.56909220617085698</c:v>
                </c:pt>
                <c:pt idx="31910">
                  <c:v>0.56911004102015295</c:v>
                </c:pt>
                <c:pt idx="31911">
                  <c:v>0.56912787586944802</c:v>
                </c:pt>
                <c:pt idx="31912">
                  <c:v>0.56914571071874398</c:v>
                </c:pt>
                <c:pt idx="31913">
                  <c:v>0.56916354556803905</c:v>
                </c:pt>
                <c:pt idx="31914">
                  <c:v>0.56918138041733501</c:v>
                </c:pt>
                <c:pt idx="31915">
                  <c:v>0.56919921526663098</c:v>
                </c:pt>
                <c:pt idx="31916">
                  <c:v>0.56921705011592605</c:v>
                </c:pt>
                <c:pt idx="31917">
                  <c:v>0.56923488496522201</c:v>
                </c:pt>
                <c:pt idx="31918">
                  <c:v>0.56925271981451697</c:v>
                </c:pt>
                <c:pt idx="31919">
                  <c:v>0.56927055466381304</c:v>
                </c:pt>
                <c:pt idx="31920">
                  <c:v>0.56928838951310801</c:v>
                </c:pt>
                <c:pt idx="31921">
                  <c:v>0.56930622436240397</c:v>
                </c:pt>
                <c:pt idx="31922">
                  <c:v>0.56932405921169904</c:v>
                </c:pt>
                <c:pt idx="31923">
                  <c:v>0.569341894060995</c:v>
                </c:pt>
                <c:pt idx="31924">
                  <c:v>0.56935972891028996</c:v>
                </c:pt>
                <c:pt idx="31925">
                  <c:v>0.56937756375958604</c:v>
                </c:pt>
                <c:pt idx="31926">
                  <c:v>0.569395398608881</c:v>
                </c:pt>
                <c:pt idx="31927">
                  <c:v>0.56941323345817696</c:v>
                </c:pt>
                <c:pt idx="31928">
                  <c:v>0.56943106830747203</c:v>
                </c:pt>
                <c:pt idx="31929">
                  <c:v>0.56944890315676799</c:v>
                </c:pt>
                <c:pt idx="31930">
                  <c:v>0.56946673800606296</c:v>
                </c:pt>
                <c:pt idx="31931">
                  <c:v>0.56948457285535903</c:v>
                </c:pt>
                <c:pt idx="31932">
                  <c:v>0.56950240770465399</c:v>
                </c:pt>
                <c:pt idx="31933">
                  <c:v>0.56952024255394995</c:v>
                </c:pt>
                <c:pt idx="31934">
                  <c:v>0.56953807740324502</c:v>
                </c:pt>
                <c:pt idx="31935">
                  <c:v>0.56955591225254099</c:v>
                </c:pt>
                <c:pt idx="31936">
                  <c:v>0.56957374710183695</c:v>
                </c:pt>
                <c:pt idx="31937">
                  <c:v>0.56959158195113202</c:v>
                </c:pt>
                <c:pt idx="31938">
                  <c:v>0.56960941680042798</c:v>
                </c:pt>
                <c:pt idx="31939">
                  <c:v>0.56962725164972305</c:v>
                </c:pt>
                <c:pt idx="31940">
                  <c:v>0.56964508649901902</c:v>
                </c:pt>
                <c:pt idx="31941">
                  <c:v>0.56966292134831398</c:v>
                </c:pt>
                <c:pt idx="31942">
                  <c:v>0.56968075619761005</c:v>
                </c:pt>
                <c:pt idx="31943">
                  <c:v>0.56969859104690501</c:v>
                </c:pt>
                <c:pt idx="31944">
                  <c:v>0.56971642589620097</c:v>
                </c:pt>
                <c:pt idx="31945">
                  <c:v>0.56973426074549605</c:v>
                </c:pt>
                <c:pt idx="31946">
                  <c:v>0.56975209559479201</c:v>
                </c:pt>
                <c:pt idx="31947">
                  <c:v>0.56976993044408697</c:v>
                </c:pt>
                <c:pt idx="31948">
                  <c:v>0.56978776529338304</c:v>
                </c:pt>
                <c:pt idx="31949">
                  <c:v>0.569805600142678</c:v>
                </c:pt>
                <c:pt idx="31950">
                  <c:v>0.56982343499197396</c:v>
                </c:pt>
                <c:pt idx="31951">
                  <c:v>0.56984126984126904</c:v>
                </c:pt>
                <c:pt idx="31952">
                  <c:v>0.569859104690565</c:v>
                </c:pt>
                <c:pt idx="31953">
                  <c:v>0.56987693953985996</c:v>
                </c:pt>
                <c:pt idx="31954">
                  <c:v>0.56989477438915603</c:v>
                </c:pt>
                <c:pt idx="31955">
                  <c:v>0.569912609238451</c:v>
                </c:pt>
                <c:pt idx="31956">
                  <c:v>0.56993044408774696</c:v>
                </c:pt>
                <c:pt idx="31957">
                  <c:v>0.56994827893704303</c:v>
                </c:pt>
                <c:pt idx="31958">
                  <c:v>0.56996611378633799</c:v>
                </c:pt>
                <c:pt idx="31959">
                  <c:v>0.56998394863563395</c:v>
                </c:pt>
                <c:pt idx="31960">
                  <c:v>0.57000178348492903</c:v>
                </c:pt>
                <c:pt idx="31961">
                  <c:v>0.57001961833422499</c:v>
                </c:pt>
                <c:pt idx="31962">
                  <c:v>0.57003745318351995</c:v>
                </c:pt>
                <c:pt idx="31963">
                  <c:v>0.57005528803281602</c:v>
                </c:pt>
                <c:pt idx="31964">
                  <c:v>0.57007312288211098</c:v>
                </c:pt>
                <c:pt idx="31965">
                  <c:v>0.57009095773140706</c:v>
                </c:pt>
                <c:pt idx="31966">
                  <c:v>0.57010879258070202</c:v>
                </c:pt>
                <c:pt idx="31967">
                  <c:v>0.57012662742999798</c:v>
                </c:pt>
                <c:pt idx="31968">
                  <c:v>0.57014446227929305</c:v>
                </c:pt>
                <c:pt idx="31969">
                  <c:v>0.57016229712858901</c:v>
                </c:pt>
                <c:pt idx="31970">
                  <c:v>0.57018013197788397</c:v>
                </c:pt>
                <c:pt idx="31971">
                  <c:v>0.57019796682718005</c:v>
                </c:pt>
                <c:pt idx="31972">
                  <c:v>0.57021580167647501</c:v>
                </c:pt>
                <c:pt idx="31973">
                  <c:v>0.57023363652577097</c:v>
                </c:pt>
                <c:pt idx="31974">
                  <c:v>0.57025147137506604</c:v>
                </c:pt>
                <c:pt idx="31975">
                  <c:v>0.570269306224362</c:v>
                </c:pt>
                <c:pt idx="31976">
                  <c:v>0.57028714107365797</c:v>
                </c:pt>
                <c:pt idx="31977">
                  <c:v>0.57030497592295304</c:v>
                </c:pt>
                <c:pt idx="31978">
                  <c:v>0.570322810772249</c:v>
                </c:pt>
                <c:pt idx="31979">
                  <c:v>0.57034064562154396</c:v>
                </c:pt>
                <c:pt idx="31980">
                  <c:v>0.57035848047084003</c:v>
                </c:pt>
                <c:pt idx="31981">
                  <c:v>0.570376315320135</c:v>
                </c:pt>
                <c:pt idx="31982">
                  <c:v>0.57039415016943096</c:v>
                </c:pt>
                <c:pt idx="31983">
                  <c:v>0.57041198501872603</c:v>
                </c:pt>
                <c:pt idx="31984">
                  <c:v>0.57042981986802199</c:v>
                </c:pt>
                <c:pt idx="31985">
                  <c:v>0.57044765471731695</c:v>
                </c:pt>
                <c:pt idx="31986">
                  <c:v>0.57046548956661303</c:v>
                </c:pt>
                <c:pt idx="31987">
                  <c:v>0.57048332441590799</c:v>
                </c:pt>
                <c:pt idx="31988">
                  <c:v>0.57050115926520395</c:v>
                </c:pt>
                <c:pt idx="31989">
                  <c:v>0.57051899411449902</c:v>
                </c:pt>
                <c:pt idx="31990">
                  <c:v>0.57053682896379498</c:v>
                </c:pt>
                <c:pt idx="31991">
                  <c:v>0.57055466381308995</c:v>
                </c:pt>
                <c:pt idx="31992">
                  <c:v>0.57057249866238602</c:v>
                </c:pt>
                <c:pt idx="31993">
                  <c:v>0.57059033351168098</c:v>
                </c:pt>
                <c:pt idx="31994">
                  <c:v>0.57060816836097705</c:v>
                </c:pt>
                <c:pt idx="31995">
                  <c:v>0.57062600321027201</c:v>
                </c:pt>
                <c:pt idx="31996">
                  <c:v>0.57064383805956798</c:v>
                </c:pt>
                <c:pt idx="31997">
                  <c:v>0.57066167290886305</c:v>
                </c:pt>
                <c:pt idx="31998">
                  <c:v>0.57067950775815901</c:v>
                </c:pt>
                <c:pt idx="31999">
                  <c:v>0.57069734260745497</c:v>
                </c:pt>
                <c:pt idx="32000">
                  <c:v>0.57071517745675004</c:v>
                </c:pt>
                <c:pt idx="32001">
                  <c:v>0.57073301230604601</c:v>
                </c:pt>
                <c:pt idx="32002">
                  <c:v>0.57075084715534097</c:v>
                </c:pt>
                <c:pt idx="32003">
                  <c:v>0.57076868200463704</c:v>
                </c:pt>
                <c:pt idx="32004">
                  <c:v>0.570786516853932</c:v>
                </c:pt>
                <c:pt idx="32005">
                  <c:v>0.57080435170322796</c:v>
                </c:pt>
                <c:pt idx="32006">
                  <c:v>0.57082218655252304</c:v>
                </c:pt>
                <c:pt idx="32007">
                  <c:v>0.570840021401819</c:v>
                </c:pt>
                <c:pt idx="32008">
                  <c:v>0.57085785625111396</c:v>
                </c:pt>
                <c:pt idx="32009">
                  <c:v>0.57087569110041003</c:v>
                </c:pt>
                <c:pt idx="32010">
                  <c:v>0.57089352594970499</c:v>
                </c:pt>
                <c:pt idx="32011">
                  <c:v>0.57091136079900096</c:v>
                </c:pt>
                <c:pt idx="32012">
                  <c:v>0.57092919564829603</c:v>
                </c:pt>
                <c:pt idx="32013">
                  <c:v>0.57094703049759199</c:v>
                </c:pt>
                <c:pt idx="32014">
                  <c:v>0.57096486534688695</c:v>
                </c:pt>
                <c:pt idx="32015">
                  <c:v>0.57098270019618302</c:v>
                </c:pt>
                <c:pt idx="32016">
                  <c:v>0.57100053504547799</c:v>
                </c:pt>
                <c:pt idx="32017">
                  <c:v>0.57101836989477395</c:v>
                </c:pt>
                <c:pt idx="32018">
                  <c:v>0.57103620474406902</c:v>
                </c:pt>
                <c:pt idx="32019">
                  <c:v>0.57105403959336498</c:v>
                </c:pt>
                <c:pt idx="32020">
                  <c:v>0.57107187444266005</c:v>
                </c:pt>
                <c:pt idx="32021">
                  <c:v>0.57108970929195602</c:v>
                </c:pt>
                <c:pt idx="32022">
                  <c:v>0.57110754414125198</c:v>
                </c:pt>
                <c:pt idx="32023">
                  <c:v>0.57112537899054705</c:v>
                </c:pt>
                <c:pt idx="32024">
                  <c:v>0.57114321383984301</c:v>
                </c:pt>
                <c:pt idx="32025">
                  <c:v>0.57116104868913797</c:v>
                </c:pt>
                <c:pt idx="32026">
                  <c:v>0.57117888353843405</c:v>
                </c:pt>
                <c:pt idx="32027">
                  <c:v>0.57119671838772901</c:v>
                </c:pt>
                <c:pt idx="32028">
                  <c:v>0.57121455323702497</c:v>
                </c:pt>
                <c:pt idx="32029">
                  <c:v>0.57123238808632004</c:v>
                </c:pt>
                <c:pt idx="32030">
                  <c:v>0.571250222935616</c:v>
                </c:pt>
                <c:pt idx="32031">
                  <c:v>0.57126805778491097</c:v>
                </c:pt>
                <c:pt idx="32032">
                  <c:v>0.57128589263420704</c:v>
                </c:pt>
                <c:pt idx="32033">
                  <c:v>0.571303727483502</c:v>
                </c:pt>
                <c:pt idx="32034">
                  <c:v>0.57132156233279796</c:v>
                </c:pt>
                <c:pt idx="32035">
                  <c:v>0.57133939718209303</c:v>
                </c:pt>
                <c:pt idx="32036">
                  <c:v>0.571357232031389</c:v>
                </c:pt>
                <c:pt idx="32037">
                  <c:v>0.57137506688068396</c:v>
                </c:pt>
                <c:pt idx="32038">
                  <c:v>0.57139290172998003</c:v>
                </c:pt>
                <c:pt idx="32039">
                  <c:v>0.57141073657927499</c:v>
                </c:pt>
                <c:pt idx="32040">
                  <c:v>0.57142857142857095</c:v>
                </c:pt>
                <c:pt idx="32041">
                  <c:v>0.57144640627786603</c:v>
                </c:pt>
                <c:pt idx="32042">
                  <c:v>0.57146424112716199</c:v>
                </c:pt>
                <c:pt idx="32043">
                  <c:v>0.57148207597645795</c:v>
                </c:pt>
                <c:pt idx="32044">
                  <c:v>0.57149991082575302</c:v>
                </c:pt>
                <c:pt idx="32045">
                  <c:v>0.57151774567504898</c:v>
                </c:pt>
                <c:pt idx="32046">
                  <c:v>0.57153558052434394</c:v>
                </c:pt>
                <c:pt idx="32047">
                  <c:v>0.57155341537364002</c:v>
                </c:pt>
                <c:pt idx="32048">
                  <c:v>0.57157125022293498</c:v>
                </c:pt>
                <c:pt idx="32049">
                  <c:v>0.57158908507223105</c:v>
                </c:pt>
                <c:pt idx="32050">
                  <c:v>0.57160691992152601</c:v>
                </c:pt>
                <c:pt idx="32051">
                  <c:v>0.57162475477082197</c:v>
                </c:pt>
                <c:pt idx="32052">
                  <c:v>0.57164258962011705</c:v>
                </c:pt>
                <c:pt idx="32053">
                  <c:v>0.57166042446941301</c:v>
                </c:pt>
                <c:pt idx="32054">
                  <c:v>0.57167825931870797</c:v>
                </c:pt>
                <c:pt idx="32055">
                  <c:v>0.57169609416800404</c:v>
                </c:pt>
                <c:pt idx="32056">
                  <c:v>0.57171392901729901</c:v>
                </c:pt>
                <c:pt idx="32057">
                  <c:v>0.57173176386659497</c:v>
                </c:pt>
                <c:pt idx="32058">
                  <c:v>0.57174959871589004</c:v>
                </c:pt>
                <c:pt idx="32059">
                  <c:v>0.571767433565186</c:v>
                </c:pt>
                <c:pt idx="32060">
                  <c:v>0.57178526841448096</c:v>
                </c:pt>
                <c:pt idx="32061">
                  <c:v>0.57180310326377704</c:v>
                </c:pt>
                <c:pt idx="32062">
                  <c:v>0.571820938113073</c:v>
                </c:pt>
                <c:pt idx="32063">
                  <c:v>0.57183877296236796</c:v>
                </c:pt>
                <c:pt idx="32064">
                  <c:v>0.57185660781166403</c:v>
                </c:pt>
                <c:pt idx="32065">
                  <c:v>0.57187444266095899</c:v>
                </c:pt>
                <c:pt idx="32066">
                  <c:v>0.57189227751025495</c:v>
                </c:pt>
                <c:pt idx="32067">
                  <c:v>0.57191011235955003</c:v>
                </c:pt>
                <c:pt idx="32068">
                  <c:v>0.57192794720884599</c:v>
                </c:pt>
                <c:pt idx="32069">
                  <c:v>0.57194578205814095</c:v>
                </c:pt>
                <c:pt idx="32070">
                  <c:v>0.57196361690743702</c:v>
                </c:pt>
                <c:pt idx="32071">
                  <c:v>0.57198145175673198</c:v>
                </c:pt>
                <c:pt idx="32072">
                  <c:v>0.57199928660602795</c:v>
                </c:pt>
                <c:pt idx="32073">
                  <c:v>0.57201712145532302</c:v>
                </c:pt>
                <c:pt idx="32074">
                  <c:v>0.57203495630461898</c:v>
                </c:pt>
                <c:pt idx="32075">
                  <c:v>0.57205279115391405</c:v>
                </c:pt>
                <c:pt idx="32076">
                  <c:v>0.57207062600321001</c:v>
                </c:pt>
                <c:pt idx="32077">
                  <c:v>0.57208846085250498</c:v>
                </c:pt>
                <c:pt idx="32078">
                  <c:v>0.57210629570180105</c:v>
                </c:pt>
                <c:pt idx="32079">
                  <c:v>0.57212413055109601</c:v>
                </c:pt>
                <c:pt idx="32080">
                  <c:v>0.57214196540039197</c:v>
                </c:pt>
                <c:pt idx="32081">
                  <c:v>0.57215980024968704</c:v>
                </c:pt>
                <c:pt idx="32082">
                  <c:v>0.57217763509898301</c:v>
                </c:pt>
                <c:pt idx="32083">
                  <c:v>0.57219546994827897</c:v>
                </c:pt>
                <c:pt idx="32084">
                  <c:v>0.57221330479757404</c:v>
                </c:pt>
                <c:pt idx="32085">
                  <c:v>0.57223113964687</c:v>
                </c:pt>
                <c:pt idx="32086">
                  <c:v>0.57224897449616496</c:v>
                </c:pt>
                <c:pt idx="32087">
                  <c:v>0.57226680934546104</c:v>
                </c:pt>
                <c:pt idx="32088">
                  <c:v>0.572284644194756</c:v>
                </c:pt>
                <c:pt idx="32089">
                  <c:v>0.57230247904405196</c:v>
                </c:pt>
                <c:pt idx="32090">
                  <c:v>0.57232031389334703</c:v>
                </c:pt>
                <c:pt idx="32091">
                  <c:v>0.57233814874264299</c:v>
                </c:pt>
                <c:pt idx="32092">
                  <c:v>0.57235598359193796</c:v>
                </c:pt>
                <c:pt idx="32093">
                  <c:v>0.57237381844123403</c:v>
                </c:pt>
                <c:pt idx="32094">
                  <c:v>0.57239165329052899</c:v>
                </c:pt>
                <c:pt idx="32095">
                  <c:v>0.57240948813982495</c:v>
                </c:pt>
                <c:pt idx="32096">
                  <c:v>0.57242732298912002</c:v>
                </c:pt>
                <c:pt idx="32097">
                  <c:v>0.57244515783841599</c:v>
                </c:pt>
                <c:pt idx="32098">
                  <c:v>0.57246299268771095</c:v>
                </c:pt>
                <c:pt idx="32099">
                  <c:v>0.57248082753700702</c:v>
                </c:pt>
                <c:pt idx="32100">
                  <c:v>0.57249866238630198</c:v>
                </c:pt>
                <c:pt idx="32101">
                  <c:v>0.57251649723559805</c:v>
                </c:pt>
                <c:pt idx="32102">
                  <c:v>0.57253433208489302</c:v>
                </c:pt>
                <c:pt idx="32103">
                  <c:v>0.57255216693418898</c:v>
                </c:pt>
                <c:pt idx="32104">
                  <c:v>0.57257000178348405</c:v>
                </c:pt>
                <c:pt idx="32105">
                  <c:v>0.57258783663278001</c:v>
                </c:pt>
                <c:pt idx="32106">
                  <c:v>0.57260567148207597</c:v>
                </c:pt>
                <c:pt idx="32107">
                  <c:v>0.57262350633137105</c:v>
                </c:pt>
                <c:pt idx="32108">
                  <c:v>0.57264134118066701</c:v>
                </c:pt>
                <c:pt idx="32109">
                  <c:v>0.57265917602996197</c:v>
                </c:pt>
                <c:pt idx="32110">
                  <c:v>0.57267701087925804</c:v>
                </c:pt>
                <c:pt idx="32111">
                  <c:v>0.572694845728553</c:v>
                </c:pt>
                <c:pt idx="32112">
                  <c:v>0.57271268057784896</c:v>
                </c:pt>
                <c:pt idx="32113">
                  <c:v>0.57273051542714404</c:v>
                </c:pt>
                <c:pt idx="32114">
                  <c:v>0.57274835027644</c:v>
                </c:pt>
                <c:pt idx="32115">
                  <c:v>0.57276618512573496</c:v>
                </c:pt>
                <c:pt idx="32116">
                  <c:v>0.57278401997503103</c:v>
                </c:pt>
                <c:pt idx="32117">
                  <c:v>0.572801854824326</c:v>
                </c:pt>
                <c:pt idx="32118">
                  <c:v>0.57281968967362196</c:v>
                </c:pt>
                <c:pt idx="32119">
                  <c:v>0.57283752452291703</c:v>
                </c:pt>
                <c:pt idx="32120">
                  <c:v>0.57285535937221299</c:v>
                </c:pt>
                <c:pt idx="32121">
                  <c:v>0.57287319422150795</c:v>
                </c:pt>
                <c:pt idx="32122">
                  <c:v>0.57289102907080403</c:v>
                </c:pt>
                <c:pt idx="32123">
                  <c:v>0.57290886392009899</c:v>
                </c:pt>
                <c:pt idx="32124">
                  <c:v>0.57292669876939495</c:v>
                </c:pt>
                <c:pt idx="32125">
                  <c:v>0.57294453361869002</c:v>
                </c:pt>
                <c:pt idx="32126">
                  <c:v>0.57296236846798598</c:v>
                </c:pt>
                <c:pt idx="32127">
                  <c:v>0.57298020331728095</c:v>
                </c:pt>
                <c:pt idx="32128">
                  <c:v>0.57299803816657702</c:v>
                </c:pt>
                <c:pt idx="32129">
                  <c:v>0.57301587301587298</c:v>
                </c:pt>
                <c:pt idx="32130">
                  <c:v>0.57303370786516805</c:v>
                </c:pt>
                <c:pt idx="32131">
                  <c:v>0.57305154271446401</c:v>
                </c:pt>
                <c:pt idx="32132">
                  <c:v>0.57306937756375897</c:v>
                </c:pt>
                <c:pt idx="32133">
                  <c:v>0.57308721241305505</c:v>
                </c:pt>
                <c:pt idx="32134">
                  <c:v>0.57310504726235001</c:v>
                </c:pt>
                <c:pt idx="32135">
                  <c:v>0.57312288211164597</c:v>
                </c:pt>
                <c:pt idx="32136">
                  <c:v>0.57314071696094104</c:v>
                </c:pt>
                <c:pt idx="32137">
                  <c:v>0.573158551810237</c:v>
                </c:pt>
                <c:pt idx="32138">
                  <c:v>0.57317638665953197</c:v>
                </c:pt>
                <c:pt idx="32139">
                  <c:v>0.57319422150882804</c:v>
                </c:pt>
                <c:pt idx="32140">
                  <c:v>0.573212056358123</c:v>
                </c:pt>
                <c:pt idx="32141">
                  <c:v>0.57322989120741896</c:v>
                </c:pt>
                <c:pt idx="32142">
                  <c:v>0.57324772605671404</c:v>
                </c:pt>
                <c:pt idx="32143">
                  <c:v>0.57326556090601</c:v>
                </c:pt>
                <c:pt idx="32144">
                  <c:v>0.57328339575530496</c:v>
                </c:pt>
                <c:pt idx="32145">
                  <c:v>0.57330123060460103</c:v>
                </c:pt>
                <c:pt idx="32146">
                  <c:v>0.57331906545389599</c:v>
                </c:pt>
                <c:pt idx="32147">
                  <c:v>0.57333690030319195</c:v>
                </c:pt>
                <c:pt idx="32148">
                  <c:v>0.57335473515248703</c:v>
                </c:pt>
                <c:pt idx="32149">
                  <c:v>0.57337257000178299</c:v>
                </c:pt>
                <c:pt idx="32150">
                  <c:v>0.57339040485107895</c:v>
                </c:pt>
                <c:pt idx="32151">
                  <c:v>0.57340823970037402</c:v>
                </c:pt>
                <c:pt idx="32152">
                  <c:v>0.57342607454966998</c:v>
                </c:pt>
                <c:pt idx="32153">
                  <c:v>0.57344390939896495</c:v>
                </c:pt>
                <c:pt idx="32154">
                  <c:v>0.57346174424826102</c:v>
                </c:pt>
                <c:pt idx="32155">
                  <c:v>0.57347957909755598</c:v>
                </c:pt>
                <c:pt idx="32156">
                  <c:v>0.57349741394685205</c:v>
                </c:pt>
                <c:pt idx="32157">
                  <c:v>0.57351524879614701</c:v>
                </c:pt>
                <c:pt idx="32158">
                  <c:v>0.57353308364544298</c:v>
                </c:pt>
                <c:pt idx="32159">
                  <c:v>0.57355091849473805</c:v>
                </c:pt>
                <c:pt idx="32160">
                  <c:v>0.57356875334403401</c:v>
                </c:pt>
                <c:pt idx="32161">
                  <c:v>0.57358658819332897</c:v>
                </c:pt>
                <c:pt idx="32162">
                  <c:v>0.57360442304262504</c:v>
                </c:pt>
                <c:pt idx="32163">
                  <c:v>0.57362225789192001</c:v>
                </c:pt>
                <c:pt idx="32164">
                  <c:v>0.57364009274121597</c:v>
                </c:pt>
                <c:pt idx="32165">
                  <c:v>0.57365792759051104</c:v>
                </c:pt>
                <c:pt idx="32166">
                  <c:v>0.573675762439807</c:v>
                </c:pt>
                <c:pt idx="32167">
                  <c:v>0.57369359728910196</c:v>
                </c:pt>
                <c:pt idx="32168">
                  <c:v>0.57371143213839804</c:v>
                </c:pt>
                <c:pt idx="32169">
                  <c:v>0.573729266987694</c:v>
                </c:pt>
                <c:pt idx="32170">
                  <c:v>0.57374710183698896</c:v>
                </c:pt>
                <c:pt idx="32171">
                  <c:v>0.57376493668628503</c:v>
                </c:pt>
                <c:pt idx="32172">
                  <c:v>0.57378277153557999</c:v>
                </c:pt>
                <c:pt idx="32173">
                  <c:v>0.57380060638487596</c:v>
                </c:pt>
                <c:pt idx="32174">
                  <c:v>0.57381844123417103</c:v>
                </c:pt>
                <c:pt idx="32175">
                  <c:v>0.57383627608346699</c:v>
                </c:pt>
                <c:pt idx="32176">
                  <c:v>0.57385411093276195</c:v>
                </c:pt>
                <c:pt idx="32177">
                  <c:v>0.57387194578205802</c:v>
                </c:pt>
                <c:pt idx="32178">
                  <c:v>0.57388978063135299</c:v>
                </c:pt>
                <c:pt idx="32179">
                  <c:v>0.57390761548064895</c:v>
                </c:pt>
                <c:pt idx="32180">
                  <c:v>0.57392545032994402</c:v>
                </c:pt>
                <c:pt idx="32181">
                  <c:v>0.57394328517923998</c:v>
                </c:pt>
                <c:pt idx="32182">
                  <c:v>0.57396112002853505</c:v>
                </c:pt>
                <c:pt idx="32183">
                  <c:v>0.57397895487783102</c:v>
                </c:pt>
                <c:pt idx="32184">
                  <c:v>0.57399678972712598</c:v>
                </c:pt>
                <c:pt idx="32185">
                  <c:v>0.57401462457642205</c:v>
                </c:pt>
                <c:pt idx="32186">
                  <c:v>0.57403245942571701</c:v>
                </c:pt>
                <c:pt idx="32187">
                  <c:v>0.57405029427501297</c:v>
                </c:pt>
                <c:pt idx="32188">
                  <c:v>0.57406812912430805</c:v>
                </c:pt>
                <c:pt idx="32189">
                  <c:v>0.57408596397360401</c:v>
                </c:pt>
                <c:pt idx="32190">
                  <c:v>0.57410379882289997</c:v>
                </c:pt>
                <c:pt idx="32191">
                  <c:v>0.57412163367219504</c:v>
                </c:pt>
                <c:pt idx="32192">
                  <c:v>0.574139468521491</c:v>
                </c:pt>
                <c:pt idx="32193">
                  <c:v>0.57415730337078597</c:v>
                </c:pt>
                <c:pt idx="32194">
                  <c:v>0.57417513822008204</c:v>
                </c:pt>
                <c:pt idx="32195">
                  <c:v>0.574192973069377</c:v>
                </c:pt>
                <c:pt idx="32196">
                  <c:v>0.57421080791867296</c:v>
                </c:pt>
                <c:pt idx="32197">
                  <c:v>0.57422864276796803</c:v>
                </c:pt>
                <c:pt idx="32198">
                  <c:v>0.574246477617264</c:v>
                </c:pt>
                <c:pt idx="32199">
                  <c:v>0.57426431246655896</c:v>
                </c:pt>
                <c:pt idx="32200">
                  <c:v>0.57428214731585503</c:v>
                </c:pt>
                <c:pt idx="32201">
                  <c:v>0.57429998216514999</c:v>
                </c:pt>
                <c:pt idx="32202">
                  <c:v>0.57431781701444595</c:v>
                </c:pt>
                <c:pt idx="32203">
                  <c:v>0.57433565186374103</c:v>
                </c:pt>
                <c:pt idx="32204">
                  <c:v>0.57435348671303699</c:v>
                </c:pt>
                <c:pt idx="32205">
                  <c:v>0.57437132156233195</c:v>
                </c:pt>
                <c:pt idx="32206">
                  <c:v>0.57438915641162802</c:v>
                </c:pt>
                <c:pt idx="32207">
                  <c:v>0.57440699126092298</c:v>
                </c:pt>
                <c:pt idx="32208">
                  <c:v>0.57442482611021894</c:v>
                </c:pt>
                <c:pt idx="32209">
                  <c:v>0.57444266095951402</c:v>
                </c:pt>
                <c:pt idx="32210">
                  <c:v>0.57446049580880998</c:v>
                </c:pt>
                <c:pt idx="32211">
                  <c:v>0.57447833065810505</c:v>
                </c:pt>
                <c:pt idx="32212">
                  <c:v>0.57449616550740101</c:v>
                </c:pt>
                <c:pt idx="32213">
                  <c:v>0.57451400035669697</c:v>
                </c:pt>
                <c:pt idx="32214">
                  <c:v>0.57453183520599205</c:v>
                </c:pt>
                <c:pt idx="32215">
                  <c:v>0.57454967005528801</c:v>
                </c:pt>
                <c:pt idx="32216">
                  <c:v>0.57456750490458297</c:v>
                </c:pt>
                <c:pt idx="32217">
                  <c:v>0.57458533975387904</c:v>
                </c:pt>
                <c:pt idx="32218">
                  <c:v>0.57460317460317401</c:v>
                </c:pt>
                <c:pt idx="32219">
                  <c:v>0.57462100945246997</c:v>
                </c:pt>
                <c:pt idx="32220">
                  <c:v>0.57463884430176504</c:v>
                </c:pt>
                <c:pt idx="32221">
                  <c:v>0.574656679151061</c:v>
                </c:pt>
                <c:pt idx="32222">
                  <c:v>0.57467451400035596</c:v>
                </c:pt>
                <c:pt idx="32223">
                  <c:v>0.57469234884965203</c:v>
                </c:pt>
                <c:pt idx="32224">
                  <c:v>0.574710183698947</c:v>
                </c:pt>
                <c:pt idx="32225">
                  <c:v>0.57472801854824296</c:v>
                </c:pt>
                <c:pt idx="32226">
                  <c:v>0.57474585339753803</c:v>
                </c:pt>
                <c:pt idx="32227">
                  <c:v>0.57476368824683399</c:v>
                </c:pt>
                <c:pt idx="32228">
                  <c:v>0.57478152309612895</c:v>
                </c:pt>
                <c:pt idx="32229">
                  <c:v>0.57479935794542503</c:v>
                </c:pt>
                <c:pt idx="32230">
                  <c:v>0.57481719279471999</c:v>
                </c:pt>
                <c:pt idx="32231">
                  <c:v>0.57483502764401595</c:v>
                </c:pt>
                <c:pt idx="32232">
                  <c:v>0.57485286249331102</c:v>
                </c:pt>
                <c:pt idx="32233">
                  <c:v>0.57487069734260698</c:v>
                </c:pt>
                <c:pt idx="32234">
                  <c:v>0.57488853219190295</c:v>
                </c:pt>
                <c:pt idx="32235">
                  <c:v>0.57490636704119802</c:v>
                </c:pt>
                <c:pt idx="32236">
                  <c:v>0.57492420189049398</c:v>
                </c:pt>
                <c:pt idx="32237">
                  <c:v>0.57494203673978905</c:v>
                </c:pt>
                <c:pt idx="32238">
                  <c:v>0.57495987158908501</c:v>
                </c:pt>
                <c:pt idx="32239">
                  <c:v>0.57497770643837998</c:v>
                </c:pt>
                <c:pt idx="32240">
                  <c:v>0.57499554128767605</c:v>
                </c:pt>
                <c:pt idx="32241">
                  <c:v>0.57501337613697101</c:v>
                </c:pt>
                <c:pt idx="32242">
                  <c:v>0.57503121098626697</c:v>
                </c:pt>
                <c:pt idx="32243">
                  <c:v>0.57504904583556204</c:v>
                </c:pt>
                <c:pt idx="32244">
                  <c:v>0.57506688068485801</c:v>
                </c:pt>
                <c:pt idx="32245">
                  <c:v>0.57508471553415297</c:v>
                </c:pt>
                <c:pt idx="32246">
                  <c:v>0.57510255038344904</c:v>
                </c:pt>
                <c:pt idx="32247">
                  <c:v>0.575120385232744</c:v>
                </c:pt>
                <c:pt idx="32248">
                  <c:v>0.57513822008203996</c:v>
                </c:pt>
                <c:pt idx="32249">
                  <c:v>0.57515605493133504</c:v>
                </c:pt>
                <c:pt idx="32250">
                  <c:v>0.575173889780631</c:v>
                </c:pt>
                <c:pt idx="32251">
                  <c:v>0.57519172462992596</c:v>
                </c:pt>
                <c:pt idx="32252">
                  <c:v>0.57520955947922203</c:v>
                </c:pt>
                <c:pt idx="32253">
                  <c:v>0.57522739432851699</c:v>
                </c:pt>
                <c:pt idx="32254">
                  <c:v>0.57524522917781296</c:v>
                </c:pt>
                <c:pt idx="32255">
                  <c:v>0.57526306402710803</c:v>
                </c:pt>
                <c:pt idx="32256">
                  <c:v>0.57528089887640399</c:v>
                </c:pt>
                <c:pt idx="32257">
                  <c:v>0.57529873372569995</c:v>
                </c:pt>
                <c:pt idx="32258">
                  <c:v>0.57531656857499502</c:v>
                </c:pt>
                <c:pt idx="32259">
                  <c:v>0.57533440342429099</c:v>
                </c:pt>
                <c:pt idx="32260">
                  <c:v>0.57535223827358595</c:v>
                </c:pt>
                <c:pt idx="32261">
                  <c:v>0.57537007312288202</c:v>
                </c:pt>
                <c:pt idx="32262">
                  <c:v>0.57538790797217698</c:v>
                </c:pt>
                <c:pt idx="32263">
                  <c:v>0.57540574282147305</c:v>
                </c:pt>
                <c:pt idx="32264">
                  <c:v>0.57542357767076802</c:v>
                </c:pt>
                <c:pt idx="32265">
                  <c:v>0.57544141252006398</c:v>
                </c:pt>
                <c:pt idx="32266">
                  <c:v>0.57545924736935905</c:v>
                </c:pt>
                <c:pt idx="32267">
                  <c:v>0.57547708221865501</c:v>
                </c:pt>
                <c:pt idx="32268">
                  <c:v>0.57549491706794997</c:v>
                </c:pt>
                <c:pt idx="32269">
                  <c:v>0.57551275191724605</c:v>
                </c:pt>
                <c:pt idx="32270">
                  <c:v>0.57553058676654101</c:v>
                </c:pt>
                <c:pt idx="32271">
                  <c:v>0.57554842161583697</c:v>
                </c:pt>
                <c:pt idx="32272">
                  <c:v>0.57556625646513204</c:v>
                </c:pt>
                <c:pt idx="32273">
                  <c:v>0.575584091314428</c:v>
                </c:pt>
                <c:pt idx="32274">
                  <c:v>0.57560192616372396</c:v>
                </c:pt>
                <c:pt idx="32275">
                  <c:v>0.57561976101301904</c:v>
                </c:pt>
                <c:pt idx="32276">
                  <c:v>0.575637595862315</c:v>
                </c:pt>
                <c:pt idx="32277">
                  <c:v>0.57565543071160996</c:v>
                </c:pt>
                <c:pt idx="32278">
                  <c:v>0.57567326556090603</c:v>
                </c:pt>
                <c:pt idx="32279">
                  <c:v>0.575691100410201</c:v>
                </c:pt>
                <c:pt idx="32280">
                  <c:v>0.57570893525949696</c:v>
                </c:pt>
                <c:pt idx="32281">
                  <c:v>0.57572677010879203</c:v>
                </c:pt>
                <c:pt idx="32282">
                  <c:v>0.57574460495808799</c:v>
                </c:pt>
                <c:pt idx="32283">
                  <c:v>0.57576243980738295</c:v>
                </c:pt>
                <c:pt idx="32284">
                  <c:v>0.57578027465667903</c:v>
                </c:pt>
                <c:pt idx="32285">
                  <c:v>0.57579810950597399</c:v>
                </c:pt>
                <c:pt idx="32286">
                  <c:v>0.57581594435526995</c:v>
                </c:pt>
                <c:pt idx="32287">
                  <c:v>0.57583377920456502</c:v>
                </c:pt>
                <c:pt idx="32288">
                  <c:v>0.57585161405386098</c:v>
                </c:pt>
                <c:pt idx="32289">
                  <c:v>0.57586944890315594</c:v>
                </c:pt>
                <c:pt idx="32290">
                  <c:v>0.57588728375245202</c:v>
                </c:pt>
                <c:pt idx="32291">
                  <c:v>0.57590511860174698</c:v>
                </c:pt>
                <c:pt idx="32292">
                  <c:v>0.57592295345104305</c:v>
                </c:pt>
                <c:pt idx="32293">
                  <c:v>0.57594078830033801</c:v>
                </c:pt>
                <c:pt idx="32294">
                  <c:v>0.57595862314963397</c:v>
                </c:pt>
                <c:pt idx="32295">
                  <c:v>0.57597645799892905</c:v>
                </c:pt>
                <c:pt idx="32296">
                  <c:v>0.57599429284822501</c:v>
                </c:pt>
                <c:pt idx="32297">
                  <c:v>0.57601212769752097</c:v>
                </c:pt>
                <c:pt idx="32298">
                  <c:v>0.57602996254681604</c:v>
                </c:pt>
                <c:pt idx="32299">
                  <c:v>0.576047797396112</c:v>
                </c:pt>
                <c:pt idx="32300">
                  <c:v>0.57606563224540697</c:v>
                </c:pt>
                <c:pt idx="32301">
                  <c:v>0.57608346709470304</c:v>
                </c:pt>
                <c:pt idx="32302">
                  <c:v>0.576101301943998</c:v>
                </c:pt>
                <c:pt idx="32303">
                  <c:v>0.57611913679329396</c:v>
                </c:pt>
                <c:pt idx="32304">
                  <c:v>0.57613697164258904</c:v>
                </c:pt>
                <c:pt idx="32305">
                  <c:v>0.576154806491885</c:v>
                </c:pt>
                <c:pt idx="32306">
                  <c:v>0.57617264134117996</c:v>
                </c:pt>
                <c:pt idx="32307">
                  <c:v>0.57619047619047603</c:v>
                </c:pt>
                <c:pt idx="32308">
                  <c:v>0.57620831103977099</c:v>
                </c:pt>
                <c:pt idx="32309">
                  <c:v>0.57622614588906695</c:v>
                </c:pt>
                <c:pt idx="32310">
                  <c:v>0.57624398073836203</c:v>
                </c:pt>
                <c:pt idx="32311">
                  <c:v>0.57626181558765799</c:v>
                </c:pt>
                <c:pt idx="32312">
                  <c:v>0.57627965043695295</c:v>
                </c:pt>
                <c:pt idx="32313">
                  <c:v>0.57629748528624902</c:v>
                </c:pt>
                <c:pt idx="32314">
                  <c:v>0.57631532013554398</c:v>
                </c:pt>
                <c:pt idx="32315">
                  <c:v>0.57633315498483995</c:v>
                </c:pt>
                <c:pt idx="32316">
                  <c:v>0.57635098983413502</c:v>
                </c:pt>
                <c:pt idx="32317">
                  <c:v>0.57636882468343098</c:v>
                </c:pt>
                <c:pt idx="32318">
                  <c:v>0.57638665953272605</c:v>
                </c:pt>
                <c:pt idx="32319">
                  <c:v>0.57640449438202201</c:v>
                </c:pt>
                <c:pt idx="32320">
                  <c:v>0.57642232923131798</c:v>
                </c:pt>
                <c:pt idx="32321">
                  <c:v>0.57644016408061305</c:v>
                </c:pt>
                <c:pt idx="32322">
                  <c:v>0.57645799892990901</c:v>
                </c:pt>
                <c:pt idx="32323">
                  <c:v>0.57647583377920397</c:v>
                </c:pt>
                <c:pt idx="32324">
                  <c:v>0.57649366862850004</c:v>
                </c:pt>
                <c:pt idx="32325">
                  <c:v>0.57651150347779501</c:v>
                </c:pt>
                <c:pt idx="32326">
                  <c:v>0.57652933832709097</c:v>
                </c:pt>
                <c:pt idx="32327">
                  <c:v>0.57654717317638604</c:v>
                </c:pt>
                <c:pt idx="32328">
                  <c:v>0.576565008025682</c:v>
                </c:pt>
                <c:pt idx="32329">
                  <c:v>0.57658284287497696</c:v>
                </c:pt>
                <c:pt idx="32330">
                  <c:v>0.57660067772427304</c:v>
                </c:pt>
                <c:pt idx="32331">
                  <c:v>0.576618512573568</c:v>
                </c:pt>
                <c:pt idx="32332">
                  <c:v>0.57663634742286396</c:v>
                </c:pt>
                <c:pt idx="32333">
                  <c:v>0.57665418227215903</c:v>
                </c:pt>
                <c:pt idx="32334">
                  <c:v>0.57667201712145499</c:v>
                </c:pt>
                <c:pt idx="32335">
                  <c:v>0.57668985197074996</c:v>
                </c:pt>
                <c:pt idx="32336">
                  <c:v>0.57670768682004603</c:v>
                </c:pt>
                <c:pt idx="32337">
                  <c:v>0.57672552166934099</c:v>
                </c:pt>
                <c:pt idx="32338">
                  <c:v>0.57674335651863695</c:v>
                </c:pt>
                <c:pt idx="32339">
                  <c:v>0.57676119136793202</c:v>
                </c:pt>
                <c:pt idx="32340">
                  <c:v>0.57677902621722799</c:v>
                </c:pt>
                <c:pt idx="32341">
                  <c:v>0.57679686106652395</c:v>
                </c:pt>
                <c:pt idx="32342">
                  <c:v>0.57681469591581902</c:v>
                </c:pt>
                <c:pt idx="32343">
                  <c:v>0.57683253076511498</c:v>
                </c:pt>
                <c:pt idx="32344">
                  <c:v>0.57685036561441005</c:v>
                </c:pt>
                <c:pt idx="32345">
                  <c:v>0.57686820046370602</c:v>
                </c:pt>
                <c:pt idx="32346">
                  <c:v>0.57688603531300098</c:v>
                </c:pt>
                <c:pt idx="32347">
                  <c:v>0.57690387016229705</c:v>
                </c:pt>
                <c:pt idx="32348">
                  <c:v>0.57692170501159201</c:v>
                </c:pt>
                <c:pt idx="32349">
                  <c:v>0.57693953986088797</c:v>
                </c:pt>
                <c:pt idx="32350">
                  <c:v>0.57695737471018305</c:v>
                </c:pt>
                <c:pt idx="32351">
                  <c:v>0.57697520955947901</c:v>
                </c:pt>
                <c:pt idx="32352">
                  <c:v>0.57699304440877397</c:v>
                </c:pt>
                <c:pt idx="32353">
                  <c:v>0.57701087925807004</c:v>
                </c:pt>
                <c:pt idx="32354">
                  <c:v>0.577028714107365</c:v>
                </c:pt>
                <c:pt idx="32355">
                  <c:v>0.57704654895666097</c:v>
                </c:pt>
                <c:pt idx="32356">
                  <c:v>0.57706438380595604</c:v>
                </c:pt>
                <c:pt idx="32357">
                  <c:v>0.577082218655252</c:v>
                </c:pt>
                <c:pt idx="32358">
                  <c:v>0.57710005350454696</c:v>
                </c:pt>
                <c:pt idx="32359">
                  <c:v>0.57711788835384303</c:v>
                </c:pt>
                <c:pt idx="32360">
                  <c:v>0.577135723203138</c:v>
                </c:pt>
                <c:pt idx="32361">
                  <c:v>0.57715355805243396</c:v>
                </c:pt>
                <c:pt idx="32362">
                  <c:v>0.57717139290173003</c:v>
                </c:pt>
                <c:pt idx="32363">
                  <c:v>0.57718922775102499</c:v>
                </c:pt>
                <c:pt idx="32364">
                  <c:v>0.57720706260032095</c:v>
                </c:pt>
                <c:pt idx="32365">
                  <c:v>0.57722489744961603</c:v>
                </c:pt>
                <c:pt idx="32366">
                  <c:v>0.57724273229891199</c:v>
                </c:pt>
                <c:pt idx="32367">
                  <c:v>0.57726056714820695</c:v>
                </c:pt>
                <c:pt idx="32368">
                  <c:v>0.57727840199750302</c:v>
                </c:pt>
                <c:pt idx="32369">
                  <c:v>0.57729623684679798</c:v>
                </c:pt>
                <c:pt idx="32370">
                  <c:v>0.57731407169609406</c:v>
                </c:pt>
                <c:pt idx="32371">
                  <c:v>0.57733190654538902</c:v>
                </c:pt>
                <c:pt idx="32372">
                  <c:v>0.57734974139468498</c:v>
                </c:pt>
                <c:pt idx="32373">
                  <c:v>0.57736757624398005</c:v>
                </c:pt>
                <c:pt idx="32374">
                  <c:v>0.57738541109327601</c:v>
                </c:pt>
                <c:pt idx="32375">
                  <c:v>0.57740324594257098</c:v>
                </c:pt>
                <c:pt idx="32376">
                  <c:v>0.57742108079186705</c:v>
                </c:pt>
                <c:pt idx="32377">
                  <c:v>0.57743891564116201</c:v>
                </c:pt>
                <c:pt idx="32378">
                  <c:v>0.57745675049045797</c:v>
                </c:pt>
                <c:pt idx="32379">
                  <c:v>0.57747458533975304</c:v>
                </c:pt>
                <c:pt idx="32380">
                  <c:v>0.577492420189049</c:v>
                </c:pt>
                <c:pt idx="32381">
                  <c:v>0.57751025503834497</c:v>
                </c:pt>
                <c:pt idx="32382">
                  <c:v>0.57752808988764004</c:v>
                </c:pt>
                <c:pt idx="32383">
                  <c:v>0.577545924736936</c:v>
                </c:pt>
                <c:pt idx="32384">
                  <c:v>0.57756375958623096</c:v>
                </c:pt>
                <c:pt idx="32385">
                  <c:v>0.57758159443552703</c:v>
                </c:pt>
                <c:pt idx="32386">
                  <c:v>0.577599429284822</c:v>
                </c:pt>
                <c:pt idx="32387">
                  <c:v>0.57761726413411796</c:v>
                </c:pt>
                <c:pt idx="32388">
                  <c:v>0.57763509898341303</c:v>
                </c:pt>
                <c:pt idx="32389">
                  <c:v>0.57765293383270899</c:v>
                </c:pt>
                <c:pt idx="32390">
                  <c:v>0.57767076868200395</c:v>
                </c:pt>
                <c:pt idx="32391">
                  <c:v>0.57768860353130003</c:v>
                </c:pt>
                <c:pt idx="32392">
                  <c:v>0.57770643838059499</c:v>
                </c:pt>
                <c:pt idx="32393">
                  <c:v>0.57772427322989095</c:v>
                </c:pt>
                <c:pt idx="32394">
                  <c:v>0.57774210807918602</c:v>
                </c:pt>
                <c:pt idx="32395">
                  <c:v>0.57775994292848198</c:v>
                </c:pt>
                <c:pt idx="32396">
                  <c:v>0.57777777777777695</c:v>
                </c:pt>
                <c:pt idx="32397">
                  <c:v>0.57779561262707302</c:v>
                </c:pt>
                <c:pt idx="32398">
                  <c:v>0.57781344747636798</c:v>
                </c:pt>
                <c:pt idx="32399">
                  <c:v>0.57783128232566405</c:v>
                </c:pt>
                <c:pt idx="32400">
                  <c:v>0.57784911717495901</c:v>
                </c:pt>
                <c:pt idx="32401">
                  <c:v>0.57786695202425498</c:v>
                </c:pt>
                <c:pt idx="32402">
                  <c:v>0.57788478687355005</c:v>
                </c:pt>
                <c:pt idx="32403">
                  <c:v>0.57790262172284601</c:v>
                </c:pt>
                <c:pt idx="32404">
                  <c:v>0.57792045657214197</c:v>
                </c:pt>
                <c:pt idx="32405">
                  <c:v>0.57793829142143704</c:v>
                </c:pt>
                <c:pt idx="32406">
                  <c:v>0.57795612627073301</c:v>
                </c:pt>
                <c:pt idx="32407">
                  <c:v>0.57797396112002797</c:v>
                </c:pt>
                <c:pt idx="32408">
                  <c:v>0.57799179596932404</c:v>
                </c:pt>
                <c:pt idx="32409">
                  <c:v>0.578009630818619</c:v>
                </c:pt>
                <c:pt idx="32410">
                  <c:v>0.57802746566791496</c:v>
                </c:pt>
                <c:pt idx="32411">
                  <c:v>0.57804530051721004</c:v>
                </c:pt>
                <c:pt idx="32412">
                  <c:v>0.578063135366506</c:v>
                </c:pt>
                <c:pt idx="32413">
                  <c:v>0.57808097021580096</c:v>
                </c:pt>
                <c:pt idx="32414">
                  <c:v>0.57809880506509703</c:v>
                </c:pt>
                <c:pt idx="32415">
                  <c:v>0.57811663991439199</c:v>
                </c:pt>
                <c:pt idx="32416">
                  <c:v>0.57813447476368796</c:v>
                </c:pt>
                <c:pt idx="32417">
                  <c:v>0.57815230961298303</c:v>
                </c:pt>
                <c:pt idx="32418">
                  <c:v>0.57817014446227899</c:v>
                </c:pt>
                <c:pt idx="32419">
                  <c:v>0.57818797931157395</c:v>
                </c:pt>
                <c:pt idx="32420">
                  <c:v>0.57820581416087002</c:v>
                </c:pt>
                <c:pt idx="32421">
                  <c:v>0.57822364901016499</c:v>
                </c:pt>
                <c:pt idx="32422">
                  <c:v>0.57824148385946095</c:v>
                </c:pt>
                <c:pt idx="32423">
                  <c:v>0.57825931870875602</c:v>
                </c:pt>
                <c:pt idx="32424">
                  <c:v>0.57827715355805198</c:v>
                </c:pt>
                <c:pt idx="32425">
                  <c:v>0.57829498840734705</c:v>
                </c:pt>
                <c:pt idx="32426">
                  <c:v>0.57831282325664302</c:v>
                </c:pt>
                <c:pt idx="32427">
                  <c:v>0.57833065810593898</c:v>
                </c:pt>
                <c:pt idx="32428">
                  <c:v>0.57834849295523405</c:v>
                </c:pt>
                <c:pt idx="32429">
                  <c:v>0.57836632780453001</c:v>
                </c:pt>
                <c:pt idx="32430">
                  <c:v>0.57838416265382497</c:v>
                </c:pt>
                <c:pt idx="32431">
                  <c:v>0.57840199750312105</c:v>
                </c:pt>
                <c:pt idx="32432">
                  <c:v>0.57841983235241601</c:v>
                </c:pt>
                <c:pt idx="32433">
                  <c:v>0.57843766720171197</c:v>
                </c:pt>
                <c:pt idx="32434">
                  <c:v>0.57845550205100704</c:v>
                </c:pt>
                <c:pt idx="32435">
                  <c:v>0.578473336900303</c:v>
                </c:pt>
                <c:pt idx="32436">
                  <c:v>0.57849117174959797</c:v>
                </c:pt>
                <c:pt idx="32437">
                  <c:v>0.57850900659889404</c:v>
                </c:pt>
                <c:pt idx="32438">
                  <c:v>0.578526841448189</c:v>
                </c:pt>
                <c:pt idx="32439">
                  <c:v>0.57854467629748496</c:v>
                </c:pt>
                <c:pt idx="32440">
                  <c:v>0.57856251114678003</c:v>
                </c:pt>
                <c:pt idx="32441">
                  <c:v>0.578580345996076</c:v>
                </c:pt>
                <c:pt idx="32442">
                  <c:v>0.57859818084537096</c:v>
                </c:pt>
                <c:pt idx="32443">
                  <c:v>0.57861601569466703</c:v>
                </c:pt>
                <c:pt idx="32444">
                  <c:v>0.57863385054396199</c:v>
                </c:pt>
                <c:pt idx="32445">
                  <c:v>0.57865168539325795</c:v>
                </c:pt>
                <c:pt idx="32446">
                  <c:v>0.57866952024255303</c:v>
                </c:pt>
                <c:pt idx="32447">
                  <c:v>0.57868735509184899</c:v>
                </c:pt>
                <c:pt idx="32448">
                  <c:v>0.57870518994114495</c:v>
                </c:pt>
                <c:pt idx="32449">
                  <c:v>0.57872302479044002</c:v>
                </c:pt>
                <c:pt idx="32450">
                  <c:v>0.57874085963973598</c:v>
                </c:pt>
                <c:pt idx="32451">
                  <c:v>0.57875869448903094</c:v>
                </c:pt>
                <c:pt idx="32452">
                  <c:v>0.57877652933832702</c:v>
                </c:pt>
                <c:pt idx="32453">
                  <c:v>0.57879436418762198</c:v>
                </c:pt>
                <c:pt idx="32454">
                  <c:v>0.57881219903691805</c:v>
                </c:pt>
                <c:pt idx="32455">
                  <c:v>0.57883003388621301</c:v>
                </c:pt>
                <c:pt idx="32456">
                  <c:v>0.57884786873550897</c:v>
                </c:pt>
                <c:pt idx="32457">
                  <c:v>0.57886570358480405</c:v>
                </c:pt>
                <c:pt idx="32458">
                  <c:v>0.57888353843410001</c:v>
                </c:pt>
                <c:pt idx="32459">
                  <c:v>0.57890137328339497</c:v>
                </c:pt>
                <c:pt idx="32460">
                  <c:v>0.57891920813269104</c:v>
                </c:pt>
                <c:pt idx="32461">
                  <c:v>0.57893704298198601</c:v>
                </c:pt>
                <c:pt idx="32462">
                  <c:v>0.57895487783128197</c:v>
                </c:pt>
                <c:pt idx="32463">
                  <c:v>0.57897271268057704</c:v>
                </c:pt>
                <c:pt idx="32464">
                  <c:v>0.578990547529873</c:v>
                </c:pt>
                <c:pt idx="32465">
                  <c:v>0.57900838237916796</c:v>
                </c:pt>
                <c:pt idx="32466">
                  <c:v>0.57902621722846404</c:v>
                </c:pt>
                <c:pt idx="32467">
                  <c:v>0.57904405207776</c:v>
                </c:pt>
                <c:pt idx="32468">
                  <c:v>0.57906188692705496</c:v>
                </c:pt>
                <c:pt idx="32469">
                  <c:v>0.57907972177635103</c:v>
                </c:pt>
                <c:pt idx="32470">
                  <c:v>0.57909755662564599</c:v>
                </c:pt>
                <c:pt idx="32471">
                  <c:v>0.57911539147494195</c:v>
                </c:pt>
                <c:pt idx="32472">
                  <c:v>0.57913322632423703</c:v>
                </c:pt>
                <c:pt idx="32473">
                  <c:v>0.57915106117353299</c:v>
                </c:pt>
                <c:pt idx="32474">
                  <c:v>0.57916889602282795</c:v>
                </c:pt>
                <c:pt idx="32475">
                  <c:v>0.57918673087212402</c:v>
                </c:pt>
                <c:pt idx="32476">
                  <c:v>0.57920456572141898</c:v>
                </c:pt>
                <c:pt idx="32477">
                  <c:v>0.57922240057071495</c:v>
                </c:pt>
                <c:pt idx="32478">
                  <c:v>0.57924023542001002</c:v>
                </c:pt>
                <c:pt idx="32479">
                  <c:v>0.57925807026930598</c:v>
                </c:pt>
                <c:pt idx="32480">
                  <c:v>0.57927590511860105</c:v>
                </c:pt>
                <c:pt idx="32481">
                  <c:v>0.57929373996789701</c:v>
                </c:pt>
                <c:pt idx="32482">
                  <c:v>0.57931157481719198</c:v>
                </c:pt>
                <c:pt idx="32483">
                  <c:v>0.57932940966648805</c:v>
                </c:pt>
                <c:pt idx="32484">
                  <c:v>0.57934724451578301</c:v>
                </c:pt>
                <c:pt idx="32485">
                  <c:v>0.57936507936507897</c:v>
                </c:pt>
                <c:pt idx="32486">
                  <c:v>0.57938291421437405</c:v>
                </c:pt>
                <c:pt idx="32487">
                  <c:v>0.57940074906367001</c:v>
                </c:pt>
                <c:pt idx="32488">
                  <c:v>0.57941858391296597</c:v>
                </c:pt>
                <c:pt idx="32489">
                  <c:v>0.57943641876226104</c:v>
                </c:pt>
                <c:pt idx="32490">
                  <c:v>0.579454253611557</c:v>
                </c:pt>
                <c:pt idx="32491">
                  <c:v>0.57947208846085196</c:v>
                </c:pt>
                <c:pt idx="32492">
                  <c:v>0.57948992331014804</c:v>
                </c:pt>
                <c:pt idx="32493">
                  <c:v>0.579507758159443</c:v>
                </c:pt>
                <c:pt idx="32494">
                  <c:v>0.57952559300873896</c:v>
                </c:pt>
                <c:pt idx="32495">
                  <c:v>0.57954342785803403</c:v>
                </c:pt>
                <c:pt idx="32496">
                  <c:v>0.57956126270732999</c:v>
                </c:pt>
                <c:pt idx="32497">
                  <c:v>0.57957909755662496</c:v>
                </c:pt>
                <c:pt idx="32498">
                  <c:v>0.57959693240592103</c:v>
                </c:pt>
                <c:pt idx="32499">
                  <c:v>0.57961476725521599</c:v>
                </c:pt>
                <c:pt idx="32500">
                  <c:v>0.57963260210451195</c:v>
                </c:pt>
                <c:pt idx="32501">
                  <c:v>0.57965043695380702</c:v>
                </c:pt>
                <c:pt idx="32502">
                  <c:v>0.57966827180310299</c:v>
                </c:pt>
                <c:pt idx="32503">
                  <c:v>0.57968610665239795</c:v>
                </c:pt>
                <c:pt idx="32504">
                  <c:v>0.57970394150169402</c:v>
                </c:pt>
                <c:pt idx="32505">
                  <c:v>0.57972177635098898</c:v>
                </c:pt>
                <c:pt idx="32506">
                  <c:v>0.57973961120028505</c:v>
                </c:pt>
                <c:pt idx="32507">
                  <c:v>0.57975744604958002</c:v>
                </c:pt>
                <c:pt idx="32508">
                  <c:v>0.57977528089887598</c:v>
                </c:pt>
                <c:pt idx="32509">
                  <c:v>0.57979311574817105</c:v>
                </c:pt>
                <c:pt idx="32510">
                  <c:v>0.57981095059746701</c:v>
                </c:pt>
                <c:pt idx="32511">
                  <c:v>0.57982878544676297</c:v>
                </c:pt>
                <c:pt idx="32512">
                  <c:v>0.57984662029605805</c:v>
                </c:pt>
                <c:pt idx="32513">
                  <c:v>0.57986445514535401</c:v>
                </c:pt>
                <c:pt idx="32514">
                  <c:v>0.57988228999464897</c:v>
                </c:pt>
                <c:pt idx="32515">
                  <c:v>0.57990012484394504</c:v>
                </c:pt>
                <c:pt idx="32516">
                  <c:v>0.57991795969324</c:v>
                </c:pt>
                <c:pt idx="32517">
                  <c:v>0.57993579454253597</c:v>
                </c:pt>
                <c:pt idx="32518">
                  <c:v>0.57995362939183104</c:v>
                </c:pt>
                <c:pt idx="32519">
                  <c:v>0.579971464241127</c:v>
                </c:pt>
                <c:pt idx="32520">
                  <c:v>0.57998929909042196</c:v>
                </c:pt>
                <c:pt idx="32521">
                  <c:v>0.58000713393971803</c:v>
                </c:pt>
                <c:pt idx="32522">
                  <c:v>0.580024968789013</c:v>
                </c:pt>
                <c:pt idx="32523">
                  <c:v>0.58004280363830896</c:v>
                </c:pt>
                <c:pt idx="32524">
                  <c:v>0.58006063848760403</c:v>
                </c:pt>
                <c:pt idx="32525">
                  <c:v>0.58007847333689999</c:v>
                </c:pt>
                <c:pt idx="32526">
                  <c:v>0.58009630818619495</c:v>
                </c:pt>
                <c:pt idx="32527">
                  <c:v>0.58011414303549103</c:v>
                </c:pt>
                <c:pt idx="32528">
                  <c:v>0.58013197788478599</c:v>
                </c:pt>
                <c:pt idx="32529">
                  <c:v>0.58014981273408195</c:v>
                </c:pt>
                <c:pt idx="32530">
                  <c:v>0.58016764758337702</c:v>
                </c:pt>
                <c:pt idx="32531">
                  <c:v>0.58018548243267298</c:v>
                </c:pt>
                <c:pt idx="32532">
                  <c:v>0.58020331728196795</c:v>
                </c:pt>
                <c:pt idx="32533">
                  <c:v>0.58022115213126402</c:v>
                </c:pt>
                <c:pt idx="32534">
                  <c:v>0.58023898698055998</c:v>
                </c:pt>
                <c:pt idx="32535">
                  <c:v>0.58025682182985505</c:v>
                </c:pt>
                <c:pt idx="32536">
                  <c:v>0.58027465667915101</c:v>
                </c:pt>
                <c:pt idx="32537">
                  <c:v>0.58029249152844598</c:v>
                </c:pt>
                <c:pt idx="32538">
                  <c:v>0.58031032637774205</c:v>
                </c:pt>
                <c:pt idx="32539">
                  <c:v>0.58032816122703701</c:v>
                </c:pt>
                <c:pt idx="32540">
                  <c:v>0.58034599607633297</c:v>
                </c:pt>
                <c:pt idx="32541">
                  <c:v>0.58036383092562804</c:v>
                </c:pt>
                <c:pt idx="32542">
                  <c:v>0.580381665774924</c:v>
                </c:pt>
                <c:pt idx="32543">
                  <c:v>0.58039950062421897</c:v>
                </c:pt>
                <c:pt idx="32544">
                  <c:v>0.58041733547351504</c:v>
                </c:pt>
                <c:pt idx="32545">
                  <c:v>0.58043517032281</c:v>
                </c:pt>
                <c:pt idx="32546">
                  <c:v>0.58045300517210596</c:v>
                </c:pt>
                <c:pt idx="32547">
                  <c:v>0.58047084002140104</c:v>
                </c:pt>
                <c:pt idx="32548">
                  <c:v>0.580488674870697</c:v>
                </c:pt>
                <c:pt idx="32549">
                  <c:v>0.58050650971999196</c:v>
                </c:pt>
                <c:pt idx="32550">
                  <c:v>0.58052434456928803</c:v>
                </c:pt>
                <c:pt idx="32551">
                  <c:v>0.58054217941858299</c:v>
                </c:pt>
                <c:pt idx="32552">
                  <c:v>0.58056001426787895</c:v>
                </c:pt>
                <c:pt idx="32553">
                  <c:v>0.58057784911717403</c:v>
                </c:pt>
                <c:pt idx="32554">
                  <c:v>0.58059568396646999</c:v>
                </c:pt>
                <c:pt idx="32555">
                  <c:v>0.58061351881576595</c:v>
                </c:pt>
                <c:pt idx="32556">
                  <c:v>0.58063135366506102</c:v>
                </c:pt>
                <c:pt idx="32557">
                  <c:v>0.58064918851435698</c:v>
                </c:pt>
                <c:pt idx="32558">
                  <c:v>0.58066702336365195</c:v>
                </c:pt>
                <c:pt idx="32559">
                  <c:v>0.58068485821294802</c:v>
                </c:pt>
                <c:pt idx="32560">
                  <c:v>0.58070269306224298</c:v>
                </c:pt>
                <c:pt idx="32561">
                  <c:v>0.58072052791153905</c:v>
                </c:pt>
                <c:pt idx="32562">
                  <c:v>0.58073836276083401</c:v>
                </c:pt>
                <c:pt idx="32563">
                  <c:v>0.58075619761012998</c:v>
                </c:pt>
                <c:pt idx="32564">
                  <c:v>0.58077403245942505</c:v>
                </c:pt>
                <c:pt idx="32565">
                  <c:v>0.58079186730872101</c:v>
                </c:pt>
                <c:pt idx="32566">
                  <c:v>0.58080970215801597</c:v>
                </c:pt>
                <c:pt idx="32567">
                  <c:v>0.58082753700731204</c:v>
                </c:pt>
                <c:pt idx="32568">
                  <c:v>0.58084537185660701</c:v>
                </c:pt>
                <c:pt idx="32569">
                  <c:v>0.58086320670590297</c:v>
                </c:pt>
                <c:pt idx="32570">
                  <c:v>0.58088104155519804</c:v>
                </c:pt>
                <c:pt idx="32571">
                  <c:v>0.580898876404494</c:v>
                </c:pt>
                <c:pt idx="32572">
                  <c:v>0.58091671125378896</c:v>
                </c:pt>
                <c:pt idx="32573">
                  <c:v>0.58093454610308504</c:v>
                </c:pt>
                <c:pt idx="32574">
                  <c:v>0.580952380952381</c:v>
                </c:pt>
                <c:pt idx="32575">
                  <c:v>0.58097021580167596</c:v>
                </c:pt>
                <c:pt idx="32576">
                  <c:v>0.58098805065097203</c:v>
                </c:pt>
                <c:pt idx="32577">
                  <c:v>0.58100588550026699</c:v>
                </c:pt>
                <c:pt idx="32578">
                  <c:v>0.58102372034956296</c:v>
                </c:pt>
                <c:pt idx="32579">
                  <c:v>0.58104155519885803</c:v>
                </c:pt>
                <c:pt idx="32580">
                  <c:v>0.58105939004815399</c:v>
                </c:pt>
                <c:pt idx="32581">
                  <c:v>0.58107722489744895</c:v>
                </c:pt>
                <c:pt idx="32582">
                  <c:v>0.58109505974674502</c:v>
                </c:pt>
                <c:pt idx="32583">
                  <c:v>0.58111289459603999</c:v>
                </c:pt>
                <c:pt idx="32584">
                  <c:v>0.58113072944533595</c:v>
                </c:pt>
                <c:pt idx="32585">
                  <c:v>0.58114856429463102</c:v>
                </c:pt>
                <c:pt idx="32586">
                  <c:v>0.58116639914392698</c:v>
                </c:pt>
                <c:pt idx="32587">
                  <c:v>0.58118423399322205</c:v>
                </c:pt>
                <c:pt idx="32588">
                  <c:v>0.58120206884251802</c:v>
                </c:pt>
                <c:pt idx="32589">
                  <c:v>0.58121990369181298</c:v>
                </c:pt>
                <c:pt idx="32590">
                  <c:v>0.58123773854110905</c:v>
                </c:pt>
                <c:pt idx="32591">
                  <c:v>0.58125557339040401</c:v>
                </c:pt>
                <c:pt idx="32592">
                  <c:v>0.58127340823969997</c:v>
                </c:pt>
                <c:pt idx="32593">
                  <c:v>0.58129124308899505</c:v>
                </c:pt>
                <c:pt idx="32594">
                  <c:v>0.58130907793829101</c:v>
                </c:pt>
                <c:pt idx="32595">
                  <c:v>0.58132691278758697</c:v>
                </c:pt>
                <c:pt idx="32596">
                  <c:v>0.58134474763688204</c:v>
                </c:pt>
                <c:pt idx="32597">
                  <c:v>0.581362582486178</c:v>
                </c:pt>
                <c:pt idx="32598">
                  <c:v>0.58138041733547297</c:v>
                </c:pt>
                <c:pt idx="32599">
                  <c:v>0.58139825218476904</c:v>
                </c:pt>
                <c:pt idx="32600">
                  <c:v>0.581416087034064</c:v>
                </c:pt>
                <c:pt idx="32601">
                  <c:v>0.58143392188335996</c:v>
                </c:pt>
                <c:pt idx="32602">
                  <c:v>0.58145175673265503</c:v>
                </c:pt>
                <c:pt idx="32603">
                  <c:v>0.581469591581951</c:v>
                </c:pt>
                <c:pt idx="32604">
                  <c:v>0.58148742643124596</c:v>
                </c:pt>
                <c:pt idx="32605">
                  <c:v>0.58150526128054203</c:v>
                </c:pt>
                <c:pt idx="32606">
                  <c:v>0.58152309612983699</c:v>
                </c:pt>
                <c:pt idx="32607">
                  <c:v>0.58154093097913295</c:v>
                </c:pt>
                <c:pt idx="32608">
                  <c:v>0.58155876582842803</c:v>
                </c:pt>
                <c:pt idx="32609">
                  <c:v>0.58157660067772399</c:v>
                </c:pt>
                <c:pt idx="32610">
                  <c:v>0.58159443552701895</c:v>
                </c:pt>
                <c:pt idx="32611">
                  <c:v>0.58161227037631502</c:v>
                </c:pt>
                <c:pt idx="32612">
                  <c:v>0.58163010522560998</c:v>
                </c:pt>
                <c:pt idx="32613">
                  <c:v>0.58164794007490594</c:v>
                </c:pt>
                <c:pt idx="32614">
                  <c:v>0.58166577492420102</c:v>
                </c:pt>
                <c:pt idx="32615">
                  <c:v>0.58168360977349698</c:v>
                </c:pt>
                <c:pt idx="32616">
                  <c:v>0.58170144462279205</c:v>
                </c:pt>
                <c:pt idx="32617">
                  <c:v>0.58171927947208801</c:v>
                </c:pt>
                <c:pt idx="32618">
                  <c:v>0.58173711432138397</c:v>
                </c:pt>
                <c:pt idx="32619">
                  <c:v>0.58175494917067905</c:v>
                </c:pt>
                <c:pt idx="32620">
                  <c:v>0.58177278401997501</c:v>
                </c:pt>
                <c:pt idx="32621">
                  <c:v>0.58179061886926997</c:v>
                </c:pt>
                <c:pt idx="32622">
                  <c:v>0.58180845371856604</c:v>
                </c:pt>
                <c:pt idx="32623">
                  <c:v>0.58182628856786101</c:v>
                </c:pt>
                <c:pt idx="32624">
                  <c:v>0.58184412341715697</c:v>
                </c:pt>
                <c:pt idx="32625">
                  <c:v>0.58186195826645204</c:v>
                </c:pt>
                <c:pt idx="32626">
                  <c:v>0.581879793115748</c:v>
                </c:pt>
                <c:pt idx="32627">
                  <c:v>0.58189762796504296</c:v>
                </c:pt>
                <c:pt idx="32628">
                  <c:v>0.58191546281433904</c:v>
                </c:pt>
                <c:pt idx="32629">
                  <c:v>0.581933297663634</c:v>
                </c:pt>
                <c:pt idx="32630">
                  <c:v>0.58195113251292996</c:v>
                </c:pt>
                <c:pt idx="32631">
                  <c:v>0.58196896736222503</c:v>
                </c:pt>
                <c:pt idx="32632">
                  <c:v>0.58198680221152099</c:v>
                </c:pt>
                <c:pt idx="32633">
                  <c:v>0.58200463706081595</c:v>
                </c:pt>
                <c:pt idx="32634">
                  <c:v>0.58202247191011203</c:v>
                </c:pt>
                <c:pt idx="32635">
                  <c:v>0.58204030675940699</c:v>
                </c:pt>
                <c:pt idx="32636">
                  <c:v>0.58205814160870295</c:v>
                </c:pt>
                <c:pt idx="32637">
                  <c:v>0.58207597645799802</c:v>
                </c:pt>
                <c:pt idx="32638">
                  <c:v>0.58209381130729398</c:v>
                </c:pt>
                <c:pt idx="32639">
                  <c:v>0.58211164615658995</c:v>
                </c:pt>
                <c:pt idx="32640">
                  <c:v>0.58212948100588502</c:v>
                </c:pt>
                <c:pt idx="32641">
                  <c:v>0.58214731585518098</c:v>
                </c:pt>
                <c:pt idx="32642">
                  <c:v>0.58216515070447605</c:v>
                </c:pt>
                <c:pt idx="32643">
                  <c:v>0.58218298555377201</c:v>
                </c:pt>
                <c:pt idx="32644">
                  <c:v>0.58220082040306698</c:v>
                </c:pt>
                <c:pt idx="32645">
                  <c:v>0.58221865525236305</c:v>
                </c:pt>
                <c:pt idx="32646">
                  <c:v>0.58223649010165801</c:v>
                </c:pt>
                <c:pt idx="32647">
                  <c:v>0.58225432495095397</c:v>
                </c:pt>
                <c:pt idx="32648">
                  <c:v>0.58227215980024905</c:v>
                </c:pt>
                <c:pt idx="32649">
                  <c:v>0.58228999464954501</c:v>
                </c:pt>
                <c:pt idx="32650">
                  <c:v>0.58230782949883997</c:v>
                </c:pt>
                <c:pt idx="32651">
                  <c:v>0.58232566434813604</c:v>
                </c:pt>
                <c:pt idx="32652">
                  <c:v>0.582343499197431</c:v>
                </c:pt>
                <c:pt idx="32653">
                  <c:v>0.58236133404672696</c:v>
                </c:pt>
                <c:pt idx="32654">
                  <c:v>0.58237916889602204</c:v>
                </c:pt>
                <c:pt idx="32655">
                  <c:v>0.582397003745318</c:v>
                </c:pt>
                <c:pt idx="32656">
                  <c:v>0.58241483859461296</c:v>
                </c:pt>
                <c:pt idx="32657">
                  <c:v>0.58243267344390903</c:v>
                </c:pt>
                <c:pt idx="32658">
                  <c:v>0.58245050829320399</c:v>
                </c:pt>
                <c:pt idx="32659">
                  <c:v>0.58246834314249996</c:v>
                </c:pt>
                <c:pt idx="32660">
                  <c:v>0.58248617799179503</c:v>
                </c:pt>
                <c:pt idx="32661">
                  <c:v>0.58250401284109099</c:v>
                </c:pt>
                <c:pt idx="32662">
                  <c:v>0.58252184769038695</c:v>
                </c:pt>
                <c:pt idx="32663">
                  <c:v>0.58253968253968202</c:v>
                </c:pt>
                <c:pt idx="32664">
                  <c:v>0.58255751738897799</c:v>
                </c:pt>
                <c:pt idx="32665">
                  <c:v>0.58257535223827295</c:v>
                </c:pt>
                <c:pt idx="32666">
                  <c:v>0.58259318708756902</c:v>
                </c:pt>
                <c:pt idx="32667">
                  <c:v>0.58261102193686398</c:v>
                </c:pt>
                <c:pt idx="32668">
                  <c:v>0.58262885678616005</c:v>
                </c:pt>
                <c:pt idx="32669">
                  <c:v>0.58264669163545502</c:v>
                </c:pt>
                <c:pt idx="32670">
                  <c:v>0.58266452648475098</c:v>
                </c:pt>
                <c:pt idx="32671">
                  <c:v>0.58268236133404605</c:v>
                </c:pt>
                <c:pt idx="32672">
                  <c:v>0.58270019618334201</c:v>
                </c:pt>
                <c:pt idx="32673">
                  <c:v>0.58271803103263697</c:v>
                </c:pt>
                <c:pt idx="32674">
                  <c:v>0.58273586588193305</c:v>
                </c:pt>
                <c:pt idx="32675">
                  <c:v>0.58275370073122801</c:v>
                </c:pt>
                <c:pt idx="32676">
                  <c:v>0.58277153558052397</c:v>
                </c:pt>
                <c:pt idx="32677">
                  <c:v>0.58278937042981904</c:v>
                </c:pt>
                <c:pt idx="32678">
                  <c:v>0.582807205279115</c:v>
                </c:pt>
                <c:pt idx="32679">
                  <c:v>0.58282504012841096</c:v>
                </c:pt>
                <c:pt idx="32680">
                  <c:v>0.58284287497770604</c:v>
                </c:pt>
                <c:pt idx="32681">
                  <c:v>0.582860709827002</c:v>
                </c:pt>
                <c:pt idx="32682">
                  <c:v>0.58287854467629696</c:v>
                </c:pt>
                <c:pt idx="32683">
                  <c:v>0.58289637952559303</c:v>
                </c:pt>
                <c:pt idx="32684">
                  <c:v>0.582914214374888</c:v>
                </c:pt>
                <c:pt idx="32685">
                  <c:v>0.58293204922418396</c:v>
                </c:pt>
                <c:pt idx="32686">
                  <c:v>0.58294988407347903</c:v>
                </c:pt>
                <c:pt idx="32687">
                  <c:v>0.58296771892277499</c:v>
                </c:pt>
                <c:pt idx="32688">
                  <c:v>0.58298555377206995</c:v>
                </c:pt>
                <c:pt idx="32689">
                  <c:v>0.58300338862136603</c:v>
                </c:pt>
                <c:pt idx="32690">
                  <c:v>0.58302122347066099</c:v>
                </c:pt>
                <c:pt idx="32691">
                  <c:v>0.58303905831995695</c:v>
                </c:pt>
                <c:pt idx="32692">
                  <c:v>0.58305689316925202</c:v>
                </c:pt>
                <c:pt idx="32693">
                  <c:v>0.58307472801854798</c:v>
                </c:pt>
                <c:pt idx="32694">
                  <c:v>0.58309256286784295</c:v>
                </c:pt>
                <c:pt idx="32695">
                  <c:v>0.58311039771713902</c:v>
                </c:pt>
                <c:pt idx="32696">
                  <c:v>0.58312823256643398</c:v>
                </c:pt>
                <c:pt idx="32697">
                  <c:v>0.58314606741573005</c:v>
                </c:pt>
                <c:pt idx="32698">
                  <c:v>0.58316390226502501</c:v>
                </c:pt>
                <c:pt idx="32699">
                  <c:v>0.58318173711432097</c:v>
                </c:pt>
                <c:pt idx="32700">
                  <c:v>0.58319957196361605</c:v>
                </c:pt>
                <c:pt idx="32701">
                  <c:v>0.58321740681291201</c:v>
                </c:pt>
                <c:pt idx="32702">
                  <c:v>0.58323524166220797</c:v>
                </c:pt>
                <c:pt idx="32703">
                  <c:v>0.58325307651150304</c:v>
                </c:pt>
                <c:pt idx="32704">
                  <c:v>0.583270911360799</c:v>
                </c:pt>
                <c:pt idx="32705">
                  <c:v>0.58328874621009397</c:v>
                </c:pt>
                <c:pt idx="32706">
                  <c:v>0.58330658105939004</c:v>
                </c:pt>
                <c:pt idx="32707">
                  <c:v>0.583324415908685</c:v>
                </c:pt>
                <c:pt idx="32708">
                  <c:v>0.58334225075798096</c:v>
                </c:pt>
                <c:pt idx="32709">
                  <c:v>0.58336008560727604</c:v>
                </c:pt>
                <c:pt idx="32710">
                  <c:v>0.583377920456572</c:v>
                </c:pt>
                <c:pt idx="32711">
                  <c:v>0.58339575530586696</c:v>
                </c:pt>
                <c:pt idx="32712">
                  <c:v>0.58341359015516303</c:v>
                </c:pt>
                <c:pt idx="32713">
                  <c:v>0.58343142500445799</c:v>
                </c:pt>
                <c:pt idx="32714">
                  <c:v>0.58344925985375395</c:v>
                </c:pt>
                <c:pt idx="32715">
                  <c:v>0.58346709470304903</c:v>
                </c:pt>
                <c:pt idx="32716">
                  <c:v>0.58348492955234499</c:v>
                </c:pt>
                <c:pt idx="32717">
                  <c:v>0.58350276440163995</c:v>
                </c:pt>
                <c:pt idx="32718">
                  <c:v>0.58352059925093602</c:v>
                </c:pt>
                <c:pt idx="32719">
                  <c:v>0.58353843410023098</c:v>
                </c:pt>
                <c:pt idx="32720">
                  <c:v>0.58355626894952695</c:v>
                </c:pt>
                <c:pt idx="32721">
                  <c:v>0.58357410379882202</c:v>
                </c:pt>
                <c:pt idx="32722">
                  <c:v>0.58359193864811798</c:v>
                </c:pt>
                <c:pt idx="32723">
                  <c:v>0.58360977349741305</c:v>
                </c:pt>
                <c:pt idx="32724">
                  <c:v>0.58362760834670901</c:v>
                </c:pt>
                <c:pt idx="32725">
                  <c:v>0.58364544319600498</c:v>
                </c:pt>
                <c:pt idx="32726">
                  <c:v>0.58366327804530005</c:v>
                </c:pt>
                <c:pt idx="32727">
                  <c:v>0.58368111289459601</c:v>
                </c:pt>
                <c:pt idx="32728">
                  <c:v>0.58369894774389097</c:v>
                </c:pt>
                <c:pt idx="32729">
                  <c:v>0.58371678259318704</c:v>
                </c:pt>
                <c:pt idx="32730">
                  <c:v>0.58373461744248201</c:v>
                </c:pt>
                <c:pt idx="32731">
                  <c:v>0.58375245229177797</c:v>
                </c:pt>
                <c:pt idx="32732">
                  <c:v>0.58377028714107304</c:v>
                </c:pt>
                <c:pt idx="32733">
                  <c:v>0.583788121990369</c:v>
                </c:pt>
                <c:pt idx="32734">
                  <c:v>0.58380595683966396</c:v>
                </c:pt>
                <c:pt idx="32735">
                  <c:v>0.58382379168896004</c:v>
                </c:pt>
                <c:pt idx="32736">
                  <c:v>0.583841626538255</c:v>
                </c:pt>
                <c:pt idx="32737">
                  <c:v>0.58385946138755096</c:v>
                </c:pt>
                <c:pt idx="32738">
                  <c:v>0.58387729623684603</c:v>
                </c:pt>
                <c:pt idx="32739">
                  <c:v>0.58389513108614199</c:v>
                </c:pt>
                <c:pt idx="32740">
                  <c:v>0.58391296593543696</c:v>
                </c:pt>
                <c:pt idx="32741">
                  <c:v>0.58393080078473303</c:v>
                </c:pt>
                <c:pt idx="32742">
                  <c:v>0.58394863563402799</c:v>
                </c:pt>
                <c:pt idx="32743">
                  <c:v>0.58396647048332395</c:v>
                </c:pt>
                <c:pt idx="32744">
                  <c:v>0.58398430533261902</c:v>
                </c:pt>
                <c:pt idx="32745">
                  <c:v>0.58400214018191499</c:v>
                </c:pt>
                <c:pt idx="32746">
                  <c:v>0.58401997503121095</c:v>
                </c:pt>
                <c:pt idx="32747">
                  <c:v>0.58403780988050602</c:v>
                </c:pt>
                <c:pt idx="32748">
                  <c:v>0.58405564472980198</c:v>
                </c:pt>
                <c:pt idx="32749">
                  <c:v>0.58407347957909705</c:v>
                </c:pt>
                <c:pt idx="32750">
                  <c:v>0.58409131442839302</c:v>
                </c:pt>
                <c:pt idx="32751">
                  <c:v>0.58410914927768798</c:v>
                </c:pt>
                <c:pt idx="32752">
                  <c:v>0.58412698412698405</c:v>
                </c:pt>
                <c:pt idx="32753">
                  <c:v>0.58414481897627901</c:v>
                </c:pt>
                <c:pt idx="32754">
                  <c:v>0.58416265382557497</c:v>
                </c:pt>
                <c:pt idx="32755">
                  <c:v>0.58418048867487005</c:v>
                </c:pt>
                <c:pt idx="32756">
                  <c:v>0.58419832352416601</c:v>
                </c:pt>
                <c:pt idx="32757">
                  <c:v>0.58421615837346097</c:v>
                </c:pt>
                <c:pt idx="32758">
                  <c:v>0.58423399322275704</c:v>
                </c:pt>
                <c:pt idx="32759">
                  <c:v>0.584251828072052</c:v>
                </c:pt>
                <c:pt idx="32760">
                  <c:v>0.58426966292134797</c:v>
                </c:pt>
                <c:pt idx="32761">
                  <c:v>0.58428749777064304</c:v>
                </c:pt>
                <c:pt idx="32762">
                  <c:v>0.584305332619939</c:v>
                </c:pt>
                <c:pt idx="32763">
                  <c:v>0.58432316746923396</c:v>
                </c:pt>
                <c:pt idx="32764">
                  <c:v>0.58434100231853003</c:v>
                </c:pt>
                <c:pt idx="32765">
                  <c:v>0.584358837167825</c:v>
                </c:pt>
                <c:pt idx="32766">
                  <c:v>0.58437667201712096</c:v>
                </c:pt>
                <c:pt idx="32767">
                  <c:v>0.58439450686641703</c:v>
                </c:pt>
                <c:pt idx="32768">
                  <c:v>0.58441234171571199</c:v>
                </c:pt>
                <c:pt idx="32769">
                  <c:v>0.58443017656500795</c:v>
                </c:pt>
                <c:pt idx="32770">
                  <c:v>0.58444801141430303</c:v>
                </c:pt>
                <c:pt idx="32771">
                  <c:v>0.58446584626359899</c:v>
                </c:pt>
                <c:pt idx="32772">
                  <c:v>0.58448368111289395</c:v>
                </c:pt>
                <c:pt idx="32773">
                  <c:v>0.58450151596219002</c:v>
                </c:pt>
                <c:pt idx="32774">
                  <c:v>0.58451935081148498</c:v>
                </c:pt>
                <c:pt idx="32775">
                  <c:v>0.58453718566078094</c:v>
                </c:pt>
                <c:pt idx="32776">
                  <c:v>0.58455502051007602</c:v>
                </c:pt>
                <c:pt idx="32777">
                  <c:v>0.58457285535937198</c:v>
                </c:pt>
                <c:pt idx="32778">
                  <c:v>0.58459069020866705</c:v>
                </c:pt>
                <c:pt idx="32779">
                  <c:v>0.58460852505796301</c:v>
                </c:pt>
                <c:pt idx="32780">
                  <c:v>0.58462635990725798</c:v>
                </c:pt>
                <c:pt idx="32781">
                  <c:v>0.58464419475655405</c:v>
                </c:pt>
                <c:pt idx="32782">
                  <c:v>0.58466202960584901</c:v>
                </c:pt>
                <c:pt idx="32783">
                  <c:v>0.58467986445514497</c:v>
                </c:pt>
                <c:pt idx="32784">
                  <c:v>0.58469769930444004</c:v>
                </c:pt>
                <c:pt idx="32785">
                  <c:v>0.58471553415373601</c:v>
                </c:pt>
                <c:pt idx="32786">
                  <c:v>0.58473336900303197</c:v>
                </c:pt>
                <c:pt idx="32787">
                  <c:v>0.58475120385232704</c:v>
                </c:pt>
                <c:pt idx="32788">
                  <c:v>0.584769038701623</c:v>
                </c:pt>
                <c:pt idx="32789">
                  <c:v>0.58478687355091796</c:v>
                </c:pt>
                <c:pt idx="32790">
                  <c:v>0.58480470840021404</c:v>
                </c:pt>
                <c:pt idx="32791">
                  <c:v>0.584822543249509</c:v>
                </c:pt>
                <c:pt idx="32792">
                  <c:v>0.58484037809880496</c:v>
                </c:pt>
                <c:pt idx="32793">
                  <c:v>0.58485821294810003</c:v>
                </c:pt>
                <c:pt idx="32794">
                  <c:v>0.58487604779739599</c:v>
                </c:pt>
                <c:pt idx="32795">
                  <c:v>0.58489388264669095</c:v>
                </c:pt>
                <c:pt idx="32796">
                  <c:v>0.58491171749598703</c:v>
                </c:pt>
                <c:pt idx="32797">
                  <c:v>0.58492955234528199</c:v>
                </c:pt>
                <c:pt idx="32798">
                  <c:v>0.58494738719457795</c:v>
                </c:pt>
                <c:pt idx="32799">
                  <c:v>0.58496522204387302</c:v>
                </c:pt>
                <c:pt idx="32800">
                  <c:v>0.58498305689316898</c:v>
                </c:pt>
                <c:pt idx="32801">
                  <c:v>0.58500089174246395</c:v>
                </c:pt>
                <c:pt idx="32802">
                  <c:v>0.58501872659176002</c:v>
                </c:pt>
                <c:pt idx="32803">
                  <c:v>0.58503656144105498</c:v>
                </c:pt>
                <c:pt idx="32804">
                  <c:v>0.58505439629035105</c:v>
                </c:pt>
                <c:pt idx="32805">
                  <c:v>0.58507223113964602</c:v>
                </c:pt>
                <c:pt idx="32806">
                  <c:v>0.58509006598894198</c:v>
                </c:pt>
                <c:pt idx="32807">
                  <c:v>0.58510790083823705</c:v>
                </c:pt>
                <c:pt idx="32808">
                  <c:v>0.58512573568753301</c:v>
                </c:pt>
                <c:pt idx="32809">
                  <c:v>0.58514357053682897</c:v>
                </c:pt>
                <c:pt idx="32810">
                  <c:v>0.58516140538612404</c:v>
                </c:pt>
                <c:pt idx="32811">
                  <c:v>0.58517924023542001</c:v>
                </c:pt>
                <c:pt idx="32812">
                  <c:v>0.58519707508471497</c:v>
                </c:pt>
                <c:pt idx="32813">
                  <c:v>0.58521490993401104</c:v>
                </c:pt>
                <c:pt idx="32814">
                  <c:v>0.585232744783306</c:v>
                </c:pt>
                <c:pt idx="32815">
                  <c:v>0.58525057963260196</c:v>
                </c:pt>
                <c:pt idx="32816">
                  <c:v>0.58526841448189704</c:v>
                </c:pt>
                <c:pt idx="32817">
                  <c:v>0.585286249331193</c:v>
                </c:pt>
                <c:pt idx="32818">
                  <c:v>0.58530408418048796</c:v>
                </c:pt>
                <c:pt idx="32819">
                  <c:v>0.58532191902978403</c:v>
                </c:pt>
                <c:pt idx="32820">
                  <c:v>0.58533975387907899</c:v>
                </c:pt>
                <c:pt idx="32821">
                  <c:v>0.58535758872837496</c:v>
                </c:pt>
                <c:pt idx="32822">
                  <c:v>0.58537542357767003</c:v>
                </c:pt>
                <c:pt idx="32823">
                  <c:v>0.58539325842696599</c:v>
                </c:pt>
                <c:pt idx="32824">
                  <c:v>0.58541109327626095</c:v>
                </c:pt>
                <c:pt idx="32825">
                  <c:v>0.58542892812555702</c:v>
                </c:pt>
                <c:pt idx="32826">
                  <c:v>0.58544676297485199</c:v>
                </c:pt>
                <c:pt idx="32827">
                  <c:v>0.58546459782414795</c:v>
                </c:pt>
                <c:pt idx="32828">
                  <c:v>0.58548243267344302</c:v>
                </c:pt>
                <c:pt idx="32829">
                  <c:v>0.58550026752273898</c:v>
                </c:pt>
                <c:pt idx="32830">
                  <c:v>0.58551810237203405</c:v>
                </c:pt>
                <c:pt idx="32831">
                  <c:v>0.58553593722133002</c:v>
                </c:pt>
                <c:pt idx="32832">
                  <c:v>0.58555377207062598</c:v>
                </c:pt>
                <c:pt idx="32833">
                  <c:v>0.58557160691992105</c:v>
                </c:pt>
                <c:pt idx="32834">
                  <c:v>0.58558944176921701</c:v>
                </c:pt>
                <c:pt idx="32835">
                  <c:v>0.58560727661851197</c:v>
                </c:pt>
                <c:pt idx="32836">
                  <c:v>0.58562511146780805</c:v>
                </c:pt>
                <c:pt idx="32837">
                  <c:v>0.58564294631710301</c:v>
                </c:pt>
                <c:pt idx="32838">
                  <c:v>0.58566078116639897</c:v>
                </c:pt>
                <c:pt idx="32839">
                  <c:v>0.58567861601569404</c:v>
                </c:pt>
                <c:pt idx="32840">
                  <c:v>0.58569645086499</c:v>
                </c:pt>
                <c:pt idx="32841">
                  <c:v>0.58571428571428497</c:v>
                </c:pt>
                <c:pt idx="32842">
                  <c:v>0.58573212056358104</c:v>
                </c:pt>
                <c:pt idx="32843">
                  <c:v>0.585749955412876</c:v>
                </c:pt>
                <c:pt idx="32844">
                  <c:v>0.58576779026217196</c:v>
                </c:pt>
                <c:pt idx="32845">
                  <c:v>0.58578562511146703</c:v>
                </c:pt>
                <c:pt idx="32846">
                  <c:v>0.585803459960763</c:v>
                </c:pt>
                <c:pt idx="32847">
                  <c:v>0.58582129481005796</c:v>
                </c:pt>
                <c:pt idx="32848">
                  <c:v>0.58583912965935403</c:v>
                </c:pt>
                <c:pt idx="32849">
                  <c:v>0.58585696450864899</c:v>
                </c:pt>
                <c:pt idx="32850">
                  <c:v>0.58587479935794495</c:v>
                </c:pt>
                <c:pt idx="32851">
                  <c:v>0.58589263420724003</c:v>
                </c:pt>
                <c:pt idx="32852">
                  <c:v>0.58591046905653599</c:v>
                </c:pt>
                <c:pt idx="32853">
                  <c:v>0.58592830390583195</c:v>
                </c:pt>
                <c:pt idx="32854">
                  <c:v>0.58594613875512702</c:v>
                </c:pt>
                <c:pt idx="32855">
                  <c:v>0.58596397360442298</c:v>
                </c:pt>
                <c:pt idx="32856">
                  <c:v>0.58598180845371795</c:v>
                </c:pt>
                <c:pt idx="32857">
                  <c:v>0.58599964330301402</c:v>
                </c:pt>
                <c:pt idx="32858">
                  <c:v>0.58601747815230898</c:v>
                </c:pt>
                <c:pt idx="32859">
                  <c:v>0.58603531300160505</c:v>
                </c:pt>
                <c:pt idx="32860">
                  <c:v>0.58605314785090001</c:v>
                </c:pt>
                <c:pt idx="32861">
                  <c:v>0.58607098270019597</c:v>
                </c:pt>
                <c:pt idx="32862">
                  <c:v>0.58608881754949105</c:v>
                </c:pt>
                <c:pt idx="32863">
                  <c:v>0.58610665239878701</c:v>
                </c:pt>
                <c:pt idx="32864">
                  <c:v>0.58612448724808197</c:v>
                </c:pt>
                <c:pt idx="32865">
                  <c:v>0.58614232209737804</c:v>
                </c:pt>
                <c:pt idx="32866">
                  <c:v>0.58616015694667301</c:v>
                </c:pt>
                <c:pt idx="32867">
                  <c:v>0.58617799179596897</c:v>
                </c:pt>
                <c:pt idx="32868">
                  <c:v>0.58619582664526404</c:v>
                </c:pt>
                <c:pt idx="32869">
                  <c:v>0.58621366149456</c:v>
                </c:pt>
                <c:pt idx="32870">
                  <c:v>0.58623149634385496</c:v>
                </c:pt>
                <c:pt idx="32871">
                  <c:v>0.58624933119315104</c:v>
                </c:pt>
                <c:pt idx="32872">
                  <c:v>0.586267166042447</c:v>
                </c:pt>
                <c:pt idx="32873">
                  <c:v>0.58628500089174196</c:v>
                </c:pt>
                <c:pt idx="32874">
                  <c:v>0.58630283574103803</c:v>
                </c:pt>
                <c:pt idx="32875">
                  <c:v>0.58632067059033299</c:v>
                </c:pt>
                <c:pt idx="32876">
                  <c:v>0.58633850543962895</c:v>
                </c:pt>
                <c:pt idx="32877">
                  <c:v>0.58635634028892403</c:v>
                </c:pt>
                <c:pt idx="32878">
                  <c:v>0.58637417513821999</c:v>
                </c:pt>
                <c:pt idx="32879">
                  <c:v>0.58639200998751495</c:v>
                </c:pt>
                <c:pt idx="32880">
                  <c:v>0.58640984483681102</c:v>
                </c:pt>
                <c:pt idx="32881">
                  <c:v>0.58642767968610598</c:v>
                </c:pt>
                <c:pt idx="32882">
                  <c:v>0.58644551453540195</c:v>
                </c:pt>
                <c:pt idx="32883">
                  <c:v>0.58646334938469702</c:v>
                </c:pt>
                <c:pt idx="32884">
                  <c:v>0.58648118423399298</c:v>
                </c:pt>
                <c:pt idx="32885">
                  <c:v>0.58649901908328805</c:v>
                </c:pt>
                <c:pt idx="32886">
                  <c:v>0.58651685393258401</c:v>
                </c:pt>
                <c:pt idx="32887">
                  <c:v>0.58653468878187898</c:v>
                </c:pt>
                <c:pt idx="32888">
                  <c:v>0.58655252363117505</c:v>
                </c:pt>
                <c:pt idx="32889">
                  <c:v>0.58657035848047001</c:v>
                </c:pt>
                <c:pt idx="32890">
                  <c:v>0.58658819332976597</c:v>
                </c:pt>
                <c:pt idx="32891">
                  <c:v>0.58660602817906105</c:v>
                </c:pt>
                <c:pt idx="32892">
                  <c:v>0.58662386302835701</c:v>
                </c:pt>
                <c:pt idx="32893">
                  <c:v>0.58664169787765297</c:v>
                </c:pt>
                <c:pt idx="32894">
                  <c:v>0.58665953272694804</c:v>
                </c:pt>
                <c:pt idx="32895">
                  <c:v>0.586677367576244</c:v>
                </c:pt>
                <c:pt idx="32896">
                  <c:v>0.58669520242553896</c:v>
                </c:pt>
                <c:pt idx="32897">
                  <c:v>0.58671303727483504</c:v>
                </c:pt>
                <c:pt idx="32898">
                  <c:v>0.58673087212413</c:v>
                </c:pt>
                <c:pt idx="32899">
                  <c:v>0.58674870697342596</c:v>
                </c:pt>
                <c:pt idx="32900">
                  <c:v>0.58676654182272103</c:v>
                </c:pt>
                <c:pt idx="32901">
                  <c:v>0.58678437667201699</c:v>
                </c:pt>
                <c:pt idx="32902">
                  <c:v>0.58680221152131196</c:v>
                </c:pt>
                <c:pt idx="32903">
                  <c:v>0.58682004637060803</c:v>
                </c:pt>
                <c:pt idx="32904">
                  <c:v>0.58683788121990299</c:v>
                </c:pt>
                <c:pt idx="32905">
                  <c:v>0.58685571606919895</c:v>
                </c:pt>
                <c:pt idx="32906">
                  <c:v>0.58687355091849402</c:v>
                </c:pt>
                <c:pt idx="32907">
                  <c:v>0.58689138576778999</c:v>
                </c:pt>
                <c:pt idx="32908">
                  <c:v>0.58690922061708495</c:v>
                </c:pt>
                <c:pt idx="32909">
                  <c:v>0.58692705546638102</c:v>
                </c:pt>
                <c:pt idx="32910">
                  <c:v>0.58694489031567598</c:v>
                </c:pt>
                <c:pt idx="32911">
                  <c:v>0.58696272516497205</c:v>
                </c:pt>
                <c:pt idx="32912">
                  <c:v>0.58698056001426702</c:v>
                </c:pt>
                <c:pt idx="32913">
                  <c:v>0.58699839486356298</c:v>
                </c:pt>
                <c:pt idx="32914">
                  <c:v>0.58701622971285805</c:v>
                </c:pt>
                <c:pt idx="32915">
                  <c:v>0.58703406456215401</c:v>
                </c:pt>
                <c:pt idx="32916">
                  <c:v>0.58705189941144997</c:v>
                </c:pt>
                <c:pt idx="32917">
                  <c:v>0.58706973426074505</c:v>
                </c:pt>
                <c:pt idx="32918">
                  <c:v>0.58708756911004101</c:v>
                </c:pt>
                <c:pt idx="32919">
                  <c:v>0.58710540395933597</c:v>
                </c:pt>
                <c:pt idx="32920">
                  <c:v>0.58712323880863204</c:v>
                </c:pt>
                <c:pt idx="32921">
                  <c:v>0.587141073657927</c:v>
                </c:pt>
                <c:pt idx="32922">
                  <c:v>0.58715890850722297</c:v>
                </c:pt>
                <c:pt idx="32923">
                  <c:v>0.58717674335651804</c:v>
                </c:pt>
                <c:pt idx="32924">
                  <c:v>0.587194578205814</c:v>
                </c:pt>
                <c:pt idx="32925">
                  <c:v>0.58721241305510896</c:v>
                </c:pt>
                <c:pt idx="32926">
                  <c:v>0.58723024790440503</c:v>
                </c:pt>
                <c:pt idx="32927">
                  <c:v>0.5872480827537</c:v>
                </c:pt>
                <c:pt idx="32928">
                  <c:v>0.58726591760299596</c:v>
                </c:pt>
                <c:pt idx="32929">
                  <c:v>0.58728375245229103</c:v>
                </c:pt>
                <c:pt idx="32930">
                  <c:v>0.58730158730158699</c:v>
                </c:pt>
                <c:pt idx="32931">
                  <c:v>0.58731942215088195</c:v>
                </c:pt>
                <c:pt idx="32932">
                  <c:v>0.58733725700017803</c:v>
                </c:pt>
                <c:pt idx="32933">
                  <c:v>0.58735509184947299</c:v>
                </c:pt>
                <c:pt idx="32934">
                  <c:v>0.58737292669876895</c:v>
                </c:pt>
                <c:pt idx="32935">
                  <c:v>0.58739076154806402</c:v>
                </c:pt>
                <c:pt idx="32936">
                  <c:v>0.58740859639735998</c:v>
                </c:pt>
                <c:pt idx="32937">
                  <c:v>0.58742643124665594</c:v>
                </c:pt>
                <c:pt idx="32938">
                  <c:v>0.58744426609595102</c:v>
                </c:pt>
                <c:pt idx="32939">
                  <c:v>0.58746210094524698</c:v>
                </c:pt>
                <c:pt idx="32940">
                  <c:v>0.58747993579454205</c:v>
                </c:pt>
                <c:pt idx="32941">
                  <c:v>0.58749777064383801</c:v>
                </c:pt>
                <c:pt idx="32942">
                  <c:v>0.58751560549313298</c:v>
                </c:pt>
                <c:pt idx="32943">
                  <c:v>0.58753344034242905</c:v>
                </c:pt>
                <c:pt idx="32944">
                  <c:v>0.58755127519172401</c:v>
                </c:pt>
                <c:pt idx="32945">
                  <c:v>0.58756911004101997</c:v>
                </c:pt>
                <c:pt idx="32946">
                  <c:v>0.58758694489031504</c:v>
                </c:pt>
                <c:pt idx="32947">
                  <c:v>0.58760477973961101</c:v>
                </c:pt>
                <c:pt idx="32948">
                  <c:v>0.58762261458890597</c:v>
                </c:pt>
                <c:pt idx="32949">
                  <c:v>0.58764044943820204</c:v>
                </c:pt>
                <c:pt idx="32950">
                  <c:v>0.587658284287497</c:v>
                </c:pt>
                <c:pt idx="32951">
                  <c:v>0.58767611913679296</c:v>
                </c:pt>
                <c:pt idx="32952">
                  <c:v>0.58769395398608804</c:v>
                </c:pt>
                <c:pt idx="32953">
                  <c:v>0.587711788835384</c:v>
                </c:pt>
                <c:pt idx="32954">
                  <c:v>0.58772962368467896</c:v>
                </c:pt>
                <c:pt idx="32955">
                  <c:v>0.58774745853397503</c:v>
                </c:pt>
                <c:pt idx="32956">
                  <c:v>0.58776529338326999</c:v>
                </c:pt>
                <c:pt idx="32957">
                  <c:v>0.58778312823256595</c:v>
                </c:pt>
                <c:pt idx="32958">
                  <c:v>0.58780096308186103</c:v>
                </c:pt>
                <c:pt idx="32959">
                  <c:v>0.58781879793115699</c:v>
                </c:pt>
                <c:pt idx="32960">
                  <c:v>0.58783663278045295</c:v>
                </c:pt>
                <c:pt idx="32961">
                  <c:v>0.58785446762974802</c:v>
                </c:pt>
                <c:pt idx="32962">
                  <c:v>0.58787230247904398</c:v>
                </c:pt>
                <c:pt idx="32963">
                  <c:v>0.58789013732833895</c:v>
                </c:pt>
                <c:pt idx="32964">
                  <c:v>0.58790797217763502</c:v>
                </c:pt>
                <c:pt idx="32965">
                  <c:v>0.58792580702692998</c:v>
                </c:pt>
                <c:pt idx="32966">
                  <c:v>0.58794364187622605</c:v>
                </c:pt>
                <c:pt idx="32967">
                  <c:v>0.58796147672552102</c:v>
                </c:pt>
                <c:pt idx="32968">
                  <c:v>0.58797931157481698</c:v>
                </c:pt>
                <c:pt idx="32969">
                  <c:v>0.58799714642411205</c:v>
                </c:pt>
                <c:pt idx="32970">
                  <c:v>0.58801498127340801</c:v>
                </c:pt>
                <c:pt idx="32971">
                  <c:v>0.58803281612270297</c:v>
                </c:pt>
                <c:pt idx="32972">
                  <c:v>0.58805065097199904</c:v>
                </c:pt>
                <c:pt idx="32973">
                  <c:v>0.58806848582129401</c:v>
                </c:pt>
                <c:pt idx="32974">
                  <c:v>0.58808632067058997</c:v>
                </c:pt>
                <c:pt idx="32975">
                  <c:v>0.58810415551988504</c:v>
                </c:pt>
                <c:pt idx="32976">
                  <c:v>0.588121990369181</c:v>
                </c:pt>
                <c:pt idx="32977">
                  <c:v>0.58813982521847596</c:v>
                </c:pt>
                <c:pt idx="32978">
                  <c:v>0.58815766006777204</c:v>
                </c:pt>
                <c:pt idx="32979">
                  <c:v>0.588175494917068</c:v>
                </c:pt>
                <c:pt idx="32980">
                  <c:v>0.58819332976636296</c:v>
                </c:pt>
                <c:pt idx="32981">
                  <c:v>0.58821116461565903</c:v>
                </c:pt>
                <c:pt idx="32982">
                  <c:v>0.58822899946495399</c:v>
                </c:pt>
                <c:pt idx="32983">
                  <c:v>0.58824683431424996</c:v>
                </c:pt>
                <c:pt idx="32984">
                  <c:v>0.58826466916354503</c:v>
                </c:pt>
                <c:pt idx="32985">
                  <c:v>0.58828250401284099</c:v>
                </c:pt>
                <c:pt idx="32986">
                  <c:v>0.58830033886213595</c:v>
                </c:pt>
                <c:pt idx="32987">
                  <c:v>0.58831817371143202</c:v>
                </c:pt>
                <c:pt idx="32988">
                  <c:v>0.58833600856072699</c:v>
                </c:pt>
                <c:pt idx="32989">
                  <c:v>0.58835384341002295</c:v>
                </c:pt>
                <c:pt idx="32990">
                  <c:v>0.58837167825931802</c:v>
                </c:pt>
                <c:pt idx="32991">
                  <c:v>0.58838951310861398</c:v>
                </c:pt>
                <c:pt idx="32992">
                  <c:v>0.58840734795790905</c:v>
                </c:pt>
                <c:pt idx="32993">
                  <c:v>0.58842518280720502</c:v>
                </c:pt>
                <c:pt idx="32994">
                  <c:v>0.58844301765649998</c:v>
                </c:pt>
                <c:pt idx="32995">
                  <c:v>0.58846085250579605</c:v>
                </c:pt>
                <c:pt idx="32996">
                  <c:v>0.58847868735509101</c:v>
                </c:pt>
                <c:pt idx="32997">
                  <c:v>0.58849652220438697</c:v>
                </c:pt>
                <c:pt idx="32998">
                  <c:v>0.58851435705368205</c:v>
                </c:pt>
                <c:pt idx="32999">
                  <c:v>0.58853219190297801</c:v>
                </c:pt>
                <c:pt idx="33000">
                  <c:v>0.58855002675227397</c:v>
                </c:pt>
                <c:pt idx="33001">
                  <c:v>0.58856786160156904</c:v>
                </c:pt>
                <c:pt idx="33002">
                  <c:v>0.588585696450865</c:v>
                </c:pt>
                <c:pt idx="33003">
                  <c:v>0.58860353130015997</c:v>
                </c:pt>
                <c:pt idx="33004">
                  <c:v>0.58862136614945604</c:v>
                </c:pt>
                <c:pt idx="33005">
                  <c:v>0.588639200998751</c:v>
                </c:pt>
                <c:pt idx="33006">
                  <c:v>0.58865703584804696</c:v>
                </c:pt>
                <c:pt idx="33007">
                  <c:v>0.58867487069734203</c:v>
                </c:pt>
                <c:pt idx="33008">
                  <c:v>0.588692705546638</c:v>
                </c:pt>
                <c:pt idx="33009">
                  <c:v>0.58871054039593296</c:v>
                </c:pt>
                <c:pt idx="33010">
                  <c:v>0.58872837524522903</c:v>
                </c:pt>
                <c:pt idx="33011">
                  <c:v>0.58874621009452399</c:v>
                </c:pt>
                <c:pt idx="33012">
                  <c:v>0.58876404494381995</c:v>
                </c:pt>
                <c:pt idx="33013">
                  <c:v>0.58878187979311503</c:v>
                </c:pt>
                <c:pt idx="33014">
                  <c:v>0.58879971464241099</c:v>
                </c:pt>
                <c:pt idx="33015">
                  <c:v>0.58881754949170595</c:v>
                </c:pt>
                <c:pt idx="33016">
                  <c:v>0.58883538434100202</c:v>
                </c:pt>
                <c:pt idx="33017">
                  <c:v>0.58885321919029698</c:v>
                </c:pt>
                <c:pt idx="33018">
                  <c:v>0.58887105403959294</c:v>
                </c:pt>
                <c:pt idx="33019">
                  <c:v>0.58888888888888802</c:v>
                </c:pt>
                <c:pt idx="33020">
                  <c:v>0.58890672373818398</c:v>
                </c:pt>
                <c:pt idx="33021">
                  <c:v>0.58892455858747905</c:v>
                </c:pt>
                <c:pt idx="33022">
                  <c:v>0.58894239343677501</c:v>
                </c:pt>
                <c:pt idx="33023">
                  <c:v>0.58896022828607097</c:v>
                </c:pt>
                <c:pt idx="33024">
                  <c:v>0.58897806313536605</c:v>
                </c:pt>
                <c:pt idx="33025">
                  <c:v>0.58899589798466201</c:v>
                </c:pt>
                <c:pt idx="33026">
                  <c:v>0.58901373283395697</c:v>
                </c:pt>
                <c:pt idx="33027">
                  <c:v>0.58903156768325304</c:v>
                </c:pt>
                <c:pt idx="33028">
                  <c:v>0.58904940253254801</c:v>
                </c:pt>
                <c:pt idx="33029">
                  <c:v>0.58906723738184397</c:v>
                </c:pt>
                <c:pt idx="33030">
                  <c:v>0.58908507223113904</c:v>
                </c:pt>
                <c:pt idx="33031">
                  <c:v>0.589102907080435</c:v>
                </c:pt>
                <c:pt idx="33032">
                  <c:v>0.58912074192972996</c:v>
                </c:pt>
                <c:pt idx="33033">
                  <c:v>0.58913857677902604</c:v>
                </c:pt>
                <c:pt idx="33034">
                  <c:v>0.589156411628321</c:v>
                </c:pt>
                <c:pt idx="33035">
                  <c:v>0.58917424647761696</c:v>
                </c:pt>
                <c:pt idx="33036">
                  <c:v>0.58919208132691203</c:v>
                </c:pt>
                <c:pt idx="33037">
                  <c:v>0.58920991617620799</c:v>
                </c:pt>
                <c:pt idx="33038">
                  <c:v>0.58922775102550295</c:v>
                </c:pt>
                <c:pt idx="33039">
                  <c:v>0.58924558587479903</c:v>
                </c:pt>
                <c:pt idx="33040">
                  <c:v>0.58926342072409399</c:v>
                </c:pt>
                <c:pt idx="33041">
                  <c:v>0.58928125557338995</c:v>
                </c:pt>
                <c:pt idx="33042">
                  <c:v>0.58929909042268502</c:v>
                </c:pt>
                <c:pt idx="33043">
                  <c:v>0.58931692527198098</c:v>
                </c:pt>
                <c:pt idx="33044">
                  <c:v>0.58933476012127695</c:v>
                </c:pt>
                <c:pt idx="33045">
                  <c:v>0.58935259497057202</c:v>
                </c:pt>
                <c:pt idx="33046">
                  <c:v>0.58937042981986798</c:v>
                </c:pt>
                <c:pt idx="33047">
                  <c:v>0.58938826466916305</c:v>
                </c:pt>
                <c:pt idx="33048">
                  <c:v>0.58940609951845901</c:v>
                </c:pt>
                <c:pt idx="33049">
                  <c:v>0.58942393436775398</c:v>
                </c:pt>
                <c:pt idx="33050">
                  <c:v>0.58944176921705005</c:v>
                </c:pt>
                <c:pt idx="33051">
                  <c:v>0.58945960406634501</c:v>
                </c:pt>
                <c:pt idx="33052">
                  <c:v>0.58947743891564097</c:v>
                </c:pt>
                <c:pt idx="33053">
                  <c:v>0.58949527376493605</c:v>
                </c:pt>
                <c:pt idx="33054">
                  <c:v>0.58951310861423201</c:v>
                </c:pt>
                <c:pt idx="33055">
                  <c:v>0.58953094346352697</c:v>
                </c:pt>
                <c:pt idx="33056">
                  <c:v>0.58954877831282304</c:v>
                </c:pt>
                <c:pt idx="33057">
                  <c:v>0.589566613162118</c:v>
                </c:pt>
                <c:pt idx="33058">
                  <c:v>0.58958444801141396</c:v>
                </c:pt>
                <c:pt idx="33059">
                  <c:v>0.58960228286070904</c:v>
                </c:pt>
                <c:pt idx="33060">
                  <c:v>0.589620117710005</c:v>
                </c:pt>
                <c:pt idx="33061">
                  <c:v>0.58963795255929996</c:v>
                </c:pt>
                <c:pt idx="33062">
                  <c:v>0.58965578740859603</c:v>
                </c:pt>
                <c:pt idx="33063">
                  <c:v>0.58967362225789099</c:v>
                </c:pt>
                <c:pt idx="33064">
                  <c:v>0.58969145710718696</c:v>
                </c:pt>
                <c:pt idx="33065">
                  <c:v>0.58970929195648203</c:v>
                </c:pt>
                <c:pt idx="33066">
                  <c:v>0.58972712680577799</c:v>
                </c:pt>
                <c:pt idx="33067">
                  <c:v>0.58974496165507395</c:v>
                </c:pt>
                <c:pt idx="33068">
                  <c:v>0.58976279650436902</c:v>
                </c:pt>
                <c:pt idx="33069">
                  <c:v>0.58978063135366499</c:v>
                </c:pt>
                <c:pt idx="33070">
                  <c:v>0.58979846620295995</c:v>
                </c:pt>
                <c:pt idx="33071">
                  <c:v>0.58981630105225602</c:v>
                </c:pt>
                <c:pt idx="33072">
                  <c:v>0.58983413590155098</c:v>
                </c:pt>
                <c:pt idx="33073">
                  <c:v>0.58985197075084705</c:v>
                </c:pt>
                <c:pt idx="33074">
                  <c:v>0.58986980560014202</c:v>
                </c:pt>
                <c:pt idx="33075">
                  <c:v>0.58988764044943798</c:v>
                </c:pt>
                <c:pt idx="33076">
                  <c:v>0.58990547529873305</c:v>
                </c:pt>
                <c:pt idx="33077">
                  <c:v>0.58992331014802901</c:v>
                </c:pt>
                <c:pt idx="33078">
                  <c:v>0.58994114499732397</c:v>
                </c:pt>
                <c:pt idx="33079">
                  <c:v>0.58995897984662005</c:v>
                </c:pt>
                <c:pt idx="33080">
                  <c:v>0.58997681469591501</c:v>
                </c:pt>
                <c:pt idx="33081">
                  <c:v>0.58999464954521097</c:v>
                </c:pt>
                <c:pt idx="33082">
                  <c:v>0.59001248439450604</c:v>
                </c:pt>
                <c:pt idx="33083">
                  <c:v>0.590030319243802</c:v>
                </c:pt>
                <c:pt idx="33084">
                  <c:v>0.59004815409309797</c:v>
                </c:pt>
                <c:pt idx="33085">
                  <c:v>0.59006598894239304</c:v>
                </c:pt>
                <c:pt idx="33086">
                  <c:v>0.590083823791689</c:v>
                </c:pt>
                <c:pt idx="33087">
                  <c:v>0.59010165864098396</c:v>
                </c:pt>
                <c:pt idx="33088">
                  <c:v>0.59011949349028003</c:v>
                </c:pt>
                <c:pt idx="33089">
                  <c:v>0.590137328339575</c:v>
                </c:pt>
                <c:pt idx="33090">
                  <c:v>0.59015516318887096</c:v>
                </c:pt>
                <c:pt idx="33091">
                  <c:v>0.59017299803816603</c:v>
                </c:pt>
                <c:pt idx="33092">
                  <c:v>0.59019083288746199</c:v>
                </c:pt>
                <c:pt idx="33093">
                  <c:v>0.59020866773675695</c:v>
                </c:pt>
                <c:pt idx="33094">
                  <c:v>0.59022650258605303</c:v>
                </c:pt>
                <c:pt idx="33095">
                  <c:v>0.59024433743534799</c:v>
                </c:pt>
                <c:pt idx="33096">
                  <c:v>0.59026217228464395</c:v>
                </c:pt>
                <c:pt idx="33097">
                  <c:v>0.59028000713393902</c:v>
                </c:pt>
                <c:pt idx="33098">
                  <c:v>0.59029784198323498</c:v>
                </c:pt>
                <c:pt idx="33099">
                  <c:v>0.59031567683252995</c:v>
                </c:pt>
                <c:pt idx="33100">
                  <c:v>0.59033351168182602</c:v>
                </c:pt>
                <c:pt idx="33101">
                  <c:v>0.59035134653112098</c:v>
                </c:pt>
                <c:pt idx="33102">
                  <c:v>0.59036918138041705</c:v>
                </c:pt>
                <c:pt idx="33103">
                  <c:v>0.59038701622971201</c:v>
                </c:pt>
                <c:pt idx="33104">
                  <c:v>0.59040485107900798</c:v>
                </c:pt>
                <c:pt idx="33105">
                  <c:v>0.59042268592830305</c:v>
                </c:pt>
                <c:pt idx="33106">
                  <c:v>0.59044052077759901</c:v>
                </c:pt>
                <c:pt idx="33107">
                  <c:v>0.59045835562689497</c:v>
                </c:pt>
                <c:pt idx="33108">
                  <c:v>0.59047619047619004</c:v>
                </c:pt>
                <c:pt idx="33109">
                  <c:v>0.590494025325486</c:v>
                </c:pt>
                <c:pt idx="33110">
                  <c:v>0.59051186017478097</c:v>
                </c:pt>
                <c:pt idx="33111">
                  <c:v>0.59052969502407704</c:v>
                </c:pt>
                <c:pt idx="33112">
                  <c:v>0.590547529873372</c:v>
                </c:pt>
                <c:pt idx="33113">
                  <c:v>0.59056536472266796</c:v>
                </c:pt>
                <c:pt idx="33114">
                  <c:v>0.59058319957196304</c:v>
                </c:pt>
                <c:pt idx="33115">
                  <c:v>0.590601034421259</c:v>
                </c:pt>
                <c:pt idx="33116">
                  <c:v>0.59061886927055396</c:v>
                </c:pt>
                <c:pt idx="33117">
                  <c:v>0.59063670411985003</c:v>
                </c:pt>
                <c:pt idx="33118">
                  <c:v>0.59065453896914499</c:v>
                </c:pt>
                <c:pt idx="33119">
                  <c:v>0.59067237381844095</c:v>
                </c:pt>
                <c:pt idx="33120">
                  <c:v>0.59069020866773603</c:v>
                </c:pt>
                <c:pt idx="33121">
                  <c:v>0.59070804351703199</c:v>
                </c:pt>
                <c:pt idx="33122">
                  <c:v>0.59072587836632695</c:v>
                </c:pt>
                <c:pt idx="33123">
                  <c:v>0.59074371321562302</c:v>
                </c:pt>
                <c:pt idx="33124">
                  <c:v>0.59076154806491799</c:v>
                </c:pt>
                <c:pt idx="33125">
                  <c:v>0.59077938291421395</c:v>
                </c:pt>
                <c:pt idx="33126">
                  <c:v>0.59079721776350902</c:v>
                </c:pt>
                <c:pt idx="33127">
                  <c:v>0.59081505261280498</c:v>
                </c:pt>
                <c:pt idx="33128">
                  <c:v>0.59083288746210005</c:v>
                </c:pt>
                <c:pt idx="33129">
                  <c:v>0.59085072231139601</c:v>
                </c:pt>
                <c:pt idx="33130">
                  <c:v>0.59086855716069198</c:v>
                </c:pt>
                <c:pt idx="33131">
                  <c:v>0.59088639200998705</c:v>
                </c:pt>
                <c:pt idx="33132">
                  <c:v>0.59090422685928301</c:v>
                </c:pt>
                <c:pt idx="33133">
                  <c:v>0.59092206170857797</c:v>
                </c:pt>
                <c:pt idx="33134">
                  <c:v>0.59093989655787404</c:v>
                </c:pt>
                <c:pt idx="33135">
                  <c:v>0.59095773140716901</c:v>
                </c:pt>
                <c:pt idx="33136">
                  <c:v>0.59097556625646497</c:v>
                </c:pt>
                <c:pt idx="33137">
                  <c:v>0.59099340110576004</c:v>
                </c:pt>
                <c:pt idx="33138">
                  <c:v>0.591011235955056</c:v>
                </c:pt>
                <c:pt idx="33139">
                  <c:v>0.59102907080435096</c:v>
                </c:pt>
                <c:pt idx="33140">
                  <c:v>0.59104690565364704</c:v>
                </c:pt>
                <c:pt idx="33141">
                  <c:v>0.591064740502942</c:v>
                </c:pt>
                <c:pt idx="33142">
                  <c:v>0.59108257535223796</c:v>
                </c:pt>
                <c:pt idx="33143">
                  <c:v>0.59110041020153303</c:v>
                </c:pt>
                <c:pt idx="33144">
                  <c:v>0.59111824505082899</c:v>
                </c:pt>
                <c:pt idx="33145">
                  <c:v>0.59113607990012396</c:v>
                </c:pt>
                <c:pt idx="33146">
                  <c:v>0.59115391474942003</c:v>
                </c:pt>
                <c:pt idx="33147">
                  <c:v>0.59117174959871499</c:v>
                </c:pt>
                <c:pt idx="33148">
                  <c:v>0.59118958444801095</c:v>
                </c:pt>
                <c:pt idx="33149">
                  <c:v>0.59120741929730602</c:v>
                </c:pt>
                <c:pt idx="33150">
                  <c:v>0.59122525414660199</c:v>
                </c:pt>
                <c:pt idx="33151">
                  <c:v>0.59124308899589795</c:v>
                </c:pt>
                <c:pt idx="33152">
                  <c:v>0.59126092384519302</c:v>
                </c:pt>
                <c:pt idx="33153">
                  <c:v>0.59127875869448898</c:v>
                </c:pt>
                <c:pt idx="33154">
                  <c:v>0.59129659354378405</c:v>
                </c:pt>
                <c:pt idx="33155">
                  <c:v>0.59131442839308002</c:v>
                </c:pt>
                <c:pt idx="33156">
                  <c:v>0.59133226324237498</c:v>
                </c:pt>
                <c:pt idx="33157">
                  <c:v>0.59135009809167105</c:v>
                </c:pt>
                <c:pt idx="33158">
                  <c:v>0.59136793294096601</c:v>
                </c:pt>
                <c:pt idx="33159">
                  <c:v>0.59138576779026197</c:v>
                </c:pt>
                <c:pt idx="33160">
                  <c:v>0.59140360263955705</c:v>
                </c:pt>
                <c:pt idx="33161">
                  <c:v>0.59142143748885301</c:v>
                </c:pt>
                <c:pt idx="33162">
                  <c:v>0.59143927233814797</c:v>
                </c:pt>
                <c:pt idx="33163">
                  <c:v>0.59145710718744404</c:v>
                </c:pt>
                <c:pt idx="33164">
                  <c:v>0.591474942036739</c:v>
                </c:pt>
                <c:pt idx="33165">
                  <c:v>0.59149277688603497</c:v>
                </c:pt>
                <c:pt idx="33166">
                  <c:v>0.59151061173533004</c:v>
                </c:pt>
                <c:pt idx="33167">
                  <c:v>0.591528446584626</c:v>
                </c:pt>
                <c:pt idx="33168">
                  <c:v>0.59154628143392096</c:v>
                </c:pt>
                <c:pt idx="33169">
                  <c:v>0.59156411628321703</c:v>
                </c:pt>
                <c:pt idx="33170">
                  <c:v>0.591581951132512</c:v>
                </c:pt>
                <c:pt idx="33171">
                  <c:v>0.59159978598180796</c:v>
                </c:pt>
                <c:pt idx="33172">
                  <c:v>0.59161762083110403</c:v>
                </c:pt>
                <c:pt idx="33173">
                  <c:v>0.59163545568039899</c:v>
                </c:pt>
                <c:pt idx="33174">
                  <c:v>0.59165329052969495</c:v>
                </c:pt>
                <c:pt idx="33175">
                  <c:v>0.59167112537899003</c:v>
                </c:pt>
                <c:pt idx="33176">
                  <c:v>0.59168896022828599</c:v>
                </c:pt>
                <c:pt idx="33177">
                  <c:v>0.59170679507758095</c:v>
                </c:pt>
                <c:pt idx="33178">
                  <c:v>0.59172462992687702</c:v>
                </c:pt>
                <c:pt idx="33179">
                  <c:v>0.59174246477617198</c:v>
                </c:pt>
                <c:pt idx="33180">
                  <c:v>0.59176029962546794</c:v>
                </c:pt>
                <c:pt idx="33181">
                  <c:v>0.59177813447476302</c:v>
                </c:pt>
                <c:pt idx="33182">
                  <c:v>0.59179596932405898</c:v>
                </c:pt>
                <c:pt idx="33183">
                  <c:v>0.59181380417335405</c:v>
                </c:pt>
                <c:pt idx="33184">
                  <c:v>0.59183163902265001</c:v>
                </c:pt>
                <c:pt idx="33185">
                  <c:v>0.59184947387194498</c:v>
                </c:pt>
                <c:pt idx="33186">
                  <c:v>0.59186730872124105</c:v>
                </c:pt>
                <c:pt idx="33187">
                  <c:v>0.59188514357053601</c:v>
                </c:pt>
                <c:pt idx="33188">
                  <c:v>0.59190297841983197</c:v>
                </c:pt>
                <c:pt idx="33189">
                  <c:v>0.59192081326912704</c:v>
                </c:pt>
                <c:pt idx="33190">
                  <c:v>0.59193864811842301</c:v>
                </c:pt>
                <c:pt idx="33191">
                  <c:v>0.59195648296771897</c:v>
                </c:pt>
                <c:pt idx="33192">
                  <c:v>0.59197431781701404</c:v>
                </c:pt>
                <c:pt idx="33193">
                  <c:v>0.59199215266631</c:v>
                </c:pt>
                <c:pt idx="33194">
                  <c:v>0.59200998751560496</c:v>
                </c:pt>
                <c:pt idx="33195">
                  <c:v>0.59202782236490104</c:v>
                </c:pt>
                <c:pt idx="33196">
                  <c:v>0.592045657214196</c:v>
                </c:pt>
                <c:pt idx="33197">
                  <c:v>0.59206349206349196</c:v>
                </c:pt>
                <c:pt idx="33198">
                  <c:v>0.59208132691278703</c:v>
                </c:pt>
                <c:pt idx="33199">
                  <c:v>0.59209916176208299</c:v>
                </c:pt>
                <c:pt idx="33200">
                  <c:v>0.59211699661137795</c:v>
                </c:pt>
                <c:pt idx="33201">
                  <c:v>0.59213483146067403</c:v>
                </c:pt>
                <c:pt idx="33202">
                  <c:v>0.59215266630996899</c:v>
                </c:pt>
                <c:pt idx="33203">
                  <c:v>0.59217050115926495</c:v>
                </c:pt>
                <c:pt idx="33204">
                  <c:v>0.59218833600856002</c:v>
                </c:pt>
                <c:pt idx="33205">
                  <c:v>0.59220617085785598</c:v>
                </c:pt>
                <c:pt idx="33206">
                  <c:v>0.59222400570715095</c:v>
                </c:pt>
                <c:pt idx="33207">
                  <c:v>0.59224184055644702</c:v>
                </c:pt>
                <c:pt idx="33208">
                  <c:v>0.59225967540574198</c:v>
                </c:pt>
                <c:pt idx="33209">
                  <c:v>0.59227751025503805</c:v>
                </c:pt>
                <c:pt idx="33210">
                  <c:v>0.59229534510433302</c:v>
                </c:pt>
                <c:pt idx="33211">
                  <c:v>0.59231317995362898</c:v>
                </c:pt>
                <c:pt idx="33212">
                  <c:v>0.59233101480292405</c:v>
                </c:pt>
                <c:pt idx="33213">
                  <c:v>0.59234884965222001</c:v>
                </c:pt>
                <c:pt idx="33214">
                  <c:v>0.59236668450151597</c:v>
                </c:pt>
                <c:pt idx="33215">
                  <c:v>0.59238451935081105</c:v>
                </c:pt>
                <c:pt idx="33216">
                  <c:v>0.59240235420010701</c:v>
                </c:pt>
                <c:pt idx="33217">
                  <c:v>0.59242018904940197</c:v>
                </c:pt>
                <c:pt idx="33218">
                  <c:v>0.59243802389869804</c:v>
                </c:pt>
                <c:pt idx="33219">
                  <c:v>0.592455858747993</c:v>
                </c:pt>
                <c:pt idx="33220">
                  <c:v>0.59247369359728896</c:v>
                </c:pt>
                <c:pt idx="33221">
                  <c:v>0.59249152844658404</c:v>
                </c:pt>
                <c:pt idx="33222">
                  <c:v>0.59250936329588</c:v>
                </c:pt>
                <c:pt idx="33223">
                  <c:v>0.59252719814517496</c:v>
                </c:pt>
                <c:pt idx="33224">
                  <c:v>0.59254503299447103</c:v>
                </c:pt>
                <c:pt idx="33225">
                  <c:v>0.59256286784376599</c:v>
                </c:pt>
                <c:pt idx="33226">
                  <c:v>0.59258070269306196</c:v>
                </c:pt>
                <c:pt idx="33227">
                  <c:v>0.59259853754235703</c:v>
                </c:pt>
                <c:pt idx="33228">
                  <c:v>0.59261637239165299</c:v>
                </c:pt>
                <c:pt idx="33229">
                  <c:v>0.59263420724094795</c:v>
                </c:pt>
                <c:pt idx="33230">
                  <c:v>0.59265204209024402</c:v>
                </c:pt>
                <c:pt idx="33231">
                  <c:v>0.59266987693953899</c:v>
                </c:pt>
                <c:pt idx="33232">
                  <c:v>0.59268771178883495</c:v>
                </c:pt>
                <c:pt idx="33233">
                  <c:v>0.59270554663813002</c:v>
                </c:pt>
                <c:pt idx="33234">
                  <c:v>0.59272338148742598</c:v>
                </c:pt>
                <c:pt idx="33235">
                  <c:v>0.59274121633672106</c:v>
                </c:pt>
                <c:pt idx="33236">
                  <c:v>0.59275905118601702</c:v>
                </c:pt>
                <c:pt idx="33237">
                  <c:v>0.59277688603531298</c:v>
                </c:pt>
                <c:pt idx="33238">
                  <c:v>0.59279472088460805</c:v>
                </c:pt>
                <c:pt idx="33239">
                  <c:v>0.59281255573390401</c:v>
                </c:pt>
                <c:pt idx="33240">
                  <c:v>0.59283039058319897</c:v>
                </c:pt>
                <c:pt idx="33241">
                  <c:v>0.59284822543249505</c:v>
                </c:pt>
                <c:pt idx="33242">
                  <c:v>0.59286606028179001</c:v>
                </c:pt>
                <c:pt idx="33243">
                  <c:v>0.59288389513108597</c:v>
                </c:pt>
                <c:pt idx="33244">
                  <c:v>0.59290172998038104</c:v>
                </c:pt>
                <c:pt idx="33245">
                  <c:v>0.592919564829677</c:v>
                </c:pt>
                <c:pt idx="33246">
                  <c:v>0.59293739967897197</c:v>
                </c:pt>
                <c:pt idx="33247">
                  <c:v>0.59295523452826804</c:v>
                </c:pt>
                <c:pt idx="33248">
                  <c:v>0.592973069377563</c:v>
                </c:pt>
                <c:pt idx="33249">
                  <c:v>0.59299090422685896</c:v>
                </c:pt>
                <c:pt idx="33250">
                  <c:v>0.59300873907615403</c:v>
                </c:pt>
                <c:pt idx="33251">
                  <c:v>0.59302657392545</c:v>
                </c:pt>
                <c:pt idx="33252">
                  <c:v>0.59304440877474496</c:v>
                </c:pt>
                <c:pt idx="33253">
                  <c:v>0.59306224362404103</c:v>
                </c:pt>
                <c:pt idx="33254">
                  <c:v>0.59308007847333599</c:v>
                </c:pt>
                <c:pt idx="33255">
                  <c:v>0.59309791332263195</c:v>
                </c:pt>
                <c:pt idx="33256">
                  <c:v>0.59311574817192703</c:v>
                </c:pt>
                <c:pt idx="33257">
                  <c:v>0.59313358302122299</c:v>
                </c:pt>
                <c:pt idx="33258">
                  <c:v>0.59315141787051895</c:v>
                </c:pt>
                <c:pt idx="33259">
                  <c:v>0.59316925271981402</c:v>
                </c:pt>
                <c:pt idx="33260">
                  <c:v>0.59318708756910998</c:v>
                </c:pt>
                <c:pt idx="33261">
                  <c:v>0.59320492241840495</c:v>
                </c:pt>
                <c:pt idx="33262">
                  <c:v>0.59322275726770102</c:v>
                </c:pt>
                <c:pt idx="33263">
                  <c:v>0.59324059211699598</c:v>
                </c:pt>
                <c:pt idx="33264">
                  <c:v>0.59325842696629205</c:v>
                </c:pt>
                <c:pt idx="33265">
                  <c:v>0.59327626181558701</c:v>
                </c:pt>
                <c:pt idx="33266">
                  <c:v>0.59329409666488298</c:v>
                </c:pt>
                <c:pt idx="33267">
                  <c:v>0.59331193151417805</c:v>
                </c:pt>
                <c:pt idx="33268">
                  <c:v>0.59332976636347401</c:v>
                </c:pt>
                <c:pt idx="33269">
                  <c:v>0.59334760121276897</c:v>
                </c:pt>
                <c:pt idx="33270">
                  <c:v>0.59336543606206504</c:v>
                </c:pt>
                <c:pt idx="33271">
                  <c:v>0.59338327091136001</c:v>
                </c:pt>
                <c:pt idx="33272">
                  <c:v>0.59340110576065597</c:v>
                </c:pt>
                <c:pt idx="33273">
                  <c:v>0.59341894060995104</c:v>
                </c:pt>
                <c:pt idx="33274">
                  <c:v>0.593436775459247</c:v>
                </c:pt>
                <c:pt idx="33275">
                  <c:v>0.59345461030854196</c:v>
                </c:pt>
                <c:pt idx="33276">
                  <c:v>0.59347244515783804</c:v>
                </c:pt>
                <c:pt idx="33277">
                  <c:v>0.593490280007133</c:v>
                </c:pt>
                <c:pt idx="33278">
                  <c:v>0.59350811485642896</c:v>
                </c:pt>
                <c:pt idx="33279">
                  <c:v>0.59352594970572503</c:v>
                </c:pt>
                <c:pt idx="33280">
                  <c:v>0.59354378455501999</c:v>
                </c:pt>
                <c:pt idx="33281">
                  <c:v>0.59356161940431595</c:v>
                </c:pt>
                <c:pt idx="33282">
                  <c:v>0.59357945425361103</c:v>
                </c:pt>
                <c:pt idx="33283">
                  <c:v>0.59359728910290699</c:v>
                </c:pt>
                <c:pt idx="33284">
                  <c:v>0.59361512395220195</c:v>
                </c:pt>
                <c:pt idx="33285">
                  <c:v>0.59363295880149802</c:v>
                </c:pt>
                <c:pt idx="33286">
                  <c:v>0.59365079365079299</c:v>
                </c:pt>
                <c:pt idx="33287">
                  <c:v>0.59366862850008895</c:v>
                </c:pt>
                <c:pt idx="33288">
                  <c:v>0.59368646334938402</c:v>
                </c:pt>
                <c:pt idx="33289">
                  <c:v>0.59370429819867998</c:v>
                </c:pt>
                <c:pt idx="33290">
                  <c:v>0.59372213304797505</c:v>
                </c:pt>
                <c:pt idx="33291">
                  <c:v>0.59373996789727101</c:v>
                </c:pt>
                <c:pt idx="33292">
                  <c:v>0.59375780274656598</c:v>
                </c:pt>
                <c:pt idx="33293">
                  <c:v>0.59377563759586205</c:v>
                </c:pt>
                <c:pt idx="33294">
                  <c:v>0.59379347244515701</c:v>
                </c:pt>
                <c:pt idx="33295">
                  <c:v>0.59381130729445297</c:v>
                </c:pt>
                <c:pt idx="33296">
                  <c:v>0.59382914214374805</c:v>
                </c:pt>
                <c:pt idx="33297">
                  <c:v>0.59384697699304401</c:v>
                </c:pt>
                <c:pt idx="33298">
                  <c:v>0.59386481184233997</c:v>
                </c:pt>
                <c:pt idx="33299">
                  <c:v>0.59388264669163504</c:v>
                </c:pt>
                <c:pt idx="33300">
                  <c:v>0.593900481540931</c:v>
                </c:pt>
                <c:pt idx="33301">
                  <c:v>0.59391831639022596</c:v>
                </c:pt>
                <c:pt idx="33302">
                  <c:v>0.59393615123952204</c:v>
                </c:pt>
                <c:pt idx="33303">
                  <c:v>0.593953986088817</c:v>
                </c:pt>
                <c:pt idx="33304">
                  <c:v>0.59397182093811296</c:v>
                </c:pt>
                <c:pt idx="33305">
                  <c:v>0.59398965578740803</c:v>
                </c:pt>
                <c:pt idx="33306">
                  <c:v>0.59400749063670399</c:v>
                </c:pt>
                <c:pt idx="33307">
                  <c:v>0.59402532548599896</c:v>
                </c:pt>
                <c:pt idx="33308">
                  <c:v>0.59404316033529503</c:v>
                </c:pt>
                <c:pt idx="33309">
                  <c:v>0.59406099518458999</c:v>
                </c:pt>
                <c:pt idx="33310">
                  <c:v>0.59407883003388595</c:v>
                </c:pt>
                <c:pt idx="33311">
                  <c:v>0.59409666488318102</c:v>
                </c:pt>
                <c:pt idx="33312">
                  <c:v>0.59411449973247699</c:v>
                </c:pt>
                <c:pt idx="33313">
                  <c:v>0.59413233458177195</c:v>
                </c:pt>
                <c:pt idx="33314">
                  <c:v>0.59415016943106802</c:v>
                </c:pt>
                <c:pt idx="33315">
                  <c:v>0.59416800428036298</c:v>
                </c:pt>
                <c:pt idx="33316">
                  <c:v>0.59418583912965905</c:v>
                </c:pt>
                <c:pt idx="33317">
                  <c:v>0.59420367397895402</c:v>
                </c:pt>
                <c:pt idx="33318">
                  <c:v>0.59422150882824998</c:v>
                </c:pt>
                <c:pt idx="33319">
                  <c:v>0.59423934367754505</c:v>
                </c:pt>
                <c:pt idx="33320">
                  <c:v>0.59425717852684101</c:v>
                </c:pt>
                <c:pt idx="33321">
                  <c:v>0.59427501337613697</c:v>
                </c:pt>
                <c:pt idx="33322">
                  <c:v>0.59429284822543205</c:v>
                </c:pt>
                <c:pt idx="33323">
                  <c:v>0.59431068307472801</c:v>
                </c:pt>
                <c:pt idx="33324">
                  <c:v>0.59432851792402297</c:v>
                </c:pt>
                <c:pt idx="33325">
                  <c:v>0.59434635277331904</c:v>
                </c:pt>
                <c:pt idx="33326">
                  <c:v>0.594364187622614</c:v>
                </c:pt>
                <c:pt idx="33327">
                  <c:v>0.59438202247190997</c:v>
                </c:pt>
                <c:pt idx="33328">
                  <c:v>0.59439985732120504</c:v>
                </c:pt>
                <c:pt idx="33329">
                  <c:v>0.594417692170501</c:v>
                </c:pt>
                <c:pt idx="33330">
                  <c:v>0.59443552701979596</c:v>
                </c:pt>
                <c:pt idx="33331">
                  <c:v>0.59445336186909203</c:v>
                </c:pt>
                <c:pt idx="33332">
                  <c:v>0.594471196718387</c:v>
                </c:pt>
                <c:pt idx="33333">
                  <c:v>0.59448903156768296</c:v>
                </c:pt>
                <c:pt idx="33334">
                  <c:v>0.59450686641697803</c:v>
                </c:pt>
                <c:pt idx="33335">
                  <c:v>0.59452470126627399</c:v>
                </c:pt>
                <c:pt idx="33336">
                  <c:v>0.59454253611556895</c:v>
                </c:pt>
                <c:pt idx="33337">
                  <c:v>0.59456037096486503</c:v>
                </c:pt>
                <c:pt idx="33338">
                  <c:v>0.59457820581415999</c:v>
                </c:pt>
                <c:pt idx="33339">
                  <c:v>0.59459604066345595</c:v>
                </c:pt>
                <c:pt idx="33340">
                  <c:v>0.59461387551275102</c:v>
                </c:pt>
                <c:pt idx="33341">
                  <c:v>0.59463171036204698</c:v>
                </c:pt>
                <c:pt idx="33342">
                  <c:v>0.59464954521134294</c:v>
                </c:pt>
                <c:pt idx="33343">
                  <c:v>0.59466738006063802</c:v>
                </c:pt>
                <c:pt idx="33344">
                  <c:v>0.59468521490993398</c:v>
                </c:pt>
                <c:pt idx="33345">
                  <c:v>0.59470304975922905</c:v>
                </c:pt>
                <c:pt idx="33346">
                  <c:v>0.59472088460852501</c:v>
                </c:pt>
                <c:pt idx="33347">
                  <c:v>0.59473871945781998</c:v>
                </c:pt>
                <c:pt idx="33348">
                  <c:v>0.59475655430711605</c:v>
                </c:pt>
                <c:pt idx="33349">
                  <c:v>0.59477438915641101</c:v>
                </c:pt>
                <c:pt idx="33350">
                  <c:v>0.59479222400570697</c:v>
                </c:pt>
                <c:pt idx="33351">
                  <c:v>0.59481005885500204</c:v>
                </c:pt>
                <c:pt idx="33352">
                  <c:v>0.59482789370429801</c:v>
                </c:pt>
                <c:pt idx="33353">
                  <c:v>0.59484572855359297</c:v>
                </c:pt>
                <c:pt idx="33354">
                  <c:v>0.59486356340288904</c:v>
                </c:pt>
                <c:pt idx="33355">
                  <c:v>0.594881398252184</c:v>
                </c:pt>
                <c:pt idx="33356">
                  <c:v>0.59489923310147996</c:v>
                </c:pt>
                <c:pt idx="33357">
                  <c:v>0.59491706795077504</c:v>
                </c:pt>
                <c:pt idx="33358">
                  <c:v>0.594934902800071</c:v>
                </c:pt>
                <c:pt idx="33359">
                  <c:v>0.59495273764936596</c:v>
                </c:pt>
                <c:pt idx="33360">
                  <c:v>0.59497057249866203</c:v>
                </c:pt>
                <c:pt idx="33361">
                  <c:v>0.59498840734795699</c:v>
                </c:pt>
                <c:pt idx="33362">
                  <c:v>0.59500624219725295</c:v>
                </c:pt>
                <c:pt idx="33363">
                  <c:v>0.59502407704654803</c:v>
                </c:pt>
                <c:pt idx="33364">
                  <c:v>0.59504191189584399</c:v>
                </c:pt>
                <c:pt idx="33365">
                  <c:v>0.59505974674513995</c:v>
                </c:pt>
                <c:pt idx="33366">
                  <c:v>0.59507758159443502</c:v>
                </c:pt>
                <c:pt idx="33367">
                  <c:v>0.59509541644373098</c:v>
                </c:pt>
                <c:pt idx="33368">
                  <c:v>0.59511325129302595</c:v>
                </c:pt>
                <c:pt idx="33369">
                  <c:v>0.59513108614232202</c:v>
                </c:pt>
                <c:pt idx="33370">
                  <c:v>0.59514892099161698</c:v>
                </c:pt>
                <c:pt idx="33371">
                  <c:v>0.59516675584091305</c:v>
                </c:pt>
                <c:pt idx="33372">
                  <c:v>0.59518459069020802</c:v>
                </c:pt>
                <c:pt idx="33373">
                  <c:v>0.59520242553950398</c:v>
                </c:pt>
                <c:pt idx="33374">
                  <c:v>0.59522026038879905</c:v>
                </c:pt>
                <c:pt idx="33375">
                  <c:v>0.59523809523809501</c:v>
                </c:pt>
                <c:pt idx="33376">
                  <c:v>0.59525593008738997</c:v>
                </c:pt>
                <c:pt idx="33377">
                  <c:v>0.59527376493668605</c:v>
                </c:pt>
                <c:pt idx="33378">
                  <c:v>0.59529159978598101</c:v>
                </c:pt>
                <c:pt idx="33379">
                  <c:v>0.59530943463527697</c:v>
                </c:pt>
                <c:pt idx="33380">
                  <c:v>0.59532726948457204</c:v>
                </c:pt>
                <c:pt idx="33381">
                  <c:v>0.595345104333868</c:v>
                </c:pt>
                <c:pt idx="33382">
                  <c:v>0.59536293918316296</c:v>
                </c:pt>
                <c:pt idx="33383">
                  <c:v>0.59538077403245904</c:v>
                </c:pt>
                <c:pt idx="33384">
                  <c:v>0.595398608881755</c:v>
                </c:pt>
                <c:pt idx="33385">
                  <c:v>0.59541644373104996</c:v>
                </c:pt>
                <c:pt idx="33386">
                  <c:v>0.59543427858034603</c:v>
                </c:pt>
                <c:pt idx="33387">
                  <c:v>0.59545211342964099</c:v>
                </c:pt>
                <c:pt idx="33388">
                  <c:v>0.59546994827893696</c:v>
                </c:pt>
                <c:pt idx="33389">
                  <c:v>0.59548778312823203</c:v>
                </c:pt>
                <c:pt idx="33390">
                  <c:v>0.59550561797752799</c:v>
                </c:pt>
                <c:pt idx="33391">
                  <c:v>0.59552345282682295</c:v>
                </c:pt>
                <c:pt idx="33392">
                  <c:v>0.59554128767611902</c:v>
                </c:pt>
                <c:pt idx="33393">
                  <c:v>0.59555912252541399</c:v>
                </c:pt>
                <c:pt idx="33394">
                  <c:v>0.59557695737470995</c:v>
                </c:pt>
                <c:pt idx="33395">
                  <c:v>0.59559479222400502</c:v>
                </c:pt>
                <c:pt idx="33396">
                  <c:v>0.59561262707330098</c:v>
                </c:pt>
                <c:pt idx="33397">
                  <c:v>0.59563046192259606</c:v>
                </c:pt>
                <c:pt idx="33398">
                  <c:v>0.59564829677189202</c:v>
                </c:pt>
                <c:pt idx="33399">
                  <c:v>0.59566613162118698</c:v>
                </c:pt>
                <c:pt idx="33400">
                  <c:v>0.59568396647048305</c:v>
                </c:pt>
                <c:pt idx="33401">
                  <c:v>0.59570180131977801</c:v>
                </c:pt>
                <c:pt idx="33402">
                  <c:v>0.59571963616907397</c:v>
                </c:pt>
                <c:pt idx="33403">
                  <c:v>0.59573747101836905</c:v>
                </c:pt>
                <c:pt idx="33404">
                  <c:v>0.59575530586766501</c:v>
                </c:pt>
                <c:pt idx="33405">
                  <c:v>0.59577314071696097</c:v>
                </c:pt>
                <c:pt idx="33406">
                  <c:v>0.59579097556625604</c:v>
                </c:pt>
                <c:pt idx="33407">
                  <c:v>0.595808810415552</c:v>
                </c:pt>
                <c:pt idx="33408">
                  <c:v>0.59582664526484697</c:v>
                </c:pt>
                <c:pt idx="33409">
                  <c:v>0.59584448011414304</c:v>
                </c:pt>
                <c:pt idx="33410">
                  <c:v>0.595862314963438</c:v>
                </c:pt>
                <c:pt idx="33411">
                  <c:v>0.59588014981273396</c:v>
                </c:pt>
                <c:pt idx="33412">
                  <c:v>0.59589798466202903</c:v>
                </c:pt>
                <c:pt idx="33413">
                  <c:v>0.595915819511325</c:v>
                </c:pt>
                <c:pt idx="33414">
                  <c:v>0.59593365436061996</c:v>
                </c:pt>
                <c:pt idx="33415">
                  <c:v>0.59595148920991603</c:v>
                </c:pt>
                <c:pt idx="33416">
                  <c:v>0.59596932405921099</c:v>
                </c:pt>
                <c:pt idx="33417">
                  <c:v>0.59598715890850695</c:v>
                </c:pt>
                <c:pt idx="33418">
                  <c:v>0.59600499375780203</c:v>
                </c:pt>
                <c:pt idx="33419">
                  <c:v>0.59602282860709799</c:v>
                </c:pt>
                <c:pt idx="33420">
                  <c:v>0.59604066345639295</c:v>
                </c:pt>
                <c:pt idx="33421">
                  <c:v>0.59605849830568902</c:v>
                </c:pt>
                <c:pt idx="33422">
                  <c:v>0.59607633315498398</c:v>
                </c:pt>
                <c:pt idx="33423">
                  <c:v>0.59609416800427995</c:v>
                </c:pt>
                <c:pt idx="33424">
                  <c:v>0.59611200285357502</c:v>
                </c:pt>
                <c:pt idx="33425">
                  <c:v>0.59612983770287098</c:v>
                </c:pt>
                <c:pt idx="33426">
                  <c:v>0.59614767255216605</c:v>
                </c:pt>
                <c:pt idx="33427">
                  <c:v>0.59616550740146201</c:v>
                </c:pt>
                <c:pt idx="33428">
                  <c:v>0.59618334225075797</c:v>
                </c:pt>
                <c:pt idx="33429">
                  <c:v>0.59620117710005305</c:v>
                </c:pt>
                <c:pt idx="33430">
                  <c:v>0.59621901194934901</c:v>
                </c:pt>
                <c:pt idx="33431">
                  <c:v>0.59623684679864397</c:v>
                </c:pt>
                <c:pt idx="33432">
                  <c:v>0.59625468164794004</c:v>
                </c:pt>
                <c:pt idx="33433">
                  <c:v>0.59627251649723501</c:v>
                </c:pt>
                <c:pt idx="33434">
                  <c:v>0.59629035134653097</c:v>
                </c:pt>
                <c:pt idx="33435">
                  <c:v>0.59630818619582604</c:v>
                </c:pt>
                <c:pt idx="33436">
                  <c:v>0.596326021045122</c:v>
                </c:pt>
                <c:pt idx="33437">
                  <c:v>0.59634385589441696</c:v>
                </c:pt>
                <c:pt idx="33438">
                  <c:v>0.59636169074371304</c:v>
                </c:pt>
                <c:pt idx="33439">
                  <c:v>0.596379525593008</c:v>
                </c:pt>
                <c:pt idx="33440">
                  <c:v>0.59639736044230396</c:v>
                </c:pt>
                <c:pt idx="33441">
                  <c:v>0.59641519529159903</c:v>
                </c:pt>
                <c:pt idx="33442">
                  <c:v>0.59643303014089499</c:v>
                </c:pt>
                <c:pt idx="33443">
                  <c:v>0.59645086499018996</c:v>
                </c:pt>
                <c:pt idx="33444">
                  <c:v>0.59646869983948603</c:v>
                </c:pt>
                <c:pt idx="33445">
                  <c:v>0.59648653468878099</c:v>
                </c:pt>
                <c:pt idx="33446">
                  <c:v>0.59650436953807695</c:v>
                </c:pt>
                <c:pt idx="33447">
                  <c:v>0.59652220438737202</c:v>
                </c:pt>
                <c:pt idx="33448">
                  <c:v>0.59654003923666798</c:v>
                </c:pt>
                <c:pt idx="33449">
                  <c:v>0.59655787408596395</c:v>
                </c:pt>
                <c:pt idx="33450">
                  <c:v>0.59657570893525902</c:v>
                </c:pt>
                <c:pt idx="33451">
                  <c:v>0.59659354378455498</c:v>
                </c:pt>
                <c:pt idx="33452">
                  <c:v>0.59661137863385005</c:v>
                </c:pt>
                <c:pt idx="33453">
                  <c:v>0.59662921348314601</c:v>
                </c:pt>
                <c:pt idx="33454">
                  <c:v>0.59664704833244098</c:v>
                </c:pt>
                <c:pt idx="33455">
                  <c:v>0.59666488318173705</c:v>
                </c:pt>
                <c:pt idx="33456">
                  <c:v>0.59668271803103201</c:v>
                </c:pt>
                <c:pt idx="33457">
                  <c:v>0.59670055288032797</c:v>
                </c:pt>
                <c:pt idx="33458">
                  <c:v>0.59671838772962305</c:v>
                </c:pt>
                <c:pt idx="33459">
                  <c:v>0.59673622257891901</c:v>
                </c:pt>
                <c:pt idx="33460">
                  <c:v>0.59675405742821397</c:v>
                </c:pt>
                <c:pt idx="33461">
                  <c:v>0.59677189227751004</c:v>
                </c:pt>
                <c:pt idx="33462">
                  <c:v>0.596789727126805</c:v>
                </c:pt>
                <c:pt idx="33463">
                  <c:v>0.59680756197610096</c:v>
                </c:pt>
                <c:pt idx="33464">
                  <c:v>0.59682539682539604</c:v>
                </c:pt>
                <c:pt idx="33465">
                  <c:v>0.596843231674692</c:v>
                </c:pt>
                <c:pt idx="33466">
                  <c:v>0.59686106652398696</c:v>
                </c:pt>
                <c:pt idx="33467">
                  <c:v>0.59687890137328303</c:v>
                </c:pt>
                <c:pt idx="33468">
                  <c:v>0.59689673622257799</c:v>
                </c:pt>
                <c:pt idx="33469">
                  <c:v>0.59691457107187396</c:v>
                </c:pt>
                <c:pt idx="33470">
                  <c:v>0.59693240592116903</c:v>
                </c:pt>
                <c:pt idx="33471">
                  <c:v>0.59695024077046499</c:v>
                </c:pt>
                <c:pt idx="33472">
                  <c:v>0.59696807561976095</c:v>
                </c:pt>
                <c:pt idx="33473">
                  <c:v>0.59698591046905602</c:v>
                </c:pt>
                <c:pt idx="33474">
                  <c:v>0.59700374531835199</c:v>
                </c:pt>
                <c:pt idx="33475">
                  <c:v>0.59702158016764695</c:v>
                </c:pt>
                <c:pt idx="33476">
                  <c:v>0.59703941501694302</c:v>
                </c:pt>
                <c:pt idx="33477">
                  <c:v>0.59705724986623798</c:v>
                </c:pt>
                <c:pt idx="33478">
                  <c:v>0.59707508471553405</c:v>
                </c:pt>
                <c:pt idx="33479">
                  <c:v>0.59709291956482902</c:v>
                </c:pt>
                <c:pt idx="33480">
                  <c:v>0.59711075441412498</c:v>
                </c:pt>
                <c:pt idx="33481">
                  <c:v>0.59712858926342005</c:v>
                </c:pt>
                <c:pt idx="33482">
                  <c:v>0.59714642411271601</c:v>
                </c:pt>
                <c:pt idx="33483">
                  <c:v>0.59716425896201097</c:v>
                </c:pt>
                <c:pt idx="33484">
                  <c:v>0.59718209381130705</c:v>
                </c:pt>
                <c:pt idx="33485">
                  <c:v>0.59719992866060201</c:v>
                </c:pt>
                <c:pt idx="33486">
                  <c:v>0.59721776350989797</c:v>
                </c:pt>
                <c:pt idx="33487">
                  <c:v>0.59723559835919304</c:v>
                </c:pt>
                <c:pt idx="33488">
                  <c:v>0.597253433208489</c:v>
                </c:pt>
                <c:pt idx="33489">
                  <c:v>0.59727126805778497</c:v>
                </c:pt>
                <c:pt idx="33490">
                  <c:v>0.59728910290708004</c:v>
                </c:pt>
                <c:pt idx="33491">
                  <c:v>0.597306937756376</c:v>
                </c:pt>
                <c:pt idx="33492">
                  <c:v>0.59732477260567096</c:v>
                </c:pt>
                <c:pt idx="33493">
                  <c:v>0.59734260745496703</c:v>
                </c:pt>
                <c:pt idx="33494">
                  <c:v>0.597360442304262</c:v>
                </c:pt>
                <c:pt idx="33495">
                  <c:v>0.59737827715355796</c:v>
                </c:pt>
                <c:pt idx="33496">
                  <c:v>0.59739611200285303</c:v>
                </c:pt>
                <c:pt idx="33497">
                  <c:v>0.59741394685214899</c:v>
                </c:pt>
                <c:pt idx="33498">
                  <c:v>0.59743178170144395</c:v>
                </c:pt>
                <c:pt idx="33499">
                  <c:v>0.59744961655074003</c:v>
                </c:pt>
                <c:pt idx="33500">
                  <c:v>0.59746745140003499</c:v>
                </c:pt>
                <c:pt idx="33501">
                  <c:v>0.59748528624933095</c:v>
                </c:pt>
                <c:pt idx="33502">
                  <c:v>0.59750312109862602</c:v>
                </c:pt>
                <c:pt idx="33503">
                  <c:v>0.59752095594792198</c:v>
                </c:pt>
                <c:pt idx="33504">
                  <c:v>0.59753879079721695</c:v>
                </c:pt>
                <c:pt idx="33505">
                  <c:v>0.59755662564651302</c:v>
                </c:pt>
                <c:pt idx="33506">
                  <c:v>0.59757446049580798</c:v>
                </c:pt>
                <c:pt idx="33507">
                  <c:v>0.59759229534510405</c:v>
                </c:pt>
                <c:pt idx="33508">
                  <c:v>0.59761013019439901</c:v>
                </c:pt>
                <c:pt idx="33509">
                  <c:v>0.59762796504369498</c:v>
                </c:pt>
                <c:pt idx="33510">
                  <c:v>0.59764579989299005</c:v>
                </c:pt>
                <c:pt idx="33511">
                  <c:v>0.59766363474228601</c:v>
                </c:pt>
                <c:pt idx="33512">
                  <c:v>0.59768146959158197</c:v>
                </c:pt>
                <c:pt idx="33513">
                  <c:v>0.59769930444087704</c:v>
                </c:pt>
                <c:pt idx="33514">
                  <c:v>0.59771713929017301</c:v>
                </c:pt>
                <c:pt idx="33515">
                  <c:v>0.59773497413946797</c:v>
                </c:pt>
                <c:pt idx="33516">
                  <c:v>0.59775280898876404</c:v>
                </c:pt>
                <c:pt idx="33517">
                  <c:v>0.597770643838059</c:v>
                </c:pt>
                <c:pt idx="33518">
                  <c:v>0.59778847868735496</c:v>
                </c:pt>
                <c:pt idx="33519">
                  <c:v>0.59780631353665004</c:v>
                </c:pt>
                <c:pt idx="33520">
                  <c:v>0.597824148385946</c:v>
                </c:pt>
                <c:pt idx="33521">
                  <c:v>0.59784198323524096</c:v>
                </c:pt>
                <c:pt idx="33522">
                  <c:v>0.59785981808453703</c:v>
                </c:pt>
                <c:pt idx="33523">
                  <c:v>0.59787765293383199</c:v>
                </c:pt>
                <c:pt idx="33524">
                  <c:v>0.59789548778312795</c:v>
                </c:pt>
                <c:pt idx="33525">
                  <c:v>0.59791332263242303</c:v>
                </c:pt>
                <c:pt idx="33526">
                  <c:v>0.59793115748171899</c:v>
                </c:pt>
                <c:pt idx="33527">
                  <c:v>0.59794899233101395</c:v>
                </c:pt>
                <c:pt idx="33528">
                  <c:v>0.59796682718031002</c:v>
                </c:pt>
                <c:pt idx="33529">
                  <c:v>0.59798466202960499</c:v>
                </c:pt>
                <c:pt idx="33530">
                  <c:v>0.59800249687890095</c:v>
                </c:pt>
                <c:pt idx="33531">
                  <c:v>0.59802033172819602</c:v>
                </c:pt>
                <c:pt idx="33532">
                  <c:v>0.59803816657749198</c:v>
                </c:pt>
                <c:pt idx="33533">
                  <c:v>0.59805600142678705</c:v>
                </c:pt>
                <c:pt idx="33534">
                  <c:v>0.59807383627608302</c:v>
                </c:pt>
                <c:pt idx="33535">
                  <c:v>0.59809167112537898</c:v>
                </c:pt>
                <c:pt idx="33536">
                  <c:v>0.59810950597467405</c:v>
                </c:pt>
                <c:pt idx="33537">
                  <c:v>0.59812734082397001</c:v>
                </c:pt>
                <c:pt idx="33538">
                  <c:v>0.59814517567326497</c:v>
                </c:pt>
                <c:pt idx="33539">
                  <c:v>0.59816301052256104</c:v>
                </c:pt>
                <c:pt idx="33540">
                  <c:v>0.59818084537185601</c:v>
                </c:pt>
                <c:pt idx="33541">
                  <c:v>0.59819868022115197</c:v>
                </c:pt>
                <c:pt idx="33542">
                  <c:v>0.59821651507044704</c:v>
                </c:pt>
                <c:pt idx="33543">
                  <c:v>0.598234349919743</c:v>
                </c:pt>
                <c:pt idx="33544">
                  <c:v>0.59825218476903796</c:v>
                </c:pt>
                <c:pt idx="33545">
                  <c:v>0.59827001961833404</c:v>
                </c:pt>
                <c:pt idx="33546">
                  <c:v>0.598287854467629</c:v>
                </c:pt>
                <c:pt idx="33547">
                  <c:v>0.59830568931692496</c:v>
                </c:pt>
                <c:pt idx="33548">
                  <c:v>0.59832352416622003</c:v>
                </c:pt>
                <c:pt idx="33549">
                  <c:v>0.59834135901551599</c:v>
                </c:pt>
                <c:pt idx="33550">
                  <c:v>0.59835919386481096</c:v>
                </c:pt>
                <c:pt idx="33551">
                  <c:v>0.59837702871410703</c:v>
                </c:pt>
                <c:pt idx="33552">
                  <c:v>0.59839486356340199</c:v>
                </c:pt>
                <c:pt idx="33553">
                  <c:v>0.59841269841269795</c:v>
                </c:pt>
                <c:pt idx="33554">
                  <c:v>0.59843053326199303</c:v>
                </c:pt>
                <c:pt idx="33555">
                  <c:v>0.59844836811128899</c:v>
                </c:pt>
                <c:pt idx="33556">
                  <c:v>0.59846620296058495</c:v>
                </c:pt>
                <c:pt idx="33557">
                  <c:v>0.59848403780988002</c:v>
                </c:pt>
                <c:pt idx="33558">
                  <c:v>0.59850187265917598</c:v>
                </c:pt>
                <c:pt idx="33559">
                  <c:v>0.59851970750847105</c:v>
                </c:pt>
                <c:pt idx="33560">
                  <c:v>0.59853754235776702</c:v>
                </c:pt>
                <c:pt idx="33561">
                  <c:v>0.59855537720706198</c:v>
                </c:pt>
                <c:pt idx="33562">
                  <c:v>0.59857321205635805</c:v>
                </c:pt>
                <c:pt idx="33563">
                  <c:v>0.59859104690565301</c:v>
                </c:pt>
                <c:pt idx="33564">
                  <c:v>0.59860888175494897</c:v>
                </c:pt>
                <c:pt idx="33565">
                  <c:v>0.59862671660424405</c:v>
                </c:pt>
                <c:pt idx="33566">
                  <c:v>0.59864455145354001</c:v>
                </c:pt>
                <c:pt idx="33567">
                  <c:v>0.59866238630283497</c:v>
                </c:pt>
                <c:pt idx="33568">
                  <c:v>0.59868022115213104</c:v>
                </c:pt>
                <c:pt idx="33569">
                  <c:v>0.598698056001426</c:v>
                </c:pt>
                <c:pt idx="33570">
                  <c:v>0.59871589085072197</c:v>
                </c:pt>
                <c:pt idx="33571">
                  <c:v>0.59873372570001704</c:v>
                </c:pt>
                <c:pt idx="33572">
                  <c:v>0.598751560549313</c:v>
                </c:pt>
                <c:pt idx="33573">
                  <c:v>0.59876939539860796</c:v>
                </c:pt>
                <c:pt idx="33574">
                  <c:v>0.59878723024790403</c:v>
                </c:pt>
                <c:pt idx="33575">
                  <c:v>0.598805065097199</c:v>
                </c:pt>
                <c:pt idx="33576">
                  <c:v>0.59882289994649496</c:v>
                </c:pt>
                <c:pt idx="33577">
                  <c:v>0.59884073479579103</c:v>
                </c:pt>
                <c:pt idx="33578">
                  <c:v>0.59885856964508599</c:v>
                </c:pt>
                <c:pt idx="33579">
                  <c:v>0.59887640449438195</c:v>
                </c:pt>
                <c:pt idx="33580">
                  <c:v>0.59889423934367703</c:v>
                </c:pt>
                <c:pt idx="33581">
                  <c:v>0.59891207419297299</c:v>
                </c:pt>
                <c:pt idx="33582">
                  <c:v>0.59892990904226795</c:v>
                </c:pt>
                <c:pt idx="33583">
                  <c:v>0.59894774389156402</c:v>
                </c:pt>
                <c:pt idx="33584">
                  <c:v>0.59896557874085898</c:v>
                </c:pt>
                <c:pt idx="33585">
                  <c:v>0.59898341359015495</c:v>
                </c:pt>
                <c:pt idx="33586">
                  <c:v>0.59900124843945002</c:v>
                </c:pt>
                <c:pt idx="33587">
                  <c:v>0.59901908328874598</c:v>
                </c:pt>
                <c:pt idx="33588">
                  <c:v>0.59903691813804105</c:v>
                </c:pt>
                <c:pt idx="33589">
                  <c:v>0.59905475298733701</c:v>
                </c:pt>
                <c:pt idx="33590">
                  <c:v>0.59907258783663198</c:v>
                </c:pt>
                <c:pt idx="33591">
                  <c:v>0.59909042268592805</c:v>
                </c:pt>
                <c:pt idx="33592">
                  <c:v>0.59910825753522301</c:v>
                </c:pt>
                <c:pt idx="33593">
                  <c:v>0.59912609238451897</c:v>
                </c:pt>
                <c:pt idx="33594">
                  <c:v>0.59914392723381404</c:v>
                </c:pt>
                <c:pt idx="33595">
                  <c:v>0.59916176208311001</c:v>
                </c:pt>
                <c:pt idx="33596">
                  <c:v>0.59917959693240597</c:v>
                </c:pt>
                <c:pt idx="33597">
                  <c:v>0.59919743178170104</c:v>
                </c:pt>
                <c:pt idx="33598">
                  <c:v>0.599215266630997</c:v>
                </c:pt>
                <c:pt idx="33599">
                  <c:v>0.59923310148029196</c:v>
                </c:pt>
                <c:pt idx="33600">
                  <c:v>0.59925093632958804</c:v>
                </c:pt>
                <c:pt idx="33601">
                  <c:v>0.599268771178883</c:v>
                </c:pt>
                <c:pt idx="33602">
                  <c:v>0.59928660602817896</c:v>
                </c:pt>
                <c:pt idx="33603">
                  <c:v>0.59930444087747403</c:v>
                </c:pt>
                <c:pt idx="33604">
                  <c:v>0.59932227572676999</c:v>
                </c:pt>
                <c:pt idx="33605">
                  <c:v>0.59934011057606495</c:v>
                </c:pt>
                <c:pt idx="33606">
                  <c:v>0.59935794542536103</c:v>
                </c:pt>
                <c:pt idx="33607">
                  <c:v>0.59937578027465599</c:v>
                </c:pt>
                <c:pt idx="33608">
                  <c:v>0.59939361512395195</c:v>
                </c:pt>
                <c:pt idx="33609">
                  <c:v>0.59941144997324702</c:v>
                </c:pt>
                <c:pt idx="33610">
                  <c:v>0.59942928482254298</c:v>
                </c:pt>
                <c:pt idx="33611">
                  <c:v>0.59944711967183795</c:v>
                </c:pt>
                <c:pt idx="33612">
                  <c:v>0.59946495452113402</c:v>
                </c:pt>
                <c:pt idx="33613">
                  <c:v>0.59948278937042898</c:v>
                </c:pt>
                <c:pt idx="33614">
                  <c:v>0.59950062421972505</c:v>
                </c:pt>
                <c:pt idx="33615">
                  <c:v>0.59951845906902002</c:v>
                </c:pt>
                <c:pt idx="33616">
                  <c:v>0.59953629391831598</c:v>
                </c:pt>
                <c:pt idx="33617">
                  <c:v>0.59955412876761105</c:v>
                </c:pt>
                <c:pt idx="33618">
                  <c:v>0.59957196361690701</c:v>
                </c:pt>
                <c:pt idx="33619">
                  <c:v>0.59958979846620297</c:v>
                </c:pt>
                <c:pt idx="33620">
                  <c:v>0.59960763331549805</c:v>
                </c:pt>
                <c:pt idx="33621">
                  <c:v>0.59962546816479401</c:v>
                </c:pt>
                <c:pt idx="33622">
                  <c:v>0.59964330301408897</c:v>
                </c:pt>
                <c:pt idx="33623">
                  <c:v>0.59966113786338504</c:v>
                </c:pt>
                <c:pt idx="33624">
                  <c:v>0.59967897271268</c:v>
                </c:pt>
                <c:pt idx="33625">
                  <c:v>0.59969680756197596</c:v>
                </c:pt>
                <c:pt idx="33626">
                  <c:v>0.59971464241127104</c:v>
                </c:pt>
                <c:pt idx="33627">
                  <c:v>0.599732477260567</c:v>
                </c:pt>
                <c:pt idx="33628">
                  <c:v>0.59975031210986196</c:v>
                </c:pt>
                <c:pt idx="33629">
                  <c:v>0.59976814695915803</c:v>
                </c:pt>
                <c:pt idx="33630">
                  <c:v>0.59978598180845299</c:v>
                </c:pt>
                <c:pt idx="33631">
                  <c:v>0.59980381665774896</c:v>
                </c:pt>
                <c:pt idx="33632">
                  <c:v>0.59982165150704403</c:v>
                </c:pt>
                <c:pt idx="33633">
                  <c:v>0.59983948635633999</c:v>
                </c:pt>
                <c:pt idx="33634">
                  <c:v>0.59985732120563495</c:v>
                </c:pt>
                <c:pt idx="33635">
                  <c:v>0.59987515605493102</c:v>
                </c:pt>
                <c:pt idx="33636">
                  <c:v>0.59989299090422599</c:v>
                </c:pt>
                <c:pt idx="33637">
                  <c:v>0.59991082575352195</c:v>
                </c:pt>
                <c:pt idx="33638">
                  <c:v>0.59992866060281702</c:v>
                </c:pt>
                <c:pt idx="33639">
                  <c:v>0.59994649545211298</c:v>
                </c:pt>
                <c:pt idx="33640">
                  <c:v>0.59996433030140806</c:v>
                </c:pt>
                <c:pt idx="33641">
                  <c:v>0.59998216515070402</c:v>
                </c:pt>
                <c:pt idx="33642">
                  <c:v>0.6</c:v>
                </c:pt>
                <c:pt idx="33643">
                  <c:v>0.60001783484929505</c:v>
                </c:pt>
                <c:pt idx="33644">
                  <c:v>0.60003566969859101</c:v>
                </c:pt>
                <c:pt idx="33645">
                  <c:v>0.60005350454788597</c:v>
                </c:pt>
                <c:pt idx="33646">
                  <c:v>0.60007133939718205</c:v>
                </c:pt>
                <c:pt idx="33647">
                  <c:v>0.60008917424647701</c:v>
                </c:pt>
                <c:pt idx="33648">
                  <c:v>0.60010700909577297</c:v>
                </c:pt>
                <c:pt idx="33649">
                  <c:v>0.60012484394506804</c:v>
                </c:pt>
                <c:pt idx="33650">
                  <c:v>0.600142678794364</c:v>
                </c:pt>
                <c:pt idx="33651">
                  <c:v>0.60016051364365897</c:v>
                </c:pt>
                <c:pt idx="33652">
                  <c:v>0.60017834849295504</c:v>
                </c:pt>
                <c:pt idx="33653">
                  <c:v>0.60019618334225</c:v>
                </c:pt>
                <c:pt idx="33654">
                  <c:v>0.60021401819154596</c:v>
                </c:pt>
                <c:pt idx="33655">
                  <c:v>0.60023185304084103</c:v>
                </c:pt>
                <c:pt idx="33656">
                  <c:v>0.600249687890137</c:v>
                </c:pt>
                <c:pt idx="33657">
                  <c:v>0.60026752273943196</c:v>
                </c:pt>
                <c:pt idx="33658">
                  <c:v>0.60028535758872803</c:v>
                </c:pt>
                <c:pt idx="33659">
                  <c:v>0.60030319243802299</c:v>
                </c:pt>
                <c:pt idx="33660">
                  <c:v>0.60032102728731895</c:v>
                </c:pt>
                <c:pt idx="33661">
                  <c:v>0.60033886213661403</c:v>
                </c:pt>
                <c:pt idx="33662">
                  <c:v>0.60035669698590999</c:v>
                </c:pt>
                <c:pt idx="33663">
                  <c:v>0.60037453183520595</c:v>
                </c:pt>
                <c:pt idx="33664">
                  <c:v>0.60039236668450102</c:v>
                </c:pt>
                <c:pt idx="33665">
                  <c:v>0.60041020153379698</c:v>
                </c:pt>
                <c:pt idx="33666">
                  <c:v>0.60042803638309195</c:v>
                </c:pt>
                <c:pt idx="33667">
                  <c:v>0.60044587123238802</c:v>
                </c:pt>
                <c:pt idx="33668">
                  <c:v>0.60046370608168298</c:v>
                </c:pt>
                <c:pt idx="33669">
                  <c:v>0.60048154093097905</c:v>
                </c:pt>
                <c:pt idx="33670">
                  <c:v>0.60049937578027401</c:v>
                </c:pt>
                <c:pt idx="33671">
                  <c:v>0.60051721062956998</c:v>
                </c:pt>
                <c:pt idx="33672">
                  <c:v>0.60053504547886505</c:v>
                </c:pt>
                <c:pt idx="33673">
                  <c:v>0.60055288032816101</c:v>
                </c:pt>
                <c:pt idx="33674">
                  <c:v>0.60057071517745597</c:v>
                </c:pt>
                <c:pt idx="33675">
                  <c:v>0.60058855002675204</c:v>
                </c:pt>
                <c:pt idx="33676">
                  <c:v>0.60060638487604701</c:v>
                </c:pt>
                <c:pt idx="33677">
                  <c:v>0.60062421972534297</c:v>
                </c:pt>
                <c:pt idx="33678">
                  <c:v>0.60064205457463804</c:v>
                </c:pt>
                <c:pt idx="33679">
                  <c:v>0.600659889423934</c:v>
                </c:pt>
                <c:pt idx="33680">
                  <c:v>0.60067772427322896</c:v>
                </c:pt>
                <c:pt idx="33681">
                  <c:v>0.60069555912252504</c:v>
                </c:pt>
                <c:pt idx="33682">
                  <c:v>0.60071339397182</c:v>
                </c:pt>
                <c:pt idx="33683">
                  <c:v>0.60073122882111596</c:v>
                </c:pt>
                <c:pt idx="33684">
                  <c:v>0.60074906367041203</c:v>
                </c:pt>
                <c:pt idx="33685">
                  <c:v>0.60076689851970699</c:v>
                </c:pt>
                <c:pt idx="33686">
                  <c:v>0.60078473336900295</c:v>
                </c:pt>
                <c:pt idx="33687">
                  <c:v>0.60080256821829803</c:v>
                </c:pt>
                <c:pt idx="33688">
                  <c:v>0.60082040306759399</c:v>
                </c:pt>
                <c:pt idx="33689">
                  <c:v>0.60083823791688895</c:v>
                </c:pt>
                <c:pt idx="33690">
                  <c:v>0.60085607276618502</c:v>
                </c:pt>
                <c:pt idx="33691">
                  <c:v>0.60087390761547999</c:v>
                </c:pt>
                <c:pt idx="33692">
                  <c:v>0.60089174246477595</c:v>
                </c:pt>
                <c:pt idx="33693">
                  <c:v>0.60090957731407102</c:v>
                </c:pt>
                <c:pt idx="33694">
                  <c:v>0.60092741216336698</c:v>
                </c:pt>
                <c:pt idx="33695">
                  <c:v>0.60094524701266205</c:v>
                </c:pt>
                <c:pt idx="33696">
                  <c:v>0.60096308186195802</c:v>
                </c:pt>
                <c:pt idx="33697">
                  <c:v>0.60098091671125298</c:v>
                </c:pt>
                <c:pt idx="33698">
                  <c:v>0.60099875156054905</c:v>
                </c:pt>
                <c:pt idx="33699">
                  <c:v>0.60101658640984401</c:v>
                </c:pt>
                <c:pt idx="33700">
                  <c:v>0.60103442125913997</c:v>
                </c:pt>
                <c:pt idx="33701">
                  <c:v>0.60105225610843505</c:v>
                </c:pt>
                <c:pt idx="33702">
                  <c:v>0.60107009095773101</c:v>
                </c:pt>
                <c:pt idx="33703">
                  <c:v>0.60108792580702697</c:v>
                </c:pt>
                <c:pt idx="33704">
                  <c:v>0.60110576065632204</c:v>
                </c:pt>
                <c:pt idx="33705">
                  <c:v>0.601123595505618</c:v>
                </c:pt>
                <c:pt idx="33706">
                  <c:v>0.60114143035491296</c:v>
                </c:pt>
                <c:pt idx="33707">
                  <c:v>0.60115926520420904</c:v>
                </c:pt>
                <c:pt idx="33708">
                  <c:v>0.601177100053504</c:v>
                </c:pt>
                <c:pt idx="33709">
                  <c:v>0.60119493490279996</c:v>
                </c:pt>
                <c:pt idx="33710">
                  <c:v>0.60121276975209503</c:v>
                </c:pt>
                <c:pt idx="33711">
                  <c:v>0.60123060460139099</c:v>
                </c:pt>
                <c:pt idx="33712">
                  <c:v>0.60124843945068596</c:v>
                </c:pt>
                <c:pt idx="33713">
                  <c:v>0.60126627429998203</c:v>
                </c:pt>
                <c:pt idx="33714">
                  <c:v>0.60128410914927699</c:v>
                </c:pt>
                <c:pt idx="33715">
                  <c:v>0.60130194399857295</c:v>
                </c:pt>
                <c:pt idx="33716">
                  <c:v>0.60131977884786803</c:v>
                </c:pt>
                <c:pt idx="33717">
                  <c:v>0.60133761369716399</c:v>
                </c:pt>
                <c:pt idx="33718">
                  <c:v>0.60135544854645895</c:v>
                </c:pt>
                <c:pt idx="33719">
                  <c:v>0.60137328339575502</c:v>
                </c:pt>
                <c:pt idx="33720">
                  <c:v>0.60139111824504998</c:v>
                </c:pt>
                <c:pt idx="33721">
                  <c:v>0.60140895309434605</c:v>
                </c:pt>
                <c:pt idx="33722">
                  <c:v>0.60142678794364102</c:v>
                </c:pt>
                <c:pt idx="33723">
                  <c:v>0.60144462279293698</c:v>
                </c:pt>
                <c:pt idx="33724">
                  <c:v>0.60146245764223205</c:v>
                </c:pt>
                <c:pt idx="33725">
                  <c:v>0.60148029249152801</c:v>
                </c:pt>
                <c:pt idx="33726">
                  <c:v>0.60149812734082397</c:v>
                </c:pt>
                <c:pt idx="33727">
                  <c:v>0.60151596219011905</c:v>
                </c:pt>
                <c:pt idx="33728">
                  <c:v>0.60153379703941501</c:v>
                </c:pt>
                <c:pt idx="33729">
                  <c:v>0.60155163188870997</c:v>
                </c:pt>
                <c:pt idx="33730">
                  <c:v>0.60156946673800604</c:v>
                </c:pt>
                <c:pt idx="33731">
                  <c:v>0.601587301587301</c:v>
                </c:pt>
                <c:pt idx="33732">
                  <c:v>0.60160513643659697</c:v>
                </c:pt>
                <c:pt idx="33733">
                  <c:v>0.60162297128589204</c:v>
                </c:pt>
                <c:pt idx="33734">
                  <c:v>0.601640806135188</c:v>
                </c:pt>
                <c:pt idx="33735">
                  <c:v>0.60165864098448296</c:v>
                </c:pt>
                <c:pt idx="33736">
                  <c:v>0.60167647583377903</c:v>
                </c:pt>
                <c:pt idx="33737">
                  <c:v>0.601694310683074</c:v>
                </c:pt>
                <c:pt idx="33738">
                  <c:v>0.60171214553236996</c:v>
                </c:pt>
                <c:pt idx="33739">
                  <c:v>0.60172998038166503</c:v>
                </c:pt>
                <c:pt idx="33740">
                  <c:v>0.60174781523096099</c:v>
                </c:pt>
                <c:pt idx="33741">
                  <c:v>0.60176565008025595</c:v>
                </c:pt>
                <c:pt idx="33742">
                  <c:v>0.60178348492955203</c:v>
                </c:pt>
                <c:pt idx="33743">
                  <c:v>0.60180131977884699</c:v>
                </c:pt>
                <c:pt idx="33744">
                  <c:v>0.60181915462814295</c:v>
                </c:pt>
                <c:pt idx="33745">
                  <c:v>0.60183698947743802</c:v>
                </c:pt>
                <c:pt idx="33746">
                  <c:v>0.60185482432673398</c:v>
                </c:pt>
                <c:pt idx="33747">
                  <c:v>0.60187265917602994</c:v>
                </c:pt>
                <c:pt idx="33748">
                  <c:v>0.60189049402532502</c:v>
                </c:pt>
                <c:pt idx="33749">
                  <c:v>0.60190832887462098</c:v>
                </c:pt>
                <c:pt idx="33750">
                  <c:v>0.60192616372391605</c:v>
                </c:pt>
                <c:pt idx="33751">
                  <c:v>0.60194399857321201</c:v>
                </c:pt>
                <c:pt idx="33752">
                  <c:v>0.60196183342250698</c:v>
                </c:pt>
                <c:pt idx="33753">
                  <c:v>0.60197966827180305</c:v>
                </c:pt>
                <c:pt idx="33754">
                  <c:v>0.60199750312109801</c:v>
                </c:pt>
                <c:pt idx="33755">
                  <c:v>0.60201533797039397</c:v>
                </c:pt>
                <c:pt idx="33756">
                  <c:v>0.60203317281968904</c:v>
                </c:pt>
                <c:pt idx="33757">
                  <c:v>0.60205100766898501</c:v>
                </c:pt>
                <c:pt idx="33758">
                  <c:v>0.60206884251827997</c:v>
                </c:pt>
                <c:pt idx="33759">
                  <c:v>0.60208667736757604</c:v>
                </c:pt>
                <c:pt idx="33760">
                  <c:v>0.602104512216871</c:v>
                </c:pt>
                <c:pt idx="33761">
                  <c:v>0.60212234706616696</c:v>
                </c:pt>
                <c:pt idx="33762">
                  <c:v>0.60214018191546204</c:v>
                </c:pt>
                <c:pt idx="33763">
                  <c:v>0.602158016764758</c:v>
                </c:pt>
                <c:pt idx="33764">
                  <c:v>0.60217585161405296</c:v>
                </c:pt>
                <c:pt idx="33765">
                  <c:v>0.60219368646334903</c:v>
                </c:pt>
                <c:pt idx="33766">
                  <c:v>0.60221152131264399</c:v>
                </c:pt>
                <c:pt idx="33767">
                  <c:v>0.60222935616193995</c:v>
                </c:pt>
                <c:pt idx="33768">
                  <c:v>0.60224719101123503</c:v>
                </c:pt>
                <c:pt idx="33769">
                  <c:v>0.60226502586053099</c:v>
                </c:pt>
                <c:pt idx="33770">
                  <c:v>0.60228286070982695</c:v>
                </c:pt>
                <c:pt idx="33771">
                  <c:v>0.60230069555912202</c:v>
                </c:pt>
                <c:pt idx="33772">
                  <c:v>0.60231853040841798</c:v>
                </c:pt>
                <c:pt idx="33773">
                  <c:v>0.60233636525771295</c:v>
                </c:pt>
                <c:pt idx="33774">
                  <c:v>0.60235420010700902</c:v>
                </c:pt>
                <c:pt idx="33775">
                  <c:v>0.60237203495630398</c:v>
                </c:pt>
                <c:pt idx="33776">
                  <c:v>0.60238986980560005</c:v>
                </c:pt>
                <c:pt idx="33777">
                  <c:v>0.60240770465489502</c:v>
                </c:pt>
                <c:pt idx="33778">
                  <c:v>0.60242553950419098</c:v>
                </c:pt>
                <c:pt idx="33779">
                  <c:v>0.60244337435348605</c:v>
                </c:pt>
                <c:pt idx="33780">
                  <c:v>0.60246120920278201</c:v>
                </c:pt>
                <c:pt idx="33781">
                  <c:v>0.60247904405207697</c:v>
                </c:pt>
                <c:pt idx="33782">
                  <c:v>0.60249687890137305</c:v>
                </c:pt>
                <c:pt idx="33783">
                  <c:v>0.60251471375066801</c:v>
                </c:pt>
                <c:pt idx="33784">
                  <c:v>0.60253254859996397</c:v>
                </c:pt>
                <c:pt idx="33785">
                  <c:v>0.60255038344925904</c:v>
                </c:pt>
                <c:pt idx="33786">
                  <c:v>0.602568218298555</c:v>
                </c:pt>
                <c:pt idx="33787">
                  <c:v>0.60258605314784996</c:v>
                </c:pt>
                <c:pt idx="33788">
                  <c:v>0.60260388799714604</c:v>
                </c:pt>
                <c:pt idx="33789">
                  <c:v>0.602621722846442</c:v>
                </c:pt>
                <c:pt idx="33790">
                  <c:v>0.60263955769573696</c:v>
                </c:pt>
                <c:pt idx="33791">
                  <c:v>0.60265739254503303</c:v>
                </c:pt>
                <c:pt idx="33792">
                  <c:v>0.60267522739432799</c:v>
                </c:pt>
                <c:pt idx="33793">
                  <c:v>0.60269306224362396</c:v>
                </c:pt>
                <c:pt idx="33794">
                  <c:v>0.60271089709291903</c:v>
                </c:pt>
                <c:pt idx="33795">
                  <c:v>0.60272873194221499</c:v>
                </c:pt>
                <c:pt idx="33796">
                  <c:v>0.60274656679150995</c:v>
                </c:pt>
                <c:pt idx="33797">
                  <c:v>0.60276440164080602</c:v>
                </c:pt>
                <c:pt idx="33798">
                  <c:v>0.60278223649010099</c:v>
                </c:pt>
                <c:pt idx="33799">
                  <c:v>0.60280007133939695</c:v>
                </c:pt>
                <c:pt idx="33800">
                  <c:v>0.60281790618869202</c:v>
                </c:pt>
                <c:pt idx="33801">
                  <c:v>0.60283574103798798</c:v>
                </c:pt>
                <c:pt idx="33802">
                  <c:v>0.60285357588728306</c:v>
                </c:pt>
                <c:pt idx="33803">
                  <c:v>0.60287141073657902</c:v>
                </c:pt>
                <c:pt idx="33804">
                  <c:v>0.60288924558587398</c:v>
                </c:pt>
                <c:pt idx="33805">
                  <c:v>0.60290708043517005</c:v>
                </c:pt>
                <c:pt idx="33806">
                  <c:v>0.60292491528446501</c:v>
                </c:pt>
                <c:pt idx="33807">
                  <c:v>0.60294275013376097</c:v>
                </c:pt>
                <c:pt idx="33808">
                  <c:v>0.60296058498305605</c:v>
                </c:pt>
                <c:pt idx="33809">
                  <c:v>0.60297841983235201</c:v>
                </c:pt>
                <c:pt idx="33810">
                  <c:v>0.60299625468164797</c:v>
                </c:pt>
                <c:pt idx="33811">
                  <c:v>0.60301408953094304</c:v>
                </c:pt>
                <c:pt idx="33812">
                  <c:v>0.603031924380239</c:v>
                </c:pt>
                <c:pt idx="33813">
                  <c:v>0.60304975922953397</c:v>
                </c:pt>
                <c:pt idx="33814">
                  <c:v>0.60306759407883004</c:v>
                </c:pt>
                <c:pt idx="33815">
                  <c:v>0.603085428928125</c:v>
                </c:pt>
                <c:pt idx="33816">
                  <c:v>0.60310326377742096</c:v>
                </c:pt>
                <c:pt idx="33817">
                  <c:v>0.60312109862671603</c:v>
                </c:pt>
                <c:pt idx="33818">
                  <c:v>0.603138933476012</c:v>
                </c:pt>
                <c:pt idx="33819">
                  <c:v>0.60315676832530696</c:v>
                </c:pt>
                <c:pt idx="33820">
                  <c:v>0.60317460317460303</c:v>
                </c:pt>
                <c:pt idx="33821">
                  <c:v>0.60319243802389799</c:v>
                </c:pt>
                <c:pt idx="33822">
                  <c:v>0.60321027287319395</c:v>
                </c:pt>
                <c:pt idx="33823">
                  <c:v>0.60322810772248903</c:v>
                </c:pt>
                <c:pt idx="33824">
                  <c:v>0.60324594257178499</c:v>
                </c:pt>
                <c:pt idx="33825">
                  <c:v>0.60326377742107995</c:v>
                </c:pt>
                <c:pt idx="33826">
                  <c:v>0.60328161227037602</c:v>
                </c:pt>
                <c:pt idx="33827">
                  <c:v>0.60329944711967098</c:v>
                </c:pt>
                <c:pt idx="33828">
                  <c:v>0.60331728196896695</c:v>
                </c:pt>
                <c:pt idx="33829">
                  <c:v>0.60333511681826202</c:v>
                </c:pt>
                <c:pt idx="33830">
                  <c:v>0.60335295166755798</c:v>
                </c:pt>
                <c:pt idx="33831">
                  <c:v>0.60337078651685305</c:v>
                </c:pt>
                <c:pt idx="33832">
                  <c:v>0.60338862136614901</c:v>
                </c:pt>
                <c:pt idx="33833">
                  <c:v>0.60340645621544498</c:v>
                </c:pt>
                <c:pt idx="33834">
                  <c:v>0.60342429106474005</c:v>
                </c:pt>
                <c:pt idx="33835">
                  <c:v>0.60344212591403601</c:v>
                </c:pt>
                <c:pt idx="33836">
                  <c:v>0.60345996076333097</c:v>
                </c:pt>
                <c:pt idx="33837">
                  <c:v>0.60347779561262704</c:v>
                </c:pt>
                <c:pt idx="33838">
                  <c:v>0.60349563046192201</c:v>
                </c:pt>
                <c:pt idx="33839">
                  <c:v>0.60351346531121797</c:v>
                </c:pt>
                <c:pt idx="33840">
                  <c:v>0.60353130016051304</c:v>
                </c:pt>
                <c:pt idx="33841">
                  <c:v>0.603549135009809</c:v>
                </c:pt>
                <c:pt idx="33842">
                  <c:v>0.60356696985910396</c:v>
                </c:pt>
                <c:pt idx="33843">
                  <c:v>0.60358480470840004</c:v>
                </c:pt>
                <c:pt idx="33844">
                  <c:v>0.603602639557695</c:v>
                </c:pt>
                <c:pt idx="33845">
                  <c:v>0.60362047440699096</c:v>
                </c:pt>
                <c:pt idx="33846">
                  <c:v>0.60363830925628603</c:v>
                </c:pt>
                <c:pt idx="33847">
                  <c:v>0.60365614410558199</c:v>
                </c:pt>
                <c:pt idx="33848">
                  <c:v>0.60367397895487696</c:v>
                </c:pt>
                <c:pt idx="33849">
                  <c:v>0.60369181380417303</c:v>
                </c:pt>
                <c:pt idx="33850">
                  <c:v>0.60370964865346799</c:v>
                </c:pt>
                <c:pt idx="33851">
                  <c:v>0.60372748350276395</c:v>
                </c:pt>
                <c:pt idx="33852">
                  <c:v>0.60374531835205902</c:v>
                </c:pt>
                <c:pt idx="33853">
                  <c:v>0.60376315320135499</c:v>
                </c:pt>
                <c:pt idx="33854">
                  <c:v>0.60378098805065095</c:v>
                </c:pt>
                <c:pt idx="33855">
                  <c:v>0.60379882289994602</c:v>
                </c:pt>
                <c:pt idx="33856">
                  <c:v>0.60381665774924198</c:v>
                </c:pt>
                <c:pt idx="33857">
                  <c:v>0.60383449259853705</c:v>
                </c:pt>
                <c:pt idx="33858">
                  <c:v>0.60385232744783301</c:v>
                </c:pt>
                <c:pt idx="33859">
                  <c:v>0.60387016229712798</c:v>
                </c:pt>
                <c:pt idx="33860">
                  <c:v>0.60388799714642405</c:v>
                </c:pt>
                <c:pt idx="33861">
                  <c:v>0.60390583199571901</c:v>
                </c:pt>
                <c:pt idx="33862">
                  <c:v>0.60392366684501497</c:v>
                </c:pt>
                <c:pt idx="33863">
                  <c:v>0.60394150169431005</c:v>
                </c:pt>
                <c:pt idx="33864">
                  <c:v>0.60395933654360601</c:v>
                </c:pt>
                <c:pt idx="33865">
                  <c:v>0.60397717139290097</c:v>
                </c:pt>
                <c:pt idx="33866">
                  <c:v>0.60399500624219704</c:v>
                </c:pt>
                <c:pt idx="33867">
                  <c:v>0.604012841091492</c:v>
                </c:pt>
                <c:pt idx="33868">
                  <c:v>0.60403067594078796</c:v>
                </c:pt>
                <c:pt idx="33869">
                  <c:v>0.60404851079008304</c:v>
                </c:pt>
                <c:pt idx="33870">
                  <c:v>0.604066345639379</c:v>
                </c:pt>
                <c:pt idx="33871">
                  <c:v>0.60408418048867396</c:v>
                </c:pt>
                <c:pt idx="33872">
                  <c:v>0.60410201533797003</c:v>
                </c:pt>
                <c:pt idx="33873">
                  <c:v>0.604119850187265</c:v>
                </c:pt>
                <c:pt idx="33874">
                  <c:v>0.60413768503656096</c:v>
                </c:pt>
                <c:pt idx="33875">
                  <c:v>0.60415551988585603</c:v>
                </c:pt>
                <c:pt idx="33876">
                  <c:v>0.60417335473515199</c:v>
                </c:pt>
                <c:pt idx="33877">
                  <c:v>0.60419118958444795</c:v>
                </c:pt>
                <c:pt idx="33878">
                  <c:v>0.60420902443374302</c:v>
                </c:pt>
                <c:pt idx="33879">
                  <c:v>0.60422685928303899</c:v>
                </c:pt>
                <c:pt idx="33880">
                  <c:v>0.60424469413233395</c:v>
                </c:pt>
                <c:pt idx="33881">
                  <c:v>0.60426252898163002</c:v>
                </c:pt>
                <c:pt idx="33882">
                  <c:v>0.60428036383092498</c:v>
                </c:pt>
                <c:pt idx="33883">
                  <c:v>0.60429819868022105</c:v>
                </c:pt>
                <c:pt idx="33884">
                  <c:v>0.60431603352951602</c:v>
                </c:pt>
                <c:pt idx="33885">
                  <c:v>0.60433386837881198</c:v>
                </c:pt>
                <c:pt idx="33886">
                  <c:v>0.60435170322810705</c:v>
                </c:pt>
                <c:pt idx="33887">
                  <c:v>0.60436953807740301</c:v>
                </c:pt>
                <c:pt idx="33888">
                  <c:v>0.60438737292669797</c:v>
                </c:pt>
                <c:pt idx="33889">
                  <c:v>0.60440520777599405</c:v>
                </c:pt>
                <c:pt idx="33890">
                  <c:v>0.60442304262528901</c:v>
                </c:pt>
                <c:pt idx="33891">
                  <c:v>0.60444087747458497</c:v>
                </c:pt>
                <c:pt idx="33892">
                  <c:v>0.60445871232388004</c:v>
                </c:pt>
                <c:pt idx="33893">
                  <c:v>0.604476547173176</c:v>
                </c:pt>
                <c:pt idx="33894">
                  <c:v>0.60449438202247197</c:v>
                </c:pt>
                <c:pt idx="33895">
                  <c:v>0.60451221687176704</c:v>
                </c:pt>
                <c:pt idx="33896">
                  <c:v>0.604530051721063</c:v>
                </c:pt>
                <c:pt idx="33897">
                  <c:v>0.60454788657035796</c:v>
                </c:pt>
                <c:pt idx="33898">
                  <c:v>0.60456572141965403</c:v>
                </c:pt>
                <c:pt idx="33899">
                  <c:v>0.604583556268949</c:v>
                </c:pt>
                <c:pt idx="33900">
                  <c:v>0.60460139111824496</c:v>
                </c:pt>
                <c:pt idx="33901">
                  <c:v>0.60461922596754003</c:v>
                </c:pt>
                <c:pt idx="33902">
                  <c:v>0.60463706081683599</c:v>
                </c:pt>
                <c:pt idx="33903">
                  <c:v>0.60465489566613095</c:v>
                </c:pt>
                <c:pt idx="33904">
                  <c:v>0.60467273051542703</c:v>
                </c:pt>
                <c:pt idx="33905">
                  <c:v>0.60469056536472199</c:v>
                </c:pt>
                <c:pt idx="33906">
                  <c:v>0.60470840021401795</c:v>
                </c:pt>
                <c:pt idx="33907">
                  <c:v>0.60472623506331302</c:v>
                </c:pt>
                <c:pt idx="33908">
                  <c:v>0.60474406991260898</c:v>
                </c:pt>
                <c:pt idx="33909">
                  <c:v>0.60476190476190395</c:v>
                </c:pt>
                <c:pt idx="33910">
                  <c:v>0.60477973961120002</c:v>
                </c:pt>
                <c:pt idx="33911">
                  <c:v>0.60479757446049498</c:v>
                </c:pt>
                <c:pt idx="33912">
                  <c:v>0.60481540930979105</c:v>
                </c:pt>
                <c:pt idx="33913">
                  <c:v>0.60483324415908601</c:v>
                </c:pt>
                <c:pt idx="33914">
                  <c:v>0.60485107900838198</c:v>
                </c:pt>
                <c:pt idx="33915">
                  <c:v>0.60486891385767705</c:v>
                </c:pt>
                <c:pt idx="33916">
                  <c:v>0.60488674870697301</c:v>
                </c:pt>
                <c:pt idx="33917">
                  <c:v>0.60490458355626897</c:v>
                </c:pt>
                <c:pt idx="33918">
                  <c:v>0.60492241840556404</c:v>
                </c:pt>
                <c:pt idx="33919">
                  <c:v>0.60494025325486001</c:v>
                </c:pt>
                <c:pt idx="33920">
                  <c:v>0.60495808810415497</c:v>
                </c:pt>
                <c:pt idx="33921">
                  <c:v>0.60497592295345104</c:v>
                </c:pt>
                <c:pt idx="33922">
                  <c:v>0.604993757802746</c:v>
                </c:pt>
                <c:pt idx="33923">
                  <c:v>0.60501159265204196</c:v>
                </c:pt>
                <c:pt idx="33924">
                  <c:v>0.60502942750133704</c:v>
                </c:pt>
                <c:pt idx="33925">
                  <c:v>0.605047262350633</c:v>
                </c:pt>
                <c:pt idx="33926">
                  <c:v>0.60506509719992796</c:v>
                </c:pt>
                <c:pt idx="33927">
                  <c:v>0.60508293204922403</c:v>
                </c:pt>
                <c:pt idx="33928">
                  <c:v>0.60510076689851899</c:v>
                </c:pt>
                <c:pt idx="33929">
                  <c:v>0.60511860174781495</c:v>
                </c:pt>
                <c:pt idx="33930">
                  <c:v>0.60513643659711003</c:v>
                </c:pt>
                <c:pt idx="33931">
                  <c:v>0.60515427144640599</c:v>
                </c:pt>
                <c:pt idx="33932">
                  <c:v>0.60517210629570095</c:v>
                </c:pt>
                <c:pt idx="33933">
                  <c:v>0.60518994114499702</c:v>
                </c:pt>
                <c:pt idx="33934">
                  <c:v>0.60520777599429199</c:v>
                </c:pt>
                <c:pt idx="33935">
                  <c:v>0.60522561084358795</c:v>
                </c:pt>
                <c:pt idx="33936">
                  <c:v>0.60524344569288302</c:v>
                </c:pt>
                <c:pt idx="33937">
                  <c:v>0.60526128054217898</c:v>
                </c:pt>
                <c:pt idx="33938">
                  <c:v>0.60527911539147405</c:v>
                </c:pt>
                <c:pt idx="33939">
                  <c:v>0.60529695024077002</c:v>
                </c:pt>
                <c:pt idx="33940">
                  <c:v>0.60531478509006598</c:v>
                </c:pt>
                <c:pt idx="33941">
                  <c:v>0.60533261993936105</c:v>
                </c:pt>
                <c:pt idx="33942">
                  <c:v>0.60535045478865701</c:v>
                </c:pt>
                <c:pt idx="33943">
                  <c:v>0.60536828963795197</c:v>
                </c:pt>
                <c:pt idx="33944">
                  <c:v>0.60538612448724805</c:v>
                </c:pt>
                <c:pt idx="33945">
                  <c:v>0.60540395933654301</c:v>
                </c:pt>
                <c:pt idx="33946">
                  <c:v>0.60542179418583897</c:v>
                </c:pt>
                <c:pt idx="33947">
                  <c:v>0.60543962903513404</c:v>
                </c:pt>
                <c:pt idx="33948">
                  <c:v>0.60545746388443</c:v>
                </c:pt>
                <c:pt idx="33949">
                  <c:v>0.60547529873372496</c:v>
                </c:pt>
                <c:pt idx="33950">
                  <c:v>0.60549313358302104</c:v>
                </c:pt>
                <c:pt idx="33951">
                  <c:v>0.605510968432316</c:v>
                </c:pt>
                <c:pt idx="33952">
                  <c:v>0.60552880328161196</c:v>
                </c:pt>
                <c:pt idx="33953">
                  <c:v>0.60554663813090703</c:v>
                </c:pt>
                <c:pt idx="33954">
                  <c:v>0.60556447298020299</c:v>
                </c:pt>
                <c:pt idx="33955">
                  <c:v>0.60558230782949796</c:v>
                </c:pt>
                <c:pt idx="33956">
                  <c:v>0.60560014267879403</c:v>
                </c:pt>
                <c:pt idx="33957">
                  <c:v>0.60561797752808899</c:v>
                </c:pt>
                <c:pt idx="33958">
                  <c:v>0.60563581237738495</c:v>
                </c:pt>
                <c:pt idx="33959">
                  <c:v>0.60565364722668003</c:v>
                </c:pt>
                <c:pt idx="33960">
                  <c:v>0.60567148207597599</c:v>
                </c:pt>
                <c:pt idx="33961">
                  <c:v>0.60568931692527195</c:v>
                </c:pt>
                <c:pt idx="33962">
                  <c:v>0.60570715177456702</c:v>
                </c:pt>
                <c:pt idx="33963">
                  <c:v>0.60572498662386298</c:v>
                </c:pt>
                <c:pt idx="33964">
                  <c:v>0.60574282147315806</c:v>
                </c:pt>
                <c:pt idx="33965">
                  <c:v>0.60576065632245402</c:v>
                </c:pt>
                <c:pt idx="33966">
                  <c:v>0.60577849117174898</c:v>
                </c:pt>
                <c:pt idx="33967">
                  <c:v>0.60579632602104505</c:v>
                </c:pt>
                <c:pt idx="33968">
                  <c:v>0.60581416087034001</c:v>
                </c:pt>
                <c:pt idx="33969">
                  <c:v>0.60583199571963597</c:v>
                </c:pt>
                <c:pt idx="33970">
                  <c:v>0.60584983056893105</c:v>
                </c:pt>
                <c:pt idx="33971">
                  <c:v>0.60586766541822701</c:v>
                </c:pt>
                <c:pt idx="33972">
                  <c:v>0.60588550026752197</c:v>
                </c:pt>
                <c:pt idx="33973">
                  <c:v>0.60590333511681804</c:v>
                </c:pt>
                <c:pt idx="33974">
                  <c:v>0.605921169966113</c:v>
                </c:pt>
                <c:pt idx="33975">
                  <c:v>0.60593900481540897</c:v>
                </c:pt>
                <c:pt idx="33976">
                  <c:v>0.60595683966470404</c:v>
                </c:pt>
                <c:pt idx="33977">
                  <c:v>0.605974674514</c:v>
                </c:pt>
                <c:pt idx="33978">
                  <c:v>0.60599250936329496</c:v>
                </c:pt>
                <c:pt idx="33979">
                  <c:v>0.60601034421259103</c:v>
                </c:pt>
                <c:pt idx="33980">
                  <c:v>0.606028179061886</c:v>
                </c:pt>
                <c:pt idx="33981">
                  <c:v>0.60604601391118196</c:v>
                </c:pt>
                <c:pt idx="33982">
                  <c:v>0.60606384876047703</c:v>
                </c:pt>
                <c:pt idx="33983">
                  <c:v>0.60608168360977299</c:v>
                </c:pt>
                <c:pt idx="33984">
                  <c:v>0.60609951845906895</c:v>
                </c:pt>
                <c:pt idx="33985">
                  <c:v>0.60611735330836403</c:v>
                </c:pt>
                <c:pt idx="33986">
                  <c:v>0.60613518815765999</c:v>
                </c:pt>
                <c:pt idx="33987">
                  <c:v>0.60615302300695495</c:v>
                </c:pt>
                <c:pt idx="33988">
                  <c:v>0.60617085785625102</c:v>
                </c:pt>
                <c:pt idx="33989">
                  <c:v>0.60618869270554598</c:v>
                </c:pt>
                <c:pt idx="33990">
                  <c:v>0.60620652755484195</c:v>
                </c:pt>
                <c:pt idx="33991">
                  <c:v>0.60622436240413702</c:v>
                </c:pt>
                <c:pt idx="33992">
                  <c:v>0.60624219725343298</c:v>
                </c:pt>
                <c:pt idx="33993">
                  <c:v>0.60626003210272805</c:v>
                </c:pt>
                <c:pt idx="33994">
                  <c:v>0.60627786695202401</c:v>
                </c:pt>
                <c:pt idx="33995">
                  <c:v>0.60629570180131898</c:v>
                </c:pt>
                <c:pt idx="33996">
                  <c:v>0.60631353665061505</c:v>
                </c:pt>
                <c:pt idx="33997">
                  <c:v>0.60633137149991001</c:v>
                </c:pt>
                <c:pt idx="33998">
                  <c:v>0.60634920634920597</c:v>
                </c:pt>
                <c:pt idx="33999">
                  <c:v>0.60636704119850104</c:v>
                </c:pt>
                <c:pt idx="34000">
                  <c:v>0.60638487604779701</c:v>
                </c:pt>
                <c:pt idx="34001">
                  <c:v>0.60640271089709297</c:v>
                </c:pt>
                <c:pt idx="34002">
                  <c:v>0.60642054574638804</c:v>
                </c:pt>
                <c:pt idx="34003">
                  <c:v>0.606438380595684</c:v>
                </c:pt>
                <c:pt idx="34004">
                  <c:v>0.60645621544497896</c:v>
                </c:pt>
                <c:pt idx="34005">
                  <c:v>0.60647405029427504</c:v>
                </c:pt>
                <c:pt idx="34006">
                  <c:v>0.60649188514357</c:v>
                </c:pt>
                <c:pt idx="34007">
                  <c:v>0.60650971999286596</c:v>
                </c:pt>
                <c:pt idx="34008">
                  <c:v>0.60652755484216103</c:v>
                </c:pt>
                <c:pt idx="34009">
                  <c:v>0.60654538969145699</c:v>
                </c:pt>
                <c:pt idx="34010">
                  <c:v>0.60656322454075196</c:v>
                </c:pt>
                <c:pt idx="34011">
                  <c:v>0.60658105939004803</c:v>
                </c:pt>
                <c:pt idx="34012">
                  <c:v>0.60659889423934299</c:v>
                </c:pt>
                <c:pt idx="34013">
                  <c:v>0.60661672908863895</c:v>
                </c:pt>
                <c:pt idx="34014">
                  <c:v>0.60663456393793402</c:v>
                </c:pt>
                <c:pt idx="34015">
                  <c:v>0.60665239878722999</c:v>
                </c:pt>
                <c:pt idx="34016">
                  <c:v>0.60667023363652495</c:v>
                </c:pt>
                <c:pt idx="34017">
                  <c:v>0.60668806848582102</c:v>
                </c:pt>
                <c:pt idx="34018">
                  <c:v>0.60670590333511598</c:v>
                </c:pt>
                <c:pt idx="34019">
                  <c:v>0.60672373818441205</c:v>
                </c:pt>
                <c:pt idx="34020">
                  <c:v>0.60674157303370702</c:v>
                </c:pt>
                <c:pt idx="34021">
                  <c:v>0.60675940788300298</c:v>
                </c:pt>
                <c:pt idx="34022">
                  <c:v>0.60677724273229805</c:v>
                </c:pt>
                <c:pt idx="34023">
                  <c:v>0.60679507758159401</c:v>
                </c:pt>
                <c:pt idx="34024">
                  <c:v>0.60681291243088997</c:v>
                </c:pt>
                <c:pt idx="34025">
                  <c:v>0.60683074728018505</c:v>
                </c:pt>
                <c:pt idx="34026">
                  <c:v>0.60684858212948101</c:v>
                </c:pt>
                <c:pt idx="34027">
                  <c:v>0.60686641697877597</c:v>
                </c:pt>
                <c:pt idx="34028">
                  <c:v>0.60688425182807204</c:v>
                </c:pt>
                <c:pt idx="34029">
                  <c:v>0.606902086677367</c:v>
                </c:pt>
                <c:pt idx="34030">
                  <c:v>0.60691992152666296</c:v>
                </c:pt>
                <c:pt idx="34031">
                  <c:v>0.60693775637595804</c:v>
                </c:pt>
                <c:pt idx="34032">
                  <c:v>0.606955591225254</c:v>
                </c:pt>
                <c:pt idx="34033">
                  <c:v>0.60697342607454896</c:v>
                </c:pt>
                <c:pt idx="34034">
                  <c:v>0.60699126092384503</c:v>
                </c:pt>
                <c:pt idx="34035">
                  <c:v>0.60700909577313999</c:v>
                </c:pt>
                <c:pt idx="34036">
                  <c:v>0.60702693062243596</c:v>
                </c:pt>
                <c:pt idx="34037">
                  <c:v>0.60704476547173103</c:v>
                </c:pt>
                <c:pt idx="34038">
                  <c:v>0.60706260032102699</c:v>
                </c:pt>
                <c:pt idx="34039">
                  <c:v>0.60708043517032195</c:v>
                </c:pt>
                <c:pt idx="34040">
                  <c:v>0.60709827001961802</c:v>
                </c:pt>
                <c:pt idx="34041">
                  <c:v>0.60711610486891299</c:v>
                </c:pt>
                <c:pt idx="34042">
                  <c:v>0.60713393971820895</c:v>
                </c:pt>
                <c:pt idx="34043">
                  <c:v>0.60715177456750402</c:v>
                </c:pt>
                <c:pt idx="34044">
                  <c:v>0.60716960941679998</c:v>
                </c:pt>
                <c:pt idx="34045">
                  <c:v>0.60718744426609494</c:v>
                </c:pt>
                <c:pt idx="34046">
                  <c:v>0.60720527911539102</c:v>
                </c:pt>
                <c:pt idx="34047">
                  <c:v>0.60722311396468698</c:v>
                </c:pt>
                <c:pt idx="34048">
                  <c:v>0.60724094881398205</c:v>
                </c:pt>
                <c:pt idx="34049">
                  <c:v>0.60725878366327801</c:v>
                </c:pt>
                <c:pt idx="34050">
                  <c:v>0.60727661851257297</c:v>
                </c:pt>
                <c:pt idx="34051">
                  <c:v>0.60729445336186905</c:v>
                </c:pt>
                <c:pt idx="34052">
                  <c:v>0.60731228821116401</c:v>
                </c:pt>
                <c:pt idx="34053">
                  <c:v>0.60733012306045997</c:v>
                </c:pt>
                <c:pt idx="34054">
                  <c:v>0.60734795790975504</c:v>
                </c:pt>
                <c:pt idx="34055">
                  <c:v>0.607365792759051</c:v>
                </c:pt>
                <c:pt idx="34056">
                  <c:v>0.60738362760834597</c:v>
                </c:pt>
                <c:pt idx="34057">
                  <c:v>0.60740146245764204</c:v>
                </c:pt>
                <c:pt idx="34058">
                  <c:v>0.607419297306937</c:v>
                </c:pt>
                <c:pt idx="34059">
                  <c:v>0.60743713215623296</c:v>
                </c:pt>
                <c:pt idx="34060">
                  <c:v>0.60745496700552803</c:v>
                </c:pt>
                <c:pt idx="34061">
                  <c:v>0.607472801854824</c:v>
                </c:pt>
                <c:pt idx="34062">
                  <c:v>0.60749063670411896</c:v>
                </c:pt>
                <c:pt idx="34063">
                  <c:v>0.60750847155341503</c:v>
                </c:pt>
                <c:pt idx="34064">
                  <c:v>0.60752630640270999</c:v>
                </c:pt>
                <c:pt idx="34065">
                  <c:v>0.60754414125200595</c:v>
                </c:pt>
                <c:pt idx="34066">
                  <c:v>0.60756197610130103</c:v>
                </c:pt>
                <c:pt idx="34067">
                  <c:v>0.60757981095059699</c:v>
                </c:pt>
                <c:pt idx="34068">
                  <c:v>0.60759764579989295</c:v>
                </c:pt>
                <c:pt idx="34069">
                  <c:v>0.60761548064918802</c:v>
                </c:pt>
                <c:pt idx="34070">
                  <c:v>0.60763331549848398</c:v>
                </c:pt>
                <c:pt idx="34071">
                  <c:v>0.60765115034777895</c:v>
                </c:pt>
                <c:pt idx="34072">
                  <c:v>0.60766898519707502</c:v>
                </c:pt>
                <c:pt idx="34073">
                  <c:v>0.60768682004636998</c:v>
                </c:pt>
                <c:pt idx="34074">
                  <c:v>0.60770465489566605</c:v>
                </c:pt>
                <c:pt idx="34075">
                  <c:v>0.60772248974496101</c:v>
                </c:pt>
                <c:pt idx="34076">
                  <c:v>0.60774032459425698</c:v>
                </c:pt>
                <c:pt idx="34077">
                  <c:v>0.60775815944355205</c:v>
                </c:pt>
                <c:pt idx="34078">
                  <c:v>0.60777599429284801</c:v>
                </c:pt>
                <c:pt idx="34079">
                  <c:v>0.60779382914214297</c:v>
                </c:pt>
                <c:pt idx="34080">
                  <c:v>0.60781166399143904</c:v>
                </c:pt>
                <c:pt idx="34081">
                  <c:v>0.60782949884073401</c:v>
                </c:pt>
                <c:pt idx="34082">
                  <c:v>0.60784733369002997</c:v>
                </c:pt>
                <c:pt idx="34083">
                  <c:v>0.60786516853932504</c:v>
                </c:pt>
                <c:pt idx="34084">
                  <c:v>0.607883003388621</c:v>
                </c:pt>
                <c:pt idx="34085">
                  <c:v>0.60790083823791596</c:v>
                </c:pt>
                <c:pt idx="34086">
                  <c:v>0.60791867308721204</c:v>
                </c:pt>
                <c:pt idx="34087">
                  <c:v>0.607936507936507</c:v>
                </c:pt>
                <c:pt idx="34088">
                  <c:v>0.60795434278580296</c:v>
                </c:pt>
                <c:pt idx="34089">
                  <c:v>0.60797217763509903</c:v>
                </c:pt>
                <c:pt idx="34090">
                  <c:v>0.60799001248439399</c:v>
                </c:pt>
                <c:pt idx="34091">
                  <c:v>0.60800784733368995</c:v>
                </c:pt>
                <c:pt idx="34092">
                  <c:v>0.60802568218298503</c:v>
                </c:pt>
                <c:pt idx="34093">
                  <c:v>0.60804351703228099</c:v>
                </c:pt>
                <c:pt idx="34094">
                  <c:v>0.60806135188157595</c:v>
                </c:pt>
                <c:pt idx="34095">
                  <c:v>0.60807918673087202</c:v>
                </c:pt>
                <c:pt idx="34096">
                  <c:v>0.60809702158016699</c:v>
                </c:pt>
                <c:pt idx="34097">
                  <c:v>0.60811485642946295</c:v>
                </c:pt>
                <c:pt idx="34098">
                  <c:v>0.60813269127875802</c:v>
                </c:pt>
                <c:pt idx="34099">
                  <c:v>0.60815052612805398</c:v>
                </c:pt>
                <c:pt idx="34100">
                  <c:v>0.60816836097734905</c:v>
                </c:pt>
                <c:pt idx="34101">
                  <c:v>0.60818619582664502</c:v>
                </c:pt>
                <c:pt idx="34102">
                  <c:v>0.60820403067593998</c:v>
                </c:pt>
                <c:pt idx="34103">
                  <c:v>0.60822186552523605</c:v>
                </c:pt>
                <c:pt idx="34104">
                  <c:v>0.60823970037453101</c:v>
                </c:pt>
                <c:pt idx="34105">
                  <c:v>0.60825753522382697</c:v>
                </c:pt>
                <c:pt idx="34106">
                  <c:v>0.60827537007312205</c:v>
                </c:pt>
                <c:pt idx="34107">
                  <c:v>0.60829320492241801</c:v>
                </c:pt>
                <c:pt idx="34108">
                  <c:v>0.60831103977171397</c:v>
                </c:pt>
                <c:pt idx="34109">
                  <c:v>0.60832887462100904</c:v>
                </c:pt>
                <c:pt idx="34110">
                  <c:v>0.608346709470305</c:v>
                </c:pt>
                <c:pt idx="34111">
                  <c:v>0.60836454431959996</c:v>
                </c:pt>
                <c:pt idx="34112">
                  <c:v>0.60838237916889604</c:v>
                </c:pt>
                <c:pt idx="34113">
                  <c:v>0.608400214018191</c:v>
                </c:pt>
                <c:pt idx="34114">
                  <c:v>0.60841804886748696</c:v>
                </c:pt>
                <c:pt idx="34115">
                  <c:v>0.60843588371678203</c:v>
                </c:pt>
                <c:pt idx="34116">
                  <c:v>0.60845371856607799</c:v>
                </c:pt>
                <c:pt idx="34117">
                  <c:v>0.60847155341537296</c:v>
                </c:pt>
                <c:pt idx="34118">
                  <c:v>0.60848938826466903</c:v>
                </c:pt>
                <c:pt idx="34119">
                  <c:v>0.60850722311396399</c:v>
                </c:pt>
                <c:pt idx="34120">
                  <c:v>0.60852505796325995</c:v>
                </c:pt>
                <c:pt idx="34121">
                  <c:v>0.60854289281255503</c:v>
                </c:pt>
                <c:pt idx="34122">
                  <c:v>0.60856072766185099</c:v>
                </c:pt>
                <c:pt idx="34123">
                  <c:v>0.60857856251114595</c:v>
                </c:pt>
                <c:pt idx="34124">
                  <c:v>0.60859639736044202</c:v>
                </c:pt>
                <c:pt idx="34125">
                  <c:v>0.60861423220973698</c:v>
                </c:pt>
                <c:pt idx="34126">
                  <c:v>0.60863206705903306</c:v>
                </c:pt>
                <c:pt idx="34127">
                  <c:v>0.60864990190832802</c:v>
                </c:pt>
                <c:pt idx="34128">
                  <c:v>0.60866773675762398</c:v>
                </c:pt>
                <c:pt idx="34129">
                  <c:v>0.60868557160691905</c:v>
                </c:pt>
                <c:pt idx="34130">
                  <c:v>0.60870340645621501</c:v>
                </c:pt>
                <c:pt idx="34131">
                  <c:v>0.60872124130551097</c:v>
                </c:pt>
                <c:pt idx="34132">
                  <c:v>0.60873907615480605</c:v>
                </c:pt>
                <c:pt idx="34133">
                  <c:v>0.60875691100410201</c:v>
                </c:pt>
                <c:pt idx="34134">
                  <c:v>0.60877474585339697</c:v>
                </c:pt>
                <c:pt idx="34135">
                  <c:v>0.60879258070269304</c:v>
                </c:pt>
                <c:pt idx="34136">
                  <c:v>0.608810415551988</c:v>
                </c:pt>
                <c:pt idx="34137">
                  <c:v>0.60882825040128397</c:v>
                </c:pt>
                <c:pt idx="34138">
                  <c:v>0.60884608525057904</c:v>
                </c:pt>
                <c:pt idx="34139">
                  <c:v>0.608863920099875</c:v>
                </c:pt>
                <c:pt idx="34140">
                  <c:v>0.60888175494916996</c:v>
                </c:pt>
                <c:pt idx="34141">
                  <c:v>0.60889958979846603</c:v>
                </c:pt>
                <c:pt idx="34142">
                  <c:v>0.608917424647761</c:v>
                </c:pt>
                <c:pt idx="34143">
                  <c:v>0.60893525949705696</c:v>
                </c:pt>
                <c:pt idx="34144">
                  <c:v>0.60895309434635203</c:v>
                </c:pt>
                <c:pt idx="34145">
                  <c:v>0.60897092919564799</c:v>
                </c:pt>
                <c:pt idx="34146">
                  <c:v>0.60898876404494295</c:v>
                </c:pt>
                <c:pt idx="34147">
                  <c:v>0.60900659889423903</c:v>
                </c:pt>
                <c:pt idx="34148">
                  <c:v>0.60902443374353399</c:v>
                </c:pt>
                <c:pt idx="34149">
                  <c:v>0.60904226859282995</c:v>
                </c:pt>
                <c:pt idx="34150">
                  <c:v>0.60906010344212502</c:v>
                </c:pt>
                <c:pt idx="34151">
                  <c:v>0.60907793829142098</c:v>
                </c:pt>
                <c:pt idx="34152">
                  <c:v>0.60909577314071695</c:v>
                </c:pt>
                <c:pt idx="34153">
                  <c:v>0.60911360799001202</c:v>
                </c:pt>
                <c:pt idx="34154">
                  <c:v>0.60913144283930798</c:v>
                </c:pt>
                <c:pt idx="34155">
                  <c:v>0.60914927768860305</c:v>
                </c:pt>
                <c:pt idx="34156">
                  <c:v>0.60916711253789901</c:v>
                </c:pt>
                <c:pt idx="34157">
                  <c:v>0.60918494738719398</c:v>
                </c:pt>
                <c:pt idx="34158">
                  <c:v>0.60920278223649005</c:v>
                </c:pt>
                <c:pt idx="34159">
                  <c:v>0.60922061708578501</c:v>
                </c:pt>
                <c:pt idx="34160">
                  <c:v>0.60923845193508097</c:v>
                </c:pt>
                <c:pt idx="34161">
                  <c:v>0.60925628678437604</c:v>
                </c:pt>
                <c:pt idx="34162">
                  <c:v>0.60927412163367201</c:v>
                </c:pt>
                <c:pt idx="34163">
                  <c:v>0.60929195648296697</c:v>
                </c:pt>
                <c:pt idx="34164">
                  <c:v>0.60930979133226304</c:v>
                </c:pt>
                <c:pt idx="34165">
                  <c:v>0.609327626181558</c:v>
                </c:pt>
                <c:pt idx="34166">
                  <c:v>0.60934546103085396</c:v>
                </c:pt>
                <c:pt idx="34167">
                  <c:v>0.60936329588014904</c:v>
                </c:pt>
                <c:pt idx="34168">
                  <c:v>0.609381130729445</c:v>
                </c:pt>
                <c:pt idx="34169">
                  <c:v>0.60939896557873996</c:v>
                </c:pt>
                <c:pt idx="34170">
                  <c:v>0.60941680042803603</c:v>
                </c:pt>
                <c:pt idx="34171">
                  <c:v>0.60943463527733099</c:v>
                </c:pt>
                <c:pt idx="34172">
                  <c:v>0.60945247012662696</c:v>
                </c:pt>
                <c:pt idx="34173">
                  <c:v>0.60947030497592203</c:v>
                </c:pt>
                <c:pt idx="34174">
                  <c:v>0.60948813982521799</c:v>
                </c:pt>
                <c:pt idx="34175">
                  <c:v>0.60950597467451395</c:v>
                </c:pt>
                <c:pt idx="34176">
                  <c:v>0.60952380952380902</c:v>
                </c:pt>
                <c:pt idx="34177">
                  <c:v>0.60954164437310498</c:v>
                </c:pt>
                <c:pt idx="34178">
                  <c:v>0.60955947922239995</c:v>
                </c:pt>
                <c:pt idx="34179">
                  <c:v>0.60957731407169602</c:v>
                </c:pt>
                <c:pt idx="34180">
                  <c:v>0.60959514892099098</c:v>
                </c:pt>
                <c:pt idx="34181">
                  <c:v>0.60961298377028705</c:v>
                </c:pt>
                <c:pt idx="34182">
                  <c:v>0.60963081861958202</c:v>
                </c:pt>
                <c:pt idx="34183">
                  <c:v>0.60964865346887798</c:v>
                </c:pt>
                <c:pt idx="34184">
                  <c:v>0.60966648831817305</c:v>
                </c:pt>
                <c:pt idx="34185">
                  <c:v>0.60968432316746901</c:v>
                </c:pt>
                <c:pt idx="34186">
                  <c:v>0.60970215801676397</c:v>
                </c:pt>
                <c:pt idx="34187">
                  <c:v>0.60971999286606005</c:v>
                </c:pt>
                <c:pt idx="34188">
                  <c:v>0.60973782771535501</c:v>
                </c:pt>
                <c:pt idx="34189">
                  <c:v>0.60975566256465097</c:v>
                </c:pt>
                <c:pt idx="34190">
                  <c:v>0.60977349741394604</c:v>
                </c:pt>
                <c:pt idx="34191">
                  <c:v>0.609791332263242</c:v>
                </c:pt>
                <c:pt idx="34192">
                  <c:v>0.60980916711253697</c:v>
                </c:pt>
                <c:pt idx="34193">
                  <c:v>0.60982700196183304</c:v>
                </c:pt>
                <c:pt idx="34194">
                  <c:v>0.609844836811129</c:v>
                </c:pt>
                <c:pt idx="34195">
                  <c:v>0.60986267166042396</c:v>
                </c:pt>
                <c:pt idx="34196">
                  <c:v>0.60988050650972003</c:v>
                </c:pt>
                <c:pt idx="34197">
                  <c:v>0.60989834135901499</c:v>
                </c:pt>
                <c:pt idx="34198">
                  <c:v>0.60991617620831096</c:v>
                </c:pt>
                <c:pt idx="34199">
                  <c:v>0.60993401105760603</c:v>
                </c:pt>
                <c:pt idx="34200">
                  <c:v>0.60995184590690199</c:v>
                </c:pt>
                <c:pt idx="34201">
                  <c:v>0.60996968075619695</c:v>
                </c:pt>
                <c:pt idx="34202">
                  <c:v>0.60998751560549302</c:v>
                </c:pt>
                <c:pt idx="34203">
                  <c:v>0.61000535045478799</c:v>
                </c:pt>
                <c:pt idx="34204">
                  <c:v>0.61002318530408395</c:v>
                </c:pt>
                <c:pt idx="34205">
                  <c:v>0.61004102015337902</c:v>
                </c:pt>
                <c:pt idx="34206">
                  <c:v>0.61005885500267498</c:v>
                </c:pt>
                <c:pt idx="34207">
                  <c:v>0.61007668985197006</c:v>
                </c:pt>
                <c:pt idx="34208">
                  <c:v>0.61009452470126602</c:v>
                </c:pt>
                <c:pt idx="34209">
                  <c:v>0.61011235955056098</c:v>
                </c:pt>
                <c:pt idx="34210">
                  <c:v>0.61013019439985705</c:v>
                </c:pt>
                <c:pt idx="34211">
                  <c:v>0.61014802924915201</c:v>
                </c:pt>
                <c:pt idx="34212">
                  <c:v>0.61016586409844797</c:v>
                </c:pt>
                <c:pt idx="34213">
                  <c:v>0.61018369894774305</c:v>
                </c:pt>
                <c:pt idx="34214">
                  <c:v>0.61020153379703901</c:v>
                </c:pt>
                <c:pt idx="34215">
                  <c:v>0.61021936864633497</c:v>
                </c:pt>
                <c:pt idx="34216">
                  <c:v>0.61023720349563004</c:v>
                </c:pt>
                <c:pt idx="34217">
                  <c:v>0.610255038344926</c:v>
                </c:pt>
                <c:pt idx="34218">
                  <c:v>0.61027287319422097</c:v>
                </c:pt>
                <c:pt idx="34219">
                  <c:v>0.61029070804351704</c:v>
                </c:pt>
                <c:pt idx="34220">
                  <c:v>0.610308542892812</c:v>
                </c:pt>
                <c:pt idx="34221">
                  <c:v>0.61032637774210796</c:v>
                </c:pt>
                <c:pt idx="34222">
                  <c:v>0.61034421259140303</c:v>
                </c:pt>
                <c:pt idx="34223">
                  <c:v>0.610362047440699</c:v>
                </c:pt>
                <c:pt idx="34224">
                  <c:v>0.61037988228999396</c:v>
                </c:pt>
                <c:pt idx="34225">
                  <c:v>0.61039771713929003</c:v>
                </c:pt>
                <c:pt idx="34226">
                  <c:v>0.61041555198858499</c:v>
                </c:pt>
                <c:pt idx="34227">
                  <c:v>0.61043338683788095</c:v>
                </c:pt>
                <c:pt idx="34228">
                  <c:v>0.61045122168717603</c:v>
                </c:pt>
                <c:pt idx="34229">
                  <c:v>0.61046905653647199</c:v>
                </c:pt>
                <c:pt idx="34230">
                  <c:v>0.61048689138576695</c:v>
                </c:pt>
                <c:pt idx="34231">
                  <c:v>0.61050472623506302</c:v>
                </c:pt>
                <c:pt idx="34232">
                  <c:v>0.61052256108435798</c:v>
                </c:pt>
                <c:pt idx="34233">
                  <c:v>0.61054039593365395</c:v>
                </c:pt>
                <c:pt idx="34234">
                  <c:v>0.61055823078294902</c:v>
                </c:pt>
                <c:pt idx="34235">
                  <c:v>0.61057606563224498</c:v>
                </c:pt>
                <c:pt idx="34236">
                  <c:v>0.61059390048154005</c:v>
                </c:pt>
                <c:pt idx="34237">
                  <c:v>0.61061173533083601</c:v>
                </c:pt>
                <c:pt idx="34238">
                  <c:v>0.61062957018013198</c:v>
                </c:pt>
                <c:pt idx="34239">
                  <c:v>0.61064740502942705</c:v>
                </c:pt>
                <c:pt idx="34240">
                  <c:v>0.61066523987872301</c:v>
                </c:pt>
                <c:pt idx="34241">
                  <c:v>0.61068307472801797</c:v>
                </c:pt>
                <c:pt idx="34242">
                  <c:v>0.61070090957731404</c:v>
                </c:pt>
                <c:pt idx="34243">
                  <c:v>0.61071874442660901</c:v>
                </c:pt>
                <c:pt idx="34244">
                  <c:v>0.61073657927590497</c:v>
                </c:pt>
                <c:pt idx="34245">
                  <c:v>0.61075441412520004</c:v>
                </c:pt>
                <c:pt idx="34246">
                  <c:v>0.610772248974496</c:v>
                </c:pt>
                <c:pt idx="34247">
                  <c:v>0.61079008382379096</c:v>
                </c:pt>
                <c:pt idx="34248">
                  <c:v>0.61080791867308704</c:v>
                </c:pt>
                <c:pt idx="34249">
                  <c:v>0.610825753522382</c:v>
                </c:pt>
                <c:pt idx="34250">
                  <c:v>0.61084358837167796</c:v>
                </c:pt>
                <c:pt idx="34251">
                  <c:v>0.61086142322097303</c:v>
                </c:pt>
                <c:pt idx="34252">
                  <c:v>0.61087925807026899</c:v>
                </c:pt>
                <c:pt idx="34253">
                  <c:v>0.61089709291956396</c:v>
                </c:pt>
                <c:pt idx="34254">
                  <c:v>0.61091492776886003</c:v>
                </c:pt>
                <c:pt idx="34255">
                  <c:v>0.61093276261815499</c:v>
                </c:pt>
                <c:pt idx="34256">
                  <c:v>0.61095059746745095</c:v>
                </c:pt>
                <c:pt idx="34257">
                  <c:v>0.61096843231674602</c:v>
                </c:pt>
                <c:pt idx="34258">
                  <c:v>0.61098626716604199</c:v>
                </c:pt>
                <c:pt idx="34259">
                  <c:v>0.61100410201533795</c:v>
                </c:pt>
                <c:pt idx="34260">
                  <c:v>0.61102193686463302</c:v>
                </c:pt>
                <c:pt idx="34261">
                  <c:v>0.61103977171392898</c:v>
                </c:pt>
                <c:pt idx="34262">
                  <c:v>0.61105760656322405</c:v>
                </c:pt>
                <c:pt idx="34263">
                  <c:v>0.61107544141252002</c:v>
                </c:pt>
                <c:pt idx="34264">
                  <c:v>0.61109327626181498</c:v>
                </c:pt>
                <c:pt idx="34265">
                  <c:v>0.61111111111111105</c:v>
                </c:pt>
                <c:pt idx="34266">
                  <c:v>0.61112894596040601</c:v>
                </c:pt>
                <c:pt idx="34267">
                  <c:v>0.61114678080970197</c:v>
                </c:pt>
                <c:pt idx="34268">
                  <c:v>0.61116461565899705</c:v>
                </c:pt>
                <c:pt idx="34269">
                  <c:v>0.61118245050829301</c:v>
                </c:pt>
                <c:pt idx="34270">
                  <c:v>0.61120028535758797</c:v>
                </c:pt>
                <c:pt idx="34271">
                  <c:v>0.61121812020688404</c:v>
                </c:pt>
                <c:pt idx="34272">
                  <c:v>0.611235955056179</c:v>
                </c:pt>
                <c:pt idx="34273">
                  <c:v>0.61125378990547496</c:v>
                </c:pt>
                <c:pt idx="34274">
                  <c:v>0.61127162475477004</c:v>
                </c:pt>
                <c:pt idx="34275">
                  <c:v>0.611289459604066</c:v>
                </c:pt>
                <c:pt idx="34276">
                  <c:v>0.61130729445336096</c:v>
                </c:pt>
                <c:pt idx="34277">
                  <c:v>0.61132512930265703</c:v>
                </c:pt>
                <c:pt idx="34278">
                  <c:v>0.611342964151952</c:v>
                </c:pt>
                <c:pt idx="34279">
                  <c:v>0.61136079900124796</c:v>
                </c:pt>
                <c:pt idx="34280">
                  <c:v>0.61137863385054303</c:v>
                </c:pt>
                <c:pt idx="34281">
                  <c:v>0.61139646869983899</c:v>
                </c:pt>
                <c:pt idx="34282">
                  <c:v>0.61141430354913495</c:v>
                </c:pt>
                <c:pt idx="34283">
                  <c:v>0.61143213839843003</c:v>
                </c:pt>
                <c:pt idx="34284">
                  <c:v>0.61144997324772599</c:v>
                </c:pt>
                <c:pt idx="34285">
                  <c:v>0.61146780809702095</c:v>
                </c:pt>
                <c:pt idx="34286">
                  <c:v>0.61148564294631702</c:v>
                </c:pt>
                <c:pt idx="34287">
                  <c:v>0.61150347779561198</c:v>
                </c:pt>
                <c:pt idx="34288">
                  <c:v>0.61152131264490805</c:v>
                </c:pt>
                <c:pt idx="34289">
                  <c:v>0.61153914749420302</c:v>
                </c:pt>
                <c:pt idx="34290">
                  <c:v>0.61155698234349898</c:v>
                </c:pt>
                <c:pt idx="34291">
                  <c:v>0.61157481719279405</c:v>
                </c:pt>
                <c:pt idx="34292">
                  <c:v>0.61159265204209001</c:v>
                </c:pt>
                <c:pt idx="34293">
                  <c:v>0.61161048689138497</c:v>
                </c:pt>
                <c:pt idx="34294">
                  <c:v>0.61162832174068105</c:v>
                </c:pt>
                <c:pt idx="34295">
                  <c:v>0.61164615658997601</c:v>
                </c:pt>
                <c:pt idx="34296">
                  <c:v>0.61166399143927197</c:v>
                </c:pt>
                <c:pt idx="34297">
                  <c:v>0.61168182628856704</c:v>
                </c:pt>
                <c:pt idx="34298">
                  <c:v>0.611699661137863</c:v>
                </c:pt>
                <c:pt idx="34299">
                  <c:v>0.61171749598715797</c:v>
                </c:pt>
                <c:pt idx="34300">
                  <c:v>0.61173533083645404</c:v>
                </c:pt>
                <c:pt idx="34301">
                  <c:v>0.61175316568575</c:v>
                </c:pt>
                <c:pt idx="34302">
                  <c:v>0.61177100053504496</c:v>
                </c:pt>
                <c:pt idx="34303">
                  <c:v>0.61178883538434103</c:v>
                </c:pt>
                <c:pt idx="34304">
                  <c:v>0.611806670233636</c:v>
                </c:pt>
                <c:pt idx="34305">
                  <c:v>0.61182450508293196</c:v>
                </c:pt>
                <c:pt idx="34306">
                  <c:v>0.61184233993222703</c:v>
                </c:pt>
                <c:pt idx="34307">
                  <c:v>0.61186017478152299</c:v>
                </c:pt>
                <c:pt idx="34308">
                  <c:v>0.61187800963081795</c:v>
                </c:pt>
                <c:pt idx="34309">
                  <c:v>0.61189584448011403</c:v>
                </c:pt>
                <c:pt idx="34310">
                  <c:v>0.61191367932940899</c:v>
                </c:pt>
                <c:pt idx="34311">
                  <c:v>0.61193151417870495</c:v>
                </c:pt>
                <c:pt idx="34312">
                  <c:v>0.61194934902800002</c:v>
                </c:pt>
                <c:pt idx="34313">
                  <c:v>0.61196718387729598</c:v>
                </c:pt>
                <c:pt idx="34314">
                  <c:v>0.61198501872659095</c:v>
                </c:pt>
                <c:pt idx="34315">
                  <c:v>0.61200285357588702</c:v>
                </c:pt>
                <c:pt idx="34316">
                  <c:v>0.61202068842518198</c:v>
                </c:pt>
                <c:pt idx="34317">
                  <c:v>0.61203852327447805</c:v>
                </c:pt>
                <c:pt idx="34318">
                  <c:v>0.61205635812377301</c:v>
                </c:pt>
                <c:pt idx="34319">
                  <c:v>0.61207419297306898</c:v>
                </c:pt>
                <c:pt idx="34320">
                  <c:v>0.61209202782236405</c:v>
                </c:pt>
                <c:pt idx="34321">
                  <c:v>0.61210986267166001</c:v>
                </c:pt>
                <c:pt idx="34322">
                  <c:v>0.61212769752095597</c:v>
                </c:pt>
                <c:pt idx="34323">
                  <c:v>0.61214553237025104</c:v>
                </c:pt>
                <c:pt idx="34324">
                  <c:v>0.61216336721954701</c:v>
                </c:pt>
                <c:pt idx="34325">
                  <c:v>0.61218120206884197</c:v>
                </c:pt>
                <c:pt idx="34326">
                  <c:v>0.61219903691813804</c:v>
                </c:pt>
                <c:pt idx="34327">
                  <c:v>0.612216871767433</c:v>
                </c:pt>
                <c:pt idx="34328">
                  <c:v>0.61223470661672896</c:v>
                </c:pt>
                <c:pt idx="34329">
                  <c:v>0.61225254146602404</c:v>
                </c:pt>
                <c:pt idx="34330">
                  <c:v>0.61227037631532</c:v>
                </c:pt>
                <c:pt idx="34331">
                  <c:v>0.61228821116461496</c:v>
                </c:pt>
                <c:pt idx="34332">
                  <c:v>0.61230604601391103</c:v>
                </c:pt>
                <c:pt idx="34333">
                  <c:v>0.61232388086320599</c:v>
                </c:pt>
                <c:pt idx="34334">
                  <c:v>0.61234171571250195</c:v>
                </c:pt>
                <c:pt idx="34335">
                  <c:v>0.61235955056179703</c:v>
                </c:pt>
                <c:pt idx="34336">
                  <c:v>0.61237738541109299</c:v>
                </c:pt>
                <c:pt idx="34337">
                  <c:v>0.61239522026038795</c:v>
                </c:pt>
                <c:pt idx="34338">
                  <c:v>0.61241305510968402</c:v>
                </c:pt>
                <c:pt idx="34339">
                  <c:v>0.61243088995897899</c:v>
                </c:pt>
                <c:pt idx="34340">
                  <c:v>0.61244872480827495</c:v>
                </c:pt>
                <c:pt idx="34341">
                  <c:v>0.61246655965757002</c:v>
                </c:pt>
                <c:pt idx="34342">
                  <c:v>0.61248439450686598</c:v>
                </c:pt>
                <c:pt idx="34343">
                  <c:v>0.61250222935616105</c:v>
                </c:pt>
                <c:pt idx="34344">
                  <c:v>0.61252006420545702</c:v>
                </c:pt>
                <c:pt idx="34345">
                  <c:v>0.61253789905475298</c:v>
                </c:pt>
                <c:pt idx="34346">
                  <c:v>0.61255573390404805</c:v>
                </c:pt>
                <c:pt idx="34347">
                  <c:v>0.61257356875334401</c:v>
                </c:pt>
                <c:pt idx="34348">
                  <c:v>0.61259140360263897</c:v>
                </c:pt>
                <c:pt idx="34349">
                  <c:v>0.61260923845193505</c:v>
                </c:pt>
                <c:pt idx="34350">
                  <c:v>0.61262707330123001</c:v>
                </c:pt>
                <c:pt idx="34351">
                  <c:v>0.61264490815052597</c:v>
                </c:pt>
                <c:pt idx="34352">
                  <c:v>0.61266274299982104</c:v>
                </c:pt>
                <c:pt idx="34353">
                  <c:v>0.612680577849117</c:v>
                </c:pt>
                <c:pt idx="34354">
                  <c:v>0.61269841269841196</c:v>
                </c:pt>
                <c:pt idx="34355">
                  <c:v>0.61271624754770804</c:v>
                </c:pt>
                <c:pt idx="34356">
                  <c:v>0.612734082397003</c:v>
                </c:pt>
                <c:pt idx="34357">
                  <c:v>0.61275191724629896</c:v>
                </c:pt>
                <c:pt idx="34358">
                  <c:v>0.61276975209559403</c:v>
                </c:pt>
                <c:pt idx="34359">
                  <c:v>0.61278758694488999</c:v>
                </c:pt>
                <c:pt idx="34360">
                  <c:v>0.61280542179418496</c:v>
                </c:pt>
                <c:pt idx="34361">
                  <c:v>0.61282325664348103</c:v>
                </c:pt>
                <c:pt idx="34362">
                  <c:v>0.61284109149277599</c:v>
                </c:pt>
                <c:pt idx="34363">
                  <c:v>0.61285892634207195</c:v>
                </c:pt>
                <c:pt idx="34364">
                  <c:v>0.61287676119136703</c:v>
                </c:pt>
                <c:pt idx="34365">
                  <c:v>0.61289459604066299</c:v>
                </c:pt>
                <c:pt idx="34366">
                  <c:v>0.61291243088995895</c:v>
                </c:pt>
                <c:pt idx="34367">
                  <c:v>0.61293026573925402</c:v>
                </c:pt>
                <c:pt idx="34368">
                  <c:v>0.61294810058854998</c:v>
                </c:pt>
                <c:pt idx="34369">
                  <c:v>0.61296593543784506</c:v>
                </c:pt>
                <c:pt idx="34370">
                  <c:v>0.61298377028714102</c:v>
                </c:pt>
                <c:pt idx="34371">
                  <c:v>0.61300160513643598</c:v>
                </c:pt>
                <c:pt idx="34372">
                  <c:v>0.61301943998573205</c:v>
                </c:pt>
                <c:pt idx="34373">
                  <c:v>0.61303727483502701</c:v>
                </c:pt>
                <c:pt idx="34374">
                  <c:v>0.61305510968432297</c:v>
                </c:pt>
                <c:pt idx="34375">
                  <c:v>0.61307294453361805</c:v>
                </c:pt>
                <c:pt idx="34376">
                  <c:v>0.61309077938291401</c:v>
                </c:pt>
                <c:pt idx="34377">
                  <c:v>0.61310861423220897</c:v>
                </c:pt>
                <c:pt idx="34378">
                  <c:v>0.61312644908150504</c:v>
                </c:pt>
                <c:pt idx="34379">
                  <c:v>0.6131442839308</c:v>
                </c:pt>
                <c:pt idx="34380">
                  <c:v>0.61316211878009597</c:v>
                </c:pt>
                <c:pt idx="34381">
                  <c:v>0.61317995362939104</c:v>
                </c:pt>
                <c:pt idx="34382">
                  <c:v>0.613197788478687</c:v>
                </c:pt>
                <c:pt idx="34383">
                  <c:v>0.61321562332798196</c:v>
                </c:pt>
                <c:pt idx="34384">
                  <c:v>0.61323345817727803</c:v>
                </c:pt>
                <c:pt idx="34385">
                  <c:v>0.613251293026573</c:v>
                </c:pt>
                <c:pt idx="34386">
                  <c:v>0.61326912787586896</c:v>
                </c:pt>
                <c:pt idx="34387">
                  <c:v>0.61328696272516403</c:v>
                </c:pt>
                <c:pt idx="34388">
                  <c:v>0.61330479757445999</c:v>
                </c:pt>
                <c:pt idx="34389">
                  <c:v>0.61332263242375595</c:v>
                </c:pt>
                <c:pt idx="34390">
                  <c:v>0.61334046727305103</c:v>
                </c:pt>
                <c:pt idx="34391">
                  <c:v>0.61335830212234699</c:v>
                </c:pt>
                <c:pt idx="34392">
                  <c:v>0.61337613697164195</c:v>
                </c:pt>
                <c:pt idx="34393">
                  <c:v>0.61339397182093802</c:v>
                </c:pt>
                <c:pt idx="34394">
                  <c:v>0.61341180667023298</c:v>
                </c:pt>
                <c:pt idx="34395">
                  <c:v>0.61342964151952895</c:v>
                </c:pt>
                <c:pt idx="34396">
                  <c:v>0.61344747636882402</c:v>
                </c:pt>
                <c:pt idx="34397">
                  <c:v>0.61346531121811998</c:v>
                </c:pt>
                <c:pt idx="34398">
                  <c:v>0.61348314606741505</c:v>
                </c:pt>
                <c:pt idx="34399">
                  <c:v>0.61350098091671101</c:v>
                </c:pt>
                <c:pt idx="34400">
                  <c:v>0.61351881576600598</c:v>
                </c:pt>
                <c:pt idx="34401">
                  <c:v>0.61353665061530205</c:v>
                </c:pt>
                <c:pt idx="34402">
                  <c:v>0.61355448546459701</c:v>
                </c:pt>
                <c:pt idx="34403">
                  <c:v>0.61357232031389297</c:v>
                </c:pt>
                <c:pt idx="34404">
                  <c:v>0.61359015516318804</c:v>
                </c:pt>
                <c:pt idx="34405">
                  <c:v>0.61360799001248401</c:v>
                </c:pt>
                <c:pt idx="34406">
                  <c:v>0.61362582486177997</c:v>
                </c:pt>
                <c:pt idx="34407">
                  <c:v>0.61364365971107504</c:v>
                </c:pt>
                <c:pt idx="34408">
                  <c:v>0.613661494560371</c:v>
                </c:pt>
                <c:pt idx="34409">
                  <c:v>0.61367932940966596</c:v>
                </c:pt>
                <c:pt idx="34410">
                  <c:v>0.61369716425896204</c:v>
                </c:pt>
                <c:pt idx="34411">
                  <c:v>0.613714999108257</c:v>
                </c:pt>
                <c:pt idx="34412">
                  <c:v>0.61373283395755296</c:v>
                </c:pt>
                <c:pt idx="34413">
                  <c:v>0.61375066880684803</c:v>
                </c:pt>
                <c:pt idx="34414">
                  <c:v>0.61376850365614399</c:v>
                </c:pt>
                <c:pt idx="34415">
                  <c:v>0.61378633850543896</c:v>
                </c:pt>
                <c:pt idx="34416">
                  <c:v>0.61380417335473503</c:v>
                </c:pt>
                <c:pt idx="34417">
                  <c:v>0.61382200820402999</c:v>
                </c:pt>
                <c:pt idx="34418">
                  <c:v>0.61383984305332595</c:v>
                </c:pt>
                <c:pt idx="34419">
                  <c:v>0.61385767790262102</c:v>
                </c:pt>
                <c:pt idx="34420">
                  <c:v>0.61387551275191699</c:v>
                </c:pt>
                <c:pt idx="34421">
                  <c:v>0.61389334760121195</c:v>
                </c:pt>
                <c:pt idx="34422">
                  <c:v>0.61391118245050802</c:v>
                </c:pt>
                <c:pt idx="34423">
                  <c:v>0.61392901729980298</c:v>
                </c:pt>
                <c:pt idx="34424">
                  <c:v>0.61394685214909905</c:v>
                </c:pt>
                <c:pt idx="34425">
                  <c:v>0.61396468699839402</c:v>
                </c:pt>
                <c:pt idx="34426">
                  <c:v>0.61398252184768998</c:v>
                </c:pt>
                <c:pt idx="34427">
                  <c:v>0.61400035669698505</c:v>
                </c:pt>
                <c:pt idx="34428">
                  <c:v>0.61401819154628101</c:v>
                </c:pt>
                <c:pt idx="34429">
                  <c:v>0.61403602639557697</c:v>
                </c:pt>
                <c:pt idx="34430">
                  <c:v>0.61405386124487205</c:v>
                </c:pt>
                <c:pt idx="34431">
                  <c:v>0.61407169609416801</c:v>
                </c:pt>
                <c:pt idx="34432">
                  <c:v>0.61408953094346297</c:v>
                </c:pt>
                <c:pt idx="34433">
                  <c:v>0.61410736579275904</c:v>
                </c:pt>
                <c:pt idx="34434">
                  <c:v>0.614125200642054</c:v>
                </c:pt>
                <c:pt idx="34435">
                  <c:v>0.61414303549134996</c:v>
                </c:pt>
                <c:pt idx="34436">
                  <c:v>0.61416087034064504</c:v>
                </c:pt>
                <c:pt idx="34437">
                  <c:v>0.614178705189941</c:v>
                </c:pt>
                <c:pt idx="34438">
                  <c:v>0.61419654003923596</c:v>
                </c:pt>
                <c:pt idx="34439">
                  <c:v>0.61421437488853203</c:v>
                </c:pt>
                <c:pt idx="34440">
                  <c:v>0.614232209737827</c:v>
                </c:pt>
                <c:pt idx="34441">
                  <c:v>0.61425004458712296</c:v>
                </c:pt>
                <c:pt idx="34442">
                  <c:v>0.61426787943641803</c:v>
                </c:pt>
                <c:pt idx="34443">
                  <c:v>0.61428571428571399</c:v>
                </c:pt>
                <c:pt idx="34444">
                  <c:v>0.61430354913500895</c:v>
                </c:pt>
                <c:pt idx="34445">
                  <c:v>0.61432138398430503</c:v>
                </c:pt>
                <c:pt idx="34446">
                  <c:v>0.61433921883359999</c:v>
                </c:pt>
                <c:pt idx="34447">
                  <c:v>0.61435705368289595</c:v>
                </c:pt>
                <c:pt idx="34448">
                  <c:v>0.61437488853219102</c:v>
                </c:pt>
                <c:pt idx="34449">
                  <c:v>0.61439272338148698</c:v>
                </c:pt>
                <c:pt idx="34450">
                  <c:v>0.61441055823078194</c:v>
                </c:pt>
                <c:pt idx="34451">
                  <c:v>0.61442839308007802</c:v>
                </c:pt>
                <c:pt idx="34452">
                  <c:v>0.61444622792937398</c:v>
                </c:pt>
                <c:pt idx="34453">
                  <c:v>0.61446406277866905</c:v>
                </c:pt>
                <c:pt idx="34454">
                  <c:v>0.61448189762796501</c:v>
                </c:pt>
                <c:pt idx="34455">
                  <c:v>0.61449973247725997</c:v>
                </c:pt>
                <c:pt idx="34456">
                  <c:v>0.61451756732655605</c:v>
                </c:pt>
                <c:pt idx="34457">
                  <c:v>0.61453540217585101</c:v>
                </c:pt>
                <c:pt idx="34458">
                  <c:v>0.61455323702514697</c:v>
                </c:pt>
                <c:pt idx="34459">
                  <c:v>0.61457107187444204</c:v>
                </c:pt>
                <c:pt idx="34460">
                  <c:v>0.614588906723738</c:v>
                </c:pt>
                <c:pt idx="34461">
                  <c:v>0.61460674157303297</c:v>
                </c:pt>
                <c:pt idx="34462">
                  <c:v>0.61462457642232904</c:v>
                </c:pt>
                <c:pt idx="34463">
                  <c:v>0.614642411271624</c:v>
                </c:pt>
                <c:pt idx="34464">
                  <c:v>0.61466024612091996</c:v>
                </c:pt>
                <c:pt idx="34465">
                  <c:v>0.61467808097021503</c:v>
                </c:pt>
                <c:pt idx="34466">
                  <c:v>0.614695915819511</c:v>
                </c:pt>
                <c:pt idx="34467">
                  <c:v>0.61471375066880596</c:v>
                </c:pt>
                <c:pt idx="34468">
                  <c:v>0.61473158551810203</c:v>
                </c:pt>
                <c:pt idx="34469">
                  <c:v>0.61474942036739699</c:v>
                </c:pt>
                <c:pt idx="34470">
                  <c:v>0.61476725521669295</c:v>
                </c:pt>
                <c:pt idx="34471">
                  <c:v>0.61478509006598803</c:v>
                </c:pt>
                <c:pt idx="34472">
                  <c:v>0.61480292491528399</c:v>
                </c:pt>
                <c:pt idx="34473">
                  <c:v>0.61482075976457995</c:v>
                </c:pt>
                <c:pt idx="34474">
                  <c:v>0.61483859461387502</c:v>
                </c:pt>
                <c:pt idx="34475">
                  <c:v>0.61485642946317098</c:v>
                </c:pt>
                <c:pt idx="34476">
                  <c:v>0.61487426431246595</c:v>
                </c:pt>
                <c:pt idx="34477">
                  <c:v>0.61489209916176202</c:v>
                </c:pt>
                <c:pt idx="34478">
                  <c:v>0.61490993401105698</c:v>
                </c:pt>
                <c:pt idx="34479">
                  <c:v>0.61492776886035305</c:v>
                </c:pt>
                <c:pt idx="34480">
                  <c:v>0.61494560370964801</c:v>
                </c:pt>
                <c:pt idx="34481">
                  <c:v>0.61496343855894398</c:v>
                </c:pt>
                <c:pt idx="34482">
                  <c:v>0.61498127340823905</c:v>
                </c:pt>
                <c:pt idx="34483">
                  <c:v>0.61499910825753501</c:v>
                </c:pt>
                <c:pt idx="34484">
                  <c:v>0.61501694310682997</c:v>
                </c:pt>
                <c:pt idx="34485">
                  <c:v>0.61503477795612604</c:v>
                </c:pt>
                <c:pt idx="34486">
                  <c:v>0.61505261280542101</c:v>
                </c:pt>
                <c:pt idx="34487">
                  <c:v>0.61507044765471697</c:v>
                </c:pt>
                <c:pt idx="34488">
                  <c:v>0.61508828250401204</c:v>
                </c:pt>
                <c:pt idx="34489">
                  <c:v>0.615106117353308</c:v>
                </c:pt>
                <c:pt idx="34490">
                  <c:v>0.61512395220260296</c:v>
                </c:pt>
                <c:pt idx="34491">
                  <c:v>0.61514178705189904</c:v>
                </c:pt>
                <c:pt idx="34492">
                  <c:v>0.615159621901194</c:v>
                </c:pt>
                <c:pt idx="34493">
                  <c:v>0.61517745675048996</c:v>
                </c:pt>
                <c:pt idx="34494">
                  <c:v>0.61519529159978603</c:v>
                </c:pt>
                <c:pt idx="34495">
                  <c:v>0.61521312644908099</c:v>
                </c:pt>
                <c:pt idx="34496">
                  <c:v>0.61523096129837695</c:v>
                </c:pt>
                <c:pt idx="34497">
                  <c:v>0.61524879614767203</c:v>
                </c:pt>
                <c:pt idx="34498">
                  <c:v>0.61526663099696799</c:v>
                </c:pt>
                <c:pt idx="34499">
                  <c:v>0.61528446584626295</c:v>
                </c:pt>
                <c:pt idx="34500">
                  <c:v>0.61530230069555902</c:v>
                </c:pt>
                <c:pt idx="34501">
                  <c:v>0.61532013554485399</c:v>
                </c:pt>
                <c:pt idx="34502">
                  <c:v>0.61533797039414995</c:v>
                </c:pt>
                <c:pt idx="34503">
                  <c:v>0.61535580524344502</c:v>
                </c:pt>
                <c:pt idx="34504">
                  <c:v>0.61537364009274098</c:v>
                </c:pt>
                <c:pt idx="34505">
                  <c:v>0.61539147494203605</c:v>
                </c:pt>
                <c:pt idx="34506">
                  <c:v>0.61540930979133202</c:v>
                </c:pt>
                <c:pt idx="34507">
                  <c:v>0.61542714464062698</c:v>
                </c:pt>
                <c:pt idx="34508">
                  <c:v>0.61544497948992305</c:v>
                </c:pt>
                <c:pt idx="34509">
                  <c:v>0.61546281433921801</c:v>
                </c:pt>
                <c:pt idx="34510">
                  <c:v>0.61548064918851397</c:v>
                </c:pt>
                <c:pt idx="34511">
                  <c:v>0.61549848403780905</c:v>
                </c:pt>
                <c:pt idx="34512">
                  <c:v>0.61551631888710501</c:v>
                </c:pt>
                <c:pt idx="34513">
                  <c:v>0.61553415373640097</c:v>
                </c:pt>
                <c:pt idx="34514">
                  <c:v>0.61555198858569604</c:v>
                </c:pt>
                <c:pt idx="34515">
                  <c:v>0.615569823434992</c:v>
                </c:pt>
                <c:pt idx="34516">
                  <c:v>0.61558765828428696</c:v>
                </c:pt>
                <c:pt idx="34517">
                  <c:v>0.61560549313358304</c:v>
                </c:pt>
                <c:pt idx="34518">
                  <c:v>0.615623327982878</c:v>
                </c:pt>
                <c:pt idx="34519">
                  <c:v>0.61564116283217396</c:v>
                </c:pt>
                <c:pt idx="34520">
                  <c:v>0.61565899768146903</c:v>
                </c:pt>
                <c:pt idx="34521">
                  <c:v>0.61567683253076499</c:v>
                </c:pt>
                <c:pt idx="34522">
                  <c:v>0.61569466738005996</c:v>
                </c:pt>
                <c:pt idx="34523">
                  <c:v>0.61571250222935603</c:v>
                </c:pt>
                <c:pt idx="34524">
                  <c:v>0.61573033707865099</c:v>
                </c:pt>
                <c:pt idx="34525">
                  <c:v>0.61574817192794695</c:v>
                </c:pt>
                <c:pt idx="34526">
                  <c:v>0.61576600677724203</c:v>
                </c:pt>
                <c:pt idx="34527">
                  <c:v>0.61578384162653799</c:v>
                </c:pt>
                <c:pt idx="34528">
                  <c:v>0.61580167647583295</c:v>
                </c:pt>
                <c:pt idx="34529">
                  <c:v>0.61581951132512902</c:v>
                </c:pt>
                <c:pt idx="34530">
                  <c:v>0.61583734617442398</c:v>
                </c:pt>
                <c:pt idx="34531">
                  <c:v>0.61585518102372006</c:v>
                </c:pt>
                <c:pt idx="34532">
                  <c:v>0.61587301587301502</c:v>
                </c:pt>
                <c:pt idx="34533">
                  <c:v>0.61589085072231098</c:v>
                </c:pt>
                <c:pt idx="34534">
                  <c:v>0.61590868557160605</c:v>
                </c:pt>
                <c:pt idx="34535">
                  <c:v>0.61592652042090201</c:v>
                </c:pt>
                <c:pt idx="34536">
                  <c:v>0.61594435527019797</c:v>
                </c:pt>
                <c:pt idx="34537">
                  <c:v>0.61596219011949305</c:v>
                </c:pt>
                <c:pt idx="34538">
                  <c:v>0.61598002496878901</c:v>
                </c:pt>
                <c:pt idx="34539">
                  <c:v>0.61599785981808397</c:v>
                </c:pt>
                <c:pt idx="34540">
                  <c:v>0.61601569466738004</c:v>
                </c:pt>
                <c:pt idx="34541">
                  <c:v>0.616033529516675</c:v>
                </c:pt>
                <c:pt idx="34542">
                  <c:v>0.61605136436597097</c:v>
                </c:pt>
                <c:pt idx="34543">
                  <c:v>0.61606919921526604</c:v>
                </c:pt>
                <c:pt idx="34544">
                  <c:v>0.616087034064562</c:v>
                </c:pt>
                <c:pt idx="34545">
                  <c:v>0.61610486891385696</c:v>
                </c:pt>
                <c:pt idx="34546">
                  <c:v>0.61612270376315303</c:v>
                </c:pt>
                <c:pt idx="34547">
                  <c:v>0.616140538612448</c:v>
                </c:pt>
                <c:pt idx="34548">
                  <c:v>0.61615837346174396</c:v>
                </c:pt>
                <c:pt idx="34549">
                  <c:v>0.61617620831103903</c:v>
                </c:pt>
                <c:pt idx="34550">
                  <c:v>0.61619404316033499</c:v>
                </c:pt>
                <c:pt idx="34551">
                  <c:v>0.61621187800962995</c:v>
                </c:pt>
                <c:pt idx="34552">
                  <c:v>0.61622971285892603</c:v>
                </c:pt>
                <c:pt idx="34553">
                  <c:v>0.61624754770822099</c:v>
                </c:pt>
                <c:pt idx="34554">
                  <c:v>0.61626538255751695</c:v>
                </c:pt>
                <c:pt idx="34555">
                  <c:v>0.61628321740681202</c:v>
                </c:pt>
                <c:pt idx="34556">
                  <c:v>0.61630105225610798</c:v>
                </c:pt>
                <c:pt idx="34557">
                  <c:v>0.61631888710540395</c:v>
                </c:pt>
                <c:pt idx="34558">
                  <c:v>0.61633672195469902</c:v>
                </c:pt>
                <c:pt idx="34559">
                  <c:v>0.61635455680399498</c:v>
                </c:pt>
                <c:pt idx="34560">
                  <c:v>0.61637239165329005</c:v>
                </c:pt>
                <c:pt idx="34561">
                  <c:v>0.61639022650258601</c:v>
                </c:pt>
                <c:pt idx="34562">
                  <c:v>0.61640806135188098</c:v>
                </c:pt>
                <c:pt idx="34563">
                  <c:v>0.61642589620117705</c:v>
                </c:pt>
                <c:pt idx="34564">
                  <c:v>0.61644373105047201</c:v>
                </c:pt>
                <c:pt idx="34565">
                  <c:v>0.61646156589976797</c:v>
                </c:pt>
                <c:pt idx="34566">
                  <c:v>0.61647940074906304</c:v>
                </c:pt>
                <c:pt idx="34567">
                  <c:v>0.61649723559835901</c:v>
                </c:pt>
                <c:pt idx="34568">
                  <c:v>0.61651507044765397</c:v>
                </c:pt>
                <c:pt idx="34569">
                  <c:v>0.61653290529695004</c:v>
                </c:pt>
                <c:pt idx="34570">
                  <c:v>0.616550740146245</c:v>
                </c:pt>
                <c:pt idx="34571">
                  <c:v>0.61656857499554096</c:v>
                </c:pt>
                <c:pt idx="34572">
                  <c:v>0.61658640984483604</c:v>
                </c:pt>
                <c:pt idx="34573">
                  <c:v>0.616604244694132</c:v>
                </c:pt>
                <c:pt idx="34574">
                  <c:v>0.61662207954342696</c:v>
                </c:pt>
                <c:pt idx="34575">
                  <c:v>0.61663991439272303</c:v>
                </c:pt>
                <c:pt idx="34576">
                  <c:v>0.61665774924201799</c:v>
                </c:pt>
                <c:pt idx="34577">
                  <c:v>0.61667558409131396</c:v>
                </c:pt>
                <c:pt idx="34578">
                  <c:v>0.61669341894060903</c:v>
                </c:pt>
                <c:pt idx="34579">
                  <c:v>0.61671125378990499</c:v>
                </c:pt>
                <c:pt idx="34580">
                  <c:v>0.61672908863920095</c:v>
                </c:pt>
                <c:pt idx="34581">
                  <c:v>0.61674692348849602</c:v>
                </c:pt>
                <c:pt idx="34582">
                  <c:v>0.61676475833779199</c:v>
                </c:pt>
                <c:pt idx="34583">
                  <c:v>0.61678259318708695</c:v>
                </c:pt>
                <c:pt idx="34584">
                  <c:v>0.61680042803638302</c:v>
                </c:pt>
                <c:pt idx="34585">
                  <c:v>0.61681826288567798</c:v>
                </c:pt>
                <c:pt idx="34586">
                  <c:v>0.61683609773497405</c:v>
                </c:pt>
                <c:pt idx="34587">
                  <c:v>0.61685393258426902</c:v>
                </c:pt>
                <c:pt idx="34588">
                  <c:v>0.61687176743356498</c:v>
                </c:pt>
                <c:pt idx="34589">
                  <c:v>0.61688960228286005</c:v>
                </c:pt>
                <c:pt idx="34590">
                  <c:v>0.61690743713215601</c:v>
                </c:pt>
                <c:pt idx="34591">
                  <c:v>0.61692527198145097</c:v>
                </c:pt>
                <c:pt idx="34592">
                  <c:v>0.61694310683074705</c:v>
                </c:pt>
                <c:pt idx="34593">
                  <c:v>0.61696094168004201</c:v>
                </c:pt>
                <c:pt idx="34594">
                  <c:v>0.61697877652933797</c:v>
                </c:pt>
                <c:pt idx="34595">
                  <c:v>0.61699661137863304</c:v>
                </c:pt>
                <c:pt idx="34596">
                  <c:v>0.617014446227929</c:v>
                </c:pt>
                <c:pt idx="34597">
                  <c:v>0.61703228107722397</c:v>
                </c:pt>
                <c:pt idx="34598">
                  <c:v>0.61705011592652004</c:v>
                </c:pt>
                <c:pt idx="34599">
                  <c:v>0.617067950775816</c:v>
                </c:pt>
                <c:pt idx="34600">
                  <c:v>0.61708578562511096</c:v>
                </c:pt>
                <c:pt idx="34601">
                  <c:v>0.61710362047440703</c:v>
                </c:pt>
                <c:pt idx="34602">
                  <c:v>0.617121455323702</c:v>
                </c:pt>
                <c:pt idx="34603">
                  <c:v>0.61713929017299796</c:v>
                </c:pt>
                <c:pt idx="34604">
                  <c:v>0.61715712502229303</c:v>
                </c:pt>
                <c:pt idx="34605">
                  <c:v>0.61717495987158899</c:v>
                </c:pt>
                <c:pt idx="34606">
                  <c:v>0.61719279472088395</c:v>
                </c:pt>
                <c:pt idx="34607">
                  <c:v>0.61721062957018002</c:v>
                </c:pt>
                <c:pt idx="34608">
                  <c:v>0.61722846441947499</c:v>
                </c:pt>
                <c:pt idx="34609">
                  <c:v>0.61724629926877095</c:v>
                </c:pt>
                <c:pt idx="34610">
                  <c:v>0.61726413411806602</c:v>
                </c:pt>
                <c:pt idx="34611">
                  <c:v>0.61728196896736198</c:v>
                </c:pt>
                <c:pt idx="34612">
                  <c:v>0.61729980381665694</c:v>
                </c:pt>
                <c:pt idx="34613">
                  <c:v>0.61731763866595302</c:v>
                </c:pt>
                <c:pt idx="34614">
                  <c:v>0.61733547351524798</c:v>
                </c:pt>
                <c:pt idx="34615">
                  <c:v>0.61735330836454405</c:v>
                </c:pt>
                <c:pt idx="34616">
                  <c:v>0.61737114321383901</c:v>
                </c:pt>
                <c:pt idx="34617">
                  <c:v>0.61738897806313497</c:v>
                </c:pt>
                <c:pt idx="34618">
                  <c:v>0.61740681291243005</c:v>
                </c:pt>
                <c:pt idx="34619">
                  <c:v>0.61742464776172601</c:v>
                </c:pt>
                <c:pt idx="34620">
                  <c:v>0.61744248261102197</c:v>
                </c:pt>
                <c:pt idx="34621">
                  <c:v>0.61746031746031704</c:v>
                </c:pt>
                <c:pt idx="34622">
                  <c:v>0.617478152309613</c:v>
                </c:pt>
                <c:pt idx="34623">
                  <c:v>0.61749598715890797</c:v>
                </c:pt>
                <c:pt idx="34624">
                  <c:v>0.61751382200820404</c:v>
                </c:pt>
                <c:pt idx="34625">
                  <c:v>0.617531656857499</c:v>
                </c:pt>
                <c:pt idx="34626">
                  <c:v>0.61754949170679496</c:v>
                </c:pt>
                <c:pt idx="34627">
                  <c:v>0.61756732655609003</c:v>
                </c:pt>
                <c:pt idx="34628">
                  <c:v>0.617585161405386</c:v>
                </c:pt>
                <c:pt idx="34629">
                  <c:v>0.61760299625468096</c:v>
                </c:pt>
                <c:pt idx="34630">
                  <c:v>0.61762083110397703</c:v>
                </c:pt>
                <c:pt idx="34631">
                  <c:v>0.61763866595327199</c:v>
                </c:pt>
                <c:pt idx="34632">
                  <c:v>0.61765650080256795</c:v>
                </c:pt>
                <c:pt idx="34633">
                  <c:v>0.61767433565186303</c:v>
                </c:pt>
                <c:pt idx="34634">
                  <c:v>0.61769217050115899</c:v>
                </c:pt>
                <c:pt idx="34635">
                  <c:v>0.61771000535045395</c:v>
                </c:pt>
                <c:pt idx="34636">
                  <c:v>0.61772784019975002</c:v>
                </c:pt>
                <c:pt idx="34637">
                  <c:v>0.61774567504904498</c:v>
                </c:pt>
                <c:pt idx="34638">
                  <c:v>0.61776350989834095</c:v>
                </c:pt>
                <c:pt idx="34639">
                  <c:v>0.61778134474763602</c:v>
                </c:pt>
                <c:pt idx="34640">
                  <c:v>0.61779917959693198</c:v>
                </c:pt>
                <c:pt idx="34641">
                  <c:v>0.61781701444622705</c:v>
                </c:pt>
                <c:pt idx="34642">
                  <c:v>0.61783484929552301</c:v>
                </c:pt>
                <c:pt idx="34643">
                  <c:v>0.61785268414481898</c:v>
                </c:pt>
                <c:pt idx="34644">
                  <c:v>0.61787051899411405</c:v>
                </c:pt>
                <c:pt idx="34645">
                  <c:v>0.61788835384341001</c:v>
                </c:pt>
                <c:pt idx="34646">
                  <c:v>0.61790618869270497</c:v>
                </c:pt>
                <c:pt idx="34647">
                  <c:v>0.61792402354200104</c:v>
                </c:pt>
                <c:pt idx="34648">
                  <c:v>0.61794185839129601</c:v>
                </c:pt>
                <c:pt idx="34649">
                  <c:v>0.61795969324059197</c:v>
                </c:pt>
                <c:pt idx="34650">
                  <c:v>0.61797752808988704</c:v>
                </c:pt>
                <c:pt idx="34651">
                  <c:v>0.617995362939183</c:v>
                </c:pt>
                <c:pt idx="34652">
                  <c:v>0.61801319778847796</c:v>
                </c:pt>
                <c:pt idx="34653">
                  <c:v>0.61803103263777404</c:v>
                </c:pt>
                <c:pt idx="34654">
                  <c:v>0.618048867487069</c:v>
                </c:pt>
                <c:pt idx="34655">
                  <c:v>0.61806670233636496</c:v>
                </c:pt>
                <c:pt idx="34656">
                  <c:v>0.61808453718566003</c:v>
                </c:pt>
                <c:pt idx="34657">
                  <c:v>0.61810237203495599</c:v>
                </c:pt>
                <c:pt idx="34658">
                  <c:v>0.61812020688425096</c:v>
                </c:pt>
                <c:pt idx="34659">
                  <c:v>0.61813804173354703</c:v>
                </c:pt>
                <c:pt idx="34660">
                  <c:v>0.61815587658284199</c:v>
                </c:pt>
                <c:pt idx="34661">
                  <c:v>0.61817371143213795</c:v>
                </c:pt>
                <c:pt idx="34662">
                  <c:v>0.61819154628143302</c:v>
                </c:pt>
                <c:pt idx="34663">
                  <c:v>0.61820938113072899</c:v>
                </c:pt>
                <c:pt idx="34664">
                  <c:v>0.61822721598002495</c:v>
                </c:pt>
                <c:pt idx="34665">
                  <c:v>0.61824505082932002</c:v>
                </c:pt>
                <c:pt idx="34666">
                  <c:v>0.61826288567861598</c:v>
                </c:pt>
                <c:pt idx="34667">
                  <c:v>0.61828072052791105</c:v>
                </c:pt>
                <c:pt idx="34668">
                  <c:v>0.61829855537720702</c:v>
                </c:pt>
                <c:pt idx="34669">
                  <c:v>0.61831639022650198</c:v>
                </c:pt>
                <c:pt idx="34670">
                  <c:v>0.61833422507579805</c:v>
                </c:pt>
                <c:pt idx="34671">
                  <c:v>0.61835205992509301</c:v>
                </c:pt>
                <c:pt idx="34672">
                  <c:v>0.61836989477438897</c:v>
                </c:pt>
                <c:pt idx="34673">
                  <c:v>0.61838772962368405</c:v>
                </c:pt>
                <c:pt idx="34674">
                  <c:v>0.61840556447298001</c:v>
                </c:pt>
                <c:pt idx="34675">
                  <c:v>0.61842339932227497</c:v>
                </c:pt>
                <c:pt idx="34676">
                  <c:v>0.61844123417157104</c:v>
                </c:pt>
                <c:pt idx="34677">
                  <c:v>0.618459069020866</c:v>
                </c:pt>
                <c:pt idx="34678">
                  <c:v>0.61847690387016196</c:v>
                </c:pt>
                <c:pt idx="34679">
                  <c:v>0.61849473871945704</c:v>
                </c:pt>
                <c:pt idx="34680">
                  <c:v>0.618512573568753</c:v>
                </c:pt>
                <c:pt idx="34681">
                  <c:v>0.61853040841804796</c:v>
                </c:pt>
                <c:pt idx="34682">
                  <c:v>0.61854824326734403</c:v>
                </c:pt>
                <c:pt idx="34683">
                  <c:v>0.618566078116639</c:v>
                </c:pt>
                <c:pt idx="34684">
                  <c:v>0.61858391296593496</c:v>
                </c:pt>
                <c:pt idx="34685">
                  <c:v>0.61860174781523003</c:v>
                </c:pt>
                <c:pt idx="34686">
                  <c:v>0.61861958266452599</c:v>
                </c:pt>
                <c:pt idx="34687">
                  <c:v>0.61863741751382195</c:v>
                </c:pt>
                <c:pt idx="34688">
                  <c:v>0.61865525236311703</c:v>
                </c:pt>
                <c:pt idx="34689">
                  <c:v>0.61867308721241299</c:v>
                </c:pt>
                <c:pt idx="34690">
                  <c:v>0.61869092206170795</c:v>
                </c:pt>
                <c:pt idx="34691">
                  <c:v>0.61870875691100402</c:v>
                </c:pt>
                <c:pt idx="34692">
                  <c:v>0.61872659176029898</c:v>
                </c:pt>
                <c:pt idx="34693">
                  <c:v>0.61874442660959506</c:v>
                </c:pt>
                <c:pt idx="34694">
                  <c:v>0.61876226145889002</c:v>
                </c:pt>
                <c:pt idx="34695">
                  <c:v>0.61878009630818598</c:v>
                </c:pt>
                <c:pt idx="34696">
                  <c:v>0.61879793115748105</c:v>
                </c:pt>
                <c:pt idx="34697">
                  <c:v>0.61881576600677701</c:v>
                </c:pt>
                <c:pt idx="34698">
                  <c:v>0.61883360085607197</c:v>
                </c:pt>
                <c:pt idx="34699">
                  <c:v>0.61885143570536805</c:v>
                </c:pt>
                <c:pt idx="34700">
                  <c:v>0.61886927055466301</c:v>
                </c:pt>
                <c:pt idx="34701">
                  <c:v>0.61888710540395897</c:v>
                </c:pt>
                <c:pt idx="34702">
                  <c:v>0.61890494025325404</c:v>
                </c:pt>
                <c:pt idx="34703">
                  <c:v>0.61892277510255</c:v>
                </c:pt>
                <c:pt idx="34704">
                  <c:v>0.61894060995184497</c:v>
                </c:pt>
                <c:pt idx="34705">
                  <c:v>0.61895844480114104</c:v>
                </c:pt>
                <c:pt idx="34706">
                  <c:v>0.618976279650437</c:v>
                </c:pt>
                <c:pt idx="34707">
                  <c:v>0.61899411449973196</c:v>
                </c:pt>
                <c:pt idx="34708">
                  <c:v>0.61901194934902803</c:v>
                </c:pt>
                <c:pt idx="34709">
                  <c:v>0.619029784198323</c:v>
                </c:pt>
                <c:pt idx="34710">
                  <c:v>0.61904761904761896</c:v>
                </c:pt>
                <c:pt idx="34711">
                  <c:v>0.61906545389691403</c:v>
                </c:pt>
                <c:pt idx="34712">
                  <c:v>0.61908328874620999</c:v>
                </c:pt>
                <c:pt idx="34713">
                  <c:v>0.61910112359550495</c:v>
                </c:pt>
                <c:pt idx="34714">
                  <c:v>0.61911895844480103</c:v>
                </c:pt>
                <c:pt idx="34715">
                  <c:v>0.61913679329409599</c:v>
                </c:pt>
                <c:pt idx="34716">
                  <c:v>0.61915462814339195</c:v>
                </c:pt>
                <c:pt idx="34717">
                  <c:v>0.61917246299268702</c:v>
                </c:pt>
                <c:pt idx="34718">
                  <c:v>0.61919029784198298</c:v>
                </c:pt>
                <c:pt idx="34719">
                  <c:v>0.61920813269127795</c:v>
                </c:pt>
                <c:pt idx="34720">
                  <c:v>0.61922596754057402</c:v>
                </c:pt>
                <c:pt idx="34721">
                  <c:v>0.61924380238986898</c:v>
                </c:pt>
                <c:pt idx="34722">
                  <c:v>0.61926163723916505</c:v>
                </c:pt>
                <c:pt idx="34723">
                  <c:v>0.61927947208846001</c:v>
                </c:pt>
                <c:pt idx="34724">
                  <c:v>0.61929730693775598</c:v>
                </c:pt>
                <c:pt idx="34725">
                  <c:v>0.61931514178705105</c:v>
                </c:pt>
                <c:pt idx="34726">
                  <c:v>0.61933297663634701</c:v>
                </c:pt>
                <c:pt idx="34727">
                  <c:v>0.61935081148564297</c:v>
                </c:pt>
                <c:pt idx="34728">
                  <c:v>0.61936864633493804</c:v>
                </c:pt>
                <c:pt idx="34729">
                  <c:v>0.61938648118423401</c:v>
                </c:pt>
                <c:pt idx="34730">
                  <c:v>0.61940431603352897</c:v>
                </c:pt>
                <c:pt idx="34731">
                  <c:v>0.61942215088282504</c:v>
                </c:pt>
                <c:pt idx="34732">
                  <c:v>0.61943998573212</c:v>
                </c:pt>
                <c:pt idx="34733">
                  <c:v>0.61945782058141596</c:v>
                </c:pt>
                <c:pt idx="34734">
                  <c:v>0.61947565543071104</c:v>
                </c:pt>
                <c:pt idx="34735">
                  <c:v>0.619493490280007</c:v>
                </c:pt>
                <c:pt idx="34736">
                  <c:v>0.61951132512930196</c:v>
                </c:pt>
                <c:pt idx="34737">
                  <c:v>0.61952915997859803</c:v>
                </c:pt>
                <c:pt idx="34738">
                  <c:v>0.61954699482789299</c:v>
                </c:pt>
                <c:pt idx="34739">
                  <c:v>0.61956482967718896</c:v>
                </c:pt>
                <c:pt idx="34740">
                  <c:v>0.61958266452648403</c:v>
                </c:pt>
                <c:pt idx="34741">
                  <c:v>0.61960049937577999</c:v>
                </c:pt>
                <c:pt idx="34742">
                  <c:v>0.61961833422507495</c:v>
                </c:pt>
                <c:pt idx="34743">
                  <c:v>0.61963616907437102</c:v>
                </c:pt>
                <c:pt idx="34744">
                  <c:v>0.61965400392366599</c:v>
                </c:pt>
                <c:pt idx="34745">
                  <c:v>0.61967183877296195</c:v>
                </c:pt>
                <c:pt idx="34746">
                  <c:v>0.61968967362225702</c:v>
                </c:pt>
                <c:pt idx="34747">
                  <c:v>0.61970750847155298</c:v>
                </c:pt>
                <c:pt idx="34748">
                  <c:v>0.61972534332084805</c:v>
                </c:pt>
                <c:pt idx="34749">
                  <c:v>0.61974317817014402</c:v>
                </c:pt>
                <c:pt idx="34750">
                  <c:v>0.61976101301943998</c:v>
                </c:pt>
                <c:pt idx="34751">
                  <c:v>0.61977884786873505</c:v>
                </c:pt>
                <c:pt idx="34752">
                  <c:v>0.61979668271803101</c:v>
                </c:pt>
                <c:pt idx="34753">
                  <c:v>0.61981451756732597</c:v>
                </c:pt>
                <c:pt idx="34754">
                  <c:v>0.61983235241662205</c:v>
                </c:pt>
                <c:pt idx="34755">
                  <c:v>0.61985018726591701</c:v>
                </c:pt>
                <c:pt idx="34756">
                  <c:v>0.61986802211521297</c:v>
                </c:pt>
                <c:pt idx="34757">
                  <c:v>0.61988585696450804</c:v>
                </c:pt>
                <c:pt idx="34758">
                  <c:v>0.619903691813804</c:v>
                </c:pt>
                <c:pt idx="34759">
                  <c:v>0.61992152666309897</c:v>
                </c:pt>
                <c:pt idx="34760">
                  <c:v>0.61993936151239504</c:v>
                </c:pt>
                <c:pt idx="34761">
                  <c:v>0.61995719636169</c:v>
                </c:pt>
                <c:pt idx="34762">
                  <c:v>0.61997503121098596</c:v>
                </c:pt>
                <c:pt idx="34763">
                  <c:v>0.61999286606028103</c:v>
                </c:pt>
                <c:pt idx="34764">
                  <c:v>0.62001070090957699</c:v>
                </c:pt>
                <c:pt idx="34765">
                  <c:v>0.62002853575887196</c:v>
                </c:pt>
                <c:pt idx="34766">
                  <c:v>0.62004637060816803</c:v>
                </c:pt>
                <c:pt idx="34767">
                  <c:v>0.62006420545746299</c:v>
                </c:pt>
                <c:pt idx="34768">
                  <c:v>0.62008204030675895</c:v>
                </c:pt>
                <c:pt idx="34769">
                  <c:v>0.62009987515605403</c:v>
                </c:pt>
                <c:pt idx="34770">
                  <c:v>0.62011771000534999</c:v>
                </c:pt>
                <c:pt idx="34771">
                  <c:v>0.62013554485464595</c:v>
                </c:pt>
                <c:pt idx="34772">
                  <c:v>0.62015337970394102</c:v>
                </c:pt>
                <c:pt idx="34773">
                  <c:v>0.62017121455323698</c:v>
                </c:pt>
                <c:pt idx="34774">
                  <c:v>0.62018904940253194</c:v>
                </c:pt>
                <c:pt idx="34775">
                  <c:v>0.62020688425182802</c:v>
                </c:pt>
                <c:pt idx="34776">
                  <c:v>0.62022471910112298</c:v>
                </c:pt>
                <c:pt idx="34777">
                  <c:v>0.62024255395041905</c:v>
                </c:pt>
                <c:pt idx="34778">
                  <c:v>0.62026038879971401</c:v>
                </c:pt>
                <c:pt idx="34779">
                  <c:v>0.62027822364900997</c:v>
                </c:pt>
                <c:pt idx="34780">
                  <c:v>0.62029605849830505</c:v>
                </c:pt>
                <c:pt idx="34781">
                  <c:v>0.62031389334760101</c:v>
                </c:pt>
                <c:pt idx="34782">
                  <c:v>0.62033172819689597</c:v>
                </c:pt>
                <c:pt idx="34783">
                  <c:v>0.62034956304619204</c:v>
                </c:pt>
                <c:pt idx="34784">
                  <c:v>0.620367397895487</c:v>
                </c:pt>
                <c:pt idx="34785">
                  <c:v>0.62038523274478297</c:v>
                </c:pt>
                <c:pt idx="34786">
                  <c:v>0.62040306759407804</c:v>
                </c:pt>
                <c:pt idx="34787">
                  <c:v>0.620420902443374</c:v>
                </c:pt>
                <c:pt idx="34788">
                  <c:v>0.62043873729266896</c:v>
                </c:pt>
                <c:pt idx="34789">
                  <c:v>0.62045657214196503</c:v>
                </c:pt>
                <c:pt idx="34790">
                  <c:v>0.62047440699126</c:v>
                </c:pt>
                <c:pt idx="34791">
                  <c:v>0.62049224184055596</c:v>
                </c:pt>
                <c:pt idx="34792">
                  <c:v>0.62051007668985103</c:v>
                </c:pt>
                <c:pt idx="34793">
                  <c:v>0.62052791153914699</c:v>
                </c:pt>
                <c:pt idx="34794">
                  <c:v>0.62054574638844295</c:v>
                </c:pt>
                <c:pt idx="34795">
                  <c:v>0.62056358123773803</c:v>
                </c:pt>
                <c:pt idx="34796">
                  <c:v>0.62058141608703399</c:v>
                </c:pt>
                <c:pt idx="34797">
                  <c:v>0.62059925093632895</c:v>
                </c:pt>
                <c:pt idx="34798">
                  <c:v>0.62061708578562502</c:v>
                </c:pt>
                <c:pt idx="34799">
                  <c:v>0.62063492063491998</c:v>
                </c:pt>
                <c:pt idx="34800">
                  <c:v>0.62065275548421595</c:v>
                </c:pt>
                <c:pt idx="34801">
                  <c:v>0.62067059033351102</c:v>
                </c:pt>
                <c:pt idx="34802">
                  <c:v>0.62068842518280698</c:v>
                </c:pt>
                <c:pt idx="34803">
                  <c:v>0.62070626003210205</c:v>
                </c:pt>
                <c:pt idx="34804">
                  <c:v>0.62072409488139801</c:v>
                </c:pt>
                <c:pt idx="34805">
                  <c:v>0.62074192973069298</c:v>
                </c:pt>
                <c:pt idx="34806">
                  <c:v>0.62075976457998905</c:v>
                </c:pt>
                <c:pt idx="34807">
                  <c:v>0.62077759942928401</c:v>
                </c:pt>
                <c:pt idx="34808">
                  <c:v>0.62079543427857997</c:v>
                </c:pt>
                <c:pt idx="34809">
                  <c:v>0.62081326912787504</c:v>
                </c:pt>
                <c:pt idx="34810">
                  <c:v>0.62083110397717101</c:v>
                </c:pt>
                <c:pt idx="34811">
                  <c:v>0.62084893882646697</c:v>
                </c:pt>
                <c:pt idx="34812">
                  <c:v>0.62086677367576204</c:v>
                </c:pt>
                <c:pt idx="34813">
                  <c:v>0.620884608525058</c:v>
                </c:pt>
                <c:pt idx="34814">
                  <c:v>0.62090244337435296</c:v>
                </c:pt>
                <c:pt idx="34815">
                  <c:v>0.62092027822364904</c:v>
                </c:pt>
                <c:pt idx="34816">
                  <c:v>0.620938113072944</c:v>
                </c:pt>
                <c:pt idx="34817">
                  <c:v>0.62095594792223996</c:v>
                </c:pt>
                <c:pt idx="34818">
                  <c:v>0.62097378277153503</c:v>
                </c:pt>
                <c:pt idx="34819">
                  <c:v>0.62099161762083099</c:v>
                </c:pt>
                <c:pt idx="34820">
                  <c:v>0.62100945247012596</c:v>
                </c:pt>
                <c:pt idx="34821">
                  <c:v>0.62102728731942203</c:v>
                </c:pt>
                <c:pt idx="34822">
                  <c:v>0.62104512216871699</c:v>
                </c:pt>
                <c:pt idx="34823">
                  <c:v>0.62106295701801295</c:v>
                </c:pt>
                <c:pt idx="34824">
                  <c:v>0.62108079186730802</c:v>
                </c:pt>
                <c:pt idx="34825">
                  <c:v>0.62109862671660399</c:v>
                </c:pt>
                <c:pt idx="34826">
                  <c:v>0.62111646156589895</c:v>
                </c:pt>
                <c:pt idx="34827">
                  <c:v>0.62113429641519502</c:v>
                </c:pt>
                <c:pt idx="34828">
                  <c:v>0.62115213126448998</c:v>
                </c:pt>
                <c:pt idx="34829">
                  <c:v>0.62116996611378605</c:v>
                </c:pt>
                <c:pt idx="34830">
                  <c:v>0.62118780096308102</c:v>
                </c:pt>
                <c:pt idx="34831">
                  <c:v>0.62120563581237698</c:v>
                </c:pt>
                <c:pt idx="34832">
                  <c:v>0.62122347066167205</c:v>
                </c:pt>
                <c:pt idx="34833">
                  <c:v>0.62124130551096801</c:v>
                </c:pt>
                <c:pt idx="34834">
                  <c:v>0.62125914036026397</c:v>
                </c:pt>
                <c:pt idx="34835">
                  <c:v>0.62127697520955905</c:v>
                </c:pt>
                <c:pt idx="34836">
                  <c:v>0.62129481005885501</c:v>
                </c:pt>
                <c:pt idx="34837">
                  <c:v>0.62131264490814997</c:v>
                </c:pt>
                <c:pt idx="34838">
                  <c:v>0.62133047975744604</c:v>
                </c:pt>
                <c:pt idx="34839">
                  <c:v>0.621348314606741</c:v>
                </c:pt>
                <c:pt idx="34840">
                  <c:v>0.62136614945603696</c:v>
                </c:pt>
                <c:pt idx="34841">
                  <c:v>0.62138398430533204</c:v>
                </c:pt>
                <c:pt idx="34842">
                  <c:v>0.621401819154628</c:v>
                </c:pt>
                <c:pt idx="34843">
                  <c:v>0.62141965400392296</c:v>
                </c:pt>
                <c:pt idx="34844">
                  <c:v>0.62143748885321903</c:v>
                </c:pt>
                <c:pt idx="34845">
                  <c:v>0.621455323702514</c:v>
                </c:pt>
                <c:pt idx="34846">
                  <c:v>0.62147315855180996</c:v>
                </c:pt>
                <c:pt idx="34847">
                  <c:v>0.62149099340110503</c:v>
                </c:pt>
                <c:pt idx="34848">
                  <c:v>0.62150882825040099</c:v>
                </c:pt>
                <c:pt idx="34849">
                  <c:v>0.62152666309969595</c:v>
                </c:pt>
                <c:pt idx="34850">
                  <c:v>0.62154449794899203</c:v>
                </c:pt>
                <c:pt idx="34851">
                  <c:v>0.62156233279828699</c:v>
                </c:pt>
                <c:pt idx="34852">
                  <c:v>0.62158016764758295</c:v>
                </c:pt>
                <c:pt idx="34853">
                  <c:v>0.62159800249687802</c:v>
                </c:pt>
                <c:pt idx="34854">
                  <c:v>0.62161583734617398</c:v>
                </c:pt>
                <c:pt idx="34855">
                  <c:v>0.62163367219546894</c:v>
                </c:pt>
                <c:pt idx="34856">
                  <c:v>0.62165150704476502</c:v>
                </c:pt>
                <c:pt idx="34857">
                  <c:v>0.62166934189406098</c:v>
                </c:pt>
                <c:pt idx="34858">
                  <c:v>0.62168717674335605</c:v>
                </c:pt>
                <c:pt idx="34859">
                  <c:v>0.62170501159265201</c:v>
                </c:pt>
                <c:pt idx="34860">
                  <c:v>0.62172284644194697</c:v>
                </c:pt>
                <c:pt idx="34861">
                  <c:v>0.62174068129124305</c:v>
                </c:pt>
                <c:pt idx="34862">
                  <c:v>0.62175851614053801</c:v>
                </c:pt>
                <c:pt idx="34863">
                  <c:v>0.62177635098983397</c:v>
                </c:pt>
                <c:pt idx="34864">
                  <c:v>0.62179418583912904</c:v>
                </c:pt>
                <c:pt idx="34865">
                  <c:v>0.621812020688425</c:v>
                </c:pt>
                <c:pt idx="34866">
                  <c:v>0.62182985553771997</c:v>
                </c:pt>
                <c:pt idx="34867">
                  <c:v>0.62184769038701604</c:v>
                </c:pt>
                <c:pt idx="34868">
                  <c:v>0.621865525236311</c:v>
                </c:pt>
                <c:pt idx="34869">
                  <c:v>0.62188336008560696</c:v>
                </c:pt>
                <c:pt idx="34870">
                  <c:v>0.62190119493490204</c:v>
                </c:pt>
                <c:pt idx="34871">
                  <c:v>0.621919029784198</c:v>
                </c:pt>
                <c:pt idx="34872">
                  <c:v>0.62193686463349296</c:v>
                </c:pt>
                <c:pt idx="34873">
                  <c:v>0.62195469948278903</c:v>
                </c:pt>
                <c:pt idx="34874">
                  <c:v>0.62197253433208399</c:v>
                </c:pt>
                <c:pt idx="34875">
                  <c:v>0.62199036918137995</c:v>
                </c:pt>
                <c:pt idx="34876">
                  <c:v>0.62200820403067503</c:v>
                </c:pt>
                <c:pt idx="34877">
                  <c:v>0.62202603887997099</c:v>
                </c:pt>
                <c:pt idx="34878">
                  <c:v>0.62204387372926695</c:v>
                </c:pt>
                <c:pt idx="34879">
                  <c:v>0.62206170857856202</c:v>
                </c:pt>
                <c:pt idx="34880">
                  <c:v>0.62207954342785798</c:v>
                </c:pt>
                <c:pt idx="34881">
                  <c:v>0.62209737827715295</c:v>
                </c:pt>
                <c:pt idx="34882">
                  <c:v>0.62211521312644902</c:v>
                </c:pt>
                <c:pt idx="34883">
                  <c:v>0.62213304797574398</c:v>
                </c:pt>
                <c:pt idx="34884">
                  <c:v>0.62215088282504005</c:v>
                </c:pt>
                <c:pt idx="34885">
                  <c:v>0.62216871767433501</c:v>
                </c:pt>
                <c:pt idx="34886">
                  <c:v>0.62218655252363098</c:v>
                </c:pt>
                <c:pt idx="34887">
                  <c:v>0.62220438737292605</c:v>
                </c:pt>
                <c:pt idx="34888">
                  <c:v>0.62222222222222201</c:v>
                </c:pt>
                <c:pt idx="34889">
                  <c:v>0.62224005707151697</c:v>
                </c:pt>
                <c:pt idx="34890">
                  <c:v>0.62225789192081304</c:v>
                </c:pt>
                <c:pt idx="34891">
                  <c:v>0.62227572677010801</c:v>
                </c:pt>
                <c:pt idx="34892">
                  <c:v>0.62229356161940397</c:v>
                </c:pt>
                <c:pt idx="34893">
                  <c:v>0.62231139646869904</c:v>
                </c:pt>
                <c:pt idx="34894">
                  <c:v>0.622329231317995</c:v>
                </c:pt>
                <c:pt idx="34895">
                  <c:v>0.62234706616728996</c:v>
                </c:pt>
                <c:pt idx="34896">
                  <c:v>0.62236490101658604</c:v>
                </c:pt>
                <c:pt idx="34897">
                  <c:v>0.622382735865881</c:v>
                </c:pt>
                <c:pt idx="34898">
                  <c:v>0.62240057071517696</c:v>
                </c:pt>
                <c:pt idx="34899">
                  <c:v>0.62241840556447303</c:v>
                </c:pt>
                <c:pt idx="34900">
                  <c:v>0.62243624041376799</c:v>
                </c:pt>
                <c:pt idx="34901">
                  <c:v>0.62245407526306396</c:v>
                </c:pt>
                <c:pt idx="34902">
                  <c:v>0.62247191011235903</c:v>
                </c:pt>
                <c:pt idx="34903">
                  <c:v>0.62248974496165499</c:v>
                </c:pt>
                <c:pt idx="34904">
                  <c:v>0.62250757981094995</c:v>
                </c:pt>
                <c:pt idx="34905">
                  <c:v>0.62252541466024602</c:v>
                </c:pt>
                <c:pt idx="34906">
                  <c:v>0.62254324950954099</c:v>
                </c:pt>
                <c:pt idx="34907">
                  <c:v>0.62256108435883695</c:v>
                </c:pt>
                <c:pt idx="34908">
                  <c:v>0.62257891920813202</c:v>
                </c:pt>
                <c:pt idx="34909">
                  <c:v>0.62259675405742798</c:v>
                </c:pt>
                <c:pt idx="34910">
                  <c:v>0.62261458890672305</c:v>
                </c:pt>
                <c:pt idx="34911">
                  <c:v>0.62263242375601902</c:v>
                </c:pt>
                <c:pt idx="34912">
                  <c:v>0.62265025860531398</c:v>
                </c:pt>
                <c:pt idx="34913">
                  <c:v>0.62266809345461005</c:v>
                </c:pt>
                <c:pt idx="34914">
                  <c:v>0.62268592830390501</c:v>
                </c:pt>
                <c:pt idx="34915">
                  <c:v>0.62270376315320097</c:v>
                </c:pt>
                <c:pt idx="34916">
                  <c:v>0.62272159800249605</c:v>
                </c:pt>
                <c:pt idx="34917">
                  <c:v>0.62273943285179201</c:v>
                </c:pt>
                <c:pt idx="34918">
                  <c:v>0.62275726770108797</c:v>
                </c:pt>
                <c:pt idx="34919">
                  <c:v>0.62277510255038304</c:v>
                </c:pt>
                <c:pt idx="34920">
                  <c:v>0.622792937399679</c:v>
                </c:pt>
                <c:pt idx="34921">
                  <c:v>0.62281077224897397</c:v>
                </c:pt>
                <c:pt idx="34922">
                  <c:v>0.62282860709827004</c:v>
                </c:pt>
                <c:pt idx="34923">
                  <c:v>0.622846441947565</c:v>
                </c:pt>
                <c:pt idx="34924">
                  <c:v>0.62286427679686096</c:v>
                </c:pt>
                <c:pt idx="34925">
                  <c:v>0.62288211164615603</c:v>
                </c:pt>
                <c:pt idx="34926">
                  <c:v>0.62289994649545199</c:v>
                </c:pt>
                <c:pt idx="34927">
                  <c:v>0.62291778134474696</c:v>
                </c:pt>
                <c:pt idx="34928">
                  <c:v>0.62293561619404303</c:v>
                </c:pt>
                <c:pt idx="34929">
                  <c:v>0.62295345104333799</c:v>
                </c:pt>
                <c:pt idx="34930">
                  <c:v>0.62297128589263395</c:v>
                </c:pt>
                <c:pt idx="34931">
                  <c:v>0.62298912074192903</c:v>
                </c:pt>
                <c:pt idx="34932">
                  <c:v>0.62300695559122499</c:v>
                </c:pt>
                <c:pt idx="34933">
                  <c:v>0.62302479044051995</c:v>
                </c:pt>
                <c:pt idx="34934">
                  <c:v>0.62304262528981602</c:v>
                </c:pt>
                <c:pt idx="34935">
                  <c:v>0.62306046013911098</c:v>
                </c:pt>
                <c:pt idx="34936">
                  <c:v>0.62307829498840706</c:v>
                </c:pt>
                <c:pt idx="34937">
                  <c:v>0.62309612983770202</c:v>
                </c:pt>
                <c:pt idx="34938">
                  <c:v>0.62311396468699798</c:v>
                </c:pt>
                <c:pt idx="34939">
                  <c:v>0.62313179953629305</c:v>
                </c:pt>
                <c:pt idx="34940">
                  <c:v>0.62314963438558901</c:v>
                </c:pt>
                <c:pt idx="34941">
                  <c:v>0.62316746923488497</c:v>
                </c:pt>
                <c:pt idx="34942">
                  <c:v>0.62318530408418005</c:v>
                </c:pt>
                <c:pt idx="34943">
                  <c:v>0.62320313893347601</c:v>
                </c:pt>
                <c:pt idx="34944">
                  <c:v>0.62322097378277097</c:v>
                </c:pt>
                <c:pt idx="34945">
                  <c:v>0.62323880863206704</c:v>
                </c:pt>
                <c:pt idx="34946">
                  <c:v>0.623256643481362</c:v>
                </c:pt>
                <c:pt idx="34947">
                  <c:v>0.62327447833065797</c:v>
                </c:pt>
                <c:pt idx="34948">
                  <c:v>0.62329231317995304</c:v>
                </c:pt>
                <c:pt idx="34949">
                  <c:v>0.623310148029249</c:v>
                </c:pt>
                <c:pt idx="34950">
                  <c:v>0.62332798287854396</c:v>
                </c:pt>
                <c:pt idx="34951">
                  <c:v>0.62334581772784003</c:v>
                </c:pt>
                <c:pt idx="34952">
                  <c:v>0.623363652577135</c:v>
                </c:pt>
                <c:pt idx="34953">
                  <c:v>0.62338148742643096</c:v>
                </c:pt>
                <c:pt idx="34954">
                  <c:v>0.62339932227572603</c:v>
                </c:pt>
                <c:pt idx="34955">
                  <c:v>0.62341715712502199</c:v>
                </c:pt>
                <c:pt idx="34956">
                  <c:v>0.62343499197431695</c:v>
                </c:pt>
                <c:pt idx="34957">
                  <c:v>0.62345282682361303</c:v>
                </c:pt>
                <c:pt idx="34958">
                  <c:v>0.62347066167290799</c:v>
                </c:pt>
                <c:pt idx="34959">
                  <c:v>0.62348849652220395</c:v>
                </c:pt>
                <c:pt idx="34960">
                  <c:v>0.62350633137149902</c:v>
                </c:pt>
                <c:pt idx="34961">
                  <c:v>0.62352416622079498</c:v>
                </c:pt>
                <c:pt idx="34962">
                  <c:v>0.62354200107009095</c:v>
                </c:pt>
                <c:pt idx="34963">
                  <c:v>0.62355983591938602</c:v>
                </c:pt>
                <c:pt idx="34964">
                  <c:v>0.62357767076868198</c:v>
                </c:pt>
                <c:pt idx="34965">
                  <c:v>0.62359550561797705</c:v>
                </c:pt>
                <c:pt idx="34966">
                  <c:v>0.62361334046727301</c:v>
                </c:pt>
                <c:pt idx="34967">
                  <c:v>0.62363117531656798</c:v>
                </c:pt>
                <c:pt idx="34968">
                  <c:v>0.62364901016586405</c:v>
                </c:pt>
                <c:pt idx="34969">
                  <c:v>0.62366684501515901</c:v>
                </c:pt>
                <c:pt idx="34970">
                  <c:v>0.62368467986445497</c:v>
                </c:pt>
                <c:pt idx="34971">
                  <c:v>0.62370251471375004</c:v>
                </c:pt>
                <c:pt idx="34972">
                  <c:v>0.62372034956304601</c:v>
                </c:pt>
                <c:pt idx="34973">
                  <c:v>0.62373818441234097</c:v>
                </c:pt>
                <c:pt idx="34974">
                  <c:v>0.62375601926163704</c:v>
                </c:pt>
                <c:pt idx="34975">
                  <c:v>0.623773854110932</c:v>
                </c:pt>
                <c:pt idx="34976">
                  <c:v>0.62379168896022796</c:v>
                </c:pt>
                <c:pt idx="34977">
                  <c:v>0.62380952380952304</c:v>
                </c:pt>
                <c:pt idx="34978">
                  <c:v>0.623827358658819</c:v>
                </c:pt>
                <c:pt idx="34979">
                  <c:v>0.62384519350811396</c:v>
                </c:pt>
                <c:pt idx="34980">
                  <c:v>0.62386302835741003</c:v>
                </c:pt>
                <c:pt idx="34981">
                  <c:v>0.62388086320670499</c:v>
                </c:pt>
                <c:pt idx="34982">
                  <c:v>0.62389869805600096</c:v>
                </c:pt>
                <c:pt idx="34983">
                  <c:v>0.62391653290529603</c:v>
                </c:pt>
                <c:pt idx="34984">
                  <c:v>0.62393436775459199</c:v>
                </c:pt>
                <c:pt idx="34985">
                  <c:v>0.62395220260388795</c:v>
                </c:pt>
                <c:pt idx="34986">
                  <c:v>0.62397003745318302</c:v>
                </c:pt>
                <c:pt idx="34987">
                  <c:v>0.62398787230247899</c:v>
                </c:pt>
                <c:pt idx="34988">
                  <c:v>0.62400570715177395</c:v>
                </c:pt>
                <c:pt idx="34989">
                  <c:v>0.62402354200107002</c:v>
                </c:pt>
                <c:pt idx="34990">
                  <c:v>0.62404137685036498</c:v>
                </c:pt>
                <c:pt idx="34991">
                  <c:v>0.62405921169966105</c:v>
                </c:pt>
                <c:pt idx="34992">
                  <c:v>0.62407704654895602</c:v>
                </c:pt>
                <c:pt idx="34993">
                  <c:v>0.62409488139825198</c:v>
                </c:pt>
                <c:pt idx="34994">
                  <c:v>0.62411271624754705</c:v>
                </c:pt>
                <c:pt idx="34995">
                  <c:v>0.62413055109684301</c:v>
                </c:pt>
                <c:pt idx="34996">
                  <c:v>0.62414838594613797</c:v>
                </c:pt>
                <c:pt idx="34997">
                  <c:v>0.62416622079543405</c:v>
                </c:pt>
                <c:pt idx="34998">
                  <c:v>0.62418405564472901</c:v>
                </c:pt>
                <c:pt idx="34999">
                  <c:v>0.62420189049402497</c:v>
                </c:pt>
                <c:pt idx="35000">
                  <c:v>0.62421972534332004</c:v>
                </c:pt>
                <c:pt idx="35001">
                  <c:v>0.624237560192616</c:v>
                </c:pt>
                <c:pt idx="35002">
                  <c:v>0.62425539504191097</c:v>
                </c:pt>
                <c:pt idx="35003">
                  <c:v>0.62427322989120704</c:v>
                </c:pt>
                <c:pt idx="35004">
                  <c:v>0.624291064740502</c:v>
                </c:pt>
                <c:pt idx="35005">
                  <c:v>0.62430889958979796</c:v>
                </c:pt>
                <c:pt idx="35006">
                  <c:v>0.62432673443909403</c:v>
                </c:pt>
                <c:pt idx="35007">
                  <c:v>0.624344569288389</c:v>
                </c:pt>
                <c:pt idx="35008">
                  <c:v>0.62436240413768496</c:v>
                </c:pt>
                <c:pt idx="35009">
                  <c:v>0.62438023898698003</c:v>
                </c:pt>
                <c:pt idx="35010">
                  <c:v>0.62439807383627599</c:v>
                </c:pt>
                <c:pt idx="35011">
                  <c:v>0.62441590868557095</c:v>
                </c:pt>
                <c:pt idx="35012">
                  <c:v>0.62443374353486703</c:v>
                </c:pt>
                <c:pt idx="35013">
                  <c:v>0.62445157838416199</c:v>
                </c:pt>
                <c:pt idx="35014">
                  <c:v>0.62446941323345795</c:v>
                </c:pt>
                <c:pt idx="35015">
                  <c:v>0.62448724808275302</c:v>
                </c:pt>
                <c:pt idx="35016">
                  <c:v>0.62450508293204898</c:v>
                </c:pt>
                <c:pt idx="35017">
                  <c:v>0.62452291778134394</c:v>
                </c:pt>
                <c:pt idx="35018">
                  <c:v>0.62454075263064002</c:v>
                </c:pt>
                <c:pt idx="35019">
                  <c:v>0.62455858747993498</c:v>
                </c:pt>
                <c:pt idx="35020">
                  <c:v>0.62457642232923105</c:v>
                </c:pt>
                <c:pt idx="35021">
                  <c:v>0.62459425717852601</c:v>
                </c:pt>
                <c:pt idx="35022">
                  <c:v>0.62461209202782197</c:v>
                </c:pt>
                <c:pt idx="35023">
                  <c:v>0.62462992687711705</c:v>
                </c:pt>
                <c:pt idx="35024">
                  <c:v>0.62464776172641301</c:v>
                </c:pt>
                <c:pt idx="35025">
                  <c:v>0.62466559657570897</c:v>
                </c:pt>
                <c:pt idx="35026">
                  <c:v>0.62468343142500404</c:v>
                </c:pt>
                <c:pt idx="35027">
                  <c:v>0.6247012662743</c:v>
                </c:pt>
                <c:pt idx="35028">
                  <c:v>0.62471910112359497</c:v>
                </c:pt>
                <c:pt idx="35029">
                  <c:v>0.62473693597289104</c:v>
                </c:pt>
                <c:pt idx="35030">
                  <c:v>0.624754770822186</c:v>
                </c:pt>
                <c:pt idx="35031">
                  <c:v>0.62477260567148196</c:v>
                </c:pt>
                <c:pt idx="35032">
                  <c:v>0.62479044052077704</c:v>
                </c:pt>
                <c:pt idx="35033">
                  <c:v>0.624808275370073</c:v>
                </c:pt>
                <c:pt idx="35034">
                  <c:v>0.62482611021936796</c:v>
                </c:pt>
                <c:pt idx="35035">
                  <c:v>0.62484394506866403</c:v>
                </c:pt>
                <c:pt idx="35036">
                  <c:v>0.62486177991795899</c:v>
                </c:pt>
                <c:pt idx="35037">
                  <c:v>0.62487961476725495</c:v>
                </c:pt>
                <c:pt idx="35038">
                  <c:v>0.62489744961655003</c:v>
                </c:pt>
                <c:pt idx="35039">
                  <c:v>0.62491528446584599</c:v>
                </c:pt>
                <c:pt idx="35040">
                  <c:v>0.62493311931514095</c:v>
                </c:pt>
                <c:pt idx="35041">
                  <c:v>0.62495095416443702</c:v>
                </c:pt>
                <c:pt idx="35042">
                  <c:v>0.62496878901373198</c:v>
                </c:pt>
                <c:pt idx="35043">
                  <c:v>0.62498662386302795</c:v>
                </c:pt>
                <c:pt idx="35044">
                  <c:v>0.62500445871232302</c:v>
                </c:pt>
                <c:pt idx="35045">
                  <c:v>0.62502229356161898</c:v>
                </c:pt>
                <c:pt idx="35046">
                  <c:v>0.62504012841091405</c:v>
                </c:pt>
                <c:pt idx="35047">
                  <c:v>0.62505796326021001</c:v>
                </c:pt>
                <c:pt idx="35048">
                  <c:v>0.62507579810950598</c:v>
                </c:pt>
                <c:pt idx="35049">
                  <c:v>0.62509363295880105</c:v>
                </c:pt>
                <c:pt idx="35050">
                  <c:v>0.62511146780809701</c:v>
                </c:pt>
                <c:pt idx="35051">
                  <c:v>0.62512930265739197</c:v>
                </c:pt>
                <c:pt idx="35052">
                  <c:v>0.62514713750668804</c:v>
                </c:pt>
                <c:pt idx="35053">
                  <c:v>0.62516497235598301</c:v>
                </c:pt>
                <c:pt idx="35054">
                  <c:v>0.62518280720527897</c:v>
                </c:pt>
                <c:pt idx="35055">
                  <c:v>0.62520064205457404</c:v>
                </c:pt>
                <c:pt idx="35056">
                  <c:v>0.62521847690387</c:v>
                </c:pt>
                <c:pt idx="35057">
                  <c:v>0.62523631175316496</c:v>
                </c:pt>
                <c:pt idx="35058">
                  <c:v>0.62525414660246104</c:v>
                </c:pt>
                <c:pt idx="35059">
                  <c:v>0.625271981451756</c:v>
                </c:pt>
                <c:pt idx="35060">
                  <c:v>0.62528981630105196</c:v>
                </c:pt>
                <c:pt idx="35061">
                  <c:v>0.62530765115034703</c:v>
                </c:pt>
                <c:pt idx="35062">
                  <c:v>0.62532548599964299</c:v>
                </c:pt>
                <c:pt idx="35063">
                  <c:v>0.62534332084893796</c:v>
                </c:pt>
                <c:pt idx="35064">
                  <c:v>0.62536115569823403</c:v>
                </c:pt>
                <c:pt idx="35065">
                  <c:v>0.62537899054752899</c:v>
                </c:pt>
                <c:pt idx="35066">
                  <c:v>0.62539682539682495</c:v>
                </c:pt>
                <c:pt idx="35067">
                  <c:v>0.62541466024612002</c:v>
                </c:pt>
                <c:pt idx="35068">
                  <c:v>0.62543249509541599</c:v>
                </c:pt>
                <c:pt idx="35069">
                  <c:v>0.62545032994471195</c:v>
                </c:pt>
                <c:pt idx="35070">
                  <c:v>0.62546816479400702</c:v>
                </c:pt>
                <c:pt idx="35071">
                  <c:v>0.62548599964330298</c:v>
                </c:pt>
                <c:pt idx="35072">
                  <c:v>0.62550383449259805</c:v>
                </c:pt>
                <c:pt idx="35073">
                  <c:v>0.62552166934189402</c:v>
                </c:pt>
                <c:pt idx="35074">
                  <c:v>0.62553950419118898</c:v>
                </c:pt>
                <c:pt idx="35075">
                  <c:v>0.62555733904048505</c:v>
                </c:pt>
                <c:pt idx="35076">
                  <c:v>0.62557517388978001</c:v>
                </c:pt>
                <c:pt idx="35077">
                  <c:v>0.62559300873907597</c:v>
                </c:pt>
                <c:pt idx="35078">
                  <c:v>0.62561084358837105</c:v>
                </c:pt>
                <c:pt idx="35079">
                  <c:v>0.62562867843766701</c:v>
                </c:pt>
                <c:pt idx="35080">
                  <c:v>0.62564651328696197</c:v>
                </c:pt>
                <c:pt idx="35081">
                  <c:v>0.62566434813625804</c:v>
                </c:pt>
                <c:pt idx="35082">
                  <c:v>0.625682182985553</c:v>
                </c:pt>
                <c:pt idx="35083">
                  <c:v>0.62570001783484896</c:v>
                </c:pt>
                <c:pt idx="35084">
                  <c:v>0.62571785268414404</c:v>
                </c:pt>
                <c:pt idx="35085">
                  <c:v>0.62573568753344</c:v>
                </c:pt>
                <c:pt idx="35086">
                  <c:v>0.62575352238273496</c:v>
                </c:pt>
                <c:pt idx="35087">
                  <c:v>0.62577135723203103</c:v>
                </c:pt>
                <c:pt idx="35088">
                  <c:v>0.625789192081326</c:v>
                </c:pt>
                <c:pt idx="35089">
                  <c:v>0.62580702693062196</c:v>
                </c:pt>
                <c:pt idx="35090">
                  <c:v>0.62582486177991703</c:v>
                </c:pt>
                <c:pt idx="35091">
                  <c:v>0.62584269662921299</c:v>
                </c:pt>
                <c:pt idx="35092">
                  <c:v>0.62586053147850895</c:v>
                </c:pt>
                <c:pt idx="35093">
                  <c:v>0.62587836632780403</c:v>
                </c:pt>
                <c:pt idx="35094">
                  <c:v>0.62589620117709999</c:v>
                </c:pt>
                <c:pt idx="35095">
                  <c:v>0.62591403602639495</c:v>
                </c:pt>
                <c:pt idx="35096">
                  <c:v>0.62593187087569102</c:v>
                </c:pt>
                <c:pt idx="35097">
                  <c:v>0.62594970572498598</c:v>
                </c:pt>
                <c:pt idx="35098">
                  <c:v>0.62596754057428206</c:v>
                </c:pt>
                <c:pt idx="35099">
                  <c:v>0.62598537542357702</c:v>
                </c:pt>
                <c:pt idx="35100">
                  <c:v>0.62600321027287298</c:v>
                </c:pt>
                <c:pt idx="35101">
                  <c:v>0.62602104512216805</c:v>
                </c:pt>
                <c:pt idx="35102">
                  <c:v>0.62603887997146401</c:v>
                </c:pt>
                <c:pt idx="35103">
                  <c:v>0.62605671482075897</c:v>
                </c:pt>
                <c:pt idx="35104">
                  <c:v>0.62607454967005505</c:v>
                </c:pt>
                <c:pt idx="35105">
                  <c:v>0.62609238451935001</c:v>
                </c:pt>
                <c:pt idx="35106">
                  <c:v>0.62611021936864597</c:v>
                </c:pt>
                <c:pt idx="35107">
                  <c:v>0.62612805421794104</c:v>
                </c:pt>
                <c:pt idx="35108">
                  <c:v>0.626145889067237</c:v>
                </c:pt>
                <c:pt idx="35109">
                  <c:v>0.62616372391653197</c:v>
                </c:pt>
                <c:pt idx="35110">
                  <c:v>0.62618155876582804</c:v>
                </c:pt>
                <c:pt idx="35111">
                  <c:v>0.626199393615124</c:v>
                </c:pt>
                <c:pt idx="35112">
                  <c:v>0.62621722846441896</c:v>
                </c:pt>
                <c:pt idx="35113">
                  <c:v>0.62623506331371503</c:v>
                </c:pt>
                <c:pt idx="35114">
                  <c:v>0.62625289816301</c:v>
                </c:pt>
                <c:pt idx="35115">
                  <c:v>0.62627073301230596</c:v>
                </c:pt>
                <c:pt idx="35116">
                  <c:v>0.62628856786160103</c:v>
                </c:pt>
                <c:pt idx="35117">
                  <c:v>0.62630640271089699</c:v>
                </c:pt>
                <c:pt idx="35118">
                  <c:v>0.62632423756019195</c:v>
                </c:pt>
                <c:pt idx="35119">
                  <c:v>0.62634207240948803</c:v>
                </c:pt>
                <c:pt idx="35120">
                  <c:v>0.62635990725878299</c:v>
                </c:pt>
                <c:pt idx="35121">
                  <c:v>0.62637774210807895</c:v>
                </c:pt>
                <c:pt idx="35122">
                  <c:v>0.62639557695737402</c:v>
                </c:pt>
                <c:pt idx="35123">
                  <c:v>0.62641341180666998</c:v>
                </c:pt>
                <c:pt idx="35124">
                  <c:v>0.62643124665596495</c:v>
                </c:pt>
                <c:pt idx="35125">
                  <c:v>0.62644908150526102</c:v>
                </c:pt>
                <c:pt idx="35126">
                  <c:v>0.62646691635455598</c:v>
                </c:pt>
                <c:pt idx="35127">
                  <c:v>0.62648475120385205</c:v>
                </c:pt>
                <c:pt idx="35128">
                  <c:v>0.62650258605314701</c:v>
                </c:pt>
                <c:pt idx="35129">
                  <c:v>0.62652042090244298</c:v>
                </c:pt>
                <c:pt idx="35130">
                  <c:v>0.62653825575173805</c:v>
                </c:pt>
                <c:pt idx="35131">
                  <c:v>0.62655609060103401</c:v>
                </c:pt>
                <c:pt idx="35132">
                  <c:v>0.62657392545032997</c:v>
                </c:pt>
                <c:pt idx="35133">
                  <c:v>0.62659176029962504</c:v>
                </c:pt>
                <c:pt idx="35134">
                  <c:v>0.62660959514892101</c:v>
                </c:pt>
                <c:pt idx="35135">
                  <c:v>0.62662742999821597</c:v>
                </c:pt>
                <c:pt idx="35136">
                  <c:v>0.62664526484751204</c:v>
                </c:pt>
                <c:pt idx="35137">
                  <c:v>0.626663099696807</c:v>
                </c:pt>
                <c:pt idx="35138">
                  <c:v>0.62668093454610296</c:v>
                </c:pt>
                <c:pt idx="35139">
                  <c:v>0.62669876939539804</c:v>
                </c:pt>
                <c:pt idx="35140">
                  <c:v>0.626716604244694</c:v>
                </c:pt>
                <c:pt idx="35141">
                  <c:v>0.62673443909398896</c:v>
                </c:pt>
                <c:pt idx="35142">
                  <c:v>0.62675227394328503</c:v>
                </c:pt>
                <c:pt idx="35143">
                  <c:v>0.62677010879257999</c:v>
                </c:pt>
                <c:pt idx="35144">
                  <c:v>0.62678794364187596</c:v>
                </c:pt>
                <c:pt idx="35145">
                  <c:v>0.62680577849117103</c:v>
                </c:pt>
                <c:pt idx="35146">
                  <c:v>0.62682361334046699</c:v>
                </c:pt>
                <c:pt idx="35147">
                  <c:v>0.62684144818976195</c:v>
                </c:pt>
                <c:pt idx="35148">
                  <c:v>0.62685928303905802</c:v>
                </c:pt>
                <c:pt idx="35149">
                  <c:v>0.62687711788835299</c:v>
                </c:pt>
                <c:pt idx="35150">
                  <c:v>0.62689495273764895</c:v>
                </c:pt>
                <c:pt idx="35151">
                  <c:v>0.62691278758694402</c:v>
                </c:pt>
                <c:pt idx="35152">
                  <c:v>0.62693062243623998</c:v>
                </c:pt>
                <c:pt idx="35153">
                  <c:v>0.62694845728553505</c:v>
                </c:pt>
                <c:pt idx="35154">
                  <c:v>0.62696629213483102</c:v>
                </c:pt>
                <c:pt idx="35155">
                  <c:v>0.62698412698412698</c:v>
                </c:pt>
                <c:pt idx="35156">
                  <c:v>0.62700196183342205</c:v>
                </c:pt>
                <c:pt idx="35157">
                  <c:v>0.62701979668271801</c:v>
                </c:pt>
                <c:pt idx="35158">
                  <c:v>0.62703763153201297</c:v>
                </c:pt>
                <c:pt idx="35159">
                  <c:v>0.62705546638130905</c:v>
                </c:pt>
                <c:pt idx="35160">
                  <c:v>0.62707330123060401</c:v>
                </c:pt>
                <c:pt idx="35161">
                  <c:v>0.62709113607989997</c:v>
                </c:pt>
                <c:pt idx="35162">
                  <c:v>0.62710897092919504</c:v>
                </c:pt>
                <c:pt idx="35163">
                  <c:v>0.627126805778491</c:v>
                </c:pt>
                <c:pt idx="35164">
                  <c:v>0.62714464062778597</c:v>
                </c:pt>
                <c:pt idx="35165">
                  <c:v>0.62716247547708204</c:v>
                </c:pt>
                <c:pt idx="35166">
                  <c:v>0.627180310326377</c:v>
                </c:pt>
                <c:pt idx="35167">
                  <c:v>0.62719814517567296</c:v>
                </c:pt>
                <c:pt idx="35168">
                  <c:v>0.62721598002496803</c:v>
                </c:pt>
                <c:pt idx="35169">
                  <c:v>0.627233814874264</c:v>
                </c:pt>
                <c:pt idx="35170">
                  <c:v>0.62725164972355896</c:v>
                </c:pt>
                <c:pt idx="35171">
                  <c:v>0.62726948457285503</c:v>
                </c:pt>
                <c:pt idx="35172">
                  <c:v>0.62728731942214999</c:v>
                </c:pt>
                <c:pt idx="35173">
                  <c:v>0.62730515427144595</c:v>
                </c:pt>
                <c:pt idx="35174">
                  <c:v>0.62732298912074103</c:v>
                </c:pt>
                <c:pt idx="35175">
                  <c:v>0.62734082397003699</c:v>
                </c:pt>
                <c:pt idx="35176">
                  <c:v>0.62735865881933295</c:v>
                </c:pt>
                <c:pt idx="35177">
                  <c:v>0.62737649366862802</c:v>
                </c:pt>
                <c:pt idx="35178">
                  <c:v>0.62739432851792398</c:v>
                </c:pt>
                <c:pt idx="35179">
                  <c:v>0.62741216336721894</c:v>
                </c:pt>
                <c:pt idx="35180">
                  <c:v>0.62742999821651502</c:v>
                </c:pt>
                <c:pt idx="35181">
                  <c:v>0.62744783306580998</c:v>
                </c:pt>
                <c:pt idx="35182">
                  <c:v>0.62746566791510605</c:v>
                </c:pt>
                <c:pt idx="35183">
                  <c:v>0.62748350276440101</c:v>
                </c:pt>
                <c:pt idx="35184">
                  <c:v>0.62750133761369697</c:v>
                </c:pt>
                <c:pt idx="35185">
                  <c:v>0.62751917246299205</c:v>
                </c:pt>
                <c:pt idx="35186">
                  <c:v>0.62753700731228801</c:v>
                </c:pt>
                <c:pt idx="35187">
                  <c:v>0.62755484216158297</c:v>
                </c:pt>
                <c:pt idx="35188">
                  <c:v>0.62757267701087904</c:v>
                </c:pt>
                <c:pt idx="35189">
                  <c:v>0.62759051186017401</c:v>
                </c:pt>
                <c:pt idx="35190">
                  <c:v>0.62760834670946997</c:v>
                </c:pt>
                <c:pt idx="35191">
                  <c:v>0.62762618155876504</c:v>
                </c:pt>
                <c:pt idx="35192">
                  <c:v>0.627644016408061</c:v>
                </c:pt>
                <c:pt idx="35193">
                  <c:v>0.62766185125735596</c:v>
                </c:pt>
                <c:pt idx="35194">
                  <c:v>0.62767968610665203</c:v>
                </c:pt>
                <c:pt idx="35195">
                  <c:v>0.627697520955947</c:v>
                </c:pt>
                <c:pt idx="35196">
                  <c:v>0.62771535580524296</c:v>
                </c:pt>
                <c:pt idx="35197">
                  <c:v>0.62773319065453803</c:v>
                </c:pt>
                <c:pt idx="35198">
                  <c:v>0.62775102550383399</c:v>
                </c:pt>
                <c:pt idx="35199">
                  <c:v>0.62776886035312995</c:v>
                </c:pt>
                <c:pt idx="35200">
                  <c:v>0.62778669520242503</c:v>
                </c:pt>
                <c:pt idx="35201">
                  <c:v>0.62780453005172099</c:v>
                </c:pt>
                <c:pt idx="35202">
                  <c:v>0.62782236490101595</c:v>
                </c:pt>
                <c:pt idx="35203">
                  <c:v>0.62784019975031202</c:v>
                </c:pt>
                <c:pt idx="35204">
                  <c:v>0.62785803459960698</c:v>
                </c:pt>
                <c:pt idx="35205">
                  <c:v>0.62787586944890295</c:v>
                </c:pt>
                <c:pt idx="35206">
                  <c:v>0.62789370429819802</c:v>
                </c:pt>
                <c:pt idx="35207">
                  <c:v>0.62791153914749398</c:v>
                </c:pt>
                <c:pt idx="35208">
                  <c:v>0.62792937399678905</c:v>
                </c:pt>
                <c:pt idx="35209">
                  <c:v>0.62794720884608501</c:v>
                </c:pt>
                <c:pt idx="35210">
                  <c:v>0.62796504369537998</c:v>
                </c:pt>
                <c:pt idx="35211">
                  <c:v>0.62798287854467605</c:v>
                </c:pt>
                <c:pt idx="35212">
                  <c:v>0.62800071339397101</c:v>
                </c:pt>
                <c:pt idx="35213">
                  <c:v>0.62801854824326697</c:v>
                </c:pt>
                <c:pt idx="35214">
                  <c:v>0.62803638309256204</c:v>
                </c:pt>
                <c:pt idx="35215">
                  <c:v>0.62805421794185801</c:v>
                </c:pt>
                <c:pt idx="35216">
                  <c:v>0.62807205279115397</c:v>
                </c:pt>
                <c:pt idx="35217">
                  <c:v>0.62808988764044904</c:v>
                </c:pt>
                <c:pt idx="35218">
                  <c:v>0.628107722489745</c:v>
                </c:pt>
                <c:pt idx="35219">
                  <c:v>0.62812555733903996</c:v>
                </c:pt>
                <c:pt idx="35220">
                  <c:v>0.62814339218833604</c:v>
                </c:pt>
                <c:pt idx="35221">
                  <c:v>0.628161227037631</c:v>
                </c:pt>
                <c:pt idx="35222">
                  <c:v>0.62817906188692696</c:v>
                </c:pt>
                <c:pt idx="35223">
                  <c:v>0.62819689673622203</c:v>
                </c:pt>
                <c:pt idx="35224">
                  <c:v>0.62821473158551799</c:v>
                </c:pt>
                <c:pt idx="35225">
                  <c:v>0.62823256643481296</c:v>
                </c:pt>
                <c:pt idx="35226">
                  <c:v>0.62825040128410903</c:v>
                </c:pt>
                <c:pt idx="35227">
                  <c:v>0.62826823613340399</c:v>
                </c:pt>
                <c:pt idx="35228">
                  <c:v>0.62828607098269995</c:v>
                </c:pt>
                <c:pt idx="35229">
                  <c:v>0.62830390583199502</c:v>
                </c:pt>
                <c:pt idx="35230">
                  <c:v>0.62832174068129099</c:v>
                </c:pt>
                <c:pt idx="35231">
                  <c:v>0.62833957553058595</c:v>
                </c:pt>
                <c:pt idx="35232">
                  <c:v>0.62835741037988202</c:v>
                </c:pt>
                <c:pt idx="35233">
                  <c:v>0.62837524522917698</c:v>
                </c:pt>
                <c:pt idx="35234">
                  <c:v>0.62839308007847305</c:v>
                </c:pt>
                <c:pt idx="35235">
                  <c:v>0.62841091492776802</c:v>
                </c:pt>
                <c:pt idx="35236">
                  <c:v>0.62842874977706398</c:v>
                </c:pt>
                <c:pt idx="35237">
                  <c:v>0.62844658462635905</c:v>
                </c:pt>
                <c:pt idx="35238">
                  <c:v>0.62846441947565501</c:v>
                </c:pt>
                <c:pt idx="35239">
                  <c:v>0.62848225432495097</c:v>
                </c:pt>
                <c:pt idx="35240">
                  <c:v>0.62850008917424605</c:v>
                </c:pt>
                <c:pt idx="35241">
                  <c:v>0.62851792402354201</c:v>
                </c:pt>
                <c:pt idx="35242">
                  <c:v>0.62853575887283697</c:v>
                </c:pt>
                <c:pt idx="35243">
                  <c:v>0.62855359372213304</c:v>
                </c:pt>
                <c:pt idx="35244">
                  <c:v>0.628571428571428</c:v>
                </c:pt>
                <c:pt idx="35245">
                  <c:v>0.62858926342072396</c:v>
                </c:pt>
                <c:pt idx="35246">
                  <c:v>0.62860709827001904</c:v>
                </c:pt>
                <c:pt idx="35247">
                  <c:v>0.628624933119315</c:v>
                </c:pt>
                <c:pt idx="35248">
                  <c:v>0.62864276796860996</c:v>
                </c:pt>
                <c:pt idx="35249">
                  <c:v>0.62866060281790603</c:v>
                </c:pt>
                <c:pt idx="35250">
                  <c:v>0.628678437667201</c:v>
                </c:pt>
                <c:pt idx="35251">
                  <c:v>0.62869627251649696</c:v>
                </c:pt>
                <c:pt idx="35252">
                  <c:v>0.62871410736579203</c:v>
                </c:pt>
                <c:pt idx="35253">
                  <c:v>0.62873194221508799</c:v>
                </c:pt>
                <c:pt idx="35254">
                  <c:v>0.62874977706438295</c:v>
                </c:pt>
                <c:pt idx="35255">
                  <c:v>0.62876761191367903</c:v>
                </c:pt>
                <c:pt idx="35256">
                  <c:v>0.62878544676297399</c:v>
                </c:pt>
                <c:pt idx="35257">
                  <c:v>0.62880328161226995</c:v>
                </c:pt>
                <c:pt idx="35258">
                  <c:v>0.62882111646156502</c:v>
                </c:pt>
                <c:pt idx="35259">
                  <c:v>0.62883895131086098</c:v>
                </c:pt>
                <c:pt idx="35260">
                  <c:v>0.62885678616015594</c:v>
                </c:pt>
                <c:pt idx="35261">
                  <c:v>0.62887462100945202</c:v>
                </c:pt>
                <c:pt idx="35262">
                  <c:v>0.62889245585874798</c:v>
                </c:pt>
                <c:pt idx="35263">
                  <c:v>0.62891029070804305</c:v>
                </c:pt>
                <c:pt idx="35264">
                  <c:v>0.62892812555733901</c:v>
                </c:pt>
                <c:pt idx="35265">
                  <c:v>0.62894596040663397</c:v>
                </c:pt>
                <c:pt idx="35266">
                  <c:v>0.62896379525593005</c:v>
                </c:pt>
                <c:pt idx="35267">
                  <c:v>0.62898163010522501</c:v>
                </c:pt>
                <c:pt idx="35268">
                  <c:v>0.62899946495452097</c:v>
                </c:pt>
                <c:pt idx="35269">
                  <c:v>0.62901729980381604</c:v>
                </c:pt>
                <c:pt idx="35270">
                  <c:v>0.629035134653112</c:v>
                </c:pt>
                <c:pt idx="35271">
                  <c:v>0.62905296950240697</c:v>
                </c:pt>
                <c:pt idx="35272">
                  <c:v>0.62907080435170304</c:v>
                </c:pt>
                <c:pt idx="35273">
                  <c:v>0.629088639200998</c:v>
                </c:pt>
                <c:pt idx="35274">
                  <c:v>0.62910647405029396</c:v>
                </c:pt>
                <c:pt idx="35275">
                  <c:v>0.62912430889958904</c:v>
                </c:pt>
                <c:pt idx="35276">
                  <c:v>0.629142143748885</c:v>
                </c:pt>
                <c:pt idx="35277">
                  <c:v>0.62915997859817996</c:v>
                </c:pt>
                <c:pt idx="35278">
                  <c:v>0.62917781344747603</c:v>
                </c:pt>
                <c:pt idx="35279">
                  <c:v>0.62919564829677099</c:v>
                </c:pt>
                <c:pt idx="35280">
                  <c:v>0.62921348314606695</c:v>
                </c:pt>
                <c:pt idx="35281">
                  <c:v>0.62923131799536203</c:v>
                </c:pt>
                <c:pt idx="35282">
                  <c:v>0.62924915284465799</c:v>
                </c:pt>
                <c:pt idx="35283">
                  <c:v>0.62926698769395395</c:v>
                </c:pt>
                <c:pt idx="35284">
                  <c:v>0.62928482254324902</c:v>
                </c:pt>
                <c:pt idx="35285">
                  <c:v>0.62930265739254498</c:v>
                </c:pt>
                <c:pt idx="35286">
                  <c:v>0.62932049224183995</c:v>
                </c:pt>
                <c:pt idx="35287">
                  <c:v>0.62933832709113602</c:v>
                </c:pt>
                <c:pt idx="35288">
                  <c:v>0.62935616194043098</c:v>
                </c:pt>
                <c:pt idx="35289">
                  <c:v>0.62937399678972705</c:v>
                </c:pt>
                <c:pt idx="35290">
                  <c:v>0.62939183163902201</c:v>
                </c:pt>
                <c:pt idx="35291">
                  <c:v>0.62940966648831798</c:v>
                </c:pt>
                <c:pt idx="35292">
                  <c:v>0.62942750133761305</c:v>
                </c:pt>
                <c:pt idx="35293">
                  <c:v>0.62944533618690901</c:v>
                </c:pt>
                <c:pt idx="35294">
                  <c:v>0.62946317103620397</c:v>
                </c:pt>
                <c:pt idx="35295">
                  <c:v>0.62948100588550004</c:v>
                </c:pt>
                <c:pt idx="35296">
                  <c:v>0.62949884073479501</c:v>
                </c:pt>
                <c:pt idx="35297">
                  <c:v>0.62951667558409097</c:v>
                </c:pt>
                <c:pt idx="35298">
                  <c:v>0.62953451043338604</c:v>
                </c:pt>
                <c:pt idx="35299">
                  <c:v>0.629552345282682</c:v>
                </c:pt>
                <c:pt idx="35300">
                  <c:v>0.62957018013197696</c:v>
                </c:pt>
                <c:pt idx="35301">
                  <c:v>0.62958801498127304</c:v>
                </c:pt>
                <c:pt idx="35302">
                  <c:v>0.629605849830568</c:v>
                </c:pt>
                <c:pt idx="35303">
                  <c:v>0.62962368467986396</c:v>
                </c:pt>
                <c:pt idx="35304">
                  <c:v>0.62964151952916003</c:v>
                </c:pt>
                <c:pt idx="35305">
                  <c:v>0.62965935437845499</c:v>
                </c:pt>
                <c:pt idx="35306">
                  <c:v>0.62967718922775096</c:v>
                </c:pt>
                <c:pt idx="35307">
                  <c:v>0.62969502407704603</c:v>
                </c:pt>
                <c:pt idx="35308">
                  <c:v>0.62971285892634199</c:v>
                </c:pt>
                <c:pt idx="35309">
                  <c:v>0.62973069377563695</c:v>
                </c:pt>
                <c:pt idx="35310">
                  <c:v>0.62974852862493302</c:v>
                </c:pt>
                <c:pt idx="35311">
                  <c:v>0.62976636347422799</c:v>
                </c:pt>
                <c:pt idx="35312">
                  <c:v>0.62978419832352395</c:v>
                </c:pt>
                <c:pt idx="35313">
                  <c:v>0.62980203317281902</c:v>
                </c:pt>
                <c:pt idx="35314">
                  <c:v>0.62981986802211498</c:v>
                </c:pt>
                <c:pt idx="35315">
                  <c:v>0.62983770287141005</c:v>
                </c:pt>
                <c:pt idx="35316">
                  <c:v>0.62985553772070602</c:v>
                </c:pt>
                <c:pt idx="35317">
                  <c:v>0.62987337257000098</c:v>
                </c:pt>
                <c:pt idx="35318">
                  <c:v>0.62989120741929705</c:v>
                </c:pt>
                <c:pt idx="35319">
                  <c:v>0.62990904226859201</c:v>
                </c:pt>
                <c:pt idx="35320">
                  <c:v>0.62992687711788797</c:v>
                </c:pt>
                <c:pt idx="35321">
                  <c:v>0.62994471196718305</c:v>
                </c:pt>
                <c:pt idx="35322">
                  <c:v>0.62996254681647901</c:v>
                </c:pt>
                <c:pt idx="35323">
                  <c:v>0.62998038166577497</c:v>
                </c:pt>
                <c:pt idx="35324">
                  <c:v>0.62999821651507004</c:v>
                </c:pt>
                <c:pt idx="35325">
                  <c:v>0.630016051364366</c:v>
                </c:pt>
                <c:pt idx="35326">
                  <c:v>0.63003388621366097</c:v>
                </c:pt>
                <c:pt idx="35327">
                  <c:v>0.63005172106295704</c:v>
                </c:pt>
                <c:pt idx="35328">
                  <c:v>0.630069555912252</c:v>
                </c:pt>
                <c:pt idx="35329">
                  <c:v>0.63008739076154796</c:v>
                </c:pt>
                <c:pt idx="35330">
                  <c:v>0.63010522561084303</c:v>
                </c:pt>
                <c:pt idx="35331">
                  <c:v>0.630123060460139</c:v>
                </c:pt>
                <c:pt idx="35332">
                  <c:v>0.63014089530943396</c:v>
                </c:pt>
                <c:pt idx="35333">
                  <c:v>0.63015873015873003</c:v>
                </c:pt>
                <c:pt idx="35334">
                  <c:v>0.63017656500802499</c:v>
                </c:pt>
                <c:pt idx="35335">
                  <c:v>0.63019439985732095</c:v>
                </c:pt>
                <c:pt idx="35336">
                  <c:v>0.63021223470661603</c:v>
                </c:pt>
                <c:pt idx="35337">
                  <c:v>0.63023006955591199</c:v>
                </c:pt>
                <c:pt idx="35338">
                  <c:v>0.63024790440520695</c:v>
                </c:pt>
                <c:pt idx="35339">
                  <c:v>0.63026573925450302</c:v>
                </c:pt>
                <c:pt idx="35340">
                  <c:v>0.63028357410379798</c:v>
                </c:pt>
                <c:pt idx="35341">
                  <c:v>0.63030140895309394</c:v>
                </c:pt>
                <c:pt idx="35342">
                  <c:v>0.63031924380238902</c:v>
                </c:pt>
                <c:pt idx="35343">
                  <c:v>0.63033707865168498</c:v>
                </c:pt>
                <c:pt idx="35344">
                  <c:v>0.63035491350098005</c:v>
                </c:pt>
                <c:pt idx="35345">
                  <c:v>0.63037274835027601</c:v>
                </c:pt>
                <c:pt idx="35346">
                  <c:v>0.63039058319957197</c:v>
                </c:pt>
                <c:pt idx="35347">
                  <c:v>0.63040841804886705</c:v>
                </c:pt>
                <c:pt idx="35348">
                  <c:v>0.63042625289816301</c:v>
                </c:pt>
                <c:pt idx="35349">
                  <c:v>0.63044408774745797</c:v>
                </c:pt>
                <c:pt idx="35350">
                  <c:v>0.63046192259675404</c:v>
                </c:pt>
                <c:pt idx="35351">
                  <c:v>0.63047975744604901</c:v>
                </c:pt>
                <c:pt idx="35352">
                  <c:v>0.63049759229534497</c:v>
                </c:pt>
                <c:pt idx="35353">
                  <c:v>0.63051542714464004</c:v>
                </c:pt>
                <c:pt idx="35354">
                  <c:v>0.630533261993936</c:v>
                </c:pt>
                <c:pt idx="35355">
                  <c:v>0.63055109684323096</c:v>
                </c:pt>
                <c:pt idx="35356">
                  <c:v>0.63056893169252703</c:v>
                </c:pt>
                <c:pt idx="35357">
                  <c:v>0.630586766541822</c:v>
                </c:pt>
                <c:pt idx="35358">
                  <c:v>0.63060460139111796</c:v>
                </c:pt>
                <c:pt idx="35359">
                  <c:v>0.63062243624041303</c:v>
                </c:pt>
                <c:pt idx="35360">
                  <c:v>0.63064027108970899</c:v>
                </c:pt>
                <c:pt idx="35361">
                  <c:v>0.63065810593900395</c:v>
                </c:pt>
                <c:pt idx="35362">
                  <c:v>0.63067594078830003</c:v>
                </c:pt>
                <c:pt idx="35363">
                  <c:v>0.63069377563759499</c:v>
                </c:pt>
                <c:pt idx="35364">
                  <c:v>0.63071161048689095</c:v>
                </c:pt>
                <c:pt idx="35365">
                  <c:v>0.63072944533618602</c:v>
                </c:pt>
                <c:pt idx="35366">
                  <c:v>0.63074728018548198</c:v>
                </c:pt>
                <c:pt idx="35367">
                  <c:v>0.63076511503477795</c:v>
                </c:pt>
                <c:pt idx="35368">
                  <c:v>0.63078294988407302</c:v>
                </c:pt>
                <c:pt idx="35369">
                  <c:v>0.63080078473336898</c:v>
                </c:pt>
                <c:pt idx="35370">
                  <c:v>0.63081861958266405</c:v>
                </c:pt>
                <c:pt idx="35371">
                  <c:v>0.63083645443196001</c:v>
                </c:pt>
                <c:pt idx="35372">
                  <c:v>0.63085428928125498</c:v>
                </c:pt>
                <c:pt idx="35373">
                  <c:v>0.63087212413055105</c:v>
                </c:pt>
                <c:pt idx="35374">
                  <c:v>0.63088995897984601</c:v>
                </c:pt>
                <c:pt idx="35375">
                  <c:v>0.63090779382914197</c:v>
                </c:pt>
                <c:pt idx="35376">
                  <c:v>0.63092562867843704</c:v>
                </c:pt>
                <c:pt idx="35377">
                  <c:v>0.63094346352773301</c:v>
                </c:pt>
                <c:pt idx="35378">
                  <c:v>0.63096129837702797</c:v>
                </c:pt>
                <c:pt idx="35379">
                  <c:v>0.63097913322632404</c:v>
                </c:pt>
                <c:pt idx="35380">
                  <c:v>0.630996968075619</c:v>
                </c:pt>
                <c:pt idx="35381">
                  <c:v>0.63101480292491496</c:v>
                </c:pt>
                <c:pt idx="35382">
                  <c:v>0.63103263777421004</c:v>
                </c:pt>
                <c:pt idx="35383">
                  <c:v>0.631050472623506</c:v>
                </c:pt>
                <c:pt idx="35384">
                  <c:v>0.63106830747280096</c:v>
                </c:pt>
                <c:pt idx="35385">
                  <c:v>0.63108614232209703</c:v>
                </c:pt>
                <c:pt idx="35386">
                  <c:v>0.63110397717139199</c:v>
                </c:pt>
                <c:pt idx="35387">
                  <c:v>0.63112181202068796</c:v>
                </c:pt>
                <c:pt idx="35388">
                  <c:v>0.63113964686998303</c:v>
                </c:pt>
                <c:pt idx="35389">
                  <c:v>0.63115748171927899</c:v>
                </c:pt>
                <c:pt idx="35390">
                  <c:v>0.63117531656857495</c:v>
                </c:pt>
                <c:pt idx="35391">
                  <c:v>0.63119315141787002</c:v>
                </c:pt>
                <c:pt idx="35392">
                  <c:v>0.63121098626716599</c:v>
                </c:pt>
                <c:pt idx="35393">
                  <c:v>0.63122882111646095</c:v>
                </c:pt>
                <c:pt idx="35394">
                  <c:v>0.63124665596575702</c:v>
                </c:pt>
                <c:pt idx="35395">
                  <c:v>0.63126449081505198</c:v>
                </c:pt>
                <c:pt idx="35396">
                  <c:v>0.63128232566434805</c:v>
                </c:pt>
                <c:pt idx="35397">
                  <c:v>0.63130016051364302</c:v>
                </c:pt>
                <c:pt idx="35398">
                  <c:v>0.63131799536293898</c:v>
                </c:pt>
                <c:pt idx="35399">
                  <c:v>0.63133583021223405</c:v>
                </c:pt>
                <c:pt idx="35400">
                  <c:v>0.63135366506153001</c:v>
                </c:pt>
                <c:pt idx="35401">
                  <c:v>0.63137149991082497</c:v>
                </c:pt>
                <c:pt idx="35402">
                  <c:v>0.63138933476012105</c:v>
                </c:pt>
                <c:pt idx="35403">
                  <c:v>0.63140716960941601</c:v>
                </c:pt>
                <c:pt idx="35404">
                  <c:v>0.63142500445871197</c:v>
                </c:pt>
                <c:pt idx="35405">
                  <c:v>0.63144283930800704</c:v>
                </c:pt>
                <c:pt idx="35406">
                  <c:v>0.631460674157303</c:v>
                </c:pt>
                <c:pt idx="35407">
                  <c:v>0.63147850900659797</c:v>
                </c:pt>
                <c:pt idx="35408">
                  <c:v>0.63149634385589404</c:v>
                </c:pt>
                <c:pt idx="35409">
                  <c:v>0.631514178705189</c:v>
                </c:pt>
                <c:pt idx="35410">
                  <c:v>0.63153201355448496</c:v>
                </c:pt>
                <c:pt idx="35411">
                  <c:v>0.63154984840378103</c:v>
                </c:pt>
                <c:pt idx="35412">
                  <c:v>0.631567683253076</c:v>
                </c:pt>
                <c:pt idx="35413">
                  <c:v>0.63158551810237196</c:v>
                </c:pt>
                <c:pt idx="35414">
                  <c:v>0.63160335295166703</c:v>
                </c:pt>
                <c:pt idx="35415">
                  <c:v>0.63162118780096299</c:v>
                </c:pt>
                <c:pt idx="35416">
                  <c:v>0.63163902265025795</c:v>
                </c:pt>
                <c:pt idx="35417">
                  <c:v>0.63165685749955403</c:v>
                </c:pt>
                <c:pt idx="35418">
                  <c:v>0.63167469234884899</c:v>
                </c:pt>
                <c:pt idx="35419">
                  <c:v>0.63169252719814495</c:v>
                </c:pt>
                <c:pt idx="35420">
                  <c:v>0.63171036204744002</c:v>
                </c:pt>
                <c:pt idx="35421">
                  <c:v>0.63172819689673598</c:v>
                </c:pt>
                <c:pt idx="35422">
                  <c:v>0.63174603174603094</c:v>
                </c:pt>
                <c:pt idx="35423">
                  <c:v>0.63176386659532702</c:v>
                </c:pt>
                <c:pt idx="35424">
                  <c:v>0.63178170144462198</c:v>
                </c:pt>
                <c:pt idx="35425">
                  <c:v>0.63179953629391805</c:v>
                </c:pt>
                <c:pt idx="35426">
                  <c:v>0.63181737114321301</c:v>
                </c:pt>
                <c:pt idx="35427">
                  <c:v>0.63183520599250897</c:v>
                </c:pt>
                <c:pt idx="35428">
                  <c:v>0.63185304084180405</c:v>
                </c:pt>
                <c:pt idx="35429">
                  <c:v>0.63187087569110001</c:v>
                </c:pt>
                <c:pt idx="35430">
                  <c:v>0.63188871054039597</c:v>
                </c:pt>
                <c:pt idx="35431">
                  <c:v>0.63190654538969104</c:v>
                </c:pt>
                <c:pt idx="35432">
                  <c:v>0.631924380238987</c:v>
                </c:pt>
                <c:pt idx="35433">
                  <c:v>0.63194221508828197</c:v>
                </c:pt>
                <c:pt idx="35434">
                  <c:v>0.63196004993757804</c:v>
                </c:pt>
                <c:pt idx="35435">
                  <c:v>0.631977884786873</c:v>
                </c:pt>
                <c:pt idx="35436">
                  <c:v>0.63199571963616896</c:v>
                </c:pt>
                <c:pt idx="35437">
                  <c:v>0.63201355448546404</c:v>
                </c:pt>
                <c:pt idx="35438">
                  <c:v>0.63203138933476</c:v>
                </c:pt>
                <c:pt idx="35439">
                  <c:v>0.63204922418405496</c:v>
                </c:pt>
                <c:pt idx="35440">
                  <c:v>0.63206705903335103</c:v>
                </c:pt>
                <c:pt idx="35441">
                  <c:v>0.63208489388264599</c:v>
                </c:pt>
                <c:pt idx="35442">
                  <c:v>0.63210272873194195</c:v>
                </c:pt>
                <c:pt idx="35443">
                  <c:v>0.63212056358123703</c:v>
                </c:pt>
                <c:pt idx="35444">
                  <c:v>0.63213839843053299</c:v>
                </c:pt>
                <c:pt idx="35445">
                  <c:v>0.63215623327982795</c:v>
                </c:pt>
                <c:pt idx="35446">
                  <c:v>0.63217406812912402</c:v>
                </c:pt>
                <c:pt idx="35447">
                  <c:v>0.63219190297841898</c:v>
                </c:pt>
                <c:pt idx="35448">
                  <c:v>0.63220973782771495</c:v>
                </c:pt>
                <c:pt idx="35449">
                  <c:v>0.63222757267701002</c:v>
                </c:pt>
                <c:pt idx="35450">
                  <c:v>0.63224540752630598</c:v>
                </c:pt>
                <c:pt idx="35451">
                  <c:v>0.63226324237560105</c:v>
                </c:pt>
                <c:pt idx="35452">
                  <c:v>0.63228107722489701</c:v>
                </c:pt>
                <c:pt idx="35453">
                  <c:v>0.63229891207419298</c:v>
                </c:pt>
                <c:pt idx="35454">
                  <c:v>0.63231674692348805</c:v>
                </c:pt>
                <c:pt idx="35455">
                  <c:v>0.63233458177278401</c:v>
                </c:pt>
                <c:pt idx="35456">
                  <c:v>0.63235241662207897</c:v>
                </c:pt>
                <c:pt idx="35457">
                  <c:v>0.63237025147137504</c:v>
                </c:pt>
                <c:pt idx="35458">
                  <c:v>0.63238808632067001</c:v>
                </c:pt>
                <c:pt idx="35459">
                  <c:v>0.63240592116996597</c:v>
                </c:pt>
                <c:pt idx="35460">
                  <c:v>0.63242375601926104</c:v>
                </c:pt>
                <c:pt idx="35461">
                  <c:v>0.632441590868557</c:v>
                </c:pt>
                <c:pt idx="35462">
                  <c:v>0.63245942571785196</c:v>
                </c:pt>
                <c:pt idx="35463">
                  <c:v>0.63247726056714804</c:v>
                </c:pt>
                <c:pt idx="35464">
                  <c:v>0.632495095416443</c:v>
                </c:pt>
                <c:pt idx="35465">
                  <c:v>0.63251293026573896</c:v>
                </c:pt>
                <c:pt idx="35466">
                  <c:v>0.63253076511503403</c:v>
                </c:pt>
                <c:pt idx="35467">
                  <c:v>0.63254859996432999</c:v>
                </c:pt>
                <c:pt idx="35468">
                  <c:v>0.63256643481362496</c:v>
                </c:pt>
                <c:pt idx="35469">
                  <c:v>0.63258426966292103</c:v>
                </c:pt>
                <c:pt idx="35470">
                  <c:v>0.63260210451221599</c:v>
                </c:pt>
                <c:pt idx="35471">
                  <c:v>0.63261993936151195</c:v>
                </c:pt>
                <c:pt idx="35472">
                  <c:v>0.63263777421080702</c:v>
                </c:pt>
                <c:pt idx="35473">
                  <c:v>0.63265560906010299</c:v>
                </c:pt>
                <c:pt idx="35474">
                  <c:v>0.63267344390939895</c:v>
                </c:pt>
                <c:pt idx="35475">
                  <c:v>0.63269127875869402</c:v>
                </c:pt>
                <c:pt idx="35476">
                  <c:v>0.63270911360798998</c:v>
                </c:pt>
                <c:pt idx="35477">
                  <c:v>0.63272694845728505</c:v>
                </c:pt>
                <c:pt idx="35478">
                  <c:v>0.63274478330658102</c:v>
                </c:pt>
                <c:pt idx="35479">
                  <c:v>0.63276261815587598</c:v>
                </c:pt>
                <c:pt idx="35480">
                  <c:v>0.63278045300517205</c:v>
                </c:pt>
                <c:pt idx="35481">
                  <c:v>0.63279828785446701</c:v>
                </c:pt>
                <c:pt idx="35482">
                  <c:v>0.63281612270376297</c:v>
                </c:pt>
                <c:pt idx="35483">
                  <c:v>0.63283395755305805</c:v>
                </c:pt>
                <c:pt idx="35484">
                  <c:v>0.63285179240235401</c:v>
                </c:pt>
                <c:pt idx="35485">
                  <c:v>0.63286962725164897</c:v>
                </c:pt>
                <c:pt idx="35486">
                  <c:v>0.63288746210094504</c:v>
                </c:pt>
                <c:pt idx="35487">
                  <c:v>0.63290529695024</c:v>
                </c:pt>
                <c:pt idx="35488">
                  <c:v>0.63292313179953597</c:v>
                </c:pt>
                <c:pt idx="35489">
                  <c:v>0.63294096664883104</c:v>
                </c:pt>
                <c:pt idx="35490">
                  <c:v>0.632958801498127</c:v>
                </c:pt>
                <c:pt idx="35491">
                  <c:v>0.63297663634742196</c:v>
                </c:pt>
                <c:pt idx="35492">
                  <c:v>0.63299447119671803</c:v>
                </c:pt>
                <c:pt idx="35493">
                  <c:v>0.633012306046013</c:v>
                </c:pt>
                <c:pt idx="35494">
                  <c:v>0.63303014089530896</c:v>
                </c:pt>
                <c:pt idx="35495">
                  <c:v>0.63304797574460403</c:v>
                </c:pt>
                <c:pt idx="35496">
                  <c:v>0.63306581059389999</c:v>
                </c:pt>
                <c:pt idx="35497">
                  <c:v>0.63308364544319595</c:v>
                </c:pt>
                <c:pt idx="35498">
                  <c:v>0.63310148029249103</c:v>
                </c:pt>
                <c:pt idx="35499">
                  <c:v>0.63311931514178699</c:v>
                </c:pt>
                <c:pt idx="35500">
                  <c:v>0.63313714999108195</c:v>
                </c:pt>
                <c:pt idx="35501">
                  <c:v>0.63315498484037802</c:v>
                </c:pt>
                <c:pt idx="35502">
                  <c:v>0.63317281968967298</c:v>
                </c:pt>
                <c:pt idx="35503">
                  <c:v>0.63319065453896894</c:v>
                </c:pt>
                <c:pt idx="35504">
                  <c:v>0.63320848938826402</c:v>
                </c:pt>
                <c:pt idx="35505">
                  <c:v>0.63322632423755998</c:v>
                </c:pt>
                <c:pt idx="35506">
                  <c:v>0.63324415908685505</c:v>
                </c:pt>
                <c:pt idx="35507">
                  <c:v>0.63326199393615101</c:v>
                </c:pt>
                <c:pt idx="35508">
                  <c:v>0.63327982878544598</c:v>
                </c:pt>
                <c:pt idx="35509">
                  <c:v>0.63329766363474205</c:v>
                </c:pt>
                <c:pt idx="35510">
                  <c:v>0.63331549848403701</c:v>
                </c:pt>
                <c:pt idx="35511">
                  <c:v>0.63333333333333297</c:v>
                </c:pt>
                <c:pt idx="35512">
                  <c:v>0.63335116818262804</c:v>
                </c:pt>
                <c:pt idx="35513">
                  <c:v>0.633369003031924</c:v>
                </c:pt>
                <c:pt idx="35514">
                  <c:v>0.63338683788121897</c:v>
                </c:pt>
                <c:pt idx="35515">
                  <c:v>0.63340467273051504</c:v>
                </c:pt>
                <c:pt idx="35516">
                  <c:v>0.633422507579811</c:v>
                </c:pt>
                <c:pt idx="35517">
                  <c:v>0.63344034242910596</c:v>
                </c:pt>
                <c:pt idx="35518">
                  <c:v>0.63345817727840203</c:v>
                </c:pt>
                <c:pt idx="35519">
                  <c:v>0.633476012127697</c:v>
                </c:pt>
                <c:pt idx="35520">
                  <c:v>0.63349384697699296</c:v>
                </c:pt>
                <c:pt idx="35521">
                  <c:v>0.63351168182628803</c:v>
                </c:pt>
                <c:pt idx="35522">
                  <c:v>0.63352951667558399</c:v>
                </c:pt>
                <c:pt idx="35523">
                  <c:v>0.63354735152487895</c:v>
                </c:pt>
                <c:pt idx="35524">
                  <c:v>0.63356518637417503</c:v>
                </c:pt>
                <c:pt idx="35525">
                  <c:v>0.63358302122346999</c:v>
                </c:pt>
                <c:pt idx="35526">
                  <c:v>0.63360085607276595</c:v>
                </c:pt>
                <c:pt idx="35527">
                  <c:v>0.63361869092206102</c:v>
                </c:pt>
                <c:pt idx="35528">
                  <c:v>0.63363652577135698</c:v>
                </c:pt>
                <c:pt idx="35529">
                  <c:v>0.63365436062065195</c:v>
                </c:pt>
                <c:pt idx="35530">
                  <c:v>0.63367219546994802</c:v>
                </c:pt>
                <c:pt idx="35531">
                  <c:v>0.63369003031924298</c:v>
                </c:pt>
                <c:pt idx="35532">
                  <c:v>0.63370786516853905</c:v>
                </c:pt>
                <c:pt idx="35533">
                  <c:v>0.63372570001783401</c:v>
                </c:pt>
                <c:pt idx="35534">
                  <c:v>0.63374353486712998</c:v>
                </c:pt>
                <c:pt idx="35535">
                  <c:v>0.63376136971642505</c:v>
                </c:pt>
                <c:pt idx="35536">
                  <c:v>0.63377920456572101</c:v>
                </c:pt>
                <c:pt idx="35537">
                  <c:v>0.63379703941501697</c:v>
                </c:pt>
                <c:pt idx="35538">
                  <c:v>0.63381487426431204</c:v>
                </c:pt>
                <c:pt idx="35539">
                  <c:v>0.63383270911360801</c:v>
                </c:pt>
                <c:pt idx="35540">
                  <c:v>0.63385054396290297</c:v>
                </c:pt>
                <c:pt idx="35541">
                  <c:v>0.63386837881219904</c:v>
                </c:pt>
                <c:pt idx="35542">
                  <c:v>0.633886213661494</c:v>
                </c:pt>
                <c:pt idx="35543">
                  <c:v>0.63390404851078996</c:v>
                </c:pt>
                <c:pt idx="35544">
                  <c:v>0.63392188336008504</c:v>
                </c:pt>
                <c:pt idx="35545">
                  <c:v>0.633939718209381</c:v>
                </c:pt>
                <c:pt idx="35546">
                  <c:v>0.63395755305867596</c:v>
                </c:pt>
                <c:pt idx="35547">
                  <c:v>0.63397538790797203</c:v>
                </c:pt>
                <c:pt idx="35548">
                  <c:v>0.63399322275726699</c:v>
                </c:pt>
                <c:pt idx="35549">
                  <c:v>0.63401105760656296</c:v>
                </c:pt>
                <c:pt idx="35550">
                  <c:v>0.63402889245585803</c:v>
                </c:pt>
                <c:pt idx="35551">
                  <c:v>0.63404672730515399</c:v>
                </c:pt>
                <c:pt idx="35552">
                  <c:v>0.63406456215444895</c:v>
                </c:pt>
                <c:pt idx="35553">
                  <c:v>0.63408239700374502</c:v>
                </c:pt>
                <c:pt idx="35554">
                  <c:v>0.63410023185303999</c:v>
                </c:pt>
                <c:pt idx="35555">
                  <c:v>0.63411806670233595</c:v>
                </c:pt>
                <c:pt idx="35556">
                  <c:v>0.63413590155163102</c:v>
                </c:pt>
                <c:pt idx="35557">
                  <c:v>0.63415373640092698</c:v>
                </c:pt>
                <c:pt idx="35558">
                  <c:v>0.63417157125022205</c:v>
                </c:pt>
                <c:pt idx="35559">
                  <c:v>0.63418940609951802</c:v>
                </c:pt>
                <c:pt idx="35560">
                  <c:v>0.63420724094881398</c:v>
                </c:pt>
                <c:pt idx="35561">
                  <c:v>0.63422507579810905</c:v>
                </c:pt>
                <c:pt idx="35562">
                  <c:v>0.63424291064740501</c:v>
                </c:pt>
                <c:pt idx="35563">
                  <c:v>0.63426074549669997</c:v>
                </c:pt>
                <c:pt idx="35564">
                  <c:v>0.63427858034599605</c:v>
                </c:pt>
                <c:pt idx="35565">
                  <c:v>0.63429641519529101</c:v>
                </c:pt>
                <c:pt idx="35566">
                  <c:v>0.63431425004458697</c:v>
                </c:pt>
                <c:pt idx="35567">
                  <c:v>0.63433208489388204</c:v>
                </c:pt>
                <c:pt idx="35568">
                  <c:v>0.634349919743178</c:v>
                </c:pt>
                <c:pt idx="35569">
                  <c:v>0.63436775459247297</c:v>
                </c:pt>
                <c:pt idx="35570">
                  <c:v>0.63438558944176904</c:v>
                </c:pt>
                <c:pt idx="35571">
                  <c:v>0.634403424291064</c:v>
                </c:pt>
                <c:pt idx="35572">
                  <c:v>0.63442125914035996</c:v>
                </c:pt>
                <c:pt idx="35573">
                  <c:v>0.63443909398965503</c:v>
                </c:pt>
                <c:pt idx="35574">
                  <c:v>0.634456928838951</c:v>
                </c:pt>
                <c:pt idx="35575">
                  <c:v>0.63447476368824596</c:v>
                </c:pt>
                <c:pt idx="35576">
                  <c:v>0.63449259853754203</c:v>
                </c:pt>
                <c:pt idx="35577">
                  <c:v>0.63451043338683699</c:v>
                </c:pt>
                <c:pt idx="35578">
                  <c:v>0.63452826823613295</c:v>
                </c:pt>
                <c:pt idx="35579">
                  <c:v>0.63454610308542803</c:v>
                </c:pt>
                <c:pt idx="35580">
                  <c:v>0.63456393793472399</c:v>
                </c:pt>
                <c:pt idx="35581">
                  <c:v>0.63458177278401995</c:v>
                </c:pt>
                <c:pt idx="35582">
                  <c:v>0.63459960763331502</c:v>
                </c:pt>
                <c:pt idx="35583">
                  <c:v>0.63461744248261098</c:v>
                </c:pt>
                <c:pt idx="35584">
                  <c:v>0.63463527733190594</c:v>
                </c:pt>
                <c:pt idx="35585">
                  <c:v>0.63465311218120202</c:v>
                </c:pt>
                <c:pt idx="35586">
                  <c:v>0.63467094703049698</c:v>
                </c:pt>
                <c:pt idx="35587">
                  <c:v>0.63468878187979305</c:v>
                </c:pt>
                <c:pt idx="35588">
                  <c:v>0.63470661672908801</c:v>
                </c:pt>
                <c:pt idx="35589">
                  <c:v>0.63472445157838397</c:v>
                </c:pt>
                <c:pt idx="35590">
                  <c:v>0.63474228642767905</c:v>
                </c:pt>
                <c:pt idx="35591">
                  <c:v>0.63476012127697501</c:v>
                </c:pt>
                <c:pt idx="35592">
                  <c:v>0.63477795612626997</c:v>
                </c:pt>
                <c:pt idx="35593">
                  <c:v>0.63479579097556604</c:v>
                </c:pt>
                <c:pt idx="35594">
                  <c:v>0.63481362582486101</c:v>
                </c:pt>
                <c:pt idx="35595">
                  <c:v>0.63483146067415697</c:v>
                </c:pt>
                <c:pt idx="35596">
                  <c:v>0.63484929552345204</c:v>
                </c:pt>
                <c:pt idx="35597">
                  <c:v>0.634867130372748</c:v>
                </c:pt>
                <c:pt idx="35598">
                  <c:v>0.63488496522204296</c:v>
                </c:pt>
                <c:pt idx="35599">
                  <c:v>0.63490280007133904</c:v>
                </c:pt>
                <c:pt idx="35600">
                  <c:v>0.634920634920634</c:v>
                </c:pt>
                <c:pt idx="35601">
                  <c:v>0.63493846976992996</c:v>
                </c:pt>
                <c:pt idx="35602">
                  <c:v>0.63495630461922503</c:v>
                </c:pt>
                <c:pt idx="35603">
                  <c:v>0.63497413946852099</c:v>
                </c:pt>
                <c:pt idx="35604">
                  <c:v>0.63499197431781695</c:v>
                </c:pt>
                <c:pt idx="35605">
                  <c:v>0.63500980916711203</c:v>
                </c:pt>
                <c:pt idx="35606">
                  <c:v>0.63502764401640799</c:v>
                </c:pt>
                <c:pt idx="35607">
                  <c:v>0.63504547886570295</c:v>
                </c:pt>
                <c:pt idx="35608">
                  <c:v>0.63506331371499902</c:v>
                </c:pt>
                <c:pt idx="35609">
                  <c:v>0.63508114856429398</c:v>
                </c:pt>
                <c:pt idx="35610">
                  <c:v>0.63509898341358995</c:v>
                </c:pt>
                <c:pt idx="35611">
                  <c:v>0.63511681826288502</c:v>
                </c:pt>
                <c:pt idx="35612">
                  <c:v>0.63513465311218098</c:v>
                </c:pt>
                <c:pt idx="35613">
                  <c:v>0.63515248796147605</c:v>
                </c:pt>
                <c:pt idx="35614">
                  <c:v>0.63517032281077201</c:v>
                </c:pt>
                <c:pt idx="35615">
                  <c:v>0.63518815766006698</c:v>
                </c:pt>
                <c:pt idx="35616">
                  <c:v>0.63520599250936305</c:v>
                </c:pt>
                <c:pt idx="35617">
                  <c:v>0.63522382735865801</c:v>
                </c:pt>
                <c:pt idx="35618">
                  <c:v>0.63524166220795397</c:v>
                </c:pt>
                <c:pt idx="35619">
                  <c:v>0.63525949705724905</c:v>
                </c:pt>
                <c:pt idx="35620">
                  <c:v>0.63527733190654501</c:v>
                </c:pt>
                <c:pt idx="35621">
                  <c:v>0.63529516675584097</c:v>
                </c:pt>
                <c:pt idx="35622">
                  <c:v>0.63531300160513604</c:v>
                </c:pt>
                <c:pt idx="35623">
                  <c:v>0.635330836454432</c:v>
                </c:pt>
                <c:pt idx="35624">
                  <c:v>0.63534867130372696</c:v>
                </c:pt>
                <c:pt idx="35625">
                  <c:v>0.63536650615302304</c:v>
                </c:pt>
                <c:pt idx="35626">
                  <c:v>0.635384341002318</c:v>
                </c:pt>
                <c:pt idx="35627">
                  <c:v>0.63540217585161396</c:v>
                </c:pt>
                <c:pt idx="35628">
                  <c:v>0.63542001070090903</c:v>
                </c:pt>
                <c:pt idx="35629">
                  <c:v>0.63543784555020499</c:v>
                </c:pt>
                <c:pt idx="35630">
                  <c:v>0.63545568039949996</c:v>
                </c:pt>
                <c:pt idx="35631">
                  <c:v>0.63547351524879603</c:v>
                </c:pt>
                <c:pt idx="35632">
                  <c:v>0.63549135009809099</c:v>
                </c:pt>
                <c:pt idx="35633">
                  <c:v>0.63550918494738695</c:v>
                </c:pt>
                <c:pt idx="35634">
                  <c:v>0.63552701979668202</c:v>
                </c:pt>
                <c:pt idx="35635">
                  <c:v>0.63554485464597799</c:v>
                </c:pt>
                <c:pt idx="35636">
                  <c:v>0.63556268949527295</c:v>
                </c:pt>
                <c:pt idx="35637">
                  <c:v>0.63558052434456902</c:v>
                </c:pt>
                <c:pt idx="35638">
                  <c:v>0.63559835919386398</c:v>
                </c:pt>
                <c:pt idx="35639">
                  <c:v>0.63561619404316005</c:v>
                </c:pt>
                <c:pt idx="35640">
                  <c:v>0.63563402889245502</c:v>
                </c:pt>
                <c:pt idx="35641">
                  <c:v>0.63565186374175098</c:v>
                </c:pt>
                <c:pt idx="35642">
                  <c:v>0.63566969859104605</c:v>
                </c:pt>
                <c:pt idx="35643">
                  <c:v>0.63568753344034201</c:v>
                </c:pt>
                <c:pt idx="35644">
                  <c:v>0.63570536828963797</c:v>
                </c:pt>
                <c:pt idx="35645">
                  <c:v>0.63572320313893305</c:v>
                </c:pt>
                <c:pt idx="35646">
                  <c:v>0.63574103798822901</c:v>
                </c:pt>
                <c:pt idx="35647">
                  <c:v>0.63575887283752397</c:v>
                </c:pt>
                <c:pt idx="35648">
                  <c:v>0.63577670768682004</c:v>
                </c:pt>
                <c:pt idx="35649">
                  <c:v>0.635794542536115</c:v>
                </c:pt>
                <c:pt idx="35650">
                  <c:v>0.63581237738541097</c:v>
                </c:pt>
                <c:pt idx="35651">
                  <c:v>0.63583021223470604</c:v>
                </c:pt>
                <c:pt idx="35652">
                  <c:v>0.635848047084002</c:v>
                </c:pt>
                <c:pt idx="35653">
                  <c:v>0.63586588193329696</c:v>
                </c:pt>
                <c:pt idx="35654">
                  <c:v>0.63588371678259303</c:v>
                </c:pt>
                <c:pt idx="35655">
                  <c:v>0.635901551631888</c:v>
                </c:pt>
                <c:pt idx="35656">
                  <c:v>0.63591938648118396</c:v>
                </c:pt>
                <c:pt idx="35657">
                  <c:v>0.63593722133047903</c:v>
                </c:pt>
                <c:pt idx="35658">
                  <c:v>0.63595505617977499</c:v>
                </c:pt>
                <c:pt idx="35659">
                  <c:v>0.63597289102906995</c:v>
                </c:pt>
                <c:pt idx="35660">
                  <c:v>0.63599072587836603</c:v>
                </c:pt>
                <c:pt idx="35661">
                  <c:v>0.63600856072766099</c:v>
                </c:pt>
                <c:pt idx="35662">
                  <c:v>0.63602639557695695</c:v>
                </c:pt>
                <c:pt idx="35663">
                  <c:v>0.63604423042625202</c:v>
                </c:pt>
                <c:pt idx="35664">
                  <c:v>0.63606206527554798</c:v>
                </c:pt>
                <c:pt idx="35665">
                  <c:v>0.63607990012484295</c:v>
                </c:pt>
                <c:pt idx="35666">
                  <c:v>0.63609773497413902</c:v>
                </c:pt>
                <c:pt idx="35667">
                  <c:v>0.63611556982343498</c:v>
                </c:pt>
                <c:pt idx="35668">
                  <c:v>0.63613340467273005</c:v>
                </c:pt>
                <c:pt idx="35669">
                  <c:v>0.63615123952202601</c:v>
                </c:pt>
                <c:pt idx="35670">
                  <c:v>0.63616907437132098</c:v>
                </c:pt>
                <c:pt idx="35671">
                  <c:v>0.63618690922061705</c:v>
                </c:pt>
                <c:pt idx="35672">
                  <c:v>0.63620474406991201</c:v>
                </c:pt>
                <c:pt idx="35673">
                  <c:v>0.63622257891920797</c:v>
                </c:pt>
                <c:pt idx="35674">
                  <c:v>0.63624041376850304</c:v>
                </c:pt>
                <c:pt idx="35675">
                  <c:v>0.636258248617799</c:v>
                </c:pt>
                <c:pt idx="35676">
                  <c:v>0.63627608346709397</c:v>
                </c:pt>
                <c:pt idx="35677">
                  <c:v>0.63629391831639004</c:v>
                </c:pt>
                <c:pt idx="35678">
                  <c:v>0.636311753165685</c:v>
                </c:pt>
                <c:pt idx="35679">
                  <c:v>0.63632958801498096</c:v>
                </c:pt>
                <c:pt idx="35680">
                  <c:v>0.63634742286427604</c:v>
                </c:pt>
                <c:pt idx="35681">
                  <c:v>0.636365257713572</c:v>
                </c:pt>
                <c:pt idx="35682">
                  <c:v>0.63638309256286696</c:v>
                </c:pt>
                <c:pt idx="35683">
                  <c:v>0.63640092741216303</c:v>
                </c:pt>
                <c:pt idx="35684">
                  <c:v>0.63641876226145799</c:v>
                </c:pt>
                <c:pt idx="35685">
                  <c:v>0.63643659711075395</c:v>
                </c:pt>
                <c:pt idx="35686">
                  <c:v>0.63645443196004903</c:v>
                </c:pt>
                <c:pt idx="35687">
                  <c:v>0.63647226680934499</c:v>
                </c:pt>
                <c:pt idx="35688">
                  <c:v>0.63649010165864095</c:v>
                </c:pt>
                <c:pt idx="35689">
                  <c:v>0.63650793650793602</c:v>
                </c:pt>
                <c:pt idx="35690">
                  <c:v>0.63652577135723198</c:v>
                </c:pt>
                <c:pt idx="35691">
                  <c:v>0.63654360620652695</c:v>
                </c:pt>
                <c:pt idx="35692">
                  <c:v>0.63656144105582302</c:v>
                </c:pt>
                <c:pt idx="35693">
                  <c:v>0.63657927590511798</c:v>
                </c:pt>
                <c:pt idx="35694">
                  <c:v>0.63659711075441405</c:v>
                </c:pt>
                <c:pt idx="35695">
                  <c:v>0.63661494560370901</c:v>
                </c:pt>
                <c:pt idx="35696">
                  <c:v>0.63663278045300498</c:v>
                </c:pt>
                <c:pt idx="35697">
                  <c:v>0.63665061530230005</c:v>
                </c:pt>
                <c:pt idx="35698">
                  <c:v>0.63666845015159601</c:v>
                </c:pt>
                <c:pt idx="35699">
                  <c:v>0.63668628500089097</c:v>
                </c:pt>
                <c:pt idx="35700">
                  <c:v>0.63670411985018704</c:v>
                </c:pt>
                <c:pt idx="35701">
                  <c:v>0.63672195469948201</c:v>
                </c:pt>
                <c:pt idx="35702">
                  <c:v>0.63673978954877797</c:v>
                </c:pt>
                <c:pt idx="35703">
                  <c:v>0.63675762439807304</c:v>
                </c:pt>
                <c:pt idx="35704">
                  <c:v>0.636775459247369</c:v>
                </c:pt>
                <c:pt idx="35705">
                  <c:v>0.63679329409666396</c:v>
                </c:pt>
                <c:pt idx="35706">
                  <c:v>0.63681112894596004</c:v>
                </c:pt>
                <c:pt idx="35707">
                  <c:v>0.636828963795255</c:v>
                </c:pt>
                <c:pt idx="35708">
                  <c:v>0.63684679864455096</c:v>
                </c:pt>
                <c:pt idx="35709">
                  <c:v>0.63686463349384703</c:v>
                </c:pt>
                <c:pt idx="35710">
                  <c:v>0.63688246834314199</c:v>
                </c:pt>
                <c:pt idx="35711">
                  <c:v>0.63690030319243796</c:v>
                </c:pt>
                <c:pt idx="35712">
                  <c:v>0.63691813804173303</c:v>
                </c:pt>
                <c:pt idx="35713">
                  <c:v>0.63693597289102899</c:v>
                </c:pt>
                <c:pt idx="35714">
                  <c:v>0.63695380774032395</c:v>
                </c:pt>
                <c:pt idx="35715">
                  <c:v>0.63697164258962002</c:v>
                </c:pt>
                <c:pt idx="35716">
                  <c:v>0.63698947743891499</c:v>
                </c:pt>
                <c:pt idx="35717">
                  <c:v>0.63700731228821095</c:v>
                </c:pt>
                <c:pt idx="35718">
                  <c:v>0.63702514713750602</c:v>
                </c:pt>
                <c:pt idx="35719">
                  <c:v>0.63704298198680198</c:v>
                </c:pt>
                <c:pt idx="35720">
                  <c:v>0.63706081683609705</c:v>
                </c:pt>
                <c:pt idx="35721">
                  <c:v>0.63707865168539302</c:v>
                </c:pt>
                <c:pt idx="35722">
                  <c:v>0.63709648653468798</c:v>
                </c:pt>
                <c:pt idx="35723">
                  <c:v>0.63711432138398405</c:v>
                </c:pt>
                <c:pt idx="35724">
                  <c:v>0.63713215623327901</c:v>
                </c:pt>
                <c:pt idx="35725">
                  <c:v>0.63714999108257497</c:v>
                </c:pt>
                <c:pt idx="35726">
                  <c:v>0.63716782593187005</c:v>
                </c:pt>
                <c:pt idx="35727">
                  <c:v>0.63718566078116601</c:v>
                </c:pt>
                <c:pt idx="35728">
                  <c:v>0.63720349563046197</c:v>
                </c:pt>
                <c:pt idx="35729">
                  <c:v>0.63722133047975704</c:v>
                </c:pt>
                <c:pt idx="35730">
                  <c:v>0.637239165329053</c:v>
                </c:pt>
                <c:pt idx="35731">
                  <c:v>0.63725700017834797</c:v>
                </c:pt>
                <c:pt idx="35732">
                  <c:v>0.63727483502764404</c:v>
                </c:pt>
                <c:pt idx="35733">
                  <c:v>0.637292669876939</c:v>
                </c:pt>
                <c:pt idx="35734">
                  <c:v>0.63731050472623496</c:v>
                </c:pt>
                <c:pt idx="35735">
                  <c:v>0.63732833957553003</c:v>
                </c:pt>
                <c:pt idx="35736">
                  <c:v>0.637346174424826</c:v>
                </c:pt>
                <c:pt idx="35737">
                  <c:v>0.63736400927412096</c:v>
                </c:pt>
                <c:pt idx="35738">
                  <c:v>0.63738184412341703</c:v>
                </c:pt>
                <c:pt idx="35739">
                  <c:v>0.63739967897271199</c:v>
                </c:pt>
                <c:pt idx="35740">
                  <c:v>0.63741751382200795</c:v>
                </c:pt>
                <c:pt idx="35741">
                  <c:v>0.63743534867130303</c:v>
                </c:pt>
                <c:pt idx="35742">
                  <c:v>0.63745318352059899</c:v>
                </c:pt>
                <c:pt idx="35743">
                  <c:v>0.63747101836989395</c:v>
                </c:pt>
                <c:pt idx="35744">
                  <c:v>0.63748885321919002</c:v>
                </c:pt>
                <c:pt idx="35745">
                  <c:v>0.63750668806848498</c:v>
                </c:pt>
                <c:pt idx="35746">
                  <c:v>0.63752452291778094</c:v>
                </c:pt>
                <c:pt idx="35747">
                  <c:v>0.63754235776707602</c:v>
                </c:pt>
                <c:pt idx="35748">
                  <c:v>0.63756019261637198</c:v>
                </c:pt>
                <c:pt idx="35749">
                  <c:v>0.63757802746566705</c:v>
                </c:pt>
                <c:pt idx="35750">
                  <c:v>0.63759586231496301</c:v>
                </c:pt>
                <c:pt idx="35751">
                  <c:v>0.63761369716425897</c:v>
                </c:pt>
                <c:pt idx="35752">
                  <c:v>0.63763153201355405</c:v>
                </c:pt>
                <c:pt idx="35753">
                  <c:v>0.63764936686285001</c:v>
                </c:pt>
                <c:pt idx="35754">
                  <c:v>0.63766720171214497</c:v>
                </c:pt>
                <c:pt idx="35755">
                  <c:v>0.63768503656144104</c:v>
                </c:pt>
                <c:pt idx="35756">
                  <c:v>0.63770287141073601</c:v>
                </c:pt>
                <c:pt idx="35757">
                  <c:v>0.63772070626003197</c:v>
                </c:pt>
                <c:pt idx="35758">
                  <c:v>0.63773854110932704</c:v>
                </c:pt>
                <c:pt idx="35759">
                  <c:v>0.637756375958623</c:v>
                </c:pt>
                <c:pt idx="35760">
                  <c:v>0.63777421080791796</c:v>
                </c:pt>
                <c:pt idx="35761">
                  <c:v>0.63779204565721404</c:v>
                </c:pt>
                <c:pt idx="35762">
                  <c:v>0.637809880506509</c:v>
                </c:pt>
                <c:pt idx="35763">
                  <c:v>0.63782771535580496</c:v>
                </c:pt>
                <c:pt idx="35764">
                  <c:v>0.63784555020510003</c:v>
                </c:pt>
                <c:pt idx="35765">
                  <c:v>0.63786338505439599</c:v>
                </c:pt>
                <c:pt idx="35766">
                  <c:v>0.63788121990369095</c:v>
                </c:pt>
                <c:pt idx="35767">
                  <c:v>0.63789905475298703</c:v>
                </c:pt>
                <c:pt idx="35768">
                  <c:v>0.63791688960228199</c:v>
                </c:pt>
                <c:pt idx="35769">
                  <c:v>0.63793472445157795</c:v>
                </c:pt>
                <c:pt idx="35770">
                  <c:v>0.63795255930087302</c:v>
                </c:pt>
                <c:pt idx="35771">
                  <c:v>0.63797039415016898</c:v>
                </c:pt>
                <c:pt idx="35772">
                  <c:v>0.63798822899946495</c:v>
                </c:pt>
                <c:pt idx="35773">
                  <c:v>0.63800606384876002</c:v>
                </c:pt>
                <c:pt idx="35774">
                  <c:v>0.63802389869805598</c:v>
                </c:pt>
                <c:pt idx="35775">
                  <c:v>0.63804173354735105</c:v>
                </c:pt>
                <c:pt idx="35776">
                  <c:v>0.63805956839664701</c:v>
                </c:pt>
                <c:pt idx="35777">
                  <c:v>0.63807740324594198</c:v>
                </c:pt>
                <c:pt idx="35778">
                  <c:v>0.63809523809523805</c:v>
                </c:pt>
                <c:pt idx="35779">
                  <c:v>0.63811307294453301</c:v>
                </c:pt>
                <c:pt idx="35780">
                  <c:v>0.63813090779382897</c:v>
                </c:pt>
                <c:pt idx="35781">
                  <c:v>0.63814874264312405</c:v>
                </c:pt>
                <c:pt idx="35782">
                  <c:v>0.63816657749242001</c:v>
                </c:pt>
                <c:pt idx="35783">
                  <c:v>0.63818441234171497</c:v>
                </c:pt>
                <c:pt idx="35784">
                  <c:v>0.63820224719101104</c:v>
                </c:pt>
                <c:pt idx="35785">
                  <c:v>0.638220082040306</c:v>
                </c:pt>
                <c:pt idx="35786">
                  <c:v>0.63823791688960196</c:v>
                </c:pt>
                <c:pt idx="35787">
                  <c:v>0.63825575173889704</c:v>
                </c:pt>
                <c:pt idx="35788">
                  <c:v>0.638273586588193</c:v>
                </c:pt>
                <c:pt idx="35789">
                  <c:v>0.63829142143748796</c:v>
                </c:pt>
                <c:pt idx="35790">
                  <c:v>0.63830925628678403</c:v>
                </c:pt>
                <c:pt idx="35791">
                  <c:v>0.63832709113607899</c:v>
                </c:pt>
                <c:pt idx="35792">
                  <c:v>0.63834492598537496</c:v>
                </c:pt>
                <c:pt idx="35793">
                  <c:v>0.63836276083467003</c:v>
                </c:pt>
                <c:pt idx="35794">
                  <c:v>0.63838059568396599</c:v>
                </c:pt>
                <c:pt idx="35795">
                  <c:v>0.63839843053326195</c:v>
                </c:pt>
                <c:pt idx="35796">
                  <c:v>0.63841626538255702</c:v>
                </c:pt>
                <c:pt idx="35797">
                  <c:v>0.63843410023185299</c:v>
                </c:pt>
                <c:pt idx="35798">
                  <c:v>0.63845193508114795</c:v>
                </c:pt>
                <c:pt idx="35799">
                  <c:v>0.63846976993044402</c:v>
                </c:pt>
                <c:pt idx="35800">
                  <c:v>0.63848760477973898</c:v>
                </c:pt>
                <c:pt idx="35801">
                  <c:v>0.63850543962903505</c:v>
                </c:pt>
                <c:pt idx="35802">
                  <c:v>0.63852327447833002</c:v>
                </c:pt>
                <c:pt idx="35803">
                  <c:v>0.63854110932762598</c:v>
                </c:pt>
                <c:pt idx="35804">
                  <c:v>0.63855894417692105</c:v>
                </c:pt>
                <c:pt idx="35805">
                  <c:v>0.63857677902621701</c:v>
                </c:pt>
                <c:pt idx="35806">
                  <c:v>0.63859461387551197</c:v>
                </c:pt>
                <c:pt idx="35807">
                  <c:v>0.63861244872480805</c:v>
                </c:pt>
                <c:pt idx="35808">
                  <c:v>0.63863028357410301</c:v>
                </c:pt>
                <c:pt idx="35809">
                  <c:v>0.63864811842339897</c:v>
                </c:pt>
                <c:pt idx="35810">
                  <c:v>0.63866595327269404</c:v>
                </c:pt>
                <c:pt idx="35811">
                  <c:v>0.63868378812199</c:v>
                </c:pt>
                <c:pt idx="35812">
                  <c:v>0.63870162297128497</c:v>
                </c:pt>
                <c:pt idx="35813">
                  <c:v>0.63871945782058104</c:v>
                </c:pt>
                <c:pt idx="35814">
                  <c:v>0.638737292669876</c:v>
                </c:pt>
                <c:pt idx="35815">
                  <c:v>0.63875512751917196</c:v>
                </c:pt>
                <c:pt idx="35816">
                  <c:v>0.63877296236846803</c:v>
                </c:pt>
                <c:pt idx="35817">
                  <c:v>0.638790797217763</c:v>
                </c:pt>
                <c:pt idx="35818">
                  <c:v>0.63880863206705896</c:v>
                </c:pt>
                <c:pt idx="35819">
                  <c:v>0.63882646691635403</c:v>
                </c:pt>
                <c:pt idx="35820">
                  <c:v>0.63884430176564999</c:v>
                </c:pt>
                <c:pt idx="35821">
                  <c:v>0.63886213661494495</c:v>
                </c:pt>
                <c:pt idx="35822">
                  <c:v>0.63887997146424103</c:v>
                </c:pt>
                <c:pt idx="35823">
                  <c:v>0.63889780631353599</c:v>
                </c:pt>
                <c:pt idx="35824">
                  <c:v>0.63891564116283195</c:v>
                </c:pt>
                <c:pt idx="35825">
                  <c:v>0.63893347601212702</c:v>
                </c:pt>
                <c:pt idx="35826">
                  <c:v>0.63895131086142298</c:v>
                </c:pt>
                <c:pt idx="35827">
                  <c:v>0.63896914571071795</c:v>
                </c:pt>
                <c:pt idx="35828">
                  <c:v>0.63898698056001402</c:v>
                </c:pt>
                <c:pt idx="35829">
                  <c:v>0.63900481540930898</c:v>
                </c:pt>
                <c:pt idx="35830">
                  <c:v>0.63902265025860505</c:v>
                </c:pt>
                <c:pt idx="35831">
                  <c:v>0.63904048510790001</c:v>
                </c:pt>
                <c:pt idx="35832">
                  <c:v>0.63905831995719597</c:v>
                </c:pt>
                <c:pt idx="35833">
                  <c:v>0.63907615480649105</c:v>
                </c:pt>
                <c:pt idx="35834">
                  <c:v>0.63909398965578701</c:v>
                </c:pt>
                <c:pt idx="35835">
                  <c:v>0.63911182450508297</c:v>
                </c:pt>
                <c:pt idx="35836">
                  <c:v>0.63912965935437804</c:v>
                </c:pt>
                <c:pt idx="35837">
                  <c:v>0.639147494203674</c:v>
                </c:pt>
                <c:pt idx="35838">
                  <c:v>0.63916532905296897</c:v>
                </c:pt>
                <c:pt idx="35839">
                  <c:v>0.63918316390226504</c:v>
                </c:pt>
                <c:pt idx="35840">
                  <c:v>0.63920099875156</c:v>
                </c:pt>
                <c:pt idx="35841">
                  <c:v>0.63921883360085596</c:v>
                </c:pt>
                <c:pt idx="35842">
                  <c:v>0.63923666845015104</c:v>
                </c:pt>
                <c:pt idx="35843">
                  <c:v>0.639254503299447</c:v>
                </c:pt>
                <c:pt idx="35844">
                  <c:v>0.63927233814874196</c:v>
                </c:pt>
                <c:pt idx="35845">
                  <c:v>0.63929017299803803</c:v>
                </c:pt>
                <c:pt idx="35846">
                  <c:v>0.63930800784733299</c:v>
                </c:pt>
                <c:pt idx="35847">
                  <c:v>0.63932584269662895</c:v>
                </c:pt>
                <c:pt idx="35848">
                  <c:v>0.63934367754592403</c:v>
                </c:pt>
                <c:pt idx="35849">
                  <c:v>0.63936151239521999</c:v>
                </c:pt>
                <c:pt idx="35850">
                  <c:v>0.63937934724451495</c:v>
                </c:pt>
                <c:pt idx="35851">
                  <c:v>0.63939718209381102</c:v>
                </c:pt>
                <c:pt idx="35852">
                  <c:v>0.63941501694310598</c:v>
                </c:pt>
                <c:pt idx="35853">
                  <c:v>0.63943285179240195</c:v>
                </c:pt>
                <c:pt idx="35854">
                  <c:v>0.63945068664169702</c:v>
                </c:pt>
                <c:pt idx="35855">
                  <c:v>0.63946852149099298</c:v>
                </c:pt>
                <c:pt idx="35856">
                  <c:v>0.63948635634028805</c:v>
                </c:pt>
                <c:pt idx="35857">
                  <c:v>0.63950419118958401</c:v>
                </c:pt>
                <c:pt idx="35858">
                  <c:v>0.63952202603887998</c:v>
                </c:pt>
                <c:pt idx="35859">
                  <c:v>0.63953986088817505</c:v>
                </c:pt>
                <c:pt idx="35860">
                  <c:v>0.63955769573747101</c:v>
                </c:pt>
                <c:pt idx="35861">
                  <c:v>0.63957553058676597</c:v>
                </c:pt>
                <c:pt idx="35862">
                  <c:v>0.63959336543606204</c:v>
                </c:pt>
                <c:pt idx="35863">
                  <c:v>0.63961120028535701</c:v>
                </c:pt>
                <c:pt idx="35864">
                  <c:v>0.63962903513465297</c:v>
                </c:pt>
                <c:pt idx="35865">
                  <c:v>0.63964686998394804</c:v>
                </c:pt>
                <c:pt idx="35866">
                  <c:v>0.639664704833244</c:v>
                </c:pt>
                <c:pt idx="35867">
                  <c:v>0.63968253968253896</c:v>
                </c:pt>
                <c:pt idx="35868">
                  <c:v>0.63970037453183504</c:v>
                </c:pt>
                <c:pt idx="35869">
                  <c:v>0.63971820938113</c:v>
                </c:pt>
                <c:pt idx="35870">
                  <c:v>0.63973604423042596</c:v>
                </c:pt>
                <c:pt idx="35871">
                  <c:v>0.63975387907972103</c:v>
                </c:pt>
                <c:pt idx="35872">
                  <c:v>0.63977171392901699</c:v>
                </c:pt>
                <c:pt idx="35873">
                  <c:v>0.63978954877831196</c:v>
                </c:pt>
                <c:pt idx="35874">
                  <c:v>0.63980738362760803</c:v>
                </c:pt>
                <c:pt idx="35875">
                  <c:v>0.63982521847690299</c:v>
                </c:pt>
                <c:pt idx="35876">
                  <c:v>0.63984305332619895</c:v>
                </c:pt>
                <c:pt idx="35877">
                  <c:v>0.63986088817549402</c:v>
                </c:pt>
                <c:pt idx="35878">
                  <c:v>0.63987872302478999</c:v>
                </c:pt>
                <c:pt idx="35879">
                  <c:v>0.63989655787408595</c:v>
                </c:pt>
                <c:pt idx="35880">
                  <c:v>0.63991439272338102</c:v>
                </c:pt>
                <c:pt idx="35881">
                  <c:v>0.63993222757267698</c:v>
                </c:pt>
                <c:pt idx="35882">
                  <c:v>0.63995006242197205</c:v>
                </c:pt>
                <c:pt idx="35883">
                  <c:v>0.63996789727126802</c:v>
                </c:pt>
                <c:pt idx="35884">
                  <c:v>0.63998573212056298</c:v>
                </c:pt>
                <c:pt idx="35885">
                  <c:v>0.64000356696985905</c:v>
                </c:pt>
                <c:pt idx="35886">
                  <c:v>0.64002140181915401</c:v>
                </c:pt>
                <c:pt idx="35887">
                  <c:v>0.64003923666844997</c:v>
                </c:pt>
                <c:pt idx="35888">
                  <c:v>0.64005707151774505</c:v>
                </c:pt>
                <c:pt idx="35889">
                  <c:v>0.64007490636704101</c:v>
                </c:pt>
                <c:pt idx="35890">
                  <c:v>0.64009274121633597</c:v>
                </c:pt>
                <c:pt idx="35891">
                  <c:v>0.64011057606563204</c:v>
                </c:pt>
                <c:pt idx="35892">
                  <c:v>0.640128410914927</c:v>
                </c:pt>
                <c:pt idx="35893">
                  <c:v>0.64014624576422297</c:v>
                </c:pt>
                <c:pt idx="35894">
                  <c:v>0.64016408061351804</c:v>
                </c:pt>
                <c:pt idx="35895">
                  <c:v>0.640181915462814</c:v>
                </c:pt>
                <c:pt idx="35896">
                  <c:v>0.64019975031210896</c:v>
                </c:pt>
                <c:pt idx="35897">
                  <c:v>0.64021758516140503</c:v>
                </c:pt>
                <c:pt idx="35898">
                  <c:v>0.6402354200107</c:v>
                </c:pt>
                <c:pt idx="35899">
                  <c:v>0.64025325485999596</c:v>
                </c:pt>
                <c:pt idx="35900">
                  <c:v>0.64027108970929103</c:v>
                </c:pt>
                <c:pt idx="35901">
                  <c:v>0.64028892455858699</c:v>
                </c:pt>
                <c:pt idx="35902">
                  <c:v>0.64030675940788295</c:v>
                </c:pt>
                <c:pt idx="35903">
                  <c:v>0.64032459425717803</c:v>
                </c:pt>
                <c:pt idx="35904">
                  <c:v>0.64034242910647399</c:v>
                </c:pt>
                <c:pt idx="35905">
                  <c:v>0.64036026395576895</c:v>
                </c:pt>
                <c:pt idx="35906">
                  <c:v>0.64037809880506502</c:v>
                </c:pt>
                <c:pt idx="35907">
                  <c:v>0.64039593365435998</c:v>
                </c:pt>
                <c:pt idx="35908">
                  <c:v>0.64041376850365594</c:v>
                </c:pt>
                <c:pt idx="35909">
                  <c:v>0.64043160335295102</c:v>
                </c:pt>
                <c:pt idx="35910">
                  <c:v>0.64044943820224698</c:v>
                </c:pt>
                <c:pt idx="35911">
                  <c:v>0.64046727305154205</c:v>
                </c:pt>
                <c:pt idx="35912">
                  <c:v>0.64048510790083801</c:v>
                </c:pt>
                <c:pt idx="35913">
                  <c:v>0.64050294275013298</c:v>
                </c:pt>
                <c:pt idx="35914">
                  <c:v>0.64052077759942905</c:v>
                </c:pt>
                <c:pt idx="35915">
                  <c:v>0.64053861244872401</c:v>
                </c:pt>
                <c:pt idx="35916">
                  <c:v>0.64055644729801997</c:v>
                </c:pt>
                <c:pt idx="35917">
                  <c:v>0.64057428214731504</c:v>
                </c:pt>
                <c:pt idx="35918">
                  <c:v>0.64059211699661101</c:v>
                </c:pt>
                <c:pt idx="35919">
                  <c:v>0.64060995184590597</c:v>
                </c:pt>
                <c:pt idx="35920">
                  <c:v>0.64062778669520204</c:v>
                </c:pt>
                <c:pt idx="35921">
                  <c:v>0.640645621544498</c:v>
                </c:pt>
                <c:pt idx="35922">
                  <c:v>0.64066345639379296</c:v>
                </c:pt>
                <c:pt idx="35923">
                  <c:v>0.64068129124308903</c:v>
                </c:pt>
                <c:pt idx="35924">
                  <c:v>0.640699126092384</c:v>
                </c:pt>
                <c:pt idx="35925">
                  <c:v>0.64071696094167996</c:v>
                </c:pt>
                <c:pt idx="35926">
                  <c:v>0.64073479579097503</c:v>
                </c:pt>
                <c:pt idx="35927">
                  <c:v>0.64075263064027099</c:v>
                </c:pt>
                <c:pt idx="35928">
                  <c:v>0.64077046548956595</c:v>
                </c:pt>
                <c:pt idx="35929">
                  <c:v>0.64078830033886203</c:v>
                </c:pt>
                <c:pt idx="35930">
                  <c:v>0.64080613518815699</c:v>
                </c:pt>
                <c:pt idx="35931">
                  <c:v>0.64082397003745295</c:v>
                </c:pt>
                <c:pt idx="35932">
                  <c:v>0.64084180488674802</c:v>
                </c:pt>
                <c:pt idx="35933">
                  <c:v>0.64085963973604398</c:v>
                </c:pt>
                <c:pt idx="35934">
                  <c:v>0.64087747458533895</c:v>
                </c:pt>
                <c:pt idx="35935">
                  <c:v>0.64089530943463502</c:v>
                </c:pt>
                <c:pt idx="35936">
                  <c:v>0.64091314428392998</c:v>
                </c:pt>
                <c:pt idx="35937">
                  <c:v>0.64093097913322605</c:v>
                </c:pt>
                <c:pt idx="35938">
                  <c:v>0.64094881398252102</c:v>
                </c:pt>
                <c:pt idx="35939">
                  <c:v>0.64096664883181698</c:v>
                </c:pt>
                <c:pt idx="35940">
                  <c:v>0.64098448368111205</c:v>
                </c:pt>
                <c:pt idx="35941">
                  <c:v>0.64100231853040801</c:v>
                </c:pt>
                <c:pt idx="35942">
                  <c:v>0.64102015337970397</c:v>
                </c:pt>
                <c:pt idx="35943">
                  <c:v>0.64103798822899904</c:v>
                </c:pt>
                <c:pt idx="35944">
                  <c:v>0.64105582307829501</c:v>
                </c:pt>
                <c:pt idx="35945">
                  <c:v>0.64107365792758997</c:v>
                </c:pt>
                <c:pt idx="35946">
                  <c:v>0.64109149277688604</c:v>
                </c:pt>
                <c:pt idx="35947">
                  <c:v>0.641109327626181</c:v>
                </c:pt>
                <c:pt idx="35948">
                  <c:v>0.64112716247547696</c:v>
                </c:pt>
                <c:pt idx="35949">
                  <c:v>0.64114499732477204</c:v>
                </c:pt>
                <c:pt idx="35950">
                  <c:v>0.641162832174068</c:v>
                </c:pt>
                <c:pt idx="35951">
                  <c:v>0.64118066702336296</c:v>
                </c:pt>
                <c:pt idx="35952">
                  <c:v>0.64119850187265903</c:v>
                </c:pt>
                <c:pt idx="35953">
                  <c:v>0.64121633672195399</c:v>
                </c:pt>
                <c:pt idx="35954">
                  <c:v>0.64123417157124996</c:v>
                </c:pt>
                <c:pt idx="35955">
                  <c:v>0.64125200642054503</c:v>
                </c:pt>
                <c:pt idx="35956">
                  <c:v>0.64126984126984099</c:v>
                </c:pt>
                <c:pt idx="35957">
                  <c:v>0.64128767611913595</c:v>
                </c:pt>
                <c:pt idx="35958">
                  <c:v>0.64130551096843202</c:v>
                </c:pt>
                <c:pt idx="35959">
                  <c:v>0.64132334581772699</c:v>
                </c:pt>
                <c:pt idx="35960">
                  <c:v>0.64134118066702295</c:v>
                </c:pt>
                <c:pt idx="35961">
                  <c:v>0.64135901551631802</c:v>
                </c:pt>
                <c:pt idx="35962">
                  <c:v>0.64137685036561398</c:v>
                </c:pt>
                <c:pt idx="35963">
                  <c:v>0.64139468521490905</c:v>
                </c:pt>
                <c:pt idx="35964">
                  <c:v>0.64141252006420502</c:v>
                </c:pt>
                <c:pt idx="35965">
                  <c:v>0.64143035491350098</c:v>
                </c:pt>
                <c:pt idx="35966">
                  <c:v>0.64144818976279605</c:v>
                </c:pt>
                <c:pt idx="35967">
                  <c:v>0.64146602461209201</c:v>
                </c:pt>
                <c:pt idx="35968">
                  <c:v>0.64148385946138697</c:v>
                </c:pt>
                <c:pt idx="35969">
                  <c:v>0.64150169431068305</c:v>
                </c:pt>
                <c:pt idx="35970">
                  <c:v>0.64151952915997801</c:v>
                </c:pt>
                <c:pt idx="35971">
                  <c:v>0.64153736400927397</c:v>
                </c:pt>
                <c:pt idx="35972">
                  <c:v>0.64155519885856904</c:v>
                </c:pt>
                <c:pt idx="35973">
                  <c:v>0.641573033707865</c:v>
                </c:pt>
                <c:pt idx="35974">
                  <c:v>0.64159086855715997</c:v>
                </c:pt>
                <c:pt idx="35975">
                  <c:v>0.64160870340645604</c:v>
                </c:pt>
                <c:pt idx="35976">
                  <c:v>0.641626538255751</c:v>
                </c:pt>
                <c:pt idx="35977">
                  <c:v>0.64164437310504696</c:v>
                </c:pt>
                <c:pt idx="35978">
                  <c:v>0.64166220795434203</c:v>
                </c:pt>
                <c:pt idx="35979">
                  <c:v>0.641680042803638</c:v>
                </c:pt>
                <c:pt idx="35980">
                  <c:v>0.64169787765293296</c:v>
                </c:pt>
                <c:pt idx="35981">
                  <c:v>0.64171571250222903</c:v>
                </c:pt>
                <c:pt idx="35982">
                  <c:v>0.64173354735152399</c:v>
                </c:pt>
                <c:pt idx="35983">
                  <c:v>0.64175138220081995</c:v>
                </c:pt>
                <c:pt idx="35984">
                  <c:v>0.64176921705011503</c:v>
                </c:pt>
                <c:pt idx="35985">
                  <c:v>0.64178705189941099</c:v>
                </c:pt>
                <c:pt idx="35986">
                  <c:v>0.64180488674870695</c:v>
                </c:pt>
                <c:pt idx="35987">
                  <c:v>0.64182272159800202</c:v>
                </c:pt>
                <c:pt idx="35988">
                  <c:v>0.64184055644729798</c:v>
                </c:pt>
                <c:pt idx="35989">
                  <c:v>0.64185839129659294</c:v>
                </c:pt>
                <c:pt idx="35990">
                  <c:v>0.64187622614588902</c:v>
                </c:pt>
                <c:pt idx="35991">
                  <c:v>0.64189406099518398</c:v>
                </c:pt>
                <c:pt idx="35992">
                  <c:v>0.64191189584448005</c:v>
                </c:pt>
                <c:pt idx="35993">
                  <c:v>0.64192973069377501</c:v>
                </c:pt>
                <c:pt idx="35994">
                  <c:v>0.64194756554307097</c:v>
                </c:pt>
                <c:pt idx="35995">
                  <c:v>0.64196540039236605</c:v>
                </c:pt>
                <c:pt idx="35996">
                  <c:v>0.64198323524166201</c:v>
                </c:pt>
                <c:pt idx="35997">
                  <c:v>0.64200107009095697</c:v>
                </c:pt>
                <c:pt idx="35998">
                  <c:v>0.64201890494025304</c:v>
                </c:pt>
                <c:pt idx="35999">
                  <c:v>0.64203673978954801</c:v>
                </c:pt>
                <c:pt idx="36000">
                  <c:v>0.64205457463884397</c:v>
                </c:pt>
                <c:pt idx="36001">
                  <c:v>0.64207240948813904</c:v>
                </c:pt>
                <c:pt idx="36002">
                  <c:v>0.642090244337435</c:v>
                </c:pt>
                <c:pt idx="36003">
                  <c:v>0.64210807918672996</c:v>
                </c:pt>
                <c:pt idx="36004">
                  <c:v>0.64212591403602604</c:v>
                </c:pt>
                <c:pt idx="36005">
                  <c:v>0.642143748885321</c:v>
                </c:pt>
                <c:pt idx="36006">
                  <c:v>0.64216158373461696</c:v>
                </c:pt>
                <c:pt idx="36007">
                  <c:v>0.64217941858391203</c:v>
                </c:pt>
                <c:pt idx="36008">
                  <c:v>0.64219725343320799</c:v>
                </c:pt>
                <c:pt idx="36009">
                  <c:v>0.64221508828250395</c:v>
                </c:pt>
                <c:pt idx="36010">
                  <c:v>0.64223292313179903</c:v>
                </c:pt>
                <c:pt idx="36011">
                  <c:v>0.64225075798109499</c:v>
                </c:pt>
                <c:pt idx="36012">
                  <c:v>0.64226859283038995</c:v>
                </c:pt>
                <c:pt idx="36013">
                  <c:v>0.64228642767968602</c:v>
                </c:pt>
                <c:pt idx="36014">
                  <c:v>0.64230426252898098</c:v>
                </c:pt>
                <c:pt idx="36015">
                  <c:v>0.64232209737827695</c:v>
                </c:pt>
                <c:pt idx="36016">
                  <c:v>0.64233993222757202</c:v>
                </c:pt>
                <c:pt idx="36017">
                  <c:v>0.64235776707686798</c:v>
                </c:pt>
                <c:pt idx="36018">
                  <c:v>0.64237560192616305</c:v>
                </c:pt>
                <c:pt idx="36019">
                  <c:v>0.64239343677545901</c:v>
                </c:pt>
                <c:pt idx="36020">
                  <c:v>0.64241127162475398</c:v>
                </c:pt>
                <c:pt idx="36021">
                  <c:v>0.64242910647405005</c:v>
                </c:pt>
                <c:pt idx="36022">
                  <c:v>0.64244694132334501</c:v>
                </c:pt>
                <c:pt idx="36023">
                  <c:v>0.64246477617264097</c:v>
                </c:pt>
                <c:pt idx="36024">
                  <c:v>0.64248261102193605</c:v>
                </c:pt>
                <c:pt idx="36025">
                  <c:v>0.64250044587123201</c:v>
                </c:pt>
                <c:pt idx="36026">
                  <c:v>0.64251828072052697</c:v>
                </c:pt>
                <c:pt idx="36027">
                  <c:v>0.64253611556982304</c:v>
                </c:pt>
                <c:pt idx="36028">
                  <c:v>0.642553950419119</c:v>
                </c:pt>
                <c:pt idx="36029">
                  <c:v>0.64257178526841396</c:v>
                </c:pt>
                <c:pt idx="36030">
                  <c:v>0.64258962011771004</c:v>
                </c:pt>
                <c:pt idx="36031">
                  <c:v>0.642607454967005</c:v>
                </c:pt>
                <c:pt idx="36032">
                  <c:v>0.64262528981630096</c:v>
                </c:pt>
                <c:pt idx="36033">
                  <c:v>0.64264312466559603</c:v>
                </c:pt>
                <c:pt idx="36034">
                  <c:v>0.64266095951489199</c:v>
                </c:pt>
                <c:pt idx="36035">
                  <c:v>0.64267879436418696</c:v>
                </c:pt>
                <c:pt idx="36036">
                  <c:v>0.64269662921348303</c:v>
                </c:pt>
                <c:pt idx="36037">
                  <c:v>0.64271446406277799</c:v>
                </c:pt>
                <c:pt idx="36038">
                  <c:v>0.64273229891207395</c:v>
                </c:pt>
                <c:pt idx="36039">
                  <c:v>0.64275013376136902</c:v>
                </c:pt>
                <c:pt idx="36040">
                  <c:v>0.64276796861066499</c:v>
                </c:pt>
                <c:pt idx="36041">
                  <c:v>0.64278580345995995</c:v>
                </c:pt>
                <c:pt idx="36042">
                  <c:v>0.64280363830925602</c:v>
                </c:pt>
                <c:pt idx="36043">
                  <c:v>0.64282147315855098</c:v>
                </c:pt>
                <c:pt idx="36044">
                  <c:v>0.64283930800784705</c:v>
                </c:pt>
                <c:pt idx="36045">
                  <c:v>0.64285714285714202</c:v>
                </c:pt>
                <c:pt idx="36046">
                  <c:v>0.64287497770643798</c:v>
                </c:pt>
                <c:pt idx="36047">
                  <c:v>0.64289281255573305</c:v>
                </c:pt>
                <c:pt idx="36048">
                  <c:v>0.64291064740502901</c:v>
                </c:pt>
                <c:pt idx="36049">
                  <c:v>0.64292848225432497</c:v>
                </c:pt>
                <c:pt idx="36050">
                  <c:v>0.64294631710362005</c:v>
                </c:pt>
                <c:pt idx="36051">
                  <c:v>0.64296415195291601</c:v>
                </c:pt>
                <c:pt idx="36052">
                  <c:v>0.64298198680221097</c:v>
                </c:pt>
                <c:pt idx="36053">
                  <c:v>0.64299982165150704</c:v>
                </c:pt>
                <c:pt idx="36054">
                  <c:v>0.643017656500802</c:v>
                </c:pt>
                <c:pt idx="36055">
                  <c:v>0.64303549135009797</c:v>
                </c:pt>
                <c:pt idx="36056">
                  <c:v>0.64305332619939304</c:v>
                </c:pt>
                <c:pt idx="36057">
                  <c:v>0.643071161048689</c:v>
                </c:pt>
                <c:pt idx="36058">
                  <c:v>0.64308899589798396</c:v>
                </c:pt>
                <c:pt idx="36059">
                  <c:v>0.64310683074728003</c:v>
                </c:pt>
                <c:pt idx="36060">
                  <c:v>0.643124665596575</c:v>
                </c:pt>
                <c:pt idx="36061">
                  <c:v>0.64314250044587096</c:v>
                </c:pt>
                <c:pt idx="36062">
                  <c:v>0.64316033529516603</c:v>
                </c:pt>
                <c:pt idx="36063">
                  <c:v>0.64317817014446199</c:v>
                </c:pt>
                <c:pt idx="36064">
                  <c:v>0.64319600499375695</c:v>
                </c:pt>
                <c:pt idx="36065">
                  <c:v>0.64321383984305303</c:v>
                </c:pt>
                <c:pt idx="36066">
                  <c:v>0.64323167469234799</c:v>
                </c:pt>
                <c:pt idx="36067">
                  <c:v>0.64324950954164395</c:v>
                </c:pt>
                <c:pt idx="36068">
                  <c:v>0.64326734439093902</c:v>
                </c:pt>
                <c:pt idx="36069">
                  <c:v>0.64328517924023498</c:v>
                </c:pt>
                <c:pt idx="36070">
                  <c:v>0.64330301408953094</c:v>
                </c:pt>
                <c:pt idx="36071">
                  <c:v>0.64332084893882602</c:v>
                </c:pt>
                <c:pt idx="36072">
                  <c:v>0.64333868378812198</c:v>
                </c:pt>
                <c:pt idx="36073">
                  <c:v>0.64335651863741705</c:v>
                </c:pt>
                <c:pt idx="36074">
                  <c:v>0.64337435348671301</c:v>
                </c:pt>
                <c:pt idx="36075">
                  <c:v>0.64339218833600798</c:v>
                </c:pt>
                <c:pt idx="36076">
                  <c:v>0.64341002318530405</c:v>
                </c:pt>
                <c:pt idx="36077">
                  <c:v>0.64342785803459901</c:v>
                </c:pt>
                <c:pt idx="36078">
                  <c:v>0.64344569288389497</c:v>
                </c:pt>
                <c:pt idx="36079">
                  <c:v>0.64346352773319004</c:v>
                </c:pt>
                <c:pt idx="36080">
                  <c:v>0.64348136258248601</c:v>
                </c:pt>
                <c:pt idx="36081">
                  <c:v>0.64349919743178097</c:v>
                </c:pt>
                <c:pt idx="36082">
                  <c:v>0.64351703228107704</c:v>
                </c:pt>
                <c:pt idx="36083">
                  <c:v>0.643534867130372</c:v>
                </c:pt>
                <c:pt idx="36084">
                  <c:v>0.64355270197966796</c:v>
                </c:pt>
                <c:pt idx="36085">
                  <c:v>0.64357053682896304</c:v>
                </c:pt>
                <c:pt idx="36086">
                  <c:v>0.643588371678259</c:v>
                </c:pt>
                <c:pt idx="36087">
                  <c:v>0.64360620652755396</c:v>
                </c:pt>
                <c:pt idx="36088">
                  <c:v>0.64362404137685003</c:v>
                </c:pt>
                <c:pt idx="36089">
                  <c:v>0.64364187622614499</c:v>
                </c:pt>
                <c:pt idx="36090">
                  <c:v>0.64365971107544095</c:v>
                </c:pt>
                <c:pt idx="36091">
                  <c:v>0.64367754592473603</c:v>
                </c:pt>
                <c:pt idx="36092">
                  <c:v>0.64369538077403199</c:v>
                </c:pt>
                <c:pt idx="36093">
                  <c:v>0.64371321562332795</c:v>
                </c:pt>
                <c:pt idx="36094">
                  <c:v>0.64373105047262302</c:v>
                </c:pt>
                <c:pt idx="36095">
                  <c:v>0.64374888532191898</c:v>
                </c:pt>
                <c:pt idx="36096">
                  <c:v>0.64376672017121395</c:v>
                </c:pt>
                <c:pt idx="36097">
                  <c:v>0.64378455502051002</c:v>
                </c:pt>
                <c:pt idx="36098">
                  <c:v>0.64380238986980498</c:v>
                </c:pt>
                <c:pt idx="36099">
                  <c:v>0.64382022471910105</c:v>
                </c:pt>
                <c:pt idx="36100">
                  <c:v>0.64383805956839602</c:v>
                </c:pt>
                <c:pt idx="36101">
                  <c:v>0.64385589441769198</c:v>
                </c:pt>
                <c:pt idx="36102">
                  <c:v>0.64387372926698705</c:v>
                </c:pt>
                <c:pt idx="36103">
                  <c:v>0.64389156411628301</c:v>
                </c:pt>
                <c:pt idx="36104">
                  <c:v>0.64390939896557797</c:v>
                </c:pt>
                <c:pt idx="36105">
                  <c:v>0.64392723381487404</c:v>
                </c:pt>
                <c:pt idx="36106">
                  <c:v>0.64394506866416901</c:v>
                </c:pt>
                <c:pt idx="36107">
                  <c:v>0.64396290351346497</c:v>
                </c:pt>
                <c:pt idx="36108">
                  <c:v>0.64398073836276004</c:v>
                </c:pt>
                <c:pt idx="36109">
                  <c:v>0.643998573212056</c:v>
                </c:pt>
                <c:pt idx="36110">
                  <c:v>0.64401640806135096</c:v>
                </c:pt>
                <c:pt idx="36111">
                  <c:v>0.64403424291064704</c:v>
                </c:pt>
                <c:pt idx="36112">
                  <c:v>0.644052077759942</c:v>
                </c:pt>
                <c:pt idx="36113">
                  <c:v>0.64406991260923796</c:v>
                </c:pt>
                <c:pt idx="36114">
                  <c:v>0.64408774745853303</c:v>
                </c:pt>
                <c:pt idx="36115">
                  <c:v>0.64410558230782899</c:v>
                </c:pt>
                <c:pt idx="36116">
                  <c:v>0.64412341715712496</c:v>
                </c:pt>
                <c:pt idx="36117">
                  <c:v>0.64414125200642003</c:v>
                </c:pt>
                <c:pt idx="36118">
                  <c:v>0.64415908685571599</c:v>
                </c:pt>
                <c:pt idx="36119">
                  <c:v>0.64417692170501095</c:v>
                </c:pt>
                <c:pt idx="36120">
                  <c:v>0.64419475655430702</c:v>
                </c:pt>
                <c:pt idx="36121">
                  <c:v>0.64421259140360199</c:v>
                </c:pt>
                <c:pt idx="36122">
                  <c:v>0.64423042625289795</c:v>
                </c:pt>
                <c:pt idx="36123">
                  <c:v>0.64424826110219302</c:v>
                </c:pt>
                <c:pt idx="36124">
                  <c:v>0.64426609595148898</c:v>
                </c:pt>
                <c:pt idx="36125">
                  <c:v>0.64428393080078405</c:v>
                </c:pt>
                <c:pt idx="36126">
                  <c:v>0.64430176565008002</c:v>
                </c:pt>
                <c:pt idx="36127">
                  <c:v>0.64431960049937498</c:v>
                </c:pt>
                <c:pt idx="36128">
                  <c:v>0.64433743534867105</c:v>
                </c:pt>
                <c:pt idx="36129">
                  <c:v>0.64435527019796601</c:v>
                </c:pt>
                <c:pt idx="36130">
                  <c:v>0.64437310504726197</c:v>
                </c:pt>
                <c:pt idx="36131">
                  <c:v>0.64439093989655705</c:v>
                </c:pt>
                <c:pt idx="36132">
                  <c:v>0.64440877474585301</c:v>
                </c:pt>
                <c:pt idx="36133">
                  <c:v>0.64442660959514897</c:v>
                </c:pt>
                <c:pt idx="36134">
                  <c:v>0.64444444444444404</c:v>
                </c:pt>
                <c:pt idx="36135">
                  <c:v>0.64446227929374</c:v>
                </c:pt>
                <c:pt idx="36136">
                  <c:v>0.64448011414303497</c:v>
                </c:pt>
                <c:pt idx="36137">
                  <c:v>0.64449794899233104</c:v>
                </c:pt>
                <c:pt idx="36138">
                  <c:v>0.644515783841626</c:v>
                </c:pt>
                <c:pt idx="36139">
                  <c:v>0.64453361869092196</c:v>
                </c:pt>
                <c:pt idx="36140">
                  <c:v>0.64455145354021703</c:v>
                </c:pt>
                <c:pt idx="36141">
                  <c:v>0.644569288389513</c:v>
                </c:pt>
                <c:pt idx="36142">
                  <c:v>0.64458712323880796</c:v>
                </c:pt>
                <c:pt idx="36143">
                  <c:v>0.64460495808810403</c:v>
                </c:pt>
                <c:pt idx="36144">
                  <c:v>0.64462279293739899</c:v>
                </c:pt>
                <c:pt idx="36145">
                  <c:v>0.64464062778669495</c:v>
                </c:pt>
                <c:pt idx="36146">
                  <c:v>0.64465846263599003</c:v>
                </c:pt>
                <c:pt idx="36147">
                  <c:v>0.64467629748528599</c:v>
                </c:pt>
                <c:pt idx="36148">
                  <c:v>0.64469413233458095</c:v>
                </c:pt>
                <c:pt idx="36149">
                  <c:v>0.64471196718387702</c:v>
                </c:pt>
                <c:pt idx="36150">
                  <c:v>0.64472980203317198</c:v>
                </c:pt>
                <c:pt idx="36151">
                  <c:v>0.64474763688246794</c:v>
                </c:pt>
                <c:pt idx="36152">
                  <c:v>0.64476547173176302</c:v>
                </c:pt>
                <c:pt idx="36153">
                  <c:v>0.64478330658105898</c:v>
                </c:pt>
                <c:pt idx="36154">
                  <c:v>0.64480114143035405</c:v>
                </c:pt>
                <c:pt idx="36155">
                  <c:v>0.64481897627965001</c:v>
                </c:pt>
                <c:pt idx="36156">
                  <c:v>0.64483681112894597</c:v>
                </c:pt>
                <c:pt idx="36157">
                  <c:v>0.64485464597824105</c:v>
                </c:pt>
                <c:pt idx="36158">
                  <c:v>0.64487248082753701</c:v>
                </c:pt>
                <c:pt idx="36159">
                  <c:v>0.64489031567683197</c:v>
                </c:pt>
                <c:pt idx="36160">
                  <c:v>0.64490815052612804</c:v>
                </c:pt>
                <c:pt idx="36161">
                  <c:v>0.64492598537542301</c:v>
                </c:pt>
                <c:pt idx="36162">
                  <c:v>0.64494382022471897</c:v>
                </c:pt>
                <c:pt idx="36163">
                  <c:v>0.64496165507401404</c:v>
                </c:pt>
                <c:pt idx="36164">
                  <c:v>0.64497948992331</c:v>
                </c:pt>
                <c:pt idx="36165">
                  <c:v>0.64499732477260496</c:v>
                </c:pt>
                <c:pt idx="36166">
                  <c:v>0.64501515962190104</c:v>
                </c:pt>
                <c:pt idx="36167">
                  <c:v>0.645032994471196</c:v>
                </c:pt>
                <c:pt idx="36168">
                  <c:v>0.64505082932049196</c:v>
                </c:pt>
                <c:pt idx="36169">
                  <c:v>0.64506866416978703</c:v>
                </c:pt>
                <c:pt idx="36170">
                  <c:v>0.64508649901908299</c:v>
                </c:pt>
                <c:pt idx="36171">
                  <c:v>0.64510433386837795</c:v>
                </c:pt>
                <c:pt idx="36172">
                  <c:v>0.64512216871767403</c:v>
                </c:pt>
                <c:pt idx="36173">
                  <c:v>0.64514000356696899</c:v>
                </c:pt>
                <c:pt idx="36174">
                  <c:v>0.64515783841626495</c:v>
                </c:pt>
                <c:pt idx="36175">
                  <c:v>0.64517567326556002</c:v>
                </c:pt>
                <c:pt idx="36176">
                  <c:v>0.64519350811485598</c:v>
                </c:pt>
                <c:pt idx="36177">
                  <c:v>0.64521134296415195</c:v>
                </c:pt>
                <c:pt idx="36178">
                  <c:v>0.64522917781344702</c:v>
                </c:pt>
                <c:pt idx="36179">
                  <c:v>0.64524701266274298</c:v>
                </c:pt>
                <c:pt idx="36180">
                  <c:v>0.64526484751203805</c:v>
                </c:pt>
                <c:pt idx="36181">
                  <c:v>0.64528268236133401</c:v>
                </c:pt>
                <c:pt idx="36182">
                  <c:v>0.64530051721062898</c:v>
                </c:pt>
                <c:pt idx="36183">
                  <c:v>0.64531835205992505</c:v>
                </c:pt>
                <c:pt idx="36184">
                  <c:v>0.64533618690922001</c:v>
                </c:pt>
                <c:pt idx="36185">
                  <c:v>0.64535402175851597</c:v>
                </c:pt>
                <c:pt idx="36186">
                  <c:v>0.64537185660781105</c:v>
                </c:pt>
                <c:pt idx="36187">
                  <c:v>0.64538969145710701</c:v>
                </c:pt>
                <c:pt idx="36188">
                  <c:v>0.64540752630640197</c:v>
                </c:pt>
                <c:pt idx="36189">
                  <c:v>0.64542536115569804</c:v>
                </c:pt>
                <c:pt idx="36190">
                  <c:v>0.645443196004993</c:v>
                </c:pt>
                <c:pt idx="36191">
                  <c:v>0.64546103085428896</c:v>
                </c:pt>
                <c:pt idx="36192">
                  <c:v>0.64547886570358404</c:v>
                </c:pt>
                <c:pt idx="36193">
                  <c:v>0.64549670055288</c:v>
                </c:pt>
                <c:pt idx="36194">
                  <c:v>0.64551453540217496</c:v>
                </c:pt>
                <c:pt idx="36195">
                  <c:v>0.64553237025147103</c:v>
                </c:pt>
                <c:pt idx="36196">
                  <c:v>0.64555020510076599</c:v>
                </c:pt>
                <c:pt idx="36197">
                  <c:v>0.64556803995006196</c:v>
                </c:pt>
                <c:pt idx="36198">
                  <c:v>0.64558587479935703</c:v>
                </c:pt>
                <c:pt idx="36199">
                  <c:v>0.64560370964865299</c:v>
                </c:pt>
                <c:pt idx="36200">
                  <c:v>0.64562154449794895</c:v>
                </c:pt>
                <c:pt idx="36201">
                  <c:v>0.64563937934724402</c:v>
                </c:pt>
                <c:pt idx="36202">
                  <c:v>0.64565721419653999</c:v>
                </c:pt>
                <c:pt idx="36203">
                  <c:v>0.64567504904583495</c:v>
                </c:pt>
                <c:pt idx="36204">
                  <c:v>0.64569288389513102</c:v>
                </c:pt>
                <c:pt idx="36205">
                  <c:v>0.64571071874442598</c:v>
                </c:pt>
                <c:pt idx="36206">
                  <c:v>0.64572855359372205</c:v>
                </c:pt>
                <c:pt idx="36207">
                  <c:v>0.64574638844301702</c:v>
                </c:pt>
                <c:pt idx="36208">
                  <c:v>0.64576422329231298</c:v>
                </c:pt>
                <c:pt idx="36209">
                  <c:v>0.64578205814160805</c:v>
                </c:pt>
                <c:pt idx="36210">
                  <c:v>0.64579989299090401</c:v>
                </c:pt>
                <c:pt idx="36211">
                  <c:v>0.64581772784019897</c:v>
                </c:pt>
                <c:pt idx="36212">
                  <c:v>0.64583556268949505</c:v>
                </c:pt>
                <c:pt idx="36213">
                  <c:v>0.64585339753879001</c:v>
                </c:pt>
                <c:pt idx="36214">
                  <c:v>0.64587123238808597</c:v>
                </c:pt>
                <c:pt idx="36215">
                  <c:v>0.64588906723738104</c:v>
                </c:pt>
                <c:pt idx="36216">
                  <c:v>0.645906902086677</c:v>
                </c:pt>
                <c:pt idx="36217">
                  <c:v>0.64592473693597197</c:v>
                </c:pt>
                <c:pt idx="36218">
                  <c:v>0.64594257178526804</c:v>
                </c:pt>
                <c:pt idx="36219">
                  <c:v>0.645960406634563</c:v>
                </c:pt>
                <c:pt idx="36220">
                  <c:v>0.64597824148385896</c:v>
                </c:pt>
                <c:pt idx="36221">
                  <c:v>0.64599607633315503</c:v>
                </c:pt>
                <c:pt idx="36222">
                  <c:v>0.64601391118245</c:v>
                </c:pt>
                <c:pt idx="36223">
                  <c:v>0.64603174603174596</c:v>
                </c:pt>
                <c:pt idx="36224">
                  <c:v>0.64604958088104103</c:v>
                </c:pt>
                <c:pt idx="36225">
                  <c:v>0.64606741573033699</c:v>
                </c:pt>
                <c:pt idx="36226">
                  <c:v>0.64608525057963195</c:v>
                </c:pt>
                <c:pt idx="36227">
                  <c:v>0.64610308542892803</c:v>
                </c:pt>
                <c:pt idx="36228">
                  <c:v>0.64612092027822299</c:v>
                </c:pt>
                <c:pt idx="36229">
                  <c:v>0.64613875512751895</c:v>
                </c:pt>
                <c:pt idx="36230">
                  <c:v>0.64615658997681402</c:v>
                </c:pt>
                <c:pt idx="36231">
                  <c:v>0.64617442482610998</c:v>
                </c:pt>
                <c:pt idx="36232">
                  <c:v>0.64619225967540495</c:v>
                </c:pt>
                <c:pt idx="36233">
                  <c:v>0.64621009452470102</c:v>
                </c:pt>
                <c:pt idx="36234">
                  <c:v>0.64622792937399598</c:v>
                </c:pt>
                <c:pt idx="36235">
                  <c:v>0.64624576422329205</c:v>
                </c:pt>
                <c:pt idx="36236">
                  <c:v>0.64626359907258701</c:v>
                </c:pt>
                <c:pt idx="36237">
                  <c:v>0.64628143392188298</c:v>
                </c:pt>
                <c:pt idx="36238">
                  <c:v>0.64629926877117805</c:v>
                </c:pt>
                <c:pt idx="36239">
                  <c:v>0.64631710362047401</c:v>
                </c:pt>
                <c:pt idx="36240">
                  <c:v>0.64633493846976997</c:v>
                </c:pt>
                <c:pt idx="36241">
                  <c:v>0.64635277331906504</c:v>
                </c:pt>
                <c:pt idx="36242">
                  <c:v>0.646370608168361</c:v>
                </c:pt>
                <c:pt idx="36243">
                  <c:v>0.64638844301765597</c:v>
                </c:pt>
                <c:pt idx="36244">
                  <c:v>0.64640627786695204</c:v>
                </c:pt>
                <c:pt idx="36245">
                  <c:v>0.646424112716247</c:v>
                </c:pt>
                <c:pt idx="36246">
                  <c:v>0.64644194756554296</c:v>
                </c:pt>
                <c:pt idx="36247">
                  <c:v>0.64645978241483804</c:v>
                </c:pt>
                <c:pt idx="36248">
                  <c:v>0.646477617264134</c:v>
                </c:pt>
                <c:pt idx="36249">
                  <c:v>0.64649545211342896</c:v>
                </c:pt>
                <c:pt idx="36250">
                  <c:v>0.64651328696272503</c:v>
                </c:pt>
                <c:pt idx="36251">
                  <c:v>0.64653112181201999</c:v>
                </c:pt>
                <c:pt idx="36252">
                  <c:v>0.64654895666131595</c:v>
                </c:pt>
                <c:pt idx="36253">
                  <c:v>0.64656679151061103</c:v>
                </c:pt>
                <c:pt idx="36254">
                  <c:v>0.64658462635990699</c:v>
                </c:pt>
                <c:pt idx="36255">
                  <c:v>0.64660246120920195</c:v>
                </c:pt>
                <c:pt idx="36256">
                  <c:v>0.64662029605849802</c:v>
                </c:pt>
                <c:pt idx="36257">
                  <c:v>0.64663813090779299</c:v>
                </c:pt>
                <c:pt idx="36258">
                  <c:v>0.64665596575708895</c:v>
                </c:pt>
                <c:pt idx="36259">
                  <c:v>0.64667380060638402</c:v>
                </c:pt>
                <c:pt idx="36260">
                  <c:v>0.64669163545567998</c:v>
                </c:pt>
                <c:pt idx="36261">
                  <c:v>0.64670947030497505</c:v>
                </c:pt>
                <c:pt idx="36262">
                  <c:v>0.64672730515427101</c:v>
                </c:pt>
                <c:pt idx="36263">
                  <c:v>0.64674514000356698</c:v>
                </c:pt>
                <c:pt idx="36264">
                  <c:v>0.64676297485286205</c:v>
                </c:pt>
                <c:pt idx="36265">
                  <c:v>0.64678080970215801</c:v>
                </c:pt>
                <c:pt idx="36266">
                  <c:v>0.64679864455145297</c:v>
                </c:pt>
                <c:pt idx="36267">
                  <c:v>0.64681647940074904</c:v>
                </c:pt>
                <c:pt idx="36268">
                  <c:v>0.64683431425004401</c:v>
                </c:pt>
                <c:pt idx="36269">
                  <c:v>0.64685214909933997</c:v>
                </c:pt>
                <c:pt idx="36270">
                  <c:v>0.64686998394863504</c:v>
                </c:pt>
                <c:pt idx="36271">
                  <c:v>0.646887818797931</c:v>
                </c:pt>
                <c:pt idx="36272">
                  <c:v>0.64690565364722596</c:v>
                </c:pt>
                <c:pt idx="36273">
                  <c:v>0.64692348849652204</c:v>
                </c:pt>
                <c:pt idx="36274">
                  <c:v>0.646941323345817</c:v>
                </c:pt>
                <c:pt idx="36275">
                  <c:v>0.64695915819511296</c:v>
                </c:pt>
                <c:pt idx="36276">
                  <c:v>0.64697699304440803</c:v>
                </c:pt>
                <c:pt idx="36277">
                  <c:v>0.64699482789370399</c:v>
                </c:pt>
                <c:pt idx="36278">
                  <c:v>0.64701266274299896</c:v>
                </c:pt>
                <c:pt idx="36279">
                  <c:v>0.64703049759229503</c:v>
                </c:pt>
                <c:pt idx="36280">
                  <c:v>0.64704833244158999</c:v>
                </c:pt>
                <c:pt idx="36281">
                  <c:v>0.64706616729088595</c:v>
                </c:pt>
                <c:pt idx="36282">
                  <c:v>0.64708400214018102</c:v>
                </c:pt>
                <c:pt idx="36283">
                  <c:v>0.64710183698947699</c:v>
                </c:pt>
                <c:pt idx="36284">
                  <c:v>0.64711967183877295</c:v>
                </c:pt>
                <c:pt idx="36285">
                  <c:v>0.64713750668806802</c:v>
                </c:pt>
                <c:pt idx="36286">
                  <c:v>0.64715534153736398</c:v>
                </c:pt>
                <c:pt idx="36287">
                  <c:v>0.64717317638665905</c:v>
                </c:pt>
                <c:pt idx="36288">
                  <c:v>0.64719101123595502</c:v>
                </c:pt>
                <c:pt idx="36289">
                  <c:v>0.64720884608524998</c:v>
                </c:pt>
                <c:pt idx="36290">
                  <c:v>0.64722668093454605</c:v>
                </c:pt>
                <c:pt idx="36291">
                  <c:v>0.64724451578384101</c:v>
                </c:pt>
                <c:pt idx="36292">
                  <c:v>0.64726235063313697</c:v>
                </c:pt>
                <c:pt idx="36293">
                  <c:v>0.64728018548243205</c:v>
                </c:pt>
                <c:pt idx="36294">
                  <c:v>0.64729802033172801</c:v>
                </c:pt>
                <c:pt idx="36295">
                  <c:v>0.64731585518102297</c:v>
                </c:pt>
                <c:pt idx="36296">
                  <c:v>0.64733369003031904</c:v>
                </c:pt>
                <c:pt idx="36297">
                  <c:v>0.647351524879614</c:v>
                </c:pt>
                <c:pt idx="36298">
                  <c:v>0.64736935972890997</c:v>
                </c:pt>
                <c:pt idx="36299">
                  <c:v>0.64738719457820504</c:v>
                </c:pt>
                <c:pt idx="36300">
                  <c:v>0.647405029427501</c:v>
                </c:pt>
                <c:pt idx="36301">
                  <c:v>0.64742286427679596</c:v>
                </c:pt>
                <c:pt idx="36302">
                  <c:v>0.64744069912609203</c:v>
                </c:pt>
                <c:pt idx="36303">
                  <c:v>0.647458533975387</c:v>
                </c:pt>
                <c:pt idx="36304">
                  <c:v>0.64747636882468296</c:v>
                </c:pt>
                <c:pt idx="36305">
                  <c:v>0.64749420367397803</c:v>
                </c:pt>
                <c:pt idx="36306">
                  <c:v>0.64751203852327399</c:v>
                </c:pt>
                <c:pt idx="36307">
                  <c:v>0.64752987337256995</c:v>
                </c:pt>
                <c:pt idx="36308">
                  <c:v>0.64754770822186503</c:v>
                </c:pt>
                <c:pt idx="36309">
                  <c:v>0.64756554307116099</c:v>
                </c:pt>
                <c:pt idx="36310">
                  <c:v>0.64758337792045595</c:v>
                </c:pt>
                <c:pt idx="36311">
                  <c:v>0.64760121276975202</c:v>
                </c:pt>
                <c:pt idx="36312">
                  <c:v>0.64761904761904698</c:v>
                </c:pt>
                <c:pt idx="36313">
                  <c:v>0.64763688246834294</c:v>
                </c:pt>
                <c:pt idx="36314">
                  <c:v>0.64765471731763802</c:v>
                </c:pt>
                <c:pt idx="36315">
                  <c:v>0.64767255216693398</c:v>
                </c:pt>
                <c:pt idx="36316">
                  <c:v>0.64769038701622905</c:v>
                </c:pt>
                <c:pt idx="36317">
                  <c:v>0.64770822186552501</c:v>
                </c:pt>
                <c:pt idx="36318">
                  <c:v>0.64772605671481998</c:v>
                </c:pt>
                <c:pt idx="36319">
                  <c:v>0.64774389156411605</c:v>
                </c:pt>
                <c:pt idx="36320">
                  <c:v>0.64776172641341101</c:v>
                </c:pt>
                <c:pt idx="36321">
                  <c:v>0.64777956126270697</c:v>
                </c:pt>
                <c:pt idx="36322">
                  <c:v>0.64779739611200204</c:v>
                </c:pt>
                <c:pt idx="36323">
                  <c:v>0.64781523096129801</c:v>
                </c:pt>
                <c:pt idx="36324">
                  <c:v>0.64783306581059297</c:v>
                </c:pt>
                <c:pt idx="36325">
                  <c:v>0.64785090065988904</c:v>
                </c:pt>
                <c:pt idx="36326">
                  <c:v>0.647868735509185</c:v>
                </c:pt>
                <c:pt idx="36327">
                  <c:v>0.64788657035847996</c:v>
                </c:pt>
                <c:pt idx="36328">
                  <c:v>0.64790440520777604</c:v>
                </c:pt>
                <c:pt idx="36329">
                  <c:v>0.647922240057071</c:v>
                </c:pt>
                <c:pt idx="36330">
                  <c:v>0.64794007490636696</c:v>
                </c:pt>
                <c:pt idx="36331">
                  <c:v>0.64795790975566203</c:v>
                </c:pt>
                <c:pt idx="36332">
                  <c:v>0.64797574460495799</c:v>
                </c:pt>
                <c:pt idx="36333">
                  <c:v>0.64799357945425295</c:v>
                </c:pt>
                <c:pt idx="36334">
                  <c:v>0.64801141430354903</c:v>
                </c:pt>
                <c:pt idx="36335">
                  <c:v>0.64802924915284399</c:v>
                </c:pt>
                <c:pt idx="36336">
                  <c:v>0.64804708400213995</c:v>
                </c:pt>
                <c:pt idx="36337">
                  <c:v>0.64806491885143502</c:v>
                </c:pt>
                <c:pt idx="36338">
                  <c:v>0.64808275370073098</c:v>
                </c:pt>
                <c:pt idx="36339">
                  <c:v>0.64810058855002595</c:v>
                </c:pt>
                <c:pt idx="36340">
                  <c:v>0.64811842339932202</c:v>
                </c:pt>
                <c:pt idx="36341">
                  <c:v>0.64813625824861698</c:v>
                </c:pt>
                <c:pt idx="36342">
                  <c:v>0.64815409309791305</c:v>
                </c:pt>
                <c:pt idx="36343">
                  <c:v>0.64817192794720802</c:v>
                </c:pt>
                <c:pt idx="36344">
                  <c:v>0.64818976279650398</c:v>
                </c:pt>
                <c:pt idx="36345">
                  <c:v>0.64820759764579905</c:v>
                </c:pt>
                <c:pt idx="36346">
                  <c:v>0.64822543249509501</c:v>
                </c:pt>
                <c:pt idx="36347">
                  <c:v>0.64824326734439097</c:v>
                </c:pt>
                <c:pt idx="36348">
                  <c:v>0.64826110219368605</c:v>
                </c:pt>
                <c:pt idx="36349">
                  <c:v>0.64827893704298201</c:v>
                </c:pt>
                <c:pt idx="36350">
                  <c:v>0.64829677189227697</c:v>
                </c:pt>
                <c:pt idx="36351">
                  <c:v>0.64831460674157304</c:v>
                </c:pt>
                <c:pt idx="36352">
                  <c:v>0.648332441590868</c:v>
                </c:pt>
                <c:pt idx="36353">
                  <c:v>0.64835027644016396</c:v>
                </c:pt>
                <c:pt idx="36354">
                  <c:v>0.64836811128945904</c:v>
                </c:pt>
                <c:pt idx="36355">
                  <c:v>0.648385946138755</c:v>
                </c:pt>
                <c:pt idx="36356">
                  <c:v>0.64840378098804996</c:v>
                </c:pt>
                <c:pt idx="36357">
                  <c:v>0.64842161583734603</c:v>
                </c:pt>
                <c:pt idx="36358">
                  <c:v>0.64843945068664099</c:v>
                </c:pt>
                <c:pt idx="36359">
                  <c:v>0.64845728553593696</c:v>
                </c:pt>
                <c:pt idx="36360">
                  <c:v>0.64847512038523203</c:v>
                </c:pt>
                <c:pt idx="36361">
                  <c:v>0.64849295523452799</c:v>
                </c:pt>
                <c:pt idx="36362">
                  <c:v>0.64851079008382295</c:v>
                </c:pt>
                <c:pt idx="36363">
                  <c:v>0.64852862493311902</c:v>
                </c:pt>
                <c:pt idx="36364">
                  <c:v>0.64854645978241399</c:v>
                </c:pt>
                <c:pt idx="36365">
                  <c:v>0.64856429463170995</c:v>
                </c:pt>
                <c:pt idx="36366">
                  <c:v>0.64858212948100502</c:v>
                </c:pt>
                <c:pt idx="36367">
                  <c:v>0.64859996433030098</c:v>
                </c:pt>
                <c:pt idx="36368">
                  <c:v>0.64861779917959606</c:v>
                </c:pt>
                <c:pt idx="36369">
                  <c:v>0.64863563402889202</c:v>
                </c:pt>
                <c:pt idx="36370">
                  <c:v>0.64865346887818798</c:v>
                </c:pt>
                <c:pt idx="36371">
                  <c:v>0.64867130372748305</c:v>
                </c:pt>
                <c:pt idx="36372">
                  <c:v>0.64868913857677901</c:v>
                </c:pt>
                <c:pt idx="36373">
                  <c:v>0.64870697342607397</c:v>
                </c:pt>
                <c:pt idx="36374">
                  <c:v>0.64872480827537005</c:v>
                </c:pt>
                <c:pt idx="36375">
                  <c:v>0.64874264312466501</c:v>
                </c:pt>
                <c:pt idx="36376">
                  <c:v>0.64876047797396097</c:v>
                </c:pt>
                <c:pt idx="36377">
                  <c:v>0.64877831282325604</c:v>
                </c:pt>
                <c:pt idx="36378">
                  <c:v>0.648796147672552</c:v>
                </c:pt>
                <c:pt idx="36379">
                  <c:v>0.64881398252184697</c:v>
                </c:pt>
                <c:pt idx="36380">
                  <c:v>0.64883181737114304</c:v>
                </c:pt>
                <c:pt idx="36381">
                  <c:v>0.648849652220438</c:v>
                </c:pt>
                <c:pt idx="36382">
                  <c:v>0.64886748706973396</c:v>
                </c:pt>
                <c:pt idx="36383">
                  <c:v>0.64888532191902903</c:v>
                </c:pt>
                <c:pt idx="36384">
                  <c:v>0.648903156768325</c:v>
                </c:pt>
                <c:pt idx="36385">
                  <c:v>0.64892099161761996</c:v>
                </c:pt>
                <c:pt idx="36386">
                  <c:v>0.64893882646691603</c:v>
                </c:pt>
                <c:pt idx="36387">
                  <c:v>0.64895666131621099</c:v>
                </c:pt>
                <c:pt idx="36388">
                  <c:v>0.64897449616550695</c:v>
                </c:pt>
                <c:pt idx="36389">
                  <c:v>0.64899233101480203</c:v>
                </c:pt>
                <c:pt idx="36390">
                  <c:v>0.64901016586409799</c:v>
                </c:pt>
                <c:pt idx="36391">
                  <c:v>0.64902800071339395</c:v>
                </c:pt>
                <c:pt idx="36392">
                  <c:v>0.64904583556268902</c:v>
                </c:pt>
                <c:pt idx="36393">
                  <c:v>0.64906367041198498</c:v>
                </c:pt>
                <c:pt idx="36394">
                  <c:v>0.64908150526127995</c:v>
                </c:pt>
                <c:pt idx="36395">
                  <c:v>0.64909934011057602</c:v>
                </c:pt>
                <c:pt idx="36396">
                  <c:v>0.64911717495987098</c:v>
                </c:pt>
                <c:pt idx="36397">
                  <c:v>0.64913500980916705</c:v>
                </c:pt>
                <c:pt idx="36398">
                  <c:v>0.64915284465846201</c:v>
                </c:pt>
                <c:pt idx="36399">
                  <c:v>0.64917067950775798</c:v>
                </c:pt>
                <c:pt idx="36400">
                  <c:v>0.64918851435705305</c:v>
                </c:pt>
                <c:pt idx="36401">
                  <c:v>0.64920634920634901</c:v>
                </c:pt>
                <c:pt idx="36402">
                  <c:v>0.64922418405564397</c:v>
                </c:pt>
                <c:pt idx="36403">
                  <c:v>0.64924201890494004</c:v>
                </c:pt>
                <c:pt idx="36404">
                  <c:v>0.64925985375423501</c:v>
                </c:pt>
                <c:pt idx="36405">
                  <c:v>0.64927768860353097</c:v>
                </c:pt>
                <c:pt idx="36406">
                  <c:v>0.64929552345282604</c:v>
                </c:pt>
                <c:pt idx="36407">
                  <c:v>0.649313358302122</c:v>
                </c:pt>
                <c:pt idx="36408">
                  <c:v>0.64933119315141696</c:v>
                </c:pt>
                <c:pt idx="36409">
                  <c:v>0.64934902800071304</c:v>
                </c:pt>
                <c:pt idx="36410">
                  <c:v>0.649366862850008</c:v>
                </c:pt>
                <c:pt idx="36411">
                  <c:v>0.64938469769930396</c:v>
                </c:pt>
                <c:pt idx="36412">
                  <c:v>0.64940253254859903</c:v>
                </c:pt>
                <c:pt idx="36413">
                  <c:v>0.64942036739789499</c:v>
                </c:pt>
                <c:pt idx="36414">
                  <c:v>0.64943820224719095</c:v>
                </c:pt>
                <c:pt idx="36415">
                  <c:v>0.64945603709648603</c:v>
                </c:pt>
                <c:pt idx="36416">
                  <c:v>0.64947387194578199</c:v>
                </c:pt>
                <c:pt idx="36417">
                  <c:v>0.64949170679507695</c:v>
                </c:pt>
                <c:pt idx="36418">
                  <c:v>0.64950954164437302</c:v>
                </c:pt>
                <c:pt idx="36419">
                  <c:v>0.64952737649366799</c:v>
                </c:pt>
                <c:pt idx="36420">
                  <c:v>0.64954521134296395</c:v>
                </c:pt>
                <c:pt idx="36421">
                  <c:v>0.64956304619225902</c:v>
                </c:pt>
                <c:pt idx="36422">
                  <c:v>0.64958088104155498</c:v>
                </c:pt>
                <c:pt idx="36423">
                  <c:v>0.64959871589085005</c:v>
                </c:pt>
                <c:pt idx="36424">
                  <c:v>0.64961655074014601</c:v>
                </c:pt>
                <c:pt idx="36425">
                  <c:v>0.64963438558944098</c:v>
                </c:pt>
                <c:pt idx="36426">
                  <c:v>0.64965222043873705</c:v>
                </c:pt>
                <c:pt idx="36427">
                  <c:v>0.64967005528803201</c:v>
                </c:pt>
                <c:pt idx="36428">
                  <c:v>0.64968789013732797</c:v>
                </c:pt>
                <c:pt idx="36429">
                  <c:v>0.64970572498662305</c:v>
                </c:pt>
                <c:pt idx="36430">
                  <c:v>0.64972355983591901</c:v>
                </c:pt>
                <c:pt idx="36431">
                  <c:v>0.64974139468521397</c:v>
                </c:pt>
                <c:pt idx="36432">
                  <c:v>0.64975922953451004</c:v>
                </c:pt>
                <c:pt idx="36433">
                  <c:v>0.649777064383806</c:v>
                </c:pt>
                <c:pt idx="36434">
                  <c:v>0.64979489923310096</c:v>
                </c:pt>
                <c:pt idx="36435">
                  <c:v>0.64981273408239704</c:v>
                </c:pt>
                <c:pt idx="36436">
                  <c:v>0.649830568931692</c:v>
                </c:pt>
                <c:pt idx="36437">
                  <c:v>0.64984840378098796</c:v>
                </c:pt>
                <c:pt idx="36438">
                  <c:v>0.64986623863028303</c:v>
                </c:pt>
                <c:pt idx="36439">
                  <c:v>0.64988407347957899</c:v>
                </c:pt>
                <c:pt idx="36440">
                  <c:v>0.64990190832887396</c:v>
                </c:pt>
                <c:pt idx="36441">
                  <c:v>0.64991974317817003</c:v>
                </c:pt>
                <c:pt idx="36442">
                  <c:v>0.64993757802746499</c:v>
                </c:pt>
                <c:pt idx="36443">
                  <c:v>0.64995541287676095</c:v>
                </c:pt>
                <c:pt idx="36444">
                  <c:v>0.64997324772605602</c:v>
                </c:pt>
                <c:pt idx="36445">
                  <c:v>0.64999108257535199</c:v>
                </c:pt>
                <c:pt idx="36446">
                  <c:v>0.65000891742464695</c:v>
                </c:pt>
                <c:pt idx="36447">
                  <c:v>0.65002675227394302</c:v>
                </c:pt>
                <c:pt idx="36448">
                  <c:v>0.65004458712323798</c:v>
                </c:pt>
                <c:pt idx="36449">
                  <c:v>0.65006242197253405</c:v>
                </c:pt>
                <c:pt idx="36450">
                  <c:v>0.65008025682182902</c:v>
                </c:pt>
                <c:pt idx="36451">
                  <c:v>0.65009809167112498</c:v>
                </c:pt>
                <c:pt idx="36452">
                  <c:v>0.65011592652042005</c:v>
                </c:pt>
                <c:pt idx="36453">
                  <c:v>0.65013376136971601</c:v>
                </c:pt>
                <c:pt idx="36454">
                  <c:v>0.65015159621901197</c:v>
                </c:pt>
                <c:pt idx="36455">
                  <c:v>0.65016943106830705</c:v>
                </c:pt>
                <c:pt idx="36456">
                  <c:v>0.65018726591760301</c:v>
                </c:pt>
                <c:pt idx="36457">
                  <c:v>0.65020510076689797</c:v>
                </c:pt>
                <c:pt idx="36458">
                  <c:v>0.65022293561619404</c:v>
                </c:pt>
                <c:pt idx="36459">
                  <c:v>0.650240770465489</c:v>
                </c:pt>
                <c:pt idx="36460">
                  <c:v>0.65025860531478497</c:v>
                </c:pt>
                <c:pt idx="36461">
                  <c:v>0.65027644016408004</c:v>
                </c:pt>
                <c:pt idx="36462">
                  <c:v>0.650294275013376</c:v>
                </c:pt>
                <c:pt idx="36463">
                  <c:v>0.65031210986267096</c:v>
                </c:pt>
                <c:pt idx="36464">
                  <c:v>0.65032994471196703</c:v>
                </c:pt>
                <c:pt idx="36465">
                  <c:v>0.650347779561262</c:v>
                </c:pt>
                <c:pt idx="36466">
                  <c:v>0.65036561441055796</c:v>
                </c:pt>
                <c:pt idx="36467">
                  <c:v>0.65038344925985303</c:v>
                </c:pt>
                <c:pt idx="36468">
                  <c:v>0.65040128410914899</c:v>
                </c:pt>
                <c:pt idx="36469">
                  <c:v>0.65041911895844395</c:v>
                </c:pt>
                <c:pt idx="36470">
                  <c:v>0.65043695380774003</c:v>
                </c:pt>
                <c:pt idx="36471">
                  <c:v>0.65045478865703499</c:v>
                </c:pt>
                <c:pt idx="36472">
                  <c:v>0.65047262350633095</c:v>
                </c:pt>
                <c:pt idx="36473">
                  <c:v>0.65049045835562602</c:v>
                </c:pt>
                <c:pt idx="36474">
                  <c:v>0.65050829320492198</c:v>
                </c:pt>
                <c:pt idx="36475">
                  <c:v>0.65052612805421794</c:v>
                </c:pt>
                <c:pt idx="36476">
                  <c:v>0.65054396290351302</c:v>
                </c:pt>
                <c:pt idx="36477">
                  <c:v>0.65056179775280898</c:v>
                </c:pt>
                <c:pt idx="36478">
                  <c:v>0.65057963260210405</c:v>
                </c:pt>
                <c:pt idx="36479">
                  <c:v>0.65059746745140001</c:v>
                </c:pt>
                <c:pt idx="36480">
                  <c:v>0.65061530230069498</c:v>
                </c:pt>
                <c:pt idx="36481">
                  <c:v>0.65063313714999105</c:v>
                </c:pt>
                <c:pt idx="36482">
                  <c:v>0.65065097199928601</c:v>
                </c:pt>
                <c:pt idx="36483">
                  <c:v>0.65066880684858197</c:v>
                </c:pt>
                <c:pt idx="36484">
                  <c:v>0.65068664169787704</c:v>
                </c:pt>
                <c:pt idx="36485">
                  <c:v>0.65070447654717301</c:v>
                </c:pt>
                <c:pt idx="36486">
                  <c:v>0.65072231139646797</c:v>
                </c:pt>
                <c:pt idx="36487">
                  <c:v>0.65074014624576404</c:v>
                </c:pt>
                <c:pt idx="36488">
                  <c:v>0.650757981095059</c:v>
                </c:pt>
                <c:pt idx="36489">
                  <c:v>0.65077581594435496</c:v>
                </c:pt>
                <c:pt idx="36490">
                  <c:v>0.65079365079365004</c:v>
                </c:pt>
                <c:pt idx="36491">
                  <c:v>0.650811485642946</c:v>
                </c:pt>
                <c:pt idx="36492">
                  <c:v>0.65082932049224096</c:v>
                </c:pt>
                <c:pt idx="36493">
                  <c:v>0.65084715534153703</c:v>
                </c:pt>
                <c:pt idx="36494">
                  <c:v>0.65086499019083199</c:v>
                </c:pt>
                <c:pt idx="36495">
                  <c:v>0.65088282504012795</c:v>
                </c:pt>
                <c:pt idx="36496">
                  <c:v>0.65090065988942303</c:v>
                </c:pt>
                <c:pt idx="36497">
                  <c:v>0.65091849473871899</c:v>
                </c:pt>
                <c:pt idx="36498">
                  <c:v>0.65093632958801495</c:v>
                </c:pt>
                <c:pt idx="36499">
                  <c:v>0.65095416443731002</c:v>
                </c:pt>
                <c:pt idx="36500">
                  <c:v>0.65097199928660598</c:v>
                </c:pt>
                <c:pt idx="36501">
                  <c:v>0.65098983413590095</c:v>
                </c:pt>
                <c:pt idx="36502">
                  <c:v>0.65100766898519702</c:v>
                </c:pt>
                <c:pt idx="36503">
                  <c:v>0.65102550383449198</c:v>
                </c:pt>
                <c:pt idx="36504">
                  <c:v>0.65104333868378805</c:v>
                </c:pt>
                <c:pt idx="36505">
                  <c:v>0.65106117353308302</c:v>
                </c:pt>
                <c:pt idx="36506">
                  <c:v>0.65107900838237898</c:v>
                </c:pt>
                <c:pt idx="36507">
                  <c:v>0.65109684323167405</c:v>
                </c:pt>
                <c:pt idx="36508">
                  <c:v>0.65111467808097001</c:v>
                </c:pt>
                <c:pt idx="36509">
                  <c:v>0.65113251293026497</c:v>
                </c:pt>
                <c:pt idx="36510">
                  <c:v>0.65115034777956105</c:v>
                </c:pt>
                <c:pt idx="36511">
                  <c:v>0.65116818262885601</c:v>
                </c:pt>
                <c:pt idx="36512">
                  <c:v>0.65118601747815197</c:v>
                </c:pt>
                <c:pt idx="36513">
                  <c:v>0.65120385232744704</c:v>
                </c:pt>
                <c:pt idx="36514">
                  <c:v>0.651221687176743</c:v>
                </c:pt>
                <c:pt idx="36515">
                  <c:v>0.65123952202603796</c:v>
                </c:pt>
                <c:pt idx="36516">
                  <c:v>0.65125735687533404</c:v>
                </c:pt>
                <c:pt idx="36517">
                  <c:v>0.651275191724629</c:v>
                </c:pt>
                <c:pt idx="36518">
                  <c:v>0.65129302657392496</c:v>
                </c:pt>
                <c:pt idx="36519">
                  <c:v>0.65131086142322003</c:v>
                </c:pt>
                <c:pt idx="36520">
                  <c:v>0.65132869627251599</c:v>
                </c:pt>
                <c:pt idx="36521">
                  <c:v>0.65134653112181196</c:v>
                </c:pt>
                <c:pt idx="36522">
                  <c:v>0.65136436597110703</c:v>
                </c:pt>
                <c:pt idx="36523">
                  <c:v>0.65138220082040299</c:v>
                </c:pt>
                <c:pt idx="36524">
                  <c:v>0.65140003566969795</c:v>
                </c:pt>
                <c:pt idx="36525">
                  <c:v>0.65141787051899402</c:v>
                </c:pt>
                <c:pt idx="36526">
                  <c:v>0.65143570536828899</c:v>
                </c:pt>
                <c:pt idx="36527">
                  <c:v>0.65145354021758495</c:v>
                </c:pt>
                <c:pt idx="36528">
                  <c:v>0.65147137506688002</c:v>
                </c:pt>
                <c:pt idx="36529">
                  <c:v>0.65148920991617598</c:v>
                </c:pt>
                <c:pt idx="36530">
                  <c:v>0.65150704476547106</c:v>
                </c:pt>
                <c:pt idx="36531">
                  <c:v>0.65152487961476702</c:v>
                </c:pt>
                <c:pt idx="36532">
                  <c:v>0.65154271446406198</c:v>
                </c:pt>
                <c:pt idx="36533">
                  <c:v>0.65156054931335805</c:v>
                </c:pt>
                <c:pt idx="36534">
                  <c:v>0.65157838416265301</c:v>
                </c:pt>
                <c:pt idx="36535">
                  <c:v>0.65159621901194897</c:v>
                </c:pt>
                <c:pt idx="36536">
                  <c:v>0.65161405386124405</c:v>
                </c:pt>
                <c:pt idx="36537">
                  <c:v>0.65163188871054001</c:v>
                </c:pt>
                <c:pt idx="36538">
                  <c:v>0.65164972355983597</c:v>
                </c:pt>
                <c:pt idx="36539">
                  <c:v>0.65166755840913104</c:v>
                </c:pt>
                <c:pt idx="36540">
                  <c:v>0.651685393258427</c:v>
                </c:pt>
                <c:pt idx="36541">
                  <c:v>0.65170322810772197</c:v>
                </c:pt>
                <c:pt idx="36542">
                  <c:v>0.65172106295701804</c:v>
                </c:pt>
                <c:pt idx="36543">
                  <c:v>0.651738897806313</c:v>
                </c:pt>
                <c:pt idx="36544">
                  <c:v>0.65175673265560896</c:v>
                </c:pt>
                <c:pt idx="36545">
                  <c:v>0.65177456750490403</c:v>
                </c:pt>
                <c:pt idx="36546">
                  <c:v>0.6517924023542</c:v>
                </c:pt>
                <c:pt idx="36547">
                  <c:v>0.65181023720349496</c:v>
                </c:pt>
                <c:pt idx="36548">
                  <c:v>0.65182807205279103</c:v>
                </c:pt>
                <c:pt idx="36549">
                  <c:v>0.65184590690208599</c:v>
                </c:pt>
                <c:pt idx="36550">
                  <c:v>0.65186374175138195</c:v>
                </c:pt>
                <c:pt idx="36551">
                  <c:v>0.65188157660067703</c:v>
                </c:pt>
                <c:pt idx="36552">
                  <c:v>0.65189941144997299</c:v>
                </c:pt>
                <c:pt idx="36553">
                  <c:v>0.65191724629926795</c:v>
                </c:pt>
                <c:pt idx="36554">
                  <c:v>0.65193508114856402</c:v>
                </c:pt>
                <c:pt idx="36555">
                  <c:v>0.65195291599785898</c:v>
                </c:pt>
                <c:pt idx="36556">
                  <c:v>0.65197075084715495</c:v>
                </c:pt>
                <c:pt idx="36557">
                  <c:v>0.65198858569645002</c:v>
                </c:pt>
                <c:pt idx="36558">
                  <c:v>0.65200642054574598</c:v>
                </c:pt>
                <c:pt idx="36559">
                  <c:v>0.65202425539504105</c:v>
                </c:pt>
                <c:pt idx="36560">
                  <c:v>0.65204209024433701</c:v>
                </c:pt>
                <c:pt idx="36561">
                  <c:v>0.65205992509363297</c:v>
                </c:pt>
                <c:pt idx="36562">
                  <c:v>0.65207775994292805</c:v>
                </c:pt>
                <c:pt idx="36563">
                  <c:v>0.65209559479222401</c:v>
                </c:pt>
                <c:pt idx="36564">
                  <c:v>0.65211342964151897</c:v>
                </c:pt>
                <c:pt idx="36565">
                  <c:v>0.65213126449081504</c:v>
                </c:pt>
                <c:pt idx="36566">
                  <c:v>0.65214909934011001</c:v>
                </c:pt>
                <c:pt idx="36567">
                  <c:v>0.65216693418940597</c:v>
                </c:pt>
                <c:pt idx="36568">
                  <c:v>0.65218476903870104</c:v>
                </c:pt>
                <c:pt idx="36569">
                  <c:v>0.652202603887997</c:v>
                </c:pt>
                <c:pt idx="36570">
                  <c:v>0.65222043873729196</c:v>
                </c:pt>
                <c:pt idx="36571">
                  <c:v>0.65223827358658804</c:v>
                </c:pt>
                <c:pt idx="36572">
                  <c:v>0.652256108435883</c:v>
                </c:pt>
                <c:pt idx="36573">
                  <c:v>0.65227394328517896</c:v>
                </c:pt>
                <c:pt idx="36574">
                  <c:v>0.65229177813447403</c:v>
                </c:pt>
                <c:pt idx="36575">
                  <c:v>0.65230961298376999</c:v>
                </c:pt>
                <c:pt idx="36576">
                  <c:v>0.65232744783306496</c:v>
                </c:pt>
                <c:pt idx="36577">
                  <c:v>0.65234528268236103</c:v>
                </c:pt>
                <c:pt idx="36578">
                  <c:v>0.65236311753165599</c:v>
                </c:pt>
                <c:pt idx="36579">
                  <c:v>0.65238095238095195</c:v>
                </c:pt>
                <c:pt idx="36580">
                  <c:v>0.65239878723024702</c:v>
                </c:pt>
                <c:pt idx="36581">
                  <c:v>0.65241662207954298</c:v>
                </c:pt>
                <c:pt idx="36582">
                  <c:v>0.65243445692883895</c:v>
                </c:pt>
                <c:pt idx="36583">
                  <c:v>0.65245229177813402</c:v>
                </c:pt>
                <c:pt idx="36584">
                  <c:v>0.65247012662742998</c:v>
                </c:pt>
                <c:pt idx="36585">
                  <c:v>0.65248796147672505</c:v>
                </c:pt>
                <c:pt idx="36586">
                  <c:v>0.65250579632602101</c:v>
                </c:pt>
                <c:pt idx="36587">
                  <c:v>0.65252363117531598</c:v>
                </c:pt>
                <c:pt idx="36588">
                  <c:v>0.65254146602461205</c:v>
                </c:pt>
                <c:pt idx="36589">
                  <c:v>0.65255930087390701</c:v>
                </c:pt>
                <c:pt idx="36590">
                  <c:v>0.65257713572320297</c:v>
                </c:pt>
                <c:pt idx="36591">
                  <c:v>0.65259497057249805</c:v>
                </c:pt>
                <c:pt idx="36592">
                  <c:v>0.65261280542179401</c:v>
                </c:pt>
                <c:pt idx="36593">
                  <c:v>0.65263064027108897</c:v>
                </c:pt>
                <c:pt idx="36594">
                  <c:v>0.65264847512038504</c:v>
                </c:pt>
                <c:pt idx="36595">
                  <c:v>0.65266630996968</c:v>
                </c:pt>
                <c:pt idx="36596">
                  <c:v>0.65268414481897596</c:v>
                </c:pt>
                <c:pt idx="36597">
                  <c:v>0.65270197966827104</c:v>
                </c:pt>
                <c:pt idx="36598">
                  <c:v>0.652719814517567</c:v>
                </c:pt>
                <c:pt idx="36599">
                  <c:v>0.65273764936686196</c:v>
                </c:pt>
                <c:pt idx="36600">
                  <c:v>0.65275548421615803</c:v>
                </c:pt>
                <c:pt idx="36601">
                  <c:v>0.65277331906545299</c:v>
                </c:pt>
                <c:pt idx="36602">
                  <c:v>0.65279115391474896</c:v>
                </c:pt>
                <c:pt idx="36603">
                  <c:v>0.65280898876404403</c:v>
                </c:pt>
                <c:pt idx="36604">
                  <c:v>0.65282682361333999</c:v>
                </c:pt>
                <c:pt idx="36605">
                  <c:v>0.65284465846263595</c:v>
                </c:pt>
                <c:pt idx="36606">
                  <c:v>0.65286249331193102</c:v>
                </c:pt>
                <c:pt idx="36607">
                  <c:v>0.65288032816122699</c:v>
                </c:pt>
                <c:pt idx="36608">
                  <c:v>0.65289816301052195</c:v>
                </c:pt>
                <c:pt idx="36609">
                  <c:v>0.65291599785981802</c:v>
                </c:pt>
                <c:pt idx="36610">
                  <c:v>0.65293383270911298</c:v>
                </c:pt>
                <c:pt idx="36611">
                  <c:v>0.65295166755840905</c:v>
                </c:pt>
                <c:pt idx="36612">
                  <c:v>0.65296950240770402</c:v>
                </c:pt>
                <c:pt idx="36613">
                  <c:v>0.65298733725699998</c:v>
                </c:pt>
                <c:pt idx="36614">
                  <c:v>0.65300517210629505</c:v>
                </c:pt>
                <c:pt idx="36615">
                  <c:v>0.65302300695559101</c:v>
                </c:pt>
                <c:pt idx="36616">
                  <c:v>0.65304084180488597</c:v>
                </c:pt>
                <c:pt idx="36617">
                  <c:v>0.65305867665418205</c:v>
                </c:pt>
                <c:pt idx="36618">
                  <c:v>0.65307651150347701</c:v>
                </c:pt>
                <c:pt idx="36619">
                  <c:v>0.65309434635277297</c:v>
                </c:pt>
                <c:pt idx="36620">
                  <c:v>0.65311218120206804</c:v>
                </c:pt>
                <c:pt idx="36621">
                  <c:v>0.653130016051364</c:v>
                </c:pt>
                <c:pt idx="36622">
                  <c:v>0.65314785090065897</c:v>
                </c:pt>
                <c:pt idx="36623">
                  <c:v>0.65316568574995504</c:v>
                </c:pt>
                <c:pt idx="36624">
                  <c:v>0.65318352059925</c:v>
                </c:pt>
                <c:pt idx="36625">
                  <c:v>0.65320135544854596</c:v>
                </c:pt>
                <c:pt idx="36626">
                  <c:v>0.65321919029784203</c:v>
                </c:pt>
                <c:pt idx="36627">
                  <c:v>0.653237025147137</c:v>
                </c:pt>
                <c:pt idx="36628">
                  <c:v>0.65325485999643296</c:v>
                </c:pt>
                <c:pt idx="36629">
                  <c:v>0.65327269484572803</c:v>
                </c:pt>
                <c:pt idx="36630">
                  <c:v>0.65329052969502399</c:v>
                </c:pt>
                <c:pt idx="36631">
                  <c:v>0.65330836454431895</c:v>
                </c:pt>
                <c:pt idx="36632">
                  <c:v>0.65332619939361503</c:v>
                </c:pt>
                <c:pt idx="36633">
                  <c:v>0.65334403424290999</c:v>
                </c:pt>
                <c:pt idx="36634">
                  <c:v>0.65336186909220595</c:v>
                </c:pt>
                <c:pt idx="36635">
                  <c:v>0.65337970394150102</c:v>
                </c:pt>
                <c:pt idx="36636">
                  <c:v>0.65339753879079698</c:v>
                </c:pt>
                <c:pt idx="36637">
                  <c:v>0.65341537364009195</c:v>
                </c:pt>
                <c:pt idx="36638">
                  <c:v>0.65343320848938802</c:v>
                </c:pt>
                <c:pt idx="36639">
                  <c:v>0.65345104333868298</c:v>
                </c:pt>
                <c:pt idx="36640">
                  <c:v>0.65346887818797905</c:v>
                </c:pt>
                <c:pt idx="36641">
                  <c:v>0.65348671303727401</c:v>
                </c:pt>
                <c:pt idx="36642">
                  <c:v>0.65350454788656998</c:v>
                </c:pt>
                <c:pt idx="36643">
                  <c:v>0.65352238273586505</c:v>
                </c:pt>
                <c:pt idx="36644">
                  <c:v>0.65354021758516101</c:v>
                </c:pt>
                <c:pt idx="36645">
                  <c:v>0.65355805243445697</c:v>
                </c:pt>
                <c:pt idx="36646">
                  <c:v>0.65357588728375204</c:v>
                </c:pt>
                <c:pt idx="36647">
                  <c:v>0.65359372213304801</c:v>
                </c:pt>
                <c:pt idx="36648">
                  <c:v>0.65361155698234297</c:v>
                </c:pt>
                <c:pt idx="36649">
                  <c:v>0.65362939183163904</c:v>
                </c:pt>
                <c:pt idx="36650">
                  <c:v>0.653647226680934</c:v>
                </c:pt>
                <c:pt idx="36651">
                  <c:v>0.65366506153022996</c:v>
                </c:pt>
                <c:pt idx="36652">
                  <c:v>0.65368289637952504</c:v>
                </c:pt>
                <c:pt idx="36653">
                  <c:v>0.653700731228821</c:v>
                </c:pt>
                <c:pt idx="36654">
                  <c:v>0.65371856607811596</c:v>
                </c:pt>
                <c:pt idx="36655">
                  <c:v>0.65373640092741203</c:v>
                </c:pt>
                <c:pt idx="36656">
                  <c:v>0.65375423577670699</c:v>
                </c:pt>
                <c:pt idx="36657">
                  <c:v>0.65377207062600295</c:v>
                </c:pt>
                <c:pt idx="36658">
                  <c:v>0.65378990547529803</c:v>
                </c:pt>
                <c:pt idx="36659">
                  <c:v>0.65380774032459399</c:v>
                </c:pt>
                <c:pt idx="36660">
                  <c:v>0.65382557517388895</c:v>
                </c:pt>
                <c:pt idx="36661">
                  <c:v>0.65384341002318502</c:v>
                </c:pt>
                <c:pt idx="36662">
                  <c:v>0.65386124487247999</c:v>
                </c:pt>
                <c:pt idx="36663">
                  <c:v>0.65387907972177595</c:v>
                </c:pt>
                <c:pt idx="36664">
                  <c:v>0.65389691457107102</c:v>
                </c:pt>
                <c:pt idx="36665">
                  <c:v>0.65391474942036698</c:v>
                </c:pt>
                <c:pt idx="36666">
                  <c:v>0.65393258426966205</c:v>
                </c:pt>
                <c:pt idx="36667">
                  <c:v>0.65395041911895802</c:v>
                </c:pt>
                <c:pt idx="36668">
                  <c:v>0.65396825396825398</c:v>
                </c:pt>
                <c:pt idx="36669">
                  <c:v>0.65398608881754905</c:v>
                </c:pt>
                <c:pt idx="36670">
                  <c:v>0.65400392366684501</c:v>
                </c:pt>
                <c:pt idx="36671">
                  <c:v>0.65402175851613997</c:v>
                </c:pt>
                <c:pt idx="36672">
                  <c:v>0.65403959336543604</c:v>
                </c:pt>
                <c:pt idx="36673">
                  <c:v>0.65405742821473101</c:v>
                </c:pt>
                <c:pt idx="36674">
                  <c:v>0.65407526306402697</c:v>
                </c:pt>
                <c:pt idx="36675">
                  <c:v>0.65409309791332204</c:v>
                </c:pt>
                <c:pt idx="36676">
                  <c:v>0.654110932762618</c:v>
                </c:pt>
                <c:pt idx="36677">
                  <c:v>0.65412876761191296</c:v>
                </c:pt>
                <c:pt idx="36678">
                  <c:v>0.65414660246120904</c:v>
                </c:pt>
                <c:pt idx="36679">
                  <c:v>0.654164437310504</c:v>
                </c:pt>
                <c:pt idx="36680">
                  <c:v>0.65418227215979996</c:v>
                </c:pt>
                <c:pt idx="36681">
                  <c:v>0.65420010700909503</c:v>
                </c:pt>
                <c:pt idx="36682">
                  <c:v>0.65421794185839099</c:v>
                </c:pt>
                <c:pt idx="36683">
                  <c:v>0.65423577670768596</c:v>
                </c:pt>
                <c:pt idx="36684">
                  <c:v>0.65425361155698203</c:v>
                </c:pt>
                <c:pt idx="36685">
                  <c:v>0.65427144640627699</c:v>
                </c:pt>
                <c:pt idx="36686">
                  <c:v>0.65428928125557295</c:v>
                </c:pt>
                <c:pt idx="36687">
                  <c:v>0.65430711610486803</c:v>
                </c:pt>
                <c:pt idx="36688">
                  <c:v>0.65432495095416399</c:v>
                </c:pt>
                <c:pt idx="36689">
                  <c:v>0.65434278580345995</c:v>
                </c:pt>
                <c:pt idx="36690">
                  <c:v>0.65436062065275502</c:v>
                </c:pt>
                <c:pt idx="36691">
                  <c:v>0.65437845550205098</c:v>
                </c:pt>
                <c:pt idx="36692">
                  <c:v>0.65439629035134605</c:v>
                </c:pt>
                <c:pt idx="36693">
                  <c:v>0.65441412520064202</c:v>
                </c:pt>
                <c:pt idx="36694">
                  <c:v>0.65443196004993698</c:v>
                </c:pt>
                <c:pt idx="36695">
                  <c:v>0.65444979489923305</c:v>
                </c:pt>
                <c:pt idx="36696">
                  <c:v>0.65446762974852801</c:v>
                </c:pt>
                <c:pt idx="36697">
                  <c:v>0.65448546459782397</c:v>
                </c:pt>
                <c:pt idx="36698">
                  <c:v>0.65450329944711905</c:v>
                </c:pt>
                <c:pt idx="36699">
                  <c:v>0.65452113429641501</c:v>
                </c:pt>
                <c:pt idx="36700">
                  <c:v>0.65453896914570997</c:v>
                </c:pt>
                <c:pt idx="36701">
                  <c:v>0.65455680399500604</c:v>
                </c:pt>
                <c:pt idx="36702">
                  <c:v>0.654574638844301</c:v>
                </c:pt>
                <c:pt idx="36703">
                  <c:v>0.65459247369359697</c:v>
                </c:pt>
                <c:pt idx="36704">
                  <c:v>0.65461030854289204</c:v>
                </c:pt>
                <c:pt idx="36705">
                  <c:v>0.654628143392188</c:v>
                </c:pt>
                <c:pt idx="36706">
                  <c:v>0.65464597824148296</c:v>
                </c:pt>
                <c:pt idx="36707">
                  <c:v>0.65466381309077903</c:v>
                </c:pt>
                <c:pt idx="36708">
                  <c:v>0.654681647940074</c:v>
                </c:pt>
                <c:pt idx="36709">
                  <c:v>0.65469948278936996</c:v>
                </c:pt>
                <c:pt idx="36710">
                  <c:v>0.65471731763866503</c:v>
                </c:pt>
                <c:pt idx="36711">
                  <c:v>0.65473515248796099</c:v>
                </c:pt>
                <c:pt idx="36712">
                  <c:v>0.65475298733725695</c:v>
                </c:pt>
                <c:pt idx="36713">
                  <c:v>0.65477082218655203</c:v>
                </c:pt>
                <c:pt idx="36714">
                  <c:v>0.65478865703584799</c:v>
                </c:pt>
                <c:pt idx="36715">
                  <c:v>0.65480649188514295</c:v>
                </c:pt>
                <c:pt idx="36716">
                  <c:v>0.65482432673443902</c:v>
                </c:pt>
                <c:pt idx="36717">
                  <c:v>0.65484216158373398</c:v>
                </c:pt>
                <c:pt idx="36718">
                  <c:v>0.65485999643302994</c:v>
                </c:pt>
                <c:pt idx="36719">
                  <c:v>0.65487783128232502</c:v>
                </c:pt>
                <c:pt idx="36720">
                  <c:v>0.65489566613162098</c:v>
                </c:pt>
                <c:pt idx="36721">
                  <c:v>0.65491350098091605</c:v>
                </c:pt>
                <c:pt idx="36722">
                  <c:v>0.65493133583021201</c:v>
                </c:pt>
                <c:pt idx="36723">
                  <c:v>0.65494917067950698</c:v>
                </c:pt>
                <c:pt idx="36724">
                  <c:v>0.65496700552880305</c:v>
                </c:pt>
                <c:pt idx="36725">
                  <c:v>0.65498484037809801</c:v>
                </c:pt>
                <c:pt idx="36726">
                  <c:v>0.65500267522739397</c:v>
                </c:pt>
                <c:pt idx="36727">
                  <c:v>0.65502051007668904</c:v>
                </c:pt>
                <c:pt idx="36728">
                  <c:v>0.65503834492598501</c:v>
                </c:pt>
                <c:pt idx="36729">
                  <c:v>0.65505617977527997</c:v>
                </c:pt>
                <c:pt idx="36730">
                  <c:v>0.65507401462457604</c:v>
                </c:pt>
                <c:pt idx="36731">
                  <c:v>0.655091849473872</c:v>
                </c:pt>
                <c:pt idx="36732">
                  <c:v>0.65510968432316696</c:v>
                </c:pt>
                <c:pt idx="36733">
                  <c:v>0.65512751917246304</c:v>
                </c:pt>
                <c:pt idx="36734">
                  <c:v>0.655145354021758</c:v>
                </c:pt>
                <c:pt idx="36735">
                  <c:v>0.65516318887105396</c:v>
                </c:pt>
                <c:pt idx="36736">
                  <c:v>0.65518102372034903</c:v>
                </c:pt>
                <c:pt idx="36737">
                  <c:v>0.65519885856964499</c:v>
                </c:pt>
                <c:pt idx="36738">
                  <c:v>0.65521669341893995</c:v>
                </c:pt>
                <c:pt idx="36739">
                  <c:v>0.65523452826823603</c:v>
                </c:pt>
                <c:pt idx="36740">
                  <c:v>0.65525236311753099</c:v>
                </c:pt>
                <c:pt idx="36741">
                  <c:v>0.65527019796682695</c:v>
                </c:pt>
                <c:pt idx="36742">
                  <c:v>0.65528803281612202</c:v>
                </c:pt>
                <c:pt idx="36743">
                  <c:v>0.65530586766541798</c:v>
                </c:pt>
                <c:pt idx="36744">
                  <c:v>0.65532370251471295</c:v>
                </c:pt>
                <c:pt idx="36745">
                  <c:v>0.65534153736400902</c:v>
                </c:pt>
                <c:pt idx="36746">
                  <c:v>0.65535937221330398</c:v>
                </c:pt>
                <c:pt idx="36747">
                  <c:v>0.65537720706260005</c:v>
                </c:pt>
                <c:pt idx="36748">
                  <c:v>0.65539504191189502</c:v>
                </c:pt>
                <c:pt idx="36749">
                  <c:v>0.65541287676119098</c:v>
                </c:pt>
                <c:pt idx="36750">
                  <c:v>0.65543071161048605</c:v>
                </c:pt>
                <c:pt idx="36751">
                  <c:v>0.65544854645978201</c:v>
                </c:pt>
                <c:pt idx="36752">
                  <c:v>0.65546638130907797</c:v>
                </c:pt>
                <c:pt idx="36753">
                  <c:v>0.65548421615837305</c:v>
                </c:pt>
                <c:pt idx="36754">
                  <c:v>0.65550205100766901</c:v>
                </c:pt>
                <c:pt idx="36755">
                  <c:v>0.65551988585696397</c:v>
                </c:pt>
                <c:pt idx="36756">
                  <c:v>0.65553772070626004</c:v>
                </c:pt>
                <c:pt idx="36757">
                  <c:v>0.655555555555555</c:v>
                </c:pt>
                <c:pt idx="36758">
                  <c:v>0.65557339040485096</c:v>
                </c:pt>
                <c:pt idx="36759">
                  <c:v>0.65559122525414604</c:v>
                </c:pt>
                <c:pt idx="36760">
                  <c:v>0.655609060103442</c:v>
                </c:pt>
                <c:pt idx="36761">
                  <c:v>0.65562689495273696</c:v>
                </c:pt>
                <c:pt idx="36762">
                  <c:v>0.65564472980203303</c:v>
                </c:pt>
                <c:pt idx="36763">
                  <c:v>0.65566256465132799</c:v>
                </c:pt>
                <c:pt idx="36764">
                  <c:v>0.65568039950062396</c:v>
                </c:pt>
                <c:pt idx="36765">
                  <c:v>0.65569823434991903</c:v>
                </c:pt>
                <c:pt idx="36766">
                  <c:v>0.65571606919921499</c:v>
                </c:pt>
                <c:pt idx="36767">
                  <c:v>0.65573390404850995</c:v>
                </c:pt>
                <c:pt idx="36768">
                  <c:v>0.65575173889780602</c:v>
                </c:pt>
                <c:pt idx="36769">
                  <c:v>0.65576957374710099</c:v>
                </c:pt>
                <c:pt idx="36770">
                  <c:v>0.65578740859639695</c:v>
                </c:pt>
                <c:pt idx="36771">
                  <c:v>0.65580524344569202</c:v>
                </c:pt>
                <c:pt idx="36772">
                  <c:v>0.65582307829498798</c:v>
                </c:pt>
                <c:pt idx="36773">
                  <c:v>0.65584091314428306</c:v>
                </c:pt>
                <c:pt idx="36774">
                  <c:v>0.65585874799357902</c:v>
                </c:pt>
                <c:pt idx="36775">
                  <c:v>0.65587658284287498</c:v>
                </c:pt>
                <c:pt idx="36776">
                  <c:v>0.65589441769217005</c:v>
                </c:pt>
                <c:pt idx="36777">
                  <c:v>0.65591225254146601</c:v>
                </c:pt>
                <c:pt idx="36778">
                  <c:v>0.65593008739076097</c:v>
                </c:pt>
                <c:pt idx="36779">
                  <c:v>0.65594792224005705</c:v>
                </c:pt>
                <c:pt idx="36780">
                  <c:v>0.65596575708935201</c:v>
                </c:pt>
                <c:pt idx="36781">
                  <c:v>0.65598359193864797</c:v>
                </c:pt>
                <c:pt idx="36782">
                  <c:v>0.65600142678794304</c:v>
                </c:pt>
                <c:pt idx="36783">
                  <c:v>0.656019261637239</c:v>
                </c:pt>
                <c:pt idx="36784">
                  <c:v>0.65603709648653397</c:v>
                </c:pt>
                <c:pt idx="36785">
                  <c:v>0.65605493133583004</c:v>
                </c:pt>
                <c:pt idx="36786">
                  <c:v>0.656072766185125</c:v>
                </c:pt>
                <c:pt idx="36787">
                  <c:v>0.65609060103442096</c:v>
                </c:pt>
                <c:pt idx="36788">
                  <c:v>0.65610843588371603</c:v>
                </c:pt>
                <c:pt idx="36789">
                  <c:v>0.656126270733012</c:v>
                </c:pt>
                <c:pt idx="36790">
                  <c:v>0.65614410558230696</c:v>
                </c:pt>
                <c:pt idx="36791">
                  <c:v>0.65616194043160303</c:v>
                </c:pt>
                <c:pt idx="36792">
                  <c:v>0.65617977528089799</c:v>
                </c:pt>
                <c:pt idx="36793">
                  <c:v>0.65619761013019395</c:v>
                </c:pt>
                <c:pt idx="36794">
                  <c:v>0.65621544497948903</c:v>
                </c:pt>
                <c:pt idx="36795">
                  <c:v>0.65623327982878499</c:v>
                </c:pt>
                <c:pt idx="36796">
                  <c:v>0.65625111467808095</c:v>
                </c:pt>
                <c:pt idx="36797">
                  <c:v>0.65626894952737602</c:v>
                </c:pt>
                <c:pt idx="36798">
                  <c:v>0.65628678437667198</c:v>
                </c:pt>
                <c:pt idx="36799">
                  <c:v>0.65630461922596695</c:v>
                </c:pt>
                <c:pt idx="36800">
                  <c:v>0.65632245407526302</c:v>
                </c:pt>
                <c:pt idx="36801">
                  <c:v>0.65634028892455798</c:v>
                </c:pt>
                <c:pt idx="36802">
                  <c:v>0.65635812377385405</c:v>
                </c:pt>
                <c:pt idx="36803">
                  <c:v>0.65637595862314901</c:v>
                </c:pt>
                <c:pt idx="36804">
                  <c:v>0.65639379347244498</c:v>
                </c:pt>
                <c:pt idx="36805">
                  <c:v>0.65641162832174005</c:v>
                </c:pt>
                <c:pt idx="36806">
                  <c:v>0.65642946317103601</c:v>
                </c:pt>
                <c:pt idx="36807">
                  <c:v>0.65644729802033097</c:v>
                </c:pt>
                <c:pt idx="36808">
                  <c:v>0.65646513286962704</c:v>
                </c:pt>
                <c:pt idx="36809">
                  <c:v>0.65648296771892201</c:v>
                </c:pt>
                <c:pt idx="36810">
                  <c:v>0.65650080256821797</c:v>
                </c:pt>
                <c:pt idx="36811">
                  <c:v>0.65651863741751304</c:v>
                </c:pt>
                <c:pt idx="36812">
                  <c:v>0.656536472266809</c:v>
                </c:pt>
                <c:pt idx="36813">
                  <c:v>0.65655430711610396</c:v>
                </c:pt>
                <c:pt idx="36814">
                  <c:v>0.65657214196540004</c:v>
                </c:pt>
                <c:pt idx="36815">
                  <c:v>0.656589976814695</c:v>
                </c:pt>
                <c:pt idx="36816">
                  <c:v>0.65660781166399096</c:v>
                </c:pt>
                <c:pt idx="36817">
                  <c:v>0.65662564651328603</c:v>
                </c:pt>
                <c:pt idx="36818">
                  <c:v>0.65664348136258199</c:v>
                </c:pt>
                <c:pt idx="36819">
                  <c:v>0.65666131621187795</c:v>
                </c:pt>
                <c:pt idx="36820">
                  <c:v>0.65667915106117303</c:v>
                </c:pt>
                <c:pt idx="36821">
                  <c:v>0.65669698591046899</c:v>
                </c:pt>
                <c:pt idx="36822">
                  <c:v>0.65671482075976395</c:v>
                </c:pt>
                <c:pt idx="36823">
                  <c:v>0.65673265560906002</c:v>
                </c:pt>
                <c:pt idx="36824">
                  <c:v>0.65675049045835499</c:v>
                </c:pt>
                <c:pt idx="36825">
                  <c:v>0.65676832530765095</c:v>
                </c:pt>
                <c:pt idx="36826">
                  <c:v>0.65678616015694602</c:v>
                </c:pt>
                <c:pt idx="36827">
                  <c:v>0.65680399500624198</c:v>
                </c:pt>
                <c:pt idx="36828">
                  <c:v>0.65682182985553705</c:v>
                </c:pt>
                <c:pt idx="36829">
                  <c:v>0.65683966470483302</c:v>
                </c:pt>
                <c:pt idx="36830">
                  <c:v>0.65685749955412798</c:v>
                </c:pt>
                <c:pt idx="36831">
                  <c:v>0.65687533440342405</c:v>
                </c:pt>
                <c:pt idx="36832">
                  <c:v>0.65689316925271901</c:v>
                </c:pt>
                <c:pt idx="36833">
                  <c:v>0.65691100410201497</c:v>
                </c:pt>
                <c:pt idx="36834">
                  <c:v>0.65692883895131005</c:v>
                </c:pt>
                <c:pt idx="36835">
                  <c:v>0.65694667380060601</c:v>
                </c:pt>
                <c:pt idx="36836">
                  <c:v>0.65696450864990097</c:v>
                </c:pt>
                <c:pt idx="36837">
                  <c:v>0.65698234349919704</c:v>
                </c:pt>
                <c:pt idx="36838">
                  <c:v>0.657000178348493</c:v>
                </c:pt>
                <c:pt idx="36839">
                  <c:v>0.65701801319778796</c:v>
                </c:pt>
                <c:pt idx="36840">
                  <c:v>0.65703584804708404</c:v>
                </c:pt>
                <c:pt idx="36841">
                  <c:v>0.657053682896379</c:v>
                </c:pt>
                <c:pt idx="36842">
                  <c:v>0.65707151774567496</c:v>
                </c:pt>
                <c:pt idx="36843">
                  <c:v>0.65708935259497003</c:v>
                </c:pt>
                <c:pt idx="36844">
                  <c:v>0.65710718744426599</c:v>
                </c:pt>
                <c:pt idx="36845">
                  <c:v>0.65712502229356096</c:v>
                </c:pt>
                <c:pt idx="36846">
                  <c:v>0.65714285714285703</c:v>
                </c:pt>
                <c:pt idx="36847">
                  <c:v>0.65716069199215199</c:v>
                </c:pt>
                <c:pt idx="36848">
                  <c:v>0.65717852684144795</c:v>
                </c:pt>
                <c:pt idx="36849">
                  <c:v>0.65719636169074303</c:v>
                </c:pt>
                <c:pt idx="36850">
                  <c:v>0.65721419654003899</c:v>
                </c:pt>
                <c:pt idx="36851">
                  <c:v>0.65723203138933395</c:v>
                </c:pt>
                <c:pt idx="36852">
                  <c:v>0.65724986623863002</c:v>
                </c:pt>
                <c:pt idx="36853">
                  <c:v>0.65726770108792498</c:v>
                </c:pt>
                <c:pt idx="36854">
                  <c:v>0.65728553593722105</c:v>
                </c:pt>
                <c:pt idx="36855">
                  <c:v>0.65730337078651602</c:v>
                </c:pt>
                <c:pt idx="36856">
                  <c:v>0.65732120563581198</c:v>
                </c:pt>
                <c:pt idx="36857">
                  <c:v>0.65733904048510705</c:v>
                </c:pt>
                <c:pt idx="36858">
                  <c:v>0.65735687533440301</c:v>
                </c:pt>
                <c:pt idx="36859">
                  <c:v>0.65737471018369897</c:v>
                </c:pt>
                <c:pt idx="36860">
                  <c:v>0.65739254503299405</c:v>
                </c:pt>
                <c:pt idx="36861">
                  <c:v>0.65741037988229001</c:v>
                </c:pt>
                <c:pt idx="36862">
                  <c:v>0.65742821473158497</c:v>
                </c:pt>
                <c:pt idx="36863">
                  <c:v>0.65744604958088104</c:v>
                </c:pt>
                <c:pt idx="36864">
                  <c:v>0.657463884430176</c:v>
                </c:pt>
                <c:pt idx="36865">
                  <c:v>0.65748171927947197</c:v>
                </c:pt>
                <c:pt idx="36866">
                  <c:v>0.65749955412876704</c:v>
                </c:pt>
                <c:pt idx="36867">
                  <c:v>0.657517388978063</c:v>
                </c:pt>
                <c:pt idx="36868">
                  <c:v>0.65753522382735796</c:v>
                </c:pt>
                <c:pt idx="36869">
                  <c:v>0.65755305867665403</c:v>
                </c:pt>
                <c:pt idx="36870">
                  <c:v>0.657570893525949</c:v>
                </c:pt>
                <c:pt idx="36871">
                  <c:v>0.65758872837524496</c:v>
                </c:pt>
                <c:pt idx="36872">
                  <c:v>0.65760656322454003</c:v>
                </c:pt>
                <c:pt idx="36873">
                  <c:v>0.65762439807383599</c:v>
                </c:pt>
                <c:pt idx="36874">
                  <c:v>0.65764223292313095</c:v>
                </c:pt>
                <c:pt idx="36875">
                  <c:v>0.65766006777242703</c:v>
                </c:pt>
                <c:pt idx="36876">
                  <c:v>0.65767790262172199</c:v>
                </c:pt>
                <c:pt idx="36877">
                  <c:v>0.65769573747101795</c:v>
                </c:pt>
                <c:pt idx="36878">
                  <c:v>0.65771357232031302</c:v>
                </c:pt>
                <c:pt idx="36879">
                  <c:v>0.65773140716960898</c:v>
                </c:pt>
                <c:pt idx="36880">
                  <c:v>0.65774924201890494</c:v>
                </c:pt>
                <c:pt idx="36881">
                  <c:v>0.65776707686820002</c:v>
                </c:pt>
                <c:pt idx="36882">
                  <c:v>0.65778491171749598</c:v>
                </c:pt>
                <c:pt idx="36883">
                  <c:v>0.65780274656679105</c:v>
                </c:pt>
                <c:pt idx="36884">
                  <c:v>0.65782058141608701</c:v>
                </c:pt>
                <c:pt idx="36885">
                  <c:v>0.65783841626538198</c:v>
                </c:pt>
                <c:pt idx="36886">
                  <c:v>0.65785625111467805</c:v>
                </c:pt>
                <c:pt idx="36887">
                  <c:v>0.65787408596397301</c:v>
                </c:pt>
                <c:pt idx="36888">
                  <c:v>0.65789192081326897</c:v>
                </c:pt>
                <c:pt idx="36889">
                  <c:v>0.65790975566256404</c:v>
                </c:pt>
                <c:pt idx="36890">
                  <c:v>0.65792759051186001</c:v>
                </c:pt>
                <c:pt idx="36891">
                  <c:v>0.65794542536115497</c:v>
                </c:pt>
                <c:pt idx="36892">
                  <c:v>0.65796326021045104</c:v>
                </c:pt>
                <c:pt idx="36893">
                  <c:v>0.657981095059746</c:v>
                </c:pt>
                <c:pt idx="36894">
                  <c:v>0.65799892990904196</c:v>
                </c:pt>
                <c:pt idx="36895">
                  <c:v>0.65801676475833704</c:v>
                </c:pt>
                <c:pt idx="36896">
                  <c:v>0.658034599607633</c:v>
                </c:pt>
                <c:pt idx="36897">
                  <c:v>0.65805243445692796</c:v>
                </c:pt>
                <c:pt idx="36898">
                  <c:v>0.65807026930622403</c:v>
                </c:pt>
                <c:pt idx="36899">
                  <c:v>0.65808810415551899</c:v>
                </c:pt>
                <c:pt idx="36900">
                  <c:v>0.65810593900481495</c:v>
                </c:pt>
                <c:pt idx="36901">
                  <c:v>0.65812377385411003</c:v>
                </c:pt>
                <c:pt idx="36902">
                  <c:v>0.65814160870340599</c:v>
                </c:pt>
                <c:pt idx="36903">
                  <c:v>0.65815944355270195</c:v>
                </c:pt>
                <c:pt idx="36904">
                  <c:v>0.65817727840199702</c:v>
                </c:pt>
                <c:pt idx="36905">
                  <c:v>0.65819511325129298</c:v>
                </c:pt>
                <c:pt idx="36906">
                  <c:v>0.65821294810058795</c:v>
                </c:pt>
                <c:pt idx="36907">
                  <c:v>0.65823078294988402</c:v>
                </c:pt>
                <c:pt idx="36908">
                  <c:v>0.65824861779917898</c:v>
                </c:pt>
                <c:pt idx="36909">
                  <c:v>0.65826645264847505</c:v>
                </c:pt>
                <c:pt idx="36910">
                  <c:v>0.65828428749777002</c:v>
                </c:pt>
                <c:pt idx="36911">
                  <c:v>0.65830212234706598</c:v>
                </c:pt>
                <c:pt idx="36912">
                  <c:v>0.65831995719636105</c:v>
                </c:pt>
                <c:pt idx="36913">
                  <c:v>0.65833779204565701</c:v>
                </c:pt>
                <c:pt idx="36914">
                  <c:v>0.65835562689495197</c:v>
                </c:pt>
                <c:pt idx="36915">
                  <c:v>0.65837346174424805</c:v>
                </c:pt>
                <c:pt idx="36916">
                  <c:v>0.65839129659354301</c:v>
                </c:pt>
                <c:pt idx="36917">
                  <c:v>0.65840913144283897</c:v>
                </c:pt>
                <c:pt idx="36918">
                  <c:v>0.65842696629213404</c:v>
                </c:pt>
                <c:pt idx="36919">
                  <c:v>0.65844480114143</c:v>
                </c:pt>
                <c:pt idx="36920">
                  <c:v>0.65846263599072496</c:v>
                </c:pt>
                <c:pt idx="36921">
                  <c:v>0.65848047084002104</c:v>
                </c:pt>
                <c:pt idx="36922">
                  <c:v>0.658498305689316</c:v>
                </c:pt>
                <c:pt idx="36923">
                  <c:v>0.65851614053861196</c:v>
                </c:pt>
                <c:pt idx="36924">
                  <c:v>0.65853397538790703</c:v>
                </c:pt>
                <c:pt idx="36925">
                  <c:v>0.65855181023720299</c:v>
                </c:pt>
                <c:pt idx="36926">
                  <c:v>0.65856964508649896</c:v>
                </c:pt>
                <c:pt idx="36927">
                  <c:v>0.65858747993579403</c:v>
                </c:pt>
                <c:pt idx="36928">
                  <c:v>0.65860531478508999</c:v>
                </c:pt>
                <c:pt idx="36929">
                  <c:v>0.65862314963438495</c:v>
                </c:pt>
                <c:pt idx="36930">
                  <c:v>0.65864098448368102</c:v>
                </c:pt>
                <c:pt idx="36931">
                  <c:v>0.65865881933297599</c:v>
                </c:pt>
                <c:pt idx="36932">
                  <c:v>0.65867665418227195</c:v>
                </c:pt>
                <c:pt idx="36933">
                  <c:v>0.65869448903156702</c:v>
                </c:pt>
                <c:pt idx="36934">
                  <c:v>0.65871232388086298</c:v>
                </c:pt>
                <c:pt idx="36935">
                  <c:v>0.65873015873015806</c:v>
                </c:pt>
                <c:pt idx="36936">
                  <c:v>0.65874799357945402</c:v>
                </c:pt>
                <c:pt idx="36937">
                  <c:v>0.65876582842874898</c:v>
                </c:pt>
                <c:pt idx="36938">
                  <c:v>0.65878366327804505</c:v>
                </c:pt>
                <c:pt idx="36939">
                  <c:v>0.65880149812734001</c:v>
                </c:pt>
                <c:pt idx="36940">
                  <c:v>0.65881933297663597</c:v>
                </c:pt>
                <c:pt idx="36941">
                  <c:v>0.65883716782593105</c:v>
                </c:pt>
                <c:pt idx="36942">
                  <c:v>0.65885500267522701</c:v>
                </c:pt>
                <c:pt idx="36943">
                  <c:v>0.65887283752452297</c:v>
                </c:pt>
                <c:pt idx="36944">
                  <c:v>0.65889067237381804</c:v>
                </c:pt>
                <c:pt idx="36945">
                  <c:v>0.658908507223114</c:v>
                </c:pt>
                <c:pt idx="36946">
                  <c:v>0.65892634207240897</c:v>
                </c:pt>
                <c:pt idx="36947">
                  <c:v>0.65894417692170504</c:v>
                </c:pt>
                <c:pt idx="36948">
                  <c:v>0.658962011771</c:v>
                </c:pt>
                <c:pt idx="36949">
                  <c:v>0.65897984662029596</c:v>
                </c:pt>
                <c:pt idx="36950">
                  <c:v>0.65899768146959103</c:v>
                </c:pt>
                <c:pt idx="36951">
                  <c:v>0.659015516318887</c:v>
                </c:pt>
                <c:pt idx="36952">
                  <c:v>0.65903335116818196</c:v>
                </c:pt>
                <c:pt idx="36953">
                  <c:v>0.65905118601747803</c:v>
                </c:pt>
                <c:pt idx="36954">
                  <c:v>0.65906902086677299</c:v>
                </c:pt>
                <c:pt idx="36955">
                  <c:v>0.65908685571606895</c:v>
                </c:pt>
                <c:pt idx="36956">
                  <c:v>0.65910469056536403</c:v>
                </c:pt>
                <c:pt idx="36957">
                  <c:v>0.65912252541465999</c:v>
                </c:pt>
                <c:pt idx="36958">
                  <c:v>0.65914036026395495</c:v>
                </c:pt>
                <c:pt idx="36959">
                  <c:v>0.65915819511325102</c:v>
                </c:pt>
                <c:pt idx="36960">
                  <c:v>0.65917602996254598</c:v>
                </c:pt>
                <c:pt idx="36961">
                  <c:v>0.65919386481184195</c:v>
                </c:pt>
                <c:pt idx="36962">
                  <c:v>0.65921169966113702</c:v>
                </c:pt>
                <c:pt idx="36963">
                  <c:v>0.65922953451043298</c:v>
                </c:pt>
                <c:pt idx="36964">
                  <c:v>0.65924736935972805</c:v>
                </c:pt>
                <c:pt idx="36965">
                  <c:v>0.65926520420902401</c:v>
                </c:pt>
                <c:pt idx="36966">
                  <c:v>0.65928303905831998</c:v>
                </c:pt>
                <c:pt idx="36967">
                  <c:v>0.65930087390761505</c:v>
                </c:pt>
                <c:pt idx="36968">
                  <c:v>0.65931870875691101</c:v>
                </c:pt>
                <c:pt idx="36969">
                  <c:v>0.65933654360620597</c:v>
                </c:pt>
                <c:pt idx="36970">
                  <c:v>0.65935437845550204</c:v>
                </c:pt>
                <c:pt idx="36971">
                  <c:v>0.65937221330479701</c:v>
                </c:pt>
                <c:pt idx="36972">
                  <c:v>0.65939004815409297</c:v>
                </c:pt>
                <c:pt idx="36973">
                  <c:v>0.65940788300338804</c:v>
                </c:pt>
                <c:pt idx="36974">
                  <c:v>0.659425717852684</c:v>
                </c:pt>
                <c:pt idx="36975">
                  <c:v>0.65944355270197896</c:v>
                </c:pt>
                <c:pt idx="36976">
                  <c:v>0.65946138755127504</c:v>
                </c:pt>
                <c:pt idx="36977">
                  <c:v>0.65947922240057</c:v>
                </c:pt>
                <c:pt idx="36978">
                  <c:v>0.65949705724986596</c:v>
                </c:pt>
                <c:pt idx="36979">
                  <c:v>0.65951489209916103</c:v>
                </c:pt>
                <c:pt idx="36980">
                  <c:v>0.65953272694845699</c:v>
                </c:pt>
                <c:pt idx="36981">
                  <c:v>0.65955056179775196</c:v>
                </c:pt>
                <c:pt idx="36982">
                  <c:v>0.65956839664704803</c:v>
                </c:pt>
                <c:pt idx="36983">
                  <c:v>0.65958623149634299</c:v>
                </c:pt>
                <c:pt idx="36984">
                  <c:v>0.65960406634563895</c:v>
                </c:pt>
                <c:pt idx="36985">
                  <c:v>0.65962190119493402</c:v>
                </c:pt>
                <c:pt idx="36986">
                  <c:v>0.65963973604422999</c:v>
                </c:pt>
                <c:pt idx="36987">
                  <c:v>0.65965757089352595</c:v>
                </c:pt>
                <c:pt idx="36988">
                  <c:v>0.65967540574282102</c:v>
                </c:pt>
                <c:pt idx="36989">
                  <c:v>0.65969324059211698</c:v>
                </c:pt>
                <c:pt idx="36990">
                  <c:v>0.65971107544141205</c:v>
                </c:pt>
                <c:pt idx="36991">
                  <c:v>0.65972891029070801</c:v>
                </c:pt>
                <c:pt idx="36992">
                  <c:v>0.65974674514000298</c:v>
                </c:pt>
                <c:pt idx="36993">
                  <c:v>0.65976457998929905</c:v>
                </c:pt>
                <c:pt idx="36994">
                  <c:v>0.65978241483859401</c:v>
                </c:pt>
                <c:pt idx="36995">
                  <c:v>0.65980024968788997</c:v>
                </c:pt>
                <c:pt idx="36996">
                  <c:v>0.65981808453718505</c:v>
                </c:pt>
                <c:pt idx="36997">
                  <c:v>0.65983591938648101</c:v>
                </c:pt>
                <c:pt idx="36998">
                  <c:v>0.65985375423577597</c:v>
                </c:pt>
                <c:pt idx="36999">
                  <c:v>0.65987158908507204</c:v>
                </c:pt>
                <c:pt idx="37000">
                  <c:v>0.659889423934367</c:v>
                </c:pt>
                <c:pt idx="37001">
                  <c:v>0.65990725878366296</c:v>
                </c:pt>
                <c:pt idx="37002">
                  <c:v>0.65992509363295804</c:v>
                </c:pt>
                <c:pt idx="37003">
                  <c:v>0.659942928482254</c:v>
                </c:pt>
                <c:pt idx="37004">
                  <c:v>0.65996076333154896</c:v>
                </c:pt>
                <c:pt idx="37005">
                  <c:v>0.65997859818084503</c:v>
                </c:pt>
                <c:pt idx="37006">
                  <c:v>0.65999643303014</c:v>
                </c:pt>
                <c:pt idx="37007">
                  <c:v>0.66001426787943596</c:v>
                </c:pt>
                <c:pt idx="37008">
                  <c:v>0.66003210272873103</c:v>
                </c:pt>
                <c:pt idx="37009">
                  <c:v>0.66004993757802699</c:v>
                </c:pt>
                <c:pt idx="37010">
                  <c:v>0.66006777242732295</c:v>
                </c:pt>
                <c:pt idx="37011">
                  <c:v>0.66008560727661802</c:v>
                </c:pt>
                <c:pt idx="37012">
                  <c:v>0.66010344212591399</c:v>
                </c:pt>
                <c:pt idx="37013">
                  <c:v>0.66012127697520895</c:v>
                </c:pt>
                <c:pt idx="37014">
                  <c:v>0.66013911182450502</c:v>
                </c:pt>
                <c:pt idx="37015">
                  <c:v>0.66015694667379998</c:v>
                </c:pt>
                <c:pt idx="37016">
                  <c:v>0.66017478152309605</c:v>
                </c:pt>
                <c:pt idx="37017">
                  <c:v>0.66019261637239102</c:v>
                </c:pt>
                <c:pt idx="37018">
                  <c:v>0.66021045122168698</c:v>
                </c:pt>
                <c:pt idx="37019">
                  <c:v>0.66022828607098205</c:v>
                </c:pt>
                <c:pt idx="37020">
                  <c:v>0.66024612092027801</c:v>
                </c:pt>
                <c:pt idx="37021">
                  <c:v>0.66026395576957297</c:v>
                </c:pt>
                <c:pt idx="37022">
                  <c:v>0.66028179061886905</c:v>
                </c:pt>
                <c:pt idx="37023">
                  <c:v>0.66029962546816401</c:v>
                </c:pt>
                <c:pt idx="37024">
                  <c:v>0.66031746031745997</c:v>
                </c:pt>
                <c:pt idx="37025">
                  <c:v>0.66033529516675504</c:v>
                </c:pt>
                <c:pt idx="37026">
                  <c:v>0.660353130016051</c:v>
                </c:pt>
                <c:pt idx="37027">
                  <c:v>0.66037096486534597</c:v>
                </c:pt>
                <c:pt idx="37028">
                  <c:v>0.66038879971464204</c:v>
                </c:pt>
                <c:pt idx="37029">
                  <c:v>0.660406634563937</c:v>
                </c:pt>
                <c:pt idx="37030">
                  <c:v>0.66042446941323296</c:v>
                </c:pt>
                <c:pt idx="37031">
                  <c:v>0.66044230426252903</c:v>
                </c:pt>
                <c:pt idx="37032">
                  <c:v>0.660460139111824</c:v>
                </c:pt>
                <c:pt idx="37033">
                  <c:v>0.66047797396111996</c:v>
                </c:pt>
                <c:pt idx="37034">
                  <c:v>0.66049580881041503</c:v>
                </c:pt>
                <c:pt idx="37035">
                  <c:v>0.66051364365971099</c:v>
                </c:pt>
                <c:pt idx="37036">
                  <c:v>0.66053147850900595</c:v>
                </c:pt>
                <c:pt idx="37037">
                  <c:v>0.66054931335830203</c:v>
                </c:pt>
                <c:pt idx="37038">
                  <c:v>0.66056714820759699</c:v>
                </c:pt>
                <c:pt idx="37039">
                  <c:v>0.66058498305689295</c:v>
                </c:pt>
                <c:pt idx="37040">
                  <c:v>0.66060281790618802</c:v>
                </c:pt>
                <c:pt idx="37041">
                  <c:v>0.66062065275548398</c:v>
                </c:pt>
                <c:pt idx="37042">
                  <c:v>0.66063848760477895</c:v>
                </c:pt>
                <c:pt idx="37043">
                  <c:v>0.66065632245407502</c:v>
                </c:pt>
                <c:pt idx="37044">
                  <c:v>0.66067415730336998</c:v>
                </c:pt>
                <c:pt idx="37045">
                  <c:v>0.66069199215266605</c:v>
                </c:pt>
                <c:pt idx="37046">
                  <c:v>0.66070982700196101</c:v>
                </c:pt>
                <c:pt idx="37047">
                  <c:v>0.66072766185125698</c:v>
                </c:pt>
                <c:pt idx="37048">
                  <c:v>0.66074549670055205</c:v>
                </c:pt>
                <c:pt idx="37049">
                  <c:v>0.66076333154984801</c:v>
                </c:pt>
                <c:pt idx="37050">
                  <c:v>0.66078116639914397</c:v>
                </c:pt>
                <c:pt idx="37051">
                  <c:v>0.66079900124843904</c:v>
                </c:pt>
                <c:pt idx="37052">
                  <c:v>0.66081683609773501</c:v>
                </c:pt>
                <c:pt idx="37053">
                  <c:v>0.66083467094702997</c:v>
                </c:pt>
                <c:pt idx="37054">
                  <c:v>0.66085250579632604</c:v>
                </c:pt>
                <c:pt idx="37055">
                  <c:v>0.660870340645621</c:v>
                </c:pt>
                <c:pt idx="37056">
                  <c:v>0.66088817549491696</c:v>
                </c:pt>
                <c:pt idx="37057">
                  <c:v>0.66090601034421204</c:v>
                </c:pt>
                <c:pt idx="37058">
                  <c:v>0.660923845193508</c:v>
                </c:pt>
                <c:pt idx="37059">
                  <c:v>0.66094168004280296</c:v>
                </c:pt>
                <c:pt idx="37060">
                  <c:v>0.66095951489209903</c:v>
                </c:pt>
                <c:pt idx="37061">
                  <c:v>0.66097734974139399</c:v>
                </c:pt>
                <c:pt idx="37062">
                  <c:v>0.66099518459068995</c:v>
                </c:pt>
                <c:pt idx="37063">
                  <c:v>0.66101301943998503</c:v>
                </c:pt>
                <c:pt idx="37064">
                  <c:v>0.66103085428928099</c:v>
                </c:pt>
                <c:pt idx="37065">
                  <c:v>0.66104868913857595</c:v>
                </c:pt>
                <c:pt idx="37066">
                  <c:v>0.66106652398787202</c:v>
                </c:pt>
                <c:pt idx="37067">
                  <c:v>0.66108435883716699</c:v>
                </c:pt>
                <c:pt idx="37068">
                  <c:v>0.66110219368646295</c:v>
                </c:pt>
                <c:pt idx="37069">
                  <c:v>0.66112002853575802</c:v>
                </c:pt>
                <c:pt idx="37070">
                  <c:v>0.66113786338505398</c:v>
                </c:pt>
                <c:pt idx="37071">
                  <c:v>0.66115569823434905</c:v>
                </c:pt>
                <c:pt idx="37072">
                  <c:v>0.66117353308364502</c:v>
                </c:pt>
                <c:pt idx="37073">
                  <c:v>0.66119136793294098</c:v>
                </c:pt>
                <c:pt idx="37074">
                  <c:v>0.66120920278223605</c:v>
                </c:pt>
                <c:pt idx="37075">
                  <c:v>0.66122703763153201</c:v>
                </c:pt>
                <c:pt idx="37076">
                  <c:v>0.66124487248082697</c:v>
                </c:pt>
                <c:pt idx="37077">
                  <c:v>0.66126270733012305</c:v>
                </c:pt>
                <c:pt idx="37078">
                  <c:v>0.66128054217941801</c:v>
                </c:pt>
                <c:pt idx="37079">
                  <c:v>0.66129837702871397</c:v>
                </c:pt>
                <c:pt idx="37080">
                  <c:v>0.66131621187800904</c:v>
                </c:pt>
                <c:pt idx="37081">
                  <c:v>0.661334046727305</c:v>
                </c:pt>
                <c:pt idx="37082">
                  <c:v>0.66135188157659996</c:v>
                </c:pt>
                <c:pt idx="37083">
                  <c:v>0.66136971642589604</c:v>
                </c:pt>
                <c:pt idx="37084">
                  <c:v>0.661387551275191</c:v>
                </c:pt>
                <c:pt idx="37085">
                  <c:v>0.66140538612448696</c:v>
                </c:pt>
                <c:pt idx="37086">
                  <c:v>0.66142322097378203</c:v>
                </c:pt>
                <c:pt idx="37087">
                  <c:v>0.66144105582307799</c:v>
                </c:pt>
                <c:pt idx="37088">
                  <c:v>0.66145889067237296</c:v>
                </c:pt>
                <c:pt idx="37089">
                  <c:v>0.66147672552166903</c:v>
                </c:pt>
                <c:pt idx="37090">
                  <c:v>0.66149456037096399</c:v>
                </c:pt>
                <c:pt idx="37091">
                  <c:v>0.66151239522025995</c:v>
                </c:pt>
                <c:pt idx="37092">
                  <c:v>0.66153023006955503</c:v>
                </c:pt>
                <c:pt idx="37093">
                  <c:v>0.66154806491885099</c:v>
                </c:pt>
                <c:pt idx="37094">
                  <c:v>0.66156589976814695</c:v>
                </c:pt>
                <c:pt idx="37095">
                  <c:v>0.66158373461744202</c:v>
                </c:pt>
                <c:pt idx="37096">
                  <c:v>0.66160156946673798</c:v>
                </c:pt>
                <c:pt idx="37097">
                  <c:v>0.66161940431603306</c:v>
                </c:pt>
                <c:pt idx="37098">
                  <c:v>0.66163723916532902</c:v>
                </c:pt>
                <c:pt idx="37099">
                  <c:v>0.66165507401462398</c:v>
                </c:pt>
                <c:pt idx="37100">
                  <c:v>0.66167290886392005</c:v>
                </c:pt>
                <c:pt idx="37101">
                  <c:v>0.66169074371321501</c:v>
                </c:pt>
                <c:pt idx="37102">
                  <c:v>0.66170857856251097</c:v>
                </c:pt>
                <c:pt idx="37103">
                  <c:v>0.66172641341180605</c:v>
                </c:pt>
                <c:pt idx="37104">
                  <c:v>0.66174424826110201</c:v>
                </c:pt>
                <c:pt idx="37105">
                  <c:v>0.66176208311039697</c:v>
                </c:pt>
                <c:pt idx="37106">
                  <c:v>0.66177991795969304</c:v>
                </c:pt>
                <c:pt idx="37107">
                  <c:v>0.661797752808988</c:v>
                </c:pt>
                <c:pt idx="37108">
                  <c:v>0.66181558765828397</c:v>
                </c:pt>
                <c:pt idx="37109">
                  <c:v>0.66183342250757904</c:v>
                </c:pt>
                <c:pt idx="37110">
                  <c:v>0.661851257356875</c:v>
                </c:pt>
                <c:pt idx="37111">
                  <c:v>0.66186909220616996</c:v>
                </c:pt>
                <c:pt idx="37112">
                  <c:v>0.66188692705546603</c:v>
                </c:pt>
                <c:pt idx="37113">
                  <c:v>0.661904761904761</c:v>
                </c:pt>
                <c:pt idx="37114">
                  <c:v>0.66192259675405696</c:v>
                </c:pt>
                <c:pt idx="37115">
                  <c:v>0.66194043160335203</c:v>
                </c:pt>
                <c:pt idx="37116">
                  <c:v>0.66195826645264799</c:v>
                </c:pt>
                <c:pt idx="37117">
                  <c:v>0.66197610130194395</c:v>
                </c:pt>
                <c:pt idx="37118">
                  <c:v>0.66199393615123903</c:v>
                </c:pt>
                <c:pt idx="37119">
                  <c:v>0.66201177100053499</c:v>
                </c:pt>
                <c:pt idx="37120">
                  <c:v>0.66202960584982995</c:v>
                </c:pt>
                <c:pt idx="37121">
                  <c:v>0.66204744069912602</c:v>
                </c:pt>
                <c:pt idx="37122">
                  <c:v>0.66206527554842098</c:v>
                </c:pt>
                <c:pt idx="37123">
                  <c:v>0.66208311039771695</c:v>
                </c:pt>
                <c:pt idx="37124">
                  <c:v>0.66210094524701202</c:v>
                </c:pt>
                <c:pt idx="37125">
                  <c:v>0.66211878009630798</c:v>
                </c:pt>
                <c:pt idx="37126">
                  <c:v>0.66213661494560305</c:v>
                </c:pt>
                <c:pt idx="37127">
                  <c:v>0.66215444979489901</c:v>
                </c:pt>
                <c:pt idx="37128">
                  <c:v>0.66217228464419398</c:v>
                </c:pt>
                <c:pt idx="37129">
                  <c:v>0.66219011949349005</c:v>
                </c:pt>
                <c:pt idx="37130">
                  <c:v>0.66220795434278501</c:v>
                </c:pt>
                <c:pt idx="37131">
                  <c:v>0.66222578919208097</c:v>
                </c:pt>
                <c:pt idx="37132">
                  <c:v>0.66224362404137604</c:v>
                </c:pt>
                <c:pt idx="37133">
                  <c:v>0.66226145889067201</c:v>
                </c:pt>
                <c:pt idx="37134">
                  <c:v>0.66227929373996697</c:v>
                </c:pt>
                <c:pt idx="37135">
                  <c:v>0.66229712858926304</c:v>
                </c:pt>
                <c:pt idx="37136">
                  <c:v>0.662314963438558</c:v>
                </c:pt>
                <c:pt idx="37137">
                  <c:v>0.66233279828785396</c:v>
                </c:pt>
                <c:pt idx="37138">
                  <c:v>0.66235063313715004</c:v>
                </c:pt>
                <c:pt idx="37139">
                  <c:v>0.662368467986445</c:v>
                </c:pt>
                <c:pt idx="37140">
                  <c:v>0.66238630283574096</c:v>
                </c:pt>
                <c:pt idx="37141">
                  <c:v>0.66240413768503603</c:v>
                </c:pt>
                <c:pt idx="37142">
                  <c:v>0.66242197253433199</c:v>
                </c:pt>
                <c:pt idx="37143">
                  <c:v>0.66243980738362696</c:v>
                </c:pt>
                <c:pt idx="37144">
                  <c:v>0.66245764223292303</c:v>
                </c:pt>
                <c:pt idx="37145">
                  <c:v>0.66247547708221799</c:v>
                </c:pt>
                <c:pt idx="37146">
                  <c:v>0.66249331193151395</c:v>
                </c:pt>
                <c:pt idx="37147">
                  <c:v>0.66251114678080902</c:v>
                </c:pt>
                <c:pt idx="37148">
                  <c:v>0.66252898163010499</c:v>
                </c:pt>
                <c:pt idx="37149">
                  <c:v>0.66254681647939995</c:v>
                </c:pt>
                <c:pt idx="37150">
                  <c:v>0.66256465132869602</c:v>
                </c:pt>
                <c:pt idx="37151">
                  <c:v>0.66258248617799098</c:v>
                </c:pt>
                <c:pt idx="37152">
                  <c:v>0.66260032102728705</c:v>
                </c:pt>
                <c:pt idx="37153">
                  <c:v>0.66261815587658202</c:v>
                </c:pt>
                <c:pt idx="37154">
                  <c:v>0.66263599072587798</c:v>
                </c:pt>
                <c:pt idx="37155">
                  <c:v>0.66265382557517305</c:v>
                </c:pt>
                <c:pt idx="37156">
                  <c:v>0.66267166042446901</c:v>
                </c:pt>
                <c:pt idx="37157">
                  <c:v>0.66268949527376497</c:v>
                </c:pt>
                <c:pt idx="37158">
                  <c:v>0.66270733012306005</c:v>
                </c:pt>
                <c:pt idx="37159">
                  <c:v>0.66272516497235601</c:v>
                </c:pt>
                <c:pt idx="37160">
                  <c:v>0.66274299982165097</c:v>
                </c:pt>
                <c:pt idx="37161">
                  <c:v>0.66276083467094704</c:v>
                </c:pt>
                <c:pt idx="37162">
                  <c:v>0.662778669520242</c:v>
                </c:pt>
                <c:pt idx="37163">
                  <c:v>0.66279650436953796</c:v>
                </c:pt>
                <c:pt idx="37164">
                  <c:v>0.66281433921883304</c:v>
                </c:pt>
                <c:pt idx="37165">
                  <c:v>0.662832174068129</c:v>
                </c:pt>
                <c:pt idx="37166">
                  <c:v>0.66285000891742396</c:v>
                </c:pt>
                <c:pt idx="37167">
                  <c:v>0.66286784376672003</c:v>
                </c:pt>
                <c:pt idx="37168">
                  <c:v>0.66288567861601499</c:v>
                </c:pt>
                <c:pt idx="37169">
                  <c:v>0.66290351346531096</c:v>
                </c:pt>
                <c:pt idx="37170">
                  <c:v>0.66292134831460603</c:v>
                </c:pt>
                <c:pt idx="37171">
                  <c:v>0.66293918316390199</c:v>
                </c:pt>
                <c:pt idx="37172">
                  <c:v>0.66295701801319695</c:v>
                </c:pt>
                <c:pt idx="37173">
                  <c:v>0.66297485286249302</c:v>
                </c:pt>
                <c:pt idx="37174">
                  <c:v>0.66299268771178799</c:v>
                </c:pt>
                <c:pt idx="37175">
                  <c:v>0.66301052256108395</c:v>
                </c:pt>
                <c:pt idx="37176">
                  <c:v>0.66302835741037902</c:v>
                </c:pt>
                <c:pt idx="37177">
                  <c:v>0.66304619225967498</c:v>
                </c:pt>
                <c:pt idx="37178">
                  <c:v>0.66306402710897006</c:v>
                </c:pt>
                <c:pt idx="37179">
                  <c:v>0.66308186195826602</c:v>
                </c:pt>
                <c:pt idx="37180">
                  <c:v>0.66309969680756198</c:v>
                </c:pt>
                <c:pt idx="37181">
                  <c:v>0.66311753165685705</c:v>
                </c:pt>
                <c:pt idx="37182">
                  <c:v>0.66313536650615301</c:v>
                </c:pt>
                <c:pt idx="37183">
                  <c:v>0.66315320135544797</c:v>
                </c:pt>
                <c:pt idx="37184">
                  <c:v>0.66317103620474405</c:v>
                </c:pt>
                <c:pt idx="37185">
                  <c:v>0.66318887105403901</c:v>
                </c:pt>
                <c:pt idx="37186">
                  <c:v>0.66320670590333497</c:v>
                </c:pt>
                <c:pt idx="37187">
                  <c:v>0.66322454075263004</c:v>
                </c:pt>
                <c:pt idx="37188">
                  <c:v>0.663242375601926</c:v>
                </c:pt>
                <c:pt idx="37189">
                  <c:v>0.66326021045122097</c:v>
                </c:pt>
                <c:pt idx="37190">
                  <c:v>0.66327804530051704</c:v>
                </c:pt>
                <c:pt idx="37191">
                  <c:v>0.663295880149812</c:v>
                </c:pt>
                <c:pt idx="37192">
                  <c:v>0.66331371499910796</c:v>
                </c:pt>
                <c:pt idx="37193">
                  <c:v>0.66333154984840303</c:v>
                </c:pt>
                <c:pt idx="37194">
                  <c:v>0.663349384697699</c:v>
                </c:pt>
                <c:pt idx="37195">
                  <c:v>0.66336721954699396</c:v>
                </c:pt>
                <c:pt idx="37196">
                  <c:v>0.66338505439629003</c:v>
                </c:pt>
                <c:pt idx="37197">
                  <c:v>0.66340288924558499</c:v>
                </c:pt>
                <c:pt idx="37198">
                  <c:v>0.66342072409488095</c:v>
                </c:pt>
                <c:pt idx="37199">
                  <c:v>0.66343855894417603</c:v>
                </c:pt>
                <c:pt idx="37200">
                  <c:v>0.66345639379347199</c:v>
                </c:pt>
                <c:pt idx="37201">
                  <c:v>0.66347422864276795</c:v>
                </c:pt>
                <c:pt idx="37202">
                  <c:v>0.66349206349206302</c:v>
                </c:pt>
                <c:pt idx="37203">
                  <c:v>0.66350989834135898</c:v>
                </c:pt>
                <c:pt idx="37204">
                  <c:v>0.66352773319065395</c:v>
                </c:pt>
                <c:pt idx="37205">
                  <c:v>0.66354556803995002</c:v>
                </c:pt>
                <c:pt idx="37206">
                  <c:v>0.66356340288924498</c:v>
                </c:pt>
                <c:pt idx="37207">
                  <c:v>0.66358123773854105</c:v>
                </c:pt>
                <c:pt idx="37208">
                  <c:v>0.66359907258783601</c:v>
                </c:pt>
                <c:pt idx="37209">
                  <c:v>0.66361690743713198</c:v>
                </c:pt>
                <c:pt idx="37210">
                  <c:v>0.66363474228642705</c:v>
                </c:pt>
                <c:pt idx="37211">
                  <c:v>0.66365257713572301</c:v>
                </c:pt>
                <c:pt idx="37212">
                  <c:v>0.66367041198501797</c:v>
                </c:pt>
                <c:pt idx="37213">
                  <c:v>0.66368824683431404</c:v>
                </c:pt>
                <c:pt idx="37214">
                  <c:v>0.66370608168360901</c:v>
                </c:pt>
                <c:pt idx="37215">
                  <c:v>0.66372391653290497</c:v>
                </c:pt>
                <c:pt idx="37216">
                  <c:v>0.66374175138220004</c:v>
                </c:pt>
                <c:pt idx="37217">
                  <c:v>0.663759586231496</c:v>
                </c:pt>
                <c:pt idx="37218">
                  <c:v>0.66377742108079096</c:v>
                </c:pt>
                <c:pt idx="37219">
                  <c:v>0.66379525593008704</c:v>
                </c:pt>
                <c:pt idx="37220">
                  <c:v>0.663813090779382</c:v>
                </c:pt>
                <c:pt idx="37221">
                  <c:v>0.66383092562867796</c:v>
                </c:pt>
                <c:pt idx="37222">
                  <c:v>0.66384876047797303</c:v>
                </c:pt>
                <c:pt idx="37223">
                  <c:v>0.66386659532726899</c:v>
                </c:pt>
                <c:pt idx="37224">
                  <c:v>0.66388443017656495</c:v>
                </c:pt>
                <c:pt idx="37225">
                  <c:v>0.66390226502586003</c:v>
                </c:pt>
                <c:pt idx="37226">
                  <c:v>0.66392009987515599</c:v>
                </c:pt>
                <c:pt idx="37227">
                  <c:v>0.66393793472445095</c:v>
                </c:pt>
                <c:pt idx="37228">
                  <c:v>0.66395576957374702</c:v>
                </c:pt>
                <c:pt idx="37229">
                  <c:v>0.66397360442304199</c:v>
                </c:pt>
                <c:pt idx="37230">
                  <c:v>0.66399143927233795</c:v>
                </c:pt>
                <c:pt idx="37231">
                  <c:v>0.66400927412163302</c:v>
                </c:pt>
                <c:pt idx="37232">
                  <c:v>0.66402710897092898</c:v>
                </c:pt>
                <c:pt idx="37233">
                  <c:v>0.66404494382022405</c:v>
                </c:pt>
                <c:pt idx="37234">
                  <c:v>0.66406277866952002</c:v>
                </c:pt>
                <c:pt idx="37235">
                  <c:v>0.66408061351881498</c:v>
                </c:pt>
                <c:pt idx="37236">
                  <c:v>0.66409844836811105</c:v>
                </c:pt>
                <c:pt idx="37237">
                  <c:v>0.66411628321740601</c:v>
                </c:pt>
                <c:pt idx="37238">
                  <c:v>0.66413411806670197</c:v>
                </c:pt>
                <c:pt idx="37239">
                  <c:v>0.66415195291599705</c:v>
                </c:pt>
                <c:pt idx="37240">
                  <c:v>0.66416978776529301</c:v>
                </c:pt>
                <c:pt idx="37241">
                  <c:v>0.66418762261458797</c:v>
                </c:pt>
                <c:pt idx="37242">
                  <c:v>0.66420545746388404</c:v>
                </c:pt>
                <c:pt idx="37243">
                  <c:v>0.66422329231318</c:v>
                </c:pt>
                <c:pt idx="37244">
                  <c:v>0.66424112716247496</c:v>
                </c:pt>
                <c:pt idx="37245">
                  <c:v>0.66425896201177104</c:v>
                </c:pt>
                <c:pt idx="37246">
                  <c:v>0.664276796861066</c:v>
                </c:pt>
                <c:pt idx="37247">
                  <c:v>0.66429463171036196</c:v>
                </c:pt>
                <c:pt idx="37248">
                  <c:v>0.66431246655965703</c:v>
                </c:pt>
                <c:pt idx="37249">
                  <c:v>0.66433030140895299</c:v>
                </c:pt>
                <c:pt idx="37250">
                  <c:v>0.66434813625824796</c:v>
                </c:pt>
                <c:pt idx="37251">
                  <c:v>0.66436597110754403</c:v>
                </c:pt>
                <c:pt idx="37252">
                  <c:v>0.66438380595683899</c:v>
                </c:pt>
                <c:pt idx="37253">
                  <c:v>0.66440164080613495</c:v>
                </c:pt>
                <c:pt idx="37254">
                  <c:v>0.66441947565543003</c:v>
                </c:pt>
                <c:pt idx="37255">
                  <c:v>0.66443731050472599</c:v>
                </c:pt>
                <c:pt idx="37256">
                  <c:v>0.66445514535402095</c:v>
                </c:pt>
                <c:pt idx="37257">
                  <c:v>0.66447298020331702</c:v>
                </c:pt>
                <c:pt idx="37258">
                  <c:v>0.66449081505261198</c:v>
                </c:pt>
                <c:pt idx="37259">
                  <c:v>0.66450864990190806</c:v>
                </c:pt>
                <c:pt idx="37260">
                  <c:v>0.66452648475120302</c:v>
                </c:pt>
                <c:pt idx="37261">
                  <c:v>0.66454431960049898</c:v>
                </c:pt>
                <c:pt idx="37262">
                  <c:v>0.66456215444979405</c:v>
                </c:pt>
                <c:pt idx="37263">
                  <c:v>0.66457998929909001</c:v>
                </c:pt>
                <c:pt idx="37264">
                  <c:v>0.66459782414838597</c:v>
                </c:pt>
                <c:pt idx="37265">
                  <c:v>0.66461565899768105</c:v>
                </c:pt>
                <c:pt idx="37266">
                  <c:v>0.66463349384697701</c:v>
                </c:pt>
                <c:pt idx="37267">
                  <c:v>0.66465132869627197</c:v>
                </c:pt>
                <c:pt idx="37268">
                  <c:v>0.66466916354556804</c:v>
                </c:pt>
                <c:pt idx="37269">
                  <c:v>0.664686998394863</c:v>
                </c:pt>
                <c:pt idx="37270">
                  <c:v>0.66470483324415897</c:v>
                </c:pt>
                <c:pt idx="37271">
                  <c:v>0.66472266809345404</c:v>
                </c:pt>
                <c:pt idx="37272">
                  <c:v>0.66474050294275</c:v>
                </c:pt>
                <c:pt idx="37273">
                  <c:v>0.66475833779204496</c:v>
                </c:pt>
                <c:pt idx="37274">
                  <c:v>0.66477617264134103</c:v>
                </c:pt>
                <c:pt idx="37275">
                  <c:v>0.664794007490636</c:v>
                </c:pt>
                <c:pt idx="37276">
                  <c:v>0.66481184233993196</c:v>
                </c:pt>
                <c:pt idx="37277">
                  <c:v>0.66482967718922703</c:v>
                </c:pt>
                <c:pt idx="37278">
                  <c:v>0.66484751203852299</c:v>
                </c:pt>
                <c:pt idx="37279">
                  <c:v>0.66486534688781795</c:v>
                </c:pt>
                <c:pt idx="37280">
                  <c:v>0.66488318173711403</c:v>
                </c:pt>
                <c:pt idx="37281">
                  <c:v>0.66490101658640899</c:v>
                </c:pt>
                <c:pt idx="37282">
                  <c:v>0.66491885143570495</c:v>
                </c:pt>
                <c:pt idx="37283">
                  <c:v>0.66493668628500002</c:v>
                </c:pt>
                <c:pt idx="37284">
                  <c:v>0.66495452113429598</c:v>
                </c:pt>
                <c:pt idx="37285">
                  <c:v>0.66497235598359195</c:v>
                </c:pt>
                <c:pt idx="37286">
                  <c:v>0.66499019083288702</c:v>
                </c:pt>
                <c:pt idx="37287">
                  <c:v>0.66500802568218298</c:v>
                </c:pt>
                <c:pt idx="37288">
                  <c:v>0.66502586053147805</c:v>
                </c:pt>
                <c:pt idx="37289">
                  <c:v>0.66504369538077401</c:v>
                </c:pt>
                <c:pt idx="37290">
                  <c:v>0.66506153023006898</c:v>
                </c:pt>
                <c:pt idx="37291">
                  <c:v>0.66507936507936505</c:v>
                </c:pt>
                <c:pt idx="37292">
                  <c:v>0.66509719992866001</c:v>
                </c:pt>
                <c:pt idx="37293">
                  <c:v>0.66511503477795597</c:v>
                </c:pt>
                <c:pt idx="37294">
                  <c:v>0.66513286962725104</c:v>
                </c:pt>
                <c:pt idx="37295">
                  <c:v>0.66515070447654701</c:v>
                </c:pt>
                <c:pt idx="37296">
                  <c:v>0.66516853932584197</c:v>
                </c:pt>
                <c:pt idx="37297">
                  <c:v>0.66518637417513804</c:v>
                </c:pt>
                <c:pt idx="37298">
                  <c:v>0.665204209024433</c:v>
                </c:pt>
                <c:pt idx="37299">
                  <c:v>0.66522204387372896</c:v>
                </c:pt>
                <c:pt idx="37300">
                  <c:v>0.66523987872302404</c:v>
                </c:pt>
                <c:pt idx="37301">
                  <c:v>0.66525771357232</c:v>
                </c:pt>
                <c:pt idx="37302">
                  <c:v>0.66527554842161496</c:v>
                </c:pt>
                <c:pt idx="37303">
                  <c:v>0.66529338327091103</c:v>
                </c:pt>
                <c:pt idx="37304">
                  <c:v>0.66531121812020599</c:v>
                </c:pt>
                <c:pt idx="37305">
                  <c:v>0.66532905296950196</c:v>
                </c:pt>
                <c:pt idx="37306">
                  <c:v>0.66534688781879703</c:v>
                </c:pt>
                <c:pt idx="37307">
                  <c:v>0.66536472266809299</c:v>
                </c:pt>
                <c:pt idx="37308">
                  <c:v>0.66538255751738895</c:v>
                </c:pt>
                <c:pt idx="37309">
                  <c:v>0.66540039236668402</c:v>
                </c:pt>
                <c:pt idx="37310">
                  <c:v>0.66541822721597998</c:v>
                </c:pt>
                <c:pt idx="37311">
                  <c:v>0.66543606206527495</c:v>
                </c:pt>
                <c:pt idx="37312">
                  <c:v>0.66545389691457102</c:v>
                </c:pt>
                <c:pt idx="37313">
                  <c:v>0.66547173176386598</c:v>
                </c:pt>
                <c:pt idx="37314">
                  <c:v>0.66548956661316205</c:v>
                </c:pt>
                <c:pt idx="37315">
                  <c:v>0.66550740146245702</c:v>
                </c:pt>
                <c:pt idx="37316">
                  <c:v>0.66552523631175298</c:v>
                </c:pt>
                <c:pt idx="37317">
                  <c:v>0.66554307116104805</c:v>
                </c:pt>
                <c:pt idx="37318">
                  <c:v>0.66556090601034401</c:v>
                </c:pt>
                <c:pt idx="37319">
                  <c:v>0.66557874085963897</c:v>
                </c:pt>
                <c:pt idx="37320">
                  <c:v>0.66559657570893505</c:v>
                </c:pt>
                <c:pt idx="37321">
                  <c:v>0.66561441055823001</c:v>
                </c:pt>
                <c:pt idx="37322">
                  <c:v>0.66563224540752597</c:v>
                </c:pt>
                <c:pt idx="37323">
                  <c:v>0.66565008025682104</c:v>
                </c:pt>
                <c:pt idx="37324">
                  <c:v>0.665667915106117</c:v>
                </c:pt>
                <c:pt idx="37325">
                  <c:v>0.66568574995541197</c:v>
                </c:pt>
                <c:pt idx="37326">
                  <c:v>0.66570358480470804</c:v>
                </c:pt>
                <c:pt idx="37327">
                  <c:v>0.665721419654003</c:v>
                </c:pt>
                <c:pt idx="37328">
                  <c:v>0.66573925450329896</c:v>
                </c:pt>
                <c:pt idx="37329">
                  <c:v>0.66575708935259403</c:v>
                </c:pt>
                <c:pt idx="37330">
                  <c:v>0.66577492420188999</c:v>
                </c:pt>
                <c:pt idx="37331">
                  <c:v>0.66579275905118596</c:v>
                </c:pt>
                <c:pt idx="37332">
                  <c:v>0.66581059390048103</c:v>
                </c:pt>
                <c:pt idx="37333">
                  <c:v>0.66582842874977699</c:v>
                </c:pt>
                <c:pt idx="37334">
                  <c:v>0.66584626359907195</c:v>
                </c:pt>
                <c:pt idx="37335">
                  <c:v>0.66586409844836802</c:v>
                </c:pt>
                <c:pt idx="37336">
                  <c:v>0.66588193329766299</c:v>
                </c:pt>
                <c:pt idx="37337">
                  <c:v>0.66589976814695895</c:v>
                </c:pt>
                <c:pt idx="37338">
                  <c:v>0.66591760299625402</c:v>
                </c:pt>
                <c:pt idx="37339">
                  <c:v>0.66593543784554998</c:v>
                </c:pt>
                <c:pt idx="37340">
                  <c:v>0.66595327269484506</c:v>
                </c:pt>
                <c:pt idx="37341">
                  <c:v>0.66597110754414102</c:v>
                </c:pt>
                <c:pt idx="37342">
                  <c:v>0.66598894239343598</c:v>
                </c:pt>
                <c:pt idx="37343">
                  <c:v>0.66600677724273205</c:v>
                </c:pt>
                <c:pt idx="37344">
                  <c:v>0.66602461209202701</c:v>
                </c:pt>
                <c:pt idx="37345">
                  <c:v>0.66604244694132297</c:v>
                </c:pt>
                <c:pt idx="37346">
                  <c:v>0.66606028179061805</c:v>
                </c:pt>
                <c:pt idx="37347">
                  <c:v>0.66607811663991401</c:v>
                </c:pt>
                <c:pt idx="37348">
                  <c:v>0.66609595148920997</c:v>
                </c:pt>
                <c:pt idx="37349">
                  <c:v>0.66611378633850504</c:v>
                </c:pt>
                <c:pt idx="37350">
                  <c:v>0.666131621187801</c:v>
                </c:pt>
                <c:pt idx="37351">
                  <c:v>0.66614945603709597</c:v>
                </c:pt>
                <c:pt idx="37352">
                  <c:v>0.66616729088639204</c:v>
                </c:pt>
                <c:pt idx="37353">
                  <c:v>0.666185125735687</c:v>
                </c:pt>
                <c:pt idx="37354">
                  <c:v>0.66620296058498296</c:v>
                </c:pt>
                <c:pt idx="37355">
                  <c:v>0.66622079543427803</c:v>
                </c:pt>
                <c:pt idx="37356">
                  <c:v>0.666238630283574</c:v>
                </c:pt>
                <c:pt idx="37357">
                  <c:v>0.66625646513286896</c:v>
                </c:pt>
                <c:pt idx="37358">
                  <c:v>0.66627429998216503</c:v>
                </c:pt>
                <c:pt idx="37359">
                  <c:v>0.66629213483145999</c:v>
                </c:pt>
                <c:pt idx="37360">
                  <c:v>0.66630996968075595</c:v>
                </c:pt>
                <c:pt idx="37361">
                  <c:v>0.66632780453005103</c:v>
                </c:pt>
                <c:pt idx="37362">
                  <c:v>0.66634563937934699</c:v>
                </c:pt>
                <c:pt idx="37363">
                  <c:v>0.66636347422864195</c:v>
                </c:pt>
                <c:pt idx="37364">
                  <c:v>0.66638130907793802</c:v>
                </c:pt>
                <c:pt idx="37365">
                  <c:v>0.66639914392723298</c:v>
                </c:pt>
                <c:pt idx="37366">
                  <c:v>0.66641697877652895</c:v>
                </c:pt>
                <c:pt idx="37367">
                  <c:v>0.66643481362582402</c:v>
                </c:pt>
                <c:pt idx="37368">
                  <c:v>0.66645264847511998</c:v>
                </c:pt>
                <c:pt idx="37369">
                  <c:v>0.66647048332441505</c:v>
                </c:pt>
                <c:pt idx="37370">
                  <c:v>0.66648831817371101</c:v>
                </c:pt>
                <c:pt idx="37371">
                  <c:v>0.66650615302300698</c:v>
                </c:pt>
                <c:pt idx="37372">
                  <c:v>0.66652398787230205</c:v>
                </c:pt>
                <c:pt idx="37373">
                  <c:v>0.66654182272159801</c:v>
                </c:pt>
                <c:pt idx="37374">
                  <c:v>0.66655965757089297</c:v>
                </c:pt>
                <c:pt idx="37375">
                  <c:v>0.66657749242018904</c:v>
                </c:pt>
                <c:pt idx="37376">
                  <c:v>0.66659532726948401</c:v>
                </c:pt>
                <c:pt idx="37377">
                  <c:v>0.66661316211877997</c:v>
                </c:pt>
                <c:pt idx="37378">
                  <c:v>0.66663099696807504</c:v>
                </c:pt>
                <c:pt idx="37379">
                  <c:v>0.666648831817371</c:v>
                </c:pt>
                <c:pt idx="37380">
                  <c:v>0.66666666666666596</c:v>
                </c:pt>
                <c:pt idx="37381">
                  <c:v>0.66668450151596204</c:v>
                </c:pt>
                <c:pt idx="37382">
                  <c:v>0.666702336365257</c:v>
                </c:pt>
                <c:pt idx="37383">
                  <c:v>0.66672017121455296</c:v>
                </c:pt>
                <c:pt idx="37384">
                  <c:v>0.66673800606384803</c:v>
                </c:pt>
                <c:pt idx="37385">
                  <c:v>0.66675584091314399</c:v>
                </c:pt>
                <c:pt idx="37386">
                  <c:v>0.66677367576243896</c:v>
                </c:pt>
                <c:pt idx="37387">
                  <c:v>0.66679151061173503</c:v>
                </c:pt>
                <c:pt idx="37388">
                  <c:v>0.66680934546102999</c:v>
                </c:pt>
                <c:pt idx="37389">
                  <c:v>0.66682718031032595</c:v>
                </c:pt>
                <c:pt idx="37390">
                  <c:v>0.66684501515962102</c:v>
                </c:pt>
                <c:pt idx="37391">
                  <c:v>0.66686285000891699</c:v>
                </c:pt>
                <c:pt idx="37392">
                  <c:v>0.66688068485821295</c:v>
                </c:pt>
                <c:pt idx="37393">
                  <c:v>0.66689851970750802</c:v>
                </c:pt>
                <c:pt idx="37394">
                  <c:v>0.66691635455680398</c:v>
                </c:pt>
                <c:pt idx="37395">
                  <c:v>0.66693418940609905</c:v>
                </c:pt>
                <c:pt idx="37396">
                  <c:v>0.66695202425539502</c:v>
                </c:pt>
                <c:pt idx="37397">
                  <c:v>0.66696985910468998</c:v>
                </c:pt>
                <c:pt idx="37398">
                  <c:v>0.66698769395398605</c:v>
                </c:pt>
                <c:pt idx="37399">
                  <c:v>0.66700552880328101</c:v>
                </c:pt>
                <c:pt idx="37400">
                  <c:v>0.66702336365257697</c:v>
                </c:pt>
                <c:pt idx="37401">
                  <c:v>0.66704119850187205</c:v>
                </c:pt>
                <c:pt idx="37402">
                  <c:v>0.66705903335116801</c:v>
                </c:pt>
                <c:pt idx="37403">
                  <c:v>0.66707686820046297</c:v>
                </c:pt>
                <c:pt idx="37404">
                  <c:v>0.66709470304975904</c:v>
                </c:pt>
                <c:pt idx="37405">
                  <c:v>0.667112537899054</c:v>
                </c:pt>
                <c:pt idx="37406">
                  <c:v>0.66713037274834996</c:v>
                </c:pt>
                <c:pt idx="37407">
                  <c:v>0.66714820759764504</c:v>
                </c:pt>
                <c:pt idx="37408">
                  <c:v>0.667166042446941</c:v>
                </c:pt>
                <c:pt idx="37409">
                  <c:v>0.66718387729623596</c:v>
                </c:pt>
                <c:pt idx="37410">
                  <c:v>0.66720171214553203</c:v>
                </c:pt>
                <c:pt idx="37411">
                  <c:v>0.667219546994827</c:v>
                </c:pt>
                <c:pt idx="37412">
                  <c:v>0.66723738184412296</c:v>
                </c:pt>
                <c:pt idx="37413">
                  <c:v>0.66725521669341803</c:v>
                </c:pt>
                <c:pt idx="37414">
                  <c:v>0.66727305154271399</c:v>
                </c:pt>
                <c:pt idx="37415">
                  <c:v>0.66729088639200995</c:v>
                </c:pt>
                <c:pt idx="37416">
                  <c:v>0.66730872124130503</c:v>
                </c:pt>
                <c:pt idx="37417">
                  <c:v>0.66732655609060099</c:v>
                </c:pt>
                <c:pt idx="37418">
                  <c:v>0.66734439093989595</c:v>
                </c:pt>
                <c:pt idx="37419">
                  <c:v>0.66736222578919202</c:v>
                </c:pt>
                <c:pt idx="37420">
                  <c:v>0.66738006063848698</c:v>
                </c:pt>
                <c:pt idx="37421">
                  <c:v>0.66739789548778305</c:v>
                </c:pt>
                <c:pt idx="37422">
                  <c:v>0.66741573033707802</c:v>
                </c:pt>
                <c:pt idx="37423">
                  <c:v>0.66743356518637398</c:v>
                </c:pt>
                <c:pt idx="37424">
                  <c:v>0.66745140003566905</c:v>
                </c:pt>
                <c:pt idx="37425">
                  <c:v>0.66746923488496501</c:v>
                </c:pt>
                <c:pt idx="37426">
                  <c:v>0.66748706973425997</c:v>
                </c:pt>
                <c:pt idx="37427">
                  <c:v>0.66750490458355605</c:v>
                </c:pt>
                <c:pt idx="37428">
                  <c:v>0.66752273943285101</c:v>
                </c:pt>
                <c:pt idx="37429">
                  <c:v>0.66754057428214697</c:v>
                </c:pt>
                <c:pt idx="37430">
                  <c:v>0.66755840913144204</c:v>
                </c:pt>
                <c:pt idx="37431">
                  <c:v>0.667576243980738</c:v>
                </c:pt>
                <c:pt idx="37432">
                  <c:v>0.66759407883003297</c:v>
                </c:pt>
                <c:pt idx="37433">
                  <c:v>0.66761191367932904</c:v>
                </c:pt>
                <c:pt idx="37434">
                  <c:v>0.667629748528624</c:v>
                </c:pt>
                <c:pt idx="37435">
                  <c:v>0.66764758337791996</c:v>
                </c:pt>
                <c:pt idx="37436">
                  <c:v>0.66766541822721603</c:v>
                </c:pt>
                <c:pt idx="37437">
                  <c:v>0.667683253076511</c:v>
                </c:pt>
                <c:pt idx="37438">
                  <c:v>0.66770108792580696</c:v>
                </c:pt>
                <c:pt idx="37439">
                  <c:v>0.66771892277510203</c:v>
                </c:pt>
                <c:pt idx="37440">
                  <c:v>0.66773675762439799</c:v>
                </c:pt>
                <c:pt idx="37441">
                  <c:v>0.66775459247369295</c:v>
                </c:pt>
                <c:pt idx="37442">
                  <c:v>0.66777242732298903</c:v>
                </c:pt>
                <c:pt idx="37443">
                  <c:v>0.66779026217228399</c:v>
                </c:pt>
                <c:pt idx="37444">
                  <c:v>0.66780809702157995</c:v>
                </c:pt>
                <c:pt idx="37445">
                  <c:v>0.66782593187087502</c:v>
                </c:pt>
                <c:pt idx="37446">
                  <c:v>0.66784376672017098</c:v>
                </c:pt>
                <c:pt idx="37447">
                  <c:v>0.66786160156946595</c:v>
                </c:pt>
                <c:pt idx="37448">
                  <c:v>0.66787943641876202</c:v>
                </c:pt>
                <c:pt idx="37449">
                  <c:v>0.66789727126805698</c:v>
                </c:pt>
                <c:pt idx="37450">
                  <c:v>0.66791510611735305</c:v>
                </c:pt>
                <c:pt idx="37451">
                  <c:v>0.66793294096664801</c:v>
                </c:pt>
                <c:pt idx="37452">
                  <c:v>0.66795077581594398</c:v>
                </c:pt>
                <c:pt idx="37453">
                  <c:v>0.66796861066523905</c:v>
                </c:pt>
                <c:pt idx="37454">
                  <c:v>0.66798644551453501</c:v>
                </c:pt>
                <c:pt idx="37455">
                  <c:v>0.66800428036383097</c:v>
                </c:pt>
                <c:pt idx="37456">
                  <c:v>0.66802211521312604</c:v>
                </c:pt>
                <c:pt idx="37457">
                  <c:v>0.66803995006242201</c:v>
                </c:pt>
                <c:pt idx="37458">
                  <c:v>0.66805778491171697</c:v>
                </c:pt>
                <c:pt idx="37459">
                  <c:v>0.66807561976101304</c:v>
                </c:pt>
                <c:pt idx="37460">
                  <c:v>0.668093454610308</c:v>
                </c:pt>
                <c:pt idx="37461">
                  <c:v>0.66811128945960396</c:v>
                </c:pt>
                <c:pt idx="37462">
                  <c:v>0.66812912430889904</c:v>
                </c:pt>
                <c:pt idx="37463">
                  <c:v>0.668146959158195</c:v>
                </c:pt>
                <c:pt idx="37464">
                  <c:v>0.66816479400748996</c:v>
                </c:pt>
                <c:pt idx="37465">
                  <c:v>0.66818262885678603</c:v>
                </c:pt>
                <c:pt idx="37466">
                  <c:v>0.66820046370608099</c:v>
                </c:pt>
                <c:pt idx="37467">
                  <c:v>0.66821829855537695</c:v>
                </c:pt>
                <c:pt idx="37468">
                  <c:v>0.66823613340467203</c:v>
                </c:pt>
                <c:pt idx="37469">
                  <c:v>0.66825396825396799</c:v>
                </c:pt>
                <c:pt idx="37470">
                  <c:v>0.66827180310326295</c:v>
                </c:pt>
                <c:pt idx="37471">
                  <c:v>0.66828963795255902</c:v>
                </c:pt>
                <c:pt idx="37472">
                  <c:v>0.66830747280185399</c:v>
                </c:pt>
                <c:pt idx="37473">
                  <c:v>0.66832530765114995</c:v>
                </c:pt>
                <c:pt idx="37474">
                  <c:v>0.66834314250044502</c:v>
                </c:pt>
                <c:pt idx="37475">
                  <c:v>0.66836097734974098</c:v>
                </c:pt>
                <c:pt idx="37476">
                  <c:v>0.66837881219903605</c:v>
                </c:pt>
                <c:pt idx="37477">
                  <c:v>0.66839664704833202</c:v>
                </c:pt>
                <c:pt idx="37478">
                  <c:v>0.66841448189762798</c:v>
                </c:pt>
                <c:pt idx="37479">
                  <c:v>0.66843231674692305</c:v>
                </c:pt>
                <c:pt idx="37480">
                  <c:v>0.66845015159621901</c:v>
                </c:pt>
                <c:pt idx="37481">
                  <c:v>0.66846798644551397</c:v>
                </c:pt>
                <c:pt idx="37482">
                  <c:v>0.66848582129481005</c:v>
                </c:pt>
                <c:pt idx="37483">
                  <c:v>0.66850365614410501</c:v>
                </c:pt>
                <c:pt idx="37484">
                  <c:v>0.66852149099340097</c:v>
                </c:pt>
                <c:pt idx="37485">
                  <c:v>0.66853932584269604</c:v>
                </c:pt>
                <c:pt idx="37486">
                  <c:v>0.668557160691992</c:v>
                </c:pt>
                <c:pt idx="37487">
                  <c:v>0.66857499554128696</c:v>
                </c:pt>
                <c:pt idx="37488">
                  <c:v>0.66859283039058304</c:v>
                </c:pt>
                <c:pt idx="37489">
                  <c:v>0.668610665239878</c:v>
                </c:pt>
                <c:pt idx="37490">
                  <c:v>0.66862850008917396</c:v>
                </c:pt>
                <c:pt idx="37491">
                  <c:v>0.66864633493846903</c:v>
                </c:pt>
                <c:pt idx="37492">
                  <c:v>0.66866416978776499</c:v>
                </c:pt>
                <c:pt idx="37493">
                  <c:v>0.66868200463705996</c:v>
                </c:pt>
                <c:pt idx="37494">
                  <c:v>0.66869983948635603</c:v>
                </c:pt>
                <c:pt idx="37495">
                  <c:v>0.66871767433565099</c:v>
                </c:pt>
                <c:pt idx="37496">
                  <c:v>0.66873550918494695</c:v>
                </c:pt>
                <c:pt idx="37497">
                  <c:v>0.66875334403424203</c:v>
                </c:pt>
                <c:pt idx="37498">
                  <c:v>0.66877117888353799</c:v>
                </c:pt>
                <c:pt idx="37499">
                  <c:v>0.66878901373283395</c:v>
                </c:pt>
                <c:pt idx="37500">
                  <c:v>0.66880684858212902</c:v>
                </c:pt>
                <c:pt idx="37501">
                  <c:v>0.66882468343142498</c:v>
                </c:pt>
                <c:pt idx="37502">
                  <c:v>0.66884251828072006</c:v>
                </c:pt>
                <c:pt idx="37503">
                  <c:v>0.66886035313001602</c:v>
                </c:pt>
                <c:pt idx="37504">
                  <c:v>0.66887818797931098</c:v>
                </c:pt>
                <c:pt idx="37505">
                  <c:v>0.66889602282860705</c:v>
                </c:pt>
                <c:pt idx="37506">
                  <c:v>0.66891385767790201</c:v>
                </c:pt>
                <c:pt idx="37507">
                  <c:v>0.66893169252719797</c:v>
                </c:pt>
                <c:pt idx="37508">
                  <c:v>0.66894952737649305</c:v>
                </c:pt>
                <c:pt idx="37509">
                  <c:v>0.66896736222578901</c:v>
                </c:pt>
                <c:pt idx="37510">
                  <c:v>0.66898519707508397</c:v>
                </c:pt>
                <c:pt idx="37511">
                  <c:v>0.66900303192438004</c:v>
                </c:pt>
                <c:pt idx="37512">
                  <c:v>0.669020866773675</c:v>
                </c:pt>
                <c:pt idx="37513">
                  <c:v>0.66903870162297097</c:v>
                </c:pt>
                <c:pt idx="37514">
                  <c:v>0.66905653647226604</c:v>
                </c:pt>
                <c:pt idx="37515">
                  <c:v>0.669074371321562</c:v>
                </c:pt>
                <c:pt idx="37516">
                  <c:v>0.66909220617085696</c:v>
                </c:pt>
                <c:pt idx="37517">
                  <c:v>0.66911004102015303</c:v>
                </c:pt>
                <c:pt idx="37518">
                  <c:v>0.669127875869448</c:v>
                </c:pt>
                <c:pt idx="37519">
                  <c:v>0.66914571071874396</c:v>
                </c:pt>
                <c:pt idx="37520">
                  <c:v>0.66916354556803903</c:v>
                </c:pt>
                <c:pt idx="37521">
                  <c:v>0.66918138041733499</c:v>
                </c:pt>
                <c:pt idx="37522">
                  <c:v>0.66919921526663095</c:v>
                </c:pt>
                <c:pt idx="37523">
                  <c:v>0.66921705011592603</c:v>
                </c:pt>
                <c:pt idx="37524">
                  <c:v>0.66923488496522199</c:v>
                </c:pt>
                <c:pt idx="37525">
                  <c:v>0.66925271981451695</c:v>
                </c:pt>
                <c:pt idx="37526">
                  <c:v>0.66927055466381302</c:v>
                </c:pt>
                <c:pt idx="37527">
                  <c:v>0.66928838951310798</c:v>
                </c:pt>
                <c:pt idx="37528">
                  <c:v>0.66930622436240395</c:v>
                </c:pt>
                <c:pt idx="37529">
                  <c:v>0.66932405921169902</c:v>
                </c:pt>
                <c:pt idx="37530">
                  <c:v>0.66934189406099498</c:v>
                </c:pt>
                <c:pt idx="37531">
                  <c:v>0.66935972891029005</c:v>
                </c:pt>
                <c:pt idx="37532">
                  <c:v>0.66937756375958601</c:v>
                </c:pt>
                <c:pt idx="37533">
                  <c:v>0.66939539860888098</c:v>
                </c:pt>
                <c:pt idx="37534">
                  <c:v>0.66941323345817705</c:v>
                </c:pt>
                <c:pt idx="37535">
                  <c:v>0.66943106830747201</c:v>
                </c:pt>
                <c:pt idx="37536">
                  <c:v>0.66944890315676797</c:v>
                </c:pt>
                <c:pt idx="37537">
                  <c:v>0.66946673800606304</c:v>
                </c:pt>
                <c:pt idx="37538">
                  <c:v>0.66948457285535901</c:v>
                </c:pt>
                <c:pt idx="37539">
                  <c:v>0.66950240770465397</c:v>
                </c:pt>
                <c:pt idx="37540">
                  <c:v>0.66952024255395004</c:v>
                </c:pt>
                <c:pt idx="37541">
                  <c:v>0.669538077403245</c:v>
                </c:pt>
                <c:pt idx="37542">
                  <c:v>0.66955591225254096</c:v>
                </c:pt>
                <c:pt idx="37543">
                  <c:v>0.66957374710183704</c:v>
                </c:pt>
                <c:pt idx="37544">
                  <c:v>0.669591581951132</c:v>
                </c:pt>
                <c:pt idx="37545">
                  <c:v>0.66960941680042796</c:v>
                </c:pt>
                <c:pt idx="37546">
                  <c:v>0.66962725164972303</c:v>
                </c:pt>
                <c:pt idx="37547">
                  <c:v>0.66964508649901899</c:v>
                </c:pt>
                <c:pt idx="37548">
                  <c:v>0.66966292134831396</c:v>
                </c:pt>
                <c:pt idx="37549">
                  <c:v>0.66968075619761003</c:v>
                </c:pt>
                <c:pt idx="37550">
                  <c:v>0.66969859104690499</c:v>
                </c:pt>
                <c:pt idx="37551">
                  <c:v>0.66971642589620095</c:v>
                </c:pt>
                <c:pt idx="37552">
                  <c:v>0.66973426074549602</c:v>
                </c:pt>
                <c:pt idx="37553">
                  <c:v>0.66975209559479199</c:v>
                </c:pt>
                <c:pt idx="37554">
                  <c:v>0.66976993044408695</c:v>
                </c:pt>
                <c:pt idx="37555">
                  <c:v>0.66978776529338302</c:v>
                </c:pt>
                <c:pt idx="37556">
                  <c:v>0.66980560014267798</c:v>
                </c:pt>
                <c:pt idx="37557">
                  <c:v>0.66982343499197405</c:v>
                </c:pt>
                <c:pt idx="37558">
                  <c:v>0.66984126984126902</c:v>
                </c:pt>
                <c:pt idx="37559">
                  <c:v>0.66985910469056498</c:v>
                </c:pt>
                <c:pt idx="37560">
                  <c:v>0.66987693953986005</c:v>
                </c:pt>
                <c:pt idx="37561">
                  <c:v>0.66989477438915601</c:v>
                </c:pt>
                <c:pt idx="37562">
                  <c:v>0.66991260923845197</c:v>
                </c:pt>
                <c:pt idx="37563">
                  <c:v>0.66993044408774705</c:v>
                </c:pt>
                <c:pt idx="37564">
                  <c:v>0.66994827893704301</c:v>
                </c:pt>
                <c:pt idx="37565">
                  <c:v>0.66996611378633797</c:v>
                </c:pt>
                <c:pt idx="37566">
                  <c:v>0.66998394863563404</c:v>
                </c:pt>
                <c:pt idx="37567">
                  <c:v>0.670001783484929</c:v>
                </c:pt>
                <c:pt idx="37568">
                  <c:v>0.67001961833422496</c:v>
                </c:pt>
                <c:pt idx="37569">
                  <c:v>0.67003745318352004</c:v>
                </c:pt>
                <c:pt idx="37570">
                  <c:v>0.670055288032816</c:v>
                </c:pt>
                <c:pt idx="37571">
                  <c:v>0.67007312288211096</c:v>
                </c:pt>
                <c:pt idx="37572">
                  <c:v>0.67009095773140703</c:v>
                </c:pt>
                <c:pt idx="37573">
                  <c:v>0.670108792580702</c:v>
                </c:pt>
                <c:pt idx="37574">
                  <c:v>0.67012662742999796</c:v>
                </c:pt>
                <c:pt idx="37575">
                  <c:v>0.67014446227929303</c:v>
                </c:pt>
                <c:pt idx="37576">
                  <c:v>0.67016229712858899</c:v>
                </c:pt>
                <c:pt idx="37577">
                  <c:v>0.67018013197788395</c:v>
                </c:pt>
                <c:pt idx="37578">
                  <c:v>0.67019796682718003</c:v>
                </c:pt>
                <c:pt idx="37579">
                  <c:v>0.67021580167647499</c:v>
                </c:pt>
                <c:pt idx="37580">
                  <c:v>0.67023363652577095</c:v>
                </c:pt>
                <c:pt idx="37581">
                  <c:v>0.67025147137506602</c:v>
                </c:pt>
                <c:pt idx="37582">
                  <c:v>0.67026930622436198</c:v>
                </c:pt>
                <c:pt idx="37583">
                  <c:v>0.67028714107365694</c:v>
                </c:pt>
                <c:pt idx="37584">
                  <c:v>0.67030497592295302</c:v>
                </c:pt>
                <c:pt idx="37585">
                  <c:v>0.67032281077224898</c:v>
                </c:pt>
                <c:pt idx="37586">
                  <c:v>0.67034064562154405</c:v>
                </c:pt>
                <c:pt idx="37587">
                  <c:v>0.67035848047084001</c:v>
                </c:pt>
                <c:pt idx="37588">
                  <c:v>0.67037631532013497</c:v>
                </c:pt>
                <c:pt idx="37589">
                  <c:v>0.67039415016943105</c:v>
                </c:pt>
                <c:pt idx="37590">
                  <c:v>0.67041198501872601</c:v>
                </c:pt>
                <c:pt idx="37591">
                  <c:v>0.67042981986802197</c:v>
                </c:pt>
                <c:pt idx="37592">
                  <c:v>0.67044765471731704</c:v>
                </c:pt>
                <c:pt idx="37593">
                  <c:v>0.670465489566613</c:v>
                </c:pt>
                <c:pt idx="37594">
                  <c:v>0.67048332441590797</c:v>
                </c:pt>
                <c:pt idx="37595">
                  <c:v>0.67050115926520404</c:v>
                </c:pt>
                <c:pt idx="37596">
                  <c:v>0.670518994114499</c:v>
                </c:pt>
                <c:pt idx="37597">
                  <c:v>0.67053682896379496</c:v>
                </c:pt>
                <c:pt idx="37598">
                  <c:v>0.67055466381309003</c:v>
                </c:pt>
                <c:pt idx="37599">
                  <c:v>0.670572498662386</c:v>
                </c:pt>
                <c:pt idx="37600">
                  <c:v>0.67059033351168096</c:v>
                </c:pt>
                <c:pt idx="37601">
                  <c:v>0.67060816836097703</c:v>
                </c:pt>
                <c:pt idx="37602">
                  <c:v>0.67062600321027199</c:v>
                </c:pt>
                <c:pt idx="37603">
                  <c:v>0.67064383805956795</c:v>
                </c:pt>
                <c:pt idx="37604">
                  <c:v>0.67066167290886303</c:v>
                </c:pt>
                <c:pt idx="37605">
                  <c:v>0.67067950775815899</c:v>
                </c:pt>
                <c:pt idx="37606">
                  <c:v>0.67069734260745495</c:v>
                </c:pt>
                <c:pt idx="37607">
                  <c:v>0.67071517745675002</c:v>
                </c:pt>
                <c:pt idx="37608">
                  <c:v>0.67073301230604598</c:v>
                </c:pt>
                <c:pt idx="37609">
                  <c:v>0.67075084715534095</c:v>
                </c:pt>
                <c:pt idx="37610">
                  <c:v>0.67076868200463702</c:v>
                </c:pt>
                <c:pt idx="37611">
                  <c:v>0.67078651685393198</c:v>
                </c:pt>
                <c:pt idx="37612">
                  <c:v>0.67080435170322805</c:v>
                </c:pt>
                <c:pt idx="37613">
                  <c:v>0.67082218655252301</c:v>
                </c:pt>
                <c:pt idx="37614">
                  <c:v>0.67084002140181898</c:v>
                </c:pt>
                <c:pt idx="37615">
                  <c:v>0.67085785625111405</c:v>
                </c:pt>
                <c:pt idx="37616">
                  <c:v>0.67087569110041001</c:v>
                </c:pt>
                <c:pt idx="37617">
                  <c:v>0.67089352594970497</c:v>
                </c:pt>
                <c:pt idx="37618">
                  <c:v>0.67091136079900104</c:v>
                </c:pt>
                <c:pt idx="37619">
                  <c:v>0.67092919564829601</c:v>
                </c:pt>
                <c:pt idx="37620">
                  <c:v>0.67094703049759197</c:v>
                </c:pt>
                <c:pt idx="37621">
                  <c:v>0.67096486534688704</c:v>
                </c:pt>
                <c:pt idx="37622">
                  <c:v>0.670982700196183</c:v>
                </c:pt>
                <c:pt idx="37623">
                  <c:v>0.67100053504547796</c:v>
                </c:pt>
                <c:pt idx="37624">
                  <c:v>0.67101836989477404</c:v>
                </c:pt>
                <c:pt idx="37625">
                  <c:v>0.671036204744069</c:v>
                </c:pt>
                <c:pt idx="37626">
                  <c:v>0.67105403959336496</c:v>
                </c:pt>
                <c:pt idx="37627">
                  <c:v>0.67107187444266003</c:v>
                </c:pt>
                <c:pt idx="37628">
                  <c:v>0.67108970929195599</c:v>
                </c:pt>
                <c:pt idx="37629">
                  <c:v>0.67110754414125195</c:v>
                </c:pt>
                <c:pt idx="37630">
                  <c:v>0.67112537899054703</c:v>
                </c:pt>
                <c:pt idx="37631">
                  <c:v>0.67114321383984299</c:v>
                </c:pt>
                <c:pt idx="37632">
                  <c:v>0.67116104868913795</c:v>
                </c:pt>
                <c:pt idx="37633">
                  <c:v>0.67117888353843402</c:v>
                </c:pt>
                <c:pt idx="37634">
                  <c:v>0.67119671838772899</c:v>
                </c:pt>
                <c:pt idx="37635">
                  <c:v>0.67121455323702495</c:v>
                </c:pt>
                <c:pt idx="37636">
                  <c:v>0.67123238808632002</c:v>
                </c:pt>
                <c:pt idx="37637">
                  <c:v>0.67125022293561598</c:v>
                </c:pt>
                <c:pt idx="37638">
                  <c:v>0.67126805778491105</c:v>
                </c:pt>
                <c:pt idx="37639">
                  <c:v>0.67128589263420702</c:v>
                </c:pt>
                <c:pt idx="37640">
                  <c:v>0.67130372748350198</c:v>
                </c:pt>
                <c:pt idx="37641">
                  <c:v>0.67132156233279805</c:v>
                </c:pt>
                <c:pt idx="37642">
                  <c:v>0.67133939718209301</c:v>
                </c:pt>
                <c:pt idx="37643">
                  <c:v>0.67135723203138897</c:v>
                </c:pt>
                <c:pt idx="37644">
                  <c:v>0.67137506688068405</c:v>
                </c:pt>
                <c:pt idx="37645">
                  <c:v>0.67139290172998001</c:v>
                </c:pt>
                <c:pt idx="37646">
                  <c:v>0.67141073657927497</c:v>
                </c:pt>
                <c:pt idx="37647">
                  <c:v>0.67142857142857104</c:v>
                </c:pt>
                <c:pt idx="37648">
                  <c:v>0.671446406277867</c:v>
                </c:pt>
                <c:pt idx="37649">
                  <c:v>0.67146424112716196</c:v>
                </c:pt>
                <c:pt idx="37650">
                  <c:v>0.67148207597645804</c:v>
                </c:pt>
                <c:pt idx="37651">
                  <c:v>0.671499910825753</c:v>
                </c:pt>
                <c:pt idx="37652">
                  <c:v>0.67151774567504896</c:v>
                </c:pt>
                <c:pt idx="37653">
                  <c:v>0.67153558052434403</c:v>
                </c:pt>
                <c:pt idx="37654">
                  <c:v>0.67155341537363999</c:v>
                </c:pt>
                <c:pt idx="37655">
                  <c:v>0.67157125022293496</c:v>
                </c:pt>
                <c:pt idx="37656">
                  <c:v>0.67158908507223103</c:v>
                </c:pt>
                <c:pt idx="37657">
                  <c:v>0.67160691992152599</c:v>
                </c:pt>
                <c:pt idx="37658">
                  <c:v>0.67162475477082195</c:v>
                </c:pt>
                <c:pt idx="37659">
                  <c:v>0.67164258962011703</c:v>
                </c:pt>
                <c:pt idx="37660">
                  <c:v>0.67166042446941299</c:v>
                </c:pt>
                <c:pt idx="37661">
                  <c:v>0.67167825931870795</c:v>
                </c:pt>
                <c:pt idx="37662">
                  <c:v>0.67169609416800402</c:v>
                </c:pt>
                <c:pt idx="37663">
                  <c:v>0.67171392901729898</c:v>
                </c:pt>
                <c:pt idx="37664">
                  <c:v>0.67173176386659506</c:v>
                </c:pt>
                <c:pt idx="37665">
                  <c:v>0.67174959871589002</c:v>
                </c:pt>
                <c:pt idx="37666">
                  <c:v>0.67176743356518598</c:v>
                </c:pt>
                <c:pt idx="37667">
                  <c:v>0.67178526841448105</c:v>
                </c:pt>
                <c:pt idx="37668">
                  <c:v>0.67180310326377701</c:v>
                </c:pt>
                <c:pt idx="37669">
                  <c:v>0.67182093811307297</c:v>
                </c:pt>
                <c:pt idx="37670">
                  <c:v>0.67183877296236805</c:v>
                </c:pt>
                <c:pt idx="37671">
                  <c:v>0.67185660781166401</c:v>
                </c:pt>
                <c:pt idx="37672">
                  <c:v>0.67187444266095897</c:v>
                </c:pt>
                <c:pt idx="37673">
                  <c:v>0.67189227751025504</c:v>
                </c:pt>
                <c:pt idx="37674">
                  <c:v>0.67191011235955</c:v>
                </c:pt>
                <c:pt idx="37675">
                  <c:v>0.67192794720884597</c:v>
                </c:pt>
                <c:pt idx="37676">
                  <c:v>0.67194578205814104</c:v>
                </c:pt>
                <c:pt idx="37677">
                  <c:v>0.671963616907437</c:v>
                </c:pt>
                <c:pt idx="37678">
                  <c:v>0.67198145175673196</c:v>
                </c:pt>
                <c:pt idx="37679">
                  <c:v>0.67199928660602803</c:v>
                </c:pt>
                <c:pt idx="37680">
                  <c:v>0.672017121455323</c:v>
                </c:pt>
                <c:pt idx="37681">
                  <c:v>0.67203495630461896</c:v>
                </c:pt>
                <c:pt idx="37682">
                  <c:v>0.67205279115391403</c:v>
                </c:pt>
                <c:pt idx="37683">
                  <c:v>0.67207062600320999</c:v>
                </c:pt>
                <c:pt idx="37684">
                  <c:v>0.67208846085250495</c:v>
                </c:pt>
                <c:pt idx="37685">
                  <c:v>0.67210629570180103</c:v>
                </c:pt>
                <c:pt idx="37686">
                  <c:v>0.67212413055109599</c:v>
                </c:pt>
                <c:pt idx="37687">
                  <c:v>0.67214196540039195</c:v>
                </c:pt>
                <c:pt idx="37688">
                  <c:v>0.67215980024968702</c:v>
                </c:pt>
                <c:pt idx="37689">
                  <c:v>0.67217763509898298</c:v>
                </c:pt>
                <c:pt idx="37690">
                  <c:v>0.67219546994827895</c:v>
                </c:pt>
                <c:pt idx="37691">
                  <c:v>0.67221330479757402</c:v>
                </c:pt>
                <c:pt idx="37692">
                  <c:v>0.67223113964686998</c:v>
                </c:pt>
                <c:pt idx="37693">
                  <c:v>0.67224897449616505</c:v>
                </c:pt>
                <c:pt idx="37694">
                  <c:v>0.67226680934546101</c:v>
                </c:pt>
                <c:pt idx="37695">
                  <c:v>0.67228464419475598</c:v>
                </c:pt>
                <c:pt idx="37696">
                  <c:v>0.67230247904405205</c:v>
                </c:pt>
                <c:pt idx="37697">
                  <c:v>0.67232031389334701</c:v>
                </c:pt>
                <c:pt idx="37698">
                  <c:v>0.67233814874264297</c:v>
                </c:pt>
                <c:pt idx="37699">
                  <c:v>0.67235598359193804</c:v>
                </c:pt>
                <c:pt idx="37700">
                  <c:v>0.67237381844123401</c:v>
                </c:pt>
                <c:pt idx="37701">
                  <c:v>0.67239165329052897</c:v>
                </c:pt>
                <c:pt idx="37702">
                  <c:v>0.67240948813982504</c:v>
                </c:pt>
                <c:pt idx="37703">
                  <c:v>0.67242732298912</c:v>
                </c:pt>
                <c:pt idx="37704">
                  <c:v>0.67244515783841596</c:v>
                </c:pt>
                <c:pt idx="37705">
                  <c:v>0.67246299268771104</c:v>
                </c:pt>
                <c:pt idx="37706">
                  <c:v>0.672480827537007</c:v>
                </c:pt>
                <c:pt idx="37707">
                  <c:v>0.67249866238630196</c:v>
                </c:pt>
                <c:pt idx="37708">
                  <c:v>0.67251649723559803</c:v>
                </c:pt>
                <c:pt idx="37709">
                  <c:v>0.67253433208489299</c:v>
                </c:pt>
                <c:pt idx="37710">
                  <c:v>0.67255216693418896</c:v>
                </c:pt>
                <c:pt idx="37711">
                  <c:v>0.67257000178348403</c:v>
                </c:pt>
                <c:pt idx="37712">
                  <c:v>0.67258783663277999</c:v>
                </c:pt>
                <c:pt idx="37713">
                  <c:v>0.67260567148207595</c:v>
                </c:pt>
                <c:pt idx="37714">
                  <c:v>0.67262350633137102</c:v>
                </c:pt>
                <c:pt idx="37715">
                  <c:v>0.67264134118066699</c:v>
                </c:pt>
                <c:pt idx="37716">
                  <c:v>0.67265917602996195</c:v>
                </c:pt>
                <c:pt idx="37717">
                  <c:v>0.67267701087925802</c:v>
                </c:pt>
                <c:pt idx="37718">
                  <c:v>0.67269484572855298</c:v>
                </c:pt>
                <c:pt idx="37719">
                  <c:v>0.67271268057784905</c:v>
                </c:pt>
                <c:pt idx="37720">
                  <c:v>0.67273051542714402</c:v>
                </c:pt>
                <c:pt idx="37721">
                  <c:v>0.67274835027643998</c:v>
                </c:pt>
                <c:pt idx="37722">
                  <c:v>0.67276618512573505</c:v>
                </c:pt>
                <c:pt idx="37723">
                  <c:v>0.67278401997503101</c:v>
                </c:pt>
                <c:pt idx="37724">
                  <c:v>0.67280185482432597</c:v>
                </c:pt>
                <c:pt idx="37725">
                  <c:v>0.67281968967362205</c:v>
                </c:pt>
                <c:pt idx="37726">
                  <c:v>0.67283752452291701</c:v>
                </c:pt>
                <c:pt idx="37727">
                  <c:v>0.67285535937221297</c:v>
                </c:pt>
                <c:pt idx="37728">
                  <c:v>0.67287319422150804</c:v>
                </c:pt>
                <c:pt idx="37729">
                  <c:v>0.672891029070804</c:v>
                </c:pt>
                <c:pt idx="37730">
                  <c:v>0.67290886392009897</c:v>
                </c:pt>
                <c:pt idx="37731">
                  <c:v>0.67292669876939504</c:v>
                </c:pt>
                <c:pt idx="37732">
                  <c:v>0.67294453361869</c:v>
                </c:pt>
                <c:pt idx="37733">
                  <c:v>0.67296236846798596</c:v>
                </c:pt>
                <c:pt idx="37734">
                  <c:v>0.67298020331728103</c:v>
                </c:pt>
                <c:pt idx="37735">
                  <c:v>0.672998038166577</c:v>
                </c:pt>
                <c:pt idx="37736">
                  <c:v>0.67301587301587296</c:v>
                </c:pt>
                <c:pt idx="37737">
                  <c:v>0.67303370786516803</c:v>
                </c:pt>
                <c:pt idx="37738">
                  <c:v>0.67305154271446399</c:v>
                </c:pt>
                <c:pt idx="37739">
                  <c:v>0.67306937756375895</c:v>
                </c:pt>
                <c:pt idx="37740">
                  <c:v>0.67308721241305502</c:v>
                </c:pt>
                <c:pt idx="37741">
                  <c:v>0.67310504726234999</c:v>
                </c:pt>
                <c:pt idx="37742">
                  <c:v>0.67312288211164595</c:v>
                </c:pt>
                <c:pt idx="37743">
                  <c:v>0.67314071696094102</c:v>
                </c:pt>
                <c:pt idx="37744">
                  <c:v>0.67315855181023698</c:v>
                </c:pt>
                <c:pt idx="37745">
                  <c:v>0.67317638665953194</c:v>
                </c:pt>
                <c:pt idx="37746">
                  <c:v>0.67319422150882802</c:v>
                </c:pt>
                <c:pt idx="37747">
                  <c:v>0.67321205635812298</c:v>
                </c:pt>
                <c:pt idx="37748">
                  <c:v>0.67322989120741905</c:v>
                </c:pt>
                <c:pt idx="37749">
                  <c:v>0.67324772605671401</c:v>
                </c:pt>
                <c:pt idx="37750">
                  <c:v>0.67326556090600997</c:v>
                </c:pt>
                <c:pt idx="37751">
                  <c:v>0.67328339575530505</c:v>
                </c:pt>
                <c:pt idx="37752">
                  <c:v>0.67330123060460101</c:v>
                </c:pt>
                <c:pt idx="37753">
                  <c:v>0.67331906545389697</c:v>
                </c:pt>
                <c:pt idx="37754">
                  <c:v>0.67333690030319204</c:v>
                </c:pt>
                <c:pt idx="37755">
                  <c:v>0.673354735152488</c:v>
                </c:pt>
                <c:pt idx="37756">
                  <c:v>0.67337257000178297</c:v>
                </c:pt>
                <c:pt idx="37757">
                  <c:v>0.67339040485107904</c:v>
                </c:pt>
                <c:pt idx="37758">
                  <c:v>0.673408239700374</c:v>
                </c:pt>
                <c:pt idx="37759">
                  <c:v>0.67342607454966996</c:v>
                </c:pt>
                <c:pt idx="37760">
                  <c:v>0.67344390939896503</c:v>
                </c:pt>
                <c:pt idx="37761">
                  <c:v>0.673461744248261</c:v>
                </c:pt>
                <c:pt idx="37762">
                  <c:v>0.67347957909755596</c:v>
                </c:pt>
                <c:pt idx="37763">
                  <c:v>0.67349741394685203</c:v>
                </c:pt>
                <c:pt idx="37764">
                  <c:v>0.67351524879614699</c:v>
                </c:pt>
                <c:pt idx="37765">
                  <c:v>0.67353308364544295</c:v>
                </c:pt>
                <c:pt idx="37766">
                  <c:v>0.67355091849473803</c:v>
                </c:pt>
                <c:pt idx="37767">
                  <c:v>0.67356875334403399</c:v>
                </c:pt>
                <c:pt idx="37768">
                  <c:v>0.67358658819332895</c:v>
                </c:pt>
                <c:pt idx="37769">
                  <c:v>0.67360442304262502</c:v>
                </c:pt>
                <c:pt idx="37770">
                  <c:v>0.67362225789191998</c:v>
                </c:pt>
                <c:pt idx="37771">
                  <c:v>0.67364009274121595</c:v>
                </c:pt>
                <c:pt idx="37772">
                  <c:v>0.67365792759051102</c:v>
                </c:pt>
                <c:pt idx="37773">
                  <c:v>0.67367576243980698</c:v>
                </c:pt>
                <c:pt idx="37774">
                  <c:v>0.67369359728910205</c:v>
                </c:pt>
                <c:pt idx="37775">
                  <c:v>0.67371143213839801</c:v>
                </c:pt>
                <c:pt idx="37776">
                  <c:v>0.67372926698769398</c:v>
                </c:pt>
                <c:pt idx="37777">
                  <c:v>0.67374710183698905</c:v>
                </c:pt>
                <c:pt idx="37778">
                  <c:v>0.67376493668628501</c:v>
                </c:pt>
                <c:pt idx="37779">
                  <c:v>0.67378277153557997</c:v>
                </c:pt>
                <c:pt idx="37780">
                  <c:v>0.67380060638487604</c:v>
                </c:pt>
                <c:pt idx="37781">
                  <c:v>0.67381844123417101</c:v>
                </c:pt>
                <c:pt idx="37782">
                  <c:v>0.67383627608346697</c:v>
                </c:pt>
                <c:pt idx="37783">
                  <c:v>0.67385411093276204</c:v>
                </c:pt>
                <c:pt idx="37784">
                  <c:v>0.673871945782058</c:v>
                </c:pt>
                <c:pt idx="37785">
                  <c:v>0.67388978063135296</c:v>
                </c:pt>
                <c:pt idx="37786">
                  <c:v>0.67390761548064904</c:v>
                </c:pt>
                <c:pt idx="37787">
                  <c:v>0.673925450329944</c:v>
                </c:pt>
                <c:pt idx="37788">
                  <c:v>0.67394328517923996</c:v>
                </c:pt>
                <c:pt idx="37789">
                  <c:v>0.67396112002853503</c:v>
                </c:pt>
                <c:pt idx="37790">
                  <c:v>0.67397895487783099</c:v>
                </c:pt>
                <c:pt idx="37791">
                  <c:v>0.67399678972712596</c:v>
                </c:pt>
                <c:pt idx="37792">
                  <c:v>0.67401462457642203</c:v>
                </c:pt>
                <c:pt idx="37793">
                  <c:v>0.67403245942571699</c:v>
                </c:pt>
                <c:pt idx="37794">
                  <c:v>0.67405029427501295</c:v>
                </c:pt>
                <c:pt idx="37795">
                  <c:v>0.67406812912430802</c:v>
                </c:pt>
                <c:pt idx="37796">
                  <c:v>0.67408596397360399</c:v>
                </c:pt>
                <c:pt idx="37797">
                  <c:v>0.67410379882289995</c:v>
                </c:pt>
                <c:pt idx="37798">
                  <c:v>0.67412163367219502</c:v>
                </c:pt>
                <c:pt idx="37799">
                  <c:v>0.67413946852149098</c:v>
                </c:pt>
                <c:pt idx="37800">
                  <c:v>0.67415730337078605</c:v>
                </c:pt>
                <c:pt idx="37801">
                  <c:v>0.67417513822008202</c:v>
                </c:pt>
                <c:pt idx="37802">
                  <c:v>0.67419297306937698</c:v>
                </c:pt>
                <c:pt idx="37803">
                  <c:v>0.67421080791867305</c:v>
                </c:pt>
                <c:pt idx="37804">
                  <c:v>0.67422864276796801</c:v>
                </c:pt>
                <c:pt idx="37805">
                  <c:v>0.67424647761726397</c:v>
                </c:pt>
                <c:pt idx="37806">
                  <c:v>0.67426431246655905</c:v>
                </c:pt>
                <c:pt idx="37807">
                  <c:v>0.67428214731585501</c:v>
                </c:pt>
                <c:pt idx="37808">
                  <c:v>0.67429998216514997</c:v>
                </c:pt>
                <c:pt idx="37809">
                  <c:v>0.67431781701444604</c:v>
                </c:pt>
                <c:pt idx="37810">
                  <c:v>0.674335651863741</c:v>
                </c:pt>
                <c:pt idx="37811">
                  <c:v>0.67435348671303696</c:v>
                </c:pt>
                <c:pt idx="37812">
                  <c:v>0.67437132156233204</c:v>
                </c:pt>
                <c:pt idx="37813">
                  <c:v>0.674389156411628</c:v>
                </c:pt>
                <c:pt idx="37814">
                  <c:v>0.67440699126092296</c:v>
                </c:pt>
                <c:pt idx="37815">
                  <c:v>0.67442482611021903</c:v>
                </c:pt>
                <c:pt idx="37816">
                  <c:v>0.674442660959514</c:v>
                </c:pt>
                <c:pt idx="37817">
                  <c:v>0.67446049580880996</c:v>
                </c:pt>
                <c:pt idx="37818">
                  <c:v>0.67447833065810503</c:v>
                </c:pt>
                <c:pt idx="37819">
                  <c:v>0.67449616550740099</c:v>
                </c:pt>
                <c:pt idx="37820">
                  <c:v>0.67451400035669695</c:v>
                </c:pt>
                <c:pt idx="37821">
                  <c:v>0.67453183520599203</c:v>
                </c:pt>
                <c:pt idx="37822">
                  <c:v>0.67454967005528799</c:v>
                </c:pt>
                <c:pt idx="37823">
                  <c:v>0.67456750490458295</c:v>
                </c:pt>
                <c:pt idx="37824">
                  <c:v>0.67458533975387902</c:v>
                </c:pt>
                <c:pt idx="37825">
                  <c:v>0.67460317460317398</c:v>
                </c:pt>
                <c:pt idx="37826">
                  <c:v>0.67462100945247006</c:v>
                </c:pt>
                <c:pt idx="37827">
                  <c:v>0.67463884430176502</c:v>
                </c:pt>
                <c:pt idx="37828">
                  <c:v>0.67465667915106098</c:v>
                </c:pt>
                <c:pt idx="37829">
                  <c:v>0.67467451400035605</c:v>
                </c:pt>
                <c:pt idx="37830">
                  <c:v>0.67469234884965201</c:v>
                </c:pt>
                <c:pt idx="37831">
                  <c:v>0.67471018369894697</c:v>
                </c:pt>
                <c:pt idx="37832">
                  <c:v>0.67472801854824305</c:v>
                </c:pt>
                <c:pt idx="37833">
                  <c:v>0.67474585339753801</c:v>
                </c:pt>
                <c:pt idx="37834">
                  <c:v>0.67476368824683397</c:v>
                </c:pt>
                <c:pt idx="37835">
                  <c:v>0.67478152309612904</c:v>
                </c:pt>
                <c:pt idx="37836">
                  <c:v>0.674799357945425</c:v>
                </c:pt>
                <c:pt idx="37837">
                  <c:v>0.67481719279471997</c:v>
                </c:pt>
                <c:pt idx="37838">
                  <c:v>0.67483502764401604</c:v>
                </c:pt>
                <c:pt idx="37839">
                  <c:v>0.674852862493311</c:v>
                </c:pt>
                <c:pt idx="37840">
                  <c:v>0.67487069734260696</c:v>
                </c:pt>
                <c:pt idx="37841">
                  <c:v>0.67488853219190204</c:v>
                </c:pt>
                <c:pt idx="37842">
                  <c:v>0.674906367041198</c:v>
                </c:pt>
                <c:pt idx="37843">
                  <c:v>0.67492420189049396</c:v>
                </c:pt>
                <c:pt idx="37844">
                  <c:v>0.67494203673978903</c:v>
                </c:pt>
                <c:pt idx="37845">
                  <c:v>0.67495987158908499</c:v>
                </c:pt>
                <c:pt idx="37846">
                  <c:v>0.67497770643837995</c:v>
                </c:pt>
                <c:pt idx="37847">
                  <c:v>0.67499554128767603</c:v>
                </c:pt>
                <c:pt idx="37848">
                  <c:v>0.67501337613697099</c:v>
                </c:pt>
                <c:pt idx="37849">
                  <c:v>0.67503121098626695</c:v>
                </c:pt>
                <c:pt idx="37850">
                  <c:v>0.67504904583556202</c:v>
                </c:pt>
                <c:pt idx="37851">
                  <c:v>0.67506688068485798</c:v>
                </c:pt>
                <c:pt idx="37852">
                  <c:v>0.67508471553415295</c:v>
                </c:pt>
                <c:pt idx="37853">
                  <c:v>0.67510255038344902</c:v>
                </c:pt>
                <c:pt idx="37854">
                  <c:v>0.67512038523274398</c:v>
                </c:pt>
                <c:pt idx="37855">
                  <c:v>0.67513822008204005</c:v>
                </c:pt>
                <c:pt idx="37856">
                  <c:v>0.67515605493133501</c:v>
                </c:pt>
                <c:pt idx="37857">
                  <c:v>0.67517388978063098</c:v>
                </c:pt>
                <c:pt idx="37858">
                  <c:v>0.67519172462992605</c:v>
                </c:pt>
                <c:pt idx="37859">
                  <c:v>0.67520955947922201</c:v>
                </c:pt>
                <c:pt idx="37860">
                  <c:v>0.67522739432851797</c:v>
                </c:pt>
                <c:pt idx="37861">
                  <c:v>0.67524522917781304</c:v>
                </c:pt>
                <c:pt idx="37862">
                  <c:v>0.67526306402710901</c:v>
                </c:pt>
                <c:pt idx="37863">
                  <c:v>0.67528089887640397</c:v>
                </c:pt>
                <c:pt idx="37864">
                  <c:v>0.67529873372570004</c:v>
                </c:pt>
                <c:pt idx="37865">
                  <c:v>0.675316568574995</c:v>
                </c:pt>
                <c:pt idx="37866">
                  <c:v>0.67533440342429096</c:v>
                </c:pt>
                <c:pt idx="37867">
                  <c:v>0.67535223827358604</c:v>
                </c:pt>
                <c:pt idx="37868">
                  <c:v>0.675370073122882</c:v>
                </c:pt>
                <c:pt idx="37869">
                  <c:v>0.67538790797217696</c:v>
                </c:pt>
                <c:pt idx="37870">
                  <c:v>0.67540574282147303</c:v>
                </c:pt>
                <c:pt idx="37871">
                  <c:v>0.67542357767076799</c:v>
                </c:pt>
                <c:pt idx="37872">
                  <c:v>0.67544141252006396</c:v>
                </c:pt>
                <c:pt idx="37873">
                  <c:v>0.67545924736935903</c:v>
                </c:pt>
                <c:pt idx="37874">
                  <c:v>0.67547708221865499</c:v>
                </c:pt>
                <c:pt idx="37875">
                  <c:v>0.67549491706794995</c:v>
                </c:pt>
                <c:pt idx="37876">
                  <c:v>0.67551275191724602</c:v>
                </c:pt>
                <c:pt idx="37877">
                  <c:v>0.67553058676654099</c:v>
                </c:pt>
                <c:pt idx="37878">
                  <c:v>0.67554842161583695</c:v>
                </c:pt>
                <c:pt idx="37879">
                  <c:v>0.67556625646513202</c:v>
                </c:pt>
                <c:pt idx="37880">
                  <c:v>0.67558409131442798</c:v>
                </c:pt>
                <c:pt idx="37881">
                  <c:v>0.67560192616372305</c:v>
                </c:pt>
                <c:pt idx="37882">
                  <c:v>0.67561976101301902</c:v>
                </c:pt>
                <c:pt idx="37883">
                  <c:v>0.67563759586231498</c:v>
                </c:pt>
                <c:pt idx="37884">
                  <c:v>0.67565543071161005</c:v>
                </c:pt>
                <c:pt idx="37885">
                  <c:v>0.67567326556090601</c:v>
                </c:pt>
                <c:pt idx="37886">
                  <c:v>0.67569110041020097</c:v>
                </c:pt>
                <c:pt idx="37887">
                  <c:v>0.67570893525949705</c:v>
                </c:pt>
                <c:pt idx="37888">
                  <c:v>0.67572677010879201</c:v>
                </c:pt>
                <c:pt idx="37889">
                  <c:v>0.67574460495808797</c:v>
                </c:pt>
                <c:pt idx="37890">
                  <c:v>0.67576243980738304</c:v>
                </c:pt>
                <c:pt idx="37891">
                  <c:v>0.675780274656679</c:v>
                </c:pt>
                <c:pt idx="37892">
                  <c:v>0.67579810950597397</c:v>
                </c:pt>
                <c:pt idx="37893">
                  <c:v>0.67581594435527004</c:v>
                </c:pt>
                <c:pt idx="37894">
                  <c:v>0.675833779204565</c:v>
                </c:pt>
                <c:pt idx="37895">
                  <c:v>0.67585161405386096</c:v>
                </c:pt>
                <c:pt idx="37896">
                  <c:v>0.67586944890315603</c:v>
                </c:pt>
                <c:pt idx="37897">
                  <c:v>0.67588728375245199</c:v>
                </c:pt>
                <c:pt idx="37898">
                  <c:v>0.67590511860174696</c:v>
                </c:pt>
                <c:pt idx="37899">
                  <c:v>0.67592295345104303</c:v>
                </c:pt>
                <c:pt idx="37900">
                  <c:v>0.67594078830033799</c:v>
                </c:pt>
                <c:pt idx="37901">
                  <c:v>0.67595862314963395</c:v>
                </c:pt>
                <c:pt idx="37902">
                  <c:v>0.67597645799892903</c:v>
                </c:pt>
                <c:pt idx="37903">
                  <c:v>0.67599429284822499</c:v>
                </c:pt>
                <c:pt idx="37904">
                  <c:v>0.67601212769752095</c:v>
                </c:pt>
                <c:pt idx="37905">
                  <c:v>0.67602996254681602</c:v>
                </c:pt>
                <c:pt idx="37906">
                  <c:v>0.67604779739611198</c:v>
                </c:pt>
                <c:pt idx="37907">
                  <c:v>0.67606563224540706</c:v>
                </c:pt>
                <c:pt idx="37908">
                  <c:v>0.67608346709470302</c:v>
                </c:pt>
                <c:pt idx="37909">
                  <c:v>0.67610130194399798</c:v>
                </c:pt>
                <c:pt idx="37910">
                  <c:v>0.67611913679329405</c:v>
                </c:pt>
                <c:pt idx="37911">
                  <c:v>0.67613697164258901</c:v>
                </c:pt>
                <c:pt idx="37912">
                  <c:v>0.67615480649188497</c:v>
                </c:pt>
                <c:pt idx="37913">
                  <c:v>0.67617264134118005</c:v>
                </c:pt>
                <c:pt idx="37914">
                  <c:v>0.67619047619047601</c:v>
                </c:pt>
                <c:pt idx="37915">
                  <c:v>0.67620831103977097</c:v>
                </c:pt>
                <c:pt idx="37916">
                  <c:v>0.67622614588906704</c:v>
                </c:pt>
                <c:pt idx="37917">
                  <c:v>0.676243980738362</c:v>
                </c:pt>
                <c:pt idx="37918">
                  <c:v>0.67626181558765797</c:v>
                </c:pt>
                <c:pt idx="37919">
                  <c:v>0.67627965043695304</c:v>
                </c:pt>
                <c:pt idx="37920">
                  <c:v>0.676297485286249</c:v>
                </c:pt>
                <c:pt idx="37921">
                  <c:v>0.67631532013554396</c:v>
                </c:pt>
                <c:pt idx="37922">
                  <c:v>0.67633315498484003</c:v>
                </c:pt>
                <c:pt idx="37923">
                  <c:v>0.676350989834135</c:v>
                </c:pt>
                <c:pt idx="37924">
                  <c:v>0.67636882468343096</c:v>
                </c:pt>
                <c:pt idx="37925">
                  <c:v>0.67638665953272603</c:v>
                </c:pt>
                <c:pt idx="37926">
                  <c:v>0.67640449438202199</c:v>
                </c:pt>
                <c:pt idx="37927">
                  <c:v>0.67642232923131795</c:v>
                </c:pt>
                <c:pt idx="37928">
                  <c:v>0.67644016408061303</c:v>
                </c:pt>
                <c:pt idx="37929">
                  <c:v>0.67645799892990899</c:v>
                </c:pt>
                <c:pt idx="37930">
                  <c:v>0.67647583377920395</c:v>
                </c:pt>
                <c:pt idx="37931">
                  <c:v>0.67649366862850002</c:v>
                </c:pt>
                <c:pt idx="37932">
                  <c:v>0.67651150347779498</c:v>
                </c:pt>
                <c:pt idx="37933">
                  <c:v>0.67652933832709095</c:v>
                </c:pt>
                <c:pt idx="37934">
                  <c:v>0.67654717317638602</c:v>
                </c:pt>
                <c:pt idx="37935">
                  <c:v>0.67656500802568198</c:v>
                </c:pt>
                <c:pt idx="37936">
                  <c:v>0.67658284287497705</c:v>
                </c:pt>
                <c:pt idx="37937">
                  <c:v>0.67660067772427301</c:v>
                </c:pt>
                <c:pt idx="37938">
                  <c:v>0.67661851257356798</c:v>
                </c:pt>
                <c:pt idx="37939">
                  <c:v>0.67663634742286405</c:v>
                </c:pt>
                <c:pt idx="37940">
                  <c:v>0.67665418227215901</c:v>
                </c:pt>
                <c:pt idx="37941">
                  <c:v>0.67667201712145497</c:v>
                </c:pt>
                <c:pt idx="37942">
                  <c:v>0.67668985197075004</c:v>
                </c:pt>
                <c:pt idx="37943">
                  <c:v>0.67670768682004601</c:v>
                </c:pt>
                <c:pt idx="37944">
                  <c:v>0.67672552166934097</c:v>
                </c:pt>
                <c:pt idx="37945">
                  <c:v>0.67674335651863704</c:v>
                </c:pt>
                <c:pt idx="37946">
                  <c:v>0.676761191367932</c:v>
                </c:pt>
                <c:pt idx="37947">
                  <c:v>0.67677902621722796</c:v>
                </c:pt>
                <c:pt idx="37948">
                  <c:v>0.67679686106652404</c:v>
                </c:pt>
                <c:pt idx="37949">
                  <c:v>0.676814695915819</c:v>
                </c:pt>
                <c:pt idx="37950">
                  <c:v>0.67683253076511496</c:v>
                </c:pt>
                <c:pt idx="37951">
                  <c:v>0.67685036561441003</c:v>
                </c:pt>
                <c:pt idx="37952">
                  <c:v>0.67686820046370599</c:v>
                </c:pt>
                <c:pt idx="37953">
                  <c:v>0.67688603531300096</c:v>
                </c:pt>
                <c:pt idx="37954">
                  <c:v>0.67690387016229703</c:v>
                </c:pt>
                <c:pt idx="37955">
                  <c:v>0.67692170501159199</c:v>
                </c:pt>
                <c:pt idx="37956">
                  <c:v>0.67693953986088795</c:v>
                </c:pt>
                <c:pt idx="37957">
                  <c:v>0.67695737471018302</c:v>
                </c:pt>
                <c:pt idx="37958">
                  <c:v>0.67697520955947899</c:v>
                </c:pt>
                <c:pt idx="37959">
                  <c:v>0.67699304440877395</c:v>
                </c:pt>
                <c:pt idx="37960">
                  <c:v>0.67701087925807002</c:v>
                </c:pt>
                <c:pt idx="37961">
                  <c:v>0.67702871410736498</c:v>
                </c:pt>
                <c:pt idx="37962">
                  <c:v>0.67704654895666105</c:v>
                </c:pt>
                <c:pt idx="37963">
                  <c:v>0.67706438380595602</c:v>
                </c:pt>
                <c:pt idx="37964">
                  <c:v>0.67708221865525198</c:v>
                </c:pt>
                <c:pt idx="37965">
                  <c:v>0.67710005350454705</c:v>
                </c:pt>
                <c:pt idx="37966">
                  <c:v>0.67711788835384301</c:v>
                </c:pt>
                <c:pt idx="37967">
                  <c:v>0.67713572320313897</c:v>
                </c:pt>
                <c:pt idx="37968">
                  <c:v>0.67715355805243405</c:v>
                </c:pt>
                <c:pt idx="37969">
                  <c:v>0.67717139290173001</c:v>
                </c:pt>
                <c:pt idx="37970">
                  <c:v>0.67718922775102497</c:v>
                </c:pt>
                <c:pt idx="37971">
                  <c:v>0.67720706260032104</c:v>
                </c:pt>
                <c:pt idx="37972">
                  <c:v>0.677224897449616</c:v>
                </c:pt>
                <c:pt idx="37973">
                  <c:v>0.67724273229891196</c:v>
                </c:pt>
                <c:pt idx="37974">
                  <c:v>0.67726056714820704</c:v>
                </c:pt>
                <c:pt idx="37975">
                  <c:v>0.677278401997503</c:v>
                </c:pt>
                <c:pt idx="37976">
                  <c:v>0.67729623684679796</c:v>
                </c:pt>
                <c:pt idx="37977">
                  <c:v>0.67731407169609403</c:v>
                </c:pt>
                <c:pt idx="37978">
                  <c:v>0.677331906545389</c:v>
                </c:pt>
                <c:pt idx="37979">
                  <c:v>0.67734974139468496</c:v>
                </c:pt>
                <c:pt idx="37980">
                  <c:v>0.67736757624398003</c:v>
                </c:pt>
                <c:pt idx="37981">
                  <c:v>0.67738541109327599</c:v>
                </c:pt>
                <c:pt idx="37982">
                  <c:v>0.67740324594257095</c:v>
                </c:pt>
                <c:pt idx="37983">
                  <c:v>0.67742108079186703</c:v>
                </c:pt>
                <c:pt idx="37984">
                  <c:v>0.67743891564116199</c:v>
                </c:pt>
                <c:pt idx="37985">
                  <c:v>0.67745675049045795</c:v>
                </c:pt>
                <c:pt idx="37986">
                  <c:v>0.67747458533975302</c:v>
                </c:pt>
                <c:pt idx="37987">
                  <c:v>0.67749242018904898</c:v>
                </c:pt>
                <c:pt idx="37988">
                  <c:v>0.67751025503834394</c:v>
                </c:pt>
                <c:pt idx="37989">
                  <c:v>0.67752808988764002</c:v>
                </c:pt>
                <c:pt idx="37990">
                  <c:v>0.67754592473693598</c:v>
                </c:pt>
                <c:pt idx="37991">
                  <c:v>0.67756375958623105</c:v>
                </c:pt>
                <c:pt idx="37992">
                  <c:v>0.67758159443552701</c:v>
                </c:pt>
                <c:pt idx="37993">
                  <c:v>0.67759942928482197</c:v>
                </c:pt>
                <c:pt idx="37994">
                  <c:v>0.67761726413411805</c:v>
                </c:pt>
                <c:pt idx="37995">
                  <c:v>0.67763509898341301</c:v>
                </c:pt>
                <c:pt idx="37996">
                  <c:v>0.67765293383270897</c:v>
                </c:pt>
                <c:pt idx="37997">
                  <c:v>0.67767076868200404</c:v>
                </c:pt>
                <c:pt idx="37998">
                  <c:v>0.6776886035313</c:v>
                </c:pt>
                <c:pt idx="37999">
                  <c:v>0.67770643838059497</c:v>
                </c:pt>
                <c:pt idx="38000">
                  <c:v>0.67772427322989104</c:v>
                </c:pt>
                <c:pt idx="38001">
                  <c:v>0.677742108079186</c:v>
                </c:pt>
                <c:pt idx="38002">
                  <c:v>0.67775994292848196</c:v>
                </c:pt>
                <c:pt idx="38003">
                  <c:v>0.67777777777777704</c:v>
                </c:pt>
                <c:pt idx="38004">
                  <c:v>0.677795612627073</c:v>
                </c:pt>
                <c:pt idx="38005">
                  <c:v>0.67781344747636796</c:v>
                </c:pt>
                <c:pt idx="38006">
                  <c:v>0.67783128232566403</c:v>
                </c:pt>
                <c:pt idx="38007">
                  <c:v>0.67784911717495899</c:v>
                </c:pt>
                <c:pt idx="38008">
                  <c:v>0.67786695202425495</c:v>
                </c:pt>
                <c:pt idx="38009">
                  <c:v>0.67788478687355003</c:v>
                </c:pt>
                <c:pt idx="38010">
                  <c:v>0.67790262172284599</c:v>
                </c:pt>
                <c:pt idx="38011">
                  <c:v>0.67792045657214195</c:v>
                </c:pt>
                <c:pt idx="38012">
                  <c:v>0.67793829142143702</c:v>
                </c:pt>
                <c:pt idx="38013">
                  <c:v>0.67795612627073298</c:v>
                </c:pt>
                <c:pt idx="38014">
                  <c:v>0.67797396112002795</c:v>
                </c:pt>
                <c:pt idx="38015">
                  <c:v>0.67799179596932402</c:v>
                </c:pt>
                <c:pt idx="38016">
                  <c:v>0.67800963081861898</c:v>
                </c:pt>
                <c:pt idx="38017">
                  <c:v>0.67802746566791505</c:v>
                </c:pt>
                <c:pt idx="38018">
                  <c:v>0.67804530051721001</c:v>
                </c:pt>
                <c:pt idx="38019">
                  <c:v>0.67806313536650598</c:v>
                </c:pt>
                <c:pt idx="38020">
                  <c:v>0.67808097021580105</c:v>
                </c:pt>
                <c:pt idx="38021">
                  <c:v>0.67809880506509701</c:v>
                </c:pt>
                <c:pt idx="38022">
                  <c:v>0.67811663991439197</c:v>
                </c:pt>
                <c:pt idx="38023">
                  <c:v>0.67813447476368804</c:v>
                </c:pt>
                <c:pt idx="38024">
                  <c:v>0.67815230961298301</c:v>
                </c:pt>
                <c:pt idx="38025">
                  <c:v>0.67817014446227897</c:v>
                </c:pt>
                <c:pt idx="38026">
                  <c:v>0.67818797931157404</c:v>
                </c:pt>
                <c:pt idx="38027">
                  <c:v>0.67820581416087</c:v>
                </c:pt>
                <c:pt idx="38028">
                  <c:v>0.67822364901016496</c:v>
                </c:pt>
                <c:pt idx="38029">
                  <c:v>0.67824148385946104</c:v>
                </c:pt>
                <c:pt idx="38030">
                  <c:v>0.678259318708756</c:v>
                </c:pt>
                <c:pt idx="38031">
                  <c:v>0.67827715355805196</c:v>
                </c:pt>
                <c:pt idx="38032">
                  <c:v>0.67829498840734703</c:v>
                </c:pt>
                <c:pt idx="38033">
                  <c:v>0.67831282325664299</c:v>
                </c:pt>
                <c:pt idx="38034">
                  <c:v>0.67833065810593896</c:v>
                </c:pt>
                <c:pt idx="38035">
                  <c:v>0.67834849295523403</c:v>
                </c:pt>
                <c:pt idx="38036">
                  <c:v>0.67836632780452999</c:v>
                </c:pt>
                <c:pt idx="38037">
                  <c:v>0.67838416265382495</c:v>
                </c:pt>
                <c:pt idx="38038">
                  <c:v>0.67840199750312102</c:v>
                </c:pt>
                <c:pt idx="38039">
                  <c:v>0.67841983235241599</c:v>
                </c:pt>
                <c:pt idx="38040">
                  <c:v>0.67843766720171195</c:v>
                </c:pt>
                <c:pt idx="38041">
                  <c:v>0.67845550205100702</c:v>
                </c:pt>
                <c:pt idx="38042">
                  <c:v>0.67847333690030298</c:v>
                </c:pt>
                <c:pt idx="38043">
                  <c:v>0.67849117174959805</c:v>
                </c:pt>
                <c:pt idx="38044">
                  <c:v>0.67850900659889402</c:v>
                </c:pt>
                <c:pt idx="38045">
                  <c:v>0.67852684144818898</c:v>
                </c:pt>
                <c:pt idx="38046">
                  <c:v>0.67854467629748505</c:v>
                </c:pt>
                <c:pt idx="38047">
                  <c:v>0.67856251114678001</c:v>
                </c:pt>
                <c:pt idx="38048">
                  <c:v>0.67858034599607597</c:v>
                </c:pt>
                <c:pt idx="38049">
                  <c:v>0.67859818084537105</c:v>
                </c:pt>
                <c:pt idx="38050">
                  <c:v>0.67861601569466701</c:v>
                </c:pt>
                <c:pt idx="38051">
                  <c:v>0.67863385054396197</c:v>
                </c:pt>
                <c:pt idx="38052">
                  <c:v>0.67865168539325804</c:v>
                </c:pt>
                <c:pt idx="38053">
                  <c:v>0.678669520242554</c:v>
                </c:pt>
                <c:pt idx="38054">
                  <c:v>0.67868735509184897</c:v>
                </c:pt>
                <c:pt idx="38055">
                  <c:v>0.67870518994114504</c:v>
                </c:pt>
                <c:pt idx="38056">
                  <c:v>0.67872302479044</c:v>
                </c:pt>
                <c:pt idx="38057">
                  <c:v>0.67874085963973596</c:v>
                </c:pt>
                <c:pt idx="38058">
                  <c:v>0.67875869448903103</c:v>
                </c:pt>
                <c:pt idx="38059">
                  <c:v>0.67877652933832699</c:v>
                </c:pt>
                <c:pt idx="38060">
                  <c:v>0.67879436418762196</c:v>
                </c:pt>
                <c:pt idx="38061">
                  <c:v>0.67881219903691803</c:v>
                </c:pt>
                <c:pt idx="38062">
                  <c:v>0.67883003388621299</c:v>
                </c:pt>
                <c:pt idx="38063">
                  <c:v>0.67884786873550895</c:v>
                </c:pt>
                <c:pt idx="38064">
                  <c:v>0.67886570358480403</c:v>
                </c:pt>
                <c:pt idx="38065">
                  <c:v>0.67888353843409999</c:v>
                </c:pt>
                <c:pt idx="38066">
                  <c:v>0.67890137328339495</c:v>
                </c:pt>
                <c:pt idx="38067">
                  <c:v>0.67891920813269102</c:v>
                </c:pt>
                <c:pt idx="38068">
                  <c:v>0.67893704298198598</c:v>
                </c:pt>
                <c:pt idx="38069">
                  <c:v>0.67895487783128206</c:v>
                </c:pt>
                <c:pt idx="38070">
                  <c:v>0.67897271268057702</c:v>
                </c:pt>
                <c:pt idx="38071">
                  <c:v>0.67899054752987298</c:v>
                </c:pt>
                <c:pt idx="38072">
                  <c:v>0.67900838237916805</c:v>
                </c:pt>
                <c:pt idx="38073">
                  <c:v>0.67902621722846401</c:v>
                </c:pt>
                <c:pt idx="38074">
                  <c:v>0.67904405207775997</c:v>
                </c:pt>
                <c:pt idx="38075">
                  <c:v>0.67906188692705505</c:v>
                </c:pt>
                <c:pt idx="38076">
                  <c:v>0.67907972177635101</c:v>
                </c:pt>
                <c:pt idx="38077">
                  <c:v>0.67909755662564597</c:v>
                </c:pt>
                <c:pt idx="38078">
                  <c:v>0.67911539147494204</c:v>
                </c:pt>
                <c:pt idx="38079">
                  <c:v>0.679133226324237</c:v>
                </c:pt>
                <c:pt idx="38080">
                  <c:v>0.67915106117353297</c:v>
                </c:pt>
                <c:pt idx="38081">
                  <c:v>0.67916889602282804</c:v>
                </c:pt>
                <c:pt idx="38082">
                  <c:v>0.679186730872124</c:v>
                </c:pt>
                <c:pt idx="38083">
                  <c:v>0.67920456572141896</c:v>
                </c:pt>
                <c:pt idx="38084">
                  <c:v>0.67922240057071503</c:v>
                </c:pt>
                <c:pt idx="38085">
                  <c:v>0.67924023542001</c:v>
                </c:pt>
                <c:pt idx="38086">
                  <c:v>0.67925807026930596</c:v>
                </c:pt>
                <c:pt idx="38087">
                  <c:v>0.67927590511860103</c:v>
                </c:pt>
                <c:pt idx="38088">
                  <c:v>0.67929373996789699</c:v>
                </c:pt>
                <c:pt idx="38089">
                  <c:v>0.67931157481719195</c:v>
                </c:pt>
                <c:pt idx="38090">
                  <c:v>0.67932940966648803</c:v>
                </c:pt>
                <c:pt idx="38091">
                  <c:v>0.67934724451578299</c:v>
                </c:pt>
                <c:pt idx="38092">
                  <c:v>0.67936507936507895</c:v>
                </c:pt>
                <c:pt idx="38093">
                  <c:v>0.67938291421437402</c:v>
                </c:pt>
                <c:pt idx="38094">
                  <c:v>0.67940074906366998</c:v>
                </c:pt>
                <c:pt idx="38095">
                  <c:v>0.67941858391296595</c:v>
                </c:pt>
                <c:pt idx="38096">
                  <c:v>0.67943641876226102</c:v>
                </c:pt>
                <c:pt idx="38097">
                  <c:v>0.67945425361155698</c:v>
                </c:pt>
                <c:pt idx="38098">
                  <c:v>0.67947208846085205</c:v>
                </c:pt>
                <c:pt idx="38099">
                  <c:v>0.67948992331014801</c:v>
                </c:pt>
                <c:pt idx="38100">
                  <c:v>0.67950775815944298</c:v>
                </c:pt>
                <c:pt idx="38101">
                  <c:v>0.67952559300873905</c:v>
                </c:pt>
                <c:pt idx="38102">
                  <c:v>0.67954342785803401</c:v>
                </c:pt>
                <c:pt idx="38103">
                  <c:v>0.67956126270732997</c:v>
                </c:pt>
                <c:pt idx="38104">
                  <c:v>0.67957909755662504</c:v>
                </c:pt>
                <c:pt idx="38105">
                  <c:v>0.67959693240592101</c:v>
                </c:pt>
                <c:pt idx="38106">
                  <c:v>0.67961476725521597</c:v>
                </c:pt>
                <c:pt idx="38107">
                  <c:v>0.67963260210451204</c:v>
                </c:pt>
                <c:pt idx="38108">
                  <c:v>0.679650436953807</c:v>
                </c:pt>
                <c:pt idx="38109">
                  <c:v>0.67966827180310296</c:v>
                </c:pt>
                <c:pt idx="38110">
                  <c:v>0.67968610665239804</c:v>
                </c:pt>
                <c:pt idx="38111">
                  <c:v>0.679703941501694</c:v>
                </c:pt>
                <c:pt idx="38112">
                  <c:v>0.67972177635098896</c:v>
                </c:pt>
                <c:pt idx="38113">
                  <c:v>0.67973961120028503</c:v>
                </c:pt>
                <c:pt idx="38114">
                  <c:v>0.67975744604957999</c:v>
                </c:pt>
                <c:pt idx="38115">
                  <c:v>0.67977528089887596</c:v>
                </c:pt>
                <c:pt idx="38116">
                  <c:v>0.67979311574817103</c:v>
                </c:pt>
                <c:pt idx="38117">
                  <c:v>0.67981095059746699</c:v>
                </c:pt>
                <c:pt idx="38118">
                  <c:v>0.67982878544676295</c:v>
                </c:pt>
                <c:pt idx="38119">
                  <c:v>0.67984662029605802</c:v>
                </c:pt>
                <c:pt idx="38120">
                  <c:v>0.67986445514535399</c:v>
                </c:pt>
                <c:pt idx="38121">
                  <c:v>0.67988228999464895</c:v>
                </c:pt>
                <c:pt idx="38122">
                  <c:v>0.67990012484394502</c:v>
                </c:pt>
                <c:pt idx="38123">
                  <c:v>0.67991795969323998</c:v>
                </c:pt>
                <c:pt idx="38124">
                  <c:v>0.67993579454253605</c:v>
                </c:pt>
                <c:pt idx="38125">
                  <c:v>0.67995362939183102</c:v>
                </c:pt>
                <c:pt idx="38126">
                  <c:v>0.67997146424112698</c:v>
                </c:pt>
                <c:pt idx="38127">
                  <c:v>0.67998929909042205</c:v>
                </c:pt>
                <c:pt idx="38128">
                  <c:v>0.68000713393971801</c:v>
                </c:pt>
                <c:pt idx="38129">
                  <c:v>0.68002496878901297</c:v>
                </c:pt>
                <c:pt idx="38130">
                  <c:v>0.68004280363830905</c:v>
                </c:pt>
                <c:pt idx="38131">
                  <c:v>0.68006063848760401</c:v>
                </c:pt>
                <c:pt idx="38132">
                  <c:v>0.68007847333689997</c:v>
                </c:pt>
                <c:pt idx="38133">
                  <c:v>0.68009630818619504</c:v>
                </c:pt>
                <c:pt idx="38134">
                  <c:v>0.680114143035491</c:v>
                </c:pt>
                <c:pt idx="38135">
                  <c:v>0.68013197788478597</c:v>
                </c:pt>
                <c:pt idx="38136">
                  <c:v>0.68014981273408204</c:v>
                </c:pt>
                <c:pt idx="38137">
                  <c:v>0.680167647583377</c:v>
                </c:pt>
                <c:pt idx="38138">
                  <c:v>0.68018548243267296</c:v>
                </c:pt>
                <c:pt idx="38139">
                  <c:v>0.68020331728196803</c:v>
                </c:pt>
                <c:pt idx="38140">
                  <c:v>0.680221152131264</c:v>
                </c:pt>
                <c:pt idx="38141">
                  <c:v>0.68023898698055996</c:v>
                </c:pt>
                <c:pt idx="38142">
                  <c:v>0.68025682182985503</c:v>
                </c:pt>
                <c:pt idx="38143">
                  <c:v>0.68027465667915099</c:v>
                </c:pt>
                <c:pt idx="38144">
                  <c:v>0.68029249152844595</c:v>
                </c:pt>
                <c:pt idx="38145">
                  <c:v>0.68031032637774203</c:v>
                </c:pt>
                <c:pt idx="38146">
                  <c:v>0.68032816122703699</c:v>
                </c:pt>
                <c:pt idx="38147">
                  <c:v>0.68034599607633295</c:v>
                </c:pt>
                <c:pt idx="38148">
                  <c:v>0.68036383092562802</c:v>
                </c:pt>
                <c:pt idx="38149">
                  <c:v>0.68038166577492398</c:v>
                </c:pt>
                <c:pt idx="38150">
                  <c:v>0.68039950062421894</c:v>
                </c:pt>
                <c:pt idx="38151">
                  <c:v>0.68041733547351502</c:v>
                </c:pt>
                <c:pt idx="38152">
                  <c:v>0.68043517032280998</c:v>
                </c:pt>
                <c:pt idx="38153">
                  <c:v>0.68045300517210605</c:v>
                </c:pt>
                <c:pt idx="38154">
                  <c:v>0.68047084002140101</c:v>
                </c:pt>
                <c:pt idx="38155">
                  <c:v>0.68048867487069697</c:v>
                </c:pt>
                <c:pt idx="38156">
                  <c:v>0.68050650971999205</c:v>
                </c:pt>
                <c:pt idx="38157">
                  <c:v>0.68052434456928801</c:v>
                </c:pt>
                <c:pt idx="38158">
                  <c:v>0.68054217941858297</c:v>
                </c:pt>
                <c:pt idx="38159">
                  <c:v>0.68056001426787904</c:v>
                </c:pt>
                <c:pt idx="38160">
                  <c:v>0.680577849117175</c:v>
                </c:pt>
                <c:pt idx="38161">
                  <c:v>0.68059568396646997</c:v>
                </c:pt>
                <c:pt idx="38162">
                  <c:v>0.68061351881576604</c:v>
                </c:pt>
                <c:pt idx="38163">
                  <c:v>0.680631353665061</c:v>
                </c:pt>
                <c:pt idx="38164">
                  <c:v>0.68064918851435696</c:v>
                </c:pt>
                <c:pt idx="38165">
                  <c:v>0.68066702336365204</c:v>
                </c:pt>
                <c:pt idx="38166">
                  <c:v>0.680684858212948</c:v>
                </c:pt>
                <c:pt idx="38167">
                  <c:v>0.68070269306224296</c:v>
                </c:pt>
                <c:pt idx="38168">
                  <c:v>0.68072052791153903</c:v>
                </c:pt>
                <c:pt idx="38169">
                  <c:v>0.68073836276083399</c:v>
                </c:pt>
                <c:pt idx="38170">
                  <c:v>0.68075619761012995</c:v>
                </c:pt>
                <c:pt idx="38171">
                  <c:v>0.68077403245942503</c:v>
                </c:pt>
                <c:pt idx="38172">
                  <c:v>0.68079186730872099</c:v>
                </c:pt>
                <c:pt idx="38173">
                  <c:v>0.68080970215801595</c:v>
                </c:pt>
                <c:pt idx="38174">
                  <c:v>0.68082753700731202</c:v>
                </c:pt>
                <c:pt idx="38175">
                  <c:v>0.68084537185660698</c:v>
                </c:pt>
                <c:pt idx="38176">
                  <c:v>0.68086320670590295</c:v>
                </c:pt>
                <c:pt idx="38177">
                  <c:v>0.68088104155519802</c:v>
                </c:pt>
                <c:pt idx="38178">
                  <c:v>0.68089887640449398</c:v>
                </c:pt>
                <c:pt idx="38179">
                  <c:v>0.68091671125378905</c:v>
                </c:pt>
                <c:pt idx="38180">
                  <c:v>0.68093454610308501</c:v>
                </c:pt>
                <c:pt idx="38181">
                  <c:v>0.68095238095238098</c:v>
                </c:pt>
                <c:pt idx="38182">
                  <c:v>0.68097021580167605</c:v>
                </c:pt>
                <c:pt idx="38183">
                  <c:v>0.68098805065097201</c:v>
                </c:pt>
                <c:pt idx="38184">
                  <c:v>0.68100588550026697</c:v>
                </c:pt>
                <c:pt idx="38185">
                  <c:v>0.68102372034956304</c:v>
                </c:pt>
                <c:pt idx="38186">
                  <c:v>0.68104155519885801</c:v>
                </c:pt>
                <c:pt idx="38187">
                  <c:v>0.68105939004815397</c:v>
                </c:pt>
                <c:pt idx="38188">
                  <c:v>0.68107722489744904</c:v>
                </c:pt>
                <c:pt idx="38189">
                  <c:v>0.681095059746745</c:v>
                </c:pt>
                <c:pt idx="38190">
                  <c:v>0.68111289459603996</c:v>
                </c:pt>
                <c:pt idx="38191">
                  <c:v>0.68113072944533604</c:v>
                </c:pt>
                <c:pt idx="38192">
                  <c:v>0.681148564294631</c:v>
                </c:pt>
                <c:pt idx="38193">
                  <c:v>0.68116639914392696</c:v>
                </c:pt>
                <c:pt idx="38194">
                  <c:v>0.68118423399322203</c:v>
                </c:pt>
                <c:pt idx="38195">
                  <c:v>0.68120206884251799</c:v>
                </c:pt>
                <c:pt idx="38196">
                  <c:v>0.68121990369181296</c:v>
                </c:pt>
                <c:pt idx="38197">
                  <c:v>0.68123773854110903</c:v>
                </c:pt>
                <c:pt idx="38198">
                  <c:v>0.68125557339040399</c:v>
                </c:pt>
                <c:pt idx="38199">
                  <c:v>0.68127340823969995</c:v>
                </c:pt>
                <c:pt idx="38200">
                  <c:v>0.68129124308899502</c:v>
                </c:pt>
                <c:pt idx="38201">
                  <c:v>0.68130907793829099</c:v>
                </c:pt>
                <c:pt idx="38202">
                  <c:v>0.68132691278758695</c:v>
                </c:pt>
                <c:pt idx="38203">
                  <c:v>0.68134474763688202</c:v>
                </c:pt>
                <c:pt idx="38204">
                  <c:v>0.68136258248617798</c:v>
                </c:pt>
                <c:pt idx="38205">
                  <c:v>0.68138041733547305</c:v>
                </c:pt>
                <c:pt idx="38206">
                  <c:v>0.68139825218476902</c:v>
                </c:pt>
                <c:pt idx="38207">
                  <c:v>0.68141608703406398</c:v>
                </c:pt>
                <c:pt idx="38208">
                  <c:v>0.68143392188336005</c:v>
                </c:pt>
                <c:pt idx="38209">
                  <c:v>0.68145175673265501</c:v>
                </c:pt>
                <c:pt idx="38210">
                  <c:v>0.68146959158195097</c:v>
                </c:pt>
                <c:pt idx="38211">
                  <c:v>0.68148742643124605</c:v>
                </c:pt>
                <c:pt idx="38212">
                  <c:v>0.68150526128054201</c:v>
                </c:pt>
                <c:pt idx="38213">
                  <c:v>0.68152309612983697</c:v>
                </c:pt>
                <c:pt idx="38214">
                  <c:v>0.68154093097913304</c:v>
                </c:pt>
                <c:pt idx="38215">
                  <c:v>0.681558765828428</c:v>
                </c:pt>
                <c:pt idx="38216">
                  <c:v>0.68157660067772396</c:v>
                </c:pt>
                <c:pt idx="38217">
                  <c:v>0.68159443552701904</c:v>
                </c:pt>
                <c:pt idx="38218">
                  <c:v>0.681612270376315</c:v>
                </c:pt>
                <c:pt idx="38219">
                  <c:v>0.68163010522560996</c:v>
                </c:pt>
                <c:pt idx="38220">
                  <c:v>0.68164794007490603</c:v>
                </c:pt>
                <c:pt idx="38221">
                  <c:v>0.681665774924201</c:v>
                </c:pt>
                <c:pt idx="38222">
                  <c:v>0.68168360977349696</c:v>
                </c:pt>
                <c:pt idx="38223">
                  <c:v>0.68170144462279203</c:v>
                </c:pt>
                <c:pt idx="38224">
                  <c:v>0.68171927947208799</c:v>
                </c:pt>
                <c:pt idx="38225">
                  <c:v>0.68173711432138395</c:v>
                </c:pt>
                <c:pt idx="38226">
                  <c:v>0.68175494917067903</c:v>
                </c:pt>
                <c:pt idx="38227">
                  <c:v>0.68177278401997499</c:v>
                </c:pt>
                <c:pt idx="38228">
                  <c:v>0.68179061886926995</c:v>
                </c:pt>
                <c:pt idx="38229">
                  <c:v>0.68180845371856602</c:v>
                </c:pt>
                <c:pt idx="38230">
                  <c:v>0.68182628856786098</c:v>
                </c:pt>
                <c:pt idx="38231">
                  <c:v>0.68184412341715706</c:v>
                </c:pt>
                <c:pt idx="38232">
                  <c:v>0.68186195826645202</c:v>
                </c:pt>
                <c:pt idx="38233">
                  <c:v>0.68187979311574798</c:v>
                </c:pt>
                <c:pt idx="38234">
                  <c:v>0.68189762796504305</c:v>
                </c:pt>
                <c:pt idx="38235">
                  <c:v>0.68191546281433901</c:v>
                </c:pt>
                <c:pt idx="38236">
                  <c:v>0.68193329766363397</c:v>
                </c:pt>
                <c:pt idx="38237">
                  <c:v>0.68195113251293005</c:v>
                </c:pt>
                <c:pt idx="38238">
                  <c:v>0.68196896736222501</c:v>
                </c:pt>
                <c:pt idx="38239">
                  <c:v>0.68198680221152097</c:v>
                </c:pt>
                <c:pt idx="38240">
                  <c:v>0.68200463706081604</c:v>
                </c:pt>
                <c:pt idx="38241">
                  <c:v>0.682022471910112</c:v>
                </c:pt>
                <c:pt idx="38242">
                  <c:v>0.68204030675940697</c:v>
                </c:pt>
                <c:pt idx="38243">
                  <c:v>0.68205814160870304</c:v>
                </c:pt>
                <c:pt idx="38244">
                  <c:v>0.682075976457998</c:v>
                </c:pt>
                <c:pt idx="38245">
                  <c:v>0.68209381130729396</c:v>
                </c:pt>
                <c:pt idx="38246">
                  <c:v>0.68211164615658904</c:v>
                </c:pt>
                <c:pt idx="38247">
                  <c:v>0.682129481005885</c:v>
                </c:pt>
                <c:pt idx="38248">
                  <c:v>0.68214731585518096</c:v>
                </c:pt>
                <c:pt idx="38249">
                  <c:v>0.68216515070447603</c:v>
                </c:pt>
                <c:pt idx="38250">
                  <c:v>0.68218298555377199</c:v>
                </c:pt>
                <c:pt idx="38251">
                  <c:v>0.68220082040306695</c:v>
                </c:pt>
                <c:pt idx="38252">
                  <c:v>0.68221865525236303</c:v>
                </c:pt>
                <c:pt idx="38253">
                  <c:v>0.68223649010165799</c:v>
                </c:pt>
                <c:pt idx="38254">
                  <c:v>0.68225432495095395</c:v>
                </c:pt>
                <c:pt idx="38255">
                  <c:v>0.68227215980024902</c:v>
                </c:pt>
                <c:pt idx="38256">
                  <c:v>0.68228999464954498</c:v>
                </c:pt>
                <c:pt idx="38257">
                  <c:v>0.68230782949883995</c:v>
                </c:pt>
                <c:pt idx="38258">
                  <c:v>0.68232566434813602</c:v>
                </c:pt>
                <c:pt idx="38259">
                  <c:v>0.68234349919743098</c:v>
                </c:pt>
                <c:pt idx="38260">
                  <c:v>0.68236133404672705</c:v>
                </c:pt>
                <c:pt idx="38261">
                  <c:v>0.68237916889602201</c:v>
                </c:pt>
                <c:pt idx="38262">
                  <c:v>0.68239700374531798</c:v>
                </c:pt>
                <c:pt idx="38263">
                  <c:v>0.68241483859461305</c:v>
                </c:pt>
                <c:pt idx="38264">
                  <c:v>0.68243267344390901</c:v>
                </c:pt>
                <c:pt idx="38265">
                  <c:v>0.68245050829320497</c:v>
                </c:pt>
                <c:pt idx="38266">
                  <c:v>0.68246834314250004</c:v>
                </c:pt>
                <c:pt idx="38267">
                  <c:v>0.68248617799179601</c:v>
                </c:pt>
                <c:pt idx="38268">
                  <c:v>0.68250401284109097</c:v>
                </c:pt>
                <c:pt idx="38269">
                  <c:v>0.68252184769038704</c:v>
                </c:pt>
                <c:pt idx="38270">
                  <c:v>0.682539682539682</c:v>
                </c:pt>
                <c:pt idx="38271">
                  <c:v>0.68255751738897796</c:v>
                </c:pt>
                <c:pt idx="38272">
                  <c:v>0.68257535223827304</c:v>
                </c:pt>
                <c:pt idx="38273">
                  <c:v>0.682593187087569</c:v>
                </c:pt>
                <c:pt idx="38274">
                  <c:v>0.68261102193686396</c:v>
                </c:pt>
                <c:pt idx="38275">
                  <c:v>0.68262885678616003</c:v>
                </c:pt>
                <c:pt idx="38276">
                  <c:v>0.68264669163545499</c:v>
                </c:pt>
                <c:pt idx="38277">
                  <c:v>0.68266452648475096</c:v>
                </c:pt>
                <c:pt idx="38278">
                  <c:v>0.68268236133404603</c:v>
                </c:pt>
                <c:pt idx="38279">
                  <c:v>0.68270019618334199</c:v>
                </c:pt>
                <c:pt idx="38280">
                  <c:v>0.68271803103263695</c:v>
                </c:pt>
                <c:pt idx="38281">
                  <c:v>0.68273586588193302</c:v>
                </c:pt>
                <c:pt idx="38282">
                  <c:v>0.68275370073122799</c:v>
                </c:pt>
                <c:pt idx="38283">
                  <c:v>0.68277153558052395</c:v>
                </c:pt>
                <c:pt idx="38284">
                  <c:v>0.68278937042981902</c:v>
                </c:pt>
                <c:pt idx="38285">
                  <c:v>0.68280720527911498</c:v>
                </c:pt>
                <c:pt idx="38286">
                  <c:v>0.68282504012841005</c:v>
                </c:pt>
                <c:pt idx="38287">
                  <c:v>0.68284287497770602</c:v>
                </c:pt>
                <c:pt idx="38288">
                  <c:v>0.68286070982700198</c:v>
                </c:pt>
                <c:pt idx="38289">
                  <c:v>0.68287854467629705</c:v>
                </c:pt>
                <c:pt idx="38290">
                  <c:v>0.68289637952559301</c:v>
                </c:pt>
                <c:pt idx="38291">
                  <c:v>0.68291421437488797</c:v>
                </c:pt>
                <c:pt idx="38292">
                  <c:v>0.68293204922418405</c:v>
                </c:pt>
                <c:pt idx="38293">
                  <c:v>0.68294988407347901</c:v>
                </c:pt>
                <c:pt idx="38294">
                  <c:v>0.68296771892277497</c:v>
                </c:pt>
                <c:pt idx="38295">
                  <c:v>0.68298555377207004</c:v>
                </c:pt>
                <c:pt idx="38296">
                  <c:v>0.683003388621366</c:v>
                </c:pt>
                <c:pt idx="38297">
                  <c:v>0.68302122347066097</c:v>
                </c:pt>
                <c:pt idx="38298">
                  <c:v>0.68303905831995704</c:v>
                </c:pt>
                <c:pt idx="38299">
                  <c:v>0.683056893169252</c:v>
                </c:pt>
                <c:pt idx="38300">
                  <c:v>0.68307472801854796</c:v>
                </c:pt>
                <c:pt idx="38301">
                  <c:v>0.68309256286784303</c:v>
                </c:pt>
                <c:pt idx="38302">
                  <c:v>0.683110397717139</c:v>
                </c:pt>
                <c:pt idx="38303">
                  <c:v>0.68312823256643396</c:v>
                </c:pt>
                <c:pt idx="38304">
                  <c:v>0.68314606741573003</c:v>
                </c:pt>
                <c:pt idx="38305">
                  <c:v>0.68316390226502499</c:v>
                </c:pt>
                <c:pt idx="38306">
                  <c:v>0.68318173711432095</c:v>
                </c:pt>
                <c:pt idx="38307">
                  <c:v>0.68319957196361603</c:v>
                </c:pt>
                <c:pt idx="38308">
                  <c:v>0.68321740681291199</c:v>
                </c:pt>
                <c:pt idx="38309">
                  <c:v>0.68323524166220795</c:v>
                </c:pt>
                <c:pt idx="38310">
                  <c:v>0.68325307651150302</c:v>
                </c:pt>
                <c:pt idx="38311">
                  <c:v>0.68327091136079898</c:v>
                </c:pt>
                <c:pt idx="38312">
                  <c:v>0.68328874621009394</c:v>
                </c:pt>
                <c:pt idx="38313">
                  <c:v>0.68330658105939002</c:v>
                </c:pt>
                <c:pt idx="38314">
                  <c:v>0.68332441590868498</c:v>
                </c:pt>
                <c:pt idx="38315">
                  <c:v>0.68334225075798105</c:v>
                </c:pt>
                <c:pt idx="38316">
                  <c:v>0.68336008560727601</c:v>
                </c:pt>
                <c:pt idx="38317">
                  <c:v>0.68337792045657197</c:v>
                </c:pt>
                <c:pt idx="38318">
                  <c:v>0.68339575530586705</c:v>
                </c:pt>
                <c:pt idx="38319">
                  <c:v>0.68341359015516301</c:v>
                </c:pt>
                <c:pt idx="38320">
                  <c:v>0.68343142500445797</c:v>
                </c:pt>
                <c:pt idx="38321">
                  <c:v>0.68344925985375404</c:v>
                </c:pt>
                <c:pt idx="38322">
                  <c:v>0.68346709470304901</c:v>
                </c:pt>
                <c:pt idx="38323">
                  <c:v>0.68348492955234497</c:v>
                </c:pt>
                <c:pt idx="38324">
                  <c:v>0.68350276440164004</c:v>
                </c:pt>
                <c:pt idx="38325">
                  <c:v>0.683520599250936</c:v>
                </c:pt>
                <c:pt idx="38326">
                  <c:v>0.68353843410023096</c:v>
                </c:pt>
                <c:pt idx="38327">
                  <c:v>0.68355626894952703</c:v>
                </c:pt>
                <c:pt idx="38328">
                  <c:v>0.683574103798822</c:v>
                </c:pt>
                <c:pt idx="38329">
                  <c:v>0.68359193864811796</c:v>
                </c:pt>
                <c:pt idx="38330">
                  <c:v>0.68360977349741303</c:v>
                </c:pt>
                <c:pt idx="38331">
                  <c:v>0.68362760834670899</c:v>
                </c:pt>
                <c:pt idx="38332">
                  <c:v>0.68364544319600495</c:v>
                </c:pt>
                <c:pt idx="38333">
                  <c:v>0.68366327804530003</c:v>
                </c:pt>
                <c:pt idx="38334">
                  <c:v>0.68368111289459599</c:v>
                </c:pt>
                <c:pt idx="38335">
                  <c:v>0.68369894774389095</c:v>
                </c:pt>
                <c:pt idx="38336">
                  <c:v>0.68371678259318702</c:v>
                </c:pt>
                <c:pt idx="38337">
                  <c:v>0.68373461744248198</c:v>
                </c:pt>
                <c:pt idx="38338">
                  <c:v>0.68375245229177795</c:v>
                </c:pt>
                <c:pt idx="38339">
                  <c:v>0.68377028714107302</c:v>
                </c:pt>
                <c:pt idx="38340">
                  <c:v>0.68378812199036898</c:v>
                </c:pt>
                <c:pt idx="38341">
                  <c:v>0.68380595683966405</c:v>
                </c:pt>
                <c:pt idx="38342">
                  <c:v>0.68382379168896001</c:v>
                </c:pt>
                <c:pt idx="38343">
                  <c:v>0.68384162653825498</c:v>
                </c:pt>
                <c:pt idx="38344">
                  <c:v>0.68385946138755105</c:v>
                </c:pt>
                <c:pt idx="38345">
                  <c:v>0.68387729623684601</c:v>
                </c:pt>
                <c:pt idx="38346">
                  <c:v>0.68389513108614197</c:v>
                </c:pt>
                <c:pt idx="38347">
                  <c:v>0.68391296593543704</c:v>
                </c:pt>
                <c:pt idx="38348">
                  <c:v>0.68393080078473301</c:v>
                </c:pt>
                <c:pt idx="38349">
                  <c:v>0.68394863563402797</c:v>
                </c:pt>
                <c:pt idx="38350">
                  <c:v>0.68396647048332404</c:v>
                </c:pt>
                <c:pt idx="38351">
                  <c:v>0.683984305332619</c:v>
                </c:pt>
                <c:pt idx="38352">
                  <c:v>0.68400214018191496</c:v>
                </c:pt>
                <c:pt idx="38353">
                  <c:v>0.68401997503121104</c:v>
                </c:pt>
                <c:pt idx="38354">
                  <c:v>0.684037809880506</c:v>
                </c:pt>
                <c:pt idx="38355">
                  <c:v>0.68405564472980196</c:v>
                </c:pt>
                <c:pt idx="38356">
                  <c:v>0.68407347957909703</c:v>
                </c:pt>
                <c:pt idx="38357">
                  <c:v>0.68409131442839299</c:v>
                </c:pt>
                <c:pt idx="38358">
                  <c:v>0.68410914927768796</c:v>
                </c:pt>
                <c:pt idx="38359">
                  <c:v>0.68412698412698403</c:v>
                </c:pt>
                <c:pt idx="38360">
                  <c:v>0.68414481897627899</c:v>
                </c:pt>
                <c:pt idx="38361">
                  <c:v>0.68416265382557495</c:v>
                </c:pt>
                <c:pt idx="38362">
                  <c:v>0.68418048867487002</c:v>
                </c:pt>
                <c:pt idx="38363">
                  <c:v>0.68419832352416599</c:v>
                </c:pt>
                <c:pt idx="38364">
                  <c:v>0.68421615837346095</c:v>
                </c:pt>
                <c:pt idx="38365">
                  <c:v>0.68423399322275702</c:v>
                </c:pt>
                <c:pt idx="38366">
                  <c:v>0.68425182807205198</c:v>
                </c:pt>
                <c:pt idx="38367">
                  <c:v>0.68426966292134805</c:v>
                </c:pt>
                <c:pt idx="38368">
                  <c:v>0.68428749777064302</c:v>
                </c:pt>
                <c:pt idx="38369">
                  <c:v>0.68430533261993898</c:v>
                </c:pt>
                <c:pt idx="38370">
                  <c:v>0.68432316746923405</c:v>
                </c:pt>
                <c:pt idx="38371">
                  <c:v>0.68434100231853001</c:v>
                </c:pt>
                <c:pt idx="38372">
                  <c:v>0.68435883716782597</c:v>
                </c:pt>
                <c:pt idx="38373">
                  <c:v>0.68437667201712105</c:v>
                </c:pt>
                <c:pt idx="38374">
                  <c:v>0.68439450686641701</c:v>
                </c:pt>
                <c:pt idx="38375">
                  <c:v>0.68441234171571197</c:v>
                </c:pt>
                <c:pt idx="38376">
                  <c:v>0.68443017656500804</c:v>
                </c:pt>
                <c:pt idx="38377">
                  <c:v>0.684448011414303</c:v>
                </c:pt>
                <c:pt idx="38378">
                  <c:v>0.68446584626359896</c:v>
                </c:pt>
                <c:pt idx="38379">
                  <c:v>0.68448368111289404</c:v>
                </c:pt>
                <c:pt idx="38380">
                  <c:v>0.68450151596219</c:v>
                </c:pt>
                <c:pt idx="38381">
                  <c:v>0.68451935081148496</c:v>
                </c:pt>
                <c:pt idx="38382">
                  <c:v>0.68453718566078103</c:v>
                </c:pt>
                <c:pt idx="38383">
                  <c:v>0.684555020510076</c:v>
                </c:pt>
                <c:pt idx="38384">
                  <c:v>0.68457285535937196</c:v>
                </c:pt>
                <c:pt idx="38385">
                  <c:v>0.68459069020866703</c:v>
                </c:pt>
                <c:pt idx="38386">
                  <c:v>0.68460852505796299</c:v>
                </c:pt>
                <c:pt idx="38387">
                  <c:v>0.68462635990725795</c:v>
                </c:pt>
                <c:pt idx="38388">
                  <c:v>0.68464419475655403</c:v>
                </c:pt>
                <c:pt idx="38389">
                  <c:v>0.68466202960584899</c:v>
                </c:pt>
                <c:pt idx="38390">
                  <c:v>0.68467986445514495</c:v>
                </c:pt>
                <c:pt idx="38391">
                  <c:v>0.68469769930444002</c:v>
                </c:pt>
                <c:pt idx="38392">
                  <c:v>0.68471553415373598</c:v>
                </c:pt>
                <c:pt idx="38393">
                  <c:v>0.68473336900303094</c:v>
                </c:pt>
                <c:pt idx="38394">
                  <c:v>0.68475120385232702</c:v>
                </c:pt>
                <c:pt idx="38395">
                  <c:v>0.68476903870162298</c:v>
                </c:pt>
                <c:pt idx="38396">
                  <c:v>0.68478687355091805</c:v>
                </c:pt>
                <c:pt idx="38397">
                  <c:v>0.68480470840021401</c:v>
                </c:pt>
                <c:pt idx="38398">
                  <c:v>0.68482254324950897</c:v>
                </c:pt>
                <c:pt idx="38399">
                  <c:v>0.68484037809880505</c:v>
                </c:pt>
                <c:pt idx="38400">
                  <c:v>0.68485821294810001</c:v>
                </c:pt>
                <c:pt idx="38401">
                  <c:v>0.68487604779739597</c:v>
                </c:pt>
                <c:pt idx="38402">
                  <c:v>0.68489388264669104</c:v>
                </c:pt>
                <c:pt idx="38403">
                  <c:v>0.684911717495987</c:v>
                </c:pt>
                <c:pt idx="38404">
                  <c:v>0.68492955234528197</c:v>
                </c:pt>
                <c:pt idx="38405">
                  <c:v>0.68494738719457804</c:v>
                </c:pt>
                <c:pt idx="38406">
                  <c:v>0.684965222043873</c:v>
                </c:pt>
                <c:pt idx="38407">
                  <c:v>0.68498305689316896</c:v>
                </c:pt>
                <c:pt idx="38408">
                  <c:v>0.68500089174246404</c:v>
                </c:pt>
                <c:pt idx="38409">
                  <c:v>0.68501872659176</c:v>
                </c:pt>
                <c:pt idx="38410">
                  <c:v>0.68503656144105496</c:v>
                </c:pt>
                <c:pt idx="38411">
                  <c:v>0.68505439629035103</c:v>
                </c:pt>
                <c:pt idx="38412">
                  <c:v>0.68507223113964599</c:v>
                </c:pt>
                <c:pt idx="38413">
                  <c:v>0.68509006598894195</c:v>
                </c:pt>
                <c:pt idx="38414">
                  <c:v>0.68510790083823703</c:v>
                </c:pt>
                <c:pt idx="38415">
                  <c:v>0.68512573568753299</c:v>
                </c:pt>
                <c:pt idx="38416">
                  <c:v>0.68514357053682895</c:v>
                </c:pt>
                <c:pt idx="38417">
                  <c:v>0.68516140538612402</c:v>
                </c:pt>
                <c:pt idx="38418">
                  <c:v>0.68517924023541998</c:v>
                </c:pt>
                <c:pt idx="38419">
                  <c:v>0.68519707508471495</c:v>
                </c:pt>
                <c:pt idx="38420">
                  <c:v>0.68521490993401102</c:v>
                </c:pt>
                <c:pt idx="38421">
                  <c:v>0.68523274478330598</c:v>
                </c:pt>
                <c:pt idx="38422">
                  <c:v>0.68525057963260205</c:v>
                </c:pt>
                <c:pt idx="38423">
                  <c:v>0.68526841448189701</c:v>
                </c:pt>
                <c:pt idx="38424">
                  <c:v>0.68528624933119298</c:v>
                </c:pt>
                <c:pt idx="38425">
                  <c:v>0.68530408418048805</c:v>
                </c:pt>
                <c:pt idx="38426">
                  <c:v>0.68532191902978401</c:v>
                </c:pt>
                <c:pt idx="38427">
                  <c:v>0.68533975387907897</c:v>
                </c:pt>
                <c:pt idx="38428">
                  <c:v>0.68535758872837504</c:v>
                </c:pt>
                <c:pt idx="38429">
                  <c:v>0.68537542357767001</c:v>
                </c:pt>
                <c:pt idx="38430">
                  <c:v>0.68539325842696597</c:v>
                </c:pt>
                <c:pt idx="38431">
                  <c:v>0.68541109327626104</c:v>
                </c:pt>
                <c:pt idx="38432">
                  <c:v>0.685428928125557</c:v>
                </c:pt>
                <c:pt idx="38433">
                  <c:v>0.68544676297485196</c:v>
                </c:pt>
                <c:pt idx="38434">
                  <c:v>0.68546459782414804</c:v>
                </c:pt>
                <c:pt idx="38435">
                  <c:v>0.685482432673443</c:v>
                </c:pt>
                <c:pt idx="38436">
                  <c:v>0.68550026752273896</c:v>
                </c:pt>
                <c:pt idx="38437">
                  <c:v>0.68551810237203403</c:v>
                </c:pt>
                <c:pt idx="38438">
                  <c:v>0.68553593722132999</c:v>
                </c:pt>
                <c:pt idx="38439">
                  <c:v>0.68555377207062596</c:v>
                </c:pt>
                <c:pt idx="38440">
                  <c:v>0.68557160691992103</c:v>
                </c:pt>
                <c:pt idx="38441">
                  <c:v>0.68558944176921699</c:v>
                </c:pt>
                <c:pt idx="38442">
                  <c:v>0.68560727661851195</c:v>
                </c:pt>
                <c:pt idx="38443">
                  <c:v>0.68562511146780802</c:v>
                </c:pt>
                <c:pt idx="38444">
                  <c:v>0.68564294631710299</c:v>
                </c:pt>
                <c:pt idx="38445">
                  <c:v>0.68566078116639895</c:v>
                </c:pt>
                <c:pt idx="38446">
                  <c:v>0.68567861601569402</c:v>
                </c:pt>
                <c:pt idx="38447">
                  <c:v>0.68569645086498998</c:v>
                </c:pt>
                <c:pt idx="38448">
                  <c:v>0.68571428571428505</c:v>
                </c:pt>
                <c:pt idx="38449">
                  <c:v>0.68573212056358102</c:v>
                </c:pt>
                <c:pt idx="38450">
                  <c:v>0.68574995541287598</c:v>
                </c:pt>
                <c:pt idx="38451">
                  <c:v>0.68576779026217205</c:v>
                </c:pt>
                <c:pt idx="38452">
                  <c:v>0.68578562511146701</c:v>
                </c:pt>
                <c:pt idx="38453">
                  <c:v>0.68580345996076297</c:v>
                </c:pt>
                <c:pt idx="38454">
                  <c:v>0.68582129481005805</c:v>
                </c:pt>
                <c:pt idx="38455">
                  <c:v>0.68583912965935401</c:v>
                </c:pt>
                <c:pt idx="38456">
                  <c:v>0.68585696450864897</c:v>
                </c:pt>
                <c:pt idx="38457">
                  <c:v>0.68587479935794504</c:v>
                </c:pt>
                <c:pt idx="38458">
                  <c:v>0.685892634207241</c:v>
                </c:pt>
                <c:pt idx="38459">
                  <c:v>0.68591046905653597</c:v>
                </c:pt>
                <c:pt idx="38460">
                  <c:v>0.68592830390583204</c:v>
                </c:pt>
                <c:pt idx="38461">
                  <c:v>0.685946138755127</c:v>
                </c:pt>
                <c:pt idx="38462">
                  <c:v>0.68596397360442296</c:v>
                </c:pt>
                <c:pt idx="38463">
                  <c:v>0.68598180845371803</c:v>
                </c:pt>
                <c:pt idx="38464">
                  <c:v>0.685999643303014</c:v>
                </c:pt>
                <c:pt idx="38465">
                  <c:v>0.68601747815230896</c:v>
                </c:pt>
                <c:pt idx="38466">
                  <c:v>0.68603531300160503</c:v>
                </c:pt>
                <c:pt idx="38467">
                  <c:v>0.68605314785089999</c:v>
                </c:pt>
                <c:pt idx="38468">
                  <c:v>0.68607098270019595</c:v>
                </c:pt>
                <c:pt idx="38469">
                  <c:v>0.68608881754949103</c:v>
                </c:pt>
                <c:pt idx="38470">
                  <c:v>0.68610665239878699</c:v>
                </c:pt>
                <c:pt idx="38471">
                  <c:v>0.68612448724808195</c:v>
                </c:pt>
                <c:pt idx="38472">
                  <c:v>0.68614232209737802</c:v>
                </c:pt>
                <c:pt idx="38473">
                  <c:v>0.68616015694667298</c:v>
                </c:pt>
                <c:pt idx="38474">
                  <c:v>0.68617799179596894</c:v>
                </c:pt>
                <c:pt idx="38475">
                  <c:v>0.68619582664526402</c:v>
                </c:pt>
                <c:pt idx="38476">
                  <c:v>0.68621366149455998</c:v>
                </c:pt>
                <c:pt idx="38477">
                  <c:v>0.68623149634385505</c:v>
                </c:pt>
                <c:pt idx="38478">
                  <c:v>0.68624933119315101</c:v>
                </c:pt>
                <c:pt idx="38479">
                  <c:v>0.68626716604244697</c:v>
                </c:pt>
                <c:pt idx="38480">
                  <c:v>0.68628500089174205</c:v>
                </c:pt>
                <c:pt idx="38481">
                  <c:v>0.68630283574103801</c:v>
                </c:pt>
                <c:pt idx="38482">
                  <c:v>0.68632067059033297</c:v>
                </c:pt>
                <c:pt idx="38483">
                  <c:v>0.68633850543962904</c:v>
                </c:pt>
                <c:pt idx="38484">
                  <c:v>0.68635634028892401</c:v>
                </c:pt>
                <c:pt idx="38485">
                  <c:v>0.68637417513821997</c:v>
                </c:pt>
                <c:pt idx="38486">
                  <c:v>0.68639200998751504</c:v>
                </c:pt>
                <c:pt idx="38487">
                  <c:v>0.686409844836811</c:v>
                </c:pt>
                <c:pt idx="38488">
                  <c:v>0.68642767968610596</c:v>
                </c:pt>
                <c:pt idx="38489">
                  <c:v>0.68644551453540203</c:v>
                </c:pt>
                <c:pt idx="38490">
                  <c:v>0.686463349384697</c:v>
                </c:pt>
                <c:pt idx="38491">
                  <c:v>0.68648118423399296</c:v>
                </c:pt>
                <c:pt idx="38492">
                  <c:v>0.68649901908328803</c:v>
                </c:pt>
                <c:pt idx="38493">
                  <c:v>0.68651685393258399</c:v>
                </c:pt>
                <c:pt idx="38494">
                  <c:v>0.68653468878187895</c:v>
                </c:pt>
                <c:pt idx="38495">
                  <c:v>0.68655252363117503</c:v>
                </c:pt>
                <c:pt idx="38496">
                  <c:v>0.68657035848046999</c:v>
                </c:pt>
                <c:pt idx="38497">
                  <c:v>0.68658819332976595</c:v>
                </c:pt>
                <c:pt idx="38498">
                  <c:v>0.68660602817906102</c:v>
                </c:pt>
                <c:pt idx="38499">
                  <c:v>0.68662386302835698</c:v>
                </c:pt>
                <c:pt idx="38500">
                  <c:v>0.68664169787765295</c:v>
                </c:pt>
                <c:pt idx="38501">
                  <c:v>0.68665953272694802</c:v>
                </c:pt>
                <c:pt idx="38502">
                  <c:v>0.68667736757624398</c:v>
                </c:pt>
                <c:pt idx="38503">
                  <c:v>0.68669520242553905</c:v>
                </c:pt>
                <c:pt idx="38504">
                  <c:v>0.68671303727483501</c:v>
                </c:pt>
                <c:pt idx="38505">
                  <c:v>0.68673087212412998</c:v>
                </c:pt>
                <c:pt idx="38506">
                  <c:v>0.68674870697342605</c:v>
                </c:pt>
                <c:pt idx="38507">
                  <c:v>0.68676654182272101</c:v>
                </c:pt>
                <c:pt idx="38508">
                  <c:v>0.68678437667201697</c:v>
                </c:pt>
                <c:pt idx="38509">
                  <c:v>0.68680221152131204</c:v>
                </c:pt>
                <c:pt idx="38510">
                  <c:v>0.68682004637060801</c:v>
                </c:pt>
                <c:pt idx="38511">
                  <c:v>0.68683788121990297</c:v>
                </c:pt>
                <c:pt idx="38512">
                  <c:v>0.68685571606919904</c:v>
                </c:pt>
                <c:pt idx="38513">
                  <c:v>0.686873550918494</c:v>
                </c:pt>
                <c:pt idx="38514">
                  <c:v>0.68689138576778996</c:v>
                </c:pt>
                <c:pt idx="38515">
                  <c:v>0.68690922061708504</c:v>
                </c:pt>
                <c:pt idx="38516">
                  <c:v>0.686927055466381</c:v>
                </c:pt>
                <c:pt idx="38517">
                  <c:v>0.68694489031567596</c:v>
                </c:pt>
                <c:pt idx="38518">
                  <c:v>0.68696272516497203</c:v>
                </c:pt>
                <c:pt idx="38519">
                  <c:v>0.68698056001426699</c:v>
                </c:pt>
                <c:pt idx="38520">
                  <c:v>0.68699839486356296</c:v>
                </c:pt>
                <c:pt idx="38521">
                  <c:v>0.68701622971285803</c:v>
                </c:pt>
                <c:pt idx="38522">
                  <c:v>0.68703406456215399</c:v>
                </c:pt>
                <c:pt idx="38523">
                  <c:v>0.68705189941144995</c:v>
                </c:pt>
                <c:pt idx="38524">
                  <c:v>0.68706973426074502</c:v>
                </c:pt>
                <c:pt idx="38525">
                  <c:v>0.68708756911004099</c:v>
                </c:pt>
                <c:pt idx="38526">
                  <c:v>0.68710540395933595</c:v>
                </c:pt>
                <c:pt idx="38527">
                  <c:v>0.68712323880863202</c:v>
                </c:pt>
                <c:pt idx="38528">
                  <c:v>0.68714107365792698</c:v>
                </c:pt>
                <c:pt idx="38529">
                  <c:v>0.68715890850722305</c:v>
                </c:pt>
                <c:pt idx="38530">
                  <c:v>0.68717674335651802</c:v>
                </c:pt>
                <c:pt idx="38531">
                  <c:v>0.68719457820581398</c:v>
                </c:pt>
                <c:pt idx="38532">
                  <c:v>0.68721241305510905</c:v>
                </c:pt>
                <c:pt idx="38533">
                  <c:v>0.68723024790440501</c:v>
                </c:pt>
                <c:pt idx="38534">
                  <c:v>0.68724808275369997</c:v>
                </c:pt>
                <c:pt idx="38535">
                  <c:v>0.68726591760299605</c:v>
                </c:pt>
                <c:pt idx="38536">
                  <c:v>0.68728375245229101</c:v>
                </c:pt>
                <c:pt idx="38537">
                  <c:v>0.68730158730158697</c:v>
                </c:pt>
                <c:pt idx="38538">
                  <c:v>0.68731942215088204</c:v>
                </c:pt>
                <c:pt idx="38539">
                  <c:v>0.687337257000178</c:v>
                </c:pt>
                <c:pt idx="38540">
                  <c:v>0.68735509184947297</c:v>
                </c:pt>
                <c:pt idx="38541">
                  <c:v>0.68737292669876904</c:v>
                </c:pt>
                <c:pt idx="38542">
                  <c:v>0.687390761548064</c:v>
                </c:pt>
                <c:pt idx="38543">
                  <c:v>0.68740859639735996</c:v>
                </c:pt>
                <c:pt idx="38544">
                  <c:v>0.68742643124665503</c:v>
                </c:pt>
                <c:pt idx="38545">
                  <c:v>0.687444266095951</c:v>
                </c:pt>
                <c:pt idx="38546">
                  <c:v>0.68746210094524696</c:v>
                </c:pt>
                <c:pt idx="38547">
                  <c:v>0.68747993579454203</c:v>
                </c:pt>
                <c:pt idx="38548">
                  <c:v>0.68749777064383799</c:v>
                </c:pt>
                <c:pt idx="38549">
                  <c:v>0.68751560549313295</c:v>
                </c:pt>
                <c:pt idx="38550">
                  <c:v>0.68753344034242903</c:v>
                </c:pt>
                <c:pt idx="38551">
                  <c:v>0.68755127519172399</c:v>
                </c:pt>
                <c:pt idx="38552">
                  <c:v>0.68756911004101995</c:v>
                </c:pt>
                <c:pt idx="38553">
                  <c:v>0.68758694489031502</c:v>
                </c:pt>
                <c:pt idx="38554">
                  <c:v>0.68760477973961098</c:v>
                </c:pt>
                <c:pt idx="38555">
                  <c:v>0.68762261458890594</c:v>
                </c:pt>
                <c:pt idx="38556">
                  <c:v>0.68764044943820202</c:v>
                </c:pt>
                <c:pt idx="38557">
                  <c:v>0.68765828428749698</c:v>
                </c:pt>
                <c:pt idx="38558">
                  <c:v>0.68767611913679305</c:v>
                </c:pt>
                <c:pt idx="38559">
                  <c:v>0.68769395398608801</c:v>
                </c:pt>
                <c:pt idx="38560">
                  <c:v>0.68771178883538397</c:v>
                </c:pt>
                <c:pt idx="38561">
                  <c:v>0.68772962368467905</c:v>
                </c:pt>
                <c:pt idx="38562">
                  <c:v>0.68774745853397501</c:v>
                </c:pt>
                <c:pt idx="38563">
                  <c:v>0.68776529338326997</c:v>
                </c:pt>
                <c:pt idx="38564">
                  <c:v>0.68778312823256604</c:v>
                </c:pt>
                <c:pt idx="38565">
                  <c:v>0.687800963081862</c:v>
                </c:pt>
                <c:pt idx="38566">
                  <c:v>0.68781879793115697</c:v>
                </c:pt>
                <c:pt idx="38567">
                  <c:v>0.68783663278045304</c:v>
                </c:pt>
                <c:pt idx="38568">
                  <c:v>0.687854467629748</c:v>
                </c:pt>
                <c:pt idx="38569">
                  <c:v>0.68787230247904396</c:v>
                </c:pt>
                <c:pt idx="38570">
                  <c:v>0.68789013732833904</c:v>
                </c:pt>
                <c:pt idx="38571">
                  <c:v>0.687907972177635</c:v>
                </c:pt>
                <c:pt idx="38572">
                  <c:v>0.68792580702692996</c:v>
                </c:pt>
                <c:pt idx="38573">
                  <c:v>0.68794364187622603</c:v>
                </c:pt>
                <c:pt idx="38574">
                  <c:v>0.68796147672552099</c:v>
                </c:pt>
                <c:pt idx="38575">
                  <c:v>0.68797931157481695</c:v>
                </c:pt>
                <c:pt idx="38576">
                  <c:v>0.68799714642411203</c:v>
                </c:pt>
                <c:pt idx="38577">
                  <c:v>0.68801498127340799</c:v>
                </c:pt>
                <c:pt idx="38578">
                  <c:v>0.68803281612270295</c:v>
                </c:pt>
                <c:pt idx="38579">
                  <c:v>0.68805065097199902</c:v>
                </c:pt>
                <c:pt idx="38580">
                  <c:v>0.68806848582129398</c:v>
                </c:pt>
                <c:pt idx="38581">
                  <c:v>0.68808632067058995</c:v>
                </c:pt>
                <c:pt idx="38582">
                  <c:v>0.68810415551988502</c:v>
                </c:pt>
                <c:pt idx="38583">
                  <c:v>0.68812199036918098</c:v>
                </c:pt>
                <c:pt idx="38584">
                  <c:v>0.68813982521847605</c:v>
                </c:pt>
                <c:pt idx="38585">
                  <c:v>0.68815766006777201</c:v>
                </c:pt>
                <c:pt idx="38586">
                  <c:v>0.68817549491706798</c:v>
                </c:pt>
                <c:pt idx="38587">
                  <c:v>0.68819332976636305</c:v>
                </c:pt>
                <c:pt idx="38588">
                  <c:v>0.68821116461565901</c:v>
                </c:pt>
                <c:pt idx="38589">
                  <c:v>0.68822899946495397</c:v>
                </c:pt>
                <c:pt idx="38590">
                  <c:v>0.68824683431425004</c:v>
                </c:pt>
                <c:pt idx="38591">
                  <c:v>0.68826466916354501</c:v>
                </c:pt>
                <c:pt idx="38592">
                  <c:v>0.68828250401284097</c:v>
                </c:pt>
                <c:pt idx="38593">
                  <c:v>0.68830033886213604</c:v>
                </c:pt>
                <c:pt idx="38594">
                  <c:v>0.688318173711432</c:v>
                </c:pt>
                <c:pt idx="38595">
                  <c:v>0.68833600856072696</c:v>
                </c:pt>
                <c:pt idx="38596">
                  <c:v>0.68835384341002304</c:v>
                </c:pt>
                <c:pt idx="38597">
                  <c:v>0.688371678259318</c:v>
                </c:pt>
                <c:pt idx="38598">
                  <c:v>0.68838951310861396</c:v>
                </c:pt>
                <c:pt idx="38599">
                  <c:v>0.68840734795790903</c:v>
                </c:pt>
                <c:pt idx="38600">
                  <c:v>0.68842518280720499</c:v>
                </c:pt>
                <c:pt idx="38601">
                  <c:v>0.68844301765649996</c:v>
                </c:pt>
                <c:pt idx="38602">
                  <c:v>0.68846085250579603</c:v>
                </c:pt>
                <c:pt idx="38603">
                  <c:v>0.68847868735509099</c:v>
                </c:pt>
                <c:pt idx="38604">
                  <c:v>0.68849652220438695</c:v>
                </c:pt>
                <c:pt idx="38605">
                  <c:v>0.68851435705368202</c:v>
                </c:pt>
                <c:pt idx="38606">
                  <c:v>0.68853219190297799</c:v>
                </c:pt>
                <c:pt idx="38607">
                  <c:v>0.68855002675227395</c:v>
                </c:pt>
                <c:pt idx="38608">
                  <c:v>0.68856786160156902</c:v>
                </c:pt>
                <c:pt idx="38609">
                  <c:v>0.68858569645086498</c:v>
                </c:pt>
                <c:pt idx="38610">
                  <c:v>0.68860353130016005</c:v>
                </c:pt>
                <c:pt idx="38611">
                  <c:v>0.68862136614945602</c:v>
                </c:pt>
                <c:pt idx="38612">
                  <c:v>0.68863920099875098</c:v>
                </c:pt>
                <c:pt idx="38613">
                  <c:v>0.68865703584804705</c:v>
                </c:pt>
                <c:pt idx="38614">
                  <c:v>0.68867487069734201</c:v>
                </c:pt>
                <c:pt idx="38615">
                  <c:v>0.68869270554663797</c:v>
                </c:pt>
                <c:pt idx="38616">
                  <c:v>0.68871054039593305</c:v>
                </c:pt>
                <c:pt idx="38617">
                  <c:v>0.68872837524522901</c:v>
                </c:pt>
                <c:pt idx="38618">
                  <c:v>0.68874621009452397</c:v>
                </c:pt>
                <c:pt idx="38619">
                  <c:v>0.68876404494382004</c:v>
                </c:pt>
                <c:pt idx="38620">
                  <c:v>0.688781879793115</c:v>
                </c:pt>
                <c:pt idx="38621">
                  <c:v>0.68879971464241097</c:v>
                </c:pt>
                <c:pt idx="38622">
                  <c:v>0.68881754949170604</c:v>
                </c:pt>
                <c:pt idx="38623">
                  <c:v>0.688835384341002</c:v>
                </c:pt>
                <c:pt idx="38624">
                  <c:v>0.68885321919029696</c:v>
                </c:pt>
                <c:pt idx="38625">
                  <c:v>0.68887105403959303</c:v>
                </c:pt>
                <c:pt idx="38626">
                  <c:v>0.688888888888888</c:v>
                </c:pt>
                <c:pt idx="38627">
                  <c:v>0.68890672373818396</c:v>
                </c:pt>
                <c:pt idx="38628">
                  <c:v>0.68892455858747903</c:v>
                </c:pt>
                <c:pt idx="38629">
                  <c:v>0.68894239343677499</c:v>
                </c:pt>
                <c:pt idx="38630">
                  <c:v>0.68896022828607095</c:v>
                </c:pt>
                <c:pt idx="38631">
                  <c:v>0.68897806313536603</c:v>
                </c:pt>
                <c:pt idx="38632">
                  <c:v>0.68899589798466199</c:v>
                </c:pt>
                <c:pt idx="38633">
                  <c:v>0.68901373283395695</c:v>
                </c:pt>
                <c:pt idx="38634">
                  <c:v>0.68903156768325302</c:v>
                </c:pt>
                <c:pt idx="38635">
                  <c:v>0.68904940253254798</c:v>
                </c:pt>
                <c:pt idx="38636">
                  <c:v>0.68906723738184406</c:v>
                </c:pt>
                <c:pt idx="38637">
                  <c:v>0.68908507223113902</c:v>
                </c:pt>
                <c:pt idx="38638">
                  <c:v>0.68910290708043498</c:v>
                </c:pt>
                <c:pt idx="38639">
                  <c:v>0.68912074192973005</c:v>
                </c:pt>
                <c:pt idx="38640">
                  <c:v>0.68913857677902601</c:v>
                </c:pt>
                <c:pt idx="38641">
                  <c:v>0.68915641162832098</c:v>
                </c:pt>
                <c:pt idx="38642">
                  <c:v>0.68917424647761705</c:v>
                </c:pt>
                <c:pt idx="38643">
                  <c:v>0.68919208132691201</c:v>
                </c:pt>
                <c:pt idx="38644">
                  <c:v>0.68920991617620797</c:v>
                </c:pt>
                <c:pt idx="38645">
                  <c:v>0.68922775102550304</c:v>
                </c:pt>
                <c:pt idx="38646">
                  <c:v>0.689245585874799</c:v>
                </c:pt>
                <c:pt idx="38647">
                  <c:v>0.68926342072409397</c:v>
                </c:pt>
                <c:pt idx="38648">
                  <c:v>0.68928125557339004</c:v>
                </c:pt>
                <c:pt idx="38649">
                  <c:v>0.689299090422685</c:v>
                </c:pt>
                <c:pt idx="38650">
                  <c:v>0.68931692527198096</c:v>
                </c:pt>
                <c:pt idx="38651">
                  <c:v>0.68933476012127604</c:v>
                </c:pt>
                <c:pt idx="38652">
                  <c:v>0.689352594970572</c:v>
                </c:pt>
                <c:pt idx="38653">
                  <c:v>0.68937042981986796</c:v>
                </c:pt>
                <c:pt idx="38654">
                  <c:v>0.68938826466916303</c:v>
                </c:pt>
                <c:pt idx="38655">
                  <c:v>0.68940609951845899</c:v>
                </c:pt>
                <c:pt idx="38656">
                  <c:v>0.68942393436775395</c:v>
                </c:pt>
                <c:pt idx="38657">
                  <c:v>0.68944176921705003</c:v>
                </c:pt>
                <c:pt idx="38658">
                  <c:v>0.68945960406634499</c:v>
                </c:pt>
                <c:pt idx="38659">
                  <c:v>0.68947743891564095</c:v>
                </c:pt>
                <c:pt idx="38660">
                  <c:v>0.68949527376493602</c:v>
                </c:pt>
                <c:pt idx="38661">
                  <c:v>0.68951310861423198</c:v>
                </c:pt>
                <c:pt idx="38662">
                  <c:v>0.68953094346352695</c:v>
                </c:pt>
                <c:pt idx="38663">
                  <c:v>0.68954877831282302</c:v>
                </c:pt>
                <c:pt idx="38664">
                  <c:v>0.68956661316211798</c:v>
                </c:pt>
                <c:pt idx="38665">
                  <c:v>0.68958444801141405</c:v>
                </c:pt>
                <c:pt idx="38666">
                  <c:v>0.68960228286070901</c:v>
                </c:pt>
                <c:pt idx="38667">
                  <c:v>0.68962011771000498</c:v>
                </c:pt>
                <c:pt idx="38668">
                  <c:v>0.68963795255930005</c:v>
                </c:pt>
                <c:pt idx="38669">
                  <c:v>0.68965578740859601</c:v>
                </c:pt>
                <c:pt idx="38670">
                  <c:v>0.68967362225789197</c:v>
                </c:pt>
                <c:pt idx="38671">
                  <c:v>0.68969145710718704</c:v>
                </c:pt>
                <c:pt idx="38672">
                  <c:v>0.68970929195648301</c:v>
                </c:pt>
                <c:pt idx="38673">
                  <c:v>0.68972712680577797</c:v>
                </c:pt>
                <c:pt idx="38674">
                  <c:v>0.68974496165507404</c:v>
                </c:pt>
                <c:pt idx="38675">
                  <c:v>0.689762796504369</c:v>
                </c:pt>
                <c:pt idx="38676">
                  <c:v>0.68978063135366496</c:v>
                </c:pt>
                <c:pt idx="38677">
                  <c:v>0.68979846620296004</c:v>
                </c:pt>
                <c:pt idx="38678">
                  <c:v>0.689816301052256</c:v>
                </c:pt>
                <c:pt idx="38679">
                  <c:v>0.68983413590155096</c:v>
                </c:pt>
                <c:pt idx="38680">
                  <c:v>0.68985197075084703</c:v>
                </c:pt>
                <c:pt idx="38681">
                  <c:v>0.68986980560014199</c:v>
                </c:pt>
                <c:pt idx="38682">
                  <c:v>0.68988764044943796</c:v>
                </c:pt>
                <c:pt idx="38683">
                  <c:v>0.68990547529873303</c:v>
                </c:pt>
                <c:pt idx="38684">
                  <c:v>0.68992331014802899</c:v>
                </c:pt>
                <c:pt idx="38685">
                  <c:v>0.68994114499732395</c:v>
                </c:pt>
                <c:pt idx="38686">
                  <c:v>0.68995897984662002</c:v>
                </c:pt>
                <c:pt idx="38687">
                  <c:v>0.68997681469591499</c:v>
                </c:pt>
                <c:pt idx="38688">
                  <c:v>0.68999464954521095</c:v>
                </c:pt>
                <c:pt idx="38689">
                  <c:v>0.69001248439450602</c:v>
                </c:pt>
                <c:pt idx="38690">
                  <c:v>0.69003031924380198</c:v>
                </c:pt>
                <c:pt idx="38691">
                  <c:v>0.69004815409309705</c:v>
                </c:pt>
                <c:pt idx="38692">
                  <c:v>0.69006598894239302</c:v>
                </c:pt>
                <c:pt idx="38693">
                  <c:v>0.69008382379168898</c:v>
                </c:pt>
                <c:pt idx="38694">
                  <c:v>0.69010165864098405</c:v>
                </c:pt>
                <c:pt idx="38695">
                  <c:v>0.69011949349028001</c:v>
                </c:pt>
                <c:pt idx="38696">
                  <c:v>0.69013732833957497</c:v>
                </c:pt>
                <c:pt idx="38697">
                  <c:v>0.69015516318887105</c:v>
                </c:pt>
                <c:pt idx="38698">
                  <c:v>0.69017299803816601</c:v>
                </c:pt>
                <c:pt idx="38699">
                  <c:v>0.69019083288746197</c:v>
                </c:pt>
                <c:pt idx="38700">
                  <c:v>0.69020866773675704</c:v>
                </c:pt>
                <c:pt idx="38701">
                  <c:v>0.690226502586053</c:v>
                </c:pt>
                <c:pt idx="38702">
                  <c:v>0.69024433743534797</c:v>
                </c:pt>
                <c:pt idx="38703">
                  <c:v>0.69026217228464404</c:v>
                </c:pt>
                <c:pt idx="38704">
                  <c:v>0.690280007133939</c:v>
                </c:pt>
                <c:pt idx="38705">
                  <c:v>0.69029784198323496</c:v>
                </c:pt>
                <c:pt idx="38706">
                  <c:v>0.69031567683253003</c:v>
                </c:pt>
                <c:pt idx="38707">
                  <c:v>0.690333511681826</c:v>
                </c:pt>
                <c:pt idx="38708">
                  <c:v>0.69035134653112096</c:v>
                </c:pt>
                <c:pt idx="38709">
                  <c:v>0.69036918138041703</c:v>
                </c:pt>
                <c:pt idx="38710">
                  <c:v>0.69038701622971199</c:v>
                </c:pt>
                <c:pt idx="38711">
                  <c:v>0.69040485107900795</c:v>
                </c:pt>
                <c:pt idx="38712">
                  <c:v>0.69042268592830303</c:v>
                </c:pt>
                <c:pt idx="38713">
                  <c:v>0.69044052077759899</c:v>
                </c:pt>
                <c:pt idx="38714">
                  <c:v>0.69045835562689495</c:v>
                </c:pt>
                <c:pt idx="38715">
                  <c:v>0.69047619047619002</c:v>
                </c:pt>
                <c:pt idx="38716">
                  <c:v>0.69049402532548598</c:v>
                </c:pt>
                <c:pt idx="38717">
                  <c:v>0.69051186017478094</c:v>
                </c:pt>
                <c:pt idx="38718">
                  <c:v>0.69052969502407702</c:v>
                </c:pt>
                <c:pt idx="38719">
                  <c:v>0.69054752987337198</c:v>
                </c:pt>
                <c:pt idx="38720">
                  <c:v>0.69056536472266805</c:v>
                </c:pt>
                <c:pt idx="38721">
                  <c:v>0.69058319957196301</c:v>
                </c:pt>
                <c:pt idx="38722">
                  <c:v>0.69060103442125897</c:v>
                </c:pt>
                <c:pt idx="38723">
                  <c:v>0.69061886927055405</c:v>
                </c:pt>
                <c:pt idx="38724">
                  <c:v>0.69063670411985001</c:v>
                </c:pt>
                <c:pt idx="38725">
                  <c:v>0.69065453896914497</c:v>
                </c:pt>
                <c:pt idx="38726">
                  <c:v>0.69067237381844104</c:v>
                </c:pt>
                <c:pt idx="38727">
                  <c:v>0.69069020866773601</c:v>
                </c:pt>
                <c:pt idx="38728">
                  <c:v>0.69070804351703197</c:v>
                </c:pt>
                <c:pt idx="38729">
                  <c:v>0.69072587836632704</c:v>
                </c:pt>
                <c:pt idx="38730">
                  <c:v>0.690743713215623</c:v>
                </c:pt>
                <c:pt idx="38731">
                  <c:v>0.69076154806491796</c:v>
                </c:pt>
                <c:pt idx="38732">
                  <c:v>0.69077938291421404</c:v>
                </c:pt>
                <c:pt idx="38733">
                  <c:v>0.690797217763509</c:v>
                </c:pt>
                <c:pt idx="38734">
                  <c:v>0.69081505261280496</c:v>
                </c:pt>
                <c:pt idx="38735">
                  <c:v>0.69083288746210003</c:v>
                </c:pt>
                <c:pt idx="38736">
                  <c:v>0.69085072231139599</c:v>
                </c:pt>
                <c:pt idx="38737">
                  <c:v>0.69086855716069195</c:v>
                </c:pt>
                <c:pt idx="38738">
                  <c:v>0.69088639200998703</c:v>
                </c:pt>
                <c:pt idx="38739">
                  <c:v>0.69090422685928299</c:v>
                </c:pt>
                <c:pt idx="38740">
                  <c:v>0.69092206170857795</c:v>
                </c:pt>
                <c:pt idx="38741">
                  <c:v>0.69093989655787402</c:v>
                </c:pt>
                <c:pt idx="38742">
                  <c:v>0.69095773140716898</c:v>
                </c:pt>
                <c:pt idx="38743">
                  <c:v>0.69097556625646495</c:v>
                </c:pt>
                <c:pt idx="38744">
                  <c:v>0.69099340110576002</c:v>
                </c:pt>
                <c:pt idx="38745">
                  <c:v>0.69101123595505598</c:v>
                </c:pt>
                <c:pt idx="38746">
                  <c:v>0.69102907080435105</c:v>
                </c:pt>
                <c:pt idx="38747">
                  <c:v>0.69104690565364701</c:v>
                </c:pt>
                <c:pt idx="38748">
                  <c:v>0.69106474050294198</c:v>
                </c:pt>
                <c:pt idx="38749">
                  <c:v>0.69108257535223805</c:v>
                </c:pt>
                <c:pt idx="38750">
                  <c:v>0.69110041020153301</c:v>
                </c:pt>
                <c:pt idx="38751">
                  <c:v>0.69111824505082897</c:v>
                </c:pt>
                <c:pt idx="38752">
                  <c:v>0.69113607990012405</c:v>
                </c:pt>
                <c:pt idx="38753">
                  <c:v>0.69115391474942001</c:v>
                </c:pt>
                <c:pt idx="38754">
                  <c:v>0.69117174959871497</c:v>
                </c:pt>
                <c:pt idx="38755">
                  <c:v>0.69118958444801104</c:v>
                </c:pt>
                <c:pt idx="38756">
                  <c:v>0.691207419297306</c:v>
                </c:pt>
                <c:pt idx="38757">
                  <c:v>0.69122525414660196</c:v>
                </c:pt>
                <c:pt idx="38758">
                  <c:v>0.69124308899589804</c:v>
                </c:pt>
                <c:pt idx="38759">
                  <c:v>0.691260923845193</c:v>
                </c:pt>
                <c:pt idx="38760">
                  <c:v>0.69127875869448896</c:v>
                </c:pt>
                <c:pt idx="38761">
                  <c:v>0.69129659354378403</c:v>
                </c:pt>
                <c:pt idx="38762">
                  <c:v>0.69131442839307999</c:v>
                </c:pt>
                <c:pt idx="38763">
                  <c:v>0.69133226324237496</c:v>
                </c:pt>
                <c:pt idx="38764">
                  <c:v>0.69135009809167103</c:v>
                </c:pt>
                <c:pt idx="38765">
                  <c:v>0.69136793294096599</c:v>
                </c:pt>
                <c:pt idx="38766">
                  <c:v>0.69138576779026195</c:v>
                </c:pt>
                <c:pt idx="38767">
                  <c:v>0.69140360263955702</c:v>
                </c:pt>
                <c:pt idx="38768">
                  <c:v>0.69142143748885299</c:v>
                </c:pt>
                <c:pt idx="38769">
                  <c:v>0.69143927233814795</c:v>
                </c:pt>
                <c:pt idx="38770">
                  <c:v>0.69145710718744402</c:v>
                </c:pt>
                <c:pt idx="38771">
                  <c:v>0.69147494203673898</c:v>
                </c:pt>
                <c:pt idx="38772">
                  <c:v>0.69149277688603505</c:v>
                </c:pt>
                <c:pt idx="38773">
                  <c:v>0.69151061173533002</c:v>
                </c:pt>
                <c:pt idx="38774">
                  <c:v>0.69152844658462598</c:v>
                </c:pt>
                <c:pt idx="38775">
                  <c:v>0.69154628143392105</c:v>
                </c:pt>
                <c:pt idx="38776">
                  <c:v>0.69156411628321701</c:v>
                </c:pt>
                <c:pt idx="38777">
                  <c:v>0.69158195113251297</c:v>
                </c:pt>
                <c:pt idx="38778">
                  <c:v>0.69159978598180805</c:v>
                </c:pt>
                <c:pt idx="38779">
                  <c:v>0.69161762083110401</c:v>
                </c:pt>
                <c:pt idx="38780">
                  <c:v>0.69163545568039897</c:v>
                </c:pt>
                <c:pt idx="38781">
                  <c:v>0.69165329052969504</c:v>
                </c:pt>
                <c:pt idx="38782">
                  <c:v>0.69167112537899</c:v>
                </c:pt>
                <c:pt idx="38783">
                  <c:v>0.69168896022828597</c:v>
                </c:pt>
                <c:pt idx="38784">
                  <c:v>0.69170679507758104</c:v>
                </c:pt>
                <c:pt idx="38785">
                  <c:v>0.691724629926877</c:v>
                </c:pt>
                <c:pt idx="38786">
                  <c:v>0.69174246477617196</c:v>
                </c:pt>
                <c:pt idx="38787">
                  <c:v>0.69176029962546803</c:v>
                </c:pt>
                <c:pt idx="38788">
                  <c:v>0.691778134474763</c:v>
                </c:pt>
                <c:pt idx="38789">
                  <c:v>0.69179596932405896</c:v>
                </c:pt>
                <c:pt idx="38790">
                  <c:v>0.69181380417335403</c:v>
                </c:pt>
                <c:pt idx="38791">
                  <c:v>0.69183163902264999</c:v>
                </c:pt>
                <c:pt idx="38792">
                  <c:v>0.69184947387194495</c:v>
                </c:pt>
                <c:pt idx="38793">
                  <c:v>0.69186730872124103</c:v>
                </c:pt>
                <c:pt idx="38794">
                  <c:v>0.69188514357053599</c:v>
                </c:pt>
                <c:pt idx="38795">
                  <c:v>0.69190297841983195</c:v>
                </c:pt>
                <c:pt idx="38796">
                  <c:v>0.69192081326912702</c:v>
                </c:pt>
                <c:pt idx="38797">
                  <c:v>0.69193864811842298</c:v>
                </c:pt>
                <c:pt idx="38798">
                  <c:v>0.69195648296771795</c:v>
                </c:pt>
                <c:pt idx="38799">
                  <c:v>0.69197431781701402</c:v>
                </c:pt>
                <c:pt idx="38800">
                  <c:v>0.69199215266630998</c:v>
                </c:pt>
                <c:pt idx="38801">
                  <c:v>0.69200998751560505</c:v>
                </c:pt>
                <c:pt idx="38802">
                  <c:v>0.69202782236490101</c:v>
                </c:pt>
                <c:pt idx="38803">
                  <c:v>0.69204565721419598</c:v>
                </c:pt>
                <c:pt idx="38804">
                  <c:v>0.69206349206349205</c:v>
                </c:pt>
                <c:pt idx="38805">
                  <c:v>0.69208132691278701</c:v>
                </c:pt>
                <c:pt idx="38806">
                  <c:v>0.69209916176208297</c:v>
                </c:pt>
                <c:pt idx="38807">
                  <c:v>0.69211699661137804</c:v>
                </c:pt>
                <c:pt idx="38808">
                  <c:v>0.692134831460674</c:v>
                </c:pt>
                <c:pt idx="38809">
                  <c:v>0.69215266630996897</c:v>
                </c:pt>
                <c:pt idx="38810">
                  <c:v>0.69217050115926504</c:v>
                </c:pt>
                <c:pt idx="38811">
                  <c:v>0.69218833600856</c:v>
                </c:pt>
                <c:pt idx="38812">
                  <c:v>0.69220617085785596</c:v>
                </c:pt>
                <c:pt idx="38813">
                  <c:v>0.69222400570715104</c:v>
                </c:pt>
                <c:pt idx="38814">
                  <c:v>0.692241840556447</c:v>
                </c:pt>
                <c:pt idx="38815">
                  <c:v>0.69225967540574196</c:v>
                </c:pt>
                <c:pt idx="38816">
                  <c:v>0.69227751025503803</c:v>
                </c:pt>
                <c:pt idx="38817">
                  <c:v>0.69229534510433299</c:v>
                </c:pt>
                <c:pt idx="38818">
                  <c:v>0.69231317995362895</c:v>
                </c:pt>
                <c:pt idx="38819">
                  <c:v>0.69233101480292403</c:v>
                </c:pt>
                <c:pt idx="38820">
                  <c:v>0.69234884965221999</c:v>
                </c:pt>
                <c:pt idx="38821">
                  <c:v>0.69236668450151595</c:v>
                </c:pt>
                <c:pt idx="38822">
                  <c:v>0.69238451935081102</c:v>
                </c:pt>
                <c:pt idx="38823">
                  <c:v>0.69240235420010698</c:v>
                </c:pt>
                <c:pt idx="38824">
                  <c:v>0.69242018904940195</c:v>
                </c:pt>
                <c:pt idx="38825">
                  <c:v>0.69243802389869802</c:v>
                </c:pt>
                <c:pt idx="38826">
                  <c:v>0.69245585874799298</c:v>
                </c:pt>
                <c:pt idx="38827">
                  <c:v>0.69247369359728905</c:v>
                </c:pt>
                <c:pt idx="38828">
                  <c:v>0.69249152844658401</c:v>
                </c:pt>
                <c:pt idx="38829">
                  <c:v>0.69250936329587998</c:v>
                </c:pt>
                <c:pt idx="38830">
                  <c:v>0.69252719814517505</c:v>
                </c:pt>
                <c:pt idx="38831">
                  <c:v>0.69254503299447101</c:v>
                </c:pt>
                <c:pt idx="38832">
                  <c:v>0.69256286784376597</c:v>
                </c:pt>
                <c:pt idx="38833">
                  <c:v>0.69258070269306204</c:v>
                </c:pt>
                <c:pt idx="38834">
                  <c:v>0.69259853754235701</c:v>
                </c:pt>
                <c:pt idx="38835">
                  <c:v>0.69261637239165297</c:v>
                </c:pt>
                <c:pt idx="38836">
                  <c:v>0.69263420724094804</c:v>
                </c:pt>
                <c:pt idx="38837">
                  <c:v>0.692652042090244</c:v>
                </c:pt>
                <c:pt idx="38838">
                  <c:v>0.69266987693953896</c:v>
                </c:pt>
                <c:pt idx="38839">
                  <c:v>0.69268771178883504</c:v>
                </c:pt>
                <c:pt idx="38840">
                  <c:v>0.69270554663813</c:v>
                </c:pt>
                <c:pt idx="38841">
                  <c:v>0.69272338148742596</c:v>
                </c:pt>
                <c:pt idx="38842">
                  <c:v>0.69274121633672103</c:v>
                </c:pt>
                <c:pt idx="38843">
                  <c:v>0.69275905118601699</c:v>
                </c:pt>
                <c:pt idx="38844">
                  <c:v>0.69277688603531296</c:v>
                </c:pt>
                <c:pt idx="38845">
                  <c:v>0.69279472088460803</c:v>
                </c:pt>
                <c:pt idx="38846">
                  <c:v>0.69281255573390399</c:v>
                </c:pt>
                <c:pt idx="38847">
                  <c:v>0.69283039058319895</c:v>
                </c:pt>
                <c:pt idx="38848">
                  <c:v>0.69284822543249502</c:v>
                </c:pt>
                <c:pt idx="38849">
                  <c:v>0.69286606028178999</c:v>
                </c:pt>
                <c:pt idx="38850">
                  <c:v>0.69288389513108595</c:v>
                </c:pt>
                <c:pt idx="38851">
                  <c:v>0.69290172998038102</c:v>
                </c:pt>
                <c:pt idx="38852">
                  <c:v>0.69291956482967698</c:v>
                </c:pt>
                <c:pt idx="38853">
                  <c:v>0.69293739967897205</c:v>
                </c:pt>
                <c:pt idx="38854">
                  <c:v>0.69295523452826802</c:v>
                </c:pt>
                <c:pt idx="38855">
                  <c:v>0.69297306937756298</c:v>
                </c:pt>
                <c:pt idx="38856">
                  <c:v>0.69299090422685905</c:v>
                </c:pt>
                <c:pt idx="38857">
                  <c:v>0.69300873907615401</c:v>
                </c:pt>
                <c:pt idx="38858">
                  <c:v>0.69302657392544997</c:v>
                </c:pt>
                <c:pt idx="38859">
                  <c:v>0.69304440877474505</c:v>
                </c:pt>
                <c:pt idx="38860">
                  <c:v>0.69306224362404101</c:v>
                </c:pt>
                <c:pt idx="38861">
                  <c:v>0.69308007847333597</c:v>
                </c:pt>
                <c:pt idx="38862">
                  <c:v>0.69309791332263204</c:v>
                </c:pt>
                <c:pt idx="38863">
                  <c:v>0.693115748171927</c:v>
                </c:pt>
                <c:pt idx="38864">
                  <c:v>0.69313358302122297</c:v>
                </c:pt>
                <c:pt idx="38865">
                  <c:v>0.69315141787051904</c:v>
                </c:pt>
                <c:pt idx="38866">
                  <c:v>0.693169252719814</c:v>
                </c:pt>
                <c:pt idx="38867">
                  <c:v>0.69318708756910996</c:v>
                </c:pt>
                <c:pt idx="38868">
                  <c:v>0.69320492241840503</c:v>
                </c:pt>
                <c:pt idx="38869">
                  <c:v>0.693222757267701</c:v>
                </c:pt>
                <c:pt idx="38870">
                  <c:v>0.69324059211699596</c:v>
                </c:pt>
                <c:pt idx="38871">
                  <c:v>0.69325842696629203</c:v>
                </c:pt>
                <c:pt idx="38872">
                  <c:v>0.69327626181558699</c:v>
                </c:pt>
                <c:pt idx="38873">
                  <c:v>0.69329409666488295</c:v>
                </c:pt>
                <c:pt idx="38874">
                  <c:v>0.69331193151417803</c:v>
                </c:pt>
                <c:pt idx="38875">
                  <c:v>0.69332976636347399</c:v>
                </c:pt>
                <c:pt idx="38876">
                  <c:v>0.69334760121276895</c:v>
                </c:pt>
                <c:pt idx="38877">
                  <c:v>0.69336543606206502</c:v>
                </c:pt>
                <c:pt idx="38878">
                  <c:v>0.69338327091135998</c:v>
                </c:pt>
                <c:pt idx="38879">
                  <c:v>0.69340110576065594</c:v>
                </c:pt>
                <c:pt idx="38880">
                  <c:v>0.69341894060995102</c:v>
                </c:pt>
                <c:pt idx="38881">
                  <c:v>0.69343677545924698</c:v>
                </c:pt>
                <c:pt idx="38882">
                  <c:v>0.69345461030854205</c:v>
                </c:pt>
                <c:pt idx="38883">
                  <c:v>0.69347244515783801</c:v>
                </c:pt>
                <c:pt idx="38884">
                  <c:v>0.69349028000713397</c:v>
                </c:pt>
                <c:pt idx="38885">
                  <c:v>0.69350811485642905</c:v>
                </c:pt>
                <c:pt idx="38886">
                  <c:v>0.69352594970572501</c:v>
                </c:pt>
                <c:pt idx="38887">
                  <c:v>0.69354378455501997</c:v>
                </c:pt>
                <c:pt idx="38888">
                  <c:v>0.69356161940431604</c:v>
                </c:pt>
                <c:pt idx="38889">
                  <c:v>0.69357945425361101</c:v>
                </c:pt>
                <c:pt idx="38890">
                  <c:v>0.69359728910290697</c:v>
                </c:pt>
                <c:pt idx="38891">
                  <c:v>0.69361512395220204</c:v>
                </c:pt>
                <c:pt idx="38892">
                  <c:v>0.693632958801498</c:v>
                </c:pt>
                <c:pt idx="38893">
                  <c:v>0.69365079365079296</c:v>
                </c:pt>
                <c:pt idx="38894">
                  <c:v>0.69366862850008904</c:v>
                </c:pt>
                <c:pt idx="38895">
                  <c:v>0.693686463349384</c:v>
                </c:pt>
                <c:pt idx="38896">
                  <c:v>0.69370429819867996</c:v>
                </c:pt>
                <c:pt idx="38897">
                  <c:v>0.69372213304797503</c:v>
                </c:pt>
                <c:pt idx="38898">
                  <c:v>0.69373996789727099</c:v>
                </c:pt>
                <c:pt idx="38899">
                  <c:v>0.69375780274656595</c:v>
                </c:pt>
                <c:pt idx="38900">
                  <c:v>0.69377563759586203</c:v>
                </c:pt>
                <c:pt idx="38901">
                  <c:v>0.69379347244515699</c:v>
                </c:pt>
                <c:pt idx="38902">
                  <c:v>0.69381130729445295</c:v>
                </c:pt>
                <c:pt idx="38903">
                  <c:v>0.69382914214374802</c:v>
                </c:pt>
                <c:pt idx="38904">
                  <c:v>0.69384697699304398</c:v>
                </c:pt>
                <c:pt idx="38905">
                  <c:v>0.69386481184233995</c:v>
                </c:pt>
                <c:pt idx="38906">
                  <c:v>0.69388264669163502</c:v>
                </c:pt>
                <c:pt idx="38907">
                  <c:v>0.69390048154093098</c:v>
                </c:pt>
                <c:pt idx="38908">
                  <c:v>0.69391831639022605</c:v>
                </c:pt>
                <c:pt idx="38909">
                  <c:v>0.69393615123952201</c:v>
                </c:pt>
                <c:pt idx="38910">
                  <c:v>0.69395398608881698</c:v>
                </c:pt>
                <c:pt idx="38911">
                  <c:v>0.69397182093811305</c:v>
                </c:pt>
                <c:pt idx="38912">
                  <c:v>0.69398965578740801</c:v>
                </c:pt>
                <c:pt idx="38913">
                  <c:v>0.69400749063670397</c:v>
                </c:pt>
                <c:pt idx="38914">
                  <c:v>0.69402532548599905</c:v>
                </c:pt>
                <c:pt idx="38915">
                  <c:v>0.69404316033529501</c:v>
                </c:pt>
                <c:pt idx="38916">
                  <c:v>0.69406099518458997</c:v>
                </c:pt>
                <c:pt idx="38917">
                  <c:v>0.69407883003388604</c:v>
                </c:pt>
                <c:pt idx="38918">
                  <c:v>0.694096664883181</c:v>
                </c:pt>
                <c:pt idx="38919">
                  <c:v>0.69411449973247696</c:v>
                </c:pt>
                <c:pt idx="38920">
                  <c:v>0.69413233458177204</c:v>
                </c:pt>
                <c:pt idx="38921">
                  <c:v>0.694150169431068</c:v>
                </c:pt>
                <c:pt idx="38922">
                  <c:v>0.69416800428036296</c:v>
                </c:pt>
                <c:pt idx="38923">
                  <c:v>0.69418583912965903</c:v>
                </c:pt>
                <c:pt idx="38924">
                  <c:v>0.69420367397895399</c:v>
                </c:pt>
                <c:pt idx="38925">
                  <c:v>0.69422150882824996</c:v>
                </c:pt>
                <c:pt idx="38926">
                  <c:v>0.69423934367754503</c:v>
                </c:pt>
                <c:pt idx="38927">
                  <c:v>0.69425717852684099</c:v>
                </c:pt>
                <c:pt idx="38928">
                  <c:v>0.69427501337613695</c:v>
                </c:pt>
                <c:pt idx="38929">
                  <c:v>0.69429284822543202</c:v>
                </c:pt>
                <c:pt idx="38930">
                  <c:v>0.69431068307472799</c:v>
                </c:pt>
                <c:pt idx="38931">
                  <c:v>0.69432851792402295</c:v>
                </c:pt>
                <c:pt idx="38932">
                  <c:v>0.69434635277331902</c:v>
                </c:pt>
                <c:pt idx="38933">
                  <c:v>0.69436418762261398</c:v>
                </c:pt>
                <c:pt idx="38934">
                  <c:v>0.69438202247191005</c:v>
                </c:pt>
                <c:pt idx="38935">
                  <c:v>0.69439985732120502</c:v>
                </c:pt>
                <c:pt idx="38936">
                  <c:v>0.69441769217050098</c:v>
                </c:pt>
                <c:pt idx="38937">
                  <c:v>0.69443552701979605</c:v>
                </c:pt>
                <c:pt idx="38938">
                  <c:v>0.69445336186909201</c:v>
                </c:pt>
                <c:pt idx="38939">
                  <c:v>0.69447119671838697</c:v>
                </c:pt>
                <c:pt idx="38940">
                  <c:v>0.69448903156768305</c:v>
                </c:pt>
                <c:pt idx="38941">
                  <c:v>0.69450686641697801</c:v>
                </c:pt>
                <c:pt idx="38942">
                  <c:v>0.69452470126627397</c:v>
                </c:pt>
                <c:pt idx="38943">
                  <c:v>0.69454253611556904</c:v>
                </c:pt>
                <c:pt idx="38944">
                  <c:v>0.694560370964865</c:v>
                </c:pt>
                <c:pt idx="38945">
                  <c:v>0.69457820581415997</c:v>
                </c:pt>
                <c:pt idx="38946">
                  <c:v>0.69459604066345604</c:v>
                </c:pt>
                <c:pt idx="38947">
                  <c:v>0.694613875512751</c:v>
                </c:pt>
                <c:pt idx="38948">
                  <c:v>0.69463171036204696</c:v>
                </c:pt>
                <c:pt idx="38949">
                  <c:v>0.69464954521134203</c:v>
                </c:pt>
                <c:pt idx="38950">
                  <c:v>0.694667380060638</c:v>
                </c:pt>
                <c:pt idx="38951">
                  <c:v>0.69468521490993396</c:v>
                </c:pt>
                <c:pt idx="38952">
                  <c:v>0.69470304975922903</c:v>
                </c:pt>
                <c:pt idx="38953">
                  <c:v>0.69472088460852499</c:v>
                </c:pt>
                <c:pt idx="38954">
                  <c:v>0.69473871945781995</c:v>
                </c:pt>
                <c:pt idx="38955">
                  <c:v>0.69475655430711603</c:v>
                </c:pt>
                <c:pt idx="38956">
                  <c:v>0.69477438915641099</c:v>
                </c:pt>
                <c:pt idx="38957">
                  <c:v>0.69479222400570695</c:v>
                </c:pt>
                <c:pt idx="38958">
                  <c:v>0.69481005885500202</c:v>
                </c:pt>
                <c:pt idx="38959">
                  <c:v>0.69482789370429798</c:v>
                </c:pt>
                <c:pt idx="38960">
                  <c:v>0.69484572855359295</c:v>
                </c:pt>
                <c:pt idx="38961">
                  <c:v>0.69486356340288902</c:v>
                </c:pt>
                <c:pt idx="38962">
                  <c:v>0.69488139825218398</c:v>
                </c:pt>
                <c:pt idx="38963">
                  <c:v>0.69489923310148005</c:v>
                </c:pt>
                <c:pt idx="38964">
                  <c:v>0.69491706795077501</c:v>
                </c:pt>
                <c:pt idx="38965">
                  <c:v>0.69493490280007097</c:v>
                </c:pt>
                <c:pt idx="38966">
                  <c:v>0.69495273764936605</c:v>
                </c:pt>
                <c:pt idx="38967">
                  <c:v>0.69497057249866201</c:v>
                </c:pt>
                <c:pt idx="38968">
                  <c:v>0.69498840734795697</c:v>
                </c:pt>
                <c:pt idx="38969">
                  <c:v>0.69500624219725304</c:v>
                </c:pt>
                <c:pt idx="38970">
                  <c:v>0.695024077046549</c:v>
                </c:pt>
                <c:pt idx="38971">
                  <c:v>0.69504191189584397</c:v>
                </c:pt>
                <c:pt idx="38972">
                  <c:v>0.69505974674514004</c:v>
                </c:pt>
                <c:pt idx="38973">
                  <c:v>0.695077581594435</c:v>
                </c:pt>
                <c:pt idx="38974">
                  <c:v>0.69509541644373096</c:v>
                </c:pt>
                <c:pt idx="38975">
                  <c:v>0.69511325129302604</c:v>
                </c:pt>
                <c:pt idx="38976">
                  <c:v>0.695131086142322</c:v>
                </c:pt>
                <c:pt idx="38977">
                  <c:v>0.69514892099161696</c:v>
                </c:pt>
                <c:pt idx="38978">
                  <c:v>0.69516675584091303</c:v>
                </c:pt>
                <c:pt idx="38979">
                  <c:v>0.69518459069020799</c:v>
                </c:pt>
                <c:pt idx="38980">
                  <c:v>0.69520242553950395</c:v>
                </c:pt>
                <c:pt idx="38981">
                  <c:v>0.69522026038879903</c:v>
                </c:pt>
                <c:pt idx="38982">
                  <c:v>0.69523809523809499</c:v>
                </c:pt>
                <c:pt idx="38983">
                  <c:v>0.69525593008738995</c:v>
                </c:pt>
                <c:pt idx="38984">
                  <c:v>0.69527376493668602</c:v>
                </c:pt>
                <c:pt idx="38985">
                  <c:v>0.69529159978598098</c:v>
                </c:pt>
                <c:pt idx="38986">
                  <c:v>0.69530943463527695</c:v>
                </c:pt>
                <c:pt idx="38987">
                  <c:v>0.69532726948457202</c:v>
                </c:pt>
                <c:pt idx="38988">
                  <c:v>0.69534510433386798</c:v>
                </c:pt>
                <c:pt idx="38989">
                  <c:v>0.69536293918316305</c:v>
                </c:pt>
                <c:pt idx="38990">
                  <c:v>0.69538077403245901</c:v>
                </c:pt>
                <c:pt idx="38991">
                  <c:v>0.69539860888175498</c:v>
                </c:pt>
                <c:pt idx="38992">
                  <c:v>0.69541644373105005</c:v>
                </c:pt>
                <c:pt idx="38993">
                  <c:v>0.69543427858034601</c:v>
                </c:pt>
                <c:pt idx="38994">
                  <c:v>0.69545211342964097</c:v>
                </c:pt>
                <c:pt idx="38995">
                  <c:v>0.69546994827893704</c:v>
                </c:pt>
                <c:pt idx="38996">
                  <c:v>0.69548778312823201</c:v>
                </c:pt>
                <c:pt idx="38997">
                  <c:v>0.69550561797752797</c:v>
                </c:pt>
                <c:pt idx="38998">
                  <c:v>0.69552345282682304</c:v>
                </c:pt>
                <c:pt idx="38999">
                  <c:v>0.695541287676119</c:v>
                </c:pt>
                <c:pt idx="39000">
                  <c:v>0.69555912252541396</c:v>
                </c:pt>
                <c:pt idx="39001">
                  <c:v>0.69557695737471004</c:v>
                </c:pt>
                <c:pt idx="39002">
                  <c:v>0.695594792224005</c:v>
                </c:pt>
                <c:pt idx="39003">
                  <c:v>0.69561262707330096</c:v>
                </c:pt>
                <c:pt idx="39004">
                  <c:v>0.69563046192259603</c:v>
                </c:pt>
                <c:pt idx="39005">
                  <c:v>0.69564829677189199</c:v>
                </c:pt>
                <c:pt idx="39006">
                  <c:v>0.69566613162118696</c:v>
                </c:pt>
                <c:pt idx="39007">
                  <c:v>0.69568396647048303</c:v>
                </c:pt>
                <c:pt idx="39008">
                  <c:v>0.69570180131977799</c:v>
                </c:pt>
                <c:pt idx="39009">
                  <c:v>0.69571963616907395</c:v>
                </c:pt>
                <c:pt idx="39010">
                  <c:v>0.69573747101836902</c:v>
                </c:pt>
                <c:pt idx="39011">
                  <c:v>0.69575530586766499</c:v>
                </c:pt>
                <c:pt idx="39012">
                  <c:v>0.69577314071696095</c:v>
                </c:pt>
                <c:pt idx="39013">
                  <c:v>0.69579097556625602</c:v>
                </c:pt>
                <c:pt idx="39014">
                  <c:v>0.69580881041555198</c:v>
                </c:pt>
                <c:pt idx="39015">
                  <c:v>0.69582664526484705</c:v>
                </c:pt>
                <c:pt idx="39016">
                  <c:v>0.69584448011414302</c:v>
                </c:pt>
                <c:pt idx="39017">
                  <c:v>0.69586231496343798</c:v>
                </c:pt>
                <c:pt idx="39018">
                  <c:v>0.69588014981273405</c:v>
                </c:pt>
                <c:pt idx="39019">
                  <c:v>0.69589798466202901</c:v>
                </c:pt>
                <c:pt idx="39020">
                  <c:v>0.69591581951132497</c:v>
                </c:pt>
                <c:pt idx="39021">
                  <c:v>0.69593365436062005</c:v>
                </c:pt>
                <c:pt idx="39022">
                  <c:v>0.69595148920991601</c:v>
                </c:pt>
                <c:pt idx="39023">
                  <c:v>0.69596932405921097</c:v>
                </c:pt>
                <c:pt idx="39024">
                  <c:v>0.69598715890850704</c:v>
                </c:pt>
                <c:pt idx="39025">
                  <c:v>0.696004993757802</c:v>
                </c:pt>
                <c:pt idx="39026">
                  <c:v>0.69602282860709797</c:v>
                </c:pt>
                <c:pt idx="39027">
                  <c:v>0.69604066345639304</c:v>
                </c:pt>
                <c:pt idx="39028">
                  <c:v>0.696058498305689</c:v>
                </c:pt>
                <c:pt idx="39029">
                  <c:v>0.69607633315498396</c:v>
                </c:pt>
                <c:pt idx="39030">
                  <c:v>0.69609416800428003</c:v>
                </c:pt>
                <c:pt idx="39031">
                  <c:v>0.696112002853575</c:v>
                </c:pt>
                <c:pt idx="39032">
                  <c:v>0.69612983770287096</c:v>
                </c:pt>
                <c:pt idx="39033">
                  <c:v>0.69614767255216603</c:v>
                </c:pt>
                <c:pt idx="39034">
                  <c:v>0.69616550740146199</c:v>
                </c:pt>
                <c:pt idx="39035">
                  <c:v>0.69618334225075795</c:v>
                </c:pt>
                <c:pt idx="39036">
                  <c:v>0.69620117710005303</c:v>
                </c:pt>
                <c:pt idx="39037">
                  <c:v>0.69621901194934899</c:v>
                </c:pt>
                <c:pt idx="39038">
                  <c:v>0.69623684679864395</c:v>
                </c:pt>
                <c:pt idx="39039">
                  <c:v>0.69625468164794002</c:v>
                </c:pt>
                <c:pt idx="39040">
                  <c:v>0.69627251649723498</c:v>
                </c:pt>
                <c:pt idx="39041">
                  <c:v>0.69629035134653094</c:v>
                </c:pt>
                <c:pt idx="39042">
                  <c:v>0.69630818619582602</c:v>
                </c:pt>
                <c:pt idx="39043">
                  <c:v>0.69632602104512198</c:v>
                </c:pt>
                <c:pt idx="39044">
                  <c:v>0.69634385589441705</c:v>
                </c:pt>
                <c:pt idx="39045">
                  <c:v>0.69636169074371301</c:v>
                </c:pt>
                <c:pt idx="39046">
                  <c:v>0.69637952559300798</c:v>
                </c:pt>
                <c:pt idx="39047">
                  <c:v>0.69639736044230405</c:v>
                </c:pt>
                <c:pt idx="39048">
                  <c:v>0.69641519529159901</c:v>
                </c:pt>
                <c:pt idx="39049">
                  <c:v>0.69643303014089497</c:v>
                </c:pt>
                <c:pt idx="39050">
                  <c:v>0.69645086499019004</c:v>
                </c:pt>
                <c:pt idx="39051">
                  <c:v>0.69646869983948601</c:v>
                </c:pt>
                <c:pt idx="39052">
                  <c:v>0.69648653468878097</c:v>
                </c:pt>
                <c:pt idx="39053">
                  <c:v>0.69650436953807704</c:v>
                </c:pt>
                <c:pt idx="39054">
                  <c:v>0.696522204387372</c:v>
                </c:pt>
                <c:pt idx="39055">
                  <c:v>0.69654003923666796</c:v>
                </c:pt>
                <c:pt idx="39056">
                  <c:v>0.69655787408596304</c:v>
                </c:pt>
                <c:pt idx="39057">
                  <c:v>0.696575708935259</c:v>
                </c:pt>
                <c:pt idx="39058">
                  <c:v>0.69659354378455496</c:v>
                </c:pt>
                <c:pt idx="39059">
                  <c:v>0.69661137863385003</c:v>
                </c:pt>
                <c:pt idx="39060">
                  <c:v>0.69662921348314599</c:v>
                </c:pt>
                <c:pt idx="39061">
                  <c:v>0.69664704833244095</c:v>
                </c:pt>
                <c:pt idx="39062">
                  <c:v>0.69666488318173703</c:v>
                </c:pt>
                <c:pt idx="39063">
                  <c:v>0.69668271803103199</c:v>
                </c:pt>
                <c:pt idx="39064">
                  <c:v>0.69670055288032795</c:v>
                </c:pt>
                <c:pt idx="39065">
                  <c:v>0.69671838772962302</c:v>
                </c:pt>
                <c:pt idx="39066">
                  <c:v>0.69673622257891898</c:v>
                </c:pt>
                <c:pt idx="39067">
                  <c:v>0.69675405742821395</c:v>
                </c:pt>
                <c:pt idx="39068">
                  <c:v>0.69677189227751002</c:v>
                </c:pt>
                <c:pt idx="39069">
                  <c:v>0.69678972712680498</c:v>
                </c:pt>
                <c:pt idx="39070">
                  <c:v>0.69680756197610105</c:v>
                </c:pt>
                <c:pt idx="39071">
                  <c:v>0.69682539682539602</c:v>
                </c:pt>
                <c:pt idx="39072">
                  <c:v>0.69684323167469198</c:v>
                </c:pt>
                <c:pt idx="39073">
                  <c:v>0.69686106652398705</c:v>
                </c:pt>
                <c:pt idx="39074">
                  <c:v>0.69687890137328301</c:v>
                </c:pt>
                <c:pt idx="39075">
                  <c:v>0.69689673622257897</c:v>
                </c:pt>
                <c:pt idx="39076">
                  <c:v>0.69691457107187404</c:v>
                </c:pt>
                <c:pt idx="39077">
                  <c:v>0.69693240592117001</c:v>
                </c:pt>
                <c:pt idx="39078">
                  <c:v>0.69695024077046497</c:v>
                </c:pt>
                <c:pt idx="39079">
                  <c:v>0.69696807561976104</c:v>
                </c:pt>
                <c:pt idx="39080">
                  <c:v>0.696985910469056</c:v>
                </c:pt>
                <c:pt idx="39081">
                  <c:v>0.69700374531835196</c:v>
                </c:pt>
                <c:pt idx="39082">
                  <c:v>0.69702158016764704</c:v>
                </c:pt>
                <c:pt idx="39083">
                  <c:v>0.697039415016943</c:v>
                </c:pt>
                <c:pt idx="39084">
                  <c:v>0.69705724986623796</c:v>
                </c:pt>
                <c:pt idx="39085">
                  <c:v>0.69707508471553403</c:v>
                </c:pt>
                <c:pt idx="39086">
                  <c:v>0.69709291956482899</c:v>
                </c:pt>
                <c:pt idx="39087">
                  <c:v>0.69711075441412496</c:v>
                </c:pt>
                <c:pt idx="39088">
                  <c:v>0.69712858926342003</c:v>
                </c:pt>
                <c:pt idx="39089">
                  <c:v>0.69714642411271599</c:v>
                </c:pt>
                <c:pt idx="39090">
                  <c:v>0.69716425896201095</c:v>
                </c:pt>
                <c:pt idx="39091">
                  <c:v>0.69718209381130702</c:v>
                </c:pt>
                <c:pt idx="39092">
                  <c:v>0.69719992866060199</c:v>
                </c:pt>
                <c:pt idx="39093">
                  <c:v>0.69721776350989795</c:v>
                </c:pt>
                <c:pt idx="39094">
                  <c:v>0.69723559835919302</c:v>
                </c:pt>
                <c:pt idx="39095">
                  <c:v>0.69725343320848898</c:v>
                </c:pt>
                <c:pt idx="39096">
                  <c:v>0.69727126805778405</c:v>
                </c:pt>
                <c:pt idx="39097">
                  <c:v>0.69728910290708002</c:v>
                </c:pt>
                <c:pt idx="39098">
                  <c:v>0.69730693775637598</c:v>
                </c:pt>
                <c:pt idx="39099">
                  <c:v>0.69732477260567105</c:v>
                </c:pt>
                <c:pt idx="39100">
                  <c:v>0.69734260745496701</c:v>
                </c:pt>
                <c:pt idx="39101">
                  <c:v>0.69736044230426197</c:v>
                </c:pt>
                <c:pt idx="39102">
                  <c:v>0.69737827715355805</c:v>
                </c:pt>
                <c:pt idx="39103">
                  <c:v>0.69739611200285301</c:v>
                </c:pt>
                <c:pt idx="39104">
                  <c:v>0.69741394685214897</c:v>
                </c:pt>
                <c:pt idx="39105">
                  <c:v>0.69743178170144404</c:v>
                </c:pt>
                <c:pt idx="39106">
                  <c:v>0.69744961655074</c:v>
                </c:pt>
                <c:pt idx="39107">
                  <c:v>0.69746745140003497</c:v>
                </c:pt>
                <c:pt idx="39108">
                  <c:v>0.69748528624933104</c:v>
                </c:pt>
                <c:pt idx="39109">
                  <c:v>0.697503121098626</c:v>
                </c:pt>
                <c:pt idx="39110">
                  <c:v>0.69752095594792196</c:v>
                </c:pt>
                <c:pt idx="39111">
                  <c:v>0.69753879079721703</c:v>
                </c:pt>
                <c:pt idx="39112">
                  <c:v>0.697556625646513</c:v>
                </c:pt>
                <c:pt idx="39113">
                  <c:v>0.69757446049580796</c:v>
                </c:pt>
                <c:pt idx="39114">
                  <c:v>0.69759229534510403</c:v>
                </c:pt>
                <c:pt idx="39115">
                  <c:v>0.69761013019439899</c:v>
                </c:pt>
                <c:pt idx="39116">
                  <c:v>0.69762796504369495</c:v>
                </c:pt>
                <c:pt idx="39117">
                  <c:v>0.69764579989299003</c:v>
                </c:pt>
                <c:pt idx="39118">
                  <c:v>0.69766363474228599</c:v>
                </c:pt>
                <c:pt idx="39119">
                  <c:v>0.69768146959158195</c:v>
                </c:pt>
                <c:pt idx="39120">
                  <c:v>0.69769930444087702</c:v>
                </c:pt>
                <c:pt idx="39121">
                  <c:v>0.69771713929017298</c:v>
                </c:pt>
                <c:pt idx="39122">
                  <c:v>0.69773497413946794</c:v>
                </c:pt>
                <c:pt idx="39123">
                  <c:v>0.69775280898876402</c:v>
                </c:pt>
                <c:pt idx="39124">
                  <c:v>0.69777064383805898</c:v>
                </c:pt>
                <c:pt idx="39125">
                  <c:v>0.69778847868735505</c:v>
                </c:pt>
                <c:pt idx="39126">
                  <c:v>0.69780631353665001</c:v>
                </c:pt>
                <c:pt idx="39127">
                  <c:v>0.69782414838594597</c:v>
                </c:pt>
                <c:pt idx="39128">
                  <c:v>0.69784198323524105</c:v>
                </c:pt>
                <c:pt idx="39129">
                  <c:v>0.69785981808453701</c:v>
                </c:pt>
                <c:pt idx="39130">
                  <c:v>0.69787765293383197</c:v>
                </c:pt>
                <c:pt idx="39131">
                  <c:v>0.69789548778312804</c:v>
                </c:pt>
                <c:pt idx="39132">
                  <c:v>0.69791332263242301</c:v>
                </c:pt>
                <c:pt idx="39133">
                  <c:v>0.69793115748171897</c:v>
                </c:pt>
                <c:pt idx="39134">
                  <c:v>0.69794899233101404</c:v>
                </c:pt>
                <c:pt idx="39135">
                  <c:v>0.69796682718031</c:v>
                </c:pt>
                <c:pt idx="39136">
                  <c:v>0.69798466202960496</c:v>
                </c:pt>
                <c:pt idx="39137">
                  <c:v>0.69800249687890104</c:v>
                </c:pt>
                <c:pt idx="39138">
                  <c:v>0.698020331728196</c:v>
                </c:pt>
                <c:pt idx="39139">
                  <c:v>0.69803816657749196</c:v>
                </c:pt>
                <c:pt idx="39140">
                  <c:v>0.69805600142678703</c:v>
                </c:pt>
                <c:pt idx="39141">
                  <c:v>0.69807383627608299</c:v>
                </c:pt>
                <c:pt idx="39142">
                  <c:v>0.69809167112537895</c:v>
                </c:pt>
                <c:pt idx="39143">
                  <c:v>0.69810950597467403</c:v>
                </c:pt>
                <c:pt idx="39144">
                  <c:v>0.69812734082396999</c:v>
                </c:pt>
                <c:pt idx="39145">
                  <c:v>0.69814517567326495</c:v>
                </c:pt>
                <c:pt idx="39146">
                  <c:v>0.69816301052256102</c:v>
                </c:pt>
                <c:pt idx="39147">
                  <c:v>0.69818084537185598</c:v>
                </c:pt>
                <c:pt idx="39148">
                  <c:v>0.69819868022115195</c:v>
                </c:pt>
                <c:pt idx="39149">
                  <c:v>0.69821651507044702</c:v>
                </c:pt>
                <c:pt idx="39150">
                  <c:v>0.69823434991974298</c:v>
                </c:pt>
                <c:pt idx="39151">
                  <c:v>0.69825218476903805</c:v>
                </c:pt>
                <c:pt idx="39152">
                  <c:v>0.69827001961833401</c:v>
                </c:pt>
                <c:pt idx="39153">
                  <c:v>0.69828785446762898</c:v>
                </c:pt>
                <c:pt idx="39154">
                  <c:v>0.69830568931692505</c:v>
                </c:pt>
                <c:pt idx="39155">
                  <c:v>0.69832352416622001</c:v>
                </c:pt>
                <c:pt idx="39156">
                  <c:v>0.69834135901551597</c:v>
                </c:pt>
                <c:pt idx="39157">
                  <c:v>0.69835919386481105</c:v>
                </c:pt>
                <c:pt idx="39158">
                  <c:v>0.69837702871410701</c:v>
                </c:pt>
                <c:pt idx="39159">
                  <c:v>0.69839486356340197</c:v>
                </c:pt>
                <c:pt idx="39160">
                  <c:v>0.69841269841269804</c:v>
                </c:pt>
                <c:pt idx="39161">
                  <c:v>0.698430533261993</c:v>
                </c:pt>
                <c:pt idx="39162">
                  <c:v>0.69844836811128896</c:v>
                </c:pt>
                <c:pt idx="39163">
                  <c:v>0.69846620296058504</c:v>
                </c:pt>
                <c:pt idx="39164">
                  <c:v>0.69848403780988</c:v>
                </c:pt>
                <c:pt idx="39165">
                  <c:v>0.69850187265917596</c:v>
                </c:pt>
                <c:pt idx="39166">
                  <c:v>0.69851970750847103</c:v>
                </c:pt>
                <c:pt idx="39167">
                  <c:v>0.69853754235776699</c:v>
                </c:pt>
                <c:pt idx="39168">
                  <c:v>0.69855537720706196</c:v>
                </c:pt>
                <c:pt idx="39169">
                  <c:v>0.69857321205635803</c:v>
                </c:pt>
                <c:pt idx="39170">
                  <c:v>0.69859104690565299</c:v>
                </c:pt>
                <c:pt idx="39171">
                  <c:v>0.69860888175494895</c:v>
                </c:pt>
                <c:pt idx="39172">
                  <c:v>0.69862671660424402</c:v>
                </c:pt>
                <c:pt idx="39173">
                  <c:v>0.69864455145353999</c:v>
                </c:pt>
                <c:pt idx="39174">
                  <c:v>0.69866238630283495</c:v>
                </c:pt>
                <c:pt idx="39175">
                  <c:v>0.69868022115213102</c:v>
                </c:pt>
                <c:pt idx="39176">
                  <c:v>0.69869805600142598</c:v>
                </c:pt>
                <c:pt idx="39177">
                  <c:v>0.69871589085072205</c:v>
                </c:pt>
                <c:pt idx="39178">
                  <c:v>0.69873372570001702</c:v>
                </c:pt>
                <c:pt idx="39179">
                  <c:v>0.69875156054931298</c:v>
                </c:pt>
                <c:pt idx="39180">
                  <c:v>0.69876939539860805</c:v>
                </c:pt>
                <c:pt idx="39181">
                  <c:v>0.69878723024790401</c:v>
                </c:pt>
                <c:pt idx="39182">
                  <c:v>0.69880506509719997</c:v>
                </c:pt>
                <c:pt idx="39183">
                  <c:v>0.69882289994649505</c:v>
                </c:pt>
                <c:pt idx="39184">
                  <c:v>0.69884073479579101</c:v>
                </c:pt>
                <c:pt idx="39185">
                  <c:v>0.69885856964508597</c:v>
                </c:pt>
                <c:pt idx="39186">
                  <c:v>0.69887640449438204</c:v>
                </c:pt>
                <c:pt idx="39187">
                  <c:v>0.698894239343677</c:v>
                </c:pt>
                <c:pt idx="39188">
                  <c:v>0.69891207419297297</c:v>
                </c:pt>
                <c:pt idx="39189">
                  <c:v>0.69892990904226804</c:v>
                </c:pt>
                <c:pt idx="39190">
                  <c:v>0.698947743891564</c:v>
                </c:pt>
                <c:pt idx="39191">
                  <c:v>0.69896557874085896</c:v>
                </c:pt>
                <c:pt idx="39192">
                  <c:v>0.69898341359015503</c:v>
                </c:pt>
                <c:pt idx="39193">
                  <c:v>0.69900124843945</c:v>
                </c:pt>
                <c:pt idx="39194">
                  <c:v>0.69901908328874596</c:v>
                </c:pt>
                <c:pt idx="39195">
                  <c:v>0.69903691813804103</c:v>
                </c:pt>
                <c:pt idx="39196">
                  <c:v>0.69905475298733699</c:v>
                </c:pt>
                <c:pt idx="39197">
                  <c:v>0.69907258783663195</c:v>
                </c:pt>
                <c:pt idx="39198">
                  <c:v>0.69909042268592803</c:v>
                </c:pt>
                <c:pt idx="39199">
                  <c:v>0.69910825753522299</c:v>
                </c:pt>
                <c:pt idx="39200">
                  <c:v>0.69912609238451895</c:v>
                </c:pt>
                <c:pt idx="39201">
                  <c:v>0.69914392723381402</c:v>
                </c:pt>
                <c:pt idx="39202">
                  <c:v>0.69916176208310998</c:v>
                </c:pt>
                <c:pt idx="39203">
                  <c:v>0.69917959693240594</c:v>
                </c:pt>
                <c:pt idx="39204">
                  <c:v>0.69919743178170102</c:v>
                </c:pt>
                <c:pt idx="39205">
                  <c:v>0.69921526663099698</c:v>
                </c:pt>
                <c:pt idx="39206">
                  <c:v>0.69923310148029205</c:v>
                </c:pt>
                <c:pt idx="39207">
                  <c:v>0.69925093632958801</c:v>
                </c:pt>
                <c:pt idx="39208">
                  <c:v>0.69926877117888298</c:v>
                </c:pt>
                <c:pt idx="39209">
                  <c:v>0.69928660602817905</c:v>
                </c:pt>
                <c:pt idx="39210">
                  <c:v>0.69930444087747401</c:v>
                </c:pt>
                <c:pt idx="39211">
                  <c:v>0.69932227572676997</c:v>
                </c:pt>
                <c:pt idx="39212">
                  <c:v>0.69934011057606504</c:v>
                </c:pt>
                <c:pt idx="39213">
                  <c:v>0.69935794542536101</c:v>
                </c:pt>
                <c:pt idx="39214">
                  <c:v>0.69937578027465597</c:v>
                </c:pt>
                <c:pt idx="39215">
                  <c:v>0.69939361512395204</c:v>
                </c:pt>
                <c:pt idx="39216">
                  <c:v>0.699411449973247</c:v>
                </c:pt>
                <c:pt idx="39217">
                  <c:v>0.69942928482254296</c:v>
                </c:pt>
                <c:pt idx="39218">
                  <c:v>0.69944711967183804</c:v>
                </c:pt>
                <c:pt idx="39219">
                  <c:v>0.699464954521134</c:v>
                </c:pt>
                <c:pt idx="39220">
                  <c:v>0.69948278937042896</c:v>
                </c:pt>
                <c:pt idx="39221">
                  <c:v>0.69950062421972503</c:v>
                </c:pt>
                <c:pt idx="39222">
                  <c:v>0.69951845906901999</c:v>
                </c:pt>
                <c:pt idx="39223">
                  <c:v>0.69953629391831595</c:v>
                </c:pt>
                <c:pt idx="39224">
                  <c:v>0.69955412876761103</c:v>
                </c:pt>
                <c:pt idx="39225">
                  <c:v>0.69957196361690699</c:v>
                </c:pt>
                <c:pt idx="39226">
                  <c:v>0.69958979846620295</c:v>
                </c:pt>
                <c:pt idx="39227">
                  <c:v>0.69960763331549802</c:v>
                </c:pt>
                <c:pt idx="39228">
                  <c:v>0.69962546816479398</c:v>
                </c:pt>
                <c:pt idx="39229">
                  <c:v>0.69964330301408895</c:v>
                </c:pt>
                <c:pt idx="39230">
                  <c:v>0.69966113786338502</c:v>
                </c:pt>
                <c:pt idx="39231">
                  <c:v>0.69967897271267998</c:v>
                </c:pt>
                <c:pt idx="39232">
                  <c:v>0.69969680756197605</c:v>
                </c:pt>
                <c:pt idx="39233">
                  <c:v>0.69971464241127102</c:v>
                </c:pt>
                <c:pt idx="39234">
                  <c:v>0.69973247726056698</c:v>
                </c:pt>
                <c:pt idx="39235">
                  <c:v>0.69975031210986205</c:v>
                </c:pt>
                <c:pt idx="39236">
                  <c:v>0.69976814695915801</c:v>
                </c:pt>
                <c:pt idx="39237">
                  <c:v>0.69978598180845297</c:v>
                </c:pt>
                <c:pt idx="39238">
                  <c:v>0.69980381665774904</c:v>
                </c:pt>
                <c:pt idx="39239">
                  <c:v>0.69982165150704401</c:v>
                </c:pt>
                <c:pt idx="39240">
                  <c:v>0.69983948635633997</c:v>
                </c:pt>
                <c:pt idx="39241">
                  <c:v>0.69985732120563504</c:v>
                </c:pt>
                <c:pt idx="39242">
                  <c:v>0.699875156054931</c:v>
                </c:pt>
                <c:pt idx="39243">
                  <c:v>0.69989299090422596</c:v>
                </c:pt>
                <c:pt idx="39244">
                  <c:v>0.69991082575352204</c:v>
                </c:pt>
                <c:pt idx="39245">
                  <c:v>0.699928660602817</c:v>
                </c:pt>
                <c:pt idx="39246">
                  <c:v>0.69994649545211296</c:v>
                </c:pt>
                <c:pt idx="39247">
                  <c:v>0.69996433030140803</c:v>
                </c:pt>
                <c:pt idx="39248">
                  <c:v>0.69998216515070399</c:v>
                </c:pt>
                <c:pt idx="39249">
                  <c:v>0.7</c:v>
                </c:pt>
                <c:pt idx="39250">
                  <c:v>0.70001783484929503</c:v>
                </c:pt>
                <c:pt idx="39251">
                  <c:v>0.70003566969859099</c:v>
                </c:pt>
                <c:pt idx="39252">
                  <c:v>0.70005350454788595</c:v>
                </c:pt>
                <c:pt idx="39253">
                  <c:v>0.70007133939718202</c:v>
                </c:pt>
                <c:pt idx="39254">
                  <c:v>0.70008917424647699</c:v>
                </c:pt>
                <c:pt idx="39255">
                  <c:v>0.70010700909577295</c:v>
                </c:pt>
                <c:pt idx="39256">
                  <c:v>0.70012484394506802</c:v>
                </c:pt>
                <c:pt idx="39257">
                  <c:v>0.70014267879436398</c:v>
                </c:pt>
                <c:pt idx="39258">
                  <c:v>0.70016051364365905</c:v>
                </c:pt>
                <c:pt idx="39259">
                  <c:v>0.70017834849295502</c:v>
                </c:pt>
                <c:pt idx="39260">
                  <c:v>0.70019618334224998</c:v>
                </c:pt>
                <c:pt idx="39261">
                  <c:v>0.70021401819154605</c:v>
                </c:pt>
                <c:pt idx="39262">
                  <c:v>0.70023185304084101</c:v>
                </c:pt>
                <c:pt idx="39263">
                  <c:v>0.70024968789013697</c:v>
                </c:pt>
                <c:pt idx="39264">
                  <c:v>0.70026752273943205</c:v>
                </c:pt>
                <c:pt idx="39265">
                  <c:v>0.70028535758872801</c:v>
                </c:pt>
                <c:pt idx="39266">
                  <c:v>0.70030319243802297</c:v>
                </c:pt>
                <c:pt idx="39267">
                  <c:v>0.70032102728731904</c:v>
                </c:pt>
                <c:pt idx="39268">
                  <c:v>0.700338862136614</c:v>
                </c:pt>
                <c:pt idx="39269">
                  <c:v>0.70035669698590997</c:v>
                </c:pt>
                <c:pt idx="39270">
                  <c:v>0.70037453183520604</c:v>
                </c:pt>
                <c:pt idx="39271">
                  <c:v>0.700392366684501</c:v>
                </c:pt>
                <c:pt idx="39272">
                  <c:v>0.70041020153379696</c:v>
                </c:pt>
                <c:pt idx="39273">
                  <c:v>0.70042803638309203</c:v>
                </c:pt>
                <c:pt idx="39274">
                  <c:v>0.700445871232388</c:v>
                </c:pt>
                <c:pt idx="39275">
                  <c:v>0.70046370608168296</c:v>
                </c:pt>
                <c:pt idx="39276">
                  <c:v>0.70048154093097903</c:v>
                </c:pt>
                <c:pt idx="39277">
                  <c:v>0.70049937578027399</c:v>
                </c:pt>
                <c:pt idx="39278">
                  <c:v>0.70051721062956995</c:v>
                </c:pt>
                <c:pt idx="39279">
                  <c:v>0.70053504547886503</c:v>
                </c:pt>
                <c:pt idx="39280">
                  <c:v>0.70055288032816099</c:v>
                </c:pt>
                <c:pt idx="39281">
                  <c:v>0.70057071517745595</c:v>
                </c:pt>
                <c:pt idx="39282">
                  <c:v>0.70058855002675202</c:v>
                </c:pt>
                <c:pt idx="39283">
                  <c:v>0.70060638487604698</c:v>
                </c:pt>
                <c:pt idx="39284">
                  <c:v>0.70062421972534294</c:v>
                </c:pt>
                <c:pt idx="39285">
                  <c:v>0.70064205457463802</c:v>
                </c:pt>
                <c:pt idx="39286">
                  <c:v>0.70065988942393398</c:v>
                </c:pt>
                <c:pt idx="39287">
                  <c:v>0.70067772427322905</c:v>
                </c:pt>
                <c:pt idx="39288">
                  <c:v>0.70069555912252501</c:v>
                </c:pt>
                <c:pt idx="39289">
                  <c:v>0.70071339397182097</c:v>
                </c:pt>
                <c:pt idx="39290">
                  <c:v>0.70073122882111605</c:v>
                </c:pt>
                <c:pt idx="39291">
                  <c:v>0.70074906367041201</c:v>
                </c:pt>
                <c:pt idx="39292">
                  <c:v>0.70076689851970697</c:v>
                </c:pt>
                <c:pt idx="39293">
                  <c:v>0.70078473336900304</c:v>
                </c:pt>
                <c:pt idx="39294">
                  <c:v>0.70080256821829801</c:v>
                </c:pt>
                <c:pt idx="39295">
                  <c:v>0.70082040306759397</c:v>
                </c:pt>
                <c:pt idx="39296">
                  <c:v>0.70083823791688904</c:v>
                </c:pt>
                <c:pt idx="39297">
                  <c:v>0.700856072766185</c:v>
                </c:pt>
                <c:pt idx="39298">
                  <c:v>0.70087390761547996</c:v>
                </c:pt>
                <c:pt idx="39299">
                  <c:v>0.70089174246477604</c:v>
                </c:pt>
                <c:pt idx="39300">
                  <c:v>0.700909577314071</c:v>
                </c:pt>
                <c:pt idx="39301">
                  <c:v>0.70092741216336696</c:v>
                </c:pt>
                <c:pt idx="39302">
                  <c:v>0.70094524701266203</c:v>
                </c:pt>
                <c:pt idx="39303">
                  <c:v>0.70096308186195799</c:v>
                </c:pt>
                <c:pt idx="39304">
                  <c:v>0.70098091671125295</c:v>
                </c:pt>
                <c:pt idx="39305">
                  <c:v>0.70099875156054903</c:v>
                </c:pt>
                <c:pt idx="39306">
                  <c:v>0.70101658640984399</c:v>
                </c:pt>
                <c:pt idx="39307">
                  <c:v>0.70103442125913995</c:v>
                </c:pt>
                <c:pt idx="39308">
                  <c:v>0.70105225610843502</c:v>
                </c:pt>
                <c:pt idx="39309">
                  <c:v>0.70107009095773098</c:v>
                </c:pt>
                <c:pt idx="39310">
                  <c:v>0.70108792580702695</c:v>
                </c:pt>
                <c:pt idx="39311">
                  <c:v>0.70110576065632202</c:v>
                </c:pt>
                <c:pt idx="39312">
                  <c:v>0.70112359550561798</c:v>
                </c:pt>
                <c:pt idx="39313">
                  <c:v>0.70114143035491305</c:v>
                </c:pt>
                <c:pt idx="39314">
                  <c:v>0.70115926520420901</c:v>
                </c:pt>
                <c:pt idx="39315">
                  <c:v>0.70117710005350398</c:v>
                </c:pt>
                <c:pt idx="39316">
                  <c:v>0.70119493490280005</c:v>
                </c:pt>
                <c:pt idx="39317">
                  <c:v>0.70121276975209501</c:v>
                </c:pt>
                <c:pt idx="39318">
                  <c:v>0.70123060460139097</c:v>
                </c:pt>
                <c:pt idx="39319">
                  <c:v>0.70124843945068605</c:v>
                </c:pt>
                <c:pt idx="39320">
                  <c:v>0.70126627429998201</c:v>
                </c:pt>
                <c:pt idx="39321">
                  <c:v>0.70128410914927697</c:v>
                </c:pt>
                <c:pt idx="39322">
                  <c:v>0.70130194399857304</c:v>
                </c:pt>
                <c:pt idx="39323">
                  <c:v>0.701319778847868</c:v>
                </c:pt>
                <c:pt idx="39324">
                  <c:v>0.70133761369716396</c:v>
                </c:pt>
                <c:pt idx="39325">
                  <c:v>0.70135544854645904</c:v>
                </c:pt>
                <c:pt idx="39326">
                  <c:v>0.701373283395755</c:v>
                </c:pt>
                <c:pt idx="39327">
                  <c:v>0.70139111824504996</c:v>
                </c:pt>
                <c:pt idx="39328">
                  <c:v>0.70140895309434603</c:v>
                </c:pt>
                <c:pt idx="39329">
                  <c:v>0.70142678794364099</c:v>
                </c:pt>
                <c:pt idx="39330">
                  <c:v>0.70144462279293696</c:v>
                </c:pt>
                <c:pt idx="39331">
                  <c:v>0.70146245764223203</c:v>
                </c:pt>
                <c:pt idx="39332">
                  <c:v>0.70148029249152799</c:v>
                </c:pt>
                <c:pt idx="39333">
                  <c:v>0.70149812734082395</c:v>
                </c:pt>
                <c:pt idx="39334">
                  <c:v>0.70151596219011902</c:v>
                </c:pt>
                <c:pt idx="39335">
                  <c:v>0.70153379703941499</c:v>
                </c:pt>
                <c:pt idx="39336">
                  <c:v>0.70155163188870995</c:v>
                </c:pt>
                <c:pt idx="39337">
                  <c:v>0.70156946673800602</c:v>
                </c:pt>
                <c:pt idx="39338">
                  <c:v>0.70158730158730098</c:v>
                </c:pt>
                <c:pt idx="39339">
                  <c:v>0.70160513643659705</c:v>
                </c:pt>
                <c:pt idx="39340">
                  <c:v>0.70162297128589202</c:v>
                </c:pt>
                <c:pt idx="39341">
                  <c:v>0.70164080613518798</c:v>
                </c:pt>
                <c:pt idx="39342">
                  <c:v>0.70165864098448305</c:v>
                </c:pt>
                <c:pt idx="39343">
                  <c:v>0.70167647583377901</c:v>
                </c:pt>
                <c:pt idx="39344">
                  <c:v>0.70169431068307397</c:v>
                </c:pt>
                <c:pt idx="39345">
                  <c:v>0.70171214553237005</c:v>
                </c:pt>
                <c:pt idx="39346">
                  <c:v>0.70172998038166501</c:v>
                </c:pt>
                <c:pt idx="39347">
                  <c:v>0.70174781523096097</c:v>
                </c:pt>
                <c:pt idx="39348">
                  <c:v>0.70176565008025604</c:v>
                </c:pt>
                <c:pt idx="39349">
                  <c:v>0.701783484929552</c:v>
                </c:pt>
                <c:pt idx="39350">
                  <c:v>0.70180131977884697</c:v>
                </c:pt>
                <c:pt idx="39351">
                  <c:v>0.70181915462814304</c:v>
                </c:pt>
                <c:pt idx="39352">
                  <c:v>0.701836989477438</c:v>
                </c:pt>
                <c:pt idx="39353">
                  <c:v>0.70185482432673396</c:v>
                </c:pt>
                <c:pt idx="39354">
                  <c:v>0.70187265917602903</c:v>
                </c:pt>
                <c:pt idx="39355">
                  <c:v>0.701890494025325</c:v>
                </c:pt>
                <c:pt idx="39356">
                  <c:v>0.70190832887462096</c:v>
                </c:pt>
                <c:pt idx="39357">
                  <c:v>0.70192616372391603</c:v>
                </c:pt>
                <c:pt idx="39358">
                  <c:v>0.70194399857321199</c:v>
                </c:pt>
                <c:pt idx="39359">
                  <c:v>0.70196183342250695</c:v>
                </c:pt>
                <c:pt idx="39360">
                  <c:v>0.70197966827180303</c:v>
                </c:pt>
                <c:pt idx="39361">
                  <c:v>0.70199750312109799</c:v>
                </c:pt>
                <c:pt idx="39362">
                  <c:v>0.70201533797039395</c:v>
                </c:pt>
                <c:pt idx="39363">
                  <c:v>0.70203317281968902</c:v>
                </c:pt>
                <c:pt idx="39364">
                  <c:v>0.70205100766898498</c:v>
                </c:pt>
                <c:pt idx="39365">
                  <c:v>0.70206884251827995</c:v>
                </c:pt>
                <c:pt idx="39366">
                  <c:v>0.70208667736757602</c:v>
                </c:pt>
                <c:pt idx="39367">
                  <c:v>0.70210451221687098</c:v>
                </c:pt>
                <c:pt idx="39368">
                  <c:v>0.70212234706616705</c:v>
                </c:pt>
                <c:pt idx="39369">
                  <c:v>0.70214018191546201</c:v>
                </c:pt>
                <c:pt idx="39370">
                  <c:v>0.70215801676475798</c:v>
                </c:pt>
                <c:pt idx="39371">
                  <c:v>0.70217585161405305</c:v>
                </c:pt>
                <c:pt idx="39372">
                  <c:v>0.70219368646334901</c:v>
                </c:pt>
                <c:pt idx="39373">
                  <c:v>0.70221152131264397</c:v>
                </c:pt>
                <c:pt idx="39374">
                  <c:v>0.70222935616194004</c:v>
                </c:pt>
                <c:pt idx="39375">
                  <c:v>0.702247191011236</c:v>
                </c:pt>
                <c:pt idx="39376">
                  <c:v>0.70226502586053097</c:v>
                </c:pt>
                <c:pt idx="39377">
                  <c:v>0.70228286070982704</c:v>
                </c:pt>
                <c:pt idx="39378">
                  <c:v>0.702300695559122</c:v>
                </c:pt>
                <c:pt idx="39379">
                  <c:v>0.70231853040841796</c:v>
                </c:pt>
                <c:pt idx="39380">
                  <c:v>0.70233636525771304</c:v>
                </c:pt>
                <c:pt idx="39381">
                  <c:v>0.702354200107009</c:v>
                </c:pt>
                <c:pt idx="39382">
                  <c:v>0.70237203495630396</c:v>
                </c:pt>
                <c:pt idx="39383">
                  <c:v>0.70238986980560003</c:v>
                </c:pt>
                <c:pt idx="39384">
                  <c:v>0.70240770465489499</c:v>
                </c:pt>
                <c:pt idx="39385">
                  <c:v>0.70242553950419095</c:v>
                </c:pt>
                <c:pt idx="39386">
                  <c:v>0.70244337435348603</c:v>
                </c:pt>
                <c:pt idx="39387">
                  <c:v>0.70246120920278199</c:v>
                </c:pt>
                <c:pt idx="39388">
                  <c:v>0.70247904405207695</c:v>
                </c:pt>
                <c:pt idx="39389">
                  <c:v>0.70249687890137302</c:v>
                </c:pt>
                <c:pt idx="39390">
                  <c:v>0.70251471375066799</c:v>
                </c:pt>
                <c:pt idx="39391">
                  <c:v>0.70253254859996395</c:v>
                </c:pt>
                <c:pt idx="39392">
                  <c:v>0.70255038344925902</c:v>
                </c:pt>
                <c:pt idx="39393">
                  <c:v>0.70256821829855498</c:v>
                </c:pt>
                <c:pt idx="39394">
                  <c:v>0.70258605314785005</c:v>
                </c:pt>
                <c:pt idx="39395">
                  <c:v>0.70260388799714601</c:v>
                </c:pt>
                <c:pt idx="39396">
                  <c:v>0.70262172284644198</c:v>
                </c:pt>
                <c:pt idx="39397">
                  <c:v>0.70263955769573705</c:v>
                </c:pt>
                <c:pt idx="39398">
                  <c:v>0.70265739254503301</c:v>
                </c:pt>
                <c:pt idx="39399">
                  <c:v>0.70267522739432797</c:v>
                </c:pt>
                <c:pt idx="39400">
                  <c:v>0.70269306224362404</c:v>
                </c:pt>
                <c:pt idx="39401">
                  <c:v>0.70271089709291901</c:v>
                </c:pt>
                <c:pt idx="39402">
                  <c:v>0.70272873194221497</c:v>
                </c:pt>
                <c:pt idx="39403">
                  <c:v>0.70274656679151004</c:v>
                </c:pt>
                <c:pt idx="39404">
                  <c:v>0.702764401640806</c:v>
                </c:pt>
                <c:pt idx="39405">
                  <c:v>0.70278223649010096</c:v>
                </c:pt>
                <c:pt idx="39406">
                  <c:v>0.70280007133939704</c:v>
                </c:pt>
                <c:pt idx="39407">
                  <c:v>0.702817906188692</c:v>
                </c:pt>
                <c:pt idx="39408">
                  <c:v>0.70283574103798796</c:v>
                </c:pt>
                <c:pt idx="39409">
                  <c:v>0.70285357588728303</c:v>
                </c:pt>
                <c:pt idx="39410">
                  <c:v>0.70287141073657899</c:v>
                </c:pt>
                <c:pt idx="39411">
                  <c:v>0.70288924558587396</c:v>
                </c:pt>
                <c:pt idx="39412">
                  <c:v>0.70290708043517003</c:v>
                </c:pt>
                <c:pt idx="39413">
                  <c:v>0.70292491528446499</c:v>
                </c:pt>
                <c:pt idx="39414">
                  <c:v>0.70294275013376095</c:v>
                </c:pt>
                <c:pt idx="39415">
                  <c:v>0.70296058498305602</c:v>
                </c:pt>
                <c:pt idx="39416">
                  <c:v>0.70297841983235199</c:v>
                </c:pt>
                <c:pt idx="39417">
                  <c:v>0.70299625468164795</c:v>
                </c:pt>
                <c:pt idx="39418">
                  <c:v>0.70301408953094302</c:v>
                </c:pt>
                <c:pt idx="39419">
                  <c:v>0.70303192438023898</c:v>
                </c:pt>
                <c:pt idx="39420">
                  <c:v>0.70304975922953405</c:v>
                </c:pt>
                <c:pt idx="39421">
                  <c:v>0.70306759407883002</c:v>
                </c:pt>
                <c:pt idx="39422">
                  <c:v>0.70308542892812498</c:v>
                </c:pt>
                <c:pt idx="39423">
                  <c:v>0.70310326377742105</c:v>
                </c:pt>
                <c:pt idx="39424">
                  <c:v>0.70312109862671601</c:v>
                </c:pt>
                <c:pt idx="39425">
                  <c:v>0.70313893347601197</c:v>
                </c:pt>
                <c:pt idx="39426">
                  <c:v>0.70315676832530705</c:v>
                </c:pt>
                <c:pt idx="39427">
                  <c:v>0.70317460317460301</c:v>
                </c:pt>
                <c:pt idx="39428">
                  <c:v>0.70319243802389797</c:v>
                </c:pt>
                <c:pt idx="39429">
                  <c:v>0.70321027287319404</c:v>
                </c:pt>
                <c:pt idx="39430">
                  <c:v>0.703228107722489</c:v>
                </c:pt>
                <c:pt idx="39431">
                  <c:v>0.70324594257178497</c:v>
                </c:pt>
                <c:pt idx="39432">
                  <c:v>0.70326377742108004</c:v>
                </c:pt>
                <c:pt idx="39433">
                  <c:v>0.703281612270376</c:v>
                </c:pt>
                <c:pt idx="39434">
                  <c:v>0.70329944711967096</c:v>
                </c:pt>
                <c:pt idx="39435">
                  <c:v>0.70331728196896703</c:v>
                </c:pt>
                <c:pt idx="39436">
                  <c:v>0.703335116818262</c:v>
                </c:pt>
                <c:pt idx="39437">
                  <c:v>0.70335295166755796</c:v>
                </c:pt>
                <c:pt idx="39438">
                  <c:v>0.70337078651685303</c:v>
                </c:pt>
                <c:pt idx="39439">
                  <c:v>0.70338862136614899</c:v>
                </c:pt>
                <c:pt idx="39440">
                  <c:v>0.70340645621544495</c:v>
                </c:pt>
                <c:pt idx="39441">
                  <c:v>0.70342429106474003</c:v>
                </c:pt>
                <c:pt idx="39442">
                  <c:v>0.70344212591403599</c:v>
                </c:pt>
                <c:pt idx="39443">
                  <c:v>0.70345996076333095</c:v>
                </c:pt>
                <c:pt idx="39444">
                  <c:v>0.70347779561262702</c:v>
                </c:pt>
                <c:pt idx="39445">
                  <c:v>0.70349563046192198</c:v>
                </c:pt>
                <c:pt idx="39446">
                  <c:v>0.70351346531121794</c:v>
                </c:pt>
                <c:pt idx="39447">
                  <c:v>0.70353130016051302</c:v>
                </c:pt>
                <c:pt idx="39448">
                  <c:v>0.70354913500980898</c:v>
                </c:pt>
                <c:pt idx="39449">
                  <c:v>0.70356696985910405</c:v>
                </c:pt>
                <c:pt idx="39450">
                  <c:v>0.70358480470840001</c:v>
                </c:pt>
                <c:pt idx="39451">
                  <c:v>0.70360263955769498</c:v>
                </c:pt>
                <c:pt idx="39452">
                  <c:v>0.70362047440699105</c:v>
                </c:pt>
                <c:pt idx="39453">
                  <c:v>0.70363830925628601</c:v>
                </c:pt>
                <c:pt idx="39454">
                  <c:v>0.70365614410558197</c:v>
                </c:pt>
                <c:pt idx="39455">
                  <c:v>0.70367397895487704</c:v>
                </c:pt>
                <c:pt idx="39456">
                  <c:v>0.70369181380417301</c:v>
                </c:pt>
                <c:pt idx="39457">
                  <c:v>0.70370964865346797</c:v>
                </c:pt>
                <c:pt idx="39458">
                  <c:v>0.70372748350276404</c:v>
                </c:pt>
                <c:pt idx="39459">
                  <c:v>0.703745318352059</c:v>
                </c:pt>
                <c:pt idx="39460">
                  <c:v>0.70376315320135496</c:v>
                </c:pt>
                <c:pt idx="39461">
                  <c:v>0.70378098805065004</c:v>
                </c:pt>
                <c:pt idx="39462">
                  <c:v>0.703798822899946</c:v>
                </c:pt>
                <c:pt idx="39463">
                  <c:v>0.70381665774924196</c:v>
                </c:pt>
                <c:pt idx="39464">
                  <c:v>0.70383449259853703</c:v>
                </c:pt>
                <c:pt idx="39465">
                  <c:v>0.70385232744783299</c:v>
                </c:pt>
                <c:pt idx="39466">
                  <c:v>0.70387016229712795</c:v>
                </c:pt>
                <c:pt idx="39467">
                  <c:v>0.70388799714642403</c:v>
                </c:pt>
                <c:pt idx="39468">
                  <c:v>0.70390583199571899</c:v>
                </c:pt>
                <c:pt idx="39469">
                  <c:v>0.70392366684501495</c:v>
                </c:pt>
                <c:pt idx="39470">
                  <c:v>0.70394150169431002</c:v>
                </c:pt>
                <c:pt idx="39471">
                  <c:v>0.70395933654360598</c:v>
                </c:pt>
                <c:pt idx="39472">
                  <c:v>0.70397717139290095</c:v>
                </c:pt>
                <c:pt idx="39473">
                  <c:v>0.70399500624219702</c:v>
                </c:pt>
                <c:pt idx="39474">
                  <c:v>0.70401284109149198</c:v>
                </c:pt>
                <c:pt idx="39475">
                  <c:v>0.70403067594078805</c:v>
                </c:pt>
                <c:pt idx="39476">
                  <c:v>0.70404851079008302</c:v>
                </c:pt>
                <c:pt idx="39477">
                  <c:v>0.70406634563937898</c:v>
                </c:pt>
                <c:pt idx="39478">
                  <c:v>0.70408418048867405</c:v>
                </c:pt>
                <c:pt idx="39479">
                  <c:v>0.70410201533797001</c:v>
                </c:pt>
                <c:pt idx="39480">
                  <c:v>0.70411985018726597</c:v>
                </c:pt>
                <c:pt idx="39481">
                  <c:v>0.70413768503656105</c:v>
                </c:pt>
                <c:pt idx="39482">
                  <c:v>0.70415551988585701</c:v>
                </c:pt>
                <c:pt idx="39483">
                  <c:v>0.70417335473515197</c:v>
                </c:pt>
                <c:pt idx="39484">
                  <c:v>0.70419118958444804</c:v>
                </c:pt>
                <c:pt idx="39485">
                  <c:v>0.704209024433743</c:v>
                </c:pt>
                <c:pt idx="39486">
                  <c:v>0.70422685928303896</c:v>
                </c:pt>
                <c:pt idx="39487">
                  <c:v>0.70424469413233404</c:v>
                </c:pt>
                <c:pt idx="39488">
                  <c:v>0.70426252898163</c:v>
                </c:pt>
                <c:pt idx="39489">
                  <c:v>0.70428036383092496</c:v>
                </c:pt>
                <c:pt idx="39490">
                  <c:v>0.70429819868022103</c:v>
                </c:pt>
                <c:pt idx="39491">
                  <c:v>0.70431603352951599</c:v>
                </c:pt>
                <c:pt idx="39492">
                  <c:v>0.70433386837881196</c:v>
                </c:pt>
                <c:pt idx="39493">
                  <c:v>0.70435170322810703</c:v>
                </c:pt>
                <c:pt idx="39494">
                  <c:v>0.70436953807740299</c:v>
                </c:pt>
                <c:pt idx="39495">
                  <c:v>0.70438737292669795</c:v>
                </c:pt>
                <c:pt idx="39496">
                  <c:v>0.70440520777599402</c:v>
                </c:pt>
                <c:pt idx="39497">
                  <c:v>0.70442304262528899</c:v>
                </c:pt>
                <c:pt idx="39498">
                  <c:v>0.70444087747458495</c:v>
                </c:pt>
                <c:pt idx="39499">
                  <c:v>0.70445871232388002</c:v>
                </c:pt>
                <c:pt idx="39500">
                  <c:v>0.70447654717317598</c:v>
                </c:pt>
                <c:pt idx="39501">
                  <c:v>0.70449438202247106</c:v>
                </c:pt>
                <c:pt idx="39502">
                  <c:v>0.70451221687176702</c:v>
                </c:pt>
                <c:pt idx="39503">
                  <c:v>0.70453005172106298</c:v>
                </c:pt>
                <c:pt idx="39504">
                  <c:v>0.70454788657035805</c:v>
                </c:pt>
                <c:pt idx="39505">
                  <c:v>0.70456572141965401</c:v>
                </c:pt>
                <c:pt idx="39506">
                  <c:v>0.70458355626894897</c:v>
                </c:pt>
                <c:pt idx="39507">
                  <c:v>0.70460139111824505</c:v>
                </c:pt>
                <c:pt idx="39508">
                  <c:v>0.70461922596754001</c:v>
                </c:pt>
                <c:pt idx="39509">
                  <c:v>0.70463706081683597</c:v>
                </c:pt>
                <c:pt idx="39510">
                  <c:v>0.70465489566613104</c:v>
                </c:pt>
                <c:pt idx="39511">
                  <c:v>0.704672730515427</c:v>
                </c:pt>
                <c:pt idx="39512">
                  <c:v>0.70469056536472197</c:v>
                </c:pt>
                <c:pt idx="39513">
                  <c:v>0.70470840021401804</c:v>
                </c:pt>
                <c:pt idx="39514">
                  <c:v>0.704726235063313</c:v>
                </c:pt>
                <c:pt idx="39515">
                  <c:v>0.70474406991260896</c:v>
                </c:pt>
                <c:pt idx="39516">
                  <c:v>0.70476190476190403</c:v>
                </c:pt>
                <c:pt idx="39517">
                  <c:v>0.7047797396112</c:v>
                </c:pt>
                <c:pt idx="39518">
                  <c:v>0.70479757446049496</c:v>
                </c:pt>
                <c:pt idx="39519">
                  <c:v>0.70481540930979103</c:v>
                </c:pt>
                <c:pt idx="39520">
                  <c:v>0.70483324415908599</c:v>
                </c:pt>
                <c:pt idx="39521">
                  <c:v>0.70485107900838195</c:v>
                </c:pt>
                <c:pt idx="39522">
                  <c:v>0.70486891385767703</c:v>
                </c:pt>
                <c:pt idx="39523">
                  <c:v>0.70488674870697299</c:v>
                </c:pt>
                <c:pt idx="39524">
                  <c:v>0.70490458355626895</c:v>
                </c:pt>
                <c:pt idx="39525">
                  <c:v>0.70492241840556402</c:v>
                </c:pt>
                <c:pt idx="39526">
                  <c:v>0.70494025325485998</c:v>
                </c:pt>
                <c:pt idx="39527">
                  <c:v>0.70495808810415495</c:v>
                </c:pt>
                <c:pt idx="39528">
                  <c:v>0.70497592295345102</c:v>
                </c:pt>
                <c:pt idx="39529">
                  <c:v>0.70499375780274598</c:v>
                </c:pt>
                <c:pt idx="39530">
                  <c:v>0.70501159265204205</c:v>
                </c:pt>
                <c:pt idx="39531">
                  <c:v>0.70502942750133701</c:v>
                </c:pt>
                <c:pt idx="39532">
                  <c:v>0.70504726235063298</c:v>
                </c:pt>
                <c:pt idx="39533">
                  <c:v>0.70506509719992805</c:v>
                </c:pt>
                <c:pt idx="39534">
                  <c:v>0.70508293204922401</c:v>
                </c:pt>
                <c:pt idx="39535">
                  <c:v>0.70510076689851897</c:v>
                </c:pt>
                <c:pt idx="39536">
                  <c:v>0.70511860174781504</c:v>
                </c:pt>
                <c:pt idx="39537">
                  <c:v>0.70513643659711001</c:v>
                </c:pt>
                <c:pt idx="39538">
                  <c:v>0.70515427144640597</c:v>
                </c:pt>
                <c:pt idx="39539">
                  <c:v>0.70517210629570104</c:v>
                </c:pt>
                <c:pt idx="39540">
                  <c:v>0.705189941144997</c:v>
                </c:pt>
                <c:pt idx="39541">
                  <c:v>0.70520777599429196</c:v>
                </c:pt>
                <c:pt idx="39542">
                  <c:v>0.70522561084358804</c:v>
                </c:pt>
                <c:pt idx="39543">
                  <c:v>0.705243445692883</c:v>
                </c:pt>
                <c:pt idx="39544">
                  <c:v>0.70526128054217896</c:v>
                </c:pt>
                <c:pt idx="39545">
                  <c:v>0.70527911539147403</c:v>
                </c:pt>
                <c:pt idx="39546">
                  <c:v>0.70529695024076999</c:v>
                </c:pt>
                <c:pt idx="39547">
                  <c:v>0.70531478509006595</c:v>
                </c:pt>
                <c:pt idx="39548">
                  <c:v>0.70533261993936103</c:v>
                </c:pt>
                <c:pt idx="39549">
                  <c:v>0.70535045478865699</c:v>
                </c:pt>
                <c:pt idx="39550">
                  <c:v>0.70536828963795195</c:v>
                </c:pt>
                <c:pt idx="39551">
                  <c:v>0.70538612448724802</c:v>
                </c:pt>
                <c:pt idx="39552">
                  <c:v>0.70540395933654298</c:v>
                </c:pt>
                <c:pt idx="39553">
                  <c:v>0.70542179418583895</c:v>
                </c:pt>
                <c:pt idx="39554">
                  <c:v>0.70543962903513402</c:v>
                </c:pt>
                <c:pt idx="39555">
                  <c:v>0.70545746388442998</c:v>
                </c:pt>
                <c:pt idx="39556">
                  <c:v>0.70547529873372505</c:v>
                </c:pt>
                <c:pt idx="39557">
                  <c:v>0.70549313358302101</c:v>
                </c:pt>
                <c:pt idx="39558">
                  <c:v>0.70551096843231598</c:v>
                </c:pt>
                <c:pt idx="39559">
                  <c:v>0.70552880328161205</c:v>
                </c:pt>
                <c:pt idx="39560">
                  <c:v>0.70554663813090701</c:v>
                </c:pt>
                <c:pt idx="39561">
                  <c:v>0.70556447298020297</c:v>
                </c:pt>
                <c:pt idx="39562">
                  <c:v>0.70558230782949805</c:v>
                </c:pt>
                <c:pt idx="39563">
                  <c:v>0.70560014267879401</c:v>
                </c:pt>
                <c:pt idx="39564">
                  <c:v>0.70561797752808897</c:v>
                </c:pt>
                <c:pt idx="39565">
                  <c:v>0.70563581237738504</c:v>
                </c:pt>
                <c:pt idx="39566">
                  <c:v>0.70565364722668</c:v>
                </c:pt>
                <c:pt idx="39567">
                  <c:v>0.70567148207597596</c:v>
                </c:pt>
                <c:pt idx="39568">
                  <c:v>0.70568931692527204</c:v>
                </c:pt>
                <c:pt idx="39569">
                  <c:v>0.705707151774567</c:v>
                </c:pt>
                <c:pt idx="39570">
                  <c:v>0.70572498662386296</c:v>
                </c:pt>
                <c:pt idx="39571">
                  <c:v>0.70574282147315803</c:v>
                </c:pt>
                <c:pt idx="39572">
                  <c:v>0.70576065632245399</c:v>
                </c:pt>
                <c:pt idx="39573">
                  <c:v>0.70577849117174896</c:v>
                </c:pt>
                <c:pt idx="39574">
                  <c:v>0.70579632602104503</c:v>
                </c:pt>
                <c:pt idx="39575">
                  <c:v>0.70581416087033999</c:v>
                </c:pt>
                <c:pt idx="39576">
                  <c:v>0.70583199571963595</c:v>
                </c:pt>
                <c:pt idx="39577">
                  <c:v>0.70584983056893102</c:v>
                </c:pt>
                <c:pt idx="39578">
                  <c:v>0.70586766541822699</c:v>
                </c:pt>
                <c:pt idx="39579">
                  <c:v>0.70588550026752195</c:v>
                </c:pt>
                <c:pt idx="39580">
                  <c:v>0.70590333511681802</c:v>
                </c:pt>
                <c:pt idx="39581">
                  <c:v>0.70592116996611298</c:v>
                </c:pt>
                <c:pt idx="39582">
                  <c:v>0.70593900481540905</c:v>
                </c:pt>
                <c:pt idx="39583">
                  <c:v>0.70595683966470402</c:v>
                </c:pt>
                <c:pt idx="39584">
                  <c:v>0.70597467451399998</c:v>
                </c:pt>
                <c:pt idx="39585">
                  <c:v>0.70599250936329505</c:v>
                </c:pt>
                <c:pt idx="39586">
                  <c:v>0.70601034421259101</c:v>
                </c:pt>
                <c:pt idx="39587">
                  <c:v>0.70602817906188697</c:v>
                </c:pt>
                <c:pt idx="39588">
                  <c:v>0.70604601391118205</c:v>
                </c:pt>
                <c:pt idx="39589">
                  <c:v>0.70606384876047801</c:v>
                </c:pt>
                <c:pt idx="39590">
                  <c:v>0.70608168360977297</c:v>
                </c:pt>
                <c:pt idx="39591">
                  <c:v>0.70609951845906904</c:v>
                </c:pt>
                <c:pt idx="39592">
                  <c:v>0.706117353308364</c:v>
                </c:pt>
                <c:pt idx="39593">
                  <c:v>0.70613518815765997</c:v>
                </c:pt>
                <c:pt idx="39594">
                  <c:v>0.70615302300695504</c:v>
                </c:pt>
                <c:pt idx="39595">
                  <c:v>0.706170857856251</c:v>
                </c:pt>
                <c:pt idx="39596">
                  <c:v>0.70618869270554596</c:v>
                </c:pt>
                <c:pt idx="39597">
                  <c:v>0.70620652755484203</c:v>
                </c:pt>
                <c:pt idx="39598">
                  <c:v>0.706224362404137</c:v>
                </c:pt>
                <c:pt idx="39599">
                  <c:v>0.70624219725343296</c:v>
                </c:pt>
                <c:pt idx="39600">
                  <c:v>0.70626003210272803</c:v>
                </c:pt>
                <c:pt idx="39601">
                  <c:v>0.70627786695202399</c:v>
                </c:pt>
                <c:pt idx="39602">
                  <c:v>0.70629570180131895</c:v>
                </c:pt>
                <c:pt idx="39603">
                  <c:v>0.70631353665061503</c:v>
                </c:pt>
                <c:pt idx="39604">
                  <c:v>0.70633137149990999</c:v>
                </c:pt>
                <c:pt idx="39605">
                  <c:v>0.70634920634920595</c:v>
                </c:pt>
                <c:pt idx="39606">
                  <c:v>0.70636704119850102</c:v>
                </c:pt>
                <c:pt idx="39607">
                  <c:v>0.70638487604779698</c:v>
                </c:pt>
                <c:pt idx="39608">
                  <c:v>0.70640271089709294</c:v>
                </c:pt>
                <c:pt idx="39609">
                  <c:v>0.70642054574638802</c:v>
                </c:pt>
                <c:pt idx="39610">
                  <c:v>0.70643838059568398</c:v>
                </c:pt>
                <c:pt idx="39611">
                  <c:v>0.70645621544497905</c:v>
                </c:pt>
                <c:pt idx="39612">
                  <c:v>0.70647405029427501</c:v>
                </c:pt>
                <c:pt idx="39613">
                  <c:v>0.70649188514356998</c:v>
                </c:pt>
                <c:pt idx="39614">
                  <c:v>0.70650971999286605</c:v>
                </c:pt>
                <c:pt idx="39615">
                  <c:v>0.70652755484216101</c:v>
                </c:pt>
                <c:pt idx="39616">
                  <c:v>0.70654538969145697</c:v>
                </c:pt>
                <c:pt idx="39617">
                  <c:v>0.70656322454075204</c:v>
                </c:pt>
                <c:pt idx="39618">
                  <c:v>0.70658105939004801</c:v>
                </c:pt>
                <c:pt idx="39619">
                  <c:v>0.70659889423934297</c:v>
                </c:pt>
                <c:pt idx="39620">
                  <c:v>0.70661672908863904</c:v>
                </c:pt>
                <c:pt idx="39621">
                  <c:v>0.706634563937934</c:v>
                </c:pt>
                <c:pt idx="39622">
                  <c:v>0.70665239878722996</c:v>
                </c:pt>
                <c:pt idx="39623">
                  <c:v>0.70667023363652504</c:v>
                </c:pt>
                <c:pt idx="39624">
                  <c:v>0.706688068485821</c:v>
                </c:pt>
                <c:pt idx="39625">
                  <c:v>0.70670590333511596</c:v>
                </c:pt>
                <c:pt idx="39626">
                  <c:v>0.70672373818441203</c:v>
                </c:pt>
                <c:pt idx="39627">
                  <c:v>0.70674157303370699</c:v>
                </c:pt>
                <c:pt idx="39628">
                  <c:v>0.70675940788300295</c:v>
                </c:pt>
                <c:pt idx="39629">
                  <c:v>0.70677724273229803</c:v>
                </c:pt>
                <c:pt idx="39630">
                  <c:v>0.70679507758159399</c:v>
                </c:pt>
                <c:pt idx="39631">
                  <c:v>0.70681291243088995</c:v>
                </c:pt>
                <c:pt idx="39632">
                  <c:v>0.70683074728018502</c:v>
                </c:pt>
                <c:pt idx="39633">
                  <c:v>0.70684858212948098</c:v>
                </c:pt>
                <c:pt idx="39634">
                  <c:v>0.70686641697877595</c:v>
                </c:pt>
                <c:pt idx="39635">
                  <c:v>0.70688425182807202</c:v>
                </c:pt>
                <c:pt idx="39636">
                  <c:v>0.70690208667736698</c:v>
                </c:pt>
                <c:pt idx="39637">
                  <c:v>0.70691992152666305</c:v>
                </c:pt>
                <c:pt idx="39638">
                  <c:v>0.70693775637595802</c:v>
                </c:pt>
                <c:pt idx="39639">
                  <c:v>0.70695559122525398</c:v>
                </c:pt>
                <c:pt idx="39640">
                  <c:v>0.70697342607454905</c:v>
                </c:pt>
                <c:pt idx="39641">
                  <c:v>0.70699126092384501</c:v>
                </c:pt>
                <c:pt idx="39642">
                  <c:v>0.70700909577313997</c:v>
                </c:pt>
                <c:pt idx="39643">
                  <c:v>0.70702693062243605</c:v>
                </c:pt>
                <c:pt idx="39644">
                  <c:v>0.70704476547173101</c:v>
                </c:pt>
                <c:pt idx="39645">
                  <c:v>0.70706260032102697</c:v>
                </c:pt>
                <c:pt idx="39646">
                  <c:v>0.70708043517032204</c:v>
                </c:pt>
                <c:pt idx="39647">
                  <c:v>0.707098270019618</c:v>
                </c:pt>
                <c:pt idx="39648">
                  <c:v>0.70711610486891296</c:v>
                </c:pt>
                <c:pt idx="39649">
                  <c:v>0.70713393971820904</c:v>
                </c:pt>
                <c:pt idx="39650">
                  <c:v>0.707151774567504</c:v>
                </c:pt>
                <c:pt idx="39651">
                  <c:v>0.70716960941679996</c:v>
                </c:pt>
                <c:pt idx="39652">
                  <c:v>0.70718744426609503</c:v>
                </c:pt>
                <c:pt idx="39653">
                  <c:v>0.70720527911539099</c:v>
                </c:pt>
                <c:pt idx="39654">
                  <c:v>0.70722311396468696</c:v>
                </c:pt>
                <c:pt idx="39655">
                  <c:v>0.70724094881398203</c:v>
                </c:pt>
                <c:pt idx="39656">
                  <c:v>0.70725878366327799</c:v>
                </c:pt>
                <c:pt idx="39657">
                  <c:v>0.70727661851257295</c:v>
                </c:pt>
                <c:pt idx="39658">
                  <c:v>0.70729445336186902</c:v>
                </c:pt>
                <c:pt idx="39659">
                  <c:v>0.70731228821116399</c:v>
                </c:pt>
                <c:pt idx="39660">
                  <c:v>0.70733012306045995</c:v>
                </c:pt>
                <c:pt idx="39661">
                  <c:v>0.70734795790975502</c:v>
                </c:pt>
                <c:pt idx="39662">
                  <c:v>0.70736579275905098</c:v>
                </c:pt>
                <c:pt idx="39663">
                  <c:v>0.70738362760834606</c:v>
                </c:pt>
                <c:pt idx="39664">
                  <c:v>0.70740146245764202</c:v>
                </c:pt>
                <c:pt idx="39665">
                  <c:v>0.70741929730693698</c:v>
                </c:pt>
                <c:pt idx="39666">
                  <c:v>0.70743713215623305</c:v>
                </c:pt>
                <c:pt idx="39667">
                  <c:v>0.70745496700552801</c:v>
                </c:pt>
                <c:pt idx="39668">
                  <c:v>0.70747280185482397</c:v>
                </c:pt>
                <c:pt idx="39669">
                  <c:v>0.70749063670411905</c:v>
                </c:pt>
                <c:pt idx="39670">
                  <c:v>0.70750847155341501</c:v>
                </c:pt>
                <c:pt idx="39671">
                  <c:v>0.70752630640270997</c:v>
                </c:pt>
                <c:pt idx="39672">
                  <c:v>0.70754414125200604</c:v>
                </c:pt>
                <c:pt idx="39673">
                  <c:v>0.707561976101301</c:v>
                </c:pt>
                <c:pt idx="39674">
                  <c:v>0.70757981095059697</c:v>
                </c:pt>
                <c:pt idx="39675">
                  <c:v>0.70759764579989304</c:v>
                </c:pt>
                <c:pt idx="39676">
                  <c:v>0.707615480649188</c:v>
                </c:pt>
                <c:pt idx="39677">
                  <c:v>0.70763331549848396</c:v>
                </c:pt>
                <c:pt idx="39678">
                  <c:v>0.70765115034777903</c:v>
                </c:pt>
                <c:pt idx="39679">
                  <c:v>0.707668985197075</c:v>
                </c:pt>
                <c:pt idx="39680">
                  <c:v>0.70768682004636996</c:v>
                </c:pt>
                <c:pt idx="39681">
                  <c:v>0.70770465489566603</c:v>
                </c:pt>
                <c:pt idx="39682">
                  <c:v>0.70772248974496099</c:v>
                </c:pt>
                <c:pt idx="39683">
                  <c:v>0.70774032459425695</c:v>
                </c:pt>
                <c:pt idx="39684">
                  <c:v>0.70775815944355203</c:v>
                </c:pt>
                <c:pt idx="39685">
                  <c:v>0.70777599429284799</c:v>
                </c:pt>
                <c:pt idx="39686">
                  <c:v>0.70779382914214295</c:v>
                </c:pt>
                <c:pt idx="39687">
                  <c:v>0.70781166399143902</c:v>
                </c:pt>
                <c:pt idx="39688">
                  <c:v>0.70782949884073398</c:v>
                </c:pt>
                <c:pt idx="39689">
                  <c:v>0.70784733369002995</c:v>
                </c:pt>
                <c:pt idx="39690">
                  <c:v>0.70786516853932502</c:v>
                </c:pt>
                <c:pt idx="39691">
                  <c:v>0.70788300338862098</c:v>
                </c:pt>
                <c:pt idx="39692">
                  <c:v>0.70790083823791605</c:v>
                </c:pt>
                <c:pt idx="39693">
                  <c:v>0.70791867308721201</c:v>
                </c:pt>
                <c:pt idx="39694">
                  <c:v>0.70793650793650797</c:v>
                </c:pt>
                <c:pt idx="39695">
                  <c:v>0.70795434278580305</c:v>
                </c:pt>
                <c:pt idx="39696">
                  <c:v>0.70797217763509901</c:v>
                </c:pt>
                <c:pt idx="39697">
                  <c:v>0.70799001248439397</c:v>
                </c:pt>
                <c:pt idx="39698">
                  <c:v>0.70800784733369004</c:v>
                </c:pt>
                <c:pt idx="39699">
                  <c:v>0.70802568218298501</c:v>
                </c:pt>
                <c:pt idx="39700">
                  <c:v>0.70804351703228097</c:v>
                </c:pt>
                <c:pt idx="39701">
                  <c:v>0.70806135188157604</c:v>
                </c:pt>
                <c:pt idx="39702">
                  <c:v>0.708079186730872</c:v>
                </c:pt>
                <c:pt idx="39703">
                  <c:v>0.70809702158016696</c:v>
                </c:pt>
                <c:pt idx="39704">
                  <c:v>0.70811485642946304</c:v>
                </c:pt>
                <c:pt idx="39705">
                  <c:v>0.708132691278758</c:v>
                </c:pt>
                <c:pt idx="39706">
                  <c:v>0.70815052612805396</c:v>
                </c:pt>
                <c:pt idx="39707">
                  <c:v>0.70816836097734903</c:v>
                </c:pt>
                <c:pt idx="39708">
                  <c:v>0.70818619582664499</c:v>
                </c:pt>
                <c:pt idx="39709">
                  <c:v>0.70820403067593996</c:v>
                </c:pt>
                <c:pt idx="39710">
                  <c:v>0.70822186552523603</c:v>
                </c:pt>
                <c:pt idx="39711">
                  <c:v>0.70823970037453099</c:v>
                </c:pt>
                <c:pt idx="39712">
                  <c:v>0.70825753522382695</c:v>
                </c:pt>
                <c:pt idx="39713">
                  <c:v>0.70827537007312202</c:v>
                </c:pt>
                <c:pt idx="39714">
                  <c:v>0.70829320492241798</c:v>
                </c:pt>
                <c:pt idx="39715">
                  <c:v>0.70831103977171395</c:v>
                </c:pt>
                <c:pt idx="39716">
                  <c:v>0.70832887462100902</c:v>
                </c:pt>
                <c:pt idx="39717">
                  <c:v>0.70834670947030498</c:v>
                </c:pt>
                <c:pt idx="39718">
                  <c:v>0.70836454431960005</c:v>
                </c:pt>
                <c:pt idx="39719">
                  <c:v>0.70838237916889601</c:v>
                </c:pt>
                <c:pt idx="39720">
                  <c:v>0.70840021401819098</c:v>
                </c:pt>
                <c:pt idx="39721">
                  <c:v>0.70841804886748705</c:v>
                </c:pt>
                <c:pt idx="39722">
                  <c:v>0.70843588371678201</c:v>
                </c:pt>
                <c:pt idx="39723">
                  <c:v>0.70845371856607797</c:v>
                </c:pt>
                <c:pt idx="39724">
                  <c:v>0.70847155341537305</c:v>
                </c:pt>
                <c:pt idx="39725">
                  <c:v>0.70848938826466901</c:v>
                </c:pt>
                <c:pt idx="39726">
                  <c:v>0.70850722311396397</c:v>
                </c:pt>
                <c:pt idx="39727">
                  <c:v>0.70852505796326004</c:v>
                </c:pt>
                <c:pt idx="39728">
                  <c:v>0.708542892812555</c:v>
                </c:pt>
                <c:pt idx="39729">
                  <c:v>0.70856072766185096</c:v>
                </c:pt>
                <c:pt idx="39730">
                  <c:v>0.70857856251114604</c:v>
                </c:pt>
                <c:pt idx="39731">
                  <c:v>0.708596397360442</c:v>
                </c:pt>
                <c:pt idx="39732">
                  <c:v>0.70861423220973696</c:v>
                </c:pt>
                <c:pt idx="39733">
                  <c:v>0.70863206705903303</c:v>
                </c:pt>
                <c:pt idx="39734">
                  <c:v>0.70864990190832799</c:v>
                </c:pt>
                <c:pt idx="39735">
                  <c:v>0.70866773675762396</c:v>
                </c:pt>
                <c:pt idx="39736">
                  <c:v>0.70868557160691903</c:v>
                </c:pt>
                <c:pt idx="39737">
                  <c:v>0.70870340645621499</c:v>
                </c:pt>
                <c:pt idx="39738">
                  <c:v>0.70872124130551095</c:v>
                </c:pt>
                <c:pt idx="39739">
                  <c:v>0.70873907615480602</c:v>
                </c:pt>
                <c:pt idx="39740">
                  <c:v>0.70875691100410199</c:v>
                </c:pt>
                <c:pt idx="39741">
                  <c:v>0.70877474585339695</c:v>
                </c:pt>
                <c:pt idx="39742">
                  <c:v>0.70879258070269302</c:v>
                </c:pt>
                <c:pt idx="39743">
                  <c:v>0.70881041555198798</c:v>
                </c:pt>
                <c:pt idx="39744">
                  <c:v>0.70882825040128405</c:v>
                </c:pt>
                <c:pt idx="39745">
                  <c:v>0.70884608525057902</c:v>
                </c:pt>
                <c:pt idx="39746">
                  <c:v>0.70886392009987498</c:v>
                </c:pt>
                <c:pt idx="39747">
                  <c:v>0.70888175494917005</c:v>
                </c:pt>
                <c:pt idx="39748">
                  <c:v>0.70889958979846601</c:v>
                </c:pt>
                <c:pt idx="39749">
                  <c:v>0.70891742464776097</c:v>
                </c:pt>
                <c:pt idx="39750">
                  <c:v>0.70893525949705705</c:v>
                </c:pt>
                <c:pt idx="39751">
                  <c:v>0.70895309434635201</c:v>
                </c:pt>
                <c:pt idx="39752">
                  <c:v>0.70897092919564797</c:v>
                </c:pt>
                <c:pt idx="39753">
                  <c:v>0.70898876404494304</c:v>
                </c:pt>
                <c:pt idx="39754">
                  <c:v>0.709006598894239</c:v>
                </c:pt>
                <c:pt idx="39755">
                  <c:v>0.70902443374353397</c:v>
                </c:pt>
                <c:pt idx="39756">
                  <c:v>0.70904226859283004</c:v>
                </c:pt>
                <c:pt idx="39757">
                  <c:v>0.709060103442125</c:v>
                </c:pt>
                <c:pt idx="39758">
                  <c:v>0.70907793829142096</c:v>
                </c:pt>
                <c:pt idx="39759">
                  <c:v>0.70909577314071603</c:v>
                </c:pt>
                <c:pt idx="39760">
                  <c:v>0.709113607990012</c:v>
                </c:pt>
                <c:pt idx="39761">
                  <c:v>0.70913144283930796</c:v>
                </c:pt>
                <c:pt idx="39762">
                  <c:v>0.70914927768860303</c:v>
                </c:pt>
                <c:pt idx="39763">
                  <c:v>0.70916711253789899</c:v>
                </c:pt>
                <c:pt idx="39764">
                  <c:v>0.70918494738719395</c:v>
                </c:pt>
                <c:pt idx="39765">
                  <c:v>0.70920278223649003</c:v>
                </c:pt>
                <c:pt idx="39766">
                  <c:v>0.70922061708578499</c:v>
                </c:pt>
                <c:pt idx="39767">
                  <c:v>0.70923845193508095</c:v>
                </c:pt>
                <c:pt idx="39768">
                  <c:v>0.70925628678437602</c:v>
                </c:pt>
                <c:pt idx="39769">
                  <c:v>0.70927412163367198</c:v>
                </c:pt>
                <c:pt idx="39770">
                  <c:v>0.70929195648296695</c:v>
                </c:pt>
                <c:pt idx="39771">
                  <c:v>0.70930979133226302</c:v>
                </c:pt>
                <c:pt idx="39772">
                  <c:v>0.70932762618155798</c:v>
                </c:pt>
                <c:pt idx="39773">
                  <c:v>0.70934546103085405</c:v>
                </c:pt>
                <c:pt idx="39774">
                  <c:v>0.70936329588014901</c:v>
                </c:pt>
                <c:pt idx="39775">
                  <c:v>0.70938113072944498</c:v>
                </c:pt>
                <c:pt idx="39776">
                  <c:v>0.70939896557874005</c:v>
                </c:pt>
                <c:pt idx="39777">
                  <c:v>0.70941680042803601</c:v>
                </c:pt>
                <c:pt idx="39778">
                  <c:v>0.70943463527733097</c:v>
                </c:pt>
                <c:pt idx="39779">
                  <c:v>0.70945247012662704</c:v>
                </c:pt>
                <c:pt idx="39780">
                  <c:v>0.70947030497592301</c:v>
                </c:pt>
                <c:pt idx="39781">
                  <c:v>0.70948813982521797</c:v>
                </c:pt>
                <c:pt idx="39782">
                  <c:v>0.70950597467451404</c:v>
                </c:pt>
                <c:pt idx="39783">
                  <c:v>0.709523809523809</c:v>
                </c:pt>
                <c:pt idx="39784">
                  <c:v>0.70954164437310496</c:v>
                </c:pt>
                <c:pt idx="39785">
                  <c:v>0.70955947922240004</c:v>
                </c:pt>
                <c:pt idx="39786">
                  <c:v>0.709577314071696</c:v>
                </c:pt>
                <c:pt idx="39787">
                  <c:v>0.70959514892099096</c:v>
                </c:pt>
                <c:pt idx="39788">
                  <c:v>0.70961298377028703</c:v>
                </c:pt>
                <c:pt idx="39789">
                  <c:v>0.70963081861958199</c:v>
                </c:pt>
                <c:pt idx="39790">
                  <c:v>0.70964865346887795</c:v>
                </c:pt>
                <c:pt idx="39791">
                  <c:v>0.70966648831817303</c:v>
                </c:pt>
                <c:pt idx="39792">
                  <c:v>0.70968432316746899</c:v>
                </c:pt>
                <c:pt idx="39793">
                  <c:v>0.70970215801676395</c:v>
                </c:pt>
                <c:pt idx="39794">
                  <c:v>0.70971999286606002</c:v>
                </c:pt>
                <c:pt idx="39795">
                  <c:v>0.70973782771535499</c:v>
                </c:pt>
                <c:pt idx="39796">
                  <c:v>0.70975566256465095</c:v>
                </c:pt>
                <c:pt idx="39797">
                  <c:v>0.70977349741394602</c:v>
                </c:pt>
                <c:pt idx="39798">
                  <c:v>0.70979133226324198</c:v>
                </c:pt>
                <c:pt idx="39799">
                  <c:v>0.70980916711253705</c:v>
                </c:pt>
                <c:pt idx="39800">
                  <c:v>0.70982700196183302</c:v>
                </c:pt>
                <c:pt idx="39801">
                  <c:v>0.70984483681112898</c:v>
                </c:pt>
                <c:pt idx="39802">
                  <c:v>0.70986267166042405</c:v>
                </c:pt>
                <c:pt idx="39803">
                  <c:v>0.70988050650972001</c:v>
                </c:pt>
                <c:pt idx="39804">
                  <c:v>0.70989834135901497</c:v>
                </c:pt>
                <c:pt idx="39805">
                  <c:v>0.70991617620831104</c:v>
                </c:pt>
                <c:pt idx="39806">
                  <c:v>0.70993401105760601</c:v>
                </c:pt>
                <c:pt idx="39807">
                  <c:v>0.70995184590690197</c:v>
                </c:pt>
                <c:pt idx="39808">
                  <c:v>0.70996968075619704</c:v>
                </c:pt>
                <c:pt idx="39809">
                  <c:v>0.709987515605493</c:v>
                </c:pt>
                <c:pt idx="39810">
                  <c:v>0.71000535045478796</c:v>
                </c:pt>
                <c:pt idx="39811">
                  <c:v>0.71002318530408404</c:v>
                </c:pt>
                <c:pt idx="39812">
                  <c:v>0.710041020153379</c:v>
                </c:pt>
                <c:pt idx="39813">
                  <c:v>0.71005885500267496</c:v>
                </c:pt>
                <c:pt idx="39814">
                  <c:v>0.71007668985197003</c:v>
                </c:pt>
                <c:pt idx="39815">
                  <c:v>0.71009452470126599</c:v>
                </c:pt>
                <c:pt idx="39816">
                  <c:v>0.71011235955056096</c:v>
                </c:pt>
                <c:pt idx="39817">
                  <c:v>0.71013019439985703</c:v>
                </c:pt>
                <c:pt idx="39818">
                  <c:v>0.71014802924915199</c:v>
                </c:pt>
                <c:pt idx="39819">
                  <c:v>0.71016586409844795</c:v>
                </c:pt>
                <c:pt idx="39820">
                  <c:v>0.71018369894774303</c:v>
                </c:pt>
                <c:pt idx="39821">
                  <c:v>0.71020153379703899</c:v>
                </c:pt>
                <c:pt idx="39822">
                  <c:v>0.71021936864633495</c:v>
                </c:pt>
                <c:pt idx="39823">
                  <c:v>0.71023720349563002</c:v>
                </c:pt>
                <c:pt idx="39824">
                  <c:v>0.71025503834492598</c:v>
                </c:pt>
                <c:pt idx="39825">
                  <c:v>0.71027287319422105</c:v>
                </c:pt>
                <c:pt idx="39826">
                  <c:v>0.71029070804351702</c:v>
                </c:pt>
                <c:pt idx="39827">
                  <c:v>0.71030854289281198</c:v>
                </c:pt>
                <c:pt idx="39828">
                  <c:v>0.71032637774210805</c:v>
                </c:pt>
                <c:pt idx="39829">
                  <c:v>0.71034421259140301</c:v>
                </c:pt>
                <c:pt idx="39830">
                  <c:v>0.71036204744069897</c:v>
                </c:pt>
                <c:pt idx="39831">
                  <c:v>0.71037988228999405</c:v>
                </c:pt>
                <c:pt idx="39832">
                  <c:v>0.71039771713929001</c:v>
                </c:pt>
                <c:pt idx="39833">
                  <c:v>0.71041555198858497</c:v>
                </c:pt>
                <c:pt idx="39834">
                  <c:v>0.71043338683788104</c:v>
                </c:pt>
                <c:pt idx="39835">
                  <c:v>0.710451221687176</c:v>
                </c:pt>
                <c:pt idx="39836">
                  <c:v>0.71046905653647197</c:v>
                </c:pt>
                <c:pt idx="39837">
                  <c:v>0.71048689138576704</c:v>
                </c:pt>
                <c:pt idx="39838">
                  <c:v>0.710504726235063</c:v>
                </c:pt>
                <c:pt idx="39839">
                  <c:v>0.71052256108435796</c:v>
                </c:pt>
                <c:pt idx="39840">
                  <c:v>0.71054039593365403</c:v>
                </c:pt>
                <c:pt idx="39841">
                  <c:v>0.710558230782949</c:v>
                </c:pt>
                <c:pt idx="39842">
                  <c:v>0.71057606563224496</c:v>
                </c:pt>
                <c:pt idx="39843">
                  <c:v>0.71059390048154003</c:v>
                </c:pt>
                <c:pt idx="39844">
                  <c:v>0.71061173533083599</c:v>
                </c:pt>
                <c:pt idx="39845">
                  <c:v>0.71062957018013195</c:v>
                </c:pt>
                <c:pt idx="39846">
                  <c:v>0.71064740502942703</c:v>
                </c:pt>
                <c:pt idx="39847">
                  <c:v>0.71066523987872299</c:v>
                </c:pt>
                <c:pt idx="39848">
                  <c:v>0.71068307472801795</c:v>
                </c:pt>
                <c:pt idx="39849">
                  <c:v>0.71070090957731402</c:v>
                </c:pt>
                <c:pt idx="39850">
                  <c:v>0.71071874442660898</c:v>
                </c:pt>
                <c:pt idx="39851">
                  <c:v>0.71073657927590494</c:v>
                </c:pt>
                <c:pt idx="39852">
                  <c:v>0.71075441412520002</c:v>
                </c:pt>
                <c:pt idx="39853">
                  <c:v>0.71077224897449598</c:v>
                </c:pt>
                <c:pt idx="39854">
                  <c:v>0.71079008382379105</c:v>
                </c:pt>
                <c:pt idx="39855">
                  <c:v>0.71080791867308701</c:v>
                </c:pt>
                <c:pt idx="39856">
                  <c:v>0.71082575352238198</c:v>
                </c:pt>
                <c:pt idx="39857">
                  <c:v>0.71084358837167805</c:v>
                </c:pt>
                <c:pt idx="39858">
                  <c:v>0.71086142322097301</c:v>
                </c:pt>
                <c:pt idx="39859">
                  <c:v>0.71087925807026897</c:v>
                </c:pt>
                <c:pt idx="39860">
                  <c:v>0.71089709291956404</c:v>
                </c:pt>
                <c:pt idx="39861">
                  <c:v>0.71091492776886001</c:v>
                </c:pt>
                <c:pt idx="39862">
                  <c:v>0.71093276261815497</c:v>
                </c:pt>
                <c:pt idx="39863">
                  <c:v>0.71095059746745104</c:v>
                </c:pt>
                <c:pt idx="39864">
                  <c:v>0.710968432316746</c:v>
                </c:pt>
                <c:pt idx="39865">
                  <c:v>0.71098626716604196</c:v>
                </c:pt>
                <c:pt idx="39866">
                  <c:v>0.71100410201533704</c:v>
                </c:pt>
                <c:pt idx="39867">
                  <c:v>0.711021936864633</c:v>
                </c:pt>
                <c:pt idx="39868">
                  <c:v>0.71103977171392896</c:v>
                </c:pt>
                <c:pt idx="39869">
                  <c:v>0.71105760656322403</c:v>
                </c:pt>
                <c:pt idx="39870">
                  <c:v>0.71107544141251999</c:v>
                </c:pt>
                <c:pt idx="39871">
                  <c:v>0.71109327626181495</c:v>
                </c:pt>
                <c:pt idx="39872">
                  <c:v>0.71111111111111103</c:v>
                </c:pt>
                <c:pt idx="39873">
                  <c:v>0.71112894596040599</c:v>
                </c:pt>
                <c:pt idx="39874">
                  <c:v>0.71114678080970195</c:v>
                </c:pt>
                <c:pt idx="39875">
                  <c:v>0.71116461565899702</c:v>
                </c:pt>
                <c:pt idx="39876">
                  <c:v>0.71118245050829298</c:v>
                </c:pt>
                <c:pt idx="39877">
                  <c:v>0.71120028535758795</c:v>
                </c:pt>
                <c:pt idx="39878">
                  <c:v>0.71121812020688402</c:v>
                </c:pt>
                <c:pt idx="39879">
                  <c:v>0.71123595505617898</c:v>
                </c:pt>
                <c:pt idx="39880">
                  <c:v>0.71125378990547505</c:v>
                </c:pt>
                <c:pt idx="39881">
                  <c:v>0.71127162475477002</c:v>
                </c:pt>
                <c:pt idx="39882">
                  <c:v>0.71128945960406598</c:v>
                </c:pt>
                <c:pt idx="39883">
                  <c:v>0.71130729445336105</c:v>
                </c:pt>
                <c:pt idx="39884">
                  <c:v>0.71132512930265701</c:v>
                </c:pt>
                <c:pt idx="39885">
                  <c:v>0.71134296415195197</c:v>
                </c:pt>
                <c:pt idx="39886">
                  <c:v>0.71136079900124805</c:v>
                </c:pt>
                <c:pt idx="39887">
                  <c:v>0.71137863385054401</c:v>
                </c:pt>
                <c:pt idx="39888">
                  <c:v>0.71139646869983897</c:v>
                </c:pt>
                <c:pt idx="39889">
                  <c:v>0.71141430354913504</c:v>
                </c:pt>
                <c:pt idx="39890">
                  <c:v>0.71143213839843</c:v>
                </c:pt>
                <c:pt idx="39891">
                  <c:v>0.71144997324772596</c:v>
                </c:pt>
                <c:pt idx="39892">
                  <c:v>0.71146780809702104</c:v>
                </c:pt>
                <c:pt idx="39893">
                  <c:v>0.711485642946317</c:v>
                </c:pt>
                <c:pt idx="39894">
                  <c:v>0.71150347779561196</c:v>
                </c:pt>
                <c:pt idx="39895">
                  <c:v>0.71152131264490803</c:v>
                </c:pt>
                <c:pt idx="39896">
                  <c:v>0.71153914749420299</c:v>
                </c:pt>
                <c:pt idx="39897">
                  <c:v>0.71155698234349896</c:v>
                </c:pt>
                <c:pt idx="39898">
                  <c:v>0.71157481719279403</c:v>
                </c:pt>
                <c:pt idx="39899">
                  <c:v>0.71159265204208999</c:v>
                </c:pt>
                <c:pt idx="39900">
                  <c:v>0.71161048689138495</c:v>
                </c:pt>
                <c:pt idx="39901">
                  <c:v>0.71162832174068102</c:v>
                </c:pt>
                <c:pt idx="39902">
                  <c:v>0.71164615658997599</c:v>
                </c:pt>
                <c:pt idx="39903">
                  <c:v>0.71166399143927195</c:v>
                </c:pt>
                <c:pt idx="39904">
                  <c:v>0.71168182628856702</c:v>
                </c:pt>
                <c:pt idx="39905">
                  <c:v>0.71169966113786298</c:v>
                </c:pt>
                <c:pt idx="39906">
                  <c:v>0.71171749598715806</c:v>
                </c:pt>
                <c:pt idx="39907">
                  <c:v>0.71173533083645402</c:v>
                </c:pt>
                <c:pt idx="39908">
                  <c:v>0.71175316568574998</c:v>
                </c:pt>
                <c:pt idx="39909">
                  <c:v>0.71177100053504505</c:v>
                </c:pt>
                <c:pt idx="39910">
                  <c:v>0.71178883538434101</c:v>
                </c:pt>
                <c:pt idx="39911">
                  <c:v>0.71180667023363597</c:v>
                </c:pt>
                <c:pt idx="39912">
                  <c:v>0.71182450508293205</c:v>
                </c:pt>
                <c:pt idx="39913">
                  <c:v>0.71184233993222701</c:v>
                </c:pt>
                <c:pt idx="39914">
                  <c:v>0.71186017478152297</c:v>
                </c:pt>
                <c:pt idx="39915">
                  <c:v>0.71187800963081804</c:v>
                </c:pt>
                <c:pt idx="39916">
                  <c:v>0.711895844480114</c:v>
                </c:pt>
                <c:pt idx="39917">
                  <c:v>0.71191367932940897</c:v>
                </c:pt>
                <c:pt idx="39918">
                  <c:v>0.71193151417870504</c:v>
                </c:pt>
                <c:pt idx="39919">
                  <c:v>0.711949349028</c:v>
                </c:pt>
                <c:pt idx="39920">
                  <c:v>0.71196718387729596</c:v>
                </c:pt>
                <c:pt idx="39921">
                  <c:v>0.71198501872659103</c:v>
                </c:pt>
                <c:pt idx="39922">
                  <c:v>0.712002853575887</c:v>
                </c:pt>
                <c:pt idx="39923">
                  <c:v>0.71202068842518196</c:v>
                </c:pt>
                <c:pt idx="39924">
                  <c:v>0.71203852327447803</c:v>
                </c:pt>
                <c:pt idx="39925">
                  <c:v>0.71205635812377299</c:v>
                </c:pt>
                <c:pt idx="39926">
                  <c:v>0.71207419297306895</c:v>
                </c:pt>
                <c:pt idx="39927">
                  <c:v>0.71209202782236403</c:v>
                </c:pt>
                <c:pt idx="39928">
                  <c:v>0.71210986267165999</c:v>
                </c:pt>
                <c:pt idx="39929">
                  <c:v>0.71212769752095595</c:v>
                </c:pt>
                <c:pt idx="39930">
                  <c:v>0.71214553237025102</c:v>
                </c:pt>
                <c:pt idx="39931">
                  <c:v>0.71216336721954698</c:v>
                </c:pt>
                <c:pt idx="39932">
                  <c:v>0.71218120206884195</c:v>
                </c:pt>
                <c:pt idx="39933">
                  <c:v>0.71219903691813802</c:v>
                </c:pt>
                <c:pt idx="39934">
                  <c:v>0.71221687176743298</c:v>
                </c:pt>
                <c:pt idx="39935">
                  <c:v>0.71223470661672905</c:v>
                </c:pt>
                <c:pt idx="39936">
                  <c:v>0.71225254146602401</c:v>
                </c:pt>
                <c:pt idx="39937">
                  <c:v>0.71227037631531998</c:v>
                </c:pt>
                <c:pt idx="39938">
                  <c:v>0.71228821116461505</c:v>
                </c:pt>
                <c:pt idx="39939">
                  <c:v>0.71230604601391101</c:v>
                </c:pt>
                <c:pt idx="39940">
                  <c:v>0.71232388086320597</c:v>
                </c:pt>
                <c:pt idx="39941">
                  <c:v>0.71234171571250204</c:v>
                </c:pt>
                <c:pt idx="39942">
                  <c:v>0.71235955056179701</c:v>
                </c:pt>
                <c:pt idx="39943">
                  <c:v>0.71237738541109297</c:v>
                </c:pt>
                <c:pt idx="39944">
                  <c:v>0.71239522026038804</c:v>
                </c:pt>
                <c:pt idx="39945">
                  <c:v>0.712413055109684</c:v>
                </c:pt>
                <c:pt idx="39946">
                  <c:v>0.71243088995897896</c:v>
                </c:pt>
                <c:pt idx="39947">
                  <c:v>0.71244872480827504</c:v>
                </c:pt>
                <c:pt idx="39948">
                  <c:v>0.71246655965757</c:v>
                </c:pt>
                <c:pt idx="39949">
                  <c:v>0.71248439450686596</c:v>
                </c:pt>
                <c:pt idx="39950">
                  <c:v>0.71250222935616103</c:v>
                </c:pt>
                <c:pt idx="39951">
                  <c:v>0.71252006420545699</c:v>
                </c:pt>
                <c:pt idx="39952">
                  <c:v>0.71253789905475295</c:v>
                </c:pt>
                <c:pt idx="39953">
                  <c:v>0.71255573390404803</c:v>
                </c:pt>
                <c:pt idx="39954">
                  <c:v>0.71257356875334399</c:v>
                </c:pt>
                <c:pt idx="39955">
                  <c:v>0.71259140360263895</c:v>
                </c:pt>
                <c:pt idx="39956">
                  <c:v>0.71260923845193502</c:v>
                </c:pt>
                <c:pt idx="39957">
                  <c:v>0.71262707330122999</c:v>
                </c:pt>
                <c:pt idx="39958">
                  <c:v>0.71264490815052595</c:v>
                </c:pt>
                <c:pt idx="39959">
                  <c:v>0.71266274299982102</c:v>
                </c:pt>
                <c:pt idx="39960">
                  <c:v>0.71268057784911698</c:v>
                </c:pt>
                <c:pt idx="39961">
                  <c:v>0.71269841269841205</c:v>
                </c:pt>
                <c:pt idx="39962">
                  <c:v>0.71271624754770802</c:v>
                </c:pt>
                <c:pt idx="39963">
                  <c:v>0.71273408239700298</c:v>
                </c:pt>
                <c:pt idx="39964">
                  <c:v>0.71275191724629905</c:v>
                </c:pt>
                <c:pt idx="39965">
                  <c:v>0.71276975209559401</c:v>
                </c:pt>
                <c:pt idx="39966">
                  <c:v>0.71278758694488997</c:v>
                </c:pt>
                <c:pt idx="39967">
                  <c:v>0.71280542179418505</c:v>
                </c:pt>
                <c:pt idx="39968">
                  <c:v>0.71282325664348101</c:v>
                </c:pt>
                <c:pt idx="39969">
                  <c:v>0.71284109149277597</c:v>
                </c:pt>
                <c:pt idx="39970">
                  <c:v>0.71285892634207204</c:v>
                </c:pt>
                <c:pt idx="39971">
                  <c:v>0.712876761191367</c:v>
                </c:pt>
                <c:pt idx="39972">
                  <c:v>0.71289459604066296</c:v>
                </c:pt>
                <c:pt idx="39973">
                  <c:v>0.71291243088995804</c:v>
                </c:pt>
                <c:pt idx="39974">
                  <c:v>0.712930265739254</c:v>
                </c:pt>
                <c:pt idx="39975">
                  <c:v>0.71294810058854996</c:v>
                </c:pt>
                <c:pt idx="39976">
                  <c:v>0.71296593543784503</c:v>
                </c:pt>
                <c:pt idx="39977">
                  <c:v>0.71298377028714099</c:v>
                </c:pt>
                <c:pt idx="39978">
                  <c:v>0.71300160513643596</c:v>
                </c:pt>
                <c:pt idx="39979">
                  <c:v>0.71301943998573203</c:v>
                </c:pt>
                <c:pt idx="39980">
                  <c:v>0.71303727483502699</c:v>
                </c:pt>
                <c:pt idx="39981">
                  <c:v>0.71305510968432295</c:v>
                </c:pt>
                <c:pt idx="39982">
                  <c:v>0.71307294453361802</c:v>
                </c:pt>
                <c:pt idx="39983">
                  <c:v>0.71309077938291399</c:v>
                </c:pt>
                <c:pt idx="39984">
                  <c:v>0.71310861423220895</c:v>
                </c:pt>
                <c:pt idx="39985">
                  <c:v>0.71312644908150502</c:v>
                </c:pt>
                <c:pt idx="39986">
                  <c:v>0.71314428393079998</c:v>
                </c:pt>
                <c:pt idx="39987">
                  <c:v>0.71316211878009605</c:v>
                </c:pt>
                <c:pt idx="39988">
                  <c:v>0.71317995362939102</c:v>
                </c:pt>
                <c:pt idx="39989">
                  <c:v>0.71319778847868698</c:v>
                </c:pt>
                <c:pt idx="39990">
                  <c:v>0.71321562332798205</c:v>
                </c:pt>
                <c:pt idx="39991">
                  <c:v>0.71323345817727801</c:v>
                </c:pt>
                <c:pt idx="39992">
                  <c:v>0.71325129302657397</c:v>
                </c:pt>
                <c:pt idx="39993">
                  <c:v>0.71326912787586905</c:v>
                </c:pt>
                <c:pt idx="39994">
                  <c:v>0.71328696272516501</c:v>
                </c:pt>
                <c:pt idx="39995">
                  <c:v>0.71330479757445997</c:v>
                </c:pt>
                <c:pt idx="39996">
                  <c:v>0.71332263242375604</c:v>
                </c:pt>
                <c:pt idx="39997">
                  <c:v>0.713340467273051</c:v>
                </c:pt>
                <c:pt idx="39998">
                  <c:v>0.71335830212234697</c:v>
                </c:pt>
                <c:pt idx="39999">
                  <c:v>0.71337613697164204</c:v>
                </c:pt>
                <c:pt idx="40000">
                  <c:v>0.713393971820938</c:v>
                </c:pt>
                <c:pt idx="40001">
                  <c:v>0.71341180667023296</c:v>
                </c:pt>
                <c:pt idx="40002">
                  <c:v>0.71342964151952903</c:v>
                </c:pt>
                <c:pt idx="40003">
                  <c:v>0.713447476368824</c:v>
                </c:pt>
                <c:pt idx="40004">
                  <c:v>0.71346531121811996</c:v>
                </c:pt>
                <c:pt idx="40005">
                  <c:v>0.71348314606741503</c:v>
                </c:pt>
                <c:pt idx="40006">
                  <c:v>0.71350098091671099</c:v>
                </c:pt>
                <c:pt idx="40007">
                  <c:v>0.71351881576600595</c:v>
                </c:pt>
                <c:pt idx="40008">
                  <c:v>0.71353665061530203</c:v>
                </c:pt>
                <c:pt idx="40009">
                  <c:v>0.71355448546459699</c:v>
                </c:pt>
                <c:pt idx="40010">
                  <c:v>0.71357232031389295</c:v>
                </c:pt>
                <c:pt idx="40011">
                  <c:v>0.71359015516318802</c:v>
                </c:pt>
                <c:pt idx="40012">
                  <c:v>0.71360799001248398</c:v>
                </c:pt>
                <c:pt idx="40013">
                  <c:v>0.71362582486177994</c:v>
                </c:pt>
                <c:pt idx="40014">
                  <c:v>0.71364365971107502</c:v>
                </c:pt>
                <c:pt idx="40015">
                  <c:v>0.71366149456037098</c:v>
                </c:pt>
                <c:pt idx="40016">
                  <c:v>0.71367932940966605</c:v>
                </c:pt>
                <c:pt idx="40017">
                  <c:v>0.71369716425896201</c:v>
                </c:pt>
                <c:pt idx="40018">
                  <c:v>0.71371499910825698</c:v>
                </c:pt>
                <c:pt idx="40019">
                  <c:v>0.71373283395755305</c:v>
                </c:pt>
                <c:pt idx="40020">
                  <c:v>0.71375066880684801</c:v>
                </c:pt>
                <c:pt idx="40021">
                  <c:v>0.71376850365614397</c:v>
                </c:pt>
                <c:pt idx="40022">
                  <c:v>0.71378633850543904</c:v>
                </c:pt>
                <c:pt idx="40023">
                  <c:v>0.71380417335473501</c:v>
                </c:pt>
                <c:pt idx="40024">
                  <c:v>0.71382200820402997</c:v>
                </c:pt>
                <c:pt idx="40025">
                  <c:v>0.71383984305332604</c:v>
                </c:pt>
                <c:pt idx="40026">
                  <c:v>0.713857677902621</c:v>
                </c:pt>
                <c:pt idx="40027">
                  <c:v>0.71387551275191696</c:v>
                </c:pt>
                <c:pt idx="40028">
                  <c:v>0.71389334760121204</c:v>
                </c:pt>
                <c:pt idx="40029">
                  <c:v>0.713911182450508</c:v>
                </c:pt>
                <c:pt idx="40030">
                  <c:v>0.71392901729980296</c:v>
                </c:pt>
                <c:pt idx="40031">
                  <c:v>0.71394685214909903</c:v>
                </c:pt>
                <c:pt idx="40032">
                  <c:v>0.71396468699839399</c:v>
                </c:pt>
                <c:pt idx="40033">
                  <c:v>0.71398252184768995</c:v>
                </c:pt>
                <c:pt idx="40034">
                  <c:v>0.71400035669698503</c:v>
                </c:pt>
                <c:pt idx="40035">
                  <c:v>0.71401819154628099</c:v>
                </c:pt>
                <c:pt idx="40036">
                  <c:v>0.71403602639557695</c:v>
                </c:pt>
                <c:pt idx="40037">
                  <c:v>0.71405386124487202</c:v>
                </c:pt>
                <c:pt idx="40038">
                  <c:v>0.71407169609416798</c:v>
                </c:pt>
                <c:pt idx="40039">
                  <c:v>0.71408953094346295</c:v>
                </c:pt>
                <c:pt idx="40040">
                  <c:v>0.71410736579275902</c:v>
                </c:pt>
                <c:pt idx="40041">
                  <c:v>0.71412520064205398</c:v>
                </c:pt>
                <c:pt idx="40042">
                  <c:v>0.71414303549135005</c:v>
                </c:pt>
                <c:pt idx="40043">
                  <c:v>0.71416087034064502</c:v>
                </c:pt>
                <c:pt idx="40044">
                  <c:v>0.71417870518994098</c:v>
                </c:pt>
                <c:pt idx="40045">
                  <c:v>0.71419654003923605</c:v>
                </c:pt>
                <c:pt idx="40046">
                  <c:v>0.71421437488853201</c:v>
                </c:pt>
                <c:pt idx="40047">
                  <c:v>0.71423220973782697</c:v>
                </c:pt>
                <c:pt idx="40048">
                  <c:v>0.71425004458712305</c:v>
                </c:pt>
                <c:pt idx="40049">
                  <c:v>0.71426787943641801</c:v>
                </c:pt>
                <c:pt idx="40050">
                  <c:v>0.71428571428571397</c:v>
                </c:pt>
                <c:pt idx="40051">
                  <c:v>0.71430354913500904</c:v>
                </c:pt>
                <c:pt idx="40052">
                  <c:v>0.714321383984305</c:v>
                </c:pt>
                <c:pt idx="40053">
                  <c:v>0.71433921883359996</c:v>
                </c:pt>
                <c:pt idx="40054">
                  <c:v>0.71435705368289604</c:v>
                </c:pt>
                <c:pt idx="40055">
                  <c:v>0.714374888532191</c:v>
                </c:pt>
                <c:pt idx="40056">
                  <c:v>0.71439272338148696</c:v>
                </c:pt>
                <c:pt idx="40057">
                  <c:v>0.71441055823078203</c:v>
                </c:pt>
                <c:pt idx="40058">
                  <c:v>0.71442839308007799</c:v>
                </c:pt>
                <c:pt idx="40059">
                  <c:v>0.71444622792937396</c:v>
                </c:pt>
                <c:pt idx="40060">
                  <c:v>0.71446406277866903</c:v>
                </c:pt>
                <c:pt idx="40061">
                  <c:v>0.71448189762796499</c:v>
                </c:pt>
                <c:pt idx="40062">
                  <c:v>0.71449973247725995</c:v>
                </c:pt>
                <c:pt idx="40063">
                  <c:v>0.71451756732655602</c:v>
                </c:pt>
                <c:pt idx="40064">
                  <c:v>0.71453540217585099</c:v>
                </c:pt>
                <c:pt idx="40065">
                  <c:v>0.71455323702514695</c:v>
                </c:pt>
                <c:pt idx="40066">
                  <c:v>0.71457107187444202</c:v>
                </c:pt>
                <c:pt idx="40067">
                  <c:v>0.71458890672373798</c:v>
                </c:pt>
                <c:pt idx="40068">
                  <c:v>0.71460674157303306</c:v>
                </c:pt>
                <c:pt idx="40069">
                  <c:v>0.71462457642232902</c:v>
                </c:pt>
                <c:pt idx="40070">
                  <c:v>0.71464241127162398</c:v>
                </c:pt>
                <c:pt idx="40071">
                  <c:v>0.71466024612092005</c:v>
                </c:pt>
                <c:pt idx="40072">
                  <c:v>0.71467808097021501</c:v>
                </c:pt>
                <c:pt idx="40073">
                  <c:v>0.71469591581951097</c:v>
                </c:pt>
                <c:pt idx="40074">
                  <c:v>0.71471375066880605</c:v>
                </c:pt>
                <c:pt idx="40075">
                  <c:v>0.71473158551810201</c:v>
                </c:pt>
                <c:pt idx="40076">
                  <c:v>0.71474942036739697</c:v>
                </c:pt>
                <c:pt idx="40077">
                  <c:v>0.71476725521669304</c:v>
                </c:pt>
                <c:pt idx="40078">
                  <c:v>0.714785090065988</c:v>
                </c:pt>
                <c:pt idx="40079">
                  <c:v>0.71480292491528397</c:v>
                </c:pt>
                <c:pt idx="40080">
                  <c:v>0.71482075976458004</c:v>
                </c:pt>
                <c:pt idx="40081">
                  <c:v>0.714838594613875</c:v>
                </c:pt>
                <c:pt idx="40082">
                  <c:v>0.71485642946317096</c:v>
                </c:pt>
                <c:pt idx="40083">
                  <c:v>0.71487426431246603</c:v>
                </c:pt>
                <c:pt idx="40084">
                  <c:v>0.714892099161762</c:v>
                </c:pt>
                <c:pt idx="40085">
                  <c:v>0.71490993401105696</c:v>
                </c:pt>
                <c:pt idx="40086">
                  <c:v>0.71492776886035303</c:v>
                </c:pt>
                <c:pt idx="40087">
                  <c:v>0.71494560370964799</c:v>
                </c:pt>
                <c:pt idx="40088">
                  <c:v>0.71496343855894395</c:v>
                </c:pt>
                <c:pt idx="40089">
                  <c:v>0.71498127340823903</c:v>
                </c:pt>
                <c:pt idx="40090">
                  <c:v>0.71499910825753499</c:v>
                </c:pt>
                <c:pt idx="40091">
                  <c:v>0.71501694310682995</c:v>
                </c:pt>
                <c:pt idx="40092">
                  <c:v>0.71503477795612602</c:v>
                </c:pt>
                <c:pt idx="40093">
                  <c:v>0.71505261280542098</c:v>
                </c:pt>
                <c:pt idx="40094">
                  <c:v>0.71507044765471695</c:v>
                </c:pt>
                <c:pt idx="40095">
                  <c:v>0.71508828250401202</c:v>
                </c:pt>
                <c:pt idx="40096">
                  <c:v>0.71510611735330798</c:v>
                </c:pt>
                <c:pt idx="40097">
                  <c:v>0.71512395220260305</c:v>
                </c:pt>
                <c:pt idx="40098">
                  <c:v>0.71514178705189901</c:v>
                </c:pt>
                <c:pt idx="40099">
                  <c:v>0.71515962190119498</c:v>
                </c:pt>
                <c:pt idx="40100">
                  <c:v>0.71517745675049005</c:v>
                </c:pt>
                <c:pt idx="40101">
                  <c:v>0.71519529159978601</c:v>
                </c:pt>
                <c:pt idx="40102">
                  <c:v>0.71521312644908097</c:v>
                </c:pt>
                <c:pt idx="40103">
                  <c:v>0.71523096129837704</c:v>
                </c:pt>
                <c:pt idx="40104">
                  <c:v>0.71524879614767201</c:v>
                </c:pt>
                <c:pt idx="40105">
                  <c:v>0.71526663099696797</c:v>
                </c:pt>
                <c:pt idx="40106">
                  <c:v>0.71528446584626304</c:v>
                </c:pt>
                <c:pt idx="40107">
                  <c:v>0.715302300695559</c:v>
                </c:pt>
                <c:pt idx="40108">
                  <c:v>0.71532013554485396</c:v>
                </c:pt>
                <c:pt idx="40109">
                  <c:v>0.71533797039415004</c:v>
                </c:pt>
                <c:pt idx="40110">
                  <c:v>0.715355805243445</c:v>
                </c:pt>
                <c:pt idx="40111">
                  <c:v>0.71537364009274096</c:v>
                </c:pt>
                <c:pt idx="40112">
                  <c:v>0.71539147494203603</c:v>
                </c:pt>
                <c:pt idx="40113">
                  <c:v>0.71540930979133199</c:v>
                </c:pt>
                <c:pt idx="40114">
                  <c:v>0.71542714464062696</c:v>
                </c:pt>
                <c:pt idx="40115">
                  <c:v>0.71544497948992303</c:v>
                </c:pt>
                <c:pt idx="40116">
                  <c:v>0.71546281433921799</c:v>
                </c:pt>
                <c:pt idx="40117">
                  <c:v>0.71548064918851395</c:v>
                </c:pt>
                <c:pt idx="40118">
                  <c:v>0.71549848403780902</c:v>
                </c:pt>
                <c:pt idx="40119">
                  <c:v>0.71551631888710499</c:v>
                </c:pt>
                <c:pt idx="40120">
                  <c:v>0.71553415373640095</c:v>
                </c:pt>
                <c:pt idx="40121">
                  <c:v>0.71555198858569602</c:v>
                </c:pt>
                <c:pt idx="40122">
                  <c:v>0.71556982343499198</c:v>
                </c:pt>
                <c:pt idx="40123">
                  <c:v>0.71558765828428705</c:v>
                </c:pt>
                <c:pt idx="40124">
                  <c:v>0.71560549313358301</c:v>
                </c:pt>
                <c:pt idx="40125">
                  <c:v>0.71562332798287798</c:v>
                </c:pt>
                <c:pt idx="40126">
                  <c:v>0.71564116283217405</c:v>
                </c:pt>
                <c:pt idx="40127">
                  <c:v>0.71565899768146901</c:v>
                </c:pt>
                <c:pt idx="40128">
                  <c:v>0.71567683253076497</c:v>
                </c:pt>
                <c:pt idx="40129">
                  <c:v>0.71569466738006005</c:v>
                </c:pt>
                <c:pt idx="40130">
                  <c:v>0.71571250222935601</c:v>
                </c:pt>
                <c:pt idx="40131">
                  <c:v>0.71573033707865097</c:v>
                </c:pt>
                <c:pt idx="40132">
                  <c:v>0.71574817192794704</c:v>
                </c:pt>
                <c:pt idx="40133">
                  <c:v>0.715766006777242</c:v>
                </c:pt>
                <c:pt idx="40134">
                  <c:v>0.71578384162653796</c:v>
                </c:pt>
                <c:pt idx="40135">
                  <c:v>0.71580167647583304</c:v>
                </c:pt>
                <c:pt idx="40136">
                  <c:v>0.715819511325129</c:v>
                </c:pt>
                <c:pt idx="40137">
                  <c:v>0.71583734617442396</c:v>
                </c:pt>
                <c:pt idx="40138">
                  <c:v>0.71585518102372003</c:v>
                </c:pt>
                <c:pt idx="40139">
                  <c:v>0.715873015873015</c:v>
                </c:pt>
                <c:pt idx="40140">
                  <c:v>0.71589085072231096</c:v>
                </c:pt>
                <c:pt idx="40141">
                  <c:v>0.71590868557160603</c:v>
                </c:pt>
                <c:pt idx="40142">
                  <c:v>0.71592652042090199</c:v>
                </c:pt>
                <c:pt idx="40143">
                  <c:v>0.71594435527019795</c:v>
                </c:pt>
                <c:pt idx="40144">
                  <c:v>0.71596219011949302</c:v>
                </c:pt>
                <c:pt idx="40145">
                  <c:v>0.71598002496878899</c:v>
                </c:pt>
                <c:pt idx="40146">
                  <c:v>0.71599785981808395</c:v>
                </c:pt>
                <c:pt idx="40147">
                  <c:v>0.71601569466738002</c:v>
                </c:pt>
                <c:pt idx="40148">
                  <c:v>0.71603352951667498</c:v>
                </c:pt>
                <c:pt idx="40149">
                  <c:v>0.71605136436597105</c:v>
                </c:pt>
                <c:pt idx="40150">
                  <c:v>0.71606919921526602</c:v>
                </c:pt>
                <c:pt idx="40151">
                  <c:v>0.71608703406456198</c:v>
                </c:pt>
                <c:pt idx="40152">
                  <c:v>0.71610486891385705</c:v>
                </c:pt>
                <c:pt idx="40153">
                  <c:v>0.71612270376315301</c:v>
                </c:pt>
                <c:pt idx="40154">
                  <c:v>0.71614053861244797</c:v>
                </c:pt>
                <c:pt idx="40155">
                  <c:v>0.71615837346174405</c:v>
                </c:pt>
                <c:pt idx="40156">
                  <c:v>0.71617620831103901</c:v>
                </c:pt>
                <c:pt idx="40157">
                  <c:v>0.71619404316033497</c:v>
                </c:pt>
                <c:pt idx="40158">
                  <c:v>0.71621187800963004</c:v>
                </c:pt>
                <c:pt idx="40159">
                  <c:v>0.716229712858926</c:v>
                </c:pt>
                <c:pt idx="40160">
                  <c:v>0.71624754770822097</c:v>
                </c:pt>
                <c:pt idx="40161">
                  <c:v>0.71626538255751704</c:v>
                </c:pt>
                <c:pt idx="40162">
                  <c:v>0.716283217406812</c:v>
                </c:pt>
                <c:pt idx="40163">
                  <c:v>0.71630105225610796</c:v>
                </c:pt>
                <c:pt idx="40164">
                  <c:v>0.71631888710540303</c:v>
                </c:pt>
                <c:pt idx="40165">
                  <c:v>0.716336721954699</c:v>
                </c:pt>
                <c:pt idx="40166">
                  <c:v>0.71635455680399496</c:v>
                </c:pt>
                <c:pt idx="40167">
                  <c:v>0.71637239165329003</c:v>
                </c:pt>
                <c:pt idx="40168">
                  <c:v>0.71639022650258599</c:v>
                </c:pt>
                <c:pt idx="40169">
                  <c:v>0.71640806135188095</c:v>
                </c:pt>
                <c:pt idx="40170">
                  <c:v>0.71642589620117703</c:v>
                </c:pt>
                <c:pt idx="40171">
                  <c:v>0.71644373105047199</c:v>
                </c:pt>
                <c:pt idx="40172">
                  <c:v>0.71646156589976795</c:v>
                </c:pt>
                <c:pt idx="40173">
                  <c:v>0.71647940074906302</c:v>
                </c:pt>
                <c:pt idx="40174">
                  <c:v>0.71649723559835898</c:v>
                </c:pt>
                <c:pt idx="40175">
                  <c:v>0.71651507044765395</c:v>
                </c:pt>
                <c:pt idx="40176">
                  <c:v>0.71653290529695002</c:v>
                </c:pt>
                <c:pt idx="40177">
                  <c:v>0.71655074014624498</c:v>
                </c:pt>
                <c:pt idx="40178">
                  <c:v>0.71656857499554105</c:v>
                </c:pt>
                <c:pt idx="40179">
                  <c:v>0.71658640984483601</c:v>
                </c:pt>
                <c:pt idx="40180">
                  <c:v>0.71660424469413198</c:v>
                </c:pt>
                <c:pt idx="40181">
                  <c:v>0.71662207954342705</c:v>
                </c:pt>
                <c:pt idx="40182">
                  <c:v>0.71663991439272301</c:v>
                </c:pt>
                <c:pt idx="40183">
                  <c:v>0.71665774924201797</c:v>
                </c:pt>
                <c:pt idx="40184">
                  <c:v>0.71667558409131404</c:v>
                </c:pt>
                <c:pt idx="40185">
                  <c:v>0.71669341894061001</c:v>
                </c:pt>
                <c:pt idx="40186">
                  <c:v>0.71671125378990497</c:v>
                </c:pt>
                <c:pt idx="40187">
                  <c:v>0.71672908863920104</c:v>
                </c:pt>
                <c:pt idx="40188">
                  <c:v>0.716746923488496</c:v>
                </c:pt>
                <c:pt idx="40189">
                  <c:v>0.71676475833779196</c:v>
                </c:pt>
                <c:pt idx="40190">
                  <c:v>0.71678259318708704</c:v>
                </c:pt>
                <c:pt idx="40191">
                  <c:v>0.716800428036383</c:v>
                </c:pt>
                <c:pt idx="40192">
                  <c:v>0.71681826288567796</c:v>
                </c:pt>
                <c:pt idx="40193">
                  <c:v>0.71683609773497403</c:v>
                </c:pt>
                <c:pt idx="40194">
                  <c:v>0.71685393258426899</c:v>
                </c:pt>
                <c:pt idx="40195">
                  <c:v>0.71687176743356495</c:v>
                </c:pt>
                <c:pt idx="40196">
                  <c:v>0.71688960228286003</c:v>
                </c:pt>
                <c:pt idx="40197">
                  <c:v>0.71690743713215599</c:v>
                </c:pt>
                <c:pt idx="40198">
                  <c:v>0.71692527198145095</c:v>
                </c:pt>
                <c:pt idx="40199">
                  <c:v>0.71694310683074702</c:v>
                </c:pt>
                <c:pt idx="40200">
                  <c:v>0.71696094168004199</c:v>
                </c:pt>
                <c:pt idx="40201">
                  <c:v>0.71697877652933795</c:v>
                </c:pt>
                <c:pt idx="40202">
                  <c:v>0.71699661137863302</c:v>
                </c:pt>
                <c:pt idx="40203">
                  <c:v>0.71701444622792898</c:v>
                </c:pt>
                <c:pt idx="40204">
                  <c:v>0.71703228107722405</c:v>
                </c:pt>
                <c:pt idx="40205">
                  <c:v>0.71705011592652002</c:v>
                </c:pt>
                <c:pt idx="40206">
                  <c:v>0.71706795077581598</c:v>
                </c:pt>
                <c:pt idx="40207">
                  <c:v>0.71708578562511105</c:v>
                </c:pt>
                <c:pt idx="40208">
                  <c:v>0.71710362047440701</c:v>
                </c:pt>
                <c:pt idx="40209">
                  <c:v>0.71712145532370197</c:v>
                </c:pt>
                <c:pt idx="40210">
                  <c:v>0.71713929017299805</c:v>
                </c:pt>
                <c:pt idx="40211">
                  <c:v>0.71715712502229301</c:v>
                </c:pt>
                <c:pt idx="40212">
                  <c:v>0.71717495987158897</c:v>
                </c:pt>
                <c:pt idx="40213">
                  <c:v>0.71719279472088404</c:v>
                </c:pt>
                <c:pt idx="40214">
                  <c:v>0.71721062957018</c:v>
                </c:pt>
                <c:pt idx="40215">
                  <c:v>0.71722846441947496</c:v>
                </c:pt>
                <c:pt idx="40216">
                  <c:v>0.71724629926877104</c:v>
                </c:pt>
                <c:pt idx="40217">
                  <c:v>0.717264134118066</c:v>
                </c:pt>
                <c:pt idx="40218">
                  <c:v>0.71728196896736196</c:v>
                </c:pt>
                <c:pt idx="40219">
                  <c:v>0.71729980381665703</c:v>
                </c:pt>
                <c:pt idx="40220">
                  <c:v>0.71731763866595299</c:v>
                </c:pt>
                <c:pt idx="40221">
                  <c:v>0.71733547351524796</c:v>
                </c:pt>
                <c:pt idx="40222">
                  <c:v>0.71735330836454403</c:v>
                </c:pt>
                <c:pt idx="40223">
                  <c:v>0.71737114321383899</c:v>
                </c:pt>
                <c:pt idx="40224">
                  <c:v>0.71738897806313495</c:v>
                </c:pt>
                <c:pt idx="40225">
                  <c:v>0.71740681291243003</c:v>
                </c:pt>
                <c:pt idx="40226">
                  <c:v>0.71742464776172599</c:v>
                </c:pt>
                <c:pt idx="40227">
                  <c:v>0.71744248261102195</c:v>
                </c:pt>
                <c:pt idx="40228">
                  <c:v>0.71746031746031702</c:v>
                </c:pt>
                <c:pt idx="40229">
                  <c:v>0.71747815230961298</c:v>
                </c:pt>
                <c:pt idx="40230">
                  <c:v>0.71749598715890806</c:v>
                </c:pt>
                <c:pt idx="40231">
                  <c:v>0.71751382200820402</c:v>
                </c:pt>
                <c:pt idx="40232">
                  <c:v>0.71753165685749898</c:v>
                </c:pt>
                <c:pt idx="40233">
                  <c:v>0.71754949170679505</c:v>
                </c:pt>
                <c:pt idx="40234">
                  <c:v>0.71756732655609001</c:v>
                </c:pt>
                <c:pt idx="40235">
                  <c:v>0.71758516140538597</c:v>
                </c:pt>
                <c:pt idx="40236">
                  <c:v>0.71760299625468105</c:v>
                </c:pt>
                <c:pt idx="40237">
                  <c:v>0.71762083110397701</c:v>
                </c:pt>
                <c:pt idx="40238">
                  <c:v>0.71763866595327197</c:v>
                </c:pt>
                <c:pt idx="40239">
                  <c:v>0.71765650080256804</c:v>
                </c:pt>
                <c:pt idx="40240">
                  <c:v>0.717674335651863</c:v>
                </c:pt>
                <c:pt idx="40241">
                  <c:v>0.71769217050115897</c:v>
                </c:pt>
                <c:pt idx="40242">
                  <c:v>0.71771000535045404</c:v>
                </c:pt>
                <c:pt idx="40243">
                  <c:v>0.71772784019975</c:v>
                </c:pt>
                <c:pt idx="40244">
                  <c:v>0.71774567504904496</c:v>
                </c:pt>
                <c:pt idx="40245">
                  <c:v>0.71776350989834103</c:v>
                </c:pt>
                <c:pt idx="40246">
                  <c:v>0.717781344747636</c:v>
                </c:pt>
                <c:pt idx="40247">
                  <c:v>0.71779917959693196</c:v>
                </c:pt>
                <c:pt idx="40248">
                  <c:v>0.71781701444622703</c:v>
                </c:pt>
                <c:pt idx="40249">
                  <c:v>0.71783484929552299</c:v>
                </c:pt>
                <c:pt idx="40250">
                  <c:v>0.71785268414481895</c:v>
                </c:pt>
                <c:pt idx="40251">
                  <c:v>0.71787051899411403</c:v>
                </c:pt>
                <c:pt idx="40252">
                  <c:v>0.71788835384340999</c:v>
                </c:pt>
                <c:pt idx="40253">
                  <c:v>0.71790618869270495</c:v>
                </c:pt>
                <c:pt idx="40254">
                  <c:v>0.71792402354200102</c:v>
                </c:pt>
                <c:pt idx="40255">
                  <c:v>0.71794185839129598</c:v>
                </c:pt>
                <c:pt idx="40256">
                  <c:v>0.71795969324059195</c:v>
                </c:pt>
                <c:pt idx="40257">
                  <c:v>0.71797752808988702</c:v>
                </c:pt>
                <c:pt idx="40258">
                  <c:v>0.71799536293918298</c:v>
                </c:pt>
                <c:pt idx="40259">
                  <c:v>0.71801319778847805</c:v>
                </c:pt>
                <c:pt idx="40260">
                  <c:v>0.71803103263777401</c:v>
                </c:pt>
                <c:pt idx="40261">
                  <c:v>0.71804886748706898</c:v>
                </c:pt>
                <c:pt idx="40262">
                  <c:v>0.71806670233636505</c:v>
                </c:pt>
                <c:pt idx="40263">
                  <c:v>0.71808453718566001</c:v>
                </c:pt>
                <c:pt idx="40264">
                  <c:v>0.71810237203495597</c:v>
                </c:pt>
                <c:pt idx="40265">
                  <c:v>0.71812020688425104</c:v>
                </c:pt>
                <c:pt idx="40266">
                  <c:v>0.71813804173354701</c:v>
                </c:pt>
                <c:pt idx="40267">
                  <c:v>0.71815587658284197</c:v>
                </c:pt>
                <c:pt idx="40268">
                  <c:v>0.71817371143213804</c:v>
                </c:pt>
                <c:pt idx="40269">
                  <c:v>0.718191546281433</c:v>
                </c:pt>
                <c:pt idx="40270">
                  <c:v>0.71820938113072896</c:v>
                </c:pt>
                <c:pt idx="40271">
                  <c:v>0.71822721598002404</c:v>
                </c:pt>
                <c:pt idx="40272">
                  <c:v>0.71824505082932</c:v>
                </c:pt>
                <c:pt idx="40273">
                  <c:v>0.71826288567861596</c:v>
                </c:pt>
                <c:pt idx="40274">
                  <c:v>0.71828072052791103</c:v>
                </c:pt>
                <c:pt idx="40275">
                  <c:v>0.71829855537720699</c:v>
                </c:pt>
                <c:pt idx="40276">
                  <c:v>0.71831639022650196</c:v>
                </c:pt>
                <c:pt idx="40277">
                  <c:v>0.71833422507579803</c:v>
                </c:pt>
                <c:pt idx="40278">
                  <c:v>0.71835205992509299</c:v>
                </c:pt>
                <c:pt idx="40279">
                  <c:v>0.71836989477438895</c:v>
                </c:pt>
                <c:pt idx="40280">
                  <c:v>0.71838772962368402</c:v>
                </c:pt>
                <c:pt idx="40281">
                  <c:v>0.71840556447297998</c:v>
                </c:pt>
                <c:pt idx="40282">
                  <c:v>0.71842339932227495</c:v>
                </c:pt>
                <c:pt idx="40283">
                  <c:v>0.71844123417157102</c:v>
                </c:pt>
                <c:pt idx="40284">
                  <c:v>0.71845906902086598</c:v>
                </c:pt>
                <c:pt idx="40285">
                  <c:v>0.71847690387016205</c:v>
                </c:pt>
                <c:pt idx="40286">
                  <c:v>0.71849473871945702</c:v>
                </c:pt>
                <c:pt idx="40287">
                  <c:v>0.71851257356875298</c:v>
                </c:pt>
                <c:pt idx="40288">
                  <c:v>0.71853040841804805</c:v>
                </c:pt>
                <c:pt idx="40289">
                  <c:v>0.71854824326734401</c:v>
                </c:pt>
                <c:pt idx="40290">
                  <c:v>0.71856607811663897</c:v>
                </c:pt>
                <c:pt idx="40291">
                  <c:v>0.71858391296593505</c:v>
                </c:pt>
                <c:pt idx="40292">
                  <c:v>0.71860174781523101</c:v>
                </c:pt>
                <c:pt idx="40293">
                  <c:v>0.71861958266452597</c:v>
                </c:pt>
                <c:pt idx="40294">
                  <c:v>0.71863741751382204</c:v>
                </c:pt>
                <c:pt idx="40295">
                  <c:v>0.718655252363117</c:v>
                </c:pt>
                <c:pt idx="40296">
                  <c:v>0.71867308721241296</c:v>
                </c:pt>
                <c:pt idx="40297">
                  <c:v>0.71869092206170804</c:v>
                </c:pt>
                <c:pt idx="40298">
                  <c:v>0.718708756911004</c:v>
                </c:pt>
                <c:pt idx="40299">
                  <c:v>0.71872659176029896</c:v>
                </c:pt>
                <c:pt idx="40300">
                  <c:v>0.71874442660959503</c:v>
                </c:pt>
                <c:pt idx="40301">
                  <c:v>0.71876226145888999</c:v>
                </c:pt>
                <c:pt idx="40302">
                  <c:v>0.71878009630818596</c:v>
                </c:pt>
                <c:pt idx="40303">
                  <c:v>0.71879793115748103</c:v>
                </c:pt>
                <c:pt idx="40304">
                  <c:v>0.71881576600677699</c:v>
                </c:pt>
                <c:pt idx="40305">
                  <c:v>0.71883360085607195</c:v>
                </c:pt>
                <c:pt idx="40306">
                  <c:v>0.71885143570536802</c:v>
                </c:pt>
                <c:pt idx="40307">
                  <c:v>0.71886927055466299</c:v>
                </c:pt>
                <c:pt idx="40308">
                  <c:v>0.71888710540395895</c:v>
                </c:pt>
                <c:pt idx="40309">
                  <c:v>0.71890494025325402</c:v>
                </c:pt>
                <c:pt idx="40310">
                  <c:v>0.71892277510254998</c:v>
                </c:pt>
                <c:pt idx="40311">
                  <c:v>0.71894060995184506</c:v>
                </c:pt>
                <c:pt idx="40312">
                  <c:v>0.71895844480114102</c:v>
                </c:pt>
                <c:pt idx="40313">
                  <c:v>0.71897627965043698</c:v>
                </c:pt>
                <c:pt idx="40314">
                  <c:v>0.71899411449973205</c:v>
                </c:pt>
                <c:pt idx="40315">
                  <c:v>0.71901194934902801</c:v>
                </c:pt>
                <c:pt idx="40316">
                  <c:v>0.71902978419832297</c:v>
                </c:pt>
                <c:pt idx="40317">
                  <c:v>0.71904761904761905</c:v>
                </c:pt>
                <c:pt idx="40318">
                  <c:v>0.71906545389691401</c:v>
                </c:pt>
                <c:pt idx="40319">
                  <c:v>0.71908328874620997</c:v>
                </c:pt>
                <c:pt idx="40320">
                  <c:v>0.71910112359550504</c:v>
                </c:pt>
                <c:pt idx="40321">
                  <c:v>0.719118958444801</c:v>
                </c:pt>
                <c:pt idx="40322">
                  <c:v>0.71913679329409597</c:v>
                </c:pt>
                <c:pt idx="40323">
                  <c:v>0.71915462814339204</c:v>
                </c:pt>
                <c:pt idx="40324">
                  <c:v>0.719172462992687</c:v>
                </c:pt>
                <c:pt idx="40325">
                  <c:v>0.71919029784198296</c:v>
                </c:pt>
                <c:pt idx="40326">
                  <c:v>0.71920813269127803</c:v>
                </c:pt>
                <c:pt idx="40327">
                  <c:v>0.719225967540574</c:v>
                </c:pt>
                <c:pt idx="40328">
                  <c:v>0.71924380238986896</c:v>
                </c:pt>
                <c:pt idx="40329">
                  <c:v>0.71926163723916503</c:v>
                </c:pt>
                <c:pt idx="40330">
                  <c:v>0.71927947208845999</c:v>
                </c:pt>
                <c:pt idx="40331">
                  <c:v>0.71929730693775595</c:v>
                </c:pt>
                <c:pt idx="40332">
                  <c:v>0.71931514178705103</c:v>
                </c:pt>
                <c:pt idx="40333">
                  <c:v>0.71933297663634699</c:v>
                </c:pt>
                <c:pt idx="40334">
                  <c:v>0.71935081148564295</c:v>
                </c:pt>
                <c:pt idx="40335">
                  <c:v>0.71936864633493802</c:v>
                </c:pt>
                <c:pt idx="40336">
                  <c:v>0.71938648118423398</c:v>
                </c:pt>
                <c:pt idx="40337">
                  <c:v>0.71940431603352895</c:v>
                </c:pt>
                <c:pt idx="40338">
                  <c:v>0.71942215088282502</c:v>
                </c:pt>
                <c:pt idx="40339">
                  <c:v>0.71943998573211998</c:v>
                </c:pt>
                <c:pt idx="40340">
                  <c:v>0.71945782058141605</c:v>
                </c:pt>
                <c:pt idx="40341">
                  <c:v>0.71947565543071101</c:v>
                </c:pt>
                <c:pt idx="40342">
                  <c:v>0.71949349028000698</c:v>
                </c:pt>
                <c:pt idx="40343">
                  <c:v>0.71951132512930205</c:v>
                </c:pt>
                <c:pt idx="40344">
                  <c:v>0.71952915997859801</c:v>
                </c:pt>
                <c:pt idx="40345">
                  <c:v>0.71954699482789297</c:v>
                </c:pt>
                <c:pt idx="40346">
                  <c:v>0.71956482967718904</c:v>
                </c:pt>
                <c:pt idx="40347">
                  <c:v>0.71958266452648401</c:v>
                </c:pt>
                <c:pt idx="40348">
                  <c:v>0.71960049937577997</c:v>
                </c:pt>
                <c:pt idx="40349">
                  <c:v>0.71961833422507504</c:v>
                </c:pt>
                <c:pt idx="40350">
                  <c:v>0.719636169074371</c:v>
                </c:pt>
                <c:pt idx="40351">
                  <c:v>0.71965400392366596</c:v>
                </c:pt>
                <c:pt idx="40352">
                  <c:v>0.71967183877296204</c:v>
                </c:pt>
                <c:pt idx="40353">
                  <c:v>0.719689673622257</c:v>
                </c:pt>
                <c:pt idx="40354">
                  <c:v>0.71970750847155296</c:v>
                </c:pt>
                <c:pt idx="40355">
                  <c:v>0.71972534332084803</c:v>
                </c:pt>
                <c:pt idx="40356">
                  <c:v>0.71974317817014399</c:v>
                </c:pt>
                <c:pt idx="40357">
                  <c:v>0.71976101301943995</c:v>
                </c:pt>
                <c:pt idx="40358">
                  <c:v>0.71977884786873503</c:v>
                </c:pt>
                <c:pt idx="40359">
                  <c:v>0.71979668271803099</c:v>
                </c:pt>
                <c:pt idx="40360">
                  <c:v>0.71981451756732595</c:v>
                </c:pt>
                <c:pt idx="40361">
                  <c:v>0.71983235241662202</c:v>
                </c:pt>
                <c:pt idx="40362">
                  <c:v>0.71985018726591699</c:v>
                </c:pt>
                <c:pt idx="40363">
                  <c:v>0.71986802211521295</c:v>
                </c:pt>
                <c:pt idx="40364">
                  <c:v>0.71988585696450802</c:v>
                </c:pt>
                <c:pt idx="40365">
                  <c:v>0.71990369181380398</c:v>
                </c:pt>
                <c:pt idx="40366">
                  <c:v>0.71992152666309905</c:v>
                </c:pt>
                <c:pt idx="40367">
                  <c:v>0.71993936151239502</c:v>
                </c:pt>
                <c:pt idx="40368">
                  <c:v>0.71995719636168998</c:v>
                </c:pt>
                <c:pt idx="40369">
                  <c:v>0.71997503121098605</c:v>
                </c:pt>
                <c:pt idx="40370">
                  <c:v>0.71999286606028101</c:v>
                </c:pt>
                <c:pt idx="40371">
                  <c:v>0.72001070090957697</c:v>
                </c:pt>
                <c:pt idx="40372">
                  <c:v>0.72002853575887205</c:v>
                </c:pt>
                <c:pt idx="40373">
                  <c:v>0.72004637060816801</c:v>
                </c:pt>
                <c:pt idx="40374">
                  <c:v>0.72006420545746297</c:v>
                </c:pt>
                <c:pt idx="40375">
                  <c:v>0.72008204030675904</c:v>
                </c:pt>
                <c:pt idx="40376">
                  <c:v>0.720099875156054</c:v>
                </c:pt>
                <c:pt idx="40377">
                  <c:v>0.72011771000534996</c:v>
                </c:pt>
                <c:pt idx="40378">
                  <c:v>0.72013554485464504</c:v>
                </c:pt>
                <c:pt idx="40379">
                  <c:v>0.720153379703941</c:v>
                </c:pt>
                <c:pt idx="40380">
                  <c:v>0.72017121455323696</c:v>
                </c:pt>
                <c:pt idx="40381">
                  <c:v>0.72018904940253203</c:v>
                </c:pt>
                <c:pt idx="40382">
                  <c:v>0.72020688425182799</c:v>
                </c:pt>
                <c:pt idx="40383">
                  <c:v>0.72022471910112296</c:v>
                </c:pt>
                <c:pt idx="40384">
                  <c:v>0.72024255395041903</c:v>
                </c:pt>
                <c:pt idx="40385">
                  <c:v>0.72026038879971399</c:v>
                </c:pt>
                <c:pt idx="40386">
                  <c:v>0.72027822364900995</c:v>
                </c:pt>
                <c:pt idx="40387">
                  <c:v>0.72029605849830503</c:v>
                </c:pt>
                <c:pt idx="40388">
                  <c:v>0.72031389334760099</c:v>
                </c:pt>
                <c:pt idx="40389">
                  <c:v>0.72033172819689595</c:v>
                </c:pt>
                <c:pt idx="40390">
                  <c:v>0.72034956304619202</c:v>
                </c:pt>
                <c:pt idx="40391">
                  <c:v>0.72036739789548698</c:v>
                </c:pt>
                <c:pt idx="40392">
                  <c:v>0.72038523274478306</c:v>
                </c:pt>
                <c:pt idx="40393">
                  <c:v>0.72040306759407802</c:v>
                </c:pt>
                <c:pt idx="40394">
                  <c:v>0.72042090244337398</c:v>
                </c:pt>
                <c:pt idx="40395">
                  <c:v>0.72043873729266905</c:v>
                </c:pt>
                <c:pt idx="40396">
                  <c:v>0.72045657214196501</c:v>
                </c:pt>
                <c:pt idx="40397">
                  <c:v>0.72047440699126097</c:v>
                </c:pt>
                <c:pt idx="40398">
                  <c:v>0.72049224184055605</c:v>
                </c:pt>
                <c:pt idx="40399">
                  <c:v>0.72051007668985201</c:v>
                </c:pt>
                <c:pt idx="40400">
                  <c:v>0.72052791153914697</c:v>
                </c:pt>
                <c:pt idx="40401">
                  <c:v>0.72054574638844304</c:v>
                </c:pt>
                <c:pt idx="40402">
                  <c:v>0.720563581237738</c:v>
                </c:pt>
                <c:pt idx="40403">
                  <c:v>0.72058141608703397</c:v>
                </c:pt>
                <c:pt idx="40404">
                  <c:v>0.72059925093632904</c:v>
                </c:pt>
                <c:pt idx="40405">
                  <c:v>0.720617085785625</c:v>
                </c:pt>
                <c:pt idx="40406">
                  <c:v>0.72063492063491996</c:v>
                </c:pt>
                <c:pt idx="40407">
                  <c:v>0.72065275548421603</c:v>
                </c:pt>
                <c:pt idx="40408">
                  <c:v>0.720670590333511</c:v>
                </c:pt>
                <c:pt idx="40409">
                  <c:v>0.72068842518280696</c:v>
                </c:pt>
                <c:pt idx="40410">
                  <c:v>0.72070626003210203</c:v>
                </c:pt>
                <c:pt idx="40411">
                  <c:v>0.72072409488139799</c:v>
                </c:pt>
                <c:pt idx="40412">
                  <c:v>0.72074192973069295</c:v>
                </c:pt>
                <c:pt idx="40413">
                  <c:v>0.72075976457998903</c:v>
                </c:pt>
                <c:pt idx="40414">
                  <c:v>0.72077759942928399</c:v>
                </c:pt>
                <c:pt idx="40415">
                  <c:v>0.72079543427857995</c:v>
                </c:pt>
                <c:pt idx="40416">
                  <c:v>0.72081326912787502</c:v>
                </c:pt>
                <c:pt idx="40417">
                  <c:v>0.72083110397717098</c:v>
                </c:pt>
                <c:pt idx="40418">
                  <c:v>0.72084893882646695</c:v>
                </c:pt>
                <c:pt idx="40419">
                  <c:v>0.72086677367576202</c:v>
                </c:pt>
                <c:pt idx="40420">
                  <c:v>0.72088460852505798</c:v>
                </c:pt>
                <c:pt idx="40421">
                  <c:v>0.72090244337435305</c:v>
                </c:pt>
                <c:pt idx="40422">
                  <c:v>0.72092027822364901</c:v>
                </c:pt>
                <c:pt idx="40423">
                  <c:v>0.72093811307294398</c:v>
                </c:pt>
                <c:pt idx="40424">
                  <c:v>0.72095594792224005</c:v>
                </c:pt>
                <c:pt idx="40425">
                  <c:v>0.72097378277153501</c:v>
                </c:pt>
                <c:pt idx="40426">
                  <c:v>0.72099161762083097</c:v>
                </c:pt>
                <c:pt idx="40427">
                  <c:v>0.72100945247012604</c:v>
                </c:pt>
                <c:pt idx="40428">
                  <c:v>0.72102728731942201</c:v>
                </c:pt>
                <c:pt idx="40429">
                  <c:v>0.72104512216871697</c:v>
                </c:pt>
                <c:pt idx="40430">
                  <c:v>0.72106295701801304</c:v>
                </c:pt>
                <c:pt idx="40431">
                  <c:v>0.721080791867308</c:v>
                </c:pt>
                <c:pt idx="40432">
                  <c:v>0.72109862671660396</c:v>
                </c:pt>
                <c:pt idx="40433">
                  <c:v>0.72111646156589904</c:v>
                </c:pt>
                <c:pt idx="40434">
                  <c:v>0.721134296415195</c:v>
                </c:pt>
                <c:pt idx="40435">
                  <c:v>0.72115213126448996</c:v>
                </c:pt>
                <c:pt idx="40436">
                  <c:v>0.72116996611378603</c:v>
                </c:pt>
                <c:pt idx="40437">
                  <c:v>0.72118780096308099</c:v>
                </c:pt>
                <c:pt idx="40438">
                  <c:v>0.72120563581237696</c:v>
                </c:pt>
                <c:pt idx="40439">
                  <c:v>0.72122347066167203</c:v>
                </c:pt>
                <c:pt idx="40440">
                  <c:v>0.72124130551096799</c:v>
                </c:pt>
                <c:pt idx="40441">
                  <c:v>0.72125914036026395</c:v>
                </c:pt>
                <c:pt idx="40442">
                  <c:v>0.72127697520955902</c:v>
                </c:pt>
                <c:pt idx="40443">
                  <c:v>0.72129481005885498</c:v>
                </c:pt>
                <c:pt idx="40444">
                  <c:v>0.72131264490814995</c:v>
                </c:pt>
                <c:pt idx="40445">
                  <c:v>0.72133047975744602</c:v>
                </c:pt>
                <c:pt idx="40446">
                  <c:v>0.72134831460674098</c:v>
                </c:pt>
                <c:pt idx="40447">
                  <c:v>0.72136614945603705</c:v>
                </c:pt>
                <c:pt idx="40448">
                  <c:v>0.72138398430533202</c:v>
                </c:pt>
                <c:pt idx="40449">
                  <c:v>0.72140181915462798</c:v>
                </c:pt>
                <c:pt idx="40450">
                  <c:v>0.72141965400392305</c:v>
                </c:pt>
                <c:pt idx="40451">
                  <c:v>0.72143748885321901</c:v>
                </c:pt>
                <c:pt idx="40452">
                  <c:v>0.72145532370251397</c:v>
                </c:pt>
                <c:pt idx="40453">
                  <c:v>0.72147315855181005</c:v>
                </c:pt>
                <c:pt idx="40454">
                  <c:v>0.72149099340110501</c:v>
                </c:pt>
                <c:pt idx="40455">
                  <c:v>0.72150882825040097</c:v>
                </c:pt>
                <c:pt idx="40456">
                  <c:v>0.72152666309969604</c:v>
                </c:pt>
                <c:pt idx="40457">
                  <c:v>0.721544497948992</c:v>
                </c:pt>
                <c:pt idx="40458">
                  <c:v>0.72156233279828697</c:v>
                </c:pt>
                <c:pt idx="40459">
                  <c:v>0.72158016764758304</c:v>
                </c:pt>
                <c:pt idx="40460">
                  <c:v>0.721598002496878</c:v>
                </c:pt>
                <c:pt idx="40461">
                  <c:v>0.72161583734617396</c:v>
                </c:pt>
                <c:pt idx="40462">
                  <c:v>0.72163367219546903</c:v>
                </c:pt>
                <c:pt idx="40463">
                  <c:v>0.72165150704476499</c:v>
                </c:pt>
                <c:pt idx="40464">
                  <c:v>0.72166934189406096</c:v>
                </c:pt>
                <c:pt idx="40465">
                  <c:v>0.72168717674335603</c:v>
                </c:pt>
                <c:pt idx="40466">
                  <c:v>0.72170501159265199</c:v>
                </c:pt>
                <c:pt idx="40467">
                  <c:v>0.72172284644194695</c:v>
                </c:pt>
                <c:pt idx="40468">
                  <c:v>0.72174068129124302</c:v>
                </c:pt>
                <c:pt idx="40469">
                  <c:v>0.72175851614053799</c:v>
                </c:pt>
                <c:pt idx="40470">
                  <c:v>0.72177635098983395</c:v>
                </c:pt>
                <c:pt idx="40471">
                  <c:v>0.72179418583912902</c:v>
                </c:pt>
                <c:pt idx="40472">
                  <c:v>0.72181202068842498</c:v>
                </c:pt>
                <c:pt idx="40473">
                  <c:v>0.72182985553772006</c:v>
                </c:pt>
                <c:pt idx="40474">
                  <c:v>0.72184769038701602</c:v>
                </c:pt>
                <c:pt idx="40475">
                  <c:v>0.72186552523631098</c:v>
                </c:pt>
                <c:pt idx="40476">
                  <c:v>0.72188336008560705</c:v>
                </c:pt>
                <c:pt idx="40477">
                  <c:v>0.72190119493490201</c:v>
                </c:pt>
                <c:pt idx="40478">
                  <c:v>0.72191902978419797</c:v>
                </c:pt>
                <c:pt idx="40479">
                  <c:v>0.72193686463349305</c:v>
                </c:pt>
                <c:pt idx="40480">
                  <c:v>0.72195469948278901</c:v>
                </c:pt>
                <c:pt idx="40481">
                  <c:v>0.72197253433208397</c:v>
                </c:pt>
                <c:pt idx="40482">
                  <c:v>0.72199036918138004</c:v>
                </c:pt>
                <c:pt idx="40483">
                  <c:v>0.722008204030675</c:v>
                </c:pt>
                <c:pt idx="40484">
                  <c:v>0.72202603887997097</c:v>
                </c:pt>
                <c:pt idx="40485">
                  <c:v>0.72204387372926704</c:v>
                </c:pt>
                <c:pt idx="40486">
                  <c:v>0.722061708578562</c:v>
                </c:pt>
                <c:pt idx="40487">
                  <c:v>0.72207954342785796</c:v>
                </c:pt>
                <c:pt idx="40488">
                  <c:v>0.72209737827715303</c:v>
                </c:pt>
                <c:pt idx="40489">
                  <c:v>0.722115213126449</c:v>
                </c:pt>
                <c:pt idx="40490">
                  <c:v>0.72213304797574396</c:v>
                </c:pt>
                <c:pt idx="40491">
                  <c:v>0.72215088282504003</c:v>
                </c:pt>
                <c:pt idx="40492">
                  <c:v>0.72216871767433499</c:v>
                </c:pt>
                <c:pt idx="40493">
                  <c:v>0.72218655252363095</c:v>
                </c:pt>
                <c:pt idx="40494">
                  <c:v>0.72220438737292603</c:v>
                </c:pt>
                <c:pt idx="40495">
                  <c:v>0.72222222222222199</c:v>
                </c:pt>
                <c:pt idx="40496">
                  <c:v>0.72224005707151695</c:v>
                </c:pt>
                <c:pt idx="40497">
                  <c:v>0.72225789192081302</c:v>
                </c:pt>
                <c:pt idx="40498">
                  <c:v>0.72227572677010798</c:v>
                </c:pt>
                <c:pt idx="40499">
                  <c:v>0.72229356161940395</c:v>
                </c:pt>
                <c:pt idx="40500">
                  <c:v>0.72231139646869902</c:v>
                </c:pt>
                <c:pt idx="40501">
                  <c:v>0.72232923131799498</c:v>
                </c:pt>
                <c:pt idx="40502">
                  <c:v>0.72234706616729005</c:v>
                </c:pt>
                <c:pt idx="40503">
                  <c:v>0.72236490101658601</c:v>
                </c:pt>
                <c:pt idx="40504">
                  <c:v>0.72238273586588198</c:v>
                </c:pt>
                <c:pt idx="40505">
                  <c:v>0.72240057071517705</c:v>
                </c:pt>
                <c:pt idx="40506">
                  <c:v>0.72241840556447301</c:v>
                </c:pt>
                <c:pt idx="40507">
                  <c:v>0.72243624041376797</c:v>
                </c:pt>
                <c:pt idx="40508">
                  <c:v>0.72245407526306404</c:v>
                </c:pt>
                <c:pt idx="40509">
                  <c:v>0.72247191011235901</c:v>
                </c:pt>
                <c:pt idx="40510">
                  <c:v>0.72248974496165497</c:v>
                </c:pt>
                <c:pt idx="40511">
                  <c:v>0.72250757981095004</c:v>
                </c:pt>
                <c:pt idx="40512">
                  <c:v>0.722525414660246</c:v>
                </c:pt>
                <c:pt idx="40513">
                  <c:v>0.72254324950954096</c:v>
                </c:pt>
                <c:pt idx="40514">
                  <c:v>0.72256108435883704</c:v>
                </c:pt>
                <c:pt idx="40515">
                  <c:v>0.722578919208132</c:v>
                </c:pt>
                <c:pt idx="40516">
                  <c:v>0.72259675405742796</c:v>
                </c:pt>
                <c:pt idx="40517">
                  <c:v>0.72261458890672303</c:v>
                </c:pt>
                <c:pt idx="40518">
                  <c:v>0.72263242375601899</c:v>
                </c:pt>
                <c:pt idx="40519">
                  <c:v>0.72265025860531396</c:v>
                </c:pt>
                <c:pt idx="40520">
                  <c:v>0.72266809345461003</c:v>
                </c:pt>
                <c:pt idx="40521">
                  <c:v>0.72268592830390499</c:v>
                </c:pt>
                <c:pt idx="40522">
                  <c:v>0.72270376315320095</c:v>
                </c:pt>
                <c:pt idx="40523">
                  <c:v>0.72272159800249602</c:v>
                </c:pt>
                <c:pt idx="40524">
                  <c:v>0.72273943285179199</c:v>
                </c:pt>
                <c:pt idx="40525">
                  <c:v>0.72275726770108795</c:v>
                </c:pt>
                <c:pt idx="40526">
                  <c:v>0.72277510255038302</c:v>
                </c:pt>
                <c:pt idx="40527">
                  <c:v>0.72279293739967898</c:v>
                </c:pt>
                <c:pt idx="40528">
                  <c:v>0.72281077224897405</c:v>
                </c:pt>
                <c:pt idx="40529">
                  <c:v>0.72282860709827002</c:v>
                </c:pt>
                <c:pt idx="40530">
                  <c:v>0.72284644194756498</c:v>
                </c:pt>
                <c:pt idx="40531">
                  <c:v>0.72286427679686105</c:v>
                </c:pt>
                <c:pt idx="40532">
                  <c:v>0.72288211164615601</c:v>
                </c:pt>
                <c:pt idx="40533">
                  <c:v>0.72289994649545197</c:v>
                </c:pt>
                <c:pt idx="40534">
                  <c:v>0.72291778134474705</c:v>
                </c:pt>
                <c:pt idx="40535">
                  <c:v>0.72293561619404301</c:v>
                </c:pt>
                <c:pt idx="40536">
                  <c:v>0.72295345104333797</c:v>
                </c:pt>
                <c:pt idx="40537">
                  <c:v>0.72297128589263404</c:v>
                </c:pt>
                <c:pt idx="40538">
                  <c:v>0.722989120741929</c:v>
                </c:pt>
                <c:pt idx="40539">
                  <c:v>0.72300695559122496</c:v>
                </c:pt>
                <c:pt idx="40540">
                  <c:v>0.72302479044052004</c:v>
                </c:pt>
                <c:pt idx="40541">
                  <c:v>0.723042625289816</c:v>
                </c:pt>
                <c:pt idx="40542">
                  <c:v>0.72306046013911096</c:v>
                </c:pt>
                <c:pt idx="40543">
                  <c:v>0.72307829498840703</c:v>
                </c:pt>
                <c:pt idx="40544">
                  <c:v>0.723096129837702</c:v>
                </c:pt>
                <c:pt idx="40545">
                  <c:v>0.72311396468699796</c:v>
                </c:pt>
                <c:pt idx="40546">
                  <c:v>0.72313179953629303</c:v>
                </c:pt>
                <c:pt idx="40547">
                  <c:v>0.72314963438558899</c:v>
                </c:pt>
                <c:pt idx="40548">
                  <c:v>0.72316746923488495</c:v>
                </c:pt>
                <c:pt idx="40549">
                  <c:v>0.72318530408418003</c:v>
                </c:pt>
                <c:pt idx="40550">
                  <c:v>0.72320313893347599</c:v>
                </c:pt>
                <c:pt idx="40551">
                  <c:v>0.72322097378277095</c:v>
                </c:pt>
                <c:pt idx="40552">
                  <c:v>0.72323880863206702</c:v>
                </c:pt>
                <c:pt idx="40553">
                  <c:v>0.72325664348136198</c:v>
                </c:pt>
                <c:pt idx="40554">
                  <c:v>0.72327447833065805</c:v>
                </c:pt>
                <c:pt idx="40555">
                  <c:v>0.72329231317995302</c:v>
                </c:pt>
                <c:pt idx="40556">
                  <c:v>0.72331014802924898</c:v>
                </c:pt>
                <c:pt idx="40557">
                  <c:v>0.72332798287854405</c:v>
                </c:pt>
                <c:pt idx="40558">
                  <c:v>0.72334581772784001</c:v>
                </c:pt>
                <c:pt idx="40559">
                  <c:v>0.72336365257713497</c:v>
                </c:pt>
                <c:pt idx="40560">
                  <c:v>0.72338148742643105</c:v>
                </c:pt>
                <c:pt idx="40561">
                  <c:v>0.72339932227572601</c:v>
                </c:pt>
                <c:pt idx="40562">
                  <c:v>0.72341715712502197</c:v>
                </c:pt>
                <c:pt idx="40563">
                  <c:v>0.72343499197431704</c:v>
                </c:pt>
                <c:pt idx="40564">
                  <c:v>0.723452826823613</c:v>
                </c:pt>
                <c:pt idx="40565">
                  <c:v>0.72347066167290797</c:v>
                </c:pt>
                <c:pt idx="40566">
                  <c:v>0.72348849652220404</c:v>
                </c:pt>
                <c:pt idx="40567">
                  <c:v>0.723506331371499</c:v>
                </c:pt>
                <c:pt idx="40568">
                  <c:v>0.72352416622079496</c:v>
                </c:pt>
                <c:pt idx="40569">
                  <c:v>0.72354200107009004</c:v>
                </c:pt>
                <c:pt idx="40570">
                  <c:v>0.723559835919386</c:v>
                </c:pt>
                <c:pt idx="40571">
                  <c:v>0.72357767076868196</c:v>
                </c:pt>
                <c:pt idx="40572">
                  <c:v>0.72359550561797703</c:v>
                </c:pt>
                <c:pt idx="40573">
                  <c:v>0.72361334046727299</c:v>
                </c:pt>
                <c:pt idx="40574">
                  <c:v>0.72363117531656795</c:v>
                </c:pt>
                <c:pt idx="40575">
                  <c:v>0.72364901016586403</c:v>
                </c:pt>
                <c:pt idx="40576">
                  <c:v>0.72366684501515899</c:v>
                </c:pt>
                <c:pt idx="40577">
                  <c:v>0.72368467986445495</c:v>
                </c:pt>
                <c:pt idx="40578">
                  <c:v>0.72370251471375002</c:v>
                </c:pt>
                <c:pt idx="40579">
                  <c:v>0.72372034956304598</c:v>
                </c:pt>
                <c:pt idx="40580">
                  <c:v>0.72373818441234095</c:v>
                </c:pt>
                <c:pt idx="40581">
                  <c:v>0.72375601926163702</c:v>
                </c:pt>
                <c:pt idx="40582">
                  <c:v>0.72377385411093198</c:v>
                </c:pt>
                <c:pt idx="40583">
                  <c:v>0.72379168896022805</c:v>
                </c:pt>
                <c:pt idx="40584">
                  <c:v>0.72380952380952301</c:v>
                </c:pt>
                <c:pt idx="40585">
                  <c:v>0.72382735865881898</c:v>
                </c:pt>
                <c:pt idx="40586">
                  <c:v>0.72384519350811405</c:v>
                </c:pt>
                <c:pt idx="40587">
                  <c:v>0.72386302835741001</c:v>
                </c:pt>
                <c:pt idx="40588">
                  <c:v>0.72388086320670497</c:v>
                </c:pt>
                <c:pt idx="40589">
                  <c:v>0.72389869805600104</c:v>
                </c:pt>
                <c:pt idx="40590">
                  <c:v>0.72391653290529701</c:v>
                </c:pt>
                <c:pt idx="40591">
                  <c:v>0.72393436775459197</c:v>
                </c:pt>
                <c:pt idx="40592">
                  <c:v>0.72395220260388804</c:v>
                </c:pt>
                <c:pt idx="40593">
                  <c:v>0.723970037453183</c:v>
                </c:pt>
                <c:pt idx="40594">
                  <c:v>0.72398787230247896</c:v>
                </c:pt>
                <c:pt idx="40595">
                  <c:v>0.72400570715177404</c:v>
                </c:pt>
                <c:pt idx="40596">
                  <c:v>0.72402354200107</c:v>
                </c:pt>
                <c:pt idx="40597">
                  <c:v>0.72404137685036496</c:v>
                </c:pt>
                <c:pt idx="40598">
                  <c:v>0.72405921169966103</c:v>
                </c:pt>
                <c:pt idx="40599">
                  <c:v>0.72407704654895599</c:v>
                </c:pt>
                <c:pt idx="40600">
                  <c:v>0.72409488139825195</c:v>
                </c:pt>
                <c:pt idx="40601">
                  <c:v>0.72411271624754703</c:v>
                </c:pt>
                <c:pt idx="40602">
                  <c:v>0.72413055109684299</c:v>
                </c:pt>
                <c:pt idx="40603">
                  <c:v>0.72414838594613795</c:v>
                </c:pt>
                <c:pt idx="40604">
                  <c:v>0.72416622079543402</c:v>
                </c:pt>
                <c:pt idx="40605">
                  <c:v>0.72418405564472899</c:v>
                </c:pt>
                <c:pt idx="40606">
                  <c:v>0.72420189049402495</c:v>
                </c:pt>
                <c:pt idx="40607">
                  <c:v>0.72421972534332002</c:v>
                </c:pt>
                <c:pt idx="40608">
                  <c:v>0.72423756019261598</c:v>
                </c:pt>
                <c:pt idx="40609">
                  <c:v>0.72425539504191105</c:v>
                </c:pt>
                <c:pt idx="40610">
                  <c:v>0.72427322989120702</c:v>
                </c:pt>
                <c:pt idx="40611">
                  <c:v>0.72429106474050298</c:v>
                </c:pt>
                <c:pt idx="40612">
                  <c:v>0.72430889958979805</c:v>
                </c:pt>
                <c:pt idx="40613">
                  <c:v>0.72432673443909401</c:v>
                </c:pt>
                <c:pt idx="40614">
                  <c:v>0.72434456928838897</c:v>
                </c:pt>
                <c:pt idx="40615">
                  <c:v>0.72436240413768505</c:v>
                </c:pt>
                <c:pt idx="40616">
                  <c:v>0.72438023898698001</c:v>
                </c:pt>
                <c:pt idx="40617">
                  <c:v>0.72439807383627597</c:v>
                </c:pt>
                <c:pt idx="40618">
                  <c:v>0.72441590868557104</c:v>
                </c:pt>
                <c:pt idx="40619">
                  <c:v>0.724433743534867</c:v>
                </c:pt>
                <c:pt idx="40620">
                  <c:v>0.72445157838416196</c:v>
                </c:pt>
                <c:pt idx="40621">
                  <c:v>0.72446941323345804</c:v>
                </c:pt>
                <c:pt idx="40622">
                  <c:v>0.724487248082753</c:v>
                </c:pt>
                <c:pt idx="40623">
                  <c:v>0.72450508293204896</c:v>
                </c:pt>
                <c:pt idx="40624">
                  <c:v>0.72452291778134403</c:v>
                </c:pt>
                <c:pt idx="40625">
                  <c:v>0.72454075263063999</c:v>
                </c:pt>
                <c:pt idx="40626">
                  <c:v>0.72455858747993496</c:v>
                </c:pt>
                <c:pt idx="40627">
                  <c:v>0.72457642232923103</c:v>
                </c:pt>
                <c:pt idx="40628">
                  <c:v>0.72459425717852599</c:v>
                </c:pt>
                <c:pt idx="40629">
                  <c:v>0.72461209202782195</c:v>
                </c:pt>
                <c:pt idx="40630">
                  <c:v>0.72462992687711703</c:v>
                </c:pt>
                <c:pt idx="40631">
                  <c:v>0.72464776172641299</c:v>
                </c:pt>
                <c:pt idx="40632">
                  <c:v>0.72466559657570895</c:v>
                </c:pt>
                <c:pt idx="40633">
                  <c:v>0.72468343142500402</c:v>
                </c:pt>
                <c:pt idx="40634">
                  <c:v>0.72470126627429998</c:v>
                </c:pt>
                <c:pt idx="40635">
                  <c:v>0.72471910112359506</c:v>
                </c:pt>
                <c:pt idx="40636">
                  <c:v>0.72473693597289102</c:v>
                </c:pt>
                <c:pt idx="40637">
                  <c:v>0.72475477082218598</c:v>
                </c:pt>
                <c:pt idx="40638">
                  <c:v>0.72477260567148205</c:v>
                </c:pt>
                <c:pt idx="40639">
                  <c:v>0.72479044052077701</c:v>
                </c:pt>
                <c:pt idx="40640">
                  <c:v>0.72480827537007297</c:v>
                </c:pt>
                <c:pt idx="40641">
                  <c:v>0.72482611021936805</c:v>
                </c:pt>
                <c:pt idx="40642">
                  <c:v>0.72484394506866401</c:v>
                </c:pt>
                <c:pt idx="40643">
                  <c:v>0.72486177991795897</c:v>
                </c:pt>
                <c:pt idx="40644">
                  <c:v>0.72487961476725504</c:v>
                </c:pt>
                <c:pt idx="40645">
                  <c:v>0.72489744961655</c:v>
                </c:pt>
                <c:pt idx="40646">
                  <c:v>0.72491528446584597</c:v>
                </c:pt>
                <c:pt idx="40647">
                  <c:v>0.72493311931514104</c:v>
                </c:pt>
                <c:pt idx="40648">
                  <c:v>0.724950954164437</c:v>
                </c:pt>
                <c:pt idx="40649">
                  <c:v>0.72496878901373196</c:v>
                </c:pt>
                <c:pt idx="40650">
                  <c:v>0.72498662386302803</c:v>
                </c:pt>
                <c:pt idx="40651">
                  <c:v>0.725004458712323</c:v>
                </c:pt>
                <c:pt idx="40652">
                  <c:v>0.72502229356161896</c:v>
                </c:pt>
                <c:pt idx="40653">
                  <c:v>0.72504012841091403</c:v>
                </c:pt>
                <c:pt idx="40654">
                  <c:v>0.72505796326020999</c:v>
                </c:pt>
                <c:pt idx="40655">
                  <c:v>0.72507579810950595</c:v>
                </c:pt>
                <c:pt idx="40656">
                  <c:v>0.72509363295880103</c:v>
                </c:pt>
                <c:pt idx="40657">
                  <c:v>0.72511146780809699</c:v>
                </c:pt>
                <c:pt idx="40658">
                  <c:v>0.72512930265739195</c:v>
                </c:pt>
                <c:pt idx="40659">
                  <c:v>0.72514713750668802</c:v>
                </c:pt>
                <c:pt idx="40660">
                  <c:v>0.72516497235598298</c:v>
                </c:pt>
                <c:pt idx="40661">
                  <c:v>0.72518280720527895</c:v>
                </c:pt>
                <c:pt idx="40662">
                  <c:v>0.72520064205457402</c:v>
                </c:pt>
                <c:pt idx="40663">
                  <c:v>0.72521847690386998</c:v>
                </c:pt>
                <c:pt idx="40664">
                  <c:v>0.72523631175316505</c:v>
                </c:pt>
                <c:pt idx="40665">
                  <c:v>0.72525414660246101</c:v>
                </c:pt>
                <c:pt idx="40666">
                  <c:v>0.72527198145175598</c:v>
                </c:pt>
                <c:pt idx="40667">
                  <c:v>0.72528981630105205</c:v>
                </c:pt>
                <c:pt idx="40668">
                  <c:v>0.72530765115034701</c:v>
                </c:pt>
                <c:pt idx="40669">
                  <c:v>0.72532548599964297</c:v>
                </c:pt>
                <c:pt idx="40670">
                  <c:v>0.72534332084893804</c:v>
                </c:pt>
                <c:pt idx="40671">
                  <c:v>0.72536115569823401</c:v>
                </c:pt>
                <c:pt idx="40672">
                  <c:v>0.72537899054752897</c:v>
                </c:pt>
                <c:pt idx="40673">
                  <c:v>0.72539682539682504</c:v>
                </c:pt>
                <c:pt idx="40674">
                  <c:v>0.72541466024612</c:v>
                </c:pt>
                <c:pt idx="40675">
                  <c:v>0.72543249509541596</c:v>
                </c:pt>
                <c:pt idx="40676">
                  <c:v>0.72545032994471104</c:v>
                </c:pt>
                <c:pt idx="40677">
                  <c:v>0.725468164794007</c:v>
                </c:pt>
                <c:pt idx="40678">
                  <c:v>0.72548599964330296</c:v>
                </c:pt>
                <c:pt idx="40679">
                  <c:v>0.72550383449259803</c:v>
                </c:pt>
                <c:pt idx="40680">
                  <c:v>0.72552166934189399</c:v>
                </c:pt>
                <c:pt idx="40681">
                  <c:v>0.72553950419118896</c:v>
                </c:pt>
                <c:pt idx="40682">
                  <c:v>0.72555733904048503</c:v>
                </c:pt>
                <c:pt idx="40683">
                  <c:v>0.72557517388977999</c:v>
                </c:pt>
                <c:pt idx="40684">
                  <c:v>0.72559300873907595</c:v>
                </c:pt>
                <c:pt idx="40685">
                  <c:v>0.72561084358837102</c:v>
                </c:pt>
                <c:pt idx="40686">
                  <c:v>0.72562867843766699</c:v>
                </c:pt>
                <c:pt idx="40687">
                  <c:v>0.72564651328696195</c:v>
                </c:pt>
                <c:pt idx="40688">
                  <c:v>0.72566434813625802</c:v>
                </c:pt>
                <c:pt idx="40689">
                  <c:v>0.72568218298555298</c:v>
                </c:pt>
                <c:pt idx="40690">
                  <c:v>0.72570001783484905</c:v>
                </c:pt>
                <c:pt idx="40691">
                  <c:v>0.72571785268414402</c:v>
                </c:pt>
                <c:pt idx="40692">
                  <c:v>0.72573568753343998</c:v>
                </c:pt>
                <c:pt idx="40693">
                  <c:v>0.72575352238273505</c:v>
                </c:pt>
                <c:pt idx="40694">
                  <c:v>0.72577135723203101</c:v>
                </c:pt>
                <c:pt idx="40695">
                  <c:v>0.72578919208132597</c:v>
                </c:pt>
                <c:pt idx="40696">
                  <c:v>0.72580702693062205</c:v>
                </c:pt>
                <c:pt idx="40697">
                  <c:v>0.72582486177991801</c:v>
                </c:pt>
                <c:pt idx="40698">
                  <c:v>0.72584269662921297</c:v>
                </c:pt>
                <c:pt idx="40699">
                  <c:v>0.72586053147850904</c:v>
                </c:pt>
                <c:pt idx="40700">
                  <c:v>0.725878366327804</c:v>
                </c:pt>
                <c:pt idx="40701">
                  <c:v>0.72589620117709996</c:v>
                </c:pt>
                <c:pt idx="40702">
                  <c:v>0.72591403602639504</c:v>
                </c:pt>
                <c:pt idx="40703">
                  <c:v>0.725931870875691</c:v>
                </c:pt>
                <c:pt idx="40704">
                  <c:v>0.72594970572498596</c:v>
                </c:pt>
                <c:pt idx="40705">
                  <c:v>0.72596754057428203</c:v>
                </c:pt>
                <c:pt idx="40706">
                  <c:v>0.725985375423577</c:v>
                </c:pt>
                <c:pt idx="40707">
                  <c:v>0.72600321027287296</c:v>
                </c:pt>
                <c:pt idx="40708">
                  <c:v>0.72602104512216803</c:v>
                </c:pt>
                <c:pt idx="40709">
                  <c:v>0.72603887997146399</c:v>
                </c:pt>
                <c:pt idx="40710">
                  <c:v>0.72605671482075895</c:v>
                </c:pt>
                <c:pt idx="40711">
                  <c:v>0.72607454967005502</c:v>
                </c:pt>
                <c:pt idx="40712">
                  <c:v>0.72609238451934999</c:v>
                </c:pt>
                <c:pt idx="40713">
                  <c:v>0.72611021936864595</c:v>
                </c:pt>
                <c:pt idx="40714">
                  <c:v>0.72612805421794102</c:v>
                </c:pt>
                <c:pt idx="40715">
                  <c:v>0.72614588906723698</c:v>
                </c:pt>
                <c:pt idx="40716">
                  <c:v>0.72616372391653194</c:v>
                </c:pt>
                <c:pt idx="40717">
                  <c:v>0.72618155876582802</c:v>
                </c:pt>
                <c:pt idx="40718">
                  <c:v>0.72619939361512398</c:v>
                </c:pt>
                <c:pt idx="40719">
                  <c:v>0.72621722846441905</c:v>
                </c:pt>
                <c:pt idx="40720">
                  <c:v>0.72623506331371501</c:v>
                </c:pt>
                <c:pt idx="40721">
                  <c:v>0.72625289816300997</c:v>
                </c:pt>
                <c:pt idx="40722">
                  <c:v>0.72627073301230605</c:v>
                </c:pt>
                <c:pt idx="40723">
                  <c:v>0.72628856786160101</c:v>
                </c:pt>
                <c:pt idx="40724">
                  <c:v>0.72630640271089697</c:v>
                </c:pt>
                <c:pt idx="40725">
                  <c:v>0.72632423756019204</c:v>
                </c:pt>
                <c:pt idx="40726">
                  <c:v>0.726342072409488</c:v>
                </c:pt>
                <c:pt idx="40727">
                  <c:v>0.72635990725878297</c:v>
                </c:pt>
                <c:pt idx="40728">
                  <c:v>0.72637774210807904</c:v>
                </c:pt>
                <c:pt idx="40729">
                  <c:v>0.726395576957374</c:v>
                </c:pt>
                <c:pt idx="40730">
                  <c:v>0.72641341180666996</c:v>
                </c:pt>
                <c:pt idx="40731">
                  <c:v>0.72643124665596503</c:v>
                </c:pt>
                <c:pt idx="40732">
                  <c:v>0.726449081505261</c:v>
                </c:pt>
                <c:pt idx="40733">
                  <c:v>0.72646691635455596</c:v>
                </c:pt>
                <c:pt idx="40734">
                  <c:v>0.72648475120385203</c:v>
                </c:pt>
                <c:pt idx="40735">
                  <c:v>0.72650258605314699</c:v>
                </c:pt>
                <c:pt idx="40736">
                  <c:v>0.72652042090244295</c:v>
                </c:pt>
                <c:pt idx="40737">
                  <c:v>0.72653825575173803</c:v>
                </c:pt>
                <c:pt idx="40738">
                  <c:v>0.72655609060103399</c:v>
                </c:pt>
                <c:pt idx="40739">
                  <c:v>0.72657392545032995</c:v>
                </c:pt>
                <c:pt idx="40740">
                  <c:v>0.72659176029962502</c:v>
                </c:pt>
                <c:pt idx="40741">
                  <c:v>0.72660959514892098</c:v>
                </c:pt>
                <c:pt idx="40742">
                  <c:v>0.72662742999821595</c:v>
                </c:pt>
                <c:pt idx="40743">
                  <c:v>0.72664526484751202</c:v>
                </c:pt>
                <c:pt idx="40744">
                  <c:v>0.72666309969680698</c:v>
                </c:pt>
                <c:pt idx="40745">
                  <c:v>0.72668093454610305</c:v>
                </c:pt>
                <c:pt idx="40746">
                  <c:v>0.72669876939539801</c:v>
                </c:pt>
                <c:pt idx="40747">
                  <c:v>0.72671660424469398</c:v>
                </c:pt>
                <c:pt idx="40748">
                  <c:v>0.72673443909398905</c:v>
                </c:pt>
                <c:pt idx="40749">
                  <c:v>0.72675227394328501</c:v>
                </c:pt>
                <c:pt idx="40750">
                  <c:v>0.72677010879257997</c:v>
                </c:pt>
                <c:pt idx="40751">
                  <c:v>0.72678794364187604</c:v>
                </c:pt>
                <c:pt idx="40752">
                  <c:v>0.72680577849117101</c:v>
                </c:pt>
                <c:pt idx="40753">
                  <c:v>0.72682361334046697</c:v>
                </c:pt>
                <c:pt idx="40754">
                  <c:v>0.72684144818976204</c:v>
                </c:pt>
                <c:pt idx="40755">
                  <c:v>0.726859283039058</c:v>
                </c:pt>
                <c:pt idx="40756">
                  <c:v>0.72687711788835296</c:v>
                </c:pt>
                <c:pt idx="40757">
                  <c:v>0.72689495273764904</c:v>
                </c:pt>
                <c:pt idx="40758">
                  <c:v>0.726912787586944</c:v>
                </c:pt>
                <c:pt idx="40759">
                  <c:v>0.72693062243623996</c:v>
                </c:pt>
                <c:pt idx="40760">
                  <c:v>0.72694845728553503</c:v>
                </c:pt>
                <c:pt idx="40761">
                  <c:v>0.72696629213483099</c:v>
                </c:pt>
                <c:pt idx="40762">
                  <c:v>0.72698412698412695</c:v>
                </c:pt>
                <c:pt idx="40763">
                  <c:v>0.72700196183342203</c:v>
                </c:pt>
                <c:pt idx="40764">
                  <c:v>0.72701979668271799</c:v>
                </c:pt>
                <c:pt idx="40765">
                  <c:v>0.72703763153201295</c:v>
                </c:pt>
                <c:pt idx="40766">
                  <c:v>0.72705546638130902</c:v>
                </c:pt>
                <c:pt idx="40767">
                  <c:v>0.72707330123060399</c:v>
                </c:pt>
                <c:pt idx="40768">
                  <c:v>0.72709113607989995</c:v>
                </c:pt>
                <c:pt idx="40769">
                  <c:v>0.72710897092919502</c:v>
                </c:pt>
                <c:pt idx="40770">
                  <c:v>0.72712680577849098</c:v>
                </c:pt>
                <c:pt idx="40771">
                  <c:v>0.72714464062778605</c:v>
                </c:pt>
                <c:pt idx="40772">
                  <c:v>0.72716247547708202</c:v>
                </c:pt>
                <c:pt idx="40773">
                  <c:v>0.72718031032637698</c:v>
                </c:pt>
                <c:pt idx="40774">
                  <c:v>0.72719814517567305</c:v>
                </c:pt>
                <c:pt idx="40775">
                  <c:v>0.72721598002496801</c:v>
                </c:pt>
                <c:pt idx="40776">
                  <c:v>0.72723381487426397</c:v>
                </c:pt>
                <c:pt idx="40777">
                  <c:v>0.72725164972355905</c:v>
                </c:pt>
                <c:pt idx="40778">
                  <c:v>0.72726948457285501</c:v>
                </c:pt>
                <c:pt idx="40779">
                  <c:v>0.72728731942214997</c:v>
                </c:pt>
                <c:pt idx="40780">
                  <c:v>0.72730515427144604</c:v>
                </c:pt>
                <c:pt idx="40781">
                  <c:v>0.727322989120741</c:v>
                </c:pt>
                <c:pt idx="40782">
                  <c:v>0.72734082397003696</c:v>
                </c:pt>
                <c:pt idx="40783">
                  <c:v>0.72735865881933204</c:v>
                </c:pt>
                <c:pt idx="40784">
                  <c:v>0.727376493668628</c:v>
                </c:pt>
                <c:pt idx="40785">
                  <c:v>0.72739432851792396</c:v>
                </c:pt>
                <c:pt idx="40786">
                  <c:v>0.72741216336721903</c:v>
                </c:pt>
                <c:pt idx="40787">
                  <c:v>0.72742999821651499</c:v>
                </c:pt>
                <c:pt idx="40788">
                  <c:v>0.72744783306580996</c:v>
                </c:pt>
                <c:pt idx="40789">
                  <c:v>0.72746566791510603</c:v>
                </c:pt>
                <c:pt idx="40790">
                  <c:v>0.72748350276440099</c:v>
                </c:pt>
                <c:pt idx="40791">
                  <c:v>0.72750133761369695</c:v>
                </c:pt>
                <c:pt idx="40792">
                  <c:v>0.72751917246299203</c:v>
                </c:pt>
                <c:pt idx="40793">
                  <c:v>0.72753700731228799</c:v>
                </c:pt>
                <c:pt idx="40794">
                  <c:v>0.72755484216158295</c:v>
                </c:pt>
                <c:pt idx="40795">
                  <c:v>0.72757267701087902</c:v>
                </c:pt>
                <c:pt idx="40796">
                  <c:v>0.72759051186017398</c:v>
                </c:pt>
                <c:pt idx="40797">
                  <c:v>0.72760834670947006</c:v>
                </c:pt>
                <c:pt idx="40798">
                  <c:v>0.72762618155876502</c:v>
                </c:pt>
                <c:pt idx="40799">
                  <c:v>0.72764401640806098</c:v>
                </c:pt>
                <c:pt idx="40800">
                  <c:v>0.72766185125735605</c:v>
                </c:pt>
                <c:pt idx="40801">
                  <c:v>0.72767968610665201</c:v>
                </c:pt>
                <c:pt idx="40802">
                  <c:v>0.72769752095594797</c:v>
                </c:pt>
                <c:pt idx="40803">
                  <c:v>0.72771535580524305</c:v>
                </c:pt>
                <c:pt idx="40804">
                  <c:v>0.72773319065453901</c:v>
                </c:pt>
                <c:pt idx="40805">
                  <c:v>0.72775102550383397</c:v>
                </c:pt>
                <c:pt idx="40806">
                  <c:v>0.72776886035313004</c:v>
                </c:pt>
                <c:pt idx="40807">
                  <c:v>0.727786695202425</c:v>
                </c:pt>
                <c:pt idx="40808">
                  <c:v>0.72780453005172097</c:v>
                </c:pt>
                <c:pt idx="40809">
                  <c:v>0.72782236490101604</c:v>
                </c:pt>
                <c:pt idx="40810">
                  <c:v>0.727840199750312</c:v>
                </c:pt>
                <c:pt idx="40811">
                  <c:v>0.72785803459960696</c:v>
                </c:pt>
                <c:pt idx="40812">
                  <c:v>0.72787586944890303</c:v>
                </c:pt>
                <c:pt idx="40813">
                  <c:v>0.727893704298198</c:v>
                </c:pt>
                <c:pt idx="40814">
                  <c:v>0.72791153914749396</c:v>
                </c:pt>
                <c:pt idx="40815">
                  <c:v>0.72792937399678903</c:v>
                </c:pt>
                <c:pt idx="40816">
                  <c:v>0.72794720884608499</c:v>
                </c:pt>
                <c:pt idx="40817">
                  <c:v>0.72796504369537995</c:v>
                </c:pt>
                <c:pt idx="40818">
                  <c:v>0.72798287854467603</c:v>
                </c:pt>
                <c:pt idx="40819">
                  <c:v>0.72800071339397099</c:v>
                </c:pt>
                <c:pt idx="40820">
                  <c:v>0.72801854824326695</c:v>
                </c:pt>
                <c:pt idx="40821">
                  <c:v>0.72803638309256202</c:v>
                </c:pt>
                <c:pt idx="40822">
                  <c:v>0.72805421794185798</c:v>
                </c:pt>
                <c:pt idx="40823">
                  <c:v>0.72807205279115395</c:v>
                </c:pt>
                <c:pt idx="40824">
                  <c:v>0.72808988764044902</c:v>
                </c:pt>
                <c:pt idx="40825">
                  <c:v>0.72810772248974498</c:v>
                </c:pt>
                <c:pt idx="40826">
                  <c:v>0.72812555733904005</c:v>
                </c:pt>
                <c:pt idx="40827">
                  <c:v>0.72814339218833601</c:v>
                </c:pt>
                <c:pt idx="40828">
                  <c:v>0.72816122703763098</c:v>
                </c:pt>
                <c:pt idx="40829">
                  <c:v>0.72817906188692705</c:v>
                </c:pt>
                <c:pt idx="40830">
                  <c:v>0.72819689673622201</c:v>
                </c:pt>
                <c:pt idx="40831">
                  <c:v>0.72821473158551797</c:v>
                </c:pt>
                <c:pt idx="40832">
                  <c:v>0.72823256643481304</c:v>
                </c:pt>
                <c:pt idx="40833">
                  <c:v>0.72825040128410901</c:v>
                </c:pt>
                <c:pt idx="40834">
                  <c:v>0.72826823613340397</c:v>
                </c:pt>
                <c:pt idx="40835">
                  <c:v>0.72828607098270004</c:v>
                </c:pt>
                <c:pt idx="40836">
                  <c:v>0.728303905831995</c:v>
                </c:pt>
                <c:pt idx="40837">
                  <c:v>0.72832174068129096</c:v>
                </c:pt>
                <c:pt idx="40838">
                  <c:v>0.72833957553058604</c:v>
                </c:pt>
                <c:pt idx="40839">
                  <c:v>0.728357410379882</c:v>
                </c:pt>
                <c:pt idx="40840">
                  <c:v>0.72837524522917696</c:v>
                </c:pt>
                <c:pt idx="40841">
                  <c:v>0.72839308007847303</c:v>
                </c:pt>
                <c:pt idx="40842">
                  <c:v>0.72841091492776799</c:v>
                </c:pt>
                <c:pt idx="40843">
                  <c:v>0.72842874977706396</c:v>
                </c:pt>
                <c:pt idx="40844">
                  <c:v>0.72844658462635903</c:v>
                </c:pt>
                <c:pt idx="40845">
                  <c:v>0.72846441947565499</c:v>
                </c:pt>
                <c:pt idx="40846">
                  <c:v>0.72848225432495095</c:v>
                </c:pt>
                <c:pt idx="40847">
                  <c:v>0.72850008917424602</c:v>
                </c:pt>
                <c:pt idx="40848">
                  <c:v>0.72851792402354199</c:v>
                </c:pt>
                <c:pt idx="40849">
                  <c:v>0.72853575887283695</c:v>
                </c:pt>
                <c:pt idx="40850">
                  <c:v>0.72855359372213302</c:v>
                </c:pt>
                <c:pt idx="40851">
                  <c:v>0.72857142857142798</c:v>
                </c:pt>
                <c:pt idx="40852">
                  <c:v>0.72858926342072405</c:v>
                </c:pt>
                <c:pt idx="40853">
                  <c:v>0.72860709827001902</c:v>
                </c:pt>
                <c:pt idx="40854">
                  <c:v>0.72862493311931498</c:v>
                </c:pt>
                <c:pt idx="40855">
                  <c:v>0.72864276796861005</c:v>
                </c:pt>
                <c:pt idx="40856">
                  <c:v>0.72866060281790601</c:v>
                </c:pt>
                <c:pt idx="40857">
                  <c:v>0.72867843766720097</c:v>
                </c:pt>
                <c:pt idx="40858">
                  <c:v>0.72869627251649705</c:v>
                </c:pt>
                <c:pt idx="40859">
                  <c:v>0.72871410736579201</c:v>
                </c:pt>
                <c:pt idx="40860">
                  <c:v>0.72873194221508797</c:v>
                </c:pt>
                <c:pt idx="40861">
                  <c:v>0.72874977706438304</c:v>
                </c:pt>
                <c:pt idx="40862">
                  <c:v>0.728767611913679</c:v>
                </c:pt>
                <c:pt idx="40863">
                  <c:v>0.72878544676297397</c:v>
                </c:pt>
                <c:pt idx="40864">
                  <c:v>0.72880328161227004</c:v>
                </c:pt>
                <c:pt idx="40865">
                  <c:v>0.728821116461565</c:v>
                </c:pt>
                <c:pt idx="40866">
                  <c:v>0.72883895131086096</c:v>
                </c:pt>
                <c:pt idx="40867">
                  <c:v>0.72885678616015603</c:v>
                </c:pt>
                <c:pt idx="40868">
                  <c:v>0.728874621009452</c:v>
                </c:pt>
                <c:pt idx="40869">
                  <c:v>0.72889245585874796</c:v>
                </c:pt>
                <c:pt idx="40870">
                  <c:v>0.72891029070804303</c:v>
                </c:pt>
                <c:pt idx="40871">
                  <c:v>0.72892812555733899</c:v>
                </c:pt>
                <c:pt idx="40872">
                  <c:v>0.72894596040663395</c:v>
                </c:pt>
                <c:pt idx="40873">
                  <c:v>0.72896379525593002</c:v>
                </c:pt>
                <c:pt idx="40874">
                  <c:v>0.72898163010522499</c:v>
                </c:pt>
                <c:pt idx="40875">
                  <c:v>0.72899946495452095</c:v>
                </c:pt>
                <c:pt idx="40876">
                  <c:v>0.72901729980381602</c:v>
                </c:pt>
                <c:pt idx="40877">
                  <c:v>0.72903513465311198</c:v>
                </c:pt>
                <c:pt idx="40878">
                  <c:v>0.72905296950240694</c:v>
                </c:pt>
                <c:pt idx="40879">
                  <c:v>0.72907080435170302</c:v>
                </c:pt>
                <c:pt idx="40880">
                  <c:v>0.72908863920099798</c:v>
                </c:pt>
                <c:pt idx="40881">
                  <c:v>0.72910647405029405</c:v>
                </c:pt>
                <c:pt idx="40882">
                  <c:v>0.72912430889958901</c:v>
                </c:pt>
                <c:pt idx="40883">
                  <c:v>0.72914214374888497</c:v>
                </c:pt>
                <c:pt idx="40884">
                  <c:v>0.72915997859818005</c:v>
                </c:pt>
                <c:pt idx="40885">
                  <c:v>0.72917781344747601</c:v>
                </c:pt>
                <c:pt idx="40886">
                  <c:v>0.72919564829677097</c:v>
                </c:pt>
                <c:pt idx="40887">
                  <c:v>0.72921348314606704</c:v>
                </c:pt>
                <c:pt idx="40888">
                  <c:v>0.72923131799536201</c:v>
                </c:pt>
                <c:pt idx="40889">
                  <c:v>0.72924915284465797</c:v>
                </c:pt>
                <c:pt idx="40890">
                  <c:v>0.72926698769395404</c:v>
                </c:pt>
                <c:pt idx="40891">
                  <c:v>0.729284822543249</c:v>
                </c:pt>
                <c:pt idx="40892">
                  <c:v>0.72930265739254496</c:v>
                </c:pt>
                <c:pt idx="40893">
                  <c:v>0.72932049224184003</c:v>
                </c:pt>
                <c:pt idx="40894">
                  <c:v>0.729338327091136</c:v>
                </c:pt>
                <c:pt idx="40895">
                  <c:v>0.72935616194043096</c:v>
                </c:pt>
                <c:pt idx="40896">
                  <c:v>0.72937399678972703</c:v>
                </c:pt>
                <c:pt idx="40897">
                  <c:v>0.72939183163902199</c:v>
                </c:pt>
                <c:pt idx="40898">
                  <c:v>0.72940966648831795</c:v>
                </c:pt>
                <c:pt idx="40899">
                  <c:v>0.72942750133761303</c:v>
                </c:pt>
                <c:pt idx="40900">
                  <c:v>0.72944533618690899</c:v>
                </c:pt>
                <c:pt idx="40901">
                  <c:v>0.72946317103620395</c:v>
                </c:pt>
                <c:pt idx="40902">
                  <c:v>0.72948100588550002</c:v>
                </c:pt>
                <c:pt idx="40903">
                  <c:v>0.72949884073479498</c:v>
                </c:pt>
                <c:pt idx="40904">
                  <c:v>0.72951667558409095</c:v>
                </c:pt>
                <c:pt idx="40905">
                  <c:v>0.72953451043338602</c:v>
                </c:pt>
                <c:pt idx="40906">
                  <c:v>0.72955234528268198</c:v>
                </c:pt>
                <c:pt idx="40907">
                  <c:v>0.72957018013197705</c:v>
                </c:pt>
                <c:pt idx="40908">
                  <c:v>0.72958801498127301</c:v>
                </c:pt>
                <c:pt idx="40909">
                  <c:v>0.72960584983056898</c:v>
                </c:pt>
                <c:pt idx="40910">
                  <c:v>0.72962368467986405</c:v>
                </c:pt>
                <c:pt idx="40911">
                  <c:v>0.72964151952916001</c:v>
                </c:pt>
                <c:pt idx="40912">
                  <c:v>0.72965935437845497</c:v>
                </c:pt>
                <c:pt idx="40913">
                  <c:v>0.72967718922775104</c:v>
                </c:pt>
                <c:pt idx="40914">
                  <c:v>0.72969502407704601</c:v>
                </c:pt>
                <c:pt idx="40915">
                  <c:v>0.72971285892634197</c:v>
                </c:pt>
                <c:pt idx="40916">
                  <c:v>0.72973069377563704</c:v>
                </c:pt>
                <c:pt idx="40917">
                  <c:v>0.729748528624933</c:v>
                </c:pt>
                <c:pt idx="40918">
                  <c:v>0.72976636347422796</c:v>
                </c:pt>
                <c:pt idx="40919">
                  <c:v>0.72978419832352404</c:v>
                </c:pt>
                <c:pt idx="40920">
                  <c:v>0.729802033172819</c:v>
                </c:pt>
                <c:pt idx="40921">
                  <c:v>0.72981986802211496</c:v>
                </c:pt>
                <c:pt idx="40922">
                  <c:v>0.72983770287141003</c:v>
                </c:pt>
                <c:pt idx="40923">
                  <c:v>0.72985553772070599</c:v>
                </c:pt>
                <c:pt idx="40924">
                  <c:v>0.72987337257000096</c:v>
                </c:pt>
                <c:pt idx="40925">
                  <c:v>0.72989120741929703</c:v>
                </c:pt>
                <c:pt idx="40926">
                  <c:v>0.72990904226859199</c:v>
                </c:pt>
                <c:pt idx="40927">
                  <c:v>0.72992687711788795</c:v>
                </c:pt>
                <c:pt idx="40928">
                  <c:v>0.72994471196718302</c:v>
                </c:pt>
                <c:pt idx="40929">
                  <c:v>0.72996254681647899</c:v>
                </c:pt>
                <c:pt idx="40930">
                  <c:v>0.72998038166577495</c:v>
                </c:pt>
                <c:pt idx="40931">
                  <c:v>0.72999821651507002</c:v>
                </c:pt>
                <c:pt idx="40932">
                  <c:v>0.73001605136436598</c:v>
                </c:pt>
                <c:pt idx="40933">
                  <c:v>0.73003388621366105</c:v>
                </c:pt>
                <c:pt idx="40934">
                  <c:v>0.73005172106295702</c:v>
                </c:pt>
                <c:pt idx="40935">
                  <c:v>0.73006955591225198</c:v>
                </c:pt>
                <c:pt idx="40936">
                  <c:v>0.73008739076154805</c:v>
                </c:pt>
                <c:pt idx="40937">
                  <c:v>0.73010522561084301</c:v>
                </c:pt>
                <c:pt idx="40938">
                  <c:v>0.73012306046013897</c:v>
                </c:pt>
                <c:pt idx="40939">
                  <c:v>0.73014089530943405</c:v>
                </c:pt>
                <c:pt idx="40940">
                  <c:v>0.73015873015873001</c:v>
                </c:pt>
                <c:pt idx="40941">
                  <c:v>0.73017656500802497</c:v>
                </c:pt>
                <c:pt idx="40942">
                  <c:v>0.73019439985732104</c:v>
                </c:pt>
                <c:pt idx="40943">
                  <c:v>0.730212234706616</c:v>
                </c:pt>
                <c:pt idx="40944">
                  <c:v>0.73023006955591196</c:v>
                </c:pt>
                <c:pt idx="40945">
                  <c:v>0.73024790440520704</c:v>
                </c:pt>
                <c:pt idx="40946">
                  <c:v>0.730265739254503</c:v>
                </c:pt>
                <c:pt idx="40947">
                  <c:v>0.73028357410379796</c:v>
                </c:pt>
                <c:pt idx="40948">
                  <c:v>0.73030140895309403</c:v>
                </c:pt>
                <c:pt idx="40949">
                  <c:v>0.730319243802389</c:v>
                </c:pt>
                <c:pt idx="40950">
                  <c:v>0.73033707865168496</c:v>
                </c:pt>
                <c:pt idx="40951">
                  <c:v>0.73035491350098003</c:v>
                </c:pt>
                <c:pt idx="40952">
                  <c:v>0.73037274835027599</c:v>
                </c:pt>
                <c:pt idx="40953">
                  <c:v>0.73039058319957195</c:v>
                </c:pt>
                <c:pt idx="40954">
                  <c:v>0.73040841804886703</c:v>
                </c:pt>
                <c:pt idx="40955">
                  <c:v>0.73042625289816299</c:v>
                </c:pt>
                <c:pt idx="40956">
                  <c:v>0.73044408774745795</c:v>
                </c:pt>
                <c:pt idx="40957">
                  <c:v>0.73046192259675402</c:v>
                </c:pt>
                <c:pt idx="40958">
                  <c:v>0.73047975744604898</c:v>
                </c:pt>
                <c:pt idx="40959">
                  <c:v>0.73049759229534506</c:v>
                </c:pt>
                <c:pt idx="40960">
                  <c:v>0.73051542714464002</c:v>
                </c:pt>
                <c:pt idx="40961">
                  <c:v>0.73053326199393598</c:v>
                </c:pt>
                <c:pt idx="40962">
                  <c:v>0.73055109684323105</c:v>
                </c:pt>
                <c:pt idx="40963">
                  <c:v>0.73056893169252701</c:v>
                </c:pt>
                <c:pt idx="40964">
                  <c:v>0.73058676654182197</c:v>
                </c:pt>
                <c:pt idx="40965">
                  <c:v>0.73060460139111805</c:v>
                </c:pt>
                <c:pt idx="40966">
                  <c:v>0.73062243624041301</c:v>
                </c:pt>
                <c:pt idx="40967">
                  <c:v>0.73064027108970897</c:v>
                </c:pt>
                <c:pt idx="40968">
                  <c:v>0.73065810593900404</c:v>
                </c:pt>
                <c:pt idx="40969">
                  <c:v>0.7306759407883</c:v>
                </c:pt>
                <c:pt idx="40970">
                  <c:v>0.73069377563759497</c:v>
                </c:pt>
                <c:pt idx="40971">
                  <c:v>0.73071161048689104</c:v>
                </c:pt>
                <c:pt idx="40972">
                  <c:v>0.730729445336186</c:v>
                </c:pt>
                <c:pt idx="40973">
                  <c:v>0.73074728018548196</c:v>
                </c:pt>
                <c:pt idx="40974">
                  <c:v>0.73076511503477704</c:v>
                </c:pt>
                <c:pt idx="40975">
                  <c:v>0.730782949884073</c:v>
                </c:pt>
                <c:pt idx="40976">
                  <c:v>0.73080078473336896</c:v>
                </c:pt>
                <c:pt idx="40977">
                  <c:v>0.73081861958266403</c:v>
                </c:pt>
                <c:pt idx="40978">
                  <c:v>0.73083645443195999</c:v>
                </c:pt>
                <c:pt idx="40979">
                  <c:v>0.73085428928125495</c:v>
                </c:pt>
                <c:pt idx="40980">
                  <c:v>0.73087212413055103</c:v>
                </c:pt>
                <c:pt idx="40981">
                  <c:v>0.73088995897984599</c:v>
                </c:pt>
                <c:pt idx="40982">
                  <c:v>0.73090779382914195</c:v>
                </c:pt>
                <c:pt idx="40983">
                  <c:v>0.73092562867843702</c:v>
                </c:pt>
                <c:pt idx="40984">
                  <c:v>0.73094346352773298</c:v>
                </c:pt>
                <c:pt idx="40985">
                  <c:v>0.73096129837702795</c:v>
                </c:pt>
                <c:pt idx="40986">
                  <c:v>0.73097913322632402</c:v>
                </c:pt>
                <c:pt idx="40987">
                  <c:v>0.73099696807561898</c:v>
                </c:pt>
                <c:pt idx="40988">
                  <c:v>0.73101480292491505</c:v>
                </c:pt>
                <c:pt idx="40989">
                  <c:v>0.73103263777421001</c:v>
                </c:pt>
                <c:pt idx="40990">
                  <c:v>0.73105047262350598</c:v>
                </c:pt>
                <c:pt idx="40991">
                  <c:v>0.73106830747280105</c:v>
                </c:pt>
                <c:pt idx="40992">
                  <c:v>0.73108614232209701</c:v>
                </c:pt>
                <c:pt idx="40993">
                  <c:v>0.73110397717139197</c:v>
                </c:pt>
                <c:pt idx="40994">
                  <c:v>0.73112181202068804</c:v>
                </c:pt>
                <c:pt idx="40995">
                  <c:v>0.73113964686998301</c:v>
                </c:pt>
                <c:pt idx="40996">
                  <c:v>0.73115748171927897</c:v>
                </c:pt>
                <c:pt idx="40997">
                  <c:v>0.73117531656857504</c:v>
                </c:pt>
                <c:pt idx="40998">
                  <c:v>0.73119315141787</c:v>
                </c:pt>
                <c:pt idx="40999">
                  <c:v>0.73121098626716596</c:v>
                </c:pt>
                <c:pt idx="41000">
                  <c:v>0.73122882111646104</c:v>
                </c:pt>
                <c:pt idx="41001">
                  <c:v>0.731246655965757</c:v>
                </c:pt>
                <c:pt idx="41002">
                  <c:v>0.73126449081505196</c:v>
                </c:pt>
                <c:pt idx="41003">
                  <c:v>0.73128232566434803</c:v>
                </c:pt>
                <c:pt idx="41004">
                  <c:v>0.73130016051364299</c:v>
                </c:pt>
                <c:pt idx="41005">
                  <c:v>0.73131799536293896</c:v>
                </c:pt>
                <c:pt idx="41006">
                  <c:v>0.73133583021223403</c:v>
                </c:pt>
                <c:pt idx="41007">
                  <c:v>0.73135366506152999</c:v>
                </c:pt>
                <c:pt idx="41008">
                  <c:v>0.73137149991082495</c:v>
                </c:pt>
                <c:pt idx="41009">
                  <c:v>0.73138933476012102</c:v>
                </c:pt>
                <c:pt idx="41010">
                  <c:v>0.73140716960941599</c:v>
                </c:pt>
                <c:pt idx="41011">
                  <c:v>0.73142500445871195</c:v>
                </c:pt>
                <c:pt idx="41012">
                  <c:v>0.73144283930800702</c:v>
                </c:pt>
                <c:pt idx="41013">
                  <c:v>0.73146067415730298</c:v>
                </c:pt>
                <c:pt idx="41014">
                  <c:v>0.73147850900659805</c:v>
                </c:pt>
                <c:pt idx="41015">
                  <c:v>0.73149634385589402</c:v>
                </c:pt>
                <c:pt idx="41016">
                  <c:v>0.73151417870518998</c:v>
                </c:pt>
                <c:pt idx="41017">
                  <c:v>0.73153201355448505</c:v>
                </c:pt>
                <c:pt idx="41018">
                  <c:v>0.73154984840378101</c:v>
                </c:pt>
                <c:pt idx="41019">
                  <c:v>0.73156768325307597</c:v>
                </c:pt>
                <c:pt idx="41020">
                  <c:v>0.73158551810237205</c:v>
                </c:pt>
                <c:pt idx="41021">
                  <c:v>0.73160335295166701</c:v>
                </c:pt>
                <c:pt idx="41022">
                  <c:v>0.73162118780096297</c:v>
                </c:pt>
                <c:pt idx="41023">
                  <c:v>0.73163902265025804</c:v>
                </c:pt>
                <c:pt idx="41024">
                  <c:v>0.731656857499554</c:v>
                </c:pt>
                <c:pt idx="41025">
                  <c:v>0.73167469234884897</c:v>
                </c:pt>
                <c:pt idx="41026">
                  <c:v>0.73169252719814504</c:v>
                </c:pt>
                <c:pt idx="41027">
                  <c:v>0.73171036204744</c:v>
                </c:pt>
                <c:pt idx="41028">
                  <c:v>0.73172819689673596</c:v>
                </c:pt>
                <c:pt idx="41029">
                  <c:v>0.73174603174603103</c:v>
                </c:pt>
                <c:pt idx="41030">
                  <c:v>0.73176386659532699</c:v>
                </c:pt>
                <c:pt idx="41031">
                  <c:v>0.73178170144462196</c:v>
                </c:pt>
                <c:pt idx="41032">
                  <c:v>0.73179953629391803</c:v>
                </c:pt>
                <c:pt idx="41033">
                  <c:v>0.73181737114321299</c:v>
                </c:pt>
                <c:pt idx="41034">
                  <c:v>0.73183520599250895</c:v>
                </c:pt>
                <c:pt idx="41035">
                  <c:v>0.73185304084180403</c:v>
                </c:pt>
                <c:pt idx="41036">
                  <c:v>0.73187087569109999</c:v>
                </c:pt>
                <c:pt idx="41037">
                  <c:v>0.73188871054039595</c:v>
                </c:pt>
                <c:pt idx="41038">
                  <c:v>0.73190654538969102</c:v>
                </c:pt>
                <c:pt idx="41039">
                  <c:v>0.73192438023898698</c:v>
                </c:pt>
                <c:pt idx="41040">
                  <c:v>0.73194221508828206</c:v>
                </c:pt>
                <c:pt idx="41041">
                  <c:v>0.73196004993757802</c:v>
                </c:pt>
                <c:pt idx="41042">
                  <c:v>0.73197788478687298</c:v>
                </c:pt>
                <c:pt idx="41043">
                  <c:v>0.73199571963616905</c:v>
                </c:pt>
                <c:pt idx="41044">
                  <c:v>0.73201355448546401</c:v>
                </c:pt>
                <c:pt idx="41045">
                  <c:v>0.73203138933475997</c:v>
                </c:pt>
                <c:pt idx="41046">
                  <c:v>0.73204922418405505</c:v>
                </c:pt>
                <c:pt idx="41047">
                  <c:v>0.73206705903335101</c:v>
                </c:pt>
                <c:pt idx="41048">
                  <c:v>0.73208489388264597</c:v>
                </c:pt>
                <c:pt idx="41049">
                  <c:v>0.73210272873194204</c:v>
                </c:pt>
                <c:pt idx="41050">
                  <c:v>0.732120563581237</c:v>
                </c:pt>
                <c:pt idx="41051">
                  <c:v>0.73213839843053297</c:v>
                </c:pt>
                <c:pt idx="41052">
                  <c:v>0.73215623327982804</c:v>
                </c:pt>
                <c:pt idx="41053">
                  <c:v>0.732174068129124</c:v>
                </c:pt>
                <c:pt idx="41054">
                  <c:v>0.73219190297841896</c:v>
                </c:pt>
                <c:pt idx="41055">
                  <c:v>0.73220973782771503</c:v>
                </c:pt>
                <c:pt idx="41056">
                  <c:v>0.73222757267701</c:v>
                </c:pt>
                <c:pt idx="41057">
                  <c:v>0.73224540752630596</c:v>
                </c:pt>
                <c:pt idx="41058">
                  <c:v>0.73226324237560103</c:v>
                </c:pt>
                <c:pt idx="41059">
                  <c:v>0.73228107722489699</c:v>
                </c:pt>
                <c:pt idx="41060">
                  <c:v>0.73229891207419295</c:v>
                </c:pt>
                <c:pt idx="41061">
                  <c:v>0.73231674692348803</c:v>
                </c:pt>
                <c:pt idx="41062">
                  <c:v>0.73233458177278399</c:v>
                </c:pt>
                <c:pt idx="41063">
                  <c:v>0.73235241662207895</c:v>
                </c:pt>
                <c:pt idx="41064">
                  <c:v>0.73237025147137502</c:v>
                </c:pt>
                <c:pt idx="41065">
                  <c:v>0.73238808632066998</c:v>
                </c:pt>
                <c:pt idx="41066">
                  <c:v>0.73240592116996595</c:v>
                </c:pt>
                <c:pt idx="41067">
                  <c:v>0.73242375601926102</c:v>
                </c:pt>
                <c:pt idx="41068">
                  <c:v>0.73244159086855698</c:v>
                </c:pt>
                <c:pt idx="41069">
                  <c:v>0.73245942571785205</c:v>
                </c:pt>
                <c:pt idx="41070">
                  <c:v>0.73247726056714801</c:v>
                </c:pt>
                <c:pt idx="41071">
                  <c:v>0.73249509541644298</c:v>
                </c:pt>
                <c:pt idx="41072">
                  <c:v>0.73251293026573905</c:v>
                </c:pt>
                <c:pt idx="41073">
                  <c:v>0.73253076511503401</c:v>
                </c:pt>
                <c:pt idx="41074">
                  <c:v>0.73254859996432997</c:v>
                </c:pt>
                <c:pt idx="41075">
                  <c:v>0.73256643481362504</c:v>
                </c:pt>
                <c:pt idx="41076">
                  <c:v>0.73258426966292101</c:v>
                </c:pt>
                <c:pt idx="41077">
                  <c:v>0.73260210451221597</c:v>
                </c:pt>
                <c:pt idx="41078">
                  <c:v>0.73261993936151204</c:v>
                </c:pt>
                <c:pt idx="41079">
                  <c:v>0.732637774210807</c:v>
                </c:pt>
                <c:pt idx="41080">
                  <c:v>0.73265560906010296</c:v>
                </c:pt>
                <c:pt idx="41081">
                  <c:v>0.73267344390939804</c:v>
                </c:pt>
                <c:pt idx="41082">
                  <c:v>0.732691278758694</c:v>
                </c:pt>
                <c:pt idx="41083">
                  <c:v>0.73270911360798996</c:v>
                </c:pt>
                <c:pt idx="41084">
                  <c:v>0.73272694845728503</c:v>
                </c:pt>
                <c:pt idx="41085">
                  <c:v>0.73274478330658099</c:v>
                </c:pt>
                <c:pt idx="41086">
                  <c:v>0.73276261815587596</c:v>
                </c:pt>
                <c:pt idx="41087">
                  <c:v>0.73278045300517203</c:v>
                </c:pt>
                <c:pt idx="41088">
                  <c:v>0.73279828785446699</c:v>
                </c:pt>
                <c:pt idx="41089">
                  <c:v>0.73281612270376295</c:v>
                </c:pt>
                <c:pt idx="41090">
                  <c:v>0.73283395755305802</c:v>
                </c:pt>
                <c:pt idx="41091">
                  <c:v>0.73285179240235399</c:v>
                </c:pt>
                <c:pt idx="41092">
                  <c:v>0.73286962725164895</c:v>
                </c:pt>
                <c:pt idx="41093">
                  <c:v>0.73288746210094502</c:v>
                </c:pt>
                <c:pt idx="41094">
                  <c:v>0.73290529695023998</c:v>
                </c:pt>
                <c:pt idx="41095">
                  <c:v>0.73292313179953605</c:v>
                </c:pt>
                <c:pt idx="41096">
                  <c:v>0.73294096664883102</c:v>
                </c:pt>
                <c:pt idx="41097">
                  <c:v>0.73295880149812698</c:v>
                </c:pt>
                <c:pt idx="41098">
                  <c:v>0.73297663634742205</c:v>
                </c:pt>
                <c:pt idx="41099">
                  <c:v>0.73299447119671801</c:v>
                </c:pt>
                <c:pt idx="41100">
                  <c:v>0.73301230604601297</c:v>
                </c:pt>
                <c:pt idx="41101">
                  <c:v>0.73303014089530905</c:v>
                </c:pt>
                <c:pt idx="41102">
                  <c:v>0.73304797574460501</c:v>
                </c:pt>
                <c:pt idx="41103">
                  <c:v>0.73306581059389997</c:v>
                </c:pt>
                <c:pt idx="41104">
                  <c:v>0.73308364544319604</c:v>
                </c:pt>
                <c:pt idx="41105">
                  <c:v>0.733101480292491</c:v>
                </c:pt>
                <c:pt idx="41106">
                  <c:v>0.73311931514178696</c:v>
                </c:pt>
                <c:pt idx="41107">
                  <c:v>0.73313714999108204</c:v>
                </c:pt>
                <c:pt idx="41108">
                  <c:v>0.733154984840378</c:v>
                </c:pt>
                <c:pt idx="41109">
                  <c:v>0.73317281968967296</c:v>
                </c:pt>
                <c:pt idx="41110">
                  <c:v>0.73319065453896903</c:v>
                </c:pt>
                <c:pt idx="41111">
                  <c:v>0.733208489388264</c:v>
                </c:pt>
                <c:pt idx="41112">
                  <c:v>0.73322632423755996</c:v>
                </c:pt>
                <c:pt idx="41113">
                  <c:v>0.73324415908685503</c:v>
                </c:pt>
                <c:pt idx="41114">
                  <c:v>0.73326199393615099</c:v>
                </c:pt>
                <c:pt idx="41115">
                  <c:v>0.73327982878544595</c:v>
                </c:pt>
                <c:pt idx="41116">
                  <c:v>0.73329766363474203</c:v>
                </c:pt>
                <c:pt idx="41117">
                  <c:v>0.73331549848403699</c:v>
                </c:pt>
                <c:pt idx="41118">
                  <c:v>0.73333333333333295</c:v>
                </c:pt>
                <c:pt idx="41119">
                  <c:v>0.73335116818262802</c:v>
                </c:pt>
                <c:pt idx="41120">
                  <c:v>0.73336900303192398</c:v>
                </c:pt>
                <c:pt idx="41121">
                  <c:v>0.73338683788121894</c:v>
                </c:pt>
                <c:pt idx="41122">
                  <c:v>0.73340467273051502</c:v>
                </c:pt>
                <c:pt idx="41123">
                  <c:v>0.73342250757981098</c:v>
                </c:pt>
                <c:pt idx="41124">
                  <c:v>0.73344034242910605</c:v>
                </c:pt>
                <c:pt idx="41125">
                  <c:v>0.73345817727840201</c:v>
                </c:pt>
                <c:pt idx="41126">
                  <c:v>0.73347601212769697</c:v>
                </c:pt>
                <c:pt idx="41127">
                  <c:v>0.73349384697699305</c:v>
                </c:pt>
                <c:pt idx="41128">
                  <c:v>0.73351168182628801</c:v>
                </c:pt>
                <c:pt idx="41129">
                  <c:v>0.73352951667558397</c:v>
                </c:pt>
                <c:pt idx="41130">
                  <c:v>0.73354735152487904</c:v>
                </c:pt>
                <c:pt idx="41131">
                  <c:v>0.733565186374175</c:v>
                </c:pt>
                <c:pt idx="41132">
                  <c:v>0.73358302122346997</c:v>
                </c:pt>
                <c:pt idx="41133">
                  <c:v>0.73360085607276604</c:v>
                </c:pt>
                <c:pt idx="41134">
                  <c:v>0.733618690922061</c:v>
                </c:pt>
                <c:pt idx="41135">
                  <c:v>0.73363652577135696</c:v>
                </c:pt>
                <c:pt idx="41136">
                  <c:v>0.73365436062065204</c:v>
                </c:pt>
                <c:pt idx="41137">
                  <c:v>0.733672195469948</c:v>
                </c:pt>
                <c:pt idx="41138">
                  <c:v>0.73369003031924296</c:v>
                </c:pt>
                <c:pt idx="41139">
                  <c:v>0.73370786516853903</c:v>
                </c:pt>
                <c:pt idx="41140">
                  <c:v>0.73372570001783399</c:v>
                </c:pt>
                <c:pt idx="41141">
                  <c:v>0.73374353486712995</c:v>
                </c:pt>
                <c:pt idx="41142">
                  <c:v>0.73376136971642503</c:v>
                </c:pt>
                <c:pt idx="41143">
                  <c:v>0.73377920456572099</c:v>
                </c:pt>
                <c:pt idx="41144">
                  <c:v>0.73379703941501695</c:v>
                </c:pt>
                <c:pt idx="41145">
                  <c:v>0.73381487426431202</c:v>
                </c:pt>
                <c:pt idx="41146">
                  <c:v>0.73383270911360798</c:v>
                </c:pt>
                <c:pt idx="41147">
                  <c:v>0.73385054396290295</c:v>
                </c:pt>
                <c:pt idx="41148">
                  <c:v>0.73386837881219902</c:v>
                </c:pt>
                <c:pt idx="41149">
                  <c:v>0.73388621366149398</c:v>
                </c:pt>
                <c:pt idx="41150">
                  <c:v>0.73390404851079005</c:v>
                </c:pt>
                <c:pt idx="41151">
                  <c:v>0.73392188336008501</c:v>
                </c:pt>
                <c:pt idx="41152">
                  <c:v>0.73393971820938098</c:v>
                </c:pt>
                <c:pt idx="41153">
                  <c:v>0.73395755305867605</c:v>
                </c:pt>
                <c:pt idx="41154">
                  <c:v>0.73397538790797201</c:v>
                </c:pt>
                <c:pt idx="41155">
                  <c:v>0.73399322275726697</c:v>
                </c:pt>
                <c:pt idx="41156">
                  <c:v>0.73401105760656304</c:v>
                </c:pt>
                <c:pt idx="41157">
                  <c:v>0.73402889245585801</c:v>
                </c:pt>
                <c:pt idx="41158">
                  <c:v>0.73404672730515397</c:v>
                </c:pt>
                <c:pt idx="41159">
                  <c:v>0.73406456215444904</c:v>
                </c:pt>
                <c:pt idx="41160">
                  <c:v>0.734082397003745</c:v>
                </c:pt>
                <c:pt idx="41161">
                  <c:v>0.73410023185303996</c:v>
                </c:pt>
                <c:pt idx="41162">
                  <c:v>0.73411806670233604</c:v>
                </c:pt>
                <c:pt idx="41163">
                  <c:v>0.734135901551631</c:v>
                </c:pt>
                <c:pt idx="41164">
                  <c:v>0.73415373640092696</c:v>
                </c:pt>
                <c:pt idx="41165">
                  <c:v>0.73417157125022203</c:v>
                </c:pt>
                <c:pt idx="41166">
                  <c:v>0.73418940609951799</c:v>
                </c:pt>
                <c:pt idx="41167">
                  <c:v>0.73420724094881396</c:v>
                </c:pt>
                <c:pt idx="41168">
                  <c:v>0.73422507579810903</c:v>
                </c:pt>
                <c:pt idx="41169">
                  <c:v>0.73424291064740499</c:v>
                </c:pt>
                <c:pt idx="41170">
                  <c:v>0.73426074549669995</c:v>
                </c:pt>
                <c:pt idx="41171">
                  <c:v>0.73427858034599602</c:v>
                </c:pt>
                <c:pt idx="41172">
                  <c:v>0.73429641519529099</c:v>
                </c:pt>
                <c:pt idx="41173">
                  <c:v>0.73431425004458695</c:v>
                </c:pt>
                <c:pt idx="41174">
                  <c:v>0.73433208489388202</c:v>
                </c:pt>
                <c:pt idx="41175">
                  <c:v>0.73434991974317798</c:v>
                </c:pt>
                <c:pt idx="41176">
                  <c:v>0.73436775459247305</c:v>
                </c:pt>
                <c:pt idx="41177">
                  <c:v>0.73438558944176902</c:v>
                </c:pt>
                <c:pt idx="41178">
                  <c:v>0.73440342429106398</c:v>
                </c:pt>
                <c:pt idx="41179">
                  <c:v>0.73442125914036005</c:v>
                </c:pt>
                <c:pt idx="41180">
                  <c:v>0.73443909398965501</c:v>
                </c:pt>
                <c:pt idx="41181">
                  <c:v>0.73445692883895097</c:v>
                </c:pt>
                <c:pt idx="41182">
                  <c:v>0.73447476368824605</c:v>
                </c:pt>
                <c:pt idx="41183">
                  <c:v>0.73449259853754201</c:v>
                </c:pt>
                <c:pt idx="41184">
                  <c:v>0.73451043338683697</c:v>
                </c:pt>
                <c:pt idx="41185">
                  <c:v>0.73452826823613304</c:v>
                </c:pt>
                <c:pt idx="41186">
                  <c:v>0.734546103085428</c:v>
                </c:pt>
                <c:pt idx="41187">
                  <c:v>0.73456393793472397</c:v>
                </c:pt>
                <c:pt idx="41188">
                  <c:v>0.73458177278401904</c:v>
                </c:pt>
                <c:pt idx="41189">
                  <c:v>0.734599607633315</c:v>
                </c:pt>
                <c:pt idx="41190">
                  <c:v>0.73461744248261096</c:v>
                </c:pt>
                <c:pt idx="41191">
                  <c:v>0.73463527733190603</c:v>
                </c:pt>
                <c:pt idx="41192">
                  <c:v>0.73465311218120199</c:v>
                </c:pt>
                <c:pt idx="41193">
                  <c:v>0.73467094703049696</c:v>
                </c:pt>
                <c:pt idx="41194">
                  <c:v>0.73468878187979303</c:v>
                </c:pt>
                <c:pt idx="41195">
                  <c:v>0.73470661672908799</c:v>
                </c:pt>
                <c:pt idx="41196">
                  <c:v>0.73472445157838395</c:v>
                </c:pt>
                <c:pt idx="41197">
                  <c:v>0.73474228642767903</c:v>
                </c:pt>
                <c:pt idx="41198">
                  <c:v>0.73476012127697499</c:v>
                </c:pt>
                <c:pt idx="41199">
                  <c:v>0.73477795612626995</c:v>
                </c:pt>
                <c:pt idx="41200">
                  <c:v>0.73479579097556602</c:v>
                </c:pt>
                <c:pt idx="41201">
                  <c:v>0.73481362582486098</c:v>
                </c:pt>
                <c:pt idx="41202">
                  <c:v>0.73483146067415706</c:v>
                </c:pt>
                <c:pt idx="41203">
                  <c:v>0.73484929552345202</c:v>
                </c:pt>
                <c:pt idx="41204">
                  <c:v>0.73486713037274798</c:v>
                </c:pt>
                <c:pt idx="41205">
                  <c:v>0.73488496522204305</c:v>
                </c:pt>
                <c:pt idx="41206">
                  <c:v>0.73490280007133901</c:v>
                </c:pt>
                <c:pt idx="41207">
                  <c:v>0.73492063492063497</c:v>
                </c:pt>
                <c:pt idx="41208">
                  <c:v>0.73493846976993005</c:v>
                </c:pt>
                <c:pt idx="41209">
                  <c:v>0.73495630461922601</c:v>
                </c:pt>
                <c:pt idx="41210">
                  <c:v>0.73497413946852097</c:v>
                </c:pt>
                <c:pt idx="41211">
                  <c:v>0.73499197431781704</c:v>
                </c:pt>
                <c:pt idx="41212">
                  <c:v>0.735009809167112</c:v>
                </c:pt>
                <c:pt idx="41213">
                  <c:v>0.73502764401640797</c:v>
                </c:pt>
                <c:pt idx="41214">
                  <c:v>0.73504547886570304</c:v>
                </c:pt>
                <c:pt idx="41215">
                  <c:v>0.735063313714999</c:v>
                </c:pt>
                <c:pt idx="41216">
                  <c:v>0.73508114856429396</c:v>
                </c:pt>
                <c:pt idx="41217">
                  <c:v>0.73509898341359003</c:v>
                </c:pt>
                <c:pt idx="41218">
                  <c:v>0.735116818262885</c:v>
                </c:pt>
                <c:pt idx="41219">
                  <c:v>0.73513465311218096</c:v>
                </c:pt>
                <c:pt idx="41220">
                  <c:v>0.73515248796147603</c:v>
                </c:pt>
                <c:pt idx="41221">
                  <c:v>0.73517032281077199</c:v>
                </c:pt>
                <c:pt idx="41222">
                  <c:v>0.73518815766006695</c:v>
                </c:pt>
                <c:pt idx="41223">
                  <c:v>0.73520599250936303</c:v>
                </c:pt>
                <c:pt idx="41224">
                  <c:v>0.73522382735865799</c:v>
                </c:pt>
                <c:pt idx="41225">
                  <c:v>0.73524166220795395</c:v>
                </c:pt>
                <c:pt idx="41226">
                  <c:v>0.73525949705724902</c:v>
                </c:pt>
                <c:pt idx="41227">
                  <c:v>0.73527733190654498</c:v>
                </c:pt>
                <c:pt idx="41228">
                  <c:v>0.73529516675584095</c:v>
                </c:pt>
                <c:pt idx="41229">
                  <c:v>0.73531300160513602</c:v>
                </c:pt>
                <c:pt idx="41230">
                  <c:v>0.73533083645443198</c:v>
                </c:pt>
                <c:pt idx="41231">
                  <c:v>0.73534867130372705</c:v>
                </c:pt>
                <c:pt idx="41232">
                  <c:v>0.73536650615302301</c:v>
                </c:pt>
                <c:pt idx="41233">
                  <c:v>0.73538434100231798</c:v>
                </c:pt>
                <c:pt idx="41234">
                  <c:v>0.73540217585161405</c:v>
                </c:pt>
                <c:pt idx="41235">
                  <c:v>0.73542001070090901</c:v>
                </c:pt>
                <c:pt idx="41236">
                  <c:v>0.73543784555020497</c:v>
                </c:pt>
                <c:pt idx="41237">
                  <c:v>0.73545568039950004</c:v>
                </c:pt>
                <c:pt idx="41238">
                  <c:v>0.73547351524879601</c:v>
                </c:pt>
                <c:pt idx="41239">
                  <c:v>0.73549135009809097</c:v>
                </c:pt>
                <c:pt idx="41240">
                  <c:v>0.73550918494738704</c:v>
                </c:pt>
                <c:pt idx="41241">
                  <c:v>0.735527019796682</c:v>
                </c:pt>
                <c:pt idx="41242">
                  <c:v>0.73554485464597796</c:v>
                </c:pt>
                <c:pt idx="41243">
                  <c:v>0.73556268949527304</c:v>
                </c:pt>
                <c:pt idx="41244">
                  <c:v>0.735580524344569</c:v>
                </c:pt>
                <c:pt idx="41245">
                  <c:v>0.73559835919386396</c:v>
                </c:pt>
                <c:pt idx="41246">
                  <c:v>0.73561619404316003</c:v>
                </c:pt>
                <c:pt idx="41247">
                  <c:v>0.73563402889245499</c:v>
                </c:pt>
                <c:pt idx="41248">
                  <c:v>0.73565186374175096</c:v>
                </c:pt>
                <c:pt idx="41249">
                  <c:v>0.73566969859104603</c:v>
                </c:pt>
                <c:pt idx="41250">
                  <c:v>0.73568753344034199</c:v>
                </c:pt>
                <c:pt idx="41251">
                  <c:v>0.73570536828963795</c:v>
                </c:pt>
                <c:pt idx="41252">
                  <c:v>0.73572320313893302</c:v>
                </c:pt>
                <c:pt idx="41253">
                  <c:v>0.73574103798822899</c:v>
                </c:pt>
                <c:pt idx="41254">
                  <c:v>0.73575887283752395</c:v>
                </c:pt>
                <c:pt idx="41255">
                  <c:v>0.73577670768682002</c:v>
                </c:pt>
                <c:pt idx="41256">
                  <c:v>0.73579454253611498</c:v>
                </c:pt>
                <c:pt idx="41257">
                  <c:v>0.73581237738541105</c:v>
                </c:pt>
                <c:pt idx="41258">
                  <c:v>0.73583021223470602</c:v>
                </c:pt>
                <c:pt idx="41259">
                  <c:v>0.73584804708400198</c:v>
                </c:pt>
                <c:pt idx="41260">
                  <c:v>0.73586588193329705</c:v>
                </c:pt>
                <c:pt idx="41261">
                  <c:v>0.73588371678259301</c:v>
                </c:pt>
                <c:pt idx="41262">
                  <c:v>0.73590155163188797</c:v>
                </c:pt>
                <c:pt idx="41263">
                  <c:v>0.73591938648118405</c:v>
                </c:pt>
                <c:pt idx="41264">
                  <c:v>0.73593722133047901</c:v>
                </c:pt>
                <c:pt idx="41265">
                  <c:v>0.73595505617977497</c:v>
                </c:pt>
                <c:pt idx="41266">
                  <c:v>0.73597289102907004</c:v>
                </c:pt>
                <c:pt idx="41267">
                  <c:v>0.735990725878366</c:v>
                </c:pt>
                <c:pt idx="41268">
                  <c:v>0.73600856072766097</c:v>
                </c:pt>
                <c:pt idx="41269">
                  <c:v>0.73602639557695704</c:v>
                </c:pt>
                <c:pt idx="41270">
                  <c:v>0.736044230426252</c:v>
                </c:pt>
                <c:pt idx="41271">
                  <c:v>0.73606206527554796</c:v>
                </c:pt>
                <c:pt idx="41272">
                  <c:v>0.73607990012484303</c:v>
                </c:pt>
                <c:pt idx="41273">
                  <c:v>0.736097734974139</c:v>
                </c:pt>
                <c:pt idx="41274">
                  <c:v>0.73611556982343496</c:v>
                </c:pt>
                <c:pt idx="41275">
                  <c:v>0.73613340467273003</c:v>
                </c:pt>
                <c:pt idx="41276">
                  <c:v>0.73615123952202599</c:v>
                </c:pt>
                <c:pt idx="41277">
                  <c:v>0.73616907437132095</c:v>
                </c:pt>
                <c:pt idx="41278">
                  <c:v>0.73618690922061703</c:v>
                </c:pt>
                <c:pt idx="41279">
                  <c:v>0.73620474406991199</c:v>
                </c:pt>
                <c:pt idx="41280">
                  <c:v>0.73622257891920795</c:v>
                </c:pt>
                <c:pt idx="41281">
                  <c:v>0.73624041376850302</c:v>
                </c:pt>
                <c:pt idx="41282">
                  <c:v>0.73625824861779898</c:v>
                </c:pt>
                <c:pt idx="41283">
                  <c:v>0.73627608346709394</c:v>
                </c:pt>
                <c:pt idx="41284">
                  <c:v>0.73629391831639002</c:v>
                </c:pt>
                <c:pt idx="41285">
                  <c:v>0.73631175316568498</c:v>
                </c:pt>
                <c:pt idx="41286">
                  <c:v>0.73632958801498105</c:v>
                </c:pt>
                <c:pt idx="41287">
                  <c:v>0.73634742286427601</c:v>
                </c:pt>
                <c:pt idx="41288">
                  <c:v>0.73636525771357197</c:v>
                </c:pt>
                <c:pt idx="41289">
                  <c:v>0.73638309256286705</c:v>
                </c:pt>
                <c:pt idx="41290">
                  <c:v>0.73640092741216301</c:v>
                </c:pt>
                <c:pt idx="41291">
                  <c:v>0.73641876226145797</c:v>
                </c:pt>
                <c:pt idx="41292">
                  <c:v>0.73643659711075404</c:v>
                </c:pt>
                <c:pt idx="41293">
                  <c:v>0.73645443196004901</c:v>
                </c:pt>
                <c:pt idx="41294">
                  <c:v>0.73647226680934497</c:v>
                </c:pt>
                <c:pt idx="41295">
                  <c:v>0.73649010165864104</c:v>
                </c:pt>
                <c:pt idx="41296">
                  <c:v>0.736507936507936</c:v>
                </c:pt>
                <c:pt idx="41297">
                  <c:v>0.73652577135723196</c:v>
                </c:pt>
                <c:pt idx="41298">
                  <c:v>0.73654360620652704</c:v>
                </c:pt>
                <c:pt idx="41299">
                  <c:v>0.736561441055823</c:v>
                </c:pt>
                <c:pt idx="41300">
                  <c:v>0.73657927590511796</c:v>
                </c:pt>
                <c:pt idx="41301">
                  <c:v>0.73659711075441403</c:v>
                </c:pt>
                <c:pt idx="41302">
                  <c:v>0.73661494560370899</c:v>
                </c:pt>
                <c:pt idx="41303">
                  <c:v>0.73663278045300495</c:v>
                </c:pt>
                <c:pt idx="41304">
                  <c:v>0.73665061530230003</c:v>
                </c:pt>
                <c:pt idx="41305">
                  <c:v>0.73666845015159599</c:v>
                </c:pt>
                <c:pt idx="41306">
                  <c:v>0.73668628500089095</c:v>
                </c:pt>
                <c:pt idx="41307">
                  <c:v>0.73670411985018702</c:v>
                </c:pt>
                <c:pt idx="41308">
                  <c:v>0.73672195469948198</c:v>
                </c:pt>
                <c:pt idx="41309">
                  <c:v>0.73673978954877795</c:v>
                </c:pt>
                <c:pt idx="41310">
                  <c:v>0.73675762439807302</c:v>
                </c:pt>
                <c:pt idx="41311">
                  <c:v>0.73677545924736898</c:v>
                </c:pt>
                <c:pt idx="41312">
                  <c:v>0.73679329409666405</c:v>
                </c:pt>
                <c:pt idx="41313">
                  <c:v>0.73681112894596001</c:v>
                </c:pt>
                <c:pt idx="41314">
                  <c:v>0.73682896379525598</c:v>
                </c:pt>
                <c:pt idx="41315">
                  <c:v>0.73684679864455105</c:v>
                </c:pt>
                <c:pt idx="41316">
                  <c:v>0.73686463349384701</c:v>
                </c:pt>
                <c:pt idx="41317">
                  <c:v>0.73688246834314197</c:v>
                </c:pt>
                <c:pt idx="41318">
                  <c:v>0.73690030319243804</c:v>
                </c:pt>
                <c:pt idx="41319">
                  <c:v>0.73691813804173301</c:v>
                </c:pt>
                <c:pt idx="41320">
                  <c:v>0.73693597289102897</c:v>
                </c:pt>
                <c:pt idx="41321">
                  <c:v>0.73695380774032404</c:v>
                </c:pt>
                <c:pt idx="41322">
                  <c:v>0.73697164258962</c:v>
                </c:pt>
                <c:pt idx="41323">
                  <c:v>0.73698947743891496</c:v>
                </c:pt>
                <c:pt idx="41324">
                  <c:v>0.73700731228821104</c:v>
                </c:pt>
                <c:pt idx="41325">
                  <c:v>0.737025147137506</c:v>
                </c:pt>
                <c:pt idx="41326">
                  <c:v>0.73704298198680196</c:v>
                </c:pt>
                <c:pt idx="41327">
                  <c:v>0.73706081683609703</c:v>
                </c:pt>
                <c:pt idx="41328">
                  <c:v>0.73707865168539299</c:v>
                </c:pt>
                <c:pt idx="41329">
                  <c:v>0.73709648653468796</c:v>
                </c:pt>
                <c:pt idx="41330">
                  <c:v>0.73711432138398403</c:v>
                </c:pt>
                <c:pt idx="41331">
                  <c:v>0.73713215623327899</c:v>
                </c:pt>
                <c:pt idx="41332">
                  <c:v>0.73714999108257495</c:v>
                </c:pt>
                <c:pt idx="41333">
                  <c:v>0.73716782593187002</c:v>
                </c:pt>
                <c:pt idx="41334">
                  <c:v>0.73718566078116599</c:v>
                </c:pt>
                <c:pt idx="41335">
                  <c:v>0.73720349563046195</c:v>
                </c:pt>
                <c:pt idx="41336">
                  <c:v>0.73722133047975702</c:v>
                </c:pt>
                <c:pt idx="41337">
                  <c:v>0.73723916532905298</c:v>
                </c:pt>
                <c:pt idx="41338">
                  <c:v>0.73725700017834805</c:v>
                </c:pt>
                <c:pt idx="41339">
                  <c:v>0.73727483502764402</c:v>
                </c:pt>
                <c:pt idx="41340">
                  <c:v>0.73729266987693898</c:v>
                </c:pt>
                <c:pt idx="41341">
                  <c:v>0.73731050472623505</c:v>
                </c:pt>
                <c:pt idx="41342">
                  <c:v>0.73732833957553001</c:v>
                </c:pt>
                <c:pt idx="41343">
                  <c:v>0.73734617442482597</c:v>
                </c:pt>
                <c:pt idx="41344">
                  <c:v>0.73736400927412105</c:v>
                </c:pt>
                <c:pt idx="41345">
                  <c:v>0.73738184412341701</c:v>
                </c:pt>
                <c:pt idx="41346">
                  <c:v>0.73739967897271197</c:v>
                </c:pt>
                <c:pt idx="41347">
                  <c:v>0.73741751382200804</c:v>
                </c:pt>
                <c:pt idx="41348">
                  <c:v>0.737435348671303</c:v>
                </c:pt>
                <c:pt idx="41349">
                  <c:v>0.73745318352059896</c:v>
                </c:pt>
                <c:pt idx="41350">
                  <c:v>0.73747101836989404</c:v>
                </c:pt>
                <c:pt idx="41351">
                  <c:v>0.73748885321919</c:v>
                </c:pt>
                <c:pt idx="41352">
                  <c:v>0.73750668806848496</c:v>
                </c:pt>
                <c:pt idx="41353">
                  <c:v>0.73752452291778103</c:v>
                </c:pt>
                <c:pt idx="41354">
                  <c:v>0.737542357767076</c:v>
                </c:pt>
                <c:pt idx="41355">
                  <c:v>0.73756019261637196</c:v>
                </c:pt>
                <c:pt idx="41356">
                  <c:v>0.73757802746566703</c:v>
                </c:pt>
                <c:pt idx="41357">
                  <c:v>0.73759586231496299</c:v>
                </c:pt>
                <c:pt idx="41358">
                  <c:v>0.73761369716425895</c:v>
                </c:pt>
                <c:pt idx="41359">
                  <c:v>0.73763153201355403</c:v>
                </c:pt>
                <c:pt idx="41360">
                  <c:v>0.73764936686284999</c:v>
                </c:pt>
                <c:pt idx="41361">
                  <c:v>0.73766720171214495</c:v>
                </c:pt>
                <c:pt idx="41362">
                  <c:v>0.73768503656144102</c:v>
                </c:pt>
                <c:pt idx="41363">
                  <c:v>0.73770287141073598</c:v>
                </c:pt>
                <c:pt idx="41364">
                  <c:v>0.73772070626003206</c:v>
                </c:pt>
                <c:pt idx="41365">
                  <c:v>0.73773854110932702</c:v>
                </c:pt>
                <c:pt idx="41366">
                  <c:v>0.73775637595862298</c:v>
                </c:pt>
                <c:pt idx="41367">
                  <c:v>0.73777421080791805</c:v>
                </c:pt>
                <c:pt idx="41368">
                  <c:v>0.73779204565721401</c:v>
                </c:pt>
                <c:pt idx="41369">
                  <c:v>0.73780988050650897</c:v>
                </c:pt>
                <c:pt idx="41370">
                  <c:v>0.73782771535580505</c:v>
                </c:pt>
                <c:pt idx="41371">
                  <c:v>0.73784555020510001</c:v>
                </c:pt>
                <c:pt idx="41372">
                  <c:v>0.73786338505439597</c:v>
                </c:pt>
                <c:pt idx="41373">
                  <c:v>0.73788121990369104</c:v>
                </c:pt>
                <c:pt idx="41374">
                  <c:v>0.737899054752987</c:v>
                </c:pt>
                <c:pt idx="41375">
                  <c:v>0.73791688960228197</c:v>
                </c:pt>
                <c:pt idx="41376">
                  <c:v>0.73793472445157804</c:v>
                </c:pt>
                <c:pt idx="41377">
                  <c:v>0.737952559300873</c:v>
                </c:pt>
                <c:pt idx="41378">
                  <c:v>0.73797039415016896</c:v>
                </c:pt>
                <c:pt idx="41379">
                  <c:v>0.73798822899946404</c:v>
                </c:pt>
                <c:pt idx="41380">
                  <c:v>0.73800606384876</c:v>
                </c:pt>
                <c:pt idx="41381">
                  <c:v>0.73802389869805596</c:v>
                </c:pt>
                <c:pt idx="41382">
                  <c:v>0.73804173354735103</c:v>
                </c:pt>
                <c:pt idx="41383">
                  <c:v>0.73805956839664699</c:v>
                </c:pt>
                <c:pt idx="41384">
                  <c:v>0.73807740324594195</c:v>
                </c:pt>
                <c:pt idx="41385">
                  <c:v>0.73809523809523803</c:v>
                </c:pt>
                <c:pt idx="41386">
                  <c:v>0.73811307294453299</c:v>
                </c:pt>
                <c:pt idx="41387">
                  <c:v>0.73813090779382895</c:v>
                </c:pt>
                <c:pt idx="41388">
                  <c:v>0.73814874264312402</c:v>
                </c:pt>
                <c:pt idx="41389">
                  <c:v>0.73816657749241998</c:v>
                </c:pt>
                <c:pt idx="41390">
                  <c:v>0.73818441234171495</c:v>
                </c:pt>
                <c:pt idx="41391">
                  <c:v>0.73820224719101102</c:v>
                </c:pt>
                <c:pt idx="41392">
                  <c:v>0.73822008204030598</c:v>
                </c:pt>
                <c:pt idx="41393">
                  <c:v>0.73823791688960205</c:v>
                </c:pt>
                <c:pt idx="41394">
                  <c:v>0.73825575173889701</c:v>
                </c:pt>
                <c:pt idx="41395">
                  <c:v>0.73827358658819298</c:v>
                </c:pt>
                <c:pt idx="41396">
                  <c:v>0.73829142143748805</c:v>
                </c:pt>
                <c:pt idx="41397">
                  <c:v>0.73830925628678401</c:v>
                </c:pt>
                <c:pt idx="41398">
                  <c:v>0.73832709113607897</c:v>
                </c:pt>
                <c:pt idx="41399">
                  <c:v>0.73834492598537504</c:v>
                </c:pt>
                <c:pt idx="41400">
                  <c:v>0.73836276083467001</c:v>
                </c:pt>
                <c:pt idx="41401">
                  <c:v>0.73838059568396597</c:v>
                </c:pt>
                <c:pt idx="41402">
                  <c:v>0.73839843053326204</c:v>
                </c:pt>
                <c:pt idx="41403">
                  <c:v>0.738416265382557</c:v>
                </c:pt>
                <c:pt idx="41404">
                  <c:v>0.73843410023185296</c:v>
                </c:pt>
                <c:pt idx="41405">
                  <c:v>0.73845193508114804</c:v>
                </c:pt>
                <c:pt idx="41406">
                  <c:v>0.738469769930444</c:v>
                </c:pt>
                <c:pt idx="41407">
                  <c:v>0.73848760477973896</c:v>
                </c:pt>
                <c:pt idx="41408">
                  <c:v>0.73850543962903503</c:v>
                </c:pt>
                <c:pt idx="41409">
                  <c:v>0.73852327447832999</c:v>
                </c:pt>
                <c:pt idx="41410">
                  <c:v>0.73854110932762596</c:v>
                </c:pt>
                <c:pt idx="41411">
                  <c:v>0.73855894417692103</c:v>
                </c:pt>
                <c:pt idx="41412">
                  <c:v>0.73857677902621699</c:v>
                </c:pt>
                <c:pt idx="41413">
                  <c:v>0.73859461387551195</c:v>
                </c:pt>
                <c:pt idx="41414">
                  <c:v>0.73861244872480802</c:v>
                </c:pt>
                <c:pt idx="41415">
                  <c:v>0.73863028357410299</c:v>
                </c:pt>
                <c:pt idx="41416">
                  <c:v>0.73864811842339895</c:v>
                </c:pt>
                <c:pt idx="41417">
                  <c:v>0.73866595327269402</c:v>
                </c:pt>
                <c:pt idx="41418">
                  <c:v>0.73868378812198998</c:v>
                </c:pt>
                <c:pt idx="41419">
                  <c:v>0.73870162297128505</c:v>
                </c:pt>
                <c:pt idx="41420">
                  <c:v>0.73871945782058102</c:v>
                </c:pt>
                <c:pt idx="41421">
                  <c:v>0.73873729266987698</c:v>
                </c:pt>
                <c:pt idx="41422">
                  <c:v>0.73875512751917205</c:v>
                </c:pt>
                <c:pt idx="41423">
                  <c:v>0.73877296236846801</c:v>
                </c:pt>
                <c:pt idx="41424">
                  <c:v>0.73879079721776297</c:v>
                </c:pt>
                <c:pt idx="41425">
                  <c:v>0.73880863206705905</c:v>
                </c:pt>
                <c:pt idx="41426">
                  <c:v>0.73882646691635401</c:v>
                </c:pt>
                <c:pt idx="41427">
                  <c:v>0.73884430176564997</c:v>
                </c:pt>
                <c:pt idx="41428">
                  <c:v>0.73886213661494504</c:v>
                </c:pt>
                <c:pt idx="41429">
                  <c:v>0.738879971464241</c:v>
                </c:pt>
                <c:pt idx="41430">
                  <c:v>0.73889780631353597</c:v>
                </c:pt>
                <c:pt idx="41431">
                  <c:v>0.73891564116283204</c:v>
                </c:pt>
                <c:pt idx="41432">
                  <c:v>0.738933476012127</c:v>
                </c:pt>
                <c:pt idx="41433">
                  <c:v>0.73895131086142296</c:v>
                </c:pt>
                <c:pt idx="41434">
                  <c:v>0.73896914571071803</c:v>
                </c:pt>
                <c:pt idx="41435">
                  <c:v>0.738986980560014</c:v>
                </c:pt>
                <c:pt idx="41436">
                  <c:v>0.73900481540930896</c:v>
                </c:pt>
                <c:pt idx="41437">
                  <c:v>0.73902265025860503</c:v>
                </c:pt>
                <c:pt idx="41438">
                  <c:v>0.73904048510789999</c:v>
                </c:pt>
                <c:pt idx="41439">
                  <c:v>0.73905831995719595</c:v>
                </c:pt>
                <c:pt idx="41440">
                  <c:v>0.73907615480649103</c:v>
                </c:pt>
                <c:pt idx="41441">
                  <c:v>0.73909398965578699</c:v>
                </c:pt>
                <c:pt idx="41442">
                  <c:v>0.73911182450508295</c:v>
                </c:pt>
                <c:pt idx="41443">
                  <c:v>0.73912965935437802</c:v>
                </c:pt>
                <c:pt idx="41444">
                  <c:v>0.73914749420367398</c:v>
                </c:pt>
                <c:pt idx="41445">
                  <c:v>0.73916532905296894</c:v>
                </c:pt>
                <c:pt idx="41446">
                  <c:v>0.73918316390226502</c:v>
                </c:pt>
                <c:pt idx="41447">
                  <c:v>0.73920099875155998</c:v>
                </c:pt>
                <c:pt idx="41448">
                  <c:v>0.73921883360085605</c:v>
                </c:pt>
                <c:pt idx="41449">
                  <c:v>0.73923666845015101</c:v>
                </c:pt>
                <c:pt idx="41450">
                  <c:v>0.73925450329944697</c:v>
                </c:pt>
                <c:pt idx="41451">
                  <c:v>0.73927233814874205</c:v>
                </c:pt>
                <c:pt idx="41452">
                  <c:v>0.73929017299803801</c:v>
                </c:pt>
                <c:pt idx="41453">
                  <c:v>0.73930800784733297</c:v>
                </c:pt>
                <c:pt idx="41454">
                  <c:v>0.73932584269662904</c:v>
                </c:pt>
                <c:pt idx="41455">
                  <c:v>0.73934367754592401</c:v>
                </c:pt>
                <c:pt idx="41456">
                  <c:v>0.73936151239521997</c:v>
                </c:pt>
                <c:pt idx="41457">
                  <c:v>0.73937934724451504</c:v>
                </c:pt>
                <c:pt idx="41458">
                  <c:v>0.739397182093811</c:v>
                </c:pt>
                <c:pt idx="41459">
                  <c:v>0.73941501694310596</c:v>
                </c:pt>
                <c:pt idx="41460">
                  <c:v>0.73943285179240203</c:v>
                </c:pt>
                <c:pt idx="41461">
                  <c:v>0.739450686641697</c:v>
                </c:pt>
                <c:pt idx="41462">
                  <c:v>0.73946852149099296</c:v>
                </c:pt>
                <c:pt idx="41463">
                  <c:v>0.73948635634028803</c:v>
                </c:pt>
                <c:pt idx="41464">
                  <c:v>0.73950419118958399</c:v>
                </c:pt>
                <c:pt idx="41465">
                  <c:v>0.73952202603887995</c:v>
                </c:pt>
                <c:pt idx="41466">
                  <c:v>0.73953986088817503</c:v>
                </c:pt>
                <c:pt idx="41467">
                  <c:v>0.73955769573747099</c:v>
                </c:pt>
                <c:pt idx="41468">
                  <c:v>0.73957553058676595</c:v>
                </c:pt>
                <c:pt idx="41469">
                  <c:v>0.73959336543606202</c:v>
                </c:pt>
                <c:pt idx="41470">
                  <c:v>0.73961120028535698</c:v>
                </c:pt>
                <c:pt idx="41471">
                  <c:v>0.73962903513465295</c:v>
                </c:pt>
                <c:pt idx="41472">
                  <c:v>0.73964686998394802</c:v>
                </c:pt>
                <c:pt idx="41473">
                  <c:v>0.73966470483324398</c:v>
                </c:pt>
                <c:pt idx="41474">
                  <c:v>0.73968253968253905</c:v>
                </c:pt>
                <c:pt idx="41475">
                  <c:v>0.73970037453183501</c:v>
                </c:pt>
                <c:pt idx="41476">
                  <c:v>0.73971820938112998</c:v>
                </c:pt>
                <c:pt idx="41477">
                  <c:v>0.73973604423042605</c:v>
                </c:pt>
                <c:pt idx="41478">
                  <c:v>0.73975387907972101</c:v>
                </c:pt>
                <c:pt idx="41479">
                  <c:v>0.73977171392901697</c:v>
                </c:pt>
                <c:pt idx="41480">
                  <c:v>0.73978954877831204</c:v>
                </c:pt>
                <c:pt idx="41481">
                  <c:v>0.73980738362760801</c:v>
                </c:pt>
                <c:pt idx="41482">
                  <c:v>0.73982521847690297</c:v>
                </c:pt>
                <c:pt idx="41483">
                  <c:v>0.73984305332619904</c:v>
                </c:pt>
                <c:pt idx="41484">
                  <c:v>0.739860888175494</c:v>
                </c:pt>
                <c:pt idx="41485">
                  <c:v>0.73987872302478996</c:v>
                </c:pt>
                <c:pt idx="41486">
                  <c:v>0.73989655787408504</c:v>
                </c:pt>
                <c:pt idx="41487">
                  <c:v>0.739914392723381</c:v>
                </c:pt>
                <c:pt idx="41488">
                  <c:v>0.73993222757267696</c:v>
                </c:pt>
                <c:pt idx="41489">
                  <c:v>0.73995006242197203</c:v>
                </c:pt>
                <c:pt idx="41490">
                  <c:v>0.73996789727126799</c:v>
                </c:pt>
                <c:pt idx="41491">
                  <c:v>0.73998573212056296</c:v>
                </c:pt>
                <c:pt idx="41492">
                  <c:v>0.74000356696985903</c:v>
                </c:pt>
                <c:pt idx="41493">
                  <c:v>0.74002140181915399</c:v>
                </c:pt>
                <c:pt idx="41494">
                  <c:v>0.74003923666844995</c:v>
                </c:pt>
                <c:pt idx="41495">
                  <c:v>0.74005707151774502</c:v>
                </c:pt>
                <c:pt idx="41496">
                  <c:v>0.74007490636704099</c:v>
                </c:pt>
                <c:pt idx="41497">
                  <c:v>0.74009274121633595</c:v>
                </c:pt>
                <c:pt idx="41498">
                  <c:v>0.74011057606563202</c:v>
                </c:pt>
                <c:pt idx="41499">
                  <c:v>0.74012841091492698</c:v>
                </c:pt>
                <c:pt idx="41500">
                  <c:v>0.74014624576422305</c:v>
                </c:pt>
                <c:pt idx="41501">
                  <c:v>0.74016408061351802</c:v>
                </c:pt>
                <c:pt idx="41502">
                  <c:v>0.74018191546281398</c:v>
                </c:pt>
                <c:pt idx="41503">
                  <c:v>0.74019975031210905</c:v>
                </c:pt>
                <c:pt idx="41504">
                  <c:v>0.74021758516140501</c:v>
                </c:pt>
                <c:pt idx="41505">
                  <c:v>0.74023542001069997</c:v>
                </c:pt>
                <c:pt idx="41506">
                  <c:v>0.74025325485999605</c:v>
                </c:pt>
                <c:pt idx="41507">
                  <c:v>0.74027108970929201</c:v>
                </c:pt>
                <c:pt idx="41508">
                  <c:v>0.74028892455858697</c:v>
                </c:pt>
                <c:pt idx="41509">
                  <c:v>0.74030675940788304</c:v>
                </c:pt>
                <c:pt idx="41510">
                  <c:v>0.740324594257178</c:v>
                </c:pt>
                <c:pt idx="41511">
                  <c:v>0.74034242910647396</c:v>
                </c:pt>
                <c:pt idx="41512">
                  <c:v>0.74036026395576904</c:v>
                </c:pt>
                <c:pt idx="41513">
                  <c:v>0.740378098805065</c:v>
                </c:pt>
                <c:pt idx="41514">
                  <c:v>0.74039593365435996</c:v>
                </c:pt>
                <c:pt idx="41515">
                  <c:v>0.74041376850365603</c:v>
                </c:pt>
                <c:pt idx="41516">
                  <c:v>0.740431603352951</c:v>
                </c:pt>
                <c:pt idx="41517">
                  <c:v>0.74044943820224696</c:v>
                </c:pt>
                <c:pt idx="41518">
                  <c:v>0.74046727305154203</c:v>
                </c:pt>
                <c:pt idx="41519">
                  <c:v>0.74048510790083799</c:v>
                </c:pt>
                <c:pt idx="41520">
                  <c:v>0.74050294275013295</c:v>
                </c:pt>
                <c:pt idx="41521">
                  <c:v>0.74052077759942903</c:v>
                </c:pt>
                <c:pt idx="41522">
                  <c:v>0.74053861244872399</c:v>
                </c:pt>
                <c:pt idx="41523">
                  <c:v>0.74055644729801995</c:v>
                </c:pt>
                <c:pt idx="41524">
                  <c:v>0.74057428214731502</c:v>
                </c:pt>
                <c:pt idx="41525">
                  <c:v>0.74059211699661098</c:v>
                </c:pt>
                <c:pt idx="41526">
                  <c:v>0.74060995184590594</c:v>
                </c:pt>
                <c:pt idx="41527">
                  <c:v>0.74062778669520202</c:v>
                </c:pt>
                <c:pt idx="41528">
                  <c:v>0.74064562154449798</c:v>
                </c:pt>
                <c:pt idx="41529">
                  <c:v>0.74066345639379305</c:v>
                </c:pt>
                <c:pt idx="41530">
                  <c:v>0.74068129124308901</c:v>
                </c:pt>
                <c:pt idx="41531">
                  <c:v>0.74069912609238397</c:v>
                </c:pt>
                <c:pt idx="41532">
                  <c:v>0.74071696094168005</c:v>
                </c:pt>
                <c:pt idx="41533">
                  <c:v>0.74073479579097501</c:v>
                </c:pt>
                <c:pt idx="41534">
                  <c:v>0.74075263064027097</c:v>
                </c:pt>
                <c:pt idx="41535">
                  <c:v>0.74077046548956604</c:v>
                </c:pt>
                <c:pt idx="41536">
                  <c:v>0.740788300338862</c:v>
                </c:pt>
                <c:pt idx="41537">
                  <c:v>0.74080613518815697</c:v>
                </c:pt>
                <c:pt idx="41538">
                  <c:v>0.74082397003745304</c:v>
                </c:pt>
                <c:pt idx="41539">
                  <c:v>0.740841804886748</c:v>
                </c:pt>
                <c:pt idx="41540">
                  <c:v>0.74085963973604396</c:v>
                </c:pt>
                <c:pt idx="41541">
                  <c:v>0.74087747458533904</c:v>
                </c:pt>
                <c:pt idx="41542">
                  <c:v>0.740895309434635</c:v>
                </c:pt>
                <c:pt idx="41543">
                  <c:v>0.74091314428392996</c:v>
                </c:pt>
                <c:pt idx="41544">
                  <c:v>0.74093097913322603</c:v>
                </c:pt>
                <c:pt idx="41545">
                  <c:v>0.74094881398252099</c:v>
                </c:pt>
                <c:pt idx="41546">
                  <c:v>0.74096664883181695</c:v>
                </c:pt>
                <c:pt idx="41547">
                  <c:v>0.74098448368111203</c:v>
                </c:pt>
                <c:pt idx="41548">
                  <c:v>0.74100231853040799</c:v>
                </c:pt>
                <c:pt idx="41549">
                  <c:v>0.74102015337970395</c:v>
                </c:pt>
                <c:pt idx="41550">
                  <c:v>0.74103798822899902</c:v>
                </c:pt>
                <c:pt idx="41551">
                  <c:v>0.74105582307829498</c:v>
                </c:pt>
                <c:pt idx="41552">
                  <c:v>0.74107365792758995</c:v>
                </c:pt>
                <c:pt idx="41553">
                  <c:v>0.74109149277688602</c:v>
                </c:pt>
                <c:pt idx="41554">
                  <c:v>0.74110932762618098</c:v>
                </c:pt>
                <c:pt idx="41555">
                  <c:v>0.74112716247547705</c:v>
                </c:pt>
                <c:pt idx="41556">
                  <c:v>0.74114499732477201</c:v>
                </c:pt>
                <c:pt idx="41557">
                  <c:v>0.74116283217406798</c:v>
                </c:pt>
                <c:pt idx="41558">
                  <c:v>0.74118066702336305</c:v>
                </c:pt>
                <c:pt idx="41559">
                  <c:v>0.74119850187265901</c:v>
                </c:pt>
                <c:pt idx="41560">
                  <c:v>0.74121633672195397</c:v>
                </c:pt>
                <c:pt idx="41561">
                  <c:v>0.74123417157125004</c:v>
                </c:pt>
                <c:pt idx="41562">
                  <c:v>0.74125200642054501</c:v>
                </c:pt>
                <c:pt idx="41563">
                  <c:v>0.74126984126984097</c:v>
                </c:pt>
                <c:pt idx="41564">
                  <c:v>0.74128767611913604</c:v>
                </c:pt>
                <c:pt idx="41565">
                  <c:v>0.741305510968432</c:v>
                </c:pt>
                <c:pt idx="41566">
                  <c:v>0.74132334581772696</c:v>
                </c:pt>
                <c:pt idx="41567">
                  <c:v>0.74134118066702304</c:v>
                </c:pt>
                <c:pt idx="41568">
                  <c:v>0.741359015516318</c:v>
                </c:pt>
                <c:pt idx="41569">
                  <c:v>0.74137685036561396</c:v>
                </c:pt>
                <c:pt idx="41570">
                  <c:v>0.74139468521490903</c:v>
                </c:pt>
                <c:pt idx="41571">
                  <c:v>0.74141252006420499</c:v>
                </c:pt>
                <c:pt idx="41572">
                  <c:v>0.74143035491350096</c:v>
                </c:pt>
                <c:pt idx="41573">
                  <c:v>0.74144818976279603</c:v>
                </c:pt>
                <c:pt idx="41574">
                  <c:v>0.74146602461209199</c:v>
                </c:pt>
                <c:pt idx="41575">
                  <c:v>0.74148385946138695</c:v>
                </c:pt>
                <c:pt idx="41576">
                  <c:v>0.74150169431068302</c:v>
                </c:pt>
                <c:pt idx="41577">
                  <c:v>0.74151952915997799</c:v>
                </c:pt>
                <c:pt idx="41578">
                  <c:v>0.74153736400927395</c:v>
                </c:pt>
                <c:pt idx="41579">
                  <c:v>0.74155519885856902</c:v>
                </c:pt>
                <c:pt idx="41580">
                  <c:v>0.74157303370786498</c:v>
                </c:pt>
                <c:pt idx="41581">
                  <c:v>0.74159086855716005</c:v>
                </c:pt>
                <c:pt idx="41582">
                  <c:v>0.74160870340645602</c:v>
                </c:pt>
                <c:pt idx="41583">
                  <c:v>0.74162653825575098</c:v>
                </c:pt>
                <c:pt idx="41584">
                  <c:v>0.74164437310504705</c:v>
                </c:pt>
                <c:pt idx="41585">
                  <c:v>0.74166220795434201</c:v>
                </c:pt>
                <c:pt idx="41586">
                  <c:v>0.74168004280363797</c:v>
                </c:pt>
                <c:pt idx="41587">
                  <c:v>0.74169787765293305</c:v>
                </c:pt>
                <c:pt idx="41588">
                  <c:v>0.74171571250222901</c:v>
                </c:pt>
                <c:pt idx="41589">
                  <c:v>0.74173354735152397</c:v>
                </c:pt>
                <c:pt idx="41590">
                  <c:v>0.74175138220082004</c:v>
                </c:pt>
                <c:pt idx="41591">
                  <c:v>0.741769217050115</c:v>
                </c:pt>
                <c:pt idx="41592">
                  <c:v>0.74178705189941097</c:v>
                </c:pt>
                <c:pt idx="41593">
                  <c:v>0.74180488674870604</c:v>
                </c:pt>
                <c:pt idx="41594">
                  <c:v>0.741822721598002</c:v>
                </c:pt>
                <c:pt idx="41595">
                  <c:v>0.74184055644729796</c:v>
                </c:pt>
                <c:pt idx="41596">
                  <c:v>0.74185839129659303</c:v>
                </c:pt>
                <c:pt idx="41597">
                  <c:v>0.741876226145889</c:v>
                </c:pt>
                <c:pt idx="41598">
                  <c:v>0.74189406099518396</c:v>
                </c:pt>
                <c:pt idx="41599">
                  <c:v>0.74191189584448003</c:v>
                </c:pt>
                <c:pt idx="41600">
                  <c:v>0.74192973069377499</c:v>
                </c:pt>
                <c:pt idx="41601">
                  <c:v>0.74194756554307095</c:v>
                </c:pt>
                <c:pt idx="41602">
                  <c:v>0.74196540039236603</c:v>
                </c:pt>
                <c:pt idx="41603">
                  <c:v>0.74198323524166199</c:v>
                </c:pt>
                <c:pt idx="41604">
                  <c:v>0.74200107009095695</c:v>
                </c:pt>
                <c:pt idx="41605">
                  <c:v>0.74201890494025302</c:v>
                </c:pt>
                <c:pt idx="41606">
                  <c:v>0.74203673978954798</c:v>
                </c:pt>
                <c:pt idx="41607">
                  <c:v>0.74205457463884394</c:v>
                </c:pt>
                <c:pt idx="41608">
                  <c:v>0.74207240948813902</c:v>
                </c:pt>
                <c:pt idx="41609">
                  <c:v>0.74209024433743498</c:v>
                </c:pt>
                <c:pt idx="41610">
                  <c:v>0.74210807918673005</c:v>
                </c:pt>
                <c:pt idx="41611">
                  <c:v>0.74212591403602601</c:v>
                </c:pt>
                <c:pt idx="41612">
                  <c:v>0.74214374888532197</c:v>
                </c:pt>
                <c:pt idx="41613">
                  <c:v>0.74216158373461705</c:v>
                </c:pt>
                <c:pt idx="41614">
                  <c:v>0.74217941858391301</c:v>
                </c:pt>
                <c:pt idx="41615">
                  <c:v>0.74219725343320797</c:v>
                </c:pt>
                <c:pt idx="41616">
                  <c:v>0.74221508828250404</c:v>
                </c:pt>
                <c:pt idx="41617">
                  <c:v>0.74223292313179901</c:v>
                </c:pt>
                <c:pt idx="41618">
                  <c:v>0.74225075798109497</c:v>
                </c:pt>
                <c:pt idx="41619">
                  <c:v>0.74226859283039004</c:v>
                </c:pt>
                <c:pt idx="41620">
                  <c:v>0.742286427679686</c:v>
                </c:pt>
                <c:pt idx="41621">
                  <c:v>0.74230426252898096</c:v>
                </c:pt>
                <c:pt idx="41622">
                  <c:v>0.74232209737827703</c:v>
                </c:pt>
                <c:pt idx="41623">
                  <c:v>0.742339932227572</c:v>
                </c:pt>
                <c:pt idx="41624">
                  <c:v>0.74235776707686796</c:v>
                </c:pt>
                <c:pt idx="41625">
                  <c:v>0.74237560192616303</c:v>
                </c:pt>
                <c:pt idx="41626">
                  <c:v>0.74239343677545899</c:v>
                </c:pt>
                <c:pt idx="41627">
                  <c:v>0.74241127162475395</c:v>
                </c:pt>
                <c:pt idx="41628">
                  <c:v>0.74242910647405003</c:v>
                </c:pt>
                <c:pt idx="41629">
                  <c:v>0.74244694132334499</c:v>
                </c:pt>
                <c:pt idx="41630">
                  <c:v>0.74246477617264095</c:v>
                </c:pt>
                <c:pt idx="41631">
                  <c:v>0.74248261102193602</c:v>
                </c:pt>
                <c:pt idx="41632">
                  <c:v>0.74250044587123198</c:v>
                </c:pt>
                <c:pt idx="41633">
                  <c:v>0.74251828072052795</c:v>
                </c:pt>
                <c:pt idx="41634">
                  <c:v>0.74253611556982302</c:v>
                </c:pt>
                <c:pt idx="41635">
                  <c:v>0.74255395041911898</c:v>
                </c:pt>
                <c:pt idx="41636">
                  <c:v>0.74257178526841405</c:v>
                </c:pt>
                <c:pt idx="41637">
                  <c:v>0.74258962011771001</c:v>
                </c:pt>
                <c:pt idx="41638">
                  <c:v>0.74260745496700498</c:v>
                </c:pt>
                <c:pt idx="41639">
                  <c:v>0.74262528981630105</c:v>
                </c:pt>
                <c:pt idx="41640">
                  <c:v>0.74264312466559601</c:v>
                </c:pt>
                <c:pt idx="41641">
                  <c:v>0.74266095951489197</c:v>
                </c:pt>
                <c:pt idx="41642">
                  <c:v>0.74267879436418704</c:v>
                </c:pt>
                <c:pt idx="41643">
                  <c:v>0.74269662921348301</c:v>
                </c:pt>
                <c:pt idx="41644">
                  <c:v>0.74271446406277797</c:v>
                </c:pt>
                <c:pt idx="41645">
                  <c:v>0.74273229891207404</c:v>
                </c:pt>
                <c:pt idx="41646">
                  <c:v>0.742750133761369</c:v>
                </c:pt>
                <c:pt idx="41647">
                  <c:v>0.74276796861066496</c:v>
                </c:pt>
                <c:pt idx="41648">
                  <c:v>0.74278580345996004</c:v>
                </c:pt>
                <c:pt idx="41649">
                  <c:v>0.742803638309256</c:v>
                </c:pt>
                <c:pt idx="41650">
                  <c:v>0.74282147315855096</c:v>
                </c:pt>
                <c:pt idx="41651">
                  <c:v>0.74283930800784703</c:v>
                </c:pt>
                <c:pt idx="41652">
                  <c:v>0.74285714285714199</c:v>
                </c:pt>
                <c:pt idx="41653">
                  <c:v>0.74287497770643796</c:v>
                </c:pt>
                <c:pt idx="41654">
                  <c:v>0.74289281255573303</c:v>
                </c:pt>
                <c:pt idx="41655">
                  <c:v>0.74291064740502899</c:v>
                </c:pt>
                <c:pt idx="41656">
                  <c:v>0.74292848225432495</c:v>
                </c:pt>
                <c:pt idx="41657">
                  <c:v>0.74294631710362002</c:v>
                </c:pt>
                <c:pt idx="41658">
                  <c:v>0.74296415195291599</c:v>
                </c:pt>
                <c:pt idx="41659">
                  <c:v>0.74298198680221095</c:v>
                </c:pt>
                <c:pt idx="41660">
                  <c:v>0.74299982165150702</c:v>
                </c:pt>
                <c:pt idx="41661">
                  <c:v>0.74301765650080198</c:v>
                </c:pt>
                <c:pt idx="41662">
                  <c:v>0.74303549135009805</c:v>
                </c:pt>
                <c:pt idx="41663">
                  <c:v>0.74305332619939302</c:v>
                </c:pt>
                <c:pt idx="41664">
                  <c:v>0.74307116104868898</c:v>
                </c:pt>
                <c:pt idx="41665">
                  <c:v>0.74308899589798405</c:v>
                </c:pt>
                <c:pt idx="41666">
                  <c:v>0.74310683074728001</c:v>
                </c:pt>
                <c:pt idx="41667">
                  <c:v>0.74312466559657497</c:v>
                </c:pt>
                <c:pt idx="41668">
                  <c:v>0.74314250044587105</c:v>
                </c:pt>
                <c:pt idx="41669">
                  <c:v>0.74316033529516601</c:v>
                </c:pt>
                <c:pt idx="41670">
                  <c:v>0.74317817014446197</c:v>
                </c:pt>
                <c:pt idx="41671">
                  <c:v>0.74319600499375704</c:v>
                </c:pt>
                <c:pt idx="41672">
                  <c:v>0.743213839843053</c:v>
                </c:pt>
                <c:pt idx="41673">
                  <c:v>0.74323167469234797</c:v>
                </c:pt>
                <c:pt idx="41674">
                  <c:v>0.74324950954164404</c:v>
                </c:pt>
                <c:pt idx="41675">
                  <c:v>0.743267344390939</c:v>
                </c:pt>
                <c:pt idx="41676">
                  <c:v>0.74328517924023496</c:v>
                </c:pt>
                <c:pt idx="41677">
                  <c:v>0.74330301408953003</c:v>
                </c:pt>
                <c:pt idx="41678">
                  <c:v>0.743320848938826</c:v>
                </c:pt>
                <c:pt idx="41679">
                  <c:v>0.74333868378812196</c:v>
                </c:pt>
                <c:pt idx="41680">
                  <c:v>0.74335651863741703</c:v>
                </c:pt>
                <c:pt idx="41681">
                  <c:v>0.74337435348671299</c:v>
                </c:pt>
                <c:pt idx="41682">
                  <c:v>0.74339218833600795</c:v>
                </c:pt>
                <c:pt idx="41683">
                  <c:v>0.74341002318530403</c:v>
                </c:pt>
                <c:pt idx="41684">
                  <c:v>0.74342785803459899</c:v>
                </c:pt>
                <c:pt idx="41685">
                  <c:v>0.74344569288389495</c:v>
                </c:pt>
                <c:pt idx="41686">
                  <c:v>0.74346352773319002</c:v>
                </c:pt>
                <c:pt idx="41687">
                  <c:v>0.74348136258248598</c:v>
                </c:pt>
                <c:pt idx="41688">
                  <c:v>0.74349919743178094</c:v>
                </c:pt>
                <c:pt idx="41689">
                  <c:v>0.74351703228107702</c:v>
                </c:pt>
                <c:pt idx="41690">
                  <c:v>0.74353486713037198</c:v>
                </c:pt>
                <c:pt idx="41691">
                  <c:v>0.74355270197966805</c:v>
                </c:pt>
                <c:pt idx="41692">
                  <c:v>0.74357053682896301</c:v>
                </c:pt>
                <c:pt idx="41693">
                  <c:v>0.74358837167825897</c:v>
                </c:pt>
                <c:pt idx="41694">
                  <c:v>0.74360620652755405</c:v>
                </c:pt>
                <c:pt idx="41695">
                  <c:v>0.74362404137685001</c:v>
                </c:pt>
                <c:pt idx="41696">
                  <c:v>0.74364187622614497</c:v>
                </c:pt>
                <c:pt idx="41697">
                  <c:v>0.74365971107544104</c:v>
                </c:pt>
                <c:pt idx="41698">
                  <c:v>0.74367754592473601</c:v>
                </c:pt>
                <c:pt idx="41699">
                  <c:v>0.74369538077403197</c:v>
                </c:pt>
                <c:pt idx="41700">
                  <c:v>0.74371321562332704</c:v>
                </c:pt>
                <c:pt idx="41701">
                  <c:v>0.743731050472623</c:v>
                </c:pt>
                <c:pt idx="41702">
                  <c:v>0.74374888532191896</c:v>
                </c:pt>
                <c:pt idx="41703">
                  <c:v>0.74376672017121404</c:v>
                </c:pt>
                <c:pt idx="41704">
                  <c:v>0.74378455502051</c:v>
                </c:pt>
                <c:pt idx="41705">
                  <c:v>0.74380238986980496</c:v>
                </c:pt>
                <c:pt idx="41706">
                  <c:v>0.74382022471910103</c:v>
                </c:pt>
                <c:pt idx="41707">
                  <c:v>0.74383805956839599</c:v>
                </c:pt>
                <c:pt idx="41708">
                  <c:v>0.74385589441769195</c:v>
                </c:pt>
                <c:pt idx="41709">
                  <c:v>0.74387372926698703</c:v>
                </c:pt>
                <c:pt idx="41710">
                  <c:v>0.74389156411628299</c:v>
                </c:pt>
                <c:pt idx="41711">
                  <c:v>0.74390939896557795</c:v>
                </c:pt>
                <c:pt idx="41712">
                  <c:v>0.74392723381487402</c:v>
                </c:pt>
                <c:pt idx="41713">
                  <c:v>0.74394506866416898</c:v>
                </c:pt>
                <c:pt idx="41714">
                  <c:v>0.74396290351346495</c:v>
                </c:pt>
                <c:pt idx="41715">
                  <c:v>0.74398073836276002</c:v>
                </c:pt>
                <c:pt idx="41716">
                  <c:v>0.74399857321205598</c:v>
                </c:pt>
                <c:pt idx="41717">
                  <c:v>0.74401640806135105</c:v>
                </c:pt>
                <c:pt idx="41718">
                  <c:v>0.74403424291064701</c:v>
                </c:pt>
                <c:pt idx="41719">
                  <c:v>0.74405207775994298</c:v>
                </c:pt>
                <c:pt idx="41720">
                  <c:v>0.74406991260923805</c:v>
                </c:pt>
                <c:pt idx="41721">
                  <c:v>0.74408774745853401</c:v>
                </c:pt>
                <c:pt idx="41722">
                  <c:v>0.74410558230782897</c:v>
                </c:pt>
                <c:pt idx="41723">
                  <c:v>0.74412341715712504</c:v>
                </c:pt>
                <c:pt idx="41724">
                  <c:v>0.74414125200642001</c:v>
                </c:pt>
                <c:pt idx="41725">
                  <c:v>0.74415908685571597</c:v>
                </c:pt>
                <c:pt idx="41726">
                  <c:v>0.74417692170501104</c:v>
                </c:pt>
                <c:pt idx="41727">
                  <c:v>0.744194756554307</c:v>
                </c:pt>
                <c:pt idx="41728">
                  <c:v>0.74421259140360196</c:v>
                </c:pt>
                <c:pt idx="41729">
                  <c:v>0.74423042625289804</c:v>
                </c:pt>
                <c:pt idx="41730">
                  <c:v>0.744248261102193</c:v>
                </c:pt>
                <c:pt idx="41731">
                  <c:v>0.74426609595148896</c:v>
                </c:pt>
                <c:pt idx="41732">
                  <c:v>0.74428393080078403</c:v>
                </c:pt>
                <c:pt idx="41733">
                  <c:v>0.74430176565007999</c:v>
                </c:pt>
                <c:pt idx="41734">
                  <c:v>0.74431960049937496</c:v>
                </c:pt>
                <c:pt idx="41735">
                  <c:v>0.74433743534867103</c:v>
                </c:pt>
                <c:pt idx="41736">
                  <c:v>0.74435527019796599</c:v>
                </c:pt>
                <c:pt idx="41737">
                  <c:v>0.74437310504726195</c:v>
                </c:pt>
                <c:pt idx="41738">
                  <c:v>0.74439093989655702</c:v>
                </c:pt>
                <c:pt idx="41739">
                  <c:v>0.74440877474585299</c:v>
                </c:pt>
                <c:pt idx="41740">
                  <c:v>0.74442660959514895</c:v>
                </c:pt>
                <c:pt idx="41741">
                  <c:v>0.74444444444444402</c:v>
                </c:pt>
                <c:pt idx="41742">
                  <c:v>0.74446227929373998</c:v>
                </c:pt>
                <c:pt idx="41743">
                  <c:v>0.74448011414303505</c:v>
                </c:pt>
                <c:pt idx="41744">
                  <c:v>0.74449794899233102</c:v>
                </c:pt>
                <c:pt idx="41745">
                  <c:v>0.74451578384162598</c:v>
                </c:pt>
                <c:pt idx="41746">
                  <c:v>0.74453361869092205</c:v>
                </c:pt>
                <c:pt idx="41747">
                  <c:v>0.74455145354021701</c:v>
                </c:pt>
                <c:pt idx="41748">
                  <c:v>0.74456928838951297</c:v>
                </c:pt>
                <c:pt idx="41749">
                  <c:v>0.74458712323880805</c:v>
                </c:pt>
                <c:pt idx="41750">
                  <c:v>0.74460495808810401</c:v>
                </c:pt>
                <c:pt idx="41751">
                  <c:v>0.74462279293739897</c:v>
                </c:pt>
                <c:pt idx="41752">
                  <c:v>0.74464062778669504</c:v>
                </c:pt>
                <c:pt idx="41753">
                  <c:v>0.74465846263599</c:v>
                </c:pt>
                <c:pt idx="41754">
                  <c:v>0.74467629748528597</c:v>
                </c:pt>
                <c:pt idx="41755">
                  <c:v>0.74469413233458104</c:v>
                </c:pt>
                <c:pt idx="41756">
                  <c:v>0.744711967183877</c:v>
                </c:pt>
                <c:pt idx="41757">
                  <c:v>0.74472980203317196</c:v>
                </c:pt>
                <c:pt idx="41758">
                  <c:v>0.74474763688246803</c:v>
                </c:pt>
                <c:pt idx="41759">
                  <c:v>0.744765471731763</c:v>
                </c:pt>
                <c:pt idx="41760">
                  <c:v>0.74478330658105896</c:v>
                </c:pt>
                <c:pt idx="41761">
                  <c:v>0.74480114143035403</c:v>
                </c:pt>
                <c:pt idx="41762">
                  <c:v>0.74481897627964999</c:v>
                </c:pt>
                <c:pt idx="41763">
                  <c:v>0.74483681112894595</c:v>
                </c:pt>
                <c:pt idx="41764">
                  <c:v>0.74485464597824103</c:v>
                </c:pt>
                <c:pt idx="41765">
                  <c:v>0.74487248082753699</c:v>
                </c:pt>
                <c:pt idx="41766">
                  <c:v>0.74489031567683195</c:v>
                </c:pt>
                <c:pt idx="41767">
                  <c:v>0.74490815052612802</c:v>
                </c:pt>
                <c:pt idx="41768">
                  <c:v>0.74492598537542298</c:v>
                </c:pt>
                <c:pt idx="41769">
                  <c:v>0.74494382022471906</c:v>
                </c:pt>
                <c:pt idx="41770">
                  <c:v>0.74496165507401402</c:v>
                </c:pt>
                <c:pt idx="41771">
                  <c:v>0.74497948992330998</c:v>
                </c:pt>
                <c:pt idx="41772">
                  <c:v>0.74499732477260505</c:v>
                </c:pt>
                <c:pt idx="41773">
                  <c:v>0.74501515962190101</c:v>
                </c:pt>
                <c:pt idx="41774">
                  <c:v>0.74503299447119598</c:v>
                </c:pt>
                <c:pt idx="41775">
                  <c:v>0.74505082932049205</c:v>
                </c:pt>
                <c:pt idx="41776">
                  <c:v>0.74506866416978701</c:v>
                </c:pt>
                <c:pt idx="41777">
                  <c:v>0.74508649901908297</c:v>
                </c:pt>
                <c:pt idx="41778">
                  <c:v>0.74510433386837804</c:v>
                </c:pt>
                <c:pt idx="41779">
                  <c:v>0.745122168717674</c:v>
                </c:pt>
                <c:pt idx="41780">
                  <c:v>0.74514000356696897</c:v>
                </c:pt>
                <c:pt idx="41781">
                  <c:v>0.74515783841626504</c:v>
                </c:pt>
                <c:pt idx="41782">
                  <c:v>0.74517567326556</c:v>
                </c:pt>
                <c:pt idx="41783">
                  <c:v>0.74519350811485596</c:v>
                </c:pt>
                <c:pt idx="41784">
                  <c:v>0.74521134296415104</c:v>
                </c:pt>
                <c:pt idx="41785">
                  <c:v>0.745229177813447</c:v>
                </c:pt>
                <c:pt idx="41786">
                  <c:v>0.74524701266274296</c:v>
                </c:pt>
                <c:pt idx="41787">
                  <c:v>0.74526484751203803</c:v>
                </c:pt>
                <c:pt idx="41788">
                  <c:v>0.74528268236133399</c:v>
                </c:pt>
                <c:pt idx="41789">
                  <c:v>0.74530051721062895</c:v>
                </c:pt>
                <c:pt idx="41790">
                  <c:v>0.74531835205992503</c:v>
                </c:pt>
                <c:pt idx="41791">
                  <c:v>0.74533618690921999</c:v>
                </c:pt>
                <c:pt idx="41792">
                  <c:v>0.74535402175851595</c:v>
                </c:pt>
                <c:pt idx="41793">
                  <c:v>0.74537185660781102</c:v>
                </c:pt>
                <c:pt idx="41794">
                  <c:v>0.74538969145710698</c:v>
                </c:pt>
                <c:pt idx="41795">
                  <c:v>0.74540752630640195</c:v>
                </c:pt>
                <c:pt idx="41796">
                  <c:v>0.74542536115569802</c:v>
                </c:pt>
                <c:pt idx="41797">
                  <c:v>0.74544319600499298</c:v>
                </c:pt>
                <c:pt idx="41798">
                  <c:v>0.74546103085428905</c:v>
                </c:pt>
                <c:pt idx="41799">
                  <c:v>0.74547886570358401</c:v>
                </c:pt>
                <c:pt idx="41800">
                  <c:v>0.74549670055287998</c:v>
                </c:pt>
                <c:pt idx="41801">
                  <c:v>0.74551453540217505</c:v>
                </c:pt>
                <c:pt idx="41802">
                  <c:v>0.74553237025147101</c:v>
                </c:pt>
                <c:pt idx="41803">
                  <c:v>0.74555020510076597</c:v>
                </c:pt>
                <c:pt idx="41804">
                  <c:v>0.74556803995006204</c:v>
                </c:pt>
                <c:pt idx="41805">
                  <c:v>0.74558587479935701</c:v>
                </c:pt>
                <c:pt idx="41806">
                  <c:v>0.74560370964865297</c:v>
                </c:pt>
                <c:pt idx="41807">
                  <c:v>0.74562154449794904</c:v>
                </c:pt>
                <c:pt idx="41808">
                  <c:v>0.745639379347244</c:v>
                </c:pt>
                <c:pt idx="41809">
                  <c:v>0.74565721419653996</c:v>
                </c:pt>
                <c:pt idx="41810">
                  <c:v>0.74567504904583504</c:v>
                </c:pt>
                <c:pt idx="41811">
                  <c:v>0.745692883895131</c:v>
                </c:pt>
                <c:pt idx="41812">
                  <c:v>0.74571071874442596</c:v>
                </c:pt>
                <c:pt idx="41813">
                  <c:v>0.74572855359372203</c:v>
                </c:pt>
                <c:pt idx="41814">
                  <c:v>0.74574638844301699</c:v>
                </c:pt>
                <c:pt idx="41815">
                  <c:v>0.74576422329231296</c:v>
                </c:pt>
                <c:pt idx="41816">
                  <c:v>0.74578205814160803</c:v>
                </c:pt>
                <c:pt idx="41817">
                  <c:v>0.74579989299090399</c:v>
                </c:pt>
                <c:pt idx="41818">
                  <c:v>0.74581772784019895</c:v>
                </c:pt>
                <c:pt idx="41819">
                  <c:v>0.74583556268949502</c:v>
                </c:pt>
                <c:pt idx="41820">
                  <c:v>0.74585339753878999</c:v>
                </c:pt>
                <c:pt idx="41821">
                  <c:v>0.74587123238808595</c:v>
                </c:pt>
                <c:pt idx="41822">
                  <c:v>0.74588906723738102</c:v>
                </c:pt>
                <c:pt idx="41823">
                  <c:v>0.74590690208667698</c:v>
                </c:pt>
                <c:pt idx="41824">
                  <c:v>0.74592473693597205</c:v>
                </c:pt>
                <c:pt idx="41825">
                  <c:v>0.74594257178526802</c:v>
                </c:pt>
                <c:pt idx="41826">
                  <c:v>0.74596040663456398</c:v>
                </c:pt>
                <c:pt idx="41827">
                  <c:v>0.74597824148385905</c:v>
                </c:pt>
                <c:pt idx="41828">
                  <c:v>0.74599607633315501</c:v>
                </c:pt>
                <c:pt idx="41829">
                  <c:v>0.74601391118244997</c:v>
                </c:pt>
                <c:pt idx="41830">
                  <c:v>0.74603174603174605</c:v>
                </c:pt>
                <c:pt idx="41831">
                  <c:v>0.74604958088104101</c:v>
                </c:pt>
                <c:pt idx="41832">
                  <c:v>0.74606741573033697</c:v>
                </c:pt>
                <c:pt idx="41833">
                  <c:v>0.74608525057963204</c:v>
                </c:pt>
                <c:pt idx="41834">
                  <c:v>0.746103085428928</c:v>
                </c:pt>
                <c:pt idx="41835">
                  <c:v>0.74612092027822297</c:v>
                </c:pt>
                <c:pt idx="41836">
                  <c:v>0.74613875512751904</c:v>
                </c:pt>
                <c:pt idx="41837">
                  <c:v>0.746156589976814</c:v>
                </c:pt>
                <c:pt idx="41838">
                  <c:v>0.74617442482610996</c:v>
                </c:pt>
                <c:pt idx="41839">
                  <c:v>0.74619225967540503</c:v>
                </c:pt>
                <c:pt idx="41840">
                  <c:v>0.746210094524701</c:v>
                </c:pt>
                <c:pt idx="41841">
                  <c:v>0.74622792937399596</c:v>
                </c:pt>
                <c:pt idx="41842">
                  <c:v>0.74624576422329203</c:v>
                </c:pt>
                <c:pt idx="41843">
                  <c:v>0.74626359907258699</c:v>
                </c:pt>
                <c:pt idx="41844">
                  <c:v>0.74628143392188295</c:v>
                </c:pt>
                <c:pt idx="41845">
                  <c:v>0.74629926877117803</c:v>
                </c:pt>
                <c:pt idx="41846">
                  <c:v>0.74631710362047399</c:v>
                </c:pt>
                <c:pt idx="41847">
                  <c:v>0.74633493846976995</c:v>
                </c:pt>
                <c:pt idx="41848">
                  <c:v>0.74635277331906502</c:v>
                </c:pt>
                <c:pt idx="41849">
                  <c:v>0.74637060816836098</c:v>
                </c:pt>
                <c:pt idx="41850">
                  <c:v>0.74638844301765594</c:v>
                </c:pt>
                <c:pt idx="41851">
                  <c:v>0.74640627786695202</c:v>
                </c:pt>
                <c:pt idx="41852">
                  <c:v>0.74642411271624698</c:v>
                </c:pt>
                <c:pt idx="41853">
                  <c:v>0.74644194756554305</c:v>
                </c:pt>
                <c:pt idx="41854">
                  <c:v>0.74645978241483801</c:v>
                </c:pt>
                <c:pt idx="41855">
                  <c:v>0.74647761726413397</c:v>
                </c:pt>
                <c:pt idx="41856">
                  <c:v>0.74649545211342905</c:v>
                </c:pt>
                <c:pt idx="41857">
                  <c:v>0.74651328696272501</c:v>
                </c:pt>
                <c:pt idx="41858">
                  <c:v>0.74653112181201997</c:v>
                </c:pt>
                <c:pt idx="41859">
                  <c:v>0.74654895666131604</c:v>
                </c:pt>
                <c:pt idx="41860">
                  <c:v>0.74656679151061101</c:v>
                </c:pt>
                <c:pt idx="41861">
                  <c:v>0.74658462635990697</c:v>
                </c:pt>
                <c:pt idx="41862">
                  <c:v>0.74660246120920204</c:v>
                </c:pt>
                <c:pt idx="41863">
                  <c:v>0.746620296058498</c:v>
                </c:pt>
                <c:pt idx="41864">
                  <c:v>0.74663813090779296</c:v>
                </c:pt>
                <c:pt idx="41865">
                  <c:v>0.74665596575708904</c:v>
                </c:pt>
                <c:pt idx="41866">
                  <c:v>0.746673800606384</c:v>
                </c:pt>
                <c:pt idx="41867">
                  <c:v>0.74669163545567996</c:v>
                </c:pt>
                <c:pt idx="41868">
                  <c:v>0.74670947030497503</c:v>
                </c:pt>
                <c:pt idx="41869">
                  <c:v>0.74672730515427099</c:v>
                </c:pt>
                <c:pt idx="41870">
                  <c:v>0.74674514000356695</c:v>
                </c:pt>
                <c:pt idx="41871">
                  <c:v>0.74676297485286203</c:v>
                </c:pt>
                <c:pt idx="41872">
                  <c:v>0.74678080970215799</c:v>
                </c:pt>
                <c:pt idx="41873">
                  <c:v>0.74679864455145295</c:v>
                </c:pt>
                <c:pt idx="41874">
                  <c:v>0.74681647940074902</c:v>
                </c:pt>
                <c:pt idx="41875">
                  <c:v>0.74683431425004398</c:v>
                </c:pt>
                <c:pt idx="41876">
                  <c:v>0.74685214909933995</c:v>
                </c:pt>
                <c:pt idx="41877">
                  <c:v>0.74686998394863502</c:v>
                </c:pt>
                <c:pt idx="41878">
                  <c:v>0.74688781879793098</c:v>
                </c:pt>
                <c:pt idx="41879">
                  <c:v>0.74690565364722605</c:v>
                </c:pt>
                <c:pt idx="41880">
                  <c:v>0.74692348849652201</c:v>
                </c:pt>
                <c:pt idx="41881">
                  <c:v>0.74694132334581698</c:v>
                </c:pt>
                <c:pt idx="41882">
                  <c:v>0.74695915819511305</c:v>
                </c:pt>
                <c:pt idx="41883">
                  <c:v>0.74697699304440801</c:v>
                </c:pt>
                <c:pt idx="41884">
                  <c:v>0.74699482789370397</c:v>
                </c:pt>
                <c:pt idx="41885">
                  <c:v>0.74701266274299905</c:v>
                </c:pt>
                <c:pt idx="41886">
                  <c:v>0.74703049759229501</c:v>
                </c:pt>
                <c:pt idx="41887">
                  <c:v>0.74704833244158997</c:v>
                </c:pt>
                <c:pt idx="41888">
                  <c:v>0.74706616729088604</c:v>
                </c:pt>
                <c:pt idx="41889">
                  <c:v>0.747084002140181</c:v>
                </c:pt>
                <c:pt idx="41890">
                  <c:v>0.74710183698947696</c:v>
                </c:pt>
                <c:pt idx="41891">
                  <c:v>0.74711967183877204</c:v>
                </c:pt>
                <c:pt idx="41892">
                  <c:v>0.747137506688068</c:v>
                </c:pt>
                <c:pt idx="41893">
                  <c:v>0.74715534153736396</c:v>
                </c:pt>
                <c:pt idx="41894">
                  <c:v>0.74717317638665903</c:v>
                </c:pt>
                <c:pt idx="41895">
                  <c:v>0.74719101123595499</c:v>
                </c:pt>
                <c:pt idx="41896">
                  <c:v>0.74720884608524996</c:v>
                </c:pt>
                <c:pt idx="41897">
                  <c:v>0.74722668093454603</c:v>
                </c:pt>
                <c:pt idx="41898">
                  <c:v>0.74724451578384099</c:v>
                </c:pt>
                <c:pt idx="41899">
                  <c:v>0.74726235063313695</c:v>
                </c:pt>
                <c:pt idx="41900">
                  <c:v>0.74728018548243202</c:v>
                </c:pt>
                <c:pt idx="41901">
                  <c:v>0.74729802033172799</c:v>
                </c:pt>
                <c:pt idx="41902">
                  <c:v>0.74731585518102295</c:v>
                </c:pt>
                <c:pt idx="41903">
                  <c:v>0.74733369003031902</c:v>
                </c:pt>
                <c:pt idx="41904">
                  <c:v>0.74735152487961398</c:v>
                </c:pt>
                <c:pt idx="41905">
                  <c:v>0.74736935972891005</c:v>
                </c:pt>
                <c:pt idx="41906">
                  <c:v>0.74738719457820502</c:v>
                </c:pt>
                <c:pt idx="41907">
                  <c:v>0.74740502942750098</c:v>
                </c:pt>
                <c:pt idx="41908">
                  <c:v>0.74742286427679605</c:v>
                </c:pt>
                <c:pt idx="41909">
                  <c:v>0.74744069912609201</c:v>
                </c:pt>
                <c:pt idx="41910">
                  <c:v>0.74745853397538697</c:v>
                </c:pt>
                <c:pt idx="41911">
                  <c:v>0.74747636882468305</c:v>
                </c:pt>
                <c:pt idx="41912">
                  <c:v>0.74749420367397901</c:v>
                </c:pt>
                <c:pt idx="41913">
                  <c:v>0.74751203852327397</c:v>
                </c:pt>
                <c:pt idx="41914">
                  <c:v>0.74752987337257004</c:v>
                </c:pt>
                <c:pt idx="41915">
                  <c:v>0.747547708221865</c:v>
                </c:pt>
                <c:pt idx="41916">
                  <c:v>0.74756554307116097</c:v>
                </c:pt>
                <c:pt idx="41917">
                  <c:v>0.74758337792045604</c:v>
                </c:pt>
                <c:pt idx="41918">
                  <c:v>0.747601212769752</c:v>
                </c:pt>
                <c:pt idx="41919">
                  <c:v>0.74761904761904696</c:v>
                </c:pt>
                <c:pt idx="41920">
                  <c:v>0.74763688246834303</c:v>
                </c:pt>
                <c:pt idx="41921">
                  <c:v>0.747654717317638</c:v>
                </c:pt>
                <c:pt idx="41922">
                  <c:v>0.74767255216693396</c:v>
                </c:pt>
                <c:pt idx="41923">
                  <c:v>0.74769038701622903</c:v>
                </c:pt>
                <c:pt idx="41924">
                  <c:v>0.74770822186552499</c:v>
                </c:pt>
                <c:pt idx="41925">
                  <c:v>0.74772605671481995</c:v>
                </c:pt>
                <c:pt idx="41926">
                  <c:v>0.74774389156411603</c:v>
                </c:pt>
                <c:pt idx="41927">
                  <c:v>0.74776172641341099</c:v>
                </c:pt>
                <c:pt idx="41928">
                  <c:v>0.74777956126270695</c:v>
                </c:pt>
                <c:pt idx="41929">
                  <c:v>0.74779739611200202</c:v>
                </c:pt>
                <c:pt idx="41930">
                  <c:v>0.74781523096129798</c:v>
                </c:pt>
                <c:pt idx="41931">
                  <c:v>0.74783306581059295</c:v>
                </c:pt>
                <c:pt idx="41932">
                  <c:v>0.74785090065988902</c:v>
                </c:pt>
                <c:pt idx="41933">
                  <c:v>0.74786873550918498</c:v>
                </c:pt>
                <c:pt idx="41934">
                  <c:v>0.74788657035848005</c:v>
                </c:pt>
                <c:pt idx="41935">
                  <c:v>0.74790440520777601</c:v>
                </c:pt>
                <c:pt idx="41936">
                  <c:v>0.74792224005707098</c:v>
                </c:pt>
                <c:pt idx="41937">
                  <c:v>0.74794007490636705</c:v>
                </c:pt>
                <c:pt idx="41938">
                  <c:v>0.74795790975566201</c:v>
                </c:pt>
                <c:pt idx="41939">
                  <c:v>0.74797574460495797</c:v>
                </c:pt>
                <c:pt idx="41940">
                  <c:v>0.74799357945425304</c:v>
                </c:pt>
                <c:pt idx="41941">
                  <c:v>0.748011414303549</c:v>
                </c:pt>
                <c:pt idx="41942">
                  <c:v>0.74802924915284397</c:v>
                </c:pt>
                <c:pt idx="41943">
                  <c:v>0.74804708400214004</c:v>
                </c:pt>
                <c:pt idx="41944">
                  <c:v>0.748064918851435</c:v>
                </c:pt>
                <c:pt idx="41945">
                  <c:v>0.74808275370073096</c:v>
                </c:pt>
                <c:pt idx="41946">
                  <c:v>0.74810058855002604</c:v>
                </c:pt>
                <c:pt idx="41947">
                  <c:v>0.748118423399322</c:v>
                </c:pt>
                <c:pt idx="41948">
                  <c:v>0.74813625824861696</c:v>
                </c:pt>
                <c:pt idx="41949">
                  <c:v>0.74815409309791303</c:v>
                </c:pt>
                <c:pt idx="41950">
                  <c:v>0.74817192794720799</c:v>
                </c:pt>
                <c:pt idx="41951">
                  <c:v>0.74818976279650395</c:v>
                </c:pt>
                <c:pt idx="41952">
                  <c:v>0.74820759764579903</c:v>
                </c:pt>
                <c:pt idx="41953">
                  <c:v>0.74822543249509499</c:v>
                </c:pt>
                <c:pt idx="41954">
                  <c:v>0.74824326734439095</c:v>
                </c:pt>
                <c:pt idx="41955">
                  <c:v>0.74826110219368602</c:v>
                </c:pt>
                <c:pt idx="41956">
                  <c:v>0.74827893704298198</c:v>
                </c:pt>
                <c:pt idx="41957">
                  <c:v>0.74829677189227695</c:v>
                </c:pt>
                <c:pt idx="41958">
                  <c:v>0.74831460674157302</c:v>
                </c:pt>
                <c:pt idx="41959">
                  <c:v>0.74833244159086798</c:v>
                </c:pt>
                <c:pt idx="41960">
                  <c:v>0.74835027644016405</c:v>
                </c:pt>
                <c:pt idx="41961">
                  <c:v>0.74836811128945901</c:v>
                </c:pt>
                <c:pt idx="41962">
                  <c:v>0.74838594613875498</c:v>
                </c:pt>
                <c:pt idx="41963">
                  <c:v>0.74840378098805005</c:v>
                </c:pt>
                <c:pt idx="41964">
                  <c:v>0.74842161583734601</c:v>
                </c:pt>
                <c:pt idx="41965">
                  <c:v>0.74843945068664097</c:v>
                </c:pt>
                <c:pt idx="41966">
                  <c:v>0.74845728553593704</c:v>
                </c:pt>
                <c:pt idx="41967">
                  <c:v>0.74847512038523201</c:v>
                </c:pt>
                <c:pt idx="41968">
                  <c:v>0.74849295523452797</c:v>
                </c:pt>
                <c:pt idx="41969">
                  <c:v>0.74851079008382304</c:v>
                </c:pt>
                <c:pt idx="41970">
                  <c:v>0.748528624933119</c:v>
                </c:pt>
                <c:pt idx="41971">
                  <c:v>0.74854645978241396</c:v>
                </c:pt>
                <c:pt idx="41972">
                  <c:v>0.74856429463171004</c:v>
                </c:pt>
                <c:pt idx="41973">
                  <c:v>0.748582129481005</c:v>
                </c:pt>
                <c:pt idx="41974">
                  <c:v>0.74859996433030096</c:v>
                </c:pt>
                <c:pt idx="41975">
                  <c:v>0.74861779917959603</c:v>
                </c:pt>
                <c:pt idx="41976">
                  <c:v>0.74863563402889199</c:v>
                </c:pt>
                <c:pt idx="41977">
                  <c:v>0.74865346887818796</c:v>
                </c:pt>
                <c:pt idx="41978">
                  <c:v>0.74867130372748303</c:v>
                </c:pt>
                <c:pt idx="41979">
                  <c:v>0.74868913857677899</c:v>
                </c:pt>
                <c:pt idx="41980">
                  <c:v>0.74870697342607395</c:v>
                </c:pt>
                <c:pt idx="41981">
                  <c:v>0.74872480827537002</c:v>
                </c:pt>
                <c:pt idx="41982">
                  <c:v>0.74874264312466499</c:v>
                </c:pt>
                <c:pt idx="41983">
                  <c:v>0.74876047797396095</c:v>
                </c:pt>
                <c:pt idx="41984">
                  <c:v>0.74877831282325602</c:v>
                </c:pt>
                <c:pt idx="41985">
                  <c:v>0.74879614767255198</c:v>
                </c:pt>
                <c:pt idx="41986">
                  <c:v>0.74881398252184705</c:v>
                </c:pt>
                <c:pt idx="41987">
                  <c:v>0.74883181737114302</c:v>
                </c:pt>
                <c:pt idx="41988">
                  <c:v>0.74884965222043798</c:v>
                </c:pt>
                <c:pt idx="41989">
                  <c:v>0.74886748706973405</c:v>
                </c:pt>
                <c:pt idx="41990">
                  <c:v>0.74888532191902901</c:v>
                </c:pt>
                <c:pt idx="41991">
                  <c:v>0.74890315676832497</c:v>
                </c:pt>
                <c:pt idx="41992">
                  <c:v>0.74892099161762005</c:v>
                </c:pt>
                <c:pt idx="41993">
                  <c:v>0.74893882646691601</c:v>
                </c:pt>
                <c:pt idx="41994">
                  <c:v>0.74895666131621097</c:v>
                </c:pt>
                <c:pt idx="41995">
                  <c:v>0.74897449616550704</c:v>
                </c:pt>
                <c:pt idx="41996">
                  <c:v>0.748992331014802</c:v>
                </c:pt>
                <c:pt idx="41997">
                  <c:v>0.74901016586409797</c:v>
                </c:pt>
                <c:pt idx="41998">
                  <c:v>0.74902800071339304</c:v>
                </c:pt>
                <c:pt idx="41999">
                  <c:v>0.749045835562689</c:v>
                </c:pt>
                <c:pt idx="42000">
                  <c:v>0.74906367041198496</c:v>
                </c:pt>
                <c:pt idx="42001">
                  <c:v>0.74908150526128003</c:v>
                </c:pt>
                <c:pt idx="42002">
                  <c:v>0.749099340110576</c:v>
                </c:pt>
                <c:pt idx="42003">
                  <c:v>0.74911717495987096</c:v>
                </c:pt>
                <c:pt idx="42004">
                  <c:v>0.74913500980916703</c:v>
                </c:pt>
                <c:pt idx="42005">
                  <c:v>0.74915284465846199</c:v>
                </c:pt>
                <c:pt idx="42006">
                  <c:v>0.74917067950775795</c:v>
                </c:pt>
                <c:pt idx="42007">
                  <c:v>0.74918851435705303</c:v>
                </c:pt>
                <c:pt idx="42008">
                  <c:v>0.74920634920634899</c:v>
                </c:pt>
                <c:pt idx="42009">
                  <c:v>0.74922418405564395</c:v>
                </c:pt>
                <c:pt idx="42010">
                  <c:v>0.74924201890494002</c:v>
                </c:pt>
                <c:pt idx="42011">
                  <c:v>0.74925985375423498</c:v>
                </c:pt>
                <c:pt idx="42012">
                  <c:v>0.74927768860353094</c:v>
                </c:pt>
                <c:pt idx="42013">
                  <c:v>0.74929552345282602</c:v>
                </c:pt>
                <c:pt idx="42014">
                  <c:v>0.74931335830212198</c:v>
                </c:pt>
                <c:pt idx="42015">
                  <c:v>0.74933119315141705</c:v>
                </c:pt>
                <c:pt idx="42016">
                  <c:v>0.74934902800071301</c:v>
                </c:pt>
                <c:pt idx="42017">
                  <c:v>0.74936686285000798</c:v>
                </c:pt>
                <c:pt idx="42018">
                  <c:v>0.74938469769930405</c:v>
                </c:pt>
                <c:pt idx="42019">
                  <c:v>0.74940253254860001</c:v>
                </c:pt>
                <c:pt idx="42020">
                  <c:v>0.74942036739789497</c:v>
                </c:pt>
                <c:pt idx="42021">
                  <c:v>0.74943820224719104</c:v>
                </c:pt>
                <c:pt idx="42022">
                  <c:v>0.74945603709648601</c:v>
                </c:pt>
                <c:pt idx="42023">
                  <c:v>0.74947387194578197</c:v>
                </c:pt>
                <c:pt idx="42024">
                  <c:v>0.74949170679507704</c:v>
                </c:pt>
                <c:pt idx="42025">
                  <c:v>0.749509541644373</c:v>
                </c:pt>
                <c:pt idx="42026">
                  <c:v>0.74952737649366796</c:v>
                </c:pt>
                <c:pt idx="42027">
                  <c:v>0.74954521134296404</c:v>
                </c:pt>
                <c:pt idx="42028">
                  <c:v>0.749563046192259</c:v>
                </c:pt>
                <c:pt idx="42029">
                  <c:v>0.74958088104155496</c:v>
                </c:pt>
                <c:pt idx="42030">
                  <c:v>0.74959871589085003</c:v>
                </c:pt>
                <c:pt idx="42031">
                  <c:v>0.74961655074014599</c:v>
                </c:pt>
                <c:pt idx="42032">
                  <c:v>0.74963438558944095</c:v>
                </c:pt>
                <c:pt idx="42033">
                  <c:v>0.74965222043873703</c:v>
                </c:pt>
                <c:pt idx="42034">
                  <c:v>0.74967005528803199</c:v>
                </c:pt>
                <c:pt idx="42035">
                  <c:v>0.74968789013732795</c:v>
                </c:pt>
                <c:pt idx="42036">
                  <c:v>0.74970572498662302</c:v>
                </c:pt>
                <c:pt idx="42037">
                  <c:v>0.74972355983591898</c:v>
                </c:pt>
                <c:pt idx="42038">
                  <c:v>0.74974139468521495</c:v>
                </c:pt>
                <c:pt idx="42039">
                  <c:v>0.74975922953451002</c:v>
                </c:pt>
                <c:pt idx="42040">
                  <c:v>0.74977706438380598</c:v>
                </c:pt>
                <c:pt idx="42041">
                  <c:v>0.74979489923310105</c:v>
                </c:pt>
                <c:pt idx="42042">
                  <c:v>0.74981273408239701</c:v>
                </c:pt>
                <c:pt idx="42043">
                  <c:v>0.74983056893169198</c:v>
                </c:pt>
                <c:pt idx="42044">
                  <c:v>0.74984840378098805</c:v>
                </c:pt>
                <c:pt idx="42045">
                  <c:v>0.74986623863028301</c:v>
                </c:pt>
                <c:pt idx="42046">
                  <c:v>0.74988407347957897</c:v>
                </c:pt>
                <c:pt idx="42047">
                  <c:v>0.74990190832887405</c:v>
                </c:pt>
                <c:pt idx="42048">
                  <c:v>0.74991974317817001</c:v>
                </c:pt>
                <c:pt idx="42049">
                  <c:v>0.74993757802746497</c:v>
                </c:pt>
                <c:pt idx="42050">
                  <c:v>0.74995541287676104</c:v>
                </c:pt>
                <c:pt idx="42051">
                  <c:v>0.749973247726056</c:v>
                </c:pt>
                <c:pt idx="42052">
                  <c:v>0.74999108257535196</c:v>
                </c:pt>
                <c:pt idx="42053">
                  <c:v>0.75000891742464704</c:v>
                </c:pt>
                <c:pt idx="42054">
                  <c:v>0.750026752273943</c:v>
                </c:pt>
                <c:pt idx="42055">
                  <c:v>0.75004458712323796</c:v>
                </c:pt>
                <c:pt idx="42056">
                  <c:v>0.75006242197253403</c:v>
                </c:pt>
                <c:pt idx="42057">
                  <c:v>0.75008025682182899</c:v>
                </c:pt>
                <c:pt idx="42058">
                  <c:v>0.75009809167112496</c:v>
                </c:pt>
                <c:pt idx="42059">
                  <c:v>0.75011592652042003</c:v>
                </c:pt>
                <c:pt idx="42060">
                  <c:v>0.75013376136971599</c:v>
                </c:pt>
                <c:pt idx="42061">
                  <c:v>0.75015159621901195</c:v>
                </c:pt>
                <c:pt idx="42062">
                  <c:v>0.75016943106830702</c:v>
                </c:pt>
                <c:pt idx="42063">
                  <c:v>0.75018726591760299</c:v>
                </c:pt>
                <c:pt idx="42064">
                  <c:v>0.75020510076689795</c:v>
                </c:pt>
                <c:pt idx="42065">
                  <c:v>0.75022293561619402</c:v>
                </c:pt>
                <c:pt idx="42066">
                  <c:v>0.75024077046548898</c:v>
                </c:pt>
                <c:pt idx="42067">
                  <c:v>0.75025860531478505</c:v>
                </c:pt>
                <c:pt idx="42068">
                  <c:v>0.75027644016408002</c:v>
                </c:pt>
                <c:pt idx="42069">
                  <c:v>0.75029427501337598</c:v>
                </c:pt>
                <c:pt idx="42070">
                  <c:v>0.75031210986267105</c:v>
                </c:pt>
                <c:pt idx="42071">
                  <c:v>0.75032994471196701</c:v>
                </c:pt>
                <c:pt idx="42072">
                  <c:v>0.75034777956126197</c:v>
                </c:pt>
                <c:pt idx="42073">
                  <c:v>0.75036561441055805</c:v>
                </c:pt>
                <c:pt idx="42074">
                  <c:v>0.75038344925985301</c:v>
                </c:pt>
                <c:pt idx="42075">
                  <c:v>0.75040128410914897</c:v>
                </c:pt>
                <c:pt idx="42076">
                  <c:v>0.75041911895844404</c:v>
                </c:pt>
                <c:pt idx="42077">
                  <c:v>0.75043695380774</c:v>
                </c:pt>
                <c:pt idx="42078">
                  <c:v>0.75045478865703497</c:v>
                </c:pt>
                <c:pt idx="42079">
                  <c:v>0.75047262350633104</c:v>
                </c:pt>
                <c:pt idx="42080">
                  <c:v>0.750490458355626</c:v>
                </c:pt>
                <c:pt idx="42081">
                  <c:v>0.75050829320492196</c:v>
                </c:pt>
                <c:pt idx="42082">
                  <c:v>0.75052612805421703</c:v>
                </c:pt>
                <c:pt idx="42083">
                  <c:v>0.750543962903513</c:v>
                </c:pt>
                <c:pt idx="42084">
                  <c:v>0.75056179775280896</c:v>
                </c:pt>
                <c:pt idx="42085">
                  <c:v>0.75057963260210403</c:v>
                </c:pt>
                <c:pt idx="42086">
                  <c:v>0.75059746745139999</c:v>
                </c:pt>
                <c:pt idx="42087">
                  <c:v>0.75061530230069495</c:v>
                </c:pt>
                <c:pt idx="42088">
                  <c:v>0.75063313714999103</c:v>
                </c:pt>
                <c:pt idx="42089">
                  <c:v>0.75065097199928599</c:v>
                </c:pt>
                <c:pt idx="42090">
                  <c:v>0.75066880684858195</c:v>
                </c:pt>
                <c:pt idx="42091">
                  <c:v>0.75068664169787702</c:v>
                </c:pt>
                <c:pt idx="42092">
                  <c:v>0.75070447654717298</c:v>
                </c:pt>
                <c:pt idx="42093">
                  <c:v>0.75072231139646795</c:v>
                </c:pt>
                <c:pt idx="42094">
                  <c:v>0.75074014624576402</c:v>
                </c:pt>
                <c:pt idx="42095">
                  <c:v>0.75075798109505898</c:v>
                </c:pt>
                <c:pt idx="42096">
                  <c:v>0.75077581594435505</c:v>
                </c:pt>
                <c:pt idx="42097">
                  <c:v>0.75079365079365001</c:v>
                </c:pt>
                <c:pt idx="42098">
                  <c:v>0.75081148564294597</c:v>
                </c:pt>
                <c:pt idx="42099">
                  <c:v>0.75082932049224105</c:v>
                </c:pt>
                <c:pt idx="42100">
                  <c:v>0.75084715534153701</c:v>
                </c:pt>
                <c:pt idx="42101">
                  <c:v>0.75086499019083197</c:v>
                </c:pt>
                <c:pt idx="42102">
                  <c:v>0.75088282504012804</c:v>
                </c:pt>
                <c:pt idx="42103">
                  <c:v>0.75090065988942301</c:v>
                </c:pt>
                <c:pt idx="42104">
                  <c:v>0.75091849473871897</c:v>
                </c:pt>
                <c:pt idx="42105">
                  <c:v>0.75093632958801404</c:v>
                </c:pt>
                <c:pt idx="42106">
                  <c:v>0.75095416443731</c:v>
                </c:pt>
                <c:pt idx="42107">
                  <c:v>0.75097199928660596</c:v>
                </c:pt>
                <c:pt idx="42108">
                  <c:v>0.75098983413590104</c:v>
                </c:pt>
                <c:pt idx="42109">
                  <c:v>0.751007668985197</c:v>
                </c:pt>
                <c:pt idx="42110">
                  <c:v>0.75102550383449196</c:v>
                </c:pt>
                <c:pt idx="42111">
                  <c:v>0.75104333868378803</c:v>
                </c:pt>
                <c:pt idx="42112">
                  <c:v>0.75106117353308299</c:v>
                </c:pt>
                <c:pt idx="42113">
                  <c:v>0.75107900838237895</c:v>
                </c:pt>
                <c:pt idx="42114">
                  <c:v>0.75109684323167403</c:v>
                </c:pt>
                <c:pt idx="42115">
                  <c:v>0.75111467808096999</c:v>
                </c:pt>
                <c:pt idx="42116">
                  <c:v>0.75113251293026495</c:v>
                </c:pt>
                <c:pt idx="42117">
                  <c:v>0.75115034777956102</c:v>
                </c:pt>
                <c:pt idx="42118">
                  <c:v>0.75116818262885598</c:v>
                </c:pt>
                <c:pt idx="42119">
                  <c:v>0.75118601747815195</c:v>
                </c:pt>
                <c:pt idx="42120">
                  <c:v>0.75120385232744702</c:v>
                </c:pt>
                <c:pt idx="42121">
                  <c:v>0.75122168717674298</c:v>
                </c:pt>
                <c:pt idx="42122">
                  <c:v>0.75123952202603805</c:v>
                </c:pt>
                <c:pt idx="42123">
                  <c:v>0.75125735687533401</c:v>
                </c:pt>
                <c:pt idx="42124">
                  <c:v>0.75127519172462998</c:v>
                </c:pt>
                <c:pt idx="42125">
                  <c:v>0.75129302657392505</c:v>
                </c:pt>
                <c:pt idx="42126">
                  <c:v>0.75131086142322101</c:v>
                </c:pt>
                <c:pt idx="42127">
                  <c:v>0.75132869627251597</c:v>
                </c:pt>
                <c:pt idx="42128">
                  <c:v>0.75134653112181204</c:v>
                </c:pt>
                <c:pt idx="42129">
                  <c:v>0.75136436597110701</c:v>
                </c:pt>
                <c:pt idx="42130">
                  <c:v>0.75138220082040297</c:v>
                </c:pt>
                <c:pt idx="42131">
                  <c:v>0.75140003566969804</c:v>
                </c:pt>
                <c:pt idx="42132">
                  <c:v>0.751417870518994</c:v>
                </c:pt>
                <c:pt idx="42133">
                  <c:v>0.75143570536828896</c:v>
                </c:pt>
                <c:pt idx="42134">
                  <c:v>0.75145354021758504</c:v>
                </c:pt>
                <c:pt idx="42135">
                  <c:v>0.75147137506688</c:v>
                </c:pt>
                <c:pt idx="42136">
                  <c:v>0.75148920991617596</c:v>
                </c:pt>
                <c:pt idx="42137">
                  <c:v>0.75150704476547103</c:v>
                </c:pt>
                <c:pt idx="42138">
                  <c:v>0.75152487961476699</c:v>
                </c:pt>
                <c:pt idx="42139">
                  <c:v>0.75154271446406196</c:v>
                </c:pt>
                <c:pt idx="42140">
                  <c:v>0.75156054931335803</c:v>
                </c:pt>
                <c:pt idx="42141">
                  <c:v>0.75157838416265299</c:v>
                </c:pt>
                <c:pt idx="42142">
                  <c:v>0.75159621901194895</c:v>
                </c:pt>
                <c:pt idx="42143">
                  <c:v>0.75161405386124402</c:v>
                </c:pt>
                <c:pt idx="42144">
                  <c:v>0.75163188871053999</c:v>
                </c:pt>
                <c:pt idx="42145">
                  <c:v>0.75164972355983595</c:v>
                </c:pt>
                <c:pt idx="42146">
                  <c:v>0.75166755840913102</c:v>
                </c:pt>
                <c:pt idx="42147">
                  <c:v>0.75168539325842698</c:v>
                </c:pt>
                <c:pt idx="42148">
                  <c:v>0.75170322810772205</c:v>
                </c:pt>
                <c:pt idx="42149">
                  <c:v>0.75172106295701802</c:v>
                </c:pt>
                <c:pt idx="42150">
                  <c:v>0.75173889780631298</c:v>
                </c:pt>
                <c:pt idx="42151">
                  <c:v>0.75175673265560905</c:v>
                </c:pt>
                <c:pt idx="42152">
                  <c:v>0.75177456750490401</c:v>
                </c:pt>
                <c:pt idx="42153">
                  <c:v>0.75179240235419997</c:v>
                </c:pt>
                <c:pt idx="42154">
                  <c:v>0.75181023720349505</c:v>
                </c:pt>
                <c:pt idx="42155">
                  <c:v>0.75182807205279101</c:v>
                </c:pt>
                <c:pt idx="42156">
                  <c:v>0.75184590690208597</c:v>
                </c:pt>
                <c:pt idx="42157">
                  <c:v>0.75186374175138204</c:v>
                </c:pt>
                <c:pt idx="42158">
                  <c:v>0.751881576600677</c:v>
                </c:pt>
                <c:pt idx="42159">
                  <c:v>0.75189941144997297</c:v>
                </c:pt>
                <c:pt idx="42160">
                  <c:v>0.75191724629926804</c:v>
                </c:pt>
                <c:pt idx="42161">
                  <c:v>0.751935081148564</c:v>
                </c:pt>
                <c:pt idx="42162">
                  <c:v>0.75195291599785896</c:v>
                </c:pt>
                <c:pt idx="42163">
                  <c:v>0.75197075084715503</c:v>
                </c:pt>
                <c:pt idx="42164">
                  <c:v>0.75198858569645</c:v>
                </c:pt>
                <c:pt idx="42165">
                  <c:v>0.75200642054574596</c:v>
                </c:pt>
                <c:pt idx="42166">
                  <c:v>0.75202425539504103</c:v>
                </c:pt>
                <c:pt idx="42167">
                  <c:v>0.75204209024433699</c:v>
                </c:pt>
                <c:pt idx="42168">
                  <c:v>0.75205992509363295</c:v>
                </c:pt>
                <c:pt idx="42169">
                  <c:v>0.75207775994292803</c:v>
                </c:pt>
                <c:pt idx="42170">
                  <c:v>0.75209559479222399</c:v>
                </c:pt>
                <c:pt idx="42171">
                  <c:v>0.75211342964151895</c:v>
                </c:pt>
                <c:pt idx="42172">
                  <c:v>0.75213126449081502</c:v>
                </c:pt>
                <c:pt idx="42173">
                  <c:v>0.75214909934010998</c:v>
                </c:pt>
                <c:pt idx="42174">
                  <c:v>0.75216693418940594</c:v>
                </c:pt>
                <c:pt idx="42175">
                  <c:v>0.75218476903870102</c:v>
                </c:pt>
                <c:pt idx="42176">
                  <c:v>0.75220260388799698</c:v>
                </c:pt>
                <c:pt idx="42177">
                  <c:v>0.75222043873729205</c:v>
                </c:pt>
                <c:pt idx="42178">
                  <c:v>0.75223827358658801</c:v>
                </c:pt>
                <c:pt idx="42179">
                  <c:v>0.75225610843588298</c:v>
                </c:pt>
                <c:pt idx="42180">
                  <c:v>0.75227394328517905</c:v>
                </c:pt>
                <c:pt idx="42181">
                  <c:v>0.75229177813447401</c:v>
                </c:pt>
                <c:pt idx="42182">
                  <c:v>0.75230961298376997</c:v>
                </c:pt>
                <c:pt idx="42183">
                  <c:v>0.75232744783306504</c:v>
                </c:pt>
                <c:pt idx="42184">
                  <c:v>0.75234528268236101</c:v>
                </c:pt>
                <c:pt idx="42185">
                  <c:v>0.75236311753165597</c:v>
                </c:pt>
                <c:pt idx="42186">
                  <c:v>0.75238095238095204</c:v>
                </c:pt>
                <c:pt idx="42187">
                  <c:v>0.752398787230247</c:v>
                </c:pt>
                <c:pt idx="42188">
                  <c:v>0.75241662207954296</c:v>
                </c:pt>
                <c:pt idx="42189">
                  <c:v>0.75243445692883804</c:v>
                </c:pt>
                <c:pt idx="42190">
                  <c:v>0.752452291778134</c:v>
                </c:pt>
                <c:pt idx="42191">
                  <c:v>0.75247012662742996</c:v>
                </c:pt>
                <c:pt idx="42192">
                  <c:v>0.75248796147672503</c:v>
                </c:pt>
                <c:pt idx="42193">
                  <c:v>0.75250579632602099</c:v>
                </c:pt>
                <c:pt idx="42194">
                  <c:v>0.75252363117531595</c:v>
                </c:pt>
                <c:pt idx="42195">
                  <c:v>0.75254146602461203</c:v>
                </c:pt>
                <c:pt idx="42196">
                  <c:v>0.75255930087390699</c:v>
                </c:pt>
                <c:pt idx="42197">
                  <c:v>0.75257713572320295</c:v>
                </c:pt>
                <c:pt idx="42198">
                  <c:v>0.75259497057249802</c:v>
                </c:pt>
                <c:pt idx="42199">
                  <c:v>0.75261280542179398</c:v>
                </c:pt>
                <c:pt idx="42200">
                  <c:v>0.75263064027108895</c:v>
                </c:pt>
                <c:pt idx="42201">
                  <c:v>0.75264847512038502</c:v>
                </c:pt>
                <c:pt idx="42202">
                  <c:v>0.75266630996967998</c:v>
                </c:pt>
                <c:pt idx="42203">
                  <c:v>0.75268414481897605</c:v>
                </c:pt>
                <c:pt idx="42204">
                  <c:v>0.75270197966827102</c:v>
                </c:pt>
                <c:pt idx="42205">
                  <c:v>0.75271981451756698</c:v>
                </c:pt>
                <c:pt idx="42206">
                  <c:v>0.75273764936686205</c:v>
                </c:pt>
                <c:pt idx="42207">
                  <c:v>0.75275548421615801</c:v>
                </c:pt>
                <c:pt idx="42208">
                  <c:v>0.75277331906545297</c:v>
                </c:pt>
                <c:pt idx="42209">
                  <c:v>0.75279115391474904</c:v>
                </c:pt>
                <c:pt idx="42210">
                  <c:v>0.75280898876404401</c:v>
                </c:pt>
                <c:pt idx="42211">
                  <c:v>0.75282682361333997</c:v>
                </c:pt>
                <c:pt idx="42212">
                  <c:v>0.75284465846263604</c:v>
                </c:pt>
                <c:pt idx="42213">
                  <c:v>0.752862493311931</c:v>
                </c:pt>
                <c:pt idx="42214">
                  <c:v>0.75288032816122696</c:v>
                </c:pt>
                <c:pt idx="42215">
                  <c:v>0.75289816301052204</c:v>
                </c:pt>
                <c:pt idx="42216">
                  <c:v>0.752915997859818</c:v>
                </c:pt>
                <c:pt idx="42217">
                  <c:v>0.75293383270911296</c:v>
                </c:pt>
                <c:pt idx="42218">
                  <c:v>0.75295166755840903</c:v>
                </c:pt>
                <c:pt idx="42219">
                  <c:v>0.75296950240770399</c:v>
                </c:pt>
                <c:pt idx="42220">
                  <c:v>0.75298733725699996</c:v>
                </c:pt>
                <c:pt idx="42221">
                  <c:v>0.75300517210629503</c:v>
                </c:pt>
                <c:pt idx="42222">
                  <c:v>0.75302300695559099</c:v>
                </c:pt>
                <c:pt idx="42223">
                  <c:v>0.75304084180488595</c:v>
                </c:pt>
                <c:pt idx="42224">
                  <c:v>0.75305867665418202</c:v>
                </c:pt>
                <c:pt idx="42225">
                  <c:v>0.75307651150347699</c:v>
                </c:pt>
                <c:pt idx="42226">
                  <c:v>0.75309434635277295</c:v>
                </c:pt>
                <c:pt idx="42227">
                  <c:v>0.75311218120206802</c:v>
                </c:pt>
                <c:pt idx="42228">
                  <c:v>0.75313001605136398</c:v>
                </c:pt>
                <c:pt idx="42229">
                  <c:v>0.75314785090065905</c:v>
                </c:pt>
                <c:pt idx="42230">
                  <c:v>0.75316568574995502</c:v>
                </c:pt>
                <c:pt idx="42231">
                  <c:v>0.75318352059925098</c:v>
                </c:pt>
                <c:pt idx="42232">
                  <c:v>0.75320135544854605</c:v>
                </c:pt>
                <c:pt idx="42233">
                  <c:v>0.75321919029784201</c:v>
                </c:pt>
                <c:pt idx="42234">
                  <c:v>0.75323702514713697</c:v>
                </c:pt>
                <c:pt idx="42235">
                  <c:v>0.75325485999643305</c:v>
                </c:pt>
                <c:pt idx="42236">
                  <c:v>0.75327269484572801</c:v>
                </c:pt>
                <c:pt idx="42237">
                  <c:v>0.75329052969502397</c:v>
                </c:pt>
                <c:pt idx="42238">
                  <c:v>0.75330836454431904</c:v>
                </c:pt>
                <c:pt idx="42239">
                  <c:v>0.753326199393615</c:v>
                </c:pt>
                <c:pt idx="42240">
                  <c:v>0.75334403424290997</c:v>
                </c:pt>
                <c:pt idx="42241">
                  <c:v>0.75336186909220604</c:v>
                </c:pt>
                <c:pt idx="42242">
                  <c:v>0.753379703941501</c:v>
                </c:pt>
                <c:pt idx="42243">
                  <c:v>0.75339753879079696</c:v>
                </c:pt>
                <c:pt idx="42244">
                  <c:v>0.75341537364009203</c:v>
                </c:pt>
                <c:pt idx="42245">
                  <c:v>0.753433208489388</c:v>
                </c:pt>
                <c:pt idx="42246">
                  <c:v>0.75345104333868296</c:v>
                </c:pt>
                <c:pt idx="42247">
                  <c:v>0.75346887818797903</c:v>
                </c:pt>
                <c:pt idx="42248">
                  <c:v>0.75348671303727399</c:v>
                </c:pt>
                <c:pt idx="42249">
                  <c:v>0.75350454788656995</c:v>
                </c:pt>
                <c:pt idx="42250">
                  <c:v>0.75352238273586503</c:v>
                </c:pt>
                <c:pt idx="42251">
                  <c:v>0.75354021758516099</c:v>
                </c:pt>
                <c:pt idx="42252">
                  <c:v>0.75355805243445695</c:v>
                </c:pt>
                <c:pt idx="42253">
                  <c:v>0.75357588728375202</c:v>
                </c:pt>
                <c:pt idx="42254">
                  <c:v>0.75359372213304798</c:v>
                </c:pt>
                <c:pt idx="42255">
                  <c:v>0.75361155698234294</c:v>
                </c:pt>
                <c:pt idx="42256">
                  <c:v>0.75362939183163902</c:v>
                </c:pt>
                <c:pt idx="42257">
                  <c:v>0.75364722668093398</c:v>
                </c:pt>
                <c:pt idx="42258">
                  <c:v>0.75366506153023005</c:v>
                </c:pt>
                <c:pt idx="42259">
                  <c:v>0.75368289637952501</c:v>
                </c:pt>
                <c:pt idx="42260">
                  <c:v>0.75370073122882097</c:v>
                </c:pt>
                <c:pt idx="42261">
                  <c:v>0.75371856607811605</c:v>
                </c:pt>
                <c:pt idx="42262">
                  <c:v>0.75373640092741201</c:v>
                </c:pt>
                <c:pt idx="42263">
                  <c:v>0.75375423577670697</c:v>
                </c:pt>
                <c:pt idx="42264">
                  <c:v>0.75377207062600304</c:v>
                </c:pt>
                <c:pt idx="42265">
                  <c:v>0.75378990547529801</c:v>
                </c:pt>
                <c:pt idx="42266">
                  <c:v>0.75380774032459397</c:v>
                </c:pt>
                <c:pt idx="42267">
                  <c:v>0.75382557517388904</c:v>
                </c:pt>
                <c:pt idx="42268">
                  <c:v>0.753843410023185</c:v>
                </c:pt>
                <c:pt idx="42269">
                  <c:v>0.75386124487247996</c:v>
                </c:pt>
                <c:pt idx="42270">
                  <c:v>0.75387907972177604</c:v>
                </c:pt>
                <c:pt idx="42271">
                  <c:v>0.753896914571071</c:v>
                </c:pt>
                <c:pt idx="42272">
                  <c:v>0.75391474942036696</c:v>
                </c:pt>
                <c:pt idx="42273">
                  <c:v>0.75393258426966203</c:v>
                </c:pt>
                <c:pt idx="42274">
                  <c:v>0.75395041911895799</c:v>
                </c:pt>
                <c:pt idx="42275">
                  <c:v>0.75396825396825395</c:v>
                </c:pt>
                <c:pt idx="42276">
                  <c:v>0.75398608881754903</c:v>
                </c:pt>
                <c:pt idx="42277">
                  <c:v>0.75400392366684499</c:v>
                </c:pt>
                <c:pt idx="42278">
                  <c:v>0.75402175851613995</c:v>
                </c:pt>
                <c:pt idx="42279">
                  <c:v>0.75403959336543602</c:v>
                </c:pt>
                <c:pt idx="42280">
                  <c:v>0.75405742821473098</c:v>
                </c:pt>
                <c:pt idx="42281">
                  <c:v>0.75407526306402695</c:v>
                </c:pt>
                <c:pt idx="42282">
                  <c:v>0.75409309791332202</c:v>
                </c:pt>
                <c:pt idx="42283">
                  <c:v>0.75411093276261798</c:v>
                </c:pt>
                <c:pt idx="42284">
                  <c:v>0.75412876761191305</c:v>
                </c:pt>
                <c:pt idx="42285">
                  <c:v>0.75414660246120901</c:v>
                </c:pt>
                <c:pt idx="42286">
                  <c:v>0.75416443731050398</c:v>
                </c:pt>
                <c:pt idx="42287">
                  <c:v>0.75418227215980005</c:v>
                </c:pt>
                <c:pt idx="42288">
                  <c:v>0.75420010700909501</c:v>
                </c:pt>
                <c:pt idx="42289">
                  <c:v>0.75421794185839097</c:v>
                </c:pt>
                <c:pt idx="42290">
                  <c:v>0.75423577670768605</c:v>
                </c:pt>
                <c:pt idx="42291">
                  <c:v>0.75425361155698201</c:v>
                </c:pt>
                <c:pt idx="42292">
                  <c:v>0.75427144640627697</c:v>
                </c:pt>
                <c:pt idx="42293">
                  <c:v>0.75428928125557304</c:v>
                </c:pt>
                <c:pt idx="42294">
                  <c:v>0.754307116104868</c:v>
                </c:pt>
                <c:pt idx="42295">
                  <c:v>0.75432495095416396</c:v>
                </c:pt>
                <c:pt idx="42296">
                  <c:v>0.75434278580345904</c:v>
                </c:pt>
                <c:pt idx="42297">
                  <c:v>0.754360620652755</c:v>
                </c:pt>
                <c:pt idx="42298">
                  <c:v>0.75437845550205096</c:v>
                </c:pt>
                <c:pt idx="42299">
                  <c:v>0.75439629035134603</c:v>
                </c:pt>
                <c:pt idx="42300">
                  <c:v>0.75441412520064199</c:v>
                </c:pt>
                <c:pt idx="42301">
                  <c:v>0.75443196004993696</c:v>
                </c:pt>
                <c:pt idx="42302">
                  <c:v>0.75444979489923303</c:v>
                </c:pt>
                <c:pt idx="42303">
                  <c:v>0.75446762974852799</c:v>
                </c:pt>
                <c:pt idx="42304">
                  <c:v>0.75448546459782395</c:v>
                </c:pt>
                <c:pt idx="42305">
                  <c:v>0.75450329944711902</c:v>
                </c:pt>
                <c:pt idx="42306">
                  <c:v>0.75452113429641499</c:v>
                </c:pt>
                <c:pt idx="42307">
                  <c:v>0.75453896914570995</c:v>
                </c:pt>
                <c:pt idx="42308">
                  <c:v>0.75455680399500602</c:v>
                </c:pt>
                <c:pt idx="42309">
                  <c:v>0.75457463884430098</c:v>
                </c:pt>
                <c:pt idx="42310">
                  <c:v>0.75459247369359705</c:v>
                </c:pt>
                <c:pt idx="42311">
                  <c:v>0.75461030854289202</c:v>
                </c:pt>
                <c:pt idx="42312">
                  <c:v>0.75462814339218798</c:v>
                </c:pt>
                <c:pt idx="42313">
                  <c:v>0.75464597824148305</c:v>
                </c:pt>
                <c:pt idx="42314">
                  <c:v>0.75466381309077901</c:v>
                </c:pt>
                <c:pt idx="42315">
                  <c:v>0.75468164794007397</c:v>
                </c:pt>
                <c:pt idx="42316">
                  <c:v>0.75469948278937005</c:v>
                </c:pt>
                <c:pt idx="42317">
                  <c:v>0.75471731763866601</c:v>
                </c:pt>
                <c:pt idx="42318">
                  <c:v>0.75473515248796097</c:v>
                </c:pt>
                <c:pt idx="42319">
                  <c:v>0.75475298733725704</c:v>
                </c:pt>
                <c:pt idx="42320">
                  <c:v>0.754770822186552</c:v>
                </c:pt>
                <c:pt idx="42321">
                  <c:v>0.75478865703584797</c:v>
                </c:pt>
                <c:pt idx="42322">
                  <c:v>0.75480649188514304</c:v>
                </c:pt>
                <c:pt idx="42323">
                  <c:v>0.754824326734439</c:v>
                </c:pt>
                <c:pt idx="42324">
                  <c:v>0.75484216158373396</c:v>
                </c:pt>
                <c:pt idx="42325">
                  <c:v>0.75485999643303003</c:v>
                </c:pt>
                <c:pt idx="42326">
                  <c:v>0.754877831282325</c:v>
                </c:pt>
                <c:pt idx="42327">
                  <c:v>0.75489566613162096</c:v>
                </c:pt>
                <c:pt idx="42328">
                  <c:v>0.75491350098091603</c:v>
                </c:pt>
                <c:pt idx="42329">
                  <c:v>0.75493133583021199</c:v>
                </c:pt>
                <c:pt idx="42330">
                  <c:v>0.75494917067950695</c:v>
                </c:pt>
                <c:pt idx="42331">
                  <c:v>0.75496700552880303</c:v>
                </c:pt>
                <c:pt idx="42332">
                  <c:v>0.75498484037809799</c:v>
                </c:pt>
                <c:pt idx="42333">
                  <c:v>0.75500267522739395</c:v>
                </c:pt>
                <c:pt idx="42334">
                  <c:v>0.75502051007668902</c:v>
                </c:pt>
                <c:pt idx="42335">
                  <c:v>0.75503834492598498</c:v>
                </c:pt>
                <c:pt idx="42336">
                  <c:v>0.75505617977528094</c:v>
                </c:pt>
                <c:pt idx="42337">
                  <c:v>0.75507401462457602</c:v>
                </c:pt>
                <c:pt idx="42338">
                  <c:v>0.75509184947387198</c:v>
                </c:pt>
                <c:pt idx="42339">
                  <c:v>0.75510968432316705</c:v>
                </c:pt>
                <c:pt idx="42340">
                  <c:v>0.75512751917246301</c:v>
                </c:pt>
                <c:pt idx="42341">
                  <c:v>0.75514535402175798</c:v>
                </c:pt>
                <c:pt idx="42342">
                  <c:v>0.75516318887105405</c:v>
                </c:pt>
                <c:pt idx="42343">
                  <c:v>0.75518102372034901</c:v>
                </c:pt>
                <c:pt idx="42344">
                  <c:v>0.75519885856964497</c:v>
                </c:pt>
                <c:pt idx="42345">
                  <c:v>0.75521669341894004</c:v>
                </c:pt>
                <c:pt idx="42346">
                  <c:v>0.75523452826823601</c:v>
                </c:pt>
                <c:pt idx="42347">
                  <c:v>0.75525236311753097</c:v>
                </c:pt>
                <c:pt idx="42348">
                  <c:v>0.75527019796682704</c:v>
                </c:pt>
                <c:pt idx="42349">
                  <c:v>0.755288032816122</c:v>
                </c:pt>
                <c:pt idx="42350">
                  <c:v>0.75530586766541796</c:v>
                </c:pt>
                <c:pt idx="42351">
                  <c:v>0.75532370251471304</c:v>
                </c:pt>
                <c:pt idx="42352">
                  <c:v>0.755341537364009</c:v>
                </c:pt>
                <c:pt idx="42353">
                  <c:v>0.75535937221330396</c:v>
                </c:pt>
                <c:pt idx="42354">
                  <c:v>0.75537720706260003</c:v>
                </c:pt>
                <c:pt idx="42355">
                  <c:v>0.75539504191189499</c:v>
                </c:pt>
                <c:pt idx="42356">
                  <c:v>0.75541287676119095</c:v>
                </c:pt>
                <c:pt idx="42357">
                  <c:v>0.75543071161048603</c:v>
                </c:pt>
                <c:pt idx="42358">
                  <c:v>0.75544854645978199</c:v>
                </c:pt>
                <c:pt idx="42359">
                  <c:v>0.75546638130907795</c:v>
                </c:pt>
                <c:pt idx="42360">
                  <c:v>0.75548421615837302</c:v>
                </c:pt>
                <c:pt idx="42361">
                  <c:v>0.75550205100766898</c:v>
                </c:pt>
                <c:pt idx="42362">
                  <c:v>0.75551988585696395</c:v>
                </c:pt>
                <c:pt idx="42363">
                  <c:v>0.75553772070626002</c:v>
                </c:pt>
                <c:pt idx="42364">
                  <c:v>0.75555555555555498</c:v>
                </c:pt>
                <c:pt idx="42365">
                  <c:v>0.75557339040485105</c:v>
                </c:pt>
                <c:pt idx="42366">
                  <c:v>0.75559122525414602</c:v>
                </c:pt>
                <c:pt idx="42367">
                  <c:v>0.75560906010344198</c:v>
                </c:pt>
                <c:pt idx="42368">
                  <c:v>0.75562689495273705</c:v>
                </c:pt>
                <c:pt idx="42369">
                  <c:v>0.75564472980203301</c:v>
                </c:pt>
                <c:pt idx="42370">
                  <c:v>0.75566256465132797</c:v>
                </c:pt>
                <c:pt idx="42371">
                  <c:v>0.75568039950062404</c:v>
                </c:pt>
                <c:pt idx="42372">
                  <c:v>0.75569823434991901</c:v>
                </c:pt>
                <c:pt idx="42373">
                  <c:v>0.75571606919921497</c:v>
                </c:pt>
                <c:pt idx="42374">
                  <c:v>0.75573390404851004</c:v>
                </c:pt>
                <c:pt idx="42375">
                  <c:v>0.755751738897806</c:v>
                </c:pt>
                <c:pt idx="42376">
                  <c:v>0.75576957374710096</c:v>
                </c:pt>
                <c:pt idx="42377">
                  <c:v>0.75578740859639704</c:v>
                </c:pt>
                <c:pt idx="42378">
                  <c:v>0.755805243445692</c:v>
                </c:pt>
                <c:pt idx="42379">
                  <c:v>0.75582307829498796</c:v>
                </c:pt>
                <c:pt idx="42380">
                  <c:v>0.75584091314428303</c:v>
                </c:pt>
                <c:pt idx="42381">
                  <c:v>0.75585874799357899</c:v>
                </c:pt>
                <c:pt idx="42382">
                  <c:v>0.75587658284287496</c:v>
                </c:pt>
                <c:pt idx="42383">
                  <c:v>0.75589441769217003</c:v>
                </c:pt>
                <c:pt idx="42384">
                  <c:v>0.75591225254146599</c:v>
                </c:pt>
                <c:pt idx="42385">
                  <c:v>0.75593008739076095</c:v>
                </c:pt>
                <c:pt idx="42386">
                  <c:v>0.75594792224005702</c:v>
                </c:pt>
                <c:pt idx="42387">
                  <c:v>0.75596575708935199</c:v>
                </c:pt>
                <c:pt idx="42388">
                  <c:v>0.75598359193864795</c:v>
                </c:pt>
                <c:pt idx="42389">
                  <c:v>0.75600142678794302</c:v>
                </c:pt>
                <c:pt idx="42390">
                  <c:v>0.75601926163723898</c:v>
                </c:pt>
                <c:pt idx="42391">
                  <c:v>0.75603709648653405</c:v>
                </c:pt>
                <c:pt idx="42392">
                  <c:v>0.75605493133583002</c:v>
                </c:pt>
                <c:pt idx="42393">
                  <c:v>0.75607276618512498</c:v>
                </c:pt>
                <c:pt idx="42394">
                  <c:v>0.75609060103442105</c:v>
                </c:pt>
                <c:pt idx="42395">
                  <c:v>0.75610843588371601</c:v>
                </c:pt>
                <c:pt idx="42396">
                  <c:v>0.75612627073301197</c:v>
                </c:pt>
                <c:pt idx="42397">
                  <c:v>0.75614410558230705</c:v>
                </c:pt>
                <c:pt idx="42398">
                  <c:v>0.75616194043160301</c:v>
                </c:pt>
                <c:pt idx="42399">
                  <c:v>0.75617977528089797</c:v>
                </c:pt>
                <c:pt idx="42400">
                  <c:v>0.75619761013019404</c:v>
                </c:pt>
                <c:pt idx="42401">
                  <c:v>0.756215444979489</c:v>
                </c:pt>
                <c:pt idx="42402">
                  <c:v>0.75623327982878497</c:v>
                </c:pt>
                <c:pt idx="42403">
                  <c:v>0.75625111467808004</c:v>
                </c:pt>
                <c:pt idx="42404">
                  <c:v>0.756268949527376</c:v>
                </c:pt>
                <c:pt idx="42405">
                  <c:v>0.75628678437667196</c:v>
                </c:pt>
                <c:pt idx="42406">
                  <c:v>0.75630461922596703</c:v>
                </c:pt>
                <c:pt idx="42407">
                  <c:v>0.756322454075263</c:v>
                </c:pt>
                <c:pt idx="42408">
                  <c:v>0.75634028892455796</c:v>
                </c:pt>
                <c:pt idx="42409">
                  <c:v>0.75635812377385403</c:v>
                </c:pt>
                <c:pt idx="42410">
                  <c:v>0.75637595862314899</c:v>
                </c:pt>
                <c:pt idx="42411">
                  <c:v>0.75639379347244495</c:v>
                </c:pt>
                <c:pt idx="42412">
                  <c:v>0.75641162832174003</c:v>
                </c:pt>
                <c:pt idx="42413">
                  <c:v>0.75642946317103599</c:v>
                </c:pt>
                <c:pt idx="42414">
                  <c:v>0.75644729802033095</c:v>
                </c:pt>
                <c:pt idx="42415">
                  <c:v>0.75646513286962702</c:v>
                </c:pt>
                <c:pt idx="42416">
                  <c:v>0.75648296771892198</c:v>
                </c:pt>
                <c:pt idx="42417">
                  <c:v>0.75650080256821794</c:v>
                </c:pt>
                <c:pt idx="42418">
                  <c:v>0.75651863741751302</c:v>
                </c:pt>
                <c:pt idx="42419">
                  <c:v>0.75653647226680898</c:v>
                </c:pt>
                <c:pt idx="42420">
                  <c:v>0.75655430711610405</c:v>
                </c:pt>
                <c:pt idx="42421">
                  <c:v>0.75657214196540001</c:v>
                </c:pt>
                <c:pt idx="42422">
                  <c:v>0.75658997681469498</c:v>
                </c:pt>
                <c:pt idx="42423">
                  <c:v>0.75660781166399105</c:v>
                </c:pt>
                <c:pt idx="42424">
                  <c:v>0.75662564651328701</c:v>
                </c:pt>
                <c:pt idx="42425">
                  <c:v>0.75664348136258197</c:v>
                </c:pt>
                <c:pt idx="42426">
                  <c:v>0.75666131621187804</c:v>
                </c:pt>
                <c:pt idx="42427">
                  <c:v>0.75667915106117301</c:v>
                </c:pt>
                <c:pt idx="42428">
                  <c:v>0.75669698591046897</c:v>
                </c:pt>
                <c:pt idx="42429">
                  <c:v>0.75671482075976404</c:v>
                </c:pt>
                <c:pt idx="42430">
                  <c:v>0.75673265560906</c:v>
                </c:pt>
                <c:pt idx="42431">
                  <c:v>0.75675049045835496</c:v>
                </c:pt>
                <c:pt idx="42432">
                  <c:v>0.75676832530765104</c:v>
                </c:pt>
                <c:pt idx="42433">
                  <c:v>0.756786160156946</c:v>
                </c:pt>
                <c:pt idx="42434">
                  <c:v>0.75680399500624196</c:v>
                </c:pt>
                <c:pt idx="42435">
                  <c:v>0.75682182985553703</c:v>
                </c:pt>
                <c:pt idx="42436">
                  <c:v>0.75683966470483299</c:v>
                </c:pt>
                <c:pt idx="42437">
                  <c:v>0.75685749955412795</c:v>
                </c:pt>
                <c:pt idx="42438">
                  <c:v>0.75687533440342403</c:v>
                </c:pt>
                <c:pt idx="42439">
                  <c:v>0.75689316925271899</c:v>
                </c:pt>
                <c:pt idx="42440">
                  <c:v>0.75691100410201495</c:v>
                </c:pt>
                <c:pt idx="42441">
                  <c:v>0.75692883895131002</c:v>
                </c:pt>
                <c:pt idx="42442">
                  <c:v>0.75694667380060598</c:v>
                </c:pt>
                <c:pt idx="42443">
                  <c:v>0.75696450864990195</c:v>
                </c:pt>
                <c:pt idx="42444">
                  <c:v>0.75698234349919702</c:v>
                </c:pt>
                <c:pt idx="42445">
                  <c:v>0.75700017834849298</c:v>
                </c:pt>
                <c:pt idx="42446">
                  <c:v>0.75701801319778805</c:v>
                </c:pt>
                <c:pt idx="42447">
                  <c:v>0.75703584804708401</c:v>
                </c:pt>
                <c:pt idx="42448">
                  <c:v>0.75705368289637898</c:v>
                </c:pt>
                <c:pt idx="42449">
                  <c:v>0.75707151774567505</c:v>
                </c:pt>
                <c:pt idx="42450">
                  <c:v>0.75708935259497001</c:v>
                </c:pt>
                <c:pt idx="42451">
                  <c:v>0.75710718744426597</c:v>
                </c:pt>
                <c:pt idx="42452">
                  <c:v>0.75712502229356105</c:v>
                </c:pt>
                <c:pt idx="42453">
                  <c:v>0.75714285714285701</c:v>
                </c:pt>
                <c:pt idx="42454">
                  <c:v>0.75716069199215197</c:v>
                </c:pt>
                <c:pt idx="42455">
                  <c:v>0.75717852684144804</c:v>
                </c:pt>
                <c:pt idx="42456">
                  <c:v>0.757196361690743</c:v>
                </c:pt>
                <c:pt idx="42457">
                  <c:v>0.75721419654003896</c:v>
                </c:pt>
                <c:pt idx="42458">
                  <c:v>0.75723203138933404</c:v>
                </c:pt>
                <c:pt idx="42459">
                  <c:v>0.75724986623863</c:v>
                </c:pt>
                <c:pt idx="42460">
                  <c:v>0.75726770108792496</c:v>
                </c:pt>
                <c:pt idx="42461">
                  <c:v>0.75728553593722103</c:v>
                </c:pt>
                <c:pt idx="42462">
                  <c:v>0.75730337078651599</c:v>
                </c:pt>
                <c:pt idx="42463">
                  <c:v>0.75732120563581196</c:v>
                </c:pt>
                <c:pt idx="42464">
                  <c:v>0.75733904048510703</c:v>
                </c:pt>
                <c:pt idx="42465">
                  <c:v>0.75735687533440299</c:v>
                </c:pt>
                <c:pt idx="42466">
                  <c:v>0.75737471018369895</c:v>
                </c:pt>
                <c:pt idx="42467">
                  <c:v>0.75739254503299402</c:v>
                </c:pt>
                <c:pt idx="42468">
                  <c:v>0.75741037988228999</c:v>
                </c:pt>
                <c:pt idx="42469">
                  <c:v>0.75742821473158495</c:v>
                </c:pt>
                <c:pt idx="42470">
                  <c:v>0.75744604958088102</c:v>
                </c:pt>
                <c:pt idx="42471">
                  <c:v>0.75746388443017598</c:v>
                </c:pt>
                <c:pt idx="42472">
                  <c:v>0.75748171927947205</c:v>
                </c:pt>
                <c:pt idx="42473">
                  <c:v>0.75749955412876702</c:v>
                </c:pt>
                <c:pt idx="42474">
                  <c:v>0.75751738897806298</c:v>
                </c:pt>
                <c:pt idx="42475">
                  <c:v>0.75753522382735805</c:v>
                </c:pt>
                <c:pt idx="42476">
                  <c:v>0.75755305867665401</c:v>
                </c:pt>
                <c:pt idx="42477">
                  <c:v>0.75757089352594897</c:v>
                </c:pt>
                <c:pt idx="42478">
                  <c:v>0.75758872837524505</c:v>
                </c:pt>
                <c:pt idx="42479">
                  <c:v>0.75760656322454001</c:v>
                </c:pt>
                <c:pt idx="42480">
                  <c:v>0.75762439807383597</c:v>
                </c:pt>
                <c:pt idx="42481">
                  <c:v>0.75764223292313104</c:v>
                </c:pt>
                <c:pt idx="42482">
                  <c:v>0.757660067772427</c:v>
                </c:pt>
                <c:pt idx="42483">
                  <c:v>0.75767790262172197</c:v>
                </c:pt>
                <c:pt idx="42484">
                  <c:v>0.75769573747101804</c:v>
                </c:pt>
                <c:pt idx="42485">
                  <c:v>0.757713572320313</c:v>
                </c:pt>
                <c:pt idx="42486">
                  <c:v>0.75773140716960896</c:v>
                </c:pt>
                <c:pt idx="42487">
                  <c:v>0.75774924201890403</c:v>
                </c:pt>
                <c:pt idx="42488">
                  <c:v>0.7577670768682</c:v>
                </c:pt>
                <c:pt idx="42489">
                  <c:v>0.75778491171749596</c:v>
                </c:pt>
                <c:pt idx="42490">
                  <c:v>0.75780274656679103</c:v>
                </c:pt>
                <c:pt idx="42491">
                  <c:v>0.75782058141608699</c:v>
                </c:pt>
                <c:pt idx="42492">
                  <c:v>0.75783841626538195</c:v>
                </c:pt>
                <c:pt idx="42493">
                  <c:v>0.75785625111467803</c:v>
                </c:pt>
                <c:pt idx="42494">
                  <c:v>0.75787408596397299</c:v>
                </c:pt>
                <c:pt idx="42495">
                  <c:v>0.75789192081326895</c:v>
                </c:pt>
                <c:pt idx="42496">
                  <c:v>0.75790975566256402</c:v>
                </c:pt>
                <c:pt idx="42497">
                  <c:v>0.75792759051185998</c:v>
                </c:pt>
                <c:pt idx="42498">
                  <c:v>0.75794542536115495</c:v>
                </c:pt>
                <c:pt idx="42499">
                  <c:v>0.75796326021045102</c:v>
                </c:pt>
                <c:pt idx="42500">
                  <c:v>0.75798109505974598</c:v>
                </c:pt>
                <c:pt idx="42501">
                  <c:v>0.75799892990904205</c:v>
                </c:pt>
                <c:pt idx="42502">
                  <c:v>0.75801676475833701</c:v>
                </c:pt>
                <c:pt idx="42503">
                  <c:v>0.75803459960763298</c:v>
                </c:pt>
                <c:pt idx="42504">
                  <c:v>0.75805243445692805</c:v>
                </c:pt>
                <c:pt idx="42505">
                  <c:v>0.75807026930622401</c:v>
                </c:pt>
                <c:pt idx="42506">
                  <c:v>0.75808810415551897</c:v>
                </c:pt>
                <c:pt idx="42507">
                  <c:v>0.75810593900481504</c:v>
                </c:pt>
                <c:pt idx="42508">
                  <c:v>0.75812377385411001</c:v>
                </c:pt>
                <c:pt idx="42509">
                  <c:v>0.75814160870340597</c:v>
                </c:pt>
                <c:pt idx="42510">
                  <c:v>0.75815944355270104</c:v>
                </c:pt>
                <c:pt idx="42511">
                  <c:v>0.758177278401997</c:v>
                </c:pt>
                <c:pt idx="42512">
                  <c:v>0.75819511325129296</c:v>
                </c:pt>
                <c:pt idx="42513">
                  <c:v>0.75821294810058804</c:v>
                </c:pt>
                <c:pt idx="42514">
                  <c:v>0.758230782949884</c:v>
                </c:pt>
                <c:pt idx="42515">
                  <c:v>0.75824861779917896</c:v>
                </c:pt>
                <c:pt idx="42516">
                  <c:v>0.75826645264847503</c:v>
                </c:pt>
                <c:pt idx="42517">
                  <c:v>0.75828428749776999</c:v>
                </c:pt>
                <c:pt idx="42518">
                  <c:v>0.75830212234706595</c:v>
                </c:pt>
                <c:pt idx="42519">
                  <c:v>0.75831995719636103</c:v>
                </c:pt>
                <c:pt idx="42520">
                  <c:v>0.75833779204565699</c:v>
                </c:pt>
                <c:pt idx="42521">
                  <c:v>0.75835562689495195</c:v>
                </c:pt>
                <c:pt idx="42522">
                  <c:v>0.75837346174424802</c:v>
                </c:pt>
                <c:pt idx="42523">
                  <c:v>0.75839129659354299</c:v>
                </c:pt>
                <c:pt idx="42524">
                  <c:v>0.75840913144283895</c:v>
                </c:pt>
                <c:pt idx="42525">
                  <c:v>0.75842696629213402</c:v>
                </c:pt>
                <c:pt idx="42526">
                  <c:v>0.75844480114142998</c:v>
                </c:pt>
                <c:pt idx="42527">
                  <c:v>0.75846263599072505</c:v>
                </c:pt>
                <c:pt idx="42528">
                  <c:v>0.75848047084002101</c:v>
                </c:pt>
                <c:pt idx="42529">
                  <c:v>0.75849830568931698</c:v>
                </c:pt>
                <c:pt idx="42530">
                  <c:v>0.75851614053861205</c:v>
                </c:pt>
                <c:pt idx="42531">
                  <c:v>0.75853397538790801</c:v>
                </c:pt>
                <c:pt idx="42532">
                  <c:v>0.75855181023720297</c:v>
                </c:pt>
                <c:pt idx="42533">
                  <c:v>0.75856964508649904</c:v>
                </c:pt>
                <c:pt idx="42534">
                  <c:v>0.75858747993579401</c:v>
                </c:pt>
                <c:pt idx="42535">
                  <c:v>0.75860531478508997</c:v>
                </c:pt>
                <c:pt idx="42536">
                  <c:v>0.75862314963438504</c:v>
                </c:pt>
                <c:pt idx="42537">
                  <c:v>0.758640984483681</c:v>
                </c:pt>
                <c:pt idx="42538">
                  <c:v>0.75865881933297596</c:v>
                </c:pt>
                <c:pt idx="42539">
                  <c:v>0.75867665418227204</c:v>
                </c:pt>
                <c:pt idx="42540">
                  <c:v>0.758694489031567</c:v>
                </c:pt>
                <c:pt idx="42541">
                  <c:v>0.75871232388086296</c:v>
                </c:pt>
                <c:pt idx="42542">
                  <c:v>0.75873015873015803</c:v>
                </c:pt>
                <c:pt idx="42543">
                  <c:v>0.75874799357945399</c:v>
                </c:pt>
                <c:pt idx="42544">
                  <c:v>0.75876582842874896</c:v>
                </c:pt>
                <c:pt idx="42545">
                  <c:v>0.75878366327804503</c:v>
                </c:pt>
                <c:pt idx="42546">
                  <c:v>0.75880149812733999</c:v>
                </c:pt>
                <c:pt idx="42547">
                  <c:v>0.75881933297663595</c:v>
                </c:pt>
                <c:pt idx="42548">
                  <c:v>0.75883716782593102</c:v>
                </c:pt>
                <c:pt idx="42549">
                  <c:v>0.75885500267522699</c:v>
                </c:pt>
                <c:pt idx="42550">
                  <c:v>0.75887283752452295</c:v>
                </c:pt>
                <c:pt idx="42551">
                  <c:v>0.75889067237381802</c:v>
                </c:pt>
                <c:pt idx="42552">
                  <c:v>0.75890850722311398</c:v>
                </c:pt>
                <c:pt idx="42553">
                  <c:v>0.75892634207240905</c:v>
                </c:pt>
                <c:pt idx="42554">
                  <c:v>0.75894417692170502</c:v>
                </c:pt>
                <c:pt idx="42555">
                  <c:v>0.75896201177099998</c:v>
                </c:pt>
                <c:pt idx="42556">
                  <c:v>0.75897984662029605</c:v>
                </c:pt>
                <c:pt idx="42557">
                  <c:v>0.75899768146959101</c:v>
                </c:pt>
                <c:pt idx="42558">
                  <c:v>0.75901551631888697</c:v>
                </c:pt>
                <c:pt idx="42559">
                  <c:v>0.75903335116818205</c:v>
                </c:pt>
                <c:pt idx="42560">
                  <c:v>0.75905118601747801</c:v>
                </c:pt>
                <c:pt idx="42561">
                  <c:v>0.75906902086677297</c:v>
                </c:pt>
                <c:pt idx="42562">
                  <c:v>0.75908685571606904</c:v>
                </c:pt>
                <c:pt idx="42563">
                  <c:v>0.759104690565364</c:v>
                </c:pt>
                <c:pt idx="42564">
                  <c:v>0.75912252541465997</c:v>
                </c:pt>
                <c:pt idx="42565">
                  <c:v>0.75914036026395504</c:v>
                </c:pt>
                <c:pt idx="42566">
                  <c:v>0.759158195113251</c:v>
                </c:pt>
                <c:pt idx="42567">
                  <c:v>0.75917602996254596</c:v>
                </c:pt>
                <c:pt idx="42568">
                  <c:v>0.75919386481184203</c:v>
                </c:pt>
                <c:pt idx="42569">
                  <c:v>0.759211699661137</c:v>
                </c:pt>
                <c:pt idx="42570">
                  <c:v>0.75922953451043296</c:v>
                </c:pt>
                <c:pt idx="42571">
                  <c:v>0.75924736935972803</c:v>
                </c:pt>
                <c:pt idx="42572">
                  <c:v>0.75926520420902399</c:v>
                </c:pt>
                <c:pt idx="42573">
                  <c:v>0.75928303905831995</c:v>
                </c:pt>
                <c:pt idx="42574">
                  <c:v>0.75930087390761503</c:v>
                </c:pt>
                <c:pt idx="42575">
                  <c:v>0.75931870875691099</c:v>
                </c:pt>
                <c:pt idx="42576">
                  <c:v>0.75933654360620595</c:v>
                </c:pt>
                <c:pt idx="42577">
                  <c:v>0.75935437845550202</c:v>
                </c:pt>
                <c:pt idx="42578">
                  <c:v>0.75937221330479698</c:v>
                </c:pt>
                <c:pt idx="42579">
                  <c:v>0.75939004815409294</c:v>
                </c:pt>
                <c:pt idx="42580">
                  <c:v>0.75940788300338802</c:v>
                </c:pt>
                <c:pt idx="42581">
                  <c:v>0.75942571785268398</c:v>
                </c:pt>
                <c:pt idx="42582">
                  <c:v>0.75944355270197905</c:v>
                </c:pt>
                <c:pt idx="42583">
                  <c:v>0.75946138755127501</c:v>
                </c:pt>
                <c:pt idx="42584">
                  <c:v>0.75947922240056998</c:v>
                </c:pt>
                <c:pt idx="42585">
                  <c:v>0.75949705724986605</c:v>
                </c:pt>
                <c:pt idx="42586">
                  <c:v>0.75951489209916101</c:v>
                </c:pt>
                <c:pt idx="42587">
                  <c:v>0.75953272694845697</c:v>
                </c:pt>
                <c:pt idx="42588">
                  <c:v>0.75955056179775204</c:v>
                </c:pt>
                <c:pt idx="42589">
                  <c:v>0.75956839664704801</c:v>
                </c:pt>
                <c:pt idx="42590">
                  <c:v>0.75958623149634297</c:v>
                </c:pt>
                <c:pt idx="42591">
                  <c:v>0.75960406634563904</c:v>
                </c:pt>
                <c:pt idx="42592">
                  <c:v>0.759621901194934</c:v>
                </c:pt>
                <c:pt idx="42593">
                  <c:v>0.75963973604422996</c:v>
                </c:pt>
                <c:pt idx="42594">
                  <c:v>0.75965757089352504</c:v>
                </c:pt>
                <c:pt idx="42595">
                  <c:v>0.759675405742821</c:v>
                </c:pt>
                <c:pt idx="42596">
                  <c:v>0.75969324059211696</c:v>
                </c:pt>
                <c:pt idx="42597">
                  <c:v>0.75971107544141203</c:v>
                </c:pt>
                <c:pt idx="42598">
                  <c:v>0.75972891029070799</c:v>
                </c:pt>
                <c:pt idx="42599">
                  <c:v>0.75974674514000295</c:v>
                </c:pt>
                <c:pt idx="42600">
                  <c:v>0.75976457998929903</c:v>
                </c:pt>
                <c:pt idx="42601">
                  <c:v>0.75978241483859399</c:v>
                </c:pt>
                <c:pt idx="42602">
                  <c:v>0.75980024968788995</c:v>
                </c:pt>
                <c:pt idx="42603">
                  <c:v>0.75981808453718502</c:v>
                </c:pt>
                <c:pt idx="42604">
                  <c:v>0.75983591938648098</c:v>
                </c:pt>
                <c:pt idx="42605">
                  <c:v>0.75985375423577595</c:v>
                </c:pt>
                <c:pt idx="42606">
                  <c:v>0.75987158908507202</c:v>
                </c:pt>
                <c:pt idx="42607">
                  <c:v>0.75988942393436698</c:v>
                </c:pt>
                <c:pt idx="42608">
                  <c:v>0.75990725878366305</c:v>
                </c:pt>
                <c:pt idx="42609">
                  <c:v>0.75992509363295802</c:v>
                </c:pt>
                <c:pt idx="42610">
                  <c:v>0.75994292848225398</c:v>
                </c:pt>
                <c:pt idx="42611">
                  <c:v>0.75996076333154905</c:v>
                </c:pt>
                <c:pt idx="42612">
                  <c:v>0.75997859818084501</c:v>
                </c:pt>
                <c:pt idx="42613">
                  <c:v>0.75999643303013997</c:v>
                </c:pt>
                <c:pt idx="42614">
                  <c:v>0.76001426787943605</c:v>
                </c:pt>
                <c:pt idx="42615">
                  <c:v>0.76003210272873101</c:v>
                </c:pt>
                <c:pt idx="42616">
                  <c:v>0.76004993757802697</c:v>
                </c:pt>
                <c:pt idx="42617">
                  <c:v>0.76006777242732304</c:v>
                </c:pt>
                <c:pt idx="42618">
                  <c:v>0.760085607276618</c:v>
                </c:pt>
                <c:pt idx="42619">
                  <c:v>0.76010344212591396</c:v>
                </c:pt>
                <c:pt idx="42620">
                  <c:v>0.76012127697520904</c:v>
                </c:pt>
                <c:pt idx="42621">
                  <c:v>0.760139111824505</c:v>
                </c:pt>
                <c:pt idx="42622">
                  <c:v>0.76015694667379996</c:v>
                </c:pt>
                <c:pt idx="42623">
                  <c:v>0.76017478152309603</c:v>
                </c:pt>
                <c:pt idx="42624">
                  <c:v>0.76019261637239099</c:v>
                </c:pt>
                <c:pt idx="42625">
                  <c:v>0.76021045122168696</c:v>
                </c:pt>
                <c:pt idx="42626">
                  <c:v>0.76022828607098203</c:v>
                </c:pt>
                <c:pt idx="42627">
                  <c:v>0.76024612092027799</c:v>
                </c:pt>
                <c:pt idx="42628">
                  <c:v>0.76026395576957295</c:v>
                </c:pt>
                <c:pt idx="42629">
                  <c:v>0.76028179061886902</c:v>
                </c:pt>
                <c:pt idx="42630">
                  <c:v>0.76029962546816399</c:v>
                </c:pt>
                <c:pt idx="42631">
                  <c:v>0.76031746031745995</c:v>
                </c:pt>
                <c:pt idx="42632">
                  <c:v>0.76033529516675502</c:v>
                </c:pt>
                <c:pt idx="42633">
                  <c:v>0.76035313001605098</c:v>
                </c:pt>
                <c:pt idx="42634">
                  <c:v>0.76037096486534606</c:v>
                </c:pt>
                <c:pt idx="42635">
                  <c:v>0.76038879971464202</c:v>
                </c:pt>
                <c:pt idx="42636">
                  <c:v>0.76040663456393798</c:v>
                </c:pt>
                <c:pt idx="42637">
                  <c:v>0.76042446941323305</c:v>
                </c:pt>
                <c:pt idx="42638">
                  <c:v>0.76044230426252901</c:v>
                </c:pt>
                <c:pt idx="42639">
                  <c:v>0.76046013911182397</c:v>
                </c:pt>
                <c:pt idx="42640">
                  <c:v>0.76047797396112005</c:v>
                </c:pt>
                <c:pt idx="42641">
                  <c:v>0.76049580881041501</c:v>
                </c:pt>
                <c:pt idx="42642">
                  <c:v>0.76051364365971097</c:v>
                </c:pt>
                <c:pt idx="42643">
                  <c:v>0.76053147850900604</c:v>
                </c:pt>
                <c:pt idx="42644">
                  <c:v>0.760549313358302</c:v>
                </c:pt>
                <c:pt idx="42645">
                  <c:v>0.76056714820759697</c:v>
                </c:pt>
                <c:pt idx="42646">
                  <c:v>0.76058498305689304</c:v>
                </c:pt>
                <c:pt idx="42647">
                  <c:v>0.760602817906188</c:v>
                </c:pt>
                <c:pt idx="42648">
                  <c:v>0.76062065275548396</c:v>
                </c:pt>
                <c:pt idx="42649">
                  <c:v>0.76063848760477903</c:v>
                </c:pt>
                <c:pt idx="42650">
                  <c:v>0.760656322454075</c:v>
                </c:pt>
                <c:pt idx="42651">
                  <c:v>0.76067415730336996</c:v>
                </c:pt>
                <c:pt idx="42652">
                  <c:v>0.76069199215266603</c:v>
                </c:pt>
                <c:pt idx="42653">
                  <c:v>0.76070982700196099</c:v>
                </c:pt>
                <c:pt idx="42654">
                  <c:v>0.76072766185125695</c:v>
                </c:pt>
                <c:pt idx="42655">
                  <c:v>0.76074549670055203</c:v>
                </c:pt>
                <c:pt idx="42656">
                  <c:v>0.76076333154984799</c:v>
                </c:pt>
                <c:pt idx="42657">
                  <c:v>0.76078116639914395</c:v>
                </c:pt>
                <c:pt idx="42658">
                  <c:v>0.76079900124843902</c:v>
                </c:pt>
                <c:pt idx="42659">
                  <c:v>0.76081683609773498</c:v>
                </c:pt>
                <c:pt idx="42660">
                  <c:v>0.76083467094702995</c:v>
                </c:pt>
                <c:pt idx="42661">
                  <c:v>0.76085250579632602</c:v>
                </c:pt>
                <c:pt idx="42662">
                  <c:v>0.76087034064562098</c:v>
                </c:pt>
                <c:pt idx="42663">
                  <c:v>0.76088817549491705</c:v>
                </c:pt>
                <c:pt idx="42664">
                  <c:v>0.76090601034421201</c:v>
                </c:pt>
                <c:pt idx="42665">
                  <c:v>0.76092384519350798</c:v>
                </c:pt>
                <c:pt idx="42666">
                  <c:v>0.76094168004280305</c:v>
                </c:pt>
                <c:pt idx="42667">
                  <c:v>0.76095951489209901</c:v>
                </c:pt>
                <c:pt idx="42668">
                  <c:v>0.76097734974139397</c:v>
                </c:pt>
                <c:pt idx="42669">
                  <c:v>0.76099518459069004</c:v>
                </c:pt>
                <c:pt idx="42670">
                  <c:v>0.76101301943998501</c:v>
                </c:pt>
                <c:pt idx="42671">
                  <c:v>0.76103085428928097</c:v>
                </c:pt>
                <c:pt idx="42672">
                  <c:v>0.76104868913857604</c:v>
                </c:pt>
                <c:pt idx="42673">
                  <c:v>0.761066523987872</c:v>
                </c:pt>
                <c:pt idx="42674">
                  <c:v>0.76108435883716696</c:v>
                </c:pt>
                <c:pt idx="42675">
                  <c:v>0.76110219368646304</c:v>
                </c:pt>
                <c:pt idx="42676">
                  <c:v>0.761120028535758</c:v>
                </c:pt>
                <c:pt idx="42677">
                  <c:v>0.76113786338505396</c:v>
                </c:pt>
                <c:pt idx="42678">
                  <c:v>0.76115569823434903</c:v>
                </c:pt>
                <c:pt idx="42679">
                  <c:v>0.76117353308364499</c:v>
                </c:pt>
                <c:pt idx="42680">
                  <c:v>0.76119136793294095</c:v>
                </c:pt>
                <c:pt idx="42681">
                  <c:v>0.76120920278223603</c:v>
                </c:pt>
                <c:pt idx="42682">
                  <c:v>0.76122703763153199</c:v>
                </c:pt>
                <c:pt idx="42683">
                  <c:v>0.76124487248082695</c:v>
                </c:pt>
                <c:pt idx="42684">
                  <c:v>0.76126270733012302</c:v>
                </c:pt>
                <c:pt idx="42685">
                  <c:v>0.76128054217941798</c:v>
                </c:pt>
                <c:pt idx="42686">
                  <c:v>0.76129837702871395</c:v>
                </c:pt>
                <c:pt idx="42687">
                  <c:v>0.76131621187800902</c:v>
                </c:pt>
                <c:pt idx="42688">
                  <c:v>0.76133404672730498</c:v>
                </c:pt>
                <c:pt idx="42689">
                  <c:v>0.76135188157660005</c:v>
                </c:pt>
                <c:pt idx="42690">
                  <c:v>0.76136971642589601</c:v>
                </c:pt>
                <c:pt idx="42691">
                  <c:v>0.76138755127519098</c:v>
                </c:pt>
                <c:pt idx="42692">
                  <c:v>0.76140538612448705</c:v>
                </c:pt>
                <c:pt idx="42693">
                  <c:v>0.76142322097378201</c:v>
                </c:pt>
                <c:pt idx="42694">
                  <c:v>0.76144105582307797</c:v>
                </c:pt>
                <c:pt idx="42695">
                  <c:v>0.76145889067237305</c:v>
                </c:pt>
                <c:pt idx="42696">
                  <c:v>0.76147672552166901</c:v>
                </c:pt>
                <c:pt idx="42697">
                  <c:v>0.76149456037096397</c:v>
                </c:pt>
                <c:pt idx="42698">
                  <c:v>0.76151239522026004</c:v>
                </c:pt>
                <c:pt idx="42699">
                  <c:v>0.761530230069555</c:v>
                </c:pt>
                <c:pt idx="42700">
                  <c:v>0.76154806491885096</c:v>
                </c:pt>
                <c:pt idx="42701">
                  <c:v>0.76156589976814604</c:v>
                </c:pt>
                <c:pt idx="42702">
                  <c:v>0.761583734617442</c:v>
                </c:pt>
                <c:pt idx="42703">
                  <c:v>0.76160156946673796</c:v>
                </c:pt>
                <c:pt idx="42704">
                  <c:v>0.76161940431603303</c:v>
                </c:pt>
                <c:pt idx="42705">
                  <c:v>0.76163723916532899</c:v>
                </c:pt>
                <c:pt idx="42706">
                  <c:v>0.76165507401462396</c:v>
                </c:pt>
                <c:pt idx="42707">
                  <c:v>0.76167290886392003</c:v>
                </c:pt>
                <c:pt idx="42708">
                  <c:v>0.76169074371321499</c:v>
                </c:pt>
                <c:pt idx="42709">
                  <c:v>0.76170857856251095</c:v>
                </c:pt>
                <c:pt idx="42710">
                  <c:v>0.76172641341180602</c:v>
                </c:pt>
                <c:pt idx="42711">
                  <c:v>0.76174424826110199</c:v>
                </c:pt>
                <c:pt idx="42712">
                  <c:v>0.76176208311039695</c:v>
                </c:pt>
                <c:pt idx="42713">
                  <c:v>0.76177991795969302</c:v>
                </c:pt>
                <c:pt idx="42714">
                  <c:v>0.76179775280898798</c:v>
                </c:pt>
                <c:pt idx="42715">
                  <c:v>0.76181558765828405</c:v>
                </c:pt>
                <c:pt idx="42716">
                  <c:v>0.76183342250757902</c:v>
                </c:pt>
                <c:pt idx="42717">
                  <c:v>0.76185125735687498</c:v>
                </c:pt>
                <c:pt idx="42718">
                  <c:v>0.76186909220617005</c:v>
                </c:pt>
                <c:pt idx="42719">
                  <c:v>0.76188692705546601</c:v>
                </c:pt>
                <c:pt idx="42720">
                  <c:v>0.76190476190476097</c:v>
                </c:pt>
                <c:pt idx="42721">
                  <c:v>0.76192259675405705</c:v>
                </c:pt>
                <c:pt idx="42722">
                  <c:v>0.76194043160335201</c:v>
                </c:pt>
                <c:pt idx="42723">
                  <c:v>0.76195826645264797</c:v>
                </c:pt>
                <c:pt idx="42724">
                  <c:v>0.76197610130194404</c:v>
                </c:pt>
                <c:pt idx="42725">
                  <c:v>0.761993936151239</c:v>
                </c:pt>
                <c:pt idx="42726">
                  <c:v>0.76201177100053497</c:v>
                </c:pt>
                <c:pt idx="42727">
                  <c:v>0.76202960584983004</c:v>
                </c:pt>
                <c:pt idx="42728">
                  <c:v>0.762047440699126</c:v>
                </c:pt>
                <c:pt idx="42729">
                  <c:v>0.76206527554842096</c:v>
                </c:pt>
                <c:pt idx="42730">
                  <c:v>0.76208311039771703</c:v>
                </c:pt>
                <c:pt idx="42731">
                  <c:v>0.762100945247012</c:v>
                </c:pt>
                <c:pt idx="42732">
                  <c:v>0.76211878009630796</c:v>
                </c:pt>
                <c:pt idx="42733">
                  <c:v>0.76213661494560303</c:v>
                </c:pt>
                <c:pt idx="42734">
                  <c:v>0.76215444979489899</c:v>
                </c:pt>
                <c:pt idx="42735">
                  <c:v>0.76217228464419395</c:v>
                </c:pt>
                <c:pt idx="42736">
                  <c:v>0.76219011949349003</c:v>
                </c:pt>
                <c:pt idx="42737">
                  <c:v>0.76220795434278499</c:v>
                </c:pt>
                <c:pt idx="42738">
                  <c:v>0.76222578919208095</c:v>
                </c:pt>
                <c:pt idx="42739">
                  <c:v>0.76224362404137602</c:v>
                </c:pt>
                <c:pt idx="42740">
                  <c:v>0.76226145889067198</c:v>
                </c:pt>
                <c:pt idx="42741">
                  <c:v>0.76227929373996794</c:v>
                </c:pt>
                <c:pt idx="42742">
                  <c:v>0.76229712858926302</c:v>
                </c:pt>
                <c:pt idx="42743">
                  <c:v>0.76231496343855898</c:v>
                </c:pt>
                <c:pt idx="42744">
                  <c:v>0.76233279828785405</c:v>
                </c:pt>
                <c:pt idx="42745">
                  <c:v>0.76235063313715001</c:v>
                </c:pt>
                <c:pt idx="42746">
                  <c:v>0.76236846798644498</c:v>
                </c:pt>
                <c:pt idx="42747">
                  <c:v>0.76238630283574105</c:v>
                </c:pt>
                <c:pt idx="42748">
                  <c:v>0.76240413768503601</c:v>
                </c:pt>
                <c:pt idx="42749">
                  <c:v>0.76242197253433197</c:v>
                </c:pt>
                <c:pt idx="42750">
                  <c:v>0.76243980738362704</c:v>
                </c:pt>
                <c:pt idx="42751">
                  <c:v>0.76245764223292301</c:v>
                </c:pt>
                <c:pt idx="42752">
                  <c:v>0.76247547708221797</c:v>
                </c:pt>
                <c:pt idx="42753">
                  <c:v>0.76249331193151404</c:v>
                </c:pt>
                <c:pt idx="42754">
                  <c:v>0.762511146780809</c:v>
                </c:pt>
                <c:pt idx="42755">
                  <c:v>0.76252898163010496</c:v>
                </c:pt>
                <c:pt idx="42756">
                  <c:v>0.76254681647940004</c:v>
                </c:pt>
                <c:pt idx="42757">
                  <c:v>0.762564651328696</c:v>
                </c:pt>
                <c:pt idx="42758">
                  <c:v>0.76258248617799096</c:v>
                </c:pt>
                <c:pt idx="42759">
                  <c:v>0.76260032102728703</c:v>
                </c:pt>
                <c:pt idx="42760">
                  <c:v>0.76261815587658199</c:v>
                </c:pt>
                <c:pt idx="42761">
                  <c:v>0.76263599072587795</c:v>
                </c:pt>
                <c:pt idx="42762">
                  <c:v>0.76265382557517303</c:v>
                </c:pt>
                <c:pt idx="42763">
                  <c:v>0.76267166042446899</c:v>
                </c:pt>
                <c:pt idx="42764">
                  <c:v>0.76268949527376495</c:v>
                </c:pt>
                <c:pt idx="42765">
                  <c:v>0.76270733012306002</c:v>
                </c:pt>
                <c:pt idx="42766">
                  <c:v>0.76272516497235598</c:v>
                </c:pt>
                <c:pt idx="42767">
                  <c:v>0.76274299982165095</c:v>
                </c:pt>
                <c:pt idx="42768">
                  <c:v>0.76276083467094702</c:v>
                </c:pt>
                <c:pt idx="42769">
                  <c:v>0.76277866952024198</c:v>
                </c:pt>
                <c:pt idx="42770">
                  <c:v>0.76279650436953805</c:v>
                </c:pt>
                <c:pt idx="42771">
                  <c:v>0.76281433921883302</c:v>
                </c:pt>
                <c:pt idx="42772">
                  <c:v>0.76283217406812898</c:v>
                </c:pt>
                <c:pt idx="42773">
                  <c:v>0.76285000891742405</c:v>
                </c:pt>
                <c:pt idx="42774">
                  <c:v>0.76286784376672001</c:v>
                </c:pt>
                <c:pt idx="42775">
                  <c:v>0.76288567861601497</c:v>
                </c:pt>
                <c:pt idx="42776">
                  <c:v>0.76290351346531105</c:v>
                </c:pt>
                <c:pt idx="42777">
                  <c:v>0.76292134831460601</c:v>
                </c:pt>
                <c:pt idx="42778">
                  <c:v>0.76293918316390197</c:v>
                </c:pt>
                <c:pt idx="42779">
                  <c:v>0.76295701801319704</c:v>
                </c:pt>
                <c:pt idx="42780">
                  <c:v>0.762974852862493</c:v>
                </c:pt>
                <c:pt idx="42781">
                  <c:v>0.76299268771178796</c:v>
                </c:pt>
                <c:pt idx="42782">
                  <c:v>0.76301052256108404</c:v>
                </c:pt>
                <c:pt idx="42783">
                  <c:v>0.763028357410379</c:v>
                </c:pt>
                <c:pt idx="42784">
                  <c:v>0.76304619225967496</c:v>
                </c:pt>
                <c:pt idx="42785">
                  <c:v>0.76306402710897003</c:v>
                </c:pt>
                <c:pt idx="42786">
                  <c:v>0.76308186195826599</c:v>
                </c:pt>
                <c:pt idx="42787">
                  <c:v>0.76309969680756196</c:v>
                </c:pt>
                <c:pt idx="42788">
                  <c:v>0.76311753165685703</c:v>
                </c:pt>
                <c:pt idx="42789">
                  <c:v>0.76313536650615299</c:v>
                </c:pt>
                <c:pt idx="42790">
                  <c:v>0.76315320135544795</c:v>
                </c:pt>
                <c:pt idx="42791">
                  <c:v>0.76317103620474402</c:v>
                </c:pt>
                <c:pt idx="42792">
                  <c:v>0.76318887105403899</c:v>
                </c:pt>
                <c:pt idx="42793">
                  <c:v>0.76320670590333495</c:v>
                </c:pt>
                <c:pt idx="42794">
                  <c:v>0.76322454075263002</c:v>
                </c:pt>
                <c:pt idx="42795">
                  <c:v>0.76324237560192598</c:v>
                </c:pt>
                <c:pt idx="42796">
                  <c:v>0.76326021045122106</c:v>
                </c:pt>
                <c:pt idx="42797">
                  <c:v>0.76327804530051702</c:v>
                </c:pt>
                <c:pt idx="42798">
                  <c:v>0.76329588014981198</c:v>
                </c:pt>
                <c:pt idx="42799">
                  <c:v>0.76331371499910805</c:v>
                </c:pt>
                <c:pt idx="42800">
                  <c:v>0.76333154984840301</c:v>
                </c:pt>
                <c:pt idx="42801">
                  <c:v>0.76334938469769897</c:v>
                </c:pt>
                <c:pt idx="42802">
                  <c:v>0.76336721954699405</c:v>
                </c:pt>
                <c:pt idx="42803">
                  <c:v>0.76338505439629001</c:v>
                </c:pt>
                <c:pt idx="42804">
                  <c:v>0.76340288924558497</c:v>
                </c:pt>
                <c:pt idx="42805">
                  <c:v>0.76342072409488104</c:v>
                </c:pt>
                <c:pt idx="42806">
                  <c:v>0.763438558944176</c:v>
                </c:pt>
                <c:pt idx="42807">
                  <c:v>0.76345639379347197</c:v>
                </c:pt>
                <c:pt idx="42808">
                  <c:v>0.76347422864276704</c:v>
                </c:pt>
                <c:pt idx="42809">
                  <c:v>0.763492063492063</c:v>
                </c:pt>
                <c:pt idx="42810">
                  <c:v>0.76350989834135896</c:v>
                </c:pt>
                <c:pt idx="42811">
                  <c:v>0.76352773319065403</c:v>
                </c:pt>
                <c:pt idx="42812">
                  <c:v>0.76354556803995</c:v>
                </c:pt>
                <c:pt idx="42813">
                  <c:v>0.76356340288924496</c:v>
                </c:pt>
                <c:pt idx="42814">
                  <c:v>0.76358123773854103</c:v>
                </c:pt>
                <c:pt idx="42815">
                  <c:v>0.76359907258783599</c:v>
                </c:pt>
                <c:pt idx="42816">
                  <c:v>0.76361690743713195</c:v>
                </c:pt>
                <c:pt idx="42817">
                  <c:v>0.76363474228642703</c:v>
                </c:pt>
                <c:pt idx="42818">
                  <c:v>0.76365257713572299</c:v>
                </c:pt>
                <c:pt idx="42819">
                  <c:v>0.76367041198501795</c:v>
                </c:pt>
                <c:pt idx="42820">
                  <c:v>0.76368824683431402</c:v>
                </c:pt>
                <c:pt idx="42821">
                  <c:v>0.76370608168360898</c:v>
                </c:pt>
                <c:pt idx="42822">
                  <c:v>0.76372391653290495</c:v>
                </c:pt>
                <c:pt idx="42823">
                  <c:v>0.76374175138220002</c:v>
                </c:pt>
                <c:pt idx="42824">
                  <c:v>0.76375958623149598</c:v>
                </c:pt>
                <c:pt idx="42825">
                  <c:v>0.76377742108079105</c:v>
                </c:pt>
                <c:pt idx="42826">
                  <c:v>0.76379525593008701</c:v>
                </c:pt>
                <c:pt idx="42827">
                  <c:v>0.76381309077938198</c:v>
                </c:pt>
                <c:pt idx="42828">
                  <c:v>0.76383092562867805</c:v>
                </c:pt>
                <c:pt idx="42829">
                  <c:v>0.76384876047797401</c:v>
                </c:pt>
                <c:pt idx="42830">
                  <c:v>0.76386659532726897</c:v>
                </c:pt>
                <c:pt idx="42831">
                  <c:v>0.76388443017656504</c:v>
                </c:pt>
                <c:pt idx="42832">
                  <c:v>0.76390226502586001</c:v>
                </c:pt>
                <c:pt idx="42833">
                  <c:v>0.76392009987515597</c:v>
                </c:pt>
                <c:pt idx="42834">
                  <c:v>0.76393793472445104</c:v>
                </c:pt>
                <c:pt idx="42835">
                  <c:v>0.763955769573747</c:v>
                </c:pt>
                <c:pt idx="42836">
                  <c:v>0.76397360442304196</c:v>
                </c:pt>
                <c:pt idx="42837">
                  <c:v>0.76399143927233804</c:v>
                </c:pt>
                <c:pt idx="42838">
                  <c:v>0.764009274121633</c:v>
                </c:pt>
                <c:pt idx="42839">
                  <c:v>0.76402710897092896</c:v>
                </c:pt>
                <c:pt idx="42840">
                  <c:v>0.76404494382022403</c:v>
                </c:pt>
                <c:pt idx="42841">
                  <c:v>0.76406277866951999</c:v>
                </c:pt>
                <c:pt idx="42842">
                  <c:v>0.76408061351881496</c:v>
                </c:pt>
                <c:pt idx="42843">
                  <c:v>0.76409844836811103</c:v>
                </c:pt>
                <c:pt idx="42844">
                  <c:v>0.76411628321740599</c:v>
                </c:pt>
                <c:pt idx="42845">
                  <c:v>0.76413411806670195</c:v>
                </c:pt>
                <c:pt idx="42846">
                  <c:v>0.76415195291599702</c:v>
                </c:pt>
                <c:pt idx="42847">
                  <c:v>0.76416978776529298</c:v>
                </c:pt>
                <c:pt idx="42848">
                  <c:v>0.76418762261458895</c:v>
                </c:pt>
                <c:pt idx="42849">
                  <c:v>0.76420545746388402</c:v>
                </c:pt>
                <c:pt idx="42850">
                  <c:v>0.76422329231317998</c:v>
                </c:pt>
                <c:pt idx="42851">
                  <c:v>0.76424112716247505</c:v>
                </c:pt>
                <c:pt idx="42852">
                  <c:v>0.76425896201177101</c:v>
                </c:pt>
                <c:pt idx="42853">
                  <c:v>0.76427679686106598</c:v>
                </c:pt>
                <c:pt idx="42854">
                  <c:v>0.76429463171036205</c:v>
                </c:pt>
                <c:pt idx="42855">
                  <c:v>0.76431246655965701</c:v>
                </c:pt>
                <c:pt idx="42856">
                  <c:v>0.76433030140895297</c:v>
                </c:pt>
                <c:pt idx="42857">
                  <c:v>0.76434813625824805</c:v>
                </c:pt>
                <c:pt idx="42858">
                  <c:v>0.76436597110754401</c:v>
                </c:pt>
                <c:pt idx="42859">
                  <c:v>0.76438380595683897</c:v>
                </c:pt>
                <c:pt idx="42860">
                  <c:v>0.76440164080613504</c:v>
                </c:pt>
                <c:pt idx="42861">
                  <c:v>0.76441947565543</c:v>
                </c:pt>
                <c:pt idx="42862">
                  <c:v>0.76443731050472596</c:v>
                </c:pt>
                <c:pt idx="42863">
                  <c:v>0.76445514535402104</c:v>
                </c:pt>
                <c:pt idx="42864">
                  <c:v>0.764472980203317</c:v>
                </c:pt>
                <c:pt idx="42865">
                  <c:v>0.76449081505261196</c:v>
                </c:pt>
                <c:pt idx="42866">
                  <c:v>0.76450864990190803</c:v>
                </c:pt>
                <c:pt idx="42867">
                  <c:v>0.76452648475120299</c:v>
                </c:pt>
                <c:pt idx="42868">
                  <c:v>0.76454431960049896</c:v>
                </c:pt>
                <c:pt idx="42869">
                  <c:v>0.76456215444979403</c:v>
                </c:pt>
                <c:pt idx="42870">
                  <c:v>0.76457998929908999</c:v>
                </c:pt>
                <c:pt idx="42871">
                  <c:v>0.76459782414838595</c:v>
                </c:pt>
                <c:pt idx="42872">
                  <c:v>0.76461565899768102</c:v>
                </c:pt>
                <c:pt idx="42873">
                  <c:v>0.76463349384697699</c:v>
                </c:pt>
                <c:pt idx="42874">
                  <c:v>0.76465132869627195</c:v>
                </c:pt>
                <c:pt idx="42875">
                  <c:v>0.76466916354556802</c:v>
                </c:pt>
                <c:pt idx="42876">
                  <c:v>0.76468699839486298</c:v>
                </c:pt>
                <c:pt idx="42877">
                  <c:v>0.76470483324415905</c:v>
                </c:pt>
                <c:pt idx="42878">
                  <c:v>0.76472266809345402</c:v>
                </c:pt>
                <c:pt idx="42879">
                  <c:v>0.76474050294274998</c:v>
                </c:pt>
                <c:pt idx="42880">
                  <c:v>0.76475833779204505</c:v>
                </c:pt>
                <c:pt idx="42881">
                  <c:v>0.76477617264134101</c:v>
                </c:pt>
                <c:pt idx="42882">
                  <c:v>0.76479400749063597</c:v>
                </c:pt>
                <c:pt idx="42883">
                  <c:v>0.76481184233993205</c:v>
                </c:pt>
                <c:pt idx="42884">
                  <c:v>0.76482967718922701</c:v>
                </c:pt>
                <c:pt idx="42885">
                  <c:v>0.76484751203852297</c:v>
                </c:pt>
                <c:pt idx="42886">
                  <c:v>0.76486534688781804</c:v>
                </c:pt>
                <c:pt idx="42887">
                  <c:v>0.764883181737114</c:v>
                </c:pt>
                <c:pt idx="42888">
                  <c:v>0.76490101658640897</c:v>
                </c:pt>
                <c:pt idx="42889">
                  <c:v>0.76491885143570504</c:v>
                </c:pt>
                <c:pt idx="42890">
                  <c:v>0.764936686285</c:v>
                </c:pt>
                <c:pt idx="42891">
                  <c:v>0.76495452113429596</c:v>
                </c:pt>
                <c:pt idx="42892">
                  <c:v>0.76497235598359103</c:v>
                </c:pt>
                <c:pt idx="42893">
                  <c:v>0.764990190832887</c:v>
                </c:pt>
                <c:pt idx="42894">
                  <c:v>0.76500802568218296</c:v>
                </c:pt>
                <c:pt idx="42895">
                  <c:v>0.76502586053147803</c:v>
                </c:pt>
                <c:pt idx="42896">
                  <c:v>0.76504369538077399</c:v>
                </c:pt>
                <c:pt idx="42897">
                  <c:v>0.76506153023006895</c:v>
                </c:pt>
                <c:pt idx="42898">
                  <c:v>0.76507936507936503</c:v>
                </c:pt>
                <c:pt idx="42899">
                  <c:v>0.76509719992865999</c:v>
                </c:pt>
                <c:pt idx="42900">
                  <c:v>0.76511503477795595</c:v>
                </c:pt>
                <c:pt idx="42901">
                  <c:v>0.76513286962725102</c:v>
                </c:pt>
                <c:pt idx="42902">
                  <c:v>0.76515070447654698</c:v>
                </c:pt>
                <c:pt idx="42903">
                  <c:v>0.76516853932584195</c:v>
                </c:pt>
                <c:pt idx="42904">
                  <c:v>0.76518637417513802</c:v>
                </c:pt>
                <c:pt idx="42905">
                  <c:v>0.76520420902443298</c:v>
                </c:pt>
                <c:pt idx="42906">
                  <c:v>0.76522204387372905</c:v>
                </c:pt>
                <c:pt idx="42907">
                  <c:v>0.76523987872302401</c:v>
                </c:pt>
                <c:pt idx="42908">
                  <c:v>0.76525771357231998</c:v>
                </c:pt>
                <c:pt idx="42909">
                  <c:v>0.76527554842161505</c:v>
                </c:pt>
                <c:pt idx="42910">
                  <c:v>0.76529338327091101</c:v>
                </c:pt>
                <c:pt idx="42911">
                  <c:v>0.76531121812020597</c:v>
                </c:pt>
                <c:pt idx="42912">
                  <c:v>0.76532905296950204</c:v>
                </c:pt>
                <c:pt idx="42913">
                  <c:v>0.76534688781879701</c:v>
                </c:pt>
                <c:pt idx="42914">
                  <c:v>0.76536472266809297</c:v>
                </c:pt>
                <c:pt idx="42915">
                  <c:v>0.76538255751738804</c:v>
                </c:pt>
                <c:pt idx="42916">
                  <c:v>0.765400392366684</c:v>
                </c:pt>
                <c:pt idx="42917">
                  <c:v>0.76541822721597996</c:v>
                </c:pt>
                <c:pt idx="42918">
                  <c:v>0.76543606206527504</c:v>
                </c:pt>
                <c:pt idx="42919">
                  <c:v>0.765453896914571</c:v>
                </c:pt>
                <c:pt idx="42920">
                  <c:v>0.76547173176386596</c:v>
                </c:pt>
                <c:pt idx="42921">
                  <c:v>0.76548956661316203</c:v>
                </c:pt>
                <c:pt idx="42922">
                  <c:v>0.76550740146245699</c:v>
                </c:pt>
                <c:pt idx="42923">
                  <c:v>0.76552523631175295</c:v>
                </c:pt>
                <c:pt idx="42924">
                  <c:v>0.76554307116104803</c:v>
                </c:pt>
                <c:pt idx="42925">
                  <c:v>0.76556090601034399</c:v>
                </c:pt>
                <c:pt idx="42926">
                  <c:v>0.76557874085963895</c:v>
                </c:pt>
                <c:pt idx="42927">
                  <c:v>0.76559657570893502</c:v>
                </c:pt>
                <c:pt idx="42928">
                  <c:v>0.76561441055822999</c:v>
                </c:pt>
                <c:pt idx="42929">
                  <c:v>0.76563224540752595</c:v>
                </c:pt>
                <c:pt idx="42930">
                  <c:v>0.76565008025682102</c:v>
                </c:pt>
                <c:pt idx="42931">
                  <c:v>0.76566791510611698</c:v>
                </c:pt>
                <c:pt idx="42932">
                  <c:v>0.76568574995541205</c:v>
                </c:pt>
                <c:pt idx="42933">
                  <c:v>0.76570358480470802</c:v>
                </c:pt>
                <c:pt idx="42934">
                  <c:v>0.76572141965400398</c:v>
                </c:pt>
                <c:pt idx="42935">
                  <c:v>0.76573925450329905</c:v>
                </c:pt>
                <c:pt idx="42936">
                  <c:v>0.76575708935259501</c:v>
                </c:pt>
                <c:pt idx="42937">
                  <c:v>0.76577492420188997</c:v>
                </c:pt>
                <c:pt idx="42938">
                  <c:v>0.76579275905118604</c:v>
                </c:pt>
                <c:pt idx="42939">
                  <c:v>0.76581059390048101</c:v>
                </c:pt>
                <c:pt idx="42940">
                  <c:v>0.76582842874977697</c:v>
                </c:pt>
                <c:pt idx="42941">
                  <c:v>0.76584626359907204</c:v>
                </c:pt>
                <c:pt idx="42942">
                  <c:v>0.765864098448368</c:v>
                </c:pt>
                <c:pt idx="42943">
                  <c:v>0.76588193329766296</c:v>
                </c:pt>
                <c:pt idx="42944">
                  <c:v>0.76589976814695904</c:v>
                </c:pt>
                <c:pt idx="42945">
                  <c:v>0.765917602996254</c:v>
                </c:pt>
                <c:pt idx="42946">
                  <c:v>0.76593543784554996</c:v>
                </c:pt>
                <c:pt idx="42947">
                  <c:v>0.76595327269484503</c:v>
                </c:pt>
                <c:pt idx="42948">
                  <c:v>0.76597110754414099</c:v>
                </c:pt>
                <c:pt idx="42949">
                  <c:v>0.76598894239343596</c:v>
                </c:pt>
                <c:pt idx="42950">
                  <c:v>0.76600677724273203</c:v>
                </c:pt>
                <c:pt idx="42951">
                  <c:v>0.76602461209202699</c:v>
                </c:pt>
                <c:pt idx="42952">
                  <c:v>0.76604244694132295</c:v>
                </c:pt>
                <c:pt idx="42953">
                  <c:v>0.76606028179061803</c:v>
                </c:pt>
                <c:pt idx="42954">
                  <c:v>0.76607811663991399</c:v>
                </c:pt>
                <c:pt idx="42955">
                  <c:v>0.76609595148920995</c:v>
                </c:pt>
                <c:pt idx="42956">
                  <c:v>0.76611378633850502</c:v>
                </c:pt>
                <c:pt idx="42957">
                  <c:v>0.76613162118780098</c:v>
                </c:pt>
                <c:pt idx="42958">
                  <c:v>0.76614945603709605</c:v>
                </c:pt>
                <c:pt idx="42959">
                  <c:v>0.76616729088639202</c:v>
                </c:pt>
                <c:pt idx="42960">
                  <c:v>0.76618512573568698</c:v>
                </c:pt>
                <c:pt idx="42961">
                  <c:v>0.76620296058498305</c:v>
                </c:pt>
                <c:pt idx="42962">
                  <c:v>0.76622079543427801</c:v>
                </c:pt>
                <c:pt idx="42963">
                  <c:v>0.76623863028357397</c:v>
                </c:pt>
                <c:pt idx="42964">
                  <c:v>0.76625646513286905</c:v>
                </c:pt>
                <c:pt idx="42965">
                  <c:v>0.76627429998216501</c:v>
                </c:pt>
                <c:pt idx="42966">
                  <c:v>0.76629213483145997</c:v>
                </c:pt>
                <c:pt idx="42967">
                  <c:v>0.76630996968075604</c:v>
                </c:pt>
                <c:pt idx="42968">
                  <c:v>0.766327804530051</c:v>
                </c:pt>
                <c:pt idx="42969">
                  <c:v>0.76634563937934697</c:v>
                </c:pt>
                <c:pt idx="42970">
                  <c:v>0.76636347422864204</c:v>
                </c:pt>
                <c:pt idx="42971">
                  <c:v>0.766381309077938</c:v>
                </c:pt>
                <c:pt idx="42972">
                  <c:v>0.76639914392723296</c:v>
                </c:pt>
                <c:pt idx="42973">
                  <c:v>0.76641697877652903</c:v>
                </c:pt>
                <c:pt idx="42974">
                  <c:v>0.766434813625824</c:v>
                </c:pt>
                <c:pt idx="42975">
                  <c:v>0.76645264847511996</c:v>
                </c:pt>
                <c:pt idx="42976">
                  <c:v>0.76647048332441503</c:v>
                </c:pt>
                <c:pt idx="42977">
                  <c:v>0.76648831817371099</c:v>
                </c:pt>
                <c:pt idx="42978">
                  <c:v>0.76650615302300695</c:v>
                </c:pt>
                <c:pt idx="42979">
                  <c:v>0.76652398787230203</c:v>
                </c:pt>
                <c:pt idx="42980">
                  <c:v>0.76654182272159799</c:v>
                </c:pt>
                <c:pt idx="42981">
                  <c:v>0.76655965757089295</c:v>
                </c:pt>
                <c:pt idx="42982">
                  <c:v>0.76657749242018902</c:v>
                </c:pt>
                <c:pt idx="42983">
                  <c:v>0.76659532726948398</c:v>
                </c:pt>
                <c:pt idx="42984">
                  <c:v>0.76661316211877994</c:v>
                </c:pt>
                <c:pt idx="42985">
                  <c:v>0.76663099696807502</c:v>
                </c:pt>
                <c:pt idx="42986">
                  <c:v>0.76664883181737098</c:v>
                </c:pt>
                <c:pt idx="42987">
                  <c:v>0.76666666666666605</c:v>
                </c:pt>
                <c:pt idx="42988">
                  <c:v>0.76668450151596201</c:v>
                </c:pt>
                <c:pt idx="42989">
                  <c:v>0.76670233636525698</c:v>
                </c:pt>
                <c:pt idx="42990">
                  <c:v>0.76672017121455305</c:v>
                </c:pt>
                <c:pt idx="42991">
                  <c:v>0.76673800606384801</c:v>
                </c:pt>
                <c:pt idx="42992">
                  <c:v>0.76675584091314397</c:v>
                </c:pt>
                <c:pt idx="42993">
                  <c:v>0.76677367576243904</c:v>
                </c:pt>
                <c:pt idx="42994">
                  <c:v>0.76679151061173501</c:v>
                </c:pt>
                <c:pt idx="42995">
                  <c:v>0.76680934546102997</c:v>
                </c:pt>
                <c:pt idx="42996">
                  <c:v>0.76682718031032604</c:v>
                </c:pt>
                <c:pt idx="42997">
                  <c:v>0.766845015159621</c:v>
                </c:pt>
                <c:pt idx="42998">
                  <c:v>0.76686285000891696</c:v>
                </c:pt>
                <c:pt idx="42999">
                  <c:v>0.76688068485821204</c:v>
                </c:pt>
                <c:pt idx="43000">
                  <c:v>0.766898519707508</c:v>
                </c:pt>
                <c:pt idx="43001">
                  <c:v>0.76691635455680396</c:v>
                </c:pt>
                <c:pt idx="43002">
                  <c:v>0.76693418940609903</c:v>
                </c:pt>
                <c:pt idx="43003">
                  <c:v>0.76695202425539499</c:v>
                </c:pt>
                <c:pt idx="43004">
                  <c:v>0.76696985910468995</c:v>
                </c:pt>
                <c:pt idx="43005">
                  <c:v>0.76698769395398603</c:v>
                </c:pt>
                <c:pt idx="43006">
                  <c:v>0.76700552880328099</c:v>
                </c:pt>
                <c:pt idx="43007">
                  <c:v>0.76702336365257695</c:v>
                </c:pt>
                <c:pt idx="43008">
                  <c:v>0.76704119850187202</c:v>
                </c:pt>
                <c:pt idx="43009">
                  <c:v>0.76705903335116798</c:v>
                </c:pt>
                <c:pt idx="43010">
                  <c:v>0.76707686820046295</c:v>
                </c:pt>
                <c:pt idx="43011">
                  <c:v>0.76709470304975902</c:v>
                </c:pt>
                <c:pt idx="43012">
                  <c:v>0.76711253789905398</c:v>
                </c:pt>
                <c:pt idx="43013">
                  <c:v>0.76713037274835005</c:v>
                </c:pt>
                <c:pt idx="43014">
                  <c:v>0.76714820759764502</c:v>
                </c:pt>
                <c:pt idx="43015">
                  <c:v>0.76716604244694098</c:v>
                </c:pt>
                <c:pt idx="43016">
                  <c:v>0.76718387729623605</c:v>
                </c:pt>
                <c:pt idx="43017">
                  <c:v>0.76720171214553201</c:v>
                </c:pt>
                <c:pt idx="43018">
                  <c:v>0.76721954699482697</c:v>
                </c:pt>
                <c:pt idx="43019">
                  <c:v>0.76723738184412305</c:v>
                </c:pt>
                <c:pt idx="43020">
                  <c:v>0.76725521669341801</c:v>
                </c:pt>
                <c:pt idx="43021">
                  <c:v>0.76727305154271397</c:v>
                </c:pt>
                <c:pt idx="43022">
                  <c:v>0.76729088639201004</c:v>
                </c:pt>
                <c:pt idx="43023">
                  <c:v>0.767308721241305</c:v>
                </c:pt>
                <c:pt idx="43024">
                  <c:v>0.76732655609060096</c:v>
                </c:pt>
                <c:pt idx="43025">
                  <c:v>0.76734439093989604</c:v>
                </c:pt>
                <c:pt idx="43026">
                  <c:v>0.767362225789192</c:v>
                </c:pt>
                <c:pt idx="43027">
                  <c:v>0.76738006063848696</c:v>
                </c:pt>
                <c:pt idx="43028">
                  <c:v>0.76739789548778303</c:v>
                </c:pt>
                <c:pt idx="43029">
                  <c:v>0.76741573033707799</c:v>
                </c:pt>
                <c:pt idx="43030">
                  <c:v>0.76743356518637396</c:v>
                </c:pt>
                <c:pt idx="43031">
                  <c:v>0.76745140003566903</c:v>
                </c:pt>
                <c:pt idx="43032">
                  <c:v>0.76746923488496499</c:v>
                </c:pt>
                <c:pt idx="43033">
                  <c:v>0.76748706973425995</c:v>
                </c:pt>
                <c:pt idx="43034">
                  <c:v>0.76750490458355602</c:v>
                </c:pt>
                <c:pt idx="43035">
                  <c:v>0.76752273943285099</c:v>
                </c:pt>
                <c:pt idx="43036">
                  <c:v>0.76754057428214695</c:v>
                </c:pt>
                <c:pt idx="43037">
                  <c:v>0.76755840913144202</c:v>
                </c:pt>
                <c:pt idx="43038">
                  <c:v>0.76757624398073798</c:v>
                </c:pt>
                <c:pt idx="43039">
                  <c:v>0.76759407883003306</c:v>
                </c:pt>
                <c:pt idx="43040">
                  <c:v>0.76761191367932902</c:v>
                </c:pt>
                <c:pt idx="43041">
                  <c:v>0.76762974852862498</c:v>
                </c:pt>
                <c:pt idx="43042">
                  <c:v>0.76764758337792005</c:v>
                </c:pt>
                <c:pt idx="43043">
                  <c:v>0.76766541822721601</c:v>
                </c:pt>
                <c:pt idx="43044">
                  <c:v>0.76768325307651097</c:v>
                </c:pt>
                <c:pt idx="43045">
                  <c:v>0.76770108792580705</c:v>
                </c:pt>
                <c:pt idx="43046">
                  <c:v>0.76771892277510201</c:v>
                </c:pt>
                <c:pt idx="43047">
                  <c:v>0.76773675762439797</c:v>
                </c:pt>
                <c:pt idx="43048">
                  <c:v>0.76775459247369304</c:v>
                </c:pt>
                <c:pt idx="43049">
                  <c:v>0.767772427322989</c:v>
                </c:pt>
                <c:pt idx="43050">
                  <c:v>0.76779026217228397</c:v>
                </c:pt>
                <c:pt idx="43051">
                  <c:v>0.76780809702158004</c:v>
                </c:pt>
                <c:pt idx="43052">
                  <c:v>0.767825931870875</c:v>
                </c:pt>
                <c:pt idx="43053">
                  <c:v>0.76784376672017096</c:v>
                </c:pt>
                <c:pt idx="43054">
                  <c:v>0.76786160156946603</c:v>
                </c:pt>
                <c:pt idx="43055">
                  <c:v>0.767879436418762</c:v>
                </c:pt>
                <c:pt idx="43056">
                  <c:v>0.76789727126805696</c:v>
                </c:pt>
                <c:pt idx="43057">
                  <c:v>0.76791510611735303</c:v>
                </c:pt>
                <c:pt idx="43058">
                  <c:v>0.76793294096664799</c:v>
                </c:pt>
                <c:pt idx="43059">
                  <c:v>0.76795077581594395</c:v>
                </c:pt>
                <c:pt idx="43060">
                  <c:v>0.76796861066523903</c:v>
                </c:pt>
                <c:pt idx="43061">
                  <c:v>0.76798644551453499</c:v>
                </c:pt>
                <c:pt idx="43062">
                  <c:v>0.76800428036383095</c:v>
                </c:pt>
                <c:pt idx="43063">
                  <c:v>0.76802211521312602</c:v>
                </c:pt>
                <c:pt idx="43064">
                  <c:v>0.76803995006242198</c:v>
                </c:pt>
                <c:pt idx="43065">
                  <c:v>0.76805778491171695</c:v>
                </c:pt>
                <c:pt idx="43066">
                  <c:v>0.76807561976101302</c:v>
                </c:pt>
                <c:pt idx="43067">
                  <c:v>0.76809345461030798</c:v>
                </c:pt>
                <c:pt idx="43068">
                  <c:v>0.76811128945960405</c:v>
                </c:pt>
                <c:pt idx="43069">
                  <c:v>0.76812912430889901</c:v>
                </c:pt>
                <c:pt idx="43070">
                  <c:v>0.76814695915819498</c:v>
                </c:pt>
                <c:pt idx="43071">
                  <c:v>0.76816479400749005</c:v>
                </c:pt>
                <c:pt idx="43072">
                  <c:v>0.76818262885678601</c:v>
                </c:pt>
                <c:pt idx="43073">
                  <c:v>0.76820046370608097</c:v>
                </c:pt>
                <c:pt idx="43074">
                  <c:v>0.76821829855537704</c:v>
                </c:pt>
                <c:pt idx="43075">
                  <c:v>0.76823613340467201</c:v>
                </c:pt>
                <c:pt idx="43076">
                  <c:v>0.76825396825396797</c:v>
                </c:pt>
                <c:pt idx="43077">
                  <c:v>0.76827180310326304</c:v>
                </c:pt>
                <c:pt idx="43078">
                  <c:v>0.768289637952559</c:v>
                </c:pt>
                <c:pt idx="43079">
                  <c:v>0.76830747280185396</c:v>
                </c:pt>
                <c:pt idx="43080">
                  <c:v>0.76832530765115004</c:v>
                </c:pt>
                <c:pt idx="43081">
                  <c:v>0.768343142500445</c:v>
                </c:pt>
                <c:pt idx="43082">
                  <c:v>0.76836097734974096</c:v>
                </c:pt>
                <c:pt idx="43083">
                  <c:v>0.76837881219903603</c:v>
                </c:pt>
                <c:pt idx="43084">
                  <c:v>0.76839664704833199</c:v>
                </c:pt>
                <c:pt idx="43085">
                  <c:v>0.76841448189762795</c:v>
                </c:pt>
                <c:pt idx="43086">
                  <c:v>0.76843231674692303</c:v>
                </c:pt>
                <c:pt idx="43087">
                  <c:v>0.76845015159621899</c:v>
                </c:pt>
                <c:pt idx="43088">
                  <c:v>0.76846798644551395</c:v>
                </c:pt>
                <c:pt idx="43089">
                  <c:v>0.76848582129481002</c:v>
                </c:pt>
                <c:pt idx="43090">
                  <c:v>0.76850365614410499</c:v>
                </c:pt>
                <c:pt idx="43091">
                  <c:v>0.76852149099340095</c:v>
                </c:pt>
                <c:pt idx="43092">
                  <c:v>0.76853932584269602</c:v>
                </c:pt>
                <c:pt idx="43093">
                  <c:v>0.76855716069199198</c:v>
                </c:pt>
                <c:pt idx="43094">
                  <c:v>0.76857499554128705</c:v>
                </c:pt>
                <c:pt idx="43095">
                  <c:v>0.76859283039058302</c:v>
                </c:pt>
                <c:pt idx="43096">
                  <c:v>0.76861066523987798</c:v>
                </c:pt>
                <c:pt idx="43097">
                  <c:v>0.76862850008917405</c:v>
                </c:pt>
                <c:pt idx="43098">
                  <c:v>0.76864633493846901</c:v>
                </c:pt>
                <c:pt idx="43099">
                  <c:v>0.76866416978776497</c:v>
                </c:pt>
                <c:pt idx="43100">
                  <c:v>0.76868200463706005</c:v>
                </c:pt>
                <c:pt idx="43101">
                  <c:v>0.76869983948635601</c:v>
                </c:pt>
                <c:pt idx="43102">
                  <c:v>0.76871767433565097</c:v>
                </c:pt>
                <c:pt idx="43103">
                  <c:v>0.76873550918494704</c:v>
                </c:pt>
                <c:pt idx="43104">
                  <c:v>0.768753344034242</c:v>
                </c:pt>
                <c:pt idx="43105">
                  <c:v>0.76877117888353796</c:v>
                </c:pt>
                <c:pt idx="43106">
                  <c:v>0.76878901373283304</c:v>
                </c:pt>
                <c:pt idx="43107">
                  <c:v>0.768806848582129</c:v>
                </c:pt>
                <c:pt idx="43108">
                  <c:v>0.76882468343142496</c:v>
                </c:pt>
                <c:pt idx="43109">
                  <c:v>0.76884251828072003</c:v>
                </c:pt>
                <c:pt idx="43110">
                  <c:v>0.76886035313001599</c:v>
                </c:pt>
                <c:pt idx="43111">
                  <c:v>0.76887818797931096</c:v>
                </c:pt>
                <c:pt idx="43112">
                  <c:v>0.76889602282860703</c:v>
                </c:pt>
                <c:pt idx="43113">
                  <c:v>0.76891385767790199</c:v>
                </c:pt>
                <c:pt idx="43114">
                  <c:v>0.76893169252719795</c:v>
                </c:pt>
                <c:pt idx="43115">
                  <c:v>0.76894952737649302</c:v>
                </c:pt>
                <c:pt idx="43116">
                  <c:v>0.76896736222578899</c:v>
                </c:pt>
                <c:pt idx="43117">
                  <c:v>0.76898519707508395</c:v>
                </c:pt>
                <c:pt idx="43118">
                  <c:v>0.76900303192438002</c:v>
                </c:pt>
                <c:pt idx="43119">
                  <c:v>0.76902086677367498</c:v>
                </c:pt>
                <c:pt idx="43120">
                  <c:v>0.76903870162297105</c:v>
                </c:pt>
                <c:pt idx="43121">
                  <c:v>0.76905653647226602</c:v>
                </c:pt>
                <c:pt idx="43122">
                  <c:v>0.76907437132156198</c:v>
                </c:pt>
                <c:pt idx="43123">
                  <c:v>0.76909220617085705</c:v>
                </c:pt>
                <c:pt idx="43124">
                  <c:v>0.76911004102015301</c:v>
                </c:pt>
                <c:pt idx="43125">
                  <c:v>0.76912787586944797</c:v>
                </c:pt>
                <c:pt idx="43126">
                  <c:v>0.76914571071874405</c:v>
                </c:pt>
                <c:pt idx="43127">
                  <c:v>0.76916354556803901</c:v>
                </c:pt>
                <c:pt idx="43128">
                  <c:v>0.76918138041733497</c:v>
                </c:pt>
                <c:pt idx="43129">
                  <c:v>0.76919921526663104</c:v>
                </c:pt>
                <c:pt idx="43130">
                  <c:v>0.769217050115926</c:v>
                </c:pt>
                <c:pt idx="43131">
                  <c:v>0.76923488496522197</c:v>
                </c:pt>
                <c:pt idx="43132">
                  <c:v>0.76925271981451704</c:v>
                </c:pt>
                <c:pt idx="43133">
                  <c:v>0.769270554663813</c:v>
                </c:pt>
                <c:pt idx="43134">
                  <c:v>0.76928838951310796</c:v>
                </c:pt>
                <c:pt idx="43135">
                  <c:v>0.76930622436240403</c:v>
                </c:pt>
                <c:pt idx="43136">
                  <c:v>0.769324059211699</c:v>
                </c:pt>
                <c:pt idx="43137">
                  <c:v>0.76934189406099496</c:v>
                </c:pt>
                <c:pt idx="43138">
                  <c:v>0.76935972891029003</c:v>
                </c:pt>
                <c:pt idx="43139">
                  <c:v>0.76937756375958599</c:v>
                </c:pt>
                <c:pt idx="43140">
                  <c:v>0.76939539860888095</c:v>
                </c:pt>
                <c:pt idx="43141">
                  <c:v>0.76941323345817703</c:v>
                </c:pt>
                <c:pt idx="43142">
                  <c:v>0.76943106830747199</c:v>
                </c:pt>
                <c:pt idx="43143">
                  <c:v>0.76944890315676795</c:v>
                </c:pt>
                <c:pt idx="43144">
                  <c:v>0.76946673800606302</c:v>
                </c:pt>
                <c:pt idx="43145">
                  <c:v>0.76948457285535898</c:v>
                </c:pt>
                <c:pt idx="43146">
                  <c:v>0.76950240770465494</c:v>
                </c:pt>
                <c:pt idx="43147">
                  <c:v>0.76952024255395002</c:v>
                </c:pt>
                <c:pt idx="43148">
                  <c:v>0.76953807740324598</c:v>
                </c:pt>
                <c:pt idx="43149">
                  <c:v>0.76955591225254105</c:v>
                </c:pt>
                <c:pt idx="43150">
                  <c:v>0.76957374710183701</c:v>
                </c:pt>
                <c:pt idx="43151">
                  <c:v>0.76959158195113198</c:v>
                </c:pt>
                <c:pt idx="43152">
                  <c:v>0.76960941680042805</c:v>
                </c:pt>
                <c:pt idx="43153">
                  <c:v>0.76962725164972301</c:v>
                </c:pt>
                <c:pt idx="43154">
                  <c:v>0.76964508649901897</c:v>
                </c:pt>
                <c:pt idx="43155">
                  <c:v>0.76966292134831404</c:v>
                </c:pt>
                <c:pt idx="43156">
                  <c:v>0.76968075619761001</c:v>
                </c:pt>
                <c:pt idx="43157">
                  <c:v>0.76969859104690497</c:v>
                </c:pt>
                <c:pt idx="43158">
                  <c:v>0.76971642589620104</c:v>
                </c:pt>
                <c:pt idx="43159">
                  <c:v>0.769734260745496</c:v>
                </c:pt>
                <c:pt idx="43160">
                  <c:v>0.76975209559479196</c:v>
                </c:pt>
                <c:pt idx="43161">
                  <c:v>0.76976993044408704</c:v>
                </c:pt>
                <c:pt idx="43162">
                  <c:v>0.769787765293383</c:v>
                </c:pt>
                <c:pt idx="43163">
                  <c:v>0.76980560014267796</c:v>
                </c:pt>
                <c:pt idx="43164">
                  <c:v>0.76982343499197403</c:v>
                </c:pt>
                <c:pt idx="43165">
                  <c:v>0.76984126984126899</c:v>
                </c:pt>
                <c:pt idx="43166">
                  <c:v>0.76985910469056495</c:v>
                </c:pt>
                <c:pt idx="43167">
                  <c:v>0.76987693953986003</c:v>
                </c:pt>
                <c:pt idx="43168">
                  <c:v>0.76989477438915599</c:v>
                </c:pt>
                <c:pt idx="43169">
                  <c:v>0.76991260923845195</c:v>
                </c:pt>
                <c:pt idx="43170">
                  <c:v>0.76993044408774702</c:v>
                </c:pt>
                <c:pt idx="43171">
                  <c:v>0.76994827893704298</c:v>
                </c:pt>
                <c:pt idx="43172">
                  <c:v>0.76996611378633795</c:v>
                </c:pt>
                <c:pt idx="43173">
                  <c:v>0.76998394863563402</c:v>
                </c:pt>
                <c:pt idx="43174">
                  <c:v>0.77000178348492898</c:v>
                </c:pt>
                <c:pt idx="43175">
                  <c:v>0.77001961833422505</c:v>
                </c:pt>
                <c:pt idx="43176">
                  <c:v>0.77003745318352002</c:v>
                </c:pt>
                <c:pt idx="43177">
                  <c:v>0.77005528803281598</c:v>
                </c:pt>
                <c:pt idx="43178">
                  <c:v>0.77007312288211105</c:v>
                </c:pt>
                <c:pt idx="43179">
                  <c:v>0.77009095773140701</c:v>
                </c:pt>
                <c:pt idx="43180">
                  <c:v>0.77010879258070197</c:v>
                </c:pt>
                <c:pt idx="43181">
                  <c:v>0.77012662742999805</c:v>
                </c:pt>
                <c:pt idx="43182">
                  <c:v>0.77014446227929301</c:v>
                </c:pt>
                <c:pt idx="43183">
                  <c:v>0.77016229712858897</c:v>
                </c:pt>
                <c:pt idx="43184">
                  <c:v>0.77018013197788404</c:v>
                </c:pt>
                <c:pt idx="43185">
                  <c:v>0.77019796682718</c:v>
                </c:pt>
                <c:pt idx="43186">
                  <c:v>0.77021580167647496</c:v>
                </c:pt>
                <c:pt idx="43187">
                  <c:v>0.77023363652577104</c:v>
                </c:pt>
                <c:pt idx="43188">
                  <c:v>0.770251471375066</c:v>
                </c:pt>
                <c:pt idx="43189">
                  <c:v>0.77026930622436196</c:v>
                </c:pt>
                <c:pt idx="43190">
                  <c:v>0.77028714107365703</c:v>
                </c:pt>
                <c:pt idx="43191">
                  <c:v>0.77030497592295299</c:v>
                </c:pt>
                <c:pt idx="43192">
                  <c:v>0.77032281077224896</c:v>
                </c:pt>
                <c:pt idx="43193">
                  <c:v>0.77034064562154403</c:v>
                </c:pt>
                <c:pt idx="43194">
                  <c:v>0.77035848047083999</c:v>
                </c:pt>
                <c:pt idx="43195">
                  <c:v>0.77037631532013495</c:v>
                </c:pt>
                <c:pt idx="43196">
                  <c:v>0.77039415016943102</c:v>
                </c:pt>
                <c:pt idx="43197">
                  <c:v>0.77041198501872599</c:v>
                </c:pt>
                <c:pt idx="43198">
                  <c:v>0.77042981986802195</c:v>
                </c:pt>
                <c:pt idx="43199">
                  <c:v>0.77044765471731702</c:v>
                </c:pt>
                <c:pt idx="43200">
                  <c:v>0.77046548956661298</c:v>
                </c:pt>
                <c:pt idx="43201">
                  <c:v>0.77048332441590806</c:v>
                </c:pt>
                <c:pt idx="43202">
                  <c:v>0.77050115926520402</c:v>
                </c:pt>
                <c:pt idx="43203">
                  <c:v>0.77051899411449898</c:v>
                </c:pt>
                <c:pt idx="43204">
                  <c:v>0.77053682896379505</c:v>
                </c:pt>
                <c:pt idx="43205">
                  <c:v>0.77055466381309001</c:v>
                </c:pt>
                <c:pt idx="43206">
                  <c:v>0.77057249866238597</c:v>
                </c:pt>
                <c:pt idx="43207">
                  <c:v>0.77059033351168105</c:v>
                </c:pt>
                <c:pt idx="43208">
                  <c:v>0.77060816836097701</c:v>
                </c:pt>
                <c:pt idx="43209">
                  <c:v>0.77062600321027197</c:v>
                </c:pt>
                <c:pt idx="43210">
                  <c:v>0.77064383805956804</c:v>
                </c:pt>
                <c:pt idx="43211">
                  <c:v>0.770661672908863</c:v>
                </c:pt>
                <c:pt idx="43212">
                  <c:v>0.77067950775815897</c:v>
                </c:pt>
                <c:pt idx="43213">
                  <c:v>0.77069734260745404</c:v>
                </c:pt>
                <c:pt idx="43214">
                  <c:v>0.77071517745675</c:v>
                </c:pt>
                <c:pt idx="43215">
                  <c:v>0.77073301230604596</c:v>
                </c:pt>
                <c:pt idx="43216">
                  <c:v>0.77075084715534103</c:v>
                </c:pt>
                <c:pt idx="43217">
                  <c:v>0.770768682004637</c:v>
                </c:pt>
                <c:pt idx="43218">
                  <c:v>0.77078651685393196</c:v>
                </c:pt>
                <c:pt idx="43219">
                  <c:v>0.77080435170322803</c:v>
                </c:pt>
                <c:pt idx="43220">
                  <c:v>0.77082218655252299</c:v>
                </c:pt>
                <c:pt idx="43221">
                  <c:v>0.77084002140181895</c:v>
                </c:pt>
                <c:pt idx="43222">
                  <c:v>0.77085785625111403</c:v>
                </c:pt>
                <c:pt idx="43223">
                  <c:v>0.77087569110040999</c:v>
                </c:pt>
                <c:pt idx="43224">
                  <c:v>0.77089352594970495</c:v>
                </c:pt>
                <c:pt idx="43225">
                  <c:v>0.77091136079900102</c:v>
                </c:pt>
                <c:pt idx="43226">
                  <c:v>0.77092919564829598</c:v>
                </c:pt>
                <c:pt idx="43227">
                  <c:v>0.77094703049759195</c:v>
                </c:pt>
                <c:pt idx="43228">
                  <c:v>0.77096486534688702</c:v>
                </c:pt>
                <c:pt idx="43229">
                  <c:v>0.77098270019618298</c:v>
                </c:pt>
                <c:pt idx="43230">
                  <c:v>0.77100053504547805</c:v>
                </c:pt>
                <c:pt idx="43231">
                  <c:v>0.77101836989477401</c:v>
                </c:pt>
                <c:pt idx="43232">
                  <c:v>0.77103620474406898</c:v>
                </c:pt>
                <c:pt idx="43233">
                  <c:v>0.77105403959336505</c:v>
                </c:pt>
                <c:pt idx="43234">
                  <c:v>0.77107187444266101</c:v>
                </c:pt>
                <c:pt idx="43235">
                  <c:v>0.77108970929195597</c:v>
                </c:pt>
                <c:pt idx="43236">
                  <c:v>0.77110754414125204</c:v>
                </c:pt>
                <c:pt idx="43237">
                  <c:v>0.77112537899054701</c:v>
                </c:pt>
                <c:pt idx="43238">
                  <c:v>0.77114321383984297</c:v>
                </c:pt>
                <c:pt idx="43239">
                  <c:v>0.77116104868913804</c:v>
                </c:pt>
                <c:pt idx="43240">
                  <c:v>0.771178883538434</c:v>
                </c:pt>
                <c:pt idx="43241">
                  <c:v>0.77119671838772896</c:v>
                </c:pt>
                <c:pt idx="43242">
                  <c:v>0.77121455323702504</c:v>
                </c:pt>
                <c:pt idx="43243">
                  <c:v>0.77123238808632</c:v>
                </c:pt>
                <c:pt idx="43244">
                  <c:v>0.77125022293561596</c:v>
                </c:pt>
                <c:pt idx="43245">
                  <c:v>0.77126805778491103</c:v>
                </c:pt>
                <c:pt idx="43246">
                  <c:v>0.77128589263420699</c:v>
                </c:pt>
                <c:pt idx="43247">
                  <c:v>0.77130372748350196</c:v>
                </c:pt>
                <c:pt idx="43248">
                  <c:v>0.77132156233279803</c:v>
                </c:pt>
                <c:pt idx="43249">
                  <c:v>0.77133939718209299</c:v>
                </c:pt>
                <c:pt idx="43250">
                  <c:v>0.77135723203138895</c:v>
                </c:pt>
                <c:pt idx="43251">
                  <c:v>0.77137506688068402</c:v>
                </c:pt>
                <c:pt idx="43252">
                  <c:v>0.77139290172997999</c:v>
                </c:pt>
                <c:pt idx="43253">
                  <c:v>0.77141073657927595</c:v>
                </c:pt>
                <c:pt idx="43254">
                  <c:v>0.77142857142857102</c:v>
                </c:pt>
                <c:pt idx="43255">
                  <c:v>0.77144640627786698</c:v>
                </c:pt>
                <c:pt idx="43256">
                  <c:v>0.77146424112716205</c:v>
                </c:pt>
                <c:pt idx="43257">
                  <c:v>0.77148207597645801</c:v>
                </c:pt>
                <c:pt idx="43258">
                  <c:v>0.77149991082575298</c:v>
                </c:pt>
                <c:pt idx="43259">
                  <c:v>0.77151774567504905</c:v>
                </c:pt>
                <c:pt idx="43260">
                  <c:v>0.77153558052434401</c:v>
                </c:pt>
                <c:pt idx="43261">
                  <c:v>0.77155341537363997</c:v>
                </c:pt>
                <c:pt idx="43262">
                  <c:v>0.77157125022293505</c:v>
                </c:pt>
                <c:pt idx="43263">
                  <c:v>0.77158908507223101</c:v>
                </c:pt>
                <c:pt idx="43264">
                  <c:v>0.77160691992152597</c:v>
                </c:pt>
                <c:pt idx="43265">
                  <c:v>0.77162475477082204</c:v>
                </c:pt>
                <c:pt idx="43266">
                  <c:v>0.771642589620117</c:v>
                </c:pt>
                <c:pt idx="43267">
                  <c:v>0.77166042446941296</c:v>
                </c:pt>
                <c:pt idx="43268">
                  <c:v>0.77167825931870804</c:v>
                </c:pt>
                <c:pt idx="43269">
                  <c:v>0.771696094168004</c:v>
                </c:pt>
                <c:pt idx="43270">
                  <c:v>0.77171392901729896</c:v>
                </c:pt>
                <c:pt idx="43271">
                  <c:v>0.77173176386659503</c:v>
                </c:pt>
                <c:pt idx="43272">
                  <c:v>0.77174959871589</c:v>
                </c:pt>
                <c:pt idx="43273">
                  <c:v>0.77176743356518596</c:v>
                </c:pt>
                <c:pt idx="43274">
                  <c:v>0.77178526841448103</c:v>
                </c:pt>
                <c:pt idx="43275">
                  <c:v>0.77180310326377699</c:v>
                </c:pt>
                <c:pt idx="43276">
                  <c:v>0.77182093811307295</c:v>
                </c:pt>
                <c:pt idx="43277">
                  <c:v>0.77183877296236802</c:v>
                </c:pt>
                <c:pt idx="43278">
                  <c:v>0.77185660781166399</c:v>
                </c:pt>
                <c:pt idx="43279">
                  <c:v>0.77187444266095895</c:v>
                </c:pt>
                <c:pt idx="43280">
                  <c:v>0.77189227751025502</c:v>
                </c:pt>
                <c:pt idx="43281">
                  <c:v>0.77191011235954998</c:v>
                </c:pt>
                <c:pt idx="43282">
                  <c:v>0.77192794720884605</c:v>
                </c:pt>
                <c:pt idx="43283">
                  <c:v>0.77194578205814102</c:v>
                </c:pt>
                <c:pt idx="43284">
                  <c:v>0.77196361690743698</c:v>
                </c:pt>
                <c:pt idx="43285">
                  <c:v>0.77198145175673205</c:v>
                </c:pt>
                <c:pt idx="43286">
                  <c:v>0.77199928660602801</c:v>
                </c:pt>
                <c:pt idx="43287">
                  <c:v>0.77201712145532297</c:v>
                </c:pt>
                <c:pt idx="43288">
                  <c:v>0.77203495630461905</c:v>
                </c:pt>
                <c:pt idx="43289">
                  <c:v>0.77205279115391401</c:v>
                </c:pt>
                <c:pt idx="43290">
                  <c:v>0.77207062600320997</c:v>
                </c:pt>
                <c:pt idx="43291">
                  <c:v>0.77208846085250504</c:v>
                </c:pt>
                <c:pt idx="43292">
                  <c:v>0.772106295701801</c:v>
                </c:pt>
                <c:pt idx="43293">
                  <c:v>0.77212413055109597</c:v>
                </c:pt>
                <c:pt idx="43294">
                  <c:v>0.77214196540039204</c:v>
                </c:pt>
                <c:pt idx="43295">
                  <c:v>0.772159800249687</c:v>
                </c:pt>
                <c:pt idx="43296">
                  <c:v>0.77217763509898296</c:v>
                </c:pt>
                <c:pt idx="43297">
                  <c:v>0.77219546994827803</c:v>
                </c:pt>
                <c:pt idx="43298">
                  <c:v>0.772213304797574</c:v>
                </c:pt>
                <c:pt idx="43299">
                  <c:v>0.77223113964686996</c:v>
                </c:pt>
                <c:pt idx="43300">
                  <c:v>0.77224897449616503</c:v>
                </c:pt>
                <c:pt idx="43301">
                  <c:v>0.77226680934546099</c:v>
                </c:pt>
                <c:pt idx="43302">
                  <c:v>0.77228464419475595</c:v>
                </c:pt>
                <c:pt idx="43303">
                  <c:v>0.77230247904405203</c:v>
                </c:pt>
                <c:pt idx="43304">
                  <c:v>0.77232031389334699</c:v>
                </c:pt>
                <c:pt idx="43305">
                  <c:v>0.77233814874264295</c:v>
                </c:pt>
                <c:pt idx="43306">
                  <c:v>0.77235598359193802</c:v>
                </c:pt>
                <c:pt idx="43307">
                  <c:v>0.77237381844123398</c:v>
                </c:pt>
                <c:pt idx="43308">
                  <c:v>0.77239165329052895</c:v>
                </c:pt>
                <c:pt idx="43309">
                  <c:v>0.77240948813982502</c:v>
                </c:pt>
                <c:pt idx="43310">
                  <c:v>0.77242732298911998</c:v>
                </c:pt>
                <c:pt idx="43311">
                  <c:v>0.77244515783841605</c:v>
                </c:pt>
                <c:pt idx="43312">
                  <c:v>0.77246299268771101</c:v>
                </c:pt>
                <c:pt idx="43313">
                  <c:v>0.77248082753700698</c:v>
                </c:pt>
                <c:pt idx="43314">
                  <c:v>0.77249866238630205</c:v>
                </c:pt>
                <c:pt idx="43315">
                  <c:v>0.77251649723559801</c:v>
                </c:pt>
                <c:pt idx="43316">
                  <c:v>0.77253433208489297</c:v>
                </c:pt>
                <c:pt idx="43317">
                  <c:v>0.77255216693418904</c:v>
                </c:pt>
                <c:pt idx="43318">
                  <c:v>0.77257000178348401</c:v>
                </c:pt>
                <c:pt idx="43319">
                  <c:v>0.77258783663277997</c:v>
                </c:pt>
                <c:pt idx="43320">
                  <c:v>0.77260567148207504</c:v>
                </c:pt>
                <c:pt idx="43321">
                  <c:v>0.772623506331371</c:v>
                </c:pt>
                <c:pt idx="43322">
                  <c:v>0.77264134118066696</c:v>
                </c:pt>
                <c:pt idx="43323">
                  <c:v>0.77265917602996204</c:v>
                </c:pt>
                <c:pt idx="43324">
                  <c:v>0.772677010879258</c:v>
                </c:pt>
                <c:pt idx="43325">
                  <c:v>0.77269484572855296</c:v>
                </c:pt>
                <c:pt idx="43326">
                  <c:v>0.77271268057784903</c:v>
                </c:pt>
                <c:pt idx="43327">
                  <c:v>0.77273051542714399</c:v>
                </c:pt>
                <c:pt idx="43328">
                  <c:v>0.77274835027643995</c:v>
                </c:pt>
                <c:pt idx="43329">
                  <c:v>0.77276618512573503</c:v>
                </c:pt>
                <c:pt idx="43330">
                  <c:v>0.77278401997503099</c:v>
                </c:pt>
                <c:pt idx="43331">
                  <c:v>0.77280185482432595</c:v>
                </c:pt>
                <c:pt idx="43332">
                  <c:v>0.77281968967362202</c:v>
                </c:pt>
                <c:pt idx="43333">
                  <c:v>0.77283752452291699</c:v>
                </c:pt>
                <c:pt idx="43334">
                  <c:v>0.77285535937221295</c:v>
                </c:pt>
                <c:pt idx="43335">
                  <c:v>0.77287319422150802</c:v>
                </c:pt>
                <c:pt idx="43336">
                  <c:v>0.77289102907080398</c:v>
                </c:pt>
                <c:pt idx="43337">
                  <c:v>0.77290886392009905</c:v>
                </c:pt>
                <c:pt idx="43338">
                  <c:v>0.77292669876939502</c:v>
                </c:pt>
                <c:pt idx="43339">
                  <c:v>0.77294453361869098</c:v>
                </c:pt>
                <c:pt idx="43340">
                  <c:v>0.77296236846798605</c:v>
                </c:pt>
                <c:pt idx="43341">
                  <c:v>0.77298020331728201</c:v>
                </c:pt>
                <c:pt idx="43342">
                  <c:v>0.77299803816657697</c:v>
                </c:pt>
                <c:pt idx="43343">
                  <c:v>0.77301587301587305</c:v>
                </c:pt>
                <c:pt idx="43344">
                  <c:v>0.77303370786516801</c:v>
                </c:pt>
                <c:pt idx="43345">
                  <c:v>0.77305154271446397</c:v>
                </c:pt>
                <c:pt idx="43346">
                  <c:v>0.77306937756375904</c:v>
                </c:pt>
                <c:pt idx="43347">
                  <c:v>0.773087212413055</c:v>
                </c:pt>
                <c:pt idx="43348">
                  <c:v>0.77310504726234996</c:v>
                </c:pt>
                <c:pt idx="43349">
                  <c:v>0.77312288211164604</c:v>
                </c:pt>
                <c:pt idx="43350">
                  <c:v>0.773140716960941</c:v>
                </c:pt>
                <c:pt idx="43351">
                  <c:v>0.77315855181023696</c:v>
                </c:pt>
                <c:pt idx="43352">
                  <c:v>0.77317638665953203</c:v>
                </c:pt>
                <c:pt idx="43353">
                  <c:v>0.77319422150882799</c:v>
                </c:pt>
                <c:pt idx="43354">
                  <c:v>0.77321205635812296</c:v>
                </c:pt>
                <c:pt idx="43355">
                  <c:v>0.77322989120741903</c:v>
                </c:pt>
                <c:pt idx="43356">
                  <c:v>0.77324772605671399</c:v>
                </c:pt>
                <c:pt idx="43357">
                  <c:v>0.77326556090600995</c:v>
                </c:pt>
                <c:pt idx="43358">
                  <c:v>0.77328339575530503</c:v>
                </c:pt>
                <c:pt idx="43359">
                  <c:v>0.77330123060460099</c:v>
                </c:pt>
                <c:pt idx="43360">
                  <c:v>0.77331906545389695</c:v>
                </c:pt>
                <c:pt idx="43361">
                  <c:v>0.77333690030319202</c:v>
                </c:pt>
                <c:pt idx="43362">
                  <c:v>0.77335473515248798</c:v>
                </c:pt>
                <c:pt idx="43363">
                  <c:v>0.77337257000178306</c:v>
                </c:pt>
                <c:pt idx="43364">
                  <c:v>0.77339040485107902</c:v>
                </c:pt>
                <c:pt idx="43365">
                  <c:v>0.77340823970037398</c:v>
                </c:pt>
                <c:pt idx="43366">
                  <c:v>0.77342607454967005</c:v>
                </c:pt>
                <c:pt idx="43367">
                  <c:v>0.77344390939896501</c:v>
                </c:pt>
                <c:pt idx="43368">
                  <c:v>0.77346174424826097</c:v>
                </c:pt>
                <c:pt idx="43369">
                  <c:v>0.77347957909755605</c:v>
                </c:pt>
                <c:pt idx="43370">
                  <c:v>0.77349741394685201</c:v>
                </c:pt>
                <c:pt idx="43371">
                  <c:v>0.77351524879614697</c:v>
                </c:pt>
                <c:pt idx="43372">
                  <c:v>0.77353308364544304</c:v>
                </c:pt>
                <c:pt idx="43373">
                  <c:v>0.773550918494738</c:v>
                </c:pt>
                <c:pt idx="43374">
                  <c:v>0.77356875334403397</c:v>
                </c:pt>
                <c:pt idx="43375">
                  <c:v>0.77358658819332904</c:v>
                </c:pt>
                <c:pt idx="43376">
                  <c:v>0.773604423042625</c:v>
                </c:pt>
                <c:pt idx="43377">
                  <c:v>0.77362225789191996</c:v>
                </c:pt>
                <c:pt idx="43378">
                  <c:v>0.77364009274121603</c:v>
                </c:pt>
                <c:pt idx="43379">
                  <c:v>0.773657927590511</c:v>
                </c:pt>
                <c:pt idx="43380">
                  <c:v>0.77367576243980696</c:v>
                </c:pt>
                <c:pt idx="43381">
                  <c:v>0.77369359728910203</c:v>
                </c:pt>
                <c:pt idx="43382">
                  <c:v>0.77371143213839799</c:v>
                </c:pt>
                <c:pt idx="43383">
                  <c:v>0.77372926698769395</c:v>
                </c:pt>
                <c:pt idx="43384">
                  <c:v>0.77374710183698903</c:v>
                </c:pt>
                <c:pt idx="43385">
                  <c:v>0.77376493668628499</c:v>
                </c:pt>
                <c:pt idx="43386">
                  <c:v>0.77378277153557995</c:v>
                </c:pt>
                <c:pt idx="43387">
                  <c:v>0.77380060638487602</c:v>
                </c:pt>
                <c:pt idx="43388">
                  <c:v>0.77381844123417098</c:v>
                </c:pt>
                <c:pt idx="43389">
                  <c:v>0.77383627608346695</c:v>
                </c:pt>
                <c:pt idx="43390">
                  <c:v>0.77385411093276202</c:v>
                </c:pt>
                <c:pt idx="43391">
                  <c:v>0.77387194578205798</c:v>
                </c:pt>
                <c:pt idx="43392">
                  <c:v>0.77388978063135305</c:v>
                </c:pt>
                <c:pt idx="43393">
                  <c:v>0.77390761548064901</c:v>
                </c:pt>
                <c:pt idx="43394">
                  <c:v>0.77392545032994398</c:v>
                </c:pt>
                <c:pt idx="43395">
                  <c:v>0.77394328517924005</c:v>
                </c:pt>
                <c:pt idx="43396">
                  <c:v>0.77396112002853501</c:v>
                </c:pt>
                <c:pt idx="43397">
                  <c:v>0.77397895487783097</c:v>
                </c:pt>
                <c:pt idx="43398">
                  <c:v>0.77399678972712604</c:v>
                </c:pt>
                <c:pt idx="43399">
                  <c:v>0.77401462457642201</c:v>
                </c:pt>
                <c:pt idx="43400">
                  <c:v>0.77403245942571697</c:v>
                </c:pt>
                <c:pt idx="43401">
                  <c:v>0.77405029427501304</c:v>
                </c:pt>
                <c:pt idx="43402">
                  <c:v>0.774068129124308</c:v>
                </c:pt>
                <c:pt idx="43403">
                  <c:v>0.77408596397360396</c:v>
                </c:pt>
                <c:pt idx="43404">
                  <c:v>0.77410379882289904</c:v>
                </c:pt>
                <c:pt idx="43405">
                  <c:v>0.774121633672195</c:v>
                </c:pt>
                <c:pt idx="43406">
                  <c:v>0.77413946852149096</c:v>
                </c:pt>
                <c:pt idx="43407">
                  <c:v>0.77415730337078603</c:v>
                </c:pt>
                <c:pt idx="43408">
                  <c:v>0.77417513822008199</c:v>
                </c:pt>
                <c:pt idx="43409">
                  <c:v>0.77419297306937696</c:v>
                </c:pt>
                <c:pt idx="43410">
                  <c:v>0.77421080791867303</c:v>
                </c:pt>
                <c:pt idx="43411">
                  <c:v>0.77422864276796799</c:v>
                </c:pt>
                <c:pt idx="43412">
                  <c:v>0.77424647761726395</c:v>
                </c:pt>
                <c:pt idx="43413">
                  <c:v>0.77426431246655902</c:v>
                </c:pt>
                <c:pt idx="43414">
                  <c:v>0.77428214731585498</c:v>
                </c:pt>
                <c:pt idx="43415">
                  <c:v>0.77429998216514995</c:v>
                </c:pt>
                <c:pt idx="43416">
                  <c:v>0.77431781701444602</c:v>
                </c:pt>
                <c:pt idx="43417">
                  <c:v>0.77433565186374098</c:v>
                </c:pt>
                <c:pt idx="43418">
                  <c:v>0.77435348671303705</c:v>
                </c:pt>
                <c:pt idx="43419">
                  <c:v>0.77437132156233202</c:v>
                </c:pt>
                <c:pt idx="43420">
                  <c:v>0.77438915641162798</c:v>
                </c:pt>
                <c:pt idx="43421">
                  <c:v>0.77440699126092305</c:v>
                </c:pt>
                <c:pt idx="43422">
                  <c:v>0.77442482611021901</c:v>
                </c:pt>
                <c:pt idx="43423">
                  <c:v>0.77444266095951397</c:v>
                </c:pt>
                <c:pt idx="43424">
                  <c:v>0.77446049580881005</c:v>
                </c:pt>
                <c:pt idx="43425">
                  <c:v>0.77447833065810501</c:v>
                </c:pt>
                <c:pt idx="43426">
                  <c:v>0.77449616550740097</c:v>
                </c:pt>
                <c:pt idx="43427">
                  <c:v>0.77451400035669704</c:v>
                </c:pt>
                <c:pt idx="43428">
                  <c:v>0.774531835205992</c:v>
                </c:pt>
                <c:pt idx="43429">
                  <c:v>0.77454967005528796</c:v>
                </c:pt>
                <c:pt idx="43430">
                  <c:v>0.77456750490458304</c:v>
                </c:pt>
                <c:pt idx="43431">
                  <c:v>0.774585339753879</c:v>
                </c:pt>
                <c:pt idx="43432">
                  <c:v>0.77460317460317396</c:v>
                </c:pt>
                <c:pt idx="43433">
                  <c:v>0.77462100945247003</c:v>
                </c:pt>
                <c:pt idx="43434">
                  <c:v>0.77463884430176499</c:v>
                </c:pt>
                <c:pt idx="43435">
                  <c:v>0.77465667915106096</c:v>
                </c:pt>
                <c:pt idx="43436">
                  <c:v>0.77467451400035603</c:v>
                </c:pt>
                <c:pt idx="43437">
                  <c:v>0.77469234884965199</c:v>
                </c:pt>
                <c:pt idx="43438">
                  <c:v>0.77471018369894695</c:v>
                </c:pt>
                <c:pt idx="43439">
                  <c:v>0.77472801854824302</c:v>
                </c:pt>
                <c:pt idx="43440">
                  <c:v>0.77474585339753799</c:v>
                </c:pt>
                <c:pt idx="43441">
                  <c:v>0.77476368824683395</c:v>
                </c:pt>
                <c:pt idx="43442">
                  <c:v>0.77478152309612902</c:v>
                </c:pt>
                <c:pt idx="43443">
                  <c:v>0.77479935794542498</c:v>
                </c:pt>
                <c:pt idx="43444">
                  <c:v>0.77481719279472006</c:v>
                </c:pt>
                <c:pt idx="43445">
                  <c:v>0.77483502764401602</c:v>
                </c:pt>
                <c:pt idx="43446">
                  <c:v>0.77485286249331198</c:v>
                </c:pt>
                <c:pt idx="43447">
                  <c:v>0.77487069734260705</c:v>
                </c:pt>
                <c:pt idx="43448">
                  <c:v>0.77488853219190301</c:v>
                </c:pt>
                <c:pt idx="43449">
                  <c:v>0.77490636704119797</c:v>
                </c:pt>
                <c:pt idx="43450">
                  <c:v>0.77492420189049405</c:v>
                </c:pt>
                <c:pt idx="43451">
                  <c:v>0.77494203673978901</c:v>
                </c:pt>
                <c:pt idx="43452">
                  <c:v>0.77495987158908497</c:v>
                </c:pt>
                <c:pt idx="43453">
                  <c:v>0.77497770643838004</c:v>
                </c:pt>
                <c:pt idx="43454">
                  <c:v>0.774995541287676</c:v>
                </c:pt>
                <c:pt idx="43455">
                  <c:v>0.77501337613697097</c:v>
                </c:pt>
                <c:pt idx="43456">
                  <c:v>0.77503121098626704</c:v>
                </c:pt>
                <c:pt idx="43457">
                  <c:v>0.775049045835562</c:v>
                </c:pt>
                <c:pt idx="43458">
                  <c:v>0.77506688068485796</c:v>
                </c:pt>
                <c:pt idx="43459">
                  <c:v>0.77508471553415303</c:v>
                </c:pt>
                <c:pt idx="43460">
                  <c:v>0.775102550383449</c:v>
                </c:pt>
                <c:pt idx="43461">
                  <c:v>0.77512038523274396</c:v>
                </c:pt>
                <c:pt idx="43462">
                  <c:v>0.77513822008204003</c:v>
                </c:pt>
                <c:pt idx="43463">
                  <c:v>0.77515605493133499</c:v>
                </c:pt>
                <c:pt idx="43464">
                  <c:v>0.77517388978063095</c:v>
                </c:pt>
                <c:pt idx="43465">
                  <c:v>0.77519172462992603</c:v>
                </c:pt>
                <c:pt idx="43466">
                  <c:v>0.77520955947922199</c:v>
                </c:pt>
                <c:pt idx="43467">
                  <c:v>0.77522739432851795</c:v>
                </c:pt>
                <c:pt idx="43468">
                  <c:v>0.77524522917781302</c:v>
                </c:pt>
                <c:pt idx="43469">
                  <c:v>0.77526306402710898</c:v>
                </c:pt>
                <c:pt idx="43470">
                  <c:v>0.77528089887640395</c:v>
                </c:pt>
                <c:pt idx="43471">
                  <c:v>0.77529873372570002</c:v>
                </c:pt>
                <c:pt idx="43472">
                  <c:v>0.77531656857499498</c:v>
                </c:pt>
                <c:pt idx="43473">
                  <c:v>0.77533440342429105</c:v>
                </c:pt>
                <c:pt idx="43474">
                  <c:v>0.77535223827358601</c:v>
                </c:pt>
                <c:pt idx="43475">
                  <c:v>0.77537007312288198</c:v>
                </c:pt>
                <c:pt idx="43476">
                  <c:v>0.77538790797217705</c:v>
                </c:pt>
                <c:pt idx="43477">
                  <c:v>0.77540574282147301</c:v>
                </c:pt>
                <c:pt idx="43478">
                  <c:v>0.77542357767076797</c:v>
                </c:pt>
                <c:pt idx="43479">
                  <c:v>0.77544141252006404</c:v>
                </c:pt>
                <c:pt idx="43480">
                  <c:v>0.77545924736935901</c:v>
                </c:pt>
                <c:pt idx="43481">
                  <c:v>0.77547708221865497</c:v>
                </c:pt>
                <c:pt idx="43482">
                  <c:v>0.77549491706795004</c:v>
                </c:pt>
                <c:pt idx="43483">
                  <c:v>0.775512751917246</c:v>
                </c:pt>
                <c:pt idx="43484">
                  <c:v>0.77553058676654096</c:v>
                </c:pt>
                <c:pt idx="43485">
                  <c:v>0.77554842161583704</c:v>
                </c:pt>
                <c:pt idx="43486">
                  <c:v>0.775566256465132</c:v>
                </c:pt>
                <c:pt idx="43487">
                  <c:v>0.77558409131442796</c:v>
                </c:pt>
                <c:pt idx="43488">
                  <c:v>0.77560192616372303</c:v>
                </c:pt>
                <c:pt idx="43489">
                  <c:v>0.77561976101301899</c:v>
                </c:pt>
                <c:pt idx="43490">
                  <c:v>0.77563759586231495</c:v>
                </c:pt>
                <c:pt idx="43491">
                  <c:v>0.77565543071161003</c:v>
                </c:pt>
                <c:pt idx="43492">
                  <c:v>0.77567326556090599</c:v>
                </c:pt>
                <c:pt idx="43493">
                  <c:v>0.77569110041020095</c:v>
                </c:pt>
                <c:pt idx="43494">
                  <c:v>0.77570893525949702</c:v>
                </c:pt>
                <c:pt idx="43495">
                  <c:v>0.77572677010879199</c:v>
                </c:pt>
                <c:pt idx="43496">
                  <c:v>0.77574460495808795</c:v>
                </c:pt>
                <c:pt idx="43497">
                  <c:v>0.77576243980738302</c:v>
                </c:pt>
                <c:pt idx="43498">
                  <c:v>0.77578027465667898</c:v>
                </c:pt>
                <c:pt idx="43499">
                  <c:v>0.77579810950597405</c:v>
                </c:pt>
                <c:pt idx="43500">
                  <c:v>0.77581594435527002</c:v>
                </c:pt>
                <c:pt idx="43501">
                  <c:v>0.77583377920456498</c:v>
                </c:pt>
                <c:pt idx="43502">
                  <c:v>0.77585161405386105</c:v>
                </c:pt>
                <c:pt idx="43503">
                  <c:v>0.77586944890315601</c:v>
                </c:pt>
                <c:pt idx="43504">
                  <c:v>0.77588728375245197</c:v>
                </c:pt>
                <c:pt idx="43505">
                  <c:v>0.77590511860174705</c:v>
                </c:pt>
                <c:pt idx="43506">
                  <c:v>0.77592295345104301</c:v>
                </c:pt>
                <c:pt idx="43507">
                  <c:v>0.77594078830033797</c:v>
                </c:pt>
                <c:pt idx="43508">
                  <c:v>0.77595862314963404</c:v>
                </c:pt>
                <c:pt idx="43509">
                  <c:v>0.775976457998929</c:v>
                </c:pt>
                <c:pt idx="43510">
                  <c:v>0.77599429284822496</c:v>
                </c:pt>
                <c:pt idx="43511">
                  <c:v>0.77601212769752004</c:v>
                </c:pt>
                <c:pt idx="43512">
                  <c:v>0.776029962546816</c:v>
                </c:pt>
                <c:pt idx="43513">
                  <c:v>0.77604779739611196</c:v>
                </c:pt>
                <c:pt idx="43514">
                  <c:v>0.77606563224540703</c:v>
                </c:pt>
                <c:pt idx="43515">
                  <c:v>0.77608346709470299</c:v>
                </c:pt>
                <c:pt idx="43516">
                  <c:v>0.77610130194399796</c:v>
                </c:pt>
                <c:pt idx="43517">
                  <c:v>0.77611913679329403</c:v>
                </c:pt>
                <c:pt idx="43518">
                  <c:v>0.77613697164258899</c:v>
                </c:pt>
                <c:pt idx="43519">
                  <c:v>0.77615480649188495</c:v>
                </c:pt>
                <c:pt idx="43520">
                  <c:v>0.77617264134118003</c:v>
                </c:pt>
                <c:pt idx="43521">
                  <c:v>0.77619047619047599</c:v>
                </c:pt>
                <c:pt idx="43522">
                  <c:v>0.77620831103977095</c:v>
                </c:pt>
                <c:pt idx="43523">
                  <c:v>0.77622614588906702</c:v>
                </c:pt>
                <c:pt idx="43524">
                  <c:v>0.77624398073836198</c:v>
                </c:pt>
                <c:pt idx="43525">
                  <c:v>0.77626181558765806</c:v>
                </c:pt>
                <c:pt idx="43526">
                  <c:v>0.77627965043695302</c:v>
                </c:pt>
                <c:pt idx="43527">
                  <c:v>0.77629748528624898</c:v>
                </c:pt>
                <c:pt idx="43528">
                  <c:v>0.77631532013554405</c:v>
                </c:pt>
                <c:pt idx="43529">
                  <c:v>0.77633315498484001</c:v>
                </c:pt>
                <c:pt idx="43530">
                  <c:v>0.77635098983413497</c:v>
                </c:pt>
                <c:pt idx="43531">
                  <c:v>0.77636882468343105</c:v>
                </c:pt>
                <c:pt idx="43532">
                  <c:v>0.77638665953272601</c:v>
                </c:pt>
                <c:pt idx="43533">
                  <c:v>0.77640449438202197</c:v>
                </c:pt>
                <c:pt idx="43534">
                  <c:v>0.77642232923131804</c:v>
                </c:pt>
                <c:pt idx="43535">
                  <c:v>0.776440164080613</c:v>
                </c:pt>
                <c:pt idx="43536">
                  <c:v>0.77645799892990897</c:v>
                </c:pt>
                <c:pt idx="43537">
                  <c:v>0.77647583377920404</c:v>
                </c:pt>
                <c:pt idx="43538">
                  <c:v>0.7764936686285</c:v>
                </c:pt>
                <c:pt idx="43539">
                  <c:v>0.77651150347779496</c:v>
                </c:pt>
                <c:pt idx="43540">
                  <c:v>0.77652933832709103</c:v>
                </c:pt>
                <c:pt idx="43541">
                  <c:v>0.776547173176386</c:v>
                </c:pt>
                <c:pt idx="43542">
                  <c:v>0.77656500802568196</c:v>
                </c:pt>
                <c:pt idx="43543">
                  <c:v>0.77658284287497703</c:v>
                </c:pt>
                <c:pt idx="43544">
                  <c:v>0.77660067772427299</c:v>
                </c:pt>
                <c:pt idx="43545">
                  <c:v>0.77661851257356795</c:v>
                </c:pt>
                <c:pt idx="43546">
                  <c:v>0.77663634742286403</c:v>
                </c:pt>
                <c:pt idx="43547">
                  <c:v>0.77665418227215899</c:v>
                </c:pt>
                <c:pt idx="43548">
                  <c:v>0.77667201712145495</c:v>
                </c:pt>
                <c:pt idx="43549">
                  <c:v>0.77668985197075002</c:v>
                </c:pt>
                <c:pt idx="43550">
                  <c:v>0.77670768682004598</c:v>
                </c:pt>
                <c:pt idx="43551">
                  <c:v>0.77672552166934195</c:v>
                </c:pt>
                <c:pt idx="43552">
                  <c:v>0.77674335651863702</c:v>
                </c:pt>
                <c:pt idx="43553">
                  <c:v>0.77676119136793298</c:v>
                </c:pt>
                <c:pt idx="43554">
                  <c:v>0.77677902621722805</c:v>
                </c:pt>
                <c:pt idx="43555">
                  <c:v>0.77679686106652401</c:v>
                </c:pt>
                <c:pt idx="43556">
                  <c:v>0.77681469591581898</c:v>
                </c:pt>
                <c:pt idx="43557">
                  <c:v>0.77683253076511505</c:v>
                </c:pt>
                <c:pt idx="43558">
                  <c:v>0.77685036561441001</c:v>
                </c:pt>
                <c:pt idx="43559">
                  <c:v>0.77686820046370597</c:v>
                </c:pt>
                <c:pt idx="43560">
                  <c:v>0.77688603531300104</c:v>
                </c:pt>
                <c:pt idx="43561">
                  <c:v>0.77690387016229701</c:v>
                </c:pt>
                <c:pt idx="43562">
                  <c:v>0.77692170501159197</c:v>
                </c:pt>
                <c:pt idx="43563">
                  <c:v>0.77693953986088804</c:v>
                </c:pt>
                <c:pt idx="43564">
                  <c:v>0.776957374710183</c:v>
                </c:pt>
                <c:pt idx="43565">
                  <c:v>0.77697520955947896</c:v>
                </c:pt>
                <c:pt idx="43566">
                  <c:v>0.77699304440877404</c:v>
                </c:pt>
                <c:pt idx="43567">
                  <c:v>0.77701087925807</c:v>
                </c:pt>
                <c:pt idx="43568">
                  <c:v>0.77702871410736496</c:v>
                </c:pt>
                <c:pt idx="43569">
                  <c:v>0.77704654895666103</c:v>
                </c:pt>
                <c:pt idx="43570">
                  <c:v>0.77706438380595599</c:v>
                </c:pt>
                <c:pt idx="43571">
                  <c:v>0.77708221865525196</c:v>
                </c:pt>
                <c:pt idx="43572">
                  <c:v>0.77710005350454703</c:v>
                </c:pt>
                <c:pt idx="43573">
                  <c:v>0.77711788835384299</c:v>
                </c:pt>
                <c:pt idx="43574">
                  <c:v>0.77713572320313895</c:v>
                </c:pt>
                <c:pt idx="43575">
                  <c:v>0.77715355805243402</c:v>
                </c:pt>
                <c:pt idx="43576">
                  <c:v>0.77717139290172998</c:v>
                </c:pt>
                <c:pt idx="43577">
                  <c:v>0.77718922775102495</c:v>
                </c:pt>
                <c:pt idx="43578">
                  <c:v>0.77720706260032102</c:v>
                </c:pt>
                <c:pt idx="43579">
                  <c:v>0.77722489744961598</c:v>
                </c:pt>
                <c:pt idx="43580">
                  <c:v>0.77724273229891205</c:v>
                </c:pt>
                <c:pt idx="43581">
                  <c:v>0.77726056714820702</c:v>
                </c:pt>
                <c:pt idx="43582">
                  <c:v>0.77727840199750298</c:v>
                </c:pt>
                <c:pt idx="43583">
                  <c:v>0.77729623684679805</c:v>
                </c:pt>
                <c:pt idx="43584">
                  <c:v>0.77731407169609401</c:v>
                </c:pt>
                <c:pt idx="43585">
                  <c:v>0.77733190654538897</c:v>
                </c:pt>
                <c:pt idx="43586">
                  <c:v>0.77734974139468505</c:v>
                </c:pt>
                <c:pt idx="43587">
                  <c:v>0.77736757624398001</c:v>
                </c:pt>
                <c:pt idx="43588">
                  <c:v>0.77738541109327597</c:v>
                </c:pt>
                <c:pt idx="43589">
                  <c:v>0.77740324594257104</c:v>
                </c:pt>
                <c:pt idx="43590">
                  <c:v>0.777421080791867</c:v>
                </c:pt>
                <c:pt idx="43591">
                  <c:v>0.77743891564116197</c:v>
                </c:pt>
                <c:pt idx="43592">
                  <c:v>0.77745675049045804</c:v>
                </c:pt>
                <c:pt idx="43593">
                  <c:v>0.777474585339753</c:v>
                </c:pt>
                <c:pt idx="43594">
                  <c:v>0.77749242018904896</c:v>
                </c:pt>
                <c:pt idx="43595">
                  <c:v>0.77751025503834403</c:v>
                </c:pt>
                <c:pt idx="43596">
                  <c:v>0.77752808988763999</c:v>
                </c:pt>
                <c:pt idx="43597">
                  <c:v>0.77754592473693596</c:v>
                </c:pt>
                <c:pt idx="43598">
                  <c:v>0.77756375958623103</c:v>
                </c:pt>
                <c:pt idx="43599">
                  <c:v>0.77758159443552699</c:v>
                </c:pt>
                <c:pt idx="43600">
                  <c:v>0.77759942928482195</c:v>
                </c:pt>
                <c:pt idx="43601">
                  <c:v>0.77761726413411802</c:v>
                </c:pt>
                <c:pt idx="43602">
                  <c:v>0.77763509898341299</c:v>
                </c:pt>
                <c:pt idx="43603">
                  <c:v>0.77765293383270895</c:v>
                </c:pt>
                <c:pt idx="43604">
                  <c:v>0.77767076868200402</c:v>
                </c:pt>
                <c:pt idx="43605">
                  <c:v>0.77768860353129998</c:v>
                </c:pt>
                <c:pt idx="43606">
                  <c:v>0.77770643838059506</c:v>
                </c:pt>
                <c:pt idx="43607">
                  <c:v>0.77772427322989102</c:v>
                </c:pt>
                <c:pt idx="43608">
                  <c:v>0.77774210807918598</c:v>
                </c:pt>
                <c:pt idx="43609">
                  <c:v>0.77775994292848205</c:v>
                </c:pt>
                <c:pt idx="43610">
                  <c:v>0.77777777777777701</c:v>
                </c:pt>
                <c:pt idx="43611">
                  <c:v>0.77779561262707297</c:v>
                </c:pt>
                <c:pt idx="43612">
                  <c:v>0.77781344747636805</c:v>
                </c:pt>
                <c:pt idx="43613">
                  <c:v>0.77783128232566401</c:v>
                </c:pt>
                <c:pt idx="43614">
                  <c:v>0.77784911717495897</c:v>
                </c:pt>
                <c:pt idx="43615">
                  <c:v>0.77786695202425504</c:v>
                </c:pt>
                <c:pt idx="43616">
                  <c:v>0.77788478687355</c:v>
                </c:pt>
                <c:pt idx="43617">
                  <c:v>0.77790262172284597</c:v>
                </c:pt>
                <c:pt idx="43618">
                  <c:v>0.77792045657214104</c:v>
                </c:pt>
                <c:pt idx="43619">
                  <c:v>0.777938291421437</c:v>
                </c:pt>
                <c:pt idx="43620">
                  <c:v>0.77795612627073296</c:v>
                </c:pt>
                <c:pt idx="43621">
                  <c:v>0.77797396112002803</c:v>
                </c:pt>
                <c:pt idx="43622">
                  <c:v>0.777991795969324</c:v>
                </c:pt>
                <c:pt idx="43623">
                  <c:v>0.77800963081861896</c:v>
                </c:pt>
                <c:pt idx="43624">
                  <c:v>0.77802746566791503</c:v>
                </c:pt>
                <c:pt idx="43625">
                  <c:v>0.77804530051720999</c:v>
                </c:pt>
                <c:pt idx="43626">
                  <c:v>0.77806313536650595</c:v>
                </c:pt>
                <c:pt idx="43627">
                  <c:v>0.77808097021580103</c:v>
                </c:pt>
                <c:pt idx="43628">
                  <c:v>0.77809880506509699</c:v>
                </c:pt>
                <c:pt idx="43629">
                  <c:v>0.77811663991439195</c:v>
                </c:pt>
                <c:pt idx="43630">
                  <c:v>0.77813447476368802</c:v>
                </c:pt>
                <c:pt idx="43631">
                  <c:v>0.77815230961298298</c:v>
                </c:pt>
                <c:pt idx="43632">
                  <c:v>0.77817014446227895</c:v>
                </c:pt>
                <c:pt idx="43633">
                  <c:v>0.77818797931157402</c:v>
                </c:pt>
                <c:pt idx="43634">
                  <c:v>0.77820581416086998</c:v>
                </c:pt>
                <c:pt idx="43635">
                  <c:v>0.77822364901016505</c:v>
                </c:pt>
                <c:pt idx="43636">
                  <c:v>0.77824148385946101</c:v>
                </c:pt>
                <c:pt idx="43637">
                  <c:v>0.77825931870875598</c:v>
                </c:pt>
                <c:pt idx="43638">
                  <c:v>0.77827715355805205</c:v>
                </c:pt>
                <c:pt idx="43639">
                  <c:v>0.77829498840734801</c:v>
                </c:pt>
                <c:pt idx="43640">
                  <c:v>0.77831282325664297</c:v>
                </c:pt>
                <c:pt idx="43641">
                  <c:v>0.77833065810593904</c:v>
                </c:pt>
                <c:pt idx="43642">
                  <c:v>0.77834849295523401</c:v>
                </c:pt>
                <c:pt idx="43643">
                  <c:v>0.77836632780452997</c:v>
                </c:pt>
                <c:pt idx="43644">
                  <c:v>0.77838416265382504</c:v>
                </c:pt>
                <c:pt idx="43645">
                  <c:v>0.778401997503121</c:v>
                </c:pt>
                <c:pt idx="43646">
                  <c:v>0.77841983235241596</c:v>
                </c:pt>
                <c:pt idx="43647">
                  <c:v>0.77843766720171204</c:v>
                </c:pt>
                <c:pt idx="43648">
                  <c:v>0.778455502051007</c:v>
                </c:pt>
                <c:pt idx="43649">
                  <c:v>0.77847333690030296</c:v>
                </c:pt>
                <c:pt idx="43650">
                  <c:v>0.77849117174959803</c:v>
                </c:pt>
                <c:pt idx="43651">
                  <c:v>0.77850900659889399</c:v>
                </c:pt>
                <c:pt idx="43652">
                  <c:v>0.77852684144818896</c:v>
                </c:pt>
                <c:pt idx="43653">
                  <c:v>0.77854467629748503</c:v>
                </c:pt>
                <c:pt idx="43654">
                  <c:v>0.77856251114677999</c:v>
                </c:pt>
                <c:pt idx="43655">
                  <c:v>0.77858034599607595</c:v>
                </c:pt>
                <c:pt idx="43656">
                  <c:v>0.77859818084537102</c:v>
                </c:pt>
                <c:pt idx="43657">
                  <c:v>0.77861601569466699</c:v>
                </c:pt>
                <c:pt idx="43658">
                  <c:v>0.77863385054396295</c:v>
                </c:pt>
                <c:pt idx="43659">
                  <c:v>0.77865168539325802</c:v>
                </c:pt>
                <c:pt idx="43660">
                  <c:v>0.77866952024255398</c:v>
                </c:pt>
                <c:pt idx="43661">
                  <c:v>0.77868735509184905</c:v>
                </c:pt>
                <c:pt idx="43662">
                  <c:v>0.77870518994114502</c:v>
                </c:pt>
                <c:pt idx="43663">
                  <c:v>0.77872302479043998</c:v>
                </c:pt>
                <c:pt idx="43664">
                  <c:v>0.77874085963973605</c:v>
                </c:pt>
                <c:pt idx="43665">
                  <c:v>0.77875869448903101</c:v>
                </c:pt>
                <c:pt idx="43666">
                  <c:v>0.77877652933832697</c:v>
                </c:pt>
                <c:pt idx="43667">
                  <c:v>0.77879436418762205</c:v>
                </c:pt>
                <c:pt idx="43668">
                  <c:v>0.77881219903691801</c:v>
                </c:pt>
                <c:pt idx="43669">
                  <c:v>0.77883003388621297</c:v>
                </c:pt>
                <c:pt idx="43670">
                  <c:v>0.77884786873550904</c:v>
                </c:pt>
                <c:pt idx="43671">
                  <c:v>0.778865703584804</c:v>
                </c:pt>
                <c:pt idx="43672">
                  <c:v>0.77888353843409996</c:v>
                </c:pt>
                <c:pt idx="43673">
                  <c:v>0.77890137328339504</c:v>
                </c:pt>
                <c:pt idx="43674">
                  <c:v>0.778919208132691</c:v>
                </c:pt>
                <c:pt idx="43675">
                  <c:v>0.77893704298198596</c:v>
                </c:pt>
                <c:pt idx="43676">
                  <c:v>0.77895487783128203</c:v>
                </c:pt>
                <c:pt idx="43677">
                  <c:v>0.778972712680577</c:v>
                </c:pt>
                <c:pt idx="43678">
                  <c:v>0.77899054752987296</c:v>
                </c:pt>
                <c:pt idx="43679">
                  <c:v>0.77900838237916803</c:v>
                </c:pt>
                <c:pt idx="43680">
                  <c:v>0.77902621722846399</c:v>
                </c:pt>
                <c:pt idx="43681">
                  <c:v>0.77904405207775995</c:v>
                </c:pt>
                <c:pt idx="43682">
                  <c:v>0.77906188692705503</c:v>
                </c:pt>
                <c:pt idx="43683">
                  <c:v>0.77907972177635099</c:v>
                </c:pt>
                <c:pt idx="43684">
                  <c:v>0.77909755662564595</c:v>
                </c:pt>
                <c:pt idx="43685">
                  <c:v>0.77911539147494202</c:v>
                </c:pt>
                <c:pt idx="43686">
                  <c:v>0.77913322632423698</c:v>
                </c:pt>
                <c:pt idx="43687">
                  <c:v>0.77915106117353305</c:v>
                </c:pt>
                <c:pt idx="43688">
                  <c:v>0.77916889602282802</c:v>
                </c:pt>
                <c:pt idx="43689">
                  <c:v>0.77918673087212398</c:v>
                </c:pt>
                <c:pt idx="43690">
                  <c:v>0.77920456572141905</c:v>
                </c:pt>
                <c:pt idx="43691">
                  <c:v>0.77922240057071501</c:v>
                </c:pt>
                <c:pt idx="43692">
                  <c:v>0.77924023542000997</c:v>
                </c:pt>
                <c:pt idx="43693">
                  <c:v>0.77925807026930605</c:v>
                </c:pt>
                <c:pt idx="43694">
                  <c:v>0.77927590511860101</c:v>
                </c:pt>
                <c:pt idx="43695">
                  <c:v>0.77929373996789697</c:v>
                </c:pt>
                <c:pt idx="43696">
                  <c:v>0.77931157481719204</c:v>
                </c:pt>
                <c:pt idx="43697">
                  <c:v>0.779329409666488</c:v>
                </c:pt>
                <c:pt idx="43698">
                  <c:v>0.77934724451578297</c:v>
                </c:pt>
                <c:pt idx="43699">
                  <c:v>0.77936507936507904</c:v>
                </c:pt>
                <c:pt idx="43700">
                  <c:v>0.779382914214374</c:v>
                </c:pt>
                <c:pt idx="43701">
                  <c:v>0.77940074906366996</c:v>
                </c:pt>
                <c:pt idx="43702">
                  <c:v>0.77941858391296504</c:v>
                </c:pt>
                <c:pt idx="43703">
                  <c:v>0.779436418762261</c:v>
                </c:pt>
                <c:pt idx="43704">
                  <c:v>0.77945425361155696</c:v>
                </c:pt>
                <c:pt idx="43705">
                  <c:v>0.77947208846085203</c:v>
                </c:pt>
                <c:pt idx="43706">
                  <c:v>0.77948992331014799</c:v>
                </c:pt>
                <c:pt idx="43707">
                  <c:v>0.77950775815944295</c:v>
                </c:pt>
                <c:pt idx="43708">
                  <c:v>0.77952559300873903</c:v>
                </c:pt>
                <c:pt idx="43709">
                  <c:v>0.77954342785803399</c:v>
                </c:pt>
                <c:pt idx="43710">
                  <c:v>0.77956126270732995</c:v>
                </c:pt>
                <c:pt idx="43711">
                  <c:v>0.77957909755662502</c:v>
                </c:pt>
                <c:pt idx="43712">
                  <c:v>0.77959693240592098</c:v>
                </c:pt>
                <c:pt idx="43713">
                  <c:v>0.77961476725521595</c:v>
                </c:pt>
                <c:pt idx="43714">
                  <c:v>0.77963260210451202</c:v>
                </c:pt>
                <c:pt idx="43715">
                  <c:v>0.77965043695380698</c:v>
                </c:pt>
                <c:pt idx="43716">
                  <c:v>0.77966827180310305</c:v>
                </c:pt>
                <c:pt idx="43717">
                  <c:v>0.77968610665239801</c:v>
                </c:pt>
                <c:pt idx="43718">
                  <c:v>0.77970394150169398</c:v>
                </c:pt>
                <c:pt idx="43719">
                  <c:v>0.77972177635098905</c:v>
                </c:pt>
                <c:pt idx="43720">
                  <c:v>0.77973961120028501</c:v>
                </c:pt>
                <c:pt idx="43721">
                  <c:v>0.77975744604957997</c:v>
                </c:pt>
                <c:pt idx="43722">
                  <c:v>0.77977528089887604</c:v>
                </c:pt>
                <c:pt idx="43723">
                  <c:v>0.77979311574817101</c:v>
                </c:pt>
                <c:pt idx="43724">
                  <c:v>0.77981095059746697</c:v>
                </c:pt>
                <c:pt idx="43725">
                  <c:v>0.77982878544676204</c:v>
                </c:pt>
                <c:pt idx="43726">
                  <c:v>0.779846620296058</c:v>
                </c:pt>
                <c:pt idx="43727">
                  <c:v>0.77986445514535396</c:v>
                </c:pt>
                <c:pt idx="43728">
                  <c:v>0.77988228999464904</c:v>
                </c:pt>
                <c:pt idx="43729">
                  <c:v>0.779900124843945</c:v>
                </c:pt>
                <c:pt idx="43730">
                  <c:v>0.77991795969323996</c:v>
                </c:pt>
                <c:pt idx="43731">
                  <c:v>0.77993579454253603</c:v>
                </c:pt>
                <c:pt idx="43732">
                  <c:v>0.77995362939183099</c:v>
                </c:pt>
                <c:pt idx="43733">
                  <c:v>0.77997146424112695</c:v>
                </c:pt>
                <c:pt idx="43734">
                  <c:v>0.77998929909042203</c:v>
                </c:pt>
                <c:pt idx="43735">
                  <c:v>0.78000713393971799</c:v>
                </c:pt>
                <c:pt idx="43736">
                  <c:v>0.78002496878901295</c:v>
                </c:pt>
                <c:pt idx="43737">
                  <c:v>0.78004280363830902</c:v>
                </c:pt>
                <c:pt idx="43738">
                  <c:v>0.78006063848760399</c:v>
                </c:pt>
                <c:pt idx="43739">
                  <c:v>0.78007847333689995</c:v>
                </c:pt>
                <c:pt idx="43740">
                  <c:v>0.78009630818619502</c:v>
                </c:pt>
                <c:pt idx="43741">
                  <c:v>0.78011414303549098</c:v>
                </c:pt>
                <c:pt idx="43742">
                  <c:v>0.78013197788478605</c:v>
                </c:pt>
                <c:pt idx="43743">
                  <c:v>0.78014981273408202</c:v>
                </c:pt>
                <c:pt idx="43744">
                  <c:v>0.78016764758337698</c:v>
                </c:pt>
                <c:pt idx="43745">
                  <c:v>0.78018548243267305</c:v>
                </c:pt>
                <c:pt idx="43746">
                  <c:v>0.78020331728196901</c:v>
                </c:pt>
                <c:pt idx="43747">
                  <c:v>0.78022115213126397</c:v>
                </c:pt>
                <c:pt idx="43748">
                  <c:v>0.78023898698056005</c:v>
                </c:pt>
                <c:pt idx="43749">
                  <c:v>0.78025682182985501</c:v>
                </c:pt>
                <c:pt idx="43750">
                  <c:v>0.78027465667915097</c:v>
                </c:pt>
                <c:pt idx="43751">
                  <c:v>0.78029249152844604</c:v>
                </c:pt>
                <c:pt idx="43752">
                  <c:v>0.780310326377742</c:v>
                </c:pt>
                <c:pt idx="43753">
                  <c:v>0.78032816122703696</c:v>
                </c:pt>
                <c:pt idx="43754">
                  <c:v>0.78034599607633304</c:v>
                </c:pt>
                <c:pt idx="43755">
                  <c:v>0.780363830925628</c:v>
                </c:pt>
                <c:pt idx="43756">
                  <c:v>0.78038166577492396</c:v>
                </c:pt>
                <c:pt idx="43757">
                  <c:v>0.78039950062421903</c:v>
                </c:pt>
                <c:pt idx="43758">
                  <c:v>0.78041733547351499</c:v>
                </c:pt>
                <c:pt idx="43759">
                  <c:v>0.78043517032280996</c:v>
                </c:pt>
                <c:pt idx="43760">
                  <c:v>0.78045300517210603</c:v>
                </c:pt>
                <c:pt idx="43761">
                  <c:v>0.78047084002140099</c:v>
                </c:pt>
                <c:pt idx="43762">
                  <c:v>0.78048867487069695</c:v>
                </c:pt>
                <c:pt idx="43763">
                  <c:v>0.78050650971999203</c:v>
                </c:pt>
                <c:pt idx="43764">
                  <c:v>0.78052434456928799</c:v>
                </c:pt>
                <c:pt idx="43765">
                  <c:v>0.78054217941858395</c:v>
                </c:pt>
                <c:pt idx="43766">
                  <c:v>0.78056001426787902</c:v>
                </c:pt>
                <c:pt idx="43767">
                  <c:v>0.78057784911717498</c:v>
                </c:pt>
                <c:pt idx="43768">
                  <c:v>0.78059568396647006</c:v>
                </c:pt>
                <c:pt idx="43769">
                  <c:v>0.78061351881576602</c:v>
                </c:pt>
                <c:pt idx="43770">
                  <c:v>0.78063135366506098</c:v>
                </c:pt>
                <c:pt idx="43771">
                  <c:v>0.78064918851435705</c:v>
                </c:pt>
                <c:pt idx="43772">
                  <c:v>0.78066702336365201</c:v>
                </c:pt>
                <c:pt idx="43773">
                  <c:v>0.78068485821294797</c:v>
                </c:pt>
                <c:pt idx="43774">
                  <c:v>0.78070269306224305</c:v>
                </c:pt>
                <c:pt idx="43775">
                  <c:v>0.78072052791153901</c:v>
                </c:pt>
                <c:pt idx="43776">
                  <c:v>0.78073836276083397</c:v>
                </c:pt>
                <c:pt idx="43777">
                  <c:v>0.78075619761013004</c:v>
                </c:pt>
                <c:pt idx="43778">
                  <c:v>0.780774032459425</c:v>
                </c:pt>
                <c:pt idx="43779">
                  <c:v>0.78079186730872097</c:v>
                </c:pt>
                <c:pt idx="43780">
                  <c:v>0.78080970215801604</c:v>
                </c:pt>
                <c:pt idx="43781">
                  <c:v>0.780827537007312</c:v>
                </c:pt>
                <c:pt idx="43782">
                  <c:v>0.78084537185660696</c:v>
                </c:pt>
                <c:pt idx="43783">
                  <c:v>0.78086320670590303</c:v>
                </c:pt>
                <c:pt idx="43784">
                  <c:v>0.780881041555198</c:v>
                </c:pt>
                <c:pt idx="43785">
                  <c:v>0.78089887640449396</c:v>
                </c:pt>
                <c:pt idx="43786">
                  <c:v>0.78091671125378903</c:v>
                </c:pt>
                <c:pt idx="43787">
                  <c:v>0.78093454610308499</c:v>
                </c:pt>
                <c:pt idx="43788">
                  <c:v>0.78095238095238095</c:v>
                </c:pt>
                <c:pt idx="43789">
                  <c:v>0.78097021580167603</c:v>
                </c:pt>
                <c:pt idx="43790">
                  <c:v>0.78098805065097199</c:v>
                </c:pt>
                <c:pt idx="43791">
                  <c:v>0.78100588550026695</c:v>
                </c:pt>
                <c:pt idx="43792">
                  <c:v>0.78102372034956302</c:v>
                </c:pt>
                <c:pt idx="43793">
                  <c:v>0.78104155519885798</c:v>
                </c:pt>
                <c:pt idx="43794">
                  <c:v>0.78105939004815395</c:v>
                </c:pt>
                <c:pt idx="43795">
                  <c:v>0.78107722489744902</c:v>
                </c:pt>
                <c:pt idx="43796">
                  <c:v>0.78109505974674498</c:v>
                </c:pt>
                <c:pt idx="43797">
                  <c:v>0.78111289459604005</c:v>
                </c:pt>
                <c:pt idx="43798">
                  <c:v>0.78113072944533601</c:v>
                </c:pt>
                <c:pt idx="43799">
                  <c:v>0.78114856429463098</c:v>
                </c:pt>
                <c:pt idx="43800">
                  <c:v>0.78116639914392705</c:v>
                </c:pt>
                <c:pt idx="43801">
                  <c:v>0.78118423399322201</c:v>
                </c:pt>
                <c:pt idx="43802">
                  <c:v>0.78120206884251797</c:v>
                </c:pt>
                <c:pt idx="43803">
                  <c:v>0.78121990369181304</c:v>
                </c:pt>
                <c:pt idx="43804">
                  <c:v>0.78123773854110901</c:v>
                </c:pt>
                <c:pt idx="43805">
                  <c:v>0.78125557339040397</c:v>
                </c:pt>
                <c:pt idx="43806">
                  <c:v>0.78127340823970004</c:v>
                </c:pt>
                <c:pt idx="43807">
                  <c:v>0.781291243088995</c:v>
                </c:pt>
                <c:pt idx="43808">
                  <c:v>0.78130907793829096</c:v>
                </c:pt>
                <c:pt idx="43809">
                  <c:v>0.78132691278758604</c:v>
                </c:pt>
                <c:pt idx="43810">
                  <c:v>0.781344747636882</c:v>
                </c:pt>
                <c:pt idx="43811">
                  <c:v>0.78136258248617796</c:v>
                </c:pt>
                <c:pt idx="43812">
                  <c:v>0.78138041733547303</c:v>
                </c:pt>
                <c:pt idx="43813">
                  <c:v>0.78139825218476899</c:v>
                </c:pt>
                <c:pt idx="43814">
                  <c:v>0.78141608703406396</c:v>
                </c:pt>
                <c:pt idx="43815">
                  <c:v>0.78143392188336003</c:v>
                </c:pt>
                <c:pt idx="43816">
                  <c:v>0.78145175673265499</c:v>
                </c:pt>
                <c:pt idx="43817">
                  <c:v>0.78146959158195095</c:v>
                </c:pt>
                <c:pt idx="43818">
                  <c:v>0.78148742643124602</c:v>
                </c:pt>
                <c:pt idx="43819">
                  <c:v>0.78150526128054199</c:v>
                </c:pt>
                <c:pt idx="43820">
                  <c:v>0.78152309612983695</c:v>
                </c:pt>
                <c:pt idx="43821">
                  <c:v>0.78154093097913302</c:v>
                </c:pt>
                <c:pt idx="43822">
                  <c:v>0.78155876582842798</c:v>
                </c:pt>
                <c:pt idx="43823">
                  <c:v>0.78157660067772405</c:v>
                </c:pt>
                <c:pt idx="43824">
                  <c:v>0.78159443552701902</c:v>
                </c:pt>
                <c:pt idx="43825">
                  <c:v>0.78161227037631498</c:v>
                </c:pt>
                <c:pt idx="43826">
                  <c:v>0.78163010522561005</c:v>
                </c:pt>
                <c:pt idx="43827">
                  <c:v>0.78164794007490601</c:v>
                </c:pt>
                <c:pt idx="43828">
                  <c:v>0.78166577492420097</c:v>
                </c:pt>
                <c:pt idx="43829">
                  <c:v>0.78168360977349705</c:v>
                </c:pt>
                <c:pt idx="43830">
                  <c:v>0.78170144462279201</c:v>
                </c:pt>
                <c:pt idx="43831">
                  <c:v>0.78171927947208797</c:v>
                </c:pt>
                <c:pt idx="43832">
                  <c:v>0.78173711432138304</c:v>
                </c:pt>
                <c:pt idx="43833">
                  <c:v>0.781754949170679</c:v>
                </c:pt>
                <c:pt idx="43834">
                  <c:v>0.78177278401997496</c:v>
                </c:pt>
                <c:pt idx="43835">
                  <c:v>0.78179061886927004</c:v>
                </c:pt>
                <c:pt idx="43836">
                  <c:v>0.781808453718566</c:v>
                </c:pt>
                <c:pt idx="43837">
                  <c:v>0.78182628856786096</c:v>
                </c:pt>
                <c:pt idx="43838">
                  <c:v>0.78184412341715703</c:v>
                </c:pt>
                <c:pt idx="43839">
                  <c:v>0.781861958266452</c:v>
                </c:pt>
                <c:pt idx="43840">
                  <c:v>0.78187979311574796</c:v>
                </c:pt>
                <c:pt idx="43841">
                  <c:v>0.78189762796504303</c:v>
                </c:pt>
                <c:pt idx="43842">
                  <c:v>0.78191546281433899</c:v>
                </c:pt>
                <c:pt idx="43843">
                  <c:v>0.78193329766363395</c:v>
                </c:pt>
                <c:pt idx="43844">
                  <c:v>0.78195113251293002</c:v>
                </c:pt>
                <c:pt idx="43845">
                  <c:v>0.78196896736222499</c:v>
                </c:pt>
                <c:pt idx="43846">
                  <c:v>0.78198680221152095</c:v>
                </c:pt>
                <c:pt idx="43847">
                  <c:v>0.78200463706081602</c:v>
                </c:pt>
                <c:pt idx="43848">
                  <c:v>0.78202247191011198</c:v>
                </c:pt>
                <c:pt idx="43849">
                  <c:v>0.78204030675940694</c:v>
                </c:pt>
                <c:pt idx="43850">
                  <c:v>0.78205814160870302</c:v>
                </c:pt>
                <c:pt idx="43851">
                  <c:v>0.78207597645799898</c:v>
                </c:pt>
                <c:pt idx="43852">
                  <c:v>0.78209381130729405</c:v>
                </c:pt>
                <c:pt idx="43853">
                  <c:v>0.78211164615659001</c:v>
                </c:pt>
                <c:pt idx="43854">
                  <c:v>0.78212948100588497</c:v>
                </c:pt>
                <c:pt idx="43855">
                  <c:v>0.78214731585518105</c:v>
                </c:pt>
                <c:pt idx="43856">
                  <c:v>0.78216515070447601</c:v>
                </c:pt>
                <c:pt idx="43857">
                  <c:v>0.78218298555377197</c:v>
                </c:pt>
                <c:pt idx="43858">
                  <c:v>0.78220082040306704</c:v>
                </c:pt>
                <c:pt idx="43859">
                  <c:v>0.782218655252363</c:v>
                </c:pt>
                <c:pt idx="43860">
                  <c:v>0.78223649010165797</c:v>
                </c:pt>
                <c:pt idx="43861">
                  <c:v>0.78225432495095404</c:v>
                </c:pt>
                <c:pt idx="43862">
                  <c:v>0.782272159800249</c:v>
                </c:pt>
                <c:pt idx="43863">
                  <c:v>0.78228999464954496</c:v>
                </c:pt>
                <c:pt idx="43864">
                  <c:v>0.78230782949884003</c:v>
                </c:pt>
                <c:pt idx="43865">
                  <c:v>0.782325664348136</c:v>
                </c:pt>
                <c:pt idx="43866">
                  <c:v>0.78234349919743096</c:v>
                </c:pt>
                <c:pt idx="43867">
                  <c:v>0.78236133404672703</c:v>
                </c:pt>
                <c:pt idx="43868">
                  <c:v>0.78237916889602199</c:v>
                </c:pt>
                <c:pt idx="43869">
                  <c:v>0.78239700374531795</c:v>
                </c:pt>
                <c:pt idx="43870">
                  <c:v>0.78241483859461303</c:v>
                </c:pt>
                <c:pt idx="43871">
                  <c:v>0.78243267344390899</c:v>
                </c:pt>
                <c:pt idx="43872">
                  <c:v>0.78245050829320495</c:v>
                </c:pt>
                <c:pt idx="43873">
                  <c:v>0.78246834314250002</c:v>
                </c:pt>
                <c:pt idx="43874">
                  <c:v>0.78248617799179598</c:v>
                </c:pt>
                <c:pt idx="43875">
                  <c:v>0.78250401284109095</c:v>
                </c:pt>
                <c:pt idx="43876">
                  <c:v>0.78252184769038702</c:v>
                </c:pt>
                <c:pt idx="43877">
                  <c:v>0.78253968253968198</c:v>
                </c:pt>
                <c:pt idx="43878">
                  <c:v>0.78255751738897805</c:v>
                </c:pt>
                <c:pt idx="43879">
                  <c:v>0.78257535223827301</c:v>
                </c:pt>
                <c:pt idx="43880">
                  <c:v>0.78259318708756898</c:v>
                </c:pt>
                <c:pt idx="43881">
                  <c:v>0.78261102193686405</c:v>
                </c:pt>
                <c:pt idx="43882">
                  <c:v>0.78262885678616001</c:v>
                </c:pt>
                <c:pt idx="43883">
                  <c:v>0.78264669163545497</c:v>
                </c:pt>
                <c:pt idx="43884">
                  <c:v>0.78266452648475104</c:v>
                </c:pt>
                <c:pt idx="43885">
                  <c:v>0.78268236133404601</c:v>
                </c:pt>
                <c:pt idx="43886">
                  <c:v>0.78270019618334197</c:v>
                </c:pt>
                <c:pt idx="43887">
                  <c:v>0.78271803103263704</c:v>
                </c:pt>
                <c:pt idx="43888">
                  <c:v>0.782735865881933</c:v>
                </c:pt>
                <c:pt idx="43889">
                  <c:v>0.78275370073122796</c:v>
                </c:pt>
                <c:pt idx="43890">
                  <c:v>0.78277153558052404</c:v>
                </c:pt>
                <c:pt idx="43891">
                  <c:v>0.782789370429819</c:v>
                </c:pt>
                <c:pt idx="43892">
                  <c:v>0.78280720527911496</c:v>
                </c:pt>
                <c:pt idx="43893">
                  <c:v>0.78282504012841003</c:v>
                </c:pt>
                <c:pt idx="43894">
                  <c:v>0.78284287497770599</c:v>
                </c:pt>
                <c:pt idx="43895">
                  <c:v>0.78286070982700195</c:v>
                </c:pt>
                <c:pt idx="43896">
                  <c:v>0.78287854467629703</c:v>
                </c:pt>
                <c:pt idx="43897">
                  <c:v>0.78289637952559299</c:v>
                </c:pt>
                <c:pt idx="43898">
                  <c:v>0.78291421437488795</c:v>
                </c:pt>
                <c:pt idx="43899">
                  <c:v>0.78293204922418402</c:v>
                </c:pt>
                <c:pt idx="43900">
                  <c:v>0.78294988407347899</c:v>
                </c:pt>
                <c:pt idx="43901">
                  <c:v>0.78296771892277495</c:v>
                </c:pt>
                <c:pt idx="43902">
                  <c:v>0.78298555377207002</c:v>
                </c:pt>
                <c:pt idx="43903">
                  <c:v>0.78300338862136598</c:v>
                </c:pt>
                <c:pt idx="43904">
                  <c:v>0.78302122347066105</c:v>
                </c:pt>
                <c:pt idx="43905">
                  <c:v>0.78303905831995702</c:v>
                </c:pt>
                <c:pt idx="43906">
                  <c:v>0.78305689316925198</c:v>
                </c:pt>
                <c:pt idx="43907">
                  <c:v>0.78307472801854805</c:v>
                </c:pt>
                <c:pt idx="43908">
                  <c:v>0.78309256286784301</c:v>
                </c:pt>
                <c:pt idx="43909">
                  <c:v>0.78311039771713897</c:v>
                </c:pt>
                <c:pt idx="43910">
                  <c:v>0.78312823256643405</c:v>
                </c:pt>
                <c:pt idx="43911">
                  <c:v>0.78314606741573001</c:v>
                </c:pt>
                <c:pt idx="43912">
                  <c:v>0.78316390226502497</c:v>
                </c:pt>
                <c:pt idx="43913">
                  <c:v>0.78318173711432104</c:v>
                </c:pt>
                <c:pt idx="43914">
                  <c:v>0.783199571963616</c:v>
                </c:pt>
                <c:pt idx="43915">
                  <c:v>0.78321740681291196</c:v>
                </c:pt>
                <c:pt idx="43916">
                  <c:v>0.78323524166220704</c:v>
                </c:pt>
                <c:pt idx="43917">
                  <c:v>0.783253076511503</c:v>
                </c:pt>
                <c:pt idx="43918">
                  <c:v>0.78327091136079896</c:v>
                </c:pt>
                <c:pt idx="43919">
                  <c:v>0.78328874621009403</c:v>
                </c:pt>
                <c:pt idx="43920">
                  <c:v>0.78330658105938999</c:v>
                </c:pt>
                <c:pt idx="43921">
                  <c:v>0.78332441590868496</c:v>
                </c:pt>
                <c:pt idx="43922">
                  <c:v>0.78334225075798103</c:v>
                </c:pt>
                <c:pt idx="43923">
                  <c:v>0.78336008560727599</c:v>
                </c:pt>
                <c:pt idx="43924">
                  <c:v>0.78337792045657195</c:v>
                </c:pt>
                <c:pt idx="43925">
                  <c:v>0.78339575530586703</c:v>
                </c:pt>
                <c:pt idx="43926">
                  <c:v>0.78341359015516299</c:v>
                </c:pt>
                <c:pt idx="43927">
                  <c:v>0.78343142500445795</c:v>
                </c:pt>
                <c:pt idx="43928">
                  <c:v>0.78344925985375402</c:v>
                </c:pt>
                <c:pt idx="43929">
                  <c:v>0.78346709470304898</c:v>
                </c:pt>
                <c:pt idx="43930">
                  <c:v>0.78348492955234506</c:v>
                </c:pt>
                <c:pt idx="43931">
                  <c:v>0.78350276440164002</c:v>
                </c:pt>
                <c:pt idx="43932">
                  <c:v>0.78352059925093598</c:v>
                </c:pt>
                <c:pt idx="43933">
                  <c:v>0.78353843410023105</c:v>
                </c:pt>
                <c:pt idx="43934">
                  <c:v>0.78355626894952701</c:v>
                </c:pt>
                <c:pt idx="43935">
                  <c:v>0.78357410379882197</c:v>
                </c:pt>
                <c:pt idx="43936">
                  <c:v>0.78359193864811805</c:v>
                </c:pt>
                <c:pt idx="43937">
                  <c:v>0.78360977349741301</c:v>
                </c:pt>
                <c:pt idx="43938">
                  <c:v>0.78362760834670897</c:v>
                </c:pt>
                <c:pt idx="43939">
                  <c:v>0.78364544319600504</c:v>
                </c:pt>
                <c:pt idx="43940">
                  <c:v>0.7836632780453</c:v>
                </c:pt>
                <c:pt idx="43941">
                  <c:v>0.78368111289459597</c:v>
                </c:pt>
                <c:pt idx="43942">
                  <c:v>0.78369894774389104</c:v>
                </c:pt>
                <c:pt idx="43943">
                  <c:v>0.783716782593187</c:v>
                </c:pt>
                <c:pt idx="43944">
                  <c:v>0.78373461744248196</c:v>
                </c:pt>
                <c:pt idx="43945">
                  <c:v>0.78375245229177803</c:v>
                </c:pt>
                <c:pt idx="43946">
                  <c:v>0.783770287141073</c:v>
                </c:pt>
                <c:pt idx="43947">
                  <c:v>0.78378812199036896</c:v>
                </c:pt>
                <c:pt idx="43948">
                  <c:v>0.78380595683966403</c:v>
                </c:pt>
                <c:pt idx="43949">
                  <c:v>0.78382379168895999</c:v>
                </c:pt>
                <c:pt idx="43950">
                  <c:v>0.78384162653825495</c:v>
                </c:pt>
                <c:pt idx="43951">
                  <c:v>0.78385946138755103</c:v>
                </c:pt>
                <c:pt idx="43952">
                  <c:v>0.78387729623684599</c:v>
                </c:pt>
                <c:pt idx="43953">
                  <c:v>0.78389513108614195</c:v>
                </c:pt>
                <c:pt idx="43954">
                  <c:v>0.78391296593543702</c:v>
                </c:pt>
                <c:pt idx="43955">
                  <c:v>0.78393080078473298</c:v>
                </c:pt>
                <c:pt idx="43956">
                  <c:v>0.78394863563402895</c:v>
                </c:pt>
                <c:pt idx="43957">
                  <c:v>0.78396647048332402</c:v>
                </c:pt>
                <c:pt idx="43958">
                  <c:v>0.78398430533261998</c:v>
                </c:pt>
                <c:pt idx="43959">
                  <c:v>0.78400214018191505</c:v>
                </c:pt>
                <c:pt idx="43960">
                  <c:v>0.78401997503121101</c:v>
                </c:pt>
                <c:pt idx="43961">
                  <c:v>0.78403780988050598</c:v>
                </c:pt>
                <c:pt idx="43962">
                  <c:v>0.78405564472980205</c:v>
                </c:pt>
                <c:pt idx="43963">
                  <c:v>0.78407347957909701</c:v>
                </c:pt>
                <c:pt idx="43964">
                  <c:v>0.78409131442839297</c:v>
                </c:pt>
                <c:pt idx="43965">
                  <c:v>0.78410914927768804</c:v>
                </c:pt>
                <c:pt idx="43966">
                  <c:v>0.78412698412698401</c:v>
                </c:pt>
                <c:pt idx="43967">
                  <c:v>0.78414481897627897</c:v>
                </c:pt>
                <c:pt idx="43968">
                  <c:v>0.78416265382557504</c:v>
                </c:pt>
                <c:pt idx="43969">
                  <c:v>0.78418048867487</c:v>
                </c:pt>
                <c:pt idx="43970">
                  <c:v>0.78419832352416596</c:v>
                </c:pt>
                <c:pt idx="43971">
                  <c:v>0.78421615837346104</c:v>
                </c:pt>
                <c:pt idx="43972">
                  <c:v>0.784233993222757</c:v>
                </c:pt>
                <c:pt idx="43973">
                  <c:v>0.78425182807205196</c:v>
                </c:pt>
                <c:pt idx="43974">
                  <c:v>0.78426966292134803</c:v>
                </c:pt>
                <c:pt idx="43975">
                  <c:v>0.78428749777064299</c:v>
                </c:pt>
                <c:pt idx="43976">
                  <c:v>0.78430533261993896</c:v>
                </c:pt>
                <c:pt idx="43977">
                  <c:v>0.78432316746923403</c:v>
                </c:pt>
                <c:pt idx="43978">
                  <c:v>0.78434100231852999</c:v>
                </c:pt>
                <c:pt idx="43979">
                  <c:v>0.78435883716782595</c:v>
                </c:pt>
                <c:pt idx="43980">
                  <c:v>0.78437667201712102</c:v>
                </c:pt>
                <c:pt idx="43981">
                  <c:v>0.78439450686641699</c:v>
                </c:pt>
                <c:pt idx="43982">
                  <c:v>0.78441234171571195</c:v>
                </c:pt>
                <c:pt idx="43983">
                  <c:v>0.78443017656500802</c:v>
                </c:pt>
                <c:pt idx="43984">
                  <c:v>0.78444801141430298</c:v>
                </c:pt>
                <c:pt idx="43985">
                  <c:v>0.78446584626359905</c:v>
                </c:pt>
                <c:pt idx="43986">
                  <c:v>0.78448368111289402</c:v>
                </c:pt>
                <c:pt idx="43987">
                  <c:v>0.78450151596218998</c:v>
                </c:pt>
                <c:pt idx="43988">
                  <c:v>0.78451935081148505</c:v>
                </c:pt>
                <c:pt idx="43989">
                  <c:v>0.78453718566078101</c:v>
                </c:pt>
                <c:pt idx="43990">
                  <c:v>0.78455502051007597</c:v>
                </c:pt>
                <c:pt idx="43991">
                  <c:v>0.78457285535937205</c:v>
                </c:pt>
                <c:pt idx="43992">
                  <c:v>0.78459069020866701</c:v>
                </c:pt>
                <c:pt idx="43993">
                  <c:v>0.78460852505796297</c:v>
                </c:pt>
                <c:pt idx="43994">
                  <c:v>0.78462635990725804</c:v>
                </c:pt>
                <c:pt idx="43995">
                  <c:v>0.784644194756554</c:v>
                </c:pt>
                <c:pt idx="43996">
                  <c:v>0.78466202960584897</c:v>
                </c:pt>
                <c:pt idx="43997">
                  <c:v>0.78467986445514504</c:v>
                </c:pt>
                <c:pt idx="43998">
                  <c:v>0.78469769930444</c:v>
                </c:pt>
                <c:pt idx="43999">
                  <c:v>0.78471553415373596</c:v>
                </c:pt>
                <c:pt idx="44000">
                  <c:v>0.78473336900303103</c:v>
                </c:pt>
                <c:pt idx="44001">
                  <c:v>0.784751203852327</c:v>
                </c:pt>
                <c:pt idx="44002">
                  <c:v>0.78476903870162296</c:v>
                </c:pt>
                <c:pt idx="44003">
                  <c:v>0.78478687355091803</c:v>
                </c:pt>
                <c:pt idx="44004">
                  <c:v>0.78480470840021399</c:v>
                </c:pt>
                <c:pt idx="44005">
                  <c:v>0.78482254324950895</c:v>
                </c:pt>
                <c:pt idx="44006">
                  <c:v>0.78484037809880502</c:v>
                </c:pt>
                <c:pt idx="44007">
                  <c:v>0.78485821294809999</c:v>
                </c:pt>
                <c:pt idx="44008">
                  <c:v>0.78487604779739595</c:v>
                </c:pt>
                <c:pt idx="44009">
                  <c:v>0.78489388264669102</c:v>
                </c:pt>
                <c:pt idx="44010">
                  <c:v>0.78491171749598698</c:v>
                </c:pt>
                <c:pt idx="44011">
                  <c:v>0.78492955234528194</c:v>
                </c:pt>
                <c:pt idx="44012">
                  <c:v>0.78494738719457802</c:v>
                </c:pt>
                <c:pt idx="44013">
                  <c:v>0.78496522204387298</c:v>
                </c:pt>
                <c:pt idx="44014">
                  <c:v>0.78498305689316905</c:v>
                </c:pt>
                <c:pt idx="44015">
                  <c:v>0.78500089174246401</c:v>
                </c:pt>
                <c:pt idx="44016">
                  <c:v>0.78501872659175997</c:v>
                </c:pt>
                <c:pt idx="44017">
                  <c:v>0.78503656144105505</c:v>
                </c:pt>
                <c:pt idx="44018">
                  <c:v>0.78505439629035101</c:v>
                </c:pt>
                <c:pt idx="44019">
                  <c:v>0.78507223113964597</c:v>
                </c:pt>
                <c:pt idx="44020">
                  <c:v>0.78509006598894204</c:v>
                </c:pt>
                <c:pt idx="44021">
                  <c:v>0.78510790083823701</c:v>
                </c:pt>
                <c:pt idx="44022">
                  <c:v>0.78512573568753297</c:v>
                </c:pt>
                <c:pt idx="44023">
                  <c:v>0.78514357053682804</c:v>
                </c:pt>
                <c:pt idx="44024">
                  <c:v>0.785161405386124</c:v>
                </c:pt>
                <c:pt idx="44025">
                  <c:v>0.78517924023541996</c:v>
                </c:pt>
                <c:pt idx="44026">
                  <c:v>0.78519707508471503</c:v>
                </c:pt>
                <c:pt idx="44027">
                  <c:v>0.785214909934011</c:v>
                </c:pt>
                <c:pt idx="44028">
                  <c:v>0.78523274478330596</c:v>
                </c:pt>
                <c:pt idx="44029">
                  <c:v>0.78525057963260203</c:v>
                </c:pt>
                <c:pt idx="44030">
                  <c:v>0.78526841448189699</c:v>
                </c:pt>
                <c:pt idx="44031">
                  <c:v>0.78528624933119295</c:v>
                </c:pt>
                <c:pt idx="44032">
                  <c:v>0.78530408418048803</c:v>
                </c:pt>
                <c:pt idx="44033">
                  <c:v>0.78532191902978399</c:v>
                </c:pt>
                <c:pt idx="44034">
                  <c:v>0.78533975387907895</c:v>
                </c:pt>
                <c:pt idx="44035">
                  <c:v>0.78535758872837502</c:v>
                </c:pt>
                <c:pt idx="44036">
                  <c:v>0.78537542357766998</c:v>
                </c:pt>
                <c:pt idx="44037">
                  <c:v>0.78539325842696595</c:v>
                </c:pt>
                <c:pt idx="44038">
                  <c:v>0.78541109327626102</c:v>
                </c:pt>
                <c:pt idx="44039">
                  <c:v>0.78542892812555698</c:v>
                </c:pt>
                <c:pt idx="44040">
                  <c:v>0.78544676297485205</c:v>
                </c:pt>
                <c:pt idx="44041">
                  <c:v>0.78546459782414801</c:v>
                </c:pt>
                <c:pt idx="44042">
                  <c:v>0.78548243267344298</c:v>
                </c:pt>
                <c:pt idx="44043">
                  <c:v>0.78550026752273905</c:v>
                </c:pt>
                <c:pt idx="44044">
                  <c:v>0.78551810237203501</c:v>
                </c:pt>
                <c:pt idx="44045">
                  <c:v>0.78553593722132997</c:v>
                </c:pt>
                <c:pt idx="44046">
                  <c:v>0.78555377207062604</c:v>
                </c:pt>
                <c:pt idx="44047">
                  <c:v>0.78557160691992101</c:v>
                </c:pt>
                <c:pt idx="44048">
                  <c:v>0.78558944176921697</c:v>
                </c:pt>
                <c:pt idx="44049">
                  <c:v>0.78560727661851204</c:v>
                </c:pt>
                <c:pt idx="44050">
                  <c:v>0.785625111467808</c:v>
                </c:pt>
                <c:pt idx="44051">
                  <c:v>0.78564294631710296</c:v>
                </c:pt>
                <c:pt idx="44052">
                  <c:v>0.78566078116639904</c:v>
                </c:pt>
                <c:pt idx="44053">
                  <c:v>0.785678616015694</c:v>
                </c:pt>
                <c:pt idx="44054">
                  <c:v>0.78569645086498996</c:v>
                </c:pt>
                <c:pt idx="44055">
                  <c:v>0.78571428571428503</c:v>
                </c:pt>
                <c:pt idx="44056">
                  <c:v>0.78573212056358099</c:v>
                </c:pt>
                <c:pt idx="44057">
                  <c:v>0.78574995541287596</c:v>
                </c:pt>
                <c:pt idx="44058">
                  <c:v>0.78576779026217203</c:v>
                </c:pt>
                <c:pt idx="44059">
                  <c:v>0.78578562511146699</c:v>
                </c:pt>
                <c:pt idx="44060">
                  <c:v>0.78580345996076295</c:v>
                </c:pt>
                <c:pt idx="44061">
                  <c:v>0.78582129481005802</c:v>
                </c:pt>
                <c:pt idx="44062">
                  <c:v>0.78583912965935399</c:v>
                </c:pt>
                <c:pt idx="44063">
                  <c:v>0.78585696450864995</c:v>
                </c:pt>
                <c:pt idx="44064">
                  <c:v>0.78587479935794502</c:v>
                </c:pt>
                <c:pt idx="44065">
                  <c:v>0.78589263420724098</c:v>
                </c:pt>
                <c:pt idx="44066">
                  <c:v>0.78591046905653605</c:v>
                </c:pt>
                <c:pt idx="44067">
                  <c:v>0.78592830390583202</c:v>
                </c:pt>
                <c:pt idx="44068">
                  <c:v>0.78594613875512698</c:v>
                </c:pt>
                <c:pt idx="44069">
                  <c:v>0.78596397360442305</c:v>
                </c:pt>
                <c:pt idx="44070">
                  <c:v>0.78598180845371801</c:v>
                </c:pt>
                <c:pt idx="44071">
                  <c:v>0.78599964330301397</c:v>
                </c:pt>
                <c:pt idx="44072">
                  <c:v>0.78601747815230905</c:v>
                </c:pt>
                <c:pt idx="44073">
                  <c:v>0.78603531300160501</c:v>
                </c:pt>
                <c:pt idx="44074">
                  <c:v>0.78605314785089997</c:v>
                </c:pt>
                <c:pt idx="44075">
                  <c:v>0.78607098270019604</c:v>
                </c:pt>
                <c:pt idx="44076">
                  <c:v>0.786088817549491</c:v>
                </c:pt>
                <c:pt idx="44077">
                  <c:v>0.78610665239878696</c:v>
                </c:pt>
                <c:pt idx="44078">
                  <c:v>0.78612448724808204</c:v>
                </c:pt>
                <c:pt idx="44079">
                  <c:v>0.786142322097378</c:v>
                </c:pt>
                <c:pt idx="44080">
                  <c:v>0.78616015694667296</c:v>
                </c:pt>
                <c:pt idx="44081">
                  <c:v>0.78617799179596903</c:v>
                </c:pt>
                <c:pt idx="44082">
                  <c:v>0.786195826645264</c:v>
                </c:pt>
                <c:pt idx="44083">
                  <c:v>0.78621366149455996</c:v>
                </c:pt>
                <c:pt idx="44084">
                  <c:v>0.78623149634385503</c:v>
                </c:pt>
                <c:pt idx="44085">
                  <c:v>0.78624933119315099</c:v>
                </c:pt>
                <c:pt idx="44086">
                  <c:v>0.78626716604244695</c:v>
                </c:pt>
                <c:pt idx="44087">
                  <c:v>0.78628500089174203</c:v>
                </c:pt>
                <c:pt idx="44088">
                  <c:v>0.78630283574103799</c:v>
                </c:pt>
                <c:pt idx="44089">
                  <c:v>0.78632067059033295</c:v>
                </c:pt>
                <c:pt idx="44090">
                  <c:v>0.78633850543962902</c:v>
                </c:pt>
                <c:pt idx="44091">
                  <c:v>0.78635634028892398</c:v>
                </c:pt>
                <c:pt idx="44092">
                  <c:v>0.78637417513822006</c:v>
                </c:pt>
                <c:pt idx="44093">
                  <c:v>0.78639200998751502</c:v>
                </c:pt>
                <c:pt idx="44094">
                  <c:v>0.78640984483681098</c:v>
                </c:pt>
                <c:pt idx="44095">
                  <c:v>0.78642767968610605</c:v>
                </c:pt>
                <c:pt idx="44096">
                  <c:v>0.78644551453540201</c:v>
                </c:pt>
                <c:pt idx="44097">
                  <c:v>0.78646334938469697</c:v>
                </c:pt>
                <c:pt idx="44098">
                  <c:v>0.78648118423399305</c:v>
                </c:pt>
                <c:pt idx="44099">
                  <c:v>0.78649901908328801</c:v>
                </c:pt>
                <c:pt idx="44100">
                  <c:v>0.78651685393258397</c:v>
                </c:pt>
                <c:pt idx="44101">
                  <c:v>0.78653468878187904</c:v>
                </c:pt>
                <c:pt idx="44102">
                  <c:v>0.786552523631175</c:v>
                </c:pt>
                <c:pt idx="44103">
                  <c:v>0.78657035848046997</c:v>
                </c:pt>
                <c:pt idx="44104">
                  <c:v>0.78658819332976604</c:v>
                </c:pt>
                <c:pt idx="44105">
                  <c:v>0.786606028179061</c:v>
                </c:pt>
                <c:pt idx="44106">
                  <c:v>0.78662386302835696</c:v>
                </c:pt>
                <c:pt idx="44107">
                  <c:v>0.78664169787765204</c:v>
                </c:pt>
                <c:pt idx="44108">
                  <c:v>0.786659532726948</c:v>
                </c:pt>
                <c:pt idx="44109">
                  <c:v>0.78667736757624396</c:v>
                </c:pt>
                <c:pt idx="44110">
                  <c:v>0.78669520242553903</c:v>
                </c:pt>
                <c:pt idx="44111">
                  <c:v>0.78671303727483499</c:v>
                </c:pt>
                <c:pt idx="44112">
                  <c:v>0.78673087212412995</c:v>
                </c:pt>
                <c:pt idx="44113">
                  <c:v>0.78674870697342603</c:v>
                </c:pt>
                <c:pt idx="44114">
                  <c:v>0.78676654182272099</c:v>
                </c:pt>
                <c:pt idx="44115">
                  <c:v>0.78678437667201695</c:v>
                </c:pt>
                <c:pt idx="44116">
                  <c:v>0.78680221152131202</c:v>
                </c:pt>
                <c:pt idx="44117">
                  <c:v>0.78682004637060798</c:v>
                </c:pt>
                <c:pt idx="44118">
                  <c:v>0.78683788121990295</c:v>
                </c:pt>
                <c:pt idx="44119">
                  <c:v>0.78685571606919902</c:v>
                </c:pt>
                <c:pt idx="44120">
                  <c:v>0.78687355091849398</c:v>
                </c:pt>
                <c:pt idx="44121">
                  <c:v>0.78689138576779005</c:v>
                </c:pt>
                <c:pt idx="44122">
                  <c:v>0.78690922061708501</c:v>
                </c:pt>
                <c:pt idx="44123">
                  <c:v>0.78692705546638098</c:v>
                </c:pt>
                <c:pt idx="44124">
                  <c:v>0.78694489031567605</c:v>
                </c:pt>
                <c:pt idx="44125">
                  <c:v>0.78696272516497201</c:v>
                </c:pt>
                <c:pt idx="44126">
                  <c:v>0.78698056001426697</c:v>
                </c:pt>
                <c:pt idx="44127">
                  <c:v>0.78699839486356304</c:v>
                </c:pt>
                <c:pt idx="44128">
                  <c:v>0.78701622971285801</c:v>
                </c:pt>
                <c:pt idx="44129">
                  <c:v>0.78703406456215397</c:v>
                </c:pt>
                <c:pt idx="44130">
                  <c:v>0.78705189941144904</c:v>
                </c:pt>
                <c:pt idx="44131">
                  <c:v>0.787069734260745</c:v>
                </c:pt>
                <c:pt idx="44132">
                  <c:v>0.78708756911004096</c:v>
                </c:pt>
                <c:pt idx="44133">
                  <c:v>0.78710540395933604</c:v>
                </c:pt>
                <c:pt idx="44134">
                  <c:v>0.787123238808632</c:v>
                </c:pt>
                <c:pt idx="44135">
                  <c:v>0.78714107365792696</c:v>
                </c:pt>
                <c:pt idx="44136">
                  <c:v>0.78715890850722303</c:v>
                </c:pt>
                <c:pt idx="44137">
                  <c:v>0.78717674335651799</c:v>
                </c:pt>
                <c:pt idx="44138">
                  <c:v>0.78719457820581396</c:v>
                </c:pt>
                <c:pt idx="44139">
                  <c:v>0.78721241305510903</c:v>
                </c:pt>
                <c:pt idx="44140">
                  <c:v>0.78723024790440499</c:v>
                </c:pt>
                <c:pt idx="44141">
                  <c:v>0.78724808275369995</c:v>
                </c:pt>
                <c:pt idx="44142">
                  <c:v>0.78726591760299602</c:v>
                </c:pt>
                <c:pt idx="44143">
                  <c:v>0.78728375245229099</c:v>
                </c:pt>
                <c:pt idx="44144">
                  <c:v>0.78730158730158695</c:v>
                </c:pt>
                <c:pt idx="44145">
                  <c:v>0.78731942215088202</c:v>
                </c:pt>
                <c:pt idx="44146">
                  <c:v>0.78733725700017798</c:v>
                </c:pt>
                <c:pt idx="44147">
                  <c:v>0.78735509184947305</c:v>
                </c:pt>
                <c:pt idx="44148">
                  <c:v>0.78737292669876902</c:v>
                </c:pt>
                <c:pt idx="44149">
                  <c:v>0.78739076154806398</c:v>
                </c:pt>
                <c:pt idx="44150">
                  <c:v>0.78740859639736005</c:v>
                </c:pt>
                <c:pt idx="44151">
                  <c:v>0.78742643124665601</c:v>
                </c:pt>
                <c:pt idx="44152">
                  <c:v>0.78744426609595097</c:v>
                </c:pt>
                <c:pt idx="44153">
                  <c:v>0.78746210094524705</c:v>
                </c:pt>
                <c:pt idx="44154">
                  <c:v>0.78747993579454201</c:v>
                </c:pt>
                <c:pt idx="44155">
                  <c:v>0.78749777064383797</c:v>
                </c:pt>
                <c:pt idx="44156">
                  <c:v>0.78751560549313304</c:v>
                </c:pt>
                <c:pt idx="44157">
                  <c:v>0.787533440342429</c:v>
                </c:pt>
                <c:pt idx="44158">
                  <c:v>0.78755127519172397</c:v>
                </c:pt>
                <c:pt idx="44159">
                  <c:v>0.78756911004102004</c:v>
                </c:pt>
                <c:pt idx="44160">
                  <c:v>0.787586944890315</c:v>
                </c:pt>
                <c:pt idx="44161">
                  <c:v>0.78760477973961096</c:v>
                </c:pt>
                <c:pt idx="44162">
                  <c:v>0.78762261458890603</c:v>
                </c:pt>
                <c:pt idx="44163">
                  <c:v>0.78764044943820199</c:v>
                </c:pt>
                <c:pt idx="44164">
                  <c:v>0.78765828428749696</c:v>
                </c:pt>
                <c:pt idx="44165">
                  <c:v>0.78767611913679303</c:v>
                </c:pt>
                <c:pt idx="44166">
                  <c:v>0.78769395398608799</c:v>
                </c:pt>
                <c:pt idx="44167">
                  <c:v>0.78771178883538395</c:v>
                </c:pt>
                <c:pt idx="44168">
                  <c:v>0.78772962368467903</c:v>
                </c:pt>
                <c:pt idx="44169">
                  <c:v>0.78774745853397499</c:v>
                </c:pt>
                <c:pt idx="44170">
                  <c:v>0.78776529338327095</c:v>
                </c:pt>
                <c:pt idx="44171">
                  <c:v>0.78778312823256602</c:v>
                </c:pt>
                <c:pt idx="44172">
                  <c:v>0.78780096308186198</c:v>
                </c:pt>
                <c:pt idx="44173">
                  <c:v>0.78781879793115706</c:v>
                </c:pt>
                <c:pt idx="44174">
                  <c:v>0.78783663278045302</c:v>
                </c:pt>
                <c:pt idx="44175">
                  <c:v>0.78785446762974798</c:v>
                </c:pt>
                <c:pt idx="44176">
                  <c:v>0.78787230247904405</c:v>
                </c:pt>
                <c:pt idx="44177">
                  <c:v>0.78789013732833901</c:v>
                </c:pt>
                <c:pt idx="44178">
                  <c:v>0.78790797217763497</c:v>
                </c:pt>
                <c:pt idx="44179">
                  <c:v>0.78792580702693005</c:v>
                </c:pt>
                <c:pt idx="44180">
                  <c:v>0.78794364187622601</c:v>
                </c:pt>
                <c:pt idx="44181">
                  <c:v>0.78796147672552097</c:v>
                </c:pt>
                <c:pt idx="44182">
                  <c:v>0.78797931157481704</c:v>
                </c:pt>
                <c:pt idx="44183">
                  <c:v>0.787997146424112</c:v>
                </c:pt>
                <c:pt idx="44184">
                  <c:v>0.78801498127340797</c:v>
                </c:pt>
                <c:pt idx="44185">
                  <c:v>0.78803281612270304</c:v>
                </c:pt>
                <c:pt idx="44186">
                  <c:v>0.788050650971999</c:v>
                </c:pt>
                <c:pt idx="44187">
                  <c:v>0.78806848582129396</c:v>
                </c:pt>
                <c:pt idx="44188">
                  <c:v>0.78808632067059003</c:v>
                </c:pt>
                <c:pt idx="44189">
                  <c:v>0.788104155519885</c:v>
                </c:pt>
                <c:pt idx="44190">
                  <c:v>0.78812199036918096</c:v>
                </c:pt>
                <c:pt idx="44191">
                  <c:v>0.78813982521847603</c:v>
                </c:pt>
                <c:pt idx="44192">
                  <c:v>0.78815766006777199</c:v>
                </c:pt>
                <c:pt idx="44193">
                  <c:v>0.78817549491706795</c:v>
                </c:pt>
                <c:pt idx="44194">
                  <c:v>0.78819332976636303</c:v>
                </c:pt>
                <c:pt idx="44195">
                  <c:v>0.78821116461565899</c:v>
                </c:pt>
                <c:pt idx="44196">
                  <c:v>0.78822899946495395</c:v>
                </c:pt>
                <c:pt idx="44197">
                  <c:v>0.78824683431425002</c:v>
                </c:pt>
                <c:pt idx="44198">
                  <c:v>0.78826466916354498</c:v>
                </c:pt>
                <c:pt idx="44199">
                  <c:v>0.78828250401284095</c:v>
                </c:pt>
                <c:pt idx="44200">
                  <c:v>0.78830033886213602</c:v>
                </c:pt>
                <c:pt idx="44201">
                  <c:v>0.78831817371143198</c:v>
                </c:pt>
                <c:pt idx="44202">
                  <c:v>0.78833600856072705</c:v>
                </c:pt>
                <c:pt idx="44203">
                  <c:v>0.78835384341002301</c:v>
                </c:pt>
                <c:pt idx="44204">
                  <c:v>0.78837167825931798</c:v>
                </c:pt>
                <c:pt idx="44205">
                  <c:v>0.78838951310861405</c:v>
                </c:pt>
                <c:pt idx="44206">
                  <c:v>0.78840734795790901</c:v>
                </c:pt>
                <c:pt idx="44207">
                  <c:v>0.78842518280720497</c:v>
                </c:pt>
                <c:pt idx="44208">
                  <c:v>0.78844301765650004</c:v>
                </c:pt>
                <c:pt idx="44209">
                  <c:v>0.78846085250579601</c:v>
                </c:pt>
                <c:pt idx="44210">
                  <c:v>0.78847868735509097</c:v>
                </c:pt>
                <c:pt idx="44211">
                  <c:v>0.78849652220438704</c:v>
                </c:pt>
                <c:pt idx="44212">
                  <c:v>0.788514357053682</c:v>
                </c:pt>
                <c:pt idx="44213">
                  <c:v>0.78853219190297796</c:v>
                </c:pt>
                <c:pt idx="44214">
                  <c:v>0.78855002675227304</c:v>
                </c:pt>
                <c:pt idx="44215">
                  <c:v>0.788567861601569</c:v>
                </c:pt>
                <c:pt idx="44216">
                  <c:v>0.78858569645086496</c:v>
                </c:pt>
                <c:pt idx="44217">
                  <c:v>0.78860353130016003</c:v>
                </c:pt>
                <c:pt idx="44218">
                  <c:v>0.78862136614945599</c:v>
                </c:pt>
                <c:pt idx="44219">
                  <c:v>0.78863920099875096</c:v>
                </c:pt>
                <c:pt idx="44220">
                  <c:v>0.78865703584804703</c:v>
                </c:pt>
                <c:pt idx="44221">
                  <c:v>0.78867487069734199</c:v>
                </c:pt>
                <c:pt idx="44222">
                  <c:v>0.78869270554663795</c:v>
                </c:pt>
                <c:pt idx="44223">
                  <c:v>0.78871054039593302</c:v>
                </c:pt>
                <c:pt idx="44224">
                  <c:v>0.78872837524522899</c:v>
                </c:pt>
                <c:pt idx="44225">
                  <c:v>0.78874621009452395</c:v>
                </c:pt>
                <c:pt idx="44226">
                  <c:v>0.78876404494382002</c:v>
                </c:pt>
                <c:pt idx="44227">
                  <c:v>0.78878187979311498</c:v>
                </c:pt>
                <c:pt idx="44228">
                  <c:v>0.78879971464241105</c:v>
                </c:pt>
                <c:pt idx="44229">
                  <c:v>0.78881754949170602</c:v>
                </c:pt>
                <c:pt idx="44230">
                  <c:v>0.78883538434100198</c:v>
                </c:pt>
                <c:pt idx="44231">
                  <c:v>0.78885321919029705</c:v>
                </c:pt>
                <c:pt idx="44232">
                  <c:v>0.78887105403959301</c:v>
                </c:pt>
                <c:pt idx="44233">
                  <c:v>0.78888888888888797</c:v>
                </c:pt>
                <c:pt idx="44234">
                  <c:v>0.78890672373818405</c:v>
                </c:pt>
                <c:pt idx="44235">
                  <c:v>0.78892455858747901</c:v>
                </c:pt>
                <c:pt idx="44236">
                  <c:v>0.78894239343677497</c:v>
                </c:pt>
                <c:pt idx="44237">
                  <c:v>0.78896022828607004</c:v>
                </c:pt>
                <c:pt idx="44238">
                  <c:v>0.788978063135366</c:v>
                </c:pt>
                <c:pt idx="44239">
                  <c:v>0.78899589798466196</c:v>
                </c:pt>
                <c:pt idx="44240">
                  <c:v>0.78901373283395704</c:v>
                </c:pt>
                <c:pt idx="44241">
                  <c:v>0.789031567683253</c:v>
                </c:pt>
                <c:pt idx="44242">
                  <c:v>0.78904940253254796</c:v>
                </c:pt>
                <c:pt idx="44243">
                  <c:v>0.78906723738184403</c:v>
                </c:pt>
                <c:pt idx="44244">
                  <c:v>0.789085072231139</c:v>
                </c:pt>
                <c:pt idx="44245">
                  <c:v>0.78910290708043496</c:v>
                </c:pt>
                <c:pt idx="44246">
                  <c:v>0.78912074192973003</c:v>
                </c:pt>
                <c:pt idx="44247">
                  <c:v>0.78913857677902599</c:v>
                </c:pt>
                <c:pt idx="44248">
                  <c:v>0.78915641162832095</c:v>
                </c:pt>
                <c:pt idx="44249">
                  <c:v>0.78917424647761703</c:v>
                </c:pt>
                <c:pt idx="44250">
                  <c:v>0.78919208132691199</c:v>
                </c:pt>
                <c:pt idx="44251">
                  <c:v>0.78920991617620795</c:v>
                </c:pt>
                <c:pt idx="44252">
                  <c:v>0.78922775102550302</c:v>
                </c:pt>
                <c:pt idx="44253">
                  <c:v>0.78924558587479898</c:v>
                </c:pt>
                <c:pt idx="44254">
                  <c:v>0.78926342072409394</c:v>
                </c:pt>
                <c:pt idx="44255">
                  <c:v>0.78928125557339002</c:v>
                </c:pt>
                <c:pt idx="44256">
                  <c:v>0.78929909042268598</c:v>
                </c:pt>
                <c:pt idx="44257">
                  <c:v>0.78931692527198105</c:v>
                </c:pt>
                <c:pt idx="44258">
                  <c:v>0.78933476012127701</c:v>
                </c:pt>
                <c:pt idx="44259">
                  <c:v>0.78935259497057197</c:v>
                </c:pt>
                <c:pt idx="44260">
                  <c:v>0.78937042981986805</c:v>
                </c:pt>
                <c:pt idx="44261">
                  <c:v>0.78938826466916301</c:v>
                </c:pt>
                <c:pt idx="44262">
                  <c:v>0.78940609951845897</c:v>
                </c:pt>
                <c:pt idx="44263">
                  <c:v>0.78942393436775404</c:v>
                </c:pt>
                <c:pt idx="44264">
                  <c:v>0.78944176921705</c:v>
                </c:pt>
                <c:pt idx="44265">
                  <c:v>0.78945960406634497</c:v>
                </c:pt>
                <c:pt idx="44266">
                  <c:v>0.78947743891564104</c:v>
                </c:pt>
                <c:pt idx="44267">
                  <c:v>0.789495273764936</c:v>
                </c:pt>
                <c:pt idx="44268">
                  <c:v>0.78951310861423196</c:v>
                </c:pt>
                <c:pt idx="44269">
                  <c:v>0.78953094346352704</c:v>
                </c:pt>
                <c:pt idx="44270">
                  <c:v>0.789548778312823</c:v>
                </c:pt>
                <c:pt idx="44271">
                  <c:v>0.78956661316211796</c:v>
                </c:pt>
                <c:pt idx="44272">
                  <c:v>0.78958444801141403</c:v>
                </c:pt>
                <c:pt idx="44273">
                  <c:v>0.78960228286070899</c:v>
                </c:pt>
                <c:pt idx="44274">
                  <c:v>0.78962011771000495</c:v>
                </c:pt>
                <c:pt idx="44275">
                  <c:v>0.78963795255930003</c:v>
                </c:pt>
                <c:pt idx="44276">
                  <c:v>0.78965578740859599</c:v>
                </c:pt>
                <c:pt idx="44277">
                  <c:v>0.78967362225789195</c:v>
                </c:pt>
                <c:pt idx="44278">
                  <c:v>0.78969145710718702</c:v>
                </c:pt>
                <c:pt idx="44279">
                  <c:v>0.78970929195648298</c:v>
                </c:pt>
                <c:pt idx="44280">
                  <c:v>0.78972712680577795</c:v>
                </c:pt>
                <c:pt idx="44281">
                  <c:v>0.78974496165507402</c:v>
                </c:pt>
                <c:pt idx="44282">
                  <c:v>0.78976279650436898</c:v>
                </c:pt>
                <c:pt idx="44283">
                  <c:v>0.78978063135366505</c:v>
                </c:pt>
                <c:pt idx="44284">
                  <c:v>0.78979846620296001</c:v>
                </c:pt>
                <c:pt idx="44285">
                  <c:v>0.78981630105225598</c:v>
                </c:pt>
                <c:pt idx="44286">
                  <c:v>0.78983413590155105</c:v>
                </c:pt>
                <c:pt idx="44287">
                  <c:v>0.78985197075084701</c:v>
                </c:pt>
                <c:pt idx="44288">
                  <c:v>0.78986980560014197</c:v>
                </c:pt>
                <c:pt idx="44289">
                  <c:v>0.78988764044943804</c:v>
                </c:pt>
                <c:pt idx="44290">
                  <c:v>0.78990547529873301</c:v>
                </c:pt>
                <c:pt idx="44291">
                  <c:v>0.78992331014802897</c:v>
                </c:pt>
                <c:pt idx="44292">
                  <c:v>0.78994114499732404</c:v>
                </c:pt>
                <c:pt idx="44293">
                  <c:v>0.78995897984662</c:v>
                </c:pt>
                <c:pt idx="44294">
                  <c:v>0.78997681469591496</c:v>
                </c:pt>
                <c:pt idx="44295">
                  <c:v>0.78999464954521104</c:v>
                </c:pt>
                <c:pt idx="44296">
                  <c:v>0.790012484394506</c:v>
                </c:pt>
                <c:pt idx="44297">
                  <c:v>0.79003031924380196</c:v>
                </c:pt>
                <c:pt idx="44298">
                  <c:v>0.79004815409309703</c:v>
                </c:pt>
                <c:pt idx="44299">
                  <c:v>0.79006598894239299</c:v>
                </c:pt>
                <c:pt idx="44300">
                  <c:v>0.79008382379168896</c:v>
                </c:pt>
                <c:pt idx="44301">
                  <c:v>0.79010165864098403</c:v>
                </c:pt>
                <c:pt idx="44302">
                  <c:v>0.79011949349027999</c:v>
                </c:pt>
                <c:pt idx="44303">
                  <c:v>0.79013732833957495</c:v>
                </c:pt>
                <c:pt idx="44304">
                  <c:v>0.79015516318887102</c:v>
                </c:pt>
                <c:pt idx="44305">
                  <c:v>0.79017299803816599</c:v>
                </c:pt>
                <c:pt idx="44306">
                  <c:v>0.79019083288746195</c:v>
                </c:pt>
                <c:pt idx="44307">
                  <c:v>0.79020866773675702</c:v>
                </c:pt>
                <c:pt idx="44308">
                  <c:v>0.79022650258605298</c:v>
                </c:pt>
                <c:pt idx="44309">
                  <c:v>0.79024433743534805</c:v>
                </c:pt>
                <c:pt idx="44310">
                  <c:v>0.79026217228464402</c:v>
                </c:pt>
                <c:pt idx="44311">
                  <c:v>0.79028000713393898</c:v>
                </c:pt>
                <c:pt idx="44312">
                  <c:v>0.79029784198323505</c:v>
                </c:pt>
                <c:pt idx="44313">
                  <c:v>0.79031567683253001</c:v>
                </c:pt>
                <c:pt idx="44314">
                  <c:v>0.79033351168182597</c:v>
                </c:pt>
                <c:pt idx="44315">
                  <c:v>0.79035134653112105</c:v>
                </c:pt>
                <c:pt idx="44316">
                  <c:v>0.79036918138041701</c:v>
                </c:pt>
                <c:pt idx="44317">
                  <c:v>0.79038701622971197</c:v>
                </c:pt>
                <c:pt idx="44318">
                  <c:v>0.79040485107900804</c:v>
                </c:pt>
                <c:pt idx="44319">
                  <c:v>0.790422685928303</c:v>
                </c:pt>
                <c:pt idx="44320">
                  <c:v>0.79044052077759897</c:v>
                </c:pt>
                <c:pt idx="44321">
                  <c:v>0.79045835562689404</c:v>
                </c:pt>
                <c:pt idx="44322">
                  <c:v>0.79047619047619</c:v>
                </c:pt>
                <c:pt idx="44323">
                  <c:v>0.79049402532548596</c:v>
                </c:pt>
                <c:pt idx="44324">
                  <c:v>0.79051186017478103</c:v>
                </c:pt>
                <c:pt idx="44325">
                  <c:v>0.79052969502407699</c:v>
                </c:pt>
                <c:pt idx="44326">
                  <c:v>0.79054752987337196</c:v>
                </c:pt>
                <c:pt idx="44327">
                  <c:v>0.79056536472266803</c:v>
                </c:pt>
                <c:pt idx="44328">
                  <c:v>0.79058319957196299</c:v>
                </c:pt>
                <c:pt idx="44329">
                  <c:v>0.79060103442125895</c:v>
                </c:pt>
                <c:pt idx="44330">
                  <c:v>0.79061886927055403</c:v>
                </c:pt>
                <c:pt idx="44331">
                  <c:v>0.79063670411984999</c:v>
                </c:pt>
                <c:pt idx="44332">
                  <c:v>0.79065453896914495</c:v>
                </c:pt>
                <c:pt idx="44333">
                  <c:v>0.79067237381844102</c:v>
                </c:pt>
                <c:pt idx="44334">
                  <c:v>0.79069020866773598</c:v>
                </c:pt>
                <c:pt idx="44335">
                  <c:v>0.79070804351703206</c:v>
                </c:pt>
                <c:pt idx="44336">
                  <c:v>0.79072587836632702</c:v>
                </c:pt>
                <c:pt idx="44337">
                  <c:v>0.79074371321562298</c:v>
                </c:pt>
                <c:pt idx="44338">
                  <c:v>0.79076154806491805</c:v>
                </c:pt>
                <c:pt idx="44339">
                  <c:v>0.79077938291421401</c:v>
                </c:pt>
                <c:pt idx="44340">
                  <c:v>0.79079721776350897</c:v>
                </c:pt>
                <c:pt idx="44341">
                  <c:v>0.79081505261280505</c:v>
                </c:pt>
                <c:pt idx="44342">
                  <c:v>0.79083288746210001</c:v>
                </c:pt>
                <c:pt idx="44343">
                  <c:v>0.79085072231139597</c:v>
                </c:pt>
                <c:pt idx="44344">
                  <c:v>0.79086855716069204</c:v>
                </c:pt>
                <c:pt idx="44345">
                  <c:v>0.790886392009987</c:v>
                </c:pt>
                <c:pt idx="44346">
                  <c:v>0.79090422685928297</c:v>
                </c:pt>
                <c:pt idx="44347">
                  <c:v>0.79092206170857804</c:v>
                </c:pt>
                <c:pt idx="44348">
                  <c:v>0.790939896557874</c:v>
                </c:pt>
                <c:pt idx="44349">
                  <c:v>0.79095773140716896</c:v>
                </c:pt>
                <c:pt idx="44350">
                  <c:v>0.79097556625646503</c:v>
                </c:pt>
                <c:pt idx="44351">
                  <c:v>0.79099340110576</c:v>
                </c:pt>
                <c:pt idx="44352">
                  <c:v>0.79101123595505596</c:v>
                </c:pt>
                <c:pt idx="44353">
                  <c:v>0.79102907080435103</c:v>
                </c:pt>
                <c:pt idx="44354">
                  <c:v>0.79104690565364699</c:v>
                </c:pt>
                <c:pt idx="44355">
                  <c:v>0.79106474050294195</c:v>
                </c:pt>
                <c:pt idx="44356">
                  <c:v>0.79108257535223803</c:v>
                </c:pt>
                <c:pt idx="44357">
                  <c:v>0.79110041020153299</c:v>
                </c:pt>
                <c:pt idx="44358">
                  <c:v>0.79111824505082895</c:v>
                </c:pt>
                <c:pt idx="44359">
                  <c:v>0.79113607990012402</c:v>
                </c:pt>
                <c:pt idx="44360">
                  <c:v>0.79115391474941998</c:v>
                </c:pt>
                <c:pt idx="44361">
                  <c:v>0.79117174959871595</c:v>
                </c:pt>
                <c:pt idx="44362">
                  <c:v>0.79118958444801102</c:v>
                </c:pt>
                <c:pt idx="44363">
                  <c:v>0.79120741929730698</c:v>
                </c:pt>
                <c:pt idx="44364">
                  <c:v>0.79122525414660205</c:v>
                </c:pt>
                <c:pt idx="44365">
                  <c:v>0.79124308899589801</c:v>
                </c:pt>
                <c:pt idx="44366">
                  <c:v>0.79126092384519298</c:v>
                </c:pt>
                <c:pt idx="44367">
                  <c:v>0.79127875869448905</c:v>
                </c:pt>
                <c:pt idx="44368">
                  <c:v>0.79129659354378401</c:v>
                </c:pt>
                <c:pt idx="44369">
                  <c:v>0.79131442839307997</c:v>
                </c:pt>
                <c:pt idx="44370">
                  <c:v>0.79133226324237504</c:v>
                </c:pt>
                <c:pt idx="44371">
                  <c:v>0.79135009809167101</c:v>
                </c:pt>
                <c:pt idx="44372">
                  <c:v>0.79136793294096597</c:v>
                </c:pt>
                <c:pt idx="44373">
                  <c:v>0.79138576779026204</c:v>
                </c:pt>
                <c:pt idx="44374">
                  <c:v>0.791403602639557</c:v>
                </c:pt>
                <c:pt idx="44375">
                  <c:v>0.79142143748885296</c:v>
                </c:pt>
                <c:pt idx="44376">
                  <c:v>0.79143927233814804</c:v>
                </c:pt>
                <c:pt idx="44377">
                  <c:v>0.791457107187444</c:v>
                </c:pt>
                <c:pt idx="44378">
                  <c:v>0.79147494203673896</c:v>
                </c:pt>
                <c:pt idx="44379">
                  <c:v>0.79149277688603503</c:v>
                </c:pt>
                <c:pt idx="44380">
                  <c:v>0.79151061173532999</c:v>
                </c:pt>
                <c:pt idx="44381">
                  <c:v>0.79152844658462596</c:v>
                </c:pt>
                <c:pt idx="44382">
                  <c:v>0.79154628143392103</c:v>
                </c:pt>
                <c:pt idx="44383">
                  <c:v>0.79156411628321699</c:v>
                </c:pt>
                <c:pt idx="44384">
                  <c:v>0.79158195113251295</c:v>
                </c:pt>
                <c:pt idx="44385">
                  <c:v>0.79159978598180802</c:v>
                </c:pt>
                <c:pt idx="44386">
                  <c:v>0.79161762083110399</c:v>
                </c:pt>
                <c:pt idx="44387">
                  <c:v>0.79163545568039895</c:v>
                </c:pt>
                <c:pt idx="44388">
                  <c:v>0.79165329052969502</c:v>
                </c:pt>
                <c:pt idx="44389">
                  <c:v>0.79167112537898998</c:v>
                </c:pt>
                <c:pt idx="44390">
                  <c:v>0.79168896022828605</c:v>
                </c:pt>
                <c:pt idx="44391">
                  <c:v>0.79170679507758102</c:v>
                </c:pt>
                <c:pt idx="44392">
                  <c:v>0.79172462992687698</c:v>
                </c:pt>
                <c:pt idx="44393">
                  <c:v>0.79174246477617205</c:v>
                </c:pt>
                <c:pt idx="44394">
                  <c:v>0.79176029962546801</c:v>
                </c:pt>
                <c:pt idx="44395">
                  <c:v>0.79177813447476297</c:v>
                </c:pt>
                <c:pt idx="44396">
                  <c:v>0.79179596932405905</c:v>
                </c:pt>
                <c:pt idx="44397">
                  <c:v>0.79181380417335401</c:v>
                </c:pt>
                <c:pt idx="44398">
                  <c:v>0.79183163902264997</c:v>
                </c:pt>
                <c:pt idx="44399">
                  <c:v>0.79184947387194504</c:v>
                </c:pt>
                <c:pt idx="44400">
                  <c:v>0.791867308721241</c:v>
                </c:pt>
                <c:pt idx="44401">
                  <c:v>0.79188514357053597</c:v>
                </c:pt>
                <c:pt idx="44402">
                  <c:v>0.79190297841983204</c:v>
                </c:pt>
                <c:pt idx="44403">
                  <c:v>0.791920813269127</c:v>
                </c:pt>
                <c:pt idx="44404">
                  <c:v>0.79193864811842296</c:v>
                </c:pt>
                <c:pt idx="44405">
                  <c:v>0.79195648296771803</c:v>
                </c:pt>
                <c:pt idx="44406">
                  <c:v>0.791974317817014</c:v>
                </c:pt>
                <c:pt idx="44407">
                  <c:v>0.79199215266630996</c:v>
                </c:pt>
                <c:pt idx="44408">
                  <c:v>0.79200998751560503</c:v>
                </c:pt>
                <c:pt idx="44409">
                  <c:v>0.79202782236490099</c:v>
                </c:pt>
                <c:pt idx="44410">
                  <c:v>0.79204565721419595</c:v>
                </c:pt>
                <c:pt idx="44411">
                  <c:v>0.79206349206349203</c:v>
                </c:pt>
                <c:pt idx="44412">
                  <c:v>0.79208132691278699</c:v>
                </c:pt>
                <c:pt idx="44413">
                  <c:v>0.79209916176208295</c:v>
                </c:pt>
                <c:pt idx="44414">
                  <c:v>0.79211699661137802</c:v>
                </c:pt>
                <c:pt idx="44415">
                  <c:v>0.79213483146067398</c:v>
                </c:pt>
                <c:pt idx="44416">
                  <c:v>0.79215266630996894</c:v>
                </c:pt>
                <c:pt idx="44417">
                  <c:v>0.79217050115926502</c:v>
                </c:pt>
                <c:pt idx="44418">
                  <c:v>0.79218833600855998</c:v>
                </c:pt>
                <c:pt idx="44419">
                  <c:v>0.79220617085785605</c:v>
                </c:pt>
                <c:pt idx="44420">
                  <c:v>0.79222400570715101</c:v>
                </c:pt>
                <c:pt idx="44421">
                  <c:v>0.79224184055644697</c:v>
                </c:pt>
                <c:pt idx="44422">
                  <c:v>0.79225967540574205</c:v>
                </c:pt>
                <c:pt idx="44423">
                  <c:v>0.79227751025503801</c:v>
                </c:pt>
                <c:pt idx="44424">
                  <c:v>0.79229534510433297</c:v>
                </c:pt>
                <c:pt idx="44425">
                  <c:v>0.79231317995362904</c:v>
                </c:pt>
                <c:pt idx="44426">
                  <c:v>0.79233101480292401</c:v>
                </c:pt>
                <c:pt idx="44427">
                  <c:v>0.79234884965221997</c:v>
                </c:pt>
                <c:pt idx="44428">
                  <c:v>0.79236668450151504</c:v>
                </c:pt>
                <c:pt idx="44429">
                  <c:v>0.792384519350811</c:v>
                </c:pt>
                <c:pt idx="44430">
                  <c:v>0.79240235420010696</c:v>
                </c:pt>
                <c:pt idx="44431">
                  <c:v>0.79242018904940204</c:v>
                </c:pt>
                <c:pt idx="44432">
                  <c:v>0.792438023898698</c:v>
                </c:pt>
                <c:pt idx="44433">
                  <c:v>0.79245585874799296</c:v>
                </c:pt>
                <c:pt idx="44434">
                  <c:v>0.79247369359728903</c:v>
                </c:pt>
                <c:pt idx="44435">
                  <c:v>0.79249152844658399</c:v>
                </c:pt>
                <c:pt idx="44436">
                  <c:v>0.79250936329587995</c:v>
                </c:pt>
                <c:pt idx="44437">
                  <c:v>0.79252719814517503</c:v>
                </c:pt>
                <c:pt idx="44438">
                  <c:v>0.79254503299447099</c:v>
                </c:pt>
                <c:pt idx="44439">
                  <c:v>0.79256286784376595</c:v>
                </c:pt>
                <c:pt idx="44440">
                  <c:v>0.79258070269306202</c:v>
                </c:pt>
                <c:pt idx="44441">
                  <c:v>0.79259853754235698</c:v>
                </c:pt>
                <c:pt idx="44442">
                  <c:v>0.79261637239165295</c:v>
                </c:pt>
                <c:pt idx="44443">
                  <c:v>0.79263420724094802</c:v>
                </c:pt>
                <c:pt idx="44444">
                  <c:v>0.79265204209024398</c:v>
                </c:pt>
                <c:pt idx="44445">
                  <c:v>0.79266987693953905</c:v>
                </c:pt>
                <c:pt idx="44446">
                  <c:v>0.79268771178883501</c:v>
                </c:pt>
                <c:pt idx="44447">
                  <c:v>0.79270554663812998</c:v>
                </c:pt>
                <c:pt idx="44448">
                  <c:v>0.79272338148742605</c:v>
                </c:pt>
                <c:pt idx="44449">
                  <c:v>0.79274121633672201</c:v>
                </c:pt>
                <c:pt idx="44450">
                  <c:v>0.79275905118601697</c:v>
                </c:pt>
                <c:pt idx="44451">
                  <c:v>0.79277688603531304</c:v>
                </c:pt>
                <c:pt idx="44452">
                  <c:v>0.79279472088460801</c:v>
                </c:pt>
                <c:pt idx="44453">
                  <c:v>0.79281255573390397</c:v>
                </c:pt>
                <c:pt idx="44454">
                  <c:v>0.79283039058319904</c:v>
                </c:pt>
                <c:pt idx="44455">
                  <c:v>0.792848225432495</c:v>
                </c:pt>
                <c:pt idx="44456">
                  <c:v>0.79286606028178996</c:v>
                </c:pt>
                <c:pt idx="44457">
                  <c:v>0.79288389513108604</c:v>
                </c:pt>
                <c:pt idx="44458">
                  <c:v>0.792901729980381</c:v>
                </c:pt>
                <c:pt idx="44459">
                  <c:v>0.79291956482967696</c:v>
                </c:pt>
                <c:pt idx="44460">
                  <c:v>0.79293739967897203</c:v>
                </c:pt>
                <c:pt idx="44461">
                  <c:v>0.79295523452826799</c:v>
                </c:pt>
                <c:pt idx="44462">
                  <c:v>0.79297306937756296</c:v>
                </c:pt>
                <c:pt idx="44463">
                  <c:v>0.79299090422685903</c:v>
                </c:pt>
                <c:pt idx="44464">
                  <c:v>0.79300873907615399</c:v>
                </c:pt>
                <c:pt idx="44465">
                  <c:v>0.79302657392544995</c:v>
                </c:pt>
                <c:pt idx="44466">
                  <c:v>0.79304440877474502</c:v>
                </c:pt>
                <c:pt idx="44467">
                  <c:v>0.79306224362404099</c:v>
                </c:pt>
                <c:pt idx="44468">
                  <c:v>0.79308007847333695</c:v>
                </c:pt>
                <c:pt idx="44469">
                  <c:v>0.79309791332263202</c:v>
                </c:pt>
                <c:pt idx="44470">
                  <c:v>0.79311574817192798</c:v>
                </c:pt>
                <c:pt idx="44471">
                  <c:v>0.79313358302122305</c:v>
                </c:pt>
                <c:pt idx="44472">
                  <c:v>0.79315141787051902</c:v>
                </c:pt>
                <c:pt idx="44473">
                  <c:v>0.79316925271981398</c:v>
                </c:pt>
                <c:pt idx="44474">
                  <c:v>0.79318708756911005</c:v>
                </c:pt>
                <c:pt idx="44475">
                  <c:v>0.79320492241840501</c:v>
                </c:pt>
                <c:pt idx="44476">
                  <c:v>0.79322275726770097</c:v>
                </c:pt>
                <c:pt idx="44477">
                  <c:v>0.79324059211699605</c:v>
                </c:pt>
                <c:pt idx="44478">
                  <c:v>0.79325842696629201</c:v>
                </c:pt>
                <c:pt idx="44479">
                  <c:v>0.79327626181558697</c:v>
                </c:pt>
                <c:pt idx="44480">
                  <c:v>0.79329409666488304</c:v>
                </c:pt>
                <c:pt idx="44481">
                  <c:v>0.793311931514178</c:v>
                </c:pt>
                <c:pt idx="44482">
                  <c:v>0.79332976636347396</c:v>
                </c:pt>
                <c:pt idx="44483">
                  <c:v>0.79334760121276904</c:v>
                </c:pt>
                <c:pt idx="44484">
                  <c:v>0.793365436062065</c:v>
                </c:pt>
                <c:pt idx="44485">
                  <c:v>0.79338327091135996</c:v>
                </c:pt>
                <c:pt idx="44486">
                  <c:v>0.79340110576065603</c:v>
                </c:pt>
                <c:pt idx="44487">
                  <c:v>0.793418940609951</c:v>
                </c:pt>
                <c:pt idx="44488">
                  <c:v>0.79343677545924696</c:v>
                </c:pt>
                <c:pt idx="44489">
                  <c:v>0.79345461030854203</c:v>
                </c:pt>
                <c:pt idx="44490">
                  <c:v>0.79347244515783799</c:v>
                </c:pt>
                <c:pt idx="44491">
                  <c:v>0.79349028000713395</c:v>
                </c:pt>
                <c:pt idx="44492">
                  <c:v>0.79350811485642903</c:v>
                </c:pt>
                <c:pt idx="44493">
                  <c:v>0.79352594970572499</c:v>
                </c:pt>
                <c:pt idx="44494">
                  <c:v>0.79354378455501995</c:v>
                </c:pt>
                <c:pt idx="44495">
                  <c:v>0.79356161940431602</c:v>
                </c:pt>
                <c:pt idx="44496">
                  <c:v>0.79357945425361098</c:v>
                </c:pt>
                <c:pt idx="44497">
                  <c:v>0.79359728910290706</c:v>
                </c:pt>
                <c:pt idx="44498">
                  <c:v>0.79361512395220202</c:v>
                </c:pt>
                <c:pt idx="44499">
                  <c:v>0.79363295880149798</c:v>
                </c:pt>
                <c:pt idx="44500">
                  <c:v>0.79365079365079305</c:v>
                </c:pt>
                <c:pt idx="44501">
                  <c:v>0.79366862850008901</c:v>
                </c:pt>
                <c:pt idx="44502">
                  <c:v>0.79368646334938397</c:v>
                </c:pt>
                <c:pt idx="44503">
                  <c:v>0.79370429819868005</c:v>
                </c:pt>
                <c:pt idx="44504">
                  <c:v>0.79372213304797501</c:v>
                </c:pt>
                <c:pt idx="44505">
                  <c:v>0.79373996789727097</c:v>
                </c:pt>
                <c:pt idx="44506">
                  <c:v>0.79375780274656604</c:v>
                </c:pt>
                <c:pt idx="44507">
                  <c:v>0.793775637595862</c:v>
                </c:pt>
                <c:pt idx="44508">
                  <c:v>0.79379347244515697</c:v>
                </c:pt>
                <c:pt idx="44509">
                  <c:v>0.79381130729445304</c:v>
                </c:pt>
                <c:pt idx="44510">
                  <c:v>0.793829142143748</c:v>
                </c:pt>
                <c:pt idx="44511">
                  <c:v>0.79384697699304396</c:v>
                </c:pt>
                <c:pt idx="44512">
                  <c:v>0.79386481184233904</c:v>
                </c:pt>
                <c:pt idx="44513">
                  <c:v>0.793882646691635</c:v>
                </c:pt>
                <c:pt idx="44514">
                  <c:v>0.79390048154093096</c:v>
                </c:pt>
                <c:pt idx="44515">
                  <c:v>0.79391831639022603</c:v>
                </c:pt>
                <c:pt idx="44516">
                  <c:v>0.79393615123952199</c:v>
                </c:pt>
                <c:pt idx="44517">
                  <c:v>0.79395398608881695</c:v>
                </c:pt>
                <c:pt idx="44518">
                  <c:v>0.79397182093811303</c:v>
                </c:pt>
                <c:pt idx="44519">
                  <c:v>0.79398965578740799</c:v>
                </c:pt>
                <c:pt idx="44520">
                  <c:v>0.79400749063670395</c:v>
                </c:pt>
                <c:pt idx="44521">
                  <c:v>0.79402532548599902</c:v>
                </c:pt>
                <c:pt idx="44522">
                  <c:v>0.79404316033529498</c:v>
                </c:pt>
                <c:pt idx="44523">
                  <c:v>0.79406099518458995</c:v>
                </c:pt>
                <c:pt idx="44524">
                  <c:v>0.79407883003388602</c:v>
                </c:pt>
                <c:pt idx="44525">
                  <c:v>0.79409666488318098</c:v>
                </c:pt>
                <c:pt idx="44526">
                  <c:v>0.79411449973247705</c:v>
                </c:pt>
                <c:pt idx="44527">
                  <c:v>0.79413233458177201</c:v>
                </c:pt>
                <c:pt idx="44528">
                  <c:v>0.79415016943106798</c:v>
                </c:pt>
                <c:pt idx="44529">
                  <c:v>0.79416800428036305</c:v>
                </c:pt>
                <c:pt idx="44530">
                  <c:v>0.79418583912965901</c:v>
                </c:pt>
                <c:pt idx="44531">
                  <c:v>0.79420367397895397</c:v>
                </c:pt>
                <c:pt idx="44532">
                  <c:v>0.79422150882825004</c:v>
                </c:pt>
                <c:pt idx="44533">
                  <c:v>0.79423934367754501</c:v>
                </c:pt>
                <c:pt idx="44534">
                  <c:v>0.79425717852684097</c:v>
                </c:pt>
                <c:pt idx="44535">
                  <c:v>0.79427501337613604</c:v>
                </c:pt>
                <c:pt idx="44536">
                  <c:v>0.794292848225432</c:v>
                </c:pt>
                <c:pt idx="44537">
                  <c:v>0.79431068307472796</c:v>
                </c:pt>
                <c:pt idx="44538">
                  <c:v>0.79432851792402304</c:v>
                </c:pt>
                <c:pt idx="44539">
                  <c:v>0.794346352773319</c:v>
                </c:pt>
                <c:pt idx="44540">
                  <c:v>0.79436418762261396</c:v>
                </c:pt>
                <c:pt idx="44541">
                  <c:v>0.79438202247191003</c:v>
                </c:pt>
                <c:pt idx="44542">
                  <c:v>0.79439985732120499</c:v>
                </c:pt>
                <c:pt idx="44543">
                  <c:v>0.79441769217050096</c:v>
                </c:pt>
                <c:pt idx="44544">
                  <c:v>0.79443552701979603</c:v>
                </c:pt>
                <c:pt idx="44545">
                  <c:v>0.79445336186909199</c:v>
                </c:pt>
                <c:pt idx="44546">
                  <c:v>0.79447119671838695</c:v>
                </c:pt>
                <c:pt idx="44547">
                  <c:v>0.79448903156768302</c:v>
                </c:pt>
                <c:pt idx="44548">
                  <c:v>0.79450686641697799</c:v>
                </c:pt>
                <c:pt idx="44549">
                  <c:v>0.79452470126627395</c:v>
                </c:pt>
                <c:pt idx="44550">
                  <c:v>0.79454253611556902</c:v>
                </c:pt>
                <c:pt idx="44551">
                  <c:v>0.79456037096486498</c:v>
                </c:pt>
                <c:pt idx="44552">
                  <c:v>0.79457820581416005</c:v>
                </c:pt>
                <c:pt idx="44553">
                  <c:v>0.79459604066345602</c:v>
                </c:pt>
                <c:pt idx="44554">
                  <c:v>0.79461387551275098</c:v>
                </c:pt>
                <c:pt idx="44555">
                  <c:v>0.79463171036204705</c:v>
                </c:pt>
                <c:pt idx="44556">
                  <c:v>0.79464954521134301</c:v>
                </c:pt>
                <c:pt idx="44557">
                  <c:v>0.79466738006063797</c:v>
                </c:pt>
                <c:pt idx="44558">
                  <c:v>0.79468521490993405</c:v>
                </c:pt>
                <c:pt idx="44559">
                  <c:v>0.79470304975922901</c:v>
                </c:pt>
                <c:pt idx="44560">
                  <c:v>0.79472088460852497</c:v>
                </c:pt>
                <c:pt idx="44561">
                  <c:v>0.79473871945782004</c:v>
                </c:pt>
                <c:pt idx="44562">
                  <c:v>0.794756554307116</c:v>
                </c:pt>
                <c:pt idx="44563">
                  <c:v>0.79477438915641097</c:v>
                </c:pt>
                <c:pt idx="44564">
                  <c:v>0.79479222400570704</c:v>
                </c:pt>
                <c:pt idx="44565">
                  <c:v>0.794810058855002</c:v>
                </c:pt>
                <c:pt idx="44566">
                  <c:v>0.79482789370429796</c:v>
                </c:pt>
                <c:pt idx="44567">
                  <c:v>0.79484572855359303</c:v>
                </c:pt>
                <c:pt idx="44568">
                  <c:v>0.794863563402889</c:v>
                </c:pt>
                <c:pt idx="44569">
                  <c:v>0.79488139825218396</c:v>
                </c:pt>
                <c:pt idx="44570">
                  <c:v>0.79489923310148003</c:v>
                </c:pt>
                <c:pt idx="44571">
                  <c:v>0.79491706795077499</c:v>
                </c:pt>
                <c:pt idx="44572">
                  <c:v>0.79493490280007095</c:v>
                </c:pt>
                <c:pt idx="44573">
                  <c:v>0.79495273764936603</c:v>
                </c:pt>
                <c:pt idx="44574">
                  <c:v>0.79497057249866199</c:v>
                </c:pt>
                <c:pt idx="44575">
                  <c:v>0.79498840734795795</c:v>
                </c:pt>
                <c:pt idx="44576">
                  <c:v>0.79500624219725302</c:v>
                </c:pt>
                <c:pt idx="44577">
                  <c:v>0.79502407704654898</c:v>
                </c:pt>
                <c:pt idx="44578">
                  <c:v>0.79504191189584394</c:v>
                </c:pt>
                <c:pt idx="44579">
                  <c:v>0.79505974674514002</c:v>
                </c:pt>
                <c:pt idx="44580">
                  <c:v>0.79507758159443498</c:v>
                </c:pt>
                <c:pt idx="44581">
                  <c:v>0.79509541644373105</c:v>
                </c:pt>
                <c:pt idx="44582">
                  <c:v>0.79511325129302601</c:v>
                </c:pt>
                <c:pt idx="44583">
                  <c:v>0.79513108614232197</c:v>
                </c:pt>
                <c:pt idx="44584">
                  <c:v>0.79514892099161705</c:v>
                </c:pt>
                <c:pt idx="44585">
                  <c:v>0.79516675584091301</c:v>
                </c:pt>
                <c:pt idx="44586">
                  <c:v>0.79518459069020797</c:v>
                </c:pt>
                <c:pt idx="44587">
                  <c:v>0.79520242553950404</c:v>
                </c:pt>
                <c:pt idx="44588">
                  <c:v>0.79522026038879901</c:v>
                </c:pt>
                <c:pt idx="44589">
                  <c:v>0.79523809523809497</c:v>
                </c:pt>
                <c:pt idx="44590">
                  <c:v>0.79525593008739004</c:v>
                </c:pt>
                <c:pt idx="44591">
                  <c:v>0.795273764936686</c:v>
                </c:pt>
                <c:pt idx="44592">
                  <c:v>0.79529159978598096</c:v>
                </c:pt>
                <c:pt idx="44593">
                  <c:v>0.79530943463527703</c:v>
                </c:pt>
                <c:pt idx="44594">
                  <c:v>0.795327269484572</c:v>
                </c:pt>
                <c:pt idx="44595">
                  <c:v>0.79534510433386796</c:v>
                </c:pt>
                <c:pt idx="44596">
                  <c:v>0.79536293918316303</c:v>
                </c:pt>
                <c:pt idx="44597">
                  <c:v>0.79538077403245899</c:v>
                </c:pt>
                <c:pt idx="44598">
                  <c:v>0.79539860888175495</c:v>
                </c:pt>
                <c:pt idx="44599">
                  <c:v>0.79541644373105003</c:v>
                </c:pt>
                <c:pt idx="44600">
                  <c:v>0.79543427858034599</c:v>
                </c:pt>
                <c:pt idx="44601">
                  <c:v>0.79545211342964095</c:v>
                </c:pt>
                <c:pt idx="44602">
                  <c:v>0.79546994827893702</c:v>
                </c:pt>
                <c:pt idx="44603">
                  <c:v>0.79548778312823198</c:v>
                </c:pt>
                <c:pt idx="44604">
                  <c:v>0.79550561797752795</c:v>
                </c:pt>
                <c:pt idx="44605">
                  <c:v>0.79552345282682302</c:v>
                </c:pt>
                <c:pt idx="44606">
                  <c:v>0.79554128767611898</c:v>
                </c:pt>
                <c:pt idx="44607">
                  <c:v>0.79555912252541405</c:v>
                </c:pt>
                <c:pt idx="44608">
                  <c:v>0.79557695737471001</c:v>
                </c:pt>
                <c:pt idx="44609">
                  <c:v>0.79559479222400498</c:v>
                </c:pt>
                <c:pt idx="44610">
                  <c:v>0.79561262707330105</c:v>
                </c:pt>
                <c:pt idx="44611">
                  <c:v>0.79563046192259601</c:v>
                </c:pt>
                <c:pt idx="44612">
                  <c:v>0.79564829677189197</c:v>
                </c:pt>
                <c:pt idx="44613">
                  <c:v>0.79566613162118704</c:v>
                </c:pt>
                <c:pt idx="44614">
                  <c:v>0.79568396647048301</c:v>
                </c:pt>
                <c:pt idx="44615">
                  <c:v>0.79570180131977797</c:v>
                </c:pt>
                <c:pt idx="44616">
                  <c:v>0.79571963616907404</c:v>
                </c:pt>
                <c:pt idx="44617">
                  <c:v>0.795737471018369</c:v>
                </c:pt>
                <c:pt idx="44618">
                  <c:v>0.79575530586766496</c:v>
                </c:pt>
                <c:pt idx="44619">
                  <c:v>0.79577314071696004</c:v>
                </c:pt>
                <c:pt idx="44620">
                  <c:v>0.795790975566256</c:v>
                </c:pt>
                <c:pt idx="44621">
                  <c:v>0.79580881041555196</c:v>
                </c:pt>
                <c:pt idx="44622">
                  <c:v>0.79582664526484703</c:v>
                </c:pt>
                <c:pt idx="44623">
                  <c:v>0.79584448011414299</c:v>
                </c:pt>
                <c:pt idx="44624">
                  <c:v>0.79586231496343796</c:v>
                </c:pt>
                <c:pt idx="44625">
                  <c:v>0.79588014981273403</c:v>
                </c:pt>
                <c:pt idx="44626">
                  <c:v>0.79589798466202899</c:v>
                </c:pt>
                <c:pt idx="44627">
                  <c:v>0.79591581951132495</c:v>
                </c:pt>
                <c:pt idx="44628">
                  <c:v>0.79593365436062002</c:v>
                </c:pt>
                <c:pt idx="44629">
                  <c:v>0.79595148920991599</c:v>
                </c:pt>
                <c:pt idx="44630">
                  <c:v>0.79596932405921095</c:v>
                </c:pt>
                <c:pt idx="44631">
                  <c:v>0.79598715890850702</c:v>
                </c:pt>
                <c:pt idx="44632">
                  <c:v>0.79600499375780198</c:v>
                </c:pt>
                <c:pt idx="44633">
                  <c:v>0.79602282860709805</c:v>
                </c:pt>
                <c:pt idx="44634">
                  <c:v>0.79604066345639302</c:v>
                </c:pt>
                <c:pt idx="44635">
                  <c:v>0.79605849830568898</c:v>
                </c:pt>
                <c:pt idx="44636">
                  <c:v>0.79607633315498405</c:v>
                </c:pt>
                <c:pt idx="44637">
                  <c:v>0.79609416800428001</c:v>
                </c:pt>
                <c:pt idx="44638">
                  <c:v>0.79611200285357497</c:v>
                </c:pt>
                <c:pt idx="44639">
                  <c:v>0.79612983770287105</c:v>
                </c:pt>
                <c:pt idx="44640">
                  <c:v>0.79614767255216601</c:v>
                </c:pt>
                <c:pt idx="44641">
                  <c:v>0.79616550740146197</c:v>
                </c:pt>
                <c:pt idx="44642">
                  <c:v>0.79618334225075704</c:v>
                </c:pt>
                <c:pt idx="44643">
                  <c:v>0.796201177100053</c:v>
                </c:pt>
                <c:pt idx="44644">
                  <c:v>0.79621901194934896</c:v>
                </c:pt>
                <c:pt idx="44645">
                  <c:v>0.79623684679864404</c:v>
                </c:pt>
                <c:pt idx="44646">
                  <c:v>0.79625468164794</c:v>
                </c:pt>
                <c:pt idx="44647">
                  <c:v>0.79627251649723496</c:v>
                </c:pt>
                <c:pt idx="44648">
                  <c:v>0.79629035134653103</c:v>
                </c:pt>
                <c:pt idx="44649">
                  <c:v>0.796308186195826</c:v>
                </c:pt>
                <c:pt idx="44650">
                  <c:v>0.79632602104512196</c:v>
                </c:pt>
                <c:pt idx="44651">
                  <c:v>0.79634385589441703</c:v>
                </c:pt>
                <c:pt idx="44652">
                  <c:v>0.79636169074371299</c:v>
                </c:pt>
                <c:pt idx="44653">
                  <c:v>0.79637952559300795</c:v>
                </c:pt>
                <c:pt idx="44654">
                  <c:v>0.79639736044230403</c:v>
                </c:pt>
                <c:pt idx="44655">
                  <c:v>0.79641519529159899</c:v>
                </c:pt>
                <c:pt idx="44656">
                  <c:v>0.79643303014089495</c:v>
                </c:pt>
                <c:pt idx="44657">
                  <c:v>0.79645086499019002</c:v>
                </c:pt>
                <c:pt idx="44658">
                  <c:v>0.79646869983948598</c:v>
                </c:pt>
                <c:pt idx="44659">
                  <c:v>0.79648653468878094</c:v>
                </c:pt>
                <c:pt idx="44660">
                  <c:v>0.79650436953807702</c:v>
                </c:pt>
                <c:pt idx="44661">
                  <c:v>0.79652220438737298</c:v>
                </c:pt>
                <c:pt idx="44662">
                  <c:v>0.79654003923666805</c:v>
                </c:pt>
                <c:pt idx="44663">
                  <c:v>0.79655787408596401</c:v>
                </c:pt>
                <c:pt idx="44664">
                  <c:v>0.79657570893525897</c:v>
                </c:pt>
                <c:pt idx="44665">
                  <c:v>0.79659354378455505</c:v>
                </c:pt>
                <c:pt idx="44666">
                  <c:v>0.79661137863385001</c:v>
                </c:pt>
                <c:pt idx="44667">
                  <c:v>0.79662921348314597</c:v>
                </c:pt>
                <c:pt idx="44668">
                  <c:v>0.79664704833244104</c:v>
                </c:pt>
                <c:pt idx="44669">
                  <c:v>0.796664883181737</c:v>
                </c:pt>
                <c:pt idx="44670">
                  <c:v>0.79668271803103197</c:v>
                </c:pt>
                <c:pt idx="44671">
                  <c:v>0.79670055288032804</c:v>
                </c:pt>
                <c:pt idx="44672">
                  <c:v>0.796718387729623</c:v>
                </c:pt>
                <c:pt idx="44673">
                  <c:v>0.79673622257891896</c:v>
                </c:pt>
                <c:pt idx="44674">
                  <c:v>0.79675405742821404</c:v>
                </c:pt>
                <c:pt idx="44675">
                  <c:v>0.79677189227751</c:v>
                </c:pt>
                <c:pt idx="44676">
                  <c:v>0.79678972712680496</c:v>
                </c:pt>
                <c:pt idx="44677">
                  <c:v>0.79680756197610103</c:v>
                </c:pt>
                <c:pt idx="44678">
                  <c:v>0.79682539682539599</c:v>
                </c:pt>
                <c:pt idx="44679">
                  <c:v>0.79684323167469195</c:v>
                </c:pt>
                <c:pt idx="44680">
                  <c:v>0.79686106652398703</c:v>
                </c:pt>
                <c:pt idx="44681">
                  <c:v>0.79687890137328299</c:v>
                </c:pt>
                <c:pt idx="44682">
                  <c:v>0.79689673622257895</c:v>
                </c:pt>
                <c:pt idx="44683">
                  <c:v>0.79691457107187402</c:v>
                </c:pt>
                <c:pt idx="44684">
                  <c:v>0.79693240592116998</c:v>
                </c:pt>
                <c:pt idx="44685">
                  <c:v>0.79695024077046495</c:v>
                </c:pt>
                <c:pt idx="44686">
                  <c:v>0.79696807561976102</c:v>
                </c:pt>
                <c:pt idx="44687">
                  <c:v>0.79698591046905598</c:v>
                </c:pt>
                <c:pt idx="44688">
                  <c:v>0.79700374531835205</c:v>
                </c:pt>
                <c:pt idx="44689">
                  <c:v>0.79702158016764701</c:v>
                </c:pt>
                <c:pt idx="44690">
                  <c:v>0.79703941501694298</c:v>
                </c:pt>
                <c:pt idx="44691">
                  <c:v>0.79705724986623805</c:v>
                </c:pt>
                <c:pt idx="44692">
                  <c:v>0.79707508471553401</c:v>
                </c:pt>
                <c:pt idx="44693">
                  <c:v>0.79709291956482897</c:v>
                </c:pt>
                <c:pt idx="44694">
                  <c:v>0.79711075441412504</c:v>
                </c:pt>
                <c:pt idx="44695">
                  <c:v>0.79712858926342001</c:v>
                </c:pt>
                <c:pt idx="44696">
                  <c:v>0.79714642411271597</c:v>
                </c:pt>
                <c:pt idx="44697">
                  <c:v>0.79716425896201104</c:v>
                </c:pt>
                <c:pt idx="44698">
                  <c:v>0.797182093811307</c:v>
                </c:pt>
                <c:pt idx="44699">
                  <c:v>0.79719992866060196</c:v>
                </c:pt>
                <c:pt idx="44700">
                  <c:v>0.79721776350989804</c:v>
                </c:pt>
                <c:pt idx="44701">
                  <c:v>0.797235598359193</c:v>
                </c:pt>
                <c:pt idx="44702">
                  <c:v>0.79725343320848896</c:v>
                </c:pt>
                <c:pt idx="44703">
                  <c:v>0.79727126805778403</c:v>
                </c:pt>
                <c:pt idx="44704">
                  <c:v>0.79728910290707999</c:v>
                </c:pt>
                <c:pt idx="44705">
                  <c:v>0.79730693775637596</c:v>
                </c:pt>
                <c:pt idx="44706">
                  <c:v>0.79732477260567103</c:v>
                </c:pt>
                <c:pt idx="44707">
                  <c:v>0.79734260745496699</c:v>
                </c:pt>
                <c:pt idx="44708">
                  <c:v>0.79736044230426195</c:v>
                </c:pt>
                <c:pt idx="44709">
                  <c:v>0.79737827715355802</c:v>
                </c:pt>
                <c:pt idx="44710">
                  <c:v>0.79739611200285299</c:v>
                </c:pt>
                <c:pt idx="44711">
                  <c:v>0.79741394685214895</c:v>
                </c:pt>
                <c:pt idx="44712">
                  <c:v>0.79743178170144402</c:v>
                </c:pt>
                <c:pt idx="44713">
                  <c:v>0.79744961655073998</c:v>
                </c:pt>
                <c:pt idx="44714">
                  <c:v>0.79746745140003505</c:v>
                </c:pt>
                <c:pt idx="44715">
                  <c:v>0.79748528624933102</c:v>
                </c:pt>
                <c:pt idx="44716">
                  <c:v>0.79750312109862598</c:v>
                </c:pt>
                <c:pt idx="44717">
                  <c:v>0.79752095594792205</c:v>
                </c:pt>
                <c:pt idx="44718">
                  <c:v>0.79753879079721701</c:v>
                </c:pt>
                <c:pt idx="44719">
                  <c:v>0.79755662564651297</c:v>
                </c:pt>
                <c:pt idx="44720">
                  <c:v>0.79757446049580805</c:v>
                </c:pt>
                <c:pt idx="44721">
                  <c:v>0.79759229534510401</c:v>
                </c:pt>
                <c:pt idx="44722">
                  <c:v>0.79761013019439897</c:v>
                </c:pt>
                <c:pt idx="44723">
                  <c:v>0.79762796504369504</c:v>
                </c:pt>
                <c:pt idx="44724">
                  <c:v>0.79764579989299</c:v>
                </c:pt>
                <c:pt idx="44725">
                  <c:v>0.79766363474228597</c:v>
                </c:pt>
                <c:pt idx="44726">
                  <c:v>0.79768146959158104</c:v>
                </c:pt>
                <c:pt idx="44727">
                  <c:v>0.797699304440877</c:v>
                </c:pt>
                <c:pt idx="44728">
                  <c:v>0.79771713929017296</c:v>
                </c:pt>
                <c:pt idx="44729">
                  <c:v>0.79773497413946803</c:v>
                </c:pt>
                <c:pt idx="44730">
                  <c:v>0.797752808988764</c:v>
                </c:pt>
                <c:pt idx="44731">
                  <c:v>0.79777064383805896</c:v>
                </c:pt>
                <c:pt idx="44732">
                  <c:v>0.79778847868735503</c:v>
                </c:pt>
                <c:pt idx="44733">
                  <c:v>0.79780631353664999</c:v>
                </c:pt>
                <c:pt idx="44734">
                  <c:v>0.79782414838594595</c:v>
                </c:pt>
                <c:pt idx="44735">
                  <c:v>0.79784198323524103</c:v>
                </c:pt>
                <c:pt idx="44736">
                  <c:v>0.79785981808453699</c:v>
                </c:pt>
                <c:pt idx="44737">
                  <c:v>0.79787765293383195</c:v>
                </c:pt>
                <c:pt idx="44738">
                  <c:v>0.79789548778312802</c:v>
                </c:pt>
                <c:pt idx="44739">
                  <c:v>0.79791332263242298</c:v>
                </c:pt>
                <c:pt idx="44740">
                  <c:v>0.79793115748171894</c:v>
                </c:pt>
                <c:pt idx="44741">
                  <c:v>0.79794899233101402</c:v>
                </c:pt>
                <c:pt idx="44742">
                  <c:v>0.79796682718030998</c:v>
                </c:pt>
                <c:pt idx="44743">
                  <c:v>0.79798466202960505</c:v>
                </c:pt>
                <c:pt idx="44744">
                  <c:v>0.79800249687890101</c:v>
                </c:pt>
                <c:pt idx="44745">
                  <c:v>0.79802033172819598</c:v>
                </c:pt>
                <c:pt idx="44746">
                  <c:v>0.79803816657749205</c:v>
                </c:pt>
                <c:pt idx="44747">
                  <c:v>0.79805600142678701</c:v>
                </c:pt>
                <c:pt idx="44748">
                  <c:v>0.79807383627608297</c:v>
                </c:pt>
                <c:pt idx="44749">
                  <c:v>0.79809167112537904</c:v>
                </c:pt>
                <c:pt idx="44750">
                  <c:v>0.79810950597467401</c:v>
                </c:pt>
                <c:pt idx="44751">
                  <c:v>0.79812734082396997</c:v>
                </c:pt>
                <c:pt idx="44752">
                  <c:v>0.79814517567326504</c:v>
                </c:pt>
                <c:pt idx="44753">
                  <c:v>0.798163010522561</c:v>
                </c:pt>
                <c:pt idx="44754">
                  <c:v>0.79818084537185596</c:v>
                </c:pt>
                <c:pt idx="44755">
                  <c:v>0.79819868022115203</c:v>
                </c:pt>
                <c:pt idx="44756">
                  <c:v>0.798216515070447</c:v>
                </c:pt>
                <c:pt idx="44757">
                  <c:v>0.79823434991974296</c:v>
                </c:pt>
                <c:pt idx="44758">
                  <c:v>0.79825218476903803</c:v>
                </c:pt>
                <c:pt idx="44759">
                  <c:v>0.79827001961833399</c:v>
                </c:pt>
                <c:pt idx="44760">
                  <c:v>0.79828785446762895</c:v>
                </c:pt>
                <c:pt idx="44761">
                  <c:v>0.79830568931692503</c:v>
                </c:pt>
                <c:pt idx="44762">
                  <c:v>0.79832352416621999</c:v>
                </c:pt>
                <c:pt idx="44763">
                  <c:v>0.79834135901551595</c:v>
                </c:pt>
                <c:pt idx="44764">
                  <c:v>0.79835919386481102</c:v>
                </c:pt>
                <c:pt idx="44765">
                  <c:v>0.79837702871410698</c:v>
                </c:pt>
                <c:pt idx="44766">
                  <c:v>0.79839486356340195</c:v>
                </c:pt>
                <c:pt idx="44767">
                  <c:v>0.79841269841269802</c:v>
                </c:pt>
                <c:pt idx="44768">
                  <c:v>0.79843053326199398</c:v>
                </c:pt>
                <c:pt idx="44769">
                  <c:v>0.79844836811128905</c:v>
                </c:pt>
                <c:pt idx="44770">
                  <c:v>0.79846620296058501</c:v>
                </c:pt>
                <c:pt idx="44771">
                  <c:v>0.79848403780987998</c:v>
                </c:pt>
                <c:pt idx="44772">
                  <c:v>0.79850187265917605</c:v>
                </c:pt>
                <c:pt idx="44773">
                  <c:v>0.79851970750847101</c:v>
                </c:pt>
                <c:pt idx="44774">
                  <c:v>0.79853754235776697</c:v>
                </c:pt>
                <c:pt idx="44775">
                  <c:v>0.79855537720706204</c:v>
                </c:pt>
                <c:pt idx="44776">
                  <c:v>0.79857321205635801</c:v>
                </c:pt>
                <c:pt idx="44777">
                  <c:v>0.79859104690565297</c:v>
                </c:pt>
                <c:pt idx="44778">
                  <c:v>0.79860888175494904</c:v>
                </c:pt>
                <c:pt idx="44779">
                  <c:v>0.798626716604244</c:v>
                </c:pt>
                <c:pt idx="44780">
                  <c:v>0.79864455145353996</c:v>
                </c:pt>
                <c:pt idx="44781">
                  <c:v>0.79866238630283504</c:v>
                </c:pt>
                <c:pt idx="44782">
                  <c:v>0.798680221152131</c:v>
                </c:pt>
                <c:pt idx="44783">
                  <c:v>0.79869805600142596</c:v>
                </c:pt>
                <c:pt idx="44784">
                  <c:v>0.79871589085072203</c:v>
                </c:pt>
                <c:pt idx="44785">
                  <c:v>0.79873372570001699</c:v>
                </c:pt>
                <c:pt idx="44786">
                  <c:v>0.79875156054931296</c:v>
                </c:pt>
                <c:pt idx="44787">
                  <c:v>0.79876939539860803</c:v>
                </c:pt>
                <c:pt idx="44788">
                  <c:v>0.79878723024790399</c:v>
                </c:pt>
                <c:pt idx="44789">
                  <c:v>0.79880506509719995</c:v>
                </c:pt>
                <c:pt idx="44790">
                  <c:v>0.79882289994649502</c:v>
                </c:pt>
                <c:pt idx="44791">
                  <c:v>0.79884073479579099</c:v>
                </c:pt>
                <c:pt idx="44792">
                  <c:v>0.79885856964508595</c:v>
                </c:pt>
                <c:pt idx="44793">
                  <c:v>0.79887640449438202</c:v>
                </c:pt>
                <c:pt idx="44794">
                  <c:v>0.79889423934367698</c:v>
                </c:pt>
                <c:pt idx="44795">
                  <c:v>0.79891207419297305</c:v>
                </c:pt>
                <c:pt idx="44796">
                  <c:v>0.79892990904226802</c:v>
                </c:pt>
                <c:pt idx="44797">
                  <c:v>0.79894774389156398</c:v>
                </c:pt>
                <c:pt idx="44798">
                  <c:v>0.79896557874085905</c:v>
                </c:pt>
                <c:pt idx="44799">
                  <c:v>0.79898341359015501</c:v>
                </c:pt>
                <c:pt idx="44800">
                  <c:v>0.79900124843944997</c:v>
                </c:pt>
                <c:pt idx="44801">
                  <c:v>0.79901908328874605</c:v>
                </c:pt>
                <c:pt idx="44802">
                  <c:v>0.79903691813804101</c:v>
                </c:pt>
                <c:pt idx="44803">
                  <c:v>0.79905475298733697</c:v>
                </c:pt>
                <c:pt idx="44804">
                  <c:v>0.79907258783663204</c:v>
                </c:pt>
                <c:pt idx="44805">
                  <c:v>0.799090422685928</c:v>
                </c:pt>
                <c:pt idx="44806">
                  <c:v>0.79910825753522297</c:v>
                </c:pt>
                <c:pt idx="44807">
                  <c:v>0.79912609238451904</c:v>
                </c:pt>
                <c:pt idx="44808">
                  <c:v>0.799143927233814</c:v>
                </c:pt>
                <c:pt idx="44809">
                  <c:v>0.79916176208310996</c:v>
                </c:pt>
                <c:pt idx="44810">
                  <c:v>0.79917959693240503</c:v>
                </c:pt>
                <c:pt idx="44811">
                  <c:v>0.799197431781701</c:v>
                </c:pt>
                <c:pt idx="44812">
                  <c:v>0.79921526663099696</c:v>
                </c:pt>
                <c:pt idx="44813">
                  <c:v>0.79923310148029203</c:v>
                </c:pt>
                <c:pt idx="44814">
                  <c:v>0.79925093632958799</c:v>
                </c:pt>
                <c:pt idx="44815">
                  <c:v>0.79926877117888295</c:v>
                </c:pt>
                <c:pt idx="44816">
                  <c:v>0.79928660602817903</c:v>
                </c:pt>
                <c:pt idx="44817">
                  <c:v>0.79930444087747399</c:v>
                </c:pt>
                <c:pt idx="44818">
                  <c:v>0.79932227572676995</c:v>
                </c:pt>
                <c:pt idx="44819">
                  <c:v>0.79934011057606502</c:v>
                </c:pt>
                <c:pt idx="44820">
                  <c:v>0.79935794542536098</c:v>
                </c:pt>
                <c:pt idx="44821">
                  <c:v>0.79937578027465594</c:v>
                </c:pt>
                <c:pt idx="44822">
                  <c:v>0.79939361512395202</c:v>
                </c:pt>
                <c:pt idx="44823">
                  <c:v>0.79941144997324698</c:v>
                </c:pt>
                <c:pt idx="44824">
                  <c:v>0.79942928482254305</c:v>
                </c:pt>
                <c:pt idx="44825">
                  <c:v>0.79944711967183801</c:v>
                </c:pt>
                <c:pt idx="44826">
                  <c:v>0.79946495452113397</c:v>
                </c:pt>
                <c:pt idx="44827">
                  <c:v>0.79948278937042905</c:v>
                </c:pt>
                <c:pt idx="44828">
                  <c:v>0.79950062421972501</c:v>
                </c:pt>
                <c:pt idx="44829">
                  <c:v>0.79951845906901997</c:v>
                </c:pt>
                <c:pt idx="44830">
                  <c:v>0.79953629391831604</c:v>
                </c:pt>
                <c:pt idx="44831">
                  <c:v>0.79955412876761101</c:v>
                </c:pt>
                <c:pt idx="44832">
                  <c:v>0.79957196361690697</c:v>
                </c:pt>
                <c:pt idx="44833">
                  <c:v>0.79958979846620204</c:v>
                </c:pt>
                <c:pt idx="44834">
                  <c:v>0.799607633315498</c:v>
                </c:pt>
                <c:pt idx="44835">
                  <c:v>0.79962546816479396</c:v>
                </c:pt>
                <c:pt idx="44836">
                  <c:v>0.79964330301408904</c:v>
                </c:pt>
                <c:pt idx="44837">
                  <c:v>0.799661137863385</c:v>
                </c:pt>
                <c:pt idx="44838">
                  <c:v>0.79967897271267996</c:v>
                </c:pt>
                <c:pt idx="44839">
                  <c:v>0.79969680756197603</c:v>
                </c:pt>
                <c:pt idx="44840">
                  <c:v>0.79971464241127099</c:v>
                </c:pt>
                <c:pt idx="44841">
                  <c:v>0.79973247726056695</c:v>
                </c:pt>
                <c:pt idx="44842">
                  <c:v>0.79975031210986203</c:v>
                </c:pt>
                <c:pt idx="44843">
                  <c:v>0.79976814695915799</c:v>
                </c:pt>
                <c:pt idx="44844">
                  <c:v>0.79978598180845295</c:v>
                </c:pt>
                <c:pt idx="44845">
                  <c:v>0.79980381665774902</c:v>
                </c:pt>
                <c:pt idx="44846">
                  <c:v>0.79982165150704398</c:v>
                </c:pt>
                <c:pt idx="44847">
                  <c:v>0.79983948635633995</c:v>
                </c:pt>
                <c:pt idx="44848">
                  <c:v>0.79985732120563502</c:v>
                </c:pt>
                <c:pt idx="44849">
                  <c:v>0.79987515605493098</c:v>
                </c:pt>
                <c:pt idx="44850">
                  <c:v>0.79989299090422605</c:v>
                </c:pt>
                <c:pt idx="44851">
                  <c:v>0.79991082575352201</c:v>
                </c:pt>
                <c:pt idx="44852">
                  <c:v>0.79992866060281698</c:v>
                </c:pt>
                <c:pt idx="44853">
                  <c:v>0.79994649545211305</c:v>
                </c:pt>
                <c:pt idx="44854">
                  <c:v>0.79996433030140801</c:v>
                </c:pt>
                <c:pt idx="44855">
                  <c:v>0.79998216515070397</c:v>
                </c:pt>
                <c:pt idx="44856">
                  <c:v>0.8</c:v>
                </c:pt>
                <c:pt idx="44857">
                  <c:v>0.80001783484929501</c:v>
                </c:pt>
                <c:pt idx="44858">
                  <c:v>0.80003566969859097</c:v>
                </c:pt>
                <c:pt idx="44859">
                  <c:v>0.80005350454788604</c:v>
                </c:pt>
                <c:pt idx="44860">
                  <c:v>0.800071339397182</c:v>
                </c:pt>
                <c:pt idx="44861">
                  <c:v>0.80008917424647696</c:v>
                </c:pt>
                <c:pt idx="44862">
                  <c:v>0.80010700909577304</c:v>
                </c:pt>
                <c:pt idx="44863">
                  <c:v>0.800124843945068</c:v>
                </c:pt>
                <c:pt idx="44864">
                  <c:v>0.80014267879436396</c:v>
                </c:pt>
                <c:pt idx="44865">
                  <c:v>0.80016051364365903</c:v>
                </c:pt>
                <c:pt idx="44866">
                  <c:v>0.80017834849295499</c:v>
                </c:pt>
                <c:pt idx="44867">
                  <c:v>0.80019618334224996</c:v>
                </c:pt>
                <c:pt idx="44868">
                  <c:v>0.80021401819154603</c:v>
                </c:pt>
                <c:pt idx="44869">
                  <c:v>0.80023185304084099</c:v>
                </c:pt>
                <c:pt idx="44870">
                  <c:v>0.80024968789013695</c:v>
                </c:pt>
                <c:pt idx="44871">
                  <c:v>0.80026752273943202</c:v>
                </c:pt>
                <c:pt idx="44872">
                  <c:v>0.80028535758872799</c:v>
                </c:pt>
                <c:pt idx="44873">
                  <c:v>0.80030319243802395</c:v>
                </c:pt>
                <c:pt idx="44874">
                  <c:v>0.80032102728731902</c:v>
                </c:pt>
                <c:pt idx="44875">
                  <c:v>0.80033886213661498</c:v>
                </c:pt>
                <c:pt idx="44876">
                  <c:v>0.80035669698591005</c:v>
                </c:pt>
                <c:pt idx="44877">
                  <c:v>0.80037453183520602</c:v>
                </c:pt>
                <c:pt idx="44878">
                  <c:v>0.80039236668450098</c:v>
                </c:pt>
                <c:pt idx="44879">
                  <c:v>0.80041020153379705</c:v>
                </c:pt>
                <c:pt idx="44880">
                  <c:v>0.80042803638309201</c:v>
                </c:pt>
                <c:pt idx="44881">
                  <c:v>0.80044587123238797</c:v>
                </c:pt>
                <c:pt idx="44882">
                  <c:v>0.80046370608168305</c:v>
                </c:pt>
                <c:pt idx="44883">
                  <c:v>0.80048154093097901</c:v>
                </c:pt>
                <c:pt idx="44884">
                  <c:v>0.80049937578027397</c:v>
                </c:pt>
                <c:pt idx="44885">
                  <c:v>0.80051721062957004</c:v>
                </c:pt>
                <c:pt idx="44886">
                  <c:v>0.800535045478865</c:v>
                </c:pt>
                <c:pt idx="44887">
                  <c:v>0.80055288032816097</c:v>
                </c:pt>
                <c:pt idx="44888">
                  <c:v>0.80057071517745604</c:v>
                </c:pt>
                <c:pt idx="44889">
                  <c:v>0.800588550026752</c:v>
                </c:pt>
                <c:pt idx="44890">
                  <c:v>0.80060638487604696</c:v>
                </c:pt>
                <c:pt idx="44891">
                  <c:v>0.80062421972534303</c:v>
                </c:pt>
                <c:pt idx="44892">
                  <c:v>0.800642054574638</c:v>
                </c:pt>
                <c:pt idx="44893">
                  <c:v>0.80065988942393396</c:v>
                </c:pt>
                <c:pt idx="44894">
                  <c:v>0.80067772427322903</c:v>
                </c:pt>
                <c:pt idx="44895">
                  <c:v>0.80069555912252499</c:v>
                </c:pt>
                <c:pt idx="44896">
                  <c:v>0.80071339397182095</c:v>
                </c:pt>
                <c:pt idx="44897">
                  <c:v>0.80073122882111603</c:v>
                </c:pt>
                <c:pt idx="44898">
                  <c:v>0.80074906367041199</c:v>
                </c:pt>
                <c:pt idx="44899">
                  <c:v>0.80076689851970695</c:v>
                </c:pt>
                <c:pt idx="44900">
                  <c:v>0.80078473336900302</c:v>
                </c:pt>
                <c:pt idx="44901">
                  <c:v>0.80080256821829798</c:v>
                </c:pt>
                <c:pt idx="44902">
                  <c:v>0.80082040306759406</c:v>
                </c:pt>
                <c:pt idx="44903">
                  <c:v>0.80083823791688902</c:v>
                </c:pt>
                <c:pt idx="44904">
                  <c:v>0.80085607276618498</c:v>
                </c:pt>
                <c:pt idx="44905">
                  <c:v>0.80087390761548005</c:v>
                </c:pt>
                <c:pt idx="44906">
                  <c:v>0.80089174246477601</c:v>
                </c:pt>
                <c:pt idx="44907">
                  <c:v>0.80090957731407098</c:v>
                </c:pt>
                <c:pt idx="44908">
                  <c:v>0.80092741216336705</c:v>
                </c:pt>
                <c:pt idx="44909">
                  <c:v>0.80094524701266201</c:v>
                </c:pt>
                <c:pt idx="44910">
                  <c:v>0.80096308186195797</c:v>
                </c:pt>
                <c:pt idx="44911">
                  <c:v>0.80098091671125304</c:v>
                </c:pt>
                <c:pt idx="44912">
                  <c:v>0.800998751560549</c:v>
                </c:pt>
                <c:pt idx="44913">
                  <c:v>0.80101658640984397</c:v>
                </c:pt>
                <c:pt idx="44914">
                  <c:v>0.80103442125914004</c:v>
                </c:pt>
                <c:pt idx="44915">
                  <c:v>0.801052256108435</c:v>
                </c:pt>
                <c:pt idx="44916">
                  <c:v>0.80107009095773096</c:v>
                </c:pt>
                <c:pt idx="44917">
                  <c:v>0.80108792580702604</c:v>
                </c:pt>
                <c:pt idx="44918">
                  <c:v>0.801105760656322</c:v>
                </c:pt>
                <c:pt idx="44919">
                  <c:v>0.80112359550561796</c:v>
                </c:pt>
                <c:pt idx="44920">
                  <c:v>0.80114143035491303</c:v>
                </c:pt>
                <c:pt idx="44921">
                  <c:v>0.80115926520420899</c:v>
                </c:pt>
                <c:pt idx="44922">
                  <c:v>0.80117710005350395</c:v>
                </c:pt>
                <c:pt idx="44923">
                  <c:v>0.80119493490280003</c:v>
                </c:pt>
                <c:pt idx="44924">
                  <c:v>0.80121276975209499</c:v>
                </c:pt>
                <c:pt idx="44925">
                  <c:v>0.80123060460139095</c:v>
                </c:pt>
                <c:pt idx="44926">
                  <c:v>0.80124843945068602</c:v>
                </c:pt>
                <c:pt idx="44927">
                  <c:v>0.80126627429998198</c:v>
                </c:pt>
                <c:pt idx="44928">
                  <c:v>0.80128410914927695</c:v>
                </c:pt>
                <c:pt idx="44929">
                  <c:v>0.80130194399857302</c:v>
                </c:pt>
                <c:pt idx="44930">
                  <c:v>0.80131977884786798</c:v>
                </c:pt>
                <c:pt idx="44931">
                  <c:v>0.80133761369716405</c:v>
                </c:pt>
                <c:pt idx="44932">
                  <c:v>0.80135544854645901</c:v>
                </c:pt>
                <c:pt idx="44933">
                  <c:v>0.80137328339575498</c:v>
                </c:pt>
                <c:pt idx="44934">
                  <c:v>0.80139111824505005</c:v>
                </c:pt>
                <c:pt idx="44935">
                  <c:v>0.80140895309434601</c:v>
                </c:pt>
                <c:pt idx="44936">
                  <c:v>0.80142678794364097</c:v>
                </c:pt>
                <c:pt idx="44937">
                  <c:v>0.80144462279293704</c:v>
                </c:pt>
                <c:pt idx="44938">
                  <c:v>0.80146245764223201</c:v>
                </c:pt>
                <c:pt idx="44939">
                  <c:v>0.80148029249152797</c:v>
                </c:pt>
                <c:pt idx="44940">
                  <c:v>0.80149812734082304</c:v>
                </c:pt>
                <c:pt idx="44941">
                  <c:v>0.801515962190119</c:v>
                </c:pt>
                <c:pt idx="44942">
                  <c:v>0.80153379703941496</c:v>
                </c:pt>
                <c:pt idx="44943">
                  <c:v>0.80155163188871004</c:v>
                </c:pt>
                <c:pt idx="44944">
                  <c:v>0.801569466738006</c:v>
                </c:pt>
                <c:pt idx="44945">
                  <c:v>0.80158730158730096</c:v>
                </c:pt>
                <c:pt idx="44946">
                  <c:v>0.80160513643659703</c:v>
                </c:pt>
                <c:pt idx="44947">
                  <c:v>0.80162297128589199</c:v>
                </c:pt>
                <c:pt idx="44948">
                  <c:v>0.80164080613518796</c:v>
                </c:pt>
                <c:pt idx="44949">
                  <c:v>0.80165864098448303</c:v>
                </c:pt>
                <c:pt idx="44950">
                  <c:v>0.80167647583377899</c:v>
                </c:pt>
                <c:pt idx="44951">
                  <c:v>0.80169431068307395</c:v>
                </c:pt>
                <c:pt idx="44952">
                  <c:v>0.80171214553237002</c:v>
                </c:pt>
                <c:pt idx="44953">
                  <c:v>0.80172998038166499</c:v>
                </c:pt>
                <c:pt idx="44954">
                  <c:v>0.80174781523096095</c:v>
                </c:pt>
                <c:pt idx="44955">
                  <c:v>0.80176565008025602</c:v>
                </c:pt>
                <c:pt idx="44956">
                  <c:v>0.80178348492955198</c:v>
                </c:pt>
                <c:pt idx="44957">
                  <c:v>0.80180131977884705</c:v>
                </c:pt>
                <c:pt idx="44958">
                  <c:v>0.80181915462814302</c:v>
                </c:pt>
                <c:pt idx="44959">
                  <c:v>0.80183698947743798</c:v>
                </c:pt>
                <c:pt idx="44960">
                  <c:v>0.80185482432673405</c:v>
                </c:pt>
                <c:pt idx="44961">
                  <c:v>0.80187265917603001</c:v>
                </c:pt>
                <c:pt idx="44962">
                  <c:v>0.80189049402532497</c:v>
                </c:pt>
                <c:pt idx="44963">
                  <c:v>0.80190832887462105</c:v>
                </c:pt>
                <c:pt idx="44964">
                  <c:v>0.80192616372391601</c:v>
                </c:pt>
                <c:pt idx="44965">
                  <c:v>0.80194399857321197</c:v>
                </c:pt>
                <c:pt idx="44966">
                  <c:v>0.80196183342250704</c:v>
                </c:pt>
                <c:pt idx="44967">
                  <c:v>0.801979668271803</c:v>
                </c:pt>
                <c:pt idx="44968">
                  <c:v>0.80199750312109797</c:v>
                </c:pt>
                <c:pt idx="44969">
                  <c:v>0.80201533797039404</c:v>
                </c:pt>
                <c:pt idx="44970">
                  <c:v>0.802033172819689</c:v>
                </c:pt>
                <c:pt idx="44971">
                  <c:v>0.80205100766898496</c:v>
                </c:pt>
                <c:pt idx="44972">
                  <c:v>0.80206884251828003</c:v>
                </c:pt>
                <c:pt idx="44973">
                  <c:v>0.802086677367576</c:v>
                </c:pt>
                <c:pt idx="44974">
                  <c:v>0.80210451221687096</c:v>
                </c:pt>
                <c:pt idx="44975">
                  <c:v>0.80212234706616703</c:v>
                </c:pt>
                <c:pt idx="44976">
                  <c:v>0.80214018191546199</c:v>
                </c:pt>
                <c:pt idx="44977">
                  <c:v>0.80215801676475795</c:v>
                </c:pt>
                <c:pt idx="44978">
                  <c:v>0.80217585161405303</c:v>
                </c:pt>
                <c:pt idx="44979">
                  <c:v>0.80219368646334899</c:v>
                </c:pt>
                <c:pt idx="44980">
                  <c:v>0.80221152131264495</c:v>
                </c:pt>
                <c:pt idx="44981">
                  <c:v>0.80222935616194002</c:v>
                </c:pt>
                <c:pt idx="44982">
                  <c:v>0.80224719101123598</c:v>
                </c:pt>
                <c:pt idx="44983">
                  <c:v>0.80226502586053094</c:v>
                </c:pt>
                <c:pt idx="44984">
                  <c:v>0.80228286070982702</c:v>
                </c:pt>
                <c:pt idx="44985">
                  <c:v>0.80230069555912198</c:v>
                </c:pt>
                <c:pt idx="44986">
                  <c:v>0.80231853040841805</c:v>
                </c:pt>
                <c:pt idx="44987">
                  <c:v>0.80233636525771301</c:v>
                </c:pt>
                <c:pt idx="44988">
                  <c:v>0.80235420010700897</c:v>
                </c:pt>
                <c:pt idx="44989">
                  <c:v>0.80237203495630405</c:v>
                </c:pt>
                <c:pt idx="44990">
                  <c:v>0.80238986980560001</c:v>
                </c:pt>
                <c:pt idx="44991">
                  <c:v>0.80240770465489497</c:v>
                </c:pt>
                <c:pt idx="44992">
                  <c:v>0.80242553950419104</c:v>
                </c:pt>
                <c:pt idx="44993">
                  <c:v>0.80244337435348601</c:v>
                </c:pt>
                <c:pt idx="44994">
                  <c:v>0.80246120920278197</c:v>
                </c:pt>
                <c:pt idx="44995">
                  <c:v>0.80247904405207704</c:v>
                </c:pt>
                <c:pt idx="44996">
                  <c:v>0.802496878901373</c:v>
                </c:pt>
                <c:pt idx="44997">
                  <c:v>0.80251471375066796</c:v>
                </c:pt>
                <c:pt idx="44998">
                  <c:v>0.80253254859996404</c:v>
                </c:pt>
                <c:pt idx="44999">
                  <c:v>0.802550383449259</c:v>
                </c:pt>
                <c:pt idx="45000">
                  <c:v>0.80256821829855496</c:v>
                </c:pt>
                <c:pt idx="45001">
                  <c:v>0.80258605314785003</c:v>
                </c:pt>
                <c:pt idx="45002">
                  <c:v>0.80260388799714599</c:v>
                </c:pt>
                <c:pt idx="45003">
                  <c:v>0.80262172284644195</c:v>
                </c:pt>
                <c:pt idx="45004">
                  <c:v>0.80263955769573703</c:v>
                </c:pt>
                <c:pt idx="45005">
                  <c:v>0.80265739254503299</c:v>
                </c:pt>
                <c:pt idx="45006">
                  <c:v>0.80267522739432795</c:v>
                </c:pt>
                <c:pt idx="45007">
                  <c:v>0.80269306224362402</c:v>
                </c:pt>
                <c:pt idx="45008">
                  <c:v>0.80271089709291898</c:v>
                </c:pt>
                <c:pt idx="45009">
                  <c:v>0.80272873194221495</c:v>
                </c:pt>
                <c:pt idx="45010">
                  <c:v>0.80274656679151002</c:v>
                </c:pt>
                <c:pt idx="45011">
                  <c:v>0.80276440164080598</c:v>
                </c:pt>
                <c:pt idx="45012">
                  <c:v>0.80278223649010105</c:v>
                </c:pt>
                <c:pt idx="45013">
                  <c:v>0.80280007133939701</c:v>
                </c:pt>
                <c:pt idx="45014">
                  <c:v>0.80281790618869198</c:v>
                </c:pt>
                <c:pt idx="45015">
                  <c:v>0.80283574103798805</c:v>
                </c:pt>
                <c:pt idx="45016">
                  <c:v>0.80285357588728301</c:v>
                </c:pt>
                <c:pt idx="45017">
                  <c:v>0.80287141073657897</c:v>
                </c:pt>
                <c:pt idx="45018">
                  <c:v>0.80288924558587405</c:v>
                </c:pt>
                <c:pt idx="45019">
                  <c:v>0.80290708043517001</c:v>
                </c:pt>
                <c:pt idx="45020">
                  <c:v>0.80292491528446497</c:v>
                </c:pt>
                <c:pt idx="45021">
                  <c:v>0.80294275013376104</c:v>
                </c:pt>
                <c:pt idx="45022">
                  <c:v>0.802960584983056</c:v>
                </c:pt>
                <c:pt idx="45023">
                  <c:v>0.80297841983235196</c:v>
                </c:pt>
                <c:pt idx="45024">
                  <c:v>0.80299625468164704</c:v>
                </c:pt>
                <c:pt idx="45025">
                  <c:v>0.803014089530943</c:v>
                </c:pt>
                <c:pt idx="45026">
                  <c:v>0.80303192438023896</c:v>
                </c:pt>
                <c:pt idx="45027">
                  <c:v>0.80304975922953403</c:v>
                </c:pt>
                <c:pt idx="45028">
                  <c:v>0.80306759407882999</c:v>
                </c:pt>
                <c:pt idx="45029">
                  <c:v>0.80308542892812496</c:v>
                </c:pt>
                <c:pt idx="45030">
                  <c:v>0.80310326377742103</c:v>
                </c:pt>
                <c:pt idx="45031">
                  <c:v>0.80312109862671599</c:v>
                </c:pt>
                <c:pt idx="45032">
                  <c:v>0.80313893347601195</c:v>
                </c:pt>
                <c:pt idx="45033">
                  <c:v>0.80315676832530702</c:v>
                </c:pt>
                <c:pt idx="45034">
                  <c:v>0.80317460317460299</c:v>
                </c:pt>
                <c:pt idx="45035">
                  <c:v>0.80319243802389795</c:v>
                </c:pt>
                <c:pt idx="45036">
                  <c:v>0.80321027287319402</c:v>
                </c:pt>
                <c:pt idx="45037">
                  <c:v>0.80322810772248898</c:v>
                </c:pt>
                <c:pt idx="45038">
                  <c:v>0.80324594257178505</c:v>
                </c:pt>
                <c:pt idx="45039">
                  <c:v>0.80326377742108002</c:v>
                </c:pt>
                <c:pt idx="45040">
                  <c:v>0.80328161227037598</c:v>
                </c:pt>
                <c:pt idx="45041">
                  <c:v>0.80329944711967105</c:v>
                </c:pt>
                <c:pt idx="45042">
                  <c:v>0.80331728196896701</c:v>
                </c:pt>
                <c:pt idx="45043">
                  <c:v>0.80333511681826197</c:v>
                </c:pt>
                <c:pt idx="45044">
                  <c:v>0.80335295166755805</c:v>
                </c:pt>
                <c:pt idx="45045">
                  <c:v>0.80337078651685301</c:v>
                </c:pt>
                <c:pt idx="45046">
                  <c:v>0.80338862136614897</c:v>
                </c:pt>
                <c:pt idx="45047">
                  <c:v>0.80340645621544404</c:v>
                </c:pt>
                <c:pt idx="45048">
                  <c:v>0.80342429106474</c:v>
                </c:pt>
                <c:pt idx="45049">
                  <c:v>0.80344212591403597</c:v>
                </c:pt>
                <c:pt idx="45050">
                  <c:v>0.80345996076333104</c:v>
                </c:pt>
                <c:pt idx="45051">
                  <c:v>0.803477795612627</c:v>
                </c:pt>
                <c:pt idx="45052">
                  <c:v>0.80349563046192196</c:v>
                </c:pt>
                <c:pt idx="45053">
                  <c:v>0.80351346531121803</c:v>
                </c:pt>
                <c:pt idx="45054">
                  <c:v>0.803531300160513</c:v>
                </c:pt>
                <c:pt idx="45055">
                  <c:v>0.80354913500980896</c:v>
                </c:pt>
                <c:pt idx="45056">
                  <c:v>0.80356696985910403</c:v>
                </c:pt>
                <c:pt idx="45057">
                  <c:v>0.80358480470839999</c:v>
                </c:pt>
                <c:pt idx="45058">
                  <c:v>0.80360263955769495</c:v>
                </c:pt>
                <c:pt idx="45059">
                  <c:v>0.80362047440699103</c:v>
                </c:pt>
                <c:pt idx="45060">
                  <c:v>0.80363830925628599</c:v>
                </c:pt>
                <c:pt idx="45061">
                  <c:v>0.80365614410558195</c:v>
                </c:pt>
                <c:pt idx="45062">
                  <c:v>0.80367397895487702</c:v>
                </c:pt>
                <c:pt idx="45063">
                  <c:v>0.80369181380417298</c:v>
                </c:pt>
                <c:pt idx="45064">
                  <c:v>0.80370964865346795</c:v>
                </c:pt>
                <c:pt idx="45065">
                  <c:v>0.80372748350276402</c:v>
                </c:pt>
                <c:pt idx="45066">
                  <c:v>0.80374531835205998</c:v>
                </c:pt>
                <c:pt idx="45067">
                  <c:v>0.80376315320135505</c:v>
                </c:pt>
                <c:pt idx="45068">
                  <c:v>0.80378098805065101</c:v>
                </c:pt>
                <c:pt idx="45069">
                  <c:v>0.80379882289994597</c:v>
                </c:pt>
                <c:pt idx="45070">
                  <c:v>0.80381665774924205</c:v>
                </c:pt>
                <c:pt idx="45071">
                  <c:v>0.80383449259853701</c:v>
                </c:pt>
                <c:pt idx="45072">
                  <c:v>0.80385232744783297</c:v>
                </c:pt>
                <c:pt idx="45073">
                  <c:v>0.80387016229712804</c:v>
                </c:pt>
                <c:pt idx="45074">
                  <c:v>0.803887997146424</c:v>
                </c:pt>
                <c:pt idx="45075">
                  <c:v>0.80390583199571897</c:v>
                </c:pt>
                <c:pt idx="45076">
                  <c:v>0.80392366684501504</c:v>
                </c:pt>
                <c:pt idx="45077">
                  <c:v>0.80394150169431</c:v>
                </c:pt>
                <c:pt idx="45078">
                  <c:v>0.80395933654360596</c:v>
                </c:pt>
                <c:pt idx="45079">
                  <c:v>0.80397717139290104</c:v>
                </c:pt>
                <c:pt idx="45080">
                  <c:v>0.803995006242197</c:v>
                </c:pt>
                <c:pt idx="45081">
                  <c:v>0.80401284109149196</c:v>
                </c:pt>
                <c:pt idx="45082">
                  <c:v>0.80403067594078803</c:v>
                </c:pt>
                <c:pt idx="45083">
                  <c:v>0.80404851079008299</c:v>
                </c:pt>
                <c:pt idx="45084">
                  <c:v>0.80406634563937895</c:v>
                </c:pt>
                <c:pt idx="45085">
                  <c:v>0.80408418048867403</c:v>
                </c:pt>
                <c:pt idx="45086">
                  <c:v>0.80410201533796999</c:v>
                </c:pt>
                <c:pt idx="45087">
                  <c:v>0.80411985018726595</c:v>
                </c:pt>
                <c:pt idx="45088">
                  <c:v>0.80413768503656102</c:v>
                </c:pt>
                <c:pt idx="45089">
                  <c:v>0.80415551988585698</c:v>
                </c:pt>
                <c:pt idx="45090">
                  <c:v>0.80417335473515195</c:v>
                </c:pt>
                <c:pt idx="45091">
                  <c:v>0.80419118958444802</c:v>
                </c:pt>
                <c:pt idx="45092">
                  <c:v>0.80420902443374298</c:v>
                </c:pt>
                <c:pt idx="45093">
                  <c:v>0.80422685928303905</c:v>
                </c:pt>
                <c:pt idx="45094">
                  <c:v>0.80424469413233401</c:v>
                </c:pt>
                <c:pt idx="45095">
                  <c:v>0.80426252898162998</c:v>
                </c:pt>
                <c:pt idx="45096">
                  <c:v>0.80428036383092505</c:v>
                </c:pt>
                <c:pt idx="45097">
                  <c:v>0.80429819868022101</c:v>
                </c:pt>
                <c:pt idx="45098">
                  <c:v>0.80431603352951597</c:v>
                </c:pt>
                <c:pt idx="45099">
                  <c:v>0.80433386837881204</c:v>
                </c:pt>
                <c:pt idx="45100">
                  <c:v>0.80435170322810701</c:v>
                </c:pt>
                <c:pt idx="45101">
                  <c:v>0.80436953807740297</c:v>
                </c:pt>
                <c:pt idx="45102">
                  <c:v>0.80438737292669804</c:v>
                </c:pt>
                <c:pt idx="45103">
                  <c:v>0.804405207775994</c:v>
                </c:pt>
                <c:pt idx="45104">
                  <c:v>0.80442304262528896</c:v>
                </c:pt>
                <c:pt idx="45105">
                  <c:v>0.80444087747458504</c:v>
                </c:pt>
                <c:pt idx="45106">
                  <c:v>0.80445871232388</c:v>
                </c:pt>
                <c:pt idx="45107">
                  <c:v>0.80447654717317596</c:v>
                </c:pt>
                <c:pt idx="45108">
                  <c:v>0.80449438202247103</c:v>
                </c:pt>
                <c:pt idx="45109">
                  <c:v>0.80451221687176699</c:v>
                </c:pt>
                <c:pt idx="45110">
                  <c:v>0.80453005172106296</c:v>
                </c:pt>
                <c:pt idx="45111">
                  <c:v>0.80454788657035803</c:v>
                </c:pt>
                <c:pt idx="45112">
                  <c:v>0.80456572141965399</c:v>
                </c:pt>
                <c:pt idx="45113">
                  <c:v>0.80458355626894895</c:v>
                </c:pt>
                <c:pt idx="45114">
                  <c:v>0.80460139111824502</c:v>
                </c:pt>
                <c:pt idx="45115">
                  <c:v>0.80461922596753999</c:v>
                </c:pt>
                <c:pt idx="45116">
                  <c:v>0.80463706081683595</c:v>
                </c:pt>
                <c:pt idx="45117">
                  <c:v>0.80465489566613102</c:v>
                </c:pt>
                <c:pt idx="45118">
                  <c:v>0.80467273051542698</c:v>
                </c:pt>
                <c:pt idx="45119">
                  <c:v>0.80469056536472205</c:v>
                </c:pt>
                <c:pt idx="45120">
                  <c:v>0.80470840021401802</c:v>
                </c:pt>
                <c:pt idx="45121">
                  <c:v>0.80472623506331298</c:v>
                </c:pt>
                <c:pt idx="45122">
                  <c:v>0.80474406991260905</c:v>
                </c:pt>
                <c:pt idx="45123">
                  <c:v>0.80476190476190401</c:v>
                </c:pt>
                <c:pt idx="45124">
                  <c:v>0.80477973961119997</c:v>
                </c:pt>
                <c:pt idx="45125">
                  <c:v>0.80479757446049505</c:v>
                </c:pt>
                <c:pt idx="45126">
                  <c:v>0.80481540930979101</c:v>
                </c:pt>
                <c:pt idx="45127">
                  <c:v>0.80483324415908597</c:v>
                </c:pt>
                <c:pt idx="45128">
                  <c:v>0.80485107900838204</c:v>
                </c:pt>
                <c:pt idx="45129">
                  <c:v>0.804868913857677</c:v>
                </c:pt>
                <c:pt idx="45130">
                  <c:v>0.80488674870697297</c:v>
                </c:pt>
                <c:pt idx="45131">
                  <c:v>0.80490458355626804</c:v>
                </c:pt>
                <c:pt idx="45132">
                  <c:v>0.804922418405564</c:v>
                </c:pt>
                <c:pt idx="45133">
                  <c:v>0.80494025325485996</c:v>
                </c:pt>
                <c:pt idx="45134">
                  <c:v>0.80495808810415503</c:v>
                </c:pt>
                <c:pt idx="45135">
                  <c:v>0.804975922953451</c:v>
                </c:pt>
                <c:pt idx="45136">
                  <c:v>0.80499375780274596</c:v>
                </c:pt>
                <c:pt idx="45137">
                  <c:v>0.80501159265204203</c:v>
                </c:pt>
                <c:pt idx="45138">
                  <c:v>0.80502942750133699</c:v>
                </c:pt>
                <c:pt idx="45139">
                  <c:v>0.80504726235063295</c:v>
                </c:pt>
                <c:pt idx="45140">
                  <c:v>0.80506509719992803</c:v>
                </c:pt>
                <c:pt idx="45141">
                  <c:v>0.80508293204922399</c:v>
                </c:pt>
                <c:pt idx="45142">
                  <c:v>0.80510076689851895</c:v>
                </c:pt>
                <c:pt idx="45143">
                  <c:v>0.80511860174781502</c:v>
                </c:pt>
                <c:pt idx="45144">
                  <c:v>0.80513643659710998</c:v>
                </c:pt>
                <c:pt idx="45145">
                  <c:v>0.80515427144640594</c:v>
                </c:pt>
                <c:pt idx="45146">
                  <c:v>0.80517210629570102</c:v>
                </c:pt>
                <c:pt idx="45147">
                  <c:v>0.80518994114499698</c:v>
                </c:pt>
                <c:pt idx="45148">
                  <c:v>0.80520777599429205</c:v>
                </c:pt>
                <c:pt idx="45149">
                  <c:v>0.80522561084358801</c:v>
                </c:pt>
                <c:pt idx="45150">
                  <c:v>0.80524344569288298</c:v>
                </c:pt>
                <c:pt idx="45151">
                  <c:v>0.80526128054217905</c:v>
                </c:pt>
                <c:pt idx="45152">
                  <c:v>0.80527911539147401</c:v>
                </c:pt>
                <c:pt idx="45153">
                  <c:v>0.80529695024076997</c:v>
                </c:pt>
                <c:pt idx="45154">
                  <c:v>0.80531478509006604</c:v>
                </c:pt>
                <c:pt idx="45155">
                  <c:v>0.80533261993936101</c:v>
                </c:pt>
                <c:pt idx="45156">
                  <c:v>0.80535045478865697</c:v>
                </c:pt>
                <c:pt idx="45157">
                  <c:v>0.80536828963795204</c:v>
                </c:pt>
                <c:pt idx="45158">
                  <c:v>0.805386124487248</c:v>
                </c:pt>
                <c:pt idx="45159">
                  <c:v>0.80540395933654296</c:v>
                </c:pt>
                <c:pt idx="45160">
                  <c:v>0.80542179418583904</c:v>
                </c:pt>
                <c:pt idx="45161">
                  <c:v>0.805439629035134</c:v>
                </c:pt>
                <c:pt idx="45162">
                  <c:v>0.80545746388442996</c:v>
                </c:pt>
                <c:pt idx="45163">
                  <c:v>0.80547529873372503</c:v>
                </c:pt>
                <c:pt idx="45164">
                  <c:v>0.80549313358302099</c:v>
                </c:pt>
                <c:pt idx="45165">
                  <c:v>0.80551096843231595</c:v>
                </c:pt>
                <c:pt idx="45166">
                  <c:v>0.80552880328161203</c:v>
                </c:pt>
                <c:pt idx="45167">
                  <c:v>0.80554663813090699</c:v>
                </c:pt>
                <c:pt idx="45168">
                  <c:v>0.80556447298020295</c:v>
                </c:pt>
                <c:pt idx="45169">
                  <c:v>0.80558230782949802</c:v>
                </c:pt>
                <c:pt idx="45170">
                  <c:v>0.80560014267879398</c:v>
                </c:pt>
                <c:pt idx="45171">
                  <c:v>0.80561797752808895</c:v>
                </c:pt>
                <c:pt idx="45172">
                  <c:v>0.80563581237738502</c:v>
                </c:pt>
                <c:pt idx="45173">
                  <c:v>0.80565364722668098</c:v>
                </c:pt>
                <c:pt idx="45174">
                  <c:v>0.80567148207597605</c:v>
                </c:pt>
                <c:pt idx="45175">
                  <c:v>0.80568931692527201</c:v>
                </c:pt>
                <c:pt idx="45176">
                  <c:v>0.80570715177456698</c:v>
                </c:pt>
                <c:pt idx="45177">
                  <c:v>0.80572498662386305</c:v>
                </c:pt>
                <c:pt idx="45178">
                  <c:v>0.80574282147315801</c:v>
                </c:pt>
                <c:pt idx="45179">
                  <c:v>0.80576065632245397</c:v>
                </c:pt>
                <c:pt idx="45180">
                  <c:v>0.80577849117174905</c:v>
                </c:pt>
                <c:pt idx="45181">
                  <c:v>0.80579632602104501</c:v>
                </c:pt>
                <c:pt idx="45182">
                  <c:v>0.80581416087033997</c:v>
                </c:pt>
                <c:pt idx="45183">
                  <c:v>0.80583199571963604</c:v>
                </c:pt>
                <c:pt idx="45184">
                  <c:v>0.805849830568931</c:v>
                </c:pt>
                <c:pt idx="45185">
                  <c:v>0.80586766541822696</c:v>
                </c:pt>
                <c:pt idx="45186">
                  <c:v>0.80588550026752204</c:v>
                </c:pt>
                <c:pt idx="45187">
                  <c:v>0.805903335116818</c:v>
                </c:pt>
                <c:pt idx="45188">
                  <c:v>0.80592116996611296</c:v>
                </c:pt>
                <c:pt idx="45189">
                  <c:v>0.80593900481540903</c:v>
                </c:pt>
                <c:pt idx="45190">
                  <c:v>0.80595683966470399</c:v>
                </c:pt>
                <c:pt idx="45191">
                  <c:v>0.80597467451399996</c:v>
                </c:pt>
                <c:pt idx="45192">
                  <c:v>0.80599250936329503</c:v>
                </c:pt>
                <c:pt idx="45193">
                  <c:v>0.80601034421259099</c:v>
                </c:pt>
                <c:pt idx="45194">
                  <c:v>0.80602817906188695</c:v>
                </c:pt>
                <c:pt idx="45195">
                  <c:v>0.80604601391118202</c:v>
                </c:pt>
                <c:pt idx="45196">
                  <c:v>0.80606384876047799</c:v>
                </c:pt>
                <c:pt idx="45197">
                  <c:v>0.80608168360977295</c:v>
                </c:pt>
                <c:pt idx="45198">
                  <c:v>0.80609951845906902</c:v>
                </c:pt>
                <c:pt idx="45199">
                  <c:v>0.80611735330836398</c:v>
                </c:pt>
                <c:pt idx="45200">
                  <c:v>0.80613518815766005</c:v>
                </c:pt>
                <c:pt idx="45201">
                  <c:v>0.80615302300695502</c:v>
                </c:pt>
                <c:pt idx="45202">
                  <c:v>0.80617085785625098</c:v>
                </c:pt>
                <c:pt idx="45203">
                  <c:v>0.80618869270554605</c:v>
                </c:pt>
                <c:pt idx="45204">
                  <c:v>0.80620652755484201</c:v>
                </c:pt>
                <c:pt idx="45205">
                  <c:v>0.80622436240413697</c:v>
                </c:pt>
                <c:pt idx="45206">
                  <c:v>0.80624219725343305</c:v>
                </c:pt>
                <c:pt idx="45207">
                  <c:v>0.80626003210272801</c:v>
                </c:pt>
                <c:pt idx="45208">
                  <c:v>0.80627786695202397</c:v>
                </c:pt>
                <c:pt idx="45209">
                  <c:v>0.80629570180131904</c:v>
                </c:pt>
                <c:pt idx="45210">
                  <c:v>0.806313536650615</c:v>
                </c:pt>
                <c:pt idx="45211">
                  <c:v>0.80633137149990997</c:v>
                </c:pt>
                <c:pt idx="45212">
                  <c:v>0.80634920634920604</c:v>
                </c:pt>
                <c:pt idx="45213">
                  <c:v>0.806367041198501</c:v>
                </c:pt>
                <c:pt idx="45214">
                  <c:v>0.80638487604779696</c:v>
                </c:pt>
                <c:pt idx="45215">
                  <c:v>0.80640271089709203</c:v>
                </c:pt>
                <c:pt idx="45216">
                  <c:v>0.806420545746388</c:v>
                </c:pt>
                <c:pt idx="45217">
                  <c:v>0.80643838059568396</c:v>
                </c:pt>
                <c:pt idx="45218">
                  <c:v>0.80645621544497903</c:v>
                </c:pt>
                <c:pt idx="45219">
                  <c:v>0.80647405029427499</c:v>
                </c:pt>
                <c:pt idx="45220">
                  <c:v>0.80649188514356995</c:v>
                </c:pt>
                <c:pt idx="45221">
                  <c:v>0.80650971999286603</c:v>
                </c:pt>
                <c:pt idx="45222">
                  <c:v>0.80652755484216099</c:v>
                </c:pt>
                <c:pt idx="45223">
                  <c:v>0.80654538969145695</c:v>
                </c:pt>
                <c:pt idx="45224">
                  <c:v>0.80656322454075202</c:v>
                </c:pt>
                <c:pt idx="45225">
                  <c:v>0.80658105939004798</c:v>
                </c:pt>
                <c:pt idx="45226">
                  <c:v>0.80659889423934295</c:v>
                </c:pt>
                <c:pt idx="45227">
                  <c:v>0.80661672908863902</c:v>
                </c:pt>
                <c:pt idx="45228">
                  <c:v>0.80663456393793398</c:v>
                </c:pt>
                <c:pt idx="45229">
                  <c:v>0.80665239878723005</c:v>
                </c:pt>
                <c:pt idx="45230">
                  <c:v>0.80667023363652501</c:v>
                </c:pt>
                <c:pt idx="45231">
                  <c:v>0.80668806848582097</c:v>
                </c:pt>
                <c:pt idx="45232">
                  <c:v>0.80670590333511605</c:v>
                </c:pt>
                <c:pt idx="45233">
                  <c:v>0.80672373818441201</c:v>
                </c:pt>
                <c:pt idx="45234">
                  <c:v>0.80674157303370697</c:v>
                </c:pt>
                <c:pt idx="45235">
                  <c:v>0.80675940788300304</c:v>
                </c:pt>
                <c:pt idx="45236">
                  <c:v>0.80677724273229801</c:v>
                </c:pt>
                <c:pt idx="45237">
                  <c:v>0.80679507758159397</c:v>
                </c:pt>
                <c:pt idx="45238">
                  <c:v>0.80681291243088904</c:v>
                </c:pt>
                <c:pt idx="45239">
                  <c:v>0.806830747280185</c:v>
                </c:pt>
                <c:pt idx="45240">
                  <c:v>0.80684858212948096</c:v>
                </c:pt>
                <c:pt idx="45241">
                  <c:v>0.80686641697877604</c:v>
                </c:pt>
                <c:pt idx="45242">
                  <c:v>0.806884251828072</c:v>
                </c:pt>
                <c:pt idx="45243">
                  <c:v>0.80690208667736696</c:v>
                </c:pt>
                <c:pt idx="45244">
                  <c:v>0.80691992152666303</c:v>
                </c:pt>
                <c:pt idx="45245">
                  <c:v>0.80693775637595799</c:v>
                </c:pt>
                <c:pt idx="45246">
                  <c:v>0.80695559122525395</c:v>
                </c:pt>
                <c:pt idx="45247">
                  <c:v>0.80697342607454903</c:v>
                </c:pt>
                <c:pt idx="45248">
                  <c:v>0.80699126092384499</c:v>
                </c:pt>
                <c:pt idx="45249">
                  <c:v>0.80700909577313995</c:v>
                </c:pt>
                <c:pt idx="45250">
                  <c:v>0.80702693062243602</c:v>
                </c:pt>
                <c:pt idx="45251">
                  <c:v>0.80704476547173098</c:v>
                </c:pt>
                <c:pt idx="45252">
                  <c:v>0.80706260032102695</c:v>
                </c:pt>
                <c:pt idx="45253">
                  <c:v>0.80708043517032202</c:v>
                </c:pt>
                <c:pt idx="45254">
                  <c:v>0.80709827001961798</c:v>
                </c:pt>
                <c:pt idx="45255">
                  <c:v>0.80711610486891305</c:v>
                </c:pt>
                <c:pt idx="45256">
                  <c:v>0.80713393971820901</c:v>
                </c:pt>
                <c:pt idx="45257">
                  <c:v>0.80715177456750398</c:v>
                </c:pt>
                <c:pt idx="45258">
                  <c:v>0.80716960941680005</c:v>
                </c:pt>
                <c:pt idx="45259">
                  <c:v>0.80718744426609501</c:v>
                </c:pt>
                <c:pt idx="45260">
                  <c:v>0.80720527911539097</c:v>
                </c:pt>
                <c:pt idx="45261">
                  <c:v>0.80722311396468704</c:v>
                </c:pt>
                <c:pt idx="45262">
                  <c:v>0.80724094881398201</c:v>
                </c:pt>
                <c:pt idx="45263">
                  <c:v>0.80725878366327797</c:v>
                </c:pt>
                <c:pt idx="45264">
                  <c:v>0.80727661851257304</c:v>
                </c:pt>
                <c:pt idx="45265">
                  <c:v>0.807294453361869</c:v>
                </c:pt>
                <c:pt idx="45266">
                  <c:v>0.80731228821116396</c:v>
                </c:pt>
                <c:pt idx="45267">
                  <c:v>0.80733012306046004</c:v>
                </c:pt>
                <c:pt idx="45268">
                  <c:v>0.807347957909755</c:v>
                </c:pt>
                <c:pt idx="45269">
                  <c:v>0.80736579275905096</c:v>
                </c:pt>
                <c:pt idx="45270">
                  <c:v>0.80738362760834603</c:v>
                </c:pt>
                <c:pt idx="45271">
                  <c:v>0.80740146245764199</c:v>
                </c:pt>
                <c:pt idx="45272">
                  <c:v>0.80741929730693696</c:v>
                </c:pt>
                <c:pt idx="45273">
                  <c:v>0.80743713215623303</c:v>
                </c:pt>
                <c:pt idx="45274">
                  <c:v>0.80745496700552799</c:v>
                </c:pt>
                <c:pt idx="45275">
                  <c:v>0.80747280185482395</c:v>
                </c:pt>
                <c:pt idx="45276">
                  <c:v>0.80749063670411902</c:v>
                </c:pt>
                <c:pt idx="45277">
                  <c:v>0.80750847155341499</c:v>
                </c:pt>
                <c:pt idx="45278">
                  <c:v>0.80752630640271095</c:v>
                </c:pt>
                <c:pt idx="45279">
                  <c:v>0.80754414125200602</c:v>
                </c:pt>
                <c:pt idx="45280">
                  <c:v>0.80756197610130198</c:v>
                </c:pt>
                <c:pt idx="45281">
                  <c:v>0.80757981095059705</c:v>
                </c:pt>
                <c:pt idx="45282">
                  <c:v>0.80759764579989302</c:v>
                </c:pt>
                <c:pt idx="45283">
                  <c:v>0.80761548064918798</c:v>
                </c:pt>
                <c:pt idx="45284">
                  <c:v>0.80763331549848405</c:v>
                </c:pt>
                <c:pt idx="45285">
                  <c:v>0.80765115034777901</c:v>
                </c:pt>
                <c:pt idx="45286">
                  <c:v>0.80766898519707497</c:v>
                </c:pt>
                <c:pt idx="45287">
                  <c:v>0.80768682004637005</c:v>
                </c:pt>
                <c:pt idx="45288">
                  <c:v>0.80770465489566601</c:v>
                </c:pt>
                <c:pt idx="45289">
                  <c:v>0.80772248974496097</c:v>
                </c:pt>
                <c:pt idx="45290">
                  <c:v>0.80774032459425704</c:v>
                </c:pt>
                <c:pt idx="45291">
                  <c:v>0.807758159443552</c:v>
                </c:pt>
                <c:pt idx="45292">
                  <c:v>0.80777599429284797</c:v>
                </c:pt>
                <c:pt idx="45293">
                  <c:v>0.80779382914214304</c:v>
                </c:pt>
                <c:pt idx="45294">
                  <c:v>0.807811663991439</c:v>
                </c:pt>
                <c:pt idx="45295">
                  <c:v>0.80782949884073396</c:v>
                </c:pt>
                <c:pt idx="45296">
                  <c:v>0.80784733369003003</c:v>
                </c:pt>
                <c:pt idx="45297">
                  <c:v>0.807865168539325</c:v>
                </c:pt>
                <c:pt idx="45298">
                  <c:v>0.80788300338862096</c:v>
                </c:pt>
                <c:pt idx="45299">
                  <c:v>0.80790083823791603</c:v>
                </c:pt>
                <c:pt idx="45300">
                  <c:v>0.80791867308721199</c:v>
                </c:pt>
                <c:pt idx="45301">
                  <c:v>0.80793650793650795</c:v>
                </c:pt>
                <c:pt idx="45302">
                  <c:v>0.80795434278580303</c:v>
                </c:pt>
                <c:pt idx="45303">
                  <c:v>0.80797217763509899</c:v>
                </c:pt>
                <c:pt idx="45304">
                  <c:v>0.80799001248439395</c:v>
                </c:pt>
                <c:pt idx="45305">
                  <c:v>0.80800784733369002</c:v>
                </c:pt>
                <c:pt idx="45306">
                  <c:v>0.80802568218298498</c:v>
                </c:pt>
                <c:pt idx="45307">
                  <c:v>0.80804351703228094</c:v>
                </c:pt>
                <c:pt idx="45308">
                  <c:v>0.80806135188157602</c:v>
                </c:pt>
                <c:pt idx="45309">
                  <c:v>0.80807918673087198</c:v>
                </c:pt>
                <c:pt idx="45310">
                  <c:v>0.80809702158016705</c:v>
                </c:pt>
                <c:pt idx="45311">
                  <c:v>0.80811485642946301</c:v>
                </c:pt>
                <c:pt idx="45312">
                  <c:v>0.80813269127875798</c:v>
                </c:pt>
                <c:pt idx="45313">
                  <c:v>0.80815052612805405</c:v>
                </c:pt>
                <c:pt idx="45314">
                  <c:v>0.80816836097734901</c:v>
                </c:pt>
                <c:pt idx="45315">
                  <c:v>0.80818619582664497</c:v>
                </c:pt>
                <c:pt idx="45316">
                  <c:v>0.80820403067594004</c:v>
                </c:pt>
                <c:pt idx="45317">
                  <c:v>0.80822186552523601</c:v>
                </c:pt>
                <c:pt idx="45318">
                  <c:v>0.80823970037453097</c:v>
                </c:pt>
                <c:pt idx="45319">
                  <c:v>0.80825753522382704</c:v>
                </c:pt>
                <c:pt idx="45320">
                  <c:v>0.808275370073122</c:v>
                </c:pt>
                <c:pt idx="45321">
                  <c:v>0.80829320492241796</c:v>
                </c:pt>
                <c:pt idx="45322">
                  <c:v>0.80831103977171304</c:v>
                </c:pt>
                <c:pt idx="45323">
                  <c:v>0.808328874621009</c:v>
                </c:pt>
                <c:pt idx="45324">
                  <c:v>0.80834670947030496</c:v>
                </c:pt>
                <c:pt idx="45325">
                  <c:v>0.80836454431960003</c:v>
                </c:pt>
                <c:pt idx="45326">
                  <c:v>0.80838237916889599</c:v>
                </c:pt>
                <c:pt idx="45327">
                  <c:v>0.80840021401819095</c:v>
                </c:pt>
                <c:pt idx="45328">
                  <c:v>0.80841804886748703</c:v>
                </c:pt>
                <c:pt idx="45329">
                  <c:v>0.80843588371678199</c:v>
                </c:pt>
                <c:pt idx="45330">
                  <c:v>0.80845371856607795</c:v>
                </c:pt>
                <c:pt idx="45331">
                  <c:v>0.80847155341537302</c:v>
                </c:pt>
                <c:pt idx="45332">
                  <c:v>0.80848938826466898</c:v>
                </c:pt>
                <c:pt idx="45333">
                  <c:v>0.80850722311396395</c:v>
                </c:pt>
                <c:pt idx="45334">
                  <c:v>0.80852505796326002</c:v>
                </c:pt>
                <c:pt idx="45335">
                  <c:v>0.80854289281255498</c:v>
                </c:pt>
                <c:pt idx="45336">
                  <c:v>0.80856072766185105</c:v>
                </c:pt>
                <c:pt idx="45337">
                  <c:v>0.80857856251114602</c:v>
                </c:pt>
                <c:pt idx="45338">
                  <c:v>0.80859639736044198</c:v>
                </c:pt>
                <c:pt idx="45339">
                  <c:v>0.80861423220973705</c:v>
                </c:pt>
                <c:pt idx="45340">
                  <c:v>0.80863206705903301</c:v>
                </c:pt>
                <c:pt idx="45341">
                  <c:v>0.80864990190832797</c:v>
                </c:pt>
                <c:pt idx="45342">
                  <c:v>0.80866773675762404</c:v>
                </c:pt>
                <c:pt idx="45343">
                  <c:v>0.80868557160691901</c:v>
                </c:pt>
                <c:pt idx="45344">
                  <c:v>0.80870340645621497</c:v>
                </c:pt>
                <c:pt idx="45345">
                  <c:v>0.80872124130551004</c:v>
                </c:pt>
                <c:pt idx="45346">
                  <c:v>0.808739076154806</c:v>
                </c:pt>
                <c:pt idx="45347">
                  <c:v>0.80875691100410196</c:v>
                </c:pt>
                <c:pt idx="45348">
                  <c:v>0.80877474585339704</c:v>
                </c:pt>
                <c:pt idx="45349">
                  <c:v>0.808792580702693</c:v>
                </c:pt>
                <c:pt idx="45350">
                  <c:v>0.80881041555198796</c:v>
                </c:pt>
                <c:pt idx="45351">
                  <c:v>0.80882825040128403</c:v>
                </c:pt>
                <c:pt idx="45352">
                  <c:v>0.80884608525057899</c:v>
                </c:pt>
                <c:pt idx="45353">
                  <c:v>0.80886392009987496</c:v>
                </c:pt>
                <c:pt idx="45354">
                  <c:v>0.80888175494917003</c:v>
                </c:pt>
                <c:pt idx="45355">
                  <c:v>0.80889958979846599</c:v>
                </c:pt>
                <c:pt idx="45356">
                  <c:v>0.80891742464776095</c:v>
                </c:pt>
                <c:pt idx="45357">
                  <c:v>0.80893525949705702</c:v>
                </c:pt>
                <c:pt idx="45358">
                  <c:v>0.80895309434635199</c:v>
                </c:pt>
                <c:pt idx="45359">
                  <c:v>0.80897092919564795</c:v>
                </c:pt>
                <c:pt idx="45360">
                  <c:v>0.80898876404494302</c:v>
                </c:pt>
                <c:pt idx="45361">
                  <c:v>0.80900659889423898</c:v>
                </c:pt>
                <c:pt idx="45362">
                  <c:v>0.80902443374353405</c:v>
                </c:pt>
                <c:pt idx="45363">
                  <c:v>0.80904226859283002</c:v>
                </c:pt>
                <c:pt idx="45364">
                  <c:v>0.80906010344212498</c:v>
                </c:pt>
                <c:pt idx="45365">
                  <c:v>0.80907793829142105</c:v>
                </c:pt>
                <c:pt idx="45366">
                  <c:v>0.80909577314071701</c:v>
                </c:pt>
                <c:pt idx="45367">
                  <c:v>0.80911360799001197</c:v>
                </c:pt>
                <c:pt idx="45368">
                  <c:v>0.80913144283930805</c:v>
                </c:pt>
                <c:pt idx="45369">
                  <c:v>0.80914927768860301</c:v>
                </c:pt>
                <c:pt idx="45370">
                  <c:v>0.80916711253789897</c:v>
                </c:pt>
                <c:pt idx="45371">
                  <c:v>0.80918494738719404</c:v>
                </c:pt>
                <c:pt idx="45372">
                  <c:v>0.80920278223649</c:v>
                </c:pt>
                <c:pt idx="45373">
                  <c:v>0.80922061708578497</c:v>
                </c:pt>
                <c:pt idx="45374">
                  <c:v>0.80923845193508104</c:v>
                </c:pt>
                <c:pt idx="45375">
                  <c:v>0.809256286784376</c:v>
                </c:pt>
                <c:pt idx="45376">
                  <c:v>0.80927412163367196</c:v>
                </c:pt>
                <c:pt idx="45377">
                  <c:v>0.80929195648296703</c:v>
                </c:pt>
                <c:pt idx="45378">
                  <c:v>0.809309791332263</c:v>
                </c:pt>
                <c:pt idx="45379">
                  <c:v>0.80932762618155796</c:v>
                </c:pt>
                <c:pt idx="45380">
                  <c:v>0.80934546103085403</c:v>
                </c:pt>
                <c:pt idx="45381">
                  <c:v>0.80936329588014899</c:v>
                </c:pt>
                <c:pt idx="45382">
                  <c:v>0.80938113072944495</c:v>
                </c:pt>
                <c:pt idx="45383">
                  <c:v>0.80939896557874003</c:v>
                </c:pt>
                <c:pt idx="45384">
                  <c:v>0.80941680042803599</c:v>
                </c:pt>
                <c:pt idx="45385">
                  <c:v>0.80943463527733195</c:v>
                </c:pt>
                <c:pt idx="45386">
                  <c:v>0.80945247012662702</c:v>
                </c:pt>
                <c:pt idx="45387">
                  <c:v>0.80947030497592298</c:v>
                </c:pt>
                <c:pt idx="45388">
                  <c:v>0.80948813982521794</c:v>
                </c:pt>
                <c:pt idx="45389">
                  <c:v>0.80950597467451402</c:v>
                </c:pt>
                <c:pt idx="45390">
                  <c:v>0.80952380952380898</c:v>
                </c:pt>
                <c:pt idx="45391">
                  <c:v>0.80954164437310505</c:v>
                </c:pt>
                <c:pt idx="45392">
                  <c:v>0.80955947922240001</c:v>
                </c:pt>
                <c:pt idx="45393">
                  <c:v>0.80957731407169597</c:v>
                </c:pt>
                <c:pt idx="45394">
                  <c:v>0.80959514892099105</c:v>
                </c:pt>
                <c:pt idx="45395">
                  <c:v>0.80961298377028701</c:v>
                </c:pt>
                <c:pt idx="45396">
                  <c:v>0.80963081861958197</c:v>
                </c:pt>
                <c:pt idx="45397">
                  <c:v>0.80964865346887804</c:v>
                </c:pt>
                <c:pt idx="45398">
                  <c:v>0.80966648831817301</c:v>
                </c:pt>
                <c:pt idx="45399">
                  <c:v>0.80968432316746897</c:v>
                </c:pt>
                <c:pt idx="45400">
                  <c:v>0.80970215801676404</c:v>
                </c:pt>
                <c:pt idx="45401">
                  <c:v>0.80971999286606</c:v>
                </c:pt>
                <c:pt idx="45402">
                  <c:v>0.80973782771535496</c:v>
                </c:pt>
                <c:pt idx="45403">
                  <c:v>0.80975566256465104</c:v>
                </c:pt>
                <c:pt idx="45404">
                  <c:v>0.809773497413946</c:v>
                </c:pt>
                <c:pt idx="45405">
                  <c:v>0.80979133226324196</c:v>
                </c:pt>
                <c:pt idx="45406">
                  <c:v>0.80980916711253703</c:v>
                </c:pt>
                <c:pt idx="45407">
                  <c:v>0.80982700196183299</c:v>
                </c:pt>
                <c:pt idx="45408">
                  <c:v>0.80984483681112895</c:v>
                </c:pt>
                <c:pt idx="45409">
                  <c:v>0.80986267166042403</c:v>
                </c:pt>
                <c:pt idx="45410">
                  <c:v>0.80988050650971999</c:v>
                </c:pt>
                <c:pt idx="45411">
                  <c:v>0.80989834135901495</c:v>
                </c:pt>
                <c:pt idx="45412">
                  <c:v>0.80991617620831102</c:v>
                </c:pt>
                <c:pt idx="45413">
                  <c:v>0.80993401105760598</c:v>
                </c:pt>
                <c:pt idx="45414">
                  <c:v>0.80995184590690195</c:v>
                </c:pt>
                <c:pt idx="45415">
                  <c:v>0.80996968075619702</c:v>
                </c:pt>
                <c:pt idx="45416">
                  <c:v>0.80998751560549298</c:v>
                </c:pt>
                <c:pt idx="45417">
                  <c:v>0.81000535045478805</c:v>
                </c:pt>
                <c:pt idx="45418">
                  <c:v>0.81002318530408401</c:v>
                </c:pt>
                <c:pt idx="45419">
                  <c:v>0.81004102015337898</c:v>
                </c:pt>
                <c:pt idx="45420">
                  <c:v>0.81005885500267505</c:v>
                </c:pt>
                <c:pt idx="45421">
                  <c:v>0.81007668985197001</c:v>
                </c:pt>
                <c:pt idx="45422">
                  <c:v>0.81009452470126597</c:v>
                </c:pt>
                <c:pt idx="45423">
                  <c:v>0.81011235955056105</c:v>
                </c:pt>
                <c:pt idx="45424">
                  <c:v>0.81013019439985701</c:v>
                </c:pt>
                <c:pt idx="45425">
                  <c:v>0.81014802924915197</c:v>
                </c:pt>
                <c:pt idx="45426">
                  <c:v>0.81016586409844804</c:v>
                </c:pt>
                <c:pt idx="45427">
                  <c:v>0.810183698947743</c:v>
                </c:pt>
                <c:pt idx="45428">
                  <c:v>0.81020153379703896</c:v>
                </c:pt>
                <c:pt idx="45429">
                  <c:v>0.81021936864633404</c:v>
                </c:pt>
                <c:pt idx="45430">
                  <c:v>0.81023720349563</c:v>
                </c:pt>
                <c:pt idx="45431">
                  <c:v>0.81025503834492596</c:v>
                </c:pt>
                <c:pt idx="45432">
                  <c:v>0.81027287319422103</c:v>
                </c:pt>
                <c:pt idx="45433">
                  <c:v>0.81029070804351699</c:v>
                </c:pt>
                <c:pt idx="45434">
                  <c:v>0.81030854289281196</c:v>
                </c:pt>
                <c:pt idx="45435">
                  <c:v>0.81032637774210803</c:v>
                </c:pt>
                <c:pt idx="45436">
                  <c:v>0.81034421259140299</c:v>
                </c:pt>
                <c:pt idx="45437">
                  <c:v>0.81036204744069895</c:v>
                </c:pt>
                <c:pt idx="45438">
                  <c:v>0.81037988228999402</c:v>
                </c:pt>
                <c:pt idx="45439">
                  <c:v>0.81039771713928999</c:v>
                </c:pt>
                <c:pt idx="45440">
                  <c:v>0.81041555198858495</c:v>
                </c:pt>
                <c:pt idx="45441">
                  <c:v>0.81043338683788102</c:v>
                </c:pt>
                <c:pt idx="45442">
                  <c:v>0.81045122168717598</c:v>
                </c:pt>
                <c:pt idx="45443">
                  <c:v>0.81046905653647205</c:v>
                </c:pt>
                <c:pt idx="45444">
                  <c:v>0.81048689138576702</c:v>
                </c:pt>
                <c:pt idx="45445">
                  <c:v>0.81050472623506298</c:v>
                </c:pt>
                <c:pt idx="45446">
                  <c:v>0.81052256108435805</c:v>
                </c:pt>
                <c:pt idx="45447">
                  <c:v>0.81054039593365401</c:v>
                </c:pt>
                <c:pt idx="45448">
                  <c:v>0.81055823078294897</c:v>
                </c:pt>
                <c:pt idx="45449">
                  <c:v>0.81057606563224505</c:v>
                </c:pt>
                <c:pt idx="45450">
                  <c:v>0.81059390048154001</c:v>
                </c:pt>
                <c:pt idx="45451">
                  <c:v>0.81061173533083597</c:v>
                </c:pt>
                <c:pt idx="45452">
                  <c:v>0.81062957018013104</c:v>
                </c:pt>
                <c:pt idx="45453">
                  <c:v>0.810647405029427</c:v>
                </c:pt>
                <c:pt idx="45454">
                  <c:v>0.81066523987872297</c:v>
                </c:pt>
                <c:pt idx="45455">
                  <c:v>0.81068307472801804</c:v>
                </c:pt>
                <c:pt idx="45456">
                  <c:v>0.810700909577314</c:v>
                </c:pt>
                <c:pt idx="45457">
                  <c:v>0.81071874442660896</c:v>
                </c:pt>
                <c:pt idx="45458">
                  <c:v>0.81073657927590503</c:v>
                </c:pt>
                <c:pt idx="45459">
                  <c:v>0.8107544141252</c:v>
                </c:pt>
                <c:pt idx="45460">
                  <c:v>0.81077224897449596</c:v>
                </c:pt>
                <c:pt idx="45461">
                  <c:v>0.81079008382379103</c:v>
                </c:pt>
                <c:pt idx="45462">
                  <c:v>0.81080791867308699</c:v>
                </c:pt>
                <c:pt idx="45463">
                  <c:v>0.81082575352238195</c:v>
                </c:pt>
                <c:pt idx="45464">
                  <c:v>0.81084358837167803</c:v>
                </c:pt>
                <c:pt idx="45465">
                  <c:v>0.81086142322097299</c:v>
                </c:pt>
                <c:pt idx="45466">
                  <c:v>0.81087925807026895</c:v>
                </c:pt>
                <c:pt idx="45467">
                  <c:v>0.81089709291956402</c:v>
                </c:pt>
                <c:pt idx="45468">
                  <c:v>0.81091492776885998</c:v>
                </c:pt>
                <c:pt idx="45469">
                  <c:v>0.81093276261815495</c:v>
                </c:pt>
                <c:pt idx="45470">
                  <c:v>0.81095059746745102</c:v>
                </c:pt>
                <c:pt idx="45471">
                  <c:v>0.81096843231674698</c:v>
                </c:pt>
                <c:pt idx="45472">
                  <c:v>0.81098626716604205</c:v>
                </c:pt>
                <c:pt idx="45473">
                  <c:v>0.81100410201533801</c:v>
                </c:pt>
                <c:pt idx="45474">
                  <c:v>0.81102193686463298</c:v>
                </c:pt>
                <c:pt idx="45475">
                  <c:v>0.81103977171392905</c:v>
                </c:pt>
                <c:pt idx="45476">
                  <c:v>0.81105760656322401</c:v>
                </c:pt>
                <c:pt idx="45477">
                  <c:v>0.81107544141251997</c:v>
                </c:pt>
                <c:pt idx="45478">
                  <c:v>0.81109327626181504</c:v>
                </c:pt>
                <c:pt idx="45479">
                  <c:v>0.81111111111111101</c:v>
                </c:pt>
                <c:pt idx="45480">
                  <c:v>0.81112894596040597</c:v>
                </c:pt>
                <c:pt idx="45481">
                  <c:v>0.81114678080970204</c:v>
                </c:pt>
                <c:pt idx="45482">
                  <c:v>0.811164615658997</c:v>
                </c:pt>
                <c:pt idx="45483">
                  <c:v>0.81118245050829296</c:v>
                </c:pt>
                <c:pt idx="45484">
                  <c:v>0.81120028535758804</c:v>
                </c:pt>
                <c:pt idx="45485">
                  <c:v>0.811218120206884</c:v>
                </c:pt>
                <c:pt idx="45486">
                  <c:v>0.81123595505617896</c:v>
                </c:pt>
                <c:pt idx="45487">
                  <c:v>0.81125378990547503</c:v>
                </c:pt>
                <c:pt idx="45488">
                  <c:v>0.81127162475476999</c:v>
                </c:pt>
                <c:pt idx="45489">
                  <c:v>0.81128945960406595</c:v>
                </c:pt>
                <c:pt idx="45490">
                  <c:v>0.81130729445336103</c:v>
                </c:pt>
                <c:pt idx="45491">
                  <c:v>0.81132512930265699</c:v>
                </c:pt>
                <c:pt idx="45492">
                  <c:v>0.81134296415195295</c:v>
                </c:pt>
                <c:pt idx="45493">
                  <c:v>0.81136079900124802</c:v>
                </c:pt>
                <c:pt idx="45494">
                  <c:v>0.81137863385054398</c:v>
                </c:pt>
                <c:pt idx="45495">
                  <c:v>0.81139646869983895</c:v>
                </c:pt>
                <c:pt idx="45496">
                  <c:v>0.81141430354913502</c:v>
                </c:pt>
                <c:pt idx="45497">
                  <c:v>0.81143213839842998</c:v>
                </c:pt>
                <c:pt idx="45498">
                  <c:v>0.81144997324772605</c:v>
                </c:pt>
                <c:pt idx="45499">
                  <c:v>0.81146780809702102</c:v>
                </c:pt>
                <c:pt idx="45500">
                  <c:v>0.81148564294631698</c:v>
                </c:pt>
                <c:pt idx="45501">
                  <c:v>0.81150347779561205</c:v>
                </c:pt>
                <c:pt idx="45502">
                  <c:v>0.81152131264490801</c:v>
                </c:pt>
                <c:pt idx="45503">
                  <c:v>0.81153914749420297</c:v>
                </c:pt>
                <c:pt idx="45504">
                  <c:v>0.81155698234349904</c:v>
                </c:pt>
                <c:pt idx="45505">
                  <c:v>0.81157481719279401</c:v>
                </c:pt>
                <c:pt idx="45506">
                  <c:v>0.81159265204208997</c:v>
                </c:pt>
                <c:pt idx="45507">
                  <c:v>0.81161048689138504</c:v>
                </c:pt>
                <c:pt idx="45508">
                  <c:v>0.811628321740681</c:v>
                </c:pt>
                <c:pt idx="45509">
                  <c:v>0.81164615658997596</c:v>
                </c:pt>
                <c:pt idx="45510">
                  <c:v>0.81166399143927204</c:v>
                </c:pt>
                <c:pt idx="45511">
                  <c:v>0.811681826288567</c:v>
                </c:pt>
                <c:pt idx="45512">
                  <c:v>0.81169966113786296</c:v>
                </c:pt>
                <c:pt idx="45513">
                  <c:v>0.81171749598715803</c:v>
                </c:pt>
                <c:pt idx="45514">
                  <c:v>0.81173533083645399</c:v>
                </c:pt>
                <c:pt idx="45515">
                  <c:v>0.81175316568574996</c:v>
                </c:pt>
                <c:pt idx="45516">
                  <c:v>0.81177100053504503</c:v>
                </c:pt>
                <c:pt idx="45517">
                  <c:v>0.81178883538434099</c:v>
                </c:pt>
                <c:pt idx="45518">
                  <c:v>0.81180667023363595</c:v>
                </c:pt>
                <c:pt idx="45519">
                  <c:v>0.81182450508293202</c:v>
                </c:pt>
                <c:pt idx="45520">
                  <c:v>0.81184233993222699</c:v>
                </c:pt>
                <c:pt idx="45521">
                  <c:v>0.81186017478152295</c:v>
                </c:pt>
                <c:pt idx="45522">
                  <c:v>0.81187800963081802</c:v>
                </c:pt>
                <c:pt idx="45523">
                  <c:v>0.81189584448011398</c:v>
                </c:pt>
                <c:pt idx="45524">
                  <c:v>0.81191367932940905</c:v>
                </c:pt>
                <c:pt idx="45525">
                  <c:v>0.81193151417870502</c:v>
                </c:pt>
                <c:pt idx="45526">
                  <c:v>0.81194934902799998</c:v>
                </c:pt>
                <c:pt idx="45527">
                  <c:v>0.81196718387729605</c:v>
                </c:pt>
                <c:pt idx="45528">
                  <c:v>0.81198501872659101</c:v>
                </c:pt>
                <c:pt idx="45529">
                  <c:v>0.81200285357588697</c:v>
                </c:pt>
                <c:pt idx="45530">
                  <c:v>0.81202068842518205</c:v>
                </c:pt>
                <c:pt idx="45531">
                  <c:v>0.81203852327447801</c:v>
                </c:pt>
                <c:pt idx="45532">
                  <c:v>0.81205635812377297</c:v>
                </c:pt>
                <c:pt idx="45533">
                  <c:v>0.81207419297306904</c:v>
                </c:pt>
                <c:pt idx="45534">
                  <c:v>0.812092027822364</c:v>
                </c:pt>
                <c:pt idx="45535">
                  <c:v>0.81210986267165997</c:v>
                </c:pt>
                <c:pt idx="45536">
                  <c:v>0.81212769752095504</c:v>
                </c:pt>
                <c:pt idx="45537">
                  <c:v>0.812145532370251</c:v>
                </c:pt>
                <c:pt idx="45538">
                  <c:v>0.81216336721954696</c:v>
                </c:pt>
                <c:pt idx="45539">
                  <c:v>0.81218120206884203</c:v>
                </c:pt>
                <c:pt idx="45540">
                  <c:v>0.812199036918138</c:v>
                </c:pt>
                <c:pt idx="45541">
                  <c:v>0.81221687176743296</c:v>
                </c:pt>
                <c:pt idx="45542">
                  <c:v>0.81223470661672903</c:v>
                </c:pt>
                <c:pt idx="45543">
                  <c:v>0.81225254146602399</c:v>
                </c:pt>
                <c:pt idx="45544">
                  <c:v>0.81227037631531995</c:v>
                </c:pt>
                <c:pt idx="45545">
                  <c:v>0.81228821116461503</c:v>
                </c:pt>
                <c:pt idx="45546">
                  <c:v>0.81230604601391099</c:v>
                </c:pt>
                <c:pt idx="45547">
                  <c:v>0.81232388086320595</c:v>
                </c:pt>
                <c:pt idx="45548">
                  <c:v>0.81234171571250202</c:v>
                </c:pt>
                <c:pt idx="45549">
                  <c:v>0.81235955056179698</c:v>
                </c:pt>
                <c:pt idx="45550">
                  <c:v>0.81237738541109294</c:v>
                </c:pt>
                <c:pt idx="45551">
                  <c:v>0.81239522026038802</c:v>
                </c:pt>
                <c:pt idx="45552">
                  <c:v>0.81241305510968398</c:v>
                </c:pt>
                <c:pt idx="45553">
                  <c:v>0.81243088995897905</c:v>
                </c:pt>
                <c:pt idx="45554">
                  <c:v>0.81244872480827501</c:v>
                </c:pt>
                <c:pt idx="45555">
                  <c:v>0.81246655965756998</c:v>
                </c:pt>
                <c:pt idx="45556">
                  <c:v>0.81248439450686605</c:v>
                </c:pt>
                <c:pt idx="45557">
                  <c:v>0.81250222935616101</c:v>
                </c:pt>
                <c:pt idx="45558">
                  <c:v>0.81252006420545697</c:v>
                </c:pt>
                <c:pt idx="45559">
                  <c:v>0.81253789905475204</c:v>
                </c:pt>
                <c:pt idx="45560">
                  <c:v>0.81255573390404801</c:v>
                </c:pt>
                <c:pt idx="45561">
                  <c:v>0.81257356875334397</c:v>
                </c:pt>
                <c:pt idx="45562">
                  <c:v>0.81259140360263904</c:v>
                </c:pt>
                <c:pt idx="45563">
                  <c:v>0.812609238451935</c:v>
                </c:pt>
                <c:pt idx="45564">
                  <c:v>0.81262707330122996</c:v>
                </c:pt>
                <c:pt idx="45565">
                  <c:v>0.81264490815052604</c:v>
                </c:pt>
                <c:pt idx="45566">
                  <c:v>0.812662742999821</c:v>
                </c:pt>
                <c:pt idx="45567">
                  <c:v>0.81268057784911696</c:v>
                </c:pt>
                <c:pt idx="45568">
                  <c:v>0.81269841269841203</c:v>
                </c:pt>
                <c:pt idx="45569">
                  <c:v>0.81271624754770799</c:v>
                </c:pt>
                <c:pt idx="45570">
                  <c:v>0.81273408239700295</c:v>
                </c:pt>
                <c:pt idx="45571">
                  <c:v>0.81275191724629903</c:v>
                </c:pt>
                <c:pt idx="45572">
                  <c:v>0.81276975209559399</c:v>
                </c:pt>
                <c:pt idx="45573">
                  <c:v>0.81278758694488995</c:v>
                </c:pt>
                <c:pt idx="45574">
                  <c:v>0.81280542179418502</c:v>
                </c:pt>
                <c:pt idx="45575">
                  <c:v>0.81282325664348098</c:v>
                </c:pt>
                <c:pt idx="45576">
                  <c:v>0.81284109149277595</c:v>
                </c:pt>
                <c:pt idx="45577">
                  <c:v>0.81285892634207202</c:v>
                </c:pt>
                <c:pt idx="45578">
                  <c:v>0.81287676119136798</c:v>
                </c:pt>
                <c:pt idx="45579">
                  <c:v>0.81289459604066305</c:v>
                </c:pt>
                <c:pt idx="45580">
                  <c:v>0.81291243088995901</c:v>
                </c:pt>
                <c:pt idx="45581">
                  <c:v>0.81293026573925398</c:v>
                </c:pt>
                <c:pt idx="45582">
                  <c:v>0.81294810058855005</c:v>
                </c:pt>
                <c:pt idx="45583">
                  <c:v>0.81296593543784501</c:v>
                </c:pt>
                <c:pt idx="45584">
                  <c:v>0.81298377028714097</c:v>
                </c:pt>
                <c:pt idx="45585">
                  <c:v>0.81300160513643605</c:v>
                </c:pt>
                <c:pt idx="45586">
                  <c:v>0.81301943998573201</c:v>
                </c:pt>
                <c:pt idx="45587">
                  <c:v>0.81303727483502697</c:v>
                </c:pt>
                <c:pt idx="45588">
                  <c:v>0.81305510968432304</c:v>
                </c:pt>
                <c:pt idx="45589">
                  <c:v>0.813072944533618</c:v>
                </c:pt>
                <c:pt idx="45590">
                  <c:v>0.81309077938291396</c:v>
                </c:pt>
                <c:pt idx="45591">
                  <c:v>0.81310861423220904</c:v>
                </c:pt>
                <c:pt idx="45592">
                  <c:v>0.813126449081505</c:v>
                </c:pt>
                <c:pt idx="45593">
                  <c:v>0.81314428393079996</c:v>
                </c:pt>
                <c:pt idx="45594">
                  <c:v>0.81316211878009603</c:v>
                </c:pt>
                <c:pt idx="45595">
                  <c:v>0.81317995362939099</c:v>
                </c:pt>
                <c:pt idx="45596">
                  <c:v>0.81319778847868696</c:v>
                </c:pt>
                <c:pt idx="45597">
                  <c:v>0.81321562332798203</c:v>
                </c:pt>
                <c:pt idx="45598">
                  <c:v>0.81323345817727799</c:v>
                </c:pt>
                <c:pt idx="45599">
                  <c:v>0.81325129302657395</c:v>
                </c:pt>
                <c:pt idx="45600">
                  <c:v>0.81326912787586902</c:v>
                </c:pt>
                <c:pt idx="45601">
                  <c:v>0.81328696272516499</c:v>
                </c:pt>
                <c:pt idx="45602">
                  <c:v>0.81330479757445995</c:v>
                </c:pt>
                <c:pt idx="45603">
                  <c:v>0.81332263242375602</c:v>
                </c:pt>
                <c:pt idx="45604">
                  <c:v>0.81334046727305098</c:v>
                </c:pt>
                <c:pt idx="45605">
                  <c:v>0.81335830212234705</c:v>
                </c:pt>
                <c:pt idx="45606">
                  <c:v>0.81337613697164202</c:v>
                </c:pt>
                <c:pt idx="45607">
                  <c:v>0.81339397182093798</c:v>
                </c:pt>
                <c:pt idx="45608">
                  <c:v>0.81341180667023305</c:v>
                </c:pt>
                <c:pt idx="45609">
                  <c:v>0.81342964151952901</c:v>
                </c:pt>
                <c:pt idx="45610">
                  <c:v>0.81344747636882397</c:v>
                </c:pt>
                <c:pt idx="45611">
                  <c:v>0.81346531121812005</c:v>
                </c:pt>
                <c:pt idx="45612">
                  <c:v>0.81348314606741501</c:v>
                </c:pt>
                <c:pt idx="45613">
                  <c:v>0.81350098091671097</c:v>
                </c:pt>
                <c:pt idx="45614">
                  <c:v>0.81351881576600604</c:v>
                </c:pt>
                <c:pt idx="45615">
                  <c:v>0.813536650615302</c:v>
                </c:pt>
                <c:pt idx="45616">
                  <c:v>0.81355448546459697</c:v>
                </c:pt>
                <c:pt idx="45617">
                  <c:v>0.81357232031389304</c:v>
                </c:pt>
                <c:pt idx="45618">
                  <c:v>0.813590155163188</c:v>
                </c:pt>
                <c:pt idx="45619">
                  <c:v>0.81360799001248396</c:v>
                </c:pt>
                <c:pt idx="45620">
                  <c:v>0.81362582486177903</c:v>
                </c:pt>
                <c:pt idx="45621">
                  <c:v>0.813643659711075</c:v>
                </c:pt>
                <c:pt idx="45622">
                  <c:v>0.81366149456037096</c:v>
                </c:pt>
                <c:pt idx="45623">
                  <c:v>0.81367932940966603</c:v>
                </c:pt>
                <c:pt idx="45624">
                  <c:v>0.81369716425896199</c:v>
                </c:pt>
                <c:pt idx="45625">
                  <c:v>0.81371499910825695</c:v>
                </c:pt>
                <c:pt idx="45626">
                  <c:v>0.81373283395755303</c:v>
                </c:pt>
                <c:pt idx="45627">
                  <c:v>0.81375066880684799</c:v>
                </c:pt>
                <c:pt idx="45628">
                  <c:v>0.81376850365614395</c:v>
                </c:pt>
                <c:pt idx="45629">
                  <c:v>0.81378633850543902</c:v>
                </c:pt>
                <c:pt idx="45630">
                  <c:v>0.81380417335473498</c:v>
                </c:pt>
                <c:pt idx="45631">
                  <c:v>0.81382200820402995</c:v>
                </c:pt>
                <c:pt idx="45632">
                  <c:v>0.81383984305332602</c:v>
                </c:pt>
                <c:pt idx="45633">
                  <c:v>0.81385767790262098</c:v>
                </c:pt>
                <c:pt idx="45634">
                  <c:v>0.81387551275191705</c:v>
                </c:pt>
                <c:pt idx="45635">
                  <c:v>0.81389334760121201</c:v>
                </c:pt>
                <c:pt idx="45636">
                  <c:v>0.81391118245050798</c:v>
                </c:pt>
                <c:pt idx="45637">
                  <c:v>0.81392901729980305</c:v>
                </c:pt>
                <c:pt idx="45638">
                  <c:v>0.81394685214909901</c:v>
                </c:pt>
                <c:pt idx="45639">
                  <c:v>0.81396468699839397</c:v>
                </c:pt>
                <c:pt idx="45640">
                  <c:v>0.81398252184769004</c:v>
                </c:pt>
                <c:pt idx="45641">
                  <c:v>0.81400035669698501</c:v>
                </c:pt>
                <c:pt idx="45642">
                  <c:v>0.81401819154628097</c:v>
                </c:pt>
                <c:pt idx="45643">
                  <c:v>0.81403602639557604</c:v>
                </c:pt>
                <c:pt idx="45644">
                  <c:v>0.814053861244872</c:v>
                </c:pt>
                <c:pt idx="45645">
                  <c:v>0.81407169609416796</c:v>
                </c:pt>
                <c:pt idx="45646">
                  <c:v>0.81408953094346304</c:v>
                </c:pt>
                <c:pt idx="45647">
                  <c:v>0.814107365792759</c:v>
                </c:pt>
                <c:pt idx="45648">
                  <c:v>0.81412520064205396</c:v>
                </c:pt>
                <c:pt idx="45649">
                  <c:v>0.81414303549135003</c:v>
                </c:pt>
                <c:pt idx="45650">
                  <c:v>0.81416087034064499</c:v>
                </c:pt>
                <c:pt idx="45651">
                  <c:v>0.81417870518994095</c:v>
                </c:pt>
                <c:pt idx="45652">
                  <c:v>0.81419654003923603</c:v>
                </c:pt>
                <c:pt idx="45653">
                  <c:v>0.81421437488853199</c:v>
                </c:pt>
                <c:pt idx="45654">
                  <c:v>0.81423220973782695</c:v>
                </c:pt>
                <c:pt idx="45655">
                  <c:v>0.81425004458712302</c:v>
                </c:pt>
                <c:pt idx="45656">
                  <c:v>0.81426787943641799</c:v>
                </c:pt>
                <c:pt idx="45657">
                  <c:v>0.81428571428571395</c:v>
                </c:pt>
                <c:pt idx="45658">
                  <c:v>0.81430354913500902</c:v>
                </c:pt>
                <c:pt idx="45659">
                  <c:v>0.81432138398430498</c:v>
                </c:pt>
                <c:pt idx="45660">
                  <c:v>0.81433921883360005</c:v>
                </c:pt>
                <c:pt idx="45661">
                  <c:v>0.81435705368289601</c:v>
                </c:pt>
                <c:pt idx="45662">
                  <c:v>0.81437488853219098</c:v>
                </c:pt>
                <c:pt idx="45663">
                  <c:v>0.81439272338148705</c:v>
                </c:pt>
                <c:pt idx="45664">
                  <c:v>0.81441055823078201</c:v>
                </c:pt>
                <c:pt idx="45665">
                  <c:v>0.81442839308007797</c:v>
                </c:pt>
                <c:pt idx="45666">
                  <c:v>0.81444622792937404</c:v>
                </c:pt>
                <c:pt idx="45667">
                  <c:v>0.81446406277866901</c:v>
                </c:pt>
                <c:pt idx="45668">
                  <c:v>0.81448189762796497</c:v>
                </c:pt>
                <c:pt idx="45669">
                  <c:v>0.81449973247726004</c:v>
                </c:pt>
                <c:pt idx="45670">
                  <c:v>0.814517567326556</c:v>
                </c:pt>
                <c:pt idx="45671">
                  <c:v>0.81453540217585096</c:v>
                </c:pt>
                <c:pt idx="45672">
                  <c:v>0.81455323702514704</c:v>
                </c:pt>
                <c:pt idx="45673">
                  <c:v>0.814571071874442</c:v>
                </c:pt>
                <c:pt idx="45674">
                  <c:v>0.81458890672373796</c:v>
                </c:pt>
                <c:pt idx="45675">
                  <c:v>0.81460674157303303</c:v>
                </c:pt>
                <c:pt idx="45676">
                  <c:v>0.81462457642232899</c:v>
                </c:pt>
                <c:pt idx="45677">
                  <c:v>0.81464241127162396</c:v>
                </c:pt>
                <c:pt idx="45678">
                  <c:v>0.81466024612092003</c:v>
                </c:pt>
                <c:pt idx="45679">
                  <c:v>0.81467808097021499</c:v>
                </c:pt>
                <c:pt idx="45680">
                  <c:v>0.81469591581951095</c:v>
                </c:pt>
                <c:pt idx="45681">
                  <c:v>0.81471375066880602</c:v>
                </c:pt>
                <c:pt idx="45682">
                  <c:v>0.81473158551810199</c:v>
                </c:pt>
                <c:pt idx="45683">
                  <c:v>0.81474942036739795</c:v>
                </c:pt>
                <c:pt idx="45684">
                  <c:v>0.81476725521669302</c:v>
                </c:pt>
                <c:pt idx="45685">
                  <c:v>0.81478509006598898</c:v>
                </c:pt>
                <c:pt idx="45686">
                  <c:v>0.81480292491528405</c:v>
                </c:pt>
                <c:pt idx="45687">
                  <c:v>0.81482075976458002</c:v>
                </c:pt>
                <c:pt idx="45688">
                  <c:v>0.81483859461387498</c:v>
                </c:pt>
                <c:pt idx="45689">
                  <c:v>0.81485642946317105</c:v>
                </c:pt>
                <c:pt idx="45690">
                  <c:v>0.81487426431246601</c:v>
                </c:pt>
                <c:pt idx="45691">
                  <c:v>0.81489209916176197</c:v>
                </c:pt>
                <c:pt idx="45692">
                  <c:v>0.81490993401105705</c:v>
                </c:pt>
                <c:pt idx="45693">
                  <c:v>0.81492776886035301</c:v>
                </c:pt>
                <c:pt idx="45694">
                  <c:v>0.81494560370964797</c:v>
                </c:pt>
                <c:pt idx="45695">
                  <c:v>0.81496343855894404</c:v>
                </c:pt>
                <c:pt idx="45696">
                  <c:v>0.814981273408239</c:v>
                </c:pt>
                <c:pt idx="45697">
                  <c:v>0.81499910825753497</c:v>
                </c:pt>
                <c:pt idx="45698">
                  <c:v>0.81501694310683004</c:v>
                </c:pt>
                <c:pt idx="45699">
                  <c:v>0.815034777956126</c:v>
                </c:pt>
                <c:pt idx="45700">
                  <c:v>0.81505261280542096</c:v>
                </c:pt>
                <c:pt idx="45701">
                  <c:v>0.81507044765471703</c:v>
                </c:pt>
                <c:pt idx="45702">
                  <c:v>0.815088282504012</c:v>
                </c:pt>
                <c:pt idx="45703">
                  <c:v>0.81510611735330796</c:v>
                </c:pt>
                <c:pt idx="45704">
                  <c:v>0.81512395220260303</c:v>
                </c:pt>
                <c:pt idx="45705">
                  <c:v>0.81514178705189899</c:v>
                </c:pt>
                <c:pt idx="45706">
                  <c:v>0.81515962190119495</c:v>
                </c:pt>
                <c:pt idx="45707">
                  <c:v>0.81517745675049003</c:v>
                </c:pt>
                <c:pt idx="45708">
                  <c:v>0.81519529159978599</c:v>
                </c:pt>
                <c:pt idx="45709">
                  <c:v>0.81521312644908095</c:v>
                </c:pt>
                <c:pt idx="45710">
                  <c:v>0.81523096129837702</c:v>
                </c:pt>
                <c:pt idx="45711">
                  <c:v>0.81524879614767198</c:v>
                </c:pt>
                <c:pt idx="45712">
                  <c:v>0.81526663099696794</c:v>
                </c:pt>
                <c:pt idx="45713">
                  <c:v>0.81528446584626302</c:v>
                </c:pt>
                <c:pt idx="45714">
                  <c:v>0.81530230069555898</c:v>
                </c:pt>
                <c:pt idx="45715">
                  <c:v>0.81532013554485405</c:v>
                </c:pt>
                <c:pt idx="45716">
                  <c:v>0.81533797039415001</c:v>
                </c:pt>
                <c:pt idx="45717">
                  <c:v>0.81535580524344498</c:v>
                </c:pt>
                <c:pt idx="45718">
                  <c:v>0.81537364009274105</c:v>
                </c:pt>
                <c:pt idx="45719">
                  <c:v>0.81539147494203601</c:v>
                </c:pt>
                <c:pt idx="45720">
                  <c:v>0.81540930979133197</c:v>
                </c:pt>
                <c:pt idx="45721">
                  <c:v>0.81542714464062704</c:v>
                </c:pt>
                <c:pt idx="45722">
                  <c:v>0.81544497948992301</c:v>
                </c:pt>
                <c:pt idx="45723">
                  <c:v>0.81546281433921797</c:v>
                </c:pt>
                <c:pt idx="45724">
                  <c:v>0.81548064918851404</c:v>
                </c:pt>
                <c:pt idx="45725">
                  <c:v>0.815498484037809</c:v>
                </c:pt>
                <c:pt idx="45726">
                  <c:v>0.81551631888710496</c:v>
                </c:pt>
                <c:pt idx="45727">
                  <c:v>0.81553415373640004</c:v>
                </c:pt>
                <c:pt idx="45728">
                  <c:v>0.815551988585696</c:v>
                </c:pt>
                <c:pt idx="45729">
                  <c:v>0.81556982343499196</c:v>
                </c:pt>
                <c:pt idx="45730">
                  <c:v>0.81558765828428703</c:v>
                </c:pt>
                <c:pt idx="45731">
                  <c:v>0.81560549313358299</c:v>
                </c:pt>
                <c:pt idx="45732">
                  <c:v>0.81562332798287795</c:v>
                </c:pt>
                <c:pt idx="45733">
                  <c:v>0.81564116283217403</c:v>
                </c:pt>
                <c:pt idx="45734">
                  <c:v>0.81565899768146899</c:v>
                </c:pt>
                <c:pt idx="45735">
                  <c:v>0.81567683253076495</c:v>
                </c:pt>
                <c:pt idx="45736">
                  <c:v>0.81569466738006002</c:v>
                </c:pt>
                <c:pt idx="45737">
                  <c:v>0.81571250222935598</c:v>
                </c:pt>
                <c:pt idx="45738">
                  <c:v>0.81573033707865095</c:v>
                </c:pt>
                <c:pt idx="45739">
                  <c:v>0.81574817192794702</c:v>
                </c:pt>
                <c:pt idx="45740">
                  <c:v>0.81576600677724198</c:v>
                </c:pt>
                <c:pt idx="45741">
                  <c:v>0.81578384162653805</c:v>
                </c:pt>
                <c:pt idx="45742">
                  <c:v>0.81580167647583302</c:v>
                </c:pt>
                <c:pt idx="45743">
                  <c:v>0.81581951132512898</c:v>
                </c:pt>
                <c:pt idx="45744">
                  <c:v>0.81583734617442405</c:v>
                </c:pt>
                <c:pt idx="45745">
                  <c:v>0.81585518102372001</c:v>
                </c:pt>
                <c:pt idx="45746">
                  <c:v>0.81587301587301497</c:v>
                </c:pt>
                <c:pt idx="45747">
                  <c:v>0.81589085072231105</c:v>
                </c:pt>
                <c:pt idx="45748">
                  <c:v>0.81590868557160601</c:v>
                </c:pt>
                <c:pt idx="45749">
                  <c:v>0.81592652042090197</c:v>
                </c:pt>
                <c:pt idx="45750">
                  <c:v>0.81594435527019704</c:v>
                </c:pt>
                <c:pt idx="45751">
                  <c:v>0.815962190119493</c:v>
                </c:pt>
                <c:pt idx="45752">
                  <c:v>0.81598002496878896</c:v>
                </c:pt>
                <c:pt idx="45753">
                  <c:v>0.81599785981808404</c:v>
                </c:pt>
                <c:pt idx="45754">
                  <c:v>0.81601569466738</c:v>
                </c:pt>
                <c:pt idx="45755">
                  <c:v>0.81603352951667496</c:v>
                </c:pt>
                <c:pt idx="45756">
                  <c:v>0.81605136436597103</c:v>
                </c:pt>
                <c:pt idx="45757">
                  <c:v>0.81606919921526599</c:v>
                </c:pt>
                <c:pt idx="45758">
                  <c:v>0.81608703406456196</c:v>
                </c:pt>
                <c:pt idx="45759">
                  <c:v>0.81610486891385703</c:v>
                </c:pt>
                <c:pt idx="45760">
                  <c:v>0.81612270376315299</c:v>
                </c:pt>
                <c:pt idx="45761">
                  <c:v>0.81614053861244795</c:v>
                </c:pt>
                <c:pt idx="45762">
                  <c:v>0.81615837346174402</c:v>
                </c:pt>
                <c:pt idx="45763">
                  <c:v>0.81617620831103899</c:v>
                </c:pt>
                <c:pt idx="45764">
                  <c:v>0.81619404316033495</c:v>
                </c:pt>
                <c:pt idx="45765">
                  <c:v>0.81621187800963002</c:v>
                </c:pt>
                <c:pt idx="45766">
                  <c:v>0.81622971285892598</c:v>
                </c:pt>
                <c:pt idx="45767">
                  <c:v>0.81624754770822106</c:v>
                </c:pt>
                <c:pt idx="45768">
                  <c:v>0.81626538255751702</c:v>
                </c:pt>
                <c:pt idx="45769">
                  <c:v>0.81628321740681198</c:v>
                </c:pt>
                <c:pt idx="45770">
                  <c:v>0.81630105225610805</c:v>
                </c:pt>
                <c:pt idx="45771">
                  <c:v>0.81631888710540401</c:v>
                </c:pt>
                <c:pt idx="45772">
                  <c:v>0.81633672195469897</c:v>
                </c:pt>
                <c:pt idx="45773">
                  <c:v>0.81635455680399505</c:v>
                </c:pt>
                <c:pt idx="45774">
                  <c:v>0.81637239165329001</c:v>
                </c:pt>
                <c:pt idx="45775">
                  <c:v>0.81639022650258597</c:v>
                </c:pt>
                <c:pt idx="45776">
                  <c:v>0.81640806135188104</c:v>
                </c:pt>
                <c:pt idx="45777">
                  <c:v>0.816425896201177</c:v>
                </c:pt>
                <c:pt idx="45778">
                  <c:v>0.81644373105047197</c:v>
                </c:pt>
                <c:pt idx="45779">
                  <c:v>0.81646156589976804</c:v>
                </c:pt>
                <c:pt idx="45780">
                  <c:v>0.816479400749063</c:v>
                </c:pt>
                <c:pt idx="45781">
                  <c:v>0.81649723559835896</c:v>
                </c:pt>
                <c:pt idx="45782">
                  <c:v>0.81651507044765403</c:v>
                </c:pt>
                <c:pt idx="45783">
                  <c:v>0.81653290529695</c:v>
                </c:pt>
                <c:pt idx="45784">
                  <c:v>0.81655074014624496</c:v>
                </c:pt>
                <c:pt idx="45785">
                  <c:v>0.81656857499554103</c:v>
                </c:pt>
                <c:pt idx="45786">
                  <c:v>0.81658640984483599</c:v>
                </c:pt>
                <c:pt idx="45787">
                  <c:v>0.81660424469413195</c:v>
                </c:pt>
                <c:pt idx="45788">
                  <c:v>0.81662207954342703</c:v>
                </c:pt>
                <c:pt idx="45789">
                  <c:v>0.81663991439272299</c:v>
                </c:pt>
                <c:pt idx="45790">
                  <c:v>0.81665774924201895</c:v>
                </c:pt>
                <c:pt idx="45791">
                  <c:v>0.81667558409131402</c:v>
                </c:pt>
                <c:pt idx="45792">
                  <c:v>0.81669341894060998</c:v>
                </c:pt>
                <c:pt idx="45793">
                  <c:v>0.81671125378990495</c:v>
                </c:pt>
                <c:pt idx="45794">
                  <c:v>0.81672908863920102</c:v>
                </c:pt>
                <c:pt idx="45795">
                  <c:v>0.81674692348849598</c:v>
                </c:pt>
                <c:pt idx="45796">
                  <c:v>0.81676475833779205</c:v>
                </c:pt>
                <c:pt idx="45797">
                  <c:v>0.81678259318708701</c:v>
                </c:pt>
                <c:pt idx="45798">
                  <c:v>0.81680042803638297</c:v>
                </c:pt>
                <c:pt idx="45799">
                  <c:v>0.81681826288567805</c:v>
                </c:pt>
                <c:pt idx="45800">
                  <c:v>0.81683609773497401</c:v>
                </c:pt>
                <c:pt idx="45801">
                  <c:v>0.81685393258426897</c:v>
                </c:pt>
                <c:pt idx="45802">
                  <c:v>0.81687176743356504</c:v>
                </c:pt>
                <c:pt idx="45803">
                  <c:v>0.81688960228286001</c:v>
                </c:pt>
                <c:pt idx="45804">
                  <c:v>0.81690743713215597</c:v>
                </c:pt>
                <c:pt idx="45805">
                  <c:v>0.81692527198145104</c:v>
                </c:pt>
                <c:pt idx="45806">
                  <c:v>0.816943106830747</c:v>
                </c:pt>
                <c:pt idx="45807">
                  <c:v>0.81696094168004196</c:v>
                </c:pt>
                <c:pt idx="45808">
                  <c:v>0.81697877652933804</c:v>
                </c:pt>
                <c:pt idx="45809">
                  <c:v>0.816996611378633</c:v>
                </c:pt>
                <c:pt idx="45810">
                  <c:v>0.81701444622792896</c:v>
                </c:pt>
                <c:pt idx="45811">
                  <c:v>0.81703228107722403</c:v>
                </c:pt>
                <c:pt idx="45812">
                  <c:v>0.81705011592651999</c:v>
                </c:pt>
                <c:pt idx="45813">
                  <c:v>0.81706795077581595</c:v>
                </c:pt>
                <c:pt idx="45814">
                  <c:v>0.81708578562511103</c:v>
                </c:pt>
                <c:pt idx="45815">
                  <c:v>0.81710362047440699</c:v>
                </c:pt>
                <c:pt idx="45816">
                  <c:v>0.81712145532370195</c:v>
                </c:pt>
                <c:pt idx="45817">
                  <c:v>0.81713929017299802</c:v>
                </c:pt>
                <c:pt idx="45818">
                  <c:v>0.81715712502229298</c:v>
                </c:pt>
                <c:pt idx="45819">
                  <c:v>0.81717495987158895</c:v>
                </c:pt>
                <c:pt idx="45820">
                  <c:v>0.81719279472088402</c:v>
                </c:pt>
                <c:pt idx="45821">
                  <c:v>0.81721062957017998</c:v>
                </c:pt>
                <c:pt idx="45822">
                  <c:v>0.81722846441947505</c:v>
                </c:pt>
                <c:pt idx="45823">
                  <c:v>0.81724629926877101</c:v>
                </c:pt>
                <c:pt idx="45824">
                  <c:v>0.81726413411806598</c:v>
                </c:pt>
                <c:pt idx="45825">
                  <c:v>0.81728196896736205</c:v>
                </c:pt>
                <c:pt idx="45826">
                  <c:v>0.81729980381665701</c:v>
                </c:pt>
                <c:pt idx="45827">
                  <c:v>0.81731763866595297</c:v>
                </c:pt>
                <c:pt idx="45828">
                  <c:v>0.81733547351524805</c:v>
                </c:pt>
                <c:pt idx="45829">
                  <c:v>0.81735330836454401</c:v>
                </c:pt>
                <c:pt idx="45830">
                  <c:v>0.81737114321383897</c:v>
                </c:pt>
                <c:pt idx="45831">
                  <c:v>0.81738897806313504</c:v>
                </c:pt>
                <c:pt idx="45832">
                  <c:v>0.81740681291243</c:v>
                </c:pt>
                <c:pt idx="45833">
                  <c:v>0.81742464776172596</c:v>
                </c:pt>
                <c:pt idx="45834">
                  <c:v>0.81744248261102104</c:v>
                </c:pt>
                <c:pt idx="45835">
                  <c:v>0.817460317460317</c:v>
                </c:pt>
                <c:pt idx="45836">
                  <c:v>0.81747815230961296</c:v>
                </c:pt>
                <c:pt idx="45837">
                  <c:v>0.81749598715890803</c:v>
                </c:pt>
                <c:pt idx="45838">
                  <c:v>0.81751382200820399</c:v>
                </c:pt>
                <c:pt idx="45839">
                  <c:v>0.81753165685749896</c:v>
                </c:pt>
                <c:pt idx="45840">
                  <c:v>0.81754949170679503</c:v>
                </c:pt>
                <c:pt idx="45841">
                  <c:v>0.81756732655608999</c:v>
                </c:pt>
                <c:pt idx="45842">
                  <c:v>0.81758516140538595</c:v>
                </c:pt>
                <c:pt idx="45843">
                  <c:v>0.81760299625468102</c:v>
                </c:pt>
                <c:pt idx="45844">
                  <c:v>0.81762083110397699</c:v>
                </c:pt>
                <c:pt idx="45845">
                  <c:v>0.81763866595327195</c:v>
                </c:pt>
                <c:pt idx="45846">
                  <c:v>0.81765650080256802</c:v>
                </c:pt>
                <c:pt idx="45847">
                  <c:v>0.81767433565186298</c:v>
                </c:pt>
                <c:pt idx="45848">
                  <c:v>0.81769217050115905</c:v>
                </c:pt>
                <c:pt idx="45849">
                  <c:v>0.81771000535045402</c:v>
                </c:pt>
                <c:pt idx="45850">
                  <c:v>0.81772784019974998</c:v>
                </c:pt>
                <c:pt idx="45851">
                  <c:v>0.81774567504904505</c:v>
                </c:pt>
                <c:pt idx="45852">
                  <c:v>0.81776350989834101</c:v>
                </c:pt>
                <c:pt idx="45853">
                  <c:v>0.81778134474763597</c:v>
                </c:pt>
                <c:pt idx="45854">
                  <c:v>0.81779917959693205</c:v>
                </c:pt>
                <c:pt idx="45855">
                  <c:v>0.81781701444622701</c:v>
                </c:pt>
                <c:pt idx="45856">
                  <c:v>0.81783484929552297</c:v>
                </c:pt>
                <c:pt idx="45857">
                  <c:v>0.81785268414481804</c:v>
                </c:pt>
                <c:pt idx="45858">
                  <c:v>0.817870518994114</c:v>
                </c:pt>
                <c:pt idx="45859">
                  <c:v>0.81788835384340997</c:v>
                </c:pt>
                <c:pt idx="45860">
                  <c:v>0.81790618869270504</c:v>
                </c:pt>
                <c:pt idx="45861">
                  <c:v>0.817924023542001</c:v>
                </c:pt>
                <c:pt idx="45862">
                  <c:v>0.81794185839129596</c:v>
                </c:pt>
                <c:pt idx="45863">
                  <c:v>0.81795969324059203</c:v>
                </c:pt>
                <c:pt idx="45864">
                  <c:v>0.817977528089887</c:v>
                </c:pt>
                <c:pt idx="45865">
                  <c:v>0.81799536293918296</c:v>
                </c:pt>
                <c:pt idx="45866">
                  <c:v>0.81801319778847803</c:v>
                </c:pt>
                <c:pt idx="45867">
                  <c:v>0.81803103263777399</c:v>
                </c:pt>
                <c:pt idx="45868">
                  <c:v>0.81804886748706895</c:v>
                </c:pt>
                <c:pt idx="45869">
                  <c:v>0.81806670233636503</c:v>
                </c:pt>
                <c:pt idx="45870">
                  <c:v>0.81808453718565999</c:v>
                </c:pt>
                <c:pt idx="45871">
                  <c:v>0.81810237203495595</c:v>
                </c:pt>
                <c:pt idx="45872">
                  <c:v>0.81812020688425102</c:v>
                </c:pt>
                <c:pt idx="45873">
                  <c:v>0.81813804173354698</c:v>
                </c:pt>
                <c:pt idx="45874">
                  <c:v>0.81815587658284195</c:v>
                </c:pt>
                <c:pt idx="45875">
                  <c:v>0.81817371143213802</c:v>
                </c:pt>
                <c:pt idx="45876">
                  <c:v>0.81819154628143298</c:v>
                </c:pt>
                <c:pt idx="45877">
                  <c:v>0.81820938113072905</c:v>
                </c:pt>
                <c:pt idx="45878">
                  <c:v>0.81822721598002501</c:v>
                </c:pt>
                <c:pt idx="45879">
                  <c:v>0.81824505082931998</c:v>
                </c:pt>
                <c:pt idx="45880">
                  <c:v>0.81826288567861605</c:v>
                </c:pt>
                <c:pt idx="45881">
                  <c:v>0.81828072052791101</c:v>
                </c:pt>
                <c:pt idx="45882">
                  <c:v>0.81829855537720697</c:v>
                </c:pt>
                <c:pt idx="45883">
                  <c:v>0.81831639022650204</c:v>
                </c:pt>
                <c:pt idx="45884">
                  <c:v>0.81833422507579801</c:v>
                </c:pt>
                <c:pt idx="45885">
                  <c:v>0.81835205992509297</c:v>
                </c:pt>
                <c:pt idx="45886">
                  <c:v>0.81836989477438904</c:v>
                </c:pt>
                <c:pt idx="45887">
                  <c:v>0.818387729623684</c:v>
                </c:pt>
                <c:pt idx="45888">
                  <c:v>0.81840556447297996</c:v>
                </c:pt>
                <c:pt idx="45889">
                  <c:v>0.81842339932227504</c:v>
                </c:pt>
                <c:pt idx="45890">
                  <c:v>0.818441234171571</c:v>
                </c:pt>
                <c:pt idx="45891">
                  <c:v>0.81845906902086596</c:v>
                </c:pt>
                <c:pt idx="45892">
                  <c:v>0.81847690387016203</c:v>
                </c:pt>
                <c:pt idx="45893">
                  <c:v>0.81849473871945699</c:v>
                </c:pt>
                <c:pt idx="45894">
                  <c:v>0.81851257356875295</c:v>
                </c:pt>
                <c:pt idx="45895">
                  <c:v>0.81853040841804803</c:v>
                </c:pt>
                <c:pt idx="45896">
                  <c:v>0.81854824326734399</c:v>
                </c:pt>
                <c:pt idx="45897">
                  <c:v>0.81856607811663995</c:v>
                </c:pt>
                <c:pt idx="45898">
                  <c:v>0.81858391296593502</c:v>
                </c:pt>
                <c:pt idx="45899">
                  <c:v>0.81860174781523098</c:v>
                </c:pt>
                <c:pt idx="45900">
                  <c:v>0.81861958266452595</c:v>
                </c:pt>
                <c:pt idx="45901">
                  <c:v>0.81863741751382202</c:v>
                </c:pt>
                <c:pt idx="45902">
                  <c:v>0.81865525236311698</c:v>
                </c:pt>
                <c:pt idx="45903">
                  <c:v>0.81867308721241305</c:v>
                </c:pt>
                <c:pt idx="45904">
                  <c:v>0.81869092206170802</c:v>
                </c:pt>
                <c:pt idx="45905">
                  <c:v>0.81870875691100398</c:v>
                </c:pt>
                <c:pt idx="45906">
                  <c:v>0.81872659176029905</c:v>
                </c:pt>
                <c:pt idx="45907">
                  <c:v>0.81874442660959501</c:v>
                </c:pt>
                <c:pt idx="45908">
                  <c:v>0.81876226145888997</c:v>
                </c:pt>
                <c:pt idx="45909">
                  <c:v>0.81878009630818605</c:v>
                </c:pt>
                <c:pt idx="45910">
                  <c:v>0.81879793115748101</c:v>
                </c:pt>
                <c:pt idx="45911">
                  <c:v>0.81881576600677697</c:v>
                </c:pt>
                <c:pt idx="45912">
                  <c:v>0.81883360085607204</c:v>
                </c:pt>
                <c:pt idx="45913">
                  <c:v>0.818851435705368</c:v>
                </c:pt>
                <c:pt idx="45914">
                  <c:v>0.81886927055466296</c:v>
                </c:pt>
                <c:pt idx="45915">
                  <c:v>0.81888710540395904</c:v>
                </c:pt>
                <c:pt idx="45916">
                  <c:v>0.818904940253254</c:v>
                </c:pt>
                <c:pt idx="45917">
                  <c:v>0.81892277510254996</c:v>
                </c:pt>
                <c:pt idx="45918">
                  <c:v>0.81894060995184503</c:v>
                </c:pt>
                <c:pt idx="45919">
                  <c:v>0.81895844480114099</c:v>
                </c:pt>
                <c:pt idx="45920">
                  <c:v>0.81897627965043696</c:v>
                </c:pt>
                <c:pt idx="45921">
                  <c:v>0.81899411449973203</c:v>
                </c:pt>
                <c:pt idx="45922">
                  <c:v>0.81901194934902799</c:v>
                </c:pt>
                <c:pt idx="45923">
                  <c:v>0.81902978419832295</c:v>
                </c:pt>
                <c:pt idx="45924">
                  <c:v>0.81904761904761902</c:v>
                </c:pt>
                <c:pt idx="45925">
                  <c:v>0.81906545389691399</c:v>
                </c:pt>
                <c:pt idx="45926">
                  <c:v>0.81908328874620995</c:v>
                </c:pt>
                <c:pt idx="45927">
                  <c:v>0.81910112359550502</c:v>
                </c:pt>
                <c:pt idx="45928">
                  <c:v>0.81911895844480098</c:v>
                </c:pt>
                <c:pt idx="45929">
                  <c:v>0.81913679329409606</c:v>
                </c:pt>
                <c:pt idx="45930">
                  <c:v>0.81915462814339202</c:v>
                </c:pt>
                <c:pt idx="45931">
                  <c:v>0.81917246299268698</c:v>
                </c:pt>
                <c:pt idx="45932">
                  <c:v>0.81919029784198305</c:v>
                </c:pt>
                <c:pt idx="45933">
                  <c:v>0.81920813269127801</c:v>
                </c:pt>
                <c:pt idx="45934">
                  <c:v>0.81922596754057397</c:v>
                </c:pt>
                <c:pt idx="45935">
                  <c:v>0.81924380238986905</c:v>
                </c:pt>
                <c:pt idx="45936">
                  <c:v>0.81926163723916501</c:v>
                </c:pt>
                <c:pt idx="45937">
                  <c:v>0.81927947208845997</c:v>
                </c:pt>
                <c:pt idx="45938">
                  <c:v>0.81929730693775604</c:v>
                </c:pt>
                <c:pt idx="45939">
                  <c:v>0.819315141787051</c:v>
                </c:pt>
                <c:pt idx="45940">
                  <c:v>0.81933297663634697</c:v>
                </c:pt>
                <c:pt idx="45941">
                  <c:v>0.81935081148564204</c:v>
                </c:pt>
                <c:pt idx="45942">
                  <c:v>0.819368646334938</c:v>
                </c:pt>
                <c:pt idx="45943">
                  <c:v>0.81938648118423396</c:v>
                </c:pt>
                <c:pt idx="45944">
                  <c:v>0.81940431603352903</c:v>
                </c:pt>
                <c:pt idx="45945">
                  <c:v>0.819422150882825</c:v>
                </c:pt>
                <c:pt idx="45946">
                  <c:v>0.81943998573211996</c:v>
                </c:pt>
                <c:pt idx="45947">
                  <c:v>0.81945782058141603</c:v>
                </c:pt>
                <c:pt idx="45948">
                  <c:v>0.81947565543071099</c:v>
                </c:pt>
                <c:pt idx="45949">
                  <c:v>0.81949349028000695</c:v>
                </c:pt>
                <c:pt idx="45950">
                  <c:v>0.81951132512930203</c:v>
                </c:pt>
                <c:pt idx="45951">
                  <c:v>0.81952915997859799</c:v>
                </c:pt>
                <c:pt idx="45952">
                  <c:v>0.81954699482789295</c:v>
                </c:pt>
                <c:pt idx="45953">
                  <c:v>0.81956482967718902</c:v>
                </c:pt>
                <c:pt idx="45954">
                  <c:v>0.81958266452648398</c:v>
                </c:pt>
                <c:pt idx="45955">
                  <c:v>0.81960049937577995</c:v>
                </c:pt>
                <c:pt idx="45956">
                  <c:v>0.81961833422507502</c:v>
                </c:pt>
                <c:pt idx="45957">
                  <c:v>0.81963616907437098</c:v>
                </c:pt>
                <c:pt idx="45958">
                  <c:v>0.81965400392366605</c:v>
                </c:pt>
                <c:pt idx="45959">
                  <c:v>0.81967183877296201</c:v>
                </c:pt>
                <c:pt idx="45960">
                  <c:v>0.81968967362225698</c:v>
                </c:pt>
                <c:pt idx="45961">
                  <c:v>0.81970750847155305</c:v>
                </c:pt>
                <c:pt idx="45962">
                  <c:v>0.81972534332084801</c:v>
                </c:pt>
                <c:pt idx="45963">
                  <c:v>0.81974317817014397</c:v>
                </c:pt>
                <c:pt idx="45964">
                  <c:v>0.81976101301943904</c:v>
                </c:pt>
                <c:pt idx="45965">
                  <c:v>0.81977884786873501</c:v>
                </c:pt>
                <c:pt idx="45966">
                  <c:v>0.81979668271803097</c:v>
                </c:pt>
                <c:pt idx="45967">
                  <c:v>0.81981451756732604</c:v>
                </c:pt>
                <c:pt idx="45968">
                  <c:v>0.819832352416622</c:v>
                </c:pt>
                <c:pt idx="45969">
                  <c:v>0.81985018726591696</c:v>
                </c:pt>
                <c:pt idx="45970">
                  <c:v>0.81986802211521304</c:v>
                </c:pt>
                <c:pt idx="45971">
                  <c:v>0.819885856964508</c:v>
                </c:pt>
                <c:pt idx="45972">
                  <c:v>0.81990369181380396</c:v>
                </c:pt>
                <c:pt idx="45973">
                  <c:v>0.81992152666309903</c:v>
                </c:pt>
                <c:pt idx="45974">
                  <c:v>0.81993936151239499</c:v>
                </c:pt>
                <c:pt idx="45975">
                  <c:v>0.81995719636168996</c:v>
                </c:pt>
                <c:pt idx="45976">
                  <c:v>0.81997503121098603</c:v>
                </c:pt>
                <c:pt idx="45977">
                  <c:v>0.81999286606028099</c:v>
                </c:pt>
                <c:pt idx="45978">
                  <c:v>0.82001070090957695</c:v>
                </c:pt>
                <c:pt idx="45979">
                  <c:v>0.82002853575887202</c:v>
                </c:pt>
                <c:pt idx="45980">
                  <c:v>0.82004637060816798</c:v>
                </c:pt>
                <c:pt idx="45981">
                  <c:v>0.82006420545746295</c:v>
                </c:pt>
                <c:pt idx="45982">
                  <c:v>0.82008204030675902</c:v>
                </c:pt>
                <c:pt idx="45983">
                  <c:v>0.82009987515605498</c:v>
                </c:pt>
                <c:pt idx="45984">
                  <c:v>0.82011771000535005</c:v>
                </c:pt>
                <c:pt idx="45985">
                  <c:v>0.82013554485464601</c:v>
                </c:pt>
                <c:pt idx="45986">
                  <c:v>0.82015337970394098</c:v>
                </c:pt>
                <c:pt idx="45987">
                  <c:v>0.82017121455323705</c:v>
                </c:pt>
                <c:pt idx="45988">
                  <c:v>0.82018904940253201</c:v>
                </c:pt>
                <c:pt idx="45989">
                  <c:v>0.82020688425182797</c:v>
                </c:pt>
                <c:pt idx="45990">
                  <c:v>0.82022471910112305</c:v>
                </c:pt>
                <c:pt idx="45991">
                  <c:v>0.82024255395041901</c:v>
                </c:pt>
                <c:pt idx="45992">
                  <c:v>0.82026038879971397</c:v>
                </c:pt>
                <c:pt idx="45993">
                  <c:v>0.82027822364901004</c:v>
                </c:pt>
                <c:pt idx="45994">
                  <c:v>0.820296058498305</c:v>
                </c:pt>
                <c:pt idx="45995">
                  <c:v>0.82031389334760096</c:v>
                </c:pt>
                <c:pt idx="45996">
                  <c:v>0.82033172819689604</c:v>
                </c:pt>
                <c:pt idx="45997">
                  <c:v>0.820349563046192</c:v>
                </c:pt>
                <c:pt idx="45998">
                  <c:v>0.82036739789548696</c:v>
                </c:pt>
                <c:pt idx="45999">
                  <c:v>0.82038523274478303</c:v>
                </c:pt>
                <c:pt idx="46000">
                  <c:v>0.82040306759407799</c:v>
                </c:pt>
                <c:pt idx="46001">
                  <c:v>0.82042090244337396</c:v>
                </c:pt>
                <c:pt idx="46002">
                  <c:v>0.82043873729266903</c:v>
                </c:pt>
                <c:pt idx="46003">
                  <c:v>0.82045657214196499</c:v>
                </c:pt>
                <c:pt idx="46004">
                  <c:v>0.82047440699126095</c:v>
                </c:pt>
                <c:pt idx="46005">
                  <c:v>0.82049224184055602</c:v>
                </c:pt>
                <c:pt idx="46006">
                  <c:v>0.82051007668985199</c:v>
                </c:pt>
                <c:pt idx="46007">
                  <c:v>0.82052791153914695</c:v>
                </c:pt>
                <c:pt idx="46008">
                  <c:v>0.82054574638844302</c:v>
                </c:pt>
                <c:pt idx="46009">
                  <c:v>0.82056358123773798</c:v>
                </c:pt>
                <c:pt idx="46010">
                  <c:v>0.82058141608703405</c:v>
                </c:pt>
                <c:pt idx="46011">
                  <c:v>0.82059925093632902</c:v>
                </c:pt>
                <c:pt idx="46012">
                  <c:v>0.82061708578562498</c:v>
                </c:pt>
                <c:pt idx="46013">
                  <c:v>0.82063492063492005</c:v>
                </c:pt>
                <c:pt idx="46014">
                  <c:v>0.82065275548421601</c:v>
                </c:pt>
                <c:pt idx="46015">
                  <c:v>0.82067059033351097</c:v>
                </c:pt>
                <c:pt idx="46016">
                  <c:v>0.82068842518280705</c:v>
                </c:pt>
                <c:pt idx="46017">
                  <c:v>0.82070626003210201</c:v>
                </c:pt>
                <c:pt idx="46018">
                  <c:v>0.82072409488139797</c:v>
                </c:pt>
                <c:pt idx="46019">
                  <c:v>0.82074192973069304</c:v>
                </c:pt>
                <c:pt idx="46020">
                  <c:v>0.820759764579989</c:v>
                </c:pt>
                <c:pt idx="46021">
                  <c:v>0.82077759942928397</c:v>
                </c:pt>
                <c:pt idx="46022">
                  <c:v>0.82079543427858004</c:v>
                </c:pt>
                <c:pt idx="46023">
                  <c:v>0.820813269127875</c:v>
                </c:pt>
                <c:pt idx="46024">
                  <c:v>0.82083110397717096</c:v>
                </c:pt>
                <c:pt idx="46025">
                  <c:v>0.82084893882646603</c:v>
                </c:pt>
                <c:pt idx="46026">
                  <c:v>0.820866773675762</c:v>
                </c:pt>
                <c:pt idx="46027">
                  <c:v>0.82088460852505796</c:v>
                </c:pt>
                <c:pt idx="46028">
                  <c:v>0.82090244337435303</c:v>
                </c:pt>
                <c:pt idx="46029">
                  <c:v>0.82092027822364899</c:v>
                </c:pt>
                <c:pt idx="46030">
                  <c:v>0.82093811307294395</c:v>
                </c:pt>
                <c:pt idx="46031">
                  <c:v>0.82095594792224003</c:v>
                </c:pt>
                <c:pt idx="46032">
                  <c:v>0.82097378277153499</c:v>
                </c:pt>
                <c:pt idx="46033">
                  <c:v>0.82099161762083095</c:v>
                </c:pt>
                <c:pt idx="46034">
                  <c:v>0.82100945247012602</c:v>
                </c:pt>
                <c:pt idx="46035">
                  <c:v>0.82102728731942198</c:v>
                </c:pt>
                <c:pt idx="46036">
                  <c:v>0.82104512216871695</c:v>
                </c:pt>
                <c:pt idx="46037">
                  <c:v>0.82106295701801302</c:v>
                </c:pt>
                <c:pt idx="46038">
                  <c:v>0.82108079186730798</c:v>
                </c:pt>
                <c:pt idx="46039">
                  <c:v>0.82109862671660405</c:v>
                </c:pt>
                <c:pt idx="46040">
                  <c:v>0.82111646156589901</c:v>
                </c:pt>
                <c:pt idx="46041">
                  <c:v>0.82113429641519498</c:v>
                </c:pt>
                <c:pt idx="46042">
                  <c:v>0.82115213126449005</c:v>
                </c:pt>
                <c:pt idx="46043">
                  <c:v>0.82116996611378601</c:v>
                </c:pt>
                <c:pt idx="46044">
                  <c:v>0.82118780096308097</c:v>
                </c:pt>
                <c:pt idx="46045">
                  <c:v>0.82120563581237704</c:v>
                </c:pt>
                <c:pt idx="46046">
                  <c:v>0.82122347066167201</c:v>
                </c:pt>
                <c:pt idx="46047">
                  <c:v>0.82124130551096797</c:v>
                </c:pt>
                <c:pt idx="46048">
                  <c:v>0.82125914036026304</c:v>
                </c:pt>
                <c:pt idx="46049">
                  <c:v>0.821276975209559</c:v>
                </c:pt>
                <c:pt idx="46050">
                  <c:v>0.82129481005885496</c:v>
                </c:pt>
                <c:pt idx="46051">
                  <c:v>0.82131264490815004</c:v>
                </c:pt>
                <c:pt idx="46052">
                  <c:v>0.821330479757446</c:v>
                </c:pt>
                <c:pt idx="46053">
                  <c:v>0.82134831460674096</c:v>
                </c:pt>
                <c:pt idx="46054">
                  <c:v>0.82136614945603703</c:v>
                </c:pt>
                <c:pt idx="46055">
                  <c:v>0.82138398430533199</c:v>
                </c:pt>
                <c:pt idx="46056">
                  <c:v>0.82140181915462795</c:v>
                </c:pt>
                <c:pt idx="46057">
                  <c:v>0.82141965400392303</c:v>
                </c:pt>
                <c:pt idx="46058">
                  <c:v>0.82143748885321899</c:v>
                </c:pt>
                <c:pt idx="46059">
                  <c:v>0.82145532370251395</c:v>
                </c:pt>
                <c:pt idx="46060">
                  <c:v>0.82147315855181002</c:v>
                </c:pt>
                <c:pt idx="46061">
                  <c:v>0.82149099340110499</c:v>
                </c:pt>
                <c:pt idx="46062">
                  <c:v>0.82150882825040095</c:v>
                </c:pt>
                <c:pt idx="46063">
                  <c:v>0.82152666309969602</c:v>
                </c:pt>
                <c:pt idx="46064">
                  <c:v>0.82154449794899198</c:v>
                </c:pt>
                <c:pt idx="46065">
                  <c:v>0.82156233279828705</c:v>
                </c:pt>
                <c:pt idx="46066">
                  <c:v>0.82158016764758302</c:v>
                </c:pt>
                <c:pt idx="46067">
                  <c:v>0.82159800249687798</c:v>
                </c:pt>
                <c:pt idx="46068">
                  <c:v>0.82161583734617405</c:v>
                </c:pt>
                <c:pt idx="46069">
                  <c:v>0.82163367219546901</c:v>
                </c:pt>
                <c:pt idx="46070">
                  <c:v>0.82165150704476497</c:v>
                </c:pt>
                <c:pt idx="46071">
                  <c:v>0.82166934189406104</c:v>
                </c:pt>
                <c:pt idx="46072">
                  <c:v>0.82168717674335601</c:v>
                </c:pt>
                <c:pt idx="46073">
                  <c:v>0.82170501159265197</c:v>
                </c:pt>
                <c:pt idx="46074">
                  <c:v>0.82172284644194704</c:v>
                </c:pt>
                <c:pt idx="46075">
                  <c:v>0.821740681291243</c:v>
                </c:pt>
                <c:pt idx="46076">
                  <c:v>0.82175851614053796</c:v>
                </c:pt>
                <c:pt idx="46077">
                  <c:v>0.82177635098983404</c:v>
                </c:pt>
                <c:pt idx="46078">
                  <c:v>0.821794185839129</c:v>
                </c:pt>
                <c:pt idx="46079">
                  <c:v>0.82181202068842496</c:v>
                </c:pt>
                <c:pt idx="46080">
                  <c:v>0.82182985553772003</c:v>
                </c:pt>
                <c:pt idx="46081">
                  <c:v>0.82184769038701599</c:v>
                </c:pt>
                <c:pt idx="46082">
                  <c:v>0.82186552523631096</c:v>
                </c:pt>
                <c:pt idx="46083">
                  <c:v>0.82188336008560703</c:v>
                </c:pt>
                <c:pt idx="46084">
                  <c:v>0.82190119493490199</c:v>
                </c:pt>
                <c:pt idx="46085">
                  <c:v>0.82191902978419795</c:v>
                </c:pt>
                <c:pt idx="46086">
                  <c:v>0.82193686463349303</c:v>
                </c:pt>
                <c:pt idx="46087">
                  <c:v>0.82195469948278899</c:v>
                </c:pt>
                <c:pt idx="46088">
                  <c:v>0.82197253433208495</c:v>
                </c:pt>
                <c:pt idx="46089">
                  <c:v>0.82199036918138002</c:v>
                </c:pt>
                <c:pt idx="46090">
                  <c:v>0.82200820403067598</c:v>
                </c:pt>
                <c:pt idx="46091">
                  <c:v>0.82202603887997105</c:v>
                </c:pt>
                <c:pt idx="46092">
                  <c:v>0.82204387372926702</c:v>
                </c:pt>
                <c:pt idx="46093">
                  <c:v>0.82206170857856198</c:v>
                </c:pt>
                <c:pt idx="46094">
                  <c:v>0.82207954342785805</c:v>
                </c:pt>
                <c:pt idx="46095">
                  <c:v>0.82209737827715301</c:v>
                </c:pt>
                <c:pt idx="46096">
                  <c:v>0.82211521312644897</c:v>
                </c:pt>
                <c:pt idx="46097">
                  <c:v>0.82213304797574405</c:v>
                </c:pt>
                <c:pt idx="46098">
                  <c:v>0.82215088282504001</c:v>
                </c:pt>
                <c:pt idx="46099">
                  <c:v>0.82216871767433497</c:v>
                </c:pt>
                <c:pt idx="46100">
                  <c:v>0.82218655252363104</c:v>
                </c:pt>
                <c:pt idx="46101">
                  <c:v>0.822204387372926</c:v>
                </c:pt>
                <c:pt idx="46102">
                  <c:v>0.82222222222222197</c:v>
                </c:pt>
                <c:pt idx="46103">
                  <c:v>0.82224005707151704</c:v>
                </c:pt>
                <c:pt idx="46104">
                  <c:v>0.822257891920813</c:v>
                </c:pt>
                <c:pt idx="46105">
                  <c:v>0.82227572677010796</c:v>
                </c:pt>
                <c:pt idx="46106">
                  <c:v>0.82229356161940403</c:v>
                </c:pt>
                <c:pt idx="46107">
                  <c:v>0.822311396468699</c:v>
                </c:pt>
                <c:pt idx="46108">
                  <c:v>0.82232923131799496</c:v>
                </c:pt>
                <c:pt idx="46109">
                  <c:v>0.82234706616729003</c:v>
                </c:pt>
                <c:pt idx="46110">
                  <c:v>0.82236490101658599</c:v>
                </c:pt>
                <c:pt idx="46111">
                  <c:v>0.82238273586588195</c:v>
                </c:pt>
                <c:pt idx="46112">
                  <c:v>0.82240057071517703</c:v>
                </c:pt>
                <c:pt idx="46113">
                  <c:v>0.82241840556447299</c:v>
                </c:pt>
                <c:pt idx="46114">
                  <c:v>0.82243624041376795</c:v>
                </c:pt>
                <c:pt idx="46115">
                  <c:v>0.82245407526306402</c:v>
                </c:pt>
                <c:pt idx="46116">
                  <c:v>0.82247191011235898</c:v>
                </c:pt>
                <c:pt idx="46117">
                  <c:v>0.82248974496165494</c:v>
                </c:pt>
                <c:pt idx="46118">
                  <c:v>0.82250757981095002</c:v>
                </c:pt>
                <c:pt idx="46119">
                  <c:v>0.82252541466024598</c:v>
                </c:pt>
                <c:pt idx="46120">
                  <c:v>0.82254324950954105</c:v>
                </c:pt>
                <c:pt idx="46121">
                  <c:v>0.82256108435883701</c:v>
                </c:pt>
                <c:pt idx="46122">
                  <c:v>0.82257891920813198</c:v>
                </c:pt>
                <c:pt idx="46123">
                  <c:v>0.82259675405742805</c:v>
                </c:pt>
                <c:pt idx="46124">
                  <c:v>0.82261458890672301</c:v>
                </c:pt>
                <c:pt idx="46125">
                  <c:v>0.82263242375601897</c:v>
                </c:pt>
                <c:pt idx="46126">
                  <c:v>0.82265025860531404</c:v>
                </c:pt>
                <c:pt idx="46127">
                  <c:v>0.82266809345461001</c:v>
                </c:pt>
                <c:pt idx="46128">
                  <c:v>0.82268592830390497</c:v>
                </c:pt>
                <c:pt idx="46129">
                  <c:v>0.82270376315320104</c:v>
                </c:pt>
                <c:pt idx="46130">
                  <c:v>0.822721598002496</c:v>
                </c:pt>
                <c:pt idx="46131">
                  <c:v>0.82273943285179196</c:v>
                </c:pt>
                <c:pt idx="46132">
                  <c:v>0.82275726770108704</c:v>
                </c:pt>
                <c:pt idx="46133">
                  <c:v>0.822775102550383</c:v>
                </c:pt>
                <c:pt idx="46134">
                  <c:v>0.82279293739967896</c:v>
                </c:pt>
                <c:pt idx="46135">
                  <c:v>0.82281077224897403</c:v>
                </c:pt>
                <c:pt idx="46136">
                  <c:v>0.82282860709826999</c:v>
                </c:pt>
                <c:pt idx="46137">
                  <c:v>0.82284644194756495</c:v>
                </c:pt>
                <c:pt idx="46138">
                  <c:v>0.82286427679686103</c:v>
                </c:pt>
                <c:pt idx="46139">
                  <c:v>0.82288211164615599</c:v>
                </c:pt>
                <c:pt idx="46140">
                  <c:v>0.82289994649545195</c:v>
                </c:pt>
                <c:pt idx="46141">
                  <c:v>0.82291778134474702</c:v>
                </c:pt>
                <c:pt idx="46142">
                  <c:v>0.82293561619404298</c:v>
                </c:pt>
                <c:pt idx="46143">
                  <c:v>0.82295345104333795</c:v>
                </c:pt>
                <c:pt idx="46144">
                  <c:v>0.82297128589263402</c:v>
                </c:pt>
                <c:pt idx="46145">
                  <c:v>0.82298912074192898</c:v>
                </c:pt>
                <c:pt idx="46146">
                  <c:v>0.82300695559122505</c:v>
                </c:pt>
                <c:pt idx="46147">
                  <c:v>0.82302479044052002</c:v>
                </c:pt>
                <c:pt idx="46148">
                  <c:v>0.82304262528981598</c:v>
                </c:pt>
                <c:pt idx="46149">
                  <c:v>0.82306046013911105</c:v>
                </c:pt>
                <c:pt idx="46150">
                  <c:v>0.82307829498840701</c:v>
                </c:pt>
                <c:pt idx="46151">
                  <c:v>0.82309612983770197</c:v>
                </c:pt>
                <c:pt idx="46152">
                  <c:v>0.82311396468699805</c:v>
                </c:pt>
                <c:pt idx="46153">
                  <c:v>0.82313179953629301</c:v>
                </c:pt>
                <c:pt idx="46154">
                  <c:v>0.82314963438558897</c:v>
                </c:pt>
                <c:pt idx="46155">
                  <c:v>0.82316746923488404</c:v>
                </c:pt>
                <c:pt idx="46156">
                  <c:v>0.82318530408418</c:v>
                </c:pt>
                <c:pt idx="46157">
                  <c:v>0.82320313893347596</c:v>
                </c:pt>
                <c:pt idx="46158">
                  <c:v>0.82322097378277104</c:v>
                </c:pt>
                <c:pt idx="46159">
                  <c:v>0.823238808632067</c:v>
                </c:pt>
                <c:pt idx="46160">
                  <c:v>0.82325664348136196</c:v>
                </c:pt>
                <c:pt idx="46161">
                  <c:v>0.82327447833065803</c:v>
                </c:pt>
                <c:pt idx="46162">
                  <c:v>0.82329231317995299</c:v>
                </c:pt>
                <c:pt idx="46163">
                  <c:v>0.82331014802924896</c:v>
                </c:pt>
                <c:pt idx="46164">
                  <c:v>0.82332798287854403</c:v>
                </c:pt>
                <c:pt idx="46165">
                  <c:v>0.82334581772783999</c:v>
                </c:pt>
                <c:pt idx="46166">
                  <c:v>0.82336365257713495</c:v>
                </c:pt>
                <c:pt idx="46167">
                  <c:v>0.82338148742643102</c:v>
                </c:pt>
                <c:pt idx="46168">
                  <c:v>0.82339932227572599</c:v>
                </c:pt>
                <c:pt idx="46169">
                  <c:v>0.82341715712502195</c:v>
                </c:pt>
                <c:pt idx="46170">
                  <c:v>0.82343499197431702</c:v>
                </c:pt>
                <c:pt idx="46171">
                  <c:v>0.82345282682361298</c:v>
                </c:pt>
                <c:pt idx="46172">
                  <c:v>0.82347066167290806</c:v>
                </c:pt>
                <c:pt idx="46173">
                  <c:v>0.82348849652220402</c:v>
                </c:pt>
                <c:pt idx="46174">
                  <c:v>0.82350633137149898</c:v>
                </c:pt>
                <c:pt idx="46175">
                  <c:v>0.82352416622079505</c:v>
                </c:pt>
                <c:pt idx="46176">
                  <c:v>0.82354200107009101</c:v>
                </c:pt>
                <c:pt idx="46177">
                  <c:v>0.82355983591938597</c:v>
                </c:pt>
                <c:pt idx="46178">
                  <c:v>0.82357767076868205</c:v>
                </c:pt>
                <c:pt idx="46179">
                  <c:v>0.82359550561797701</c:v>
                </c:pt>
                <c:pt idx="46180">
                  <c:v>0.82361334046727297</c:v>
                </c:pt>
                <c:pt idx="46181">
                  <c:v>0.82363117531656804</c:v>
                </c:pt>
                <c:pt idx="46182">
                  <c:v>0.823649010165864</c:v>
                </c:pt>
                <c:pt idx="46183">
                  <c:v>0.82366684501515897</c:v>
                </c:pt>
                <c:pt idx="46184">
                  <c:v>0.82368467986445504</c:v>
                </c:pt>
                <c:pt idx="46185">
                  <c:v>0.82370251471375</c:v>
                </c:pt>
                <c:pt idx="46186">
                  <c:v>0.82372034956304596</c:v>
                </c:pt>
                <c:pt idx="46187">
                  <c:v>0.82373818441234103</c:v>
                </c:pt>
                <c:pt idx="46188">
                  <c:v>0.823756019261637</c:v>
                </c:pt>
                <c:pt idx="46189">
                  <c:v>0.82377385411093196</c:v>
                </c:pt>
                <c:pt idx="46190">
                  <c:v>0.82379168896022803</c:v>
                </c:pt>
                <c:pt idx="46191">
                  <c:v>0.82380952380952299</c:v>
                </c:pt>
                <c:pt idx="46192">
                  <c:v>0.82382735865881895</c:v>
                </c:pt>
                <c:pt idx="46193">
                  <c:v>0.82384519350811403</c:v>
                </c:pt>
                <c:pt idx="46194">
                  <c:v>0.82386302835740999</c:v>
                </c:pt>
                <c:pt idx="46195">
                  <c:v>0.82388086320670595</c:v>
                </c:pt>
                <c:pt idx="46196">
                  <c:v>0.82389869805600102</c:v>
                </c:pt>
                <c:pt idx="46197">
                  <c:v>0.82391653290529698</c:v>
                </c:pt>
                <c:pt idx="46198">
                  <c:v>0.82393436775459195</c:v>
                </c:pt>
                <c:pt idx="46199">
                  <c:v>0.82395220260388802</c:v>
                </c:pt>
                <c:pt idx="46200">
                  <c:v>0.82397003745318298</c:v>
                </c:pt>
                <c:pt idx="46201">
                  <c:v>0.82398787230247905</c:v>
                </c:pt>
                <c:pt idx="46202">
                  <c:v>0.82400570715177401</c:v>
                </c:pt>
                <c:pt idx="46203">
                  <c:v>0.82402354200106998</c:v>
                </c:pt>
                <c:pt idx="46204">
                  <c:v>0.82404137685036505</c:v>
                </c:pt>
                <c:pt idx="46205">
                  <c:v>0.82405921169966101</c:v>
                </c:pt>
                <c:pt idx="46206">
                  <c:v>0.82407704654895597</c:v>
                </c:pt>
                <c:pt idx="46207">
                  <c:v>0.82409488139825204</c:v>
                </c:pt>
                <c:pt idx="46208">
                  <c:v>0.82411271624754701</c:v>
                </c:pt>
                <c:pt idx="46209">
                  <c:v>0.82413055109684297</c:v>
                </c:pt>
                <c:pt idx="46210">
                  <c:v>0.82414838594613804</c:v>
                </c:pt>
                <c:pt idx="46211">
                  <c:v>0.824166220795434</c:v>
                </c:pt>
                <c:pt idx="46212">
                  <c:v>0.82418405564472896</c:v>
                </c:pt>
                <c:pt idx="46213">
                  <c:v>0.82420189049402504</c:v>
                </c:pt>
                <c:pt idx="46214">
                  <c:v>0.82421972534332</c:v>
                </c:pt>
                <c:pt idx="46215">
                  <c:v>0.82423756019261596</c:v>
                </c:pt>
                <c:pt idx="46216">
                  <c:v>0.82425539504191103</c:v>
                </c:pt>
                <c:pt idx="46217">
                  <c:v>0.82427322989120699</c:v>
                </c:pt>
                <c:pt idx="46218">
                  <c:v>0.82429106474050295</c:v>
                </c:pt>
                <c:pt idx="46219">
                  <c:v>0.82430889958979803</c:v>
                </c:pt>
                <c:pt idx="46220">
                  <c:v>0.82432673443909399</c:v>
                </c:pt>
                <c:pt idx="46221">
                  <c:v>0.82434456928838895</c:v>
                </c:pt>
                <c:pt idx="46222">
                  <c:v>0.82436240413768502</c:v>
                </c:pt>
                <c:pt idx="46223">
                  <c:v>0.82438023898697999</c:v>
                </c:pt>
                <c:pt idx="46224">
                  <c:v>0.82439807383627595</c:v>
                </c:pt>
                <c:pt idx="46225">
                  <c:v>0.82441590868557102</c:v>
                </c:pt>
                <c:pt idx="46226">
                  <c:v>0.82443374353486698</c:v>
                </c:pt>
                <c:pt idx="46227">
                  <c:v>0.82445157838416205</c:v>
                </c:pt>
                <c:pt idx="46228">
                  <c:v>0.82446941323345802</c:v>
                </c:pt>
                <c:pt idx="46229">
                  <c:v>0.82448724808275298</c:v>
                </c:pt>
                <c:pt idx="46230">
                  <c:v>0.82450508293204905</c:v>
                </c:pt>
                <c:pt idx="46231">
                  <c:v>0.82452291778134401</c:v>
                </c:pt>
                <c:pt idx="46232">
                  <c:v>0.82454075263063997</c:v>
                </c:pt>
                <c:pt idx="46233">
                  <c:v>0.82455858747993505</c:v>
                </c:pt>
                <c:pt idx="46234">
                  <c:v>0.82457642232923101</c:v>
                </c:pt>
                <c:pt idx="46235">
                  <c:v>0.82459425717852597</c:v>
                </c:pt>
                <c:pt idx="46236">
                  <c:v>0.82461209202782204</c:v>
                </c:pt>
                <c:pt idx="46237">
                  <c:v>0.824629926877117</c:v>
                </c:pt>
                <c:pt idx="46238">
                  <c:v>0.82464776172641296</c:v>
                </c:pt>
                <c:pt idx="46239">
                  <c:v>0.82466559657570804</c:v>
                </c:pt>
                <c:pt idx="46240">
                  <c:v>0.824683431425004</c:v>
                </c:pt>
                <c:pt idx="46241">
                  <c:v>0.82470126627429996</c:v>
                </c:pt>
                <c:pt idx="46242">
                  <c:v>0.82471910112359503</c:v>
                </c:pt>
                <c:pt idx="46243">
                  <c:v>0.82473693597289099</c:v>
                </c:pt>
                <c:pt idx="46244">
                  <c:v>0.82475477082218596</c:v>
                </c:pt>
                <c:pt idx="46245">
                  <c:v>0.82477260567148203</c:v>
                </c:pt>
                <c:pt idx="46246">
                  <c:v>0.82479044052077699</c:v>
                </c:pt>
                <c:pt idx="46247">
                  <c:v>0.82480827537007295</c:v>
                </c:pt>
                <c:pt idx="46248">
                  <c:v>0.82482611021936802</c:v>
                </c:pt>
                <c:pt idx="46249">
                  <c:v>0.82484394506866399</c:v>
                </c:pt>
                <c:pt idx="46250">
                  <c:v>0.82486177991795895</c:v>
                </c:pt>
                <c:pt idx="46251">
                  <c:v>0.82487961476725502</c:v>
                </c:pt>
                <c:pt idx="46252">
                  <c:v>0.82489744961654998</c:v>
                </c:pt>
                <c:pt idx="46253">
                  <c:v>0.82491528446584605</c:v>
                </c:pt>
                <c:pt idx="46254">
                  <c:v>0.82493311931514102</c:v>
                </c:pt>
                <c:pt idx="46255">
                  <c:v>0.82495095416443698</c:v>
                </c:pt>
                <c:pt idx="46256">
                  <c:v>0.82496878901373205</c:v>
                </c:pt>
                <c:pt idx="46257">
                  <c:v>0.82498662386302801</c:v>
                </c:pt>
                <c:pt idx="46258">
                  <c:v>0.82500445871232297</c:v>
                </c:pt>
                <c:pt idx="46259">
                  <c:v>0.82502229356161905</c:v>
                </c:pt>
                <c:pt idx="46260">
                  <c:v>0.82504012841091401</c:v>
                </c:pt>
                <c:pt idx="46261">
                  <c:v>0.82505796326020997</c:v>
                </c:pt>
                <c:pt idx="46262">
                  <c:v>0.82507579810950504</c:v>
                </c:pt>
                <c:pt idx="46263">
                  <c:v>0.825093632958801</c:v>
                </c:pt>
                <c:pt idx="46264">
                  <c:v>0.82511146780809697</c:v>
                </c:pt>
                <c:pt idx="46265">
                  <c:v>0.82512930265739204</c:v>
                </c:pt>
                <c:pt idx="46266">
                  <c:v>0.825147137506688</c:v>
                </c:pt>
                <c:pt idx="46267">
                  <c:v>0.82516497235598296</c:v>
                </c:pt>
                <c:pt idx="46268">
                  <c:v>0.82518280720527903</c:v>
                </c:pt>
                <c:pt idx="46269">
                  <c:v>0.825200642054574</c:v>
                </c:pt>
                <c:pt idx="46270">
                  <c:v>0.82521847690386996</c:v>
                </c:pt>
                <c:pt idx="46271">
                  <c:v>0.82523631175316503</c:v>
                </c:pt>
                <c:pt idx="46272">
                  <c:v>0.82525414660246099</c:v>
                </c:pt>
                <c:pt idx="46273">
                  <c:v>0.82527198145175595</c:v>
                </c:pt>
                <c:pt idx="46274">
                  <c:v>0.82528981630105203</c:v>
                </c:pt>
                <c:pt idx="46275">
                  <c:v>0.82530765115034699</c:v>
                </c:pt>
                <c:pt idx="46276">
                  <c:v>0.82532548599964295</c:v>
                </c:pt>
                <c:pt idx="46277">
                  <c:v>0.82534332084893802</c:v>
                </c:pt>
                <c:pt idx="46278">
                  <c:v>0.82536115569823398</c:v>
                </c:pt>
                <c:pt idx="46279">
                  <c:v>0.82537899054752895</c:v>
                </c:pt>
                <c:pt idx="46280">
                  <c:v>0.82539682539682502</c:v>
                </c:pt>
                <c:pt idx="46281">
                  <c:v>0.82541466024611998</c:v>
                </c:pt>
                <c:pt idx="46282">
                  <c:v>0.82543249509541605</c:v>
                </c:pt>
                <c:pt idx="46283">
                  <c:v>0.82545032994471201</c:v>
                </c:pt>
                <c:pt idx="46284">
                  <c:v>0.82546816479400698</c:v>
                </c:pt>
                <c:pt idx="46285">
                  <c:v>0.82548599964330305</c:v>
                </c:pt>
                <c:pt idx="46286">
                  <c:v>0.82550383449259801</c:v>
                </c:pt>
                <c:pt idx="46287">
                  <c:v>0.82552166934189397</c:v>
                </c:pt>
                <c:pt idx="46288">
                  <c:v>0.82553950419118904</c:v>
                </c:pt>
                <c:pt idx="46289">
                  <c:v>0.82555733904048501</c:v>
                </c:pt>
                <c:pt idx="46290">
                  <c:v>0.82557517388977997</c:v>
                </c:pt>
                <c:pt idx="46291">
                  <c:v>0.82559300873907604</c:v>
                </c:pt>
                <c:pt idx="46292">
                  <c:v>0.825610843588371</c:v>
                </c:pt>
                <c:pt idx="46293">
                  <c:v>0.82562867843766696</c:v>
                </c:pt>
                <c:pt idx="46294">
                  <c:v>0.82564651328696204</c:v>
                </c:pt>
                <c:pt idx="46295">
                  <c:v>0.825664348136258</c:v>
                </c:pt>
                <c:pt idx="46296">
                  <c:v>0.82568218298555296</c:v>
                </c:pt>
                <c:pt idx="46297">
                  <c:v>0.82570001783484903</c:v>
                </c:pt>
                <c:pt idx="46298">
                  <c:v>0.82571785268414399</c:v>
                </c:pt>
                <c:pt idx="46299">
                  <c:v>0.82573568753343995</c:v>
                </c:pt>
                <c:pt idx="46300">
                  <c:v>0.82575352238273503</c:v>
                </c:pt>
                <c:pt idx="46301">
                  <c:v>0.82577135723203099</c:v>
                </c:pt>
                <c:pt idx="46302">
                  <c:v>0.82578919208132695</c:v>
                </c:pt>
                <c:pt idx="46303">
                  <c:v>0.82580702693062202</c:v>
                </c:pt>
                <c:pt idx="46304">
                  <c:v>0.82582486177991798</c:v>
                </c:pt>
                <c:pt idx="46305">
                  <c:v>0.82584269662921295</c:v>
                </c:pt>
                <c:pt idx="46306">
                  <c:v>0.82586053147850902</c:v>
                </c:pt>
                <c:pt idx="46307">
                  <c:v>0.82587836632780398</c:v>
                </c:pt>
                <c:pt idx="46308">
                  <c:v>0.82589620117710005</c:v>
                </c:pt>
                <c:pt idx="46309">
                  <c:v>0.82591403602639502</c:v>
                </c:pt>
                <c:pt idx="46310">
                  <c:v>0.82593187087569098</c:v>
                </c:pt>
                <c:pt idx="46311">
                  <c:v>0.82594970572498605</c:v>
                </c:pt>
                <c:pt idx="46312">
                  <c:v>0.82596754057428201</c:v>
                </c:pt>
                <c:pt idx="46313">
                  <c:v>0.82598537542357697</c:v>
                </c:pt>
                <c:pt idx="46314">
                  <c:v>0.82600321027287305</c:v>
                </c:pt>
                <c:pt idx="46315">
                  <c:v>0.82602104512216801</c:v>
                </c:pt>
                <c:pt idx="46316">
                  <c:v>0.82603887997146397</c:v>
                </c:pt>
                <c:pt idx="46317">
                  <c:v>0.82605671482075904</c:v>
                </c:pt>
                <c:pt idx="46318">
                  <c:v>0.826074549670055</c:v>
                </c:pt>
                <c:pt idx="46319">
                  <c:v>0.82609238451934996</c:v>
                </c:pt>
                <c:pt idx="46320">
                  <c:v>0.82611021936864604</c:v>
                </c:pt>
                <c:pt idx="46321">
                  <c:v>0.826128054217941</c:v>
                </c:pt>
                <c:pt idx="46322">
                  <c:v>0.82614588906723696</c:v>
                </c:pt>
                <c:pt idx="46323">
                  <c:v>0.82616372391653203</c:v>
                </c:pt>
                <c:pt idx="46324">
                  <c:v>0.82618155876582799</c:v>
                </c:pt>
                <c:pt idx="46325">
                  <c:v>0.82619939361512396</c:v>
                </c:pt>
                <c:pt idx="46326">
                  <c:v>0.82621722846441903</c:v>
                </c:pt>
                <c:pt idx="46327">
                  <c:v>0.82623506331371499</c:v>
                </c:pt>
                <c:pt idx="46328">
                  <c:v>0.82625289816300995</c:v>
                </c:pt>
                <c:pt idx="46329">
                  <c:v>0.82627073301230602</c:v>
                </c:pt>
                <c:pt idx="46330">
                  <c:v>0.82628856786160099</c:v>
                </c:pt>
                <c:pt idx="46331">
                  <c:v>0.82630640271089695</c:v>
                </c:pt>
                <c:pt idx="46332">
                  <c:v>0.82632423756019202</c:v>
                </c:pt>
                <c:pt idx="46333">
                  <c:v>0.82634207240948798</c:v>
                </c:pt>
                <c:pt idx="46334">
                  <c:v>0.82635990725878306</c:v>
                </c:pt>
                <c:pt idx="46335">
                  <c:v>0.82637774210807902</c:v>
                </c:pt>
                <c:pt idx="46336">
                  <c:v>0.82639557695737398</c:v>
                </c:pt>
                <c:pt idx="46337">
                  <c:v>0.82641341180667005</c:v>
                </c:pt>
                <c:pt idx="46338">
                  <c:v>0.82643124665596501</c:v>
                </c:pt>
                <c:pt idx="46339">
                  <c:v>0.82644908150526097</c:v>
                </c:pt>
                <c:pt idx="46340">
                  <c:v>0.82646691635455605</c:v>
                </c:pt>
                <c:pt idx="46341">
                  <c:v>0.82648475120385201</c:v>
                </c:pt>
                <c:pt idx="46342">
                  <c:v>0.82650258605314697</c:v>
                </c:pt>
                <c:pt idx="46343">
                  <c:v>0.82652042090244304</c:v>
                </c:pt>
                <c:pt idx="46344">
                  <c:v>0.826538255751738</c:v>
                </c:pt>
                <c:pt idx="46345">
                  <c:v>0.82655609060103397</c:v>
                </c:pt>
                <c:pt idx="46346">
                  <c:v>0.82657392545032904</c:v>
                </c:pt>
                <c:pt idx="46347">
                  <c:v>0.826591760299625</c:v>
                </c:pt>
                <c:pt idx="46348">
                  <c:v>0.82660959514892096</c:v>
                </c:pt>
                <c:pt idx="46349">
                  <c:v>0.82662742999821603</c:v>
                </c:pt>
                <c:pt idx="46350">
                  <c:v>0.826645264847512</c:v>
                </c:pt>
                <c:pt idx="46351">
                  <c:v>0.82666309969680696</c:v>
                </c:pt>
                <c:pt idx="46352">
                  <c:v>0.82668093454610303</c:v>
                </c:pt>
                <c:pt idx="46353">
                  <c:v>0.82669876939539799</c:v>
                </c:pt>
                <c:pt idx="46354">
                  <c:v>0.82671660424469395</c:v>
                </c:pt>
                <c:pt idx="46355">
                  <c:v>0.82673443909398903</c:v>
                </c:pt>
                <c:pt idx="46356">
                  <c:v>0.82675227394328499</c:v>
                </c:pt>
                <c:pt idx="46357">
                  <c:v>0.82677010879257995</c:v>
                </c:pt>
                <c:pt idx="46358">
                  <c:v>0.82678794364187602</c:v>
                </c:pt>
                <c:pt idx="46359">
                  <c:v>0.82680577849117098</c:v>
                </c:pt>
                <c:pt idx="46360">
                  <c:v>0.82682361334046695</c:v>
                </c:pt>
                <c:pt idx="46361">
                  <c:v>0.82684144818976202</c:v>
                </c:pt>
                <c:pt idx="46362">
                  <c:v>0.82685928303905798</c:v>
                </c:pt>
                <c:pt idx="46363">
                  <c:v>0.82687711788835305</c:v>
                </c:pt>
                <c:pt idx="46364">
                  <c:v>0.82689495273764901</c:v>
                </c:pt>
                <c:pt idx="46365">
                  <c:v>0.82691278758694398</c:v>
                </c:pt>
                <c:pt idx="46366">
                  <c:v>0.82693062243624005</c:v>
                </c:pt>
                <c:pt idx="46367">
                  <c:v>0.82694845728553501</c:v>
                </c:pt>
                <c:pt idx="46368">
                  <c:v>0.82696629213483097</c:v>
                </c:pt>
                <c:pt idx="46369">
                  <c:v>0.82698412698412604</c:v>
                </c:pt>
                <c:pt idx="46370">
                  <c:v>0.82700196183342201</c:v>
                </c:pt>
                <c:pt idx="46371">
                  <c:v>0.82701979668271797</c:v>
                </c:pt>
                <c:pt idx="46372">
                  <c:v>0.82703763153201304</c:v>
                </c:pt>
                <c:pt idx="46373">
                  <c:v>0.827055466381309</c:v>
                </c:pt>
                <c:pt idx="46374">
                  <c:v>0.82707330123060396</c:v>
                </c:pt>
                <c:pt idx="46375">
                  <c:v>0.82709113607990004</c:v>
                </c:pt>
                <c:pt idx="46376">
                  <c:v>0.827108970929195</c:v>
                </c:pt>
                <c:pt idx="46377">
                  <c:v>0.82712680577849096</c:v>
                </c:pt>
                <c:pt idx="46378">
                  <c:v>0.82714464062778603</c:v>
                </c:pt>
                <c:pt idx="46379">
                  <c:v>0.82716247547708199</c:v>
                </c:pt>
                <c:pt idx="46380">
                  <c:v>0.82718031032637696</c:v>
                </c:pt>
                <c:pt idx="46381">
                  <c:v>0.82719814517567303</c:v>
                </c:pt>
                <c:pt idx="46382">
                  <c:v>0.82721598002496799</c:v>
                </c:pt>
                <c:pt idx="46383">
                  <c:v>0.82723381487426395</c:v>
                </c:pt>
                <c:pt idx="46384">
                  <c:v>0.82725164972355902</c:v>
                </c:pt>
                <c:pt idx="46385">
                  <c:v>0.82726948457285499</c:v>
                </c:pt>
                <c:pt idx="46386">
                  <c:v>0.82728731942214995</c:v>
                </c:pt>
                <c:pt idx="46387">
                  <c:v>0.82730515427144602</c:v>
                </c:pt>
                <c:pt idx="46388">
                  <c:v>0.82732298912074198</c:v>
                </c:pt>
                <c:pt idx="46389">
                  <c:v>0.82734082397003705</c:v>
                </c:pt>
                <c:pt idx="46390">
                  <c:v>0.82735865881933301</c:v>
                </c:pt>
                <c:pt idx="46391">
                  <c:v>0.82737649366862798</c:v>
                </c:pt>
                <c:pt idx="46392">
                  <c:v>0.82739432851792405</c:v>
                </c:pt>
                <c:pt idx="46393">
                  <c:v>0.82741216336721901</c:v>
                </c:pt>
                <c:pt idx="46394">
                  <c:v>0.82742999821651497</c:v>
                </c:pt>
                <c:pt idx="46395">
                  <c:v>0.82744783306581005</c:v>
                </c:pt>
                <c:pt idx="46396">
                  <c:v>0.82746566791510601</c:v>
                </c:pt>
                <c:pt idx="46397">
                  <c:v>0.82748350276440097</c:v>
                </c:pt>
                <c:pt idx="46398">
                  <c:v>0.82750133761369704</c:v>
                </c:pt>
                <c:pt idx="46399">
                  <c:v>0.827519172462992</c:v>
                </c:pt>
                <c:pt idx="46400">
                  <c:v>0.82753700731228796</c:v>
                </c:pt>
                <c:pt idx="46401">
                  <c:v>0.82755484216158304</c:v>
                </c:pt>
                <c:pt idx="46402">
                  <c:v>0.827572677010879</c:v>
                </c:pt>
                <c:pt idx="46403">
                  <c:v>0.82759051186017396</c:v>
                </c:pt>
                <c:pt idx="46404">
                  <c:v>0.82760834670947003</c:v>
                </c:pt>
                <c:pt idx="46405">
                  <c:v>0.827626181558765</c:v>
                </c:pt>
                <c:pt idx="46406">
                  <c:v>0.82764401640806096</c:v>
                </c:pt>
                <c:pt idx="46407">
                  <c:v>0.82766185125735603</c:v>
                </c:pt>
                <c:pt idx="46408">
                  <c:v>0.82767968610665199</c:v>
                </c:pt>
                <c:pt idx="46409">
                  <c:v>0.82769752095594795</c:v>
                </c:pt>
                <c:pt idx="46410">
                  <c:v>0.82771535580524302</c:v>
                </c:pt>
                <c:pt idx="46411">
                  <c:v>0.82773319065453899</c:v>
                </c:pt>
                <c:pt idx="46412">
                  <c:v>0.82775102550383395</c:v>
                </c:pt>
                <c:pt idx="46413">
                  <c:v>0.82776886035313002</c:v>
                </c:pt>
                <c:pt idx="46414">
                  <c:v>0.82778669520242498</c:v>
                </c:pt>
                <c:pt idx="46415">
                  <c:v>0.82780453005172105</c:v>
                </c:pt>
                <c:pt idx="46416">
                  <c:v>0.82782236490101602</c:v>
                </c:pt>
                <c:pt idx="46417">
                  <c:v>0.82784019975031198</c:v>
                </c:pt>
                <c:pt idx="46418">
                  <c:v>0.82785803459960705</c:v>
                </c:pt>
                <c:pt idx="46419">
                  <c:v>0.82787586944890301</c:v>
                </c:pt>
                <c:pt idx="46420">
                  <c:v>0.82789370429819797</c:v>
                </c:pt>
                <c:pt idx="46421">
                  <c:v>0.82791153914749405</c:v>
                </c:pt>
                <c:pt idx="46422">
                  <c:v>0.82792937399678901</c:v>
                </c:pt>
                <c:pt idx="46423">
                  <c:v>0.82794720884608497</c:v>
                </c:pt>
                <c:pt idx="46424">
                  <c:v>0.82796504369538004</c:v>
                </c:pt>
                <c:pt idx="46425">
                  <c:v>0.827982878544676</c:v>
                </c:pt>
                <c:pt idx="46426">
                  <c:v>0.82800071339397097</c:v>
                </c:pt>
                <c:pt idx="46427">
                  <c:v>0.82801854824326704</c:v>
                </c:pt>
                <c:pt idx="46428">
                  <c:v>0.828036383092562</c:v>
                </c:pt>
                <c:pt idx="46429">
                  <c:v>0.82805421794185796</c:v>
                </c:pt>
                <c:pt idx="46430">
                  <c:v>0.82807205279115303</c:v>
                </c:pt>
                <c:pt idx="46431">
                  <c:v>0.828089887640449</c:v>
                </c:pt>
                <c:pt idx="46432">
                  <c:v>0.82810772248974496</c:v>
                </c:pt>
                <c:pt idx="46433">
                  <c:v>0.82812555733904003</c:v>
                </c:pt>
                <c:pt idx="46434">
                  <c:v>0.82814339218833599</c:v>
                </c:pt>
                <c:pt idx="46435">
                  <c:v>0.82816122703763095</c:v>
                </c:pt>
                <c:pt idx="46436">
                  <c:v>0.82817906188692703</c:v>
                </c:pt>
                <c:pt idx="46437">
                  <c:v>0.82819689673622199</c:v>
                </c:pt>
                <c:pt idx="46438">
                  <c:v>0.82821473158551795</c:v>
                </c:pt>
                <c:pt idx="46439">
                  <c:v>0.82823256643481302</c:v>
                </c:pt>
                <c:pt idx="46440">
                  <c:v>0.82825040128410898</c:v>
                </c:pt>
                <c:pt idx="46441">
                  <c:v>0.82826823613340395</c:v>
                </c:pt>
                <c:pt idx="46442">
                  <c:v>0.82828607098270002</c:v>
                </c:pt>
                <c:pt idx="46443">
                  <c:v>0.82830390583199498</c:v>
                </c:pt>
                <c:pt idx="46444">
                  <c:v>0.82832174068129105</c:v>
                </c:pt>
                <c:pt idx="46445">
                  <c:v>0.82833957553058601</c:v>
                </c:pt>
                <c:pt idx="46446">
                  <c:v>0.82835741037988198</c:v>
                </c:pt>
                <c:pt idx="46447">
                  <c:v>0.82837524522917705</c:v>
                </c:pt>
                <c:pt idx="46448">
                  <c:v>0.82839308007847301</c:v>
                </c:pt>
                <c:pt idx="46449">
                  <c:v>0.82841091492776797</c:v>
                </c:pt>
                <c:pt idx="46450">
                  <c:v>0.82842874977706404</c:v>
                </c:pt>
                <c:pt idx="46451">
                  <c:v>0.82844658462635901</c:v>
                </c:pt>
                <c:pt idx="46452">
                  <c:v>0.82846441947565497</c:v>
                </c:pt>
                <c:pt idx="46453">
                  <c:v>0.82848225432495004</c:v>
                </c:pt>
                <c:pt idx="46454">
                  <c:v>0.828500089174246</c:v>
                </c:pt>
                <c:pt idx="46455">
                  <c:v>0.82851792402354196</c:v>
                </c:pt>
                <c:pt idx="46456">
                  <c:v>0.82853575887283704</c:v>
                </c:pt>
                <c:pt idx="46457">
                  <c:v>0.828553593722133</c:v>
                </c:pt>
                <c:pt idx="46458">
                  <c:v>0.82857142857142796</c:v>
                </c:pt>
                <c:pt idx="46459">
                  <c:v>0.82858926342072403</c:v>
                </c:pt>
                <c:pt idx="46460">
                  <c:v>0.82860709827001899</c:v>
                </c:pt>
                <c:pt idx="46461">
                  <c:v>0.82862493311931495</c:v>
                </c:pt>
                <c:pt idx="46462">
                  <c:v>0.82864276796861003</c:v>
                </c:pt>
                <c:pt idx="46463">
                  <c:v>0.82866060281790599</c:v>
                </c:pt>
                <c:pt idx="46464">
                  <c:v>0.82867843766720095</c:v>
                </c:pt>
                <c:pt idx="46465">
                  <c:v>0.82869627251649702</c:v>
                </c:pt>
                <c:pt idx="46466">
                  <c:v>0.82871410736579199</c:v>
                </c:pt>
                <c:pt idx="46467">
                  <c:v>0.82873194221508795</c:v>
                </c:pt>
                <c:pt idx="46468">
                  <c:v>0.82874977706438302</c:v>
                </c:pt>
                <c:pt idx="46469">
                  <c:v>0.82876761191367898</c:v>
                </c:pt>
                <c:pt idx="46470">
                  <c:v>0.82878544676297405</c:v>
                </c:pt>
                <c:pt idx="46471">
                  <c:v>0.82880328161227002</c:v>
                </c:pt>
                <c:pt idx="46472">
                  <c:v>0.82882111646156498</c:v>
                </c:pt>
                <c:pt idx="46473">
                  <c:v>0.82883895131086105</c:v>
                </c:pt>
                <c:pt idx="46474">
                  <c:v>0.82885678616015601</c:v>
                </c:pt>
                <c:pt idx="46475">
                  <c:v>0.82887462100945197</c:v>
                </c:pt>
                <c:pt idx="46476">
                  <c:v>0.82889245585874805</c:v>
                </c:pt>
                <c:pt idx="46477">
                  <c:v>0.82891029070804301</c:v>
                </c:pt>
                <c:pt idx="46478">
                  <c:v>0.82892812555733897</c:v>
                </c:pt>
                <c:pt idx="46479">
                  <c:v>0.82894596040663404</c:v>
                </c:pt>
                <c:pt idx="46480">
                  <c:v>0.82896379525593</c:v>
                </c:pt>
                <c:pt idx="46481">
                  <c:v>0.82898163010522496</c:v>
                </c:pt>
                <c:pt idx="46482">
                  <c:v>0.82899946495452104</c:v>
                </c:pt>
                <c:pt idx="46483">
                  <c:v>0.829017299803816</c:v>
                </c:pt>
                <c:pt idx="46484">
                  <c:v>0.82903513465311196</c:v>
                </c:pt>
                <c:pt idx="46485">
                  <c:v>0.82905296950240703</c:v>
                </c:pt>
                <c:pt idx="46486">
                  <c:v>0.82907080435170299</c:v>
                </c:pt>
                <c:pt idx="46487">
                  <c:v>0.82908863920099796</c:v>
                </c:pt>
                <c:pt idx="46488">
                  <c:v>0.82910647405029403</c:v>
                </c:pt>
                <c:pt idx="46489">
                  <c:v>0.82912430889958899</c:v>
                </c:pt>
                <c:pt idx="46490">
                  <c:v>0.82914214374888495</c:v>
                </c:pt>
                <c:pt idx="46491">
                  <c:v>0.82915997859818003</c:v>
                </c:pt>
                <c:pt idx="46492">
                  <c:v>0.82917781344747599</c:v>
                </c:pt>
                <c:pt idx="46493">
                  <c:v>0.82919564829677195</c:v>
                </c:pt>
                <c:pt idx="46494">
                  <c:v>0.82921348314606702</c:v>
                </c:pt>
                <c:pt idx="46495">
                  <c:v>0.82923131799536298</c:v>
                </c:pt>
                <c:pt idx="46496">
                  <c:v>0.82924915284465806</c:v>
                </c:pt>
                <c:pt idx="46497">
                  <c:v>0.82926698769395402</c:v>
                </c:pt>
                <c:pt idx="46498">
                  <c:v>0.82928482254324898</c:v>
                </c:pt>
                <c:pt idx="46499">
                  <c:v>0.82930265739254505</c:v>
                </c:pt>
                <c:pt idx="46500">
                  <c:v>0.82932049224184001</c:v>
                </c:pt>
                <c:pt idx="46501">
                  <c:v>0.82933832709113597</c:v>
                </c:pt>
                <c:pt idx="46502">
                  <c:v>0.82935616194043105</c:v>
                </c:pt>
                <c:pt idx="46503">
                  <c:v>0.82937399678972701</c:v>
                </c:pt>
                <c:pt idx="46504">
                  <c:v>0.82939183163902197</c:v>
                </c:pt>
                <c:pt idx="46505">
                  <c:v>0.82940966648831804</c:v>
                </c:pt>
                <c:pt idx="46506">
                  <c:v>0.829427501337613</c:v>
                </c:pt>
                <c:pt idx="46507">
                  <c:v>0.82944533618690897</c:v>
                </c:pt>
                <c:pt idx="46508">
                  <c:v>0.82946317103620404</c:v>
                </c:pt>
                <c:pt idx="46509">
                  <c:v>0.8294810058855</c:v>
                </c:pt>
                <c:pt idx="46510">
                  <c:v>0.82949884073479496</c:v>
                </c:pt>
                <c:pt idx="46511">
                  <c:v>0.82951667558409103</c:v>
                </c:pt>
                <c:pt idx="46512">
                  <c:v>0.829534510433386</c:v>
                </c:pt>
                <c:pt idx="46513">
                  <c:v>0.82955234528268196</c:v>
                </c:pt>
                <c:pt idx="46514">
                  <c:v>0.82957018013197703</c:v>
                </c:pt>
                <c:pt idx="46515">
                  <c:v>0.82958801498127299</c:v>
                </c:pt>
                <c:pt idx="46516">
                  <c:v>0.82960584983056895</c:v>
                </c:pt>
                <c:pt idx="46517">
                  <c:v>0.82962368467986403</c:v>
                </c:pt>
                <c:pt idx="46518">
                  <c:v>0.82964151952915999</c:v>
                </c:pt>
                <c:pt idx="46519">
                  <c:v>0.82965935437845495</c:v>
                </c:pt>
                <c:pt idx="46520">
                  <c:v>0.82967718922775102</c:v>
                </c:pt>
                <c:pt idx="46521">
                  <c:v>0.82969502407704598</c:v>
                </c:pt>
                <c:pt idx="46522">
                  <c:v>0.82971285892634195</c:v>
                </c:pt>
                <c:pt idx="46523">
                  <c:v>0.82973069377563702</c:v>
                </c:pt>
                <c:pt idx="46524">
                  <c:v>0.82974852862493298</c:v>
                </c:pt>
                <c:pt idx="46525">
                  <c:v>0.82976636347422805</c:v>
                </c:pt>
                <c:pt idx="46526">
                  <c:v>0.82978419832352401</c:v>
                </c:pt>
                <c:pt idx="46527">
                  <c:v>0.82980203317281898</c:v>
                </c:pt>
                <c:pt idx="46528">
                  <c:v>0.82981986802211505</c:v>
                </c:pt>
                <c:pt idx="46529">
                  <c:v>0.82983770287141001</c:v>
                </c:pt>
                <c:pt idx="46530">
                  <c:v>0.82985553772070597</c:v>
                </c:pt>
                <c:pt idx="46531">
                  <c:v>0.82987337257000104</c:v>
                </c:pt>
                <c:pt idx="46532">
                  <c:v>0.82989120741929701</c:v>
                </c:pt>
                <c:pt idx="46533">
                  <c:v>0.82990904226859197</c:v>
                </c:pt>
                <c:pt idx="46534">
                  <c:v>0.82992687711788804</c:v>
                </c:pt>
                <c:pt idx="46535">
                  <c:v>0.829944711967183</c:v>
                </c:pt>
                <c:pt idx="46536">
                  <c:v>0.82996254681647896</c:v>
                </c:pt>
                <c:pt idx="46537">
                  <c:v>0.82998038166577404</c:v>
                </c:pt>
                <c:pt idx="46538">
                  <c:v>0.82999821651507</c:v>
                </c:pt>
                <c:pt idx="46539">
                  <c:v>0.83001605136436596</c:v>
                </c:pt>
                <c:pt idx="46540">
                  <c:v>0.83003388621366103</c:v>
                </c:pt>
                <c:pt idx="46541">
                  <c:v>0.83005172106295699</c:v>
                </c:pt>
                <c:pt idx="46542">
                  <c:v>0.83006955591225196</c:v>
                </c:pt>
                <c:pt idx="46543">
                  <c:v>0.83008739076154803</c:v>
                </c:pt>
                <c:pt idx="46544">
                  <c:v>0.83010522561084299</c:v>
                </c:pt>
                <c:pt idx="46545">
                  <c:v>0.83012306046013895</c:v>
                </c:pt>
                <c:pt idx="46546">
                  <c:v>0.83014089530943402</c:v>
                </c:pt>
                <c:pt idx="46547">
                  <c:v>0.83015873015872998</c:v>
                </c:pt>
                <c:pt idx="46548">
                  <c:v>0.83017656500802495</c:v>
                </c:pt>
                <c:pt idx="46549">
                  <c:v>0.83019439985732102</c:v>
                </c:pt>
                <c:pt idx="46550">
                  <c:v>0.83021223470661598</c:v>
                </c:pt>
                <c:pt idx="46551">
                  <c:v>0.83023006955591205</c:v>
                </c:pt>
                <c:pt idx="46552">
                  <c:v>0.83024790440520702</c:v>
                </c:pt>
                <c:pt idx="46553">
                  <c:v>0.83026573925450298</c:v>
                </c:pt>
                <c:pt idx="46554">
                  <c:v>0.83028357410379805</c:v>
                </c:pt>
                <c:pt idx="46555">
                  <c:v>0.83030140895309401</c:v>
                </c:pt>
                <c:pt idx="46556">
                  <c:v>0.83031924380238897</c:v>
                </c:pt>
                <c:pt idx="46557">
                  <c:v>0.83033707865168505</c:v>
                </c:pt>
                <c:pt idx="46558">
                  <c:v>0.83035491350098001</c:v>
                </c:pt>
                <c:pt idx="46559">
                  <c:v>0.83037274835027597</c:v>
                </c:pt>
                <c:pt idx="46560">
                  <c:v>0.83039058319957104</c:v>
                </c:pt>
                <c:pt idx="46561">
                  <c:v>0.830408418048867</c:v>
                </c:pt>
                <c:pt idx="46562">
                  <c:v>0.83042625289816296</c:v>
                </c:pt>
                <c:pt idx="46563">
                  <c:v>0.83044408774745804</c:v>
                </c:pt>
                <c:pt idx="46564">
                  <c:v>0.830461922596754</c:v>
                </c:pt>
                <c:pt idx="46565">
                  <c:v>0.83047975744604896</c:v>
                </c:pt>
                <c:pt idx="46566">
                  <c:v>0.83049759229534503</c:v>
                </c:pt>
                <c:pt idx="46567">
                  <c:v>0.83051542714463999</c:v>
                </c:pt>
                <c:pt idx="46568">
                  <c:v>0.83053326199393596</c:v>
                </c:pt>
                <c:pt idx="46569">
                  <c:v>0.83055109684323103</c:v>
                </c:pt>
                <c:pt idx="46570">
                  <c:v>0.83056893169252699</c:v>
                </c:pt>
                <c:pt idx="46571">
                  <c:v>0.83058676654182195</c:v>
                </c:pt>
                <c:pt idx="46572">
                  <c:v>0.83060460139111802</c:v>
                </c:pt>
                <c:pt idx="46573">
                  <c:v>0.83062243624041299</c:v>
                </c:pt>
                <c:pt idx="46574">
                  <c:v>0.83064027108970895</c:v>
                </c:pt>
                <c:pt idx="46575">
                  <c:v>0.83065810593900402</c:v>
                </c:pt>
                <c:pt idx="46576">
                  <c:v>0.83067594078829998</c:v>
                </c:pt>
                <c:pt idx="46577">
                  <c:v>0.83069377563759506</c:v>
                </c:pt>
                <c:pt idx="46578">
                  <c:v>0.83071161048689102</c:v>
                </c:pt>
                <c:pt idx="46579">
                  <c:v>0.83072944533618598</c:v>
                </c:pt>
                <c:pt idx="46580">
                  <c:v>0.83074728018548205</c:v>
                </c:pt>
                <c:pt idx="46581">
                  <c:v>0.83076511503477701</c:v>
                </c:pt>
                <c:pt idx="46582">
                  <c:v>0.83078294988407297</c:v>
                </c:pt>
                <c:pt idx="46583">
                  <c:v>0.83080078473336905</c:v>
                </c:pt>
                <c:pt idx="46584">
                  <c:v>0.83081861958266401</c:v>
                </c:pt>
                <c:pt idx="46585">
                  <c:v>0.83083645443195997</c:v>
                </c:pt>
                <c:pt idx="46586">
                  <c:v>0.83085428928125504</c:v>
                </c:pt>
                <c:pt idx="46587">
                  <c:v>0.830872124130551</c:v>
                </c:pt>
                <c:pt idx="46588">
                  <c:v>0.83088995897984597</c:v>
                </c:pt>
                <c:pt idx="46589">
                  <c:v>0.83090779382914204</c:v>
                </c:pt>
                <c:pt idx="46590">
                  <c:v>0.830925628678437</c:v>
                </c:pt>
                <c:pt idx="46591">
                  <c:v>0.83094346352773296</c:v>
                </c:pt>
                <c:pt idx="46592">
                  <c:v>0.83096129837702803</c:v>
                </c:pt>
                <c:pt idx="46593">
                  <c:v>0.830979133226324</c:v>
                </c:pt>
                <c:pt idx="46594">
                  <c:v>0.83099696807561896</c:v>
                </c:pt>
                <c:pt idx="46595">
                  <c:v>0.83101480292491503</c:v>
                </c:pt>
                <c:pt idx="46596">
                  <c:v>0.83103263777420999</c:v>
                </c:pt>
                <c:pt idx="46597">
                  <c:v>0.83105047262350595</c:v>
                </c:pt>
                <c:pt idx="46598">
                  <c:v>0.83106830747280103</c:v>
                </c:pt>
                <c:pt idx="46599">
                  <c:v>0.83108614232209699</c:v>
                </c:pt>
                <c:pt idx="46600">
                  <c:v>0.83110397717139295</c:v>
                </c:pt>
                <c:pt idx="46601">
                  <c:v>0.83112181202068802</c:v>
                </c:pt>
                <c:pt idx="46602">
                  <c:v>0.83113964686998398</c:v>
                </c:pt>
                <c:pt idx="46603">
                  <c:v>0.83115748171927895</c:v>
                </c:pt>
                <c:pt idx="46604">
                  <c:v>0.83117531656857502</c:v>
                </c:pt>
                <c:pt idx="46605">
                  <c:v>0.83119315141786998</c:v>
                </c:pt>
                <c:pt idx="46606">
                  <c:v>0.83121098626716605</c:v>
                </c:pt>
                <c:pt idx="46607">
                  <c:v>0.83122882111646101</c:v>
                </c:pt>
                <c:pt idx="46608">
                  <c:v>0.83124665596575698</c:v>
                </c:pt>
                <c:pt idx="46609">
                  <c:v>0.83126449081505205</c:v>
                </c:pt>
                <c:pt idx="46610">
                  <c:v>0.83128232566434801</c:v>
                </c:pt>
                <c:pt idx="46611">
                  <c:v>0.83130016051364297</c:v>
                </c:pt>
                <c:pt idx="46612">
                  <c:v>0.83131799536293904</c:v>
                </c:pt>
                <c:pt idx="46613">
                  <c:v>0.83133583021223401</c:v>
                </c:pt>
                <c:pt idx="46614">
                  <c:v>0.83135366506152997</c:v>
                </c:pt>
                <c:pt idx="46615">
                  <c:v>0.83137149991082504</c:v>
                </c:pt>
                <c:pt idx="46616">
                  <c:v>0.831389334760121</c:v>
                </c:pt>
                <c:pt idx="46617">
                  <c:v>0.83140716960941596</c:v>
                </c:pt>
                <c:pt idx="46618">
                  <c:v>0.83142500445871204</c:v>
                </c:pt>
                <c:pt idx="46619">
                  <c:v>0.831442839308007</c:v>
                </c:pt>
                <c:pt idx="46620">
                  <c:v>0.83146067415730296</c:v>
                </c:pt>
                <c:pt idx="46621">
                  <c:v>0.83147850900659803</c:v>
                </c:pt>
                <c:pt idx="46622">
                  <c:v>0.83149634385589399</c:v>
                </c:pt>
                <c:pt idx="46623">
                  <c:v>0.83151417870518995</c:v>
                </c:pt>
                <c:pt idx="46624">
                  <c:v>0.83153201355448503</c:v>
                </c:pt>
                <c:pt idx="46625">
                  <c:v>0.83154984840378099</c:v>
                </c:pt>
                <c:pt idx="46626">
                  <c:v>0.83156768325307595</c:v>
                </c:pt>
                <c:pt idx="46627">
                  <c:v>0.83158551810237202</c:v>
                </c:pt>
                <c:pt idx="46628">
                  <c:v>0.83160335295166699</c:v>
                </c:pt>
                <c:pt idx="46629">
                  <c:v>0.83162118780096295</c:v>
                </c:pt>
                <c:pt idx="46630">
                  <c:v>0.83163902265025802</c:v>
                </c:pt>
                <c:pt idx="46631">
                  <c:v>0.83165685749955398</c:v>
                </c:pt>
                <c:pt idx="46632">
                  <c:v>0.83167469234884905</c:v>
                </c:pt>
                <c:pt idx="46633">
                  <c:v>0.83169252719814502</c:v>
                </c:pt>
                <c:pt idx="46634">
                  <c:v>0.83171036204743998</c:v>
                </c:pt>
                <c:pt idx="46635">
                  <c:v>0.83172819689673605</c:v>
                </c:pt>
                <c:pt idx="46636">
                  <c:v>0.83174603174603101</c:v>
                </c:pt>
                <c:pt idx="46637">
                  <c:v>0.83176386659532697</c:v>
                </c:pt>
                <c:pt idx="46638">
                  <c:v>0.83178170144462205</c:v>
                </c:pt>
                <c:pt idx="46639">
                  <c:v>0.83179953629391801</c:v>
                </c:pt>
                <c:pt idx="46640">
                  <c:v>0.83181737114321297</c:v>
                </c:pt>
                <c:pt idx="46641">
                  <c:v>0.83183520599250904</c:v>
                </c:pt>
                <c:pt idx="46642">
                  <c:v>0.831853040841804</c:v>
                </c:pt>
                <c:pt idx="46643">
                  <c:v>0.83187087569109996</c:v>
                </c:pt>
                <c:pt idx="46644">
                  <c:v>0.83188871054039504</c:v>
                </c:pt>
                <c:pt idx="46645">
                  <c:v>0.831906545389691</c:v>
                </c:pt>
                <c:pt idx="46646">
                  <c:v>0.83192438023898696</c:v>
                </c:pt>
                <c:pt idx="46647">
                  <c:v>0.83194221508828203</c:v>
                </c:pt>
                <c:pt idx="46648">
                  <c:v>0.83196004993757799</c:v>
                </c:pt>
                <c:pt idx="46649">
                  <c:v>0.83197788478687296</c:v>
                </c:pt>
                <c:pt idx="46650">
                  <c:v>0.83199571963616903</c:v>
                </c:pt>
                <c:pt idx="46651">
                  <c:v>0.83201355448546399</c:v>
                </c:pt>
                <c:pt idx="46652">
                  <c:v>0.83203138933475995</c:v>
                </c:pt>
                <c:pt idx="46653">
                  <c:v>0.83204922418405503</c:v>
                </c:pt>
                <c:pt idx="46654">
                  <c:v>0.83206705903335099</c:v>
                </c:pt>
                <c:pt idx="46655">
                  <c:v>0.83208489388264595</c:v>
                </c:pt>
                <c:pt idx="46656">
                  <c:v>0.83210272873194202</c:v>
                </c:pt>
                <c:pt idx="46657">
                  <c:v>0.83212056358123698</c:v>
                </c:pt>
                <c:pt idx="46658">
                  <c:v>0.83213839843053306</c:v>
                </c:pt>
                <c:pt idx="46659">
                  <c:v>0.83215623327982802</c:v>
                </c:pt>
                <c:pt idx="46660">
                  <c:v>0.83217406812912398</c:v>
                </c:pt>
                <c:pt idx="46661">
                  <c:v>0.83219190297841905</c:v>
                </c:pt>
                <c:pt idx="46662">
                  <c:v>0.83220973782771501</c:v>
                </c:pt>
                <c:pt idx="46663">
                  <c:v>0.83222757267700997</c:v>
                </c:pt>
                <c:pt idx="46664">
                  <c:v>0.83224540752630605</c:v>
                </c:pt>
                <c:pt idx="46665">
                  <c:v>0.83226324237560101</c:v>
                </c:pt>
                <c:pt idx="46666">
                  <c:v>0.83228107722489697</c:v>
                </c:pt>
                <c:pt idx="46667">
                  <c:v>0.83229891207419204</c:v>
                </c:pt>
                <c:pt idx="46668">
                  <c:v>0.832316746923488</c:v>
                </c:pt>
                <c:pt idx="46669">
                  <c:v>0.83233458177278397</c:v>
                </c:pt>
                <c:pt idx="46670">
                  <c:v>0.83235241662207904</c:v>
                </c:pt>
                <c:pt idx="46671">
                  <c:v>0.832370251471375</c:v>
                </c:pt>
                <c:pt idx="46672">
                  <c:v>0.83238808632066996</c:v>
                </c:pt>
                <c:pt idx="46673">
                  <c:v>0.83240592116996603</c:v>
                </c:pt>
                <c:pt idx="46674">
                  <c:v>0.832423756019261</c:v>
                </c:pt>
                <c:pt idx="46675">
                  <c:v>0.83244159086855696</c:v>
                </c:pt>
                <c:pt idx="46676">
                  <c:v>0.83245942571785203</c:v>
                </c:pt>
                <c:pt idx="46677">
                  <c:v>0.83247726056714799</c:v>
                </c:pt>
                <c:pt idx="46678">
                  <c:v>0.83249509541644295</c:v>
                </c:pt>
                <c:pt idx="46679">
                  <c:v>0.83251293026573903</c:v>
                </c:pt>
                <c:pt idx="46680">
                  <c:v>0.83253076511503399</c:v>
                </c:pt>
                <c:pt idx="46681">
                  <c:v>0.83254859996432995</c:v>
                </c:pt>
                <c:pt idx="46682">
                  <c:v>0.83256643481362502</c:v>
                </c:pt>
                <c:pt idx="46683">
                  <c:v>0.83258426966292098</c:v>
                </c:pt>
                <c:pt idx="46684">
                  <c:v>0.83260210451221595</c:v>
                </c:pt>
                <c:pt idx="46685">
                  <c:v>0.83261993936151202</c:v>
                </c:pt>
                <c:pt idx="46686">
                  <c:v>0.83263777421080698</c:v>
                </c:pt>
                <c:pt idx="46687">
                  <c:v>0.83265560906010305</c:v>
                </c:pt>
                <c:pt idx="46688">
                  <c:v>0.83267344390939901</c:v>
                </c:pt>
                <c:pt idx="46689">
                  <c:v>0.83269127875869398</c:v>
                </c:pt>
                <c:pt idx="46690">
                  <c:v>0.83270911360799005</c:v>
                </c:pt>
                <c:pt idx="46691">
                  <c:v>0.83272694845728501</c:v>
                </c:pt>
                <c:pt idx="46692">
                  <c:v>0.83274478330658097</c:v>
                </c:pt>
                <c:pt idx="46693">
                  <c:v>0.83276261815587604</c:v>
                </c:pt>
                <c:pt idx="46694">
                  <c:v>0.83278045300517201</c:v>
                </c:pt>
                <c:pt idx="46695">
                  <c:v>0.83279828785446697</c:v>
                </c:pt>
                <c:pt idx="46696">
                  <c:v>0.83281612270376304</c:v>
                </c:pt>
                <c:pt idx="46697">
                  <c:v>0.832833957553058</c:v>
                </c:pt>
                <c:pt idx="46698">
                  <c:v>0.83285179240235396</c:v>
                </c:pt>
                <c:pt idx="46699">
                  <c:v>0.83286962725164904</c:v>
                </c:pt>
                <c:pt idx="46700">
                  <c:v>0.832887462100945</c:v>
                </c:pt>
                <c:pt idx="46701">
                  <c:v>0.83290529695023996</c:v>
                </c:pt>
                <c:pt idx="46702">
                  <c:v>0.83292313179953603</c:v>
                </c:pt>
                <c:pt idx="46703">
                  <c:v>0.83294096664883099</c:v>
                </c:pt>
                <c:pt idx="46704">
                  <c:v>0.83295880149812696</c:v>
                </c:pt>
                <c:pt idx="46705">
                  <c:v>0.83297663634742203</c:v>
                </c:pt>
                <c:pt idx="46706">
                  <c:v>0.83299447119671799</c:v>
                </c:pt>
                <c:pt idx="46707">
                  <c:v>0.83301230604601395</c:v>
                </c:pt>
                <c:pt idx="46708">
                  <c:v>0.83303014089530902</c:v>
                </c:pt>
                <c:pt idx="46709">
                  <c:v>0.83304797574460498</c:v>
                </c:pt>
                <c:pt idx="46710">
                  <c:v>0.83306581059389995</c:v>
                </c:pt>
                <c:pt idx="46711">
                  <c:v>0.83308364544319602</c:v>
                </c:pt>
                <c:pt idx="46712">
                  <c:v>0.83310148029249098</c:v>
                </c:pt>
                <c:pt idx="46713">
                  <c:v>0.83311931514178705</c:v>
                </c:pt>
                <c:pt idx="46714">
                  <c:v>0.83313714999108202</c:v>
                </c:pt>
                <c:pt idx="46715">
                  <c:v>0.83315498484037798</c:v>
                </c:pt>
                <c:pt idx="46716">
                  <c:v>0.83317281968967305</c:v>
                </c:pt>
                <c:pt idx="46717">
                  <c:v>0.83319065453896901</c:v>
                </c:pt>
                <c:pt idx="46718">
                  <c:v>0.83320848938826397</c:v>
                </c:pt>
                <c:pt idx="46719">
                  <c:v>0.83322632423756005</c:v>
                </c:pt>
                <c:pt idx="46720">
                  <c:v>0.83324415908685501</c:v>
                </c:pt>
                <c:pt idx="46721">
                  <c:v>0.83326199393615097</c:v>
                </c:pt>
                <c:pt idx="46722">
                  <c:v>0.83327982878544604</c:v>
                </c:pt>
                <c:pt idx="46723">
                  <c:v>0.833297663634742</c:v>
                </c:pt>
                <c:pt idx="46724">
                  <c:v>0.83331549848403697</c:v>
                </c:pt>
                <c:pt idx="46725">
                  <c:v>0.83333333333333304</c:v>
                </c:pt>
                <c:pt idx="46726">
                  <c:v>0.833351168182628</c:v>
                </c:pt>
                <c:pt idx="46727">
                  <c:v>0.83336900303192396</c:v>
                </c:pt>
                <c:pt idx="46728">
                  <c:v>0.83338683788121903</c:v>
                </c:pt>
                <c:pt idx="46729">
                  <c:v>0.83340467273051499</c:v>
                </c:pt>
                <c:pt idx="46730">
                  <c:v>0.83342250757981096</c:v>
                </c:pt>
                <c:pt idx="46731">
                  <c:v>0.83344034242910603</c:v>
                </c:pt>
                <c:pt idx="46732">
                  <c:v>0.83345817727840199</c:v>
                </c:pt>
                <c:pt idx="46733">
                  <c:v>0.83347601212769695</c:v>
                </c:pt>
                <c:pt idx="46734">
                  <c:v>0.83349384697699302</c:v>
                </c:pt>
                <c:pt idx="46735">
                  <c:v>0.83351168182628799</c:v>
                </c:pt>
                <c:pt idx="46736">
                  <c:v>0.83352951667558395</c:v>
                </c:pt>
                <c:pt idx="46737">
                  <c:v>0.83354735152487902</c:v>
                </c:pt>
                <c:pt idx="46738">
                  <c:v>0.83356518637417498</c:v>
                </c:pt>
                <c:pt idx="46739">
                  <c:v>0.83358302122347006</c:v>
                </c:pt>
                <c:pt idx="46740">
                  <c:v>0.83360085607276602</c:v>
                </c:pt>
                <c:pt idx="46741">
                  <c:v>0.83361869092206098</c:v>
                </c:pt>
                <c:pt idx="46742">
                  <c:v>0.83363652577135705</c:v>
                </c:pt>
                <c:pt idx="46743">
                  <c:v>0.83365436062065201</c:v>
                </c:pt>
                <c:pt idx="46744">
                  <c:v>0.83367219546994797</c:v>
                </c:pt>
                <c:pt idx="46745">
                  <c:v>0.83369003031924305</c:v>
                </c:pt>
                <c:pt idx="46746">
                  <c:v>0.83370786516853901</c:v>
                </c:pt>
                <c:pt idx="46747">
                  <c:v>0.83372570001783397</c:v>
                </c:pt>
                <c:pt idx="46748">
                  <c:v>0.83374353486713004</c:v>
                </c:pt>
                <c:pt idx="46749">
                  <c:v>0.833761369716425</c:v>
                </c:pt>
                <c:pt idx="46750">
                  <c:v>0.83377920456572097</c:v>
                </c:pt>
                <c:pt idx="46751">
                  <c:v>0.83379703941501604</c:v>
                </c:pt>
                <c:pt idx="46752">
                  <c:v>0.833814874264312</c:v>
                </c:pt>
                <c:pt idx="46753">
                  <c:v>0.83383270911360796</c:v>
                </c:pt>
                <c:pt idx="46754">
                  <c:v>0.83385054396290303</c:v>
                </c:pt>
                <c:pt idx="46755">
                  <c:v>0.833868378812199</c:v>
                </c:pt>
                <c:pt idx="46756">
                  <c:v>0.83388621366149396</c:v>
                </c:pt>
                <c:pt idx="46757">
                  <c:v>0.83390404851079003</c:v>
                </c:pt>
                <c:pt idx="46758">
                  <c:v>0.83392188336008499</c:v>
                </c:pt>
                <c:pt idx="46759">
                  <c:v>0.83393971820938095</c:v>
                </c:pt>
                <c:pt idx="46760">
                  <c:v>0.83395755305867603</c:v>
                </c:pt>
                <c:pt idx="46761">
                  <c:v>0.83397538790797199</c:v>
                </c:pt>
                <c:pt idx="46762">
                  <c:v>0.83399322275726695</c:v>
                </c:pt>
                <c:pt idx="46763">
                  <c:v>0.83401105760656302</c:v>
                </c:pt>
                <c:pt idx="46764">
                  <c:v>0.83402889245585798</c:v>
                </c:pt>
                <c:pt idx="46765">
                  <c:v>0.83404672730515395</c:v>
                </c:pt>
                <c:pt idx="46766">
                  <c:v>0.83406456215444902</c:v>
                </c:pt>
                <c:pt idx="46767">
                  <c:v>0.83408239700374498</c:v>
                </c:pt>
                <c:pt idx="46768">
                  <c:v>0.83410023185304005</c:v>
                </c:pt>
                <c:pt idx="46769">
                  <c:v>0.83411806670233601</c:v>
                </c:pt>
                <c:pt idx="46770">
                  <c:v>0.83413590155163098</c:v>
                </c:pt>
                <c:pt idx="46771">
                  <c:v>0.83415373640092705</c:v>
                </c:pt>
                <c:pt idx="46772">
                  <c:v>0.83417157125022201</c:v>
                </c:pt>
                <c:pt idx="46773">
                  <c:v>0.83418940609951797</c:v>
                </c:pt>
                <c:pt idx="46774">
                  <c:v>0.83420724094881304</c:v>
                </c:pt>
                <c:pt idx="46775">
                  <c:v>0.83422507579810901</c:v>
                </c:pt>
                <c:pt idx="46776">
                  <c:v>0.83424291064740497</c:v>
                </c:pt>
                <c:pt idx="46777">
                  <c:v>0.83426074549670004</c:v>
                </c:pt>
                <c:pt idx="46778">
                  <c:v>0.834278580345996</c:v>
                </c:pt>
                <c:pt idx="46779">
                  <c:v>0.83429641519529096</c:v>
                </c:pt>
                <c:pt idx="46780">
                  <c:v>0.83431425004458704</c:v>
                </c:pt>
                <c:pt idx="46781">
                  <c:v>0.834332084893882</c:v>
                </c:pt>
                <c:pt idx="46782">
                  <c:v>0.83434991974317796</c:v>
                </c:pt>
                <c:pt idx="46783">
                  <c:v>0.83436775459247303</c:v>
                </c:pt>
                <c:pt idx="46784">
                  <c:v>0.83438558944176899</c:v>
                </c:pt>
                <c:pt idx="46785">
                  <c:v>0.83440342429106396</c:v>
                </c:pt>
                <c:pt idx="46786">
                  <c:v>0.83442125914036003</c:v>
                </c:pt>
                <c:pt idx="46787">
                  <c:v>0.83443909398965499</c:v>
                </c:pt>
                <c:pt idx="46788">
                  <c:v>0.83445692883895095</c:v>
                </c:pt>
                <c:pt idx="46789">
                  <c:v>0.83447476368824602</c:v>
                </c:pt>
                <c:pt idx="46790">
                  <c:v>0.83449259853754199</c:v>
                </c:pt>
                <c:pt idx="46791">
                  <c:v>0.83451043338683695</c:v>
                </c:pt>
                <c:pt idx="46792">
                  <c:v>0.83452826823613302</c:v>
                </c:pt>
                <c:pt idx="46793">
                  <c:v>0.83454610308542898</c:v>
                </c:pt>
                <c:pt idx="46794">
                  <c:v>0.83456393793472405</c:v>
                </c:pt>
                <c:pt idx="46795">
                  <c:v>0.83458177278402002</c:v>
                </c:pt>
                <c:pt idx="46796">
                  <c:v>0.83459960763331498</c:v>
                </c:pt>
                <c:pt idx="46797">
                  <c:v>0.83461744248261105</c:v>
                </c:pt>
                <c:pt idx="46798">
                  <c:v>0.83463527733190601</c:v>
                </c:pt>
                <c:pt idx="46799">
                  <c:v>0.83465311218120197</c:v>
                </c:pt>
                <c:pt idx="46800">
                  <c:v>0.83467094703049705</c:v>
                </c:pt>
                <c:pt idx="46801">
                  <c:v>0.83468878187979301</c:v>
                </c:pt>
                <c:pt idx="46802">
                  <c:v>0.83470661672908797</c:v>
                </c:pt>
                <c:pt idx="46803">
                  <c:v>0.83472445157838404</c:v>
                </c:pt>
                <c:pt idx="46804">
                  <c:v>0.834742286427679</c:v>
                </c:pt>
                <c:pt idx="46805">
                  <c:v>0.83476012127697496</c:v>
                </c:pt>
                <c:pt idx="46806">
                  <c:v>0.83477795612627004</c:v>
                </c:pt>
                <c:pt idx="46807">
                  <c:v>0.834795790975566</c:v>
                </c:pt>
                <c:pt idx="46808">
                  <c:v>0.83481362582486096</c:v>
                </c:pt>
                <c:pt idx="46809">
                  <c:v>0.83483146067415703</c:v>
                </c:pt>
                <c:pt idx="46810">
                  <c:v>0.834849295523452</c:v>
                </c:pt>
                <c:pt idx="46811">
                  <c:v>0.83486713037274796</c:v>
                </c:pt>
                <c:pt idx="46812">
                  <c:v>0.83488496522204303</c:v>
                </c:pt>
                <c:pt idx="46813">
                  <c:v>0.83490280007133899</c:v>
                </c:pt>
                <c:pt idx="46814">
                  <c:v>0.83492063492063495</c:v>
                </c:pt>
                <c:pt idx="46815">
                  <c:v>0.83493846976993003</c:v>
                </c:pt>
                <c:pt idx="46816">
                  <c:v>0.83495630461922599</c:v>
                </c:pt>
                <c:pt idx="46817">
                  <c:v>0.83497413946852095</c:v>
                </c:pt>
                <c:pt idx="46818">
                  <c:v>0.83499197431781702</c:v>
                </c:pt>
                <c:pt idx="46819">
                  <c:v>0.83500980916711198</c:v>
                </c:pt>
                <c:pt idx="46820">
                  <c:v>0.83502764401640805</c:v>
                </c:pt>
                <c:pt idx="46821">
                  <c:v>0.83504547886570302</c:v>
                </c:pt>
                <c:pt idx="46822">
                  <c:v>0.83506331371499898</c:v>
                </c:pt>
                <c:pt idx="46823">
                  <c:v>0.83508114856429405</c:v>
                </c:pt>
                <c:pt idx="46824">
                  <c:v>0.83509898341359001</c:v>
                </c:pt>
                <c:pt idx="46825">
                  <c:v>0.83511681826288497</c:v>
                </c:pt>
                <c:pt idx="46826">
                  <c:v>0.83513465311218105</c:v>
                </c:pt>
                <c:pt idx="46827">
                  <c:v>0.83515248796147601</c:v>
                </c:pt>
                <c:pt idx="46828">
                  <c:v>0.83517032281077197</c:v>
                </c:pt>
                <c:pt idx="46829">
                  <c:v>0.83518815766006704</c:v>
                </c:pt>
                <c:pt idx="46830">
                  <c:v>0.835205992509363</c:v>
                </c:pt>
                <c:pt idx="46831">
                  <c:v>0.83522382735865797</c:v>
                </c:pt>
                <c:pt idx="46832">
                  <c:v>0.83524166220795404</c:v>
                </c:pt>
                <c:pt idx="46833">
                  <c:v>0.835259497057249</c:v>
                </c:pt>
                <c:pt idx="46834">
                  <c:v>0.83527733190654496</c:v>
                </c:pt>
                <c:pt idx="46835">
                  <c:v>0.83529516675584004</c:v>
                </c:pt>
                <c:pt idx="46836">
                  <c:v>0.835313001605136</c:v>
                </c:pt>
                <c:pt idx="46837">
                  <c:v>0.83533083645443196</c:v>
                </c:pt>
                <c:pt idx="46838">
                  <c:v>0.83534867130372703</c:v>
                </c:pt>
                <c:pt idx="46839">
                  <c:v>0.83536650615302299</c:v>
                </c:pt>
                <c:pt idx="46840">
                  <c:v>0.83538434100231795</c:v>
                </c:pt>
                <c:pt idx="46841">
                  <c:v>0.83540217585161403</c:v>
                </c:pt>
                <c:pt idx="46842">
                  <c:v>0.83542001070090899</c:v>
                </c:pt>
                <c:pt idx="46843">
                  <c:v>0.83543784555020495</c:v>
                </c:pt>
                <c:pt idx="46844">
                  <c:v>0.83545568039950002</c:v>
                </c:pt>
                <c:pt idx="46845">
                  <c:v>0.83547351524879598</c:v>
                </c:pt>
                <c:pt idx="46846">
                  <c:v>0.83549135009809095</c:v>
                </c:pt>
                <c:pt idx="46847">
                  <c:v>0.83550918494738702</c:v>
                </c:pt>
                <c:pt idx="46848">
                  <c:v>0.83552701979668198</c:v>
                </c:pt>
                <c:pt idx="46849">
                  <c:v>0.83554485464597805</c:v>
                </c:pt>
                <c:pt idx="46850">
                  <c:v>0.83556268949527301</c:v>
                </c:pt>
                <c:pt idx="46851">
                  <c:v>0.83558052434456898</c:v>
                </c:pt>
                <c:pt idx="46852">
                  <c:v>0.83559835919386405</c:v>
                </c:pt>
                <c:pt idx="46853">
                  <c:v>0.83561619404316001</c:v>
                </c:pt>
                <c:pt idx="46854">
                  <c:v>0.83563402889245497</c:v>
                </c:pt>
                <c:pt idx="46855">
                  <c:v>0.83565186374175104</c:v>
                </c:pt>
                <c:pt idx="46856">
                  <c:v>0.83566969859104601</c:v>
                </c:pt>
                <c:pt idx="46857">
                  <c:v>0.83568753344034197</c:v>
                </c:pt>
                <c:pt idx="46858">
                  <c:v>0.83570536828963704</c:v>
                </c:pt>
                <c:pt idx="46859">
                  <c:v>0.835723203138933</c:v>
                </c:pt>
                <c:pt idx="46860">
                  <c:v>0.83574103798822896</c:v>
                </c:pt>
                <c:pt idx="46861">
                  <c:v>0.83575887283752404</c:v>
                </c:pt>
                <c:pt idx="46862">
                  <c:v>0.83577670768682</c:v>
                </c:pt>
                <c:pt idx="46863">
                  <c:v>0.83579454253611496</c:v>
                </c:pt>
                <c:pt idx="46864">
                  <c:v>0.83581237738541103</c:v>
                </c:pt>
                <c:pt idx="46865">
                  <c:v>0.83583021223470599</c:v>
                </c:pt>
                <c:pt idx="46866">
                  <c:v>0.83584804708400195</c:v>
                </c:pt>
                <c:pt idx="46867">
                  <c:v>0.83586588193329703</c:v>
                </c:pt>
                <c:pt idx="46868">
                  <c:v>0.83588371678259299</c:v>
                </c:pt>
                <c:pt idx="46869">
                  <c:v>0.83590155163188795</c:v>
                </c:pt>
                <c:pt idx="46870">
                  <c:v>0.83591938648118402</c:v>
                </c:pt>
                <c:pt idx="46871">
                  <c:v>0.83593722133047899</c:v>
                </c:pt>
                <c:pt idx="46872">
                  <c:v>0.83595505617977495</c:v>
                </c:pt>
                <c:pt idx="46873">
                  <c:v>0.83597289102907002</c:v>
                </c:pt>
                <c:pt idx="46874">
                  <c:v>0.83599072587836598</c:v>
                </c:pt>
                <c:pt idx="46875">
                  <c:v>0.83600856072766105</c:v>
                </c:pt>
                <c:pt idx="46876">
                  <c:v>0.83602639557695702</c:v>
                </c:pt>
                <c:pt idx="46877">
                  <c:v>0.83604423042625198</c:v>
                </c:pt>
                <c:pt idx="46878">
                  <c:v>0.83606206527554805</c:v>
                </c:pt>
                <c:pt idx="46879">
                  <c:v>0.83607990012484301</c:v>
                </c:pt>
                <c:pt idx="46880">
                  <c:v>0.83609773497413897</c:v>
                </c:pt>
                <c:pt idx="46881">
                  <c:v>0.83611556982343505</c:v>
                </c:pt>
                <c:pt idx="46882">
                  <c:v>0.83613340467273001</c:v>
                </c:pt>
                <c:pt idx="46883">
                  <c:v>0.83615123952202597</c:v>
                </c:pt>
                <c:pt idx="46884">
                  <c:v>0.83616907437132104</c:v>
                </c:pt>
                <c:pt idx="46885">
                  <c:v>0.836186909220617</c:v>
                </c:pt>
                <c:pt idx="46886">
                  <c:v>0.83620474406991196</c:v>
                </c:pt>
                <c:pt idx="46887">
                  <c:v>0.83622257891920804</c:v>
                </c:pt>
                <c:pt idx="46888">
                  <c:v>0.836240413768503</c:v>
                </c:pt>
                <c:pt idx="46889">
                  <c:v>0.83625824861779896</c:v>
                </c:pt>
                <c:pt idx="46890">
                  <c:v>0.83627608346709403</c:v>
                </c:pt>
                <c:pt idx="46891">
                  <c:v>0.83629391831638999</c:v>
                </c:pt>
                <c:pt idx="46892">
                  <c:v>0.83631175316568496</c:v>
                </c:pt>
                <c:pt idx="46893">
                  <c:v>0.83632958801498103</c:v>
                </c:pt>
                <c:pt idx="46894">
                  <c:v>0.83634742286427599</c:v>
                </c:pt>
                <c:pt idx="46895">
                  <c:v>0.83636525771357195</c:v>
                </c:pt>
                <c:pt idx="46896">
                  <c:v>0.83638309256286703</c:v>
                </c:pt>
                <c:pt idx="46897">
                  <c:v>0.83640092741216299</c:v>
                </c:pt>
                <c:pt idx="46898">
                  <c:v>0.83641876226145795</c:v>
                </c:pt>
                <c:pt idx="46899">
                  <c:v>0.83643659711075402</c:v>
                </c:pt>
                <c:pt idx="46900">
                  <c:v>0.83645443196004998</c:v>
                </c:pt>
                <c:pt idx="46901">
                  <c:v>0.83647226680934506</c:v>
                </c:pt>
                <c:pt idx="46902">
                  <c:v>0.83649010165864102</c:v>
                </c:pt>
                <c:pt idx="46903">
                  <c:v>0.83650793650793598</c:v>
                </c:pt>
                <c:pt idx="46904">
                  <c:v>0.83652577135723205</c:v>
                </c:pt>
                <c:pt idx="46905">
                  <c:v>0.83654360620652701</c:v>
                </c:pt>
                <c:pt idx="46906">
                  <c:v>0.83656144105582297</c:v>
                </c:pt>
                <c:pt idx="46907">
                  <c:v>0.83657927590511805</c:v>
                </c:pt>
                <c:pt idx="46908">
                  <c:v>0.83659711075441401</c:v>
                </c:pt>
                <c:pt idx="46909">
                  <c:v>0.83661494560370897</c:v>
                </c:pt>
                <c:pt idx="46910">
                  <c:v>0.83663278045300504</c:v>
                </c:pt>
                <c:pt idx="46911">
                  <c:v>0.8366506153023</c:v>
                </c:pt>
                <c:pt idx="46912">
                  <c:v>0.83666845015159597</c:v>
                </c:pt>
                <c:pt idx="46913">
                  <c:v>0.83668628500089104</c:v>
                </c:pt>
                <c:pt idx="46914">
                  <c:v>0.836704119850187</c:v>
                </c:pt>
                <c:pt idx="46915">
                  <c:v>0.83672195469948196</c:v>
                </c:pt>
                <c:pt idx="46916">
                  <c:v>0.83673978954877803</c:v>
                </c:pt>
                <c:pt idx="46917">
                  <c:v>0.836757624398073</c:v>
                </c:pt>
                <c:pt idx="46918">
                  <c:v>0.83677545924736896</c:v>
                </c:pt>
                <c:pt idx="46919">
                  <c:v>0.83679329409666403</c:v>
                </c:pt>
                <c:pt idx="46920">
                  <c:v>0.83681112894595999</c:v>
                </c:pt>
                <c:pt idx="46921">
                  <c:v>0.83682896379525595</c:v>
                </c:pt>
                <c:pt idx="46922">
                  <c:v>0.83684679864455103</c:v>
                </c:pt>
                <c:pt idx="46923">
                  <c:v>0.83686463349384699</c:v>
                </c:pt>
                <c:pt idx="46924">
                  <c:v>0.83688246834314195</c:v>
                </c:pt>
                <c:pt idx="46925">
                  <c:v>0.83690030319243802</c:v>
                </c:pt>
                <c:pt idx="46926">
                  <c:v>0.83691813804173298</c:v>
                </c:pt>
                <c:pt idx="46927">
                  <c:v>0.83693597289102895</c:v>
                </c:pt>
                <c:pt idx="46928">
                  <c:v>0.83695380774032402</c:v>
                </c:pt>
                <c:pt idx="46929">
                  <c:v>0.83697164258961998</c:v>
                </c:pt>
                <c:pt idx="46930">
                  <c:v>0.83698947743891505</c:v>
                </c:pt>
                <c:pt idx="46931">
                  <c:v>0.83700731228821101</c:v>
                </c:pt>
                <c:pt idx="46932">
                  <c:v>0.83702514713750598</c:v>
                </c:pt>
                <c:pt idx="46933">
                  <c:v>0.83704298198680205</c:v>
                </c:pt>
                <c:pt idx="46934">
                  <c:v>0.83706081683609701</c:v>
                </c:pt>
                <c:pt idx="46935">
                  <c:v>0.83707865168539297</c:v>
                </c:pt>
                <c:pt idx="46936">
                  <c:v>0.83709648653468804</c:v>
                </c:pt>
                <c:pt idx="46937">
                  <c:v>0.83711432138398401</c:v>
                </c:pt>
                <c:pt idx="46938">
                  <c:v>0.83713215623327897</c:v>
                </c:pt>
                <c:pt idx="46939">
                  <c:v>0.83714999108257504</c:v>
                </c:pt>
                <c:pt idx="46940">
                  <c:v>0.83716782593187</c:v>
                </c:pt>
                <c:pt idx="46941">
                  <c:v>0.83718566078116596</c:v>
                </c:pt>
                <c:pt idx="46942">
                  <c:v>0.83720349563046104</c:v>
                </c:pt>
                <c:pt idx="46943">
                  <c:v>0.837221330479757</c:v>
                </c:pt>
                <c:pt idx="46944">
                  <c:v>0.83723916532905296</c:v>
                </c:pt>
                <c:pt idx="46945">
                  <c:v>0.83725700017834803</c:v>
                </c:pt>
                <c:pt idx="46946">
                  <c:v>0.83727483502764399</c:v>
                </c:pt>
                <c:pt idx="46947">
                  <c:v>0.83729266987693896</c:v>
                </c:pt>
                <c:pt idx="46948">
                  <c:v>0.83731050472623503</c:v>
                </c:pt>
                <c:pt idx="46949">
                  <c:v>0.83732833957552999</c:v>
                </c:pt>
                <c:pt idx="46950">
                  <c:v>0.83734617442482595</c:v>
                </c:pt>
                <c:pt idx="46951">
                  <c:v>0.83736400927412102</c:v>
                </c:pt>
                <c:pt idx="46952">
                  <c:v>0.83738184412341699</c:v>
                </c:pt>
                <c:pt idx="46953">
                  <c:v>0.83739967897271195</c:v>
                </c:pt>
                <c:pt idx="46954">
                  <c:v>0.83741751382200802</c:v>
                </c:pt>
                <c:pt idx="46955">
                  <c:v>0.83743534867130298</c:v>
                </c:pt>
                <c:pt idx="46956">
                  <c:v>0.83745318352059905</c:v>
                </c:pt>
                <c:pt idx="46957">
                  <c:v>0.83747101836989402</c:v>
                </c:pt>
                <c:pt idx="46958">
                  <c:v>0.83748885321918998</c:v>
                </c:pt>
                <c:pt idx="46959">
                  <c:v>0.83750668806848505</c:v>
                </c:pt>
                <c:pt idx="46960">
                  <c:v>0.83752452291778101</c:v>
                </c:pt>
                <c:pt idx="46961">
                  <c:v>0.83754235776707597</c:v>
                </c:pt>
                <c:pt idx="46962">
                  <c:v>0.83756019261637205</c:v>
                </c:pt>
                <c:pt idx="46963">
                  <c:v>0.83757802746566701</c:v>
                </c:pt>
                <c:pt idx="46964">
                  <c:v>0.83759586231496297</c:v>
                </c:pt>
                <c:pt idx="46965">
                  <c:v>0.83761369716425804</c:v>
                </c:pt>
                <c:pt idx="46966">
                  <c:v>0.837631532013554</c:v>
                </c:pt>
                <c:pt idx="46967">
                  <c:v>0.83764936686284996</c:v>
                </c:pt>
                <c:pt idx="46968">
                  <c:v>0.83766720171214504</c:v>
                </c:pt>
                <c:pt idx="46969">
                  <c:v>0.837685036561441</c:v>
                </c:pt>
                <c:pt idx="46970">
                  <c:v>0.83770287141073596</c:v>
                </c:pt>
                <c:pt idx="46971">
                  <c:v>0.83772070626003203</c:v>
                </c:pt>
                <c:pt idx="46972">
                  <c:v>0.837738541109327</c:v>
                </c:pt>
                <c:pt idx="46973">
                  <c:v>0.83775637595862296</c:v>
                </c:pt>
                <c:pt idx="46974">
                  <c:v>0.83777421080791803</c:v>
                </c:pt>
                <c:pt idx="46975">
                  <c:v>0.83779204565721399</c:v>
                </c:pt>
                <c:pt idx="46976">
                  <c:v>0.83780988050650895</c:v>
                </c:pt>
                <c:pt idx="46977">
                  <c:v>0.83782771535580502</c:v>
                </c:pt>
                <c:pt idx="46978">
                  <c:v>0.83784555020509999</c:v>
                </c:pt>
                <c:pt idx="46979">
                  <c:v>0.83786338505439595</c:v>
                </c:pt>
                <c:pt idx="46980">
                  <c:v>0.83788121990369102</c:v>
                </c:pt>
                <c:pt idx="46981">
                  <c:v>0.83789905475298698</c:v>
                </c:pt>
                <c:pt idx="46982">
                  <c:v>0.83791688960228194</c:v>
                </c:pt>
                <c:pt idx="46983">
                  <c:v>0.83793472445157802</c:v>
                </c:pt>
                <c:pt idx="46984">
                  <c:v>0.83795255930087298</c:v>
                </c:pt>
                <c:pt idx="46985">
                  <c:v>0.83797039415016905</c:v>
                </c:pt>
                <c:pt idx="46986">
                  <c:v>0.83798822899946401</c:v>
                </c:pt>
                <c:pt idx="46987">
                  <c:v>0.83800606384875997</c:v>
                </c:pt>
                <c:pt idx="46988">
                  <c:v>0.83802389869805605</c:v>
                </c:pt>
                <c:pt idx="46989">
                  <c:v>0.83804173354735101</c:v>
                </c:pt>
                <c:pt idx="46990">
                  <c:v>0.83805956839664697</c:v>
                </c:pt>
                <c:pt idx="46991">
                  <c:v>0.83807740324594204</c:v>
                </c:pt>
                <c:pt idx="46992">
                  <c:v>0.838095238095238</c:v>
                </c:pt>
                <c:pt idx="46993">
                  <c:v>0.83811307294453297</c:v>
                </c:pt>
                <c:pt idx="46994">
                  <c:v>0.83813090779382904</c:v>
                </c:pt>
                <c:pt idx="46995">
                  <c:v>0.838148742643124</c:v>
                </c:pt>
                <c:pt idx="46996">
                  <c:v>0.83816657749241996</c:v>
                </c:pt>
                <c:pt idx="46997">
                  <c:v>0.83818441234171503</c:v>
                </c:pt>
                <c:pt idx="46998">
                  <c:v>0.838202247191011</c:v>
                </c:pt>
                <c:pt idx="46999">
                  <c:v>0.83822008204030596</c:v>
                </c:pt>
                <c:pt idx="47000">
                  <c:v>0.83823791688960203</c:v>
                </c:pt>
                <c:pt idx="47001">
                  <c:v>0.83825575173889699</c:v>
                </c:pt>
                <c:pt idx="47002">
                  <c:v>0.83827358658819295</c:v>
                </c:pt>
                <c:pt idx="47003">
                  <c:v>0.83829142143748803</c:v>
                </c:pt>
                <c:pt idx="47004">
                  <c:v>0.83830925628678399</c:v>
                </c:pt>
                <c:pt idx="47005">
                  <c:v>0.83832709113607995</c:v>
                </c:pt>
                <c:pt idx="47006">
                  <c:v>0.83834492598537502</c:v>
                </c:pt>
                <c:pt idx="47007">
                  <c:v>0.83836276083467098</c:v>
                </c:pt>
                <c:pt idx="47008">
                  <c:v>0.83838059568396595</c:v>
                </c:pt>
                <c:pt idx="47009">
                  <c:v>0.83839843053326202</c:v>
                </c:pt>
                <c:pt idx="47010">
                  <c:v>0.83841626538255698</c:v>
                </c:pt>
                <c:pt idx="47011">
                  <c:v>0.83843410023185305</c:v>
                </c:pt>
                <c:pt idx="47012">
                  <c:v>0.83845193508114801</c:v>
                </c:pt>
                <c:pt idx="47013">
                  <c:v>0.83846976993044398</c:v>
                </c:pt>
                <c:pt idx="47014">
                  <c:v>0.83848760477973905</c:v>
                </c:pt>
                <c:pt idx="47015">
                  <c:v>0.83850543962903501</c:v>
                </c:pt>
                <c:pt idx="47016">
                  <c:v>0.83852327447832997</c:v>
                </c:pt>
                <c:pt idx="47017">
                  <c:v>0.83854110932762604</c:v>
                </c:pt>
                <c:pt idx="47018">
                  <c:v>0.83855894417692101</c:v>
                </c:pt>
                <c:pt idx="47019">
                  <c:v>0.83857677902621697</c:v>
                </c:pt>
                <c:pt idx="47020">
                  <c:v>0.83859461387551204</c:v>
                </c:pt>
                <c:pt idx="47021">
                  <c:v>0.838612448724808</c:v>
                </c:pt>
                <c:pt idx="47022">
                  <c:v>0.83863028357410296</c:v>
                </c:pt>
                <c:pt idx="47023">
                  <c:v>0.83864811842339904</c:v>
                </c:pt>
                <c:pt idx="47024">
                  <c:v>0.838665953272694</c:v>
                </c:pt>
                <c:pt idx="47025">
                  <c:v>0.83868378812198996</c:v>
                </c:pt>
                <c:pt idx="47026">
                  <c:v>0.83870162297128503</c:v>
                </c:pt>
                <c:pt idx="47027">
                  <c:v>0.83871945782058099</c:v>
                </c:pt>
                <c:pt idx="47028">
                  <c:v>0.83873729266987695</c:v>
                </c:pt>
                <c:pt idx="47029">
                  <c:v>0.83875512751917203</c:v>
                </c:pt>
                <c:pt idx="47030">
                  <c:v>0.83877296236846799</c:v>
                </c:pt>
                <c:pt idx="47031">
                  <c:v>0.83879079721776295</c:v>
                </c:pt>
                <c:pt idx="47032">
                  <c:v>0.83880863206705902</c:v>
                </c:pt>
                <c:pt idx="47033">
                  <c:v>0.83882646691635399</c:v>
                </c:pt>
                <c:pt idx="47034">
                  <c:v>0.83884430176564995</c:v>
                </c:pt>
                <c:pt idx="47035">
                  <c:v>0.83886213661494502</c:v>
                </c:pt>
                <c:pt idx="47036">
                  <c:v>0.83887997146424098</c:v>
                </c:pt>
                <c:pt idx="47037">
                  <c:v>0.83889780631353605</c:v>
                </c:pt>
                <c:pt idx="47038">
                  <c:v>0.83891564116283202</c:v>
                </c:pt>
                <c:pt idx="47039">
                  <c:v>0.83893347601212698</c:v>
                </c:pt>
                <c:pt idx="47040">
                  <c:v>0.83895131086142305</c:v>
                </c:pt>
                <c:pt idx="47041">
                  <c:v>0.83896914571071801</c:v>
                </c:pt>
                <c:pt idx="47042">
                  <c:v>0.83898698056001397</c:v>
                </c:pt>
                <c:pt idx="47043">
                  <c:v>0.83900481540930905</c:v>
                </c:pt>
                <c:pt idx="47044">
                  <c:v>0.83902265025860501</c:v>
                </c:pt>
                <c:pt idx="47045">
                  <c:v>0.83904048510789997</c:v>
                </c:pt>
                <c:pt idx="47046">
                  <c:v>0.83905831995719604</c:v>
                </c:pt>
                <c:pt idx="47047">
                  <c:v>0.839076154806491</c:v>
                </c:pt>
                <c:pt idx="47048">
                  <c:v>0.83909398965578696</c:v>
                </c:pt>
                <c:pt idx="47049">
                  <c:v>0.83911182450508204</c:v>
                </c:pt>
                <c:pt idx="47050">
                  <c:v>0.839129659354378</c:v>
                </c:pt>
                <c:pt idx="47051">
                  <c:v>0.83914749420367396</c:v>
                </c:pt>
                <c:pt idx="47052">
                  <c:v>0.83916532905296903</c:v>
                </c:pt>
                <c:pt idx="47053">
                  <c:v>0.83918316390226499</c:v>
                </c:pt>
                <c:pt idx="47054">
                  <c:v>0.83920099875155996</c:v>
                </c:pt>
                <c:pt idx="47055">
                  <c:v>0.83921883360085603</c:v>
                </c:pt>
                <c:pt idx="47056">
                  <c:v>0.83923666845015099</c:v>
                </c:pt>
                <c:pt idx="47057">
                  <c:v>0.83925450329944695</c:v>
                </c:pt>
                <c:pt idx="47058">
                  <c:v>0.83927233814874203</c:v>
                </c:pt>
                <c:pt idx="47059">
                  <c:v>0.83929017299803799</c:v>
                </c:pt>
                <c:pt idx="47060">
                  <c:v>0.83930800784733295</c:v>
                </c:pt>
                <c:pt idx="47061">
                  <c:v>0.83932584269662902</c:v>
                </c:pt>
                <c:pt idx="47062">
                  <c:v>0.83934367754592398</c:v>
                </c:pt>
                <c:pt idx="47063">
                  <c:v>0.83936151239522006</c:v>
                </c:pt>
                <c:pt idx="47064">
                  <c:v>0.83937934724451502</c:v>
                </c:pt>
                <c:pt idx="47065">
                  <c:v>0.83939718209381098</c:v>
                </c:pt>
                <c:pt idx="47066">
                  <c:v>0.83941501694310605</c:v>
                </c:pt>
                <c:pt idx="47067">
                  <c:v>0.83943285179240201</c:v>
                </c:pt>
                <c:pt idx="47068">
                  <c:v>0.83945068664169697</c:v>
                </c:pt>
                <c:pt idx="47069">
                  <c:v>0.83946852149099305</c:v>
                </c:pt>
                <c:pt idx="47070">
                  <c:v>0.83948635634028801</c:v>
                </c:pt>
                <c:pt idx="47071">
                  <c:v>0.83950419118958397</c:v>
                </c:pt>
                <c:pt idx="47072">
                  <c:v>0.83952202603887904</c:v>
                </c:pt>
                <c:pt idx="47073">
                  <c:v>0.839539860888175</c:v>
                </c:pt>
                <c:pt idx="47074">
                  <c:v>0.83955769573747097</c:v>
                </c:pt>
                <c:pt idx="47075">
                  <c:v>0.83957553058676604</c:v>
                </c:pt>
                <c:pt idx="47076">
                  <c:v>0.839593365436062</c:v>
                </c:pt>
                <c:pt idx="47077">
                  <c:v>0.83961120028535696</c:v>
                </c:pt>
                <c:pt idx="47078">
                  <c:v>0.83962903513465303</c:v>
                </c:pt>
                <c:pt idx="47079">
                  <c:v>0.839646869983948</c:v>
                </c:pt>
                <c:pt idx="47080">
                  <c:v>0.83966470483324396</c:v>
                </c:pt>
                <c:pt idx="47081">
                  <c:v>0.83968253968253903</c:v>
                </c:pt>
                <c:pt idx="47082">
                  <c:v>0.83970037453183499</c:v>
                </c:pt>
                <c:pt idx="47083">
                  <c:v>0.83971820938112995</c:v>
                </c:pt>
                <c:pt idx="47084">
                  <c:v>0.83973604423042603</c:v>
                </c:pt>
                <c:pt idx="47085">
                  <c:v>0.83975387907972099</c:v>
                </c:pt>
                <c:pt idx="47086">
                  <c:v>0.83977171392901695</c:v>
                </c:pt>
                <c:pt idx="47087">
                  <c:v>0.83978954877831202</c:v>
                </c:pt>
                <c:pt idx="47088">
                  <c:v>0.83980738362760798</c:v>
                </c:pt>
                <c:pt idx="47089">
                  <c:v>0.83982521847690295</c:v>
                </c:pt>
                <c:pt idx="47090">
                  <c:v>0.83984305332619902</c:v>
                </c:pt>
                <c:pt idx="47091">
                  <c:v>0.83986088817549398</c:v>
                </c:pt>
                <c:pt idx="47092">
                  <c:v>0.83987872302479005</c:v>
                </c:pt>
                <c:pt idx="47093">
                  <c:v>0.83989655787408601</c:v>
                </c:pt>
                <c:pt idx="47094">
                  <c:v>0.83991439272338098</c:v>
                </c:pt>
                <c:pt idx="47095">
                  <c:v>0.83993222757267705</c:v>
                </c:pt>
                <c:pt idx="47096">
                  <c:v>0.83995006242197201</c:v>
                </c:pt>
                <c:pt idx="47097">
                  <c:v>0.83996789727126797</c:v>
                </c:pt>
                <c:pt idx="47098">
                  <c:v>0.83998573212056304</c:v>
                </c:pt>
                <c:pt idx="47099">
                  <c:v>0.84000356696985901</c:v>
                </c:pt>
                <c:pt idx="47100">
                  <c:v>0.84002140181915397</c:v>
                </c:pt>
                <c:pt idx="47101">
                  <c:v>0.84003923666845004</c:v>
                </c:pt>
                <c:pt idx="47102">
                  <c:v>0.840057071517745</c:v>
                </c:pt>
                <c:pt idx="47103">
                  <c:v>0.84007490636704096</c:v>
                </c:pt>
                <c:pt idx="47104">
                  <c:v>0.84009274121633604</c:v>
                </c:pt>
                <c:pt idx="47105">
                  <c:v>0.840110576065632</c:v>
                </c:pt>
                <c:pt idx="47106">
                  <c:v>0.84012841091492696</c:v>
                </c:pt>
                <c:pt idx="47107">
                  <c:v>0.84014624576422303</c:v>
                </c:pt>
                <c:pt idx="47108">
                  <c:v>0.84016408061351799</c:v>
                </c:pt>
                <c:pt idx="47109">
                  <c:v>0.84018191546281396</c:v>
                </c:pt>
                <c:pt idx="47110">
                  <c:v>0.84019975031210903</c:v>
                </c:pt>
                <c:pt idx="47111">
                  <c:v>0.84021758516140499</c:v>
                </c:pt>
                <c:pt idx="47112">
                  <c:v>0.84023542001070095</c:v>
                </c:pt>
                <c:pt idx="47113">
                  <c:v>0.84025325485999602</c:v>
                </c:pt>
                <c:pt idx="47114">
                  <c:v>0.84027108970929199</c:v>
                </c:pt>
                <c:pt idx="47115">
                  <c:v>0.84028892455858695</c:v>
                </c:pt>
                <c:pt idx="47116">
                  <c:v>0.84030675940788302</c:v>
                </c:pt>
                <c:pt idx="47117">
                  <c:v>0.84032459425717798</c:v>
                </c:pt>
                <c:pt idx="47118">
                  <c:v>0.84034242910647405</c:v>
                </c:pt>
                <c:pt idx="47119">
                  <c:v>0.84036026395576902</c:v>
                </c:pt>
                <c:pt idx="47120">
                  <c:v>0.84037809880506498</c:v>
                </c:pt>
                <c:pt idx="47121">
                  <c:v>0.84039593365436005</c:v>
                </c:pt>
                <c:pt idx="47122">
                  <c:v>0.84041376850365601</c:v>
                </c:pt>
                <c:pt idx="47123">
                  <c:v>0.84043160335295097</c:v>
                </c:pt>
                <c:pt idx="47124">
                  <c:v>0.84044943820224705</c:v>
                </c:pt>
                <c:pt idx="47125">
                  <c:v>0.84046727305154201</c:v>
                </c:pt>
                <c:pt idx="47126">
                  <c:v>0.84048510790083797</c:v>
                </c:pt>
                <c:pt idx="47127">
                  <c:v>0.84050294275013304</c:v>
                </c:pt>
                <c:pt idx="47128">
                  <c:v>0.840520777599429</c:v>
                </c:pt>
                <c:pt idx="47129">
                  <c:v>0.84053861244872397</c:v>
                </c:pt>
                <c:pt idx="47130">
                  <c:v>0.84055644729802004</c:v>
                </c:pt>
                <c:pt idx="47131">
                  <c:v>0.840574282147315</c:v>
                </c:pt>
                <c:pt idx="47132">
                  <c:v>0.84059211699661096</c:v>
                </c:pt>
                <c:pt idx="47133">
                  <c:v>0.84060995184590603</c:v>
                </c:pt>
                <c:pt idx="47134">
                  <c:v>0.840627786695202</c:v>
                </c:pt>
                <c:pt idx="47135">
                  <c:v>0.84064562154449796</c:v>
                </c:pt>
                <c:pt idx="47136">
                  <c:v>0.84066345639379303</c:v>
                </c:pt>
                <c:pt idx="47137">
                  <c:v>0.84068129124308899</c:v>
                </c:pt>
                <c:pt idx="47138">
                  <c:v>0.84069912609238395</c:v>
                </c:pt>
                <c:pt idx="47139">
                  <c:v>0.84071696094168002</c:v>
                </c:pt>
                <c:pt idx="47140">
                  <c:v>0.84073479579097499</c:v>
                </c:pt>
                <c:pt idx="47141">
                  <c:v>0.84075263064027095</c:v>
                </c:pt>
                <c:pt idx="47142">
                  <c:v>0.84077046548956602</c:v>
                </c:pt>
                <c:pt idx="47143">
                  <c:v>0.84078830033886198</c:v>
                </c:pt>
                <c:pt idx="47144">
                  <c:v>0.84080613518815694</c:v>
                </c:pt>
                <c:pt idx="47145">
                  <c:v>0.84082397003745302</c:v>
                </c:pt>
                <c:pt idx="47146">
                  <c:v>0.84084180488674798</c:v>
                </c:pt>
                <c:pt idx="47147">
                  <c:v>0.84085963973604405</c:v>
                </c:pt>
                <c:pt idx="47148">
                  <c:v>0.84087747458533901</c:v>
                </c:pt>
                <c:pt idx="47149">
                  <c:v>0.84089530943463497</c:v>
                </c:pt>
                <c:pt idx="47150">
                  <c:v>0.84091314428393005</c:v>
                </c:pt>
                <c:pt idx="47151">
                  <c:v>0.84093097913322601</c:v>
                </c:pt>
                <c:pt idx="47152">
                  <c:v>0.84094881398252097</c:v>
                </c:pt>
                <c:pt idx="47153">
                  <c:v>0.84096664883181704</c:v>
                </c:pt>
                <c:pt idx="47154">
                  <c:v>0.84098448368111201</c:v>
                </c:pt>
                <c:pt idx="47155">
                  <c:v>0.84100231853040797</c:v>
                </c:pt>
                <c:pt idx="47156">
                  <c:v>0.84102015337970304</c:v>
                </c:pt>
                <c:pt idx="47157">
                  <c:v>0.841037988228999</c:v>
                </c:pt>
                <c:pt idx="47158">
                  <c:v>0.84105582307829496</c:v>
                </c:pt>
                <c:pt idx="47159">
                  <c:v>0.84107365792759003</c:v>
                </c:pt>
                <c:pt idx="47160">
                  <c:v>0.841091492776886</c:v>
                </c:pt>
                <c:pt idx="47161">
                  <c:v>0.84110932762618096</c:v>
                </c:pt>
                <c:pt idx="47162">
                  <c:v>0.84112716247547703</c:v>
                </c:pt>
                <c:pt idx="47163">
                  <c:v>0.84114499732477199</c:v>
                </c:pt>
                <c:pt idx="47164">
                  <c:v>0.84116283217406795</c:v>
                </c:pt>
                <c:pt idx="47165">
                  <c:v>0.84118066702336303</c:v>
                </c:pt>
                <c:pt idx="47166">
                  <c:v>0.84119850187265899</c:v>
                </c:pt>
                <c:pt idx="47167">
                  <c:v>0.84121633672195395</c:v>
                </c:pt>
                <c:pt idx="47168">
                  <c:v>0.84123417157125002</c:v>
                </c:pt>
                <c:pt idx="47169">
                  <c:v>0.84125200642054498</c:v>
                </c:pt>
                <c:pt idx="47170">
                  <c:v>0.84126984126984095</c:v>
                </c:pt>
                <c:pt idx="47171">
                  <c:v>0.84128767611913602</c:v>
                </c:pt>
                <c:pt idx="47172">
                  <c:v>0.84130551096843198</c:v>
                </c:pt>
                <c:pt idx="47173">
                  <c:v>0.84132334581772705</c:v>
                </c:pt>
                <c:pt idx="47174">
                  <c:v>0.84134118066702301</c:v>
                </c:pt>
                <c:pt idx="47175">
                  <c:v>0.84135901551631798</c:v>
                </c:pt>
                <c:pt idx="47176">
                  <c:v>0.84137685036561405</c:v>
                </c:pt>
                <c:pt idx="47177">
                  <c:v>0.84139468521490901</c:v>
                </c:pt>
                <c:pt idx="47178">
                  <c:v>0.84141252006420497</c:v>
                </c:pt>
                <c:pt idx="47179">
                  <c:v>0.84143035491350004</c:v>
                </c:pt>
                <c:pt idx="47180">
                  <c:v>0.84144818976279601</c:v>
                </c:pt>
                <c:pt idx="47181">
                  <c:v>0.84146602461209197</c:v>
                </c:pt>
                <c:pt idx="47182">
                  <c:v>0.84148385946138704</c:v>
                </c:pt>
                <c:pt idx="47183">
                  <c:v>0.841501694310683</c:v>
                </c:pt>
                <c:pt idx="47184">
                  <c:v>0.84151952915997796</c:v>
                </c:pt>
                <c:pt idx="47185">
                  <c:v>0.84153736400927404</c:v>
                </c:pt>
                <c:pt idx="47186">
                  <c:v>0.841555198858569</c:v>
                </c:pt>
                <c:pt idx="47187">
                  <c:v>0.84157303370786496</c:v>
                </c:pt>
                <c:pt idx="47188">
                  <c:v>0.84159086855716003</c:v>
                </c:pt>
                <c:pt idx="47189">
                  <c:v>0.84160870340645599</c:v>
                </c:pt>
                <c:pt idx="47190">
                  <c:v>0.84162653825575096</c:v>
                </c:pt>
                <c:pt idx="47191">
                  <c:v>0.84164437310504703</c:v>
                </c:pt>
                <c:pt idx="47192">
                  <c:v>0.84166220795434199</c:v>
                </c:pt>
                <c:pt idx="47193">
                  <c:v>0.84168004280363795</c:v>
                </c:pt>
                <c:pt idx="47194">
                  <c:v>0.84169787765293302</c:v>
                </c:pt>
                <c:pt idx="47195">
                  <c:v>0.84171571250222899</c:v>
                </c:pt>
                <c:pt idx="47196">
                  <c:v>0.84173354735152395</c:v>
                </c:pt>
                <c:pt idx="47197">
                  <c:v>0.84175138220082002</c:v>
                </c:pt>
                <c:pt idx="47198">
                  <c:v>0.84176921705011598</c:v>
                </c:pt>
                <c:pt idx="47199">
                  <c:v>0.84178705189941105</c:v>
                </c:pt>
                <c:pt idx="47200">
                  <c:v>0.84180488674870702</c:v>
                </c:pt>
                <c:pt idx="47201">
                  <c:v>0.84182272159800198</c:v>
                </c:pt>
                <c:pt idx="47202">
                  <c:v>0.84184055644729805</c:v>
                </c:pt>
                <c:pt idx="47203">
                  <c:v>0.84185839129659301</c:v>
                </c:pt>
                <c:pt idx="47204">
                  <c:v>0.84187622614588897</c:v>
                </c:pt>
                <c:pt idx="47205">
                  <c:v>0.84189406099518405</c:v>
                </c:pt>
                <c:pt idx="47206">
                  <c:v>0.84191189584448001</c:v>
                </c:pt>
                <c:pt idx="47207">
                  <c:v>0.84192973069377497</c:v>
                </c:pt>
                <c:pt idx="47208">
                  <c:v>0.84194756554307104</c:v>
                </c:pt>
                <c:pt idx="47209">
                  <c:v>0.841965400392366</c:v>
                </c:pt>
                <c:pt idx="47210">
                  <c:v>0.84198323524166196</c:v>
                </c:pt>
                <c:pt idx="47211">
                  <c:v>0.84200107009095704</c:v>
                </c:pt>
                <c:pt idx="47212">
                  <c:v>0.842018904940253</c:v>
                </c:pt>
                <c:pt idx="47213">
                  <c:v>0.84203673978954796</c:v>
                </c:pt>
                <c:pt idx="47214">
                  <c:v>0.84205457463884403</c:v>
                </c:pt>
                <c:pt idx="47215">
                  <c:v>0.842072409488139</c:v>
                </c:pt>
                <c:pt idx="47216">
                  <c:v>0.84209024433743496</c:v>
                </c:pt>
                <c:pt idx="47217">
                  <c:v>0.84210807918673003</c:v>
                </c:pt>
                <c:pt idx="47218">
                  <c:v>0.84212591403602599</c:v>
                </c:pt>
                <c:pt idx="47219">
                  <c:v>0.84214374888532195</c:v>
                </c:pt>
                <c:pt idx="47220">
                  <c:v>0.84216158373461703</c:v>
                </c:pt>
                <c:pt idx="47221">
                  <c:v>0.84217941858391299</c:v>
                </c:pt>
                <c:pt idx="47222">
                  <c:v>0.84219725343320795</c:v>
                </c:pt>
                <c:pt idx="47223">
                  <c:v>0.84221508828250402</c:v>
                </c:pt>
                <c:pt idx="47224">
                  <c:v>0.84223292313179898</c:v>
                </c:pt>
                <c:pt idx="47225">
                  <c:v>0.84225075798109506</c:v>
                </c:pt>
                <c:pt idx="47226">
                  <c:v>0.84226859283039002</c:v>
                </c:pt>
                <c:pt idx="47227">
                  <c:v>0.84228642767968598</c:v>
                </c:pt>
                <c:pt idx="47228">
                  <c:v>0.84230426252898105</c:v>
                </c:pt>
                <c:pt idx="47229">
                  <c:v>0.84232209737827701</c:v>
                </c:pt>
                <c:pt idx="47230">
                  <c:v>0.84233993222757197</c:v>
                </c:pt>
                <c:pt idx="47231">
                  <c:v>0.84235776707686805</c:v>
                </c:pt>
                <c:pt idx="47232">
                  <c:v>0.84237560192616301</c:v>
                </c:pt>
                <c:pt idx="47233">
                  <c:v>0.84239343677545897</c:v>
                </c:pt>
                <c:pt idx="47234">
                  <c:v>0.84241127162475404</c:v>
                </c:pt>
                <c:pt idx="47235">
                  <c:v>0.84242910647405</c:v>
                </c:pt>
                <c:pt idx="47236">
                  <c:v>0.84244694132334497</c:v>
                </c:pt>
                <c:pt idx="47237">
                  <c:v>0.84246477617264104</c:v>
                </c:pt>
                <c:pt idx="47238">
                  <c:v>0.842482611021936</c:v>
                </c:pt>
                <c:pt idx="47239">
                  <c:v>0.84250044587123196</c:v>
                </c:pt>
                <c:pt idx="47240">
                  <c:v>0.84251828072052704</c:v>
                </c:pt>
                <c:pt idx="47241">
                  <c:v>0.842536115569823</c:v>
                </c:pt>
                <c:pt idx="47242">
                  <c:v>0.84255395041911896</c:v>
                </c:pt>
                <c:pt idx="47243">
                  <c:v>0.84257178526841403</c:v>
                </c:pt>
                <c:pt idx="47244">
                  <c:v>0.84258962011770999</c:v>
                </c:pt>
                <c:pt idx="47245">
                  <c:v>0.84260745496700495</c:v>
                </c:pt>
                <c:pt idx="47246">
                  <c:v>0.84262528981630103</c:v>
                </c:pt>
                <c:pt idx="47247">
                  <c:v>0.84264312466559599</c:v>
                </c:pt>
                <c:pt idx="47248">
                  <c:v>0.84266095951489195</c:v>
                </c:pt>
                <c:pt idx="47249">
                  <c:v>0.84267879436418702</c:v>
                </c:pt>
                <c:pt idx="47250">
                  <c:v>0.84269662921348298</c:v>
                </c:pt>
                <c:pt idx="47251">
                  <c:v>0.84271446406277795</c:v>
                </c:pt>
                <c:pt idx="47252">
                  <c:v>0.84273229891207402</c:v>
                </c:pt>
                <c:pt idx="47253">
                  <c:v>0.84275013376136898</c:v>
                </c:pt>
                <c:pt idx="47254">
                  <c:v>0.84276796861066505</c:v>
                </c:pt>
                <c:pt idx="47255">
                  <c:v>0.84278580345996001</c:v>
                </c:pt>
                <c:pt idx="47256">
                  <c:v>0.84280363830925598</c:v>
                </c:pt>
                <c:pt idx="47257">
                  <c:v>0.84282147315855105</c:v>
                </c:pt>
                <c:pt idx="47258">
                  <c:v>0.84283930800784701</c:v>
                </c:pt>
                <c:pt idx="47259">
                  <c:v>0.84285714285714197</c:v>
                </c:pt>
                <c:pt idx="47260">
                  <c:v>0.84287497770643804</c:v>
                </c:pt>
                <c:pt idx="47261">
                  <c:v>0.84289281255573301</c:v>
                </c:pt>
                <c:pt idx="47262">
                  <c:v>0.84291064740502897</c:v>
                </c:pt>
                <c:pt idx="47263">
                  <c:v>0.84292848225432404</c:v>
                </c:pt>
                <c:pt idx="47264">
                  <c:v>0.84294631710362</c:v>
                </c:pt>
                <c:pt idx="47265">
                  <c:v>0.84296415195291596</c:v>
                </c:pt>
                <c:pt idx="47266">
                  <c:v>0.84298198680221104</c:v>
                </c:pt>
                <c:pt idx="47267">
                  <c:v>0.842999821651507</c:v>
                </c:pt>
                <c:pt idx="47268">
                  <c:v>0.84301765650080196</c:v>
                </c:pt>
                <c:pt idx="47269">
                  <c:v>0.84303549135009803</c:v>
                </c:pt>
                <c:pt idx="47270">
                  <c:v>0.84305332619939299</c:v>
                </c:pt>
                <c:pt idx="47271">
                  <c:v>0.84307116104868896</c:v>
                </c:pt>
                <c:pt idx="47272">
                  <c:v>0.84308899589798403</c:v>
                </c:pt>
                <c:pt idx="47273">
                  <c:v>0.84310683074727999</c:v>
                </c:pt>
                <c:pt idx="47274">
                  <c:v>0.84312466559657495</c:v>
                </c:pt>
                <c:pt idx="47275">
                  <c:v>0.84314250044587102</c:v>
                </c:pt>
                <c:pt idx="47276">
                  <c:v>0.84316033529516599</c:v>
                </c:pt>
                <c:pt idx="47277">
                  <c:v>0.84317817014446195</c:v>
                </c:pt>
                <c:pt idx="47278">
                  <c:v>0.84319600499375702</c:v>
                </c:pt>
                <c:pt idx="47279">
                  <c:v>0.84321383984305298</c:v>
                </c:pt>
                <c:pt idx="47280">
                  <c:v>0.84323167469234805</c:v>
                </c:pt>
                <c:pt idx="47281">
                  <c:v>0.84324950954164402</c:v>
                </c:pt>
                <c:pt idx="47282">
                  <c:v>0.84326734439093898</c:v>
                </c:pt>
                <c:pt idx="47283">
                  <c:v>0.84328517924023505</c:v>
                </c:pt>
                <c:pt idx="47284">
                  <c:v>0.84330301408953001</c:v>
                </c:pt>
                <c:pt idx="47285">
                  <c:v>0.84332084893882597</c:v>
                </c:pt>
                <c:pt idx="47286">
                  <c:v>0.84333868378812205</c:v>
                </c:pt>
                <c:pt idx="47287">
                  <c:v>0.84335651863741701</c:v>
                </c:pt>
                <c:pt idx="47288">
                  <c:v>0.84337435348671297</c:v>
                </c:pt>
                <c:pt idx="47289">
                  <c:v>0.84339218833600804</c:v>
                </c:pt>
                <c:pt idx="47290">
                  <c:v>0.843410023185304</c:v>
                </c:pt>
                <c:pt idx="47291">
                  <c:v>0.84342785803459897</c:v>
                </c:pt>
                <c:pt idx="47292">
                  <c:v>0.84344569288389504</c:v>
                </c:pt>
                <c:pt idx="47293">
                  <c:v>0.84346352773319</c:v>
                </c:pt>
                <c:pt idx="47294">
                  <c:v>0.84348136258248596</c:v>
                </c:pt>
                <c:pt idx="47295">
                  <c:v>0.84349919743178103</c:v>
                </c:pt>
                <c:pt idx="47296">
                  <c:v>0.84351703228107699</c:v>
                </c:pt>
                <c:pt idx="47297">
                  <c:v>0.84353486713037196</c:v>
                </c:pt>
                <c:pt idx="47298">
                  <c:v>0.84355270197966803</c:v>
                </c:pt>
                <c:pt idx="47299">
                  <c:v>0.84357053682896299</c:v>
                </c:pt>
                <c:pt idx="47300">
                  <c:v>0.84358837167825895</c:v>
                </c:pt>
                <c:pt idx="47301">
                  <c:v>0.84360620652755403</c:v>
                </c:pt>
                <c:pt idx="47302">
                  <c:v>0.84362404137684999</c:v>
                </c:pt>
                <c:pt idx="47303">
                  <c:v>0.84364187622614495</c:v>
                </c:pt>
                <c:pt idx="47304">
                  <c:v>0.84365971107544102</c:v>
                </c:pt>
                <c:pt idx="47305">
                  <c:v>0.84367754592473698</c:v>
                </c:pt>
                <c:pt idx="47306">
                  <c:v>0.84369538077403206</c:v>
                </c:pt>
                <c:pt idx="47307">
                  <c:v>0.84371321562332802</c:v>
                </c:pt>
                <c:pt idx="47308">
                  <c:v>0.84373105047262298</c:v>
                </c:pt>
                <c:pt idx="47309">
                  <c:v>0.84374888532191905</c:v>
                </c:pt>
                <c:pt idx="47310">
                  <c:v>0.84376672017121401</c:v>
                </c:pt>
                <c:pt idx="47311">
                  <c:v>0.84378455502050997</c:v>
                </c:pt>
                <c:pt idx="47312">
                  <c:v>0.84380238986980505</c:v>
                </c:pt>
                <c:pt idx="47313">
                  <c:v>0.84382022471910101</c:v>
                </c:pt>
                <c:pt idx="47314">
                  <c:v>0.84383805956839597</c:v>
                </c:pt>
                <c:pt idx="47315">
                  <c:v>0.84385589441769204</c:v>
                </c:pt>
                <c:pt idx="47316">
                  <c:v>0.843873729266987</c:v>
                </c:pt>
                <c:pt idx="47317">
                  <c:v>0.84389156411628297</c:v>
                </c:pt>
                <c:pt idx="47318">
                  <c:v>0.84390939896557804</c:v>
                </c:pt>
                <c:pt idx="47319">
                  <c:v>0.843927233814874</c:v>
                </c:pt>
                <c:pt idx="47320">
                  <c:v>0.84394506866416896</c:v>
                </c:pt>
                <c:pt idx="47321">
                  <c:v>0.84396290351346503</c:v>
                </c:pt>
                <c:pt idx="47322">
                  <c:v>0.84398073836276</c:v>
                </c:pt>
                <c:pt idx="47323">
                  <c:v>0.84399857321205596</c:v>
                </c:pt>
                <c:pt idx="47324">
                  <c:v>0.84401640806135103</c:v>
                </c:pt>
                <c:pt idx="47325">
                  <c:v>0.84403424291064699</c:v>
                </c:pt>
                <c:pt idx="47326">
                  <c:v>0.84405207775994295</c:v>
                </c:pt>
                <c:pt idx="47327">
                  <c:v>0.84406991260923803</c:v>
                </c:pt>
                <c:pt idx="47328">
                  <c:v>0.84408774745853399</c:v>
                </c:pt>
                <c:pt idx="47329">
                  <c:v>0.84410558230782895</c:v>
                </c:pt>
                <c:pt idx="47330">
                  <c:v>0.84412341715712502</c:v>
                </c:pt>
                <c:pt idx="47331">
                  <c:v>0.84414125200641998</c:v>
                </c:pt>
                <c:pt idx="47332">
                  <c:v>0.84415908685571595</c:v>
                </c:pt>
                <c:pt idx="47333">
                  <c:v>0.84417692170501102</c:v>
                </c:pt>
                <c:pt idx="47334">
                  <c:v>0.84419475655430698</c:v>
                </c:pt>
                <c:pt idx="47335">
                  <c:v>0.84421259140360205</c:v>
                </c:pt>
                <c:pt idx="47336">
                  <c:v>0.84423042625289801</c:v>
                </c:pt>
                <c:pt idx="47337">
                  <c:v>0.84424826110219298</c:v>
                </c:pt>
                <c:pt idx="47338">
                  <c:v>0.84426609595148905</c:v>
                </c:pt>
                <c:pt idx="47339">
                  <c:v>0.84428393080078401</c:v>
                </c:pt>
                <c:pt idx="47340">
                  <c:v>0.84430176565007997</c:v>
                </c:pt>
                <c:pt idx="47341">
                  <c:v>0.84431960049937504</c:v>
                </c:pt>
                <c:pt idx="47342">
                  <c:v>0.84433743534867101</c:v>
                </c:pt>
                <c:pt idx="47343">
                  <c:v>0.84435527019796597</c:v>
                </c:pt>
                <c:pt idx="47344">
                  <c:v>0.84437310504726204</c:v>
                </c:pt>
                <c:pt idx="47345">
                  <c:v>0.844390939896557</c:v>
                </c:pt>
                <c:pt idx="47346">
                  <c:v>0.84440877474585296</c:v>
                </c:pt>
                <c:pt idx="47347">
                  <c:v>0.84442660959514804</c:v>
                </c:pt>
                <c:pt idx="47348">
                  <c:v>0.844444444444444</c:v>
                </c:pt>
                <c:pt idx="47349">
                  <c:v>0.84446227929373996</c:v>
                </c:pt>
                <c:pt idx="47350">
                  <c:v>0.84448011414303503</c:v>
                </c:pt>
                <c:pt idx="47351">
                  <c:v>0.84449794899233099</c:v>
                </c:pt>
                <c:pt idx="47352">
                  <c:v>0.84451578384162596</c:v>
                </c:pt>
                <c:pt idx="47353">
                  <c:v>0.84453361869092203</c:v>
                </c:pt>
                <c:pt idx="47354">
                  <c:v>0.84455145354021699</c:v>
                </c:pt>
                <c:pt idx="47355">
                  <c:v>0.84456928838951295</c:v>
                </c:pt>
                <c:pt idx="47356">
                  <c:v>0.84458712323880802</c:v>
                </c:pt>
                <c:pt idx="47357">
                  <c:v>0.84460495808810399</c:v>
                </c:pt>
                <c:pt idx="47358">
                  <c:v>0.84462279293739895</c:v>
                </c:pt>
                <c:pt idx="47359">
                  <c:v>0.84464062778669502</c:v>
                </c:pt>
                <c:pt idx="47360">
                  <c:v>0.84465846263598998</c:v>
                </c:pt>
                <c:pt idx="47361">
                  <c:v>0.84467629748528605</c:v>
                </c:pt>
                <c:pt idx="47362">
                  <c:v>0.84469413233458102</c:v>
                </c:pt>
                <c:pt idx="47363">
                  <c:v>0.84471196718387698</c:v>
                </c:pt>
                <c:pt idx="47364">
                  <c:v>0.84472980203317205</c:v>
                </c:pt>
                <c:pt idx="47365">
                  <c:v>0.84474763688246801</c:v>
                </c:pt>
                <c:pt idx="47366">
                  <c:v>0.84476547173176297</c:v>
                </c:pt>
                <c:pt idx="47367">
                  <c:v>0.84478330658105905</c:v>
                </c:pt>
                <c:pt idx="47368">
                  <c:v>0.84480114143035401</c:v>
                </c:pt>
                <c:pt idx="47369">
                  <c:v>0.84481897627964997</c:v>
                </c:pt>
                <c:pt idx="47370">
                  <c:v>0.84483681112894504</c:v>
                </c:pt>
                <c:pt idx="47371">
                  <c:v>0.844854645978241</c:v>
                </c:pt>
                <c:pt idx="47372">
                  <c:v>0.84487248082753696</c:v>
                </c:pt>
                <c:pt idx="47373">
                  <c:v>0.84489031567683204</c:v>
                </c:pt>
                <c:pt idx="47374">
                  <c:v>0.844908150526128</c:v>
                </c:pt>
                <c:pt idx="47375">
                  <c:v>0.84492598537542296</c:v>
                </c:pt>
                <c:pt idx="47376">
                  <c:v>0.84494382022471903</c:v>
                </c:pt>
                <c:pt idx="47377">
                  <c:v>0.844961655074014</c:v>
                </c:pt>
                <c:pt idx="47378">
                  <c:v>0.84497948992330996</c:v>
                </c:pt>
                <c:pt idx="47379">
                  <c:v>0.84499732477260503</c:v>
                </c:pt>
                <c:pt idx="47380">
                  <c:v>0.84501515962190099</c:v>
                </c:pt>
                <c:pt idx="47381">
                  <c:v>0.84503299447119595</c:v>
                </c:pt>
                <c:pt idx="47382">
                  <c:v>0.84505082932049203</c:v>
                </c:pt>
                <c:pt idx="47383">
                  <c:v>0.84506866416978699</c:v>
                </c:pt>
                <c:pt idx="47384">
                  <c:v>0.84508649901908295</c:v>
                </c:pt>
                <c:pt idx="47385">
                  <c:v>0.84510433386837802</c:v>
                </c:pt>
                <c:pt idx="47386">
                  <c:v>0.84512216871767398</c:v>
                </c:pt>
                <c:pt idx="47387">
                  <c:v>0.84514000356696894</c:v>
                </c:pt>
                <c:pt idx="47388">
                  <c:v>0.84515783841626502</c:v>
                </c:pt>
                <c:pt idx="47389">
                  <c:v>0.84517567326555998</c:v>
                </c:pt>
                <c:pt idx="47390">
                  <c:v>0.84519350811485605</c:v>
                </c:pt>
                <c:pt idx="47391">
                  <c:v>0.84521134296415101</c:v>
                </c:pt>
                <c:pt idx="47392">
                  <c:v>0.84522917781344697</c:v>
                </c:pt>
                <c:pt idx="47393">
                  <c:v>0.84524701266274305</c:v>
                </c:pt>
                <c:pt idx="47394">
                  <c:v>0.84526484751203801</c:v>
                </c:pt>
                <c:pt idx="47395">
                  <c:v>0.84528268236133397</c:v>
                </c:pt>
                <c:pt idx="47396">
                  <c:v>0.84530051721062904</c:v>
                </c:pt>
                <c:pt idx="47397">
                  <c:v>0.845318352059925</c:v>
                </c:pt>
                <c:pt idx="47398">
                  <c:v>0.84533618690921997</c:v>
                </c:pt>
                <c:pt idx="47399">
                  <c:v>0.84535402175851604</c:v>
                </c:pt>
                <c:pt idx="47400">
                  <c:v>0.845371856607811</c:v>
                </c:pt>
                <c:pt idx="47401">
                  <c:v>0.84538969145710696</c:v>
                </c:pt>
                <c:pt idx="47402">
                  <c:v>0.84540752630640204</c:v>
                </c:pt>
                <c:pt idx="47403">
                  <c:v>0.845425361155698</c:v>
                </c:pt>
                <c:pt idx="47404">
                  <c:v>0.84544319600499296</c:v>
                </c:pt>
                <c:pt idx="47405">
                  <c:v>0.84546103085428903</c:v>
                </c:pt>
                <c:pt idx="47406">
                  <c:v>0.84547886570358399</c:v>
                </c:pt>
                <c:pt idx="47407">
                  <c:v>0.84549670055287995</c:v>
                </c:pt>
                <c:pt idx="47408">
                  <c:v>0.84551453540217503</c:v>
                </c:pt>
                <c:pt idx="47409">
                  <c:v>0.84553237025147099</c:v>
                </c:pt>
                <c:pt idx="47410">
                  <c:v>0.84555020510076695</c:v>
                </c:pt>
                <c:pt idx="47411">
                  <c:v>0.84556803995006202</c:v>
                </c:pt>
                <c:pt idx="47412">
                  <c:v>0.84558587479935798</c:v>
                </c:pt>
                <c:pt idx="47413">
                  <c:v>0.84560370964865295</c:v>
                </c:pt>
                <c:pt idx="47414">
                  <c:v>0.84562154449794902</c:v>
                </c:pt>
                <c:pt idx="47415">
                  <c:v>0.84563937934724398</c:v>
                </c:pt>
                <c:pt idx="47416">
                  <c:v>0.84565721419654005</c:v>
                </c:pt>
                <c:pt idx="47417">
                  <c:v>0.84567504904583501</c:v>
                </c:pt>
                <c:pt idx="47418">
                  <c:v>0.84569288389513098</c:v>
                </c:pt>
                <c:pt idx="47419">
                  <c:v>0.84571071874442605</c:v>
                </c:pt>
                <c:pt idx="47420">
                  <c:v>0.84572855359372201</c:v>
                </c:pt>
                <c:pt idx="47421">
                  <c:v>0.84574638844301697</c:v>
                </c:pt>
                <c:pt idx="47422">
                  <c:v>0.84576422329231304</c:v>
                </c:pt>
                <c:pt idx="47423">
                  <c:v>0.84578205814160801</c:v>
                </c:pt>
                <c:pt idx="47424">
                  <c:v>0.84579989299090397</c:v>
                </c:pt>
                <c:pt idx="47425">
                  <c:v>0.84581772784019904</c:v>
                </c:pt>
                <c:pt idx="47426">
                  <c:v>0.845835562689495</c:v>
                </c:pt>
                <c:pt idx="47427">
                  <c:v>0.84585339753878996</c:v>
                </c:pt>
                <c:pt idx="47428">
                  <c:v>0.84587123238808604</c:v>
                </c:pt>
                <c:pt idx="47429">
                  <c:v>0.845889067237381</c:v>
                </c:pt>
                <c:pt idx="47430">
                  <c:v>0.84590690208667696</c:v>
                </c:pt>
                <c:pt idx="47431">
                  <c:v>0.84592473693597203</c:v>
                </c:pt>
                <c:pt idx="47432">
                  <c:v>0.84594257178526799</c:v>
                </c:pt>
                <c:pt idx="47433">
                  <c:v>0.84596040663456396</c:v>
                </c:pt>
                <c:pt idx="47434">
                  <c:v>0.84597824148385903</c:v>
                </c:pt>
                <c:pt idx="47435">
                  <c:v>0.84599607633315499</c:v>
                </c:pt>
                <c:pt idx="47436">
                  <c:v>0.84601391118244995</c:v>
                </c:pt>
                <c:pt idx="47437">
                  <c:v>0.84603174603174602</c:v>
                </c:pt>
                <c:pt idx="47438">
                  <c:v>0.84604958088104099</c:v>
                </c:pt>
                <c:pt idx="47439">
                  <c:v>0.84606741573033695</c:v>
                </c:pt>
                <c:pt idx="47440">
                  <c:v>0.84608525057963202</c:v>
                </c:pt>
                <c:pt idx="47441">
                  <c:v>0.84610308542892798</c:v>
                </c:pt>
                <c:pt idx="47442">
                  <c:v>0.84612092027822305</c:v>
                </c:pt>
                <c:pt idx="47443">
                  <c:v>0.84613875512751902</c:v>
                </c:pt>
                <c:pt idx="47444">
                  <c:v>0.84615658997681398</c:v>
                </c:pt>
                <c:pt idx="47445">
                  <c:v>0.84617442482611005</c:v>
                </c:pt>
                <c:pt idx="47446">
                  <c:v>0.84619225967540501</c:v>
                </c:pt>
                <c:pt idx="47447">
                  <c:v>0.84621009452470097</c:v>
                </c:pt>
                <c:pt idx="47448">
                  <c:v>0.84622792937399605</c:v>
                </c:pt>
                <c:pt idx="47449">
                  <c:v>0.84624576422329201</c:v>
                </c:pt>
                <c:pt idx="47450">
                  <c:v>0.84626359907258697</c:v>
                </c:pt>
                <c:pt idx="47451">
                  <c:v>0.84628143392188304</c:v>
                </c:pt>
                <c:pt idx="47452">
                  <c:v>0.846299268771178</c:v>
                </c:pt>
                <c:pt idx="47453">
                  <c:v>0.84631710362047397</c:v>
                </c:pt>
                <c:pt idx="47454">
                  <c:v>0.84633493846976904</c:v>
                </c:pt>
                <c:pt idx="47455">
                  <c:v>0.846352773319065</c:v>
                </c:pt>
                <c:pt idx="47456">
                  <c:v>0.84637060816836096</c:v>
                </c:pt>
                <c:pt idx="47457">
                  <c:v>0.84638844301765603</c:v>
                </c:pt>
                <c:pt idx="47458">
                  <c:v>0.84640627786695199</c:v>
                </c:pt>
                <c:pt idx="47459">
                  <c:v>0.84642411271624696</c:v>
                </c:pt>
                <c:pt idx="47460">
                  <c:v>0.84644194756554303</c:v>
                </c:pt>
                <c:pt idx="47461">
                  <c:v>0.84645978241483799</c:v>
                </c:pt>
                <c:pt idx="47462">
                  <c:v>0.84647761726413395</c:v>
                </c:pt>
                <c:pt idx="47463">
                  <c:v>0.84649545211342903</c:v>
                </c:pt>
                <c:pt idx="47464">
                  <c:v>0.84651328696272499</c:v>
                </c:pt>
                <c:pt idx="47465">
                  <c:v>0.84653112181201995</c:v>
                </c:pt>
                <c:pt idx="47466">
                  <c:v>0.84654895666131602</c:v>
                </c:pt>
                <c:pt idx="47467">
                  <c:v>0.84656679151061098</c:v>
                </c:pt>
                <c:pt idx="47468">
                  <c:v>0.84658462635990706</c:v>
                </c:pt>
                <c:pt idx="47469">
                  <c:v>0.84660246120920202</c:v>
                </c:pt>
                <c:pt idx="47470">
                  <c:v>0.84662029605849798</c:v>
                </c:pt>
                <c:pt idx="47471">
                  <c:v>0.84663813090779305</c:v>
                </c:pt>
                <c:pt idx="47472">
                  <c:v>0.84665596575708901</c:v>
                </c:pt>
                <c:pt idx="47473">
                  <c:v>0.84667380060638397</c:v>
                </c:pt>
                <c:pt idx="47474">
                  <c:v>0.84669163545568005</c:v>
                </c:pt>
                <c:pt idx="47475">
                  <c:v>0.84670947030497501</c:v>
                </c:pt>
                <c:pt idx="47476">
                  <c:v>0.84672730515427097</c:v>
                </c:pt>
                <c:pt idx="47477">
                  <c:v>0.84674514000356604</c:v>
                </c:pt>
                <c:pt idx="47478">
                  <c:v>0.846762974852862</c:v>
                </c:pt>
                <c:pt idx="47479">
                  <c:v>0.84678080970215797</c:v>
                </c:pt>
                <c:pt idx="47480">
                  <c:v>0.84679864455145304</c:v>
                </c:pt>
                <c:pt idx="47481">
                  <c:v>0.846816479400749</c:v>
                </c:pt>
                <c:pt idx="47482">
                  <c:v>0.84683431425004396</c:v>
                </c:pt>
                <c:pt idx="47483">
                  <c:v>0.84685214909934003</c:v>
                </c:pt>
                <c:pt idx="47484">
                  <c:v>0.846869983948635</c:v>
                </c:pt>
                <c:pt idx="47485">
                  <c:v>0.84688781879793096</c:v>
                </c:pt>
                <c:pt idx="47486">
                  <c:v>0.84690565364722603</c:v>
                </c:pt>
                <c:pt idx="47487">
                  <c:v>0.84692348849652199</c:v>
                </c:pt>
                <c:pt idx="47488">
                  <c:v>0.84694132334581695</c:v>
                </c:pt>
                <c:pt idx="47489">
                  <c:v>0.84695915819511303</c:v>
                </c:pt>
                <c:pt idx="47490">
                  <c:v>0.84697699304440799</c:v>
                </c:pt>
                <c:pt idx="47491">
                  <c:v>0.84699482789370395</c:v>
                </c:pt>
                <c:pt idx="47492">
                  <c:v>0.84701266274299902</c:v>
                </c:pt>
                <c:pt idx="47493">
                  <c:v>0.84703049759229498</c:v>
                </c:pt>
                <c:pt idx="47494">
                  <c:v>0.84704833244158995</c:v>
                </c:pt>
                <c:pt idx="47495">
                  <c:v>0.84706616729088602</c:v>
                </c:pt>
                <c:pt idx="47496">
                  <c:v>0.84708400214018098</c:v>
                </c:pt>
                <c:pt idx="47497">
                  <c:v>0.84710183698947705</c:v>
                </c:pt>
                <c:pt idx="47498">
                  <c:v>0.84711967183877301</c:v>
                </c:pt>
                <c:pt idx="47499">
                  <c:v>0.84713750668806798</c:v>
                </c:pt>
                <c:pt idx="47500">
                  <c:v>0.84715534153736405</c:v>
                </c:pt>
                <c:pt idx="47501">
                  <c:v>0.84717317638665901</c:v>
                </c:pt>
                <c:pt idx="47502">
                  <c:v>0.84719101123595497</c:v>
                </c:pt>
                <c:pt idx="47503">
                  <c:v>0.84720884608525004</c:v>
                </c:pt>
                <c:pt idx="47504">
                  <c:v>0.84722668093454601</c:v>
                </c:pt>
                <c:pt idx="47505">
                  <c:v>0.84724451578384097</c:v>
                </c:pt>
                <c:pt idx="47506">
                  <c:v>0.84726235063313704</c:v>
                </c:pt>
                <c:pt idx="47507">
                  <c:v>0.847280185482432</c:v>
                </c:pt>
                <c:pt idx="47508">
                  <c:v>0.84729802033172796</c:v>
                </c:pt>
                <c:pt idx="47509">
                  <c:v>0.84731585518102304</c:v>
                </c:pt>
                <c:pt idx="47510">
                  <c:v>0.847333690030319</c:v>
                </c:pt>
                <c:pt idx="47511">
                  <c:v>0.84735152487961396</c:v>
                </c:pt>
                <c:pt idx="47512">
                  <c:v>0.84736935972891003</c:v>
                </c:pt>
                <c:pt idx="47513">
                  <c:v>0.84738719457820499</c:v>
                </c:pt>
                <c:pt idx="47514">
                  <c:v>0.84740502942750096</c:v>
                </c:pt>
                <c:pt idx="47515">
                  <c:v>0.84742286427679603</c:v>
                </c:pt>
                <c:pt idx="47516">
                  <c:v>0.84744069912609199</c:v>
                </c:pt>
                <c:pt idx="47517">
                  <c:v>0.84745853397538795</c:v>
                </c:pt>
                <c:pt idx="47518">
                  <c:v>0.84747636882468302</c:v>
                </c:pt>
                <c:pt idx="47519">
                  <c:v>0.84749420367397899</c:v>
                </c:pt>
                <c:pt idx="47520">
                  <c:v>0.84751203852327395</c:v>
                </c:pt>
                <c:pt idx="47521">
                  <c:v>0.84752987337257002</c:v>
                </c:pt>
                <c:pt idx="47522">
                  <c:v>0.84754770822186498</c:v>
                </c:pt>
                <c:pt idx="47523">
                  <c:v>0.84756554307116105</c:v>
                </c:pt>
                <c:pt idx="47524">
                  <c:v>0.84758337792045602</c:v>
                </c:pt>
                <c:pt idx="47525">
                  <c:v>0.84760121276975198</c:v>
                </c:pt>
                <c:pt idx="47526">
                  <c:v>0.84761904761904705</c:v>
                </c:pt>
                <c:pt idx="47527">
                  <c:v>0.84763688246834301</c:v>
                </c:pt>
                <c:pt idx="47528">
                  <c:v>0.84765471731763797</c:v>
                </c:pt>
                <c:pt idx="47529">
                  <c:v>0.84767255216693405</c:v>
                </c:pt>
                <c:pt idx="47530">
                  <c:v>0.84769038701622901</c:v>
                </c:pt>
                <c:pt idx="47531">
                  <c:v>0.84770822186552497</c:v>
                </c:pt>
                <c:pt idx="47532">
                  <c:v>0.84772605671482004</c:v>
                </c:pt>
                <c:pt idx="47533">
                  <c:v>0.847743891564116</c:v>
                </c:pt>
                <c:pt idx="47534">
                  <c:v>0.84776172641341097</c:v>
                </c:pt>
                <c:pt idx="47535">
                  <c:v>0.84777956126270704</c:v>
                </c:pt>
                <c:pt idx="47536">
                  <c:v>0.847797396112002</c:v>
                </c:pt>
                <c:pt idx="47537">
                  <c:v>0.84781523096129796</c:v>
                </c:pt>
                <c:pt idx="47538">
                  <c:v>0.84783306581059303</c:v>
                </c:pt>
                <c:pt idx="47539">
                  <c:v>0.847850900659889</c:v>
                </c:pt>
                <c:pt idx="47540">
                  <c:v>0.84786873550918496</c:v>
                </c:pt>
                <c:pt idx="47541">
                  <c:v>0.84788657035848003</c:v>
                </c:pt>
                <c:pt idx="47542">
                  <c:v>0.84790440520777599</c:v>
                </c:pt>
                <c:pt idx="47543">
                  <c:v>0.84792224005707095</c:v>
                </c:pt>
                <c:pt idx="47544">
                  <c:v>0.84794007490636703</c:v>
                </c:pt>
                <c:pt idx="47545">
                  <c:v>0.84795790975566199</c:v>
                </c:pt>
                <c:pt idx="47546">
                  <c:v>0.84797574460495795</c:v>
                </c:pt>
                <c:pt idx="47547">
                  <c:v>0.84799357945425302</c:v>
                </c:pt>
                <c:pt idx="47548">
                  <c:v>0.84801141430354898</c:v>
                </c:pt>
                <c:pt idx="47549">
                  <c:v>0.84802924915284394</c:v>
                </c:pt>
                <c:pt idx="47550">
                  <c:v>0.84804708400214002</c:v>
                </c:pt>
                <c:pt idx="47551">
                  <c:v>0.84806491885143498</c:v>
                </c:pt>
                <c:pt idx="47552">
                  <c:v>0.84808275370073105</c:v>
                </c:pt>
                <c:pt idx="47553">
                  <c:v>0.84810058855002601</c:v>
                </c:pt>
                <c:pt idx="47554">
                  <c:v>0.84811842339932197</c:v>
                </c:pt>
                <c:pt idx="47555">
                  <c:v>0.84813625824861705</c:v>
                </c:pt>
                <c:pt idx="47556">
                  <c:v>0.84815409309791301</c:v>
                </c:pt>
                <c:pt idx="47557">
                  <c:v>0.84817192794720797</c:v>
                </c:pt>
                <c:pt idx="47558">
                  <c:v>0.84818976279650404</c:v>
                </c:pt>
                <c:pt idx="47559">
                  <c:v>0.84820759764579901</c:v>
                </c:pt>
                <c:pt idx="47560">
                  <c:v>0.84822543249509497</c:v>
                </c:pt>
                <c:pt idx="47561">
                  <c:v>0.84824326734439004</c:v>
                </c:pt>
                <c:pt idx="47562">
                  <c:v>0.848261102193686</c:v>
                </c:pt>
                <c:pt idx="47563">
                  <c:v>0.84827893704298196</c:v>
                </c:pt>
                <c:pt idx="47564">
                  <c:v>0.84829677189227704</c:v>
                </c:pt>
                <c:pt idx="47565">
                  <c:v>0.848314606741573</c:v>
                </c:pt>
                <c:pt idx="47566">
                  <c:v>0.84833244159086796</c:v>
                </c:pt>
                <c:pt idx="47567">
                  <c:v>0.84835027644016403</c:v>
                </c:pt>
                <c:pt idx="47568">
                  <c:v>0.84836811128945899</c:v>
                </c:pt>
                <c:pt idx="47569">
                  <c:v>0.84838594613875495</c:v>
                </c:pt>
                <c:pt idx="47570">
                  <c:v>0.84840378098805003</c:v>
                </c:pt>
                <c:pt idx="47571">
                  <c:v>0.84842161583734599</c:v>
                </c:pt>
                <c:pt idx="47572">
                  <c:v>0.84843945068664095</c:v>
                </c:pt>
                <c:pt idx="47573">
                  <c:v>0.84845728553593702</c:v>
                </c:pt>
                <c:pt idx="47574">
                  <c:v>0.84847512038523198</c:v>
                </c:pt>
                <c:pt idx="47575">
                  <c:v>0.84849295523452795</c:v>
                </c:pt>
                <c:pt idx="47576">
                  <c:v>0.84851079008382302</c:v>
                </c:pt>
                <c:pt idx="47577">
                  <c:v>0.84852862493311898</c:v>
                </c:pt>
                <c:pt idx="47578">
                  <c:v>0.84854645978241405</c:v>
                </c:pt>
                <c:pt idx="47579">
                  <c:v>0.84856429463171001</c:v>
                </c:pt>
                <c:pt idx="47580">
                  <c:v>0.84858212948100498</c:v>
                </c:pt>
                <c:pt idx="47581">
                  <c:v>0.84859996433030105</c:v>
                </c:pt>
                <c:pt idx="47582">
                  <c:v>0.84861779917959601</c:v>
                </c:pt>
                <c:pt idx="47583">
                  <c:v>0.84863563402889197</c:v>
                </c:pt>
                <c:pt idx="47584">
                  <c:v>0.84865346887818705</c:v>
                </c:pt>
                <c:pt idx="47585">
                  <c:v>0.84867130372748301</c:v>
                </c:pt>
                <c:pt idx="47586">
                  <c:v>0.84868913857677897</c:v>
                </c:pt>
                <c:pt idx="47587">
                  <c:v>0.84870697342607404</c:v>
                </c:pt>
                <c:pt idx="47588">
                  <c:v>0.84872480827537</c:v>
                </c:pt>
                <c:pt idx="47589">
                  <c:v>0.84874264312466496</c:v>
                </c:pt>
                <c:pt idx="47590">
                  <c:v>0.84876047797396104</c:v>
                </c:pt>
                <c:pt idx="47591">
                  <c:v>0.848778312823256</c:v>
                </c:pt>
                <c:pt idx="47592">
                  <c:v>0.84879614767255196</c:v>
                </c:pt>
                <c:pt idx="47593">
                  <c:v>0.84881398252184703</c:v>
                </c:pt>
                <c:pt idx="47594">
                  <c:v>0.84883181737114299</c:v>
                </c:pt>
                <c:pt idx="47595">
                  <c:v>0.84884965222043796</c:v>
                </c:pt>
                <c:pt idx="47596">
                  <c:v>0.84886748706973403</c:v>
                </c:pt>
                <c:pt idx="47597">
                  <c:v>0.84888532191902899</c:v>
                </c:pt>
                <c:pt idx="47598">
                  <c:v>0.84890315676832495</c:v>
                </c:pt>
                <c:pt idx="47599">
                  <c:v>0.84892099161762002</c:v>
                </c:pt>
                <c:pt idx="47600">
                  <c:v>0.84893882646691599</c:v>
                </c:pt>
                <c:pt idx="47601">
                  <c:v>0.84895666131621095</c:v>
                </c:pt>
                <c:pt idx="47602">
                  <c:v>0.84897449616550702</c:v>
                </c:pt>
                <c:pt idx="47603">
                  <c:v>0.84899233101480198</c:v>
                </c:pt>
                <c:pt idx="47604">
                  <c:v>0.84901016586409805</c:v>
                </c:pt>
                <c:pt idx="47605">
                  <c:v>0.84902800071339402</c:v>
                </c:pt>
                <c:pt idx="47606">
                  <c:v>0.84904583556268898</c:v>
                </c:pt>
                <c:pt idx="47607">
                  <c:v>0.84906367041198505</c:v>
                </c:pt>
                <c:pt idx="47608">
                  <c:v>0.84908150526128001</c:v>
                </c:pt>
                <c:pt idx="47609">
                  <c:v>0.84909934011057597</c:v>
                </c:pt>
                <c:pt idx="47610">
                  <c:v>0.84911717495987105</c:v>
                </c:pt>
                <c:pt idx="47611">
                  <c:v>0.84913500980916701</c:v>
                </c:pt>
                <c:pt idx="47612">
                  <c:v>0.84915284465846197</c:v>
                </c:pt>
                <c:pt idx="47613">
                  <c:v>0.84917067950775804</c:v>
                </c:pt>
                <c:pt idx="47614">
                  <c:v>0.849188514357053</c:v>
                </c:pt>
                <c:pt idx="47615">
                  <c:v>0.84920634920634896</c:v>
                </c:pt>
                <c:pt idx="47616">
                  <c:v>0.84922418405564404</c:v>
                </c:pt>
                <c:pt idx="47617">
                  <c:v>0.84924201890494</c:v>
                </c:pt>
                <c:pt idx="47618">
                  <c:v>0.84925985375423496</c:v>
                </c:pt>
                <c:pt idx="47619">
                  <c:v>0.84927768860353103</c:v>
                </c:pt>
                <c:pt idx="47620">
                  <c:v>0.849295523452826</c:v>
                </c:pt>
                <c:pt idx="47621">
                  <c:v>0.84931335830212196</c:v>
                </c:pt>
                <c:pt idx="47622">
                  <c:v>0.84933119315141703</c:v>
                </c:pt>
                <c:pt idx="47623">
                  <c:v>0.84934902800071299</c:v>
                </c:pt>
                <c:pt idx="47624">
                  <c:v>0.84936686285000895</c:v>
                </c:pt>
                <c:pt idx="47625">
                  <c:v>0.84938469769930403</c:v>
                </c:pt>
                <c:pt idx="47626">
                  <c:v>0.84940253254859999</c:v>
                </c:pt>
                <c:pt idx="47627">
                  <c:v>0.84942036739789495</c:v>
                </c:pt>
                <c:pt idx="47628">
                  <c:v>0.84943820224719102</c:v>
                </c:pt>
                <c:pt idx="47629">
                  <c:v>0.84945603709648598</c:v>
                </c:pt>
                <c:pt idx="47630">
                  <c:v>0.84947387194578206</c:v>
                </c:pt>
                <c:pt idx="47631">
                  <c:v>0.84949170679507702</c:v>
                </c:pt>
                <c:pt idx="47632">
                  <c:v>0.84950954164437298</c:v>
                </c:pt>
                <c:pt idx="47633">
                  <c:v>0.84952737649366805</c:v>
                </c:pt>
                <c:pt idx="47634">
                  <c:v>0.84954521134296401</c:v>
                </c:pt>
                <c:pt idx="47635">
                  <c:v>0.84956304619225897</c:v>
                </c:pt>
                <c:pt idx="47636">
                  <c:v>0.84958088104155505</c:v>
                </c:pt>
                <c:pt idx="47637">
                  <c:v>0.84959871589085001</c:v>
                </c:pt>
                <c:pt idx="47638">
                  <c:v>0.84961655074014597</c:v>
                </c:pt>
                <c:pt idx="47639">
                  <c:v>0.84963438558944104</c:v>
                </c:pt>
                <c:pt idx="47640">
                  <c:v>0.849652220438737</c:v>
                </c:pt>
                <c:pt idx="47641">
                  <c:v>0.84967005528803197</c:v>
                </c:pt>
                <c:pt idx="47642">
                  <c:v>0.84968789013732804</c:v>
                </c:pt>
                <c:pt idx="47643">
                  <c:v>0.849705724986623</c:v>
                </c:pt>
                <c:pt idx="47644">
                  <c:v>0.84972355983591896</c:v>
                </c:pt>
                <c:pt idx="47645">
                  <c:v>0.84974139468521404</c:v>
                </c:pt>
                <c:pt idx="47646">
                  <c:v>0.84975922953451</c:v>
                </c:pt>
                <c:pt idx="47647">
                  <c:v>0.84977706438380596</c:v>
                </c:pt>
                <c:pt idx="47648">
                  <c:v>0.84979489923310103</c:v>
                </c:pt>
                <c:pt idx="47649">
                  <c:v>0.84981273408239699</c:v>
                </c:pt>
                <c:pt idx="47650">
                  <c:v>0.84983056893169195</c:v>
                </c:pt>
                <c:pt idx="47651">
                  <c:v>0.84984840378098803</c:v>
                </c:pt>
                <c:pt idx="47652">
                  <c:v>0.84986623863028299</c:v>
                </c:pt>
                <c:pt idx="47653">
                  <c:v>0.84988407347957895</c:v>
                </c:pt>
                <c:pt idx="47654">
                  <c:v>0.84990190832887402</c:v>
                </c:pt>
                <c:pt idx="47655">
                  <c:v>0.84991974317816998</c:v>
                </c:pt>
                <c:pt idx="47656">
                  <c:v>0.84993757802746495</c:v>
                </c:pt>
                <c:pt idx="47657">
                  <c:v>0.84995541287676102</c:v>
                </c:pt>
                <c:pt idx="47658">
                  <c:v>0.84997324772605598</c:v>
                </c:pt>
                <c:pt idx="47659">
                  <c:v>0.84999108257535205</c:v>
                </c:pt>
                <c:pt idx="47660">
                  <c:v>0.85000891742464701</c:v>
                </c:pt>
                <c:pt idx="47661">
                  <c:v>0.85002675227394298</c:v>
                </c:pt>
                <c:pt idx="47662">
                  <c:v>0.85004458712323805</c:v>
                </c:pt>
                <c:pt idx="47663">
                  <c:v>0.85006242197253401</c:v>
                </c:pt>
                <c:pt idx="47664">
                  <c:v>0.85008025682182897</c:v>
                </c:pt>
                <c:pt idx="47665">
                  <c:v>0.85009809167112504</c:v>
                </c:pt>
                <c:pt idx="47666">
                  <c:v>0.85011592652042001</c:v>
                </c:pt>
                <c:pt idx="47667">
                  <c:v>0.85013376136971597</c:v>
                </c:pt>
                <c:pt idx="47668">
                  <c:v>0.85015159621901104</c:v>
                </c:pt>
                <c:pt idx="47669">
                  <c:v>0.850169431068307</c:v>
                </c:pt>
                <c:pt idx="47670">
                  <c:v>0.85018726591760296</c:v>
                </c:pt>
                <c:pt idx="47671">
                  <c:v>0.85020510076689804</c:v>
                </c:pt>
                <c:pt idx="47672">
                  <c:v>0.850222935616194</c:v>
                </c:pt>
                <c:pt idx="47673">
                  <c:v>0.85024077046548896</c:v>
                </c:pt>
                <c:pt idx="47674">
                  <c:v>0.85025860531478503</c:v>
                </c:pt>
                <c:pt idx="47675">
                  <c:v>0.85027644016407999</c:v>
                </c:pt>
                <c:pt idx="47676">
                  <c:v>0.85029427501337596</c:v>
                </c:pt>
                <c:pt idx="47677">
                  <c:v>0.85031210986267103</c:v>
                </c:pt>
                <c:pt idx="47678">
                  <c:v>0.85032994471196699</c:v>
                </c:pt>
                <c:pt idx="47679">
                  <c:v>0.85034777956126195</c:v>
                </c:pt>
                <c:pt idx="47680">
                  <c:v>0.85036561441055802</c:v>
                </c:pt>
                <c:pt idx="47681">
                  <c:v>0.85038344925985299</c:v>
                </c:pt>
                <c:pt idx="47682">
                  <c:v>0.85040128410914895</c:v>
                </c:pt>
                <c:pt idx="47683">
                  <c:v>0.85041911895844402</c:v>
                </c:pt>
                <c:pt idx="47684">
                  <c:v>0.85043695380773998</c:v>
                </c:pt>
                <c:pt idx="47685">
                  <c:v>0.85045478865703505</c:v>
                </c:pt>
                <c:pt idx="47686">
                  <c:v>0.85047262350633102</c:v>
                </c:pt>
                <c:pt idx="47687">
                  <c:v>0.85049045835562598</c:v>
                </c:pt>
                <c:pt idx="47688">
                  <c:v>0.85050829320492205</c:v>
                </c:pt>
                <c:pt idx="47689">
                  <c:v>0.85052612805421701</c:v>
                </c:pt>
                <c:pt idx="47690">
                  <c:v>0.85054396290351297</c:v>
                </c:pt>
                <c:pt idx="47691">
                  <c:v>0.85056179775280805</c:v>
                </c:pt>
                <c:pt idx="47692">
                  <c:v>0.85057963260210401</c:v>
                </c:pt>
                <c:pt idx="47693">
                  <c:v>0.85059746745139997</c:v>
                </c:pt>
                <c:pt idx="47694">
                  <c:v>0.85061530230069504</c:v>
                </c:pt>
                <c:pt idx="47695">
                  <c:v>0.850633137149991</c:v>
                </c:pt>
                <c:pt idx="47696">
                  <c:v>0.85065097199928597</c:v>
                </c:pt>
                <c:pt idx="47697">
                  <c:v>0.85066880684858204</c:v>
                </c:pt>
                <c:pt idx="47698">
                  <c:v>0.850686641697877</c:v>
                </c:pt>
                <c:pt idx="47699">
                  <c:v>0.85070447654717296</c:v>
                </c:pt>
                <c:pt idx="47700">
                  <c:v>0.85072231139646803</c:v>
                </c:pt>
                <c:pt idx="47701">
                  <c:v>0.850740146245764</c:v>
                </c:pt>
                <c:pt idx="47702">
                  <c:v>0.85075798109505896</c:v>
                </c:pt>
                <c:pt idx="47703">
                  <c:v>0.85077581594435503</c:v>
                </c:pt>
                <c:pt idx="47704">
                  <c:v>0.85079365079364999</c:v>
                </c:pt>
                <c:pt idx="47705">
                  <c:v>0.85081148564294595</c:v>
                </c:pt>
                <c:pt idx="47706">
                  <c:v>0.85082932049224103</c:v>
                </c:pt>
                <c:pt idx="47707">
                  <c:v>0.85084715534153699</c:v>
                </c:pt>
                <c:pt idx="47708">
                  <c:v>0.85086499019083195</c:v>
                </c:pt>
                <c:pt idx="47709">
                  <c:v>0.85088282504012802</c:v>
                </c:pt>
                <c:pt idx="47710">
                  <c:v>0.85090065988942398</c:v>
                </c:pt>
                <c:pt idx="47711">
                  <c:v>0.85091849473871894</c:v>
                </c:pt>
                <c:pt idx="47712">
                  <c:v>0.85093632958801502</c:v>
                </c:pt>
                <c:pt idx="47713">
                  <c:v>0.85095416443730998</c:v>
                </c:pt>
                <c:pt idx="47714">
                  <c:v>0.85097199928660605</c:v>
                </c:pt>
                <c:pt idx="47715">
                  <c:v>0.85098983413590101</c:v>
                </c:pt>
                <c:pt idx="47716">
                  <c:v>0.85100766898519697</c:v>
                </c:pt>
                <c:pt idx="47717">
                  <c:v>0.85102550383449205</c:v>
                </c:pt>
                <c:pt idx="47718">
                  <c:v>0.85104333868378801</c:v>
                </c:pt>
                <c:pt idx="47719">
                  <c:v>0.85106117353308297</c:v>
                </c:pt>
                <c:pt idx="47720">
                  <c:v>0.85107900838237904</c:v>
                </c:pt>
                <c:pt idx="47721">
                  <c:v>0.85109684323167401</c:v>
                </c:pt>
                <c:pt idx="47722">
                  <c:v>0.85111467808096997</c:v>
                </c:pt>
                <c:pt idx="47723">
                  <c:v>0.85113251293026504</c:v>
                </c:pt>
                <c:pt idx="47724">
                  <c:v>0.851150347779561</c:v>
                </c:pt>
                <c:pt idx="47725">
                  <c:v>0.85116818262885596</c:v>
                </c:pt>
                <c:pt idx="47726">
                  <c:v>0.85118601747815203</c:v>
                </c:pt>
                <c:pt idx="47727">
                  <c:v>0.851203852327447</c:v>
                </c:pt>
                <c:pt idx="47728">
                  <c:v>0.85122168717674296</c:v>
                </c:pt>
                <c:pt idx="47729">
                  <c:v>0.85123952202603803</c:v>
                </c:pt>
                <c:pt idx="47730">
                  <c:v>0.85125735687533399</c:v>
                </c:pt>
                <c:pt idx="47731">
                  <c:v>0.85127519172462995</c:v>
                </c:pt>
                <c:pt idx="47732">
                  <c:v>0.85129302657392503</c:v>
                </c:pt>
                <c:pt idx="47733">
                  <c:v>0.85131086142322099</c:v>
                </c:pt>
                <c:pt idx="47734">
                  <c:v>0.85132869627251595</c:v>
                </c:pt>
                <c:pt idx="47735">
                  <c:v>0.85134653112181202</c:v>
                </c:pt>
                <c:pt idx="47736">
                  <c:v>0.85136436597110698</c:v>
                </c:pt>
                <c:pt idx="47737">
                  <c:v>0.85138220082040295</c:v>
                </c:pt>
                <c:pt idx="47738">
                  <c:v>0.85140003566969802</c:v>
                </c:pt>
                <c:pt idx="47739">
                  <c:v>0.85141787051899398</c:v>
                </c:pt>
                <c:pt idx="47740">
                  <c:v>0.85143570536828905</c:v>
                </c:pt>
                <c:pt idx="47741">
                  <c:v>0.85145354021758501</c:v>
                </c:pt>
                <c:pt idx="47742">
                  <c:v>0.85147137506687998</c:v>
                </c:pt>
                <c:pt idx="47743">
                  <c:v>0.85148920991617605</c:v>
                </c:pt>
                <c:pt idx="47744">
                  <c:v>0.85150704476547101</c:v>
                </c:pt>
                <c:pt idx="47745">
                  <c:v>0.85152487961476697</c:v>
                </c:pt>
                <c:pt idx="47746">
                  <c:v>0.85154271446406204</c:v>
                </c:pt>
                <c:pt idx="47747">
                  <c:v>0.85156054931335801</c:v>
                </c:pt>
                <c:pt idx="47748">
                  <c:v>0.85157838416265297</c:v>
                </c:pt>
                <c:pt idx="47749">
                  <c:v>0.85159621901194904</c:v>
                </c:pt>
                <c:pt idx="47750">
                  <c:v>0.851614053861244</c:v>
                </c:pt>
                <c:pt idx="47751">
                  <c:v>0.85163188871053996</c:v>
                </c:pt>
                <c:pt idx="47752">
                  <c:v>0.85164972355983504</c:v>
                </c:pt>
                <c:pt idx="47753">
                  <c:v>0.851667558409131</c:v>
                </c:pt>
                <c:pt idx="47754">
                  <c:v>0.85168539325842696</c:v>
                </c:pt>
                <c:pt idx="47755">
                  <c:v>0.85170322810772203</c:v>
                </c:pt>
                <c:pt idx="47756">
                  <c:v>0.85172106295701799</c:v>
                </c:pt>
                <c:pt idx="47757">
                  <c:v>0.85173889780631296</c:v>
                </c:pt>
                <c:pt idx="47758">
                  <c:v>0.85175673265560903</c:v>
                </c:pt>
                <c:pt idx="47759">
                  <c:v>0.85177456750490399</c:v>
                </c:pt>
                <c:pt idx="47760">
                  <c:v>0.85179240235419995</c:v>
                </c:pt>
                <c:pt idx="47761">
                  <c:v>0.85181023720349502</c:v>
                </c:pt>
                <c:pt idx="47762">
                  <c:v>0.85182807205279099</c:v>
                </c:pt>
                <c:pt idx="47763">
                  <c:v>0.85184590690208595</c:v>
                </c:pt>
                <c:pt idx="47764">
                  <c:v>0.85186374175138202</c:v>
                </c:pt>
                <c:pt idx="47765">
                  <c:v>0.85188157660067698</c:v>
                </c:pt>
                <c:pt idx="47766">
                  <c:v>0.85189941144997305</c:v>
                </c:pt>
                <c:pt idx="47767">
                  <c:v>0.85191724629926802</c:v>
                </c:pt>
                <c:pt idx="47768">
                  <c:v>0.85193508114856398</c:v>
                </c:pt>
                <c:pt idx="47769">
                  <c:v>0.85195291599785905</c:v>
                </c:pt>
                <c:pt idx="47770">
                  <c:v>0.85197075084715501</c:v>
                </c:pt>
                <c:pt idx="47771">
                  <c:v>0.85198858569644997</c:v>
                </c:pt>
                <c:pt idx="47772">
                  <c:v>0.85200642054574605</c:v>
                </c:pt>
                <c:pt idx="47773">
                  <c:v>0.85202425539504101</c:v>
                </c:pt>
                <c:pt idx="47774">
                  <c:v>0.85204209024433697</c:v>
                </c:pt>
                <c:pt idx="47775">
                  <c:v>0.85205992509363204</c:v>
                </c:pt>
                <c:pt idx="47776">
                  <c:v>0.852077759942928</c:v>
                </c:pt>
                <c:pt idx="47777">
                  <c:v>0.85209559479222396</c:v>
                </c:pt>
                <c:pt idx="47778">
                  <c:v>0.85211342964151904</c:v>
                </c:pt>
                <c:pt idx="47779">
                  <c:v>0.852131264490815</c:v>
                </c:pt>
                <c:pt idx="47780">
                  <c:v>0.85214909934010996</c:v>
                </c:pt>
                <c:pt idx="47781">
                  <c:v>0.85216693418940603</c:v>
                </c:pt>
                <c:pt idx="47782">
                  <c:v>0.852184769038701</c:v>
                </c:pt>
                <c:pt idx="47783">
                  <c:v>0.85220260388799696</c:v>
                </c:pt>
                <c:pt idx="47784">
                  <c:v>0.85222043873729203</c:v>
                </c:pt>
                <c:pt idx="47785">
                  <c:v>0.85223827358658799</c:v>
                </c:pt>
                <c:pt idx="47786">
                  <c:v>0.85225610843588295</c:v>
                </c:pt>
                <c:pt idx="47787">
                  <c:v>0.85227394328517903</c:v>
                </c:pt>
                <c:pt idx="47788">
                  <c:v>0.85229177813447399</c:v>
                </c:pt>
                <c:pt idx="47789">
                  <c:v>0.85230961298376995</c:v>
                </c:pt>
                <c:pt idx="47790">
                  <c:v>0.85232744783306502</c:v>
                </c:pt>
                <c:pt idx="47791">
                  <c:v>0.85234528268236098</c:v>
                </c:pt>
                <c:pt idx="47792">
                  <c:v>0.85236311753165594</c:v>
                </c:pt>
                <c:pt idx="47793">
                  <c:v>0.85238095238095202</c:v>
                </c:pt>
                <c:pt idx="47794">
                  <c:v>0.85239878723024698</c:v>
                </c:pt>
                <c:pt idx="47795">
                  <c:v>0.85241662207954305</c:v>
                </c:pt>
                <c:pt idx="47796">
                  <c:v>0.85243445692883801</c:v>
                </c:pt>
                <c:pt idx="47797">
                  <c:v>0.85245229177813397</c:v>
                </c:pt>
                <c:pt idx="47798">
                  <c:v>0.85247012662743005</c:v>
                </c:pt>
                <c:pt idx="47799">
                  <c:v>0.85248796147672501</c:v>
                </c:pt>
                <c:pt idx="47800">
                  <c:v>0.85250579632602097</c:v>
                </c:pt>
                <c:pt idx="47801">
                  <c:v>0.85252363117531604</c:v>
                </c:pt>
                <c:pt idx="47802">
                  <c:v>0.852541466024612</c:v>
                </c:pt>
                <c:pt idx="47803">
                  <c:v>0.85255930087390697</c:v>
                </c:pt>
                <c:pt idx="47804">
                  <c:v>0.85257713572320304</c:v>
                </c:pt>
                <c:pt idx="47805">
                  <c:v>0.852594970572498</c:v>
                </c:pt>
                <c:pt idx="47806">
                  <c:v>0.85261280542179396</c:v>
                </c:pt>
                <c:pt idx="47807">
                  <c:v>0.85263064027108904</c:v>
                </c:pt>
                <c:pt idx="47808">
                  <c:v>0.852648475120385</c:v>
                </c:pt>
                <c:pt idx="47809">
                  <c:v>0.85266630996967996</c:v>
                </c:pt>
                <c:pt idx="47810">
                  <c:v>0.85268414481897603</c:v>
                </c:pt>
                <c:pt idx="47811">
                  <c:v>0.85270197966827099</c:v>
                </c:pt>
                <c:pt idx="47812">
                  <c:v>0.85271981451756695</c:v>
                </c:pt>
                <c:pt idx="47813">
                  <c:v>0.85273764936686203</c:v>
                </c:pt>
                <c:pt idx="47814">
                  <c:v>0.85275548421615799</c:v>
                </c:pt>
                <c:pt idx="47815">
                  <c:v>0.85277331906545395</c:v>
                </c:pt>
                <c:pt idx="47816">
                  <c:v>0.85279115391474902</c:v>
                </c:pt>
                <c:pt idx="47817">
                  <c:v>0.85280898876404498</c:v>
                </c:pt>
                <c:pt idx="47818">
                  <c:v>0.85282682361333995</c:v>
                </c:pt>
                <c:pt idx="47819">
                  <c:v>0.85284465846263602</c:v>
                </c:pt>
                <c:pt idx="47820">
                  <c:v>0.85286249331193098</c:v>
                </c:pt>
                <c:pt idx="47821">
                  <c:v>0.85288032816122705</c:v>
                </c:pt>
                <c:pt idx="47822">
                  <c:v>0.85289816301052201</c:v>
                </c:pt>
                <c:pt idx="47823">
                  <c:v>0.85291599785981798</c:v>
                </c:pt>
                <c:pt idx="47824">
                  <c:v>0.85293383270911305</c:v>
                </c:pt>
                <c:pt idx="47825">
                  <c:v>0.85295166755840901</c:v>
                </c:pt>
                <c:pt idx="47826">
                  <c:v>0.85296950240770397</c:v>
                </c:pt>
                <c:pt idx="47827">
                  <c:v>0.85298733725700004</c:v>
                </c:pt>
                <c:pt idx="47828">
                  <c:v>0.85300517210629501</c:v>
                </c:pt>
                <c:pt idx="47829">
                  <c:v>0.85302300695559097</c:v>
                </c:pt>
                <c:pt idx="47830">
                  <c:v>0.85304084180488604</c:v>
                </c:pt>
                <c:pt idx="47831">
                  <c:v>0.853058676654182</c:v>
                </c:pt>
                <c:pt idx="47832">
                  <c:v>0.85307651150347696</c:v>
                </c:pt>
                <c:pt idx="47833">
                  <c:v>0.85309434635277304</c:v>
                </c:pt>
                <c:pt idx="47834">
                  <c:v>0.853112181202068</c:v>
                </c:pt>
                <c:pt idx="47835">
                  <c:v>0.85313001605136396</c:v>
                </c:pt>
                <c:pt idx="47836">
                  <c:v>0.85314785090065903</c:v>
                </c:pt>
                <c:pt idx="47837">
                  <c:v>0.85316568574995499</c:v>
                </c:pt>
                <c:pt idx="47838">
                  <c:v>0.85318352059925096</c:v>
                </c:pt>
                <c:pt idx="47839">
                  <c:v>0.85320135544854603</c:v>
                </c:pt>
                <c:pt idx="47840">
                  <c:v>0.85321919029784199</c:v>
                </c:pt>
                <c:pt idx="47841">
                  <c:v>0.85323702514713695</c:v>
                </c:pt>
                <c:pt idx="47842">
                  <c:v>0.85325485999643302</c:v>
                </c:pt>
                <c:pt idx="47843">
                  <c:v>0.85327269484572799</c:v>
                </c:pt>
                <c:pt idx="47844">
                  <c:v>0.85329052969502395</c:v>
                </c:pt>
                <c:pt idx="47845">
                  <c:v>0.85330836454431902</c:v>
                </c:pt>
                <c:pt idx="47846">
                  <c:v>0.85332619939361498</c:v>
                </c:pt>
                <c:pt idx="47847">
                  <c:v>0.85334403424291005</c:v>
                </c:pt>
                <c:pt idx="47848">
                  <c:v>0.85336186909220602</c:v>
                </c:pt>
                <c:pt idx="47849">
                  <c:v>0.85337970394150098</c:v>
                </c:pt>
                <c:pt idx="47850">
                  <c:v>0.85339753879079705</c:v>
                </c:pt>
                <c:pt idx="47851">
                  <c:v>0.85341537364009201</c:v>
                </c:pt>
                <c:pt idx="47852">
                  <c:v>0.85343320848938797</c:v>
                </c:pt>
                <c:pt idx="47853">
                  <c:v>0.85345104333868305</c:v>
                </c:pt>
                <c:pt idx="47854">
                  <c:v>0.85346887818797901</c:v>
                </c:pt>
                <c:pt idx="47855">
                  <c:v>0.85348671303727397</c:v>
                </c:pt>
                <c:pt idx="47856">
                  <c:v>0.85350454788657004</c:v>
                </c:pt>
                <c:pt idx="47857">
                  <c:v>0.853522382735865</c:v>
                </c:pt>
                <c:pt idx="47858">
                  <c:v>0.85354021758516097</c:v>
                </c:pt>
                <c:pt idx="47859">
                  <c:v>0.85355805243445604</c:v>
                </c:pt>
                <c:pt idx="47860">
                  <c:v>0.853575887283752</c:v>
                </c:pt>
                <c:pt idx="47861">
                  <c:v>0.85359372213304796</c:v>
                </c:pt>
                <c:pt idx="47862">
                  <c:v>0.85361155698234303</c:v>
                </c:pt>
                <c:pt idx="47863">
                  <c:v>0.853629391831639</c:v>
                </c:pt>
                <c:pt idx="47864">
                  <c:v>0.85364722668093396</c:v>
                </c:pt>
                <c:pt idx="47865">
                  <c:v>0.85366506153023003</c:v>
                </c:pt>
                <c:pt idx="47866">
                  <c:v>0.85368289637952499</c:v>
                </c:pt>
                <c:pt idx="47867">
                  <c:v>0.85370073122882095</c:v>
                </c:pt>
                <c:pt idx="47868">
                  <c:v>0.85371856607811603</c:v>
                </c:pt>
                <c:pt idx="47869">
                  <c:v>0.85373640092741199</c:v>
                </c:pt>
                <c:pt idx="47870">
                  <c:v>0.85375423577670695</c:v>
                </c:pt>
                <c:pt idx="47871">
                  <c:v>0.85377207062600302</c:v>
                </c:pt>
                <c:pt idx="47872">
                  <c:v>0.85378990547529798</c:v>
                </c:pt>
                <c:pt idx="47873">
                  <c:v>0.85380774032459394</c:v>
                </c:pt>
                <c:pt idx="47874">
                  <c:v>0.85382557517388902</c:v>
                </c:pt>
                <c:pt idx="47875">
                  <c:v>0.85384341002318498</c:v>
                </c:pt>
                <c:pt idx="47876">
                  <c:v>0.85386124487248005</c:v>
                </c:pt>
                <c:pt idx="47877">
                  <c:v>0.85387907972177601</c:v>
                </c:pt>
                <c:pt idx="47878">
                  <c:v>0.85389691457107098</c:v>
                </c:pt>
                <c:pt idx="47879">
                  <c:v>0.85391474942036705</c:v>
                </c:pt>
                <c:pt idx="47880">
                  <c:v>0.85393258426966201</c:v>
                </c:pt>
                <c:pt idx="47881">
                  <c:v>0.85395041911895797</c:v>
                </c:pt>
                <c:pt idx="47882">
                  <c:v>0.85396825396825304</c:v>
                </c:pt>
                <c:pt idx="47883">
                  <c:v>0.85398608881754901</c:v>
                </c:pt>
                <c:pt idx="47884">
                  <c:v>0.85400392366684497</c:v>
                </c:pt>
                <c:pt idx="47885">
                  <c:v>0.85402175851614004</c:v>
                </c:pt>
                <c:pt idx="47886">
                  <c:v>0.854039593365436</c:v>
                </c:pt>
                <c:pt idx="47887">
                  <c:v>0.85405742821473096</c:v>
                </c:pt>
                <c:pt idx="47888">
                  <c:v>0.85407526306402703</c:v>
                </c:pt>
                <c:pt idx="47889">
                  <c:v>0.854093097913322</c:v>
                </c:pt>
                <c:pt idx="47890">
                  <c:v>0.85411093276261796</c:v>
                </c:pt>
                <c:pt idx="47891">
                  <c:v>0.85412876761191303</c:v>
                </c:pt>
                <c:pt idx="47892">
                  <c:v>0.85414660246120899</c:v>
                </c:pt>
                <c:pt idx="47893">
                  <c:v>0.85416443731050395</c:v>
                </c:pt>
                <c:pt idx="47894">
                  <c:v>0.85418227215980003</c:v>
                </c:pt>
                <c:pt idx="47895">
                  <c:v>0.85420010700909499</c:v>
                </c:pt>
                <c:pt idx="47896">
                  <c:v>0.85421794185839095</c:v>
                </c:pt>
                <c:pt idx="47897">
                  <c:v>0.85423577670768602</c:v>
                </c:pt>
                <c:pt idx="47898">
                  <c:v>0.85425361155698198</c:v>
                </c:pt>
                <c:pt idx="47899">
                  <c:v>0.85427144640627695</c:v>
                </c:pt>
                <c:pt idx="47900">
                  <c:v>0.85428928125557302</c:v>
                </c:pt>
                <c:pt idx="47901">
                  <c:v>0.85430711610486798</c:v>
                </c:pt>
                <c:pt idx="47902">
                  <c:v>0.85432495095416405</c:v>
                </c:pt>
                <c:pt idx="47903">
                  <c:v>0.85434278580346001</c:v>
                </c:pt>
                <c:pt idx="47904">
                  <c:v>0.85436062065275498</c:v>
                </c:pt>
                <c:pt idx="47905">
                  <c:v>0.85437845550205105</c:v>
                </c:pt>
                <c:pt idx="47906">
                  <c:v>0.85439629035134601</c:v>
                </c:pt>
                <c:pt idx="47907">
                  <c:v>0.85441412520064197</c:v>
                </c:pt>
                <c:pt idx="47908">
                  <c:v>0.85443196004993704</c:v>
                </c:pt>
                <c:pt idx="47909">
                  <c:v>0.85444979489923301</c:v>
                </c:pt>
                <c:pt idx="47910">
                  <c:v>0.85446762974852797</c:v>
                </c:pt>
                <c:pt idx="47911">
                  <c:v>0.85448546459782404</c:v>
                </c:pt>
                <c:pt idx="47912">
                  <c:v>0.854503299447119</c:v>
                </c:pt>
                <c:pt idx="47913">
                  <c:v>0.85452113429641496</c:v>
                </c:pt>
                <c:pt idx="47914">
                  <c:v>0.85453896914571004</c:v>
                </c:pt>
                <c:pt idx="47915">
                  <c:v>0.854556803995006</c:v>
                </c:pt>
                <c:pt idx="47916">
                  <c:v>0.85457463884430096</c:v>
                </c:pt>
                <c:pt idx="47917">
                  <c:v>0.85459247369359703</c:v>
                </c:pt>
                <c:pt idx="47918">
                  <c:v>0.85461030854289199</c:v>
                </c:pt>
                <c:pt idx="47919">
                  <c:v>0.85462814339218796</c:v>
                </c:pt>
                <c:pt idx="47920">
                  <c:v>0.85464597824148303</c:v>
                </c:pt>
                <c:pt idx="47921">
                  <c:v>0.85466381309077899</c:v>
                </c:pt>
                <c:pt idx="47922">
                  <c:v>0.85468164794007495</c:v>
                </c:pt>
                <c:pt idx="47923">
                  <c:v>0.85469948278937002</c:v>
                </c:pt>
                <c:pt idx="47924">
                  <c:v>0.85471731763866599</c:v>
                </c:pt>
                <c:pt idx="47925">
                  <c:v>0.85473515248796095</c:v>
                </c:pt>
                <c:pt idx="47926">
                  <c:v>0.85475298733725702</c:v>
                </c:pt>
                <c:pt idx="47927">
                  <c:v>0.85477082218655198</c:v>
                </c:pt>
                <c:pt idx="47928">
                  <c:v>0.85478865703584805</c:v>
                </c:pt>
                <c:pt idx="47929">
                  <c:v>0.85480649188514302</c:v>
                </c:pt>
                <c:pt idx="47930">
                  <c:v>0.85482432673443898</c:v>
                </c:pt>
                <c:pt idx="47931">
                  <c:v>0.85484216158373405</c:v>
                </c:pt>
                <c:pt idx="47932">
                  <c:v>0.85485999643303001</c:v>
                </c:pt>
                <c:pt idx="47933">
                  <c:v>0.85487783128232497</c:v>
                </c:pt>
                <c:pt idx="47934">
                  <c:v>0.85489566613162105</c:v>
                </c:pt>
                <c:pt idx="47935">
                  <c:v>0.85491350098091601</c:v>
                </c:pt>
                <c:pt idx="47936">
                  <c:v>0.85493133583021197</c:v>
                </c:pt>
                <c:pt idx="47937">
                  <c:v>0.85494917067950704</c:v>
                </c:pt>
                <c:pt idx="47938">
                  <c:v>0.854967005528803</c:v>
                </c:pt>
                <c:pt idx="47939">
                  <c:v>0.85498484037809797</c:v>
                </c:pt>
                <c:pt idx="47940">
                  <c:v>0.85500267522739404</c:v>
                </c:pt>
                <c:pt idx="47941">
                  <c:v>0.855020510076689</c:v>
                </c:pt>
                <c:pt idx="47942">
                  <c:v>0.85503834492598496</c:v>
                </c:pt>
                <c:pt idx="47943">
                  <c:v>0.85505617977528003</c:v>
                </c:pt>
                <c:pt idx="47944">
                  <c:v>0.855074014624576</c:v>
                </c:pt>
                <c:pt idx="47945">
                  <c:v>0.85509184947387196</c:v>
                </c:pt>
                <c:pt idx="47946">
                  <c:v>0.85510968432316703</c:v>
                </c:pt>
                <c:pt idx="47947">
                  <c:v>0.85512751917246299</c:v>
                </c:pt>
                <c:pt idx="47948">
                  <c:v>0.85514535402175795</c:v>
                </c:pt>
                <c:pt idx="47949">
                  <c:v>0.85516318887105403</c:v>
                </c:pt>
                <c:pt idx="47950">
                  <c:v>0.85518102372034899</c:v>
                </c:pt>
                <c:pt idx="47951">
                  <c:v>0.85519885856964495</c:v>
                </c:pt>
                <c:pt idx="47952">
                  <c:v>0.85521669341894002</c:v>
                </c:pt>
                <c:pt idx="47953">
                  <c:v>0.85523452826823598</c:v>
                </c:pt>
                <c:pt idx="47954">
                  <c:v>0.85525236311753094</c:v>
                </c:pt>
                <c:pt idx="47955">
                  <c:v>0.85527019796682702</c:v>
                </c:pt>
                <c:pt idx="47956">
                  <c:v>0.85528803281612198</c:v>
                </c:pt>
                <c:pt idx="47957">
                  <c:v>0.85530586766541805</c:v>
                </c:pt>
                <c:pt idx="47958">
                  <c:v>0.85532370251471301</c:v>
                </c:pt>
                <c:pt idx="47959">
                  <c:v>0.85534153736400897</c:v>
                </c:pt>
                <c:pt idx="47960">
                  <c:v>0.85535937221330405</c:v>
                </c:pt>
                <c:pt idx="47961">
                  <c:v>0.85537720706260001</c:v>
                </c:pt>
                <c:pt idx="47962">
                  <c:v>0.85539504191189497</c:v>
                </c:pt>
                <c:pt idx="47963">
                  <c:v>0.85541287676119104</c:v>
                </c:pt>
                <c:pt idx="47964">
                  <c:v>0.85543071161048601</c:v>
                </c:pt>
                <c:pt idx="47965">
                  <c:v>0.85544854645978197</c:v>
                </c:pt>
                <c:pt idx="47966">
                  <c:v>0.85546638130907704</c:v>
                </c:pt>
                <c:pt idx="47967">
                  <c:v>0.855484216158373</c:v>
                </c:pt>
                <c:pt idx="47968">
                  <c:v>0.85550205100766896</c:v>
                </c:pt>
                <c:pt idx="47969">
                  <c:v>0.85551988585696404</c:v>
                </c:pt>
                <c:pt idx="47970">
                  <c:v>0.85553772070626</c:v>
                </c:pt>
                <c:pt idx="47971">
                  <c:v>0.85555555555555496</c:v>
                </c:pt>
                <c:pt idx="47972">
                  <c:v>0.85557339040485103</c:v>
                </c:pt>
                <c:pt idx="47973">
                  <c:v>0.85559122525414599</c:v>
                </c:pt>
                <c:pt idx="47974">
                  <c:v>0.85560906010344195</c:v>
                </c:pt>
                <c:pt idx="47975">
                  <c:v>0.85562689495273703</c:v>
                </c:pt>
                <c:pt idx="47976">
                  <c:v>0.85564472980203299</c:v>
                </c:pt>
                <c:pt idx="47977">
                  <c:v>0.85566256465132795</c:v>
                </c:pt>
                <c:pt idx="47978">
                  <c:v>0.85568039950062402</c:v>
                </c:pt>
                <c:pt idx="47979">
                  <c:v>0.85569823434991898</c:v>
                </c:pt>
                <c:pt idx="47980">
                  <c:v>0.85571606919921495</c:v>
                </c:pt>
                <c:pt idx="47981">
                  <c:v>0.85573390404851002</c:v>
                </c:pt>
                <c:pt idx="47982">
                  <c:v>0.85575173889780598</c:v>
                </c:pt>
                <c:pt idx="47983">
                  <c:v>0.85576957374710105</c:v>
                </c:pt>
                <c:pt idx="47984">
                  <c:v>0.85578740859639701</c:v>
                </c:pt>
                <c:pt idx="47985">
                  <c:v>0.85580524344569198</c:v>
                </c:pt>
                <c:pt idx="47986">
                  <c:v>0.85582307829498805</c:v>
                </c:pt>
                <c:pt idx="47987">
                  <c:v>0.85584091314428301</c:v>
                </c:pt>
                <c:pt idx="47988">
                  <c:v>0.85585874799357897</c:v>
                </c:pt>
                <c:pt idx="47989">
                  <c:v>0.85587658284287405</c:v>
                </c:pt>
                <c:pt idx="47990">
                  <c:v>0.85589441769217001</c:v>
                </c:pt>
                <c:pt idx="47991">
                  <c:v>0.85591225254146597</c:v>
                </c:pt>
                <c:pt idx="47992">
                  <c:v>0.85593008739076104</c:v>
                </c:pt>
                <c:pt idx="47993">
                  <c:v>0.855947922240057</c:v>
                </c:pt>
                <c:pt idx="47994">
                  <c:v>0.85596575708935196</c:v>
                </c:pt>
                <c:pt idx="47995">
                  <c:v>0.85598359193864804</c:v>
                </c:pt>
                <c:pt idx="47996">
                  <c:v>0.856001426787943</c:v>
                </c:pt>
                <c:pt idx="47997">
                  <c:v>0.85601926163723896</c:v>
                </c:pt>
                <c:pt idx="47998">
                  <c:v>0.85603709648653403</c:v>
                </c:pt>
                <c:pt idx="47999">
                  <c:v>0.85605493133582999</c:v>
                </c:pt>
                <c:pt idx="48000">
                  <c:v>0.85607276618512496</c:v>
                </c:pt>
                <c:pt idx="48001">
                  <c:v>0.85609060103442103</c:v>
                </c:pt>
                <c:pt idx="48002">
                  <c:v>0.85610843588371599</c:v>
                </c:pt>
                <c:pt idx="48003">
                  <c:v>0.85612627073301195</c:v>
                </c:pt>
                <c:pt idx="48004">
                  <c:v>0.85614410558230702</c:v>
                </c:pt>
                <c:pt idx="48005">
                  <c:v>0.85616194043160299</c:v>
                </c:pt>
                <c:pt idx="48006">
                  <c:v>0.85617977528089795</c:v>
                </c:pt>
                <c:pt idx="48007">
                  <c:v>0.85619761013019402</c:v>
                </c:pt>
                <c:pt idx="48008">
                  <c:v>0.85621544497948898</c:v>
                </c:pt>
                <c:pt idx="48009">
                  <c:v>0.85623327982878505</c:v>
                </c:pt>
                <c:pt idx="48010">
                  <c:v>0.85625111467808102</c:v>
                </c:pt>
                <c:pt idx="48011">
                  <c:v>0.85626894952737598</c:v>
                </c:pt>
                <c:pt idx="48012">
                  <c:v>0.85628678437667205</c:v>
                </c:pt>
                <c:pt idx="48013">
                  <c:v>0.85630461922596701</c:v>
                </c:pt>
                <c:pt idx="48014">
                  <c:v>0.85632245407526297</c:v>
                </c:pt>
                <c:pt idx="48015">
                  <c:v>0.85634028892455805</c:v>
                </c:pt>
                <c:pt idx="48016">
                  <c:v>0.85635812377385401</c:v>
                </c:pt>
                <c:pt idx="48017">
                  <c:v>0.85637595862314897</c:v>
                </c:pt>
                <c:pt idx="48018">
                  <c:v>0.85639379347244504</c:v>
                </c:pt>
                <c:pt idx="48019">
                  <c:v>0.85641162832174</c:v>
                </c:pt>
                <c:pt idx="48020">
                  <c:v>0.85642946317103597</c:v>
                </c:pt>
                <c:pt idx="48021">
                  <c:v>0.85644729802033104</c:v>
                </c:pt>
                <c:pt idx="48022">
                  <c:v>0.856465132869627</c:v>
                </c:pt>
                <c:pt idx="48023">
                  <c:v>0.85648296771892196</c:v>
                </c:pt>
                <c:pt idx="48024">
                  <c:v>0.85650080256821803</c:v>
                </c:pt>
                <c:pt idx="48025">
                  <c:v>0.856518637417513</c:v>
                </c:pt>
                <c:pt idx="48026">
                  <c:v>0.85653647226680896</c:v>
                </c:pt>
                <c:pt idx="48027">
                  <c:v>0.85655430711610403</c:v>
                </c:pt>
                <c:pt idx="48028">
                  <c:v>0.85657214196539999</c:v>
                </c:pt>
                <c:pt idx="48029">
                  <c:v>0.85658997681469595</c:v>
                </c:pt>
                <c:pt idx="48030">
                  <c:v>0.85660781166399103</c:v>
                </c:pt>
                <c:pt idx="48031">
                  <c:v>0.85662564651328699</c:v>
                </c:pt>
                <c:pt idx="48032">
                  <c:v>0.85664348136258195</c:v>
                </c:pt>
                <c:pt idx="48033">
                  <c:v>0.85666131621187802</c:v>
                </c:pt>
                <c:pt idx="48034">
                  <c:v>0.85667915106117298</c:v>
                </c:pt>
                <c:pt idx="48035">
                  <c:v>0.85669698591046906</c:v>
                </c:pt>
                <c:pt idx="48036">
                  <c:v>0.85671482075976402</c:v>
                </c:pt>
                <c:pt idx="48037">
                  <c:v>0.85673265560905998</c:v>
                </c:pt>
                <c:pt idx="48038">
                  <c:v>0.85675049045835505</c:v>
                </c:pt>
                <c:pt idx="48039">
                  <c:v>0.85676832530765101</c:v>
                </c:pt>
                <c:pt idx="48040">
                  <c:v>0.85678616015694598</c:v>
                </c:pt>
                <c:pt idx="48041">
                  <c:v>0.85680399500624205</c:v>
                </c:pt>
                <c:pt idx="48042">
                  <c:v>0.85682182985553701</c:v>
                </c:pt>
                <c:pt idx="48043">
                  <c:v>0.85683966470483297</c:v>
                </c:pt>
                <c:pt idx="48044">
                  <c:v>0.85685749955412804</c:v>
                </c:pt>
                <c:pt idx="48045">
                  <c:v>0.856875334403424</c:v>
                </c:pt>
                <c:pt idx="48046">
                  <c:v>0.85689316925271897</c:v>
                </c:pt>
                <c:pt idx="48047">
                  <c:v>0.85691100410201504</c:v>
                </c:pt>
                <c:pt idx="48048">
                  <c:v>0.85692883895131</c:v>
                </c:pt>
                <c:pt idx="48049">
                  <c:v>0.85694667380060596</c:v>
                </c:pt>
                <c:pt idx="48050">
                  <c:v>0.85696450864990104</c:v>
                </c:pt>
                <c:pt idx="48051">
                  <c:v>0.856982343499197</c:v>
                </c:pt>
                <c:pt idx="48052">
                  <c:v>0.85700017834849296</c:v>
                </c:pt>
                <c:pt idx="48053">
                  <c:v>0.85701801319778803</c:v>
                </c:pt>
                <c:pt idx="48054">
                  <c:v>0.85703584804708399</c:v>
                </c:pt>
                <c:pt idx="48055">
                  <c:v>0.85705368289637895</c:v>
                </c:pt>
                <c:pt idx="48056">
                  <c:v>0.85707151774567503</c:v>
                </c:pt>
                <c:pt idx="48057">
                  <c:v>0.85708935259496999</c:v>
                </c:pt>
                <c:pt idx="48058">
                  <c:v>0.85710718744426595</c:v>
                </c:pt>
                <c:pt idx="48059">
                  <c:v>0.85712502229356102</c:v>
                </c:pt>
                <c:pt idx="48060">
                  <c:v>0.85714285714285698</c:v>
                </c:pt>
                <c:pt idx="48061">
                  <c:v>0.85716069199215195</c:v>
                </c:pt>
                <c:pt idx="48062">
                  <c:v>0.85717852684144802</c:v>
                </c:pt>
                <c:pt idx="48063">
                  <c:v>0.85719636169074298</c:v>
                </c:pt>
                <c:pt idx="48064">
                  <c:v>0.85721419654003905</c:v>
                </c:pt>
                <c:pt idx="48065">
                  <c:v>0.85723203138933401</c:v>
                </c:pt>
                <c:pt idx="48066">
                  <c:v>0.85724986623862998</c:v>
                </c:pt>
                <c:pt idx="48067">
                  <c:v>0.85726770108792505</c:v>
                </c:pt>
                <c:pt idx="48068">
                  <c:v>0.85728553593722101</c:v>
                </c:pt>
                <c:pt idx="48069">
                  <c:v>0.85730337078651597</c:v>
                </c:pt>
                <c:pt idx="48070">
                  <c:v>0.85732120563581204</c:v>
                </c:pt>
                <c:pt idx="48071">
                  <c:v>0.85733904048510701</c:v>
                </c:pt>
                <c:pt idx="48072">
                  <c:v>0.85735687533440297</c:v>
                </c:pt>
                <c:pt idx="48073">
                  <c:v>0.85737471018369804</c:v>
                </c:pt>
                <c:pt idx="48074">
                  <c:v>0.857392545032994</c:v>
                </c:pt>
                <c:pt idx="48075">
                  <c:v>0.85741037988228996</c:v>
                </c:pt>
                <c:pt idx="48076">
                  <c:v>0.85742821473158504</c:v>
                </c:pt>
                <c:pt idx="48077">
                  <c:v>0.857446049580881</c:v>
                </c:pt>
                <c:pt idx="48078">
                  <c:v>0.85746388443017596</c:v>
                </c:pt>
                <c:pt idx="48079">
                  <c:v>0.85748171927947203</c:v>
                </c:pt>
                <c:pt idx="48080">
                  <c:v>0.85749955412876699</c:v>
                </c:pt>
                <c:pt idx="48081">
                  <c:v>0.85751738897806296</c:v>
                </c:pt>
                <c:pt idx="48082">
                  <c:v>0.85753522382735803</c:v>
                </c:pt>
                <c:pt idx="48083">
                  <c:v>0.85755305867665399</c:v>
                </c:pt>
                <c:pt idx="48084">
                  <c:v>0.85757089352594895</c:v>
                </c:pt>
                <c:pt idx="48085">
                  <c:v>0.85758872837524502</c:v>
                </c:pt>
                <c:pt idx="48086">
                  <c:v>0.85760656322453999</c:v>
                </c:pt>
                <c:pt idx="48087">
                  <c:v>0.85762439807383595</c:v>
                </c:pt>
                <c:pt idx="48088">
                  <c:v>0.85764223292313102</c:v>
                </c:pt>
                <c:pt idx="48089">
                  <c:v>0.85766006777242698</c:v>
                </c:pt>
                <c:pt idx="48090">
                  <c:v>0.85767790262172205</c:v>
                </c:pt>
                <c:pt idx="48091">
                  <c:v>0.85769573747101802</c:v>
                </c:pt>
                <c:pt idx="48092">
                  <c:v>0.85771357232031298</c:v>
                </c:pt>
                <c:pt idx="48093">
                  <c:v>0.85773140716960905</c:v>
                </c:pt>
                <c:pt idx="48094">
                  <c:v>0.85774924201890401</c:v>
                </c:pt>
                <c:pt idx="48095">
                  <c:v>0.85776707686819997</c:v>
                </c:pt>
                <c:pt idx="48096">
                  <c:v>0.85778491171749505</c:v>
                </c:pt>
                <c:pt idx="48097">
                  <c:v>0.85780274656679101</c:v>
                </c:pt>
                <c:pt idx="48098">
                  <c:v>0.85782058141608697</c:v>
                </c:pt>
                <c:pt idx="48099">
                  <c:v>0.85783841626538204</c:v>
                </c:pt>
                <c:pt idx="48100">
                  <c:v>0.857856251114678</c:v>
                </c:pt>
                <c:pt idx="48101">
                  <c:v>0.85787408596397297</c:v>
                </c:pt>
                <c:pt idx="48102">
                  <c:v>0.85789192081326904</c:v>
                </c:pt>
                <c:pt idx="48103">
                  <c:v>0.857909755662564</c:v>
                </c:pt>
                <c:pt idx="48104">
                  <c:v>0.85792759051185996</c:v>
                </c:pt>
                <c:pt idx="48105">
                  <c:v>0.85794542536115503</c:v>
                </c:pt>
                <c:pt idx="48106">
                  <c:v>0.857963260210451</c:v>
                </c:pt>
                <c:pt idx="48107">
                  <c:v>0.85798109505974596</c:v>
                </c:pt>
                <c:pt idx="48108">
                  <c:v>0.85799892990904203</c:v>
                </c:pt>
                <c:pt idx="48109">
                  <c:v>0.85801676475833699</c:v>
                </c:pt>
                <c:pt idx="48110">
                  <c:v>0.85803459960763295</c:v>
                </c:pt>
                <c:pt idx="48111">
                  <c:v>0.85805243445692803</c:v>
                </c:pt>
                <c:pt idx="48112">
                  <c:v>0.85807026930622399</c:v>
                </c:pt>
                <c:pt idx="48113">
                  <c:v>0.85808810415551895</c:v>
                </c:pt>
                <c:pt idx="48114">
                  <c:v>0.85810593900481502</c:v>
                </c:pt>
                <c:pt idx="48115">
                  <c:v>0.85812377385411098</c:v>
                </c:pt>
                <c:pt idx="48116">
                  <c:v>0.85814160870340594</c:v>
                </c:pt>
                <c:pt idx="48117">
                  <c:v>0.85815944355270202</c:v>
                </c:pt>
                <c:pt idx="48118">
                  <c:v>0.85817727840199698</c:v>
                </c:pt>
                <c:pt idx="48119">
                  <c:v>0.85819511325129305</c:v>
                </c:pt>
                <c:pt idx="48120">
                  <c:v>0.85821294810058801</c:v>
                </c:pt>
                <c:pt idx="48121">
                  <c:v>0.85823078294988397</c:v>
                </c:pt>
                <c:pt idx="48122">
                  <c:v>0.85824861779917905</c:v>
                </c:pt>
                <c:pt idx="48123">
                  <c:v>0.85826645264847501</c:v>
                </c:pt>
                <c:pt idx="48124">
                  <c:v>0.85828428749776997</c:v>
                </c:pt>
                <c:pt idx="48125">
                  <c:v>0.85830212234706604</c:v>
                </c:pt>
                <c:pt idx="48126">
                  <c:v>0.85831995719636101</c:v>
                </c:pt>
                <c:pt idx="48127">
                  <c:v>0.85833779204565697</c:v>
                </c:pt>
                <c:pt idx="48128">
                  <c:v>0.85835562689495204</c:v>
                </c:pt>
                <c:pt idx="48129">
                  <c:v>0.858373461744248</c:v>
                </c:pt>
                <c:pt idx="48130">
                  <c:v>0.85839129659354296</c:v>
                </c:pt>
                <c:pt idx="48131">
                  <c:v>0.85840913144283904</c:v>
                </c:pt>
                <c:pt idx="48132">
                  <c:v>0.858426966292134</c:v>
                </c:pt>
                <c:pt idx="48133">
                  <c:v>0.85844480114142996</c:v>
                </c:pt>
                <c:pt idx="48134">
                  <c:v>0.85846263599072503</c:v>
                </c:pt>
                <c:pt idx="48135">
                  <c:v>0.85848047084002099</c:v>
                </c:pt>
                <c:pt idx="48136">
                  <c:v>0.85849830568931695</c:v>
                </c:pt>
                <c:pt idx="48137">
                  <c:v>0.85851614053861203</c:v>
                </c:pt>
                <c:pt idx="48138">
                  <c:v>0.85853397538790799</c:v>
                </c:pt>
                <c:pt idx="48139">
                  <c:v>0.85855181023720295</c:v>
                </c:pt>
                <c:pt idx="48140">
                  <c:v>0.85856964508649902</c:v>
                </c:pt>
                <c:pt idx="48141">
                  <c:v>0.85858747993579398</c:v>
                </c:pt>
                <c:pt idx="48142">
                  <c:v>0.85860531478508995</c:v>
                </c:pt>
                <c:pt idx="48143">
                  <c:v>0.85862314963438502</c:v>
                </c:pt>
                <c:pt idx="48144">
                  <c:v>0.85864098448368098</c:v>
                </c:pt>
                <c:pt idx="48145">
                  <c:v>0.85865881933297605</c:v>
                </c:pt>
                <c:pt idx="48146">
                  <c:v>0.85867665418227201</c:v>
                </c:pt>
                <c:pt idx="48147">
                  <c:v>0.85869448903156698</c:v>
                </c:pt>
                <c:pt idx="48148">
                  <c:v>0.85871232388086305</c:v>
                </c:pt>
                <c:pt idx="48149">
                  <c:v>0.85873015873015801</c:v>
                </c:pt>
                <c:pt idx="48150">
                  <c:v>0.85874799357945397</c:v>
                </c:pt>
                <c:pt idx="48151">
                  <c:v>0.85876582842874905</c:v>
                </c:pt>
                <c:pt idx="48152">
                  <c:v>0.85878366327804501</c:v>
                </c:pt>
                <c:pt idx="48153">
                  <c:v>0.85880149812733997</c:v>
                </c:pt>
                <c:pt idx="48154">
                  <c:v>0.85881933297663604</c:v>
                </c:pt>
                <c:pt idx="48155">
                  <c:v>0.858837167825931</c:v>
                </c:pt>
                <c:pt idx="48156">
                  <c:v>0.85885500267522696</c:v>
                </c:pt>
                <c:pt idx="48157">
                  <c:v>0.85887283752452204</c:v>
                </c:pt>
                <c:pt idx="48158">
                  <c:v>0.858890672373818</c:v>
                </c:pt>
                <c:pt idx="48159">
                  <c:v>0.85890850722311396</c:v>
                </c:pt>
                <c:pt idx="48160">
                  <c:v>0.85892634207240903</c:v>
                </c:pt>
                <c:pt idx="48161">
                  <c:v>0.85894417692170499</c:v>
                </c:pt>
                <c:pt idx="48162">
                  <c:v>0.85896201177099996</c:v>
                </c:pt>
                <c:pt idx="48163">
                  <c:v>0.85897984662029603</c:v>
                </c:pt>
                <c:pt idx="48164">
                  <c:v>0.85899768146959099</c:v>
                </c:pt>
                <c:pt idx="48165">
                  <c:v>0.85901551631888695</c:v>
                </c:pt>
                <c:pt idx="48166">
                  <c:v>0.85903335116818202</c:v>
                </c:pt>
                <c:pt idx="48167">
                  <c:v>0.85905118601747799</c:v>
                </c:pt>
                <c:pt idx="48168">
                  <c:v>0.85906902086677295</c:v>
                </c:pt>
                <c:pt idx="48169">
                  <c:v>0.85908685571606902</c:v>
                </c:pt>
                <c:pt idx="48170">
                  <c:v>0.85910469056536398</c:v>
                </c:pt>
                <c:pt idx="48171">
                  <c:v>0.85912252541466005</c:v>
                </c:pt>
                <c:pt idx="48172">
                  <c:v>0.85914036026395502</c:v>
                </c:pt>
                <c:pt idx="48173">
                  <c:v>0.85915819511325098</c:v>
                </c:pt>
                <c:pt idx="48174">
                  <c:v>0.85917602996254605</c:v>
                </c:pt>
                <c:pt idx="48175">
                  <c:v>0.85919386481184201</c:v>
                </c:pt>
                <c:pt idx="48176">
                  <c:v>0.85921169966113697</c:v>
                </c:pt>
                <c:pt idx="48177">
                  <c:v>0.85922953451043305</c:v>
                </c:pt>
                <c:pt idx="48178">
                  <c:v>0.85924736935972801</c:v>
                </c:pt>
                <c:pt idx="48179">
                  <c:v>0.85926520420902397</c:v>
                </c:pt>
                <c:pt idx="48180">
                  <c:v>0.85928303905831904</c:v>
                </c:pt>
                <c:pt idx="48181">
                  <c:v>0.859300873907615</c:v>
                </c:pt>
                <c:pt idx="48182">
                  <c:v>0.85931870875691097</c:v>
                </c:pt>
                <c:pt idx="48183">
                  <c:v>0.85933654360620604</c:v>
                </c:pt>
                <c:pt idx="48184">
                  <c:v>0.859354378455502</c:v>
                </c:pt>
                <c:pt idx="48185">
                  <c:v>0.85937221330479696</c:v>
                </c:pt>
                <c:pt idx="48186">
                  <c:v>0.85939004815409303</c:v>
                </c:pt>
                <c:pt idx="48187">
                  <c:v>0.859407883003388</c:v>
                </c:pt>
                <c:pt idx="48188">
                  <c:v>0.85942571785268396</c:v>
                </c:pt>
                <c:pt idx="48189">
                  <c:v>0.85944355270197903</c:v>
                </c:pt>
                <c:pt idx="48190">
                  <c:v>0.85946138755127499</c:v>
                </c:pt>
                <c:pt idx="48191">
                  <c:v>0.85947922240056995</c:v>
                </c:pt>
                <c:pt idx="48192">
                  <c:v>0.85949705724986603</c:v>
                </c:pt>
                <c:pt idx="48193">
                  <c:v>0.85951489209916099</c:v>
                </c:pt>
                <c:pt idx="48194">
                  <c:v>0.85953272694845695</c:v>
                </c:pt>
                <c:pt idx="48195">
                  <c:v>0.85955056179775202</c:v>
                </c:pt>
                <c:pt idx="48196">
                  <c:v>0.85956839664704798</c:v>
                </c:pt>
                <c:pt idx="48197">
                  <c:v>0.85958623149634295</c:v>
                </c:pt>
                <c:pt idx="48198">
                  <c:v>0.85960406634563902</c:v>
                </c:pt>
                <c:pt idx="48199">
                  <c:v>0.85962190119493398</c:v>
                </c:pt>
                <c:pt idx="48200">
                  <c:v>0.85963973604423005</c:v>
                </c:pt>
                <c:pt idx="48201">
                  <c:v>0.85965757089352501</c:v>
                </c:pt>
                <c:pt idx="48202">
                  <c:v>0.85967540574282097</c:v>
                </c:pt>
                <c:pt idx="48203">
                  <c:v>0.85969324059211705</c:v>
                </c:pt>
                <c:pt idx="48204">
                  <c:v>0.85971107544141201</c:v>
                </c:pt>
                <c:pt idx="48205">
                  <c:v>0.85972891029070797</c:v>
                </c:pt>
                <c:pt idx="48206">
                  <c:v>0.85974674514000304</c:v>
                </c:pt>
                <c:pt idx="48207">
                  <c:v>0.859764579989299</c:v>
                </c:pt>
                <c:pt idx="48208">
                  <c:v>0.85978241483859397</c:v>
                </c:pt>
                <c:pt idx="48209">
                  <c:v>0.85980024968789004</c:v>
                </c:pt>
                <c:pt idx="48210">
                  <c:v>0.859818084537185</c:v>
                </c:pt>
                <c:pt idx="48211">
                  <c:v>0.85983591938648096</c:v>
                </c:pt>
                <c:pt idx="48212">
                  <c:v>0.85985375423577604</c:v>
                </c:pt>
                <c:pt idx="48213">
                  <c:v>0.859871589085072</c:v>
                </c:pt>
                <c:pt idx="48214">
                  <c:v>0.85988942393436696</c:v>
                </c:pt>
                <c:pt idx="48215">
                  <c:v>0.85990725878366303</c:v>
                </c:pt>
                <c:pt idx="48216">
                  <c:v>0.85992509363295799</c:v>
                </c:pt>
                <c:pt idx="48217">
                  <c:v>0.85994292848225395</c:v>
                </c:pt>
                <c:pt idx="48218">
                  <c:v>0.85996076333154903</c:v>
                </c:pt>
                <c:pt idx="48219">
                  <c:v>0.85997859818084499</c:v>
                </c:pt>
                <c:pt idx="48220">
                  <c:v>0.85999643303014095</c:v>
                </c:pt>
                <c:pt idx="48221">
                  <c:v>0.86001426787943602</c:v>
                </c:pt>
                <c:pt idx="48222">
                  <c:v>0.86003210272873198</c:v>
                </c:pt>
                <c:pt idx="48223">
                  <c:v>0.86004993757802695</c:v>
                </c:pt>
                <c:pt idx="48224">
                  <c:v>0.86006777242732302</c:v>
                </c:pt>
                <c:pt idx="48225">
                  <c:v>0.86008560727661798</c:v>
                </c:pt>
                <c:pt idx="48226">
                  <c:v>0.86010344212591405</c:v>
                </c:pt>
                <c:pt idx="48227">
                  <c:v>0.86012127697520901</c:v>
                </c:pt>
                <c:pt idx="48228">
                  <c:v>0.86013911182450498</c:v>
                </c:pt>
                <c:pt idx="48229">
                  <c:v>0.86015694667380005</c:v>
                </c:pt>
                <c:pt idx="48230">
                  <c:v>0.86017478152309601</c:v>
                </c:pt>
                <c:pt idx="48231">
                  <c:v>0.86019261637239097</c:v>
                </c:pt>
                <c:pt idx="48232">
                  <c:v>0.86021045122168704</c:v>
                </c:pt>
                <c:pt idx="48233">
                  <c:v>0.86022828607098201</c:v>
                </c:pt>
                <c:pt idx="48234">
                  <c:v>0.86024612092027797</c:v>
                </c:pt>
                <c:pt idx="48235">
                  <c:v>0.86026395576957304</c:v>
                </c:pt>
                <c:pt idx="48236">
                  <c:v>0.860281790618869</c:v>
                </c:pt>
                <c:pt idx="48237">
                  <c:v>0.86029962546816396</c:v>
                </c:pt>
                <c:pt idx="48238">
                  <c:v>0.86031746031746004</c:v>
                </c:pt>
                <c:pt idx="48239">
                  <c:v>0.860335295166755</c:v>
                </c:pt>
                <c:pt idx="48240">
                  <c:v>0.86035313001605096</c:v>
                </c:pt>
                <c:pt idx="48241">
                  <c:v>0.86037096486534603</c:v>
                </c:pt>
                <c:pt idx="48242">
                  <c:v>0.86038879971464199</c:v>
                </c:pt>
                <c:pt idx="48243">
                  <c:v>0.86040663456393796</c:v>
                </c:pt>
                <c:pt idx="48244">
                  <c:v>0.86042446941323303</c:v>
                </c:pt>
                <c:pt idx="48245">
                  <c:v>0.86044230426252899</c:v>
                </c:pt>
                <c:pt idx="48246">
                  <c:v>0.86046013911182395</c:v>
                </c:pt>
                <c:pt idx="48247">
                  <c:v>0.86047797396112002</c:v>
                </c:pt>
                <c:pt idx="48248">
                  <c:v>0.86049580881041499</c:v>
                </c:pt>
                <c:pt idx="48249">
                  <c:v>0.86051364365971095</c:v>
                </c:pt>
                <c:pt idx="48250">
                  <c:v>0.86053147850900602</c:v>
                </c:pt>
                <c:pt idx="48251">
                  <c:v>0.86054931335830198</c:v>
                </c:pt>
                <c:pt idx="48252">
                  <c:v>0.86056714820759705</c:v>
                </c:pt>
                <c:pt idx="48253">
                  <c:v>0.86058498305689302</c:v>
                </c:pt>
                <c:pt idx="48254">
                  <c:v>0.86060281790618798</c:v>
                </c:pt>
                <c:pt idx="48255">
                  <c:v>0.86062065275548405</c:v>
                </c:pt>
                <c:pt idx="48256">
                  <c:v>0.86063848760477901</c:v>
                </c:pt>
                <c:pt idx="48257">
                  <c:v>0.86065632245407497</c:v>
                </c:pt>
                <c:pt idx="48258">
                  <c:v>0.86067415730337005</c:v>
                </c:pt>
                <c:pt idx="48259">
                  <c:v>0.86069199215266601</c:v>
                </c:pt>
                <c:pt idx="48260">
                  <c:v>0.86070982700196097</c:v>
                </c:pt>
                <c:pt idx="48261">
                  <c:v>0.86072766185125704</c:v>
                </c:pt>
                <c:pt idx="48262">
                  <c:v>0.860745496700552</c:v>
                </c:pt>
                <c:pt idx="48263">
                  <c:v>0.86076333154984797</c:v>
                </c:pt>
                <c:pt idx="48264">
                  <c:v>0.86078116639914304</c:v>
                </c:pt>
                <c:pt idx="48265">
                  <c:v>0.860799001248439</c:v>
                </c:pt>
                <c:pt idx="48266">
                  <c:v>0.86081683609773496</c:v>
                </c:pt>
                <c:pt idx="48267">
                  <c:v>0.86083467094703003</c:v>
                </c:pt>
                <c:pt idx="48268">
                  <c:v>0.860852505796326</c:v>
                </c:pt>
                <c:pt idx="48269">
                  <c:v>0.86087034064562096</c:v>
                </c:pt>
                <c:pt idx="48270">
                  <c:v>0.86088817549491703</c:v>
                </c:pt>
                <c:pt idx="48271">
                  <c:v>0.86090601034421199</c:v>
                </c:pt>
                <c:pt idx="48272">
                  <c:v>0.86092384519350795</c:v>
                </c:pt>
                <c:pt idx="48273">
                  <c:v>0.86094168004280303</c:v>
                </c:pt>
                <c:pt idx="48274">
                  <c:v>0.86095951489209899</c:v>
                </c:pt>
                <c:pt idx="48275">
                  <c:v>0.86097734974139395</c:v>
                </c:pt>
                <c:pt idx="48276">
                  <c:v>0.86099518459069002</c:v>
                </c:pt>
                <c:pt idx="48277">
                  <c:v>0.86101301943998498</c:v>
                </c:pt>
                <c:pt idx="48278">
                  <c:v>0.86103085428928094</c:v>
                </c:pt>
                <c:pt idx="48279">
                  <c:v>0.86104868913857602</c:v>
                </c:pt>
                <c:pt idx="48280">
                  <c:v>0.86106652398787198</c:v>
                </c:pt>
                <c:pt idx="48281">
                  <c:v>0.86108435883716705</c:v>
                </c:pt>
                <c:pt idx="48282">
                  <c:v>0.86110219368646301</c:v>
                </c:pt>
                <c:pt idx="48283">
                  <c:v>0.86112002853575798</c:v>
                </c:pt>
                <c:pt idx="48284">
                  <c:v>0.86113786338505405</c:v>
                </c:pt>
                <c:pt idx="48285">
                  <c:v>0.86115569823434901</c:v>
                </c:pt>
                <c:pt idx="48286">
                  <c:v>0.86117353308364497</c:v>
                </c:pt>
                <c:pt idx="48287">
                  <c:v>0.86119136793294004</c:v>
                </c:pt>
                <c:pt idx="48288">
                  <c:v>0.86120920278223601</c:v>
                </c:pt>
                <c:pt idx="48289">
                  <c:v>0.86122703763153197</c:v>
                </c:pt>
                <c:pt idx="48290">
                  <c:v>0.86124487248082704</c:v>
                </c:pt>
                <c:pt idx="48291">
                  <c:v>0.861262707330123</c:v>
                </c:pt>
                <c:pt idx="48292">
                  <c:v>0.86128054217941796</c:v>
                </c:pt>
                <c:pt idx="48293">
                  <c:v>0.86129837702871404</c:v>
                </c:pt>
                <c:pt idx="48294">
                  <c:v>0.861316211878009</c:v>
                </c:pt>
                <c:pt idx="48295">
                  <c:v>0.86133404672730496</c:v>
                </c:pt>
                <c:pt idx="48296">
                  <c:v>0.86135188157660003</c:v>
                </c:pt>
                <c:pt idx="48297">
                  <c:v>0.86136971642589599</c:v>
                </c:pt>
                <c:pt idx="48298">
                  <c:v>0.86138755127519095</c:v>
                </c:pt>
                <c:pt idx="48299">
                  <c:v>0.86140538612448703</c:v>
                </c:pt>
                <c:pt idx="48300">
                  <c:v>0.86142322097378199</c:v>
                </c:pt>
                <c:pt idx="48301">
                  <c:v>0.86144105582307795</c:v>
                </c:pt>
                <c:pt idx="48302">
                  <c:v>0.86145889067237302</c:v>
                </c:pt>
                <c:pt idx="48303">
                  <c:v>0.86147672552166898</c:v>
                </c:pt>
                <c:pt idx="48304">
                  <c:v>0.86149456037096395</c:v>
                </c:pt>
                <c:pt idx="48305">
                  <c:v>0.86151239522026002</c:v>
                </c:pt>
                <c:pt idx="48306">
                  <c:v>0.86153023006955498</c:v>
                </c:pt>
                <c:pt idx="48307">
                  <c:v>0.86154806491885105</c:v>
                </c:pt>
                <c:pt idx="48308">
                  <c:v>0.86156589976814701</c:v>
                </c:pt>
                <c:pt idx="48309">
                  <c:v>0.86158373461744198</c:v>
                </c:pt>
                <c:pt idx="48310">
                  <c:v>0.86160156946673805</c:v>
                </c:pt>
                <c:pt idx="48311">
                  <c:v>0.86161940431603301</c:v>
                </c:pt>
                <c:pt idx="48312">
                  <c:v>0.86163723916532897</c:v>
                </c:pt>
                <c:pt idx="48313">
                  <c:v>0.86165507401462405</c:v>
                </c:pt>
                <c:pt idx="48314">
                  <c:v>0.86167290886392001</c:v>
                </c:pt>
                <c:pt idx="48315">
                  <c:v>0.86169074371321497</c:v>
                </c:pt>
                <c:pt idx="48316">
                  <c:v>0.86170857856251104</c:v>
                </c:pt>
                <c:pt idx="48317">
                  <c:v>0.861726413411806</c:v>
                </c:pt>
                <c:pt idx="48318">
                  <c:v>0.86174424826110196</c:v>
                </c:pt>
                <c:pt idx="48319">
                  <c:v>0.86176208311039704</c:v>
                </c:pt>
                <c:pt idx="48320">
                  <c:v>0.861779917959693</c:v>
                </c:pt>
                <c:pt idx="48321">
                  <c:v>0.86179775280898796</c:v>
                </c:pt>
                <c:pt idx="48322">
                  <c:v>0.86181558765828403</c:v>
                </c:pt>
                <c:pt idx="48323">
                  <c:v>0.86183342250757899</c:v>
                </c:pt>
                <c:pt idx="48324">
                  <c:v>0.86185125735687496</c:v>
                </c:pt>
                <c:pt idx="48325">
                  <c:v>0.86186909220617003</c:v>
                </c:pt>
                <c:pt idx="48326">
                  <c:v>0.86188692705546599</c:v>
                </c:pt>
                <c:pt idx="48327">
                  <c:v>0.86190476190476195</c:v>
                </c:pt>
                <c:pt idx="48328">
                  <c:v>0.86192259675405702</c:v>
                </c:pt>
                <c:pt idx="48329">
                  <c:v>0.86194043160335299</c:v>
                </c:pt>
                <c:pt idx="48330">
                  <c:v>0.86195826645264795</c:v>
                </c:pt>
                <c:pt idx="48331">
                  <c:v>0.86197610130194402</c:v>
                </c:pt>
                <c:pt idx="48332">
                  <c:v>0.86199393615123898</c:v>
                </c:pt>
                <c:pt idx="48333">
                  <c:v>0.86201177100053505</c:v>
                </c:pt>
                <c:pt idx="48334">
                  <c:v>0.86202960584983002</c:v>
                </c:pt>
                <c:pt idx="48335">
                  <c:v>0.86204744069912598</c:v>
                </c:pt>
                <c:pt idx="48336">
                  <c:v>0.86206527554842105</c:v>
                </c:pt>
                <c:pt idx="48337">
                  <c:v>0.86208311039771701</c:v>
                </c:pt>
                <c:pt idx="48338">
                  <c:v>0.86210094524701197</c:v>
                </c:pt>
                <c:pt idx="48339">
                  <c:v>0.86211878009630805</c:v>
                </c:pt>
                <c:pt idx="48340">
                  <c:v>0.86213661494560301</c:v>
                </c:pt>
                <c:pt idx="48341">
                  <c:v>0.86215444979489897</c:v>
                </c:pt>
                <c:pt idx="48342">
                  <c:v>0.86217228464419404</c:v>
                </c:pt>
                <c:pt idx="48343">
                  <c:v>0.86219011949349</c:v>
                </c:pt>
                <c:pt idx="48344">
                  <c:v>0.86220795434278497</c:v>
                </c:pt>
                <c:pt idx="48345">
                  <c:v>0.86222578919208104</c:v>
                </c:pt>
                <c:pt idx="48346">
                  <c:v>0.862243624041376</c:v>
                </c:pt>
                <c:pt idx="48347">
                  <c:v>0.86226145889067196</c:v>
                </c:pt>
                <c:pt idx="48348">
                  <c:v>0.86227929373996703</c:v>
                </c:pt>
                <c:pt idx="48349">
                  <c:v>0.862297128589263</c:v>
                </c:pt>
                <c:pt idx="48350">
                  <c:v>0.86231496343855896</c:v>
                </c:pt>
                <c:pt idx="48351">
                  <c:v>0.86233279828785403</c:v>
                </c:pt>
                <c:pt idx="48352">
                  <c:v>0.86235063313714999</c:v>
                </c:pt>
                <c:pt idx="48353">
                  <c:v>0.86236846798644495</c:v>
                </c:pt>
                <c:pt idx="48354">
                  <c:v>0.86238630283574103</c:v>
                </c:pt>
                <c:pt idx="48355">
                  <c:v>0.86240413768503599</c:v>
                </c:pt>
                <c:pt idx="48356">
                  <c:v>0.86242197253433195</c:v>
                </c:pt>
                <c:pt idx="48357">
                  <c:v>0.86243980738362702</c:v>
                </c:pt>
                <c:pt idx="48358">
                  <c:v>0.86245764223292298</c:v>
                </c:pt>
                <c:pt idx="48359">
                  <c:v>0.86247547708221795</c:v>
                </c:pt>
                <c:pt idx="48360">
                  <c:v>0.86249331193151402</c:v>
                </c:pt>
                <c:pt idx="48361">
                  <c:v>0.86251114678080898</c:v>
                </c:pt>
                <c:pt idx="48362">
                  <c:v>0.86252898163010505</c:v>
                </c:pt>
                <c:pt idx="48363">
                  <c:v>0.86254681647940001</c:v>
                </c:pt>
                <c:pt idx="48364">
                  <c:v>0.86256465132869597</c:v>
                </c:pt>
                <c:pt idx="48365">
                  <c:v>0.86258248617799105</c:v>
                </c:pt>
                <c:pt idx="48366">
                  <c:v>0.86260032102728701</c:v>
                </c:pt>
                <c:pt idx="48367">
                  <c:v>0.86261815587658197</c:v>
                </c:pt>
                <c:pt idx="48368">
                  <c:v>0.86263599072587804</c:v>
                </c:pt>
                <c:pt idx="48369">
                  <c:v>0.86265382557517301</c:v>
                </c:pt>
                <c:pt idx="48370">
                  <c:v>0.86267166042446897</c:v>
                </c:pt>
                <c:pt idx="48371">
                  <c:v>0.86268949527376404</c:v>
                </c:pt>
                <c:pt idx="48372">
                  <c:v>0.86270733012306</c:v>
                </c:pt>
                <c:pt idx="48373">
                  <c:v>0.86272516497235596</c:v>
                </c:pt>
                <c:pt idx="48374">
                  <c:v>0.86274299982165104</c:v>
                </c:pt>
                <c:pt idx="48375">
                  <c:v>0.862760834670947</c:v>
                </c:pt>
                <c:pt idx="48376">
                  <c:v>0.86277866952024196</c:v>
                </c:pt>
                <c:pt idx="48377">
                  <c:v>0.86279650436953803</c:v>
                </c:pt>
                <c:pt idx="48378">
                  <c:v>0.86281433921883299</c:v>
                </c:pt>
                <c:pt idx="48379">
                  <c:v>0.86283217406812895</c:v>
                </c:pt>
                <c:pt idx="48380">
                  <c:v>0.86285000891742403</c:v>
                </c:pt>
                <c:pt idx="48381">
                  <c:v>0.86286784376671999</c:v>
                </c:pt>
                <c:pt idx="48382">
                  <c:v>0.86288567861601495</c:v>
                </c:pt>
                <c:pt idx="48383">
                  <c:v>0.86290351346531102</c:v>
                </c:pt>
                <c:pt idx="48384">
                  <c:v>0.86292134831460598</c:v>
                </c:pt>
                <c:pt idx="48385">
                  <c:v>0.86293918316390195</c:v>
                </c:pt>
                <c:pt idx="48386">
                  <c:v>0.86295701801319702</c:v>
                </c:pt>
                <c:pt idx="48387">
                  <c:v>0.86297485286249298</c:v>
                </c:pt>
                <c:pt idx="48388">
                  <c:v>0.86299268771178805</c:v>
                </c:pt>
                <c:pt idx="48389">
                  <c:v>0.86301052256108401</c:v>
                </c:pt>
                <c:pt idx="48390">
                  <c:v>0.86302835741037898</c:v>
                </c:pt>
                <c:pt idx="48391">
                  <c:v>0.86304619225967505</c:v>
                </c:pt>
                <c:pt idx="48392">
                  <c:v>0.86306402710897001</c:v>
                </c:pt>
                <c:pt idx="48393">
                  <c:v>0.86308186195826597</c:v>
                </c:pt>
                <c:pt idx="48394">
                  <c:v>0.86309969680756105</c:v>
                </c:pt>
                <c:pt idx="48395">
                  <c:v>0.86311753165685701</c:v>
                </c:pt>
                <c:pt idx="48396">
                  <c:v>0.86313536650615297</c:v>
                </c:pt>
                <c:pt idx="48397">
                  <c:v>0.86315320135544804</c:v>
                </c:pt>
                <c:pt idx="48398">
                  <c:v>0.863171036204744</c:v>
                </c:pt>
                <c:pt idx="48399">
                  <c:v>0.86318887105403896</c:v>
                </c:pt>
                <c:pt idx="48400">
                  <c:v>0.86320670590333504</c:v>
                </c:pt>
                <c:pt idx="48401">
                  <c:v>0.86322454075263</c:v>
                </c:pt>
                <c:pt idx="48402">
                  <c:v>0.86324237560192596</c:v>
                </c:pt>
                <c:pt idx="48403">
                  <c:v>0.86326021045122103</c:v>
                </c:pt>
                <c:pt idx="48404">
                  <c:v>0.86327804530051699</c:v>
                </c:pt>
                <c:pt idx="48405">
                  <c:v>0.86329588014981196</c:v>
                </c:pt>
                <c:pt idx="48406">
                  <c:v>0.86331371499910803</c:v>
                </c:pt>
                <c:pt idx="48407">
                  <c:v>0.86333154984840299</c:v>
                </c:pt>
                <c:pt idx="48408">
                  <c:v>0.86334938469769895</c:v>
                </c:pt>
                <c:pt idx="48409">
                  <c:v>0.86336721954699402</c:v>
                </c:pt>
                <c:pt idx="48410">
                  <c:v>0.86338505439628999</c:v>
                </c:pt>
                <c:pt idx="48411">
                  <c:v>0.86340288924558495</c:v>
                </c:pt>
                <c:pt idx="48412">
                  <c:v>0.86342072409488102</c:v>
                </c:pt>
                <c:pt idx="48413">
                  <c:v>0.86343855894417598</c:v>
                </c:pt>
                <c:pt idx="48414">
                  <c:v>0.86345639379347205</c:v>
                </c:pt>
                <c:pt idx="48415">
                  <c:v>0.86347422864276802</c:v>
                </c:pt>
                <c:pt idx="48416">
                  <c:v>0.86349206349206298</c:v>
                </c:pt>
                <c:pt idx="48417">
                  <c:v>0.86350989834135905</c:v>
                </c:pt>
                <c:pt idx="48418">
                  <c:v>0.86352773319065401</c:v>
                </c:pt>
                <c:pt idx="48419">
                  <c:v>0.86354556803994997</c:v>
                </c:pt>
                <c:pt idx="48420">
                  <c:v>0.86356340288924505</c:v>
                </c:pt>
                <c:pt idx="48421">
                  <c:v>0.86358123773854101</c:v>
                </c:pt>
                <c:pt idx="48422">
                  <c:v>0.86359907258783597</c:v>
                </c:pt>
                <c:pt idx="48423">
                  <c:v>0.86361690743713204</c:v>
                </c:pt>
                <c:pt idx="48424">
                  <c:v>0.863634742286427</c:v>
                </c:pt>
                <c:pt idx="48425">
                  <c:v>0.86365257713572297</c:v>
                </c:pt>
                <c:pt idx="48426">
                  <c:v>0.86367041198501804</c:v>
                </c:pt>
                <c:pt idx="48427">
                  <c:v>0.863688246834314</c:v>
                </c:pt>
                <c:pt idx="48428">
                  <c:v>0.86370608168360896</c:v>
                </c:pt>
                <c:pt idx="48429">
                  <c:v>0.86372391653290503</c:v>
                </c:pt>
                <c:pt idx="48430">
                  <c:v>0.8637417513822</c:v>
                </c:pt>
                <c:pt idx="48431">
                  <c:v>0.86375958623149596</c:v>
                </c:pt>
                <c:pt idx="48432">
                  <c:v>0.86377742108079103</c:v>
                </c:pt>
                <c:pt idx="48433">
                  <c:v>0.86379525593008699</c:v>
                </c:pt>
                <c:pt idx="48434">
                  <c:v>0.86381309077938295</c:v>
                </c:pt>
                <c:pt idx="48435">
                  <c:v>0.86383092562867803</c:v>
                </c:pt>
                <c:pt idx="48436">
                  <c:v>0.86384876047797399</c:v>
                </c:pt>
                <c:pt idx="48437">
                  <c:v>0.86386659532726895</c:v>
                </c:pt>
                <c:pt idx="48438">
                  <c:v>0.86388443017656502</c:v>
                </c:pt>
                <c:pt idx="48439">
                  <c:v>0.86390226502585998</c:v>
                </c:pt>
                <c:pt idx="48440">
                  <c:v>0.86392009987515594</c:v>
                </c:pt>
                <c:pt idx="48441">
                  <c:v>0.86393793472445102</c:v>
                </c:pt>
                <c:pt idx="48442">
                  <c:v>0.86395576957374698</c:v>
                </c:pt>
                <c:pt idx="48443">
                  <c:v>0.86397360442304205</c:v>
                </c:pt>
                <c:pt idx="48444">
                  <c:v>0.86399143927233801</c:v>
                </c:pt>
                <c:pt idx="48445">
                  <c:v>0.86400927412163298</c:v>
                </c:pt>
                <c:pt idx="48446">
                  <c:v>0.86402710897092905</c:v>
                </c:pt>
                <c:pt idx="48447">
                  <c:v>0.86404494382022401</c:v>
                </c:pt>
                <c:pt idx="48448">
                  <c:v>0.86406277866951997</c:v>
                </c:pt>
                <c:pt idx="48449">
                  <c:v>0.86408061351881504</c:v>
                </c:pt>
                <c:pt idx="48450">
                  <c:v>0.86409844836811101</c:v>
                </c:pt>
                <c:pt idx="48451">
                  <c:v>0.86411628321740597</c:v>
                </c:pt>
                <c:pt idx="48452">
                  <c:v>0.86413411806670204</c:v>
                </c:pt>
                <c:pt idx="48453">
                  <c:v>0.864151952915997</c:v>
                </c:pt>
                <c:pt idx="48454">
                  <c:v>0.86416978776529296</c:v>
                </c:pt>
                <c:pt idx="48455">
                  <c:v>0.86418762261458804</c:v>
                </c:pt>
                <c:pt idx="48456">
                  <c:v>0.864205457463884</c:v>
                </c:pt>
                <c:pt idx="48457">
                  <c:v>0.86422329231317996</c:v>
                </c:pt>
                <c:pt idx="48458">
                  <c:v>0.86424112716247503</c:v>
                </c:pt>
                <c:pt idx="48459">
                  <c:v>0.86425896201177099</c:v>
                </c:pt>
                <c:pt idx="48460">
                  <c:v>0.86427679686106595</c:v>
                </c:pt>
                <c:pt idx="48461">
                  <c:v>0.86429463171036203</c:v>
                </c:pt>
                <c:pt idx="48462">
                  <c:v>0.86431246655965699</c:v>
                </c:pt>
                <c:pt idx="48463">
                  <c:v>0.86433030140895295</c:v>
                </c:pt>
                <c:pt idx="48464">
                  <c:v>0.86434813625824802</c:v>
                </c:pt>
                <c:pt idx="48465">
                  <c:v>0.86436597110754398</c:v>
                </c:pt>
                <c:pt idx="48466">
                  <c:v>0.86438380595683895</c:v>
                </c:pt>
                <c:pt idx="48467">
                  <c:v>0.86440164080613502</c:v>
                </c:pt>
                <c:pt idx="48468">
                  <c:v>0.86441947565542998</c:v>
                </c:pt>
                <c:pt idx="48469">
                  <c:v>0.86443731050472605</c:v>
                </c:pt>
                <c:pt idx="48470">
                  <c:v>0.86445514535402102</c:v>
                </c:pt>
                <c:pt idx="48471">
                  <c:v>0.86447298020331698</c:v>
                </c:pt>
                <c:pt idx="48472">
                  <c:v>0.86449081505261205</c:v>
                </c:pt>
                <c:pt idx="48473">
                  <c:v>0.86450864990190801</c:v>
                </c:pt>
                <c:pt idx="48474">
                  <c:v>0.86452648475120297</c:v>
                </c:pt>
                <c:pt idx="48475">
                  <c:v>0.86454431960049904</c:v>
                </c:pt>
                <c:pt idx="48476">
                  <c:v>0.86456215444979401</c:v>
                </c:pt>
                <c:pt idx="48477">
                  <c:v>0.86457998929908997</c:v>
                </c:pt>
                <c:pt idx="48478">
                  <c:v>0.86459782414838504</c:v>
                </c:pt>
                <c:pt idx="48479">
                  <c:v>0.864615658997681</c:v>
                </c:pt>
                <c:pt idx="48480">
                  <c:v>0.86463349384697696</c:v>
                </c:pt>
                <c:pt idx="48481">
                  <c:v>0.86465132869627204</c:v>
                </c:pt>
                <c:pt idx="48482">
                  <c:v>0.864669163545568</c:v>
                </c:pt>
                <c:pt idx="48483">
                  <c:v>0.86468699839486296</c:v>
                </c:pt>
                <c:pt idx="48484">
                  <c:v>0.86470483324415903</c:v>
                </c:pt>
                <c:pt idx="48485">
                  <c:v>0.86472266809345399</c:v>
                </c:pt>
                <c:pt idx="48486">
                  <c:v>0.86474050294274996</c:v>
                </c:pt>
                <c:pt idx="48487">
                  <c:v>0.86475833779204503</c:v>
                </c:pt>
                <c:pt idx="48488">
                  <c:v>0.86477617264134099</c:v>
                </c:pt>
                <c:pt idx="48489">
                  <c:v>0.86479400749063595</c:v>
                </c:pt>
                <c:pt idx="48490">
                  <c:v>0.86481184233993202</c:v>
                </c:pt>
                <c:pt idx="48491">
                  <c:v>0.86482967718922699</c:v>
                </c:pt>
                <c:pt idx="48492">
                  <c:v>0.86484751203852295</c:v>
                </c:pt>
                <c:pt idx="48493">
                  <c:v>0.86486534688781802</c:v>
                </c:pt>
                <c:pt idx="48494">
                  <c:v>0.86488318173711398</c:v>
                </c:pt>
                <c:pt idx="48495">
                  <c:v>0.86490101658640905</c:v>
                </c:pt>
                <c:pt idx="48496">
                  <c:v>0.86491885143570502</c:v>
                </c:pt>
                <c:pt idx="48497">
                  <c:v>0.86493668628499998</c:v>
                </c:pt>
                <c:pt idx="48498">
                  <c:v>0.86495452113429605</c:v>
                </c:pt>
                <c:pt idx="48499">
                  <c:v>0.86497235598359101</c:v>
                </c:pt>
                <c:pt idx="48500">
                  <c:v>0.86499019083288697</c:v>
                </c:pt>
                <c:pt idx="48501">
                  <c:v>0.86500802568218205</c:v>
                </c:pt>
                <c:pt idx="48502">
                  <c:v>0.86502586053147801</c:v>
                </c:pt>
                <c:pt idx="48503">
                  <c:v>0.86504369538077397</c:v>
                </c:pt>
                <c:pt idx="48504">
                  <c:v>0.86506153023006904</c:v>
                </c:pt>
                <c:pt idx="48505">
                  <c:v>0.865079365079365</c:v>
                </c:pt>
                <c:pt idx="48506">
                  <c:v>0.86509719992865997</c:v>
                </c:pt>
                <c:pt idx="48507">
                  <c:v>0.86511503477795604</c:v>
                </c:pt>
                <c:pt idx="48508">
                  <c:v>0.865132869627251</c:v>
                </c:pt>
                <c:pt idx="48509">
                  <c:v>0.86515070447654696</c:v>
                </c:pt>
                <c:pt idx="48510">
                  <c:v>0.86516853932584203</c:v>
                </c:pt>
                <c:pt idx="48511">
                  <c:v>0.865186374175138</c:v>
                </c:pt>
                <c:pt idx="48512">
                  <c:v>0.86520420902443296</c:v>
                </c:pt>
                <c:pt idx="48513">
                  <c:v>0.86522204387372903</c:v>
                </c:pt>
                <c:pt idx="48514">
                  <c:v>0.86523987872302399</c:v>
                </c:pt>
                <c:pt idx="48515">
                  <c:v>0.86525771357231995</c:v>
                </c:pt>
                <c:pt idx="48516">
                  <c:v>0.86527554842161503</c:v>
                </c:pt>
                <c:pt idx="48517">
                  <c:v>0.86529338327091099</c:v>
                </c:pt>
                <c:pt idx="48518">
                  <c:v>0.86531121812020595</c:v>
                </c:pt>
                <c:pt idx="48519">
                  <c:v>0.86532905296950202</c:v>
                </c:pt>
                <c:pt idx="48520">
                  <c:v>0.86534688781879798</c:v>
                </c:pt>
                <c:pt idx="48521">
                  <c:v>0.86536472266809294</c:v>
                </c:pt>
                <c:pt idx="48522">
                  <c:v>0.86538255751738902</c:v>
                </c:pt>
                <c:pt idx="48523">
                  <c:v>0.86540039236668398</c:v>
                </c:pt>
                <c:pt idx="48524">
                  <c:v>0.86541822721598005</c:v>
                </c:pt>
                <c:pt idx="48525">
                  <c:v>0.86543606206527501</c:v>
                </c:pt>
                <c:pt idx="48526">
                  <c:v>0.86545389691457097</c:v>
                </c:pt>
                <c:pt idx="48527">
                  <c:v>0.86547173176386605</c:v>
                </c:pt>
                <c:pt idx="48528">
                  <c:v>0.86548956661316201</c:v>
                </c:pt>
                <c:pt idx="48529">
                  <c:v>0.86550740146245697</c:v>
                </c:pt>
                <c:pt idx="48530">
                  <c:v>0.86552523631175304</c:v>
                </c:pt>
                <c:pt idx="48531">
                  <c:v>0.86554307116104801</c:v>
                </c:pt>
                <c:pt idx="48532">
                  <c:v>0.86556090601034397</c:v>
                </c:pt>
                <c:pt idx="48533">
                  <c:v>0.86557874085963904</c:v>
                </c:pt>
                <c:pt idx="48534">
                  <c:v>0.865596575708935</c:v>
                </c:pt>
                <c:pt idx="48535">
                  <c:v>0.86561441055822996</c:v>
                </c:pt>
                <c:pt idx="48536">
                  <c:v>0.86563224540752604</c:v>
                </c:pt>
                <c:pt idx="48537">
                  <c:v>0.865650080256821</c:v>
                </c:pt>
                <c:pt idx="48538">
                  <c:v>0.86566791510611696</c:v>
                </c:pt>
                <c:pt idx="48539">
                  <c:v>0.86568574995541203</c:v>
                </c:pt>
                <c:pt idx="48540">
                  <c:v>0.86570358480470799</c:v>
                </c:pt>
                <c:pt idx="48541">
                  <c:v>0.86572141965400395</c:v>
                </c:pt>
                <c:pt idx="48542">
                  <c:v>0.86573925450329903</c:v>
                </c:pt>
                <c:pt idx="48543">
                  <c:v>0.86575708935259499</c:v>
                </c:pt>
                <c:pt idx="48544">
                  <c:v>0.86577492420188995</c:v>
                </c:pt>
                <c:pt idx="48545">
                  <c:v>0.86579275905118602</c:v>
                </c:pt>
                <c:pt idx="48546">
                  <c:v>0.86581059390048098</c:v>
                </c:pt>
                <c:pt idx="48547">
                  <c:v>0.86582842874977695</c:v>
                </c:pt>
                <c:pt idx="48548">
                  <c:v>0.86584626359907202</c:v>
                </c:pt>
                <c:pt idx="48549">
                  <c:v>0.86586409844836798</c:v>
                </c:pt>
                <c:pt idx="48550">
                  <c:v>0.86588193329766305</c:v>
                </c:pt>
                <c:pt idx="48551">
                  <c:v>0.86589976814695901</c:v>
                </c:pt>
                <c:pt idx="48552">
                  <c:v>0.86591760299625398</c:v>
                </c:pt>
                <c:pt idx="48553">
                  <c:v>0.86593543784555005</c:v>
                </c:pt>
                <c:pt idx="48554">
                  <c:v>0.86595327269484501</c:v>
                </c:pt>
                <c:pt idx="48555">
                  <c:v>0.86597110754414097</c:v>
                </c:pt>
                <c:pt idx="48556">
                  <c:v>0.86598894239343605</c:v>
                </c:pt>
                <c:pt idx="48557">
                  <c:v>0.86600677724273201</c:v>
                </c:pt>
                <c:pt idx="48558">
                  <c:v>0.86602461209202697</c:v>
                </c:pt>
                <c:pt idx="48559">
                  <c:v>0.86604244694132304</c:v>
                </c:pt>
                <c:pt idx="48560">
                  <c:v>0.866060281790618</c:v>
                </c:pt>
                <c:pt idx="48561">
                  <c:v>0.86607811663991396</c:v>
                </c:pt>
                <c:pt idx="48562">
                  <c:v>0.86609595148920904</c:v>
                </c:pt>
                <c:pt idx="48563">
                  <c:v>0.866113786338505</c:v>
                </c:pt>
                <c:pt idx="48564">
                  <c:v>0.86613162118780096</c:v>
                </c:pt>
                <c:pt idx="48565">
                  <c:v>0.86614945603709603</c:v>
                </c:pt>
                <c:pt idx="48566">
                  <c:v>0.86616729088639199</c:v>
                </c:pt>
                <c:pt idx="48567">
                  <c:v>0.86618512573568696</c:v>
                </c:pt>
                <c:pt idx="48568">
                  <c:v>0.86620296058498303</c:v>
                </c:pt>
                <c:pt idx="48569">
                  <c:v>0.86622079543427799</c:v>
                </c:pt>
                <c:pt idx="48570">
                  <c:v>0.86623863028357395</c:v>
                </c:pt>
                <c:pt idx="48571">
                  <c:v>0.86625646513286902</c:v>
                </c:pt>
                <c:pt idx="48572">
                  <c:v>0.86627429998216499</c:v>
                </c:pt>
                <c:pt idx="48573">
                  <c:v>0.86629213483145995</c:v>
                </c:pt>
                <c:pt idx="48574">
                  <c:v>0.86630996968075602</c:v>
                </c:pt>
                <c:pt idx="48575">
                  <c:v>0.86632780453005098</c:v>
                </c:pt>
                <c:pt idx="48576">
                  <c:v>0.86634563937934705</c:v>
                </c:pt>
                <c:pt idx="48577">
                  <c:v>0.86636347422864202</c:v>
                </c:pt>
                <c:pt idx="48578">
                  <c:v>0.86638130907793798</c:v>
                </c:pt>
                <c:pt idx="48579">
                  <c:v>0.86639914392723305</c:v>
                </c:pt>
                <c:pt idx="48580">
                  <c:v>0.86641697877652901</c:v>
                </c:pt>
                <c:pt idx="48581">
                  <c:v>0.86643481362582397</c:v>
                </c:pt>
                <c:pt idx="48582">
                  <c:v>0.86645264847512005</c:v>
                </c:pt>
                <c:pt idx="48583">
                  <c:v>0.86647048332441501</c:v>
                </c:pt>
                <c:pt idx="48584">
                  <c:v>0.86648831817371097</c:v>
                </c:pt>
                <c:pt idx="48585">
                  <c:v>0.86650615302300604</c:v>
                </c:pt>
                <c:pt idx="48586">
                  <c:v>0.866523987872302</c:v>
                </c:pt>
                <c:pt idx="48587">
                  <c:v>0.86654182272159797</c:v>
                </c:pt>
                <c:pt idx="48588">
                  <c:v>0.86655965757089304</c:v>
                </c:pt>
                <c:pt idx="48589">
                  <c:v>0.866577492420189</c:v>
                </c:pt>
                <c:pt idx="48590">
                  <c:v>0.86659532726948396</c:v>
                </c:pt>
                <c:pt idx="48591">
                  <c:v>0.86661316211878003</c:v>
                </c:pt>
                <c:pt idx="48592">
                  <c:v>0.866630996968075</c:v>
                </c:pt>
                <c:pt idx="48593">
                  <c:v>0.86664883181737096</c:v>
                </c:pt>
                <c:pt idx="48594">
                  <c:v>0.86666666666666603</c:v>
                </c:pt>
                <c:pt idx="48595">
                  <c:v>0.86668450151596199</c:v>
                </c:pt>
                <c:pt idx="48596">
                  <c:v>0.86670233636525695</c:v>
                </c:pt>
                <c:pt idx="48597">
                  <c:v>0.86672017121455303</c:v>
                </c:pt>
                <c:pt idx="48598">
                  <c:v>0.86673800606384799</c:v>
                </c:pt>
                <c:pt idx="48599">
                  <c:v>0.86675584091314395</c:v>
                </c:pt>
                <c:pt idx="48600">
                  <c:v>0.86677367576243902</c:v>
                </c:pt>
                <c:pt idx="48601">
                  <c:v>0.86679151061173498</c:v>
                </c:pt>
                <c:pt idx="48602">
                  <c:v>0.86680934546102995</c:v>
                </c:pt>
                <c:pt idx="48603">
                  <c:v>0.86682718031032602</c:v>
                </c:pt>
                <c:pt idx="48604">
                  <c:v>0.86684501515962098</c:v>
                </c:pt>
                <c:pt idx="48605">
                  <c:v>0.86686285000891705</c:v>
                </c:pt>
                <c:pt idx="48606">
                  <c:v>0.86688068485821201</c:v>
                </c:pt>
                <c:pt idx="48607">
                  <c:v>0.86689851970750798</c:v>
                </c:pt>
                <c:pt idx="48608">
                  <c:v>0.86691635455680405</c:v>
                </c:pt>
                <c:pt idx="48609">
                  <c:v>0.86693418940609901</c:v>
                </c:pt>
                <c:pt idx="48610">
                  <c:v>0.86695202425539497</c:v>
                </c:pt>
                <c:pt idx="48611">
                  <c:v>0.86696985910469004</c:v>
                </c:pt>
                <c:pt idx="48612">
                  <c:v>0.86698769395398601</c:v>
                </c:pt>
                <c:pt idx="48613">
                  <c:v>0.86700552880328097</c:v>
                </c:pt>
                <c:pt idx="48614">
                  <c:v>0.86702336365257704</c:v>
                </c:pt>
                <c:pt idx="48615">
                  <c:v>0.867041198501872</c:v>
                </c:pt>
                <c:pt idx="48616">
                  <c:v>0.86705903335116796</c:v>
                </c:pt>
                <c:pt idx="48617">
                  <c:v>0.86707686820046304</c:v>
                </c:pt>
                <c:pt idx="48618">
                  <c:v>0.867094703049759</c:v>
                </c:pt>
                <c:pt idx="48619">
                  <c:v>0.86711253789905396</c:v>
                </c:pt>
                <c:pt idx="48620">
                  <c:v>0.86713037274835003</c:v>
                </c:pt>
                <c:pt idx="48621">
                  <c:v>0.86714820759764499</c:v>
                </c:pt>
                <c:pt idx="48622">
                  <c:v>0.86716604244694095</c:v>
                </c:pt>
                <c:pt idx="48623">
                  <c:v>0.86718387729623603</c:v>
                </c:pt>
                <c:pt idx="48624">
                  <c:v>0.86720171214553199</c:v>
                </c:pt>
                <c:pt idx="48625">
                  <c:v>0.86721954699482695</c:v>
                </c:pt>
                <c:pt idx="48626">
                  <c:v>0.86723738184412302</c:v>
                </c:pt>
                <c:pt idx="48627">
                  <c:v>0.86725521669341898</c:v>
                </c:pt>
                <c:pt idx="48628">
                  <c:v>0.86727305154271395</c:v>
                </c:pt>
                <c:pt idx="48629">
                  <c:v>0.86729088639201002</c:v>
                </c:pt>
                <c:pt idx="48630">
                  <c:v>0.86730872124130498</c:v>
                </c:pt>
                <c:pt idx="48631">
                  <c:v>0.86732655609060105</c:v>
                </c:pt>
                <c:pt idx="48632">
                  <c:v>0.86734439093989601</c:v>
                </c:pt>
                <c:pt idx="48633">
                  <c:v>0.86736222578919198</c:v>
                </c:pt>
                <c:pt idx="48634">
                  <c:v>0.86738006063848705</c:v>
                </c:pt>
                <c:pt idx="48635">
                  <c:v>0.86739789548778301</c:v>
                </c:pt>
                <c:pt idx="48636">
                  <c:v>0.86741573033707797</c:v>
                </c:pt>
                <c:pt idx="48637">
                  <c:v>0.86743356518637404</c:v>
                </c:pt>
                <c:pt idx="48638">
                  <c:v>0.86745140003566901</c:v>
                </c:pt>
                <c:pt idx="48639">
                  <c:v>0.86746923488496497</c:v>
                </c:pt>
                <c:pt idx="48640">
                  <c:v>0.86748706973426004</c:v>
                </c:pt>
                <c:pt idx="48641">
                  <c:v>0.867504904583556</c:v>
                </c:pt>
                <c:pt idx="48642">
                  <c:v>0.86752273943285096</c:v>
                </c:pt>
                <c:pt idx="48643">
                  <c:v>0.86754057428214704</c:v>
                </c:pt>
                <c:pt idx="48644">
                  <c:v>0.867558409131442</c:v>
                </c:pt>
                <c:pt idx="48645">
                  <c:v>0.86757624398073796</c:v>
                </c:pt>
                <c:pt idx="48646">
                  <c:v>0.86759407883003303</c:v>
                </c:pt>
                <c:pt idx="48647">
                  <c:v>0.86761191367932899</c:v>
                </c:pt>
                <c:pt idx="48648">
                  <c:v>0.86762974852862496</c:v>
                </c:pt>
                <c:pt idx="48649">
                  <c:v>0.86764758337792003</c:v>
                </c:pt>
                <c:pt idx="48650">
                  <c:v>0.86766541822721599</c:v>
                </c:pt>
                <c:pt idx="48651">
                  <c:v>0.86768325307651095</c:v>
                </c:pt>
                <c:pt idx="48652">
                  <c:v>0.86770108792580702</c:v>
                </c:pt>
                <c:pt idx="48653">
                  <c:v>0.86771892277510199</c:v>
                </c:pt>
                <c:pt idx="48654">
                  <c:v>0.86773675762439795</c:v>
                </c:pt>
                <c:pt idx="48655">
                  <c:v>0.86775459247369302</c:v>
                </c:pt>
                <c:pt idx="48656">
                  <c:v>0.86777242732298898</c:v>
                </c:pt>
                <c:pt idx="48657">
                  <c:v>0.86779026217228405</c:v>
                </c:pt>
                <c:pt idx="48658">
                  <c:v>0.86780809702158002</c:v>
                </c:pt>
                <c:pt idx="48659">
                  <c:v>0.86782593187087498</c:v>
                </c:pt>
                <c:pt idx="48660">
                  <c:v>0.86784376672017105</c:v>
                </c:pt>
                <c:pt idx="48661">
                  <c:v>0.86786160156946601</c:v>
                </c:pt>
                <c:pt idx="48662">
                  <c:v>0.86787943641876197</c:v>
                </c:pt>
                <c:pt idx="48663">
                  <c:v>0.86789727126805705</c:v>
                </c:pt>
                <c:pt idx="48664">
                  <c:v>0.86791510611735301</c:v>
                </c:pt>
                <c:pt idx="48665">
                  <c:v>0.86793294096664797</c:v>
                </c:pt>
                <c:pt idx="48666">
                  <c:v>0.86795077581594404</c:v>
                </c:pt>
                <c:pt idx="48667">
                  <c:v>0.867968610665239</c:v>
                </c:pt>
                <c:pt idx="48668">
                  <c:v>0.86798644551453497</c:v>
                </c:pt>
                <c:pt idx="48669">
                  <c:v>0.86800428036383004</c:v>
                </c:pt>
                <c:pt idx="48670">
                  <c:v>0.868022115213126</c:v>
                </c:pt>
                <c:pt idx="48671">
                  <c:v>0.86803995006242196</c:v>
                </c:pt>
                <c:pt idx="48672">
                  <c:v>0.86805778491171703</c:v>
                </c:pt>
                <c:pt idx="48673">
                  <c:v>0.868075619761013</c:v>
                </c:pt>
                <c:pt idx="48674">
                  <c:v>0.86809345461030796</c:v>
                </c:pt>
                <c:pt idx="48675">
                  <c:v>0.86811128945960403</c:v>
                </c:pt>
                <c:pt idx="48676">
                  <c:v>0.86812912430889899</c:v>
                </c:pt>
                <c:pt idx="48677">
                  <c:v>0.86814695915819495</c:v>
                </c:pt>
                <c:pt idx="48678">
                  <c:v>0.86816479400749003</c:v>
                </c:pt>
                <c:pt idx="48679">
                  <c:v>0.86818262885678599</c:v>
                </c:pt>
                <c:pt idx="48680">
                  <c:v>0.86820046370608095</c:v>
                </c:pt>
                <c:pt idx="48681">
                  <c:v>0.86821829855537702</c:v>
                </c:pt>
                <c:pt idx="48682">
                  <c:v>0.86823613340467198</c:v>
                </c:pt>
                <c:pt idx="48683">
                  <c:v>0.86825396825396794</c:v>
                </c:pt>
                <c:pt idx="48684">
                  <c:v>0.86827180310326302</c:v>
                </c:pt>
                <c:pt idx="48685">
                  <c:v>0.86828963795255898</c:v>
                </c:pt>
                <c:pt idx="48686">
                  <c:v>0.86830747280185405</c:v>
                </c:pt>
                <c:pt idx="48687">
                  <c:v>0.86832530765115001</c:v>
                </c:pt>
                <c:pt idx="48688">
                  <c:v>0.86834314250044498</c:v>
                </c:pt>
                <c:pt idx="48689">
                  <c:v>0.86836097734974105</c:v>
                </c:pt>
                <c:pt idx="48690">
                  <c:v>0.86837881219903601</c:v>
                </c:pt>
                <c:pt idx="48691">
                  <c:v>0.86839664704833197</c:v>
                </c:pt>
                <c:pt idx="48692">
                  <c:v>0.86841448189762704</c:v>
                </c:pt>
                <c:pt idx="48693">
                  <c:v>0.86843231674692301</c:v>
                </c:pt>
                <c:pt idx="48694">
                  <c:v>0.86845015159621897</c:v>
                </c:pt>
                <c:pt idx="48695">
                  <c:v>0.86846798644551404</c:v>
                </c:pt>
                <c:pt idx="48696">
                  <c:v>0.86848582129481</c:v>
                </c:pt>
                <c:pt idx="48697">
                  <c:v>0.86850365614410496</c:v>
                </c:pt>
                <c:pt idx="48698">
                  <c:v>0.86852149099340104</c:v>
                </c:pt>
                <c:pt idx="48699">
                  <c:v>0.868539325842696</c:v>
                </c:pt>
                <c:pt idx="48700">
                  <c:v>0.86855716069199196</c:v>
                </c:pt>
                <c:pt idx="48701">
                  <c:v>0.86857499554128703</c:v>
                </c:pt>
                <c:pt idx="48702">
                  <c:v>0.86859283039058299</c:v>
                </c:pt>
                <c:pt idx="48703">
                  <c:v>0.86861066523987795</c:v>
                </c:pt>
                <c:pt idx="48704">
                  <c:v>0.86862850008917403</c:v>
                </c:pt>
                <c:pt idx="48705">
                  <c:v>0.86864633493846899</c:v>
                </c:pt>
                <c:pt idx="48706">
                  <c:v>0.86866416978776495</c:v>
                </c:pt>
                <c:pt idx="48707">
                  <c:v>0.86868200463706002</c:v>
                </c:pt>
                <c:pt idx="48708">
                  <c:v>0.86869983948635598</c:v>
                </c:pt>
                <c:pt idx="48709">
                  <c:v>0.86871767433565095</c:v>
                </c:pt>
                <c:pt idx="48710">
                  <c:v>0.86873550918494702</c:v>
                </c:pt>
                <c:pt idx="48711">
                  <c:v>0.86875334403424198</c:v>
                </c:pt>
                <c:pt idx="48712">
                  <c:v>0.86877117888353805</c:v>
                </c:pt>
                <c:pt idx="48713">
                  <c:v>0.86878901373283302</c:v>
                </c:pt>
                <c:pt idx="48714">
                  <c:v>0.86880684858212898</c:v>
                </c:pt>
                <c:pt idx="48715">
                  <c:v>0.86882468343142505</c:v>
                </c:pt>
                <c:pt idx="48716">
                  <c:v>0.86884251828072001</c:v>
                </c:pt>
                <c:pt idx="48717">
                  <c:v>0.86886035313001597</c:v>
                </c:pt>
                <c:pt idx="48718">
                  <c:v>0.86887818797931105</c:v>
                </c:pt>
                <c:pt idx="48719">
                  <c:v>0.86889602282860701</c:v>
                </c:pt>
                <c:pt idx="48720">
                  <c:v>0.86891385767790197</c:v>
                </c:pt>
                <c:pt idx="48721">
                  <c:v>0.86893169252719804</c:v>
                </c:pt>
                <c:pt idx="48722">
                  <c:v>0.868949527376493</c:v>
                </c:pt>
                <c:pt idx="48723">
                  <c:v>0.86896736222578896</c:v>
                </c:pt>
                <c:pt idx="48724">
                  <c:v>0.86898519707508404</c:v>
                </c:pt>
                <c:pt idx="48725">
                  <c:v>0.86900303192438</c:v>
                </c:pt>
                <c:pt idx="48726">
                  <c:v>0.86902086677367496</c:v>
                </c:pt>
                <c:pt idx="48727">
                  <c:v>0.86903870162297103</c:v>
                </c:pt>
                <c:pt idx="48728">
                  <c:v>0.86905653647226599</c:v>
                </c:pt>
                <c:pt idx="48729">
                  <c:v>0.86907437132156196</c:v>
                </c:pt>
                <c:pt idx="48730">
                  <c:v>0.86909220617085703</c:v>
                </c:pt>
                <c:pt idx="48731">
                  <c:v>0.86911004102015299</c:v>
                </c:pt>
                <c:pt idx="48732">
                  <c:v>0.86912787586944895</c:v>
                </c:pt>
                <c:pt idx="48733">
                  <c:v>0.86914571071874402</c:v>
                </c:pt>
                <c:pt idx="48734">
                  <c:v>0.86916354556803999</c:v>
                </c:pt>
                <c:pt idx="48735">
                  <c:v>0.86918138041733495</c:v>
                </c:pt>
                <c:pt idx="48736">
                  <c:v>0.86919921526663102</c:v>
                </c:pt>
                <c:pt idx="48737">
                  <c:v>0.86921705011592598</c:v>
                </c:pt>
                <c:pt idx="48738">
                  <c:v>0.86923488496522205</c:v>
                </c:pt>
                <c:pt idx="48739">
                  <c:v>0.86925271981451702</c:v>
                </c:pt>
                <c:pt idx="48740">
                  <c:v>0.86927055466381298</c:v>
                </c:pt>
                <c:pt idx="48741">
                  <c:v>0.86928838951310805</c:v>
                </c:pt>
                <c:pt idx="48742">
                  <c:v>0.86930622436240401</c:v>
                </c:pt>
                <c:pt idx="48743">
                  <c:v>0.86932405921169897</c:v>
                </c:pt>
                <c:pt idx="48744">
                  <c:v>0.86934189406099505</c:v>
                </c:pt>
                <c:pt idx="48745">
                  <c:v>0.86935972891029001</c:v>
                </c:pt>
                <c:pt idx="48746">
                  <c:v>0.86937756375958597</c:v>
                </c:pt>
                <c:pt idx="48747">
                  <c:v>0.86939539860888104</c:v>
                </c:pt>
                <c:pt idx="48748">
                  <c:v>0.869413233458177</c:v>
                </c:pt>
                <c:pt idx="48749">
                  <c:v>0.86943106830747197</c:v>
                </c:pt>
                <c:pt idx="48750">
                  <c:v>0.86944890315676804</c:v>
                </c:pt>
                <c:pt idx="48751">
                  <c:v>0.869466738006063</c:v>
                </c:pt>
                <c:pt idx="48752">
                  <c:v>0.86948457285535896</c:v>
                </c:pt>
                <c:pt idx="48753">
                  <c:v>0.86950240770465403</c:v>
                </c:pt>
                <c:pt idx="48754">
                  <c:v>0.86952024255395</c:v>
                </c:pt>
                <c:pt idx="48755">
                  <c:v>0.86953807740324596</c:v>
                </c:pt>
                <c:pt idx="48756">
                  <c:v>0.86955591225254103</c:v>
                </c:pt>
                <c:pt idx="48757">
                  <c:v>0.86957374710183699</c:v>
                </c:pt>
                <c:pt idx="48758">
                  <c:v>0.86959158195113195</c:v>
                </c:pt>
                <c:pt idx="48759">
                  <c:v>0.86960941680042803</c:v>
                </c:pt>
                <c:pt idx="48760">
                  <c:v>0.86962725164972299</c:v>
                </c:pt>
                <c:pt idx="48761">
                  <c:v>0.86964508649901895</c:v>
                </c:pt>
                <c:pt idx="48762">
                  <c:v>0.86966292134831402</c:v>
                </c:pt>
                <c:pt idx="48763">
                  <c:v>0.86968075619760998</c:v>
                </c:pt>
                <c:pt idx="48764">
                  <c:v>0.86969859104690495</c:v>
                </c:pt>
                <c:pt idx="48765">
                  <c:v>0.86971642589620102</c:v>
                </c:pt>
                <c:pt idx="48766">
                  <c:v>0.86973426074549598</c:v>
                </c:pt>
                <c:pt idx="48767">
                  <c:v>0.86975209559479205</c:v>
                </c:pt>
                <c:pt idx="48768">
                  <c:v>0.86976993044408701</c:v>
                </c:pt>
                <c:pt idx="48769">
                  <c:v>0.86978776529338298</c:v>
                </c:pt>
                <c:pt idx="48770">
                  <c:v>0.86980560014267805</c:v>
                </c:pt>
                <c:pt idx="48771">
                  <c:v>0.86982343499197401</c:v>
                </c:pt>
                <c:pt idx="48772">
                  <c:v>0.86984126984126897</c:v>
                </c:pt>
                <c:pt idx="48773">
                  <c:v>0.86985910469056504</c:v>
                </c:pt>
                <c:pt idx="48774">
                  <c:v>0.86987693953986001</c:v>
                </c:pt>
                <c:pt idx="48775">
                  <c:v>0.86989477438915597</c:v>
                </c:pt>
                <c:pt idx="48776">
                  <c:v>0.86991260923845104</c:v>
                </c:pt>
                <c:pt idx="48777">
                  <c:v>0.869930444087747</c:v>
                </c:pt>
                <c:pt idx="48778">
                  <c:v>0.86994827893704296</c:v>
                </c:pt>
                <c:pt idx="48779">
                  <c:v>0.86996611378633804</c:v>
                </c:pt>
                <c:pt idx="48780">
                  <c:v>0.869983948635634</c:v>
                </c:pt>
                <c:pt idx="48781">
                  <c:v>0.87000178348492896</c:v>
                </c:pt>
                <c:pt idx="48782">
                  <c:v>0.87001961833422503</c:v>
                </c:pt>
                <c:pt idx="48783">
                  <c:v>0.87003745318351999</c:v>
                </c:pt>
                <c:pt idx="48784">
                  <c:v>0.87005528803281595</c:v>
                </c:pt>
                <c:pt idx="48785">
                  <c:v>0.87007312288211103</c:v>
                </c:pt>
                <c:pt idx="48786">
                  <c:v>0.87009095773140699</c:v>
                </c:pt>
                <c:pt idx="48787">
                  <c:v>0.87010879258070195</c:v>
                </c:pt>
                <c:pt idx="48788">
                  <c:v>0.87012662742999802</c:v>
                </c:pt>
                <c:pt idx="48789">
                  <c:v>0.87014446227929299</c:v>
                </c:pt>
                <c:pt idx="48790">
                  <c:v>0.87016229712858895</c:v>
                </c:pt>
                <c:pt idx="48791">
                  <c:v>0.87018013197788402</c:v>
                </c:pt>
                <c:pt idx="48792">
                  <c:v>0.87019796682717998</c:v>
                </c:pt>
                <c:pt idx="48793">
                  <c:v>0.87021580167647505</c:v>
                </c:pt>
                <c:pt idx="48794">
                  <c:v>0.87023363652577101</c:v>
                </c:pt>
                <c:pt idx="48795">
                  <c:v>0.87025147137506598</c:v>
                </c:pt>
                <c:pt idx="48796">
                  <c:v>0.87026930622436205</c:v>
                </c:pt>
                <c:pt idx="48797">
                  <c:v>0.87028714107365701</c:v>
                </c:pt>
                <c:pt idx="48798">
                  <c:v>0.87030497592295297</c:v>
                </c:pt>
                <c:pt idx="48799">
                  <c:v>0.87032281077224805</c:v>
                </c:pt>
                <c:pt idx="48800">
                  <c:v>0.87034064562154401</c:v>
                </c:pt>
                <c:pt idx="48801">
                  <c:v>0.87035848047083997</c:v>
                </c:pt>
                <c:pt idx="48802">
                  <c:v>0.87037631532013504</c:v>
                </c:pt>
                <c:pt idx="48803">
                  <c:v>0.870394150169431</c:v>
                </c:pt>
                <c:pt idx="48804">
                  <c:v>0.87041198501872596</c:v>
                </c:pt>
                <c:pt idx="48805">
                  <c:v>0.87042981986802204</c:v>
                </c:pt>
                <c:pt idx="48806">
                  <c:v>0.870447654717317</c:v>
                </c:pt>
                <c:pt idx="48807">
                  <c:v>0.87046548956661296</c:v>
                </c:pt>
                <c:pt idx="48808">
                  <c:v>0.87048332441590803</c:v>
                </c:pt>
                <c:pt idx="48809">
                  <c:v>0.87050115926520399</c:v>
                </c:pt>
                <c:pt idx="48810">
                  <c:v>0.87051899411449896</c:v>
                </c:pt>
                <c:pt idx="48811">
                  <c:v>0.87053682896379503</c:v>
                </c:pt>
                <c:pt idx="48812">
                  <c:v>0.87055466381308999</c:v>
                </c:pt>
                <c:pt idx="48813">
                  <c:v>0.87057249866238595</c:v>
                </c:pt>
                <c:pt idx="48814">
                  <c:v>0.87059033351168102</c:v>
                </c:pt>
                <c:pt idx="48815">
                  <c:v>0.87060816836097699</c:v>
                </c:pt>
                <c:pt idx="48816">
                  <c:v>0.87062600321027195</c:v>
                </c:pt>
                <c:pt idx="48817">
                  <c:v>0.87064383805956802</c:v>
                </c:pt>
                <c:pt idx="48818">
                  <c:v>0.87066167290886298</c:v>
                </c:pt>
                <c:pt idx="48819">
                  <c:v>0.87067950775815905</c:v>
                </c:pt>
                <c:pt idx="48820">
                  <c:v>0.87069734260745502</c:v>
                </c:pt>
                <c:pt idx="48821">
                  <c:v>0.87071517745674998</c:v>
                </c:pt>
                <c:pt idx="48822">
                  <c:v>0.87073301230604605</c:v>
                </c:pt>
                <c:pt idx="48823">
                  <c:v>0.87075084715534101</c:v>
                </c:pt>
                <c:pt idx="48824">
                  <c:v>0.87076868200463697</c:v>
                </c:pt>
                <c:pt idx="48825">
                  <c:v>0.87078651685393205</c:v>
                </c:pt>
                <c:pt idx="48826">
                  <c:v>0.87080435170322801</c:v>
                </c:pt>
                <c:pt idx="48827">
                  <c:v>0.87082218655252297</c:v>
                </c:pt>
                <c:pt idx="48828">
                  <c:v>0.87084002140181904</c:v>
                </c:pt>
                <c:pt idx="48829">
                  <c:v>0.870857856251114</c:v>
                </c:pt>
                <c:pt idx="48830">
                  <c:v>0.87087569110040997</c:v>
                </c:pt>
                <c:pt idx="48831">
                  <c:v>0.87089352594970504</c:v>
                </c:pt>
                <c:pt idx="48832">
                  <c:v>0.870911360799001</c:v>
                </c:pt>
                <c:pt idx="48833">
                  <c:v>0.87092919564829596</c:v>
                </c:pt>
                <c:pt idx="48834">
                  <c:v>0.87094703049759203</c:v>
                </c:pt>
                <c:pt idx="48835">
                  <c:v>0.870964865346887</c:v>
                </c:pt>
                <c:pt idx="48836">
                  <c:v>0.87098270019618296</c:v>
                </c:pt>
                <c:pt idx="48837">
                  <c:v>0.87100053504547803</c:v>
                </c:pt>
                <c:pt idx="48838">
                  <c:v>0.87101836989477399</c:v>
                </c:pt>
                <c:pt idx="48839">
                  <c:v>0.87103620474406995</c:v>
                </c:pt>
                <c:pt idx="48840">
                  <c:v>0.87105403959336503</c:v>
                </c:pt>
                <c:pt idx="48841">
                  <c:v>0.87107187444266099</c:v>
                </c:pt>
                <c:pt idx="48842">
                  <c:v>0.87108970929195595</c:v>
                </c:pt>
                <c:pt idx="48843">
                  <c:v>0.87110754414125202</c:v>
                </c:pt>
                <c:pt idx="48844">
                  <c:v>0.87112537899054698</c:v>
                </c:pt>
                <c:pt idx="48845">
                  <c:v>0.87114321383984294</c:v>
                </c:pt>
                <c:pt idx="48846">
                  <c:v>0.87116104868913802</c:v>
                </c:pt>
                <c:pt idx="48847">
                  <c:v>0.87117888353843398</c:v>
                </c:pt>
                <c:pt idx="48848">
                  <c:v>0.87119671838772905</c:v>
                </c:pt>
                <c:pt idx="48849">
                  <c:v>0.87121455323702501</c:v>
                </c:pt>
                <c:pt idx="48850">
                  <c:v>0.87123238808631998</c:v>
                </c:pt>
                <c:pt idx="48851">
                  <c:v>0.87125022293561605</c:v>
                </c:pt>
                <c:pt idx="48852">
                  <c:v>0.87126805778491101</c:v>
                </c:pt>
                <c:pt idx="48853">
                  <c:v>0.87128589263420697</c:v>
                </c:pt>
                <c:pt idx="48854">
                  <c:v>0.87130372748350204</c:v>
                </c:pt>
                <c:pt idx="48855">
                  <c:v>0.87132156233279801</c:v>
                </c:pt>
                <c:pt idx="48856">
                  <c:v>0.87133939718209297</c:v>
                </c:pt>
                <c:pt idx="48857">
                  <c:v>0.87135723203138904</c:v>
                </c:pt>
                <c:pt idx="48858">
                  <c:v>0.871375066880684</c:v>
                </c:pt>
                <c:pt idx="48859">
                  <c:v>0.87139290172997996</c:v>
                </c:pt>
                <c:pt idx="48860">
                  <c:v>0.87141073657927504</c:v>
                </c:pt>
                <c:pt idx="48861">
                  <c:v>0.871428571428571</c:v>
                </c:pt>
                <c:pt idx="48862">
                  <c:v>0.87144640627786696</c:v>
                </c:pt>
                <c:pt idx="48863">
                  <c:v>0.87146424112716203</c:v>
                </c:pt>
                <c:pt idx="48864">
                  <c:v>0.87148207597645799</c:v>
                </c:pt>
                <c:pt idx="48865">
                  <c:v>0.87149991082575295</c:v>
                </c:pt>
                <c:pt idx="48866">
                  <c:v>0.87151774567504903</c:v>
                </c:pt>
                <c:pt idx="48867">
                  <c:v>0.87153558052434399</c:v>
                </c:pt>
                <c:pt idx="48868">
                  <c:v>0.87155341537363995</c:v>
                </c:pt>
                <c:pt idx="48869">
                  <c:v>0.87157125022293502</c:v>
                </c:pt>
                <c:pt idx="48870">
                  <c:v>0.87158908507223098</c:v>
                </c:pt>
                <c:pt idx="48871">
                  <c:v>0.87160691992152595</c:v>
                </c:pt>
                <c:pt idx="48872">
                  <c:v>0.87162475477082202</c:v>
                </c:pt>
                <c:pt idx="48873">
                  <c:v>0.87164258962011698</c:v>
                </c:pt>
                <c:pt idx="48874">
                  <c:v>0.87166042446941305</c:v>
                </c:pt>
                <c:pt idx="48875">
                  <c:v>0.87167825931870802</c:v>
                </c:pt>
                <c:pt idx="48876">
                  <c:v>0.87169609416800398</c:v>
                </c:pt>
                <c:pt idx="48877">
                  <c:v>0.87171392901729905</c:v>
                </c:pt>
                <c:pt idx="48878">
                  <c:v>0.87173176386659501</c:v>
                </c:pt>
                <c:pt idx="48879">
                  <c:v>0.87174959871588997</c:v>
                </c:pt>
                <c:pt idx="48880">
                  <c:v>0.87176743356518605</c:v>
                </c:pt>
                <c:pt idx="48881">
                  <c:v>0.87178526841448101</c:v>
                </c:pt>
                <c:pt idx="48882">
                  <c:v>0.87180310326377697</c:v>
                </c:pt>
                <c:pt idx="48883">
                  <c:v>0.87182093811307204</c:v>
                </c:pt>
                <c:pt idx="48884">
                  <c:v>0.871838772962368</c:v>
                </c:pt>
                <c:pt idx="48885">
                  <c:v>0.87185660781166396</c:v>
                </c:pt>
                <c:pt idx="48886">
                  <c:v>0.87187444266095904</c:v>
                </c:pt>
                <c:pt idx="48887">
                  <c:v>0.871892277510255</c:v>
                </c:pt>
                <c:pt idx="48888">
                  <c:v>0.87191011235954996</c:v>
                </c:pt>
                <c:pt idx="48889">
                  <c:v>0.87192794720884603</c:v>
                </c:pt>
                <c:pt idx="48890">
                  <c:v>0.87194578205814099</c:v>
                </c:pt>
                <c:pt idx="48891">
                  <c:v>0.87196361690743696</c:v>
                </c:pt>
                <c:pt idx="48892">
                  <c:v>0.87198145175673203</c:v>
                </c:pt>
                <c:pt idx="48893">
                  <c:v>0.87199928660602799</c:v>
                </c:pt>
                <c:pt idx="48894">
                  <c:v>0.87201712145532295</c:v>
                </c:pt>
                <c:pt idx="48895">
                  <c:v>0.87203495630461902</c:v>
                </c:pt>
                <c:pt idx="48896">
                  <c:v>0.87205279115391399</c:v>
                </c:pt>
                <c:pt idx="48897">
                  <c:v>0.87207062600320995</c:v>
                </c:pt>
                <c:pt idx="48898">
                  <c:v>0.87208846085250502</c:v>
                </c:pt>
                <c:pt idx="48899">
                  <c:v>0.87210629570180098</c:v>
                </c:pt>
                <c:pt idx="48900">
                  <c:v>0.87212413055109606</c:v>
                </c:pt>
                <c:pt idx="48901">
                  <c:v>0.87214196540039202</c:v>
                </c:pt>
                <c:pt idx="48902">
                  <c:v>0.87215980024968698</c:v>
                </c:pt>
                <c:pt idx="48903">
                  <c:v>0.87217763509898305</c:v>
                </c:pt>
                <c:pt idx="48904">
                  <c:v>0.87219546994827801</c:v>
                </c:pt>
                <c:pt idx="48905">
                  <c:v>0.87221330479757397</c:v>
                </c:pt>
                <c:pt idx="48906">
                  <c:v>0.87223113964686905</c:v>
                </c:pt>
                <c:pt idx="48907">
                  <c:v>0.87224897449616501</c:v>
                </c:pt>
                <c:pt idx="48908">
                  <c:v>0.87226680934546097</c:v>
                </c:pt>
                <c:pt idx="48909">
                  <c:v>0.87228464419475604</c:v>
                </c:pt>
                <c:pt idx="48910">
                  <c:v>0.872302479044052</c:v>
                </c:pt>
                <c:pt idx="48911">
                  <c:v>0.87232031389334697</c:v>
                </c:pt>
                <c:pt idx="48912">
                  <c:v>0.87233814874264304</c:v>
                </c:pt>
                <c:pt idx="48913">
                  <c:v>0.872355983591938</c:v>
                </c:pt>
                <c:pt idx="48914">
                  <c:v>0.87237381844123396</c:v>
                </c:pt>
                <c:pt idx="48915">
                  <c:v>0.87239165329052903</c:v>
                </c:pt>
                <c:pt idx="48916">
                  <c:v>0.872409488139825</c:v>
                </c:pt>
                <c:pt idx="48917">
                  <c:v>0.87242732298911996</c:v>
                </c:pt>
                <c:pt idx="48918">
                  <c:v>0.87244515783841603</c:v>
                </c:pt>
                <c:pt idx="48919">
                  <c:v>0.87246299268771099</c:v>
                </c:pt>
                <c:pt idx="48920">
                  <c:v>0.87248082753700695</c:v>
                </c:pt>
                <c:pt idx="48921">
                  <c:v>0.87249866238630203</c:v>
                </c:pt>
                <c:pt idx="48922">
                  <c:v>0.87251649723559799</c:v>
                </c:pt>
                <c:pt idx="48923">
                  <c:v>0.87253433208489295</c:v>
                </c:pt>
                <c:pt idx="48924">
                  <c:v>0.87255216693418902</c:v>
                </c:pt>
                <c:pt idx="48925">
                  <c:v>0.87257000178348498</c:v>
                </c:pt>
                <c:pt idx="48926">
                  <c:v>0.87258783663277995</c:v>
                </c:pt>
                <c:pt idx="48927">
                  <c:v>0.87260567148207602</c:v>
                </c:pt>
                <c:pt idx="48928">
                  <c:v>0.87262350633137098</c:v>
                </c:pt>
                <c:pt idx="48929">
                  <c:v>0.87264134118066705</c:v>
                </c:pt>
                <c:pt idx="48930">
                  <c:v>0.87265917602996201</c:v>
                </c:pt>
                <c:pt idx="48931">
                  <c:v>0.87267701087925797</c:v>
                </c:pt>
                <c:pt idx="48932">
                  <c:v>0.87269484572855305</c:v>
                </c:pt>
                <c:pt idx="48933">
                  <c:v>0.87271268057784901</c:v>
                </c:pt>
                <c:pt idx="48934">
                  <c:v>0.87273051542714397</c:v>
                </c:pt>
                <c:pt idx="48935">
                  <c:v>0.87274835027644004</c:v>
                </c:pt>
                <c:pt idx="48936">
                  <c:v>0.87276618512573501</c:v>
                </c:pt>
                <c:pt idx="48937">
                  <c:v>0.87278401997503097</c:v>
                </c:pt>
                <c:pt idx="48938">
                  <c:v>0.87280185482432604</c:v>
                </c:pt>
                <c:pt idx="48939">
                  <c:v>0.872819689673622</c:v>
                </c:pt>
                <c:pt idx="48940">
                  <c:v>0.87283752452291696</c:v>
                </c:pt>
                <c:pt idx="48941">
                  <c:v>0.87285535937221304</c:v>
                </c:pt>
                <c:pt idx="48942">
                  <c:v>0.872873194221508</c:v>
                </c:pt>
                <c:pt idx="48943">
                  <c:v>0.87289102907080396</c:v>
                </c:pt>
                <c:pt idx="48944">
                  <c:v>0.87290886392009903</c:v>
                </c:pt>
                <c:pt idx="48945">
                  <c:v>0.87292669876939499</c:v>
                </c:pt>
                <c:pt idx="48946">
                  <c:v>0.87294453361869095</c:v>
                </c:pt>
                <c:pt idx="48947">
                  <c:v>0.87296236846798603</c:v>
                </c:pt>
                <c:pt idx="48948">
                  <c:v>0.87298020331728199</c:v>
                </c:pt>
                <c:pt idx="48949">
                  <c:v>0.87299803816657695</c:v>
                </c:pt>
                <c:pt idx="48950">
                  <c:v>0.87301587301587302</c:v>
                </c:pt>
                <c:pt idx="48951">
                  <c:v>0.87303370786516798</c:v>
                </c:pt>
                <c:pt idx="48952">
                  <c:v>0.87305154271446395</c:v>
                </c:pt>
                <c:pt idx="48953">
                  <c:v>0.87306937756375902</c:v>
                </c:pt>
                <c:pt idx="48954">
                  <c:v>0.87308721241305498</c:v>
                </c:pt>
                <c:pt idx="48955">
                  <c:v>0.87310504726235005</c:v>
                </c:pt>
                <c:pt idx="48956">
                  <c:v>0.87312288211164601</c:v>
                </c:pt>
                <c:pt idx="48957">
                  <c:v>0.87314071696094098</c:v>
                </c:pt>
                <c:pt idx="48958">
                  <c:v>0.87315855181023705</c:v>
                </c:pt>
                <c:pt idx="48959">
                  <c:v>0.87317638665953201</c:v>
                </c:pt>
                <c:pt idx="48960">
                  <c:v>0.87319422150882797</c:v>
                </c:pt>
                <c:pt idx="48961">
                  <c:v>0.87321205635812305</c:v>
                </c:pt>
                <c:pt idx="48962">
                  <c:v>0.87322989120741901</c:v>
                </c:pt>
                <c:pt idx="48963">
                  <c:v>0.87324772605671397</c:v>
                </c:pt>
                <c:pt idx="48964">
                  <c:v>0.87326556090601004</c:v>
                </c:pt>
                <c:pt idx="48965">
                  <c:v>0.873283395755305</c:v>
                </c:pt>
                <c:pt idx="48966">
                  <c:v>0.87330123060460096</c:v>
                </c:pt>
                <c:pt idx="48967">
                  <c:v>0.87331906545389604</c:v>
                </c:pt>
                <c:pt idx="48968">
                  <c:v>0.873336900303192</c:v>
                </c:pt>
                <c:pt idx="48969">
                  <c:v>0.87335473515248796</c:v>
                </c:pt>
                <c:pt idx="48970">
                  <c:v>0.87337257000178303</c:v>
                </c:pt>
                <c:pt idx="48971">
                  <c:v>0.87339040485107899</c:v>
                </c:pt>
                <c:pt idx="48972">
                  <c:v>0.87340823970037396</c:v>
                </c:pt>
                <c:pt idx="48973">
                  <c:v>0.87342607454967003</c:v>
                </c:pt>
                <c:pt idx="48974">
                  <c:v>0.87344390939896499</c:v>
                </c:pt>
                <c:pt idx="48975">
                  <c:v>0.87346174424826095</c:v>
                </c:pt>
                <c:pt idx="48976">
                  <c:v>0.87347957909755602</c:v>
                </c:pt>
                <c:pt idx="48977">
                  <c:v>0.87349741394685199</c:v>
                </c:pt>
                <c:pt idx="48978">
                  <c:v>0.87351524879614695</c:v>
                </c:pt>
                <c:pt idx="48979">
                  <c:v>0.87353308364544302</c:v>
                </c:pt>
                <c:pt idx="48980">
                  <c:v>0.87355091849473798</c:v>
                </c:pt>
                <c:pt idx="48981">
                  <c:v>0.87356875334403405</c:v>
                </c:pt>
                <c:pt idx="48982">
                  <c:v>0.87358658819332902</c:v>
                </c:pt>
                <c:pt idx="48983">
                  <c:v>0.87360442304262498</c:v>
                </c:pt>
                <c:pt idx="48984">
                  <c:v>0.87362225789192005</c:v>
                </c:pt>
                <c:pt idx="48985">
                  <c:v>0.87364009274121601</c:v>
                </c:pt>
                <c:pt idx="48986">
                  <c:v>0.87365792759051097</c:v>
                </c:pt>
                <c:pt idx="48987">
                  <c:v>0.87367576243980705</c:v>
                </c:pt>
                <c:pt idx="48988">
                  <c:v>0.87369359728910201</c:v>
                </c:pt>
                <c:pt idx="48989">
                  <c:v>0.87371143213839797</c:v>
                </c:pt>
                <c:pt idx="48990">
                  <c:v>0.87372926698769304</c:v>
                </c:pt>
                <c:pt idx="48991">
                  <c:v>0.873747101836989</c:v>
                </c:pt>
                <c:pt idx="48992">
                  <c:v>0.87376493668628497</c:v>
                </c:pt>
                <c:pt idx="48993">
                  <c:v>0.87378277153558004</c:v>
                </c:pt>
                <c:pt idx="48994">
                  <c:v>0.873800606384876</c:v>
                </c:pt>
                <c:pt idx="48995">
                  <c:v>0.87381844123417096</c:v>
                </c:pt>
                <c:pt idx="48996">
                  <c:v>0.87383627608346703</c:v>
                </c:pt>
                <c:pt idx="48997">
                  <c:v>0.873854110932762</c:v>
                </c:pt>
                <c:pt idx="48998">
                  <c:v>0.87387194578205796</c:v>
                </c:pt>
                <c:pt idx="48999">
                  <c:v>0.87388978063135303</c:v>
                </c:pt>
                <c:pt idx="49000">
                  <c:v>0.87390761548064899</c:v>
                </c:pt>
                <c:pt idx="49001">
                  <c:v>0.87392545032994395</c:v>
                </c:pt>
                <c:pt idx="49002">
                  <c:v>0.87394328517924003</c:v>
                </c:pt>
                <c:pt idx="49003">
                  <c:v>0.87396112002853499</c:v>
                </c:pt>
                <c:pt idx="49004">
                  <c:v>0.87397895487783095</c:v>
                </c:pt>
                <c:pt idx="49005">
                  <c:v>0.87399678972712602</c:v>
                </c:pt>
                <c:pt idx="49006">
                  <c:v>0.87401462457642198</c:v>
                </c:pt>
                <c:pt idx="49007">
                  <c:v>0.87403245942571695</c:v>
                </c:pt>
                <c:pt idx="49008">
                  <c:v>0.87405029427501302</c:v>
                </c:pt>
                <c:pt idx="49009">
                  <c:v>0.87406812912430798</c:v>
                </c:pt>
                <c:pt idx="49010">
                  <c:v>0.87408596397360405</c:v>
                </c:pt>
                <c:pt idx="49011">
                  <c:v>0.87410379882289901</c:v>
                </c:pt>
                <c:pt idx="49012">
                  <c:v>0.87412163367219498</c:v>
                </c:pt>
                <c:pt idx="49013">
                  <c:v>0.87413946852149105</c:v>
                </c:pt>
                <c:pt idx="49014">
                  <c:v>0.87415730337078601</c:v>
                </c:pt>
                <c:pt idx="49015">
                  <c:v>0.87417513822008197</c:v>
                </c:pt>
                <c:pt idx="49016">
                  <c:v>0.87419297306937704</c:v>
                </c:pt>
                <c:pt idx="49017">
                  <c:v>0.87421080791867301</c:v>
                </c:pt>
                <c:pt idx="49018">
                  <c:v>0.87422864276796797</c:v>
                </c:pt>
                <c:pt idx="49019">
                  <c:v>0.87424647761726404</c:v>
                </c:pt>
                <c:pt idx="49020">
                  <c:v>0.874264312466559</c:v>
                </c:pt>
                <c:pt idx="49021">
                  <c:v>0.87428214731585496</c:v>
                </c:pt>
                <c:pt idx="49022">
                  <c:v>0.87429998216515004</c:v>
                </c:pt>
                <c:pt idx="49023">
                  <c:v>0.874317817014446</c:v>
                </c:pt>
                <c:pt idx="49024">
                  <c:v>0.87433565186374096</c:v>
                </c:pt>
                <c:pt idx="49025">
                  <c:v>0.87435348671303703</c:v>
                </c:pt>
                <c:pt idx="49026">
                  <c:v>0.87437132156233199</c:v>
                </c:pt>
                <c:pt idx="49027">
                  <c:v>0.87438915641162795</c:v>
                </c:pt>
                <c:pt idx="49028">
                  <c:v>0.87440699126092303</c:v>
                </c:pt>
                <c:pt idx="49029">
                  <c:v>0.87442482611021899</c:v>
                </c:pt>
                <c:pt idx="49030">
                  <c:v>0.87444266095951395</c:v>
                </c:pt>
                <c:pt idx="49031">
                  <c:v>0.87446049580881002</c:v>
                </c:pt>
                <c:pt idx="49032">
                  <c:v>0.87447833065810598</c:v>
                </c:pt>
                <c:pt idx="49033">
                  <c:v>0.87449616550740095</c:v>
                </c:pt>
                <c:pt idx="49034">
                  <c:v>0.87451400035669702</c:v>
                </c:pt>
                <c:pt idx="49035">
                  <c:v>0.87453183520599198</c:v>
                </c:pt>
                <c:pt idx="49036">
                  <c:v>0.87454967005528805</c:v>
                </c:pt>
                <c:pt idx="49037">
                  <c:v>0.87456750490458302</c:v>
                </c:pt>
                <c:pt idx="49038">
                  <c:v>0.87458533975387898</c:v>
                </c:pt>
                <c:pt idx="49039">
                  <c:v>0.87460317460317405</c:v>
                </c:pt>
                <c:pt idx="49040">
                  <c:v>0.87462100945247001</c:v>
                </c:pt>
                <c:pt idx="49041">
                  <c:v>0.87463884430176497</c:v>
                </c:pt>
                <c:pt idx="49042">
                  <c:v>0.87465667915106105</c:v>
                </c:pt>
                <c:pt idx="49043">
                  <c:v>0.87467451400035601</c:v>
                </c:pt>
                <c:pt idx="49044">
                  <c:v>0.87469234884965197</c:v>
                </c:pt>
                <c:pt idx="49045">
                  <c:v>0.87471018369894704</c:v>
                </c:pt>
                <c:pt idx="49046">
                  <c:v>0.874728018548243</c:v>
                </c:pt>
                <c:pt idx="49047">
                  <c:v>0.87474585339753796</c:v>
                </c:pt>
                <c:pt idx="49048">
                  <c:v>0.87476368824683404</c:v>
                </c:pt>
                <c:pt idx="49049">
                  <c:v>0.874781523096129</c:v>
                </c:pt>
                <c:pt idx="49050">
                  <c:v>0.87479935794542496</c:v>
                </c:pt>
                <c:pt idx="49051">
                  <c:v>0.87481719279472003</c:v>
                </c:pt>
                <c:pt idx="49052">
                  <c:v>0.87483502764401599</c:v>
                </c:pt>
                <c:pt idx="49053">
                  <c:v>0.87485286249331196</c:v>
                </c:pt>
                <c:pt idx="49054">
                  <c:v>0.87487069734260703</c:v>
                </c:pt>
                <c:pt idx="49055">
                  <c:v>0.87488853219190299</c:v>
                </c:pt>
                <c:pt idx="49056">
                  <c:v>0.87490636704119795</c:v>
                </c:pt>
                <c:pt idx="49057">
                  <c:v>0.87492420189049402</c:v>
                </c:pt>
                <c:pt idx="49058">
                  <c:v>0.87494203673978899</c:v>
                </c:pt>
                <c:pt idx="49059">
                  <c:v>0.87495987158908495</c:v>
                </c:pt>
                <c:pt idx="49060">
                  <c:v>0.87497770643838002</c:v>
                </c:pt>
                <c:pt idx="49061">
                  <c:v>0.87499554128767598</c:v>
                </c:pt>
                <c:pt idx="49062">
                  <c:v>0.87501337613697105</c:v>
                </c:pt>
                <c:pt idx="49063">
                  <c:v>0.87503121098626702</c:v>
                </c:pt>
                <c:pt idx="49064">
                  <c:v>0.87504904583556198</c:v>
                </c:pt>
                <c:pt idx="49065">
                  <c:v>0.87506688068485805</c:v>
                </c:pt>
                <c:pt idx="49066">
                  <c:v>0.87508471553415301</c:v>
                </c:pt>
                <c:pt idx="49067">
                  <c:v>0.87510255038344897</c:v>
                </c:pt>
                <c:pt idx="49068">
                  <c:v>0.87512038523274405</c:v>
                </c:pt>
                <c:pt idx="49069">
                  <c:v>0.87513822008204001</c:v>
                </c:pt>
                <c:pt idx="49070">
                  <c:v>0.87515605493133497</c:v>
                </c:pt>
                <c:pt idx="49071">
                  <c:v>0.87517388978063104</c:v>
                </c:pt>
                <c:pt idx="49072">
                  <c:v>0.875191724629926</c:v>
                </c:pt>
                <c:pt idx="49073">
                  <c:v>0.87520955947922197</c:v>
                </c:pt>
                <c:pt idx="49074">
                  <c:v>0.87522739432851704</c:v>
                </c:pt>
                <c:pt idx="49075">
                  <c:v>0.875245229177813</c:v>
                </c:pt>
                <c:pt idx="49076">
                  <c:v>0.87526306402710896</c:v>
                </c:pt>
                <c:pt idx="49077">
                  <c:v>0.87528089887640403</c:v>
                </c:pt>
                <c:pt idx="49078">
                  <c:v>0.8752987337257</c:v>
                </c:pt>
                <c:pt idx="49079">
                  <c:v>0.87531656857499496</c:v>
                </c:pt>
                <c:pt idx="49080">
                  <c:v>0.87533440342429103</c:v>
                </c:pt>
                <c:pt idx="49081">
                  <c:v>0.87535223827358599</c:v>
                </c:pt>
                <c:pt idx="49082">
                  <c:v>0.87537007312288195</c:v>
                </c:pt>
                <c:pt idx="49083">
                  <c:v>0.87538790797217703</c:v>
                </c:pt>
                <c:pt idx="49084">
                  <c:v>0.87540574282147299</c:v>
                </c:pt>
                <c:pt idx="49085">
                  <c:v>0.87542357767076795</c:v>
                </c:pt>
                <c:pt idx="49086">
                  <c:v>0.87544141252006402</c:v>
                </c:pt>
                <c:pt idx="49087">
                  <c:v>0.87545924736935898</c:v>
                </c:pt>
                <c:pt idx="49088">
                  <c:v>0.87547708221865495</c:v>
                </c:pt>
                <c:pt idx="49089">
                  <c:v>0.87549491706795002</c:v>
                </c:pt>
                <c:pt idx="49090">
                  <c:v>0.87551275191724598</c:v>
                </c:pt>
                <c:pt idx="49091">
                  <c:v>0.87553058676654105</c:v>
                </c:pt>
                <c:pt idx="49092">
                  <c:v>0.87554842161583701</c:v>
                </c:pt>
                <c:pt idx="49093">
                  <c:v>0.87556625646513198</c:v>
                </c:pt>
                <c:pt idx="49094">
                  <c:v>0.87558409131442805</c:v>
                </c:pt>
                <c:pt idx="49095">
                  <c:v>0.87560192616372301</c:v>
                </c:pt>
                <c:pt idx="49096">
                  <c:v>0.87561976101301897</c:v>
                </c:pt>
                <c:pt idx="49097">
                  <c:v>0.87563759586231404</c:v>
                </c:pt>
                <c:pt idx="49098">
                  <c:v>0.87565543071161001</c:v>
                </c:pt>
                <c:pt idx="49099">
                  <c:v>0.87567326556090597</c:v>
                </c:pt>
                <c:pt idx="49100">
                  <c:v>0.87569110041020104</c:v>
                </c:pt>
                <c:pt idx="49101">
                  <c:v>0.875708935259497</c:v>
                </c:pt>
                <c:pt idx="49102">
                  <c:v>0.87572677010879196</c:v>
                </c:pt>
                <c:pt idx="49103">
                  <c:v>0.87574460495808804</c:v>
                </c:pt>
                <c:pt idx="49104">
                  <c:v>0.875762439807383</c:v>
                </c:pt>
                <c:pt idx="49105">
                  <c:v>0.87578027465667896</c:v>
                </c:pt>
                <c:pt idx="49106">
                  <c:v>0.87579810950597403</c:v>
                </c:pt>
                <c:pt idx="49107">
                  <c:v>0.87581594435526999</c:v>
                </c:pt>
                <c:pt idx="49108">
                  <c:v>0.87583377920456496</c:v>
                </c:pt>
                <c:pt idx="49109">
                  <c:v>0.87585161405386103</c:v>
                </c:pt>
                <c:pt idx="49110">
                  <c:v>0.87586944890315599</c:v>
                </c:pt>
                <c:pt idx="49111">
                  <c:v>0.87588728375245195</c:v>
                </c:pt>
                <c:pt idx="49112">
                  <c:v>0.87590511860174702</c:v>
                </c:pt>
                <c:pt idx="49113">
                  <c:v>0.87592295345104298</c:v>
                </c:pt>
                <c:pt idx="49114">
                  <c:v>0.87594078830033795</c:v>
                </c:pt>
                <c:pt idx="49115">
                  <c:v>0.87595862314963402</c:v>
                </c:pt>
                <c:pt idx="49116">
                  <c:v>0.87597645799892898</c:v>
                </c:pt>
                <c:pt idx="49117">
                  <c:v>0.87599429284822505</c:v>
                </c:pt>
                <c:pt idx="49118">
                  <c:v>0.87601212769752002</c:v>
                </c:pt>
                <c:pt idx="49119">
                  <c:v>0.87602996254681598</c:v>
                </c:pt>
                <c:pt idx="49120">
                  <c:v>0.87604779739611205</c:v>
                </c:pt>
                <c:pt idx="49121">
                  <c:v>0.87606563224540701</c:v>
                </c:pt>
                <c:pt idx="49122">
                  <c:v>0.87608346709470297</c:v>
                </c:pt>
                <c:pt idx="49123">
                  <c:v>0.87610130194399805</c:v>
                </c:pt>
                <c:pt idx="49124">
                  <c:v>0.87611913679329401</c:v>
                </c:pt>
                <c:pt idx="49125">
                  <c:v>0.87613697164258897</c:v>
                </c:pt>
                <c:pt idx="49126">
                  <c:v>0.87615480649188504</c:v>
                </c:pt>
                <c:pt idx="49127">
                  <c:v>0.87617264134118</c:v>
                </c:pt>
                <c:pt idx="49128">
                  <c:v>0.87619047619047596</c:v>
                </c:pt>
                <c:pt idx="49129">
                  <c:v>0.87620831103977104</c:v>
                </c:pt>
                <c:pt idx="49130">
                  <c:v>0.876226145889067</c:v>
                </c:pt>
                <c:pt idx="49131">
                  <c:v>0.87624398073836196</c:v>
                </c:pt>
                <c:pt idx="49132">
                  <c:v>0.87626181558765803</c:v>
                </c:pt>
                <c:pt idx="49133">
                  <c:v>0.87627965043695299</c:v>
                </c:pt>
                <c:pt idx="49134">
                  <c:v>0.87629748528624896</c:v>
                </c:pt>
                <c:pt idx="49135">
                  <c:v>0.87631532013554403</c:v>
                </c:pt>
                <c:pt idx="49136">
                  <c:v>0.87633315498483999</c:v>
                </c:pt>
                <c:pt idx="49137">
                  <c:v>0.87635098983413595</c:v>
                </c:pt>
                <c:pt idx="49138">
                  <c:v>0.87636882468343102</c:v>
                </c:pt>
                <c:pt idx="49139">
                  <c:v>0.87638665953272699</c:v>
                </c:pt>
                <c:pt idx="49140">
                  <c:v>0.87640449438202195</c:v>
                </c:pt>
                <c:pt idx="49141">
                  <c:v>0.87642232923131802</c:v>
                </c:pt>
                <c:pt idx="49142">
                  <c:v>0.87644016408061298</c:v>
                </c:pt>
                <c:pt idx="49143">
                  <c:v>0.87645799892990905</c:v>
                </c:pt>
                <c:pt idx="49144">
                  <c:v>0.87647583377920402</c:v>
                </c:pt>
                <c:pt idx="49145">
                  <c:v>0.87649366862849998</c:v>
                </c:pt>
                <c:pt idx="49146">
                  <c:v>0.87651150347779505</c:v>
                </c:pt>
                <c:pt idx="49147">
                  <c:v>0.87652933832709101</c:v>
                </c:pt>
                <c:pt idx="49148">
                  <c:v>0.87654717317638597</c:v>
                </c:pt>
                <c:pt idx="49149">
                  <c:v>0.87656500802568205</c:v>
                </c:pt>
                <c:pt idx="49150">
                  <c:v>0.87658284287497701</c:v>
                </c:pt>
                <c:pt idx="49151">
                  <c:v>0.87660067772427297</c:v>
                </c:pt>
                <c:pt idx="49152">
                  <c:v>0.87661851257356804</c:v>
                </c:pt>
                <c:pt idx="49153">
                  <c:v>0.876636347422864</c:v>
                </c:pt>
                <c:pt idx="49154">
                  <c:v>0.87665418227215897</c:v>
                </c:pt>
                <c:pt idx="49155">
                  <c:v>0.87667201712145504</c:v>
                </c:pt>
                <c:pt idx="49156">
                  <c:v>0.87668985197075</c:v>
                </c:pt>
                <c:pt idx="49157">
                  <c:v>0.87670768682004596</c:v>
                </c:pt>
                <c:pt idx="49158">
                  <c:v>0.87672552166934103</c:v>
                </c:pt>
                <c:pt idx="49159">
                  <c:v>0.876743356518637</c:v>
                </c:pt>
                <c:pt idx="49160">
                  <c:v>0.87676119136793296</c:v>
                </c:pt>
                <c:pt idx="49161">
                  <c:v>0.87677902621722803</c:v>
                </c:pt>
                <c:pt idx="49162">
                  <c:v>0.87679686106652399</c:v>
                </c:pt>
                <c:pt idx="49163">
                  <c:v>0.87681469591581895</c:v>
                </c:pt>
                <c:pt idx="49164">
                  <c:v>0.87683253076511503</c:v>
                </c:pt>
                <c:pt idx="49165">
                  <c:v>0.87685036561440999</c:v>
                </c:pt>
                <c:pt idx="49166">
                  <c:v>0.87686820046370595</c:v>
                </c:pt>
                <c:pt idx="49167">
                  <c:v>0.87688603531300102</c:v>
                </c:pt>
                <c:pt idx="49168">
                  <c:v>0.87690387016229698</c:v>
                </c:pt>
                <c:pt idx="49169">
                  <c:v>0.87692170501159195</c:v>
                </c:pt>
                <c:pt idx="49170">
                  <c:v>0.87693953986088802</c:v>
                </c:pt>
                <c:pt idx="49171">
                  <c:v>0.87695737471018298</c:v>
                </c:pt>
                <c:pt idx="49172">
                  <c:v>0.87697520955947905</c:v>
                </c:pt>
                <c:pt idx="49173">
                  <c:v>0.87699304440877401</c:v>
                </c:pt>
                <c:pt idx="49174">
                  <c:v>0.87701087925806998</c:v>
                </c:pt>
                <c:pt idx="49175">
                  <c:v>0.87702871410736505</c:v>
                </c:pt>
                <c:pt idx="49176">
                  <c:v>0.87704654895666101</c:v>
                </c:pt>
                <c:pt idx="49177">
                  <c:v>0.87706438380595597</c:v>
                </c:pt>
                <c:pt idx="49178">
                  <c:v>0.87708221865525204</c:v>
                </c:pt>
                <c:pt idx="49179">
                  <c:v>0.87710005350454701</c:v>
                </c:pt>
                <c:pt idx="49180">
                  <c:v>0.87711788835384297</c:v>
                </c:pt>
                <c:pt idx="49181">
                  <c:v>0.87713572320313804</c:v>
                </c:pt>
                <c:pt idx="49182">
                  <c:v>0.877153558052434</c:v>
                </c:pt>
                <c:pt idx="49183">
                  <c:v>0.87717139290172996</c:v>
                </c:pt>
                <c:pt idx="49184">
                  <c:v>0.87718922775102504</c:v>
                </c:pt>
                <c:pt idx="49185">
                  <c:v>0.877207062600321</c:v>
                </c:pt>
                <c:pt idx="49186">
                  <c:v>0.87722489744961596</c:v>
                </c:pt>
                <c:pt idx="49187">
                  <c:v>0.87724273229891203</c:v>
                </c:pt>
                <c:pt idx="49188">
                  <c:v>0.87726056714820699</c:v>
                </c:pt>
                <c:pt idx="49189">
                  <c:v>0.87727840199750295</c:v>
                </c:pt>
                <c:pt idx="49190">
                  <c:v>0.87729623684679803</c:v>
                </c:pt>
                <c:pt idx="49191">
                  <c:v>0.87731407169609399</c:v>
                </c:pt>
                <c:pt idx="49192">
                  <c:v>0.87733190654538895</c:v>
                </c:pt>
                <c:pt idx="49193">
                  <c:v>0.87734974139468502</c:v>
                </c:pt>
                <c:pt idx="49194">
                  <c:v>0.87736757624397999</c:v>
                </c:pt>
                <c:pt idx="49195">
                  <c:v>0.87738541109327595</c:v>
                </c:pt>
                <c:pt idx="49196">
                  <c:v>0.87740324594257102</c:v>
                </c:pt>
                <c:pt idx="49197">
                  <c:v>0.87742108079186698</c:v>
                </c:pt>
                <c:pt idx="49198">
                  <c:v>0.87743891564116205</c:v>
                </c:pt>
                <c:pt idx="49199">
                  <c:v>0.87745675049045802</c:v>
                </c:pt>
                <c:pt idx="49200">
                  <c:v>0.87747458533975298</c:v>
                </c:pt>
                <c:pt idx="49201">
                  <c:v>0.87749242018904905</c:v>
                </c:pt>
                <c:pt idx="49202">
                  <c:v>0.87751025503834401</c:v>
                </c:pt>
                <c:pt idx="49203">
                  <c:v>0.87752808988763997</c:v>
                </c:pt>
                <c:pt idx="49204">
                  <c:v>0.87754592473693505</c:v>
                </c:pt>
                <c:pt idx="49205">
                  <c:v>0.87756375958623101</c:v>
                </c:pt>
                <c:pt idx="49206">
                  <c:v>0.87758159443552697</c:v>
                </c:pt>
                <c:pt idx="49207">
                  <c:v>0.87759942928482204</c:v>
                </c:pt>
                <c:pt idx="49208">
                  <c:v>0.877617264134118</c:v>
                </c:pt>
                <c:pt idx="49209">
                  <c:v>0.87763509898341296</c:v>
                </c:pt>
                <c:pt idx="49210">
                  <c:v>0.87765293383270904</c:v>
                </c:pt>
                <c:pt idx="49211">
                  <c:v>0.877670768682004</c:v>
                </c:pt>
                <c:pt idx="49212">
                  <c:v>0.87768860353129996</c:v>
                </c:pt>
                <c:pt idx="49213">
                  <c:v>0.87770643838059503</c:v>
                </c:pt>
                <c:pt idx="49214">
                  <c:v>0.87772427322989099</c:v>
                </c:pt>
                <c:pt idx="49215">
                  <c:v>0.87774210807918596</c:v>
                </c:pt>
                <c:pt idx="49216">
                  <c:v>0.87775994292848203</c:v>
                </c:pt>
                <c:pt idx="49217">
                  <c:v>0.87777777777777699</c:v>
                </c:pt>
                <c:pt idx="49218">
                  <c:v>0.87779561262707295</c:v>
                </c:pt>
                <c:pt idx="49219">
                  <c:v>0.87781344747636803</c:v>
                </c:pt>
                <c:pt idx="49220">
                  <c:v>0.87783128232566399</c:v>
                </c:pt>
                <c:pt idx="49221">
                  <c:v>0.87784911717495895</c:v>
                </c:pt>
                <c:pt idx="49222">
                  <c:v>0.87786695202425502</c:v>
                </c:pt>
                <c:pt idx="49223">
                  <c:v>0.87788478687354998</c:v>
                </c:pt>
                <c:pt idx="49224">
                  <c:v>0.87790262172284605</c:v>
                </c:pt>
                <c:pt idx="49225">
                  <c:v>0.87792045657214202</c:v>
                </c:pt>
                <c:pt idx="49226">
                  <c:v>0.87793829142143698</c:v>
                </c:pt>
                <c:pt idx="49227">
                  <c:v>0.87795612627073305</c:v>
                </c:pt>
                <c:pt idx="49228">
                  <c:v>0.87797396112002801</c:v>
                </c:pt>
                <c:pt idx="49229">
                  <c:v>0.87799179596932397</c:v>
                </c:pt>
                <c:pt idx="49230">
                  <c:v>0.87800963081861905</c:v>
                </c:pt>
                <c:pt idx="49231">
                  <c:v>0.87802746566791501</c:v>
                </c:pt>
                <c:pt idx="49232">
                  <c:v>0.87804530051720997</c:v>
                </c:pt>
                <c:pt idx="49233">
                  <c:v>0.87806313536650604</c:v>
                </c:pt>
                <c:pt idx="49234">
                  <c:v>0.878080970215801</c:v>
                </c:pt>
                <c:pt idx="49235">
                  <c:v>0.87809880506509697</c:v>
                </c:pt>
                <c:pt idx="49236">
                  <c:v>0.87811663991439204</c:v>
                </c:pt>
                <c:pt idx="49237">
                  <c:v>0.878134474763688</c:v>
                </c:pt>
                <c:pt idx="49238">
                  <c:v>0.87815230961298296</c:v>
                </c:pt>
                <c:pt idx="49239">
                  <c:v>0.87817014446227903</c:v>
                </c:pt>
                <c:pt idx="49240">
                  <c:v>0.878187979311574</c:v>
                </c:pt>
                <c:pt idx="49241">
                  <c:v>0.87820581416086996</c:v>
                </c:pt>
                <c:pt idx="49242">
                  <c:v>0.87822364901016503</c:v>
                </c:pt>
                <c:pt idx="49243">
                  <c:v>0.87824148385946099</c:v>
                </c:pt>
                <c:pt idx="49244">
                  <c:v>0.87825931870875695</c:v>
                </c:pt>
                <c:pt idx="49245">
                  <c:v>0.87827715355805203</c:v>
                </c:pt>
                <c:pt idx="49246">
                  <c:v>0.87829498840734799</c:v>
                </c:pt>
                <c:pt idx="49247">
                  <c:v>0.87831282325664295</c:v>
                </c:pt>
                <c:pt idx="49248">
                  <c:v>0.87833065810593902</c:v>
                </c:pt>
                <c:pt idx="49249">
                  <c:v>0.87834849295523398</c:v>
                </c:pt>
                <c:pt idx="49250">
                  <c:v>0.87836632780452994</c:v>
                </c:pt>
                <c:pt idx="49251">
                  <c:v>0.87838416265382502</c:v>
                </c:pt>
                <c:pt idx="49252">
                  <c:v>0.87840199750312098</c:v>
                </c:pt>
                <c:pt idx="49253">
                  <c:v>0.87841983235241605</c:v>
                </c:pt>
                <c:pt idx="49254">
                  <c:v>0.87843766720171201</c:v>
                </c:pt>
                <c:pt idx="49255">
                  <c:v>0.87845550205100698</c:v>
                </c:pt>
                <c:pt idx="49256">
                  <c:v>0.87847333690030305</c:v>
                </c:pt>
                <c:pt idx="49257">
                  <c:v>0.87849117174959801</c:v>
                </c:pt>
                <c:pt idx="49258">
                  <c:v>0.87850900659889397</c:v>
                </c:pt>
                <c:pt idx="49259">
                  <c:v>0.87852684144818904</c:v>
                </c:pt>
                <c:pt idx="49260">
                  <c:v>0.87854467629748501</c:v>
                </c:pt>
                <c:pt idx="49261">
                  <c:v>0.87856251114677997</c:v>
                </c:pt>
                <c:pt idx="49262">
                  <c:v>0.87858034599607604</c:v>
                </c:pt>
                <c:pt idx="49263">
                  <c:v>0.878598180845371</c:v>
                </c:pt>
                <c:pt idx="49264">
                  <c:v>0.87861601569466696</c:v>
                </c:pt>
                <c:pt idx="49265">
                  <c:v>0.87863385054396204</c:v>
                </c:pt>
                <c:pt idx="49266">
                  <c:v>0.878651685393258</c:v>
                </c:pt>
                <c:pt idx="49267">
                  <c:v>0.87866952024255396</c:v>
                </c:pt>
                <c:pt idx="49268">
                  <c:v>0.87868735509184903</c:v>
                </c:pt>
                <c:pt idx="49269">
                  <c:v>0.87870518994114499</c:v>
                </c:pt>
                <c:pt idx="49270">
                  <c:v>0.87872302479043995</c:v>
                </c:pt>
                <c:pt idx="49271">
                  <c:v>0.87874085963973603</c:v>
                </c:pt>
                <c:pt idx="49272">
                  <c:v>0.87875869448903099</c:v>
                </c:pt>
                <c:pt idx="49273">
                  <c:v>0.87877652933832695</c:v>
                </c:pt>
                <c:pt idx="49274">
                  <c:v>0.87879436418762202</c:v>
                </c:pt>
                <c:pt idx="49275">
                  <c:v>0.87881219903691798</c:v>
                </c:pt>
                <c:pt idx="49276">
                  <c:v>0.87883003388621295</c:v>
                </c:pt>
                <c:pt idx="49277">
                  <c:v>0.87884786873550902</c:v>
                </c:pt>
                <c:pt idx="49278">
                  <c:v>0.87886570358480398</c:v>
                </c:pt>
                <c:pt idx="49279">
                  <c:v>0.87888353843410005</c:v>
                </c:pt>
                <c:pt idx="49280">
                  <c:v>0.87890137328339502</c:v>
                </c:pt>
                <c:pt idx="49281">
                  <c:v>0.87891920813269098</c:v>
                </c:pt>
                <c:pt idx="49282">
                  <c:v>0.87893704298198605</c:v>
                </c:pt>
                <c:pt idx="49283">
                  <c:v>0.87895487783128201</c:v>
                </c:pt>
                <c:pt idx="49284">
                  <c:v>0.87897271268057697</c:v>
                </c:pt>
                <c:pt idx="49285">
                  <c:v>0.87899054752987305</c:v>
                </c:pt>
                <c:pt idx="49286">
                  <c:v>0.87900838237916801</c:v>
                </c:pt>
                <c:pt idx="49287">
                  <c:v>0.87902621722846397</c:v>
                </c:pt>
                <c:pt idx="49288">
                  <c:v>0.87904405207775904</c:v>
                </c:pt>
                <c:pt idx="49289">
                  <c:v>0.879061886927055</c:v>
                </c:pt>
                <c:pt idx="49290">
                  <c:v>0.87907972177635096</c:v>
                </c:pt>
                <c:pt idx="49291">
                  <c:v>0.87909755662564604</c:v>
                </c:pt>
                <c:pt idx="49292">
                  <c:v>0.879115391474942</c:v>
                </c:pt>
                <c:pt idx="49293">
                  <c:v>0.87913322632423696</c:v>
                </c:pt>
                <c:pt idx="49294">
                  <c:v>0.87915106117353303</c:v>
                </c:pt>
                <c:pt idx="49295">
                  <c:v>0.87916889602282799</c:v>
                </c:pt>
                <c:pt idx="49296">
                  <c:v>0.87918673087212396</c:v>
                </c:pt>
                <c:pt idx="49297">
                  <c:v>0.87920456572141903</c:v>
                </c:pt>
                <c:pt idx="49298">
                  <c:v>0.87922240057071499</c:v>
                </c:pt>
                <c:pt idx="49299">
                  <c:v>0.87924023542000995</c:v>
                </c:pt>
                <c:pt idx="49300">
                  <c:v>0.87925807026930602</c:v>
                </c:pt>
                <c:pt idx="49301">
                  <c:v>0.87927590511860099</c:v>
                </c:pt>
                <c:pt idx="49302">
                  <c:v>0.87929373996789695</c:v>
                </c:pt>
                <c:pt idx="49303">
                  <c:v>0.87931157481719202</c:v>
                </c:pt>
                <c:pt idx="49304">
                  <c:v>0.87932940966648798</c:v>
                </c:pt>
                <c:pt idx="49305">
                  <c:v>0.87934724451578306</c:v>
                </c:pt>
                <c:pt idx="49306">
                  <c:v>0.87936507936507902</c:v>
                </c:pt>
                <c:pt idx="49307">
                  <c:v>0.87938291421437398</c:v>
                </c:pt>
                <c:pt idx="49308">
                  <c:v>0.87940074906367005</c:v>
                </c:pt>
                <c:pt idx="49309">
                  <c:v>0.87941858391296501</c:v>
                </c:pt>
                <c:pt idx="49310">
                  <c:v>0.87943641876226097</c:v>
                </c:pt>
                <c:pt idx="49311">
                  <c:v>0.87945425361155605</c:v>
                </c:pt>
                <c:pt idx="49312">
                  <c:v>0.87947208846085201</c:v>
                </c:pt>
                <c:pt idx="49313">
                  <c:v>0.87948992331014797</c:v>
                </c:pt>
                <c:pt idx="49314">
                  <c:v>0.87950775815944304</c:v>
                </c:pt>
                <c:pt idx="49315">
                  <c:v>0.879525593008739</c:v>
                </c:pt>
                <c:pt idx="49316">
                  <c:v>0.87954342785803397</c:v>
                </c:pt>
                <c:pt idx="49317">
                  <c:v>0.87956126270733004</c:v>
                </c:pt>
                <c:pt idx="49318">
                  <c:v>0.879579097556625</c:v>
                </c:pt>
                <c:pt idx="49319">
                  <c:v>0.87959693240592096</c:v>
                </c:pt>
                <c:pt idx="49320">
                  <c:v>0.87961476725521603</c:v>
                </c:pt>
                <c:pt idx="49321">
                  <c:v>0.879632602104512</c:v>
                </c:pt>
                <c:pt idx="49322">
                  <c:v>0.87965043695380696</c:v>
                </c:pt>
                <c:pt idx="49323">
                  <c:v>0.87966827180310303</c:v>
                </c:pt>
                <c:pt idx="49324">
                  <c:v>0.87968610665239799</c:v>
                </c:pt>
                <c:pt idx="49325">
                  <c:v>0.87970394150169395</c:v>
                </c:pt>
                <c:pt idx="49326">
                  <c:v>0.87972177635098903</c:v>
                </c:pt>
                <c:pt idx="49327">
                  <c:v>0.87973961120028499</c:v>
                </c:pt>
                <c:pt idx="49328">
                  <c:v>0.87975744604957995</c:v>
                </c:pt>
                <c:pt idx="49329">
                  <c:v>0.87977528089887602</c:v>
                </c:pt>
                <c:pt idx="49330">
                  <c:v>0.87979311574817198</c:v>
                </c:pt>
                <c:pt idx="49331">
                  <c:v>0.87981095059746695</c:v>
                </c:pt>
                <c:pt idx="49332">
                  <c:v>0.87982878544676302</c:v>
                </c:pt>
                <c:pt idx="49333">
                  <c:v>0.87984662029605798</c:v>
                </c:pt>
                <c:pt idx="49334">
                  <c:v>0.87986445514535405</c:v>
                </c:pt>
                <c:pt idx="49335">
                  <c:v>0.87988228999464901</c:v>
                </c:pt>
                <c:pt idx="49336">
                  <c:v>0.87990012484394498</c:v>
                </c:pt>
                <c:pt idx="49337">
                  <c:v>0.87991795969324005</c:v>
                </c:pt>
                <c:pt idx="49338">
                  <c:v>0.87993579454253601</c:v>
                </c:pt>
                <c:pt idx="49339">
                  <c:v>0.87995362939183097</c:v>
                </c:pt>
                <c:pt idx="49340">
                  <c:v>0.87997146424112704</c:v>
                </c:pt>
                <c:pt idx="49341">
                  <c:v>0.87998929909042201</c:v>
                </c:pt>
                <c:pt idx="49342">
                  <c:v>0.88000713393971797</c:v>
                </c:pt>
                <c:pt idx="49343">
                  <c:v>0.88002496878901304</c:v>
                </c:pt>
                <c:pt idx="49344">
                  <c:v>0.880042803638309</c:v>
                </c:pt>
                <c:pt idx="49345">
                  <c:v>0.88006063848760396</c:v>
                </c:pt>
                <c:pt idx="49346">
                  <c:v>0.88007847333690004</c:v>
                </c:pt>
                <c:pt idx="49347">
                  <c:v>0.880096308186195</c:v>
                </c:pt>
                <c:pt idx="49348">
                  <c:v>0.88011414303549096</c:v>
                </c:pt>
                <c:pt idx="49349">
                  <c:v>0.88013197788478603</c:v>
                </c:pt>
                <c:pt idx="49350">
                  <c:v>0.88014981273408199</c:v>
                </c:pt>
                <c:pt idx="49351">
                  <c:v>0.88016764758337795</c:v>
                </c:pt>
                <c:pt idx="49352">
                  <c:v>0.88018548243267303</c:v>
                </c:pt>
                <c:pt idx="49353">
                  <c:v>0.88020331728196899</c:v>
                </c:pt>
                <c:pt idx="49354">
                  <c:v>0.88022115213126395</c:v>
                </c:pt>
                <c:pt idx="49355">
                  <c:v>0.88023898698056002</c:v>
                </c:pt>
                <c:pt idx="49356">
                  <c:v>0.88025682182985499</c:v>
                </c:pt>
                <c:pt idx="49357">
                  <c:v>0.88027465667915095</c:v>
                </c:pt>
                <c:pt idx="49358">
                  <c:v>0.88029249152844602</c:v>
                </c:pt>
                <c:pt idx="49359">
                  <c:v>0.88031032637774198</c:v>
                </c:pt>
                <c:pt idx="49360">
                  <c:v>0.88032816122703705</c:v>
                </c:pt>
                <c:pt idx="49361">
                  <c:v>0.88034599607633301</c:v>
                </c:pt>
                <c:pt idx="49362">
                  <c:v>0.88036383092562798</c:v>
                </c:pt>
                <c:pt idx="49363">
                  <c:v>0.88038166577492405</c:v>
                </c:pt>
                <c:pt idx="49364">
                  <c:v>0.88039950062421901</c:v>
                </c:pt>
                <c:pt idx="49365">
                  <c:v>0.88041733547351497</c:v>
                </c:pt>
                <c:pt idx="49366">
                  <c:v>0.88043517032281005</c:v>
                </c:pt>
                <c:pt idx="49367">
                  <c:v>0.88045300517210601</c:v>
                </c:pt>
                <c:pt idx="49368">
                  <c:v>0.88047084002140097</c:v>
                </c:pt>
                <c:pt idx="49369">
                  <c:v>0.88048867487069704</c:v>
                </c:pt>
                <c:pt idx="49370">
                  <c:v>0.880506509719992</c:v>
                </c:pt>
                <c:pt idx="49371">
                  <c:v>0.88052434456928796</c:v>
                </c:pt>
                <c:pt idx="49372">
                  <c:v>0.88054217941858304</c:v>
                </c:pt>
                <c:pt idx="49373">
                  <c:v>0.880560014267879</c:v>
                </c:pt>
                <c:pt idx="49374">
                  <c:v>0.88057784911717496</c:v>
                </c:pt>
                <c:pt idx="49375">
                  <c:v>0.88059568396647003</c:v>
                </c:pt>
                <c:pt idx="49376">
                  <c:v>0.88061351881576599</c:v>
                </c:pt>
                <c:pt idx="49377">
                  <c:v>0.88063135366506096</c:v>
                </c:pt>
                <c:pt idx="49378">
                  <c:v>0.88064918851435703</c:v>
                </c:pt>
                <c:pt idx="49379">
                  <c:v>0.88066702336365199</c:v>
                </c:pt>
                <c:pt idx="49380">
                  <c:v>0.88068485821294795</c:v>
                </c:pt>
                <c:pt idx="49381">
                  <c:v>0.88070269306224302</c:v>
                </c:pt>
                <c:pt idx="49382">
                  <c:v>0.88072052791153899</c:v>
                </c:pt>
                <c:pt idx="49383">
                  <c:v>0.88073836276083395</c:v>
                </c:pt>
                <c:pt idx="49384">
                  <c:v>0.88075619761013002</c:v>
                </c:pt>
                <c:pt idx="49385">
                  <c:v>0.88077403245942498</c:v>
                </c:pt>
                <c:pt idx="49386">
                  <c:v>0.88079186730872105</c:v>
                </c:pt>
                <c:pt idx="49387">
                  <c:v>0.88080970215801602</c:v>
                </c:pt>
                <c:pt idx="49388">
                  <c:v>0.88082753700731198</c:v>
                </c:pt>
                <c:pt idx="49389">
                  <c:v>0.88084537185660705</c:v>
                </c:pt>
                <c:pt idx="49390">
                  <c:v>0.88086320670590301</c:v>
                </c:pt>
                <c:pt idx="49391">
                  <c:v>0.88088104155519797</c:v>
                </c:pt>
                <c:pt idx="49392">
                  <c:v>0.88089887640449405</c:v>
                </c:pt>
                <c:pt idx="49393">
                  <c:v>0.88091671125378901</c:v>
                </c:pt>
                <c:pt idx="49394">
                  <c:v>0.88093454610308497</c:v>
                </c:pt>
                <c:pt idx="49395">
                  <c:v>0.88095238095238004</c:v>
                </c:pt>
                <c:pt idx="49396">
                  <c:v>0.880970215801676</c:v>
                </c:pt>
                <c:pt idx="49397">
                  <c:v>0.88098805065097197</c:v>
                </c:pt>
                <c:pt idx="49398">
                  <c:v>0.88100588550026704</c:v>
                </c:pt>
                <c:pt idx="49399">
                  <c:v>0.881023720349563</c:v>
                </c:pt>
                <c:pt idx="49400">
                  <c:v>0.88104155519885796</c:v>
                </c:pt>
                <c:pt idx="49401">
                  <c:v>0.88105939004815403</c:v>
                </c:pt>
                <c:pt idx="49402">
                  <c:v>0.881077224897449</c:v>
                </c:pt>
                <c:pt idx="49403">
                  <c:v>0.88109505974674496</c:v>
                </c:pt>
                <c:pt idx="49404">
                  <c:v>0.88111289459604003</c:v>
                </c:pt>
                <c:pt idx="49405">
                  <c:v>0.88113072944533599</c:v>
                </c:pt>
                <c:pt idx="49406">
                  <c:v>0.88114856429463095</c:v>
                </c:pt>
                <c:pt idx="49407">
                  <c:v>0.88116639914392703</c:v>
                </c:pt>
                <c:pt idx="49408">
                  <c:v>0.88118423399322199</c:v>
                </c:pt>
                <c:pt idx="49409">
                  <c:v>0.88120206884251795</c:v>
                </c:pt>
                <c:pt idx="49410">
                  <c:v>0.88121990369181302</c:v>
                </c:pt>
                <c:pt idx="49411">
                  <c:v>0.88123773854110898</c:v>
                </c:pt>
                <c:pt idx="49412">
                  <c:v>0.88125557339040395</c:v>
                </c:pt>
                <c:pt idx="49413">
                  <c:v>0.88127340823970002</c:v>
                </c:pt>
                <c:pt idx="49414">
                  <c:v>0.88129124308899498</c:v>
                </c:pt>
                <c:pt idx="49415">
                  <c:v>0.88130907793829105</c:v>
                </c:pt>
                <c:pt idx="49416">
                  <c:v>0.88132691278758601</c:v>
                </c:pt>
                <c:pt idx="49417">
                  <c:v>0.88134474763688198</c:v>
                </c:pt>
                <c:pt idx="49418">
                  <c:v>0.88136258248617705</c:v>
                </c:pt>
                <c:pt idx="49419">
                  <c:v>0.88138041733547301</c:v>
                </c:pt>
                <c:pt idx="49420">
                  <c:v>0.88139825218476897</c:v>
                </c:pt>
                <c:pt idx="49421">
                  <c:v>0.88141608703406404</c:v>
                </c:pt>
                <c:pt idx="49422">
                  <c:v>0.88143392188336001</c:v>
                </c:pt>
                <c:pt idx="49423">
                  <c:v>0.88145175673265497</c:v>
                </c:pt>
                <c:pt idx="49424">
                  <c:v>0.88146959158195104</c:v>
                </c:pt>
                <c:pt idx="49425">
                  <c:v>0.881487426431246</c:v>
                </c:pt>
                <c:pt idx="49426">
                  <c:v>0.88150526128054196</c:v>
                </c:pt>
                <c:pt idx="49427">
                  <c:v>0.88152309612983704</c:v>
                </c:pt>
                <c:pt idx="49428">
                  <c:v>0.881540930979133</c:v>
                </c:pt>
                <c:pt idx="49429">
                  <c:v>0.88155876582842796</c:v>
                </c:pt>
                <c:pt idx="49430">
                  <c:v>0.88157660067772403</c:v>
                </c:pt>
                <c:pt idx="49431">
                  <c:v>0.88159443552701899</c:v>
                </c:pt>
                <c:pt idx="49432">
                  <c:v>0.88161227037631495</c:v>
                </c:pt>
                <c:pt idx="49433">
                  <c:v>0.88163010522561003</c:v>
                </c:pt>
                <c:pt idx="49434">
                  <c:v>0.88164794007490599</c:v>
                </c:pt>
                <c:pt idx="49435">
                  <c:v>0.88166577492420095</c:v>
                </c:pt>
                <c:pt idx="49436">
                  <c:v>0.88168360977349702</c:v>
                </c:pt>
                <c:pt idx="49437">
                  <c:v>0.88170144462279298</c:v>
                </c:pt>
                <c:pt idx="49438">
                  <c:v>0.88171927947208795</c:v>
                </c:pt>
                <c:pt idx="49439">
                  <c:v>0.88173711432138402</c:v>
                </c:pt>
                <c:pt idx="49440">
                  <c:v>0.88175494917067898</c:v>
                </c:pt>
                <c:pt idx="49441">
                  <c:v>0.88177278401997505</c:v>
                </c:pt>
                <c:pt idx="49442">
                  <c:v>0.88179061886927002</c:v>
                </c:pt>
                <c:pt idx="49443">
                  <c:v>0.88180845371856598</c:v>
                </c:pt>
                <c:pt idx="49444">
                  <c:v>0.88182628856786105</c:v>
                </c:pt>
                <c:pt idx="49445">
                  <c:v>0.88184412341715701</c:v>
                </c:pt>
                <c:pt idx="49446">
                  <c:v>0.88186195826645197</c:v>
                </c:pt>
                <c:pt idx="49447">
                  <c:v>0.88187979311574805</c:v>
                </c:pt>
                <c:pt idx="49448">
                  <c:v>0.88189762796504301</c:v>
                </c:pt>
                <c:pt idx="49449">
                  <c:v>0.88191546281433897</c:v>
                </c:pt>
                <c:pt idx="49450">
                  <c:v>0.88193329766363404</c:v>
                </c:pt>
                <c:pt idx="49451">
                  <c:v>0.88195113251293</c:v>
                </c:pt>
                <c:pt idx="49452">
                  <c:v>0.88196896736222496</c:v>
                </c:pt>
                <c:pt idx="49453">
                  <c:v>0.88198680221152104</c:v>
                </c:pt>
                <c:pt idx="49454">
                  <c:v>0.882004637060816</c:v>
                </c:pt>
                <c:pt idx="49455">
                  <c:v>0.88202247191011196</c:v>
                </c:pt>
                <c:pt idx="49456">
                  <c:v>0.88204030675940703</c:v>
                </c:pt>
                <c:pt idx="49457">
                  <c:v>0.88205814160870299</c:v>
                </c:pt>
                <c:pt idx="49458">
                  <c:v>0.88207597645799896</c:v>
                </c:pt>
                <c:pt idx="49459">
                  <c:v>0.88209381130729403</c:v>
                </c:pt>
                <c:pt idx="49460">
                  <c:v>0.88211164615658999</c:v>
                </c:pt>
                <c:pt idx="49461">
                  <c:v>0.88212948100588495</c:v>
                </c:pt>
                <c:pt idx="49462">
                  <c:v>0.88214731585518102</c:v>
                </c:pt>
                <c:pt idx="49463">
                  <c:v>0.88216515070447599</c:v>
                </c:pt>
                <c:pt idx="49464">
                  <c:v>0.88218298555377195</c:v>
                </c:pt>
                <c:pt idx="49465">
                  <c:v>0.88220082040306702</c:v>
                </c:pt>
                <c:pt idx="49466">
                  <c:v>0.88221865525236298</c:v>
                </c:pt>
                <c:pt idx="49467">
                  <c:v>0.88223649010165806</c:v>
                </c:pt>
                <c:pt idx="49468">
                  <c:v>0.88225432495095402</c:v>
                </c:pt>
                <c:pt idx="49469">
                  <c:v>0.88227215980024898</c:v>
                </c:pt>
                <c:pt idx="49470">
                  <c:v>0.88228999464954505</c:v>
                </c:pt>
                <c:pt idx="49471">
                  <c:v>0.88230782949884001</c:v>
                </c:pt>
                <c:pt idx="49472">
                  <c:v>0.88232566434813597</c:v>
                </c:pt>
                <c:pt idx="49473">
                  <c:v>0.88234349919743105</c:v>
                </c:pt>
                <c:pt idx="49474">
                  <c:v>0.88236133404672701</c:v>
                </c:pt>
                <c:pt idx="49475">
                  <c:v>0.88237916889602197</c:v>
                </c:pt>
                <c:pt idx="49476">
                  <c:v>0.88239700374531804</c:v>
                </c:pt>
                <c:pt idx="49477">
                  <c:v>0.882414838594613</c:v>
                </c:pt>
                <c:pt idx="49478">
                  <c:v>0.88243267344390897</c:v>
                </c:pt>
                <c:pt idx="49479">
                  <c:v>0.88245050829320404</c:v>
                </c:pt>
                <c:pt idx="49480">
                  <c:v>0.8824683431425</c:v>
                </c:pt>
                <c:pt idx="49481">
                  <c:v>0.88248617799179596</c:v>
                </c:pt>
                <c:pt idx="49482">
                  <c:v>0.88250401284109103</c:v>
                </c:pt>
                <c:pt idx="49483">
                  <c:v>0.882521847690387</c:v>
                </c:pt>
                <c:pt idx="49484">
                  <c:v>0.88253968253968196</c:v>
                </c:pt>
                <c:pt idx="49485">
                  <c:v>0.88255751738897803</c:v>
                </c:pt>
                <c:pt idx="49486">
                  <c:v>0.88257535223827299</c:v>
                </c:pt>
                <c:pt idx="49487">
                  <c:v>0.88259318708756895</c:v>
                </c:pt>
                <c:pt idx="49488">
                  <c:v>0.88261102193686403</c:v>
                </c:pt>
                <c:pt idx="49489">
                  <c:v>0.88262885678615999</c:v>
                </c:pt>
                <c:pt idx="49490">
                  <c:v>0.88264669163545495</c:v>
                </c:pt>
                <c:pt idx="49491">
                  <c:v>0.88266452648475102</c:v>
                </c:pt>
                <c:pt idx="49492">
                  <c:v>0.88268236133404598</c:v>
                </c:pt>
                <c:pt idx="49493">
                  <c:v>0.88270019618334195</c:v>
                </c:pt>
                <c:pt idx="49494">
                  <c:v>0.88271803103263702</c:v>
                </c:pt>
                <c:pt idx="49495">
                  <c:v>0.88273586588193298</c:v>
                </c:pt>
                <c:pt idx="49496">
                  <c:v>0.88275370073122805</c:v>
                </c:pt>
                <c:pt idx="49497">
                  <c:v>0.88277153558052401</c:v>
                </c:pt>
                <c:pt idx="49498">
                  <c:v>0.88278937042981898</c:v>
                </c:pt>
                <c:pt idx="49499">
                  <c:v>0.88280720527911505</c:v>
                </c:pt>
                <c:pt idx="49500">
                  <c:v>0.88282504012841001</c:v>
                </c:pt>
                <c:pt idx="49501">
                  <c:v>0.88284287497770597</c:v>
                </c:pt>
                <c:pt idx="49502">
                  <c:v>0.88286070982700104</c:v>
                </c:pt>
                <c:pt idx="49503">
                  <c:v>0.88287854467629701</c:v>
                </c:pt>
                <c:pt idx="49504">
                  <c:v>0.88289637952559297</c:v>
                </c:pt>
                <c:pt idx="49505">
                  <c:v>0.88291421437488804</c:v>
                </c:pt>
                <c:pt idx="49506">
                  <c:v>0.882932049224184</c:v>
                </c:pt>
                <c:pt idx="49507">
                  <c:v>0.88294988407347896</c:v>
                </c:pt>
                <c:pt idx="49508">
                  <c:v>0.88296771892277504</c:v>
                </c:pt>
                <c:pt idx="49509">
                  <c:v>0.88298555377207</c:v>
                </c:pt>
                <c:pt idx="49510">
                  <c:v>0.88300338862136596</c:v>
                </c:pt>
                <c:pt idx="49511">
                  <c:v>0.88302122347066103</c:v>
                </c:pt>
                <c:pt idx="49512">
                  <c:v>0.88303905831995699</c:v>
                </c:pt>
                <c:pt idx="49513">
                  <c:v>0.88305689316925196</c:v>
                </c:pt>
                <c:pt idx="49514">
                  <c:v>0.88307472801854803</c:v>
                </c:pt>
                <c:pt idx="49515">
                  <c:v>0.88309256286784299</c:v>
                </c:pt>
                <c:pt idx="49516">
                  <c:v>0.88311039771713895</c:v>
                </c:pt>
                <c:pt idx="49517">
                  <c:v>0.88312823256643402</c:v>
                </c:pt>
                <c:pt idx="49518">
                  <c:v>0.88314606741572999</c:v>
                </c:pt>
                <c:pt idx="49519">
                  <c:v>0.88316390226502495</c:v>
                </c:pt>
                <c:pt idx="49520">
                  <c:v>0.88318173711432102</c:v>
                </c:pt>
                <c:pt idx="49521">
                  <c:v>0.88319957196361598</c:v>
                </c:pt>
                <c:pt idx="49522">
                  <c:v>0.88321740681291205</c:v>
                </c:pt>
                <c:pt idx="49523">
                  <c:v>0.88323524166220702</c:v>
                </c:pt>
                <c:pt idx="49524">
                  <c:v>0.88325307651150298</c:v>
                </c:pt>
                <c:pt idx="49525">
                  <c:v>0.88327091136079905</c:v>
                </c:pt>
                <c:pt idx="49526">
                  <c:v>0.88328874621009401</c:v>
                </c:pt>
                <c:pt idx="49527">
                  <c:v>0.88330658105938997</c:v>
                </c:pt>
                <c:pt idx="49528">
                  <c:v>0.88332441590868505</c:v>
                </c:pt>
                <c:pt idx="49529">
                  <c:v>0.88334225075798101</c:v>
                </c:pt>
                <c:pt idx="49530">
                  <c:v>0.88336008560727597</c:v>
                </c:pt>
                <c:pt idx="49531">
                  <c:v>0.88337792045657204</c:v>
                </c:pt>
                <c:pt idx="49532">
                  <c:v>0.883395755305867</c:v>
                </c:pt>
                <c:pt idx="49533">
                  <c:v>0.88341359015516296</c:v>
                </c:pt>
                <c:pt idx="49534">
                  <c:v>0.88343142500445804</c:v>
                </c:pt>
                <c:pt idx="49535">
                  <c:v>0.883449259853754</c:v>
                </c:pt>
                <c:pt idx="49536">
                  <c:v>0.88346709470304896</c:v>
                </c:pt>
                <c:pt idx="49537">
                  <c:v>0.88348492955234503</c:v>
                </c:pt>
                <c:pt idx="49538">
                  <c:v>0.88350276440164</c:v>
                </c:pt>
                <c:pt idx="49539">
                  <c:v>0.88352059925093596</c:v>
                </c:pt>
                <c:pt idx="49540">
                  <c:v>0.88353843410023103</c:v>
                </c:pt>
                <c:pt idx="49541">
                  <c:v>0.88355626894952699</c:v>
                </c:pt>
                <c:pt idx="49542">
                  <c:v>0.88357410379882295</c:v>
                </c:pt>
                <c:pt idx="49543">
                  <c:v>0.88359193864811802</c:v>
                </c:pt>
                <c:pt idx="49544">
                  <c:v>0.88360977349741399</c:v>
                </c:pt>
                <c:pt idx="49545">
                  <c:v>0.88362760834670895</c:v>
                </c:pt>
                <c:pt idx="49546">
                  <c:v>0.88364544319600502</c:v>
                </c:pt>
                <c:pt idx="49547">
                  <c:v>0.88366327804529998</c:v>
                </c:pt>
                <c:pt idx="49548">
                  <c:v>0.88368111289459605</c:v>
                </c:pt>
                <c:pt idx="49549">
                  <c:v>0.88369894774389102</c:v>
                </c:pt>
                <c:pt idx="49550">
                  <c:v>0.88371678259318698</c:v>
                </c:pt>
                <c:pt idx="49551">
                  <c:v>0.88373461744248205</c:v>
                </c:pt>
                <c:pt idx="49552">
                  <c:v>0.88375245229177801</c:v>
                </c:pt>
                <c:pt idx="49553">
                  <c:v>0.88377028714107297</c:v>
                </c:pt>
                <c:pt idx="49554">
                  <c:v>0.88378812199036905</c:v>
                </c:pt>
                <c:pt idx="49555">
                  <c:v>0.88380595683966401</c:v>
                </c:pt>
                <c:pt idx="49556">
                  <c:v>0.88382379168895997</c:v>
                </c:pt>
                <c:pt idx="49557">
                  <c:v>0.88384162653825504</c:v>
                </c:pt>
                <c:pt idx="49558">
                  <c:v>0.883859461387551</c:v>
                </c:pt>
                <c:pt idx="49559">
                  <c:v>0.88387729623684597</c:v>
                </c:pt>
                <c:pt idx="49560">
                  <c:v>0.88389513108614204</c:v>
                </c:pt>
                <c:pt idx="49561">
                  <c:v>0.883912965935437</c:v>
                </c:pt>
                <c:pt idx="49562">
                  <c:v>0.88393080078473296</c:v>
                </c:pt>
                <c:pt idx="49563">
                  <c:v>0.88394863563402803</c:v>
                </c:pt>
                <c:pt idx="49564">
                  <c:v>0.883966470483324</c:v>
                </c:pt>
                <c:pt idx="49565">
                  <c:v>0.88398430533261996</c:v>
                </c:pt>
                <c:pt idx="49566">
                  <c:v>0.88400214018191503</c:v>
                </c:pt>
                <c:pt idx="49567">
                  <c:v>0.88401997503121099</c:v>
                </c:pt>
                <c:pt idx="49568">
                  <c:v>0.88403780988050595</c:v>
                </c:pt>
                <c:pt idx="49569">
                  <c:v>0.88405564472980203</c:v>
                </c:pt>
                <c:pt idx="49570">
                  <c:v>0.88407347957909699</c:v>
                </c:pt>
                <c:pt idx="49571">
                  <c:v>0.88409131442839295</c:v>
                </c:pt>
                <c:pt idx="49572">
                  <c:v>0.88410914927768802</c:v>
                </c:pt>
                <c:pt idx="49573">
                  <c:v>0.88412698412698398</c:v>
                </c:pt>
                <c:pt idx="49574">
                  <c:v>0.88414481897627895</c:v>
                </c:pt>
                <c:pt idx="49575">
                  <c:v>0.88416265382557502</c:v>
                </c:pt>
                <c:pt idx="49576">
                  <c:v>0.88418048867486998</c:v>
                </c:pt>
                <c:pt idx="49577">
                  <c:v>0.88419832352416605</c:v>
                </c:pt>
                <c:pt idx="49578">
                  <c:v>0.88421615837346101</c:v>
                </c:pt>
                <c:pt idx="49579">
                  <c:v>0.88423399322275698</c:v>
                </c:pt>
                <c:pt idx="49580">
                  <c:v>0.88425182807205205</c:v>
                </c:pt>
                <c:pt idx="49581">
                  <c:v>0.88426966292134801</c:v>
                </c:pt>
                <c:pt idx="49582">
                  <c:v>0.88428749777064297</c:v>
                </c:pt>
                <c:pt idx="49583">
                  <c:v>0.88430533261993904</c:v>
                </c:pt>
                <c:pt idx="49584">
                  <c:v>0.88432316746923401</c:v>
                </c:pt>
                <c:pt idx="49585">
                  <c:v>0.88434100231852997</c:v>
                </c:pt>
                <c:pt idx="49586">
                  <c:v>0.88435883716782504</c:v>
                </c:pt>
                <c:pt idx="49587">
                  <c:v>0.884376672017121</c:v>
                </c:pt>
                <c:pt idx="49588">
                  <c:v>0.88439450686641696</c:v>
                </c:pt>
                <c:pt idx="49589">
                  <c:v>0.88441234171571204</c:v>
                </c:pt>
                <c:pt idx="49590">
                  <c:v>0.884430176565008</c:v>
                </c:pt>
                <c:pt idx="49591">
                  <c:v>0.88444801141430296</c:v>
                </c:pt>
                <c:pt idx="49592">
                  <c:v>0.88446584626359903</c:v>
                </c:pt>
                <c:pt idx="49593">
                  <c:v>0.88448368111289399</c:v>
                </c:pt>
                <c:pt idx="49594">
                  <c:v>0.88450151596218995</c:v>
                </c:pt>
                <c:pt idx="49595">
                  <c:v>0.88451935081148503</c:v>
                </c:pt>
                <c:pt idx="49596">
                  <c:v>0.88453718566078099</c:v>
                </c:pt>
                <c:pt idx="49597">
                  <c:v>0.88455502051007595</c:v>
                </c:pt>
                <c:pt idx="49598">
                  <c:v>0.88457285535937202</c:v>
                </c:pt>
                <c:pt idx="49599">
                  <c:v>0.88459069020866699</c:v>
                </c:pt>
                <c:pt idx="49600">
                  <c:v>0.88460852505796295</c:v>
                </c:pt>
                <c:pt idx="49601">
                  <c:v>0.88462635990725802</c:v>
                </c:pt>
                <c:pt idx="49602">
                  <c:v>0.88464419475655398</c:v>
                </c:pt>
                <c:pt idx="49603">
                  <c:v>0.88466202960584905</c:v>
                </c:pt>
                <c:pt idx="49604">
                  <c:v>0.88467986445514502</c:v>
                </c:pt>
                <c:pt idx="49605">
                  <c:v>0.88469769930443998</c:v>
                </c:pt>
                <c:pt idx="49606">
                  <c:v>0.88471553415373605</c:v>
                </c:pt>
                <c:pt idx="49607">
                  <c:v>0.88473336900303101</c:v>
                </c:pt>
                <c:pt idx="49608">
                  <c:v>0.88475120385232697</c:v>
                </c:pt>
                <c:pt idx="49609">
                  <c:v>0.88476903870162205</c:v>
                </c:pt>
                <c:pt idx="49610">
                  <c:v>0.88478687355091801</c:v>
                </c:pt>
                <c:pt idx="49611">
                  <c:v>0.88480470840021397</c:v>
                </c:pt>
                <c:pt idx="49612">
                  <c:v>0.88482254324950904</c:v>
                </c:pt>
                <c:pt idx="49613">
                  <c:v>0.884840378098805</c:v>
                </c:pt>
                <c:pt idx="49614">
                  <c:v>0.88485821294809996</c:v>
                </c:pt>
                <c:pt idx="49615">
                  <c:v>0.88487604779739604</c:v>
                </c:pt>
                <c:pt idx="49616">
                  <c:v>0.884893882646691</c:v>
                </c:pt>
                <c:pt idx="49617">
                  <c:v>0.88491171749598696</c:v>
                </c:pt>
                <c:pt idx="49618">
                  <c:v>0.88492955234528203</c:v>
                </c:pt>
                <c:pt idx="49619">
                  <c:v>0.88494738719457799</c:v>
                </c:pt>
                <c:pt idx="49620">
                  <c:v>0.88496522204387296</c:v>
                </c:pt>
                <c:pt idx="49621">
                  <c:v>0.88498305689316903</c:v>
                </c:pt>
                <c:pt idx="49622">
                  <c:v>0.88500089174246399</c:v>
                </c:pt>
                <c:pt idx="49623">
                  <c:v>0.88501872659175995</c:v>
                </c:pt>
                <c:pt idx="49624">
                  <c:v>0.88503656144105503</c:v>
                </c:pt>
                <c:pt idx="49625">
                  <c:v>0.88505439629035099</c:v>
                </c:pt>
                <c:pt idx="49626">
                  <c:v>0.88507223113964595</c:v>
                </c:pt>
                <c:pt idx="49627">
                  <c:v>0.88509006598894202</c:v>
                </c:pt>
                <c:pt idx="49628">
                  <c:v>0.88510790083823698</c:v>
                </c:pt>
                <c:pt idx="49629">
                  <c:v>0.88512573568753306</c:v>
                </c:pt>
                <c:pt idx="49630">
                  <c:v>0.88514357053682902</c:v>
                </c:pt>
                <c:pt idx="49631">
                  <c:v>0.88516140538612398</c:v>
                </c:pt>
                <c:pt idx="49632">
                  <c:v>0.88517924023542005</c:v>
                </c:pt>
                <c:pt idx="49633">
                  <c:v>0.88519707508471501</c:v>
                </c:pt>
                <c:pt idx="49634">
                  <c:v>0.88521490993401097</c:v>
                </c:pt>
                <c:pt idx="49635">
                  <c:v>0.88523274478330605</c:v>
                </c:pt>
                <c:pt idx="49636">
                  <c:v>0.88525057963260201</c:v>
                </c:pt>
                <c:pt idx="49637">
                  <c:v>0.88526841448189697</c:v>
                </c:pt>
                <c:pt idx="49638">
                  <c:v>0.88528624933119304</c:v>
                </c:pt>
                <c:pt idx="49639">
                  <c:v>0.885304084180488</c:v>
                </c:pt>
                <c:pt idx="49640">
                  <c:v>0.88532191902978397</c:v>
                </c:pt>
                <c:pt idx="49641">
                  <c:v>0.88533975387907904</c:v>
                </c:pt>
                <c:pt idx="49642">
                  <c:v>0.885357588728375</c:v>
                </c:pt>
                <c:pt idx="49643">
                  <c:v>0.88537542357766996</c:v>
                </c:pt>
                <c:pt idx="49644">
                  <c:v>0.88539325842696603</c:v>
                </c:pt>
                <c:pt idx="49645">
                  <c:v>0.885411093276261</c:v>
                </c:pt>
                <c:pt idx="49646">
                  <c:v>0.88542892812555696</c:v>
                </c:pt>
                <c:pt idx="49647">
                  <c:v>0.88544676297485203</c:v>
                </c:pt>
                <c:pt idx="49648">
                  <c:v>0.88546459782414799</c:v>
                </c:pt>
                <c:pt idx="49649">
                  <c:v>0.88548243267344395</c:v>
                </c:pt>
                <c:pt idx="49650">
                  <c:v>0.88550026752273903</c:v>
                </c:pt>
                <c:pt idx="49651">
                  <c:v>0.88551810237203499</c:v>
                </c:pt>
                <c:pt idx="49652">
                  <c:v>0.88553593722132995</c:v>
                </c:pt>
                <c:pt idx="49653">
                  <c:v>0.88555377207062602</c:v>
                </c:pt>
                <c:pt idx="49654">
                  <c:v>0.88557160691992098</c:v>
                </c:pt>
                <c:pt idx="49655">
                  <c:v>0.88558944176921695</c:v>
                </c:pt>
                <c:pt idx="49656">
                  <c:v>0.88560727661851202</c:v>
                </c:pt>
                <c:pt idx="49657">
                  <c:v>0.88562511146780798</c:v>
                </c:pt>
                <c:pt idx="49658">
                  <c:v>0.88564294631710305</c:v>
                </c:pt>
                <c:pt idx="49659">
                  <c:v>0.88566078116639901</c:v>
                </c:pt>
                <c:pt idx="49660">
                  <c:v>0.88567861601569398</c:v>
                </c:pt>
                <c:pt idx="49661">
                  <c:v>0.88569645086499005</c:v>
                </c:pt>
                <c:pt idx="49662">
                  <c:v>0.88571428571428501</c:v>
                </c:pt>
                <c:pt idx="49663">
                  <c:v>0.88573212056358097</c:v>
                </c:pt>
                <c:pt idx="49664">
                  <c:v>0.88574995541287604</c:v>
                </c:pt>
                <c:pt idx="49665">
                  <c:v>0.88576779026217201</c:v>
                </c:pt>
                <c:pt idx="49666">
                  <c:v>0.88578562511146697</c:v>
                </c:pt>
                <c:pt idx="49667">
                  <c:v>0.88580345996076304</c:v>
                </c:pt>
                <c:pt idx="49668">
                  <c:v>0.885821294810058</c:v>
                </c:pt>
                <c:pt idx="49669">
                  <c:v>0.88583912965935396</c:v>
                </c:pt>
                <c:pt idx="49670">
                  <c:v>0.88585696450864904</c:v>
                </c:pt>
                <c:pt idx="49671">
                  <c:v>0.885874799357945</c:v>
                </c:pt>
                <c:pt idx="49672">
                  <c:v>0.88589263420724096</c:v>
                </c:pt>
                <c:pt idx="49673">
                  <c:v>0.88591046905653603</c:v>
                </c:pt>
                <c:pt idx="49674">
                  <c:v>0.88592830390583199</c:v>
                </c:pt>
                <c:pt idx="49675">
                  <c:v>0.88594613875512696</c:v>
                </c:pt>
                <c:pt idx="49676">
                  <c:v>0.88596397360442303</c:v>
                </c:pt>
                <c:pt idx="49677">
                  <c:v>0.88598180845371799</c:v>
                </c:pt>
                <c:pt idx="49678">
                  <c:v>0.88599964330301395</c:v>
                </c:pt>
                <c:pt idx="49679">
                  <c:v>0.88601747815230902</c:v>
                </c:pt>
                <c:pt idx="49680">
                  <c:v>0.88603531300160498</c:v>
                </c:pt>
                <c:pt idx="49681">
                  <c:v>0.88605314785089995</c:v>
                </c:pt>
                <c:pt idx="49682">
                  <c:v>0.88607098270019602</c:v>
                </c:pt>
                <c:pt idx="49683">
                  <c:v>0.88608881754949098</c:v>
                </c:pt>
                <c:pt idx="49684">
                  <c:v>0.88610665239878705</c:v>
                </c:pt>
                <c:pt idx="49685">
                  <c:v>0.88612448724808202</c:v>
                </c:pt>
                <c:pt idx="49686">
                  <c:v>0.88614232209737798</c:v>
                </c:pt>
                <c:pt idx="49687">
                  <c:v>0.88616015694667305</c:v>
                </c:pt>
                <c:pt idx="49688">
                  <c:v>0.88617799179596901</c:v>
                </c:pt>
                <c:pt idx="49689">
                  <c:v>0.88619582664526397</c:v>
                </c:pt>
                <c:pt idx="49690">
                  <c:v>0.88621366149456005</c:v>
                </c:pt>
                <c:pt idx="49691">
                  <c:v>0.88623149634385501</c:v>
                </c:pt>
                <c:pt idx="49692">
                  <c:v>0.88624933119315097</c:v>
                </c:pt>
                <c:pt idx="49693">
                  <c:v>0.88626716604244604</c:v>
                </c:pt>
                <c:pt idx="49694">
                  <c:v>0.886285000891742</c:v>
                </c:pt>
                <c:pt idx="49695">
                  <c:v>0.88630283574103796</c:v>
                </c:pt>
                <c:pt idx="49696">
                  <c:v>0.88632067059033304</c:v>
                </c:pt>
                <c:pt idx="49697">
                  <c:v>0.886338505439629</c:v>
                </c:pt>
                <c:pt idx="49698">
                  <c:v>0.88635634028892396</c:v>
                </c:pt>
                <c:pt idx="49699">
                  <c:v>0.88637417513822003</c:v>
                </c:pt>
                <c:pt idx="49700">
                  <c:v>0.88639200998751499</c:v>
                </c:pt>
                <c:pt idx="49701">
                  <c:v>0.88640984483681096</c:v>
                </c:pt>
                <c:pt idx="49702">
                  <c:v>0.88642767968610603</c:v>
                </c:pt>
                <c:pt idx="49703">
                  <c:v>0.88644551453540199</c:v>
                </c:pt>
                <c:pt idx="49704">
                  <c:v>0.88646334938469695</c:v>
                </c:pt>
                <c:pt idx="49705">
                  <c:v>0.88648118423399302</c:v>
                </c:pt>
                <c:pt idx="49706">
                  <c:v>0.88649901908328799</c:v>
                </c:pt>
                <c:pt idx="49707">
                  <c:v>0.88651685393258395</c:v>
                </c:pt>
                <c:pt idx="49708">
                  <c:v>0.88653468878187902</c:v>
                </c:pt>
                <c:pt idx="49709">
                  <c:v>0.88655252363117498</c:v>
                </c:pt>
                <c:pt idx="49710">
                  <c:v>0.88657035848047006</c:v>
                </c:pt>
                <c:pt idx="49711">
                  <c:v>0.88658819332976602</c:v>
                </c:pt>
                <c:pt idx="49712">
                  <c:v>0.88660602817906098</c:v>
                </c:pt>
                <c:pt idx="49713">
                  <c:v>0.88662386302835705</c:v>
                </c:pt>
                <c:pt idx="49714">
                  <c:v>0.88664169787765201</c:v>
                </c:pt>
                <c:pt idx="49715">
                  <c:v>0.88665953272694797</c:v>
                </c:pt>
                <c:pt idx="49716">
                  <c:v>0.88667736757624305</c:v>
                </c:pt>
                <c:pt idx="49717">
                  <c:v>0.88669520242553901</c:v>
                </c:pt>
                <c:pt idx="49718">
                  <c:v>0.88671303727483497</c:v>
                </c:pt>
                <c:pt idx="49719">
                  <c:v>0.88673087212413004</c:v>
                </c:pt>
                <c:pt idx="49720">
                  <c:v>0.886748706973426</c:v>
                </c:pt>
                <c:pt idx="49721">
                  <c:v>0.88676654182272097</c:v>
                </c:pt>
                <c:pt idx="49722">
                  <c:v>0.88678437667201704</c:v>
                </c:pt>
                <c:pt idx="49723">
                  <c:v>0.886802211521312</c:v>
                </c:pt>
                <c:pt idx="49724">
                  <c:v>0.88682004637060796</c:v>
                </c:pt>
                <c:pt idx="49725">
                  <c:v>0.88683788121990303</c:v>
                </c:pt>
                <c:pt idx="49726">
                  <c:v>0.886855716069199</c:v>
                </c:pt>
                <c:pt idx="49727">
                  <c:v>0.88687355091849396</c:v>
                </c:pt>
                <c:pt idx="49728">
                  <c:v>0.88689138576779003</c:v>
                </c:pt>
                <c:pt idx="49729">
                  <c:v>0.88690922061708499</c:v>
                </c:pt>
                <c:pt idx="49730">
                  <c:v>0.88692705546638095</c:v>
                </c:pt>
                <c:pt idx="49731">
                  <c:v>0.88694489031567603</c:v>
                </c:pt>
                <c:pt idx="49732">
                  <c:v>0.88696272516497199</c:v>
                </c:pt>
                <c:pt idx="49733">
                  <c:v>0.88698056001426695</c:v>
                </c:pt>
                <c:pt idx="49734">
                  <c:v>0.88699839486356302</c:v>
                </c:pt>
                <c:pt idx="49735">
                  <c:v>0.88701622971285798</c:v>
                </c:pt>
                <c:pt idx="49736">
                  <c:v>0.88703406456215395</c:v>
                </c:pt>
                <c:pt idx="49737">
                  <c:v>0.88705189941145002</c:v>
                </c:pt>
                <c:pt idx="49738">
                  <c:v>0.88706973426074498</c:v>
                </c:pt>
                <c:pt idx="49739">
                  <c:v>0.88708756911004105</c:v>
                </c:pt>
                <c:pt idx="49740">
                  <c:v>0.88710540395933601</c:v>
                </c:pt>
                <c:pt idx="49741">
                  <c:v>0.88712323880863198</c:v>
                </c:pt>
                <c:pt idx="49742">
                  <c:v>0.88714107365792705</c:v>
                </c:pt>
                <c:pt idx="49743">
                  <c:v>0.88715890850722301</c:v>
                </c:pt>
                <c:pt idx="49744">
                  <c:v>0.88717674335651797</c:v>
                </c:pt>
                <c:pt idx="49745">
                  <c:v>0.88719457820581404</c:v>
                </c:pt>
                <c:pt idx="49746">
                  <c:v>0.88721241305510901</c:v>
                </c:pt>
                <c:pt idx="49747">
                  <c:v>0.88723024790440497</c:v>
                </c:pt>
                <c:pt idx="49748">
                  <c:v>0.88724808275370004</c:v>
                </c:pt>
                <c:pt idx="49749">
                  <c:v>0.887265917602996</c:v>
                </c:pt>
                <c:pt idx="49750">
                  <c:v>0.88728375245229096</c:v>
                </c:pt>
                <c:pt idx="49751">
                  <c:v>0.88730158730158704</c:v>
                </c:pt>
                <c:pt idx="49752">
                  <c:v>0.887319422150882</c:v>
                </c:pt>
                <c:pt idx="49753">
                  <c:v>0.88733725700017796</c:v>
                </c:pt>
                <c:pt idx="49754">
                  <c:v>0.88735509184947303</c:v>
                </c:pt>
                <c:pt idx="49755">
                  <c:v>0.88737292669876899</c:v>
                </c:pt>
                <c:pt idx="49756">
                  <c:v>0.88739076154806495</c:v>
                </c:pt>
                <c:pt idx="49757">
                  <c:v>0.88740859639736003</c:v>
                </c:pt>
                <c:pt idx="49758">
                  <c:v>0.88742643124665599</c:v>
                </c:pt>
                <c:pt idx="49759">
                  <c:v>0.88744426609595095</c:v>
                </c:pt>
                <c:pt idx="49760">
                  <c:v>0.88746210094524702</c:v>
                </c:pt>
                <c:pt idx="49761">
                  <c:v>0.88747993579454199</c:v>
                </c:pt>
                <c:pt idx="49762">
                  <c:v>0.88749777064383795</c:v>
                </c:pt>
                <c:pt idx="49763">
                  <c:v>0.88751560549313302</c:v>
                </c:pt>
                <c:pt idx="49764">
                  <c:v>0.88753344034242898</c:v>
                </c:pt>
                <c:pt idx="49765">
                  <c:v>0.88755127519172405</c:v>
                </c:pt>
                <c:pt idx="49766">
                  <c:v>0.88756911004102002</c:v>
                </c:pt>
                <c:pt idx="49767">
                  <c:v>0.88758694489031498</c:v>
                </c:pt>
                <c:pt idx="49768">
                  <c:v>0.88760477973961105</c:v>
                </c:pt>
                <c:pt idx="49769">
                  <c:v>0.88762261458890601</c:v>
                </c:pt>
                <c:pt idx="49770">
                  <c:v>0.88764044943820197</c:v>
                </c:pt>
                <c:pt idx="49771">
                  <c:v>0.88765828428749705</c:v>
                </c:pt>
                <c:pt idx="49772">
                  <c:v>0.88767611913679301</c:v>
                </c:pt>
                <c:pt idx="49773">
                  <c:v>0.88769395398608797</c:v>
                </c:pt>
                <c:pt idx="49774">
                  <c:v>0.88771178883538404</c:v>
                </c:pt>
                <c:pt idx="49775">
                  <c:v>0.887729623684679</c:v>
                </c:pt>
                <c:pt idx="49776">
                  <c:v>0.88774745853397496</c:v>
                </c:pt>
                <c:pt idx="49777">
                  <c:v>0.88776529338327004</c:v>
                </c:pt>
                <c:pt idx="49778">
                  <c:v>0.887783128232566</c:v>
                </c:pt>
                <c:pt idx="49779">
                  <c:v>0.88780096308186196</c:v>
                </c:pt>
                <c:pt idx="49780">
                  <c:v>0.88781879793115703</c:v>
                </c:pt>
                <c:pt idx="49781">
                  <c:v>0.88783663278045299</c:v>
                </c:pt>
                <c:pt idx="49782">
                  <c:v>0.88785446762974796</c:v>
                </c:pt>
                <c:pt idx="49783">
                  <c:v>0.88787230247904403</c:v>
                </c:pt>
                <c:pt idx="49784">
                  <c:v>0.88789013732833899</c:v>
                </c:pt>
                <c:pt idx="49785">
                  <c:v>0.88790797217763495</c:v>
                </c:pt>
                <c:pt idx="49786">
                  <c:v>0.88792580702693003</c:v>
                </c:pt>
                <c:pt idx="49787">
                  <c:v>0.88794364187622599</c:v>
                </c:pt>
                <c:pt idx="49788">
                  <c:v>0.88796147672552095</c:v>
                </c:pt>
                <c:pt idx="49789">
                  <c:v>0.88797931157481702</c:v>
                </c:pt>
                <c:pt idx="49790">
                  <c:v>0.88799714642411198</c:v>
                </c:pt>
                <c:pt idx="49791">
                  <c:v>0.88801498127340805</c:v>
                </c:pt>
                <c:pt idx="49792">
                  <c:v>0.88803281612270302</c:v>
                </c:pt>
                <c:pt idx="49793">
                  <c:v>0.88805065097199898</c:v>
                </c:pt>
                <c:pt idx="49794">
                  <c:v>0.88806848582129405</c:v>
                </c:pt>
                <c:pt idx="49795">
                  <c:v>0.88808632067059001</c:v>
                </c:pt>
                <c:pt idx="49796">
                  <c:v>0.88810415551988497</c:v>
                </c:pt>
                <c:pt idx="49797">
                  <c:v>0.88812199036918105</c:v>
                </c:pt>
                <c:pt idx="49798">
                  <c:v>0.88813982521847601</c:v>
                </c:pt>
                <c:pt idx="49799">
                  <c:v>0.88815766006777197</c:v>
                </c:pt>
                <c:pt idx="49800">
                  <c:v>0.88817549491706704</c:v>
                </c:pt>
                <c:pt idx="49801">
                  <c:v>0.888193329766363</c:v>
                </c:pt>
                <c:pt idx="49802">
                  <c:v>0.88821116461565897</c:v>
                </c:pt>
                <c:pt idx="49803">
                  <c:v>0.88822899946495404</c:v>
                </c:pt>
                <c:pt idx="49804">
                  <c:v>0.88824683431425</c:v>
                </c:pt>
                <c:pt idx="49805">
                  <c:v>0.88826466916354496</c:v>
                </c:pt>
                <c:pt idx="49806">
                  <c:v>0.88828250401284103</c:v>
                </c:pt>
                <c:pt idx="49807">
                  <c:v>0.888300338862136</c:v>
                </c:pt>
                <c:pt idx="49808">
                  <c:v>0.88831817371143196</c:v>
                </c:pt>
                <c:pt idx="49809">
                  <c:v>0.88833600856072703</c:v>
                </c:pt>
                <c:pt idx="49810">
                  <c:v>0.88835384341002299</c:v>
                </c:pt>
                <c:pt idx="49811">
                  <c:v>0.88837167825931795</c:v>
                </c:pt>
                <c:pt idx="49812">
                  <c:v>0.88838951310861403</c:v>
                </c:pt>
                <c:pt idx="49813">
                  <c:v>0.88840734795790899</c:v>
                </c:pt>
                <c:pt idx="49814">
                  <c:v>0.88842518280720495</c:v>
                </c:pt>
                <c:pt idx="49815">
                  <c:v>0.88844301765650002</c:v>
                </c:pt>
                <c:pt idx="49816">
                  <c:v>0.88846085250579598</c:v>
                </c:pt>
                <c:pt idx="49817">
                  <c:v>0.88847868735509095</c:v>
                </c:pt>
                <c:pt idx="49818">
                  <c:v>0.88849652220438702</c:v>
                </c:pt>
                <c:pt idx="49819">
                  <c:v>0.88851435705368198</c:v>
                </c:pt>
                <c:pt idx="49820">
                  <c:v>0.88853219190297805</c:v>
                </c:pt>
                <c:pt idx="49821">
                  <c:v>0.88855002675227301</c:v>
                </c:pt>
                <c:pt idx="49822">
                  <c:v>0.88856786160156898</c:v>
                </c:pt>
                <c:pt idx="49823">
                  <c:v>0.88858569645086405</c:v>
                </c:pt>
                <c:pt idx="49824">
                  <c:v>0.88860353130016001</c:v>
                </c:pt>
                <c:pt idx="49825">
                  <c:v>0.88862136614945597</c:v>
                </c:pt>
                <c:pt idx="49826">
                  <c:v>0.88863920099875104</c:v>
                </c:pt>
                <c:pt idx="49827">
                  <c:v>0.88865703584804701</c:v>
                </c:pt>
                <c:pt idx="49828">
                  <c:v>0.88867487069734197</c:v>
                </c:pt>
                <c:pt idx="49829">
                  <c:v>0.88869270554663804</c:v>
                </c:pt>
                <c:pt idx="49830">
                  <c:v>0.888710540395933</c:v>
                </c:pt>
                <c:pt idx="49831">
                  <c:v>0.88872837524522896</c:v>
                </c:pt>
                <c:pt idx="49832">
                  <c:v>0.88874621009452404</c:v>
                </c:pt>
                <c:pt idx="49833">
                  <c:v>0.88876404494382</c:v>
                </c:pt>
                <c:pt idx="49834">
                  <c:v>0.88878187979311496</c:v>
                </c:pt>
                <c:pt idx="49835">
                  <c:v>0.88879971464241103</c:v>
                </c:pt>
                <c:pt idx="49836">
                  <c:v>0.88881754949170599</c:v>
                </c:pt>
                <c:pt idx="49837">
                  <c:v>0.88883538434100196</c:v>
                </c:pt>
                <c:pt idx="49838">
                  <c:v>0.88885321919029703</c:v>
                </c:pt>
                <c:pt idx="49839">
                  <c:v>0.88887105403959299</c:v>
                </c:pt>
                <c:pt idx="49840">
                  <c:v>0.88888888888888795</c:v>
                </c:pt>
                <c:pt idx="49841">
                  <c:v>0.88890672373818402</c:v>
                </c:pt>
                <c:pt idx="49842">
                  <c:v>0.88892455858747998</c:v>
                </c:pt>
                <c:pt idx="49843">
                  <c:v>0.88894239343677495</c:v>
                </c:pt>
                <c:pt idx="49844">
                  <c:v>0.88896022828607102</c:v>
                </c:pt>
                <c:pt idx="49845">
                  <c:v>0.88897806313536598</c:v>
                </c:pt>
                <c:pt idx="49846">
                  <c:v>0.88899589798466205</c:v>
                </c:pt>
                <c:pt idx="49847">
                  <c:v>0.88901373283395702</c:v>
                </c:pt>
                <c:pt idx="49848">
                  <c:v>0.88903156768325298</c:v>
                </c:pt>
                <c:pt idx="49849">
                  <c:v>0.88904940253254805</c:v>
                </c:pt>
                <c:pt idx="49850">
                  <c:v>0.88906723738184401</c:v>
                </c:pt>
                <c:pt idx="49851">
                  <c:v>0.88908507223113897</c:v>
                </c:pt>
                <c:pt idx="49852">
                  <c:v>0.88910290708043505</c:v>
                </c:pt>
                <c:pt idx="49853">
                  <c:v>0.88912074192973001</c:v>
                </c:pt>
                <c:pt idx="49854">
                  <c:v>0.88913857677902597</c:v>
                </c:pt>
                <c:pt idx="49855">
                  <c:v>0.88915641162832104</c:v>
                </c:pt>
                <c:pt idx="49856">
                  <c:v>0.889174246477617</c:v>
                </c:pt>
                <c:pt idx="49857">
                  <c:v>0.88919208132691197</c:v>
                </c:pt>
                <c:pt idx="49858">
                  <c:v>0.88920991617620804</c:v>
                </c:pt>
                <c:pt idx="49859">
                  <c:v>0.889227751025503</c:v>
                </c:pt>
                <c:pt idx="49860">
                  <c:v>0.88924558587479896</c:v>
                </c:pt>
                <c:pt idx="49861">
                  <c:v>0.88926342072409403</c:v>
                </c:pt>
                <c:pt idx="49862">
                  <c:v>0.88928125557338999</c:v>
                </c:pt>
                <c:pt idx="49863">
                  <c:v>0.88929909042268596</c:v>
                </c:pt>
                <c:pt idx="49864">
                  <c:v>0.88931692527198103</c:v>
                </c:pt>
                <c:pt idx="49865">
                  <c:v>0.88933476012127699</c:v>
                </c:pt>
                <c:pt idx="49866">
                  <c:v>0.88935259497057195</c:v>
                </c:pt>
                <c:pt idx="49867">
                  <c:v>0.88937042981986802</c:v>
                </c:pt>
                <c:pt idx="49868">
                  <c:v>0.88938826466916299</c:v>
                </c:pt>
                <c:pt idx="49869">
                  <c:v>0.88940609951845895</c:v>
                </c:pt>
                <c:pt idx="49870">
                  <c:v>0.88942393436775402</c:v>
                </c:pt>
                <c:pt idx="49871">
                  <c:v>0.88944176921704998</c:v>
                </c:pt>
                <c:pt idx="49872">
                  <c:v>0.88945960406634506</c:v>
                </c:pt>
                <c:pt idx="49873">
                  <c:v>0.88947743891564102</c:v>
                </c:pt>
                <c:pt idx="49874">
                  <c:v>0.88949527376493598</c:v>
                </c:pt>
                <c:pt idx="49875">
                  <c:v>0.88951310861423205</c:v>
                </c:pt>
                <c:pt idx="49876">
                  <c:v>0.88953094346352701</c:v>
                </c:pt>
                <c:pt idx="49877">
                  <c:v>0.88954877831282297</c:v>
                </c:pt>
                <c:pt idx="49878">
                  <c:v>0.88956661316211805</c:v>
                </c:pt>
                <c:pt idx="49879">
                  <c:v>0.88958444801141401</c:v>
                </c:pt>
                <c:pt idx="49880">
                  <c:v>0.88960228286070897</c:v>
                </c:pt>
                <c:pt idx="49881">
                  <c:v>0.88962011771000504</c:v>
                </c:pt>
                <c:pt idx="49882">
                  <c:v>0.8896379525593</c:v>
                </c:pt>
                <c:pt idx="49883">
                  <c:v>0.88965578740859597</c:v>
                </c:pt>
                <c:pt idx="49884">
                  <c:v>0.88967362225789104</c:v>
                </c:pt>
                <c:pt idx="49885">
                  <c:v>0.889691457107187</c:v>
                </c:pt>
                <c:pt idx="49886">
                  <c:v>0.88970929195648296</c:v>
                </c:pt>
                <c:pt idx="49887">
                  <c:v>0.88972712680577803</c:v>
                </c:pt>
                <c:pt idx="49888">
                  <c:v>0.889744961655074</c:v>
                </c:pt>
                <c:pt idx="49889">
                  <c:v>0.88976279650436896</c:v>
                </c:pt>
                <c:pt idx="49890">
                  <c:v>0.88978063135366503</c:v>
                </c:pt>
                <c:pt idx="49891">
                  <c:v>0.88979846620295999</c:v>
                </c:pt>
                <c:pt idx="49892">
                  <c:v>0.88981630105225595</c:v>
                </c:pt>
                <c:pt idx="49893">
                  <c:v>0.88983413590155103</c:v>
                </c:pt>
                <c:pt idx="49894">
                  <c:v>0.88985197075084699</c:v>
                </c:pt>
                <c:pt idx="49895">
                  <c:v>0.88986980560014195</c:v>
                </c:pt>
                <c:pt idx="49896">
                  <c:v>0.88988764044943802</c:v>
                </c:pt>
                <c:pt idx="49897">
                  <c:v>0.88990547529873298</c:v>
                </c:pt>
                <c:pt idx="49898">
                  <c:v>0.88992331014802895</c:v>
                </c:pt>
                <c:pt idx="49899">
                  <c:v>0.88994114499732402</c:v>
                </c:pt>
                <c:pt idx="49900">
                  <c:v>0.88995897984661998</c:v>
                </c:pt>
                <c:pt idx="49901">
                  <c:v>0.88997681469591505</c:v>
                </c:pt>
                <c:pt idx="49902">
                  <c:v>0.88999464954521101</c:v>
                </c:pt>
                <c:pt idx="49903">
                  <c:v>0.89001248439450598</c:v>
                </c:pt>
                <c:pt idx="49904">
                  <c:v>0.89003031924380205</c:v>
                </c:pt>
                <c:pt idx="49905">
                  <c:v>0.89004815409309701</c:v>
                </c:pt>
                <c:pt idx="49906">
                  <c:v>0.89006598894239297</c:v>
                </c:pt>
                <c:pt idx="49907">
                  <c:v>0.89008382379168804</c:v>
                </c:pt>
                <c:pt idx="49908">
                  <c:v>0.89010165864098401</c:v>
                </c:pt>
                <c:pt idx="49909">
                  <c:v>0.89011949349027997</c:v>
                </c:pt>
                <c:pt idx="49910">
                  <c:v>0.89013732833957504</c:v>
                </c:pt>
                <c:pt idx="49911">
                  <c:v>0.890155163188871</c:v>
                </c:pt>
                <c:pt idx="49912">
                  <c:v>0.89017299803816596</c:v>
                </c:pt>
                <c:pt idx="49913">
                  <c:v>0.89019083288746204</c:v>
                </c:pt>
                <c:pt idx="49914">
                  <c:v>0.890208667736757</c:v>
                </c:pt>
                <c:pt idx="49915">
                  <c:v>0.89022650258605296</c:v>
                </c:pt>
                <c:pt idx="49916">
                  <c:v>0.89024433743534803</c:v>
                </c:pt>
                <c:pt idx="49917">
                  <c:v>0.89026217228464399</c:v>
                </c:pt>
                <c:pt idx="49918">
                  <c:v>0.89028000713393896</c:v>
                </c:pt>
                <c:pt idx="49919">
                  <c:v>0.89029784198323503</c:v>
                </c:pt>
                <c:pt idx="49920">
                  <c:v>0.89031567683252999</c:v>
                </c:pt>
                <c:pt idx="49921">
                  <c:v>0.89033351168182595</c:v>
                </c:pt>
                <c:pt idx="49922">
                  <c:v>0.89035134653112102</c:v>
                </c:pt>
                <c:pt idx="49923">
                  <c:v>0.89036918138041699</c:v>
                </c:pt>
                <c:pt idx="49924">
                  <c:v>0.89038701622971195</c:v>
                </c:pt>
                <c:pt idx="49925">
                  <c:v>0.89040485107900802</c:v>
                </c:pt>
                <c:pt idx="49926">
                  <c:v>0.89042268592830298</c:v>
                </c:pt>
                <c:pt idx="49927">
                  <c:v>0.89044052077759905</c:v>
                </c:pt>
                <c:pt idx="49928">
                  <c:v>0.89045835562689402</c:v>
                </c:pt>
                <c:pt idx="49929">
                  <c:v>0.89047619047618998</c:v>
                </c:pt>
                <c:pt idx="49930">
                  <c:v>0.89049402532548605</c:v>
                </c:pt>
                <c:pt idx="49931">
                  <c:v>0.89051186017478101</c:v>
                </c:pt>
                <c:pt idx="49932">
                  <c:v>0.89052969502407697</c:v>
                </c:pt>
                <c:pt idx="49933">
                  <c:v>0.89054752987337205</c:v>
                </c:pt>
                <c:pt idx="49934">
                  <c:v>0.89056536472266801</c:v>
                </c:pt>
                <c:pt idx="49935">
                  <c:v>0.89058319957196297</c:v>
                </c:pt>
                <c:pt idx="49936">
                  <c:v>0.89060103442125904</c:v>
                </c:pt>
                <c:pt idx="49937">
                  <c:v>0.890618869270554</c:v>
                </c:pt>
                <c:pt idx="49938">
                  <c:v>0.89063670411984996</c:v>
                </c:pt>
                <c:pt idx="49939">
                  <c:v>0.89065453896914504</c:v>
                </c:pt>
                <c:pt idx="49940">
                  <c:v>0.890672373818441</c:v>
                </c:pt>
                <c:pt idx="49941">
                  <c:v>0.89069020866773596</c:v>
                </c:pt>
                <c:pt idx="49942">
                  <c:v>0.89070804351703203</c:v>
                </c:pt>
                <c:pt idx="49943">
                  <c:v>0.890725878366327</c:v>
                </c:pt>
                <c:pt idx="49944">
                  <c:v>0.89074371321562296</c:v>
                </c:pt>
                <c:pt idx="49945">
                  <c:v>0.89076154806491803</c:v>
                </c:pt>
                <c:pt idx="49946">
                  <c:v>0.89077938291421399</c:v>
                </c:pt>
                <c:pt idx="49947">
                  <c:v>0.89079721776350995</c:v>
                </c:pt>
                <c:pt idx="49948">
                  <c:v>0.89081505261280503</c:v>
                </c:pt>
                <c:pt idx="49949">
                  <c:v>0.89083288746210099</c:v>
                </c:pt>
                <c:pt idx="49950">
                  <c:v>0.89085072231139595</c:v>
                </c:pt>
                <c:pt idx="49951">
                  <c:v>0.89086855716069202</c:v>
                </c:pt>
                <c:pt idx="49952">
                  <c:v>0.89088639200998698</c:v>
                </c:pt>
                <c:pt idx="49953">
                  <c:v>0.89090422685928305</c:v>
                </c:pt>
                <c:pt idx="49954">
                  <c:v>0.89092206170857802</c:v>
                </c:pt>
                <c:pt idx="49955">
                  <c:v>0.89093989655787398</c:v>
                </c:pt>
                <c:pt idx="49956">
                  <c:v>0.89095773140716905</c:v>
                </c:pt>
                <c:pt idx="49957">
                  <c:v>0.89097556625646501</c:v>
                </c:pt>
                <c:pt idx="49958">
                  <c:v>0.89099340110575997</c:v>
                </c:pt>
                <c:pt idx="49959">
                  <c:v>0.89101123595505605</c:v>
                </c:pt>
                <c:pt idx="49960">
                  <c:v>0.89102907080435101</c:v>
                </c:pt>
                <c:pt idx="49961">
                  <c:v>0.89104690565364697</c:v>
                </c:pt>
                <c:pt idx="49962">
                  <c:v>0.89106474050294204</c:v>
                </c:pt>
                <c:pt idx="49963">
                  <c:v>0.891082575352238</c:v>
                </c:pt>
                <c:pt idx="49964">
                  <c:v>0.89110041020153297</c:v>
                </c:pt>
                <c:pt idx="49965">
                  <c:v>0.89111824505082904</c:v>
                </c:pt>
                <c:pt idx="49966">
                  <c:v>0.891136079900124</c:v>
                </c:pt>
                <c:pt idx="49967">
                  <c:v>0.89115391474941996</c:v>
                </c:pt>
                <c:pt idx="49968">
                  <c:v>0.89117174959871504</c:v>
                </c:pt>
                <c:pt idx="49969">
                  <c:v>0.891189584448011</c:v>
                </c:pt>
                <c:pt idx="49970">
                  <c:v>0.89120741929730696</c:v>
                </c:pt>
                <c:pt idx="49971">
                  <c:v>0.89122525414660203</c:v>
                </c:pt>
                <c:pt idx="49972">
                  <c:v>0.89124308899589799</c:v>
                </c:pt>
                <c:pt idx="49973">
                  <c:v>0.89126092384519295</c:v>
                </c:pt>
                <c:pt idx="49974">
                  <c:v>0.89127875869448903</c:v>
                </c:pt>
                <c:pt idx="49975">
                  <c:v>0.89129659354378399</c:v>
                </c:pt>
                <c:pt idx="49976">
                  <c:v>0.89131442839307995</c:v>
                </c:pt>
                <c:pt idx="49977">
                  <c:v>0.89133226324237502</c:v>
                </c:pt>
                <c:pt idx="49978">
                  <c:v>0.89135009809167098</c:v>
                </c:pt>
                <c:pt idx="49979">
                  <c:v>0.89136793294096595</c:v>
                </c:pt>
                <c:pt idx="49980">
                  <c:v>0.89138576779026202</c:v>
                </c:pt>
                <c:pt idx="49981">
                  <c:v>0.89140360263955698</c:v>
                </c:pt>
                <c:pt idx="49982">
                  <c:v>0.89142143748885305</c:v>
                </c:pt>
                <c:pt idx="49983">
                  <c:v>0.89143927233814801</c:v>
                </c:pt>
                <c:pt idx="49984">
                  <c:v>0.89145710718744398</c:v>
                </c:pt>
                <c:pt idx="49985">
                  <c:v>0.89147494203673905</c:v>
                </c:pt>
                <c:pt idx="49986">
                  <c:v>0.89149277688603501</c:v>
                </c:pt>
                <c:pt idx="49987">
                  <c:v>0.89151061173532997</c:v>
                </c:pt>
                <c:pt idx="49988">
                  <c:v>0.89152844658462604</c:v>
                </c:pt>
                <c:pt idx="49989">
                  <c:v>0.89154628143392101</c:v>
                </c:pt>
                <c:pt idx="49990">
                  <c:v>0.89156411628321697</c:v>
                </c:pt>
                <c:pt idx="49991">
                  <c:v>0.89158195113251204</c:v>
                </c:pt>
                <c:pt idx="49992">
                  <c:v>0.891599785981808</c:v>
                </c:pt>
                <c:pt idx="49993">
                  <c:v>0.89161762083110396</c:v>
                </c:pt>
                <c:pt idx="49994">
                  <c:v>0.89163545568039904</c:v>
                </c:pt>
                <c:pt idx="49995">
                  <c:v>0.891653290529695</c:v>
                </c:pt>
                <c:pt idx="49996">
                  <c:v>0.89167112537898996</c:v>
                </c:pt>
                <c:pt idx="49997">
                  <c:v>0.89168896022828603</c:v>
                </c:pt>
                <c:pt idx="49998">
                  <c:v>0.89170679507758099</c:v>
                </c:pt>
                <c:pt idx="49999">
                  <c:v>0.89172462992687695</c:v>
                </c:pt>
                <c:pt idx="50000">
                  <c:v>0.89174246477617203</c:v>
                </c:pt>
                <c:pt idx="50001">
                  <c:v>0.89176029962546799</c:v>
                </c:pt>
                <c:pt idx="50002">
                  <c:v>0.89177813447476295</c:v>
                </c:pt>
                <c:pt idx="50003">
                  <c:v>0.89179596932405902</c:v>
                </c:pt>
                <c:pt idx="50004">
                  <c:v>0.89181380417335399</c:v>
                </c:pt>
                <c:pt idx="50005">
                  <c:v>0.89183163902264995</c:v>
                </c:pt>
                <c:pt idx="50006">
                  <c:v>0.89184947387194502</c:v>
                </c:pt>
                <c:pt idx="50007">
                  <c:v>0.89186730872124098</c:v>
                </c:pt>
                <c:pt idx="50008">
                  <c:v>0.89188514357053605</c:v>
                </c:pt>
                <c:pt idx="50009">
                  <c:v>0.89190297841983202</c:v>
                </c:pt>
                <c:pt idx="50010">
                  <c:v>0.89192081326912698</c:v>
                </c:pt>
                <c:pt idx="50011">
                  <c:v>0.89193864811842305</c:v>
                </c:pt>
                <c:pt idx="50012">
                  <c:v>0.89195648296771801</c:v>
                </c:pt>
                <c:pt idx="50013">
                  <c:v>0.89197431781701397</c:v>
                </c:pt>
                <c:pt idx="50014">
                  <c:v>0.89199215266630905</c:v>
                </c:pt>
                <c:pt idx="50015">
                  <c:v>0.89200998751560501</c:v>
                </c:pt>
                <c:pt idx="50016">
                  <c:v>0.89202782236490097</c:v>
                </c:pt>
                <c:pt idx="50017">
                  <c:v>0.89204565721419604</c:v>
                </c:pt>
                <c:pt idx="50018">
                  <c:v>0.892063492063492</c:v>
                </c:pt>
                <c:pt idx="50019">
                  <c:v>0.89208132691278696</c:v>
                </c:pt>
                <c:pt idx="50020">
                  <c:v>0.89209916176208304</c:v>
                </c:pt>
                <c:pt idx="50021">
                  <c:v>0.892116996611378</c:v>
                </c:pt>
                <c:pt idx="50022">
                  <c:v>0.89213483146067396</c:v>
                </c:pt>
                <c:pt idx="50023">
                  <c:v>0.89215266630996903</c:v>
                </c:pt>
                <c:pt idx="50024">
                  <c:v>0.89217050115926499</c:v>
                </c:pt>
                <c:pt idx="50025">
                  <c:v>0.89218833600855996</c:v>
                </c:pt>
                <c:pt idx="50026">
                  <c:v>0.89220617085785603</c:v>
                </c:pt>
                <c:pt idx="50027">
                  <c:v>0.89222400570715099</c:v>
                </c:pt>
                <c:pt idx="50028">
                  <c:v>0.89224184055644695</c:v>
                </c:pt>
                <c:pt idx="50029">
                  <c:v>0.89225967540574203</c:v>
                </c:pt>
                <c:pt idx="50030">
                  <c:v>0.89227751025503799</c:v>
                </c:pt>
                <c:pt idx="50031">
                  <c:v>0.89229534510433295</c:v>
                </c:pt>
                <c:pt idx="50032">
                  <c:v>0.89231317995362902</c:v>
                </c:pt>
                <c:pt idx="50033">
                  <c:v>0.89233101480292398</c:v>
                </c:pt>
                <c:pt idx="50034">
                  <c:v>0.89234884965222006</c:v>
                </c:pt>
                <c:pt idx="50035">
                  <c:v>0.89236668450151602</c:v>
                </c:pt>
                <c:pt idx="50036">
                  <c:v>0.89238451935081098</c:v>
                </c:pt>
                <c:pt idx="50037">
                  <c:v>0.89240235420010705</c:v>
                </c:pt>
                <c:pt idx="50038">
                  <c:v>0.89242018904940201</c:v>
                </c:pt>
                <c:pt idx="50039">
                  <c:v>0.89243802389869797</c:v>
                </c:pt>
                <c:pt idx="50040">
                  <c:v>0.89245585874799305</c:v>
                </c:pt>
                <c:pt idx="50041">
                  <c:v>0.89247369359728901</c:v>
                </c:pt>
                <c:pt idx="50042">
                  <c:v>0.89249152844658397</c:v>
                </c:pt>
                <c:pt idx="50043">
                  <c:v>0.89250936329588004</c:v>
                </c:pt>
                <c:pt idx="50044">
                  <c:v>0.892527198145175</c:v>
                </c:pt>
                <c:pt idx="50045">
                  <c:v>0.89254503299447097</c:v>
                </c:pt>
                <c:pt idx="50046">
                  <c:v>0.89256286784376604</c:v>
                </c:pt>
                <c:pt idx="50047">
                  <c:v>0.892580702693062</c:v>
                </c:pt>
                <c:pt idx="50048">
                  <c:v>0.89259853754235696</c:v>
                </c:pt>
                <c:pt idx="50049">
                  <c:v>0.89261637239165303</c:v>
                </c:pt>
                <c:pt idx="50050">
                  <c:v>0.892634207240948</c:v>
                </c:pt>
                <c:pt idx="50051">
                  <c:v>0.89265204209024396</c:v>
                </c:pt>
                <c:pt idx="50052">
                  <c:v>0.89266987693953903</c:v>
                </c:pt>
                <c:pt idx="50053">
                  <c:v>0.89268771178883499</c:v>
                </c:pt>
                <c:pt idx="50054">
                  <c:v>0.89270554663813095</c:v>
                </c:pt>
                <c:pt idx="50055">
                  <c:v>0.89272338148742603</c:v>
                </c:pt>
                <c:pt idx="50056">
                  <c:v>0.89274121633672199</c:v>
                </c:pt>
                <c:pt idx="50057">
                  <c:v>0.89275905118601695</c:v>
                </c:pt>
                <c:pt idx="50058">
                  <c:v>0.89277688603531302</c:v>
                </c:pt>
                <c:pt idx="50059">
                  <c:v>0.89279472088460798</c:v>
                </c:pt>
                <c:pt idx="50060">
                  <c:v>0.89281255573390395</c:v>
                </c:pt>
                <c:pt idx="50061">
                  <c:v>0.89283039058319902</c:v>
                </c:pt>
                <c:pt idx="50062">
                  <c:v>0.89284822543249498</c:v>
                </c:pt>
                <c:pt idx="50063">
                  <c:v>0.89286606028179005</c:v>
                </c:pt>
                <c:pt idx="50064">
                  <c:v>0.89288389513108601</c:v>
                </c:pt>
                <c:pt idx="50065">
                  <c:v>0.89290172998038098</c:v>
                </c:pt>
                <c:pt idx="50066">
                  <c:v>0.89291956482967705</c:v>
                </c:pt>
                <c:pt idx="50067">
                  <c:v>0.89293739967897201</c:v>
                </c:pt>
                <c:pt idx="50068">
                  <c:v>0.89295523452826797</c:v>
                </c:pt>
                <c:pt idx="50069">
                  <c:v>0.89297306937756304</c:v>
                </c:pt>
                <c:pt idx="50070">
                  <c:v>0.89299090422685901</c:v>
                </c:pt>
                <c:pt idx="50071">
                  <c:v>0.89300873907615397</c:v>
                </c:pt>
                <c:pt idx="50072">
                  <c:v>0.89302657392545004</c:v>
                </c:pt>
                <c:pt idx="50073">
                  <c:v>0.893044408774745</c:v>
                </c:pt>
                <c:pt idx="50074">
                  <c:v>0.89306224362404096</c:v>
                </c:pt>
                <c:pt idx="50075">
                  <c:v>0.89308007847333604</c:v>
                </c:pt>
                <c:pt idx="50076">
                  <c:v>0.893097913322632</c:v>
                </c:pt>
                <c:pt idx="50077">
                  <c:v>0.89311574817192796</c:v>
                </c:pt>
                <c:pt idx="50078">
                  <c:v>0.89313358302122303</c:v>
                </c:pt>
                <c:pt idx="50079">
                  <c:v>0.89315141787051899</c:v>
                </c:pt>
                <c:pt idx="50080">
                  <c:v>0.89316925271981396</c:v>
                </c:pt>
                <c:pt idx="50081">
                  <c:v>0.89318708756911003</c:v>
                </c:pt>
                <c:pt idx="50082">
                  <c:v>0.89320492241840499</c:v>
                </c:pt>
                <c:pt idx="50083">
                  <c:v>0.89322275726770095</c:v>
                </c:pt>
                <c:pt idx="50084">
                  <c:v>0.89324059211699602</c:v>
                </c:pt>
                <c:pt idx="50085">
                  <c:v>0.89325842696629199</c:v>
                </c:pt>
                <c:pt idx="50086">
                  <c:v>0.89327626181558695</c:v>
                </c:pt>
                <c:pt idx="50087">
                  <c:v>0.89329409666488302</c:v>
                </c:pt>
                <c:pt idx="50088">
                  <c:v>0.89331193151417798</c:v>
                </c:pt>
                <c:pt idx="50089">
                  <c:v>0.89332976636347405</c:v>
                </c:pt>
                <c:pt idx="50090">
                  <c:v>0.89334760121276902</c:v>
                </c:pt>
                <c:pt idx="50091">
                  <c:v>0.89336543606206498</c:v>
                </c:pt>
                <c:pt idx="50092">
                  <c:v>0.89338327091136005</c:v>
                </c:pt>
                <c:pt idx="50093">
                  <c:v>0.89340110576065601</c:v>
                </c:pt>
                <c:pt idx="50094">
                  <c:v>0.89341894060995097</c:v>
                </c:pt>
                <c:pt idx="50095">
                  <c:v>0.89343677545924705</c:v>
                </c:pt>
                <c:pt idx="50096">
                  <c:v>0.89345461030854201</c:v>
                </c:pt>
                <c:pt idx="50097">
                  <c:v>0.89347244515783797</c:v>
                </c:pt>
                <c:pt idx="50098">
                  <c:v>0.89349028000713304</c:v>
                </c:pt>
                <c:pt idx="50099">
                  <c:v>0.893508114856429</c:v>
                </c:pt>
                <c:pt idx="50100">
                  <c:v>0.89352594970572496</c:v>
                </c:pt>
                <c:pt idx="50101">
                  <c:v>0.89354378455502004</c:v>
                </c:pt>
                <c:pt idx="50102">
                  <c:v>0.893561619404316</c:v>
                </c:pt>
                <c:pt idx="50103">
                  <c:v>0.89357945425361096</c:v>
                </c:pt>
                <c:pt idx="50104">
                  <c:v>0.89359728910290703</c:v>
                </c:pt>
                <c:pt idx="50105">
                  <c:v>0.893615123952202</c:v>
                </c:pt>
                <c:pt idx="50106">
                  <c:v>0.89363295880149796</c:v>
                </c:pt>
                <c:pt idx="50107">
                  <c:v>0.89365079365079303</c:v>
                </c:pt>
                <c:pt idx="50108">
                  <c:v>0.89366862850008899</c:v>
                </c:pt>
                <c:pt idx="50109">
                  <c:v>0.89368646334938395</c:v>
                </c:pt>
                <c:pt idx="50110">
                  <c:v>0.89370429819868002</c:v>
                </c:pt>
                <c:pt idx="50111">
                  <c:v>0.89372213304797499</c:v>
                </c:pt>
                <c:pt idx="50112">
                  <c:v>0.89373996789727095</c:v>
                </c:pt>
                <c:pt idx="50113">
                  <c:v>0.89375780274656602</c:v>
                </c:pt>
                <c:pt idx="50114">
                  <c:v>0.89377563759586198</c:v>
                </c:pt>
                <c:pt idx="50115">
                  <c:v>0.89379347244515694</c:v>
                </c:pt>
                <c:pt idx="50116">
                  <c:v>0.89381130729445302</c:v>
                </c:pt>
                <c:pt idx="50117">
                  <c:v>0.89382914214374798</c:v>
                </c:pt>
                <c:pt idx="50118">
                  <c:v>0.89384697699304405</c:v>
                </c:pt>
                <c:pt idx="50119">
                  <c:v>0.89386481184233901</c:v>
                </c:pt>
                <c:pt idx="50120">
                  <c:v>0.89388264669163497</c:v>
                </c:pt>
                <c:pt idx="50121">
                  <c:v>0.89390048154093005</c:v>
                </c:pt>
                <c:pt idx="50122">
                  <c:v>0.89391831639022601</c:v>
                </c:pt>
                <c:pt idx="50123">
                  <c:v>0.89393615123952197</c:v>
                </c:pt>
                <c:pt idx="50124">
                  <c:v>0.89395398608881704</c:v>
                </c:pt>
                <c:pt idx="50125">
                  <c:v>0.893971820938113</c:v>
                </c:pt>
                <c:pt idx="50126">
                  <c:v>0.89398965578740797</c:v>
                </c:pt>
                <c:pt idx="50127">
                  <c:v>0.89400749063670404</c:v>
                </c:pt>
                <c:pt idx="50128">
                  <c:v>0.894025325485999</c:v>
                </c:pt>
                <c:pt idx="50129">
                  <c:v>0.89404316033529496</c:v>
                </c:pt>
                <c:pt idx="50130">
                  <c:v>0.89406099518459003</c:v>
                </c:pt>
                <c:pt idx="50131">
                  <c:v>0.894078830033886</c:v>
                </c:pt>
                <c:pt idx="50132">
                  <c:v>0.89409666488318096</c:v>
                </c:pt>
                <c:pt idx="50133">
                  <c:v>0.89411449973247703</c:v>
                </c:pt>
                <c:pt idx="50134">
                  <c:v>0.89413233458177199</c:v>
                </c:pt>
                <c:pt idx="50135">
                  <c:v>0.89415016943106795</c:v>
                </c:pt>
                <c:pt idx="50136">
                  <c:v>0.89416800428036303</c:v>
                </c:pt>
                <c:pt idx="50137">
                  <c:v>0.89418583912965899</c:v>
                </c:pt>
                <c:pt idx="50138">
                  <c:v>0.89420367397895395</c:v>
                </c:pt>
                <c:pt idx="50139">
                  <c:v>0.89422150882825002</c:v>
                </c:pt>
                <c:pt idx="50140">
                  <c:v>0.89423934367754498</c:v>
                </c:pt>
                <c:pt idx="50141">
                  <c:v>0.89425717852684095</c:v>
                </c:pt>
                <c:pt idx="50142">
                  <c:v>0.89427501337613702</c:v>
                </c:pt>
                <c:pt idx="50143">
                  <c:v>0.89429284822543198</c:v>
                </c:pt>
                <c:pt idx="50144">
                  <c:v>0.89431068307472805</c:v>
                </c:pt>
                <c:pt idx="50145">
                  <c:v>0.89432851792402301</c:v>
                </c:pt>
                <c:pt idx="50146">
                  <c:v>0.89434635277331898</c:v>
                </c:pt>
                <c:pt idx="50147">
                  <c:v>0.89436418762261405</c:v>
                </c:pt>
                <c:pt idx="50148">
                  <c:v>0.89438202247191001</c:v>
                </c:pt>
                <c:pt idx="50149">
                  <c:v>0.89439985732120497</c:v>
                </c:pt>
                <c:pt idx="50150">
                  <c:v>0.89441769217050104</c:v>
                </c:pt>
                <c:pt idx="50151">
                  <c:v>0.89443552701979601</c:v>
                </c:pt>
                <c:pt idx="50152">
                  <c:v>0.89445336186909197</c:v>
                </c:pt>
                <c:pt idx="50153">
                  <c:v>0.89447119671838704</c:v>
                </c:pt>
                <c:pt idx="50154">
                  <c:v>0.894489031567683</c:v>
                </c:pt>
                <c:pt idx="50155">
                  <c:v>0.89450686641697796</c:v>
                </c:pt>
                <c:pt idx="50156">
                  <c:v>0.89452470126627404</c:v>
                </c:pt>
                <c:pt idx="50157">
                  <c:v>0.894542536115569</c:v>
                </c:pt>
                <c:pt idx="50158">
                  <c:v>0.89456037096486496</c:v>
                </c:pt>
                <c:pt idx="50159">
                  <c:v>0.89457820581416003</c:v>
                </c:pt>
                <c:pt idx="50160">
                  <c:v>0.89459604066345599</c:v>
                </c:pt>
                <c:pt idx="50161">
                  <c:v>0.89461387551275195</c:v>
                </c:pt>
                <c:pt idx="50162">
                  <c:v>0.89463171036204703</c:v>
                </c:pt>
                <c:pt idx="50163">
                  <c:v>0.89464954521134299</c:v>
                </c:pt>
                <c:pt idx="50164">
                  <c:v>0.89466738006063795</c:v>
                </c:pt>
                <c:pt idx="50165">
                  <c:v>0.89468521490993402</c:v>
                </c:pt>
                <c:pt idx="50166">
                  <c:v>0.89470304975922899</c:v>
                </c:pt>
                <c:pt idx="50167">
                  <c:v>0.89472088460852495</c:v>
                </c:pt>
                <c:pt idx="50168">
                  <c:v>0.89473871945782002</c:v>
                </c:pt>
                <c:pt idx="50169">
                  <c:v>0.89475655430711598</c:v>
                </c:pt>
                <c:pt idx="50170">
                  <c:v>0.89477438915641105</c:v>
                </c:pt>
                <c:pt idx="50171">
                  <c:v>0.89479222400570702</c:v>
                </c:pt>
                <c:pt idx="50172">
                  <c:v>0.89481005885500198</c:v>
                </c:pt>
                <c:pt idx="50173">
                  <c:v>0.89482789370429805</c:v>
                </c:pt>
                <c:pt idx="50174">
                  <c:v>0.89484572855359301</c:v>
                </c:pt>
                <c:pt idx="50175">
                  <c:v>0.89486356340288897</c:v>
                </c:pt>
                <c:pt idx="50176">
                  <c:v>0.89488139825218405</c:v>
                </c:pt>
                <c:pt idx="50177">
                  <c:v>0.89489923310148001</c:v>
                </c:pt>
                <c:pt idx="50178">
                  <c:v>0.89491706795077497</c:v>
                </c:pt>
                <c:pt idx="50179">
                  <c:v>0.89493490280007104</c:v>
                </c:pt>
                <c:pt idx="50180">
                  <c:v>0.894952737649366</c:v>
                </c:pt>
                <c:pt idx="50181">
                  <c:v>0.89497057249866196</c:v>
                </c:pt>
                <c:pt idx="50182">
                  <c:v>0.89498840734795704</c:v>
                </c:pt>
                <c:pt idx="50183">
                  <c:v>0.895006242197253</c:v>
                </c:pt>
                <c:pt idx="50184">
                  <c:v>0.89502407704654896</c:v>
                </c:pt>
                <c:pt idx="50185">
                  <c:v>0.89504191189584403</c:v>
                </c:pt>
                <c:pt idx="50186">
                  <c:v>0.89505974674513999</c:v>
                </c:pt>
                <c:pt idx="50187">
                  <c:v>0.89507758159443496</c:v>
                </c:pt>
                <c:pt idx="50188">
                  <c:v>0.89509541644373103</c:v>
                </c:pt>
                <c:pt idx="50189">
                  <c:v>0.89511325129302599</c:v>
                </c:pt>
                <c:pt idx="50190">
                  <c:v>0.89513108614232195</c:v>
                </c:pt>
                <c:pt idx="50191">
                  <c:v>0.89514892099161703</c:v>
                </c:pt>
                <c:pt idx="50192">
                  <c:v>0.89516675584091299</c:v>
                </c:pt>
                <c:pt idx="50193">
                  <c:v>0.89518459069020795</c:v>
                </c:pt>
                <c:pt idx="50194">
                  <c:v>0.89520242553950402</c:v>
                </c:pt>
                <c:pt idx="50195">
                  <c:v>0.89522026038879898</c:v>
                </c:pt>
                <c:pt idx="50196">
                  <c:v>0.89523809523809506</c:v>
                </c:pt>
                <c:pt idx="50197">
                  <c:v>0.89525593008739002</c:v>
                </c:pt>
                <c:pt idx="50198">
                  <c:v>0.89527376493668598</c:v>
                </c:pt>
                <c:pt idx="50199">
                  <c:v>0.89529159978598105</c:v>
                </c:pt>
                <c:pt idx="50200">
                  <c:v>0.89530943463527701</c:v>
                </c:pt>
                <c:pt idx="50201">
                  <c:v>0.89532726948457197</c:v>
                </c:pt>
                <c:pt idx="50202">
                  <c:v>0.89534510433386805</c:v>
                </c:pt>
                <c:pt idx="50203">
                  <c:v>0.89536293918316301</c:v>
                </c:pt>
                <c:pt idx="50204">
                  <c:v>0.89538077403245897</c:v>
                </c:pt>
                <c:pt idx="50205">
                  <c:v>0.89539860888175404</c:v>
                </c:pt>
                <c:pt idx="50206">
                  <c:v>0.89541644373105</c:v>
                </c:pt>
                <c:pt idx="50207">
                  <c:v>0.89543427858034597</c:v>
                </c:pt>
                <c:pt idx="50208">
                  <c:v>0.89545211342964104</c:v>
                </c:pt>
                <c:pt idx="50209">
                  <c:v>0.895469948278937</c:v>
                </c:pt>
                <c:pt idx="50210">
                  <c:v>0.89548778312823196</c:v>
                </c:pt>
                <c:pt idx="50211">
                  <c:v>0.89550561797752803</c:v>
                </c:pt>
                <c:pt idx="50212">
                  <c:v>0.895523452826823</c:v>
                </c:pt>
                <c:pt idx="50213">
                  <c:v>0.89554128767611896</c:v>
                </c:pt>
                <c:pt idx="50214">
                  <c:v>0.89555912252541403</c:v>
                </c:pt>
                <c:pt idx="50215">
                  <c:v>0.89557695737470999</c:v>
                </c:pt>
                <c:pt idx="50216">
                  <c:v>0.89559479222400495</c:v>
                </c:pt>
                <c:pt idx="50217">
                  <c:v>0.89561262707330103</c:v>
                </c:pt>
                <c:pt idx="50218">
                  <c:v>0.89563046192259599</c:v>
                </c:pt>
                <c:pt idx="50219">
                  <c:v>0.89564829677189195</c:v>
                </c:pt>
                <c:pt idx="50220">
                  <c:v>0.89566613162118702</c:v>
                </c:pt>
                <c:pt idx="50221">
                  <c:v>0.89568396647048298</c:v>
                </c:pt>
                <c:pt idx="50222">
                  <c:v>0.89570180131977795</c:v>
                </c:pt>
                <c:pt idx="50223">
                  <c:v>0.89571963616907402</c:v>
                </c:pt>
                <c:pt idx="50224">
                  <c:v>0.89573747101836898</c:v>
                </c:pt>
                <c:pt idx="50225">
                  <c:v>0.89575530586766505</c:v>
                </c:pt>
                <c:pt idx="50226">
                  <c:v>0.89577314071696001</c:v>
                </c:pt>
                <c:pt idx="50227">
                  <c:v>0.89579097556625598</c:v>
                </c:pt>
                <c:pt idx="50228">
                  <c:v>0.89580881041555105</c:v>
                </c:pt>
                <c:pt idx="50229">
                  <c:v>0.89582664526484701</c:v>
                </c:pt>
                <c:pt idx="50230">
                  <c:v>0.89584448011414297</c:v>
                </c:pt>
                <c:pt idx="50231">
                  <c:v>0.89586231496343804</c:v>
                </c:pt>
                <c:pt idx="50232">
                  <c:v>0.89588014981273401</c:v>
                </c:pt>
                <c:pt idx="50233">
                  <c:v>0.89589798466202897</c:v>
                </c:pt>
                <c:pt idx="50234">
                  <c:v>0.89591581951132504</c:v>
                </c:pt>
                <c:pt idx="50235">
                  <c:v>0.89593365436062</c:v>
                </c:pt>
                <c:pt idx="50236">
                  <c:v>0.89595148920991596</c:v>
                </c:pt>
                <c:pt idx="50237">
                  <c:v>0.89596932405921104</c:v>
                </c:pt>
                <c:pt idx="50238">
                  <c:v>0.895987158908507</c:v>
                </c:pt>
                <c:pt idx="50239">
                  <c:v>0.89600499375780196</c:v>
                </c:pt>
                <c:pt idx="50240">
                  <c:v>0.89602282860709803</c:v>
                </c:pt>
                <c:pt idx="50241">
                  <c:v>0.89604066345639299</c:v>
                </c:pt>
                <c:pt idx="50242">
                  <c:v>0.89605849830568896</c:v>
                </c:pt>
                <c:pt idx="50243">
                  <c:v>0.89607633315498403</c:v>
                </c:pt>
                <c:pt idx="50244">
                  <c:v>0.89609416800427999</c:v>
                </c:pt>
                <c:pt idx="50245">
                  <c:v>0.89611200285357495</c:v>
                </c:pt>
                <c:pt idx="50246">
                  <c:v>0.89612983770287102</c:v>
                </c:pt>
                <c:pt idx="50247">
                  <c:v>0.89614767255216699</c:v>
                </c:pt>
                <c:pt idx="50248">
                  <c:v>0.89616550740146195</c:v>
                </c:pt>
                <c:pt idx="50249">
                  <c:v>0.89618334225075802</c:v>
                </c:pt>
                <c:pt idx="50250">
                  <c:v>0.89620117710005298</c:v>
                </c:pt>
                <c:pt idx="50251">
                  <c:v>0.89621901194934905</c:v>
                </c:pt>
                <c:pt idx="50252">
                  <c:v>0.89623684679864402</c:v>
                </c:pt>
                <c:pt idx="50253">
                  <c:v>0.89625468164793998</c:v>
                </c:pt>
                <c:pt idx="50254">
                  <c:v>0.89627251649723505</c:v>
                </c:pt>
                <c:pt idx="50255">
                  <c:v>0.89629035134653101</c:v>
                </c:pt>
                <c:pt idx="50256">
                  <c:v>0.89630818619582597</c:v>
                </c:pt>
                <c:pt idx="50257">
                  <c:v>0.89632602104512205</c:v>
                </c:pt>
                <c:pt idx="50258">
                  <c:v>0.89634385589441701</c:v>
                </c:pt>
                <c:pt idx="50259">
                  <c:v>0.89636169074371297</c:v>
                </c:pt>
                <c:pt idx="50260">
                  <c:v>0.89637952559300804</c:v>
                </c:pt>
                <c:pt idx="50261">
                  <c:v>0.896397360442304</c:v>
                </c:pt>
                <c:pt idx="50262">
                  <c:v>0.89641519529159897</c:v>
                </c:pt>
                <c:pt idx="50263">
                  <c:v>0.89643303014089504</c:v>
                </c:pt>
                <c:pt idx="50264">
                  <c:v>0.89645086499019</c:v>
                </c:pt>
                <c:pt idx="50265">
                  <c:v>0.89646869983948596</c:v>
                </c:pt>
                <c:pt idx="50266">
                  <c:v>0.89648653468878103</c:v>
                </c:pt>
                <c:pt idx="50267">
                  <c:v>0.896504369538077</c:v>
                </c:pt>
                <c:pt idx="50268">
                  <c:v>0.89652220438737296</c:v>
                </c:pt>
                <c:pt idx="50269">
                  <c:v>0.89654003923666803</c:v>
                </c:pt>
                <c:pt idx="50270">
                  <c:v>0.89655787408596399</c:v>
                </c:pt>
                <c:pt idx="50271">
                  <c:v>0.89657570893525895</c:v>
                </c:pt>
                <c:pt idx="50272">
                  <c:v>0.89659354378455502</c:v>
                </c:pt>
                <c:pt idx="50273">
                  <c:v>0.89661137863384999</c:v>
                </c:pt>
                <c:pt idx="50274">
                  <c:v>0.89662921348314595</c:v>
                </c:pt>
                <c:pt idx="50275">
                  <c:v>0.89664704833244102</c:v>
                </c:pt>
                <c:pt idx="50276">
                  <c:v>0.89666488318173698</c:v>
                </c:pt>
                <c:pt idx="50277">
                  <c:v>0.89668271803103194</c:v>
                </c:pt>
                <c:pt idx="50278">
                  <c:v>0.89670055288032802</c:v>
                </c:pt>
                <c:pt idx="50279">
                  <c:v>0.89671838772962298</c:v>
                </c:pt>
                <c:pt idx="50280">
                  <c:v>0.89673622257891905</c:v>
                </c:pt>
                <c:pt idx="50281">
                  <c:v>0.89675405742821401</c:v>
                </c:pt>
                <c:pt idx="50282">
                  <c:v>0.89677189227750997</c:v>
                </c:pt>
                <c:pt idx="50283">
                  <c:v>0.89678972712680505</c:v>
                </c:pt>
                <c:pt idx="50284">
                  <c:v>0.89680756197610101</c:v>
                </c:pt>
                <c:pt idx="50285">
                  <c:v>0.89682539682539597</c:v>
                </c:pt>
                <c:pt idx="50286">
                  <c:v>0.89684323167469204</c:v>
                </c:pt>
                <c:pt idx="50287">
                  <c:v>0.89686106652398701</c:v>
                </c:pt>
                <c:pt idx="50288">
                  <c:v>0.89687890137328297</c:v>
                </c:pt>
                <c:pt idx="50289">
                  <c:v>0.89689673622257804</c:v>
                </c:pt>
                <c:pt idx="50290">
                  <c:v>0.896914571071874</c:v>
                </c:pt>
                <c:pt idx="50291">
                  <c:v>0.89693240592116996</c:v>
                </c:pt>
                <c:pt idx="50292">
                  <c:v>0.89695024077046503</c:v>
                </c:pt>
                <c:pt idx="50293">
                  <c:v>0.896968075619761</c:v>
                </c:pt>
                <c:pt idx="50294">
                  <c:v>0.89698591046905596</c:v>
                </c:pt>
                <c:pt idx="50295">
                  <c:v>0.89700374531835203</c:v>
                </c:pt>
                <c:pt idx="50296">
                  <c:v>0.89702158016764699</c:v>
                </c:pt>
                <c:pt idx="50297">
                  <c:v>0.89703941501694295</c:v>
                </c:pt>
                <c:pt idx="50298">
                  <c:v>0.89705724986623803</c:v>
                </c:pt>
                <c:pt idx="50299">
                  <c:v>0.89707508471553399</c:v>
                </c:pt>
                <c:pt idx="50300">
                  <c:v>0.89709291956482895</c:v>
                </c:pt>
                <c:pt idx="50301">
                  <c:v>0.89711075441412502</c:v>
                </c:pt>
                <c:pt idx="50302">
                  <c:v>0.89712858926341998</c:v>
                </c:pt>
                <c:pt idx="50303">
                  <c:v>0.89714642411271595</c:v>
                </c:pt>
                <c:pt idx="50304">
                  <c:v>0.89716425896201102</c:v>
                </c:pt>
                <c:pt idx="50305">
                  <c:v>0.89718209381130698</c:v>
                </c:pt>
                <c:pt idx="50306">
                  <c:v>0.89719992866060205</c:v>
                </c:pt>
                <c:pt idx="50307">
                  <c:v>0.89721776350989801</c:v>
                </c:pt>
                <c:pt idx="50308">
                  <c:v>0.89723559835919298</c:v>
                </c:pt>
                <c:pt idx="50309">
                  <c:v>0.89725343320848905</c:v>
                </c:pt>
                <c:pt idx="50310">
                  <c:v>0.89727126805778401</c:v>
                </c:pt>
                <c:pt idx="50311">
                  <c:v>0.89728910290707997</c:v>
                </c:pt>
                <c:pt idx="50312">
                  <c:v>0.89730693775637504</c:v>
                </c:pt>
                <c:pt idx="50313">
                  <c:v>0.89732477260567101</c:v>
                </c:pt>
                <c:pt idx="50314">
                  <c:v>0.89734260745496697</c:v>
                </c:pt>
                <c:pt idx="50315">
                  <c:v>0.89736044230426204</c:v>
                </c:pt>
                <c:pt idx="50316">
                  <c:v>0.897378277153558</c:v>
                </c:pt>
                <c:pt idx="50317">
                  <c:v>0.89739611200285296</c:v>
                </c:pt>
                <c:pt idx="50318">
                  <c:v>0.89741394685214904</c:v>
                </c:pt>
                <c:pt idx="50319">
                  <c:v>0.897431781701444</c:v>
                </c:pt>
                <c:pt idx="50320">
                  <c:v>0.89744961655073996</c:v>
                </c:pt>
                <c:pt idx="50321">
                  <c:v>0.89746745140003503</c:v>
                </c:pt>
                <c:pt idx="50322">
                  <c:v>0.89748528624933099</c:v>
                </c:pt>
                <c:pt idx="50323">
                  <c:v>0.89750312109862596</c:v>
                </c:pt>
                <c:pt idx="50324">
                  <c:v>0.89752095594792203</c:v>
                </c:pt>
                <c:pt idx="50325">
                  <c:v>0.89753879079721699</c:v>
                </c:pt>
                <c:pt idx="50326">
                  <c:v>0.89755662564651295</c:v>
                </c:pt>
                <c:pt idx="50327">
                  <c:v>0.89757446049580802</c:v>
                </c:pt>
                <c:pt idx="50328">
                  <c:v>0.89759229534510399</c:v>
                </c:pt>
                <c:pt idx="50329">
                  <c:v>0.89761013019439895</c:v>
                </c:pt>
                <c:pt idx="50330">
                  <c:v>0.89762796504369502</c:v>
                </c:pt>
                <c:pt idx="50331">
                  <c:v>0.89764579989298998</c:v>
                </c:pt>
                <c:pt idx="50332">
                  <c:v>0.89766363474228605</c:v>
                </c:pt>
                <c:pt idx="50333">
                  <c:v>0.89768146959158102</c:v>
                </c:pt>
                <c:pt idx="50334">
                  <c:v>0.89769930444087698</c:v>
                </c:pt>
                <c:pt idx="50335">
                  <c:v>0.89771713929017305</c:v>
                </c:pt>
                <c:pt idx="50336">
                  <c:v>0.89773497413946801</c:v>
                </c:pt>
                <c:pt idx="50337">
                  <c:v>0.89775280898876397</c:v>
                </c:pt>
                <c:pt idx="50338">
                  <c:v>0.89777064383805905</c:v>
                </c:pt>
                <c:pt idx="50339">
                  <c:v>0.89778847868735501</c:v>
                </c:pt>
                <c:pt idx="50340">
                  <c:v>0.89780631353664997</c:v>
                </c:pt>
                <c:pt idx="50341">
                  <c:v>0.89782414838594604</c:v>
                </c:pt>
                <c:pt idx="50342">
                  <c:v>0.897841983235241</c:v>
                </c:pt>
                <c:pt idx="50343">
                  <c:v>0.89785981808453696</c:v>
                </c:pt>
                <c:pt idx="50344">
                  <c:v>0.89787765293383204</c:v>
                </c:pt>
                <c:pt idx="50345">
                  <c:v>0.897895487783128</c:v>
                </c:pt>
                <c:pt idx="50346">
                  <c:v>0.89791332263242296</c:v>
                </c:pt>
                <c:pt idx="50347">
                  <c:v>0.89793115748171903</c:v>
                </c:pt>
                <c:pt idx="50348">
                  <c:v>0.897948992331014</c:v>
                </c:pt>
                <c:pt idx="50349">
                  <c:v>0.89796682718030996</c:v>
                </c:pt>
                <c:pt idx="50350">
                  <c:v>0.89798466202960503</c:v>
                </c:pt>
                <c:pt idx="50351">
                  <c:v>0.89800249687890099</c:v>
                </c:pt>
                <c:pt idx="50352">
                  <c:v>0.89802033172819695</c:v>
                </c:pt>
                <c:pt idx="50353">
                  <c:v>0.89803816657749203</c:v>
                </c:pt>
                <c:pt idx="50354">
                  <c:v>0.89805600142678799</c:v>
                </c:pt>
                <c:pt idx="50355">
                  <c:v>0.89807383627608295</c:v>
                </c:pt>
                <c:pt idx="50356">
                  <c:v>0.89809167112537902</c:v>
                </c:pt>
                <c:pt idx="50357">
                  <c:v>0.89810950597467398</c:v>
                </c:pt>
                <c:pt idx="50358">
                  <c:v>0.89812734082397006</c:v>
                </c:pt>
                <c:pt idx="50359">
                  <c:v>0.89814517567326502</c:v>
                </c:pt>
                <c:pt idx="50360">
                  <c:v>0.89816301052256098</c:v>
                </c:pt>
                <c:pt idx="50361">
                  <c:v>0.89818084537185605</c:v>
                </c:pt>
                <c:pt idx="50362">
                  <c:v>0.89819868022115201</c:v>
                </c:pt>
                <c:pt idx="50363">
                  <c:v>0.89821651507044697</c:v>
                </c:pt>
                <c:pt idx="50364">
                  <c:v>0.89823434991974305</c:v>
                </c:pt>
                <c:pt idx="50365">
                  <c:v>0.89825218476903801</c:v>
                </c:pt>
                <c:pt idx="50366">
                  <c:v>0.89827001961833397</c:v>
                </c:pt>
                <c:pt idx="50367">
                  <c:v>0.89828785446762904</c:v>
                </c:pt>
                <c:pt idx="50368">
                  <c:v>0.898305689316925</c:v>
                </c:pt>
                <c:pt idx="50369">
                  <c:v>0.89832352416621997</c:v>
                </c:pt>
                <c:pt idx="50370">
                  <c:v>0.89834135901551604</c:v>
                </c:pt>
                <c:pt idx="50371">
                  <c:v>0.898359193864811</c:v>
                </c:pt>
                <c:pt idx="50372">
                  <c:v>0.89837702871410696</c:v>
                </c:pt>
                <c:pt idx="50373">
                  <c:v>0.89839486356340204</c:v>
                </c:pt>
                <c:pt idx="50374">
                  <c:v>0.898412698412698</c:v>
                </c:pt>
                <c:pt idx="50375">
                  <c:v>0.89843053326199396</c:v>
                </c:pt>
                <c:pt idx="50376">
                  <c:v>0.89844836811128903</c:v>
                </c:pt>
                <c:pt idx="50377">
                  <c:v>0.89846620296058499</c:v>
                </c:pt>
                <c:pt idx="50378">
                  <c:v>0.89848403780987995</c:v>
                </c:pt>
                <c:pt idx="50379">
                  <c:v>0.89850187265917603</c:v>
                </c:pt>
                <c:pt idx="50380">
                  <c:v>0.89851970750847099</c:v>
                </c:pt>
                <c:pt idx="50381">
                  <c:v>0.89853754235776695</c:v>
                </c:pt>
                <c:pt idx="50382">
                  <c:v>0.89855537720706202</c:v>
                </c:pt>
                <c:pt idx="50383">
                  <c:v>0.89857321205635798</c:v>
                </c:pt>
                <c:pt idx="50384">
                  <c:v>0.89859104690565295</c:v>
                </c:pt>
                <c:pt idx="50385">
                  <c:v>0.89860888175494902</c:v>
                </c:pt>
                <c:pt idx="50386">
                  <c:v>0.89862671660424398</c:v>
                </c:pt>
                <c:pt idx="50387">
                  <c:v>0.89864455145354005</c:v>
                </c:pt>
                <c:pt idx="50388">
                  <c:v>0.89866238630283501</c:v>
                </c:pt>
                <c:pt idx="50389">
                  <c:v>0.89868022115213098</c:v>
                </c:pt>
                <c:pt idx="50390">
                  <c:v>0.89869805600142605</c:v>
                </c:pt>
                <c:pt idx="50391">
                  <c:v>0.89871589085072201</c:v>
                </c:pt>
                <c:pt idx="50392">
                  <c:v>0.89873372570001697</c:v>
                </c:pt>
                <c:pt idx="50393">
                  <c:v>0.89875156054931304</c:v>
                </c:pt>
                <c:pt idx="50394">
                  <c:v>0.89876939539860801</c:v>
                </c:pt>
                <c:pt idx="50395">
                  <c:v>0.89878723024790397</c:v>
                </c:pt>
                <c:pt idx="50396">
                  <c:v>0.89880506509719904</c:v>
                </c:pt>
                <c:pt idx="50397">
                  <c:v>0.898822899946495</c:v>
                </c:pt>
                <c:pt idx="50398">
                  <c:v>0.89884073479579096</c:v>
                </c:pt>
                <c:pt idx="50399">
                  <c:v>0.89885856964508604</c:v>
                </c:pt>
                <c:pt idx="50400">
                  <c:v>0.898876404494382</c:v>
                </c:pt>
                <c:pt idx="50401">
                  <c:v>0.89889423934367696</c:v>
                </c:pt>
                <c:pt idx="50402">
                  <c:v>0.89891207419297303</c:v>
                </c:pt>
                <c:pt idx="50403">
                  <c:v>0.89892990904226799</c:v>
                </c:pt>
                <c:pt idx="50404">
                  <c:v>0.89894774389156396</c:v>
                </c:pt>
                <c:pt idx="50405">
                  <c:v>0.89896557874085903</c:v>
                </c:pt>
                <c:pt idx="50406">
                  <c:v>0.89898341359015499</c:v>
                </c:pt>
                <c:pt idx="50407">
                  <c:v>0.89900124843944995</c:v>
                </c:pt>
                <c:pt idx="50408">
                  <c:v>0.89901908328874602</c:v>
                </c:pt>
                <c:pt idx="50409">
                  <c:v>0.89903691813804099</c:v>
                </c:pt>
                <c:pt idx="50410">
                  <c:v>0.89905475298733695</c:v>
                </c:pt>
                <c:pt idx="50411">
                  <c:v>0.89907258783663202</c:v>
                </c:pt>
                <c:pt idx="50412">
                  <c:v>0.89909042268592798</c:v>
                </c:pt>
                <c:pt idx="50413">
                  <c:v>0.89910825753522305</c:v>
                </c:pt>
                <c:pt idx="50414">
                  <c:v>0.89912609238451902</c:v>
                </c:pt>
                <c:pt idx="50415">
                  <c:v>0.89914392723381398</c:v>
                </c:pt>
                <c:pt idx="50416">
                  <c:v>0.89916176208311005</c:v>
                </c:pt>
                <c:pt idx="50417">
                  <c:v>0.89917959693240501</c:v>
                </c:pt>
                <c:pt idx="50418">
                  <c:v>0.89919743178170097</c:v>
                </c:pt>
                <c:pt idx="50419">
                  <c:v>0.89921526663099605</c:v>
                </c:pt>
                <c:pt idx="50420">
                  <c:v>0.89923310148029201</c:v>
                </c:pt>
                <c:pt idx="50421">
                  <c:v>0.89925093632958797</c:v>
                </c:pt>
                <c:pt idx="50422">
                  <c:v>0.89926877117888304</c:v>
                </c:pt>
                <c:pt idx="50423">
                  <c:v>0.899286606028179</c:v>
                </c:pt>
                <c:pt idx="50424">
                  <c:v>0.89930444087747397</c:v>
                </c:pt>
                <c:pt idx="50425">
                  <c:v>0.89932227572677004</c:v>
                </c:pt>
                <c:pt idx="50426">
                  <c:v>0.899340110576065</c:v>
                </c:pt>
                <c:pt idx="50427">
                  <c:v>0.89935794542536096</c:v>
                </c:pt>
                <c:pt idx="50428">
                  <c:v>0.89937578027465603</c:v>
                </c:pt>
                <c:pt idx="50429">
                  <c:v>0.89939361512395199</c:v>
                </c:pt>
                <c:pt idx="50430">
                  <c:v>0.89941144997324696</c:v>
                </c:pt>
                <c:pt idx="50431">
                  <c:v>0.89942928482254303</c:v>
                </c:pt>
                <c:pt idx="50432">
                  <c:v>0.89944711967183799</c:v>
                </c:pt>
                <c:pt idx="50433">
                  <c:v>0.89946495452113395</c:v>
                </c:pt>
                <c:pt idx="50434">
                  <c:v>0.89948278937042903</c:v>
                </c:pt>
                <c:pt idx="50435">
                  <c:v>0.89950062421972499</c:v>
                </c:pt>
                <c:pt idx="50436">
                  <c:v>0.89951845906901995</c:v>
                </c:pt>
                <c:pt idx="50437">
                  <c:v>0.89953629391831602</c:v>
                </c:pt>
                <c:pt idx="50438">
                  <c:v>0.89955412876761098</c:v>
                </c:pt>
                <c:pt idx="50439">
                  <c:v>0.89957196361690706</c:v>
                </c:pt>
                <c:pt idx="50440">
                  <c:v>0.89958979846620202</c:v>
                </c:pt>
                <c:pt idx="50441">
                  <c:v>0.89960763331549798</c:v>
                </c:pt>
                <c:pt idx="50442">
                  <c:v>0.89962546816479405</c:v>
                </c:pt>
                <c:pt idx="50443">
                  <c:v>0.89964330301408901</c:v>
                </c:pt>
                <c:pt idx="50444">
                  <c:v>0.89966113786338497</c:v>
                </c:pt>
                <c:pt idx="50445">
                  <c:v>0.89967897271268005</c:v>
                </c:pt>
                <c:pt idx="50446">
                  <c:v>0.89969680756197601</c:v>
                </c:pt>
                <c:pt idx="50447">
                  <c:v>0.89971464241127097</c:v>
                </c:pt>
                <c:pt idx="50448">
                  <c:v>0.89973247726056704</c:v>
                </c:pt>
                <c:pt idx="50449">
                  <c:v>0.899750312109862</c:v>
                </c:pt>
                <c:pt idx="50450">
                  <c:v>0.89976814695915797</c:v>
                </c:pt>
                <c:pt idx="50451">
                  <c:v>0.89978598180845304</c:v>
                </c:pt>
                <c:pt idx="50452">
                  <c:v>0.899803816657749</c:v>
                </c:pt>
                <c:pt idx="50453">
                  <c:v>0.89982165150704396</c:v>
                </c:pt>
                <c:pt idx="50454">
                  <c:v>0.89983948635634003</c:v>
                </c:pt>
                <c:pt idx="50455">
                  <c:v>0.899857321205635</c:v>
                </c:pt>
                <c:pt idx="50456">
                  <c:v>0.89987515605493096</c:v>
                </c:pt>
                <c:pt idx="50457">
                  <c:v>0.89989299090422603</c:v>
                </c:pt>
                <c:pt idx="50458">
                  <c:v>0.89991082575352199</c:v>
                </c:pt>
                <c:pt idx="50459">
                  <c:v>0.89992866060281795</c:v>
                </c:pt>
                <c:pt idx="50460">
                  <c:v>0.89994649545211303</c:v>
                </c:pt>
                <c:pt idx="50461">
                  <c:v>0.89996433030140899</c:v>
                </c:pt>
                <c:pt idx="50462">
                  <c:v>0.89998216515070395</c:v>
                </c:pt>
                <c:pt idx="50463">
                  <c:v>0.9</c:v>
                </c:pt>
                <c:pt idx="50464">
                  <c:v>0.90001783484929498</c:v>
                </c:pt>
                <c:pt idx="50465">
                  <c:v>0.90003566969859095</c:v>
                </c:pt>
                <c:pt idx="50466">
                  <c:v>0.90005350454788602</c:v>
                </c:pt>
                <c:pt idx="50467">
                  <c:v>0.90007133939718198</c:v>
                </c:pt>
                <c:pt idx="50468">
                  <c:v>0.90008917424647705</c:v>
                </c:pt>
                <c:pt idx="50469">
                  <c:v>0.90010700909577301</c:v>
                </c:pt>
                <c:pt idx="50470">
                  <c:v>0.90012484394506798</c:v>
                </c:pt>
                <c:pt idx="50471">
                  <c:v>0.90014267879436405</c:v>
                </c:pt>
                <c:pt idx="50472">
                  <c:v>0.90016051364365901</c:v>
                </c:pt>
                <c:pt idx="50473">
                  <c:v>0.90017834849295497</c:v>
                </c:pt>
                <c:pt idx="50474">
                  <c:v>0.90019618334225004</c:v>
                </c:pt>
                <c:pt idx="50475">
                  <c:v>0.90021401819154601</c:v>
                </c:pt>
                <c:pt idx="50476">
                  <c:v>0.90023185304084097</c:v>
                </c:pt>
                <c:pt idx="50477">
                  <c:v>0.90024968789013704</c:v>
                </c:pt>
                <c:pt idx="50478">
                  <c:v>0.900267522739432</c:v>
                </c:pt>
                <c:pt idx="50479">
                  <c:v>0.90028535758872796</c:v>
                </c:pt>
                <c:pt idx="50480">
                  <c:v>0.90030319243802304</c:v>
                </c:pt>
                <c:pt idx="50481">
                  <c:v>0.900321027287319</c:v>
                </c:pt>
                <c:pt idx="50482">
                  <c:v>0.90033886213661496</c:v>
                </c:pt>
                <c:pt idx="50483">
                  <c:v>0.90035669698591003</c:v>
                </c:pt>
                <c:pt idx="50484">
                  <c:v>0.90037453183520599</c:v>
                </c:pt>
                <c:pt idx="50485">
                  <c:v>0.90039236668450096</c:v>
                </c:pt>
                <c:pt idx="50486">
                  <c:v>0.90041020153379703</c:v>
                </c:pt>
                <c:pt idx="50487">
                  <c:v>0.90042803638309199</c:v>
                </c:pt>
                <c:pt idx="50488">
                  <c:v>0.90044587123238795</c:v>
                </c:pt>
                <c:pt idx="50489">
                  <c:v>0.90046370608168302</c:v>
                </c:pt>
                <c:pt idx="50490">
                  <c:v>0.90048154093097899</c:v>
                </c:pt>
                <c:pt idx="50491">
                  <c:v>0.90049937578027395</c:v>
                </c:pt>
                <c:pt idx="50492">
                  <c:v>0.90051721062957002</c:v>
                </c:pt>
                <c:pt idx="50493">
                  <c:v>0.90053504547886498</c:v>
                </c:pt>
                <c:pt idx="50494">
                  <c:v>0.90055288032816105</c:v>
                </c:pt>
                <c:pt idx="50495">
                  <c:v>0.90057071517745602</c:v>
                </c:pt>
                <c:pt idx="50496">
                  <c:v>0.90058855002675198</c:v>
                </c:pt>
                <c:pt idx="50497">
                  <c:v>0.90060638487604705</c:v>
                </c:pt>
                <c:pt idx="50498">
                  <c:v>0.90062421972534301</c:v>
                </c:pt>
                <c:pt idx="50499">
                  <c:v>0.90064205457463797</c:v>
                </c:pt>
                <c:pt idx="50500">
                  <c:v>0.90065988942393405</c:v>
                </c:pt>
                <c:pt idx="50501">
                  <c:v>0.90067772427322901</c:v>
                </c:pt>
                <c:pt idx="50502">
                  <c:v>0.90069555912252497</c:v>
                </c:pt>
                <c:pt idx="50503">
                  <c:v>0.90071339397182004</c:v>
                </c:pt>
                <c:pt idx="50504">
                  <c:v>0.900731228821116</c:v>
                </c:pt>
                <c:pt idx="50505">
                  <c:v>0.90074906367041196</c:v>
                </c:pt>
                <c:pt idx="50506">
                  <c:v>0.90076689851970704</c:v>
                </c:pt>
                <c:pt idx="50507">
                  <c:v>0.900784733369003</c:v>
                </c:pt>
                <c:pt idx="50508">
                  <c:v>0.90080256821829796</c:v>
                </c:pt>
                <c:pt idx="50509">
                  <c:v>0.90082040306759403</c:v>
                </c:pt>
                <c:pt idx="50510">
                  <c:v>0.900838237916889</c:v>
                </c:pt>
                <c:pt idx="50511">
                  <c:v>0.90085607276618496</c:v>
                </c:pt>
                <c:pt idx="50512">
                  <c:v>0.90087390761548003</c:v>
                </c:pt>
                <c:pt idx="50513">
                  <c:v>0.90089174246477599</c:v>
                </c:pt>
                <c:pt idx="50514">
                  <c:v>0.90090957731407095</c:v>
                </c:pt>
                <c:pt idx="50515">
                  <c:v>0.90092741216336703</c:v>
                </c:pt>
                <c:pt idx="50516">
                  <c:v>0.90094524701266199</c:v>
                </c:pt>
                <c:pt idx="50517">
                  <c:v>0.90096308186195795</c:v>
                </c:pt>
                <c:pt idx="50518">
                  <c:v>0.90098091671125302</c:v>
                </c:pt>
                <c:pt idx="50519">
                  <c:v>0.90099875156054898</c:v>
                </c:pt>
                <c:pt idx="50520">
                  <c:v>0.90101658640984394</c:v>
                </c:pt>
                <c:pt idx="50521">
                  <c:v>0.90103442125914002</c:v>
                </c:pt>
                <c:pt idx="50522">
                  <c:v>0.90105225610843498</c:v>
                </c:pt>
                <c:pt idx="50523">
                  <c:v>0.90107009095773105</c:v>
                </c:pt>
                <c:pt idx="50524">
                  <c:v>0.90108792580702601</c:v>
                </c:pt>
                <c:pt idx="50525">
                  <c:v>0.90110576065632197</c:v>
                </c:pt>
                <c:pt idx="50526">
                  <c:v>0.90112359550561705</c:v>
                </c:pt>
                <c:pt idx="50527">
                  <c:v>0.90114143035491301</c:v>
                </c:pt>
                <c:pt idx="50528">
                  <c:v>0.90115926520420897</c:v>
                </c:pt>
                <c:pt idx="50529">
                  <c:v>0.90117710005350404</c:v>
                </c:pt>
                <c:pt idx="50530">
                  <c:v>0.9011949349028</c:v>
                </c:pt>
                <c:pt idx="50531">
                  <c:v>0.90121276975209497</c:v>
                </c:pt>
                <c:pt idx="50532">
                  <c:v>0.90123060460139104</c:v>
                </c:pt>
                <c:pt idx="50533">
                  <c:v>0.901248439450686</c:v>
                </c:pt>
                <c:pt idx="50534">
                  <c:v>0.90126627429998196</c:v>
                </c:pt>
                <c:pt idx="50535">
                  <c:v>0.90128410914927704</c:v>
                </c:pt>
                <c:pt idx="50536">
                  <c:v>0.901301943998573</c:v>
                </c:pt>
                <c:pt idx="50537">
                  <c:v>0.90131977884786796</c:v>
                </c:pt>
                <c:pt idx="50538">
                  <c:v>0.90133761369716403</c:v>
                </c:pt>
                <c:pt idx="50539">
                  <c:v>0.90135544854645899</c:v>
                </c:pt>
                <c:pt idx="50540">
                  <c:v>0.90137328339575495</c:v>
                </c:pt>
                <c:pt idx="50541">
                  <c:v>0.90139111824505003</c:v>
                </c:pt>
                <c:pt idx="50542">
                  <c:v>0.90140895309434599</c:v>
                </c:pt>
                <c:pt idx="50543">
                  <c:v>0.90142678794364095</c:v>
                </c:pt>
                <c:pt idx="50544">
                  <c:v>0.90144462279293702</c:v>
                </c:pt>
                <c:pt idx="50545">
                  <c:v>0.90146245764223198</c:v>
                </c:pt>
                <c:pt idx="50546">
                  <c:v>0.90148029249152795</c:v>
                </c:pt>
                <c:pt idx="50547">
                  <c:v>0.90149812734082402</c:v>
                </c:pt>
                <c:pt idx="50548">
                  <c:v>0.90151596219011898</c:v>
                </c:pt>
                <c:pt idx="50549">
                  <c:v>0.90153379703941505</c:v>
                </c:pt>
                <c:pt idx="50550">
                  <c:v>0.90155163188871001</c:v>
                </c:pt>
                <c:pt idx="50551">
                  <c:v>0.90156946673800598</c:v>
                </c:pt>
                <c:pt idx="50552">
                  <c:v>0.90158730158730105</c:v>
                </c:pt>
                <c:pt idx="50553">
                  <c:v>0.90160513643659701</c:v>
                </c:pt>
                <c:pt idx="50554">
                  <c:v>0.90162297128589197</c:v>
                </c:pt>
                <c:pt idx="50555">
                  <c:v>0.90164080613518804</c:v>
                </c:pt>
                <c:pt idx="50556">
                  <c:v>0.90165864098448301</c:v>
                </c:pt>
                <c:pt idx="50557">
                  <c:v>0.90167647583377897</c:v>
                </c:pt>
                <c:pt idx="50558">
                  <c:v>0.90169431068307404</c:v>
                </c:pt>
                <c:pt idx="50559">
                  <c:v>0.90171214553237</c:v>
                </c:pt>
                <c:pt idx="50560">
                  <c:v>0.90172998038166496</c:v>
                </c:pt>
                <c:pt idx="50561">
                  <c:v>0.90174781523096104</c:v>
                </c:pt>
                <c:pt idx="50562">
                  <c:v>0.901765650080256</c:v>
                </c:pt>
                <c:pt idx="50563">
                  <c:v>0.90178348492955196</c:v>
                </c:pt>
                <c:pt idx="50564">
                  <c:v>0.90180131977884703</c:v>
                </c:pt>
                <c:pt idx="50565">
                  <c:v>0.90181915462814299</c:v>
                </c:pt>
                <c:pt idx="50566">
                  <c:v>0.90183698947743896</c:v>
                </c:pt>
                <c:pt idx="50567">
                  <c:v>0.90185482432673403</c:v>
                </c:pt>
                <c:pt idx="50568">
                  <c:v>0.90187265917602999</c:v>
                </c:pt>
                <c:pt idx="50569">
                  <c:v>0.90189049402532495</c:v>
                </c:pt>
                <c:pt idx="50570">
                  <c:v>0.90190832887462102</c:v>
                </c:pt>
                <c:pt idx="50571">
                  <c:v>0.90192616372391599</c:v>
                </c:pt>
                <c:pt idx="50572">
                  <c:v>0.90194399857321195</c:v>
                </c:pt>
                <c:pt idx="50573">
                  <c:v>0.90196183342250702</c:v>
                </c:pt>
                <c:pt idx="50574">
                  <c:v>0.90197966827180298</c:v>
                </c:pt>
                <c:pt idx="50575">
                  <c:v>0.90199750312109805</c:v>
                </c:pt>
                <c:pt idx="50576">
                  <c:v>0.90201533797039402</c:v>
                </c:pt>
                <c:pt idx="50577">
                  <c:v>0.90203317281968898</c:v>
                </c:pt>
                <c:pt idx="50578">
                  <c:v>0.90205100766898505</c:v>
                </c:pt>
                <c:pt idx="50579">
                  <c:v>0.90206884251828001</c:v>
                </c:pt>
                <c:pt idx="50580">
                  <c:v>0.90208667736757597</c:v>
                </c:pt>
                <c:pt idx="50581">
                  <c:v>0.90210451221687105</c:v>
                </c:pt>
                <c:pt idx="50582">
                  <c:v>0.90212234706616701</c:v>
                </c:pt>
                <c:pt idx="50583">
                  <c:v>0.90214018191546197</c:v>
                </c:pt>
                <c:pt idx="50584">
                  <c:v>0.90215801676475804</c:v>
                </c:pt>
                <c:pt idx="50585">
                  <c:v>0.902175851614053</c:v>
                </c:pt>
                <c:pt idx="50586">
                  <c:v>0.90219368646334896</c:v>
                </c:pt>
                <c:pt idx="50587">
                  <c:v>0.90221152131264404</c:v>
                </c:pt>
                <c:pt idx="50588">
                  <c:v>0.90222935616194</c:v>
                </c:pt>
                <c:pt idx="50589">
                  <c:v>0.90224719101123596</c:v>
                </c:pt>
                <c:pt idx="50590">
                  <c:v>0.90226502586053103</c:v>
                </c:pt>
                <c:pt idx="50591">
                  <c:v>0.90228286070982699</c:v>
                </c:pt>
                <c:pt idx="50592">
                  <c:v>0.90230069555912196</c:v>
                </c:pt>
                <c:pt idx="50593">
                  <c:v>0.90231853040841803</c:v>
                </c:pt>
                <c:pt idx="50594">
                  <c:v>0.90233636525771299</c:v>
                </c:pt>
                <c:pt idx="50595">
                  <c:v>0.90235420010700895</c:v>
                </c:pt>
                <c:pt idx="50596">
                  <c:v>0.90237203495630403</c:v>
                </c:pt>
                <c:pt idx="50597">
                  <c:v>0.90238986980559999</c:v>
                </c:pt>
                <c:pt idx="50598">
                  <c:v>0.90240770465489495</c:v>
                </c:pt>
                <c:pt idx="50599">
                  <c:v>0.90242553950419102</c:v>
                </c:pt>
                <c:pt idx="50600">
                  <c:v>0.90244337435348598</c:v>
                </c:pt>
                <c:pt idx="50601">
                  <c:v>0.90246120920278206</c:v>
                </c:pt>
                <c:pt idx="50602">
                  <c:v>0.90247904405207702</c:v>
                </c:pt>
                <c:pt idx="50603">
                  <c:v>0.90249687890137298</c:v>
                </c:pt>
                <c:pt idx="50604">
                  <c:v>0.90251471375066805</c:v>
                </c:pt>
                <c:pt idx="50605">
                  <c:v>0.90253254859996401</c:v>
                </c:pt>
                <c:pt idx="50606">
                  <c:v>0.90255038344925897</c:v>
                </c:pt>
                <c:pt idx="50607">
                  <c:v>0.90256821829855505</c:v>
                </c:pt>
                <c:pt idx="50608">
                  <c:v>0.90258605314785001</c:v>
                </c:pt>
                <c:pt idx="50609">
                  <c:v>0.90260388799714597</c:v>
                </c:pt>
                <c:pt idx="50610">
                  <c:v>0.90262172284644104</c:v>
                </c:pt>
                <c:pt idx="50611">
                  <c:v>0.902639557695737</c:v>
                </c:pt>
                <c:pt idx="50612">
                  <c:v>0.90265739254503297</c:v>
                </c:pt>
                <c:pt idx="50613">
                  <c:v>0.90267522739432804</c:v>
                </c:pt>
                <c:pt idx="50614">
                  <c:v>0.902693062243624</c:v>
                </c:pt>
                <c:pt idx="50615">
                  <c:v>0.90271089709291896</c:v>
                </c:pt>
                <c:pt idx="50616">
                  <c:v>0.90272873194221503</c:v>
                </c:pt>
                <c:pt idx="50617">
                  <c:v>0.90274656679151</c:v>
                </c:pt>
                <c:pt idx="50618">
                  <c:v>0.90276440164080596</c:v>
                </c:pt>
                <c:pt idx="50619">
                  <c:v>0.90278223649010103</c:v>
                </c:pt>
                <c:pt idx="50620">
                  <c:v>0.90280007133939699</c:v>
                </c:pt>
                <c:pt idx="50621">
                  <c:v>0.90281790618869195</c:v>
                </c:pt>
                <c:pt idx="50622">
                  <c:v>0.90283574103798803</c:v>
                </c:pt>
                <c:pt idx="50623">
                  <c:v>0.90285357588728299</c:v>
                </c:pt>
                <c:pt idx="50624">
                  <c:v>0.90287141073657895</c:v>
                </c:pt>
                <c:pt idx="50625">
                  <c:v>0.90288924558587402</c:v>
                </c:pt>
                <c:pt idx="50626">
                  <c:v>0.90290708043516998</c:v>
                </c:pt>
                <c:pt idx="50627">
                  <c:v>0.90292491528446495</c:v>
                </c:pt>
                <c:pt idx="50628">
                  <c:v>0.90294275013376102</c:v>
                </c:pt>
                <c:pt idx="50629">
                  <c:v>0.90296058498305598</c:v>
                </c:pt>
                <c:pt idx="50630">
                  <c:v>0.90297841983235205</c:v>
                </c:pt>
                <c:pt idx="50631">
                  <c:v>0.90299625468164701</c:v>
                </c:pt>
                <c:pt idx="50632">
                  <c:v>0.90301408953094298</c:v>
                </c:pt>
                <c:pt idx="50633">
                  <c:v>0.90303192438023805</c:v>
                </c:pt>
                <c:pt idx="50634">
                  <c:v>0.90304975922953401</c:v>
                </c:pt>
                <c:pt idx="50635">
                  <c:v>0.90306759407882997</c:v>
                </c:pt>
                <c:pt idx="50636">
                  <c:v>0.90308542892812504</c:v>
                </c:pt>
                <c:pt idx="50637">
                  <c:v>0.90310326377742101</c:v>
                </c:pt>
                <c:pt idx="50638">
                  <c:v>0.90312109862671597</c:v>
                </c:pt>
                <c:pt idx="50639">
                  <c:v>0.90313893347601204</c:v>
                </c:pt>
                <c:pt idx="50640">
                  <c:v>0.903156768325307</c:v>
                </c:pt>
                <c:pt idx="50641">
                  <c:v>0.90317460317460296</c:v>
                </c:pt>
                <c:pt idx="50642">
                  <c:v>0.90319243802389804</c:v>
                </c:pt>
                <c:pt idx="50643">
                  <c:v>0.903210272873194</c:v>
                </c:pt>
                <c:pt idx="50644">
                  <c:v>0.90322810772248896</c:v>
                </c:pt>
                <c:pt idx="50645">
                  <c:v>0.90324594257178503</c:v>
                </c:pt>
                <c:pt idx="50646">
                  <c:v>0.90326377742107999</c:v>
                </c:pt>
                <c:pt idx="50647">
                  <c:v>0.90328161227037596</c:v>
                </c:pt>
                <c:pt idx="50648">
                  <c:v>0.90329944711967103</c:v>
                </c:pt>
                <c:pt idx="50649">
                  <c:v>0.90331728196896699</c:v>
                </c:pt>
                <c:pt idx="50650">
                  <c:v>0.90333511681826195</c:v>
                </c:pt>
                <c:pt idx="50651">
                  <c:v>0.90335295166755802</c:v>
                </c:pt>
                <c:pt idx="50652">
                  <c:v>0.90337078651685399</c:v>
                </c:pt>
                <c:pt idx="50653">
                  <c:v>0.90338862136614895</c:v>
                </c:pt>
                <c:pt idx="50654">
                  <c:v>0.90340645621544502</c:v>
                </c:pt>
                <c:pt idx="50655">
                  <c:v>0.90342429106473998</c:v>
                </c:pt>
                <c:pt idx="50656">
                  <c:v>0.90344212591403605</c:v>
                </c:pt>
                <c:pt idx="50657">
                  <c:v>0.90345996076333102</c:v>
                </c:pt>
                <c:pt idx="50658">
                  <c:v>0.90347779561262698</c:v>
                </c:pt>
                <c:pt idx="50659">
                  <c:v>0.90349563046192205</c:v>
                </c:pt>
                <c:pt idx="50660">
                  <c:v>0.90351346531121801</c:v>
                </c:pt>
                <c:pt idx="50661">
                  <c:v>0.90353130016051297</c:v>
                </c:pt>
                <c:pt idx="50662">
                  <c:v>0.90354913500980905</c:v>
                </c:pt>
                <c:pt idx="50663">
                  <c:v>0.90356696985910401</c:v>
                </c:pt>
                <c:pt idx="50664">
                  <c:v>0.90358480470839997</c:v>
                </c:pt>
                <c:pt idx="50665">
                  <c:v>0.90360263955769504</c:v>
                </c:pt>
                <c:pt idx="50666">
                  <c:v>0.903620474406991</c:v>
                </c:pt>
                <c:pt idx="50667">
                  <c:v>0.90363830925628597</c:v>
                </c:pt>
                <c:pt idx="50668">
                  <c:v>0.90365614410558204</c:v>
                </c:pt>
                <c:pt idx="50669">
                  <c:v>0.903673978954877</c:v>
                </c:pt>
                <c:pt idx="50670">
                  <c:v>0.90369181380417296</c:v>
                </c:pt>
                <c:pt idx="50671">
                  <c:v>0.90370964865346803</c:v>
                </c:pt>
                <c:pt idx="50672">
                  <c:v>0.903727483502764</c:v>
                </c:pt>
                <c:pt idx="50673">
                  <c:v>0.90374531835205996</c:v>
                </c:pt>
                <c:pt idx="50674">
                  <c:v>0.90376315320135503</c:v>
                </c:pt>
                <c:pt idx="50675">
                  <c:v>0.90378098805065099</c:v>
                </c:pt>
                <c:pt idx="50676">
                  <c:v>0.90379882289994595</c:v>
                </c:pt>
                <c:pt idx="50677">
                  <c:v>0.90381665774924203</c:v>
                </c:pt>
                <c:pt idx="50678">
                  <c:v>0.90383449259853699</c:v>
                </c:pt>
                <c:pt idx="50679">
                  <c:v>0.90385232744783295</c:v>
                </c:pt>
                <c:pt idx="50680">
                  <c:v>0.90387016229712802</c:v>
                </c:pt>
                <c:pt idx="50681">
                  <c:v>0.90388799714642398</c:v>
                </c:pt>
                <c:pt idx="50682">
                  <c:v>0.90390583199571894</c:v>
                </c:pt>
                <c:pt idx="50683">
                  <c:v>0.90392366684501502</c:v>
                </c:pt>
                <c:pt idx="50684">
                  <c:v>0.90394150169430998</c:v>
                </c:pt>
                <c:pt idx="50685">
                  <c:v>0.90395933654360605</c:v>
                </c:pt>
                <c:pt idx="50686">
                  <c:v>0.90397717139290101</c:v>
                </c:pt>
                <c:pt idx="50687">
                  <c:v>0.90399500624219697</c:v>
                </c:pt>
                <c:pt idx="50688">
                  <c:v>0.90401284109149205</c:v>
                </c:pt>
                <c:pt idx="50689">
                  <c:v>0.90403067594078801</c:v>
                </c:pt>
                <c:pt idx="50690">
                  <c:v>0.90404851079008297</c:v>
                </c:pt>
                <c:pt idx="50691">
                  <c:v>0.90406634563937904</c:v>
                </c:pt>
                <c:pt idx="50692">
                  <c:v>0.90408418048867401</c:v>
                </c:pt>
                <c:pt idx="50693">
                  <c:v>0.90410201533796997</c:v>
                </c:pt>
                <c:pt idx="50694">
                  <c:v>0.90411985018726504</c:v>
                </c:pt>
                <c:pt idx="50695">
                  <c:v>0.904137685036561</c:v>
                </c:pt>
                <c:pt idx="50696">
                  <c:v>0.90415551988585696</c:v>
                </c:pt>
                <c:pt idx="50697">
                  <c:v>0.90417335473515204</c:v>
                </c:pt>
                <c:pt idx="50698">
                  <c:v>0.904191189584448</c:v>
                </c:pt>
                <c:pt idx="50699">
                  <c:v>0.90420902443374296</c:v>
                </c:pt>
                <c:pt idx="50700">
                  <c:v>0.90422685928303903</c:v>
                </c:pt>
                <c:pt idx="50701">
                  <c:v>0.90424469413233399</c:v>
                </c:pt>
                <c:pt idx="50702">
                  <c:v>0.90426252898162995</c:v>
                </c:pt>
                <c:pt idx="50703">
                  <c:v>0.90428036383092503</c:v>
                </c:pt>
                <c:pt idx="50704">
                  <c:v>0.90429819868022099</c:v>
                </c:pt>
                <c:pt idx="50705">
                  <c:v>0.90431603352951595</c:v>
                </c:pt>
                <c:pt idx="50706">
                  <c:v>0.90433386837881202</c:v>
                </c:pt>
                <c:pt idx="50707">
                  <c:v>0.90435170322810698</c:v>
                </c:pt>
                <c:pt idx="50708">
                  <c:v>0.90436953807740295</c:v>
                </c:pt>
                <c:pt idx="50709">
                  <c:v>0.90438737292669802</c:v>
                </c:pt>
                <c:pt idx="50710">
                  <c:v>0.90440520777599398</c:v>
                </c:pt>
                <c:pt idx="50711">
                  <c:v>0.90442304262528905</c:v>
                </c:pt>
                <c:pt idx="50712">
                  <c:v>0.90444087747458501</c:v>
                </c:pt>
                <c:pt idx="50713">
                  <c:v>0.90445871232387998</c:v>
                </c:pt>
                <c:pt idx="50714">
                  <c:v>0.90447654717317605</c:v>
                </c:pt>
                <c:pt idx="50715">
                  <c:v>0.90449438202247101</c:v>
                </c:pt>
                <c:pt idx="50716">
                  <c:v>0.90451221687176697</c:v>
                </c:pt>
                <c:pt idx="50717">
                  <c:v>0.90453005172106205</c:v>
                </c:pt>
                <c:pt idx="50718">
                  <c:v>0.90454788657035801</c:v>
                </c:pt>
                <c:pt idx="50719">
                  <c:v>0.90456572141965397</c:v>
                </c:pt>
                <c:pt idx="50720">
                  <c:v>0.90458355626894904</c:v>
                </c:pt>
                <c:pt idx="50721">
                  <c:v>0.904601391118245</c:v>
                </c:pt>
                <c:pt idx="50722">
                  <c:v>0.90461922596753996</c:v>
                </c:pt>
                <c:pt idx="50723">
                  <c:v>0.90463706081683604</c:v>
                </c:pt>
                <c:pt idx="50724">
                  <c:v>0.904654895666131</c:v>
                </c:pt>
                <c:pt idx="50725">
                  <c:v>0.90467273051542696</c:v>
                </c:pt>
                <c:pt idx="50726">
                  <c:v>0.90469056536472203</c:v>
                </c:pt>
                <c:pt idx="50727">
                  <c:v>0.90470840021401799</c:v>
                </c:pt>
                <c:pt idx="50728">
                  <c:v>0.90472623506331296</c:v>
                </c:pt>
                <c:pt idx="50729">
                  <c:v>0.90474406991260903</c:v>
                </c:pt>
                <c:pt idx="50730">
                  <c:v>0.90476190476190399</c:v>
                </c:pt>
                <c:pt idx="50731">
                  <c:v>0.90477973961119995</c:v>
                </c:pt>
                <c:pt idx="50732">
                  <c:v>0.90479757446049502</c:v>
                </c:pt>
                <c:pt idx="50733">
                  <c:v>0.90481540930979099</c:v>
                </c:pt>
                <c:pt idx="50734">
                  <c:v>0.90483324415908595</c:v>
                </c:pt>
                <c:pt idx="50735">
                  <c:v>0.90485107900838202</c:v>
                </c:pt>
                <c:pt idx="50736">
                  <c:v>0.90486891385767698</c:v>
                </c:pt>
                <c:pt idx="50737">
                  <c:v>0.90488674870697305</c:v>
                </c:pt>
                <c:pt idx="50738">
                  <c:v>0.90490458355626802</c:v>
                </c:pt>
                <c:pt idx="50739">
                  <c:v>0.90492241840556398</c:v>
                </c:pt>
                <c:pt idx="50740">
                  <c:v>0.90494025325486005</c:v>
                </c:pt>
                <c:pt idx="50741">
                  <c:v>0.90495808810415501</c:v>
                </c:pt>
                <c:pt idx="50742">
                  <c:v>0.90497592295345097</c:v>
                </c:pt>
                <c:pt idx="50743">
                  <c:v>0.90499375780274605</c:v>
                </c:pt>
                <c:pt idx="50744">
                  <c:v>0.90501159265204201</c:v>
                </c:pt>
                <c:pt idx="50745">
                  <c:v>0.90502942750133697</c:v>
                </c:pt>
                <c:pt idx="50746">
                  <c:v>0.90504726235063304</c:v>
                </c:pt>
                <c:pt idx="50747">
                  <c:v>0.905065097199928</c:v>
                </c:pt>
                <c:pt idx="50748">
                  <c:v>0.90508293204922396</c:v>
                </c:pt>
                <c:pt idx="50749">
                  <c:v>0.90510076689851904</c:v>
                </c:pt>
                <c:pt idx="50750">
                  <c:v>0.905118601747815</c:v>
                </c:pt>
                <c:pt idx="50751">
                  <c:v>0.90513643659710996</c:v>
                </c:pt>
                <c:pt idx="50752">
                  <c:v>0.90515427144640603</c:v>
                </c:pt>
                <c:pt idx="50753">
                  <c:v>0.905172106295701</c:v>
                </c:pt>
                <c:pt idx="50754">
                  <c:v>0.90518994114499696</c:v>
                </c:pt>
                <c:pt idx="50755">
                  <c:v>0.90520777599429203</c:v>
                </c:pt>
                <c:pt idx="50756">
                  <c:v>0.90522561084358799</c:v>
                </c:pt>
                <c:pt idx="50757">
                  <c:v>0.90524344569288295</c:v>
                </c:pt>
                <c:pt idx="50758">
                  <c:v>0.90526128054217903</c:v>
                </c:pt>
                <c:pt idx="50759">
                  <c:v>0.90527911539147499</c:v>
                </c:pt>
                <c:pt idx="50760">
                  <c:v>0.90529695024076995</c:v>
                </c:pt>
                <c:pt idx="50761">
                  <c:v>0.90531478509006602</c:v>
                </c:pt>
                <c:pt idx="50762">
                  <c:v>0.90533261993936098</c:v>
                </c:pt>
                <c:pt idx="50763">
                  <c:v>0.90535045478865706</c:v>
                </c:pt>
                <c:pt idx="50764">
                  <c:v>0.90536828963795202</c:v>
                </c:pt>
                <c:pt idx="50765">
                  <c:v>0.90538612448724798</c:v>
                </c:pt>
                <c:pt idx="50766">
                  <c:v>0.90540395933654305</c:v>
                </c:pt>
                <c:pt idx="50767">
                  <c:v>0.90542179418583901</c:v>
                </c:pt>
                <c:pt idx="50768">
                  <c:v>0.90543962903513397</c:v>
                </c:pt>
                <c:pt idx="50769">
                  <c:v>0.90545746388443005</c:v>
                </c:pt>
                <c:pt idx="50770">
                  <c:v>0.90547529873372501</c:v>
                </c:pt>
                <c:pt idx="50771">
                  <c:v>0.90549313358302097</c:v>
                </c:pt>
                <c:pt idx="50772">
                  <c:v>0.90551096843231604</c:v>
                </c:pt>
                <c:pt idx="50773">
                  <c:v>0.905528803281612</c:v>
                </c:pt>
                <c:pt idx="50774">
                  <c:v>0.90554663813090697</c:v>
                </c:pt>
                <c:pt idx="50775">
                  <c:v>0.90556447298020304</c:v>
                </c:pt>
                <c:pt idx="50776">
                  <c:v>0.905582307829498</c:v>
                </c:pt>
                <c:pt idx="50777">
                  <c:v>0.90560014267879396</c:v>
                </c:pt>
                <c:pt idx="50778">
                  <c:v>0.90561797752808904</c:v>
                </c:pt>
                <c:pt idx="50779">
                  <c:v>0.905635812377385</c:v>
                </c:pt>
                <c:pt idx="50780">
                  <c:v>0.90565364722668096</c:v>
                </c:pt>
                <c:pt idx="50781">
                  <c:v>0.90567148207597603</c:v>
                </c:pt>
                <c:pt idx="50782">
                  <c:v>0.90568931692527199</c:v>
                </c:pt>
                <c:pt idx="50783">
                  <c:v>0.90570715177456695</c:v>
                </c:pt>
                <c:pt idx="50784">
                  <c:v>0.90572498662386303</c:v>
                </c:pt>
                <c:pt idx="50785">
                  <c:v>0.90574282147315799</c:v>
                </c:pt>
                <c:pt idx="50786">
                  <c:v>0.90576065632245395</c:v>
                </c:pt>
                <c:pt idx="50787">
                  <c:v>0.90577849117174902</c:v>
                </c:pt>
                <c:pt idx="50788">
                  <c:v>0.90579632602104498</c:v>
                </c:pt>
                <c:pt idx="50789">
                  <c:v>0.90581416087033995</c:v>
                </c:pt>
                <c:pt idx="50790">
                  <c:v>0.90583199571963602</c:v>
                </c:pt>
                <c:pt idx="50791">
                  <c:v>0.90584983056893098</c:v>
                </c:pt>
                <c:pt idx="50792">
                  <c:v>0.90586766541822705</c:v>
                </c:pt>
                <c:pt idx="50793">
                  <c:v>0.90588550026752201</c:v>
                </c:pt>
                <c:pt idx="50794">
                  <c:v>0.90590333511681798</c:v>
                </c:pt>
                <c:pt idx="50795">
                  <c:v>0.90592116996611305</c:v>
                </c:pt>
                <c:pt idx="50796">
                  <c:v>0.90593900481540901</c:v>
                </c:pt>
                <c:pt idx="50797">
                  <c:v>0.90595683966470397</c:v>
                </c:pt>
                <c:pt idx="50798">
                  <c:v>0.90597467451400004</c:v>
                </c:pt>
                <c:pt idx="50799">
                  <c:v>0.90599250936329501</c:v>
                </c:pt>
                <c:pt idx="50800">
                  <c:v>0.90601034421259097</c:v>
                </c:pt>
                <c:pt idx="50801">
                  <c:v>0.90602817906188604</c:v>
                </c:pt>
                <c:pt idx="50802">
                  <c:v>0.906046013911182</c:v>
                </c:pt>
                <c:pt idx="50803">
                  <c:v>0.90606384876047796</c:v>
                </c:pt>
                <c:pt idx="50804">
                  <c:v>0.90608168360977304</c:v>
                </c:pt>
                <c:pt idx="50805">
                  <c:v>0.906099518459069</c:v>
                </c:pt>
                <c:pt idx="50806">
                  <c:v>0.90611735330836396</c:v>
                </c:pt>
                <c:pt idx="50807">
                  <c:v>0.90613518815766003</c:v>
                </c:pt>
                <c:pt idx="50808">
                  <c:v>0.90615302300695499</c:v>
                </c:pt>
                <c:pt idx="50809">
                  <c:v>0.90617085785625096</c:v>
                </c:pt>
                <c:pt idx="50810">
                  <c:v>0.90618869270554603</c:v>
                </c:pt>
                <c:pt idx="50811">
                  <c:v>0.90620652755484199</c:v>
                </c:pt>
                <c:pt idx="50812">
                  <c:v>0.90622436240413695</c:v>
                </c:pt>
                <c:pt idx="50813">
                  <c:v>0.90624219725343302</c:v>
                </c:pt>
                <c:pt idx="50814">
                  <c:v>0.90626003210272799</c:v>
                </c:pt>
                <c:pt idx="50815">
                  <c:v>0.90627786695202395</c:v>
                </c:pt>
                <c:pt idx="50816">
                  <c:v>0.90629570180131902</c:v>
                </c:pt>
                <c:pt idx="50817">
                  <c:v>0.90631353665061498</c:v>
                </c:pt>
                <c:pt idx="50818">
                  <c:v>0.90633137149991005</c:v>
                </c:pt>
                <c:pt idx="50819">
                  <c:v>0.90634920634920602</c:v>
                </c:pt>
                <c:pt idx="50820">
                  <c:v>0.90636704119850098</c:v>
                </c:pt>
                <c:pt idx="50821">
                  <c:v>0.90638487604779705</c:v>
                </c:pt>
                <c:pt idx="50822">
                  <c:v>0.90640271089709201</c:v>
                </c:pt>
                <c:pt idx="50823">
                  <c:v>0.90642054574638797</c:v>
                </c:pt>
                <c:pt idx="50824">
                  <c:v>0.90643838059568305</c:v>
                </c:pt>
                <c:pt idx="50825">
                  <c:v>0.90645621544497901</c:v>
                </c:pt>
                <c:pt idx="50826">
                  <c:v>0.90647405029427497</c:v>
                </c:pt>
                <c:pt idx="50827">
                  <c:v>0.90649188514357004</c:v>
                </c:pt>
                <c:pt idx="50828">
                  <c:v>0.906509719992866</c:v>
                </c:pt>
                <c:pt idx="50829">
                  <c:v>0.90652755484216097</c:v>
                </c:pt>
                <c:pt idx="50830">
                  <c:v>0.90654538969145704</c:v>
                </c:pt>
                <c:pt idx="50831">
                  <c:v>0.906563224540752</c:v>
                </c:pt>
                <c:pt idx="50832">
                  <c:v>0.90658105939004796</c:v>
                </c:pt>
                <c:pt idx="50833">
                  <c:v>0.90659889423934303</c:v>
                </c:pt>
                <c:pt idx="50834">
                  <c:v>0.906616729088639</c:v>
                </c:pt>
                <c:pt idx="50835">
                  <c:v>0.90663456393793396</c:v>
                </c:pt>
                <c:pt idx="50836">
                  <c:v>0.90665239878723003</c:v>
                </c:pt>
                <c:pt idx="50837">
                  <c:v>0.90667023363652499</c:v>
                </c:pt>
                <c:pt idx="50838">
                  <c:v>0.90668806848582095</c:v>
                </c:pt>
                <c:pt idx="50839">
                  <c:v>0.90670590333511603</c:v>
                </c:pt>
                <c:pt idx="50840">
                  <c:v>0.90672373818441199</c:v>
                </c:pt>
                <c:pt idx="50841">
                  <c:v>0.90674157303370695</c:v>
                </c:pt>
                <c:pt idx="50842">
                  <c:v>0.90675940788300302</c:v>
                </c:pt>
                <c:pt idx="50843">
                  <c:v>0.90677724273229798</c:v>
                </c:pt>
                <c:pt idx="50844">
                  <c:v>0.90679507758159394</c:v>
                </c:pt>
                <c:pt idx="50845">
                  <c:v>0.90681291243088902</c:v>
                </c:pt>
                <c:pt idx="50846">
                  <c:v>0.90683074728018498</c:v>
                </c:pt>
                <c:pt idx="50847">
                  <c:v>0.90684858212948105</c:v>
                </c:pt>
                <c:pt idx="50848">
                  <c:v>0.90686641697877601</c:v>
                </c:pt>
                <c:pt idx="50849">
                  <c:v>0.90688425182807197</c:v>
                </c:pt>
                <c:pt idx="50850">
                  <c:v>0.90690208667736705</c:v>
                </c:pt>
                <c:pt idx="50851">
                  <c:v>0.90691992152666301</c:v>
                </c:pt>
                <c:pt idx="50852">
                  <c:v>0.90693775637595797</c:v>
                </c:pt>
                <c:pt idx="50853">
                  <c:v>0.90695559122525404</c:v>
                </c:pt>
                <c:pt idx="50854">
                  <c:v>0.90697342607454901</c:v>
                </c:pt>
                <c:pt idx="50855">
                  <c:v>0.90699126092384497</c:v>
                </c:pt>
                <c:pt idx="50856">
                  <c:v>0.90700909577314004</c:v>
                </c:pt>
                <c:pt idx="50857">
                  <c:v>0.907026930622436</c:v>
                </c:pt>
                <c:pt idx="50858">
                  <c:v>0.90704476547173096</c:v>
                </c:pt>
                <c:pt idx="50859">
                  <c:v>0.90706260032102703</c:v>
                </c:pt>
                <c:pt idx="50860">
                  <c:v>0.907080435170322</c:v>
                </c:pt>
                <c:pt idx="50861">
                  <c:v>0.90709827001961796</c:v>
                </c:pt>
                <c:pt idx="50862">
                  <c:v>0.90711610486891303</c:v>
                </c:pt>
                <c:pt idx="50863">
                  <c:v>0.90713393971820899</c:v>
                </c:pt>
                <c:pt idx="50864">
                  <c:v>0.90715177456750495</c:v>
                </c:pt>
                <c:pt idx="50865">
                  <c:v>0.90716960941680003</c:v>
                </c:pt>
                <c:pt idx="50866">
                  <c:v>0.90718744426609599</c:v>
                </c:pt>
                <c:pt idx="50867">
                  <c:v>0.90720527911539095</c:v>
                </c:pt>
                <c:pt idx="50868">
                  <c:v>0.90722311396468702</c:v>
                </c:pt>
                <c:pt idx="50869">
                  <c:v>0.90724094881398198</c:v>
                </c:pt>
                <c:pt idx="50870">
                  <c:v>0.90725878366327795</c:v>
                </c:pt>
                <c:pt idx="50871">
                  <c:v>0.90727661851257302</c:v>
                </c:pt>
                <c:pt idx="50872">
                  <c:v>0.90729445336186898</c:v>
                </c:pt>
                <c:pt idx="50873">
                  <c:v>0.90731228821116405</c:v>
                </c:pt>
                <c:pt idx="50874">
                  <c:v>0.90733012306046001</c:v>
                </c:pt>
                <c:pt idx="50875">
                  <c:v>0.90734795790975498</c:v>
                </c:pt>
                <c:pt idx="50876">
                  <c:v>0.90736579275905105</c:v>
                </c:pt>
                <c:pt idx="50877">
                  <c:v>0.90738362760834601</c:v>
                </c:pt>
                <c:pt idx="50878">
                  <c:v>0.90740146245764197</c:v>
                </c:pt>
                <c:pt idx="50879">
                  <c:v>0.90741929730693704</c:v>
                </c:pt>
                <c:pt idx="50880">
                  <c:v>0.90743713215623301</c:v>
                </c:pt>
                <c:pt idx="50881">
                  <c:v>0.90745496700552797</c:v>
                </c:pt>
                <c:pt idx="50882">
                  <c:v>0.90747280185482404</c:v>
                </c:pt>
                <c:pt idx="50883">
                  <c:v>0.907490636704119</c:v>
                </c:pt>
                <c:pt idx="50884">
                  <c:v>0.90750847155341496</c:v>
                </c:pt>
                <c:pt idx="50885">
                  <c:v>0.90752630640271004</c:v>
                </c:pt>
                <c:pt idx="50886">
                  <c:v>0.907544141252006</c:v>
                </c:pt>
                <c:pt idx="50887">
                  <c:v>0.90756197610130196</c:v>
                </c:pt>
                <c:pt idx="50888">
                  <c:v>0.90757981095059703</c:v>
                </c:pt>
                <c:pt idx="50889">
                  <c:v>0.90759764579989299</c:v>
                </c:pt>
                <c:pt idx="50890">
                  <c:v>0.90761548064918796</c:v>
                </c:pt>
                <c:pt idx="50891">
                  <c:v>0.90763331549848403</c:v>
                </c:pt>
                <c:pt idx="50892">
                  <c:v>0.90765115034777899</c:v>
                </c:pt>
                <c:pt idx="50893">
                  <c:v>0.90766898519707495</c:v>
                </c:pt>
                <c:pt idx="50894">
                  <c:v>0.90768682004637002</c:v>
                </c:pt>
                <c:pt idx="50895">
                  <c:v>0.90770465489566599</c:v>
                </c:pt>
                <c:pt idx="50896">
                  <c:v>0.90772248974496095</c:v>
                </c:pt>
                <c:pt idx="50897">
                  <c:v>0.90774032459425702</c:v>
                </c:pt>
                <c:pt idx="50898">
                  <c:v>0.90775815944355198</c:v>
                </c:pt>
                <c:pt idx="50899">
                  <c:v>0.90777599429284805</c:v>
                </c:pt>
                <c:pt idx="50900">
                  <c:v>0.90779382914214302</c:v>
                </c:pt>
                <c:pt idx="50901">
                  <c:v>0.90781166399143898</c:v>
                </c:pt>
                <c:pt idx="50902">
                  <c:v>0.90782949884073405</c:v>
                </c:pt>
                <c:pt idx="50903">
                  <c:v>0.90784733369003001</c:v>
                </c:pt>
                <c:pt idx="50904">
                  <c:v>0.90786516853932497</c:v>
                </c:pt>
                <c:pt idx="50905">
                  <c:v>0.90788300338862105</c:v>
                </c:pt>
                <c:pt idx="50906">
                  <c:v>0.90790083823791601</c:v>
                </c:pt>
                <c:pt idx="50907">
                  <c:v>0.90791867308721197</c:v>
                </c:pt>
                <c:pt idx="50908">
                  <c:v>0.90793650793650704</c:v>
                </c:pt>
                <c:pt idx="50909">
                  <c:v>0.907954342785803</c:v>
                </c:pt>
                <c:pt idx="50910">
                  <c:v>0.90797217763509896</c:v>
                </c:pt>
                <c:pt idx="50911">
                  <c:v>0.90799001248439404</c:v>
                </c:pt>
                <c:pt idx="50912">
                  <c:v>0.90800784733369</c:v>
                </c:pt>
                <c:pt idx="50913">
                  <c:v>0.90802568218298496</c:v>
                </c:pt>
                <c:pt idx="50914">
                  <c:v>0.90804351703228103</c:v>
                </c:pt>
                <c:pt idx="50915">
                  <c:v>0.908061351881576</c:v>
                </c:pt>
                <c:pt idx="50916">
                  <c:v>0.90807918673087196</c:v>
                </c:pt>
                <c:pt idx="50917">
                  <c:v>0.90809702158016703</c:v>
                </c:pt>
                <c:pt idx="50918">
                  <c:v>0.90811485642946299</c:v>
                </c:pt>
                <c:pt idx="50919">
                  <c:v>0.90813269127875795</c:v>
                </c:pt>
                <c:pt idx="50920">
                  <c:v>0.90815052612805403</c:v>
                </c:pt>
                <c:pt idx="50921">
                  <c:v>0.90816836097734899</c:v>
                </c:pt>
                <c:pt idx="50922">
                  <c:v>0.90818619582664495</c:v>
                </c:pt>
                <c:pt idx="50923">
                  <c:v>0.90820403067594002</c:v>
                </c:pt>
                <c:pt idx="50924">
                  <c:v>0.90822186552523598</c:v>
                </c:pt>
                <c:pt idx="50925">
                  <c:v>0.90823970037453094</c:v>
                </c:pt>
                <c:pt idx="50926">
                  <c:v>0.90825753522382702</c:v>
                </c:pt>
                <c:pt idx="50927">
                  <c:v>0.90827537007312198</c:v>
                </c:pt>
                <c:pt idx="50928">
                  <c:v>0.90829320492241805</c:v>
                </c:pt>
                <c:pt idx="50929">
                  <c:v>0.90831103977171301</c:v>
                </c:pt>
                <c:pt idx="50930">
                  <c:v>0.90832887462100897</c:v>
                </c:pt>
                <c:pt idx="50931">
                  <c:v>0.90834670947030405</c:v>
                </c:pt>
                <c:pt idx="50932">
                  <c:v>0.90836454431960001</c:v>
                </c:pt>
                <c:pt idx="50933">
                  <c:v>0.90838237916889597</c:v>
                </c:pt>
                <c:pt idx="50934">
                  <c:v>0.90840021401819104</c:v>
                </c:pt>
                <c:pt idx="50935">
                  <c:v>0.908418048867487</c:v>
                </c:pt>
                <c:pt idx="50936">
                  <c:v>0.90843588371678197</c:v>
                </c:pt>
                <c:pt idx="50937">
                  <c:v>0.90845371856607804</c:v>
                </c:pt>
                <c:pt idx="50938">
                  <c:v>0.908471553415373</c:v>
                </c:pt>
                <c:pt idx="50939">
                  <c:v>0.90848938826466896</c:v>
                </c:pt>
                <c:pt idx="50940">
                  <c:v>0.90850722311396404</c:v>
                </c:pt>
                <c:pt idx="50941">
                  <c:v>0.90852505796326</c:v>
                </c:pt>
                <c:pt idx="50942">
                  <c:v>0.90854289281255496</c:v>
                </c:pt>
                <c:pt idx="50943">
                  <c:v>0.90856072766185103</c:v>
                </c:pt>
                <c:pt idx="50944">
                  <c:v>0.90857856251114599</c:v>
                </c:pt>
                <c:pt idx="50945">
                  <c:v>0.90859639736044195</c:v>
                </c:pt>
                <c:pt idx="50946">
                  <c:v>0.90861423220973703</c:v>
                </c:pt>
                <c:pt idx="50947">
                  <c:v>0.90863206705903299</c:v>
                </c:pt>
                <c:pt idx="50948">
                  <c:v>0.90864990190832795</c:v>
                </c:pt>
                <c:pt idx="50949">
                  <c:v>0.90866773675762402</c:v>
                </c:pt>
                <c:pt idx="50950">
                  <c:v>0.90868557160691898</c:v>
                </c:pt>
                <c:pt idx="50951">
                  <c:v>0.90870340645621495</c:v>
                </c:pt>
                <c:pt idx="50952">
                  <c:v>0.90872124130551102</c:v>
                </c:pt>
                <c:pt idx="50953">
                  <c:v>0.90873907615480598</c:v>
                </c:pt>
                <c:pt idx="50954">
                  <c:v>0.90875691100410205</c:v>
                </c:pt>
                <c:pt idx="50955">
                  <c:v>0.90877474585339701</c:v>
                </c:pt>
                <c:pt idx="50956">
                  <c:v>0.90879258070269298</c:v>
                </c:pt>
                <c:pt idx="50957">
                  <c:v>0.90881041555198805</c:v>
                </c:pt>
                <c:pt idx="50958">
                  <c:v>0.90882825040128401</c:v>
                </c:pt>
                <c:pt idx="50959">
                  <c:v>0.90884608525057897</c:v>
                </c:pt>
                <c:pt idx="50960">
                  <c:v>0.90886392009987504</c:v>
                </c:pt>
                <c:pt idx="50961">
                  <c:v>0.90888175494917001</c:v>
                </c:pt>
                <c:pt idx="50962">
                  <c:v>0.90889958979846597</c:v>
                </c:pt>
                <c:pt idx="50963">
                  <c:v>0.90891742464776104</c:v>
                </c:pt>
                <c:pt idx="50964">
                  <c:v>0.908935259497057</c:v>
                </c:pt>
                <c:pt idx="50965">
                  <c:v>0.90895309434635196</c:v>
                </c:pt>
                <c:pt idx="50966">
                  <c:v>0.90897092919564804</c:v>
                </c:pt>
                <c:pt idx="50967">
                  <c:v>0.908988764044943</c:v>
                </c:pt>
                <c:pt idx="50968">
                  <c:v>0.90900659889423896</c:v>
                </c:pt>
                <c:pt idx="50969">
                  <c:v>0.90902443374353403</c:v>
                </c:pt>
                <c:pt idx="50970">
                  <c:v>0.90904226859282999</c:v>
                </c:pt>
                <c:pt idx="50971">
                  <c:v>0.90906010344212596</c:v>
                </c:pt>
                <c:pt idx="50972">
                  <c:v>0.90907793829142103</c:v>
                </c:pt>
                <c:pt idx="50973">
                  <c:v>0.90909577314071699</c:v>
                </c:pt>
                <c:pt idx="50974">
                  <c:v>0.90911360799001195</c:v>
                </c:pt>
                <c:pt idx="50975">
                  <c:v>0.90913144283930802</c:v>
                </c:pt>
                <c:pt idx="50976">
                  <c:v>0.90914927768860299</c:v>
                </c:pt>
                <c:pt idx="50977">
                  <c:v>0.90916711253789895</c:v>
                </c:pt>
                <c:pt idx="50978">
                  <c:v>0.90918494738719402</c:v>
                </c:pt>
                <c:pt idx="50979">
                  <c:v>0.90920278223648998</c:v>
                </c:pt>
                <c:pt idx="50980">
                  <c:v>0.90922061708578505</c:v>
                </c:pt>
                <c:pt idx="50981">
                  <c:v>0.90923845193508102</c:v>
                </c:pt>
                <c:pt idx="50982">
                  <c:v>0.90925628678437598</c:v>
                </c:pt>
                <c:pt idx="50983">
                  <c:v>0.90927412163367205</c:v>
                </c:pt>
                <c:pt idx="50984">
                  <c:v>0.90929195648296701</c:v>
                </c:pt>
                <c:pt idx="50985">
                  <c:v>0.90930979133226297</c:v>
                </c:pt>
                <c:pt idx="50986">
                  <c:v>0.90932762618155805</c:v>
                </c:pt>
                <c:pt idx="50987">
                  <c:v>0.90934546103085401</c:v>
                </c:pt>
                <c:pt idx="50988">
                  <c:v>0.90936329588014897</c:v>
                </c:pt>
                <c:pt idx="50989">
                  <c:v>0.90938113072944504</c:v>
                </c:pt>
                <c:pt idx="50990">
                  <c:v>0.90939896557874</c:v>
                </c:pt>
                <c:pt idx="50991">
                  <c:v>0.90941680042803597</c:v>
                </c:pt>
                <c:pt idx="50992">
                  <c:v>0.90943463527733104</c:v>
                </c:pt>
                <c:pt idx="50993">
                  <c:v>0.909452470126627</c:v>
                </c:pt>
                <c:pt idx="50994">
                  <c:v>0.90947030497592296</c:v>
                </c:pt>
                <c:pt idx="50995">
                  <c:v>0.90948813982521803</c:v>
                </c:pt>
                <c:pt idx="50996">
                  <c:v>0.909505974674514</c:v>
                </c:pt>
                <c:pt idx="50997">
                  <c:v>0.90952380952380896</c:v>
                </c:pt>
                <c:pt idx="50998">
                  <c:v>0.90954164437310503</c:v>
                </c:pt>
                <c:pt idx="50999">
                  <c:v>0.90955947922239999</c:v>
                </c:pt>
                <c:pt idx="51000">
                  <c:v>0.90957731407169595</c:v>
                </c:pt>
                <c:pt idx="51001">
                  <c:v>0.90959514892099103</c:v>
                </c:pt>
                <c:pt idx="51002">
                  <c:v>0.90961298377028699</c:v>
                </c:pt>
                <c:pt idx="51003">
                  <c:v>0.90963081861958195</c:v>
                </c:pt>
                <c:pt idx="51004">
                  <c:v>0.90964865346887802</c:v>
                </c:pt>
                <c:pt idx="51005">
                  <c:v>0.90966648831817298</c:v>
                </c:pt>
                <c:pt idx="51006">
                  <c:v>0.90968432316746894</c:v>
                </c:pt>
                <c:pt idx="51007">
                  <c:v>0.90970215801676402</c:v>
                </c:pt>
                <c:pt idx="51008">
                  <c:v>0.90971999286605998</c:v>
                </c:pt>
                <c:pt idx="51009">
                  <c:v>0.90973782771535505</c:v>
                </c:pt>
                <c:pt idx="51010">
                  <c:v>0.90975566256465101</c:v>
                </c:pt>
                <c:pt idx="51011">
                  <c:v>0.90977349741394598</c:v>
                </c:pt>
                <c:pt idx="51012">
                  <c:v>0.90979133226324205</c:v>
                </c:pt>
                <c:pt idx="51013">
                  <c:v>0.90980916711253701</c:v>
                </c:pt>
                <c:pt idx="51014">
                  <c:v>0.90982700196183297</c:v>
                </c:pt>
                <c:pt idx="51015">
                  <c:v>0.90984483681112804</c:v>
                </c:pt>
                <c:pt idx="51016">
                  <c:v>0.90986267166042401</c:v>
                </c:pt>
                <c:pt idx="51017">
                  <c:v>0.90988050650971997</c:v>
                </c:pt>
                <c:pt idx="51018">
                  <c:v>0.90989834135901504</c:v>
                </c:pt>
                <c:pt idx="51019">
                  <c:v>0.909916176208311</c:v>
                </c:pt>
                <c:pt idx="51020">
                  <c:v>0.90993401105760596</c:v>
                </c:pt>
                <c:pt idx="51021">
                  <c:v>0.90995184590690203</c:v>
                </c:pt>
                <c:pt idx="51022">
                  <c:v>0.909969680756197</c:v>
                </c:pt>
                <c:pt idx="51023">
                  <c:v>0.90998751560549296</c:v>
                </c:pt>
                <c:pt idx="51024">
                  <c:v>0.91000535045478803</c:v>
                </c:pt>
                <c:pt idx="51025">
                  <c:v>0.91002318530408399</c:v>
                </c:pt>
                <c:pt idx="51026">
                  <c:v>0.91004102015337895</c:v>
                </c:pt>
                <c:pt idx="51027">
                  <c:v>0.91005885500267503</c:v>
                </c:pt>
                <c:pt idx="51028">
                  <c:v>0.91007668985196999</c:v>
                </c:pt>
                <c:pt idx="51029">
                  <c:v>0.91009452470126595</c:v>
                </c:pt>
                <c:pt idx="51030">
                  <c:v>0.91011235955056102</c:v>
                </c:pt>
                <c:pt idx="51031">
                  <c:v>0.91013019439985698</c:v>
                </c:pt>
                <c:pt idx="51032">
                  <c:v>0.91014802924915195</c:v>
                </c:pt>
                <c:pt idx="51033">
                  <c:v>0.91016586409844802</c:v>
                </c:pt>
                <c:pt idx="51034">
                  <c:v>0.91018369894774298</c:v>
                </c:pt>
                <c:pt idx="51035">
                  <c:v>0.91020153379703905</c:v>
                </c:pt>
                <c:pt idx="51036">
                  <c:v>0.91021936864633401</c:v>
                </c:pt>
                <c:pt idx="51037">
                  <c:v>0.91023720349562998</c:v>
                </c:pt>
                <c:pt idx="51038">
                  <c:v>0.91025503834492505</c:v>
                </c:pt>
                <c:pt idx="51039">
                  <c:v>0.91027287319422101</c:v>
                </c:pt>
                <c:pt idx="51040">
                  <c:v>0.91029070804351697</c:v>
                </c:pt>
                <c:pt idx="51041">
                  <c:v>0.91030854289281204</c:v>
                </c:pt>
                <c:pt idx="51042">
                  <c:v>0.91032637774210801</c:v>
                </c:pt>
                <c:pt idx="51043">
                  <c:v>0.91034421259140297</c:v>
                </c:pt>
                <c:pt idx="51044">
                  <c:v>0.91036204744069904</c:v>
                </c:pt>
                <c:pt idx="51045">
                  <c:v>0.910379882289994</c:v>
                </c:pt>
                <c:pt idx="51046">
                  <c:v>0.91039771713928996</c:v>
                </c:pt>
                <c:pt idx="51047">
                  <c:v>0.91041555198858504</c:v>
                </c:pt>
                <c:pt idx="51048">
                  <c:v>0.910433386837881</c:v>
                </c:pt>
                <c:pt idx="51049">
                  <c:v>0.91045122168717596</c:v>
                </c:pt>
                <c:pt idx="51050">
                  <c:v>0.91046905653647203</c:v>
                </c:pt>
                <c:pt idx="51051">
                  <c:v>0.91048689138576699</c:v>
                </c:pt>
                <c:pt idx="51052">
                  <c:v>0.91050472623506296</c:v>
                </c:pt>
                <c:pt idx="51053">
                  <c:v>0.91052256108435803</c:v>
                </c:pt>
                <c:pt idx="51054">
                  <c:v>0.91054039593365399</c:v>
                </c:pt>
                <c:pt idx="51055">
                  <c:v>0.91055823078294895</c:v>
                </c:pt>
                <c:pt idx="51056">
                  <c:v>0.91057606563224502</c:v>
                </c:pt>
                <c:pt idx="51057">
                  <c:v>0.91059390048154099</c:v>
                </c:pt>
                <c:pt idx="51058">
                  <c:v>0.91061173533083595</c:v>
                </c:pt>
                <c:pt idx="51059">
                  <c:v>0.91062957018013202</c:v>
                </c:pt>
                <c:pt idx="51060">
                  <c:v>0.91064740502942698</c:v>
                </c:pt>
                <c:pt idx="51061">
                  <c:v>0.91066523987872305</c:v>
                </c:pt>
                <c:pt idx="51062">
                  <c:v>0.91068307472801802</c:v>
                </c:pt>
                <c:pt idx="51063">
                  <c:v>0.91070090957731398</c:v>
                </c:pt>
                <c:pt idx="51064">
                  <c:v>0.91071874442660905</c:v>
                </c:pt>
                <c:pt idx="51065">
                  <c:v>0.91073657927590501</c:v>
                </c:pt>
                <c:pt idx="51066">
                  <c:v>0.91075441412519997</c:v>
                </c:pt>
                <c:pt idx="51067">
                  <c:v>0.91077224897449605</c:v>
                </c:pt>
                <c:pt idx="51068">
                  <c:v>0.91079008382379101</c:v>
                </c:pt>
                <c:pt idx="51069">
                  <c:v>0.91080791867308697</c:v>
                </c:pt>
                <c:pt idx="51070">
                  <c:v>0.91082575352238204</c:v>
                </c:pt>
                <c:pt idx="51071">
                  <c:v>0.910843588371678</c:v>
                </c:pt>
                <c:pt idx="51072">
                  <c:v>0.91086142322097297</c:v>
                </c:pt>
                <c:pt idx="51073">
                  <c:v>0.91087925807026904</c:v>
                </c:pt>
                <c:pt idx="51074">
                  <c:v>0.910897092919564</c:v>
                </c:pt>
                <c:pt idx="51075">
                  <c:v>0.91091492776885996</c:v>
                </c:pt>
                <c:pt idx="51076">
                  <c:v>0.91093276261815503</c:v>
                </c:pt>
                <c:pt idx="51077">
                  <c:v>0.910950597467451</c:v>
                </c:pt>
                <c:pt idx="51078">
                  <c:v>0.91096843231674696</c:v>
                </c:pt>
                <c:pt idx="51079">
                  <c:v>0.91098626716604203</c:v>
                </c:pt>
                <c:pt idx="51080">
                  <c:v>0.91100410201533799</c:v>
                </c:pt>
                <c:pt idx="51081">
                  <c:v>0.91102193686463295</c:v>
                </c:pt>
                <c:pt idx="51082">
                  <c:v>0.91103977171392903</c:v>
                </c:pt>
                <c:pt idx="51083">
                  <c:v>0.91105760656322399</c:v>
                </c:pt>
                <c:pt idx="51084">
                  <c:v>0.91107544141251995</c:v>
                </c:pt>
                <c:pt idx="51085">
                  <c:v>0.91109327626181502</c:v>
                </c:pt>
                <c:pt idx="51086">
                  <c:v>0.91111111111111098</c:v>
                </c:pt>
                <c:pt idx="51087">
                  <c:v>0.91112894596040594</c:v>
                </c:pt>
                <c:pt idx="51088">
                  <c:v>0.91114678080970202</c:v>
                </c:pt>
                <c:pt idx="51089">
                  <c:v>0.91116461565899698</c:v>
                </c:pt>
                <c:pt idx="51090">
                  <c:v>0.91118245050829305</c:v>
                </c:pt>
                <c:pt idx="51091">
                  <c:v>0.91120028535758801</c:v>
                </c:pt>
                <c:pt idx="51092">
                  <c:v>0.91121812020688397</c:v>
                </c:pt>
                <c:pt idx="51093">
                  <c:v>0.91123595505617905</c:v>
                </c:pt>
                <c:pt idx="51094">
                  <c:v>0.91125378990547501</c:v>
                </c:pt>
                <c:pt idx="51095">
                  <c:v>0.91127162475476997</c:v>
                </c:pt>
                <c:pt idx="51096">
                  <c:v>0.91128945960406604</c:v>
                </c:pt>
                <c:pt idx="51097">
                  <c:v>0.91130729445336101</c:v>
                </c:pt>
                <c:pt idx="51098">
                  <c:v>0.91132512930265697</c:v>
                </c:pt>
                <c:pt idx="51099">
                  <c:v>0.91134296415195204</c:v>
                </c:pt>
                <c:pt idx="51100">
                  <c:v>0.911360799001248</c:v>
                </c:pt>
                <c:pt idx="51101">
                  <c:v>0.91137863385054396</c:v>
                </c:pt>
                <c:pt idx="51102">
                  <c:v>0.91139646869983904</c:v>
                </c:pt>
                <c:pt idx="51103">
                  <c:v>0.911414303549135</c:v>
                </c:pt>
                <c:pt idx="51104">
                  <c:v>0.91143213839842996</c:v>
                </c:pt>
                <c:pt idx="51105">
                  <c:v>0.91144997324772603</c:v>
                </c:pt>
                <c:pt idx="51106">
                  <c:v>0.91146780809702099</c:v>
                </c:pt>
                <c:pt idx="51107">
                  <c:v>0.91148564294631695</c:v>
                </c:pt>
                <c:pt idx="51108">
                  <c:v>0.91150347779561203</c:v>
                </c:pt>
                <c:pt idx="51109">
                  <c:v>0.91152131264490799</c:v>
                </c:pt>
                <c:pt idx="51110">
                  <c:v>0.91153914749420295</c:v>
                </c:pt>
                <c:pt idx="51111">
                  <c:v>0.91155698234349902</c:v>
                </c:pt>
                <c:pt idx="51112">
                  <c:v>0.91157481719279398</c:v>
                </c:pt>
                <c:pt idx="51113">
                  <c:v>0.91159265204208995</c:v>
                </c:pt>
                <c:pt idx="51114">
                  <c:v>0.91161048689138502</c:v>
                </c:pt>
                <c:pt idx="51115">
                  <c:v>0.91162832174068098</c:v>
                </c:pt>
                <c:pt idx="51116">
                  <c:v>0.91164615658997605</c:v>
                </c:pt>
                <c:pt idx="51117">
                  <c:v>0.91166399143927201</c:v>
                </c:pt>
                <c:pt idx="51118">
                  <c:v>0.91168182628856698</c:v>
                </c:pt>
                <c:pt idx="51119">
                  <c:v>0.91169966113786305</c:v>
                </c:pt>
                <c:pt idx="51120">
                  <c:v>0.91171749598715801</c:v>
                </c:pt>
                <c:pt idx="51121">
                  <c:v>0.91173533083645397</c:v>
                </c:pt>
                <c:pt idx="51122">
                  <c:v>0.91175316568574905</c:v>
                </c:pt>
                <c:pt idx="51123">
                  <c:v>0.91177100053504501</c:v>
                </c:pt>
                <c:pt idx="51124">
                  <c:v>0.91178883538434097</c:v>
                </c:pt>
                <c:pt idx="51125">
                  <c:v>0.91180667023363604</c:v>
                </c:pt>
                <c:pt idx="51126">
                  <c:v>0.911824505082932</c:v>
                </c:pt>
                <c:pt idx="51127">
                  <c:v>0.91184233993222696</c:v>
                </c:pt>
                <c:pt idx="51128">
                  <c:v>0.91186017478152304</c:v>
                </c:pt>
                <c:pt idx="51129">
                  <c:v>0.911878009630818</c:v>
                </c:pt>
                <c:pt idx="51130">
                  <c:v>0.91189584448011396</c:v>
                </c:pt>
                <c:pt idx="51131">
                  <c:v>0.91191367932940903</c:v>
                </c:pt>
                <c:pt idx="51132">
                  <c:v>0.91193151417870499</c:v>
                </c:pt>
                <c:pt idx="51133">
                  <c:v>0.91194934902799996</c:v>
                </c:pt>
                <c:pt idx="51134">
                  <c:v>0.91196718387729603</c:v>
                </c:pt>
                <c:pt idx="51135">
                  <c:v>0.91198501872659099</c:v>
                </c:pt>
                <c:pt idx="51136">
                  <c:v>0.91200285357588695</c:v>
                </c:pt>
                <c:pt idx="51137">
                  <c:v>0.91202068842518202</c:v>
                </c:pt>
                <c:pt idx="51138">
                  <c:v>0.91203852327447799</c:v>
                </c:pt>
                <c:pt idx="51139">
                  <c:v>0.91205635812377295</c:v>
                </c:pt>
                <c:pt idx="51140">
                  <c:v>0.91207419297306902</c:v>
                </c:pt>
                <c:pt idx="51141">
                  <c:v>0.91209202782236398</c:v>
                </c:pt>
                <c:pt idx="51142">
                  <c:v>0.91210986267166005</c:v>
                </c:pt>
                <c:pt idx="51143">
                  <c:v>0.91212769752095502</c:v>
                </c:pt>
                <c:pt idx="51144">
                  <c:v>0.91214553237025098</c:v>
                </c:pt>
                <c:pt idx="51145">
                  <c:v>0.91216336721954705</c:v>
                </c:pt>
                <c:pt idx="51146">
                  <c:v>0.91218120206884201</c:v>
                </c:pt>
                <c:pt idx="51147">
                  <c:v>0.91219903691813797</c:v>
                </c:pt>
                <c:pt idx="51148">
                  <c:v>0.91221687176743305</c:v>
                </c:pt>
                <c:pt idx="51149">
                  <c:v>0.91223470661672901</c:v>
                </c:pt>
                <c:pt idx="51150">
                  <c:v>0.91225254146602397</c:v>
                </c:pt>
                <c:pt idx="51151">
                  <c:v>0.91227037631532004</c:v>
                </c:pt>
                <c:pt idx="51152">
                  <c:v>0.912288211164615</c:v>
                </c:pt>
                <c:pt idx="51153">
                  <c:v>0.91230604601391097</c:v>
                </c:pt>
                <c:pt idx="51154">
                  <c:v>0.91232388086320604</c:v>
                </c:pt>
                <c:pt idx="51155">
                  <c:v>0.912341715712502</c:v>
                </c:pt>
                <c:pt idx="51156">
                  <c:v>0.91235955056179696</c:v>
                </c:pt>
                <c:pt idx="51157">
                  <c:v>0.91237738541109303</c:v>
                </c:pt>
                <c:pt idx="51158">
                  <c:v>0.912395220260388</c:v>
                </c:pt>
                <c:pt idx="51159">
                  <c:v>0.91241305510968396</c:v>
                </c:pt>
                <c:pt idx="51160">
                  <c:v>0.91243088995897903</c:v>
                </c:pt>
                <c:pt idx="51161">
                  <c:v>0.91244872480827499</c:v>
                </c:pt>
                <c:pt idx="51162">
                  <c:v>0.91246655965756995</c:v>
                </c:pt>
                <c:pt idx="51163">
                  <c:v>0.91248439450686603</c:v>
                </c:pt>
                <c:pt idx="51164">
                  <c:v>0.91250222935616199</c:v>
                </c:pt>
                <c:pt idx="51165">
                  <c:v>0.91252006420545695</c:v>
                </c:pt>
                <c:pt idx="51166">
                  <c:v>0.91253789905475302</c:v>
                </c:pt>
                <c:pt idx="51167">
                  <c:v>0.91255573390404798</c:v>
                </c:pt>
                <c:pt idx="51168">
                  <c:v>0.91257356875334406</c:v>
                </c:pt>
                <c:pt idx="51169">
                  <c:v>0.91259140360263902</c:v>
                </c:pt>
                <c:pt idx="51170">
                  <c:v>0.91260923845193498</c:v>
                </c:pt>
                <c:pt idx="51171">
                  <c:v>0.91262707330123005</c:v>
                </c:pt>
                <c:pt idx="51172">
                  <c:v>0.91264490815052601</c:v>
                </c:pt>
                <c:pt idx="51173">
                  <c:v>0.91266274299982098</c:v>
                </c:pt>
                <c:pt idx="51174">
                  <c:v>0.91268057784911705</c:v>
                </c:pt>
                <c:pt idx="51175">
                  <c:v>0.91269841269841201</c:v>
                </c:pt>
                <c:pt idx="51176">
                  <c:v>0.91271624754770797</c:v>
                </c:pt>
                <c:pt idx="51177">
                  <c:v>0.91273408239700304</c:v>
                </c:pt>
                <c:pt idx="51178">
                  <c:v>0.912751917246299</c:v>
                </c:pt>
                <c:pt idx="51179">
                  <c:v>0.91276975209559397</c:v>
                </c:pt>
                <c:pt idx="51180">
                  <c:v>0.91278758694489004</c:v>
                </c:pt>
                <c:pt idx="51181">
                  <c:v>0.912805421794185</c:v>
                </c:pt>
                <c:pt idx="51182">
                  <c:v>0.91282325664348096</c:v>
                </c:pt>
                <c:pt idx="51183">
                  <c:v>0.91284109149277604</c:v>
                </c:pt>
                <c:pt idx="51184">
                  <c:v>0.912858926342072</c:v>
                </c:pt>
                <c:pt idx="51185">
                  <c:v>0.91287676119136796</c:v>
                </c:pt>
                <c:pt idx="51186">
                  <c:v>0.91289459604066303</c:v>
                </c:pt>
                <c:pt idx="51187">
                  <c:v>0.91291243088995899</c:v>
                </c:pt>
                <c:pt idx="51188">
                  <c:v>0.91293026573925395</c:v>
                </c:pt>
                <c:pt idx="51189">
                  <c:v>0.91294810058855003</c:v>
                </c:pt>
                <c:pt idx="51190">
                  <c:v>0.91296593543784499</c:v>
                </c:pt>
                <c:pt idx="51191">
                  <c:v>0.91298377028714095</c:v>
                </c:pt>
                <c:pt idx="51192">
                  <c:v>0.91300160513643602</c:v>
                </c:pt>
                <c:pt idx="51193">
                  <c:v>0.91301943998573198</c:v>
                </c:pt>
                <c:pt idx="51194">
                  <c:v>0.91303727483502695</c:v>
                </c:pt>
                <c:pt idx="51195">
                  <c:v>0.91305510968432302</c:v>
                </c:pt>
                <c:pt idx="51196">
                  <c:v>0.91307294453361798</c:v>
                </c:pt>
                <c:pt idx="51197">
                  <c:v>0.91309077938291405</c:v>
                </c:pt>
                <c:pt idx="51198">
                  <c:v>0.91310861423220901</c:v>
                </c:pt>
                <c:pt idx="51199">
                  <c:v>0.91312644908150498</c:v>
                </c:pt>
                <c:pt idx="51200">
                  <c:v>0.91314428393080005</c:v>
                </c:pt>
                <c:pt idx="51201">
                  <c:v>0.91316211878009601</c:v>
                </c:pt>
                <c:pt idx="51202">
                  <c:v>0.91317995362939097</c:v>
                </c:pt>
                <c:pt idx="51203">
                  <c:v>0.91319778847868704</c:v>
                </c:pt>
                <c:pt idx="51204">
                  <c:v>0.91321562332798201</c:v>
                </c:pt>
                <c:pt idx="51205">
                  <c:v>0.91323345817727797</c:v>
                </c:pt>
                <c:pt idx="51206">
                  <c:v>0.91325129302657304</c:v>
                </c:pt>
                <c:pt idx="51207">
                  <c:v>0.913269127875869</c:v>
                </c:pt>
                <c:pt idx="51208">
                  <c:v>0.91328696272516496</c:v>
                </c:pt>
                <c:pt idx="51209">
                  <c:v>0.91330479757446004</c:v>
                </c:pt>
                <c:pt idx="51210">
                  <c:v>0.913322632423756</c:v>
                </c:pt>
                <c:pt idx="51211">
                  <c:v>0.91334046727305096</c:v>
                </c:pt>
                <c:pt idx="51212">
                  <c:v>0.91335830212234703</c:v>
                </c:pt>
                <c:pt idx="51213">
                  <c:v>0.91337613697164199</c:v>
                </c:pt>
                <c:pt idx="51214">
                  <c:v>0.91339397182093796</c:v>
                </c:pt>
                <c:pt idx="51215">
                  <c:v>0.91341180667023303</c:v>
                </c:pt>
                <c:pt idx="51216">
                  <c:v>0.91342964151952899</c:v>
                </c:pt>
                <c:pt idx="51217">
                  <c:v>0.91344747636882395</c:v>
                </c:pt>
                <c:pt idx="51218">
                  <c:v>0.91346531121812002</c:v>
                </c:pt>
                <c:pt idx="51219">
                  <c:v>0.91348314606741499</c:v>
                </c:pt>
                <c:pt idx="51220">
                  <c:v>0.91350098091671095</c:v>
                </c:pt>
                <c:pt idx="51221">
                  <c:v>0.91351881576600602</c:v>
                </c:pt>
                <c:pt idx="51222">
                  <c:v>0.91353665061530198</c:v>
                </c:pt>
                <c:pt idx="51223">
                  <c:v>0.91355448546459705</c:v>
                </c:pt>
                <c:pt idx="51224">
                  <c:v>0.91357232031389302</c:v>
                </c:pt>
                <c:pt idx="51225">
                  <c:v>0.91359015516318798</c:v>
                </c:pt>
                <c:pt idx="51226">
                  <c:v>0.91360799001248405</c:v>
                </c:pt>
                <c:pt idx="51227">
                  <c:v>0.91362582486177901</c:v>
                </c:pt>
                <c:pt idx="51228">
                  <c:v>0.91364365971107497</c:v>
                </c:pt>
                <c:pt idx="51229">
                  <c:v>0.91366149456037005</c:v>
                </c:pt>
                <c:pt idx="51230">
                  <c:v>0.91367932940966601</c:v>
                </c:pt>
                <c:pt idx="51231">
                  <c:v>0.91369716425896197</c:v>
                </c:pt>
                <c:pt idx="51232">
                  <c:v>0.91371499910825704</c:v>
                </c:pt>
                <c:pt idx="51233">
                  <c:v>0.913732833957553</c:v>
                </c:pt>
                <c:pt idx="51234">
                  <c:v>0.91375066880684797</c:v>
                </c:pt>
                <c:pt idx="51235">
                  <c:v>0.91376850365614404</c:v>
                </c:pt>
                <c:pt idx="51236">
                  <c:v>0.913786338505439</c:v>
                </c:pt>
                <c:pt idx="51237">
                  <c:v>0.91380417335473496</c:v>
                </c:pt>
                <c:pt idx="51238">
                  <c:v>0.91382200820403003</c:v>
                </c:pt>
                <c:pt idx="51239">
                  <c:v>0.913839843053326</c:v>
                </c:pt>
                <c:pt idx="51240">
                  <c:v>0.91385767790262096</c:v>
                </c:pt>
                <c:pt idx="51241">
                  <c:v>0.91387551275191703</c:v>
                </c:pt>
                <c:pt idx="51242">
                  <c:v>0.91389334760121199</c:v>
                </c:pt>
                <c:pt idx="51243">
                  <c:v>0.91391118245050795</c:v>
                </c:pt>
                <c:pt idx="51244">
                  <c:v>0.91392901729980303</c:v>
                </c:pt>
                <c:pt idx="51245">
                  <c:v>0.91394685214909899</c:v>
                </c:pt>
                <c:pt idx="51246">
                  <c:v>0.91396468699839395</c:v>
                </c:pt>
                <c:pt idx="51247">
                  <c:v>0.91398252184769002</c:v>
                </c:pt>
                <c:pt idx="51248">
                  <c:v>0.91400035669698498</c:v>
                </c:pt>
                <c:pt idx="51249">
                  <c:v>0.91401819154628094</c:v>
                </c:pt>
                <c:pt idx="51250">
                  <c:v>0.91403602639557602</c:v>
                </c:pt>
                <c:pt idx="51251">
                  <c:v>0.91405386124487198</c:v>
                </c:pt>
                <c:pt idx="51252">
                  <c:v>0.91407169609416805</c:v>
                </c:pt>
                <c:pt idx="51253">
                  <c:v>0.91408953094346301</c:v>
                </c:pt>
                <c:pt idx="51254">
                  <c:v>0.91410736579275897</c:v>
                </c:pt>
                <c:pt idx="51255">
                  <c:v>0.91412520064205405</c:v>
                </c:pt>
                <c:pt idx="51256">
                  <c:v>0.91414303549135001</c:v>
                </c:pt>
                <c:pt idx="51257">
                  <c:v>0.91416087034064497</c:v>
                </c:pt>
                <c:pt idx="51258">
                  <c:v>0.91417870518994104</c:v>
                </c:pt>
                <c:pt idx="51259">
                  <c:v>0.91419654003923601</c:v>
                </c:pt>
                <c:pt idx="51260">
                  <c:v>0.91421437488853197</c:v>
                </c:pt>
                <c:pt idx="51261">
                  <c:v>0.91423220973782704</c:v>
                </c:pt>
                <c:pt idx="51262">
                  <c:v>0.914250044587123</c:v>
                </c:pt>
                <c:pt idx="51263">
                  <c:v>0.91426787943641796</c:v>
                </c:pt>
                <c:pt idx="51264">
                  <c:v>0.91428571428571404</c:v>
                </c:pt>
                <c:pt idx="51265">
                  <c:v>0.914303549135009</c:v>
                </c:pt>
                <c:pt idx="51266">
                  <c:v>0.91432138398430496</c:v>
                </c:pt>
                <c:pt idx="51267">
                  <c:v>0.91433921883360003</c:v>
                </c:pt>
                <c:pt idx="51268">
                  <c:v>0.91435705368289599</c:v>
                </c:pt>
                <c:pt idx="51269">
                  <c:v>0.91437488853219195</c:v>
                </c:pt>
                <c:pt idx="51270">
                  <c:v>0.91439272338148703</c:v>
                </c:pt>
                <c:pt idx="51271">
                  <c:v>0.91441055823078299</c:v>
                </c:pt>
                <c:pt idx="51272">
                  <c:v>0.91442839308007795</c:v>
                </c:pt>
                <c:pt idx="51273">
                  <c:v>0.91444622792937402</c:v>
                </c:pt>
                <c:pt idx="51274">
                  <c:v>0.91446406277866898</c:v>
                </c:pt>
                <c:pt idx="51275">
                  <c:v>0.91448189762796495</c:v>
                </c:pt>
                <c:pt idx="51276">
                  <c:v>0.91449973247726002</c:v>
                </c:pt>
                <c:pt idx="51277">
                  <c:v>0.91451756732655598</c:v>
                </c:pt>
                <c:pt idx="51278">
                  <c:v>0.91453540217585105</c:v>
                </c:pt>
                <c:pt idx="51279">
                  <c:v>0.91455323702514701</c:v>
                </c:pt>
                <c:pt idx="51280">
                  <c:v>0.91457107187444198</c:v>
                </c:pt>
                <c:pt idx="51281">
                  <c:v>0.91458890672373805</c:v>
                </c:pt>
                <c:pt idx="51282">
                  <c:v>0.91460674157303301</c:v>
                </c:pt>
                <c:pt idx="51283">
                  <c:v>0.91462457642232897</c:v>
                </c:pt>
                <c:pt idx="51284">
                  <c:v>0.91464241127162405</c:v>
                </c:pt>
                <c:pt idx="51285">
                  <c:v>0.91466024612092001</c:v>
                </c:pt>
                <c:pt idx="51286">
                  <c:v>0.91467808097021497</c:v>
                </c:pt>
                <c:pt idx="51287">
                  <c:v>0.91469591581951104</c:v>
                </c:pt>
                <c:pt idx="51288">
                  <c:v>0.914713750668806</c:v>
                </c:pt>
                <c:pt idx="51289">
                  <c:v>0.91473158551810196</c:v>
                </c:pt>
                <c:pt idx="51290">
                  <c:v>0.91474942036739704</c:v>
                </c:pt>
                <c:pt idx="51291">
                  <c:v>0.914767255216693</c:v>
                </c:pt>
                <c:pt idx="51292">
                  <c:v>0.91478509006598896</c:v>
                </c:pt>
                <c:pt idx="51293">
                  <c:v>0.91480292491528403</c:v>
                </c:pt>
                <c:pt idx="51294">
                  <c:v>0.91482075976457999</c:v>
                </c:pt>
                <c:pt idx="51295">
                  <c:v>0.91483859461387496</c:v>
                </c:pt>
                <c:pt idx="51296">
                  <c:v>0.91485642946317103</c:v>
                </c:pt>
                <c:pt idx="51297">
                  <c:v>0.91487426431246599</c:v>
                </c:pt>
                <c:pt idx="51298">
                  <c:v>0.91489209916176195</c:v>
                </c:pt>
                <c:pt idx="51299">
                  <c:v>0.91490993401105702</c:v>
                </c:pt>
                <c:pt idx="51300">
                  <c:v>0.91492776886035299</c:v>
                </c:pt>
                <c:pt idx="51301">
                  <c:v>0.91494560370964795</c:v>
                </c:pt>
                <c:pt idx="51302">
                  <c:v>0.91496343855894402</c:v>
                </c:pt>
                <c:pt idx="51303">
                  <c:v>0.91498127340823898</c:v>
                </c:pt>
                <c:pt idx="51304">
                  <c:v>0.91499910825753505</c:v>
                </c:pt>
                <c:pt idx="51305">
                  <c:v>0.91501694310683002</c:v>
                </c:pt>
                <c:pt idx="51306">
                  <c:v>0.91503477795612598</c:v>
                </c:pt>
                <c:pt idx="51307">
                  <c:v>0.91505261280542105</c:v>
                </c:pt>
                <c:pt idx="51308">
                  <c:v>0.91507044765471701</c:v>
                </c:pt>
                <c:pt idx="51309">
                  <c:v>0.91508828250401197</c:v>
                </c:pt>
                <c:pt idx="51310">
                  <c:v>0.91510611735330805</c:v>
                </c:pt>
                <c:pt idx="51311">
                  <c:v>0.91512395220260301</c:v>
                </c:pt>
                <c:pt idx="51312">
                  <c:v>0.91514178705189897</c:v>
                </c:pt>
                <c:pt idx="51313">
                  <c:v>0.91515962190119404</c:v>
                </c:pt>
                <c:pt idx="51314">
                  <c:v>0.91517745675049</c:v>
                </c:pt>
                <c:pt idx="51315">
                  <c:v>0.91519529159978596</c:v>
                </c:pt>
                <c:pt idx="51316">
                  <c:v>0.91521312644908104</c:v>
                </c:pt>
                <c:pt idx="51317">
                  <c:v>0.915230961298377</c:v>
                </c:pt>
                <c:pt idx="51318">
                  <c:v>0.91524879614767196</c:v>
                </c:pt>
                <c:pt idx="51319">
                  <c:v>0.91526663099696803</c:v>
                </c:pt>
                <c:pt idx="51320">
                  <c:v>0.915284465846263</c:v>
                </c:pt>
                <c:pt idx="51321">
                  <c:v>0.91530230069555896</c:v>
                </c:pt>
                <c:pt idx="51322">
                  <c:v>0.91532013554485403</c:v>
                </c:pt>
                <c:pt idx="51323">
                  <c:v>0.91533797039414999</c:v>
                </c:pt>
                <c:pt idx="51324">
                  <c:v>0.91535580524344495</c:v>
                </c:pt>
                <c:pt idx="51325">
                  <c:v>0.91537364009274103</c:v>
                </c:pt>
                <c:pt idx="51326">
                  <c:v>0.91539147494203599</c:v>
                </c:pt>
                <c:pt idx="51327">
                  <c:v>0.91540930979133195</c:v>
                </c:pt>
                <c:pt idx="51328">
                  <c:v>0.91542714464062702</c:v>
                </c:pt>
                <c:pt idx="51329">
                  <c:v>0.91544497948992298</c:v>
                </c:pt>
                <c:pt idx="51330">
                  <c:v>0.91546281433921795</c:v>
                </c:pt>
                <c:pt idx="51331">
                  <c:v>0.91548064918851402</c:v>
                </c:pt>
                <c:pt idx="51332">
                  <c:v>0.91549848403780898</c:v>
                </c:pt>
                <c:pt idx="51333">
                  <c:v>0.91551631888710505</c:v>
                </c:pt>
                <c:pt idx="51334">
                  <c:v>0.91553415373640001</c:v>
                </c:pt>
                <c:pt idx="51335">
                  <c:v>0.91555198858569597</c:v>
                </c:pt>
                <c:pt idx="51336">
                  <c:v>0.91556982343499105</c:v>
                </c:pt>
                <c:pt idx="51337">
                  <c:v>0.91558765828428701</c:v>
                </c:pt>
                <c:pt idx="51338">
                  <c:v>0.91560549313358297</c:v>
                </c:pt>
                <c:pt idx="51339">
                  <c:v>0.91562332798287804</c:v>
                </c:pt>
                <c:pt idx="51340">
                  <c:v>0.915641162832174</c:v>
                </c:pt>
                <c:pt idx="51341">
                  <c:v>0.91565899768146897</c:v>
                </c:pt>
                <c:pt idx="51342">
                  <c:v>0.91567683253076504</c:v>
                </c:pt>
                <c:pt idx="51343">
                  <c:v>0.91569466738006</c:v>
                </c:pt>
                <c:pt idx="51344">
                  <c:v>0.91571250222935596</c:v>
                </c:pt>
                <c:pt idx="51345">
                  <c:v>0.91573033707865104</c:v>
                </c:pt>
                <c:pt idx="51346">
                  <c:v>0.915748171927947</c:v>
                </c:pt>
                <c:pt idx="51347">
                  <c:v>0.91576600677724196</c:v>
                </c:pt>
                <c:pt idx="51348">
                  <c:v>0.91578384162653803</c:v>
                </c:pt>
                <c:pt idx="51349">
                  <c:v>0.91580167647583299</c:v>
                </c:pt>
                <c:pt idx="51350">
                  <c:v>0.91581951132512895</c:v>
                </c:pt>
                <c:pt idx="51351">
                  <c:v>0.91583734617442403</c:v>
                </c:pt>
                <c:pt idx="51352">
                  <c:v>0.91585518102371999</c:v>
                </c:pt>
                <c:pt idx="51353">
                  <c:v>0.91587301587301495</c:v>
                </c:pt>
                <c:pt idx="51354">
                  <c:v>0.91589085072231102</c:v>
                </c:pt>
                <c:pt idx="51355">
                  <c:v>0.91590868557160598</c:v>
                </c:pt>
                <c:pt idx="51356">
                  <c:v>0.91592652042090195</c:v>
                </c:pt>
                <c:pt idx="51357">
                  <c:v>0.91594435527019802</c:v>
                </c:pt>
                <c:pt idx="51358">
                  <c:v>0.91596219011949298</c:v>
                </c:pt>
                <c:pt idx="51359">
                  <c:v>0.91598002496878905</c:v>
                </c:pt>
                <c:pt idx="51360">
                  <c:v>0.91599785981808401</c:v>
                </c:pt>
                <c:pt idx="51361">
                  <c:v>0.91601569466737998</c:v>
                </c:pt>
                <c:pt idx="51362">
                  <c:v>0.91603352951667505</c:v>
                </c:pt>
                <c:pt idx="51363">
                  <c:v>0.91605136436597101</c:v>
                </c:pt>
                <c:pt idx="51364">
                  <c:v>0.91606919921526597</c:v>
                </c:pt>
                <c:pt idx="51365">
                  <c:v>0.91608703406456204</c:v>
                </c:pt>
                <c:pt idx="51366">
                  <c:v>0.91610486891385701</c:v>
                </c:pt>
                <c:pt idx="51367">
                  <c:v>0.91612270376315297</c:v>
                </c:pt>
                <c:pt idx="51368">
                  <c:v>0.91614053861244804</c:v>
                </c:pt>
                <c:pt idx="51369">
                  <c:v>0.916158373461744</c:v>
                </c:pt>
                <c:pt idx="51370">
                  <c:v>0.91617620831103896</c:v>
                </c:pt>
                <c:pt idx="51371">
                  <c:v>0.91619404316033504</c:v>
                </c:pt>
                <c:pt idx="51372">
                  <c:v>0.91621187800963</c:v>
                </c:pt>
                <c:pt idx="51373">
                  <c:v>0.91622971285892596</c:v>
                </c:pt>
                <c:pt idx="51374">
                  <c:v>0.91624754770822103</c:v>
                </c:pt>
                <c:pt idx="51375">
                  <c:v>0.91626538255751699</c:v>
                </c:pt>
                <c:pt idx="51376">
                  <c:v>0.91628321740681296</c:v>
                </c:pt>
                <c:pt idx="51377">
                  <c:v>0.91630105225610803</c:v>
                </c:pt>
                <c:pt idx="51378">
                  <c:v>0.91631888710540399</c:v>
                </c:pt>
                <c:pt idx="51379">
                  <c:v>0.91633672195469895</c:v>
                </c:pt>
                <c:pt idx="51380">
                  <c:v>0.91635455680399502</c:v>
                </c:pt>
                <c:pt idx="51381">
                  <c:v>0.91637239165328999</c:v>
                </c:pt>
                <c:pt idx="51382">
                  <c:v>0.91639022650258595</c:v>
                </c:pt>
                <c:pt idx="51383">
                  <c:v>0.91640806135188102</c:v>
                </c:pt>
                <c:pt idx="51384">
                  <c:v>0.91642589620117698</c:v>
                </c:pt>
                <c:pt idx="51385">
                  <c:v>0.91644373105047205</c:v>
                </c:pt>
                <c:pt idx="51386">
                  <c:v>0.91646156589976802</c:v>
                </c:pt>
                <c:pt idx="51387">
                  <c:v>0.91647940074906298</c:v>
                </c:pt>
                <c:pt idx="51388">
                  <c:v>0.91649723559835905</c:v>
                </c:pt>
                <c:pt idx="51389">
                  <c:v>0.91651507044765401</c:v>
                </c:pt>
                <c:pt idx="51390">
                  <c:v>0.91653290529694997</c:v>
                </c:pt>
                <c:pt idx="51391">
                  <c:v>0.91655074014624505</c:v>
                </c:pt>
                <c:pt idx="51392">
                  <c:v>0.91656857499554101</c:v>
                </c:pt>
                <c:pt idx="51393">
                  <c:v>0.91658640984483597</c:v>
                </c:pt>
                <c:pt idx="51394">
                  <c:v>0.91660424469413204</c:v>
                </c:pt>
                <c:pt idx="51395">
                  <c:v>0.916622079543427</c:v>
                </c:pt>
                <c:pt idx="51396">
                  <c:v>0.91663991439272297</c:v>
                </c:pt>
                <c:pt idx="51397">
                  <c:v>0.91665774924201804</c:v>
                </c:pt>
                <c:pt idx="51398">
                  <c:v>0.916675584091314</c:v>
                </c:pt>
                <c:pt idx="51399">
                  <c:v>0.91669341894060996</c:v>
                </c:pt>
                <c:pt idx="51400">
                  <c:v>0.91671125378990503</c:v>
                </c:pt>
                <c:pt idx="51401">
                  <c:v>0.916729088639201</c:v>
                </c:pt>
                <c:pt idx="51402">
                  <c:v>0.91674692348849596</c:v>
                </c:pt>
                <c:pt idx="51403">
                  <c:v>0.91676475833779203</c:v>
                </c:pt>
                <c:pt idx="51404">
                  <c:v>0.91678259318708699</c:v>
                </c:pt>
                <c:pt idx="51405">
                  <c:v>0.91680042803638295</c:v>
                </c:pt>
                <c:pt idx="51406">
                  <c:v>0.91681826288567803</c:v>
                </c:pt>
                <c:pt idx="51407">
                  <c:v>0.91683609773497399</c:v>
                </c:pt>
                <c:pt idx="51408">
                  <c:v>0.91685393258426895</c:v>
                </c:pt>
                <c:pt idx="51409">
                  <c:v>0.91687176743356502</c:v>
                </c:pt>
                <c:pt idx="51410">
                  <c:v>0.91688960228285998</c:v>
                </c:pt>
                <c:pt idx="51411">
                  <c:v>0.91690743713215594</c:v>
                </c:pt>
                <c:pt idx="51412">
                  <c:v>0.91692527198145102</c:v>
                </c:pt>
                <c:pt idx="51413">
                  <c:v>0.91694310683074698</c:v>
                </c:pt>
                <c:pt idx="51414">
                  <c:v>0.91696094168004205</c:v>
                </c:pt>
                <c:pt idx="51415">
                  <c:v>0.91697877652933801</c:v>
                </c:pt>
                <c:pt idx="51416">
                  <c:v>0.91699661137863298</c:v>
                </c:pt>
                <c:pt idx="51417">
                  <c:v>0.91701444622792905</c:v>
                </c:pt>
                <c:pt idx="51418">
                  <c:v>0.91703228107722401</c:v>
                </c:pt>
                <c:pt idx="51419">
                  <c:v>0.91705011592651997</c:v>
                </c:pt>
                <c:pt idx="51420">
                  <c:v>0.91706795077581504</c:v>
                </c:pt>
                <c:pt idx="51421">
                  <c:v>0.91708578562511101</c:v>
                </c:pt>
                <c:pt idx="51422">
                  <c:v>0.91710362047440697</c:v>
                </c:pt>
                <c:pt idx="51423">
                  <c:v>0.91712145532370204</c:v>
                </c:pt>
                <c:pt idx="51424">
                  <c:v>0.917139290172998</c:v>
                </c:pt>
                <c:pt idx="51425">
                  <c:v>0.91715712502229296</c:v>
                </c:pt>
                <c:pt idx="51426">
                  <c:v>0.91717495987158904</c:v>
                </c:pt>
                <c:pt idx="51427">
                  <c:v>0.917192794720884</c:v>
                </c:pt>
                <c:pt idx="51428">
                  <c:v>0.91721062957017996</c:v>
                </c:pt>
                <c:pt idx="51429">
                  <c:v>0.91722846441947503</c:v>
                </c:pt>
                <c:pt idx="51430">
                  <c:v>0.91724629926877099</c:v>
                </c:pt>
                <c:pt idx="51431">
                  <c:v>0.91726413411806595</c:v>
                </c:pt>
                <c:pt idx="51432">
                  <c:v>0.91728196896736203</c:v>
                </c:pt>
                <c:pt idx="51433">
                  <c:v>0.91729980381665699</c:v>
                </c:pt>
                <c:pt idx="51434">
                  <c:v>0.91731763866595295</c:v>
                </c:pt>
                <c:pt idx="51435">
                  <c:v>0.91733547351524802</c:v>
                </c:pt>
                <c:pt idx="51436">
                  <c:v>0.91735330836454398</c:v>
                </c:pt>
                <c:pt idx="51437">
                  <c:v>0.91737114321383895</c:v>
                </c:pt>
                <c:pt idx="51438">
                  <c:v>0.91738897806313502</c:v>
                </c:pt>
                <c:pt idx="51439">
                  <c:v>0.91740681291242998</c:v>
                </c:pt>
                <c:pt idx="51440">
                  <c:v>0.91742464776172605</c:v>
                </c:pt>
                <c:pt idx="51441">
                  <c:v>0.91744248261102102</c:v>
                </c:pt>
                <c:pt idx="51442">
                  <c:v>0.91746031746031698</c:v>
                </c:pt>
                <c:pt idx="51443">
                  <c:v>0.91747815230961205</c:v>
                </c:pt>
                <c:pt idx="51444">
                  <c:v>0.91749598715890801</c:v>
                </c:pt>
                <c:pt idx="51445">
                  <c:v>0.91751382200820397</c:v>
                </c:pt>
                <c:pt idx="51446">
                  <c:v>0.91753165685749905</c:v>
                </c:pt>
                <c:pt idx="51447">
                  <c:v>0.91754949170679501</c:v>
                </c:pt>
                <c:pt idx="51448">
                  <c:v>0.91756732655608997</c:v>
                </c:pt>
                <c:pt idx="51449">
                  <c:v>0.91758516140538604</c:v>
                </c:pt>
                <c:pt idx="51450">
                  <c:v>0.917602996254681</c:v>
                </c:pt>
                <c:pt idx="51451">
                  <c:v>0.91762083110397696</c:v>
                </c:pt>
                <c:pt idx="51452">
                  <c:v>0.91763866595327204</c:v>
                </c:pt>
                <c:pt idx="51453">
                  <c:v>0.917656500802568</c:v>
                </c:pt>
                <c:pt idx="51454">
                  <c:v>0.91767433565186296</c:v>
                </c:pt>
                <c:pt idx="51455">
                  <c:v>0.91769217050115903</c:v>
                </c:pt>
                <c:pt idx="51456">
                  <c:v>0.91771000535045399</c:v>
                </c:pt>
                <c:pt idx="51457">
                  <c:v>0.91772784019974996</c:v>
                </c:pt>
                <c:pt idx="51458">
                  <c:v>0.91774567504904503</c:v>
                </c:pt>
                <c:pt idx="51459">
                  <c:v>0.91776350989834099</c:v>
                </c:pt>
                <c:pt idx="51460">
                  <c:v>0.91778134474763595</c:v>
                </c:pt>
                <c:pt idx="51461">
                  <c:v>0.91779917959693202</c:v>
                </c:pt>
                <c:pt idx="51462">
                  <c:v>0.91781701444622699</c:v>
                </c:pt>
                <c:pt idx="51463">
                  <c:v>0.91783484929552295</c:v>
                </c:pt>
                <c:pt idx="51464">
                  <c:v>0.91785268414481902</c:v>
                </c:pt>
                <c:pt idx="51465">
                  <c:v>0.91787051899411398</c:v>
                </c:pt>
                <c:pt idx="51466">
                  <c:v>0.91788835384341005</c:v>
                </c:pt>
                <c:pt idx="51467">
                  <c:v>0.91790618869270502</c:v>
                </c:pt>
                <c:pt idx="51468">
                  <c:v>0.91792402354200098</c:v>
                </c:pt>
                <c:pt idx="51469">
                  <c:v>0.91794185839129605</c:v>
                </c:pt>
                <c:pt idx="51470">
                  <c:v>0.91795969324059201</c:v>
                </c:pt>
                <c:pt idx="51471">
                  <c:v>0.91797752808988697</c:v>
                </c:pt>
                <c:pt idx="51472">
                  <c:v>0.91799536293918305</c:v>
                </c:pt>
                <c:pt idx="51473">
                  <c:v>0.91801319778847801</c:v>
                </c:pt>
                <c:pt idx="51474">
                  <c:v>0.91803103263777397</c:v>
                </c:pt>
                <c:pt idx="51475">
                  <c:v>0.91804886748706904</c:v>
                </c:pt>
                <c:pt idx="51476">
                  <c:v>0.918066702336365</c:v>
                </c:pt>
                <c:pt idx="51477">
                  <c:v>0.91808453718565997</c:v>
                </c:pt>
                <c:pt idx="51478">
                  <c:v>0.91810237203495604</c:v>
                </c:pt>
                <c:pt idx="51479">
                  <c:v>0.918120206884251</c:v>
                </c:pt>
                <c:pt idx="51480">
                  <c:v>0.91813804173354696</c:v>
                </c:pt>
                <c:pt idx="51481">
                  <c:v>0.91815587658284203</c:v>
                </c:pt>
                <c:pt idx="51482">
                  <c:v>0.918173711432138</c:v>
                </c:pt>
                <c:pt idx="51483">
                  <c:v>0.91819154628143396</c:v>
                </c:pt>
                <c:pt idx="51484">
                  <c:v>0.91820938113072903</c:v>
                </c:pt>
                <c:pt idx="51485">
                  <c:v>0.91822721598002499</c:v>
                </c:pt>
                <c:pt idx="51486">
                  <c:v>0.91824505082931995</c:v>
                </c:pt>
                <c:pt idx="51487">
                  <c:v>0.91826288567861603</c:v>
                </c:pt>
                <c:pt idx="51488">
                  <c:v>0.91828072052791099</c:v>
                </c:pt>
                <c:pt idx="51489">
                  <c:v>0.91829855537720695</c:v>
                </c:pt>
                <c:pt idx="51490">
                  <c:v>0.91831639022650202</c:v>
                </c:pt>
                <c:pt idx="51491">
                  <c:v>0.91833422507579798</c:v>
                </c:pt>
                <c:pt idx="51492">
                  <c:v>0.91835205992509295</c:v>
                </c:pt>
                <c:pt idx="51493">
                  <c:v>0.91836989477438902</c:v>
                </c:pt>
                <c:pt idx="51494">
                  <c:v>0.91838772962368398</c:v>
                </c:pt>
                <c:pt idx="51495">
                  <c:v>0.91840556447298005</c:v>
                </c:pt>
                <c:pt idx="51496">
                  <c:v>0.91842339932227501</c:v>
                </c:pt>
                <c:pt idx="51497">
                  <c:v>0.91844123417157097</c:v>
                </c:pt>
                <c:pt idx="51498">
                  <c:v>0.91845906902086605</c:v>
                </c:pt>
                <c:pt idx="51499">
                  <c:v>0.91847690387016201</c:v>
                </c:pt>
                <c:pt idx="51500">
                  <c:v>0.91849473871945697</c:v>
                </c:pt>
                <c:pt idx="51501">
                  <c:v>0.91851257356875304</c:v>
                </c:pt>
                <c:pt idx="51502">
                  <c:v>0.91853040841804801</c:v>
                </c:pt>
                <c:pt idx="51503">
                  <c:v>0.91854824326734397</c:v>
                </c:pt>
                <c:pt idx="51504">
                  <c:v>0.91856607811663904</c:v>
                </c:pt>
                <c:pt idx="51505">
                  <c:v>0.918583912965935</c:v>
                </c:pt>
                <c:pt idx="51506">
                  <c:v>0.91860174781523096</c:v>
                </c:pt>
                <c:pt idx="51507">
                  <c:v>0.91861958266452604</c:v>
                </c:pt>
                <c:pt idx="51508">
                  <c:v>0.918637417513822</c:v>
                </c:pt>
                <c:pt idx="51509">
                  <c:v>0.91865525236311696</c:v>
                </c:pt>
                <c:pt idx="51510">
                  <c:v>0.91867308721241303</c:v>
                </c:pt>
                <c:pt idx="51511">
                  <c:v>0.91869092206170799</c:v>
                </c:pt>
                <c:pt idx="51512">
                  <c:v>0.91870875691100395</c:v>
                </c:pt>
                <c:pt idx="51513">
                  <c:v>0.91872659176029903</c:v>
                </c:pt>
                <c:pt idx="51514">
                  <c:v>0.91874442660959499</c:v>
                </c:pt>
                <c:pt idx="51515">
                  <c:v>0.91876226145888995</c:v>
                </c:pt>
                <c:pt idx="51516">
                  <c:v>0.91878009630818602</c:v>
                </c:pt>
                <c:pt idx="51517">
                  <c:v>0.91879793115748098</c:v>
                </c:pt>
                <c:pt idx="51518">
                  <c:v>0.91881576600677695</c:v>
                </c:pt>
                <c:pt idx="51519">
                  <c:v>0.91883360085607202</c:v>
                </c:pt>
                <c:pt idx="51520">
                  <c:v>0.91885143570536798</c:v>
                </c:pt>
                <c:pt idx="51521">
                  <c:v>0.91886927055466305</c:v>
                </c:pt>
                <c:pt idx="51522">
                  <c:v>0.91888710540395901</c:v>
                </c:pt>
                <c:pt idx="51523">
                  <c:v>0.91890494025325398</c:v>
                </c:pt>
                <c:pt idx="51524">
                  <c:v>0.91892277510255005</c:v>
                </c:pt>
                <c:pt idx="51525">
                  <c:v>0.91894060995184501</c:v>
                </c:pt>
                <c:pt idx="51526">
                  <c:v>0.91895844480114097</c:v>
                </c:pt>
                <c:pt idx="51527">
                  <c:v>0.91897627965043605</c:v>
                </c:pt>
                <c:pt idx="51528">
                  <c:v>0.91899411449973201</c:v>
                </c:pt>
                <c:pt idx="51529">
                  <c:v>0.91901194934902797</c:v>
                </c:pt>
                <c:pt idx="51530">
                  <c:v>0.91902978419832304</c:v>
                </c:pt>
                <c:pt idx="51531">
                  <c:v>0.919047619047619</c:v>
                </c:pt>
                <c:pt idx="51532">
                  <c:v>0.91906545389691396</c:v>
                </c:pt>
                <c:pt idx="51533">
                  <c:v>0.91908328874621004</c:v>
                </c:pt>
                <c:pt idx="51534">
                  <c:v>0.919101123595505</c:v>
                </c:pt>
                <c:pt idx="51535">
                  <c:v>0.91911895844480096</c:v>
                </c:pt>
                <c:pt idx="51536">
                  <c:v>0.91913679329409603</c:v>
                </c:pt>
                <c:pt idx="51537">
                  <c:v>0.91915462814339199</c:v>
                </c:pt>
                <c:pt idx="51538">
                  <c:v>0.91917246299268696</c:v>
                </c:pt>
                <c:pt idx="51539">
                  <c:v>0.91919029784198303</c:v>
                </c:pt>
                <c:pt idx="51540">
                  <c:v>0.91920813269127799</c:v>
                </c:pt>
                <c:pt idx="51541">
                  <c:v>0.91922596754057395</c:v>
                </c:pt>
                <c:pt idx="51542">
                  <c:v>0.91924380238986902</c:v>
                </c:pt>
                <c:pt idx="51543">
                  <c:v>0.91926163723916499</c:v>
                </c:pt>
                <c:pt idx="51544">
                  <c:v>0.91927947208845995</c:v>
                </c:pt>
                <c:pt idx="51545">
                  <c:v>0.91929730693775602</c:v>
                </c:pt>
                <c:pt idx="51546">
                  <c:v>0.91931514178705098</c:v>
                </c:pt>
                <c:pt idx="51547">
                  <c:v>0.91933297663634705</c:v>
                </c:pt>
                <c:pt idx="51548">
                  <c:v>0.91935081148564202</c:v>
                </c:pt>
                <c:pt idx="51549">
                  <c:v>0.91936864633493798</c:v>
                </c:pt>
                <c:pt idx="51550">
                  <c:v>0.91938648118423305</c:v>
                </c:pt>
                <c:pt idx="51551">
                  <c:v>0.91940431603352901</c:v>
                </c:pt>
                <c:pt idx="51552">
                  <c:v>0.91942215088282497</c:v>
                </c:pt>
                <c:pt idx="51553">
                  <c:v>0.91943998573212005</c:v>
                </c:pt>
                <c:pt idx="51554">
                  <c:v>0.91945782058141601</c:v>
                </c:pt>
                <c:pt idx="51555">
                  <c:v>0.91947565543071097</c:v>
                </c:pt>
                <c:pt idx="51556">
                  <c:v>0.91949349028000704</c:v>
                </c:pt>
                <c:pt idx="51557">
                  <c:v>0.919511325129302</c:v>
                </c:pt>
                <c:pt idx="51558">
                  <c:v>0.91952915997859797</c:v>
                </c:pt>
                <c:pt idx="51559">
                  <c:v>0.91954699482789304</c:v>
                </c:pt>
                <c:pt idx="51560">
                  <c:v>0.919564829677189</c:v>
                </c:pt>
                <c:pt idx="51561">
                  <c:v>0.91958266452648396</c:v>
                </c:pt>
                <c:pt idx="51562">
                  <c:v>0.91960049937578003</c:v>
                </c:pt>
                <c:pt idx="51563">
                  <c:v>0.919618334225075</c:v>
                </c:pt>
                <c:pt idx="51564">
                  <c:v>0.91963616907437096</c:v>
                </c:pt>
                <c:pt idx="51565">
                  <c:v>0.91965400392366603</c:v>
                </c:pt>
                <c:pt idx="51566">
                  <c:v>0.91967183877296199</c:v>
                </c:pt>
                <c:pt idx="51567">
                  <c:v>0.91968967362225695</c:v>
                </c:pt>
                <c:pt idx="51568">
                  <c:v>0.91970750847155303</c:v>
                </c:pt>
                <c:pt idx="51569">
                  <c:v>0.91972534332084899</c:v>
                </c:pt>
                <c:pt idx="51570">
                  <c:v>0.91974317817014395</c:v>
                </c:pt>
                <c:pt idx="51571">
                  <c:v>0.91976101301944002</c:v>
                </c:pt>
                <c:pt idx="51572">
                  <c:v>0.91977884786873498</c:v>
                </c:pt>
                <c:pt idx="51573">
                  <c:v>0.91979668271803094</c:v>
                </c:pt>
                <c:pt idx="51574">
                  <c:v>0.91981451756732602</c:v>
                </c:pt>
                <c:pt idx="51575">
                  <c:v>0.91983235241662198</c:v>
                </c:pt>
                <c:pt idx="51576">
                  <c:v>0.91985018726591705</c:v>
                </c:pt>
                <c:pt idx="51577">
                  <c:v>0.91986802211521301</c:v>
                </c:pt>
                <c:pt idx="51578">
                  <c:v>0.91988585696450798</c:v>
                </c:pt>
                <c:pt idx="51579">
                  <c:v>0.91990369181380405</c:v>
                </c:pt>
                <c:pt idx="51580">
                  <c:v>0.91992152666309901</c:v>
                </c:pt>
                <c:pt idx="51581">
                  <c:v>0.91993936151239497</c:v>
                </c:pt>
                <c:pt idx="51582">
                  <c:v>0.91995719636169004</c:v>
                </c:pt>
                <c:pt idx="51583">
                  <c:v>0.91997503121098601</c:v>
                </c:pt>
                <c:pt idx="51584">
                  <c:v>0.91999286606028097</c:v>
                </c:pt>
                <c:pt idx="51585">
                  <c:v>0.92001070090957704</c:v>
                </c:pt>
                <c:pt idx="51586">
                  <c:v>0.920028535758872</c:v>
                </c:pt>
                <c:pt idx="51587">
                  <c:v>0.92004637060816796</c:v>
                </c:pt>
                <c:pt idx="51588">
                  <c:v>0.92006420545746304</c:v>
                </c:pt>
                <c:pt idx="51589">
                  <c:v>0.920082040306759</c:v>
                </c:pt>
                <c:pt idx="51590">
                  <c:v>0.92009987515605496</c:v>
                </c:pt>
                <c:pt idx="51591">
                  <c:v>0.92011771000535003</c:v>
                </c:pt>
                <c:pt idx="51592">
                  <c:v>0.92013554485464599</c:v>
                </c:pt>
                <c:pt idx="51593">
                  <c:v>0.92015337970394095</c:v>
                </c:pt>
                <c:pt idx="51594">
                  <c:v>0.92017121455323703</c:v>
                </c:pt>
                <c:pt idx="51595">
                  <c:v>0.92018904940253199</c:v>
                </c:pt>
                <c:pt idx="51596">
                  <c:v>0.92020688425182795</c:v>
                </c:pt>
                <c:pt idx="51597">
                  <c:v>0.92022471910112302</c:v>
                </c:pt>
                <c:pt idx="51598">
                  <c:v>0.92024255395041898</c:v>
                </c:pt>
                <c:pt idx="51599">
                  <c:v>0.92026038879971395</c:v>
                </c:pt>
                <c:pt idx="51600">
                  <c:v>0.92027822364901002</c:v>
                </c:pt>
                <c:pt idx="51601">
                  <c:v>0.92029605849830498</c:v>
                </c:pt>
                <c:pt idx="51602">
                  <c:v>0.92031389334760105</c:v>
                </c:pt>
                <c:pt idx="51603">
                  <c:v>0.92033172819689602</c:v>
                </c:pt>
                <c:pt idx="51604">
                  <c:v>0.92034956304619198</c:v>
                </c:pt>
                <c:pt idx="51605">
                  <c:v>0.92036739789548705</c:v>
                </c:pt>
                <c:pt idx="51606">
                  <c:v>0.92038523274478301</c:v>
                </c:pt>
                <c:pt idx="51607">
                  <c:v>0.92040306759407797</c:v>
                </c:pt>
                <c:pt idx="51608">
                  <c:v>0.92042090244337404</c:v>
                </c:pt>
                <c:pt idx="51609">
                  <c:v>0.92043873729266901</c:v>
                </c:pt>
                <c:pt idx="51610">
                  <c:v>0.92045657214196497</c:v>
                </c:pt>
                <c:pt idx="51611">
                  <c:v>0.92047440699126004</c:v>
                </c:pt>
                <c:pt idx="51612">
                  <c:v>0.920492241840556</c:v>
                </c:pt>
                <c:pt idx="51613">
                  <c:v>0.92051007668985196</c:v>
                </c:pt>
                <c:pt idx="51614">
                  <c:v>0.92052791153914704</c:v>
                </c:pt>
                <c:pt idx="51615">
                  <c:v>0.920545746388443</c:v>
                </c:pt>
                <c:pt idx="51616">
                  <c:v>0.92056358123773796</c:v>
                </c:pt>
                <c:pt idx="51617">
                  <c:v>0.92058141608703403</c:v>
                </c:pt>
                <c:pt idx="51618">
                  <c:v>0.92059925093632899</c:v>
                </c:pt>
                <c:pt idx="51619">
                  <c:v>0.92061708578562496</c:v>
                </c:pt>
                <c:pt idx="51620">
                  <c:v>0.92063492063492003</c:v>
                </c:pt>
                <c:pt idx="51621">
                  <c:v>0.92065275548421599</c:v>
                </c:pt>
                <c:pt idx="51622">
                  <c:v>0.92067059033351095</c:v>
                </c:pt>
                <c:pt idx="51623">
                  <c:v>0.92068842518280702</c:v>
                </c:pt>
                <c:pt idx="51624">
                  <c:v>0.92070626003210199</c:v>
                </c:pt>
                <c:pt idx="51625">
                  <c:v>0.92072409488139795</c:v>
                </c:pt>
                <c:pt idx="51626">
                  <c:v>0.92074192973069302</c:v>
                </c:pt>
                <c:pt idx="51627">
                  <c:v>0.92075976457998898</c:v>
                </c:pt>
                <c:pt idx="51628">
                  <c:v>0.92077759942928405</c:v>
                </c:pt>
                <c:pt idx="51629">
                  <c:v>0.92079543427858002</c:v>
                </c:pt>
                <c:pt idx="51630">
                  <c:v>0.92081326912787498</c:v>
                </c:pt>
                <c:pt idx="51631">
                  <c:v>0.92083110397717105</c:v>
                </c:pt>
                <c:pt idx="51632">
                  <c:v>0.92084893882646601</c:v>
                </c:pt>
                <c:pt idx="51633">
                  <c:v>0.92086677367576197</c:v>
                </c:pt>
                <c:pt idx="51634">
                  <c:v>0.92088460852505705</c:v>
                </c:pt>
                <c:pt idx="51635">
                  <c:v>0.92090244337435301</c:v>
                </c:pt>
                <c:pt idx="51636">
                  <c:v>0.92092027822364897</c:v>
                </c:pt>
                <c:pt idx="51637">
                  <c:v>0.92093811307294404</c:v>
                </c:pt>
                <c:pt idx="51638">
                  <c:v>0.92095594792224</c:v>
                </c:pt>
                <c:pt idx="51639">
                  <c:v>0.92097378277153497</c:v>
                </c:pt>
                <c:pt idx="51640">
                  <c:v>0.92099161762083104</c:v>
                </c:pt>
                <c:pt idx="51641">
                  <c:v>0.921009452470126</c:v>
                </c:pt>
                <c:pt idx="51642">
                  <c:v>0.92102728731942196</c:v>
                </c:pt>
                <c:pt idx="51643">
                  <c:v>0.92104512216871703</c:v>
                </c:pt>
                <c:pt idx="51644">
                  <c:v>0.921062957018013</c:v>
                </c:pt>
                <c:pt idx="51645">
                  <c:v>0.92108079186730796</c:v>
                </c:pt>
                <c:pt idx="51646">
                  <c:v>0.92109862671660403</c:v>
                </c:pt>
                <c:pt idx="51647">
                  <c:v>0.92111646156589899</c:v>
                </c:pt>
                <c:pt idx="51648">
                  <c:v>0.92113429641519495</c:v>
                </c:pt>
                <c:pt idx="51649">
                  <c:v>0.92115213126449003</c:v>
                </c:pt>
                <c:pt idx="51650">
                  <c:v>0.92116996611378599</c:v>
                </c:pt>
                <c:pt idx="51651">
                  <c:v>0.92118780096308095</c:v>
                </c:pt>
                <c:pt idx="51652">
                  <c:v>0.92120563581237702</c:v>
                </c:pt>
                <c:pt idx="51653">
                  <c:v>0.92122347066167198</c:v>
                </c:pt>
                <c:pt idx="51654">
                  <c:v>0.92124130551096794</c:v>
                </c:pt>
                <c:pt idx="51655">
                  <c:v>0.92125914036026302</c:v>
                </c:pt>
                <c:pt idx="51656">
                  <c:v>0.92127697520955898</c:v>
                </c:pt>
                <c:pt idx="51657">
                  <c:v>0.92129481005885505</c:v>
                </c:pt>
                <c:pt idx="51658">
                  <c:v>0.92131264490815001</c:v>
                </c:pt>
                <c:pt idx="51659">
                  <c:v>0.92133047975744597</c:v>
                </c:pt>
                <c:pt idx="51660">
                  <c:v>0.92134831460674105</c:v>
                </c:pt>
                <c:pt idx="51661">
                  <c:v>0.92136614945603701</c:v>
                </c:pt>
                <c:pt idx="51662">
                  <c:v>0.92138398430533197</c:v>
                </c:pt>
                <c:pt idx="51663">
                  <c:v>0.92140181915462804</c:v>
                </c:pt>
                <c:pt idx="51664">
                  <c:v>0.92141965400392301</c:v>
                </c:pt>
                <c:pt idx="51665">
                  <c:v>0.92143748885321897</c:v>
                </c:pt>
                <c:pt idx="51666">
                  <c:v>0.92145532370251404</c:v>
                </c:pt>
                <c:pt idx="51667">
                  <c:v>0.92147315855181</c:v>
                </c:pt>
                <c:pt idx="51668">
                  <c:v>0.92149099340110496</c:v>
                </c:pt>
                <c:pt idx="51669">
                  <c:v>0.92150882825040104</c:v>
                </c:pt>
                <c:pt idx="51670">
                  <c:v>0.921526663099696</c:v>
                </c:pt>
                <c:pt idx="51671">
                  <c:v>0.92154449794899196</c:v>
                </c:pt>
                <c:pt idx="51672">
                  <c:v>0.92156233279828703</c:v>
                </c:pt>
                <c:pt idx="51673">
                  <c:v>0.92158016764758299</c:v>
                </c:pt>
                <c:pt idx="51674">
                  <c:v>0.92159800249687895</c:v>
                </c:pt>
                <c:pt idx="51675">
                  <c:v>0.92161583734617403</c:v>
                </c:pt>
                <c:pt idx="51676">
                  <c:v>0.92163367219546999</c:v>
                </c:pt>
                <c:pt idx="51677">
                  <c:v>0.92165150704476495</c:v>
                </c:pt>
                <c:pt idx="51678">
                  <c:v>0.92166934189406102</c:v>
                </c:pt>
                <c:pt idx="51679">
                  <c:v>0.92168717674335598</c:v>
                </c:pt>
                <c:pt idx="51680">
                  <c:v>0.92170501159265195</c:v>
                </c:pt>
                <c:pt idx="51681">
                  <c:v>0.92172284644194702</c:v>
                </c:pt>
                <c:pt idx="51682">
                  <c:v>0.92174068129124298</c:v>
                </c:pt>
                <c:pt idx="51683">
                  <c:v>0.92175851614053805</c:v>
                </c:pt>
                <c:pt idx="51684">
                  <c:v>0.92177635098983401</c:v>
                </c:pt>
                <c:pt idx="51685">
                  <c:v>0.92179418583912898</c:v>
                </c:pt>
                <c:pt idx="51686">
                  <c:v>0.92181202068842505</c:v>
                </c:pt>
                <c:pt idx="51687">
                  <c:v>0.92182985553772001</c:v>
                </c:pt>
                <c:pt idx="51688">
                  <c:v>0.92184769038701597</c:v>
                </c:pt>
                <c:pt idx="51689">
                  <c:v>0.92186552523631105</c:v>
                </c:pt>
                <c:pt idx="51690">
                  <c:v>0.92188336008560701</c:v>
                </c:pt>
                <c:pt idx="51691">
                  <c:v>0.92190119493490197</c:v>
                </c:pt>
                <c:pt idx="51692">
                  <c:v>0.92191902978419804</c:v>
                </c:pt>
                <c:pt idx="51693">
                  <c:v>0.921936864633493</c:v>
                </c:pt>
                <c:pt idx="51694">
                  <c:v>0.92195469948278896</c:v>
                </c:pt>
                <c:pt idx="51695">
                  <c:v>0.92197253433208404</c:v>
                </c:pt>
                <c:pt idx="51696">
                  <c:v>0.92199036918138</c:v>
                </c:pt>
                <c:pt idx="51697">
                  <c:v>0.92200820403067596</c:v>
                </c:pt>
                <c:pt idx="51698">
                  <c:v>0.92202603887997103</c:v>
                </c:pt>
                <c:pt idx="51699">
                  <c:v>0.92204387372926699</c:v>
                </c:pt>
                <c:pt idx="51700">
                  <c:v>0.92206170857856196</c:v>
                </c:pt>
                <c:pt idx="51701">
                  <c:v>0.92207954342785803</c:v>
                </c:pt>
                <c:pt idx="51702">
                  <c:v>0.92209737827715299</c:v>
                </c:pt>
                <c:pt idx="51703">
                  <c:v>0.92211521312644895</c:v>
                </c:pt>
                <c:pt idx="51704">
                  <c:v>0.92213304797574402</c:v>
                </c:pt>
                <c:pt idx="51705">
                  <c:v>0.92215088282503999</c:v>
                </c:pt>
                <c:pt idx="51706">
                  <c:v>0.92216871767433495</c:v>
                </c:pt>
                <c:pt idx="51707">
                  <c:v>0.92218655252363102</c:v>
                </c:pt>
                <c:pt idx="51708">
                  <c:v>0.92220438737292598</c:v>
                </c:pt>
                <c:pt idx="51709">
                  <c:v>0.92222222222222205</c:v>
                </c:pt>
                <c:pt idx="51710">
                  <c:v>0.92224005707151702</c:v>
                </c:pt>
                <c:pt idx="51711">
                  <c:v>0.92225789192081298</c:v>
                </c:pt>
                <c:pt idx="51712">
                  <c:v>0.92227572677010805</c:v>
                </c:pt>
                <c:pt idx="51713">
                  <c:v>0.92229356161940401</c:v>
                </c:pt>
                <c:pt idx="51714">
                  <c:v>0.92231139646869897</c:v>
                </c:pt>
                <c:pt idx="51715">
                  <c:v>0.92232923131799505</c:v>
                </c:pt>
                <c:pt idx="51716">
                  <c:v>0.92234706616729001</c:v>
                </c:pt>
                <c:pt idx="51717">
                  <c:v>0.92236490101658597</c:v>
                </c:pt>
                <c:pt idx="51718">
                  <c:v>0.92238273586588104</c:v>
                </c:pt>
                <c:pt idx="51719">
                  <c:v>0.922400570715177</c:v>
                </c:pt>
                <c:pt idx="51720">
                  <c:v>0.92241840556447297</c:v>
                </c:pt>
                <c:pt idx="51721">
                  <c:v>0.92243624041376804</c:v>
                </c:pt>
                <c:pt idx="51722">
                  <c:v>0.922454075263064</c:v>
                </c:pt>
                <c:pt idx="51723">
                  <c:v>0.92247191011235896</c:v>
                </c:pt>
                <c:pt idx="51724">
                  <c:v>0.92248974496165503</c:v>
                </c:pt>
                <c:pt idx="51725">
                  <c:v>0.92250757981095</c:v>
                </c:pt>
                <c:pt idx="51726">
                  <c:v>0.92252541466024596</c:v>
                </c:pt>
                <c:pt idx="51727">
                  <c:v>0.92254324950954103</c:v>
                </c:pt>
                <c:pt idx="51728">
                  <c:v>0.92256108435883699</c:v>
                </c:pt>
                <c:pt idx="51729">
                  <c:v>0.92257891920813195</c:v>
                </c:pt>
                <c:pt idx="51730">
                  <c:v>0.92259675405742803</c:v>
                </c:pt>
                <c:pt idx="51731">
                  <c:v>0.92261458890672299</c:v>
                </c:pt>
                <c:pt idx="51732">
                  <c:v>0.92263242375601895</c:v>
                </c:pt>
                <c:pt idx="51733">
                  <c:v>0.92265025860531402</c:v>
                </c:pt>
                <c:pt idx="51734">
                  <c:v>0.92266809345460998</c:v>
                </c:pt>
                <c:pt idx="51735">
                  <c:v>0.92268592830390495</c:v>
                </c:pt>
                <c:pt idx="51736">
                  <c:v>0.92270376315320102</c:v>
                </c:pt>
                <c:pt idx="51737">
                  <c:v>0.92272159800249598</c:v>
                </c:pt>
                <c:pt idx="51738">
                  <c:v>0.92273943285179205</c:v>
                </c:pt>
                <c:pt idx="51739">
                  <c:v>0.92275726770108701</c:v>
                </c:pt>
                <c:pt idx="51740">
                  <c:v>0.92277510255038298</c:v>
                </c:pt>
                <c:pt idx="51741">
                  <c:v>0.92279293739967805</c:v>
                </c:pt>
                <c:pt idx="51742">
                  <c:v>0.92281077224897401</c:v>
                </c:pt>
                <c:pt idx="51743">
                  <c:v>0.92282860709826997</c:v>
                </c:pt>
                <c:pt idx="51744">
                  <c:v>0.92284644194756504</c:v>
                </c:pt>
                <c:pt idx="51745">
                  <c:v>0.92286427679686101</c:v>
                </c:pt>
                <c:pt idx="51746">
                  <c:v>0.92288211164615597</c:v>
                </c:pt>
                <c:pt idx="51747">
                  <c:v>0.92289994649545204</c:v>
                </c:pt>
                <c:pt idx="51748">
                  <c:v>0.922917781344747</c:v>
                </c:pt>
                <c:pt idx="51749">
                  <c:v>0.92293561619404296</c:v>
                </c:pt>
                <c:pt idx="51750">
                  <c:v>0.92295345104333804</c:v>
                </c:pt>
                <c:pt idx="51751">
                  <c:v>0.922971285892634</c:v>
                </c:pt>
                <c:pt idx="51752">
                  <c:v>0.92298912074192896</c:v>
                </c:pt>
                <c:pt idx="51753">
                  <c:v>0.92300695559122503</c:v>
                </c:pt>
                <c:pt idx="51754">
                  <c:v>0.92302479044051999</c:v>
                </c:pt>
                <c:pt idx="51755">
                  <c:v>0.92304262528981595</c:v>
                </c:pt>
                <c:pt idx="51756">
                  <c:v>0.92306046013911103</c:v>
                </c:pt>
                <c:pt idx="51757">
                  <c:v>0.92307829498840699</c:v>
                </c:pt>
                <c:pt idx="51758">
                  <c:v>0.92309612983770195</c:v>
                </c:pt>
                <c:pt idx="51759">
                  <c:v>0.92311396468699802</c:v>
                </c:pt>
                <c:pt idx="51760">
                  <c:v>0.92313179953629299</c:v>
                </c:pt>
                <c:pt idx="51761">
                  <c:v>0.92314963438558895</c:v>
                </c:pt>
                <c:pt idx="51762">
                  <c:v>0.92316746923488502</c:v>
                </c:pt>
                <c:pt idx="51763">
                  <c:v>0.92318530408417998</c:v>
                </c:pt>
                <c:pt idx="51764">
                  <c:v>0.92320313893347605</c:v>
                </c:pt>
                <c:pt idx="51765">
                  <c:v>0.92322097378277101</c:v>
                </c:pt>
                <c:pt idx="51766">
                  <c:v>0.92323880863206698</c:v>
                </c:pt>
                <c:pt idx="51767">
                  <c:v>0.92325664348136205</c:v>
                </c:pt>
                <c:pt idx="51768">
                  <c:v>0.92327447833065801</c:v>
                </c:pt>
                <c:pt idx="51769">
                  <c:v>0.92329231317995297</c:v>
                </c:pt>
                <c:pt idx="51770">
                  <c:v>0.92331014802924904</c:v>
                </c:pt>
                <c:pt idx="51771">
                  <c:v>0.92332798287854401</c:v>
                </c:pt>
                <c:pt idx="51772">
                  <c:v>0.92334581772783997</c:v>
                </c:pt>
                <c:pt idx="51773">
                  <c:v>0.92336365257713504</c:v>
                </c:pt>
                <c:pt idx="51774">
                  <c:v>0.923381487426431</c:v>
                </c:pt>
                <c:pt idx="51775">
                  <c:v>0.92339932227572596</c:v>
                </c:pt>
                <c:pt idx="51776">
                  <c:v>0.92341715712502204</c:v>
                </c:pt>
                <c:pt idx="51777">
                  <c:v>0.923434991974317</c:v>
                </c:pt>
                <c:pt idx="51778">
                  <c:v>0.92345282682361296</c:v>
                </c:pt>
                <c:pt idx="51779">
                  <c:v>0.92347066167290803</c:v>
                </c:pt>
                <c:pt idx="51780">
                  <c:v>0.92348849652220399</c:v>
                </c:pt>
                <c:pt idx="51781">
                  <c:v>0.92350633137149996</c:v>
                </c:pt>
                <c:pt idx="51782">
                  <c:v>0.92352416622079503</c:v>
                </c:pt>
                <c:pt idx="51783">
                  <c:v>0.92354200107009099</c:v>
                </c:pt>
                <c:pt idx="51784">
                  <c:v>0.92355983591938595</c:v>
                </c:pt>
                <c:pt idx="51785">
                  <c:v>0.92357767076868202</c:v>
                </c:pt>
                <c:pt idx="51786">
                  <c:v>0.92359550561797699</c:v>
                </c:pt>
                <c:pt idx="51787">
                  <c:v>0.92361334046727295</c:v>
                </c:pt>
                <c:pt idx="51788">
                  <c:v>0.92363117531656802</c:v>
                </c:pt>
                <c:pt idx="51789">
                  <c:v>0.92364901016586398</c:v>
                </c:pt>
                <c:pt idx="51790">
                  <c:v>0.92366684501515905</c:v>
                </c:pt>
                <c:pt idx="51791">
                  <c:v>0.92368467986445502</c:v>
                </c:pt>
                <c:pt idx="51792">
                  <c:v>0.92370251471374998</c:v>
                </c:pt>
                <c:pt idx="51793">
                  <c:v>0.92372034956304605</c:v>
                </c:pt>
                <c:pt idx="51794">
                  <c:v>0.92373818441234101</c:v>
                </c:pt>
                <c:pt idx="51795">
                  <c:v>0.92375601926163697</c:v>
                </c:pt>
                <c:pt idx="51796">
                  <c:v>0.92377385411093205</c:v>
                </c:pt>
                <c:pt idx="51797">
                  <c:v>0.92379168896022801</c:v>
                </c:pt>
                <c:pt idx="51798">
                  <c:v>0.92380952380952297</c:v>
                </c:pt>
                <c:pt idx="51799">
                  <c:v>0.92382735865881904</c:v>
                </c:pt>
                <c:pt idx="51800">
                  <c:v>0.923845193508114</c:v>
                </c:pt>
                <c:pt idx="51801">
                  <c:v>0.92386302835740997</c:v>
                </c:pt>
                <c:pt idx="51802">
                  <c:v>0.92388086320670504</c:v>
                </c:pt>
                <c:pt idx="51803">
                  <c:v>0.923898698056001</c:v>
                </c:pt>
                <c:pt idx="51804">
                  <c:v>0.92391653290529696</c:v>
                </c:pt>
                <c:pt idx="51805">
                  <c:v>0.92393436775459203</c:v>
                </c:pt>
                <c:pt idx="51806">
                  <c:v>0.923952202603888</c:v>
                </c:pt>
                <c:pt idx="51807">
                  <c:v>0.92397003745318296</c:v>
                </c:pt>
                <c:pt idx="51808">
                  <c:v>0.92398787230247903</c:v>
                </c:pt>
                <c:pt idx="51809">
                  <c:v>0.92400570715177399</c:v>
                </c:pt>
                <c:pt idx="51810">
                  <c:v>0.92402354200106995</c:v>
                </c:pt>
                <c:pt idx="51811">
                  <c:v>0.92404137685036503</c:v>
                </c:pt>
                <c:pt idx="51812">
                  <c:v>0.92405921169966099</c:v>
                </c:pt>
                <c:pt idx="51813">
                  <c:v>0.92407704654895595</c:v>
                </c:pt>
                <c:pt idx="51814">
                  <c:v>0.92409488139825202</c:v>
                </c:pt>
                <c:pt idx="51815">
                  <c:v>0.92411271624754698</c:v>
                </c:pt>
                <c:pt idx="51816">
                  <c:v>0.92413055109684294</c:v>
                </c:pt>
                <c:pt idx="51817">
                  <c:v>0.92414838594613802</c:v>
                </c:pt>
                <c:pt idx="51818">
                  <c:v>0.92416622079543398</c:v>
                </c:pt>
                <c:pt idx="51819">
                  <c:v>0.92418405564472905</c:v>
                </c:pt>
                <c:pt idx="51820">
                  <c:v>0.92420189049402501</c:v>
                </c:pt>
                <c:pt idx="51821">
                  <c:v>0.92421972534331998</c:v>
                </c:pt>
                <c:pt idx="51822">
                  <c:v>0.92423756019261605</c:v>
                </c:pt>
                <c:pt idx="51823">
                  <c:v>0.92425539504191101</c:v>
                </c:pt>
                <c:pt idx="51824">
                  <c:v>0.92427322989120697</c:v>
                </c:pt>
                <c:pt idx="51825">
                  <c:v>0.92429106474050204</c:v>
                </c:pt>
                <c:pt idx="51826">
                  <c:v>0.92430889958979801</c:v>
                </c:pt>
                <c:pt idx="51827">
                  <c:v>0.92432673443909397</c:v>
                </c:pt>
                <c:pt idx="51828">
                  <c:v>0.92434456928838904</c:v>
                </c:pt>
                <c:pt idx="51829">
                  <c:v>0.924362404137685</c:v>
                </c:pt>
                <c:pt idx="51830">
                  <c:v>0.92438023898697996</c:v>
                </c:pt>
                <c:pt idx="51831">
                  <c:v>0.92439807383627604</c:v>
                </c:pt>
                <c:pt idx="51832">
                  <c:v>0.924415908685571</c:v>
                </c:pt>
                <c:pt idx="51833">
                  <c:v>0.92443374353486696</c:v>
                </c:pt>
                <c:pt idx="51834">
                  <c:v>0.92445157838416203</c:v>
                </c:pt>
                <c:pt idx="51835">
                  <c:v>0.92446941323345799</c:v>
                </c:pt>
                <c:pt idx="51836">
                  <c:v>0.92448724808275295</c:v>
                </c:pt>
                <c:pt idx="51837">
                  <c:v>0.92450508293204903</c:v>
                </c:pt>
                <c:pt idx="51838">
                  <c:v>0.92452291778134399</c:v>
                </c:pt>
                <c:pt idx="51839">
                  <c:v>0.92454075263063995</c:v>
                </c:pt>
                <c:pt idx="51840">
                  <c:v>0.92455858747993502</c:v>
                </c:pt>
                <c:pt idx="51841">
                  <c:v>0.92457642232923098</c:v>
                </c:pt>
                <c:pt idx="51842">
                  <c:v>0.92459425717852595</c:v>
                </c:pt>
                <c:pt idx="51843">
                  <c:v>0.92461209202782202</c:v>
                </c:pt>
                <c:pt idx="51844">
                  <c:v>0.92462992687711698</c:v>
                </c:pt>
                <c:pt idx="51845">
                  <c:v>0.92464776172641305</c:v>
                </c:pt>
                <c:pt idx="51846">
                  <c:v>0.92466559657570802</c:v>
                </c:pt>
                <c:pt idx="51847">
                  <c:v>0.92468343142500398</c:v>
                </c:pt>
                <c:pt idx="51848">
                  <c:v>0.92470126627429905</c:v>
                </c:pt>
                <c:pt idx="51849">
                  <c:v>0.92471910112359501</c:v>
                </c:pt>
                <c:pt idx="51850">
                  <c:v>0.92473693597289097</c:v>
                </c:pt>
                <c:pt idx="51851">
                  <c:v>0.92475477082218605</c:v>
                </c:pt>
                <c:pt idx="51852">
                  <c:v>0.92477260567148201</c:v>
                </c:pt>
                <c:pt idx="51853">
                  <c:v>0.92479044052077697</c:v>
                </c:pt>
                <c:pt idx="51854">
                  <c:v>0.92480827537007304</c:v>
                </c:pt>
                <c:pt idx="51855">
                  <c:v>0.924826110219368</c:v>
                </c:pt>
                <c:pt idx="51856">
                  <c:v>0.92484394506866396</c:v>
                </c:pt>
                <c:pt idx="51857">
                  <c:v>0.92486177991795904</c:v>
                </c:pt>
                <c:pt idx="51858">
                  <c:v>0.924879614767255</c:v>
                </c:pt>
                <c:pt idx="51859">
                  <c:v>0.92489744961654996</c:v>
                </c:pt>
                <c:pt idx="51860">
                  <c:v>0.92491528446584603</c:v>
                </c:pt>
                <c:pt idx="51861">
                  <c:v>0.92493311931514099</c:v>
                </c:pt>
                <c:pt idx="51862">
                  <c:v>0.92495095416443696</c:v>
                </c:pt>
                <c:pt idx="51863">
                  <c:v>0.92496878901373203</c:v>
                </c:pt>
                <c:pt idx="51864">
                  <c:v>0.92498662386302799</c:v>
                </c:pt>
                <c:pt idx="51865">
                  <c:v>0.92500445871232295</c:v>
                </c:pt>
                <c:pt idx="51866">
                  <c:v>0.92502229356161902</c:v>
                </c:pt>
                <c:pt idx="51867">
                  <c:v>0.92504012841091399</c:v>
                </c:pt>
                <c:pt idx="51868">
                  <c:v>0.92505796326020995</c:v>
                </c:pt>
                <c:pt idx="51869">
                  <c:v>0.92507579810950602</c:v>
                </c:pt>
                <c:pt idx="51870">
                  <c:v>0.92509363295880098</c:v>
                </c:pt>
                <c:pt idx="51871">
                  <c:v>0.92511146780809705</c:v>
                </c:pt>
                <c:pt idx="51872">
                  <c:v>0.92512930265739202</c:v>
                </c:pt>
                <c:pt idx="51873">
                  <c:v>0.92514713750668798</c:v>
                </c:pt>
                <c:pt idx="51874">
                  <c:v>0.92516497235598305</c:v>
                </c:pt>
                <c:pt idx="51875">
                  <c:v>0.92518280720527901</c:v>
                </c:pt>
                <c:pt idx="51876">
                  <c:v>0.92520064205457397</c:v>
                </c:pt>
                <c:pt idx="51877">
                  <c:v>0.92521847690387005</c:v>
                </c:pt>
                <c:pt idx="51878">
                  <c:v>0.92523631175316501</c:v>
                </c:pt>
                <c:pt idx="51879">
                  <c:v>0.92525414660246097</c:v>
                </c:pt>
                <c:pt idx="51880">
                  <c:v>0.92527198145175604</c:v>
                </c:pt>
                <c:pt idx="51881">
                  <c:v>0.925289816301052</c:v>
                </c:pt>
                <c:pt idx="51882">
                  <c:v>0.92530765115034697</c:v>
                </c:pt>
                <c:pt idx="51883">
                  <c:v>0.92532548599964304</c:v>
                </c:pt>
                <c:pt idx="51884">
                  <c:v>0.925343320848938</c:v>
                </c:pt>
                <c:pt idx="51885">
                  <c:v>0.92536115569823396</c:v>
                </c:pt>
                <c:pt idx="51886">
                  <c:v>0.92537899054752903</c:v>
                </c:pt>
                <c:pt idx="51887">
                  <c:v>0.925396825396825</c:v>
                </c:pt>
                <c:pt idx="51888">
                  <c:v>0.92541466024612096</c:v>
                </c:pt>
                <c:pt idx="51889">
                  <c:v>0.92543249509541603</c:v>
                </c:pt>
                <c:pt idx="51890">
                  <c:v>0.92545032994471199</c:v>
                </c:pt>
                <c:pt idx="51891">
                  <c:v>0.92546816479400695</c:v>
                </c:pt>
                <c:pt idx="51892">
                  <c:v>0.92548599964330303</c:v>
                </c:pt>
                <c:pt idx="51893">
                  <c:v>0.92550383449259799</c:v>
                </c:pt>
                <c:pt idx="51894">
                  <c:v>0.92552166934189395</c:v>
                </c:pt>
                <c:pt idx="51895">
                  <c:v>0.92553950419118902</c:v>
                </c:pt>
                <c:pt idx="51896">
                  <c:v>0.92555733904048498</c:v>
                </c:pt>
                <c:pt idx="51897">
                  <c:v>0.92557517388977995</c:v>
                </c:pt>
                <c:pt idx="51898">
                  <c:v>0.92559300873907602</c:v>
                </c:pt>
                <c:pt idx="51899">
                  <c:v>0.92561084358837098</c:v>
                </c:pt>
                <c:pt idx="51900">
                  <c:v>0.92562867843766705</c:v>
                </c:pt>
                <c:pt idx="51901">
                  <c:v>0.92564651328696201</c:v>
                </c:pt>
                <c:pt idx="51902">
                  <c:v>0.92566434813625798</c:v>
                </c:pt>
                <c:pt idx="51903">
                  <c:v>0.92568218298555305</c:v>
                </c:pt>
                <c:pt idx="51904">
                  <c:v>0.92570001783484901</c:v>
                </c:pt>
                <c:pt idx="51905">
                  <c:v>0.92571785268414397</c:v>
                </c:pt>
                <c:pt idx="51906">
                  <c:v>0.92573568753344004</c:v>
                </c:pt>
                <c:pt idx="51907">
                  <c:v>0.92575352238273501</c:v>
                </c:pt>
                <c:pt idx="51908">
                  <c:v>0.92577135723203097</c:v>
                </c:pt>
                <c:pt idx="51909">
                  <c:v>0.92578919208132604</c:v>
                </c:pt>
                <c:pt idx="51910">
                  <c:v>0.925807026930622</c:v>
                </c:pt>
                <c:pt idx="51911">
                  <c:v>0.92582486177991796</c:v>
                </c:pt>
                <c:pt idx="51912">
                  <c:v>0.92584269662921304</c:v>
                </c:pt>
                <c:pt idx="51913">
                  <c:v>0.925860531478509</c:v>
                </c:pt>
                <c:pt idx="51914">
                  <c:v>0.92587836632780396</c:v>
                </c:pt>
                <c:pt idx="51915">
                  <c:v>0.92589620117710003</c:v>
                </c:pt>
                <c:pt idx="51916">
                  <c:v>0.92591403602639499</c:v>
                </c:pt>
                <c:pt idx="51917">
                  <c:v>0.92593187087569095</c:v>
                </c:pt>
                <c:pt idx="51918">
                  <c:v>0.92594970572498603</c:v>
                </c:pt>
                <c:pt idx="51919">
                  <c:v>0.92596754057428199</c:v>
                </c:pt>
                <c:pt idx="51920">
                  <c:v>0.92598537542357695</c:v>
                </c:pt>
                <c:pt idx="51921">
                  <c:v>0.92600321027287302</c:v>
                </c:pt>
                <c:pt idx="51922">
                  <c:v>0.92602104512216799</c:v>
                </c:pt>
                <c:pt idx="51923">
                  <c:v>0.92603887997146395</c:v>
                </c:pt>
                <c:pt idx="51924">
                  <c:v>0.92605671482075902</c:v>
                </c:pt>
                <c:pt idx="51925">
                  <c:v>0.92607454967005498</c:v>
                </c:pt>
                <c:pt idx="51926">
                  <c:v>0.92609238451935005</c:v>
                </c:pt>
                <c:pt idx="51927">
                  <c:v>0.92611021936864601</c:v>
                </c:pt>
                <c:pt idx="51928">
                  <c:v>0.92612805421794098</c:v>
                </c:pt>
                <c:pt idx="51929">
                  <c:v>0.92614588906723705</c:v>
                </c:pt>
                <c:pt idx="51930">
                  <c:v>0.92616372391653201</c:v>
                </c:pt>
                <c:pt idx="51931">
                  <c:v>0.92618155876582797</c:v>
                </c:pt>
                <c:pt idx="51932">
                  <c:v>0.92619939361512305</c:v>
                </c:pt>
                <c:pt idx="51933">
                  <c:v>0.92621722846441901</c:v>
                </c:pt>
                <c:pt idx="51934">
                  <c:v>0.92623506331371497</c:v>
                </c:pt>
                <c:pt idx="51935">
                  <c:v>0.92625289816301004</c:v>
                </c:pt>
                <c:pt idx="51936">
                  <c:v>0.926270733012306</c:v>
                </c:pt>
                <c:pt idx="51937">
                  <c:v>0.92628856786160096</c:v>
                </c:pt>
                <c:pt idx="51938">
                  <c:v>0.92630640271089704</c:v>
                </c:pt>
                <c:pt idx="51939">
                  <c:v>0.926324237560192</c:v>
                </c:pt>
                <c:pt idx="51940">
                  <c:v>0.92634207240948796</c:v>
                </c:pt>
                <c:pt idx="51941">
                  <c:v>0.92635990725878303</c:v>
                </c:pt>
                <c:pt idx="51942">
                  <c:v>0.92637774210807899</c:v>
                </c:pt>
                <c:pt idx="51943">
                  <c:v>0.92639557695737396</c:v>
                </c:pt>
                <c:pt idx="51944">
                  <c:v>0.92641341180667003</c:v>
                </c:pt>
                <c:pt idx="51945">
                  <c:v>0.92643124665596499</c:v>
                </c:pt>
                <c:pt idx="51946">
                  <c:v>0.92644908150526095</c:v>
                </c:pt>
                <c:pt idx="51947">
                  <c:v>0.92646691635455602</c:v>
                </c:pt>
                <c:pt idx="51948">
                  <c:v>0.92648475120385199</c:v>
                </c:pt>
                <c:pt idx="51949">
                  <c:v>0.92650258605314695</c:v>
                </c:pt>
                <c:pt idx="51950">
                  <c:v>0.92652042090244302</c:v>
                </c:pt>
                <c:pt idx="51951">
                  <c:v>0.92653825575173798</c:v>
                </c:pt>
                <c:pt idx="51952">
                  <c:v>0.92655609060103405</c:v>
                </c:pt>
                <c:pt idx="51953">
                  <c:v>0.92657392545032902</c:v>
                </c:pt>
                <c:pt idx="51954">
                  <c:v>0.92659176029962498</c:v>
                </c:pt>
                <c:pt idx="51955">
                  <c:v>0.92660959514892005</c:v>
                </c:pt>
                <c:pt idx="51956">
                  <c:v>0.92662742999821601</c:v>
                </c:pt>
                <c:pt idx="51957">
                  <c:v>0.92664526484751197</c:v>
                </c:pt>
                <c:pt idx="51958">
                  <c:v>0.92666309969680705</c:v>
                </c:pt>
                <c:pt idx="51959">
                  <c:v>0.92668093454610301</c:v>
                </c:pt>
                <c:pt idx="51960">
                  <c:v>0.92669876939539797</c:v>
                </c:pt>
                <c:pt idx="51961">
                  <c:v>0.92671660424469404</c:v>
                </c:pt>
                <c:pt idx="51962">
                  <c:v>0.926734439093989</c:v>
                </c:pt>
                <c:pt idx="51963">
                  <c:v>0.92675227394328497</c:v>
                </c:pt>
                <c:pt idx="51964">
                  <c:v>0.92677010879258004</c:v>
                </c:pt>
                <c:pt idx="51965">
                  <c:v>0.926787943641876</c:v>
                </c:pt>
                <c:pt idx="51966">
                  <c:v>0.92680577849117096</c:v>
                </c:pt>
                <c:pt idx="51967">
                  <c:v>0.92682361334046703</c:v>
                </c:pt>
                <c:pt idx="51968">
                  <c:v>0.926841448189762</c:v>
                </c:pt>
                <c:pt idx="51969">
                  <c:v>0.92685928303905796</c:v>
                </c:pt>
                <c:pt idx="51970">
                  <c:v>0.92687711788835303</c:v>
                </c:pt>
                <c:pt idx="51971">
                  <c:v>0.92689495273764899</c:v>
                </c:pt>
                <c:pt idx="51972">
                  <c:v>0.92691278758694395</c:v>
                </c:pt>
                <c:pt idx="51973">
                  <c:v>0.92693062243624003</c:v>
                </c:pt>
                <c:pt idx="51974">
                  <c:v>0.92694845728553599</c:v>
                </c:pt>
                <c:pt idx="51975">
                  <c:v>0.92696629213483095</c:v>
                </c:pt>
                <c:pt idx="51976">
                  <c:v>0.92698412698412702</c:v>
                </c:pt>
                <c:pt idx="51977">
                  <c:v>0.92700196183342198</c:v>
                </c:pt>
                <c:pt idx="51978">
                  <c:v>0.92701979668271794</c:v>
                </c:pt>
                <c:pt idx="51979">
                  <c:v>0.92703763153201302</c:v>
                </c:pt>
                <c:pt idx="51980">
                  <c:v>0.92705546638130898</c:v>
                </c:pt>
                <c:pt idx="51981">
                  <c:v>0.92707330123060405</c:v>
                </c:pt>
                <c:pt idx="51982">
                  <c:v>0.92709113607990001</c:v>
                </c:pt>
                <c:pt idx="51983">
                  <c:v>0.92710897092919498</c:v>
                </c:pt>
                <c:pt idx="51984">
                  <c:v>0.92712680577849105</c:v>
                </c:pt>
                <c:pt idx="51985">
                  <c:v>0.92714464062778601</c:v>
                </c:pt>
                <c:pt idx="51986">
                  <c:v>0.92716247547708197</c:v>
                </c:pt>
                <c:pt idx="51987">
                  <c:v>0.92718031032637704</c:v>
                </c:pt>
                <c:pt idx="51988">
                  <c:v>0.92719814517567301</c:v>
                </c:pt>
                <c:pt idx="51989">
                  <c:v>0.92721598002496797</c:v>
                </c:pt>
                <c:pt idx="51990">
                  <c:v>0.92723381487426404</c:v>
                </c:pt>
                <c:pt idx="51991">
                  <c:v>0.927251649723559</c:v>
                </c:pt>
                <c:pt idx="51992">
                  <c:v>0.92726948457285496</c:v>
                </c:pt>
                <c:pt idx="51993">
                  <c:v>0.92728731942215004</c:v>
                </c:pt>
                <c:pt idx="51994">
                  <c:v>0.927305154271446</c:v>
                </c:pt>
                <c:pt idx="51995">
                  <c:v>0.92732298912074196</c:v>
                </c:pt>
                <c:pt idx="51996">
                  <c:v>0.92734082397003703</c:v>
                </c:pt>
                <c:pt idx="51997">
                  <c:v>0.92735865881933299</c:v>
                </c:pt>
                <c:pt idx="51998">
                  <c:v>0.92737649366862795</c:v>
                </c:pt>
                <c:pt idx="51999">
                  <c:v>0.92739432851792403</c:v>
                </c:pt>
                <c:pt idx="52000">
                  <c:v>0.92741216336721899</c:v>
                </c:pt>
                <c:pt idx="52001">
                  <c:v>0.92742999821651495</c:v>
                </c:pt>
                <c:pt idx="52002">
                  <c:v>0.92744783306581002</c:v>
                </c:pt>
                <c:pt idx="52003">
                  <c:v>0.92746566791510598</c:v>
                </c:pt>
                <c:pt idx="52004">
                  <c:v>0.92748350276440095</c:v>
                </c:pt>
                <c:pt idx="52005">
                  <c:v>0.92750133761369702</c:v>
                </c:pt>
                <c:pt idx="52006">
                  <c:v>0.92751917246299198</c:v>
                </c:pt>
                <c:pt idx="52007">
                  <c:v>0.92753700731228805</c:v>
                </c:pt>
                <c:pt idx="52008">
                  <c:v>0.92755484216158302</c:v>
                </c:pt>
                <c:pt idx="52009">
                  <c:v>0.92757267701087898</c:v>
                </c:pt>
                <c:pt idx="52010">
                  <c:v>0.92759051186017405</c:v>
                </c:pt>
                <c:pt idx="52011">
                  <c:v>0.92760834670947001</c:v>
                </c:pt>
                <c:pt idx="52012">
                  <c:v>0.92762618155876497</c:v>
                </c:pt>
                <c:pt idx="52013">
                  <c:v>0.92764401640806105</c:v>
                </c:pt>
                <c:pt idx="52014">
                  <c:v>0.92766185125735601</c:v>
                </c:pt>
                <c:pt idx="52015">
                  <c:v>0.92767968610665197</c:v>
                </c:pt>
                <c:pt idx="52016">
                  <c:v>0.92769752095594704</c:v>
                </c:pt>
                <c:pt idx="52017">
                  <c:v>0.927715355805243</c:v>
                </c:pt>
                <c:pt idx="52018">
                  <c:v>0.92773319065453896</c:v>
                </c:pt>
                <c:pt idx="52019">
                  <c:v>0.92775102550383404</c:v>
                </c:pt>
                <c:pt idx="52020">
                  <c:v>0.92776886035313</c:v>
                </c:pt>
                <c:pt idx="52021">
                  <c:v>0.92778669520242496</c:v>
                </c:pt>
                <c:pt idx="52022">
                  <c:v>0.92780453005172103</c:v>
                </c:pt>
                <c:pt idx="52023">
                  <c:v>0.92782236490101599</c:v>
                </c:pt>
                <c:pt idx="52024">
                  <c:v>0.92784019975031196</c:v>
                </c:pt>
                <c:pt idx="52025">
                  <c:v>0.92785803459960703</c:v>
                </c:pt>
                <c:pt idx="52026">
                  <c:v>0.92787586944890299</c:v>
                </c:pt>
                <c:pt idx="52027">
                  <c:v>0.92789370429819795</c:v>
                </c:pt>
                <c:pt idx="52028">
                  <c:v>0.92791153914749402</c:v>
                </c:pt>
                <c:pt idx="52029">
                  <c:v>0.92792937399678899</c:v>
                </c:pt>
                <c:pt idx="52030">
                  <c:v>0.92794720884608495</c:v>
                </c:pt>
                <c:pt idx="52031">
                  <c:v>0.92796504369538002</c:v>
                </c:pt>
                <c:pt idx="52032">
                  <c:v>0.92798287854467598</c:v>
                </c:pt>
                <c:pt idx="52033">
                  <c:v>0.92800071339397106</c:v>
                </c:pt>
                <c:pt idx="52034">
                  <c:v>0.92801854824326702</c:v>
                </c:pt>
                <c:pt idx="52035">
                  <c:v>0.92803638309256198</c:v>
                </c:pt>
                <c:pt idx="52036">
                  <c:v>0.92805421794185805</c:v>
                </c:pt>
                <c:pt idx="52037">
                  <c:v>0.92807205279115301</c:v>
                </c:pt>
                <c:pt idx="52038">
                  <c:v>0.92808988764044897</c:v>
                </c:pt>
                <c:pt idx="52039">
                  <c:v>0.92810772248974405</c:v>
                </c:pt>
                <c:pt idx="52040">
                  <c:v>0.92812555733904001</c:v>
                </c:pt>
                <c:pt idx="52041">
                  <c:v>0.92814339218833597</c:v>
                </c:pt>
                <c:pt idx="52042">
                  <c:v>0.92816122703763104</c:v>
                </c:pt>
                <c:pt idx="52043">
                  <c:v>0.928179061886927</c:v>
                </c:pt>
                <c:pt idx="52044">
                  <c:v>0.92819689673622197</c:v>
                </c:pt>
                <c:pt idx="52045">
                  <c:v>0.92821473158551804</c:v>
                </c:pt>
                <c:pt idx="52046">
                  <c:v>0.928232566434813</c:v>
                </c:pt>
                <c:pt idx="52047">
                  <c:v>0.92825040128410896</c:v>
                </c:pt>
                <c:pt idx="52048">
                  <c:v>0.92826823613340403</c:v>
                </c:pt>
                <c:pt idx="52049">
                  <c:v>0.9282860709827</c:v>
                </c:pt>
                <c:pt idx="52050">
                  <c:v>0.92830390583199496</c:v>
                </c:pt>
                <c:pt idx="52051">
                  <c:v>0.92832174068129103</c:v>
                </c:pt>
                <c:pt idx="52052">
                  <c:v>0.92833957553058599</c:v>
                </c:pt>
                <c:pt idx="52053">
                  <c:v>0.92835741037988195</c:v>
                </c:pt>
                <c:pt idx="52054">
                  <c:v>0.92837524522917703</c:v>
                </c:pt>
                <c:pt idx="52055">
                  <c:v>0.92839308007847299</c:v>
                </c:pt>
                <c:pt idx="52056">
                  <c:v>0.92841091492776795</c:v>
                </c:pt>
                <c:pt idx="52057">
                  <c:v>0.92842874977706402</c:v>
                </c:pt>
                <c:pt idx="52058">
                  <c:v>0.92844658462635898</c:v>
                </c:pt>
                <c:pt idx="52059">
                  <c:v>0.92846441947565495</c:v>
                </c:pt>
                <c:pt idx="52060">
                  <c:v>0.92848225432495002</c:v>
                </c:pt>
                <c:pt idx="52061">
                  <c:v>0.92850008917424598</c:v>
                </c:pt>
                <c:pt idx="52062">
                  <c:v>0.92851792402354205</c:v>
                </c:pt>
                <c:pt idx="52063">
                  <c:v>0.92853575887283701</c:v>
                </c:pt>
                <c:pt idx="52064">
                  <c:v>0.92855359372213297</c:v>
                </c:pt>
                <c:pt idx="52065">
                  <c:v>0.92857142857142805</c:v>
                </c:pt>
                <c:pt idx="52066">
                  <c:v>0.92858926342072401</c:v>
                </c:pt>
                <c:pt idx="52067">
                  <c:v>0.92860709827001897</c:v>
                </c:pt>
                <c:pt idx="52068">
                  <c:v>0.92862493311931504</c:v>
                </c:pt>
                <c:pt idx="52069">
                  <c:v>0.92864276796861001</c:v>
                </c:pt>
                <c:pt idx="52070">
                  <c:v>0.92866060281790597</c:v>
                </c:pt>
                <c:pt idx="52071">
                  <c:v>0.92867843766720104</c:v>
                </c:pt>
                <c:pt idx="52072">
                  <c:v>0.928696272516497</c:v>
                </c:pt>
                <c:pt idx="52073">
                  <c:v>0.92871410736579196</c:v>
                </c:pt>
                <c:pt idx="52074">
                  <c:v>0.92873194221508804</c:v>
                </c:pt>
                <c:pt idx="52075">
                  <c:v>0.928749777064383</c:v>
                </c:pt>
                <c:pt idx="52076">
                  <c:v>0.92876761191367896</c:v>
                </c:pt>
                <c:pt idx="52077">
                  <c:v>0.92878544676297403</c:v>
                </c:pt>
                <c:pt idx="52078">
                  <c:v>0.92880328161226999</c:v>
                </c:pt>
                <c:pt idx="52079">
                  <c:v>0.92882111646156595</c:v>
                </c:pt>
                <c:pt idx="52080">
                  <c:v>0.92883895131086103</c:v>
                </c:pt>
                <c:pt idx="52081">
                  <c:v>0.92885678616015699</c:v>
                </c:pt>
                <c:pt idx="52082">
                  <c:v>0.92887462100945195</c:v>
                </c:pt>
                <c:pt idx="52083">
                  <c:v>0.92889245585874802</c:v>
                </c:pt>
                <c:pt idx="52084">
                  <c:v>0.92891029070804298</c:v>
                </c:pt>
                <c:pt idx="52085">
                  <c:v>0.92892812555733895</c:v>
                </c:pt>
                <c:pt idx="52086">
                  <c:v>0.92894596040663402</c:v>
                </c:pt>
                <c:pt idx="52087">
                  <c:v>0.92896379525592998</c:v>
                </c:pt>
                <c:pt idx="52088">
                  <c:v>0.92898163010522505</c:v>
                </c:pt>
                <c:pt idx="52089">
                  <c:v>0.92899946495452101</c:v>
                </c:pt>
                <c:pt idx="52090">
                  <c:v>0.92901729980381598</c:v>
                </c:pt>
                <c:pt idx="52091">
                  <c:v>0.92903513465311205</c:v>
                </c:pt>
                <c:pt idx="52092">
                  <c:v>0.92905296950240701</c:v>
                </c:pt>
                <c:pt idx="52093">
                  <c:v>0.92907080435170297</c:v>
                </c:pt>
                <c:pt idx="52094">
                  <c:v>0.92908863920099805</c:v>
                </c:pt>
                <c:pt idx="52095">
                  <c:v>0.92910647405029401</c:v>
                </c:pt>
                <c:pt idx="52096">
                  <c:v>0.92912430889958897</c:v>
                </c:pt>
                <c:pt idx="52097">
                  <c:v>0.92914214374888504</c:v>
                </c:pt>
                <c:pt idx="52098">
                  <c:v>0.92915997859818</c:v>
                </c:pt>
                <c:pt idx="52099">
                  <c:v>0.92917781344747596</c:v>
                </c:pt>
                <c:pt idx="52100">
                  <c:v>0.92919564829677104</c:v>
                </c:pt>
                <c:pt idx="52101">
                  <c:v>0.929213483146067</c:v>
                </c:pt>
                <c:pt idx="52102">
                  <c:v>0.92923131799536296</c:v>
                </c:pt>
                <c:pt idx="52103">
                  <c:v>0.92924915284465803</c:v>
                </c:pt>
                <c:pt idx="52104">
                  <c:v>0.92926698769395399</c:v>
                </c:pt>
                <c:pt idx="52105">
                  <c:v>0.92928482254324896</c:v>
                </c:pt>
                <c:pt idx="52106">
                  <c:v>0.92930265739254503</c:v>
                </c:pt>
                <c:pt idx="52107">
                  <c:v>0.92932049224183999</c:v>
                </c:pt>
                <c:pt idx="52108">
                  <c:v>0.92933832709113595</c:v>
                </c:pt>
                <c:pt idx="52109">
                  <c:v>0.92935616194043102</c:v>
                </c:pt>
                <c:pt idx="52110">
                  <c:v>0.92937399678972699</c:v>
                </c:pt>
                <c:pt idx="52111">
                  <c:v>0.92939183163902195</c:v>
                </c:pt>
                <c:pt idx="52112">
                  <c:v>0.92940966648831802</c:v>
                </c:pt>
                <c:pt idx="52113">
                  <c:v>0.92942750133761298</c:v>
                </c:pt>
                <c:pt idx="52114">
                  <c:v>0.92944533618690905</c:v>
                </c:pt>
                <c:pt idx="52115">
                  <c:v>0.92946317103620402</c:v>
                </c:pt>
                <c:pt idx="52116">
                  <c:v>0.92948100588549998</c:v>
                </c:pt>
                <c:pt idx="52117">
                  <c:v>0.92949884073479505</c:v>
                </c:pt>
                <c:pt idx="52118">
                  <c:v>0.92951667558409101</c:v>
                </c:pt>
                <c:pt idx="52119">
                  <c:v>0.92953451043338597</c:v>
                </c:pt>
                <c:pt idx="52120">
                  <c:v>0.92955234528268205</c:v>
                </c:pt>
                <c:pt idx="52121">
                  <c:v>0.92957018013197701</c:v>
                </c:pt>
                <c:pt idx="52122">
                  <c:v>0.92958801498127297</c:v>
                </c:pt>
                <c:pt idx="52123">
                  <c:v>0.92960584983056804</c:v>
                </c:pt>
                <c:pt idx="52124">
                  <c:v>0.929623684679864</c:v>
                </c:pt>
                <c:pt idx="52125">
                  <c:v>0.92964151952915997</c:v>
                </c:pt>
                <c:pt idx="52126">
                  <c:v>0.92965935437845504</c:v>
                </c:pt>
                <c:pt idx="52127">
                  <c:v>0.929677189227751</c:v>
                </c:pt>
                <c:pt idx="52128">
                  <c:v>0.92969502407704596</c:v>
                </c:pt>
                <c:pt idx="52129">
                  <c:v>0.92971285892634203</c:v>
                </c:pt>
                <c:pt idx="52130">
                  <c:v>0.929730693775637</c:v>
                </c:pt>
                <c:pt idx="52131">
                  <c:v>0.92974852862493296</c:v>
                </c:pt>
                <c:pt idx="52132">
                  <c:v>0.92976636347422803</c:v>
                </c:pt>
                <c:pt idx="52133">
                  <c:v>0.92978419832352399</c:v>
                </c:pt>
                <c:pt idx="52134">
                  <c:v>0.92980203317281895</c:v>
                </c:pt>
                <c:pt idx="52135">
                  <c:v>0.92981986802211503</c:v>
                </c:pt>
                <c:pt idx="52136">
                  <c:v>0.92983770287140999</c:v>
                </c:pt>
                <c:pt idx="52137">
                  <c:v>0.92985553772070595</c:v>
                </c:pt>
                <c:pt idx="52138">
                  <c:v>0.92987337257000102</c:v>
                </c:pt>
                <c:pt idx="52139">
                  <c:v>0.92989120741929698</c:v>
                </c:pt>
                <c:pt idx="52140">
                  <c:v>0.92990904226859195</c:v>
                </c:pt>
                <c:pt idx="52141">
                  <c:v>0.92992687711788802</c:v>
                </c:pt>
                <c:pt idx="52142">
                  <c:v>0.92994471196718298</c:v>
                </c:pt>
                <c:pt idx="52143">
                  <c:v>0.92996254681647905</c:v>
                </c:pt>
                <c:pt idx="52144">
                  <c:v>0.92998038166577401</c:v>
                </c:pt>
                <c:pt idx="52145">
                  <c:v>0.92999821651506998</c:v>
                </c:pt>
                <c:pt idx="52146">
                  <c:v>0.93001605136436505</c:v>
                </c:pt>
                <c:pt idx="52147">
                  <c:v>0.93003388621366101</c:v>
                </c:pt>
                <c:pt idx="52148">
                  <c:v>0.93005172106295697</c:v>
                </c:pt>
                <c:pt idx="52149">
                  <c:v>0.93006955591225204</c:v>
                </c:pt>
                <c:pt idx="52150">
                  <c:v>0.93008739076154801</c:v>
                </c:pt>
                <c:pt idx="52151">
                  <c:v>0.93010522561084297</c:v>
                </c:pt>
                <c:pt idx="52152">
                  <c:v>0.93012306046013904</c:v>
                </c:pt>
                <c:pt idx="52153">
                  <c:v>0.930140895309434</c:v>
                </c:pt>
                <c:pt idx="52154">
                  <c:v>0.93015873015872996</c:v>
                </c:pt>
                <c:pt idx="52155">
                  <c:v>0.93017656500802504</c:v>
                </c:pt>
                <c:pt idx="52156">
                  <c:v>0.930194399857321</c:v>
                </c:pt>
                <c:pt idx="52157">
                  <c:v>0.93021223470661596</c:v>
                </c:pt>
                <c:pt idx="52158">
                  <c:v>0.93023006955591203</c:v>
                </c:pt>
                <c:pt idx="52159">
                  <c:v>0.93024790440520699</c:v>
                </c:pt>
                <c:pt idx="52160">
                  <c:v>0.93026573925450295</c:v>
                </c:pt>
                <c:pt idx="52161">
                  <c:v>0.93028357410379803</c:v>
                </c:pt>
                <c:pt idx="52162">
                  <c:v>0.93030140895309399</c:v>
                </c:pt>
                <c:pt idx="52163">
                  <c:v>0.93031924380238895</c:v>
                </c:pt>
                <c:pt idx="52164">
                  <c:v>0.93033707865168502</c:v>
                </c:pt>
                <c:pt idx="52165">
                  <c:v>0.93035491350097999</c:v>
                </c:pt>
                <c:pt idx="52166">
                  <c:v>0.93037274835027595</c:v>
                </c:pt>
                <c:pt idx="52167">
                  <c:v>0.93039058319957202</c:v>
                </c:pt>
                <c:pt idx="52168">
                  <c:v>0.93040841804886698</c:v>
                </c:pt>
                <c:pt idx="52169">
                  <c:v>0.93042625289816305</c:v>
                </c:pt>
                <c:pt idx="52170">
                  <c:v>0.93044408774745802</c:v>
                </c:pt>
                <c:pt idx="52171">
                  <c:v>0.93046192259675398</c:v>
                </c:pt>
                <c:pt idx="52172">
                  <c:v>0.93047975744604905</c:v>
                </c:pt>
                <c:pt idx="52173">
                  <c:v>0.93049759229534501</c:v>
                </c:pt>
                <c:pt idx="52174">
                  <c:v>0.93051542714463997</c:v>
                </c:pt>
                <c:pt idx="52175">
                  <c:v>0.93053326199393605</c:v>
                </c:pt>
                <c:pt idx="52176">
                  <c:v>0.93055109684323101</c:v>
                </c:pt>
                <c:pt idx="52177">
                  <c:v>0.93056893169252697</c:v>
                </c:pt>
                <c:pt idx="52178">
                  <c:v>0.93058676654182204</c:v>
                </c:pt>
                <c:pt idx="52179">
                  <c:v>0.930604601391118</c:v>
                </c:pt>
                <c:pt idx="52180">
                  <c:v>0.93062243624041296</c:v>
                </c:pt>
                <c:pt idx="52181">
                  <c:v>0.93064027108970904</c:v>
                </c:pt>
                <c:pt idx="52182">
                  <c:v>0.930658105939004</c:v>
                </c:pt>
                <c:pt idx="52183">
                  <c:v>0.93067594078829996</c:v>
                </c:pt>
                <c:pt idx="52184">
                  <c:v>0.93069377563759503</c:v>
                </c:pt>
                <c:pt idx="52185">
                  <c:v>0.93071161048689099</c:v>
                </c:pt>
                <c:pt idx="52186">
                  <c:v>0.93072944533618696</c:v>
                </c:pt>
                <c:pt idx="52187">
                  <c:v>0.93074728018548203</c:v>
                </c:pt>
                <c:pt idx="52188">
                  <c:v>0.93076511503477799</c:v>
                </c:pt>
                <c:pt idx="52189">
                  <c:v>0.93078294988407295</c:v>
                </c:pt>
                <c:pt idx="52190">
                  <c:v>0.93080078473336902</c:v>
                </c:pt>
                <c:pt idx="52191">
                  <c:v>0.93081861958266399</c:v>
                </c:pt>
                <c:pt idx="52192">
                  <c:v>0.93083645443195995</c:v>
                </c:pt>
                <c:pt idx="52193">
                  <c:v>0.93085428928125502</c:v>
                </c:pt>
                <c:pt idx="52194">
                  <c:v>0.93087212413055098</c:v>
                </c:pt>
                <c:pt idx="52195">
                  <c:v>0.93088995897984605</c:v>
                </c:pt>
                <c:pt idx="52196">
                  <c:v>0.93090779382914202</c:v>
                </c:pt>
                <c:pt idx="52197">
                  <c:v>0.93092562867843698</c:v>
                </c:pt>
                <c:pt idx="52198">
                  <c:v>0.93094346352773305</c:v>
                </c:pt>
                <c:pt idx="52199">
                  <c:v>0.93096129837702801</c:v>
                </c:pt>
                <c:pt idx="52200">
                  <c:v>0.93097913322632397</c:v>
                </c:pt>
                <c:pt idx="52201">
                  <c:v>0.93099696807561905</c:v>
                </c:pt>
                <c:pt idx="52202">
                  <c:v>0.93101480292491501</c:v>
                </c:pt>
                <c:pt idx="52203">
                  <c:v>0.93103263777420997</c:v>
                </c:pt>
                <c:pt idx="52204">
                  <c:v>0.93105047262350604</c:v>
                </c:pt>
                <c:pt idx="52205">
                  <c:v>0.931068307472801</c:v>
                </c:pt>
                <c:pt idx="52206">
                  <c:v>0.93108614232209697</c:v>
                </c:pt>
                <c:pt idx="52207">
                  <c:v>0.93110397717139204</c:v>
                </c:pt>
                <c:pt idx="52208">
                  <c:v>0.931121812020688</c:v>
                </c:pt>
                <c:pt idx="52209">
                  <c:v>0.93113964686998396</c:v>
                </c:pt>
                <c:pt idx="52210">
                  <c:v>0.93115748171927903</c:v>
                </c:pt>
                <c:pt idx="52211">
                  <c:v>0.931175316568575</c:v>
                </c:pt>
                <c:pt idx="52212">
                  <c:v>0.93119315141786996</c:v>
                </c:pt>
                <c:pt idx="52213">
                  <c:v>0.93121098626716603</c:v>
                </c:pt>
                <c:pt idx="52214">
                  <c:v>0.93122882111646099</c:v>
                </c:pt>
                <c:pt idx="52215">
                  <c:v>0.93124665596575695</c:v>
                </c:pt>
                <c:pt idx="52216">
                  <c:v>0.93126449081505203</c:v>
                </c:pt>
                <c:pt idx="52217">
                  <c:v>0.93128232566434799</c:v>
                </c:pt>
                <c:pt idx="52218">
                  <c:v>0.93130016051364295</c:v>
                </c:pt>
                <c:pt idx="52219">
                  <c:v>0.93131799536293902</c:v>
                </c:pt>
                <c:pt idx="52220">
                  <c:v>0.93133583021223398</c:v>
                </c:pt>
                <c:pt idx="52221">
                  <c:v>0.93135366506152995</c:v>
                </c:pt>
                <c:pt idx="52222">
                  <c:v>0.93137149991082502</c:v>
                </c:pt>
                <c:pt idx="52223">
                  <c:v>0.93138933476012098</c:v>
                </c:pt>
                <c:pt idx="52224">
                  <c:v>0.93140716960941605</c:v>
                </c:pt>
                <c:pt idx="52225">
                  <c:v>0.93142500445871201</c:v>
                </c:pt>
                <c:pt idx="52226">
                  <c:v>0.93144283930800698</c:v>
                </c:pt>
                <c:pt idx="52227">
                  <c:v>0.93146067415730305</c:v>
                </c:pt>
                <c:pt idx="52228">
                  <c:v>0.93147850900659801</c:v>
                </c:pt>
                <c:pt idx="52229">
                  <c:v>0.93149634385589397</c:v>
                </c:pt>
                <c:pt idx="52230">
                  <c:v>0.93151417870518904</c:v>
                </c:pt>
                <c:pt idx="52231">
                  <c:v>0.93153201355448501</c:v>
                </c:pt>
                <c:pt idx="52232">
                  <c:v>0.93154984840378097</c:v>
                </c:pt>
                <c:pt idx="52233">
                  <c:v>0.93156768325307604</c:v>
                </c:pt>
                <c:pt idx="52234">
                  <c:v>0.931585518102372</c:v>
                </c:pt>
                <c:pt idx="52235">
                  <c:v>0.93160335295166696</c:v>
                </c:pt>
                <c:pt idx="52236">
                  <c:v>0.93162118780096304</c:v>
                </c:pt>
                <c:pt idx="52237">
                  <c:v>0.931639022650258</c:v>
                </c:pt>
                <c:pt idx="52238">
                  <c:v>0.93165685749955396</c:v>
                </c:pt>
                <c:pt idx="52239">
                  <c:v>0.93167469234884903</c:v>
                </c:pt>
                <c:pt idx="52240">
                  <c:v>0.93169252719814499</c:v>
                </c:pt>
                <c:pt idx="52241">
                  <c:v>0.93171036204743996</c:v>
                </c:pt>
                <c:pt idx="52242">
                  <c:v>0.93172819689673603</c:v>
                </c:pt>
                <c:pt idx="52243">
                  <c:v>0.93174603174603099</c:v>
                </c:pt>
                <c:pt idx="52244">
                  <c:v>0.93176386659532695</c:v>
                </c:pt>
                <c:pt idx="52245">
                  <c:v>0.93178170144462202</c:v>
                </c:pt>
                <c:pt idx="52246">
                  <c:v>0.93179953629391798</c:v>
                </c:pt>
                <c:pt idx="52247">
                  <c:v>0.93181737114321295</c:v>
                </c:pt>
                <c:pt idx="52248">
                  <c:v>0.93183520599250902</c:v>
                </c:pt>
                <c:pt idx="52249">
                  <c:v>0.93185304084180398</c:v>
                </c:pt>
                <c:pt idx="52250">
                  <c:v>0.93187087569110005</c:v>
                </c:pt>
                <c:pt idx="52251">
                  <c:v>0.93188871054039502</c:v>
                </c:pt>
                <c:pt idx="52252">
                  <c:v>0.93190654538969098</c:v>
                </c:pt>
                <c:pt idx="52253">
                  <c:v>0.93192438023898605</c:v>
                </c:pt>
                <c:pt idx="52254">
                  <c:v>0.93194221508828201</c:v>
                </c:pt>
                <c:pt idx="52255">
                  <c:v>0.93196004993757797</c:v>
                </c:pt>
                <c:pt idx="52256">
                  <c:v>0.93197788478687305</c:v>
                </c:pt>
                <c:pt idx="52257">
                  <c:v>0.93199571963616901</c:v>
                </c:pt>
                <c:pt idx="52258">
                  <c:v>0.93201355448546397</c:v>
                </c:pt>
                <c:pt idx="52259">
                  <c:v>0.93203138933476004</c:v>
                </c:pt>
                <c:pt idx="52260">
                  <c:v>0.932049224184055</c:v>
                </c:pt>
                <c:pt idx="52261">
                  <c:v>0.93206705903335096</c:v>
                </c:pt>
                <c:pt idx="52262">
                  <c:v>0.93208489388264604</c:v>
                </c:pt>
                <c:pt idx="52263">
                  <c:v>0.932102728731942</c:v>
                </c:pt>
                <c:pt idx="52264">
                  <c:v>0.93212056358123696</c:v>
                </c:pt>
                <c:pt idx="52265">
                  <c:v>0.93213839843053303</c:v>
                </c:pt>
                <c:pt idx="52266">
                  <c:v>0.93215623327982799</c:v>
                </c:pt>
                <c:pt idx="52267">
                  <c:v>0.93217406812912396</c:v>
                </c:pt>
                <c:pt idx="52268">
                  <c:v>0.93219190297841903</c:v>
                </c:pt>
                <c:pt idx="52269">
                  <c:v>0.93220973782771499</c:v>
                </c:pt>
                <c:pt idx="52270">
                  <c:v>0.93222757267700995</c:v>
                </c:pt>
                <c:pt idx="52271">
                  <c:v>0.93224540752630602</c:v>
                </c:pt>
                <c:pt idx="52272">
                  <c:v>0.93226324237560099</c:v>
                </c:pt>
                <c:pt idx="52273">
                  <c:v>0.93228107722489695</c:v>
                </c:pt>
                <c:pt idx="52274">
                  <c:v>0.93229891207419302</c:v>
                </c:pt>
                <c:pt idx="52275">
                  <c:v>0.93231674692348798</c:v>
                </c:pt>
                <c:pt idx="52276">
                  <c:v>0.93233458177278405</c:v>
                </c:pt>
                <c:pt idx="52277">
                  <c:v>0.93235241662207902</c:v>
                </c:pt>
                <c:pt idx="52278">
                  <c:v>0.93237025147137498</c:v>
                </c:pt>
                <c:pt idx="52279">
                  <c:v>0.93238808632067005</c:v>
                </c:pt>
                <c:pt idx="52280">
                  <c:v>0.93240592116996601</c:v>
                </c:pt>
                <c:pt idx="52281">
                  <c:v>0.93242375601926097</c:v>
                </c:pt>
                <c:pt idx="52282">
                  <c:v>0.93244159086855705</c:v>
                </c:pt>
                <c:pt idx="52283">
                  <c:v>0.93245942571785201</c:v>
                </c:pt>
                <c:pt idx="52284">
                  <c:v>0.93247726056714797</c:v>
                </c:pt>
                <c:pt idx="52285">
                  <c:v>0.93249509541644304</c:v>
                </c:pt>
                <c:pt idx="52286">
                  <c:v>0.932512930265739</c:v>
                </c:pt>
                <c:pt idx="52287">
                  <c:v>0.93253076511503397</c:v>
                </c:pt>
                <c:pt idx="52288">
                  <c:v>0.93254859996433004</c:v>
                </c:pt>
                <c:pt idx="52289">
                  <c:v>0.932566434813625</c:v>
                </c:pt>
                <c:pt idx="52290">
                  <c:v>0.93258426966292096</c:v>
                </c:pt>
                <c:pt idx="52291">
                  <c:v>0.93260210451221603</c:v>
                </c:pt>
                <c:pt idx="52292">
                  <c:v>0.932619939361512</c:v>
                </c:pt>
                <c:pt idx="52293">
                  <c:v>0.93263777421080796</c:v>
                </c:pt>
                <c:pt idx="52294">
                  <c:v>0.93265560906010303</c:v>
                </c:pt>
                <c:pt idx="52295">
                  <c:v>0.93267344390939899</c:v>
                </c:pt>
                <c:pt idx="52296">
                  <c:v>0.93269127875869395</c:v>
                </c:pt>
                <c:pt idx="52297">
                  <c:v>0.93270911360799003</c:v>
                </c:pt>
                <c:pt idx="52298">
                  <c:v>0.93272694845728499</c:v>
                </c:pt>
                <c:pt idx="52299">
                  <c:v>0.93274478330658095</c:v>
                </c:pt>
                <c:pt idx="52300">
                  <c:v>0.93276261815587602</c:v>
                </c:pt>
                <c:pt idx="52301">
                  <c:v>0.93278045300517198</c:v>
                </c:pt>
                <c:pt idx="52302">
                  <c:v>0.93279828785446695</c:v>
                </c:pt>
                <c:pt idx="52303">
                  <c:v>0.93281612270376302</c:v>
                </c:pt>
                <c:pt idx="52304">
                  <c:v>0.93283395755305798</c:v>
                </c:pt>
                <c:pt idx="52305">
                  <c:v>0.93285179240235405</c:v>
                </c:pt>
                <c:pt idx="52306">
                  <c:v>0.93286962725164901</c:v>
                </c:pt>
                <c:pt idx="52307">
                  <c:v>0.93288746210094498</c:v>
                </c:pt>
                <c:pt idx="52308">
                  <c:v>0.93290529695024005</c:v>
                </c:pt>
                <c:pt idx="52309">
                  <c:v>0.93292313179953601</c:v>
                </c:pt>
                <c:pt idx="52310">
                  <c:v>0.93294096664883097</c:v>
                </c:pt>
                <c:pt idx="52311">
                  <c:v>0.93295880149812704</c:v>
                </c:pt>
                <c:pt idx="52312">
                  <c:v>0.93297663634742201</c:v>
                </c:pt>
                <c:pt idx="52313">
                  <c:v>0.93299447119671797</c:v>
                </c:pt>
                <c:pt idx="52314">
                  <c:v>0.93301230604601304</c:v>
                </c:pt>
                <c:pt idx="52315">
                  <c:v>0.933030140895309</c:v>
                </c:pt>
                <c:pt idx="52316">
                  <c:v>0.93304797574460496</c:v>
                </c:pt>
                <c:pt idx="52317">
                  <c:v>0.93306581059390004</c:v>
                </c:pt>
                <c:pt idx="52318">
                  <c:v>0.933083645443196</c:v>
                </c:pt>
                <c:pt idx="52319">
                  <c:v>0.93310148029249096</c:v>
                </c:pt>
                <c:pt idx="52320">
                  <c:v>0.93311931514178703</c:v>
                </c:pt>
                <c:pt idx="52321">
                  <c:v>0.93313714999108199</c:v>
                </c:pt>
                <c:pt idx="52322">
                  <c:v>0.93315498484037795</c:v>
                </c:pt>
                <c:pt idx="52323">
                  <c:v>0.93317281968967303</c:v>
                </c:pt>
                <c:pt idx="52324">
                  <c:v>0.93319065453896899</c:v>
                </c:pt>
                <c:pt idx="52325">
                  <c:v>0.93320848938826395</c:v>
                </c:pt>
                <c:pt idx="52326">
                  <c:v>0.93322632423756002</c:v>
                </c:pt>
                <c:pt idx="52327">
                  <c:v>0.93324415908685499</c:v>
                </c:pt>
                <c:pt idx="52328">
                  <c:v>0.93326199393615095</c:v>
                </c:pt>
                <c:pt idx="52329">
                  <c:v>0.93327982878544602</c:v>
                </c:pt>
                <c:pt idx="52330">
                  <c:v>0.93329766363474198</c:v>
                </c:pt>
                <c:pt idx="52331">
                  <c:v>0.93331549848403705</c:v>
                </c:pt>
                <c:pt idx="52332">
                  <c:v>0.93333333333333302</c:v>
                </c:pt>
                <c:pt idx="52333">
                  <c:v>0.93335116818262798</c:v>
                </c:pt>
                <c:pt idx="52334">
                  <c:v>0.93336900303192405</c:v>
                </c:pt>
                <c:pt idx="52335">
                  <c:v>0.93338683788121901</c:v>
                </c:pt>
                <c:pt idx="52336">
                  <c:v>0.93340467273051497</c:v>
                </c:pt>
                <c:pt idx="52337">
                  <c:v>0.93342250757981005</c:v>
                </c:pt>
                <c:pt idx="52338">
                  <c:v>0.93344034242910601</c:v>
                </c:pt>
                <c:pt idx="52339">
                  <c:v>0.93345817727840197</c:v>
                </c:pt>
                <c:pt idx="52340">
                  <c:v>0.93347601212769704</c:v>
                </c:pt>
                <c:pt idx="52341">
                  <c:v>0.933493846976993</c:v>
                </c:pt>
                <c:pt idx="52342">
                  <c:v>0.93351168182628796</c:v>
                </c:pt>
                <c:pt idx="52343">
                  <c:v>0.93352951667558404</c:v>
                </c:pt>
                <c:pt idx="52344">
                  <c:v>0.933547351524879</c:v>
                </c:pt>
                <c:pt idx="52345">
                  <c:v>0.93356518637417496</c:v>
                </c:pt>
                <c:pt idx="52346">
                  <c:v>0.93358302122347003</c:v>
                </c:pt>
                <c:pt idx="52347">
                  <c:v>0.93360085607276599</c:v>
                </c:pt>
                <c:pt idx="52348">
                  <c:v>0.93361869092206096</c:v>
                </c:pt>
                <c:pt idx="52349">
                  <c:v>0.93363652577135703</c:v>
                </c:pt>
                <c:pt idx="52350">
                  <c:v>0.93365436062065199</c:v>
                </c:pt>
                <c:pt idx="52351">
                  <c:v>0.93367219546994795</c:v>
                </c:pt>
                <c:pt idx="52352">
                  <c:v>0.93369003031924303</c:v>
                </c:pt>
                <c:pt idx="52353">
                  <c:v>0.93370786516853899</c:v>
                </c:pt>
                <c:pt idx="52354">
                  <c:v>0.93372570001783395</c:v>
                </c:pt>
                <c:pt idx="52355">
                  <c:v>0.93374353486713002</c:v>
                </c:pt>
                <c:pt idx="52356">
                  <c:v>0.93376136971642498</c:v>
                </c:pt>
                <c:pt idx="52357">
                  <c:v>0.93377920456572105</c:v>
                </c:pt>
                <c:pt idx="52358">
                  <c:v>0.93379703941501602</c:v>
                </c:pt>
                <c:pt idx="52359">
                  <c:v>0.93381487426431198</c:v>
                </c:pt>
                <c:pt idx="52360">
                  <c:v>0.93383270911360705</c:v>
                </c:pt>
                <c:pt idx="52361">
                  <c:v>0.93385054396290301</c:v>
                </c:pt>
                <c:pt idx="52362">
                  <c:v>0.93386837881219897</c:v>
                </c:pt>
                <c:pt idx="52363">
                  <c:v>0.93388621366149405</c:v>
                </c:pt>
                <c:pt idx="52364">
                  <c:v>0.93390404851079001</c:v>
                </c:pt>
                <c:pt idx="52365">
                  <c:v>0.93392188336008497</c:v>
                </c:pt>
                <c:pt idx="52366">
                  <c:v>0.93393971820938104</c:v>
                </c:pt>
                <c:pt idx="52367">
                  <c:v>0.933957553058676</c:v>
                </c:pt>
                <c:pt idx="52368">
                  <c:v>0.93397538790797197</c:v>
                </c:pt>
                <c:pt idx="52369">
                  <c:v>0.93399322275726704</c:v>
                </c:pt>
                <c:pt idx="52370">
                  <c:v>0.934011057606563</c:v>
                </c:pt>
                <c:pt idx="52371">
                  <c:v>0.93402889245585796</c:v>
                </c:pt>
                <c:pt idx="52372">
                  <c:v>0.93404672730515403</c:v>
                </c:pt>
                <c:pt idx="52373">
                  <c:v>0.934064562154449</c:v>
                </c:pt>
                <c:pt idx="52374">
                  <c:v>0.93408239700374496</c:v>
                </c:pt>
                <c:pt idx="52375">
                  <c:v>0.93410023185304003</c:v>
                </c:pt>
                <c:pt idx="52376">
                  <c:v>0.93411806670233599</c:v>
                </c:pt>
                <c:pt idx="52377">
                  <c:v>0.93413590155163095</c:v>
                </c:pt>
                <c:pt idx="52378">
                  <c:v>0.93415373640092703</c:v>
                </c:pt>
                <c:pt idx="52379">
                  <c:v>0.93417157125022299</c:v>
                </c:pt>
                <c:pt idx="52380">
                  <c:v>0.93418940609951795</c:v>
                </c:pt>
                <c:pt idx="52381">
                  <c:v>0.93420724094881402</c:v>
                </c:pt>
                <c:pt idx="52382">
                  <c:v>0.93422507579810898</c:v>
                </c:pt>
                <c:pt idx="52383">
                  <c:v>0.93424291064740494</c:v>
                </c:pt>
                <c:pt idx="52384">
                  <c:v>0.93426074549670002</c:v>
                </c:pt>
                <c:pt idx="52385">
                  <c:v>0.93427858034599598</c:v>
                </c:pt>
                <c:pt idx="52386">
                  <c:v>0.93429641519529105</c:v>
                </c:pt>
                <c:pt idx="52387">
                  <c:v>0.93431425004458701</c:v>
                </c:pt>
                <c:pt idx="52388">
                  <c:v>0.93433208489388198</c:v>
                </c:pt>
                <c:pt idx="52389">
                  <c:v>0.93434991974317805</c:v>
                </c:pt>
                <c:pt idx="52390">
                  <c:v>0.93436775459247301</c:v>
                </c:pt>
                <c:pt idx="52391">
                  <c:v>0.93438558944176897</c:v>
                </c:pt>
                <c:pt idx="52392">
                  <c:v>0.93440342429106404</c:v>
                </c:pt>
                <c:pt idx="52393">
                  <c:v>0.93442125914036001</c:v>
                </c:pt>
                <c:pt idx="52394">
                  <c:v>0.93443909398965497</c:v>
                </c:pt>
                <c:pt idx="52395">
                  <c:v>0.93445692883895104</c:v>
                </c:pt>
                <c:pt idx="52396">
                  <c:v>0.934474763688246</c:v>
                </c:pt>
                <c:pt idx="52397">
                  <c:v>0.93449259853754196</c:v>
                </c:pt>
                <c:pt idx="52398">
                  <c:v>0.93451043338683704</c:v>
                </c:pt>
                <c:pt idx="52399">
                  <c:v>0.934528268236133</c:v>
                </c:pt>
                <c:pt idx="52400">
                  <c:v>0.93454610308542896</c:v>
                </c:pt>
                <c:pt idx="52401">
                  <c:v>0.93456393793472403</c:v>
                </c:pt>
                <c:pt idx="52402">
                  <c:v>0.93458177278401999</c:v>
                </c:pt>
                <c:pt idx="52403">
                  <c:v>0.93459960763331495</c:v>
                </c:pt>
                <c:pt idx="52404">
                  <c:v>0.93461744248261103</c:v>
                </c:pt>
                <c:pt idx="52405">
                  <c:v>0.93463527733190599</c:v>
                </c:pt>
                <c:pt idx="52406">
                  <c:v>0.93465311218120195</c:v>
                </c:pt>
                <c:pt idx="52407">
                  <c:v>0.93467094703049702</c:v>
                </c:pt>
                <c:pt idx="52408">
                  <c:v>0.93468878187979298</c:v>
                </c:pt>
                <c:pt idx="52409">
                  <c:v>0.93470661672908795</c:v>
                </c:pt>
                <c:pt idx="52410">
                  <c:v>0.93472445157838402</c:v>
                </c:pt>
                <c:pt idx="52411">
                  <c:v>0.93474228642767898</c:v>
                </c:pt>
                <c:pt idx="52412">
                  <c:v>0.93476012127697505</c:v>
                </c:pt>
                <c:pt idx="52413">
                  <c:v>0.93477795612627002</c:v>
                </c:pt>
                <c:pt idx="52414">
                  <c:v>0.93479579097556598</c:v>
                </c:pt>
                <c:pt idx="52415">
                  <c:v>0.93481362582486105</c:v>
                </c:pt>
                <c:pt idx="52416">
                  <c:v>0.93483146067415701</c:v>
                </c:pt>
                <c:pt idx="52417">
                  <c:v>0.93484929552345197</c:v>
                </c:pt>
                <c:pt idx="52418">
                  <c:v>0.93486713037274805</c:v>
                </c:pt>
                <c:pt idx="52419">
                  <c:v>0.93488496522204301</c:v>
                </c:pt>
                <c:pt idx="52420">
                  <c:v>0.93490280007133897</c:v>
                </c:pt>
                <c:pt idx="52421">
                  <c:v>0.93492063492063404</c:v>
                </c:pt>
                <c:pt idx="52422">
                  <c:v>0.93493846976993</c:v>
                </c:pt>
                <c:pt idx="52423">
                  <c:v>0.93495630461922596</c:v>
                </c:pt>
                <c:pt idx="52424">
                  <c:v>0.93497413946852104</c:v>
                </c:pt>
                <c:pt idx="52425">
                  <c:v>0.934991974317817</c:v>
                </c:pt>
                <c:pt idx="52426">
                  <c:v>0.93500980916711196</c:v>
                </c:pt>
                <c:pt idx="52427">
                  <c:v>0.93502764401640803</c:v>
                </c:pt>
                <c:pt idx="52428">
                  <c:v>0.93504547886570299</c:v>
                </c:pt>
                <c:pt idx="52429">
                  <c:v>0.93506331371499896</c:v>
                </c:pt>
                <c:pt idx="52430">
                  <c:v>0.93508114856429403</c:v>
                </c:pt>
                <c:pt idx="52431">
                  <c:v>0.93509898341358999</c:v>
                </c:pt>
                <c:pt idx="52432">
                  <c:v>0.93511681826288495</c:v>
                </c:pt>
                <c:pt idx="52433">
                  <c:v>0.93513465311218102</c:v>
                </c:pt>
                <c:pt idx="52434">
                  <c:v>0.93515248796147599</c:v>
                </c:pt>
                <c:pt idx="52435">
                  <c:v>0.93517032281077195</c:v>
                </c:pt>
                <c:pt idx="52436">
                  <c:v>0.93518815766006702</c:v>
                </c:pt>
                <c:pt idx="52437">
                  <c:v>0.93520599250936298</c:v>
                </c:pt>
                <c:pt idx="52438">
                  <c:v>0.93522382735865806</c:v>
                </c:pt>
                <c:pt idx="52439">
                  <c:v>0.93524166220795402</c:v>
                </c:pt>
                <c:pt idx="52440">
                  <c:v>0.93525949705724898</c:v>
                </c:pt>
                <c:pt idx="52441">
                  <c:v>0.93527733190654505</c:v>
                </c:pt>
                <c:pt idx="52442">
                  <c:v>0.93529516675584001</c:v>
                </c:pt>
                <c:pt idx="52443">
                  <c:v>0.93531300160513597</c:v>
                </c:pt>
                <c:pt idx="52444">
                  <c:v>0.93533083645443105</c:v>
                </c:pt>
                <c:pt idx="52445">
                  <c:v>0.93534867130372701</c:v>
                </c:pt>
                <c:pt idx="52446">
                  <c:v>0.93536650615302297</c:v>
                </c:pt>
                <c:pt idx="52447">
                  <c:v>0.93538434100231804</c:v>
                </c:pt>
                <c:pt idx="52448">
                  <c:v>0.935402175851614</c:v>
                </c:pt>
                <c:pt idx="52449">
                  <c:v>0.93542001070090897</c:v>
                </c:pt>
                <c:pt idx="52450">
                  <c:v>0.93543784555020504</c:v>
                </c:pt>
                <c:pt idx="52451">
                  <c:v>0.9354556803995</c:v>
                </c:pt>
                <c:pt idx="52452">
                  <c:v>0.93547351524879596</c:v>
                </c:pt>
                <c:pt idx="52453">
                  <c:v>0.93549135009809103</c:v>
                </c:pt>
                <c:pt idx="52454">
                  <c:v>0.935509184947387</c:v>
                </c:pt>
                <c:pt idx="52455">
                  <c:v>0.93552701979668196</c:v>
                </c:pt>
                <c:pt idx="52456">
                  <c:v>0.93554485464597803</c:v>
                </c:pt>
                <c:pt idx="52457">
                  <c:v>0.93556268949527299</c:v>
                </c:pt>
                <c:pt idx="52458">
                  <c:v>0.93558052434456895</c:v>
                </c:pt>
                <c:pt idx="52459">
                  <c:v>0.93559835919386403</c:v>
                </c:pt>
                <c:pt idx="52460">
                  <c:v>0.93561619404315999</c:v>
                </c:pt>
                <c:pt idx="52461">
                  <c:v>0.93563402889245495</c:v>
                </c:pt>
                <c:pt idx="52462">
                  <c:v>0.93565186374175102</c:v>
                </c:pt>
                <c:pt idx="52463">
                  <c:v>0.93566969859104598</c:v>
                </c:pt>
                <c:pt idx="52464">
                  <c:v>0.93568753344034195</c:v>
                </c:pt>
                <c:pt idx="52465">
                  <c:v>0.93570536828963702</c:v>
                </c:pt>
                <c:pt idx="52466">
                  <c:v>0.93572320313893298</c:v>
                </c:pt>
                <c:pt idx="52467">
                  <c:v>0.93574103798822905</c:v>
                </c:pt>
                <c:pt idx="52468">
                  <c:v>0.93575887283752401</c:v>
                </c:pt>
                <c:pt idx="52469">
                  <c:v>0.93577670768681998</c:v>
                </c:pt>
                <c:pt idx="52470">
                  <c:v>0.93579454253611505</c:v>
                </c:pt>
                <c:pt idx="52471">
                  <c:v>0.93581237738541101</c:v>
                </c:pt>
                <c:pt idx="52472">
                  <c:v>0.93583021223470597</c:v>
                </c:pt>
                <c:pt idx="52473">
                  <c:v>0.93584804708400204</c:v>
                </c:pt>
                <c:pt idx="52474">
                  <c:v>0.93586588193329701</c:v>
                </c:pt>
                <c:pt idx="52475">
                  <c:v>0.93588371678259297</c:v>
                </c:pt>
                <c:pt idx="52476">
                  <c:v>0.93590155163188804</c:v>
                </c:pt>
                <c:pt idx="52477">
                  <c:v>0.935919386481184</c:v>
                </c:pt>
                <c:pt idx="52478">
                  <c:v>0.93593722133047896</c:v>
                </c:pt>
                <c:pt idx="52479">
                  <c:v>0.93595505617977504</c:v>
                </c:pt>
                <c:pt idx="52480">
                  <c:v>0.93597289102907</c:v>
                </c:pt>
                <c:pt idx="52481">
                  <c:v>0.93599072587836596</c:v>
                </c:pt>
                <c:pt idx="52482">
                  <c:v>0.93600856072766103</c:v>
                </c:pt>
                <c:pt idx="52483">
                  <c:v>0.93602639557695699</c:v>
                </c:pt>
                <c:pt idx="52484">
                  <c:v>0.93604423042625196</c:v>
                </c:pt>
                <c:pt idx="52485">
                  <c:v>0.93606206527554803</c:v>
                </c:pt>
                <c:pt idx="52486">
                  <c:v>0.93607990012484399</c:v>
                </c:pt>
                <c:pt idx="52487">
                  <c:v>0.93609773497413895</c:v>
                </c:pt>
                <c:pt idx="52488">
                  <c:v>0.93611556982343502</c:v>
                </c:pt>
                <c:pt idx="52489">
                  <c:v>0.93613340467272999</c:v>
                </c:pt>
                <c:pt idx="52490">
                  <c:v>0.93615123952202595</c:v>
                </c:pt>
                <c:pt idx="52491">
                  <c:v>0.93616907437132102</c:v>
                </c:pt>
                <c:pt idx="52492">
                  <c:v>0.93618690922061698</c:v>
                </c:pt>
                <c:pt idx="52493">
                  <c:v>0.93620474406991205</c:v>
                </c:pt>
                <c:pt idx="52494">
                  <c:v>0.93622257891920801</c:v>
                </c:pt>
                <c:pt idx="52495">
                  <c:v>0.93624041376850298</c:v>
                </c:pt>
                <c:pt idx="52496">
                  <c:v>0.93625824861779905</c:v>
                </c:pt>
                <c:pt idx="52497">
                  <c:v>0.93627608346709401</c:v>
                </c:pt>
                <c:pt idx="52498">
                  <c:v>0.93629391831638997</c:v>
                </c:pt>
                <c:pt idx="52499">
                  <c:v>0.93631175316568505</c:v>
                </c:pt>
                <c:pt idx="52500">
                  <c:v>0.93632958801498101</c:v>
                </c:pt>
                <c:pt idx="52501">
                  <c:v>0.93634742286427597</c:v>
                </c:pt>
                <c:pt idx="52502">
                  <c:v>0.93636525771357204</c:v>
                </c:pt>
                <c:pt idx="52503">
                  <c:v>0.936383092562867</c:v>
                </c:pt>
                <c:pt idx="52504">
                  <c:v>0.93640092741216296</c:v>
                </c:pt>
                <c:pt idx="52505">
                  <c:v>0.93641876226145804</c:v>
                </c:pt>
                <c:pt idx="52506">
                  <c:v>0.936436597110754</c:v>
                </c:pt>
                <c:pt idx="52507">
                  <c:v>0.93645443196004996</c:v>
                </c:pt>
                <c:pt idx="52508">
                  <c:v>0.93647226680934503</c:v>
                </c:pt>
                <c:pt idx="52509">
                  <c:v>0.93649010165864099</c:v>
                </c:pt>
                <c:pt idx="52510">
                  <c:v>0.93650793650793596</c:v>
                </c:pt>
                <c:pt idx="52511">
                  <c:v>0.93652577135723203</c:v>
                </c:pt>
                <c:pt idx="52512">
                  <c:v>0.93654360620652699</c:v>
                </c:pt>
                <c:pt idx="52513">
                  <c:v>0.93656144105582295</c:v>
                </c:pt>
                <c:pt idx="52514">
                  <c:v>0.93657927590511802</c:v>
                </c:pt>
                <c:pt idx="52515">
                  <c:v>0.93659711075441399</c:v>
                </c:pt>
                <c:pt idx="52516">
                  <c:v>0.93661494560370895</c:v>
                </c:pt>
                <c:pt idx="52517">
                  <c:v>0.93663278045300502</c:v>
                </c:pt>
                <c:pt idx="52518">
                  <c:v>0.93665061530229998</c:v>
                </c:pt>
                <c:pt idx="52519">
                  <c:v>0.93666845015159605</c:v>
                </c:pt>
                <c:pt idx="52520">
                  <c:v>0.93668628500089102</c:v>
                </c:pt>
                <c:pt idx="52521">
                  <c:v>0.93670411985018698</c:v>
                </c:pt>
                <c:pt idx="52522">
                  <c:v>0.93672195469948205</c:v>
                </c:pt>
                <c:pt idx="52523">
                  <c:v>0.93673978954877801</c:v>
                </c:pt>
                <c:pt idx="52524">
                  <c:v>0.93675762439807297</c:v>
                </c:pt>
                <c:pt idx="52525">
                  <c:v>0.93677545924736905</c:v>
                </c:pt>
                <c:pt idx="52526">
                  <c:v>0.93679329409666401</c:v>
                </c:pt>
                <c:pt idx="52527">
                  <c:v>0.93681112894595997</c:v>
                </c:pt>
                <c:pt idx="52528">
                  <c:v>0.93682896379525504</c:v>
                </c:pt>
                <c:pt idx="52529">
                  <c:v>0.936846798644551</c:v>
                </c:pt>
                <c:pt idx="52530">
                  <c:v>0.93686463349384697</c:v>
                </c:pt>
                <c:pt idx="52531">
                  <c:v>0.93688246834314204</c:v>
                </c:pt>
                <c:pt idx="52532">
                  <c:v>0.936900303192438</c:v>
                </c:pt>
                <c:pt idx="52533">
                  <c:v>0.93691813804173296</c:v>
                </c:pt>
                <c:pt idx="52534">
                  <c:v>0.93693597289102903</c:v>
                </c:pt>
                <c:pt idx="52535">
                  <c:v>0.936953807740324</c:v>
                </c:pt>
                <c:pt idx="52536">
                  <c:v>0.93697164258961996</c:v>
                </c:pt>
                <c:pt idx="52537">
                  <c:v>0.93698947743891503</c:v>
                </c:pt>
                <c:pt idx="52538">
                  <c:v>0.93700731228821099</c:v>
                </c:pt>
                <c:pt idx="52539">
                  <c:v>0.93702514713750595</c:v>
                </c:pt>
                <c:pt idx="52540">
                  <c:v>0.93704298198680203</c:v>
                </c:pt>
                <c:pt idx="52541">
                  <c:v>0.93706081683609699</c:v>
                </c:pt>
                <c:pt idx="52542">
                  <c:v>0.93707865168539295</c:v>
                </c:pt>
                <c:pt idx="52543">
                  <c:v>0.93709648653468802</c:v>
                </c:pt>
                <c:pt idx="52544">
                  <c:v>0.93711432138398398</c:v>
                </c:pt>
                <c:pt idx="52545">
                  <c:v>0.93713215623327895</c:v>
                </c:pt>
                <c:pt idx="52546">
                  <c:v>0.93714999108257502</c:v>
                </c:pt>
                <c:pt idx="52547">
                  <c:v>0.93716782593186998</c:v>
                </c:pt>
                <c:pt idx="52548">
                  <c:v>0.93718566078116605</c:v>
                </c:pt>
                <c:pt idx="52549">
                  <c:v>0.93720349563046101</c:v>
                </c:pt>
                <c:pt idx="52550">
                  <c:v>0.93722133047975698</c:v>
                </c:pt>
                <c:pt idx="52551">
                  <c:v>0.93723916532905205</c:v>
                </c:pt>
                <c:pt idx="52552">
                  <c:v>0.93725700017834801</c:v>
                </c:pt>
                <c:pt idx="52553">
                  <c:v>0.93727483502764397</c:v>
                </c:pt>
                <c:pt idx="52554">
                  <c:v>0.93729266987693904</c:v>
                </c:pt>
                <c:pt idx="52555">
                  <c:v>0.93731050472623501</c:v>
                </c:pt>
                <c:pt idx="52556">
                  <c:v>0.93732833957552997</c:v>
                </c:pt>
                <c:pt idx="52557">
                  <c:v>0.93734617442482604</c:v>
                </c:pt>
                <c:pt idx="52558">
                  <c:v>0.937364009274121</c:v>
                </c:pt>
                <c:pt idx="52559">
                  <c:v>0.93738184412341696</c:v>
                </c:pt>
                <c:pt idx="52560">
                  <c:v>0.93739967897271204</c:v>
                </c:pt>
                <c:pt idx="52561">
                  <c:v>0.937417513822008</c:v>
                </c:pt>
                <c:pt idx="52562">
                  <c:v>0.93743534867130296</c:v>
                </c:pt>
                <c:pt idx="52563">
                  <c:v>0.93745318352059903</c:v>
                </c:pt>
                <c:pt idx="52564">
                  <c:v>0.93747101836989399</c:v>
                </c:pt>
                <c:pt idx="52565">
                  <c:v>0.93748885321918995</c:v>
                </c:pt>
                <c:pt idx="52566">
                  <c:v>0.93750668806848503</c:v>
                </c:pt>
                <c:pt idx="52567">
                  <c:v>0.93752452291778099</c:v>
                </c:pt>
                <c:pt idx="52568">
                  <c:v>0.93754235776707595</c:v>
                </c:pt>
                <c:pt idx="52569">
                  <c:v>0.93756019261637202</c:v>
                </c:pt>
                <c:pt idx="52570">
                  <c:v>0.93757802746566699</c:v>
                </c:pt>
                <c:pt idx="52571">
                  <c:v>0.93759586231496295</c:v>
                </c:pt>
                <c:pt idx="52572">
                  <c:v>0.93761369716425802</c:v>
                </c:pt>
                <c:pt idx="52573">
                  <c:v>0.93763153201355398</c:v>
                </c:pt>
                <c:pt idx="52574">
                  <c:v>0.93764936686285005</c:v>
                </c:pt>
                <c:pt idx="52575">
                  <c:v>0.93766720171214502</c:v>
                </c:pt>
                <c:pt idx="52576">
                  <c:v>0.93768503656144098</c:v>
                </c:pt>
                <c:pt idx="52577">
                  <c:v>0.93770287141073605</c:v>
                </c:pt>
                <c:pt idx="52578">
                  <c:v>0.93772070626003201</c:v>
                </c:pt>
                <c:pt idx="52579">
                  <c:v>0.93773854110932697</c:v>
                </c:pt>
                <c:pt idx="52580">
                  <c:v>0.93775637595862305</c:v>
                </c:pt>
                <c:pt idx="52581">
                  <c:v>0.93777421080791801</c:v>
                </c:pt>
                <c:pt idx="52582">
                  <c:v>0.93779204565721397</c:v>
                </c:pt>
                <c:pt idx="52583">
                  <c:v>0.93780988050650904</c:v>
                </c:pt>
                <c:pt idx="52584">
                  <c:v>0.937827715355805</c:v>
                </c:pt>
                <c:pt idx="52585">
                  <c:v>0.93784555020509996</c:v>
                </c:pt>
                <c:pt idx="52586">
                  <c:v>0.93786338505439604</c:v>
                </c:pt>
                <c:pt idx="52587">
                  <c:v>0.937881219903691</c:v>
                </c:pt>
                <c:pt idx="52588">
                  <c:v>0.93789905475298696</c:v>
                </c:pt>
                <c:pt idx="52589">
                  <c:v>0.93791688960228203</c:v>
                </c:pt>
                <c:pt idx="52590">
                  <c:v>0.93793472445157799</c:v>
                </c:pt>
                <c:pt idx="52591">
                  <c:v>0.93795255930087396</c:v>
                </c:pt>
                <c:pt idx="52592">
                  <c:v>0.93797039415016903</c:v>
                </c:pt>
                <c:pt idx="52593">
                  <c:v>0.93798822899946499</c:v>
                </c:pt>
                <c:pt idx="52594">
                  <c:v>0.93800606384875995</c:v>
                </c:pt>
                <c:pt idx="52595">
                  <c:v>0.93802389869805602</c:v>
                </c:pt>
                <c:pt idx="52596">
                  <c:v>0.93804173354735099</c:v>
                </c:pt>
                <c:pt idx="52597">
                  <c:v>0.93805956839664695</c:v>
                </c:pt>
                <c:pt idx="52598">
                  <c:v>0.93807740324594202</c:v>
                </c:pt>
                <c:pt idx="52599">
                  <c:v>0.93809523809523798</c:v>
                </c:pt>
                <c:pt idx="52600">
                  <c:v>0.93811307294453306</c:v>
                </c:pt>
                <c:pt idx="52601">
                  <c:v>0.93813090779382902</c:v>
                </c:pt>
                <c:pt idx="52602">
                  <c:v>0.93814874264312398</c:v>
                </c:pt>
                <c:pt idx="52603">
                  <c:v>0.93816657749242005</c:v>
                </c:pt>
                <c:pt idx="52604">
                  <c:v>0.93818441234171501</c:v>
                </c:pt>
                <c:pt idx="52605">
                  <c:v>0.93820224719101097</c:v>
                </c:pt>
                <c:pt idx="52606">
                  <c:v>0.93822008204030605</c:v>
                </c:pt>
                <c:pt idx="52607">
                  <c:v>0.93823791688960201</c:v>
                </c:pt>
                <c:pt idx="52608">
                  <c:v>0.93825575173889697</c:v>
                </c:pt>
                <c:pt idx="52609">
                  <c:v>0.93827358658819304</c:v>
                </c:pt>
                <c:pt idx="52610">
                  <c:v>0.938291421437488</c:v>
                </c:pt>
                <c:pt idx="52611">
                  <c:v>0.93830925628678397</c:v>
                </c:pt>
                <c:pt idx="52612">
                  <c:v>0.93832709113607904</c:v>
                </c:pt>
                <c:pt idx="52613">
                  <c:v>0.938344925985375</c:v>
                </c:pt>
                <c:pt idx="52614">
                  <c:v>0.93836276083467096</c:v>
                </c:pt>
                <c:pt idx="52615">
                  <c:v>0.93838059568396603</c:v>
                </c:pt>
                <c:pt idx="52616">
                  <c:v>0.938398430533262</c:v>
                </c:pt>
                <c:pt idx="52617">
                  <c:v>0.93841626538255696</c:v>
                </c:pt>
                <c:pt idx="52618">
                  <c:v>0.93843410023185303</c:v>
                </c:pt>
                <c:pt idx="52619">
                  <c:v>0.93845193508114799</c:v>
                </c:pt>
                <c:pt idx="52620">
                  <c:v>0.93846976993044395</c:v>
                </c:pt>
                <c:pt idx="52621">
                  <c:v>0.93848760477973903</c:v>
                </c:pt>
                <c:pt idx="52622">
                  <c:v>0.93850543962903499</c:v>
                </c:pt>
                <c:pt idx="52623">
                  <c:v>0.93852327447832995</c:v>
                </c:pt>
                <c:pt idx="52624">
                  <c:v>0.93854110932762602</c:v>
                </c:pt>
                <c:pt idx="52625">
                  <c:v>0.93855894417692098</c:v>
                </c:pt>
                <c:pt idx="52626">
                  <c:v>0.93857677902621695</c:v>
                </c:pt>
                <c:pt idx="52627">
                  <c:v>0.93859461387551202</c:v>
                </c:pt>
                <c:pt idx="52628">
                  <c:v>0.93861244872480798</c:v>
                </c:pt>
                <c:pt idx="52629">
                  <c:v>0.93863028357410305</c:v>
                </c:pt>
                <c:pt idx="52630">
                  <c:v>0.93864811842339901</c:v>
                </c:pt>
                <c:pt idx="52631">
                  <c:v>0.93866595327269398</c:v>
                </c:pt>
                <c:pt idx="52632">
                  <c:v>0.93868378812199005</c:v>
                </c:pt>
                <c:pt idx="52633">
                  <c:v>0.93870162297128501</c:v>
                </c:pt>
                <c:pt idx="52634">
                  <c:v>0.93871945782058097</c:v>
                </c:pt>
                <c:pt idx="52635">
                  <c:v>0.93873729266987604</c:v>
                </c:pt>
                <c:pt idx="52636">
                  <c:v>0.93875512751917201</c:v>
                </c:pt>
                <c:pt idx="52637">
                  <c:v>0.93877296236846797</c:v>
                </c:pt>
                <c:pt idx="52638">
                  <c:v>0.93879079721776304</c:v>
                </c:pt>
                <c:pt idx="52639">
                  <c:v>0.938808632067059</c:v>
                </c:pt>
                <c:pt idx="52640">
                  <c:v>0.93882646691635396</c:v>
                </c:pt>
                <c:pt idx="52641">
                  <c:v>0.93884430176565004</c:v>
                </c:pt>
                <c:pt idx="52642">
                  <c:v>0.938862136614945</c:v>
                </c:pt>
                <c:pt idx="52643">
                  <c:v>0.93887997146424096</c:v>
                </c:pt>
                <c:pt idx="52644">
                  <c:v>0.93889780631353603</c:v>
                </c:pt>
                <c:pt idx="52645">
                  <c:v>0.93891564116283199</c:v>
                </c:pt>
                <c:pt idx="52646">
                  <c:v>0.93893347601212696</c:v>
                </c:pt>
                <c:pt idx="52647">
                  <c:v>0.93895131086142303</c:v>
                </c:pt>
                <c:pt idx="52648">
                  <c:v>0.93896914571071799</c:v>
                </c:pt>
                <c:pt idx="52649">
                  <c:v>0.93898698056001395</c:v>
                </c:pt>
                <c:pt idx="52650">
                  <c:v>0.93900481540930902</c:v>
                </c:pt>
                <c:pt idx="52651">
                  <c:v>0.93902265025860499</c:v>
                </c:pt>
                <c:pt idx="52652">
                  <c:v>0.93904048510789995</c:v>
                </c:pt>
                <c:pt idx="52653">
                  <c:v>0.93905831995719602</c:v>
                </c:pt>
                <c:pt idx="52654">
                  <c:v>0.93907615480649098</c:v>
                </c:pt>
                <c:pt idx="52655">
                  <c:v>0.93909398965578705</c:v>
                </c:pt>
                <c:pt idx="52656">
                  <c:v>0.93911182450508202</c:v>
                </c:pt>
                <c:pt idx="52657">
                  <c:v>0.93912965935437798</c:v>
                </c:pt>
                <c:pt idx="52658">
                  <c:v>0.93914749420367305</c:v>
                </c:pt>
                <c:pt idx="52659">
                  <c:v>0.93916532905296901</c:v>
                </c:pt>
                <c:pt idx="52660">
                  <c:v>0.93918316390226497</c:v>
                </c:pt>
                <c:pt idx="52661">
                  <c:v>0.93920099875156005</c:v>
                </c:pt>
                <c:pt idx="52662">
                  <c:v>0.93921883360085601</c:v>
                </c:pt>
                <c:pt idx="52663">
                  <c:v>0.93923666845015097</c:v>
                </c:pt>
                <c:pt idx="52664">
                  <c:v>0.93925450329944704</c:v>
                </c:pt>
                <c:pt idx="52665">
                  <c:v>0.939272338148742</c:v>
                </c:pt>
                <c:pt idx="52666">
                  <c:v>0.93929017299803796</c:v>
                </c:pt>
                <c:pt idx="52667">
                  <c:v>0.93930800784733304</c:v>
                </c:pt>
                <c:pt idx="52668">
                  <c:v>0.939325842696629</c:v>
                </c:pt>
                <c:pt idx="52669">
                  <c:v>0.93934367754592396</c:v>
                </c:pt>
                <c:pt idx="52670">
                  <c:v>0.93936151239522003</c:v>
                </c:pt>
                <c:pt idx="52671">
                  <c:v>0.939379347244515</c:v>
                </c:pt>
                <c:pt idx="52672">
                  <c:v>0.93939718209381096</c:v>
                </c:pt>
                <c:pt idx="52673">
                  <c:v>0.93941501694310603</c:v>
                </c:pt>
                <c:pt idx="52674">
                  <c:v>0.93943285179240199</c:v>
                </c:pt>
                <c:pt idx="52675">
                  <c:v>0.93945068664169695</c:v>
                </c:pt>
                <c:pt idx="52676">
                  <c:v>0.93946852149099302</c:v>
                </c:pt>
                <c:pt idx="52677">
                  <c:v>0.93948635634028799</c:v>
                </c:pt>
                <c:pt idx="52678">
                  <c:v>0.93950419118958395</c:v>
                </c:pt>
                <c:pt idx="52679">
                  <c:v>0.93952202603888002</c:v>
                </c:pt>
                <c:pt idx="52680">
                  <c:v>0.93953986088817498</c:v>
                </c:pt>
                <c:pt idx="52681">
                  <c:v>0.93955769573747105</c:v>
                </c:pt>
                <c:pt idx="52682">
                  <c:v>0.93957553058676602</c:v>
                </c:pt>
                <c:pt idx="52683">
                  <c:v>0.93959336543606198</c:v>
                </c:pt>
                <c:pt idx="52684">
                  <c:v>0.93961120028535705</c:v>
                </c:pt>
                <c:pt idx="52685">
                  <c:v>0.93962903513465301</c:v>
                </c:pt>
                <c:pt idx="52686">
                  <c:v>0.93964686998394797</c:v>
                </c:pt>
                <c:pt idx="52687">
                  <c:v>0.93966470483324405</c:v>
                </c:pt>
                <c:pt idx="52688">
                  <c:v>0.93968253968253901</c:v>
                </c:pt>
                <c:pt idx="52689">
                  <c:v>0.93970037453183497</c:v>
                </c:pt>
                <c:pt idx="52690">
                  <c:v>0.93971820938113004</c:v>
                </c:pt>
                <c:pt idx="52691">
                  <c:v>0.939736044230426</c:v>
                </c:pt>
                <c:pt idx="52692">
                  <c:v>0.93975387907972097</c:v>
                </c:pt>
                <c:pt idx="52693">
                  <c:v>0.93977171392901704</c:v>
                </c:pt>
                <c:pt idx="52694">
                  <c:v>0.939789548778312</c:v>
                </c:pt>
                <c:pt idx="52695">
                  <c:v>0.93980738362760796</c:v>
                </c:pt>
                <c:pt idx="52696">
                  <c:v>0.93982521847690303</c:v>
                </c:pt>
                <c:pt idx="52697">
                  <c:v>0.939843053326199</c:v>
                </c:pt>
                <c:pt idx="52698">
                  <c:v>0.93986088817549496</c:v>
                </c:pt>
                <c:pt idx="52699">
                  <c:v>0.93987872302479003</c:v>
                </c:pt>
                <c:pt idx="52700">
                  <c:v>0.93989655787408599</c:v>
                </c:pt>
                <c:pt idx="52701">
                  <c:v>0.93991439272338095</c:v>
                </c:pt>
                <c:pt idx="52702">
                  <c:v>0.93993222757267703</c:v>
                </c:pt>
                <c:pt idx="52703">
                  <c:v>0.93995006242197199</c:v>
                </c:pt>
                <c:pt idx="52704">
                  <c:v>0.93996789727126795</c:v>
                </c:pt>
                <c:pt idx="52705">
                  <c:v>0.93998573212056302</c:v>
                </c:pt>
                <c:pt idx="52706">
                  <c:v>0.94000356696985898</c:v>
                </c:pt>
                <c:pt idx="52707">
                  <c:v>0.94002140181915395</c:v>
                </c:pt>
                <c:pt idx="52708">
                  <c:v>0.94003923666845002</c:v>
                </c:pt>
                <c:pt idx="52709">
                  <c:v>0.94005707151774498</c:v>
                </c:pt>
                <c:pt idx="52710">
                  <c:v>0.94007490636704105</c:v>
                </c:pt>
                <c:pt idx="52711">
                  <c:v>0.94009274121633601</c:v>
                </c:pt>
                <c:pt idx="52712">
                  <c:v>0.94011057606563198</c:v>
                </c:pt>
                <c:pt idx="52713">
                  <c:v>0.94012841091492705</c:v>
                </c:pt>
                <c:pt idx="52714">
                  <c:v>0.94014624576422301</c:v>
                </c:pt>
                <c:pt idx="52715">
                  <c:v>0.94016408061351797</c:v>
                </c:pt>
                <c:pt idx="52716">
                  <c:v>0.94018191546281404</c:v>
                </c:pt>
                <c:pt idx="52717">
                  <c:v>0.94019975031210901</c:v>
                </c:pt>
                <c:pt idx="52718">
                  <c:v>0.94021758516140497</c:v>
                </c:pt>
                <c:pt idx="52719">
                  <c:v>0.94023542001070004</c:v>
                </c:pt>
                <c:pt idx="52720">
                  <c:v>0.940253254859996</c:v>
                </c:pt>
                <c:pt idx="52721">
                  <c:v>0.94027108970929196</c:v>
                </c:pt>
                <c:pt idx="52722">
                  <c:v>0.94028892455858704</c:v>
                </c:pt>
                <c:pt idx="52723">
                  <c:v>0.940306759407883</c:v>
                </c:pt>
                <c:pt idx="52724">
                  <c:v>0.94032459425717796</c:v>
                </c:pt>
                <c:pt idx="52725">
                  <c:v>0.94034242910647403</c:v>
                </c:pt>
                <c:pt idx="52726">
                  <c:v>0.94036026395576899</c:v>
                </c:pt>
                <c:pt idx="52727">
                  <c:v>0.94037809880506495</c:v>
                </c:pt>
                <c:pt idx="52728">
                  <c:v>0.94039593365436003</c:v>
                </c:pt>
                <c:pt idx="52729">
                  <c:v>0.94041376850365599</c:v>
                </c:pt>
                <c:pt idx="52730">
                  <c:v>0.94043160335295095</c:v>
                </c:pt>
                <c:pt idx="52731">
                  <c:v>0.94044943820224702</c:v>
                </c:pt>
                <c:pt idx="52732">
                  <c:v>0.94046727305154199</c:v>
                </c:pt>
                <c:pt idx="52733">
                  <c:v>0.94048510790083795</c:v>
                </c:pt>
                <c:pt idx="52734">
                  <c:v>0.94050294275013302</c:v>
                </c:pt>
                <c:pt idx="52735">
                  <c:v>0.94052077759942898</c:v>
                </c:pt>
                <c:pt idx="52736">
                  <c:v>0.94053861244872405</c:v>
                </c:pt>
                <c:pt idx="52737">
                  <c:v>0.94055644729802002</c:v>
                </c:pt>
                <c:pt idx="52738">
                  <c:v>0.94057428214731498</c:v>
                </c:pt>
                <c:pt idx="52739">
                  <c:v>0.94059211699661105</c:v>
                </c:pt>
                <c:pt idx="52740">
                  <c:v>0.94060995184590601</c:v>
                </c:pt>
                <c:pt idx="52741">
                  <c:v>0.94062778669520197</c:v>
                </c:pt>
                <c:pt idx="52742">
                  <c:v>0.94064562154449705</c:v>
                </c:pt>
                <c:pt idx="52743">
                  <c:v>0.94066345639379301</c:v>
                </c:pt>
                <c:pt idx="52744">
                  <c:v>0.94068129124308897</c:v>
                </c:pt>
                <c:pt idx="52745">
                  <c:v>0.94069912609238404</c:v>
                </c:pt>
                <c:pt idx="52746">
                  <c:v>0.94071696094168</c:v>
                </c:pt>
                <c:pt idx="52747">
                  <c:v>0.94073479579097496</c:v>
                </c:pt>
                <c:pt idx="52748">
                  <c:v>0.94075263064027104</c:v>
                </c:pt>
                <c:pt idx="52749">
                  <c:v>0.940770465489566</c:v>
                </c:pt>
                <c:pt idx="52750">
                  <c:v>0.94078830033886196</c:v>
                </c:pt>
                <c:pt idx="52751">
                  <c:v>0.94080613518815703</c:v>
                </c:pt>
                <c:pt idx="52752">
                  <c:v>0.94082397003745299</c:v>
                </c:pt>
                <c:pt idx="52753">
                  <c:v>0.94084180488674796</c:v>
                </c:pt>
                <c:pt idx="52754">
                  <c:v>0.94085963973604403</c:v>
                </c:pt>
                <c:pt idx="52755">
                  <c:v>0.94087747458533899</c:v>
                </c:pt>
                <c:pt idx="52756">
                  <c:v>0.94089530943463495</c:v>
                </c:pt>
                <c:pt idx="52757">
                  <c:v>0.94091314428393003</c:v>
                </c:pt>
                <c:pt idx="52758">
                  <c:v>0.94093097913322599</c:v>
                </c:pt>
                <c:pt idx="52759">
                  <c:v>0.94094881398252095</c:v>
                </c:pt>
                <c:pt idx="52760">
                  <c:v>0.94096664883181702</c:v>
                </c:pt>
                <c:pt idx="52761">
                  <c:v>0.94098448368111198</c:v>
                </c:pt>
                <c:pt idx="52762">
                  <c:v>0.94100231853040806</c:v>
                </c:pt>
                <c:pt idx="52763">
                  <c:v>0.94102015337970302</c:v>
                </c:pt>
                <c:pt idx="52764">
                  <c:v>0.94103798822899898</c:v>
                </c:pt>
                <c:pt idx="52765">
                  <c:v>0.94105582307829405</c:v>
                </c:pt>
                <c:pt idx="52766">
                  <c:v>0.94107365792759001</c:v>
                </c:pt>
                <c:pt idx="52767">
                  <c:v>0.94109149277688597</c:v>
                </c:pt>
                <c:pt idx="52768">
                  <c:v>0.94110932762618105</c:v>
                </c:pt>
                <c:pt idx="52769">
                  <c:v>0.94112716247547701</c:v>
                </c:pt>
                <c:pt idx="52770">
                  <c:v>0.94114499732477197</c:v>
                </c:pt>
                <c:pt idx="52771">
                  <c:v>0.94116283217406804</c:v>
                </c:pt>
                <c:pt idx="52772">
                  <c:v>0.941180667023363</c:v>
                </c:pt>
                <c:pt idx="52773">
                  <c:v>0.94119850187265897</c:v>
                </c:pt>
                <c:pt idx="52774">
                  <c:v>0.94121633672195404</c:v>
                </c:pt>
                <c:pt idx="52775">
                  <c:v>0.94123417157125</c:v>
                </c:pt>
                <c:pt idx="52776">
                  <c:v>0.94125200642054496</c:v>
                </c:pt>
                <c:pt idx="52777">
                  <c:v>0.94126984126984103</c:v>
                </c:pt>
                <c:pt idx="52778">
                  <c:v>0.941287676119136</c:v>
                </c:pt>
                <c:pt idx="52779">
                  <c:v>0.94130551096843196</c:v>
                </c:pt>
                <c:pt idx="52780">
                  <c:v>0.94132334581772703</c:v>
                </c:pt>
                <c:pt idx="52781">
                  <c:v>0.94134118066702299</c:v>
                </c:pt>
                <c:pt idx="52782">
                  <c:v>0.94135901551631795</c:v>
                </c:pt>
                <c:pt idx="52783">
                  <c:v>0.94137685036561403</c:v>
                </c:pt>
                <c:pt idx="52784">
                  <c:v>0.94139468521490999</c:v>
                </c:pt>
                <c:pt idx="52785">
                  <c:v>0.94141252006420495</c:v>
                </c:pt>
                <c:pt idx="52786">
                  <c:v>0.94143035491350102</c:v>
                </c:pt>
                <c:pt idx="52787">
                  <c:v>0.94144818976279598</c:v>
                </c:pt>
                <c:pt idx="52788">
                  <c:v>0.94146602461209195</c:v>
                </c:pt>
                <c:pt idx="52789">
                  <c:v>0.94148385946138702</c:v>
                </c:pt>
                <c:pt idx="52790">
                  <c:v>0.94150169431068298</c:v>
                </c:pt>
                <c:pt idx="52791">
                  <c:v>0.94151952915997805</c:v>
                </c:pt>
                <c:pt idx="52792">
                  <c:v>0.94153736400927401</c:v>
                </c:pt>
                <c:pt idx="52793">
                  <c:v>0.94155519885856898</c:v>
                </c:pt>
                <c:pt idx="52794">
                  <c:v>0.94157303370786505</c:v>
                </c:pt>
                <c:pt idx="52795">
                  <c:v>0.94159086855716001</c:v>
                </c:pt>
                <c:pt idx="52796">
                  <c:v>0.94160870340645597</c:v>
                </c:pt>
                <c:pt idx="52797">
                  <c:v>0.94162653825575104</c:v>
                </c:pt>
                <c:pt idx="52798">
                  <c:v>0.94164437310504701</c:v>
                </c:pt>
                <c:pt idx="52799">
                  <c:v>0.94166220795434197</c:v>
                </c:pt>
                <c:pt idx="52800">
                  <c:v>0.94168004280363804</c:v>
                </c:pt>
                <c:pt idx="52801">
                  <c:v>0.941697877652933</c:v>
                </c:pt>
                <c:pt idx="52802">
                  <c:v>0.94171571250222896</c:v>
                </c:pt>
                <c:pt idx="52803">
                  <c:v>0.94173354735152404</c:v>
                </c:pt>
                <c:pt idx="52804">
                  <c:v>0.94175138220082</c:v>
                </c:pt>
                <c:pt idx="52805">
                  <c:v>0.94176921705011596</c:v>
                </c:pt>
                <c:pt idx="52806">
                  <c:v>0.94178705189941103</c:v>
                </c:pt>
                <c:pt idx="52807">
                  <c:v>0.94180488674870699</c:v>
                </c:pt>
                <c:pt idx="52808">
                  <c:v>0.94182272159800196</c:v>
                </c:pt>
                <c:pt idx="52809">
                  <c:v>0.94184055644729803</c:v>
                </c:pt>
                <c:pt idx="52810">
                  <c:v>0.94185839129659299</c:v>
                </c:pt>
                <c:pt idx="52811">
                  <c:v>0.94187622614588895</c:v>
                </c:pt>
                <c:pt idx="52812">
                  <c:v>0.94189406099518402</c:v>
                </c:pt>
                <c:pt idx="52813">
                  <c:v>0.94191189584447998</c:v>
                </c:pt>
                <c:pt idx="52814">
                  <c:v>0.94192973069377495</c:v>
                </c:pt>
                <c:pt idx="52815">
                  <c:v>0.94194756554307102</c:v>
                </c:pt>
                <c:pt idx="52816">
                  <c:v>0.94196540039236598</c:v>
                </c:pt>
                <c:pt idx="52817">
                  <c:v>0.94198323524166205</c:v>
                </c:pt>
                <c:pt idx="52818">
                  <c:v>0.94200107009095702</c:v>
                </c:pt>
                <c:pt idx="52819">
                  <c:v>0.94201890494025298</c:v>
                </c:pt>
                <c:pt idx="52820">
                  <c:v>0.94203673978954805</c:v>
                </c:pt>
                <c:pt idx="52821">
                  <c:v>0.94205457463884401</c:v>
                </c:pt>
                <c:pt idx="52822">
                  <c:v>0.94207240948813897</c:v>
                </c:pt>
                <c:pt idx="52823">
                  <c:v>0.94209024433743505</c:v>
                </c:pt>
                <c:pt idx="52824">
                  <c:v>0.94210807918673001</c:v>
                </c:pt>
                <c:pt idx="52825">
                  <c:v>0.94212591403602597</c:v>
                </c:pt>
                <c:pt idx="52826">
                  <c:v>0.94214374888532104</c:v>
                </c:pt>
                <c:pt idx="52827">
                  <c:v>0.942161583734617</c:v>
                </c:pt>
                <c:pt idx="52828">
                  <c:v>0.94217941858391296</c:v>
                </c:pt>
                <c:pt idx="52829">
                  <c:v>0.94219725343320804</c:v>
                </c:pt>
                <c:pt idx="52830">
                  <c:v>0.942215088282504</c:v>
                </c:pt>
                <c:pt idx="52831">
                  <c:v>0.94223292313179896</c:v>
                </c:pt>
                <c:pt idx="52832">
                  <c:v>0.94225075798109503</c:v>
                </c:pt>
                <c:pt idx="52833">
                  <c:v>0.94226859283038999</c:v>
                </c:pt>
                <c:pt idx="52834">
                  <c:v>0.94228642767968596</c:v>
                </c:pt>
                <c:pt idx="52835">
                  <c:v>0.94230426252898103</c:v>
                </c:pt>
                <c:pt idx="52836">
                  <c:v>0.94232209737827699</c:v>
                </c:pt>
                <c:pt idx="52837">
                  <c:v>0.94233993222757195</c:v>
                </c:pt>
                <c:pt idx="52838">
                  <c:v>0.94235776707686802</c:v>
                </c:pt>
                <c:pt idx="52839">
                  <c:v>0.94237560192616299</c:v>
                </c:pt>
                <c:pt idx="52840">
                  <c:v>0.94239343677545895</c:v>
                </c:pt>
                <c:pt idx="52841">
                  <c:v>0.94241127162475402</c:v>
                </c:pt>
                <c:pt idx="52842">
                  <c:v>0.94242910647404998</c:v>
                </c:pt>
                <c:pt idx="52843">
                  <c:v>0.94244694132334506</c:v>
                </c:pt>
                <c:pt idx="52844">
                  <c:v>0.94246477617264102</c:v>
                </c:pt>
                <c:pt idx="52845">
                  <c:v>0.94248261102193598</c:v>
                </c:pt>
                <c:pt idx="52846">
                  <c:v>0.94250044587123205</c:v>
                </c:pt>
                <c:pt idx="52847">
                  <c:v>0.94251828072052701</c:v>
                </c:pt>
                <c:pt idx="52848">
                  <c:v>0.94253611556982297</c:v>
                </c:pt>
                <c:pt idx="52849">
                  <c:v>0.94255395041911805</c:v>
                </c:pt>
                <c:pt idx="52850">
                  <c:v>0.94257178526841401</c:v>
                </c:pt>
                <c:pt idx="52851">
                  <c:v>0.94258962011770997</c:v>
                </c:pt>
                <c:pt idx="52852">
                  <c:v>0.94260745496700504</c:v>
                </c:pt>
                <c:pt idx="52853">
                  <c:v>0.942625289816301</c:v>
                </c:pt>
                <c:pt idx="52854">
                  <c:v>0.94264312466559597</c:v>
                </c:pt>
                <c:pt idx="52855">
                  <c:v>0.94266095951489204</c:v>
                </c:pt>
                <c:pt idx="52856">
                  <c:v>0.942678794364187</c:v>
                </c:pt>
                <c:pt idx="52857">
                  <c:v>0.94269662921348296</c:v>
                </c:pt>
                <c:pt idx="52858">
                  <c:v>0.94271446406277803</c:v>
                </c:pt>
                <c:pt idx="52859">
                  <c:v>0.942732298912074</c:v>
                </c:pt>
                <c:pt idx="52860">
                  <c:v>0.94275013376136896</c:v>
                </c:pt>
                <c:pt idx="52861">
                  <c:v>0.94276796861066503</c:v>
                </c:pt>
                <c:pt idx="52862">
                  <c:v>0.94278580345995999</c:v>
                </c:pt>
                <c:pt idx="52863">
                  <c:v>0.94280363830925595</c:v>
                </c:pt>
                <c:pt idx="52864">
                  <c:v>0.94282147315855103</c:v>
                </c:pt>
                <c:pt idx="52865">
                  <c:v>0.94283930800784699</c:v>
                </c:pt>
                <c:pt idx="52866">
                  <c:v>0.94285714285714195</c:v>
                </c:pt>
                <c:pt idx="52867">
                  <c:v>0.94287497770643802</c:v>
                </c:pt>
                <c:pt idx="52868">
                  <c:v>0.94289281255573298</c:v>
                </c:pt>
                <c:pt idx="52869">
                  <c:v>0.94291064740502895</c:v>
                </c:pt>
                <c:pt idx="52870">
                  <c:v>0.94292848225432402</c:v>
                </c:pt>
                <c:pt idx="52871">
                  <c:v>0.94294631710361998</c:v>
                </c:pt>
                <c:pt idx="52872">
                  <c:v>0.94296415195291605</c:v>
                </c:pt>
                <c:pt idx="52873">
                  <c:v>0.94298198680221101</c:v>
                </c:pt>
                <c:pt idx="52874">
                  <c:v>0.94299982165150698</c:v>
                </c:pt>
                <c:pt idx="52875">
                  <c:v>0.94301765650080205</c:v>
                </c:pt>
                <c:pt idx="52876">
                  <c:v>0.94303549135009801</c:v>
                </c:pt>
                <c:pt idx="52877">
                  <c:v>0.94305332619939297</c:v>
                </c:pt>
                <c:pt idx="52878">
                  <c:v>0.94307116104868904</c:v>
                </c:pt>
                <c:pt idx="52879">
                  <c:v>0.94308899589798401</c:v>
                </c:pt>
                <c:pt idx="52880">
                  <c:v>0.94310683074727997</c:v>
                </c:pt>
                <c:pt idx="52881">
                  <c:v>0.94312466559657504</c:v>
                </c:pt>
                <c:pt idx="52882">
                  <c:v>0.943142500445871</c:v>
                </c:pt>
                <c:pt idx="52883">
                  <c:v>0.94316033529516596</c:v>
                </c:pt>
                <c:pt idx="52884">
                  <c:v>0.94317817014446204</c:v>
                </c:pt>
                <c:pt idx="52885">
                  <c:v>0.943196004993757</c:v>
                </c:pt>
                <c:pt idx="52886">
                  <c:v>0.94321383984305296</c:v>
                </c:pt>
                <c:pt idx="52887">
                  <c:v>0.94323167469234803</c:v>
                </c:pt>
                <c:pt idx="52888">
                  <c:v>0.94324950954164399</c:v>
                </c:pt>
                <c:pt idx="52889">
                  <c:v>0.94326734439093896</c:v>
                </c:pt>
                <c:pt idx="52890">
                  <c:v>0.94328517924023503</c:v>
                </c:pt>
                <c:pt idx="52891">
                  <c:v>0.94330301408953099</c:v>
                </c:pt>
                <c:pt idx="52892">
                  <c:v>0.94332084893882595</c:v>
                </c:pt>
                <c:pt idx="52893">
                  <c:v>0.94333868378812202</c:v>
                </c:pt>
                <c:pt idx="52894">
                  <c:v>0.94335651863741699</c:v>
                </c:pt>
                <c:pt idx="52895">
                  <c:v>0.94337435348671295</c:v>
                </c:pt>
                <c:pt idx="52896">
                  <c:v>0.94339218833600802</c:v>
                </c:pt>
                <c:pt idx="52897">
                  <c:v>0.94341002318530398</c:v>
                </c:pt>
                <c:pt idx="52898">
                  <c:v>0.94342785803459905</c:v>
                </c:pt>
                <c:pt idx="52899">
                  <c:v>0.94344569288389502</c:v>
                </c:pt>
                <c:pt idx="52900">
                  <c:v>0.94346352773318998</c:v>
                </c:pt>
                <c:pt idx="52901">
                  <c:v>0.94348136258248605</c:v>
                </c:pt>
                <c:pt idx="52902">
                  <c:v>0.94349919743178101</c:v>
                </c:pt>
                <c:pt idx="52903">
                  <c:v>0.94351703228107697</c:v>
                </c:pt>
                <c:pt idx="52904">
                  <c:v>0.94353486713037205</c:v>
                </c:pt>
                <c:pt idx="52905">
                  <c:v>0.94355270197966801</c:v>
                </c:pt>
                <c:pt idx="52906">
                  <c:v>0.94357053682896297</c:v>
                </c:pt>
                <c:pt idx="52907">
                  <c:v>0.94358837167825904</c:v>
                </c:pt>
                <c:pt idx="52908">
                  <c:v>0.943606206527554</c:v>
                </c:pt>
                <c:pt idx="52909">
                  <c:v>0.94362404137684996</c:v>
                </c:pt>
                <c:pt idx="52910">
                  <c:v>0.94364187622614504</c:v>
                </c:pt>
                <c:pt idx="52911">
                  <c:v>0.943659711075441</c:v>
                </c:pt>
                <c:pt idx="52912">
                  <c:v>0.94367754592473696</c:v>
                </c:pt>
                <c:pt idx="52913">
                  <c:v>0.94369538077403203</c:v>
                </c:pt>
                <c:pt idx="52914">
                  <c:v>0.94371321562332799</c:v>
                </c:pt>
                <c:pt idx="52915">
                  <c:v>0.94373105047262296</c:v>
                </c:pt>
                <c:pt idx="52916">
                  <c:v>0.94374888532191903</c:v>
                </c:pt>
                <c:pt idx="52917">
                  <c:v>0.94376672017121399</c:v>
                </c:pt>
                <c:pt idx="52918">
                  <c:v>0.94378455502050995</c:v>
                </c:pt>
                <c:pt idx="52919">
                  <c:v>0.94380238986980503</c:v>
                </c:pt>
                <c:pt idx="52920">
                  <c:v>0.94382022471910099</c:v>
                </c:pt>
                <c:pt idx="52921">
                  <c:v>0.94383805956839595</c:v>
                </c:pt>
                <c:pt idx="52922">
                  <c:v>0.94385589441769202</c:v>
                </c:pt>
                <c:pt idx="52923">
                  <c:v>0.94387372926698698</c:v>
                </c:pt>
                <c:pt idx="52924">
                  <c:v>0.94389156411628305</c:v>
                </c:pt>
                <c:pt idx="52925">
                  <c:v>0.94390939896557802</c:v>
                </c:pt>
                <c:pt idx="52926">
                  <c:v>0.94392723381487398</c:v>
                </c:pt>
                <c:pt idx="52927">
                  <c:v>0.94394506866416905</c:v>
                </c:pt>
                <c:pt idx="52928">
                  <c:v>0.94396290351346501</c:v>
                </c:pt>
                <c:pt idx="52929">
                  <c:v>0.94398073836275997</c:v>
                </c:pt>
                <c:pt idx="52930">
                  <c:v>0.94399857321205605</c:v>
                </c:pt>
                <c:pt idx="52931">
                  <c:v>0.94401640806135101</c:v>
                </c:pt>
                <c:pt idx="52932">
                  <c:v>0.94403424291064697</c:v>
                </c:pt>
                <c:pt idx="52933">
                  <c:v>0.94405207775994204</c:v>
                </c:pt>
                <c:pt idx="52934">
                  <c:v>0.944069912609238</c:v>
                </c:pt>
                <c:pt idx="52935">
                  <c:v>0.94408774745853397</c:v>
                </c:pt>
                <c:pt idx="52936">
                  <c:v>0.94410558230782904</c:v>
                </c:pt>
                <c:pt idx="52937">
                  <c:v>0.944123417157125</c:v>
                </c:pt>
                <c:pt idx="52938">
                  <c:v>0.94414125200641996</c:v>
                </c:pt>
                <c:pt idx="52939">
                  <c:v>0.94415908685571603</c:v>
                </c:pt>
                <c:pt idx="52940">
                  <c:v>0.944176921705011</c:v>
                </c:pt>
                <c:pt idx="52941">
                  <c:v>0.94419475655430696</c:v>
                </c:pt>
                <c:pt idx="52942">
                  <c:v>0.94421259140360203</c:v>
                </c:pt>
                <c:pt idx="52943">
                  <c:v>0.94423042625289799</c:v>
                </c:pt>
                <c:pt idx="52944">
                  <c:v>0.94424826110219295</c:v>
                </c:pt>
                <c:pt idx="52945">
                  <c:v>0.94426609595148903</c:v>
                </c:pt>
                <c:pt idx="52946">
                  <c:v>0.94428393080078399</c:v>
                </c:pt>
                <c:pt idx="52947">
                  <c:v>0.94430176565007995</c:v>
                </c:pt>
                <c:pt idx="52948">
                  <c:v>0.94431960049937502</c:v>
                </c:pt>
                <c:pt idx="52949">
                  <c:v>0.94433743534867098</c:v>
                </c:pt>
                <c:pt idx="52950">
                  <c:v>0.94435527019796595</c:v>
                </c:pt>
                <c:pt idx="52951">
                  <c:v>0.94437310504726202</c:v>
                </c:pt>
                <c:pt idx="52952">
                  <c:v>0.94439093989655698</c:v>
                </c:pt>
                <c:pt idx="52953">
                  <c:v>0.94440877474585305</c:v>
                </c:pt>
                <c:pt idx="52954">
                  <c:v>0.94442660959514801</c:v>
                </c:pt>
                <c:pt idx="52955">
                  <c:v>0.94444444444444398</c:v>
                </c:pt>
                <c:pt idx="52956">
                  <c:v>0.94446227929373905</c:v>
                </c:pt>
                <c:pt idx="52957">
                  <c:v>0.94448011414303501</c:v>
                </c:pt>
                <c:pt idx="52958">
                  <c:v>0.94449794899233097</c:v>
                </c:pt>
                <c:pt idx="52959">
                  <c:v>0.94451578384162604</c:v>
                </c:pt>
                <c:pt idx="52960">
                  <c:v>0.94453361869092201</c:v>
                </c:pt>
                <c:pt idx="52961">
                  <c:v>0.94455145354021697</c:v>
                </c:pt>
                <c:pt idx="52962">
                  <c:v>0.94456928838951304</c:v>
                </c:pt>
                <c:pt idx="52963">
                  <c:v>0.944587123238808</c:v>
                </c:pt>
                <c:pt idx="52964">
                  <c:v>0.94460495808810396</c:v>
                </c:pt>
                <c:pt idx="52965">
                  <c:v>0.94462279293739904</c:v>
                </c:pt>
                <c:pt idx="52966">
                  <c:v>0.944640627786695</c:v>
                </c:pt>
                <c:pt idx="52967">
                  <c:v>0.94465846263598996</c:v>
                </c:pt>
                <c:pt idx="52968">
                  <c:v>0.94467629748528603</c:v>
                </c:pt>
                <c:pt idx="52969">
                  <c:v>0.94469413233458099</c:v>
                </c:pt>
                <c:pt idx="52970">
                  <c:v>0.94471196718387696</c:v>
                </c:pt>
                <c:pt idx="52971">
                  <c:v>0.94472980203317203</c:v>
                </c:pt>
                <c:pt idx="52972">
                  <c:v>0.94474763688246799</c:v>
                </c:pt>
                <c:pt idx="52973">
                  <c:v>0.94476547173176295</c:v>
                </c:pt>
                <c:pt idx="52974">
                  <c:v>0.94478330658105902</c:v>
                </c:pt>
                <c:pt idx="52975">
                  <c:v>0.94480114143035399</c:v>
                </c:pt>
                <c:pt idx="52976">
                  <c:v>0.94481897627964995</c:v>
                </c:pt>
                <c:pt idx="52977">
                  <c:v>0.94483681112894502</c:v>
                </c:pt>
                <c:pt idx="52978">
                  <c:v>0.94485464597824098</c:v>
                </c:pt>
                <c:pt idx="52979">
                  <c:v>0.94487248082753705</c:v>
                </c:pt>
                <c:pt idx="52980">
                  <c:v>0.94489031567683202</c:v>
                </c:pt>
                <c:pt idx="52981">
                  <c:v>0.94490815052612798</c:v>
                </c:pt>
                <c:pt idx="52982">
                  <c:v>0.94492598537542305</c:v>
                </c:pt>
                <c:pt idx="52983">
                  <c:v>0.94494382022471901</c:v>
                </c:pt>
                <c:pt idx="52984">
                  <c:v>0.94496165507401397</c:v>
                </c:pt>
                <c:pt idx="52985">
                  <c:v>0.94497948992331005</c:v>
                </c:pt>
                <c:pt idx="52986">
                  <c:v>0.94499732477260501</c:v>
                </c:pt>
                <c:pt idx="52987">
                  <c:v>0.94501515962190097</c:v>
                </c:pt>
                <c:pt idx="52988">
                  <c:v>0.94503299447119604</c:v>
                </c:pt>
                <c:pt idx="52989">
                  <c:v>0.945050829320492</c:v>
                </c:pt>
                <c:pt idx="52990">
                  <c:v>0.94506866416978696</c:v>
                </c:pt>
                <c:pt idx="52991">
                  <c:v>0.94508649901908304</c:v>
                </c:pt>
                <c:pt idx="52992">
                  <c:v>0.945104333868378</c:v>
                </c:pt>
                <c:pt idx="52993">
                  <c:v>0.94512216871767396</c:v>
                </c:pt>
                <c:pt idx="52994">
                  <c:v>0.94514000356696903</c:v>
                </c:pt>
                <c:pt idx="52995">
                  <c:v>0.94515783841626499</c:v>
                </c:pt>
                <c:pt idx="52996">
                  <c:v>0.94517567326556096</c:v>
                </c:pt>
                <c:pt idx="52997">
                  <c:v>0.94519350811485603</c:v>
                </c:pt>
                <c:pt idx="52998">
                  <c:v>0.94521134296415199</c:v>
                </c:pt>
                <c:pt idx="52999">
                  <c:v>0.94522917781344695</c:v>
                </c:pt>
                <c:pt idx="53000">
                  <c:v>0.94524701266274302</c:v>
                </c:pt>
                <c:pt idx="53001">
                  <c:v>0.94526484751203799</c:v>
                </c:pt>
                <c:pt idx="53002">
                  <c:v>0.94528268236133395</c:v>
                </c:pt>
                <c:pt idx="53003">
                  <c:v>0.94530051721062902</c:v>
                </c:pt>
                <c:pt idx="53004">
                  <c:v>0.94531835205992498</c:v>
                </c:pt>
                <c:pt idx="53005">
                  <c:v>0.94533618690922006</c:v>
                </c:pt>
                <c:pt idx="53006">
                  <c:v>0.94535402175851602</c:v>
                </c:pt>
                <c:pt idx="53007">
                  <c:v>0.94537185660781098</c:v>
                </c:pt>
                <c:pt idx="53008">
                  <c:v>0.94538969145710705</c:v>
                </c:pt>
                <c:pt idx="53009">
                  <c:v>0.94540752630640201</c:v>
                </c:pt>
                <c:pt idx="53010">
                  <c:v>0.94542536115569797</c:v>
                </c:pt>
                <c:pt idx="53011">
                  <c:v>0.94544319600499305</c:v>
                </c:pt>
                <c:pt idx="53012">
                  <c:v>0.94546103085428901</c:v>
                </c:pt>
                <c:pt idx="53013">
                  <c:v>0.94547886570358397</c:v>
                </c:pt>
                <c:pt idx="53014">
                  <c:v>0.94549670055288004</c:v>
                </c:pt>
                <c:pt idx="53015">
                  <c:v>0.945514535402175</c:v>
                </c:pt>
                <c:pt idx="53016">
                  <c:v>0.94553237025147097</c:v>
                </c:pt>
                <c:pt idx="53017">
                  <c:v>0.94555020510076604</c:v>
                </c:pt>
                <c:pt idx="53018">
                  <c:v>0.945568039950062</c:v>
                </c:pt>
                <c:pt idx="53019">
                  <c:v>0.94558587479935796</c:v>
                </c:pt>
                <c:pt idx="53020">
                  <c:v>0.94560370964865303</c:v>
                </c:pt>
                <c:pt idx="53021">
                  <c:v>0.945621544497949</c:v>
                </c:pt>
                <c:pt idx="53022">
                  <c:v>0.94563937934724396</c:v>
                </c:pt>
                <c:pt idx="53023">
                  <c:v>0.94565721419654003</c:v>
                </c:pt>
                <c:pt idx="53024">
                  <c:v>0.94567504904583499</c:v>
                </c:pt>
                <c:pt idx="53025">
                  <c:v>0.94569288389513095</c:v>
                </c:pt>
                <c:pt idx="53026">
                  <c:v>0.94571071874442603</c:v>
                </c:pt>
                <c:pt idx="53027">
                  <c:v>0.94572855359372199</c:v>
                </c:pt>
                <c:pt idx="53028">
                  <c:v>0.94574638844301695</c:v>
                </c:pt>
                <c:pt idx="53029">
                  <c:v>0.94576422329231302</c:v>
                </c:pt>
                <c:pt idx="53030">
                  <c:v>0.94578205814160798</c:v>
                </c:pt>
                <c:pt idx="53031">
                  <c:v>0.94579989299090395</c:v>
                </c:pt>
                <c:pt idx="53032">
                  <c:v>0.94581772784019902</c:v>
                </c:pt>
                <c:pt idx="53033">
                  <c:v>0.94583556268949498</c:v>
                </c:pt>
                <c:pt idx="53034">
                  <c:v>0.94585339753879005</c:v>
                </c:pt>
                <c:pt idx="53035">
                  <c:v>0.94587123238808601</c:v>
                </c:pt>
                <c:pt idx="53036">
                  <c:v>0.94588906723738098</c:v>
                </c:pt>
                <c:pt idx="53037">
                  <c:v>0.94590690208667705</c:v>
                </c:pt>
                <c:pt idx="53038">
                  <c:v>0.94592473693597201</c:v>
                </c:pt>
                <c:pt idx="53039">
                  <c:v>0.94594257178526797</c:v>
                </c:pt>
                <c:pt idx="53040">
                  <c:v>0.94596040663456304</c:v>
                </c:pt>
                <c:pt idx="53041">
                  <c:v>0.94597824148385901</c:v>
                </c:pt>
                <c:pt idx="53042">
                  <c:v>0.94599607633315497</c:v>
                </c:pt>
                <c:pt idx="53043">
                  <c:v>0.94601391118245004</c:v>
                </c:pt>
                <c:pt idx="53044">
                  <c:v>0.946031746031746</c:v>
                </c:pt>
                <c:pt idx="53045">
                  <c:v>0.94604958088104096</c:v>
                </c:pt>
                <c:pt idx="53046">
                  <c:v>0.94606741573033704</c:v>
                </c:pt>
                <c:pt idx="53047">
                  <c:v>0.946085250579632</c:v>
                </c:pt>
                <c:pt idx="53048">
                  <c:v>0.94610308542892796</c:v>
                </c:pt>
                <c:pt idx="53049">
                  <c:v>0.94612092027822303</c:v>
                </c:pt>
                <c:pt idx="53050">
                  <c:v>0.94613875512751899</c:v>
                </c:pt>
                <c:pt idx="53051">
                  <c:v>0.94615658997681396</c:v>
                </c:pt>
                <c:pt idx="53052">
                  <c:v>0.94617442482611003</c:v>
                </c:pt>
                <c:pt idx="53053">
                  <c:v>0.94619225967540499</c:v>
                </c:pt>
                <c:pt idx="53054">
                  <c:v>0.94621009452470095</c:v>
                </c:pt>
                <c:pt idx="53055">
                  <c:v>0.94622792937399602</c:v>
                </c:pt>
                <c:pt idx="53056">
                  <c:v>0.94624576422329199</c:v>
                </c:pt>
                <c:pt idx="53057">
                  <c:v>0.94626359907258695</c:v>
                </c:pt>
                <c:pt idx="53058">
                  <c:v>0.94628143392188302</c:v>
                </c:pt>
                <c:pt idx="53059">
                  <c:v>0.94629926877117798</c:v>
                </c:pt>
                <c:pt idx="53060">
                  <c:v>0.94631710362047405</c:v>
                </c:pt>
                <c:pt idx="53061">
                  <c:v>0.94633493846976902</c:v>
                </c:pt>
                <c:pt idx="53062">
                  <c:v>0.94635277331906498</c:v>
                </c:pt>
                <c:pt idx="53063">
                  <c:v>0.94637060816836005</c:v>
                </c:pt>
                <c:pt idx="53064">
                  <c:v>0.94638844301765601</c:v>
                </c:pt>
                <c:pt idx="53065">
                  <c:v>0.94640627786695197</c:v>
                </c:pt>
                <c:pt idx="53066">
                  <c:v>0.94642411271624705</c:v>
                </c:pt>
                <c:pt idx="53067">
                  <c:v>0.94644194756554301</c:v>
                </c:pt>
                <c:pt idx="53068">
                  <c:v>0.94645978241483797</c:v>
                </c:pt>
                <c:pt idx="53069">
                  <c:v>0.94647761726413404</c:v>
                </c:pt>
                <c:pt idx="53070">
                  <c:v>0.946495452113429</c:v>
                </c:pt>
                <c:pt idx="53071">
                  <c:v>0.94651328696272496</c:v>
                </c:pt>
                <c:pt idx="53072">
                  <c:v>0.94653112181202004</c:v>
                </c:pt>
                <c:pt idx="53073">
                  <c:v>0.946548956661316</c:v>
                </c:pt>
                <c:pt idx="53074">
                  <c:v>0.94656679151061096</c:v>
                </c:pt>
                <c:pt idx="53075">
                  <c:v>0.94658462635990703</c:v>
                </c:pt>
                <c:pt idx="53076">
                  <c:v>0.946602461209202</c:v>
                </c:pt>
                <c:pt idx="53077">
                  <c:v>0.94662029605849796</c:v>
                </c:pt>
                <c:pt idx="53078">
                  <c:v>0.94663813090779303</c:v>
                </c:pt>
                <c:pt idx="53079">
                  <c:v>0.94665596575708899</c:v>
                </c:pt>
                <c:pt idx="53080">
                  <c:v>0.94667380060638395</c:v>
                </c:pt>
                <c:pt idx="53081">
                  <c:v>0.94669163545568003</c:v>
                </c:pt>
                <c:pt idx="53082">
                  <c:v>0.94670947030497499</c:v>
                </c:pt>
                <c:pt idx="53083">
                  <c:v>0.94672730515427095</c:v>
                </c:pt>
                <c:pt idx="53084">
                  <c:v>0.94674514000356702</c:v>
                </c:pt>
                <c:pt idx="53085">
                  <c:v>0.94676297485286198</c:v>
                </c:pt>
                <c:pt idx="53086">
                  <c:v>0.94678080970215805</c:v>
                </c:pt>
                <c:pt idx="53087">
                  <c:v>0.94679864455145302</c:v>
                </c:pt>
                <c:pt idx="53088">
                  <c:v>0.94681647940074898</c:v>
                </c:pt>
                <c:pt idx="53089">
                  <c:v>0.94683431425004405</c:v>
                </c:pt>
                <c:pt idx="53090">
                  <c:v>0.94685214909934001</c:v>
                </c:pt>
                <c:pt idx="53091">
                  <c:v>0.94686998394863497</c:v>
                </c:pt>
                <c:pt idx="53092">
                  <c:v>0.94688781879793105</c:v>
                </c:pt>
                <c:pt idx="53093">
                  <c:v>0.94690565364722601</c:v>
                </c:pt>
                <c:pt idx="53094">
                  <c:v>0.94692348849652197</c:v>
                </c:pt>
                <c:pt idx="53095">
                  <c:v>0.94694132334581704</c:v>
                </c:pt>
                <c:pt idx="53096">
                  <c:v>0.946959158195113</c:v>
                </c:pt>
                <c:pt idx="53097">
                  <c:v>0.94697699304440797</c:v>
                </c:pt>
                <c:pt idx="53098">
                  <c:v>0.94699482789370404</c:v>
                </c:pt>
                <c:pt idx="53099">
                  <c:v>0.947012662742999</c:v>
                </c:pt>
                <c:pt idx="53100">
                  <c:v>0.94703049759229496</c:v>
                </c:pt>
                <c:pt idx="53101">
                  <c:v>0.94704833244159004</c:v>
                </c:pt>
                <c:pt idx="53102">
                  <c:v>0.947066167290886</c:v>
                </c:pt>
                <c:pt idx="53103">
                  <c:v>0.94708400214018196</c:v>
                </c:pt>
                <c:pt idx="53104">
                  <c:v>0.94710183698947703</c:v>
                </c:pt>
                <c:pt idx="53105">
                  <c:v>0.94711967183877299</c:v>
                </c:pt>
                <c:pt idx="53106">
                  <c:v>0.94713750668806795</c:v>
                </c:pt>
                <c:pt idx="53107">
                  <c:v>0.94715534153736403</c:v>
                </c:pt>
                <c:pt idx="53108">
                  <c:v>0.94717317638665899</c:v>
                </c:pt>
                <c:pt idx="53109">
                  <c:v>0.94719101123595495</c:v>
                </c:pt>
                <c:pt idx="53110">
                  <c:v>0.94720884608525002</c:v>
                </c:pt>
                <c:pt idx="53111">
                  <c:v>0.94722668093454598</c:v>
                </c:pt>
                <c:pt idx="53112">
                  <c:v>0.94724451578384095</c:v>
                </c:pt>
                <c:pt idx="53113">
                  <c:v>0.94726235063313702</c:v>
                </c:pt>
                <c:pt idx="53114">
                  <c:v>0.94728018548243198</c:v>
                </c:pt>
                <c:pt idx="53115">
                  <c:v>0.94729802033172805</c:v>
                </c:pt>
                <c:pt idx="53116">
                  <c:v>0.94731585518102301</c:v>
                </c:pt>
                <c:pt idx="53117">
                  <c:v>0.94733369003031898</c:v>
                </c:pt>
                <c:pt idx="53118">
                  <c:v>0.94735152487961405</c:v>
                </c:pt>
                <c:pt idx="53119">
                  <c:v>0.94736935972891001</c:v>
                </c:pt>
                <c:pt idx="53120">
                  <c:v>0.94738719457820497</c:v>
                </c:pt>
                <c:pt idx="53121">
                  <c:v>0.94740502942750104</c:v>
                </c:pt>
                <c:pt idx="53122">
                  <c:v>0.94742286427679601</c:v>
                </c:pt>
                <c:pt idx="53123">
                  <c:v>0.94744069912609197</c:v>
                </c:pt>
                <c:pt idx="53124">
                  <c:v>0.94745853397538704</c:v>
                </c:pt>
                <c:pt idx="53125">
                  <c:v>0.947476368824683</c:v>
                </c:pt>
                <c:pt idx="53126">
                  <c:v>0.94749420367397896</c:v>
                </c:pt>
                <c:pt idx="53127">
                  <c:v>0.94751203852327404</c:v>
                </c:pt>
                <c:pt idx="53128">
                  <c:v>0.94752987337257</c:v>
                </c:pt>
                <c:pt idx="53129">
                  <c:v>0.94754770822186496</c:v>
                </c:pt>
                <c:pt idx="53130">
                  <c:v>0.94756554307116103</c:v>
                </c:pt>
                <c:pt idx="53131">
                  <c:v>0.94758337792045599</c:v>
                </c:pt>
                <c:pt idx="53132">
                  <c:v>0.94760121276975195</c:v>
                </c:pt>
                <c:pt idx="53133">
                  <c:v>0.94761904761904703</c:v>
                </c:pt>
                <c:pt idx="53134">
                  <c:v>0.94763688246834299</c:v>
                </c:pt>
                <c:pt idx="53135">
                  <c:v>0.94765471731763795</c:v>
                </c:pt>
                <c:pt idx="53136">
                  <c:v>0.94767255216693402</c:v>
                </c:pt>
                <c:pt idx="53137">
                  <c:v>0.94769038701622899</c:v>
                </c:pt>
                <c:pt idx="53138">
                  <c:v>0.94770822186552495</c:v>
                </c:pt>
                <c:pt idx="53139">
                  <c:v>0.94772605671482002</c:v>
                </c:pt>
                <c:pt idx="53140">
                  <c:v>0.94774389156411598</c:v>
                </c:pt>
                <c:pt idx="53141">
                  <c:v>0.94776172641341105</c:v>
                </c:pt>
                <c:pt idx="53142">
                  <c:v>0.94777956126270702</c:v>
                </c:pt>
                <c:pt idx="53143">
                  <c:v>0.94779739611200198</c:v>
                </c:pt>
                <c:pt idx="53144">
                  <c:v>0.94781523096129805</c:v>
                </c:pt>
                <c:pt idx="53145">
                  <c:v>0.94783306581059301</c:v>
                </c:pt>
                <c:pt idx="53146">
                  <c:v>0.94785090065988897</c:v>
                </c:pt>
                <c:pt idx="53147">
                  <c:v>0.94786873550918405</c:v>
                </c:pt>
                <c:pt idx="53148">
                  <c:v>0.94788657035848001</c:v>
                </c:pt>
                <c:pt idx="53149">
                  <c:v>0.94790440520777597</c:v>
                </c:pt>
                <c:pt idx="53150">
                  <c:v>0.94792224005707104</c:v>
                </c:pt>
                <c:pt idx="53151">
                  <c:v>0.947940074906367</c:v>
                </c:pt>
                <c:pt idx="53152">
                  <c:v>0.94795790975566196</c:v>
                </c:pt>
                <c:pt idx="53153">
                  <c:v>0.94797574460495804</c:v>
                </c:pt>
                <c:pt idx="53154">
                  <c:v>0.947993579454253</c:v>
                </c:pt>
                <c:pt idx="53155">
                  <c:v>0.94801141430354896</c:v>
                </c:pt>
                <c:pt idx="53156">
                  <c:v>0.94802924915284403</c:v>
                </c:pt>
                <c:pt idx="53157">
                  <c:v>0.94804708400213999</c:v>
                </c:pt>
                <c:pt idx="53158">
                  <c:v>0.94806491885143496</c:v>
                </c:pt>
                <c:pt idx="53159">
                  <c:v>0.94808275370073103</c:v>
                </c:pt>
                <c:pt idx="53160">
                  <c:v>0.94810058855002599</c:v>
                </c:pt>
                <c:pt idx="53161">
                  <c:v>0.94811842339932195</c:v>
                </c:pt>
                <c:pt idx="53162">
                  <c:v>0.94813625824861703</c:v>
                </c:pt>
                <c:pt idx="53163">
                  <c:v>0.94815409309791299</c:v>
                </c:pt>
                <c:pt idx="53164">
                  <c:v>0.94817192794720795</c:v>
                </c:pt>
                <c:pt idx="53165">
                  <c:v>0.94818976279650402</c:v>
                </c:pt>
                <c:pt idx="53166">
                  <c:v>0.94820759764579898</c:v>
                </c:pt>
                <c:pt idx="53167">
                  <c:v>0.94822543249509506</c:v>
                </c:pt>
                <c:pt idx="53168">
                  <c:v>0.94824326734439002</c:v>
                </c:pt>
                <c:pt idx="53169">
                  <c:v>0.94826110219368598</c:v>
                </c:pt>
                <c:pt idx="53170">
                  <c:v>0.94827893704298105</c:v>
                </c:pt>
                <c:pt idx="53171">
                  <c:v>0.94829677189227701</c:v>
                </c:pt>
                <c:pt idx="53172">
                  <c:v>0.94831460674157297</c:v>
                </c:pt>
                <c:pt idx="53173">
                  <c:v>0.94833244159086805</c:v>
                </c:pt>
                <c:pt idx="53174">
                  <c:v>0.94835027644016401</c:v>
                </c:pt>
                <c:pt idx="53175">
                  <c:v>0.94836811128945897</c:v>
                </c:pt>
                <c:pt idx="53176">
                  <c:v>0.94838594613875504</c:v>
                </c:pt>
                <c:pt idx="53177">
                  <c:v>0.94840378098805</c:v>
                </c:pt>
                <c:pt idx="53178">
                  <c:v>0.94842161583734597</c:v>
                </c:pt>
                <c:pt idx="53179">
                  <c:v>0.94843945068664104</c:v>
                </c:pt>
                <c:pt idx="53180">
                  <c:v>0.948457285535937</c:v>
                </c:pt>
                <c:pt idx="53181">
                  <c:v>0.94847512038523196</c:v>
                </c:pt>
                <c:pt idx="53182">
                  <c:v>0.94849295523452803</c:v>
                </c:pt>
                <c:pt idx="53183">
                  <c:v>0.948510790083823</c:v>
                </c:pt>
                <c:pt idx="53184">
                  <c:v>0.94852862493311896</c:v>
                </c:pt>
                <c:pt idx="53185">
                  <c:v>0.94854645978241403</c:v>
                </c:pt>
                <c:pt idx="53186">
                  <c:v>0.94856429463170999</c:v>
                </c:pt>
                <c:pt idx="53187">
                  <c:v>0.94858212948100495</c:v>
                </c:pt>
                <c:pt idx="53188">
                  <c:v>0.94859996433030103</c:v>
                </c:pt>
                <c:pt idx="53189">
                  <c:v>0.94861779917959699</c:v>
                </c:pt>
                <c:pt idx="53190">
                  <c:v>0.94863563402889195</c:v>
                </c:pt>
                <c:pt idx="53191">
                  <c:v>0.94865346887818802</c:v>
                </c:pt>
                <c:pt idx="53192">
                  <c:v>0.94867130372748298</c:v>
                </c:pt>
                <c:pt idx="53193">
                  <c:v>0.94868913857677895</c:v>
                </c:pt>
                <c:pt idx="53194">
                  <c:v>0.94870697342607402</c:v>
                </c:pt>
                <c:pt idx="53195">
                  <c:v>0.94872480827536998</c:v>
                </c:pt>
                <c:pt idx="53196">
                  <c:v>0.94874264312466505</c:v>
                </c:pt>
                <c:pt idx="53197">
                  <c:v>0.94876047797396101</c:v>
                </c:pt>
                <c:pt idx="53198">
                  <c:v>0.94877831282325598</c:v>
                </c:pt>
                <c:pt idx="53199">
                  <c:v>0.94879614767255205</c:v>
                </c:pt>
                <c:pt idx="53200">
                  <c:v>0.94881398252184701</c:v>
                </c:pt>
                <c:pt idx="53201">
                  <c:v>0.94883181737114297</c:v>
                </c:pt>
                <c:pt idx="53202">
                  <c:v>0.94884965222043804</c:v>
                </c:pt>
                <c:pt idx="53203">
                  <c:v>0.94886748706973401</c:v>
                </c:pt>
                <c:pt idx="53204">
                  <c:v>0.94888532191902897</c:v>
                </c:pt>
                <c:pt idx="53205">
                  <c:v>0.94890315676832504</c:v>
                </c:pt>
                <c:pt idx="53206">
                  <c:v>0.94892099161762</c:v>
                </c:pt>
                <c:pt idx="53207">
                  <c:v>0.94893882646691596</c:v>
                </c:pt>
                <c:pt idx="53208">
                  <c:v>0.94895666131621104</c:v>
                </c:pt>
                <c:pt idx="53209">
                  <c:v>0.948974496165507</c:v>
                </c:pt>
                <c:pt idx="53210">
                  <c:v>0.94899233101480296</c:v>
                </c:pt>
                <c:pt idx="53211">
                  <c:v>0.94901016586409803</c:v>
                </c:pt>
                <c:pt idx="53212">
                  <c:v>0.94902800071339399</c:v>
                </c:pt>
                <c:pt idx="53213">
                  <c:v>0.94904583556268896</c:v>
                </c:pt>
                <c:pt idx="53214">
                  <c:v>0.94906367041198503</c:v>
                </c:pt>
                <c:pt idx="53215">
                  <c:v>0.94908150526127999</c:v>
                </c:pt>
                <c:pt idx="53216">
                  <c:v>0.94909934011057595</c:v>
                </c:pt>
                <c:pt idx="53217">
                  <c:v>0.94911717495987102</c:v>
                </c:pt>
                <c:pt idx="53218">
                  <c:v>0.94913500980916699</c:v>
                </c:pt>
                <c:pt idx="53219">
                  <c:v>0.94915284465846195</c:v>
                </c:pt>
                <c:pt idx="53220">
                  <c:v>0.94917067950775802</c:v>
                </c:pt>
                <c:pt idx="53221">
                  <c:v>0.94918851435705298</c:v>
                </c:pt>
                <c:pt idx="53222">
                  <c:v>0.94920634920634905</c:v>
                </c:pt>
                <c:pt idx="53223">
                  <c:v>0.94922418405564402</c:v>
                </c:pt>
                <c:pt idx="53224">
                  <c:v>0.94924201890493998</c:v>
                </c:pt>
                <c:pt idx="53225">
                  <c:v>0.94925985375423505</c:v>
                </c:pt>
                <c:pt idx="53226">
                  <c:v>0.94927768860353101</c:v>
                </c:pt>
                <c:pt idx="53227">
                  <c:v>0.94929552345282597</c:v>
                </c:pt>
                <c:pt idx="53228">
                  <c:v>0.94931335830212205</c:v>
                </c:pt>
                <c:pt idx="53229">
                  <c:v>0.94933119315141701</c:v>
                </c:pt>
                <c:pt idx="53230">
                  <c:v>0.94934902800071297</c:v>
                </c:pt>
                <c:pt idx="53231">
                  <c:v>0.94936686285000804</c:v>
                </c:pt>
                <c:pt idx="53232">
                  <c:v>0.949384697699304</c:v>
                </c:pt>
                <c:pt idx="53233">
                  <c:v>0.94940253254859996</c:v>
                </c:pt>
                <c:pt idx="53234">
                  <c:v>0.94942036739789504</c:v>
                </c:pt>
                <c:pt idx="53235">
                  <c:v>0.949438202247191</c:v>
                </c:pt>
                <c:pt idx="53236">
                  <c:v>0.94945603709648596</c:v>
                </c:pt>
                <c:pt idx="53237">
                  <c:v>0.94947387194578203</c:v>
                </c:pt>
                <c:pt idx="53238">
                  <c:v>0.949491706795077</c:v>
                </c:pt>
                <c:pt idx="53239">
                  <c:v>0.94950954164437296</c:v>
                </c:pt>
                <c:pt idx="53240">
                  <c:v>0.94952737649366803</c:v>
                </c:pt>
                <c:pt idx="53241">
                  <c:v>0.94954521134296399</c:v>
                </c:pt>
                <c:pt idx="53242">
                  <c:v>0.94956304619225895</c:v>
                </c:pt>
                <c:pt idx="53243">
                  <c:v>0.94958088104155502</c:v>
                </c:pt>
                <c:pt idx="53244">
                  <c:v>0.94959871589084999</c:v>
                </c:pt>
                <c:pt idx="53245">
                  <c:v>0.94961655074014595</c:v>
                </c:pt>
                <c:pt idx="53246">
                  <c:v>0.94963438558944102</c:v>
                </c:pt>
                <c:pt idx="53247">
                  <c:v>0.94965222043873698</c:v>
                </c:pt>
                <c:pt idx="53248">
                  <c:v>0.94967005528803194</c:v>
                </c:pt>
                <c:pt idx="53249">
                  <c:v>0.94968789013732802</c:v>
                </c:pt>
                <c:pt idx="53250">
                  <c:v>0.94970572498662298</c:v>
                </c:pt>
                <c:pt idx="53251">
                  <c:v>0.94972355983591905</c:v>
                </c:pt>
                <c:pt idx="53252">
                  <c:v>0.94974139468521401</c:v>
                </c:pt>
                <c:pt idx="53253">
                  <c:v>0.94975922953450997</c:v>
                </c:pt>
                <c:pt idx="53254">
                  <c:v>0.94977706438380505</c:v>
                </c:pt>
                <c:pt idx="53255">
                  <c:v>0.94979489923310101</c:v>
                </c:pt>
                <c:pt idx="53256">
                  <c:v>0.94981273408239697</c:v>
                </c:pt>
                <c:pt idx="53257">
                  <c:v>0.94983056893169204</c:v>
                </c:pt>
                <c:pt idx="53258">
                  <c:v>0.949848403780988</c:v>
                </c:pt>
                <c:pt idx="53259">
                  <c:v>0.94986623863028297</c:v>
                </c:pt>
                <c:pt idx="53260">
                  <c:v>0.94988407347957904</c:v>
                </c:pt>
                <c:pt idx="53261">
                  <c:v>0.949901908328874</c:v>
                </c:pt>
                <c:pt idx="53262">
                  <c:v>0.94991974317816996</c:v>
                </c:pt>
                <c:pt idx="53263">
                  <c:v>0.94993757802746503</c:v>
                </c:pt>
                <c:pt idx="53264">
                  <c:v>0.949955412876761</c:v>
                </c:pt>
                <c:pt idx="53265">
                  <c:v>0.94997324772605596</c:v>
                </c:pt>
                <c:pt idx="53266">
                  <c:v>0.94999108257535203</c:v>
                </c:pt>
                <c:pt idx="53267">
                  <c:v>0.95000891742464699</c:v>
                </c:pt>
                <c:pt idx="53268">
                  <c:v>0.95002675227394295</c:v>
                </c:pt>
                <c:pt idx="53269">
                  <c:v>0.95004458712323803</c:v>
                </c:pt>
                <c:pt idx="53270">
                  <c:v>0.95006242197253399</c:v>
                </c:pt>
                <c:pt idx="53271">
                  <c:v>0.95008025682182895</c:v>
                </c:pt>
                <c:pt idx="53272">
                  <c:v>0.95009809167112502</c:v>
                </c:pt>
                <c:pt idx="53273">
                  <c:v>0.95011592652041998</c:v>
                </c:pt>
                <c:pt idx="53274">
                  <c:v>0.95013376136971595</c:v>
                </c:pt>
                <c:pt idx="53275">
                  <c:v>0.95015159621901102</c:v>
                </c:pt>
                <c:pt idx="53276">
                  <c:v>0.95016943106830698</c:v>
                </c:pt>
                <c:pt idx="53277">
                  <c:v>0.95018726591760205</c:v>
                </c:pt>
                <c:pt idx="53278">
                  <c:v>0.95020510076689801</c:v>
                </c:pt>
                <c:pt idx="53279">
                  <c:v>0.95022293561619398</c:v>
                </c:pt>
                <c:pt idx="53280">
                  <c:v>0.95024077046548905</c:v>
                </c:pt>
                <c:pt idx="53281">
                  <c:v>0.95025860531478501</c:v>
                </c:pt>
                <c:pt idx="53282">
                  <c:v>0.95027644016407997</c:v>
                </c:pt>
                <c:pt idx="53283">
                  <c:v>0.95029427501337604</c:v>
                </c:pt>
                <c:pt idx="53284">
                  <c:v>0.95031210986267101</c:v>
                </c:pt>
                <c:pt idx="53285">
                  <c:v>0.95032994471196697</c:v>
                </c:pt>
                <c:pt idx="53286">
                  <c:v>0.95034777956126204</c:v>
                </c:pt>
                <c:pt idx="53287">
                  <c:v>0.950365614410558</c:v>
                </c:pt>
                <c:pt idx="53288">
                  <c:v>0.95038344925985296</c:v>
                </c:pt>
                <c:pt idx="53289">
                  <c:v>0.95040128410914904</c:v>
                </c:pt>
                <c:pt idx="53290">
                  <c:v>0.950419118958444</c:v>
                </c:pt>
                <c:pt idx="53291">
                  <c:v>0.95043695380773996</c:v>
                </c:pt>
                <c:pt idx="53292">
                  <c:v>0.95045478865703503</c:v>
                </c:pt>
                <c:pt idx="53293">
                  <c:v>0.95047262350633099</c:v>
                </c:pt>
                <c:pt idx="53294">
                  <c:v>0.95049045835562596</c:v>
                </c:pt>
                <c:pt idx="53295">
                  <c:v>0.95050829320492203</c:v>
                </c:pt>
                <c:pt idx="53296">
                  <c:v>0.95052612805421799</c:v>
                </c:pt>
                <c:pt idx="53297">
                  <c:v>0.95054396290351295</c:v>
                </c:pt>
                <c:pt idx="53298">
                  <c:v>0.95056179775280902</c:v>
                </c:pt>
                <c:pt idx="53299">
                  <c:v>0.95057963260210399</c:v>
                </c:pt>
                <c:pt idx="53300">
                  <c:v>0.95059746745139995</c:v>
                </c:pt>
                <c:pt idx="53301">
                  <c:v>0.95061530230069502</c:v>
                </c:pt>
                <c:pt idx="53302">
                  <c:v>0.95063313714999098</c:v>
                </c:pt>
                <c:pt idx="53303">
                  <c:v>0.95065097199928605</c:v>
                </c:pt>
                <c:pt idx="53304">
                  <c:v>0.95066880684858202</c:v>
                </c:pt>
                <c:pt idx="53305">
                  <c:v>0.95068664169787698</c:v>
                </c:pt>
                <c:pt idx="53306">
                  <c:v>0.95070447654717305</c:v>
                </c:pt>
                <c:pt idx="53307">
                  <c:v>0.95072231139646801</c:v>
                </c:pt>
                <c:pt idx="53308">
                  <c:v>0.95074014624576397</c:v>
                </c:pt>
                <c:pt idx="53309">
                  <c:v>0.95075798109505905</c:v>
                </c:pt>
                <c:pt idx="53310">
                  <c:v>0.95077581594435501</c:v>
                </c:pt>
                <c:pt idx="53311">
                  <c:v>0.95079365079364997</c:v>
                </c:pt>
                <c:pt idx="53312">
                  <c:v>0.95081148564294604</c:v>
                </c:pt>
                <c:pt idx="53313">
                  <c:v>0.950829320492241</c:v>
                </c:pt>
                <c:pt idx="53314">
                  <c:v>0.95084715534153696</c:v>
                </c:pt>
                <c:pt idx="53315">
                  <c:v>0.95086499019083204</c:v>
                </c:pt>
                <c:pt idx="53316">
                  <c:v>0.950882825040128</c:v>
                </c:pt>
                <c:pt idx="53317">
                  <c:v>0.95090065988942396</c:v>
                </c:pt>
                <c:pt idx="53318">
                  <c:v>0.95091849473871903</c:v>
                </c:pt>
                <c:pt idx="53319">
                  <c:v>0.95093632958801499</c:v>
                </c:pt>
                <c:pt idx="53320">
                  <c:v>0.95095416443730996</c:v>
                </c:pt>
                <c:pt idx="53321">
                  <c:v>0.95097199928660603</c:v>
                </c:pt>
                <c:pt idx="53322">
                  <c:v>0.95098983413590099</c:v>
                </c:pt>
                <c:pt idx="53323">
                  <c:v>0.95100766898519695</c:v>
                </c:pt>
                <c:pt idx="53324">
                  <c:v>0.95102550383449203</c:v>
                </c:pt>
                <c:pt idx="53325">
                  <c:v>0.95104333868378799</c:v>
                </c:pt>
                <c:pt idx="53326">
                  <c:v>0.95106117353308295</c:v>
                </c:pt>
                <c:pt idx="53327">
                  <c:v>0.95107900838237902</c:v>
                </c:pt>
                <c:pt idx="53328">
                  <c:v>0.95109684323167398</c:v>
                </c:pt>
                <c:pt idx="53329">
                  <c:v>0.95111467808097006</c:v>
                </c:pt>
                <c:pt idx="53330">
                  <c:v>0.95113251293026502</c:v>
                </c:pt>
                <c:pt idx="53331">
                  <c:v>0.95115034777956098</c:v>
                </c:pt>
                <c:pt idx="53332">
                  <c:v>0.95116818262885605</c:v>
                </c:pt>
                <c:pt idx="53333">
                  <c:v>0.95118601747815201</c:v>
                </c:pt>
                <c:pt idx="53334">
                  <c:v>0.95120385232744697</c:v>
                </c:pt>
                <c:pt idx="53335">
                  <c:v>0.95122168717674305</c:v>
                </c:pt>
                <c:pt idx="53336">
                  <c:v>0.95123952202603801</c:v>
                </c:pt>
                <c:pt idx="53337">
                  <c:v>0.95125735687533397</c:v>
                </c:pt>
                <c:pt idx="53338">
                  <c:v>0.95127519172462904</c:v>
                </c:pt>
                <c:pt idx="53339">
                  <c:v>0.951293026573925</c:v>
                </c:pt>
                <c:pt idx="53340">
                  <c:v>0.95131086142322097</c:v>
                </c:pt>
                <c:pt idx="53341">
                  <c:v>0.95132869627251604</c:v>
                </c:pt>
                <c:pt idx="53342">
                  <c:v>0.951346531121812</c:v>
                </c:pt>
                <c:pt idx="53343">
                  <c:v>0.95136436597110696</c:v>
                </c:pt>
                <c:pt idx="53344">
                  <c:v>0.95138220082040303</c:v>
                </c:pt>
                <c:pt idx="53345">
                  <c:v>0.951400035669698</c:v>
                </c:pt>
                <c:pt idx="53346">
                  <c:v>0.95141787051899396</c:v>
                </c:pt>
                <c:pt idx="53347">
                  <c:v>0.95143570536828903</c:v>
                </c:pt>
                <c:pt idx="53348">
                  <c:v>0.95145354021758499</c:v>
                </c:pt>
                <c:pt idx="53349">
                  <c:v>0.95147137506687995</c:v>
                </c:pt>
                <c:pt idx="53350">
                  <c:v>0.95148920991617603</c:v>
                </c:pt>
                <c:pt idx="53351">
                  <c:v>0.95150704476547099</c:v>
                </c:pt>
                <c:pt idx="53352">
                  <c:v>0.95152487961476695</c:v>
                </c:pt>
                <c:pt idx="53353">
                  <c:v>0.95154271446406202</c:v>
                </c:pt>
                <c:pt idx="53354">
                  <c:v>0.95156054931335798</c:v>
                </c:pt>
                <c:pt idx="53355">
                  <c:v>0.95157838416265295</c:v>
                </c:pt>
                <c:pt idx="53356">
                  <c:v>0.95159621901194902</c:v>
                </c:pt>
                <c:pt idx="53357">
                  <c:v>0.95161405386124398</c:v>
                </c:pt>
                <c:pt idx="53358">
                  <c:v>0.95163188871054005</c:v>
                </c:pt>
                <c:pt idx="53359">
                  <c:v>0.95164972355983501</c:v>
                </c:pt>
                <c:pt idx="53360">
                  <c:v>0.95166755840913098</c:v>
                </c:pt>
                <c:pt idx="53361">
                  <c:v>0.95168539325842605</c:v>
                </c:pt>
                <c:pt idx="53362">
                  <c:v>0.95170322810772201</c:v>
                </c:pt>
                <c:pt idx="53363">
                  <c:v>0.95172106295701797</c:v>
                </c:pt>
                <c:pt idx="53364">
                  <c:v>0.95173889780631304</c:v>
                </c:pt>
                <c:pt idx="53365">
                  <c:v>0.95175673265560901</c:v>
                </c:pt>
                <c:pt idx="53366">
                  <c:v>0.95177456750490397</c:v>
                </c:pt>
                <c:pt idx="53367">
                  <c:v>0.95179240235420004</c:v>
                </c:pt>
                <c:pt idx="53368">
                  <c:v>0.951810237203495</c:v>
                </c:pt>
                <c:pt idx="53369">
                  <c:v>0.95182807205279096</c:v>
                </c:pt>
                <c:pt idx="53370">
                  <c:v>0.95184590690208604</c:v>
                </c:pt>
                <c:pt idx="53371">
                  <c:v>0.951863741751382</c:v>
                </c:pt>
                <c:pt idx="53372">
                  <c:v>0.95188157660067696</c:v>
                </c:pt>
                <c:pt idx="53373">
                  <c:v>0.95189941144997303</c:v>
                </c:pt>
                <c:pt idx="53374">
                  <c:v>0.95191724629926799</c:v>
                </c:pt>
                <c:pt idx="53375">
                  <c:v>0.95193508114856396</c:v>
                </c:pt>
                <c:pt idx="53376">
                  <c:v>0.95195291599785903</c:v>
                </c:pt>
                <c:pt idx="53377">
                  <c:v>0.95197075084715499</c:v>
                </c:pt>
                <c:pt idx="53378">
                  <c:v>0.95198858569644995</c:v>
                </c:pt>
                <c:pt idx="53379">
                  <c:v>0.95200642054574602</c:v>
                </c:pt>
                <c:pt idx="53380">
                  <c:v>0.95202425539504099</c:v>
                </c:pt>
                <c:pt idx="53381">
                  <c:v>0.95204209024433695</c:v>
                </c:pt>
                <c:pt idx="53382">
                  <c:v>0.95205992509363202</c:v>
                </c:pt>
                <c:pt idx="53383">
                  <c:v>0.95207775994292798</c:v>
                </c:pt>
                <c:pt idx="53384">
                  <c:v>0.95209559479222405</c:v>
                </c:pt>
                <c:pt idx="53385">
                  <c:v>0.95211342964151902</c:v>
                </c:pt>
                <c:pt idx="53386">
                  <c:v>0.95213126449081498</c:v>
                </c:pt>
                <c:pt idx="53387">
                  <c:v>0.95214909934011005</c:v>
                </c:pt>
                <c:pt idx="53388">
                  <c:v>0.95216693418940601</c:v>
                </c:pt>
                <c:pt idx="53389">
                  <c:v>0.95218476903870097</c:v>
                </c:pt>
                <c:pt idx="53390">
                  <c:v>0.95220260388799705</c:v>
                </c:pt>
                <c:pt idx="53391">
                  <c:v>0.95222043873729201</c:v>
                </c:pt>
                <c:pt idx="53392">
                  <c:v>0.95223827358658797</c:v>
                </c:pt>
                <c:pt idx="53393">
                  <c:v>0.95225610843588304</c:v>
                </c:pt>
                <c:pt idx="53394">
                  <c:v>0.952273943285179</c:v>
                </c:pt>
                <c:pt idx="53395">
                  <c:v>0.95229177813447397</c:v>
                </c:pt>
                <c:pt idx="53396">
                  <c:v>0.95230961298377004</c:v>
                </c:pt>
                <c:pt idx="53397">
                  <c:v>0.952327447833065</c:v>
                </c:pt>
                <c:pt idx="53398">
                  <c:v>0.95234528268236096</c:v>
                </c:pt>
                <c:pt idx="53399">
                  <c:v>0.95236311753165603</c:v>
                </c:pt>
                <c:pt idx="53400">
                  <c:v>0.952380952380952</c:v>
                </c:pt>
                <c:pt idx="53401">
                  <c:v>0.95239878723024796</c:v>
                </c:pt>
                <c:pt idx="53402">
                  <c:v>0.95241662207954303</c:v>
                </c:pt>
                <c:pt idx="53403">
                  <c:v>0.95243445692883899</c:v>
                </c:pt>
                <c:pt idx="53404">
                  <c:v>0.95245229177813395</c:v>
                </c:pt>
                <c:pt idx="53405">
                  <c:v>0.95247012662743002</c:v>
                </c:pt>
                <c:pt idx="53406">
                  <c:v>0.95248796147672499</c:v>
                </c:pt>
                <c:pt idx="53407">
                  <c:v>0.95250579632602095</c:v>
                </c:pt>
                <c:pt idx="53408">
                  <c:v>0.95252363117531602</c:v>
                </c:pt>
                <c:pt idx="53409">
                  <c:v>0.95254146602461198</c:v>
                </c:pt>
                <c:pt idx="53410">
                  <c:v>0.95255930087390706</c:v>
                </c:pt>
                <c:pt idx="53411">
                  <c:v>0.95257713572320302</c:v>
                </c:pt>
                <c:pt idx="53412">
                  <c:v>0.95259497057249798</c:v>
                </c:pt>
                <c:pt idx="53413">
                  <c:v>0.95261280542179405</c:v>
                </c:pt>
                <c:pt idx="53414">
                  <c:v>0.95263064027108901</c:v>
                </c:pt>
                <c:pt idx="53415">
                  <c:v>0.95264847512038497</c:v>
                </c:pt>
                <c:pt idx="53416">
                  <c:v>0.95266630996968005</c:v>
                </c:pt>
                <c:pt idx="53417">
                  <c:v>0.95268414481897601</c:v>
                </c:pt>
                <c:pt idx="53418">
                  <c:v>0.95270197966827097</c:v>
                </c:pt>
                <c:pt idx="53419">
                  <c:v>0.95271981451756704</c:v>
                </c:pt>
                <c:pt idx="53420">
                  <c:v>0.952737649366862</c:v>
                </c:pt>
                <c:pt idx="53421">
                  <c:v>0.95275548421615797</c:v>
                </c:pt>
                <c:pt idx="53422">
                  <c:v>0.95277331906545304</c:v>
                </c:pt>
                <c:pt idx="53423">
                  <c:v>0.952791153914749</c:v>
                </c:pt>
                <c:pt idx="53424">
                  <c:v>0.95280898876404496</c:v>
                </c:pt>
                <c:pt idx="53425">
                  <c:v>0.95282682361334003</c:v>
                </c:pt>
                <c:pt idx="53426">
                  <c:v>0.952844658462636</c:v>
                </c:pt>
                <c:pt idx="53427">
                  <c:v>0.95286249331193096</c:v>
                </c:pt>
                <c:pt idx="53428">
                  <c:v>0.95288032816122703</c:v>
                </c:pt>
                <c:pt idx="53429">
                  <c:v>0.95289816301052199</c:v>
                </c:pt>
                <c:pt idx="53430">
                  <c:v>0.95291599785981795</c:v>
                </c:pt>
                <c:pt idx="53431">
                  <c:v>0.95293383270911303</c:v>
                </c:pt>
                <c:pt idx="53432">
                  <c:v>0.95295166755840899</c:v>
                </c:pt>
                <c:pt idx="53433">
                  <c:v>0.95296950240770395</c:v>
                </c:pt>
                <c:pt idx="53434">
                  <c:v>0.95298733725700002</c:v>
                </c:pt>
                <c:pt idx="53435">
                  <c:v>0.95300517210629498</c:v>
                </c:pt>
                <c:pt idx="53436">
                  <c:v>0.95302300695559095</c:v>
                </c:pt>
                <c:pt idx="53437">
                  <c:v>0.95304084180488602</c:v>
                </c:pt>
                <c:pt idx="53438">
                  <c:v>0.95305867665418198</c:v>
                </c:pt>
                <c:pt idx="53439">
                  <c:v>0.95307651150347705</c:v>
                </c:pt>
                <c:pt idx="53440">
                  <c:v>0.95309434635277301</c:v>
                </c:pt>
                <c:pt idx="53441">
                  <c:v>0.95311218120206798</c:v>
                </c:pt>
                <c:pt idx="53442">
                  <c:v>0.95313001605136405</c:v>
                </c:pt>
                <c:pt idx="53443">
                  <c:v>0.95314785090065901</c:v>
                </c:pt>
                <c:pt idx="53444">
                  <c:v>0.95316568574995497</c:v>
                </c:pt>
                <c:pt idx="53445">
                  <c:v>0.95318352059925004</c:v>
                </c:pt>
                <c:pt idx="53446">
                  <c:v>0.95320135544854601</c:v>
                </c:pt>
                <c:pt idx="53447">
                  <c:v>0.95321919029784197</c:v>
                </c:pt>
                <c:pt idx="53448">
                  <c:v>0.95323702514713704</c:v>
                </c:pt>
                <c:pt idx="53449">
                  <c:v>0.953254859996433</c:v>
                </c:pt>
                <c:pt idx="53450">
                  <c:v>0.95327269484572796</c:v>
                </c:pt>
                <c:pt idx="53451">
                  <c:v>0.95329052969502404</c:v>
                </c:pt>
                <c:pt idx="53452">
                  <c:v>0.953308364544319</c:v>
                </c:pt>
                <c:pt idx="53453">
                  <c:v>0.95332619939361496</c:v>
                </c:pt>
                <c:pt idx="53454">
                  <c:v>0.95334403424291003</c:v>
                </c:pt>
                <c:pt idx="53455">
                  <c:v>0.95336186909220599</c:v>
                </c:pt>
                <c:pt idx="53456">
                  <c:v>0.95337970394150096</c:v>
                </c:pt>
                <c:pt idx="53457">
                  <c:v>0.95339753879079703</c:v>
                </c:pt>
                <c:pt idx="53458">
                  <c:v>0.95341537364009199</c:v>
                </c:pt>
                <c:pt idx="53459">
                  <c:v>0.95343320848938795</c:v>
                </c:pt>
                <c:pt idx="53460">
                  <c:v>0.95345104333868302</c:v>
                </c:pt>
                <c:pt idx="53461">
                  <c:v>0.95346887818797899</c:v>
                </c:pt>
                <c:pt idx="53462">
                  <c:v>0.95348671303727395</c:v>
                </c:pt>
                <c:pt idx="53463">
                  <c:v>0.95350454788657002</c:v>
                </c:pt>
                <c:pt idx="53464">
                  <c:v>0.95352238273586498</c:v>
                </c:pt>
                <c:pt idx="53465">
                  <c:v>0.95354021758516105</c:v>
                </c:pt>
                <c:pt idx="53466">
                  <c:v>0.95355805243445602</c:v>
                </c:pt>
                <c:pt idx="53467">
                  <c:v>0.95357588728375198</c:v>
                </c:pt>
                <c:pt idx="53468">
                  <c:v>0.95359372213304705</c:v>
                </c:pt>
                <c:pt idx="53469">
                  <c:v>0.95361155698234301</c:v>
                </c:pt>
                <c:pt idx="53470">
                  <c:v>0.95362939183163897</c:v>
                </c:pt>
                <c:pt idx="53471">
                  <c:v>0.95364722668093405</c:v>
                </c:pt>
                <c:pt idx="53472">
                  <c:v>0.95366506153023001</c:v>
                </c:pt>
                <c:pt idx="53473">
                  <c:v>0.95368289637952497</c:v>
                </c:pt>
                <c:pt idx="53474">
                  <c:v>0.95370073122882104</c:v>
                </c:pt>
                <c:pt idx="53475">
                  <c:v>0.953718566078116</c:v>
                </c:pt>
                <c:pt idx="53476">
                  <c:v>0.95373640092741196</c:v>
                </c:pt>
                <c:pt idx="53477">
                  <c:v>0.95375423577670704</c:v>
                </c:pt>
                <c:pt idx="53478">
                  <c:v>0.953772070626003</c:v>
                </c:pt>
                <c:pt idx="53479">
                  <c:v>0.95378990547529796</c:v>
                </c:pt>
                <c:pt idx="53480">
                  <c:v>0.95380774032459403</c:v>
                </c:pt>
                <c:pt idx="53481">
                  <c:v>0.953825575173889</c:v>
                </c:pt>
                <c:pt idx="53482">
                  <c:v>0.95384341002318496</c:v>
                </c:pt>
                <c:pt idx="53483">
                  <c:v>0.95386124487248003</c:v>
                </c:pt>
                <c:pt idx="53484">
                  <c:v>0.95387907972177599</c:v>
                </c:pt>
                <c:pt idx="53485">
                  <c:v>0.95389691457107095</c:v>
                </c:pt>
                <c:pt idx="53486">
                  <c:v>0.95391474942036703</c:v>
                </c:pt>
                <c:pt idx="53487">
                  <c:v>0.95393258426966199</c:v>
                </c:pt>
                <c:pt idx="53488">
                  <c:v>0.95395041911895795</c:v>
                </c:pt>
                <c:pt idx="53489">
                  <c:v>0.95396825396825402</c:v>
                </c:pt>
                <c:pt idx="53490">
                  <c:v>0.95398608881754898</c:v>
                </c:pt>
                <c:pt idx="53491">
                  <c:v>0.95400392366684506</c:v>
                </c:pt>
                <c:pt idx="53492">
                  <c:v>0.95402175851614002</c:v>
                </c:pt>
                <c:pt idx="53493">
                  <c:v>0.95403959336543598</c:v>
                </c:pt>
                <c:pt idx="53494">
                  <c:v>0.95405742821473105</c:v>
                </c:pt>
                <c:pt idx="53495">
                  <c:v>0.95407526306402701</c:v>
                </c:pt>
                <c:pt idx="53496">
                  <c:v>0.95409309791332197</c:v>
                </c:pt>
                <c:pt idx="53497">
                  <c:v>0.95411093276261805</c:v>
                </c:pt>
                <c:pt idx="53498">
                  <c:v>0.95412876761191301</c:v>
                </c:pt>
                <c:pt idx="53499">
                  <c:v>0.95414660246120897</c:v>
                </c:pt>
                <c:pt idx="53500">
                  <c:v>0.95416443731050404</c:v>
                </c:pt>
                <c:pt idx="53501">
                  <c:v>0.9541822721598</c:v>
                </c:pt>
                <c:pt idx="53502">
                  <c:v>0.95420010700909497</c:v>
                </c:pt>
                <c:pt idx="53503">
                  <c:v>0.95421794185839104</c:v>
                </c:pt>
                <c:pt idx="53504">
                  <c:v>0.954235776707686</c:v>
                </c:pt>
                <c:pt idx="53505">
                  <c:v>0.95425361155698196</c:v>
                </c:pt>
                <c:pt idx="53506">
                  <c:v>0.95427144640627704</c:v>
                </c:pt>
                <c:pt idx="53507">
                  <c:v>0.954289281255573</c:v>
                </c:pt>
                <c:pt idx="53508">
                  <c:v>0.95430711610486896</c:v>
                </c:pt>
                <c:pt idx="53509">
                  <c:v>0.95432495095416403</c:v>
                </c:pt>
                <c:pt idx="53510">
                  <c:v>0.95434278580345999</c:v>
                </c:pt>
                <c:pt idx="53511">
                  <c:v>0.95436062065275495</c:v>
                </c:pt>
                <c:pt idx="53512">
                  <c:v>0.95437845550205103</c:v>
                </c:pt>
                <c:pt idx="53513">
                  <c:v>0.95439629035134599</c:v>
                </c:pt>
                <c:pt idx="53514">
                  <c:v>0.95441412520064195</c:v>
                </c:pt>
                <c:pt idx="53515">
                  <c:v>0.95443196004993702</c:v>
                </c:pt>
                <c:pt idx="53516">
                  <c:v>0.95444979489923298</c:v>
                </c:pt>
                <c:pt idx="53517">
                  <c:v>0.95446762974852795</c:v>
                </c:pt>
                <c:pt idx="53518">
                  <c:v>0.95448546459782402</c:v>
                </c:pt>
                <c:pt idx="53519">
                  <c:v>0.95450329944711898</c:v>
                </c:pt>
                <c:pt idx="53520">
                  <c:v>0.95452113429641505</c:v>
                </c:pt>
                <c:pt idx="53521">
                  <c:v>0.95453896914571001</c:v>
                </c:pt>
                <c:pt idx="53522">
                  <c:v>0.95455680399500598</c:v>
                </c:pt>
                <c:pt idx="53523">
                  <c:v>0.95457463884430105</c:v>
                </c:pt>
                <c:pt idx="53524">
                  <c:v>0.95459247369359701</c:v>
                </c:pt>
                <c:pt idx="53525">
                  <c:v>0.95461030854289197</c:v>
                </c:pt>
                <c:pt idx="53526">
                  <c:v>0.95462814339218804</c:v>
                </c:pt>
                <c:pt idx="53527">
                  <c:v>0.95464597824148301</c:v>
                </c:pt>
                <c:pt idx="53528">
                  <c:v>0.95466381309077897</c:v>
                </c:pt>
                <c:pt idx="53529">
                  <c:v>0.95468164794007404</c:v>
                </c:pt>
                <c:pt idx="53530">
                  <c:v>0.95469948278937</c:v>
                </c:pt>
                <c:pt idx="53531">
                  <c:v>0.95471731763866596</c:v>
                </c:pt>
                <c:pt idx="53532">
                  <c:v>0.95473515248796104</c:v>
                </c:pt>
                <c:pt idx="53533">
                  <c:v>0.954752987337257</c:v>
                </c:pt>
                <c:pt idx="53534">
                  <c:v>0.95477082218655196</c:v>
                </c:pt>
                <c:pt idx="53535">
                  <c:v>0.95478865703584803</c:v>
                </c:pt>
                <c:pt idx="53536">
                  <c:v>0.95480649188514299</c:v>
                </c:pt>
                <c:pt idx="53537">
                  <c:v>0.95482432673443896</c:v>
                </c:pt>
                <c:pt idx="53538">
                  <c:v>0.95484216158373403</c:v>
                </c:pt>
                <c:pt idx="53539">
                  <c:v>0.95485999643302999</c:v>
                </c:pt>
                <c:pt idx="53540">
                  <c:v>0.95487783128232495</c:v>
                </c:pt>
                <c:pt idx="53541">
                  <c:v>0.95489566613162102</c:v>
                </c:pt>
                <c:pt idx="53542">
                  <c:v>0.95491350098091599</c:v>
                </c:pt>
                <c:pt idx="53543">
                  <c:v>0.95493133583021195</c:v>
                </c:pt>
                <c:pt idx="53544">
                  <c:v>0.95494917067950702</c:v>
                </c:pt>
                <c:pt idx="53545">
                  <c:v>0.95496700552880298</c:v>
                </c:pt>
                <c:pt idx="53546">
                  <c:v>0.95498484037809805</c:v>
                </c:pt>
                <c:pt idx="53547">
                  <c:v>0.95500267522739402</c:v>
                </c:pt>
                <c:pt idx="53548">
                  <c:v>0.95502051007668898</c:v>
                </c:pt>
                <c:pt idx="53549">
                  <c:v>0.95503834492598505</c:v>
                </c:pt>
                <c:pt idx="53550">
                  <c:v>0.95505617977528001</c:v>
                </c:pt>
                <c:pt idx="53551">
                  <c:v>0.95507401462457597</c:v>
                </c:pt>
                <c:pt idx="53552">
                  <c:v>0.95509184947387105</c:v>
                </c:pt>
                <c:pt idx="53553">
                  <c:v>0.95510968432316701</c:v>
                </c:pt>
                <c:pt idx="53554">
                  <c:v>0.95512751917246297</c:v>
                </c:pt>
                <c:pt idx="53555">
                  <c:v>0.95514535402175804</c:v>
                </c:pt>
                <c:pt idx="53556">
                  <c:v>0.955163188871054</c:v>
                </c:pt>
                <c:pt idx="53557">
                  <c:v>0.95518102372034897</c:v>
                </c:pt>
                <c:pt idx="53558">
                  <c:v>0.95519885856964504</c:v>
                </c:pt>
                <c:pt idx="53559">
                  <c:v>0.95521669341894</c:v>
                </c:pt>
                <c:pt idx="53560">
                  <c:v>0.95523452826823596</c:v>
                </c:pt>
                <c:pt idx="53561">
                  <c:v>0.95525236311753103</c:v>
                </c:pt>
                <c:pt idx="53562">
                  <c:v>0.95527019796682699</c:v>
                </c:pt>
                <c:pt idx="53563">
                  <c:v>0.95528803281612196</c:v>
                </c:pt>
                <c:pt idx="53564">
                  <c:v>0.95530586766541803</c:v>
                </c:pt>
                <c:pt idx="53565">
                  <c:v>0.95532370251471299</c:v>
                </c:pt>
                <c:pt idx="53566">
                  <c:v>0.95534153736400895</c:v>
                </c:pt>
                <c:pt idx="53567">
                  <c:v>0.95535937221330403</c:v>
                </c:pt>
                <c:pt idx="53568">
                  <c:v>0.95537720706259999</c:v>
                </c:pt>
                <c:pt idx="53569">
                  <c:v>0.95539504191189495</c:v>
                </c:pt>
                <c:pt idx="53570">
                  <c:v>0.95541287676119102</c:v>
                </c:pt>
                <c:pt idx="53571">
                  <c:v>0.95543071161048598</c:v>
                </c:pt>
                <c:pt idx="53572">
                  <c:v>0.95544854645978206</c:v>
                </c:pt>
                <c:pt idx="53573">
                  <c:v>0.95546638130907702</c:v>
                </c:pt>
                <c:pt idx="53574">
                  <c:v>0.95548421615837298</c:v>
                </c:pt>
                <c:pt idx="53575">
                  <c:v>0.95550205100766805</c:v>
                </c:pt>
                <c:pt idx="53576">
                  <c:v>0.95551988585696401</c:v>
                </c:pt>
                <c:pt idx="53577">
                  <c:v>0.95553772070625997</c:v>
                </c:pt>
                <c:pt idx="53578">
                  <c:v>0.95555555555555505</c:v>
                </c:pt>
                <c:pt idx="53579">
                  <c:v>0.95557339040485101</c:v>
                </c:pt>
                <c:pt idx="53580">
                  <c:v>0.95559122525414597</c:v>
                </c:pt>
                <c:pt idx="53581">
                  <c:v>0.95560906010344204</c:v>
                </c:pt>
                <c:pt idx="53582">
                  <c:v>0.955626894952737</c:v>
                </c:pt>
                <c:pt idx="53583">
                  <c:v>0.95564472980203297</c:v>
                </c:pt>
                <c:pt idx="53584">
                  <c:v>0.95566256465132804</c:v>
                </c:pt>
                <c:pt idx="53585">
                  <c:v>0.955680399500624</c:v>
                </c:pt>
                <c:pt idx="53586">
                  <c:v>0.95569823434991896</c:v>
                </c:pt>
                <c:pt idx="53587">
                  <c:v>0.95571606919921503</c:v>
                </c:pt>
                <c:pt idx="53588">
                  <c:v>0.95573390404851</c:v>
                </c:pt>
                <c:pt idx="53589">
                  <c:v>0.95575173889780596</c:v>
                </c:pt>
                <c:pt idx="53590">
                  <c:v>0.95576957374710103</c:v>
                </c:pt>
                <c:pt idx="53591">
                  <c:v>0.95578740859639699</c:v>
                </c:pt>
                <c:pt idx="53592">
                  <c:v>0.95580524344569195</c:v>
                </c:pt>
                <c:pt idx="53593">
                  <c:v>0.95582307829498803</c:v>
                </c:pt>
                <c:pt idx="53594">
                  <c:v>0.95584091314428299</c:v>
                </c:pt>
                <c:pt idx="53595">
                  <c:v>0.95585874799357895</c:v>
                </c:pt>
                <c:pt idx="53596">
                  <c:v>0.95587658284287502</c:v>
                </c:pt>
                <c:pt idx="53597">
                  <c:v>0.95589441769216998</c:v>
                </c:pt>
                <c:pt idx="53598">
                  <c:v>0.95591225254146595</c:v>
                </c:pt>
                <c:pt idx="53599">
                  <c:v>0.95593008739076102</c:v>
                </c:pt>
                <c:pt idx="53600">
                  <c:v>0.95594792224005698</c:v>
                </c:pt>
                <c:pt idx="53601">
                  <c:v>0.95596575708935205</c:v>
                </c:pt>
                <c:pt idx="53602">
                  <c:v>0.95598359193864801</c:v>
                </c:pt>
                <c:pt idx="53603">
                  <c:v>0.95600142678794298</c:v>
                </c:pt>
                <c:pt idx="53604">
                  <c:v>0.95601926163723905</c:v>
                </c:pt>
                <c:pt idx="53605">
                  <c:v>0.95603709648653401</c:v>
                </c:pt>
                <c:pt idx="53606">
                  <c:v>0.95605493133582997</c:v>
                </c:pt>
                <c:pt idx="53607">
                  <c:v>0.95607276618512504</c:v>
                </c:pt>
                <c:pt idx="53608">
                  <c:v>0.95609060103442101</c:v>
                </c:pt>
                <c:pt idx="53609">
                  <c:v>0.95610843588371597</c:v>
                </c:pt>
                <c:pt idx="53610">
                  <c:v>0.95612627073301204</c:v>
                </c:pt>
                <c:pt idx="53611">
                  <c:v>0.956144105582307</c:v>
                </c:pt>
                <c:pt idx="53612">
                  <c:v>0.95616194043160296</c:v>
                </c:pt>
                <c:pt idx="53613">
                  <c:v>0.95617977528089804</c:v>
                </c:pt>
                <c:pt idx="53614">
                  <c:v>0.956197610130194</c:v>
                </c:pt>
                <c:pt idx="53615">
                  <c:v>0.95621544497948996</c:v>
                </c:pt>
                <c:pt idx="53616">
                  <c:v>0.95623327982878503</c:v>
                </c:pt>
                <c:pt idx="53617">
                  <c:v>0.95625111467808099</c:v>
                </c:pt>
                <c:pt idx="53618">
                  <c:v>0.95626894952737596</c:v>
                </c:pt>
                <c:pt idx="53619">
                  <c:v>0.95628678437667203</c:v>
                </c:pt>
                <c:pt idx="53620">
                  <c:v>0.95630461922596699</c:v>
                </c:pt>
                <c:pt idx="53621">
                  <c:v>0.95632245407526295</c:v>
                </c:pt>
                <c:pt idx="53622">
                  <c:v>0.95634028892455802</c:v>
                </c:pt>
                <c:pt idx="53623">
                  <c:v>0.95635812377385399</c:v>
                </c:pt>
                <c:pt idx="53624">
                  <c:v>0.95637595862314895</c:v>
                </c:pt>
                <c:pt idx="53625">
                  <c:v>0.95639379347244502</c:v>
                </c:pt>
                <c:pt idx="53626">
                  <c:v>0.95641162832173998</c:v>
                </c:pt>
                <c:pt idx="53627">
                  <c:v>0.95642946317103605</c:v>
                </c:pt>
                <c:pt idx="53628">
                  <c:v>0.95644729802033102</c:v>
                </c:pt>
                <c:pt idx="53629">
                  <c:v>0.95646513286962698</c:v>
                </c:pt>
                <c:pt idx="53630">
                  <c:v>0.95648296771892205</c:v>
                </c:pt>
                <c:pt idx="53631">
                  <c:v>0.95650080256821801</c:v>
                </c:pt>
                <c:pt idx="53632">
                  <c:v>0.95651863741751297</c:v>
                </c:pt>
                <c:pt idx="53633">
                  <c:v>0.95653647226680905</c:v>
                </c:pt>
                <c:pt idx="53634">
                  <c:v>0.95655430711610401</c:v>
                </c:pt>
                <c:pt idx="53635">
                  <c:v>0.95657214196539997</c:v>
                </c:pt>
                <c:pt idx="53636">
                  <c:v>0.95658997681469504</c:v>
                </c:pt>
                <c:pt idx="53637">
                  <c:v>0.956607811663991</c:v>
                </c:pt>
                <c:pt idx="53638">
                  <c:v>0.95662564651328696</c:v>
                </c:pt>
                <c:pt idx="53639">
                  <c:v>0.95664348136258204</c:v>
                </c:pt>
                <c:pt idx="53640">
                  <c:v>0.956661316211878</c:v>
                </c:pt>
                <c:pt idx="53641">
                  <c:v>0.95667915106117296</c:v>
                </c:pt>
                <c:pt idx="53642">
                  <c:v>0.95669698591046903</c:v>
                </c:pt>
                <c:pt idx="53643">
                  <c:v>0.956714820759764</c:v>
                </c:pt>
                <c:pt idx="53644">
                  <c:v>0.95673265560905996</c:v>
                </c:pt>
                <c:pt idx="53645">
                  <c:v>0.95675049045835503</c:v>
                </c:pt>
                <c:pt idx="53646">
                  <c:v>0.95676832530765099</c:v>
                </c:pt>
                <c:pt idx="53647">
                  <c:v>0.95678616015694595</c:v>
                </c:pt>
                <c:pt idx="53648">
                  <c:v>0.95680399500624203</c:v>
                </c:pt>
                <c:pt idx="53649">
                  <c:v>0.95682182985553699</c:v>
                </c:pt>
                <c:pt idx="53650">
                  <c:v>0.95683966470483295</c:v>
                </c:pt>
                <c:pt idx="53651">
                  <c:v>0.95685749955412802</c:v>
                </c:pt>
                <c:pt idx="53652">
                  <c:v>0.95687533440342398</c:v>
                </c:pt>
                <c:pt idx="53653">
                  <c:v>0.95689316925271894</c:v>
                </c:pt>
                <c:pt idx="53654">
                  <c:v>0.95691100410201502</c:v>
                </c:pt>
                <c:pt idx="53655">
                  <c:v>0.95692883895130998</c:v>
                </c:pt>
                <c:pt idx="53656">
                  <c:v>0.95694667380060605</c:v>
                </c:pt>
                <c:pt idx="53657">
                  <c:v>0.95696450864990101</c:v>
                </c:pt>
                <c:pt idx="53658">
                  <c:v>0.95698234349919697</c:v>
                </c:pt>
                <c:pt idx="53659">
                  <c:v>0.95700017834849205</c:v>
                </c:pt>
                <c:pt idx="53660">
                  <c:v>0.95701801319778801</c:v>
                </c:pt>
                <c:pt idx="53661">
                  <c:v>0.95703584804708397</c:v>
                </c:pt>
                <c:pt idx="53662">
                  <c:v>0.95705368289637904</c:v>
                </c:pt>
                <c:pt idx="53663">
                  <c:v>0.957071517745675</c:v>
                </c:pt>
                <c:pt idx="53664">
                  <c:v>0.95708935259496997</c:v>
                </c:pt>
                <c:pt idx="53665">
                  <c:v>0.95710718744426604</c:v>
                </c:pt>
                <c:pt idx="53666">
                  <c:v>0.957125022293561</c:v>
                </c:pt>
                <c:pt idx="53667">
                  <c:v>0.95714285714285696</c:v>
                </c:pt>
                <c:pt idx="53668">
                  <c:v>0.95716069199215204</c:v>
                </c:pt>
                <c:pt idx="53669">
                  <c:v>0.957178526841448</c:v>
                </c:pt>
                <c:pt idx="53670">
                  <c:v>0.95719636169074296</c:v>
                </c:pt>
                <c:pt idx="53671">
                  <c:v>0.95721419654003903</c:v>
                </c:pt>
                <c:pt idx="53672">
                  <c:v>0.95723203138933399</c:v>
                </c:pt>
                <c:pt idx="53673">
                  <c:v>0.95724986623862995</c:v>
                </c:pt>
                <c:pt idx="53674">
                  <c:v>0.95726770108792503</c:v>
                </c:pt>
                <c:pt idx="53675">
                  <c:v>0.95728553593722099</c:v>
                </c:pt>
                <c:pt idx="53676">
                  <c:v>0.95730337078651595</c:v>
                </c:pt>
                <c:pt idx="53677">
                  <c:v>0.95732120563581202</c:v>
                </c:pt>
                <c:pt idx="53678">
                  <c:v>0.95733904048510698</c:v>
                </c:pt>
                <c:pt idx="53679">
                  <c:v>0.95735687533440295</c:v>
                </c:pt>
                <c:pt idx="53680">
                  <c:v>0.95737471018369802</c:v>
                </c:pt>
                <c:pt idx="53681">
                  <c:v>0.95739254503299398</c:v>
                </c:pt>
                <c:pt idx="53682">
                  <c:v>0.95741037988228905</c:v>
                </c:pt>
                <c:pt idx="53683">
                  <c:v>0.95742821473158501</c:v>
                </c:pt>
                <c:pt idx="53684">
                  <c:v>0.95744604958088098</c:v>
                </c:pt>
                <c:pt idx="53685">
                  <c:v>0.95746388443017605</c:v>
                </c:pt>
                <c:pt idx="53686">
                  <c:v>0.95748171927947201</c:v>
                </c:pt>
                <c:pt idx="53687">
                  <c:v>0.95749955412876697</c:v>
                </c:pt>
                <c:pt idx="53688">
                  <c:v>0.95751738897806304</c:v>
                </c:pt>
                <c:pt idx="53689">
                  <c:v>0.95753522382735801</c:v>
                </c:pt>
                <c:pt idx="53690">
                  <c:v>0.95755305867665397</c:v>
                </c:pt>
                <c:pt idx="53691">
                  <c:v>0.95757089352594904</c:v>
                </c:pt>
                <c:pt idx="53692">
                  <c:v>0.957588728375245</c:v>
                </c:pt>
                <c:pt idx="53693">
                  <c:v>0.95760656322453996</c:v>
                </c:pt>
                <c:pt idx="53694">
                  <c:v>0.95762439807383604</c:v>
                </c:pt>
                <c:pt idx="53695">
                  <c:v>0.957642232923131</c:v>
                </c:pt>
                <c:pt idx="53696">
                  <c:v>0.95766006777242696</c:v>
                </c:pt>
                <c:pt idx="53697">
                  <c:v>0.95767790262172203</c:v>
                </c:pt>
                <c:pt idx="53698">
                  <c:v>0.95769573747101799</c:v>
                </c:pt>
                <c:pt idx="53699">
                  <c:v>0.95771357232031296</c:v>
                </c:pt>
                <c:pt idx="53700">
                  <c:v>0.95773140716960903</c:v>
                </c:pt>
                <c:pt idx="53701">
                  <c:v>0.95774924201890499</c:v>
                </c:pt>
                <c:pt idx="53702">
                  <c:v>0.95776707686819995</c:v>
                </c:pt>
                <c:pt idx="53703">
                  <c:v>0.95778491171749602</c:v>
                </c:pt>
                <c:pt idx="53704">
                  <c:v>0.95780274656679099</c:v>
                </c:pt>
                <c:pt idx="53705">
                  <c:v>0.95782058141608695</c:v>
                </c:pt>
                <c:pt idx="53706">
                  <c:v>0.95783841626538202</c:v>
                </c:pt>
                <c:pt idx="53707">
                  <c:v>0.95785625111467798</c:v>
                </c:pt>
                <c:pt idx="53708">
                  <c:v>0.95787408596397305</c:v>
                </c:pt>
                <c:pt idx="53709">
                  <c:v>0.95789192081326902</c:v>
                </c:pt>
                <c:pt idx="53710">
                  <c:v>0.95790975566256398</c:v>
                </c:pt>
                <c:pt idx="53711">
                  <c:v>0.95792759051186005</c:v>
                </c:pt>
                <c:pt idx="53712">
                  <c:v>0.95794542536115501</c:v>
                </c:pt>
                <c:pt idx="53713">
                  <c:v>0.95796326021045097</c:v>
                </c:pt>
                <c:pt idx="53714">
                  <c:v>0.95798109505974605</c:v>
                </c:pt>
                <c:pt idx="53715">
                  <c:v>0.95799892990904201</c:v>
                </c:pt>
                <c:pt idx="53716">
                  <c:v>0.95801676475833697</c:v>
                </c:pt>
                <c:pt idx="53717">
                  <c:v>0.95803459960763304</c:v>
                </c:pt>
                <c:pt idx="53718">
                  <c:v>0.958052434456928</c:v>
                </c:pt>
                <c:pt idx="53719">
                  <c:v>0.95807026930622396</c:v>
                </c:pt>
                <c:pt idx="53720">
                  <c:v>0.95808810415551904</c:v>
                </c:pt>
                <c:pt idx="53721">
                  <c:v>0.958105939004815</c:v>
                </c:pt>
                <c:pt idx="53722">
                  <c:v>0.95812377385411096</c:v>
                </c:pt>
                <c:pt idx="53723">
                  <c:v>0.95814160870340603</c:v>
                </c:pt>
                <c:pt idx="53724">
                  <c:v>0.95815944355270199</c:v>
                </c:pt>
                <c:pt idx="53725">
                  <c:v>0.95817727840199696</c:v>
                </c:pt>
                <c:pt idx="53726">
                  <c:v>0.95819511325129303</c:v>
                </c:pt>
                <c:pt idx="53727">
                  <c:v>0.95821294810058799</c:v>
                </c:pt>
                <c:pt idx="53728">
                  <c:v>0.95823078294988395</c:v>
                </c:pt>
                <c:pt idx="53729">
                  <c:v>0.95824861779917903</c:v>
                </c:pt>
                <c:pt idx="53730">
                  <c:v>0.95826645264847499</c:v>
                </c:pt>
                <c:pt idx="53731">
                  <c:v>0.95828428749776995</c:v>
                </c:pt>
                <c:pt idx="53732">
                  <c:v>0.95830212234706602</c:v>
                </c:pt>
                <c:pt idx="53733">
                  <c:v>0.95831995719636098</c:v>
                </c:pt>
                <c:pt idx="53734">
                  <c:v>0.95833779204565706</c:v>
                </c:pt>
                <c:pt idx="53735">
                  <c:v>0.95835562689495202</c:v>
                </c:pt>
                <c:pt idx="53736">
                  <c:v>0.95837346174424798</c:v>
                </c:pt>
                <c:pt idx="53737">
                  <c:v>0.95839129659354305</c:v>
                </c:pt>
                <c:pt idx="53738">
                  <c:v>0.95840913144283901</c:v>
                </c:pt>
                <c:pt idx="53739">
                  <c:v>0.95842696629213397</c:v>
                </c:pt>
                <c:pt idx="53740">
                  <c:v>0.95844480114143005</c:v>
                </c:pt>
                <c:pt idx="53741">
                  <c:v>0.95846263599072501</c:v>
                </c:pt>
                <c:pt idx="53742">
                  <c:v>0.95848047084002097</c:v>
                </c:pt>
                <c:pt idx="53743">
                  <c:v>0.95849830568931604</c:v>
                </c:pt>
                <c:pt idx="53744">
                  <c:v>0.958516140538612</c:v>
                </c:pt>
                <c:pt idx="53745">
                  <c:v>0.95853397538790797</c:v>
                </c:pt>
                <c:pt idx="53746">
                  <c:v>0.95855181023720304</c:v>
                </c:pt>
                <c:pt idx="53747">
                  <c:v>0.958569645086499</c:v>
                </c:pt>
                <c:pt idx="53748">
                  <c:v>0.95858747993579396</c:v>
                </c:pt>
                <c:pt idx="53749">
                  <c:v>0.95860531478509003</c:v>
                </c:pt>
                <c:pt idx="53750">
                  <c:v>0.958623149634385</c:v>
                </c:pt>
                <c:pt idx="53751">
                  <c:v>0.95864098448368096</c:v>
                </c:pt>
                <c:pt idx="53752">
                  <c:v>0.95865881933297603</c:v>
                </c:pt>
                <c:pt idx="53753">
                  <c:v>0.95867665418227199</c:v>
                </c:pt>
                <c:pt idx="53754">
                  <c:v>0.95869448903156695</c:v>
                </c:pt>
                <c:pt idx="53755">
                  <c:v>0.95871232388086303</c:v>
                </c:pt>
                <c:pt idx="53756">
                  <c:v>0.95873015873015799</c:v>
                </c:pt>
                <c:pt idx="53757">
                  <c:v>0.95874799357945395</c:v>
                </c:pt>
                <c:pt idx="53758">
                  <c:v>0.95876582842874902</c:v>
                </c:pt>
                <c:pt idx="53759">
                  <c:v>0.95878366327804498</c:v>
                </c:pt>
                <c:pt idx="53760">
                  <c:v>0.95880149812733995</c:v>
                </c:pt>
                <c:pt idx="53761">
                  <c:v>0.95881933297663602</c:v>
                </c:pt>
                <c:pt idx="53762">
                  <c:v>0.95883716782593098</c:v>
                </c:pt>
                <c:pt idx="53763">
                  <c:v>0.95885500267522705</c:v>
                </c:pt>
                <c:pt idx="53764">
                  <c:v>0.95887283752452201</c:v>
                </c:pt>
                <c:pt idx="53765">
                  <c:v>0.95889067237381798</c:v>
                </c:pt>
                <c:pt idx="53766">
                  <c:v>0.95890850722311305</c:v>
                </c:pt>
                <c:pt idx="53767">
                  <c:v>0.95892634207240901</c:v>
                </c:pt>
                <c:pt idx="53768">
                  <c:v>0.95894417692170497</c:v>
                </c:pt>
                <c:pt idx="53769">
                  <c:v>0.95896201177100004</c:v>
                </c:pt>
                <c:pt idx="53770">
                  <c:v>0.95897984662029601</c:v>
                </c:pt>
                <c:pt idx="53771">
                  <c:v>0.95899768146959097</c:v>
                </c:pt>
                <c:pt idx="53772">
                  <c:v>0.95901551631888704</c:v>
                </c:pt>
                <c:pt idx="53773">
                  <c:v>0.959033351168182</c:v>
                </c:pt>
                <c:pt idx="53774">
                  <c:v>0.95905118601747796</c:v>
                </c:pt>
                <c:pt idx="53775">
                  <c:v>0.95906902086677304</c:v>
                </c:pt>
                <c:pt idx="53776">
                  <c:v>0.959086855716069</c:v>
                </c:pt>
                <c:pt idx="53777">
                  <c:v>0.95910469056536396</c:v>
                </c:pt>
                <c:pt idx="53778">
                  <c:v>0.95912252541466003</c:v>
                </c:pt>
                <c:pt idx="53779">
                  <c:v>0.95914036026395499</c:v>
                </c:pt>
                <c:pt idx="53780">
                  <c:v>0.95915819511325096</c:v>
                </c:pt>
                <c:pt idx="53781">
                  <c:v>0.95917602996254603</c:v>
                </c:pt>
                <c:pt idx="53782">
                  <c:v>0.95919386481184199</c:v>
                </c:pt>
                <c:pt idx="53783">
                  <c:v>0.95921169966113695</c:v>
                </c:pt>
                <c:pt idx="53784">
                  <c:v>0.95922953451043302</c:v>
                </c:pt>
                <c:pt idx="53785">
                  <c:v>0.95924736935972799</c:v>
                </c:pt>
                <c:pt idx="53786">
                  <c:v>0.95926520420902395</c:v>
                </c:pt>
                <c:pt idx="53787">
                  <c:v>0.95928303905831902</c:v>
                </c:pt>
                <c:pt idx="53788">
                  <c:v>0.95930087390761498</c:v>
                </c:pt>
                <c:pt idx="53789">
                  <c:v>0.95931870875691105</c:v>
                </c:pt>
                <c:pt idx="53790">
                  <c:v>0.95933654360620602</c:v>
                </c:pt>
                <c:pt idx="53791">
                  <c:v>0.95935437845550198</c:v>
                </c:pt>
                <c:pt idx="53792">
                  <c:v>0.95937221330479705</c:v>
                </c:pt>
                <c:pt idx="53793">
                  <c:v>0.95939004815409301</c:v>
                </c:pt>
                <c:pt idx="53794">
                  <c:v>0.95940788300338797</c:v>
                </c:pt>
                <c:pt idx="53795">
                  <c:v>0.95942571785268405</c:v>
                </c:pt>
                <c:pt idx="53796">
                  <c:v>0.95944355270197901</c:v>
                </c:pt>
                <c:pt idx="53797">
                  <c:v>0.95946138755127497</c:v>
                </c:pt>
                <c:pt idx="53798">
                  <c:v>0.95947922240057004</c:v>
                </c:pt>
                <c:pt idx="53799">
                  <c:v>0.959497057249866</c:v>
                </c:pt>
                <c:pt idx="53800">
                  <c:v>0.95951489209916097</c:v>
                </c:pt>
                <c:pt idx="53801">
                  <c:v>0.95953272694845704</c:v>
                </c:pt>
                <c:pt idx="53802">
                  <c:v>0.959550561797752</c:v>
                </c:pt>
                <c:pt idx="53803">
                  <c:v>0.95956839664704796</c:v>
                </c:pt>
                <c:pt idx="53804">
                  <c:v>0.95958623149634303</c:v>
                </c:pt>
                <c:pt idx="53805">
                  <c:v>0.959604066345639</c:v>
                </c:pt>
                <c:pt idx="53806">
                  <c:v>0.95962190119493496</c:v>
                </c:pt>
                <c:pt idx="53807">
                  <c:v>0.95963973604423003</c:v>
                </c:pt>
                <c:pt idx="53808">
                  <c:v>0.95965757089352599</c:v>
                </c:pt>
                <c:pt idx="53809">
                  <c:v>0.95967540574282095</c:v>
                </c:pt>
                <c:pt idx="53810">
                  <c:v>0.95969324059211703</c:v>
                </c:pt>
                <c:pt idx="53811">
                  <c:v>0.95971107544141199</c:v>
                </c:pt>
                <c:pt idx="53812">
                  <c:v>0.95972891029070795</c:v>
                </c:pt>
                <c:pt idx="53813">
                  <c:v>0.95974674514000302</c:v>
                </c:pt>
                <c:pt idx="53814">
                  <c:v>0.95976457998929898</c:v>
                </c:pt>
                <c:pt idx="53815">
                  <c:v>0.95978241483859394</c:v>
                </c:pt>
                <c:pt idx="53816">
                  <c:v>0.95980024968789002</c:v>
                </c:pt>
                <c:pt idx="53817">
                  <c:v>0.95981808453718498</c:v>
                </c:pt>
                <c:pt idx="53818">
                  <c:v>0.95983591938648105</c:v>
                </c:pt>
                <c:pt idx="53819">
                  <c:v>0.95985375423577601</c:v>
                </c:pt>
                <c:pt idx="53820">
                  <c:v>0.95987158908507197</c:v>
                </c:pt>
                <c:pt idx="53821">
                  <c:v>0.95988942393436705</c:v>
                </c:pt>
                <c:pt idx="53822">
                  <c:v>0.95990725878366301</c:v>
                </c:pt>
                <c:pt idx="53823">
                  <c:v>0.95992509363295797</c:v>
                </c:pt>
                <c:pt idx="53824">
                  <c:v>0.95994292848225404</c:v>
                </c:pt>
                <c:pt idx="53825">
                  <c:v>0.95996076333154901</c:v>
                </c:pt>
                <c:pt idx="53826">
                  <c:v>0.95997859818084497</c:v>
                </c:pt>
                <c:pt idx="53827">
                  <c:v>0.95999643303014004</c:v>
                </c:pt>
                <c:pt idx="53828">
                  <c:v>0.960014267879436</c:v>
                </c:pt>
                <c:pt idx="53829">
                  <c:v>0.96003210272873196</c:v>
                </c:pt>
                <c:pt idx="53830">
                  <c:v>0.96004993757802704</c:v>
                </c:pt>
                <c:pt idx="53831">
                  <c:v>0.960067772427323</c:v>
                </c:pt>
                <c:pt idx="53832">
                  <c:v>0.96008560727661796</c:v>
                </c:pt>
                <c:pt idx="53833">
                  <c:v>0.96010344212591403</c:v>
                </c:pt>
                <c:pt idx="53834">
                  <c:v>0.96012127697520899</c:v>
                </c:pt>
                <c:pt idx="53835">
                  <c:v>0.96013911182450495</c:v>
                </c:pt>
                <c:pt idx="53836">
                  <c:v>0.96015694667380003</c:v>
                </c:pt>
                <c:pt idx="53837">
                  <c:v>0.96017478152309599</c:v>
                </c:pt>
                <c:pt idx="53838">
                  <c:v>0.96019261637239095</c:v>
                </c:pt>
                <c:pt idx="53839">
                  <c:v>0.96021045122168702</c:v>
                </c:pt>
                <c:pt idx="53840">
                  <c:v>0.96022828607098198</c:v>
                </c:pt>
                <c:pt idx="53841">
                  <c:v>0.96024612092027795</c:v>
                </c:pt>
                <c:pt idx="53842">
                  <c:v>0.96026395576957302</c:v>
                </c:pt>
                <c:pt idx="53843">
                  <c:v>0.96028179061886898</c:v>
                </c:pt>
                <c:pt idx="53844">
                  <c:v>0.96029962546816405</c:v>
                </c:pt>
                <c:pt idx="53845">
                  <c:v>0.96031746031746001</c:v>
                </c:pt>
                <c:pt idx="53846">
                  <c:v>0.96033529516675498</c:v>
                </c:pt>
                <c:pt idx="53847">
                  <c:v>0.96035313001605105</c:v>
                </c:pt>
                <c:pt idx="53848">
                  <c:v>0.96037096486534601</c:v>
                </c:pt>
                <c:pt idx="53849">
                  <c:v>0.96038879971464197</c:v>
                </c:pt>
                <c:pt idx="53850">
                  <c:v>0.96040663456393705</c:v>
                </c:pt>
                <c:pt idx="53851">
                  <c:v>0.96042446941323301</c:v>
                </c:pt>
                <c:pt idx="53852">
                  <c:v>0.96044230426252897</c:v>
                </c:pt>
                <c:pt idx="53853">
                  <c:v>0.96046013911182404</c:v>
                </c:pt>
                <c:pt idx="53854">
                  <c:v>0.96047797396112</c:v>
                </c:pt>
                <c:pt idx="53855">
                  <c:v>0.96049580881041496</c:v>
                </c:pt>
                <c:pt idx="53856">
                  <c:v>0.96051364365971104</c:v>
                </c:pt>
                <c:pt idx="53857">
                  <c:v>0.960531478509006</c:v>
                </c:pt>
                <c:pt idx="53858">
                  <c:v>0.96054931335830196</c:v>
                </c:pt>
                <c:pt idx="53859">
                  <c:v>0.96056714820759703</c:v>
                </c:pt>
                <c:pt idx="53860">
                  <c:v>0.96058498305689299</c:v>
                </c:pt>
                <c:pt idx="53861">
                  <c:v>0.96060281790618796</c:v>
                </c:pt>
                <c:pt idx="53862">
                  <c:v>0.96062065275548403</c:v>
                </c:pt>
                <c:pt idx="53863">
                  <c:v>0.96063848760477899</c:v>
                </c:pt>
                <c:pt idx="53864">
                  <c:v>0.96065632245407495</c:v>
                </c:pt>
                <c:pt idx="53865">
                  <c:v>0.96067415730337002</c:v>
                </c:pt>
                <c:pt idx="53866">
                  <c:v>0.96069199215266599</c:v>
                </c:pt>
                <c:pt idx="53867">
                  <c:v>0.96070982700196095</c:v>
                </c:pt>
                <c:pt idx="53868">
                  <c:v>0.96072766185125702</c:v>
                </c:pt>
                <c:pt idx="53869">
                  <c:v>0.96074549670055198</c:v>
                </c:pt>
                <c:pt idx="53870">
                  <c:v>0.96076333154984805</c:v>
                </c:pt>
                <c:pt idx="53871">
                  <c:v>0.96078116639914302</c:v>
                </c:pt>
                <c:pt idx="53872">
                  <c:v>0.96079900124843898</c:v>
                </c:pt>
                <c:pt idx="53873">
                  <c:v>0.96081683609773405</c:v>
                </c:pt>
                <c:pt idx="53874">
                  <c:v>0.96083467094703001</c:v>
                </c:pt>
                <c:pt idx="53875">
                  <c:v>0.96085250579632597</c:v>
                </c:pt>
                <c:pt idx="53876">
                  <c:v>0.96087034064562105</c:v>
                </c:pt>
                <c:pt idx="53877">
                  <c:v>0.96088817549491701</c:v>
                </c:pt>
                <c:pt idx="53878">
                  <c:v>0.96090601034421197</c:v>
                </c:pt>
                <c:pt idx="53879">
                  <c:v>0.96092384519350804</c:v>
                </c:pt>
                <c:pt idx="53880">
                  <c:v>0.960941680042803</c:v>
                </c:pt>
                <c:pt idx="53881">
                  <c:v>0.96095951489209896</c:v>
                </c:pt>
                <c:pt idx="53882">
                  <c:v>0.96097734974139404</c:v>
                </c:pt>
                <c:pt idx="53883">
                  <c:v>0.96099518459069</c:v>
                </c:pt>
                <c:pt idx="53884">
                  <c:v>0.96101301943998496</c:v>
                </c:pt>
                <c:pt idx="53885">
                  <c:v>0.96103085428928103</c:v>
                </c:pt>
                <c:pt idx="53886">
                  <c:v>0.961048689138576</c:v>
                </c:pt>
                <c:pt idx="53887">
                  <c:v>0.96106652398787196</c:v>
                </c:pt>
                <c:pt idx="53888">
                  <c:v>0.96108435883716703</c:v>
                </c:pt>
                <c:pt idx="53889">
                  <c:v>0.96110219368646299</c:v>
                </c:pt>
                <c:pt idx="53890">
                  <c:v>0.96112002853575795</c:v>
                </c:pt>
                <c:pt idx="53891">
                  <c:v>0.96113786338505403</c:v>
                </c:pt>
                <c:pt idx="53892">
                  <c:v>0.96115569823434899</c:v>
                </c:pt>
                <c:pt idx="53893">
                  <c:v>0.96117353308364495</c:v>
                </c:pt>
                <c:pt idx="53894">
                  <c:v>0.96119136793294102</c:v>
                </c:pt>
                <c:pt idx="53895">
                  <c:v>0.96120920278223598</c:v>
                </c:pt>
                <c:pt idx="53896">
                  <c:v>0.96122703763153206</c:v>
                </c:pt>
                <c:pt idx="53897">
                  <c:v>0.96124487248082702</c:v>
                </c:pt>
                <c:pt idx="53898">
                  <c:v>0.96126270733012298</c:v>
                </c:pt>
                <c:pt idx="53899">
                  <c:v>0.96128054217941805</c:v>
                </c:pt>
                <c:pt idx="53900">
                  <c:v>0.96129837702871401</c:v>
                </c:pt>
                <c:pt idx="53901">
                  <c:v>0.96131621187800897</c:v>
                </c:pt>
                <c:pt idx="53902">
                  <c:v>0.96133404672730505</c:v>
                </c:pt>
                <c:pt idx="53903">
                  <c:v>0.96135188157660001</c:v>
                </c:pt>
                <c:pt idx="53904">
                  <c:v>0.96136971642589597</c:v>
                </c:pt>
                <c:pt idx="53905">
                  <c:v>0.96138755127519104</c:v>
                </c:pt>
                <c:pt idx="53906">
                  <c:v>0.961405386124487</c:v>
                </c:pt>
                <c:pt idx="53907">
                  <c:v>0.96142322097378197</c:v>
                </c:pt>
                <c:pt idx="53908">
                  <c:v>0.96144105582307804</c:v>
                </c:pt>
                <c:pt idx="53909">
                  <c:v>0.961458890672373</c:v>
                </c:pt>
                <c:pt idx="53910">
                  <c:v>0.96147672552166896</c:v>
                </c:pt>
                <c:pt idx="53911">
                  <c:v>0.96149456037096404</c:v>
                </c:pt>
                <c:pt idx="53912">
                  <c:v>0.96151239522026</c:v>
                </c:pt>
                <c:pt idx="53913">
                  <c:v>0.96153023006955596</c:v>
                </c:pt>
                <c:pt idx="53914">
                  <c:v>0.96154806491885103</c:v>
                </c:pt>
                <c:pt idx="53915">
                  <c:v>0.96156589976814699</c:v>
                </c:pt>
                <c:pt idx="53916">
                  <c:v>0.96158373461744195</c:v>
                </c:pt>
                <c:pt idx="53917">
                  <c:v>0.96160156946673803</c:v>
                </c:pt>
                <c:pt idx="53918">
                  <c:v>0.96161940431603299</c:v>
                </c:pt>
                <c:pt idx="53919">
                  <c:v>0.96163723916532895</c:v>
                </c:pt>
                <c:pt idx="53920">
                  <c:v>0.96165507401462402</c:v>
                </c:pt>
                <c:pt idx="53921">
                  <c:v>0.96167290886391998</c:v>
                </c:pt>
                <c:pt idx="53922">
                  <c:v>0.96169074371321495</c:v>
                </c:pt>
                <c:pt idx="53923">
                  <c:v>0.96170857856251102</c:v>
                </c:pt>
                <c:pt idx="53924">
                  <c:v>0.96172641341180598</c:v>
                </c:pt>
                <c:pt idx="53925">
                  <c:v>0.96174424826110205</c:v>
                </c:pt>
                <c:pt idx="53926">
                  <c:v>0.96176208311039701</c:v>
                </c:pt>
                <c:pt idx="53927">
                  <c:v>0.96177991795969298</c:v>
                </c:pt>
                <c:pt idx="53928">
                  <c:v>0.96179775280898805</c:v>
                </c:pt>
                <c:pt idx="53929">
                  <c:v>0.96181558765828401</c:v>
                </c:pt>
                <c:pt idx="53930">
                  <c:v>0.96183342250757897</c:v>
                </c:pt>
                <c:pt idx="53931">
                  <c:v>0.96185125735687504</c:v>
                </c:pt>
                <c:pt idx="53932">
                  <c:v>0.96186909220617001</c:v>
                </c:pt>
                <c:pt idx="53933">
                  <c:v>0.96188692705546597</c:v>
                </c:pt>
                <c:pt idx="53934">
                  <c:v>0.96190476190476104</c:v>
                </c:pt>
                <c:pt idx="53935">
                  <c:v>0.961922596754057</c:v>
                </c:pt>
                <c:pt idx="53936">
                  <c:v>0.96194043160335296</c:v>
                </c:pt>
                <c:pt idx="53937">
                  <c:v>0.96195826645264804</c:v>
                </c:pt>
                <c:pt idx="53938">
                  <c:v>0.961976101301944</c:v>
                </c:pt>
                <c:pt idx="53939">
                  <c:v>0.96199393615123896</c:v>
                </c:pt>
                <c:pt idx="53940">
                  <c:v>0.96201177100053503</c:v>
                </c:pt>
                <c:pt idx="53941">
                  <c:v>0.96202960584982999</c:v>
                </c:pt>
                <c:pt idx="53942">
                  <c:v>0.96204744069912596</c:v>
                </c:pt>
                <c:pt idx="53943">
                  <c:v>0.96206527554842103</c:v>
                </c:pt>
                <c:pt idx="53944">
                  <c:v>0.96208311039771699</c:v>
                </c:pt>
                <c:pt idx="53945">
                  <c:v>0.96210094524701195</c:v>
                </c:pt>
                <c:pt idx="53946">
                  <c:v>0.96211878009630802</c:v>
                </c:pt>
                <c:pt idx="53947">
                  <c:v>0.96213661494560299</c:v>
                </c:pt>
                <c:pt idx="53948">
                  <c:v>0.96215444979489895</c:v>
                </c:pt>
                <c:pt idx="53949">
                  <c:v>0.96217228464419402</c:v>
                </c:pt>
                <c:pt idx="53950">
                  <c:v>0.96219011949348998</c:v>
                </c:pt>
                <c:pt idx="53951">
                  <c:v>0.96220795434278505</c:v>
                </c:pt>
                <c:pt idx="53952">
                  <c:v>0.96222578919208102</c:v>
                </c:pt>
                <c:pt idx="53953">
                  <c:v>0.96224362404137598</c:v>
                </c:pt>
                <c:pt idx="53954">
                  <c:v>0.96226145889067205</c:v>
                </c:pt>
                <c:pt idx="53955">
                  <c:v>0.96227929373996701</c:v>
                </c:pt>
                <c:pt idx="53956">
                  <c:v>0.96229712858926297</c:v>
                </c:pt>
                <c:pt idx="53957">
                  <c:v>0.96231496343855805</c:v>
                </c:pt>
                <c:pt idx="53958">
                  <c:v>0.96233279828785401</c:v>
                </c:pt>
                <c:pt idx="53959">
                  <c:v>0.96235063313714997</c:v>
                </c:pt>
                <c:pt idx="53960">
                  <c:v>0.96236846798644504</c:v>
                </c:pt>
                <c:pt idx="53961">
                  <c:v>0.962386302835741</c:v>
                </c:pt>
                <c:pt idx="53962">
                  <c:v>0.96240413768503597</c:v>
                </c:pt>
                <c:pt idx="53963">
                  <c:v>0.96242197253433204</c:v>
                </c:pt>
                <c:pt idx="53964">
                  <c:v>0.962439807383627</c:v>
                </c:pt>
                <c:pt idx="53965">
                  <c:v>0.96245764223292296</c:v>
                </c:pt>
                <c:pt idx="53966">
                  <c:v>0.96247547708221803</c:v>
                </c:pt>
                <c:pt idx="53967">
                  <c:v>0.962493311931514</c:v>
                </c:pt>
                <c:pt idx="53968">
                  <c:v>0.96251114678080896</c:v>
                </c:pt>
                <c:pt idx="53969">
                  <c:v>0.96252898163010503</c:v>
                </c:pt>
                <c:pt idx="53970">
                  <c:v>0.96254681647939999</c:v>
                </c:pt>
                <c:pt idx="53971">
                  <c:v>0.96256465132869595</c:v>
                </c:pt>
                <c:pt idx="53972">
                  <c:v>0.96258248617799103</c:v>
                </c:pt>
                <c:pt idx="53973">
                  <c:v>0.96260032102728699</c:v>
                </c:pt>
                <c:pt idx="53974">
                  <c:v>0.96261815587658195</c:v>
                </c:pt>
                <c:pt idx="53975">
                  <c:v>0.96263599072587802</c:v>
                </c:pt>
                <c:pt idx="53976">
                  <c:v>0.96265382557517298</c:v>
                </c:pt>
                <c:pt idx="53977">
                  <c:v>0.96267166042446894</c:v>
                </c:pt>
                <c:pt idx="53978">
                  <c:v>0.96268949527376402</c:v>
                </c:pt>
                <c:pt idx="53979">
                  <c:v>0.96270733012305998</c:v>
                </c:pt>
                <c:pt idx="53980">
                  <c:v>0.96272516497235505</c:v>
                </c:pt>
                <c:pt idx="53981">
                  <c:v>0.96274299982165101</c:v>
                </c:pt>
                <c:pt idx="53982">
                  <c:v>0.96276083467094697</c:v>
                </c:pt>
                <c:pt idx="53983">
                  <c:v>0.96277866952024205</c:v>
                </c:pt>
                <c:pt idx="53984">
                  <c:v>0.96279650436953801</c:v>
                </c:pt>
                <c:pt idx="53985">
                  <c:v>0.96281433921883297</c:v>
                </c:pt>
                <c:pt idx="53986">
                  <c:v>0.96283217406812904</c:v>
                </c:pt>
                <c:pt idx="53987">
                  <c:v>0.96285000891742401</c:v>
                </c:pt>
                <c:pt idx="53988">
                  <c:v>0.96286784376671997</c:v>
                </c:pt>
                <c:pt idx="53989">
                  <c:v>0.96288567861601504</c:v>
                </c:pt>
                <c:pt idx="53990">
                  <c:v>0.962903513465311</c:v>
                </c:pt>
                <c:pt idx="53991">
                  <c:v>0.96292134831460596</c:v>
                </c:pt>
                <c:pt idx="53992">
                  <c:v>0.96293918316390203</c:v>
                </c:pt>
                <c:pt idx="53993">
                  <c:v>0.962957018013197</c:v>
                </c:pt>
                <c:pt idx="53994">
                  <c:v>0.96297485286249296</c:v>
                </c:pt>
                <c:pt idx="53995">
                  <c:v>0.96299268771178803</c:v>
                </c:pt>
                <c:pt idx="53996">
                  <c:v>0.96301052256108399</c:v>
                </c:pt>
                <c:pt idx="53997">
                  <c:v>0.96302835741037895</c:v>
                </c:pt>
                <c:pt idx="53998">
                  <c:v>0.96304619225967503</c:v>
                </c:pt>
                <c:pt idx="53999">
                  <c:v>0.96306402710896999</c:v>
                </c:pt>
                <c:pt idx="54000">
                  <c:v>0.96308186195826595</c:v>
                </c:pt>
                <c:pt idx="54001">
                  <c:v>0.96309969680756202</c:v>
                </c:pt>
                <c:pt idx="54002">
                  <c:v>0.96311753165685698</c:v>
                </c:pt>
                <c:pt idx="54003">
                  <c:v>0.96313536650615295</c:v>
                </c:pt>
                <c:pt idx="54004">
                  <c:v>0.96315320135544802</c:v>
                </c:pt>
                <c:pt idx="54005">
                  <c:v>0.96317103620474398</c:v>
                </c:pt>
                <c:pt idx="54006">
                  <c:v>0.96318887105403905</c:v>
                </c:pt>
                <c:pt idx="54007">
                  <c:v>0.96320670590333501</c:v>
                </c:pt>
                <c:pt idx="54008">
                  <c:v>0.96322454075262998</c:v>
                </c:pt>
                <c:pt idx="54009">
                  <c:v>0.96324237560192605</c:v>
                </c:pt>
                <c:pt idx="54010">
                  <c:v>0.96326021045122101</c:v>
                </c:pt>
                <c:pt idx="54011">
                  <c:v>0.96327804530051697</c:v>
                </c:pt>
                <c:pt idx="54012">
                  <c:v>0.96329588014981204</c:v>
                </c:pt>
                <c:pt idx="54013">
                  <c:v>0.96331371499910801</c:v>
                </c:pt>
                <c:pt idx="54014">
                  <c:v>0.96333154984840297</c:v>
                </c:pt>
                <c:pt idx="54015">
                  <c:v>0.96334938469769904</c:v>
                </c:pt>
                <c:pt idx="54016">
                  <c:v>0.963367219546994</c:v>
                </c:pt>
                <c:pt idx="54017">
                  <c:v>0.96338505439628996</c:v>
                </c:pt>
                <c:pt idx="54018">
                  <c:v>0.96340288924558504</c:v>
                </c:pt>
                <c:pt idx="54019">
                  <c:v>0.963420724094881</c:v>
                </c:pt>
                <c:pt idx="54020">
                  <c:v>0.96343855894417696</c:v>
                </c:pt>
                <c:pt idx="54021">
                  <c:v>0.96345639379347203</c:v>
                </c:pt>
                <c:pt idx="54022">
                  <c:v>0.96347422864276799</c:v>
                </c:pt>
                <c:pt idx="54023">
                  <c:v>0.96349206349206296</c:v>
                </c:pt>
                <c:pt idx="54024">
                  <c:v>0.96350989834135903</c:v>
                </c:pt>
                <c:pt idx="54025">
                  <c:v>0.96352773319065399</c:v>
                </c:pt>
                <c:pt idx="54026">
                  <c:v>0.96354556803994995</c:v>
                </c:pt>
                <c:pt idx="54027">
                  <c:v>0.96356340288924502</c:v>
                </c:pt>
                <c:pt idx="54028">
                  <c:v>0.96358123773854099</c:v>
                </c:pt>
                <c:pt idx="54029">
                  <c:v>0.96359907258783595</c:v>
                </c:pt>
                <c:pt idx="54030">
                  <c:v>0.96361690743713202</c:v>
                </c:pt>
                <c:pt idx="54031">
                  <c:v>0.96363474228642698</c:v>
                </c:pt>
                <c:pt idx="54032">
                  <c:v>0.96365257713572305</c:v>
                </c:pt>
                <c:pt idx="54033">
                  <c:v>0.96367041198501802</c:v>
                </c:pt>
                <c:pt idx="54034">
                  <c:v>0.96368824683431398</c:v>
                </c:pt>
                <c:pt idx="54035">
                  <c:v>0.96370608168360905</c:v>
                </c:pt>
                <c:pt idx="54036">
                  <c:v>0.96372391653290501</c:v>
                </c:pt>
                <c:pt idx="54037">
                  <c:v>0.96374175138219997</c:v>
                </c:pt>
                <c:pt idx="54038">
                  <c:v>0.96375958623149605</c:v>
                </c:pt>
                <c:pt idx="54039">
                  <c:v>0.96377742108079101</c:v>
                </c:pt>
                <c:pt idx="54040">
                  <c:v>0.96379525593008697</c:v>
                </c:pt>
                <c:pt idx="54041">
                  <c:v>0.96381309077938204</c:v>
                </c:pt>
                <c:pt idx="54042">
                  <c:v>0.963830925628678</c:v>
                </c:pt>
                <c:pt idx="54043">
                  <c:v>0.96384876047797396</c:v>
                </c:pt>
                <c:pt idx="54044">
                  <c:v>0.96386659532726904</c:v>
                </c:pt>
                <c:pt idx="54045">
                  <c:v>0.963884430176565</c:v>
                </c:pt>
                <c:pt idx="54046">
                  <c:v>0.96390226502585996</c:v>
                </c:pt>
                <c:pt idx="54047">
                  <c:v>0.96392009987515603</c:v>
                </c:pt>
                <c:pt idx="54048">
                  <c:v>0.963937934724451</c:v>
                </c:pt>
                <c:pt idx="54049">
                  <c:v>0.96395576957374696</c:v>
                </c:pt>
                <c:pt idx="54050">
                  <c:v>0.96397360442304203</c:v>
                </c:pt>
                <c:pt idx="54051">
                  <c:v>0.96399143927233799</c:v>
                </c:pt>
                <c:pt idx="54052">
                  <c:v>0.96400927412163295</c:v>
                </c:pt>
                <c:pt idx="54053">
                  <c:v>0.96402710897092903</c:v>
                </c:pt>
                <c:pt idx="54054">
                  <c:v>0.96404494382022399</c:v>
                </c:pt>
                <c:pt idx="54055">
                  <c:v>0.96406277866951995</c:v>
                </c:pt>
                <c:pt idx="54056">
                  <c:v>0.96408061351881502</c:v>
                </c:pt>
                <c:pt idx="54057">
                  <c:v>0.96409844836811098</c:v>
                </c:pt>
                <c:pt idx="54058">
                  <c:v>0.96411628321740594</c:v>
                </c:pt>
                <c:pt idx="54059">
                  <c:v>0.96413411806670202</c:v>
                </c:pt>
                <c:pt idx="54060">
                  <c:v>0.96415195291599698</c:v>
                </c:pt>
                <c:pt idx="54061">
                  <c:v>0.96416978776529305</c:v>
                </c:pt>
                <c:pt idx="54062">
                  <c:v>0.96418762261458801</c:v>
                </c:pt>
                <c:pt idx="54063">
                  <c:v>0.96420545746388397</c:v>
                </c:pt>
                <c:pt idx="54064">
                  <c:v>0.96422329231317905</c:v>
                </c:pt>
                <c:pt idx="54065">
                  <c:v>0.96424112716247501</c:v>
                </c:pt>
                <c:pt idx="54066">
                  <c:v>0.96425896201177097</c:v>
                </c:pt>
                <c:pt idx="54067">
                  <c:v>0.96427679686106604</c:v>
                </c:pt>
                <c:pt idx="54068">
                  <c:v>0.964294631710362</c:v>
                </c:pt>
                <c:pt idx="54069">
                  <c:v>0.96431246655965697</c:v>
                </c:pt>
                <c:pt idx="54070">
                  <c:v>0.96433030140895304</c:v>
                </c:pt>
                <c:pt idx="54071">
                  <c:v>0.964348136258248</c:v>
                </c:pt>
                <c:pt idx="54072">
                  <c:v>0.96436597110754396</c:v>
                </c:pt>
                <c:pt idx="54073">
                  <c:v>0.96438380595683904</c:v>
                </c:pt>
                <c:pt idx="54074">
                  <c:v>0.964401640806135</c:v>
                </c:pt>
                <c:pt idx="54075">
                  <c:v>0.96441947565542996</c:v>
                </c:pt>
                <c:pt idx="54076">
                  <c:v>0.96443731050472603</c:v>
                </c:pt>
                <c:pt idx="54077">
                  <c:v>0.96445514535402099</c:v>
                </c:pt>
                <c:pt idx="54078">
                  <c:v>0.96447298020331695</c:v>
                </c:pt>
                <c:pt idx="54079">
                  <c:v>0.96449081505261203</c:v>
                </c:pt>
                <c:pt idx="54080">
                  <c:v>0.96450864990190799</c:v>
                </c:pt>
                <c:pt idx="54081">
                  <c:v>0.96452648475120295</c:v>
                </c:pt>
                <c:pt idx="54082">
                  <c:v>0.96454431960049902</c:v>
                </c:pt>
                <c:pt idx="54083">
                  <c:v>0.96456215444979398</c:v>
                </c:pt>
                <c:pt idx="54084">
                  <c:v>0.96457998929908995</c:v>
                </c:pt>
                <c:pt idx="54085">
                  <c:v>0.96459782414838502</c:v>
                </c:pt>
                <c:pt idx="54086">
                  <c:v>0.96461565899768098</c:v>
                </c:pt>
                <c:pt idx="54087">
                  <c:v>0.96463349384697605</c:v>
                </c:pt>
                <c:pt idx="54088">
                  <c:v>0.96465132869627201</c:v>
                </c:pt>
                <c:pt idx="54089">
                  <c:v>0.96466916354556798</c:v>
                </c:pt>
                <c:pt idx="54090">
                  <c:v>0.96468699839486305</c:v>
                </c:pt>
                <c:pt idx="54091">
                  <c:v>0.96470483324415901</c:v>
                </c:pt>
                <c:pt idx="54092">
                  <c:v>0.96472266809345397</c:v>
                </c:pt>
                <c:pt idx="54093">
                  <c:v>0.96474050294275004</c:v>
                </c:pt>
                <c:pt idx="54094">
                  <c:v>0.96475833779204501</c:v>
                </c:pt>
                <c:pt idx="54095">
                  <c:v>0.96477617264134097</c:v>
                </c:pt>
                <c:pt idx="54096">
                  <c:v>0.96479400749063604</c:v>
                </c:pt>
                <c:pt idx="54097">
                  <c:v>0.964811842339932</c:v>
                </c:pt>
                <c:pt idx="54098">
                  <c:v>0.96482967718922696</c:v>
                </c:pt>
                <c:pt idx="54099">
                  <c:v>0.96484751203852304</c:v>
                </c:pt>
                <c:pt idx="54100">
                  <c:v>0.964865346887818</c:v>
                </c:pt>
                <c:pt idx="54101">
                  <c:v>0.96488318173711396</c:v>
                </c:pt>
                <c:pt idx="54102">
                  <c:v>0.96490101658640903</c:v>
                </c:pt>
                <c:pt idx="54103">
                  <c:v>0.96491885143570499</c:v>
                </c:pt>
                <c:pt idx="54104">
                  <c:v>0.96493668628499996</c:v>
                </c:pt>
                <c:pt idx="54105">
                  <c:v>0.96495452113429603</c:v>
                </c:pt>
                <c:pt idx="54106">
                  <c:v>0.96497235598359199</c:v>
                </c:pt>
                <c:pt idx="54107">
                  <c:v>0.96499019083288695</c:v>
                </c:pt>
                <c:pt idx="54108">
                  <c:v>0.96500802568218302</c:v>
                </c:pt>
                <c:pt idx="54109">
                  <c:v>0.96502586053147799</c:v>
                </c:pt>
                <c:pt idx="54110">
                  <c:v>0.96504369538077395</c:v>
                </c:pt>
                <c:pt idx="54111">
                  <c:v>0.96506153023006902</c:v>
                </c:pt>
                <c:pt idx="54112">
                  <c:v>0.96507936507936498</c:v>
                </c:pt>
                <c:pt idx="54113">
                  <c:v>0.96509719992866005</c:v>
                </c:pt>
                <c:pt idx="54114">
                  <c:v>0.96511503477795602</c:v>
                </c:pt>
                <c:pt idx="54115">
                  <c:v>0.96513286962725098</c:v>
                </c:pt>
                <c:pt idx="54116">
                  <c:v>0.96515070447654705</c:v>
                </c:pt>
                <c:pt idx="54117">
                  <c:v>0.96516853932584201</c:v>
                </c:pt>
                <c:pt idx="54118">
                  <c:v>0.96518637417513797</c:v>
                </c:pt>
                <c:pt idx="54119">
                  <c:v>0.96520420902443305</c:v>
                </c:pt>
                <c:pt idx="54120">
                  <c:v>0.96522204387372901</c:v>
                </c:pt>
                <c:pt idx="54121">
                  <c:v>0.96523987872302397</c:v>
                </c:pt>
                <c:pt idx="54122">
                  <c:v>0.96525771357232004</c:v>
                </c:pt>
                <c:pt idx="54123">
                  <c:v>0.965275548421615</c:v>
                </c:pt>
                <c:pt idx="54124">
                  <c:v>0.96529338327091097</c:v>
                </c:pt>
                <c:pt idx="54125">
                  <c:v>0.96531121812020604</c:v>
                </c:pt>
                <c:pt idx="54126">
                  <c:v>0.965329052969502</c:v>
                </c:pt>
                <c:pt idx="54127">
                  <c:v>0.96534688781879796</c:v>
                </c:pt>
                <c:pt idx="54128">
                  <c:v>0.96536472266809303</c:v>
                </c:pt>
                <c:pt idx="54129">
                  <c:v>0.965382557517389</c:v>
                </c:pt>
                <c:pt idx="54130">
                  <c:v>0.96540039236668396</c:v>
                </c:pt>
                <c:pt idx="54131">
                  <c:v>0.96541822721598003</c:v>
                </c:pt>
                <c:pt idx="54132">
                  <c:v>0.96543606206527499</c:v>
                </c:pt>
                <c:pt idx="54133">
                  <c:v>0.96545389691457095</c:v>
                </c:pt>
                <c:pt idx="54134">
                  <c:v>0.96547173176386603</c:v>
                </c:pt>
                <c:pt idx="54135">
                  <c:v>0.96548956661316199</c:v>
                </c:pt>
                <c:pt idx="54136">
                  <c:v>0.96550740146245695</c:v>
                </c:pt>
                <c:pt idx="54137">
                  <c:v>0.96552523631175302</c:v>
                </c:pt>
                <c:pt idx="54138">
                  <c:v>0.96554307116104798</c:v>
                </c:pt>
                <c:pt idx="54139">
                  <c:v>0.96556090601034406</c:v>
                </c:pt>
                <c:pt idx="54140">
                  <c:v>0.96557874085963902</c:v>
                </c:pt>
                <c:pt idx="54141">
                  <c:v>0.96559657570893498</c:v>
                </c:pt>
                <c:pt idx="54142">
                  <c:v>0.96561441055823005</c:v>
                </c:pt>
                <c:pt idx="54143">
                  <c:v>0.96563224540752601</c:v>
                </c:pt>
                <c:pt idx="54144">
                  <c:v>0.96565008025682098</c:v>
                </c:pt>
                <c:pt idx="54145">
                  <c:v>0.96566791510611705</c:v>
                </c:pt>
                <c:pt idx="54146">
                  <c:v>0.96568574995541201</c:v>
                </c:pt>
                <c:pt idx="54147">
                  <c:v>0.96570358480470797</c:v>
                </c:pt>
                <c:pt idx="54148">
                  <c:v>0.96572141965400304</c:v>
                </c:pt>
                <c:pt idx="54149">
                  <c:v>0.965739254503299</c:v>
                </c:pt>
                <c:pt idx="54150">
                  <c:v>0.96575708935259497</c:v>
                </c:pt>
                <c:pt idx="54151">
                  <c:v>0.96577492420189004</c:v>
                </c:pt>
                <c:pt idx="54152">
                  <c:v>0.965792759051186</c:v>
                </c:pt>
                <c:pt idx="54153">
                  <c:v>0.96581059390048096</c:v>
                </c:pt>
                <c:pt idx="54154">
                  <c:v>0.96582842874977703</c:v>
                </c:pt>
                <c:pt idx="54155">
                  <c:v>0.965846263599072</c:v>
                </c:pt>
                <c:pt idx="54156">
                  <c:v>0.96586409844836796</c:v>
                </c:pt>
                <c:pt idx="54157">
                  <c:v>0.96588193329766303</c:v>
                </c:pt>
                <c:pt idx="54158">
                  <c:v>0.96589976814695899</c:v>
                </c:pt>
                <c:pt idx="54159">
                  <c:v>0.96591760299625395</c:v>
                </c:pt>
                <c:pt idx="54160">
                  <c:v>0.96593543784555003</c:v>
                </c:pt>
                <c:pt idx="54161">
                  <c:v>0.96595327269484499</c:v>
                </c:pt>
                <c:pt idx="54162">
                  <c:v>0.96597110754414095</c:v>
                </c:pt>
                <c:pt idx="54163">
                  <c:v>0.96598894239343602</c:v>
                </c:pt>
                <c:pt idx="54164">
                  <c:v>0.96600677724273198</c:v>
                </c:pt>
                <c:pt idx="54165">
                  <c:v>0.96602461209202695</c:v>
                </c:pt>
                <c:pt idx="54166">
                  <c:v>0.96604244694132302</c:v>
                </c:pt>
                <c:pt idx="54167">
                  <c:v>0.96606028179061798</c:v>
                </c:pt>
                <c:pt idx="54168">
                  <c:v>0.96607811663991405</c:v>
                </c:pt>
                <c:pt idx="54169">
                  <c:v>0.96609595148920901</c:v>
                </c:pt>
                <c:pt idx="54170">
                  <c:v>0.96611378633850498</c:v>
                </c:pt>
                <c:pt idx="54171">
                  <c:v>0.96613162118780005</c:v>
                </c:pt>
                <c:pt idx="54172">
                  <c:v>0.96614945603709601</c:v>
                </c:pt>
                <c:pt idx="54173">
                  <c:v>0.96616729088639197</c:v>
                </c:pt>
                <c:pt idx="54174">
                  <c:v>0.96618512573568704</c:v>
                </c:pt>
                <c:pt idx="54175">
                  <c:v>0.96620296058498301</c:v>
                </c:pt>
                <c:pt idx="54176">
                  <c:v>0.96622079543427797</c:v>
                </c:pt>
                <c:pt idx="54177">
                  <c:v>0.96623863028357404</c:v>
                </c:pt>
                <c:pt idx="54178">
                  <c:v>0.966256465132869</c:v>
                </c:pt>
                <c:pt idx="54179">
                  <c:v>0.96627429998216496</c:v>
                </c:pt>
                <c:pt idx="54180">
                  <c:v>0.96629213483146004</c:v>
                </c:pt>
                <c:pt idx="54181">
                  <c:v>0.966309969680756</c:v>
                </c:pt>
                <c:pt idx="54182">
                  <c:v>0.96632780453005096</c:v>
                </c:pt>
                <c:pt idx="54183">
                  <c:v>0.96634563937934703</c:v>
                </c:pt>
                <c:pt idx="54184">
                  <c:v>0.96636347422864199</c:v>
                </c:pt>
                <c:pt idx="54185">
                  <c:v>0.96638130907793796</c:v>
                </c:pt>
                <c:pt idx="54186">
                  <c:v>0.96639914392723303</c:v>
                </c:pt>
                <c:pt idx="54187">
                  <c:v>0.96641697877652899</c:v>
                </c:pt>
                <c:pt idx="54188">
                  <c:v>0.96643481362582395</c:v>
                </c:pt>
                <c:pt idx="54189">
                  <c:v>0.96645264847512002</c:v>
                </c:pt>
                <c:pt idx="54190">
                  <c:v>0.96647048332441499</c:v>
                </c:pt>
                <c:pt idx="54191">
                  <c:v>0.96648831817371095</c:v>
                </c:pt>
                <c:pt idx="54192">
                  <c:v>0.96650615302300602</c:v>
                </c:pt>
                <c:pt idx="54193">
                  <c:v>0.96652398787230198</c:v>
                </c:pt>
                <c:pt idx="54194">
                  <c:v>0.96654182272159805</c:v>
                </c:pt>
                <c:pt idx="54195">
                  <c:v>0.96655965757089302</c:v>
                </c:pt>
                <c:pt idx="54196">
                  <c:v>0.96657749242018898</c:v>
                </c:pt>
                <c:pt idx="54197">
                  <c:v>0.96659532726948405</c:v>
                </c:pt>
                <c:pt idx="54198">
                  <c:v>0.96661316211878001</c:v>
                </c:pt>
                <c:pt idx="54199">
                  <c:v>0.96663099696807497</c:v>
                </c:pt>
                <c:pt idx="54200">
                  <c:v>0.96664883181737105</c:v>
                </c:pt>
                <c:pt idx="54201">
                  <c:v>0.96666666666666601</c:v>
                </c:pt>
                <c:pt idx="54202">
                  <c:v>0.96668450151596197</c:v>
                </c:pt>
                <c:pt idx="54203">
                  <c:v>0.96670233636525704</c:v>
                </c:pt>
                <c:pt idx="54204">
                  <c:v>0.966720171214553</c:v>
                </c:pt>
                <c:pt idx="54205">
                  <c:v>0.96673800606384797</c:v>
                </c:pt>
                <c:pt idx="54206">
                  <c:v>0.96675584091314404</c:v>
                </c:pt>
                <c:pt idx="54207">
                  <c:v>0.966773675762439</c:v>
                </c:pt>
                <c:pt idx="54208">
                  <c:v>0.96679151061173496</c:v>
                </c:pt>
                <c:pt idx="54209">
                  <c:v>0.96680934546103003</c:v>
                </c:pt>
                <c:pt idx="54210">
                  <c:v>0.966827180310326</c:v>
                </c:pt>
                <c:pt idx="54211">
                  <c:v>0.96684501515962196</c:v>
                </c:pt>
                <c:pt idx="54212">
                  <c:v>0.96686285000891703</c:v>
                </c:pt>
                <c:pt idx="54213">
                  <c:v>0.96688068485821299</c:v>
                </c:pt>
                <c:pt idx="54214">
                  <c:v>0.96689851970750795</c:v>
                </c:pt>
                <c:pt idx="54215">
                  <c:v>0.96691635455680403</c:v>
                </c:pt>
                <c:pt idx="54216">
                  <c:v>0.96693418940609899</c:v>
                </c:pt>
                <c:pt idx="54217">
                  <c:v>0.96695202425539495</c:v>
                </c:pt>
                <c:pt idx="54218">
                  <c:v>0.96696985910469002</c:v>
                </c:pt>
                <c:pt idx="54219">
                  <c:v>0.96698769395398598</c:v>
                </c:pt>
                <c:pt idx="54220">
                  <c:v>0.96700552880328094</c:v>
                </c:pt>
                <c:pt idx="54221">
                  <c:v>0.96702336365257702</c:v>
                </c:pt>
                <c:pt idx="54222">
                  <c:v>0.96704119850187198</c:v>
                </c:pt>
                <c:pt idx="54223">
                  <c:v>0.96705903335116805</c:v>
                </c:pt>
                <c:pt idx="54224">
                  <c:v>0.96707686820046301</c:v>
                </c:pt>
                <c:pt idx="54225">
                  <c:v>0.96709470304975897</c:v>
                </c:pt>
                <c:pt idx="54226">
                  <c:v>0.96711253789905405</c:v>
                </c:pt>
                <c:pt idx="54227">
                  <c:v>0.96713037274835001</c:v>
                </c:pt>
                <c:pt idx="54228">
                  <c:v>0.96714820759764497</c:v>
                </c:pt>
                <c:pt idx="54229">
                  <c:v>0.96716604244694104</c:v>
                </c:pt>
                <c:pt idx="54230">
                  <c:v>0.96718387729623601</c:v>
                </c:pt>
                <c:pt idx="54231">
                  <c:v>0.96720171214553197</c:v>
                </c:pt>
                <c:pt idx="54232">
                  <c:v>0.96721954699482704</c:v>
                </c:pt>
                <c:pt idx="54233">
                  <c:v>0.967237381844123</c:v>
                </c:pt>
                <c:pt idx="54234">
                  <c:v>0.96725521669341896</c:v>
                </c:pt>
                <c:pt idx="54235">
                  <c:v>0.96727305154271404</c:v>
                </c:pt>
                <c:pt idx="54236">
                  <c:v>0.96729088639201</c:v>
                </c:pt>
                <c:pt idx="54237">
                  <c:v>0.96730872124130496</c:v>
                </c:pt>
                <c:pt idx="54238">
                  <c:v>0.96732655609060103</c:v>
                </c:pt>
                <c:pt idx="54239">
                  <c:v>0.96734439093989599</c:v>
                </c:pt>
                <c:pt idx="54240">
                  <c:v>0.96736222578919195</c:v>
                </c:pt>
                <c:pt idx="54241">
                  <c:v>0.96738006063848703</c:v>
                </c:pt>
                <c:pt idx="54242">
                  <c:v>0.96739789548778299</c:v>
                </c:pt>
                <c:pt idx="54243">
                  <c:v>0.96741573033707795</c:v>
                </c:pt>
                <c:pt idx="54244">
                  <c:v>0.96743356518637402</c:v>
                </c:pt>
                <c:pt idx="54245">
                  <c:v>0.96745140003566898</c:v>
                </c:pt>
                <c:pt idx="54246">
                  <c:v>0.96746923488496495</c:v>
                </c:pt>
                <c:pt idx="54247">
                  <c:v>0.96748706973426002</c:v>
                </c:pt>
                <c:pt idx="54248">
                  <c:v>0.96750490458355598</c:v>
                </c:pt>
                <c:pt idx="54249">
                  <c:v>0.96752273943285105</c:v>
                </c:pt>
                <c:pt idx="54250">
                  <c:v>0.96754057428214701</c:v>
                </c:pt>
                <c:pt idx="54251">
                  <c:v>0.96755840913144198</c:v>
                </c:pt>
                <c:pt idx="54252">
                  <c:v>0.96757624398073805</c:v>
                </c:pt>
                <c:pt idx="54253">
                  <c:v>0.96759407883003301</c:v>
                </c:pt>
                <c:pt idx="54254">
                  <c:v>0.96761191367932897</c:v>
                </c:pt>
                <c:pt idx="54255">
                  <c:v>0.96762974852862405</c:v>
                </c:pt>
                <c:pt idx="54256">
                  <c:v>0.96764758337792001</c:v>
                </c:pt>
                <c:pt idx="54257">
                  <c:v>0.96766541822721597</c:v>
                </c:pt>
                <c:pt idx="54258">
                  <c:v>0.96768325307651104</c:v>
                </c:pt>
                <c:pt idx="54259">
                  <c:v>0.967701087925807</c:v>
                </c:pt>
                <c:pt idx="54260">
                  <c:v>0.96771892277510196</c:v>
                </c:pt>
                <c:pt idx="54261">
                  <c:v>0.96773675762439804</c:v>
                </c:pt>
                <c:pt idx="54262">
                  <c:v>0.967754592473693</c:v>
                </c:pt>
                <c:pt idx="54263">
                  <c:v>0.96777242732298896</c:v>
                </c:pt>
                <c:pt idx="54264">
                  <c:v>0.96779026217228403</c:v>
                </c:pt>
                <c:pt idx="54265">
                  <c:v>0.96780809702157999</c:v>
                </c:pt>
                <c:pt idx="54266">
                  <c:v>0.96782593187087496</c:v>
                </c:pt>
                <c:pt idx="54267">
                  <c:v>0.96784376672017103</c:v>
                </c:pt>
                <c:pt idx="54268">
                  <c:v>0.96786160156946599</c:v>
                </c:pt>
                <c:pt idx="54269">
                  <c:v>0.96787943641876195</c:v>
                </c:pt>
                <c:pt idx="54270">
                  <c:v>0.96789727126805702</c:v>
                </c:pt>
                <c:pt idx="54271">
                  <c:v>0.96791510611735299</c:v>
                </c:pt>
                <c:pt idx="54272">
                  <c:v>0.96793294096664795</c:v>
                </c:pt>
                <c:pt idx="54273">
                  <c:v>0.96795077581594402</c:v>
                </c:pt>
                <c:pt idx="54274">
                  <c:v>0.96796861066523898</c:v>
                </c:pt>
                <c:pt idx="54275">
                  <c:v>0.96798644551453505</c:v>
                </c:pt>
                <c:pt idx="54276">
                  <c:v>0.96800428036383002</c:v>
                </c:pt>
                <c:pt idx="54277">
                  <c:v>0.96802211521312598</c:v>
                </c:pt>
                <c:pt idx="54278">
                  <c:v>0.96803995006242105</c:v>
                </c:pt>
                <c:pt idx="54279">
                  <c:v>0.96805778491171701</c:v>
                </c:pt>
                <c:pt idx="54280">
                  <c:v>0.96807561976101297</c:v>
                </c:pt>
                <c:pt idx="54281">
                  <c:v>0.96809345461030805</c:v>
                </c:pt>
                <c:pt idx="54282">
                  <c:v>0.96811128945960401</c:v>
                </c:pt>
                <c:pt idx="54283">
                  <c:v>0.96812912430889897</c:v>
                </c:pt>
                <c:pt idx="54284">
                  <c:v>0.96814695915819504</c:v>
                </c:pt>
                <c:pt idx="54285">
                  <c:v>0.96816479400749</c:v>
                </c:pt>
                <c:pt idx="54286">
                  <c:v>0.96818262885678597</c:v>
                </c:pt>
                <c:pt idx="54287">
                  <c:v>0.96820046370608104</c:v>
                </c:pt>
                <c:pt idx="54288">
                  <c:v>0.968218298555377</c:v>
                </c:pt>
                <c:pt idx="54289">
                  <c:v>0.96823613340467196</c:v>
                </c:pt>
                <c:pt idx="54290">
                  <c:v>0.96825396825396803</c:v>
                </c:pt>
                <c:pt idx="54291">
                  <c:v>0.968271803103263</c:v>
                </c:pt>
                <c:pt idx="54292">
                  <c:v>0.96828963795255896</c:v>
                </c:pt>
                <c:pt idx="54293">
                  <c:v>0.96830747280185403</c:v>
                </c:pt>
                <c:pt idx="54294">
                  <c:v>0.96832530765114999</c:v>
                </c:pt>
                <c:pt idx="54295">
                  <c:v>0.96834314250044495</c:v>
                </c:pt>
                <c:pt idx="54296">
                  <c:v>0.96836097734974103</c:v>
                </c:pt>
                <c:pt idx="54297">
                  <c:v>0.96837881219903599</c:v>
                </c:pt>
                <c:pt idx="54298">
                  <c:v>0.96839664704833195</c:v>
                </c:pt>
                <c:pt idx="54299">
                  <c:v>0.96841448189762702</c:v>
                </c:pt>
                <c:pt idx="54300">
                  <c:v>0.96843231674692298</c:v>
                </c:pt>
                <c:pt idx="54301">
                  <c:v>0.96845015159621906</c:v>
                </c:pt>
                <c:pt idx="54302">
                  <c:v>0.96846798644551402</c:v>
                </c:pt>
                <c:pt idx="54303">
                  <c:v>0.96848582129480998</c:v>
                </c:pt>
                <c:pt idx="54304">
                  <c:v>0.96850365614410505</c:v>
                </c:pt>
                <c:pt idx="54305">
                  <c:v>0.96852149099340101</c:v>
                </c:pt>
                <c:pt idx="54306">
                  <c:v>0.96853932584269598</c:v>
                </c:pt>
                <c:pt idx="54307">
                  <c:v>0.96855716069199205</c:v>
                </c:pt>
                <c:pt idx="54308">
                  <c:v>0.96857499554128701</c:v>
                </c:pt>
                <c:pt idx="54309">
                  <c:v>0.96859283039058297</c:v>
                </c:pt>
                <c:pt idx="54310">
                  <c:v>0.96861066523987804</c:v>
                </c:pt>
                <c:pt idx="54311">
                  <c:v>0.968628500089174</c:v>
                </c:pt>
                <c:pt idx="54312">
                  <c:v>0.96864633493846897</c:v>
                </c:pt>
                <c:pt idx="54313">
                  <c:v>0.96866416978776504</c:v>
                </c:pt>
                <c:pt idx="54314">
                  <c:v>0.96868200463706</c:v>
                </c:pt>
                <c:pt idx="54315">
                  <c:v>0.96869983948635596</c:v>
                </c:pt>
                <c:pt idx="54316">
                  <c:v>0.96871767433565104</c:v>
                </c:pt>
                <c:pt idx="54317">
                  <c:v>0.968735509184947</c:v>
                </c:pt>
                <c:pt idx="54318">
                  <c:v>0.96875334403424296</c:v>
                </c:pt>
                <c:pt idx="54319">
                  <c:v>0.96877117888353803</c:v>
                </c:pt>
                <c:pt idx="54320">
                  <c:v>0.96878901373283399</c:v>
                </c:pt>
                <c:pt idx="54321">
                  <c:v>0.96880684858212895</c:v>
                </c:pt>
                <c:pt idx="54322">
                  <c:v>0.96882468343142503</c:v>
                </c:pt>
                <c:pt idx="54323">
                  <c:v>0.96884251828071999</c:v>
                </c:pt>
                <c:pt idx="54324">
                  <c:v>0.96886035313001595</c:v>
                </c:pt>
                <c:pt idx="54325">
                  <c:v>0.96887818797931102</c:v>
                </c:pt>
                <c:pt idx="54326">
                  <c:v>0.96889602282860698</c:v>
                </c:pt>
                <c:pt idx="54327">
                  <c:v>0.96891385767790195</c:v>
                </c:pt>
                <c:pt idx="54328">
                  <c:v>0.96893169252719802</c:v>
                </c:pt>
                <c:pt idx="54329">
                  <c:v>0.96894952737649298</c:v>
                </c:pt>
                <c:pt idx="54330">
                  <c:v>0.96896736222578905</c:v>
                </c:pt>
                <c:pt idx="54331">
                  <c:v>0.96898519707508401</c:v>
                </c:pt>
                <c:pt idx="54332">
                  <c:v>0.96900303192437998</c:v>
                </c:pt>
                <c:pt idx="54333">
                  <c:v>0.96902086677367505</c:v>
                </c:pt>
                <c:pt idx="54334">
                  <c:v>0.96903870162297101</c:v>
                </c:pt>
                <c:pt idx="54335">
                  <c:v>0.96905653647226597</c:v>
                </c:pt>
                <c:pt idx="54336">
                  <c:v>0.96907437132156204</c:v>
                </c:pt>
                <c:pt idx="54337">
                  <c:v>0.96909220617085701</c:v>
                </c:pt>
                <c:pt idx="54338">
                  <c:v>0.96911004102015297</c:v>
                </c:pt>
                <c:pt idx="54339">
                  <c:v>0.96912787586944804</c:v>
                </c:pt>
                <c:pt idx="54340">
                  <c:v>0.969145710718744</c:v>
                </c:pt>
                <c:pt idx="54341">
                  <c:v>0.96916354556803996</c:v>
                </c:pt>
                <c:pt idx="54342">
                  <c:v>0.96918138041733504</c:v>
                </c:pt>
                <c:pt idx="54343">
                  <c:v>0.969199215266631</c:v>
                </c:pt>
                <c:pt idx="54344">
                  <c:v>0.96921705011592596</c:v>
                </c:pt>
                <c:pt idx="54345">
                  <c:v>0.96923488496522203</c:v>
                </c:pt>
                <c:pt idx="54346">
                  <c:v>0.96925271981451699</c:v>
                </c:pt>
                <c:pt idx="54347">
                  <c:v>0.96927055466381296</c:v>
                </c:pt>
                <c:pt idx="54348">
                  <c:v>0.96928838951310803</c:v>
                </c:pt>
                <c:pt idx="54349">
                  <c:v>0.96930622436240399</c:v>
                </c:pt>
                <c:pt idx="54350">
                  <c:v>0.96932405921169895</c:v>
                </c:pt>
                <c:pt idx="54351">
                  <c:v>0.96934189406099502</c:v>
                </c:pt>
                <c:pt idx="54352">
                  <c:v>0.96935972891028999</c:v>
                </c:pt>
                <c:pt idx="54353">
                  <c:v>0.96937756375958595</c:v>
                </c:pt>
                <c:pt idx="54354">
                  <c:v>0.96939539860888102</c:v>
                </c:pt>
                <c:pt idx="54355">
                  <c:v>0.96941323345817698</c:v>
                </c:pt>
                <c:pt idx="54356">
                  <c:v>0.96943106830747205</c:v>
                </c:pt>
                <c:pt idx="54357">
                  <c:v>0.96944890315676802</c:v>
                </c:pt>
                <c:pt idx="54358">
                  <c:v>0.96946673800606298</c:v>
                </c:pt>
                <c:pt idx="54359">
                  <c:v>0.96948457285535905</c:v>
                </c:pt>
                <c:pt idx="54360">
                  <c:v>0.96950240770465401</c:v>
                </c:pt>
                <c:pt idx="54361">
                  <c:v>0.96952024255394997</c:v>
                </c:pt>
                <c:pt idx="54362">
                  <c:v>0.96953807740324505</c:v>
                </c:pt>
                <c:pt idx="54363">
                  <c:v>0.96955591225254101</c:v>
                </c:pt>
                <c:pt idx="54364">
                  <c:v>0.96957374710183697</c:v>
                </c:pt>
                <c:pt idx="54365">
                  <c:v>0.96959158195113204</c:v>
                </c:pt>
                <c:pt idx="54366">
                  <c:v>0.969609416800428</c:v>
                </c:pt>
                <c:pt idx="54367">
                  <c:v>0.96962725164972297</c:v>
                </c:pt>
                <c:pt idx="54368">
                  <c:v>0.96964508649901904</c:v>
                </c:pt>
                <c:pt idx="54369">
                  <c:v>0.969662921348314</c:v>
                </c:pt>
                <c:pt idx="54370">
                  <c:v>0.96968075619760996</c:v>
                </c:pt>
                <c:pt idx="54371">
                  <c:v>0.96969859104690503</c:v>
                </c:pt>
                <c:pt idx="54372">
                  <c:v>0.969716425896201</c:v>
                </c:pt>
                <c:pt idx="54373">
                  <c:v>0.96973426074549596</c:v>
                </c:pt>
                <c:pt idx="54374">
                  <c:v>0.96975209559479203</c:v>
                </c:pt>
                <c:pt idx="54375">
                  <c:v>0.96976993044408699</c:v>
                </c:pt>
                <c:pt idx="54376">
                  <c:v>0.96978776529338295</c:v>
                </c:pt>
                <c:pt idx="54377">
                  <c:v>0.96980560014267803</c:v>
                </c:pt>
                <c:pt idx="54378">
                  <c:v>0.96982343499197399</c:v>
                </c:pt>
                <c:pt idx="54379">
                  <c:v>0.96984126984126895</c:v>
                </c:pt>
                <c:pt idx="54380">
                  <c:v>0.96985910469056502</c:v>
                </c:pt>
                <c:pt idx="54381">
                  <c:v>0.96987693953985998</c:v>
                </c:pt>
                <c:pt idx="54382">
                  <c:v>0.96989477438915594</c:v>
                </c:pt>
                <c:pt idx="54383">
                  <c:v>0.96991260923845102</c:v>
                </c:pt>
                <c:pt idx="54384">
                  <c:v>0.96993044408774698</c:v>
                </c:pt>
                <c:pt idx="54385">
                  <c:v>0.96994827893704205</c:v>
                </c:pt>
                <c:pt idx="54386">
                  <c:v>0.96996611378633801</c:v>
                </c:pt>
                <c:pt idx="54387">
                  <c:v>0.96998394863563397</c:v>
                </c:pt>
                <c:pt idx="54388">
                  <c:v>0.97000178348492905</c:v>
                </c:pt>
                <c:pt idx="54389">
                  <c:v>0.97001961833422501</c:v>
                </c:pt>
                <c:pt idx="54390">
                  <c:v>0.97003745318351997</c:v>
                </c:pt>
                <c:pt idx="54391">
                  <c:v>0.97005528803281604</c:v>
                </c:pt>
                <c:pt idx="54392">
                  <c:v>0.97007312288211101</c:v>
                </c:pt>
                <c:pt idx="54393">
                  <c:v>0.97009095773140697</c:v>
                </c:pt>
                <c:pt idx="54394">
                  <c:v>0.97010879258070204</c:v>
                </c:pt>
                <c:pt idx="54395">
                  <c:v>0.970126627429998</c:v>
                </c:pt>
                <c:pt idx="54396">
                  <c:v>0.97014446227929296</c:v>
                </c:pt>
                <c:pt idx="54397">
                  <c:v>0.97016229712858904</c:v>
                </c:pt>
                <c:pt idx="54398">
                  <c:v>0.970180131977884</c:v>
                </c:pt>
                <c:pt idx="54399">
                  <c:v>0.97019796682717996</c:v>
                </c:pt>
                <c:pt idx="54400">
                  <c:v>0.97021580167647503</c:v>
                </c:pt>
                <c:pt idx="54401">
                  <c:v>0.97023363652577099</c:v>
                </c:pt>
                <c:pt idx="54402">
                  <c:v>0.97025147137506595</c:v>
                </c:pt>
                <c:pt idx="54403">
                  <c:v>0.97026930622436203</c:v>
                </c:pt>
                <c:pt idx="54404">
                  <c:v>0.97028714107365699</c:v>
                </c:pt>
                <c:pt idx="54405">
                  <c:v>0.97030497592295295</c:v>
                </c:pt>
                <c:pt idx="54406">
                  <c:v>0.97032281077224902</c:v>
                </c:pt>
                <c:pt idx="54407">
                  <c:v>0.97034064562154398</c:v>
                </c:pt>
                <c:pt idx="54408">
                  <c:v>0.97035848047083995</c:v>
                </c:pt>
                <c:pt idx="54409">
                  <c:v>0.97037631532013502</c:v>
                </c:pt>
                <c:pt idx="54410">
                  <c:v>0.97039415016943098</c:v>
                </c:pt>
                <c:pt idx="54411">
                  <c:v>0.97041198501872605</c:v>
                </c:pt>
                <c:pt idx="54412">
                  <c:v>0.97042981986802201</c:v>
                </c:pt>
                <c:pt idx="54413">
                  <c:v>0.97044765471731698</c:v>
                </c:pt>
                <c:pt idx="54414">
                  <c:v>0.97046548956661305</c:v>
                </c:pt>
                <c:pt idx="54415">
                  <c:v>0.97048332441590801</c:v>
                </c:pt>
                <c:pt idx="54416">
                  <c:v>0.97050115926520397</c:v>
                </c:pt>
                <c:pt idx="54417">
                  <c:v>0.97051899411449905</c:v>
                </c:pt>
                <c:pt idx="54418">
                  <c:v>0.97053682896379501</c:v>
                </c:pt>
                <c:pt idx="54419">
                  <c:v>0.97055466381308997</c:v>
                </c:pt>
                <c:pt idx="54420">
                  <c:v>0.97057249866238604</c:v>
                </c:pt>
                <c:pt idx="54421">
                  <c:v>0.970590333511681</c:v>
                </c:pt>
                <c:pt idx="54422">
                  <c:v>0.97060816836097696</c:v>
                </c:pt>
                <c:pt idx="54423">
                  <c:v>0.97062600321027204</c:v>
                </c:pt>
                <c:pt idx="54424">
                  <c:v>0.970643838059568</c:v>
                </c:pt>
                <c:pt idx="54425">
                  <c:v>0.97066167290886396</c:v>
                </c:pt>
                <c:pt idx="54426">
                  <c:v>0.97067950775815903</c:v>
                </c:pt>
                <c:pt idx="54427">
                  <c:v>0.97069734260745499</c:v>
                </c:pt>
                <c:pt idx="54428">
                  <c:v>0.97071517745674996</c:v>
                </c:pt>
                <c:pt idx="54429">
                  <c:v>0.97073301230604603</c:v>
                </c:pt>
                <c:pt idx="54430">
                  <c:v>0.97075084715534099</c:v>
                </c:pt>
                <c:pt idx="54431">
                  <c:v>0.97076868200463695</c:v>
                </c:pt>
                <c:pt idx="54432">
                  <c:v>0.97078651685393202</c:v>
                </c:pt>
                <c:pt idx="54433">
                  <c:v>0.97080435170322799</c:v>
                </c:pt>
                <c:pt idx="54434">
                  <c:v>0.97082218655252295</c:v>
                </c:pt>
                <c:pt idx="54435">
                  <c:v>0.97084002140181902</c:v>
                </c:pt>
                <c:pt idx="54436">
                  <c:v>0.97085785625111398</c:v>
                </c:pt>
                <c:pt idx="54437">
                  <c:v>0.97087569110041005</c:v>
                </c:pt>
                <c:pt idx="54438">
                  <c:v>0.97089352594970502</c:v>
                </c:pt>
                <c:pt idx="54439">
                  <c:v>0.97091136079900098</c:v>
                </c:pt>
                <c:pt idx="54440">
                  <c:v>0.97092919564829605</c:v>
                </c:pt>
                <c:pt idx="54441">
                  <c:v>0.97094703049759201</c:v>
                </c:pt>
                <c:pt idx="54442">
                  <c:v>0.97096486534688697</c:v>
                </c:pt>
                <c:pt idx="54443">
                  <c:v>0.97098270019618305</c:v>
                </c:pt>
                <c:pt idx="54444">
                  <c:v>0.97100053504547801</c:v>
                </c:pt>
                <c:pt idx="54445">
                  <c:v>0.97101836989477397</c:v>
                </c:pt>
                <c:pt idx="54446">
                  <c:v>0.97103620474406904</c:v>
                </c:pt>
                <c:pt idx="54447">
                  <c:v>0.971054039593365</c:v>
                </c:pt>
                <c:pt idx="54448">
                  <c:v>0.97107187444266096</c:v>
                </c:pt>
                <c:pt idx="54449">
                  <c:v>0.97108970929195604</c:v>
                </c:pt>
                <c:pt idx="54450">
                  <c:v>0.971107544141252</c:v>
                </c:pt>
                <c:pt idx="54451">
                  <c:v>0.97112537899054696</c:v>
                </c:pt>
                <c:pt idx="54452">
                  <c:v>0.97114321383984303</c:v>
                </c:pt>
                <c:pt idx="54453">
                  <c:v>0.971161048689138</c:v>
                </c:pt>
                <c:pt idx="54454">
                  <c:v>0.97117888353843396</c:v>
                </c:pt>
                <c:pt idx="54455">
                  <c:v>0.97119671838772903</c:v>
                </c:pt>
                <c:pt idx="54456">
                  <c:v>0.97121455323702499</c:v>
                </c:pt>
                <c:pt idx="54457">
                  <c:v>0.97123238808631995</c:v>
                </c:pt>
                <c:pt idx="54458">
                  <c:v>0.97125022293561603</c:v>
                </c:pt>
                <c:pt idx="54459">
                  <c:v>0.97126805778491099</c:v>
                </c:pt>
                <c:pt idx="54460">
                  <c:v>0.97128589263420695</c:v>
                </c:pt>
                <c:pt idx="54461">
                  <c:v>0.97130372748350202</c:v>
                </c:pt>
                <c:pt idx="54462">
                  <c:v>0.97132156233279798</c:v>
                </c:pt>
                <c:pt idx="54463">
                  <c:v>0.97133939718209295</c:v>
                </c:pt>
                <c:pt idx="54464">
                  <c:v>0.97135723203138902</c:v>
                </c:pt>
                <c:pt idx="54465">
                  <c:v>0.97137506688068398</c:v>
                </c:pt>
                <c:pt idx="54466">
                  <c:v>0.97139290172998005</c:v>
                </c:pt>
                <c:pt idx="54467">
                  <c:v>0.97141073657927501</c:v>
                </c:pt>
                <c:pt idx="54468">
                  <c:v>0.97142857142857097</c:v>
                </c:pt>
                <c:pt idx="54469">
                  <c:v>0.97144640627786605</c:v>
                </c:pt>
                <c:pt idx="54470">
                  <c:v>0.97146424112716201</c:v>
                </c:pt>
                <c:pt idx="54471">
                  <c:v>0.97148207597645797</c:v>
                </c:pt>
                <c:pt idx="54472">
                  <c:v>0.97149991082575304</c:v>
                </c:pt>
                <c:pt idx="54473">
                  <c:v>0.971517745675049</c:v>
                </c:pt>
                <c:pt idx="54474">
                  <c:v>0.97153558052434397</c:v>
                </c:pt>
                <c:pt idx="54475">
                  <c:v>0.97155341537364004</c:v>
                </c:pt>
                <c:pt idx="54476">
                  <c:v>0.971571250222935</c:v>
                </c:pt>
                <c:pt idx="54477">
                  <c:v>0.97158908507223096</c:v>
                </c:pt>
                <c:pt idx="54478">
                  <c:v>0.97160691992152604</c:v>
                </c:pt>
                <c:pt idx="54479">
                  <c:v>0.971624754770822</c:v>
                </c:pt>
                <c:pt idx="54480">
                  <c:v>0.97164258962011696</c:v>
                </c:pt>
                <c:pt idx="54481">
                  <c:v>0.97166042446941303</c:v>
                </c:pt>
                <c:pt idx="54482">
                  <c:v>0.97167825931870799</c:v>
                </c:pt>
                <c:pt idx="54483">
                  <c:v>0.97169609416800395</c:v>
                </c:pt>
                <c:pt idx="54484">
                  <c:v>0.97171392901729903</c:v>
                </c:pt>
                <c:pt idx="54485">
                  <c:v>0.97173176386659499</c:v>
                </c:pt>
                <c:pt idx="54486">
                  <c:v>0.97174959871588995</c:v>
                </c:pt>
                <c:pt idx="54487">
                  <c:v>0.97176743356518602</c:v>
                </c:pt>
                <c:pt idx="54488">
                  <c:v>0.97178526841448098</c:v>
                </c:pt>
                <c:pt idx="54489">
                  <c:v>0.97180310326377695</c:v>
                </c:pt>
                <c:pt idx="54490">
                  <c:v>0.97182093811307202</c:v>
                </c:pt>
                <c:pt idx="54491">
                  <c:v>0.97183877296236798</c:v>
                </c:pt>
                <c:pt idx="54492">
                  <c:v>0.97185660781166305</c:v>
                </c:pt>
                <c:pt idx="54493">
                  <c:v>0.97187444266095901</c:v>
                </c:pt>
                <c:pt idx="54494">
                  <c:v>0.97189227751025498</c:v>
                </c:pt>
                <c:pt idx="54495">
                  <c:v>0.97191011235955005</c:v>
                </c:pt>
                <c:pt idx="54496">
                  <c:v>0.97192794720884601</c:v>
                </c:pt>
                <c:pt idx="54497">
                  <c:v>0.97194578205814097</c:v>
                </c:pt>
                <c:pt idx="54498">
                  <c:v>0.97196361690743704</c:v>
                </c:pt>
                <c:pt idx="54499">
                  <c:v>0.97198145175673201</c:v>
                </c:pt>
                <c:pt idx="54500">
                  <c:v>0.97199928660602797</c:v>
                </c:pt>
                <c:pt idx="54501">
                  <c:v>0.97201712145532304</c:v>
                </c:pt>
                <c:pt idx="54502">
                  <c:v>0.972034956304619</c:v>
                </c:pt>
                <c:pt idx="54503">
                  <c:v>0.97205279115391396</c:v>
                </c:pt>
                <c:pt idx="54504">
                  <c:v>0.97207062600321004</c:v>
                </c:pt>
                <c:pt idx="54505">
                  <c:v>0.972088460852505</c:v>
                </c:pt>
                <c:pt idx="54506">
                  <c:v>0.97210629570180096</c:v>
                </c:pt>
                <c:pt idx="54507">
                  <c:v>0.97212413055109603</c:v>
                </c:pt>
                <c:pt idx="54508">
                  <c:v>0.97214196540039199</c:v>
                </c:pt>
                <c:pt idx="54509">
                  <c:v>0.97215980024968696</c:v>
                </c:pt>
                <c:pt idx="54510">
                  <c:v>0.97217763509898303</c:v>
                </c:pt>
                <c:pt idx="54511">
                  <c:v>0.97219546994827899</c:v>
                </c:pt>
                <c:pt idx="54512">
                  <c:v>0.97221330479757395</c:v>
                </c:pt>
                <c:pt idx="54513">
                  <c:v>0.97223113964687002</c:v>
                </c:pt>
                <c:pt idx="54514">
                  <c:v>0.97224897449616499</c:v>
                </c:pt>
                <c:pt idx="54515">
                  <c:v>0.97226680934546095</c:v>
                </c:pt>
                <c:pt idx="54516">
                  <c:v>0.97228464419475602</c:v>
                </c:pt>
                <c:pt idx="54517">
                  <c:v>0.97230247904405198</c:v>
                </c:pt>
                <c:pt idx="54518">
                  <c:v>0.97232031389334705</c:v>
                </c:pt>
                <c:pt idx="54519">
                  <c:v>0.97233814874264302</c:v>
                </c:pt>
                <c:pt idx="54520">
                  <c:v>0.97235598359193798</c:v>
                </c:pt>
                <c:pt idx="54521">
                  <c:v>0.97237381844123405</c:v>
                </c:pt>
                <c:pt idx="54522">
                  <c:v>0.97239165329052901</c:v>
                </c:pt>
                <c:pt idx="54523">
                  <c:v>0.97240948813982497</c:v>
                </c:pt>
                <c:pt idx="54524">
                  <c:v>0.97242732298912005</c:v>
                </c:pt>
                <c:pt idx="54525">
                  <c:v>0.97244515783841601</c:v>
                </c:pt>
                <c:pt idx="54526">
                  <c:v>0.97246299268771097</c:v>
                </c:pt>
                <c:pt idx="54527">
                  <c:v>0.97248082753700704</c:v>
                </c:pt>
                <c:pt idx="54528">
                  <c:v>0.972498662386302</c:v>
                </c:pt>
                <c:pt idx="54529">
                  <c:v>0.97251649723559797</c:v>
                </c:pt>
                <c:pt idx="54530">
                  <c:v>0.97253433208489304</c:v>
                </c:pt>
                <c:pt idx="54531">
                  <c:v>0.972552166934189</c:v>
                </c:pt>
                <c:pt idx="54532">
                  <c:v>0.97257000178348496</c:v>
                </c:pt>
                <c:pt idx="54533">
                  <c:v>0.97258783663278003</c:v>
                </c:pt>
                <c:pt idx="54534">
                  <c:v>0.972605671482076</c:v>
                </c:pt>
                <c:pt idx="54535">
                  <c:v>0.97262350633137096</c:v>
                </c:pt>
                <c:pt idx="54536">
                  <c:v>0.97264134118066703</c:v>
                </c:pt>
                <c:pt idx="54537">
                  <c:v>0.97265917602996199</c:v>
                </c:pt>
                <c:pt idx="54538">
                  <c:v>0.97267701087925795</c:v>
                </c:pt>
                <c:pt idx="54539">
                  <c:v>0.97269484572855303</c:v>
                </c:pt>
                <c:pt idx="54540">
                  <c:v>0.97271268057784899</c:v>
                </c:pt>
                <c:pt idx="54541">
                  <c:v>0.97273051542714395</c:v>
                </c:pt>
                <c:pt idx="54542">
                  <c:v>0.97274835027644002</c:v>
                </c:pt>
                <c:pt idx="54543">
                  <c:v>0.97276618512573498</c:v>
                </c:pt>
                <c:pt idx="54544">
                  <c:v>0.97278401997503094</c:v>
                </c:pt>
                <c:pt idx="54545">
                  <c:v>0.97280185482432602</c:v>
                </c:pt>
                <c:pt idx="54546">
                  <c:v>0.97281968967362198</c:v>
                </c:pt>
                <c:pt idx="54547">
                  <c:v>0.97283752452291705</c:v>
                </c:pt>
                <c:pt idx="54548">
                  <c:v>0.97285535937221301</c:v>
                </c:pt>
                <c:pt idx="54549">
                  <c:v>0.97287319422150798</c:v>
                </c:pt>
                <c:pt idx="54550">
                  <c:v>0.97289102907080405</c:v>
                </c:pt>
                <c:pt idx="54551">
                  <c:v>0.97290886392009901</c:v>
                </c:pt>
                <c:pt idx="54552">
                  <c:v>0.97292669876939497</c:v>
                </c:pt>
                <c:pt idx="54553">
                  <c:v>0.97294453361869004</c:v>
                </c:pt>
                <c:pt idx="54554">
                  <c:v>0.97296236846798601</c:v>
                </c:pt>
                <c:pt idx="54555">
                  <c:v>0.97298020331728197</c:v>
                </c:pt>
                <c:pt idx="54556">
                  <c:v>0.97299803816657704</c:v>
                </c:pt>
                <c:pt idx="54557">
                  <c:v>0.973015873015873</c:v>
                </c:pt>
                <c:pt idx="54558">
                  <c:v>0.97303370786516796</c:v>
                </c:pt>
                <c:pt idx="54559">
                  <c:v>0.97305154271446404</c:v>
                </c:pt>
                <c:pt idx="54560">
                  <c:v>0.973069377563759</c:v>
                </c:pt>
                <c:pt idx="54561">
                  <c:v>0.97308721241305496</c:v>
                </c:pt>
                <c:pt idx="54562">
                  <c:v>0.97310504726235003</c:v>
                </c:pt>
                <c:pt idx="54563">
                  <c:v>0.97312288211164599</c:v>
                </c:pt>
                <c:pt idx="54564">
                  <c:v>0.97314071696094095</c:v>
                </c:pt>
                <c:pt idx="54565">
                  <c:v>0.97315855181023703</c:v>
                </c:pt>
                <c:pt idx="54566">
                  <c:v>0.97317638665953199</c:v>
                </c:pt>
                <c:pt idx="54567">
                  <c:v>0.97319422150882795</c:v>
                </c:pt>
                <c:pt idx="54568">
                  <c:v>0.97321205635812302</c:v>
                </c:pt>
                <c:pt idx="54569">
                  <c:v>0.97322989120741898</c:v>
                </c:pt>
                <c:pt idx="54570">
                  <c:v>0.97324772605671395</c:v>
                </c:pt>
                <c:pt idx="54571">
                  <c:v>0.97326556090601002</c:v>
                </c:pt>
                <c:pt idx="54572">
                  <c:v>0.97328339575530498</c:v>
                </c:pt>
                <c:pt idx="54573">
                  <c:v>0.97330123060460105</c:v>
                </c:pt>
                <c:pt idx="54574">
                  <c:v>0.97331906545389602</c:v>
                </c:pt>
                <c:pt idx="54575">
                  <c:v>0.97333690030319198</c:v>
                </c:pt>
                <c:pt idx="54576">
                  <c:v>0.97335473515248705</c:v>
                </c:pt>
                <c:pt idx="54577">
                  <c:v>0.97337257000178301</c:v>
                </c:pt>
                <c:pt idx="54578">
                  <c:v>0.97339040485107897</c:v>
                </c:pt>
                <c:pt idx="54579">
                  <c:v>0.97340823970037405</c:v>
                </c:pt>
                <c:pt idx="54580">
                  <c:v>0.97342607454967001</c:v>
                </c:pt>
                <c:pt idx="54581">
                  <c:v>0.97344390939896497</c:v>
                </c:pt>
                <c:pt idx="54582">
                  <c:v>0.97346174424826104</c:v>
                </c:pt>
                <c:pt idx="54583">
                  <c:v>0.973479579097556</c:v>
                </c:pt>
                <c:pt idx="54584">
                  <c:v>0.97349741394685196</c:v>
                </c:pt>
                <c:pt idx="54585">
                  <c:v>0.97351524879614704</c:v>
                </c:pt>
                <c:pt idx="54586">
                  <c:v>0.973533083645443</c:v>
                </c:pt>
                <c:pt idx="54587">
                  <c:v>0.97355091849473796</c:v>
                </c:pt>
                <c:pt idx="54588">
                  <c:v>0.97356875334403403</c:v>
                </c:pt>
                <c:pt idx="54589">
                  <c:v>0.97358658819332899</c:v>
                </c:pt>
                <c:pt idx="54590">
                  <c:v>0.97360442304262496</c:v>
                </c:pt>
                <c:pt idx="54591">
                  <c:v>0.97362225789192003</c:v>
                </c:pt>
                <c:pt idx="54592">
                  <c:v>0.97364009274121599</c:v>
                </c:pt>
                <c:pt idx="54593">
                  <c:v>0.97365792759051095</c:v>
                </c:pt>
                <c:pt idx="54594">
                  <c:v>0.97367576243980702</c:v>
                </c:pt>
                <c:pt idx="54595">
                  <c:v>0.97369359728910199</c:v>
                </c:pt>
                <c:pt idx="54596">
                  <c:v>0.97371143213839795</c:v>
                </c:pt>
                <c:pt idx="54597">
                  <c:v>0.97372926698769302</c:v>
                </c:pt>
                <c:pt idx="54598">
                  <c:v>0.97374710183698898</c:v>
                </c:pt>
                <c:pt idx="54599">
                  <c:v>0.97376493668628505</c:v>
                </c:pt>
                <c:pt idx="54600">
                  <c:v>0.97378277153558002</c:v>
                </c:pt>
                <c:pt idx="54601">
                  <c:v>0.97380060638487598</c:v>
                </c:pt>
                <c:pt idx="54602">
                  <c:v>0.97381844123417105</c:v>
                </c:pt>
                <c:pt idx="54603">
                  <c:v>0.97383627608346701</c:v>
                </c:pt>
                <c:pt idx="54604">
                  <c:v>0.97385411093276197</c:v>
                </c:pt>
                <c:pt idx="54605">
                  <c:v>0.97387194578205805</c:v>
                </c:pt>
                <c:pt idx="54606">
                  <c:v>0.97388978063135301</c:v>
                </c:pt>
                <c:pt idx="54607">
                  <c:v>0.97390761548064897</c:v>
                </c:pt>
                <c:pt idx="54608">
                  <c:v>0.97392545032994404</c:v>
                </c:pt>
                <c:pt idx="54609">
                  <c:v>0.97394328517924</c:v>
                </c:pt>
                <c:pt idx="54610">
                  <c:v>0.97396112002853497</c:v>
                </c:pt>
                <c:pt idx="54611">
                  <c:v>0.97397895487783104</c:v>
                </c:pt>
                <c:pt idx="54612">
                  <c:v>0.973996789727126</c:v>
                </c:pt>
                <c:pt idx="54613">
                  <c:v>0.97401462457642196</c:v>
                </c:pt>
                <c:pt idx="54614">
                  <c:v>0.97403245942571703</c:v>
                </c:pt>
                <c:pt idx="54615">
                  <c:v>0.974050294275013</c:v>
                </c:pt>
                <c:pt idx="54616">
                  <c:v>0.97406812912430796</c:v>
                </c:pt>
                <c:pt idx="54617">
                  <c:v>0.97408596397360403</c:v>
                </c:pt>
                <c:pt idx="54618">
                  <c:v>0.97410379882289999</c:v>
                </c:pt>
                <c:pt idx="54619">
                  <c:v>0.97412163367219495</c:v>
                </c:pt>
                <c:pt idx="54620">
                  <c:v>0.97413946852149103</c:v>
                </c:pt>
                <c:pt idx="54621">
                  <c:v>0.97415730337078599</c:v>
                </c:pt>
                <c:pt idx="54622">
                  <c:v>0.97417513822008195</c:v>
                </c:pt>
                <c:pt idx="54623">
                  <c:v>0.97419297306937702</c:v>
                </c:pt>
                <c:pt idx="54624">
                  <c:v>0.97421080791867298</c:v>
                </c:pt>
                <c:pt idx="54625">
                  <c:v>0.97422864276796795</c:v>
                </c:pt>
                <c:pt idx="54626">
                  <c:v>0.97424647761726402</c:v>
                </c:pt>
                <c:pt idx="54627">
                  <c:v>0.97426431246655898</c:v>
                </c:pt>
                <c:pt idx="54628">
                  <c:v>0.97428214731585505</c:v>
                </c:pt>
                <c:pt idx="54629">
                  <c:v>0.97429998216515001</c:v>
                </c:pt>
                <c:pt idx="54630">
                  <c:v>0.97431781701444597</c:v>
                </c:pt>
                <c:pt idx="54631">
                  <c:v>0.97433565186374105</c:v>
                </c:pt>
                <c:pt idx="54632">
                  <c:v>0.97435348671303701</c:v>
                </c:pt>
                <c:pt idx="54633">
                  <c:v>0.97437132156233197</c:v>
                </c:pt>
                <c:pt idx="54634">
                  <c:v>0.97438915641162804</c:v>
                </c:pt>
                <c:pt idx="54635">
                  <c:v>0.97440699126092301</c:v>
                </c:pt>
                <c:pt idx="54636">
                  <c:v>0.97442482611021897</c:v>
                </c:pt>
                <c:pt idx="54637">
                  <c:v>0.97444266095951404</c:v>
                </c:pt>
                <c:pt idx="54638">
                  <c:v>0.97446049580881</c:v>
                </c:pt>
                <c:pt idx="54639">
                  <c:v>0.97447833065810596</c:v>
                </c:pt>
                <c:pt idx="54640">
                  <c:v>0.97449616550740104</c:v>
                </c:pt>
                <c:pt idx="54641">
                  <c:v>0.974514000356697</c:v>
                </c:pt>
                <c:pt idx="54642">
                  <c:v>0.97453183520599196</c:v>
                </c:pt>
                <c:pt idx="54643">
                  <c:v>0.97454967005528803</c:v>
                </c:pt>
                <c:pt idx="54644">
                  <c:v>0.97456750490458299</c:v>
                </c:pt>
                <c:pt idx="54645">
                  <c:v>0.97458533975387895</c:v>
                </c:pt>
                <c:pt idx="54646">
                  <c:v>0.97460317460317403</c:v>
                </c:pt>
                <c:pt idx="54647">
                  <c:v>0.97462100945246999</c:v>
                </c:pt>
                <c:pt idx="54648">
                  <c:v>0.97463884430176495</c:v>
                </c:pt>
                <c:pt idx="54649">
                  <c:v>0.97465667915106102</c:v>
                </c:pt>
                <c:pt idx="54650">
                  <c:v>0.97467451400035598</c:v>
                </c:pt>
                <c:pt idx="54651">
                  <c:v>0.97469234884965195</c:v>
                </c:pt>
                <c:pt idx="54652">
                  <c:v>0.97471018369894702</c:v>
                </c:pt>
                <c:pt idx="54653">
                  <c:v>0.97472801854824298</c:v>
                </c:pt>
                <c:pt idx="54654">
                  <c:v>0.97474585339753805</c:v>
                </c:pt>
                <c:pt idx="54655">
                  <c:v>0.97476368824683401</c:v>
                </c:pt>
                <c:pt idx="54656">
                  <c:v>0.97478152309612898</c:v>
                </c:pt>
                <c:pt idx="54657">
                  <c:v>0.97479935794542505</c:v>
                </c:pt>
                <c:pt idx="54658">
                  <c:v>0.97481719279472001</c:v>
                </c:pt>
                <c:pt idx="54659">
                  <c:v>0.97483502764401597</c:v>
                </c:pt>
                <c:pt idx="54660">
                  <c:v>0.97485286249331105</c:v>
                </c:pt>
                <c:pt idx="54661">
                  <c:v>0.97487069734260701</c:v>
                </c:pt>
                <c:pt idx="54662">
                  <c:v>0.97488853219190297</c:v>
                </c:pt>
                <c:pt idx="54663">
                  <c:v>0.97490636704119804</c:v>
                </c:pt>
                <c:pt idx="54664">
                  <c:v>0.974924201890494</c:v>
                </c:pt>
                <c:pt idx="54665">
                  <c:v>0.97494203673978896</c:v>
                </c:pt>
                <c:pt idx="54666">
                  <c:v>0.97495987158908504</c:v>
                </c:pt>
                <c:pt idx="54667">
                  <c:v>0.97497770643838</c:v>
                </c:pt>
                <c:pt idx="54668">
                  <c:v>0.97499554128767596</c:v>
                </c:pt>
                <c:pt idx="54669">
                  <c:v>0.97501337613697103</c:v>
                </c:pt>
                <c:pt idx="54670">
                  <c:v>0.97503121098626699</c:v>
                </c:pt>
                <c:pt idx="54671">
                  <c:v>0.97504904583556196</c:v>
                </c:pt>
                <c:pt idx="54672">
                  <c:v>0.97506688068485803</c:v>
                </c:pt>
                <c:pt idx="54673">
                  <c:v>0.97508471553415299</c:v>
                </c:pt>
                <c:pt idx="54674">
                  <c:v>0.97510255038344895</c:v>
                </c:pt>
                <c:pt idx="54675">
                  <c:v>0.97512038523274402</c:v>
                </c:pt>
                <c:pt idx="54676">
                  <c:v>0.97513822008203999</c:v>
                </c:pt>
                <c:pt idx="54677">
                  <c:v>0.97515605493133495</c:v>
                </c:pt>
                <c:pt idx="54678">
                  <c:v>0.97517388978063102</c:v>
                </c:pt>
                <c:pt idx="54679">
                  <c:v>0.97519172462992598</c:v>
                </c:pt>
                <c:pt idx="54680">
                  <c:v>0.97520955947922205</c:v>
                </c:pt>
                <c:pt idx="54681">
                  <c:v>0.97522739432851702</c:v>
                </c:pt>
                <c:pt idx="54682">
                  <c:v>0.97524522917781298</c:v>
                </c:pt>
                <c:pt idx="54683">
                  <c:v>0.97526306402710805</c:v>
                </c:pt>
                <c:pt idx="54684">
                  <c:v>0.97528089887640401</c:v>
                </c:pt>
                <c:pt idx="54685">
                  <c:v>0.97529873372569997</c:v>
                </c:pt>
                <c:pt idx="54686">
                  <c:v>0.97531656857499505</c:v>
                </c:pt>
                <c:pt idx="54687">
                  <c:v>0.97533440342429101</c:v>
                </c:pt>
                <c:pt idx="54688">
                  <c:v>0.97535223827358597</c:v>
                </c:pt>
                <c:pt idx="54689">
                  <c:v>0.97537007312288204</c:v>
                </c:pt>
                <c:pt idx="54690">
                  <c:v>0.975387907972177</c:v>
                </c:pt>
                <c:pt idx="54691">
                  <c:v>0.97540574282147297</c:v>
                </c:pt>
                <c:pt idx="54692">
                  <c:v>0.97542357767076804</c:v>
                </c:pt>
                <c:pt idx="54693">
                  <c:v>0.975441412520064</c:v>
                </c:pt>
                <c:pt idx="54694">
                  <c:v>0.97545924736935896</c:v>
                </c:pt>
                <c:pt idx="54695">
                  <c:v>0.97547708221865503</c:v>
                </c:pt>
                <c:pt idx="54696">
                  <c:v>0.97549491706795</c:v>
                </c:pt>
                <c:pt idx="54697">
                  <c:v>0.97551275191724596</c:v>
                </c:pt>
                <c:pt idx="54698">
                  <c:v>0.97553058676654103</c:v>
                </c:pt>
                <c:pt idx="54699">
                  <c:v>0.97554842161583699</c:v>
                </c:pt>
                <c:pt idx="54700">
                  <c:v>0.97556625646513195</c:v>
                </c:pt>
                <c:pt idx="54701">
                  <c:v>0.97558409131442803</c:v>
                </c:pt>
                <c:pt idx="54702">
                  <c:v>0.97560192616372299</c:v>
                </c:pt>
                <c:pt idx="54703">
                  <c:v>0.97561976101301895</c:v>
                </c:pt>
                <c:pt idx="54704">
                  <c:v>0.97563759586231402</c:v>
                </c:pt>
                <c:pt idx="54705">
                  <c:v>0.97565543071160998</c:v>
                </c:pt>
                <c:pt idx="54706">
                  <c:v>0.97567326556090594</c:v>
                </c:pt>
                <c:pt idx="54707">
                  <c:v>0.97569110041020102</c:v>
                </c:pt>
                <c:pt idx="54708">
                  <c:v>0.97570893525949698</c:v>
                </c:pt>
                <c:pt idx="54709">
                  <c:v>0.97572677010879205</c:v>
                </c:pt>
                <c:pt idx="54710">
                  <c:v>0.97574460495808801</c:v>
                </c:pt>
                <c:pt idx="54711">
                  <c:v>0.97576243980738298</c:v>
                </c:pt>
                <c:pt idx="54712">
                  <c:v>0.97578027465667905</c:v>
                </c:pt>
                <c:pt idx="54713">
                  <c:v>0.97579810950597401</c:v>
                </c:pt>
                <c:pt idx="54714">
                  <c:v>0.97581594435526997</c:v>
                </c:pt>
                <c:pt idx="54715">
                  <c:v>0.97583377920456504</c:v>
                </c:pt>
                <c:pt idx="54716">
                  <c:v>0.97585161405386101</c:v>
                </c:pt>
                <c:pt idx="54717">
                  <c:v>0.97586944890315597</c:v>
                </c:pt>
                <c:pt idx="54718">
                  <c:v>0.97588728375245204</c:v>
                </c:pt>
                <c:pt idx="54719">
                  <c:v>0.975905118601747</c:v>
                </c:pt>
                <c:pt idx="54720">
                  <c:v>0.97592295345104296</c:v>
                </c:pt>
                <c:pt idx="54721">
                  <c:v>0.97594078830033804</c:v>
                </c:pt>
                <c:pt idx="54722">
                  <c:v>0.975958623149634</c:v>
                </c:pt>
                <c:pt idx="54723">
                  <c:v>0.97597645799892996</c:v>
                </c:pt>
                <c:pt idx="54724">
                  <c:v>0.97599429284822503</c:v>
                </c:pt>
                <c:pt idx="54725">
                  <c:v>0.97601212769752099</c:v>
                </c:pt>
                <c:pt idx="54726">
                  <c:v>0.97602996254681595</c:v>
                </c:pt>
                <c:pt idx="54727">
                  <c:v>0.97604779739611203</c:v>
                </c:pt>
                <c:pt idx="54728">
                  <c:v>0.97606563224540699</c:v>
                </c:pt>
                <c:pt idx="54729">
                  <c:v>0.97608346709470295</c:v>
                </c:pt>
                <c:pt idx="54730">
                  <c:v>0.97610130194399802</c:v>
                </c:pt>
                <c:pt idx="54731">
                  <c:v>0.97611913679329398</c:v>
                </c:pt>
                <c:pt idx="54732">
                  <c:v>0.97613697164258895</c:v>
                </c:pt>
                <c:pt idx="54733">
                  <c:v>0.97615480649188502</c:v>
                </c:pt>
                <c:pt idx="54734">
                  <c:v>0.97617264134117998</c:v>
                </c:pt>
                <c:pt idx="54735">
                  <c:v>0.97619047619047605</c:v>
                </c:pt>
                <c:pt idx="54736">
                  <c:v>0.97620831103977102</c:v>
                </c:pt>
                <c:pt idx="54737">
                  <c:v>0.97622614588906698</c:v>
                </c:pt>
                <c:pt idx="54738">
                  <c:v>0.97624398073836205</c:v>
                </c:pt>
                <c:pt idx="54739">
                  <c:v>0.97626181558765801</c:v>
                </c:pt>
                <c:pt idx="54740">
                  <c:v>0.97627965043695297</c:v>
                </c:pt>
                <c:pt idx="54741">
                  <c:v>0.97629748528624904</c:v>
                </c:pt>
                <c:pt idx="54742">
                  <c:v>0.97631532013554401</c:v>
                </c:pt>
                <c:pt idx="54743">
                  <c:v>0.97633315498483997</c:v>
                </c:pt>
                <c:pt idx="54744">
                  <c:v>0.97635098983413504</c:v>
                </c:pt>
                <c:pt idx="54745">
                  <c:v>0.976368824683431</c:v>
                </c:pt>
                <c:pt idx="54746">
                  <c:v>0.97638665953272696</c:v>
                </c:pt>
                <c:pt idx="54747">
                  <c:v>0.97640449438202204</c:v>
                </c:pt>
                <c:pt idx="54748">
                  <c:v>0.976422329231318</c:v>
                </c:pt>
                <c:pt idx="54749">
                  <c:v>0.97644016408061296</c:v>
                </c:pt>
                <c:pt idx="54750">
                  <c:v>0.97645799892990903</c:v>
                </c:pt>
                <c:pt idx="54751">
                  <c:v>0.97647583377920399</c:v>
                </c:pt>
                <c:pt idx="54752">
                  <c:v>0.97649366862849996</c:v>
                </c:pt>
                <c:pt idx="54753">
                  <c:v>0.97651150347779503</c:v>
                </c:pt>
                <c:pt idx="54754">
                  <c:v>0.97652933832709099</c:v>
                </c:pt>
                <c:pt idx="54755">
                  <c:v>0.97654717317638595</c:v>
                </c:pt>
                <c:pt idx="54756">
                  <c:v>0.97656500802568202</c:v>
                </c:pt>
                <c:pt idx="54757">
                  <c:v>0.97658284287497699</c:v>
                </c:pt>
                <c:pt idx="54758">
                  <c:v>0.97660067772427295</c:v>
                </c:pt>
                <c:pt idx="54759">
                  <c:v>0.97661851257356802</c:v>
                </c:pt>
                <c:pt idx="54760">
                  <c:v>0.97663634742286398</c:v>
                </c:pt>
                <c:pt idx="54761">
                  <c:v>0.97665418227215905</c:v>
                </c:pt>
                <c:pt idx="54762">
                  <c:v>0.97667201712145502</c:v>
                </c:pt>
                <c:pt idx="54763">
                  <c:v>0.97668985197074998</c:v>
                </c:pt>
                <c:pt idx="54764">
                  <c:v>0.97670768682004605</c:v>
                </c:pt>
                <c:pt idx="54765">
                  <c:v>0.97672552166934101</c:v>
                </c:pt>
                <c:pt idx="54766">
                  <c:v>0.97674335651863697</c:v>
                </c:pt>
                <c:pt idx="54767">
                  <c:v>0.97676119136793205</c:v>
                </c:pt>
                <c:pt idx="54768">
                  <c:v>0.97677902621722801</c:v>
                </c:pt>
                <c:pt idx="54769">
                  <c:v>0.97679686106652397</c:v>
                </c:pt>
                <c:pt idx="54770">
                  <c:v>0.97681469591581904</c:v>
                </c:pt>
                <c:pt idx="54771">
                  <c:v>0.976832530765115</c:v>
                </c:pt>
                <c:pt idx="54772">
                  <c:v>0.97685036561440997</c:v>
                </c:pt>
                <c:pt idx="54773">
                  <c:v>0.97686820046370604</c:v>
                </c:pt>
                <c:pt idx="54774">
                  <c:v>0.976886035313001</c:v>
                </c:pt>
                <c:pt idx="54775">
                  <c:v>0.97690387016229696</c:v>
                </c:pt>
                <c:pt idx="54776">
                  <c:v>0.97692170501159203</c:v>
                </c:pt>
                <c:pt idx="54777">
                  <c:v>0.976939539860888</c:v>
                </c:pt>
                <c:pt idx="54778">
                  <c:v>0.97695737471018296</c:v>
                </c:pt>
                <c:pt idx="54779">
                  <c:v>0.97697520955947903</c:v>
                </c:pt>
                <c:pt idx="54780">
                  <c:v>0.97699304440877399</c:v>
                </c:pt>
                <c:pt idx="54781">
                  <c:v>0.97701087925806995</c:v>
                </c:pt>
                <c:pt idx="54782">
                  <c:v>0.97702871410736503</c:v>
                </c:pt>
                <c:pt idx="54783">
                  <c:v>0.97704654895666099</c:v>
                </c:pt>
                <c:pt idx="54784">
                  <c:v>0.97706438380595595</c:v>
                </c:pt>
                <c:pt idx="54785">
                  <c:v>0.97708221865525202</c:v>
                </c:pt>
                <c:pt idx="54786">
                  <c:v>0.97710005350454698</c:v>
                </c:pt>
                <c:pt idx="54787">
                  <c:v>0.97711788835384294</c:v>
                </c:pt>
                <c:pt idx="54788">
                  <c:v>0.97713572320313802</c:v>
                </c:pt>
                <c:pt idx="54789">
                  <c:v>0.97715355805243398</c:v>
                </c:pt>
                <c:pt idx="54790">
                  <c:v>0.97717139290172905</c:v>
                </c:pt>
                <c:pt idx="54791">
                  <c:v>0.97718922775102501</c:v>
                </c:pt>
                <c:pt idx="54792">
                  <c:v>0.97720706260032097</c:v>
                </c:pt>
                <c:pt idx="54793">
                  <c:v>0.97722489744961605</c:v>
                </c:pt>
                <c:pt idx="54794">
                  <c:v>0.97724273229891201</c:v>
                </c:pt>
                <c:pt idx="54795">
                  <c:v>0.97726056714820697</c:v>
                </c:pt>
                <c:pt idx="54796">
                  <c:v>0.97727840199750304</c:v>
                </c:pt>
                <c:pt idx="54797">
                  <c:v>0.97729623684679801</c:v>
                </c:pt>
                <c:pt idx="54798">
                  <c:v>0.97731407169609397</c:v>
                </c:pt>
                <c:pt idx="54799">
                  <c:v>0.97733190654538904</c:v>
                </c:pt>
                <c:pt idx="54800">
                  <c:v>0.977349741394685</c:v>
                </c:pt>
                <c:pt idx="54801">
                  <c:v>0.97736757624397996</c:v>
                </c:pt>
                <c:pt idx="54802">
                  <c:v>0.97738541109327604</c:v>
                </c:pt>
                <c:pt idx="54803">
                  <c:v>0.977403245942571</c:v>
                </c:pt>
                <c:pt idx="54804">
                  <c:v>0.97742108079186696</c:v>
                </c:pt>
                <c:pt idx="54805">
                  <c:v>0.97743891564116203</c:v>
                </c:pt>
                <c:pt idx="54806">
                  <c:v>0.97745675049045799</c:v>
                </c:pt>
                <c:pt idx="54807">
                  <c:v>0.97747458533975295</c:v>
                </c:pt>
                <c:pt idx="54808">
                  <c:v>0.97749242018904903</c:v>
                </c:pt>
                <c:pt idx="54809">
                  <c:v>0.97751025503834399</c:v>
                </c:pt>
                <c:pt idx="54810">
                  <c:v>0.97752808988763995</c:v>
                </c:pt>
                <c:pt idx="54811">
                  <c:v>0.97754592473693602</c:v>
                </c:pt>
                <c:pt idx="54812">
                  <c:v>0.97756375958623098</c:v>
                </c:pt>
                <c:pt idx="54813">
                  <c:v>0.97758159443552695</c:v>
                </c:pt>
                <c:pt idx="54814">
                  <c:v>0.97759942928482202</c:v>
                </c:pt>
                <c:pt idx="54815">
                  <c:v>0.97761726413411798</c:v>
                </c:pt>
                <c:pt idx="54816">
                  <c:v>0.97763509898341305</c:v>
                </c:pt>
                <c:pt idx="54817">
                  <c:v>0.97765293383270901</c:v>
                </c:pt>
                <c:pt idx="54818">
                  <c:v>0.97767076868200398</c:v>
                </c:pt>
                <c:pt idx="54819">
                  <c:v>0.97768860353130005</c:v>
                </c:pt>
                <c:pt idx="54820">
                  <c:v>0.97770643838059501</c:v>
                </c:pt>
                <c:pt idx="54821">
                  <c:v>0.97772427322989097</c:v>
                </c:pt>
                <c:pt idx="54822">
                  <c:v>0.97774210807918605</c:v>
                </c:pt>
                <c:pt idx="54823">
                  <c:v>0.97775994292848201</c:v>
                </c:pt>
                <c:pt idx="54824">
                  <c:v>0.97777777777777697</c:v>
                </c:pt>
                <c:pt idx="54825">
                  <c:v>0.97779561262707304</c:v>
                </c:pt>
                <c:pt idx="54826">
                  <c:v>0.977813447476368</c:v>
                </c:pt>
                <c:pt idx="54827">
                  <c:v>0.97783128232566396</c:v>
                </c:pt>
                <c:pt idx="54828">
                  <c:v>0.97784911717495904</c:v>
                </c:pt>
                <c:pt idx="54829">
                  <c:v>0.977866952024255</c:v>
                </c:pt>
                <c:pt idx="54830">
                  <c:v>0.97788478687355096</c:v>
                </c:pt>
                <c:pt idx="54831">
                  <c:v>0.97790262172284603</c:v>
                </c:pt>
                <c:pt idx="54832">
                  <c:v>0.97792045657214199</c:v>
                </c:pt>
                <c:pt idx="54833">
                  <c:v>0.97793829142143696</c:v>
                </c:pt>
                <c:pt idx="54834">
                  <c:v>0.97795612627073303</c:v>
                </c:pt>
                <c:pt idx="54835">
                  <c:v>0.97797396112002799</c:v>
                </c:pt>
                <c:pt idx="54836">
                  <c:v>0.97799179596932395</c:v>
                </c:pt>
                <c:pt idx="54837">
                  <c:v>0.97800963081861902</c:v>
                </c:pt>
                <c:pt idx="54838">
                  <c:v>0.97802746566791499</c:v>
                </c:pt>
                <c:pt idx="54839">
                  <c:v>0.97804530051720995</c:v>
                </c:pt>
                <c:pt idx="54840">
                  <c:v>0.97806313536650602</c:v>
                </c:pt>
                <c:pt idx="54841">
                  <c:v>0.97808097021580098</c:v>
                </c:pt>
                <c:pt idx="54842">
                  <c:v>0.97809880506509705</c:v>
                </c:pt>
                <c:pt idx="54843">
                  <c:v>0.97811663991439202</c:v>
                </c:pt>
                <c:pt idx="54844">
                  <c:v>0.97813447476368798</c:v>
                </c:pt>
                <c:pt idx="54845">
                  <c:v>0.97815230961298305</c:v>
                </c:pt>
                <c:pt idx="54846">
                  <c:v>0.97817014446227901</c:v>
                </c:pt>
                <c:pt idx="54847">
                  <c:v>0.97818797931157397</c:v>
                </c:pt>
                <c:pt idx="54848">
                  <c:v>0.97820581416087005</c:v>
                </c:pt>
                <c:pt idx="54849">
                  <c:v>0.97822364901016501</c:v>
                </c:pt>
                <c:pt idx="54850">
                  <c:v>0.97824148385946097</c:v>
                </c:pt>
                <c:pt idx="54851">
                  <c:v>0.97825931870875604</c:v>
                </c:pt>
                <c:pt idx="54852">
                  <c:v>0.978277153558052</c:v>
                </c:pt>
                <c:pt idx="54853">
                  <c:v>0.97829498840734797</c:v>
                </c:pt>
                <c:pt idx="54854">
                  <c:v>0.97831282325664304</c:v>
                </c:pt>
                <c:pt idx="54855">
                  <c:v>0.978330658105939</c:v>
                </c:pt>
                <c:pt idx="54856">
                  <c:v>0.97834849295523396</c:v>
                </c:pt>
                <c:pt idx="54857">
                  <c:v>0.97836632780453003</c:v>
                </c:pt>
                <c:pt idx="54858">
                  <c:v>0.978384162653825</c:v>
                </c:pt>
                <c:pt idx="54859">
                  <c:v>0.97840199750312096</c:v>
                </c:pt>
                <c:pt idx="54860">
                  <c:v>0.97841983235241603</c:v>
                </c:pt>
                <c:pt idx="54861">
                  <c:v>0.97843766720171199</c:v>
                </c:pt>
                <c:pt idx="54862">
                  <c:v>0.97845550205100695</c:v>
                </c:pt>
                <c:pt idx="54863">
                  <c:v>0.97847333690030303</c:v>
                </c:pt>
                <c:pt idx="54864">
                  <c:v>0.97849117174959799</c:v>
                </c:pt>
                <c:pt idx="54865">
                  <c:v>0.97850900659889395</c:v>
                </c:pt>
                <c:pt idx="54866">
                  <c:v>0.97852684144818902</c:v>
                </c:pt>
                <c:pt idx="54867">
                  <c:v>0.97854467629748498</c:v>
                </c:pt>
                <c:pt idx="54868">
                  <c:v>0.97856251114677995</c:v>
                </c:pt>
                <c:pt idx="54869">
                  <c:v>0.97858034599607602</c:v>
                </c:pt>
                <c:pt idx="54870">
                  <c:v>0.97859818084537098</c:v>
                </c:pt>
                <c:pt idx="54871">
                  <c:v>0.97861601569466705</c:v>
                </c:pt>
                <c:pt idx="54872">
                  <c:v>0.97863385054396201</c:v>
                </c:pt>
                <c:pt idx="54873">
                  <c:v>0.97865168539325798</c:v>
                </c:pt>
                <c:pt idx="54874">
                  <c:v>0.97866952024255305</c:v>
                </c:pt>
                <c:pt idx="54875">
                  <c:v>0.97868735509184901</c:v>
                </c:pt>
                <c:pt idx="54876">
                  <c:v>0.97870518994114497</c:v>
                </c:pt>
                <c:pt idx="54877">
                  <c:v>0.97872302479044004</c:v>
                </c:pt>
                <c:pt idx="54878">
                  <c:v>0.978740859639736</c:v>
                </c:pt>
                <c:pt idx="54879">
                  <c:v>0.97875869448903097</c:v>
                </c:pt>
                <c:pt idx="54880">
                  <c:v>0.97877652933832704</c:v>
                </c:pt>
                <c:pt idx="54881">
                  <c:v>0.978794364187622</c:v>
                </c:pt>
                <c:pt idx="54882">
                  <c:v>0.97881219903691796</c:v>
                </c:pt>
                <c:pt idx="54883">
                  <c:v>0.97883003388621304</c:v>
                </c:pt>
                <c:pt idx="54884">
                  <c:v>0.978847868735509</c:v>
                </c:pt>
                <c:pt idx="54885">
                  <c:v>0.97886570358480396</c:v>
                </c:pt>
                <c:pt idx="54886">
                  <c:v>0.97888353843410003</c:v>
                </c:pt>
                <c:pt idx="54887">
                  <c:v>0.97890137328339499</c:v>
                </c:pt>
                <c:pt idx="54888">
                  <c:v>0.97891920813269095</c:v>
                </c:pt>
                <c:pt idx="54889">
                  <c:v>0.97893704298198603</c:v>
                </c:pt>
                <c:pt idx="54890">
                  <c:v>0.97895487783128199</c:v>
                </c:pt>
                <c:pt idx="54891">
                  <c:v>0.97897271268057695</c:v>
                </c:pt>
                <c:pt idx="54892">
                  <c:v>0.97899054752987302</c:v>
                </c:pt>
                <c:pt idx="54893">
                  <c:v>0.97900838237916799</c:v>
                </c:pt>
                <c:pt idx="54894">
                  <c:v>0.97902621722846395</c:v>
                </c:pt>
                <c:pt idx="54895">
                  <c:v>0.97904405207775902</c:v>
                </c:pt>
                <c:pt idx="54896">
                  <c:v>0.97906188692705498</c:v>
                </c:pt>
                <c:pt idx="54897">
                  <c:v>0.97907972177635005</c:v>
                </c:pt>
                <c:pt idx="54898">
                  <c:v>0.97909755662564601</c:v>
                </c:pt>
                <c:pt idx="54899">
                  <c:v>0.97911539147494198</c:v>
                </c:pt>
                <c:pt idx="54900">
                  <c:v>0.97913322632423705</c:v>
                </c:pt>
                <c:pt idx="54901">
                  <c:v>0.97915106117353301</c:v>
                </c:pt>
                <c:pt idx="54902">
                  <c:v>0.97916889602282797</c:v>
                </c:pt>
                <c:pt idx="54903">
                  <c:v>0.97918673087212404</c:v>
                </c:pt>
                <c:pt idx="54904">
                  <c:v>0.97920456572141901</c:v>
                </c:pt>
                <c:pt idx="54905">
                  <c:v>0.97922240057071497</c:v>
                </c:pt>
                <c:pt idx="54906">
                  <c:v>0.97924023542001004</c:v>
                </c:pt>
                <c:pt idx="54907">
                  <c:v>0.979258070269306</c:v>
                </c:pt>
                <c:pt idx="54908">
                  <c:v>0.97927590511860096</c:v>
                </c:pt>
                <c:pt idx="54909">
                  <c:v>0.97929373996789704</c:v>
                </c:pt>
                <c:pt idx="54910">
                  <c:v>0.979311574817192</c:v>
                </c:pt>
                <c:pt idx="54911">
                  <c:v>0.97932940966648796</c:v>
                </c:pt>
                <c:pt idx="54912">
                  <c:v>0.97934724451578303</c:v>
                </c:pt>
                <c:pt idx="54913">
                  <c:v>0.97936507936507899</c:v>
                </c:pt>
                <c:pt idx="54914">
                  <c:v>0.97938291421437396</c:v>
                </c:pt>
                <c:pt idx="54915">
                  <c:v>0.97940074906367003</c:v>
                </c:pt>
                <c:pt idx="54916">
                  <c:v>0.97941858391296599</c:v>
                </c:pt>
                <c:pt idx="54917">
                  <c:v>0.97943641876226095</c:v>
                </c:pt>
                <c:pt idx="54918">
                  <c:v>0.97945425361155702</c:v>
                </c:pt>
                <c:pt idx="54919">
                  <c:v>0.97947208846085199</c:v>
                </c:pt>
                <c:pt idx="54920">
                  <c:v>0.97948992331014795</c:v>
                </c:pt>
                <c:pt idx="54921">
                  <c:v>0.97950775815944302</c:v>
                </c:pt>
                <c:pt idx="54922">
                  <c:v>0.97952559300873898</c:v>
                </c:pt>
                <c:pt idx="54923">
                  <c:v>0.97954342785803405</c:v>
                </c:pt>
                <c:pt idx="54924">
                  <c:v>0.97956126270733002</c:v>
                </c:pt>
                <c:pt idx="54925">
                  <c:v>0.97957909755662498</c:v>
                </c:pt>
                <c:pt idx="54926">
                  <c:v>0.97959693240592105</c:v>
                </c:pt>
                <c:pt idx="54927">
                  <c:v>0.97961476725521601</c:v>
                </c:pt>
                <c:pt idx="54928">
                  <c:v>0.97963260210451197</c:v>
                </c:pt>
                <c:pt idx="54929">
                  <c:v>0.97965043695380705</c:v>
                </c:pt>
                <c:pt idx="54930">
                  <c:v>0.97966827180310301</c:v>
                </c:pt>
                <c:pt idx="54931">
                  <c:v>0.97968610665239797</c:v>
                </c:pt>
                <c:pt idx="54932">
                  <c:v>0.97970394150169404</c:v>
                </c:pt>
                <c:pt idx="54933">
                  <c:v>0.979721776350989</c:v>
                </c:pt>
                <c:pt idx="54934">
                  <c:v>0.97973961120028497</c:v>
                </c:pt>
                <c:pt idx="54935">
                  <c:v>0.97975744604958004</c:v>
                </c:pt>
                <c:pt idx="54936">
                  <c:v>0.979775280898876</c:v>
                </c:pt>
                <c:pt idx="54937">
                  <c:v>0.97979311574817196</c:v>
                </c:pt>
                <c:pt idx="54938">
                  <c:v>0.97981095059746703</c:v>
                </c:pt>
                <c:pt idx="54939">
                  <c:v>0.979828785446763</c:v>
                </c:pt>
                <c:pt idx="54940">
                  <c:v>0.97984662029605796</c:v>
                </c:pt>
                <c:pt idx="54941">
                  <c:v>0.97986445514535403</c:v>
                </c:pt>
                <c:pt idx="54942">
                  <c:v>0.97988228999464899</c:v>
                </c:pt>
                <c:pt idx="54943">
                  <c:v>0.97990012484394495</c:v>
                </c:pt>
                <c:pt idx="54944">
                  <c:v>0.97991795969324003</c:v>
                </c:pt>
                <c:pt idx="54945">
                  <c:v>0.97993579454253599</c:v>
                </c:pt>
                <c:pt idx="54946">
                  <c:v>0.97995362939183095</c:v>
                </c:pt>
                <c:pt idx="54947">
                  <c:v>0.97997146424112702</c:v>
                </c:pt>
                <c:pt idx="54948">
                  <c:v>0.97998929909042198</c:v>
                </c:pt>
                <c:pt idx="54949">
                  <c:v>0.98000713393971794</c:v>
                </c:pt>
                <c:pt idx="54950">
                  <c:v>0.98002496878901302</c:v>
                </c:pt>
                <c:pt idx="54951">
                  <c:v>0.98004280363830898</c:v>
                </c:pt>
                <c:pt idx="54952">
                  <c:v>0.98006063848760405</c:v>
                </c:pt>
                <c:pt idx="54953">
                  <c:v>0.98007847333690001</c:v>
                </c:pt>
                <c:pt idx="54954">
                  <c:v>0.98009630818619498</c:v>
                </c:pt>
                <c:pt idx="54955">
                  <c:v>0.98011414303549105</c:v>
                </c:pt>
                <c:pt idx="54956">
                  <c:v>0.98013197788478601</c:v>
                </c:pt>
                <c:pt idx="54957">
                  <c:v>0.98014981273408197</c:v>
                </c:pt>
                <c:pt idx="54958">
                  <c:v>0.98016764758337704</c:v>
                </c:pt>
                <c:pt idx="54959">
                  <c:v>0.98018548243267301</c:v>
                </c:pt>
                <c:pt idx="54960">
                  <c:v>0.98020331728196897</c:v>
                </c:pt>
                <c:pt idx="54961">
                  <c:v>0.98022115213126404</c:v>
                </c:pt>
                <c:pt idx="54962">
                  <c:v>0.98023898698056</c:v>
                </c:pt>
                <c:pt idx="54963">
                  <c:v>0.98025682182985496</c:v>
                </c:pt>
                <c:pt idx="54964">
                  <c:v>0.98027465667915104</c:v>
                </c:pt>
                <c:pt idx="54965">
                  <c:v>0.980292491528446</c:v>
                </c:pt>
                <c:pt idx="54966">
                  <c:v>0.98031032637774196</c:v>
                </c:pt>
                <c:pt idx="54967">
                  <c:v>0.98032816122703703</c:v>
                </c:pt>
                <c:pt idx="54968">
                  <c:v>0.98034599607633299</c:v>
                </c:pt>
                <c:pt idx="54969">
                  <c:v>0.98036383092562795</c:v>
                </c:pt>
                <c:pt idx="54970">
                  <c:v>0.98038166577492403</c:v>
                </c:pt>
                <c:pt idx="54971">
                  <c:v>0.98039950062421899</c:v>
                </c:pt>
                <c:pt idx="54972">
                  <c:v>0.98041733547351495</c:v>
                </c:pt>
                <c:pt idx="54973">
                  <c:v>0.98043517032281002</c:v>
                </c:pt>
                <c:pt idx="54974">
                  <c:v>0.98045300517210598</c:v>
                </c:pt>
                <c:pt idx="54975">
                  <c:v>0.98047084002140095</c:v>
                </c:pt>
                <c:pt idx="54976">
                  <c:v>0.98048867487069702</c:v>
                </c:pt>
                <c:pt idx="54977">
                  <c:v>0.98050650971999198</c:v>
                </c:pt>
                <c:pt idx="54978">
                  <c:v>0.98052434456928805</c:v>
                </c:pt>
                <c:pt idx="54979">
                  <c:v>0.98054217941858302</c:v>
                </c:pt>
                <c:pt idx="54980">
                  <c:v>0.98056001426787898</c:v>
                </c:pt>
                <c:pt idx="54981">
                  <c:v>0.98057784911717405</c:v>
                </c:pt>
                <c:pt idx="54982">
                  <c:v>0.98059568396647001</c:v>
                </c:pt>
                <c:pt idx="54983">
                  <c:v>0.98061351881576597</c:v>
                </c:pt>
                <c:pt idx="54984">
                  <c:v>0.98063135366506105</c:v>
                </c:pt>
                <c:pt idx="54985">
                  <c:v>0.98064918851435701</c:v>
                </c:pt>
                <c:pt idx="54986">
                  <c:v>0.98066702336365197</c:v>
                </c:pt>
                <c:pt idx="54987">
                  <c:v>0.98068485821294804</c:v>
                </c:pt>
                <c:pt idx="54988">
                  <c:v>0.980702693062243</c:v>
                </c:pt>
                <c:pt idx="54989">
                  <c:v>0.98072052791153896</c:v>
                </c:pt>
                <c:pt idx="54990">
                  <c:v>0.98073836276083404</c:v>
                </c:pt>
                <c:pt idx="54991">
                  <c:v>0.98075619761013</c:v>
                </c:pt>
                <c:pt idx="54992">
                  <c:v>0.98077403245942496</c:v>
                </c:pt>
                <c:pt idx="54993">
                  <c:v>0.98079186730872103</c:v>
                </c:pt>
                <c:pt idx="54994">
                  <c:v>0.98080970215801599</c:v>
                </c:pt>
                <c:pt idx="54995">
                  <c:v>0.98082753700731196</c:v>
                </c:pt>
                <c:pt idx="54996">
                  <c:v>0.98084537185660703</c:v>
                </c:pt>
                <c:pt idx="54997">
                  <c:v>0.98086320670590299</c:v>
                </c:pt>
                <c:pt idx="54998">
                  <c:v>0.98088104155519795</c:v>
                </c:pt>
                <c:pt idx="54999">
                  <c:v>0.98089887640449402</c:v>
                </c:pt>
                <c:pt idx="55000">
                  <c:v>0.98091671125378899</c:v>
                </c:pt>
                <c:pt idx="55001">
                  <c:v>0.98093454610308495</c:v>
                </c:pt>
                <c:pt idx="55002">
                  <c:v>0.98095238095238002</c:v>
                </c:pt>
                <c:pt idx="55003">
                  <c:v>0.98097021580167598</c:v>
                </c:pt>
                <c:pt idx="55004">
                  <c:v>0.98098805065097205</c:v>
                </c:pt>
                <c:pt idx="55005">
                  <c:v>0.98100588550026702</c:v>
                </c:pt>
                <c:pt idx="55006">
                  <c:v>0.98102372034956298</c:v>
                </c:pt>
                <c:pt idx="55007">
                  <c:v>0.98104155519885805</c:v>
                </c:pt>
                <c:pt idx="55008">
                  <c:v>0.98105939004815401</c:v>
                </c:pt>
                <c:pt idx="55009">
                  <c:v>0.98107722489744897</c:v>
                </c:pt>
                <c:pt idx="55010">
                  <c:v>0.98109505974674505</c:v>
                </c:pt>
                <c:pt idx="55011">
                  <c:v>0.98111289459604001</c:v>
                </c:pt>
                <c:pt idx="55012">
                  <c:v>0.98113072944533597</c:v>
                </c:pt>
                <c:pt idx="55013">
                  <c:v>0.98114856429463104</c:v>
                </c:pt>
                <c:pt idx="55014">
                  <c:v>0.981166399143927</c:v>
                </c:pt>
                <c:pt idx="55015">
                  <c:v>0.98118423399322197</c:v>
                </c:pt>
                <c:pt idx="55016">
                  <c:v>0.98120206884251804</c:v>
                </c:pt>
                <c:pt idx="55017">
                  <c:v>0.981219903691813</c:v>
                </c:pt>
                <c:pt idx="55018">
                  <c:v>0.98123773854110896</c:v>
                </c:pt>
                <c:pt idx="55019">
                  <c:v>0.98125557339040403</c:v>
                </c:pt>
                <c:pt idx="55020">
                  <c:v>0.9812734082397</c:v>
                </c:pt>
                <c:pt idx="55021">
                  <c:v>0.98129124308899496</c:v>
                </c:pt>
                <c:pt idx="55022">
                  <c:v>0.98130907793829103</c:v>
                </c:pt>
                <c:pt idx="55023">
                  <c:v>0.98132691278758699</c:v>
                </c:pt>
                <c:pt idx="55024">
                  <c:v>0.98134474763688195</c:v>
                </c:pt>
                <c:pt idx="55025">
                  <c:v>0.98136258248617803</c:v>
                </c:pt>
                <c:pt idx="55026">
                  <c:v>0.98138041733547299</c:v>
                </c:pt>
                <c:pt idx="55027">
                  <c:v>0.98139825218476895</c:v>
                </c:pt>
                <c:pt idx="55028">
                  <c:v>0.98141608703406402</c:v>
                </c:pt>
                <c:pt idx="55029">
                  <c:v>0.98143392188335998</c:v>
                </c:pt>
                <c:pt idx="55030">
                  <c:v>0.98145175673265495</c:v>
                </c:pt>
                <c:pt idx="55031">
                  <c:v>0.98146959158195102</c:v>
                </c:pt>
                <c:pt idx="55032">
                  <c:v>0.98148742643124598</c:v>
                </c:pt>
                <c:pt idx="55033">
                  <c:v>0.98150526128054205</c:v>
                </c:pt>
                <c:pt idx="55034">
                  <c:v>0.98152309612983701</c:v>
                </c:pt>
                <c:pt idx="55035">
                  <c:v>0.98154093097913298</c:v>
                </c:pt>
                <c:pt idx="55036">
                  <c:v>0.98155876582842805</c:v>
                </c:pt>
                <c:pt idx="55037">
                  <c:v>0.98157660067772401</c:v>
                </c:pt>
                <c:pt idx="55038">
                  <c:v>0.98159443552701897</c:v>
                </c:pt>
                <c:pt idx="55039">
                  <c:v>0.98161227037631504</c:v>
                </c:pt>
                <c:pt idx="55040">
                  <c:v>0.98163010522561001</c:v>
                </c:pt>
                <c:pt idx="55041">
                  <c:v>0.98164794007490597</c:v>
                </c:pt>
                <c:pt idx="55042">
                  <c:v>0.98166577492420104</c:v>
                </c:pt>
                <c:pt idx="55043">
                  <c:v>0.981683609773497</c:v>
                </c:pt>
                <c:pt idx="55044">
                  <c:v>0.98170144462279296</c:v>
                </c:pt>
                <c:pt idx="55045">
                  <c:v>0.98171927947208804</c:v>
                </c:pt>
                <c:pt idx="55046">
                  <c:v>0.981737114321384</c:v>
                </c:pt>
                <c:pt idx="55047">
                  <c:v>0.98175494917067896</c:v>
                </c:pt>
                <c:pt idx="55048">
                  <c:v>0.98177278401997503</c:v>
                </c:pt>
                <c:pt idx="55049">
                  <c:v>0.98179061886926999</c:v>
                </c:pt>
                <c:pt idx="55050">
                  <c:v>0.98180845371856595</c:v>
                </c:pt>
                <c:pt idx="55051">
                  <c:v>0.98182628856786103</c:v>
                </c:pt>
                <c:pt idx="55052">
                  <c:v>0.98184412341715699</c:v>
                </c:pt>
                <c:pt idx="55053">
                  <c:v>0.98186195826645195</c:v>
                </c:pt>
                <c:pt idx="55054">
                  <c:v>0.98187979311574802</c:v>
                </c:pt>
                <c:pt idx="55055">
                  <c:v>0.98189762796504299</c:v>
                </c:pt>
                <c:pt idx="55056">
                  <c:v>0.98191546281433895</c:v>
                </c:pt>
                <c:pt idx="55057">
                  <c:v>0.98193329766363402</c:v>
                </c:pt>
                <c:pt idx="55058">
                  <c:v>0.98195113251292998</c:v>
                </c:pt>
                <c:pt idx="55059">
                  <c:v>0.98196896736222505</c:v>
                </c:pt>
                <c:pt idx="55060">
                  <c:v>0.98198680221152101</c:v>
                </c:pt>
                <c:pt idx="55061">
                  <c:v>0.98200463706081598</c:v>
                </c:pt>
                <c:pt idx="55062">
                  <c:v>0.98202247191011205</c:v>
                </c:pt>
                <c:pt idx="55063">
                  <c:v>0.98204030675940701</c:v>
                </c:pt>
                <c:pt idx="55064">
                  <c:v>0.98205814160870297</c:v>
                </c:pt>
                <c:pt idx="55065">
                  <c:v>0.98207597645799805</c:v>
                </c:pt>
                <c:pt idx="55066">
                  <c:v>0.98209381130729401</c:v>
                </c:pt>
                <c:pt idx="55067">
                  <c:v>0.98211164615658997</c:v>
                </c:pt>
                <c:pt idx="55068">
                  <c:v>0.98212948100588504</c:v>
                </c:pt>
                <c:pt idx="55069">
                  <c:v>0.982147315855181</c:v>
                </c:pt>
                <c:pt idx="55070">
                  <c:v>0.98216515070447596</c:v>
                </c:pt>
                <c:pt idx="55071">
                  <c:v>0.98218298555377204</c:v>
                </c:pt>
                <c:pt idx="55072">
                  <c:v>0.982200820403067</c:v>
                </c:pt>
                <c:pt idx="55073">
                  <c:v>0.98221865525236296</c:v>
                </c:pt>
                <c:pt idx="55074">
                  <c:v>0.98223649010165803</c:v>
                </c:pt>
                <c:pt idx="55075">
                  <c:v>0.98225432495095399</c:v>
                </c:pt>
                <c:pt idx="55076">
                  <c:v>0.98227215980024896</c:v>
                </c:pt>
                <c:pt idx="55077">
                  <c:v>0.98228999464954503</c:v>
                </c:pt>
                <c:pt idx="55078">
                  <c:v>0.98230782949883999</c:v>
                </c:pt>
                <c:pt idx="55079">
                  <c:v>0.98232566434813595</c:v>
                </c:pt>
                <c:pt idx="55080">
                  <c:v>0.98234349919743102</c:v>
                </c:pt>
                <c:pt idx="55081">
                  <c:v>0.98236133404672699</c:v>
                </c:pt>
                <c:pt idx="55082">
                  <c:v>0.98237916889602195</c:v>
                </c:pt>
                <c:pt idx="55083">
                  <c:v>0.98239700374531802</c:v>
                </c:pt>
                <c:pt idx="55084">
                  <c:v>0.98241483859461298</c:v>
                </c:pt>
                <c:pt idx="55085">
                  <c:v>0.98243267344390905</c:v>
                </c:pt>
                <c:pt idx="55086">
                  <c:v>0.98245050829320402</c:v>
                </c:pt>
                <c:pt idx="55087">
                  <c:v>0.98246834314249998</c:v>
                </c:pt>
                <c:pt idx="55088">
                  <c:v>0.98248617799179505</c:v>
                </c:pt>
                <c:pt idx="55089">
                  <c:v>0.98250401284109101</c:v>
                </c:pt>
                <c:pt idx="55090">
                  <c:v>0.98252184769038697</c:v>
                </c:pt>
                <c:pt idx="55091">
                  <c:v>0.98253968253968205</c:v>
                </c:pt>
                <c:pt idx="55092">
                  <c:v>0.98255751738897801</c:v>
                </c:pt>
                <c:pt idx="55093">
                  <c:v>0.98257535223827297</c:v>
                </c:pt>
                <c:pt idx="55094">
                  <c:v>0.98259318708756904</c:v>
                </c:pt>
                <c:pt idx="55095">
                  <c:v>0.982611021936864</c:v>
                </c:pt>
                <c:pt idx="55096">
                  <c:v>0.98262885678615997</c:v>
                </c:pt>
                <c:pt idx="55097">
                  <c:v>0.98264669163545504</c:v>
                </c:pt>
                <c:pt idx="55098">
                  <c:v>0.982664526484751</c:v>
                </c:pt>
                <c:pt idx="55099">
                  <c:v>0.98268236133404596</c:v>
                </c:pt>
                <c:pt idx="55100">
                  <c:v>0.98270019618334203</c:v>
                </c:pt>
                <c:pt idx="55101">
                  <c:v>0.982718031032637</c:v>
                </c:pt>
                <c:pt idx="55102">
                  <c:v>0.98273586588193296</c:v>
                </c:pt>
                <c:pt idx="55103">
                  <c:v>0.98275370073122803</c:v>
                </c:pt>
                <c:pt idx="55104">
                  <c:v>0.98277153558052399</c:v>
                </c:pt>
                <c:pt idx="55105">
                  <c:v>0.98278937042981895</c:v>
                </c:pt>
                <c:pt idx="55106">
                  <c:v>0.98280720527911503</c:v>
                </c:pt>
                <c:pt idx="55107">
                  <c:v>0.98282504012840999</c:v>
                </c:pt>
                <c:pt idx="55108">
                  <c:v>0.98284287497770595</c:v>
                </c:pt>
                <c:pt idx="55109">
                  <c:v>0.98286070982700102</c:v>
                </c:pt>
                <c:pt idx="55110">
                  <c:v>0.98287854467629698</c:v>
                </c:pt>
                <c:pt idx="55111">
                  <c:v>0.98289637952559294</c:v>
                </c:pt>
                <c:pt idx="55112">
                  <c:v>0.98291421437488802</c:v>
                </c:pt>
                <c:pt idx="55113">
                  <c:v>0.98293204922418398</c:v>
                </c:pt>
                <c:pt idx="55114">
                  <c:v>0.98294988407347905</c:v>
                </c:pt>
                <c:pt idx="55115">
                  <c:v>0.98296771892277501</c:v>
                </c:pt>
                <c:pt idx="55116">
                  <c:v>0.98298555377206998</c:v>
                </c:pt>
                <c:pt idx="55117">
                  <c:v>0.98300338862136605</c:v>
                </c:pt>
                <c:pt idx="55118">
                  <c:v>0.98302122347066101</c:v>
                </c:pt>
                <c:pt idx="55119">
                  <c:v>0.98303905831995697</c:v>
                </c:pt>
                <c:pt idx="55120">
                  <c:v>0.98305689316925204</c:v>
                </c:pt>
                <c:pt idx="55121">
                  <c:v>0.98307472801854801</c:v>
                </c:pt>
                <c:pt idx="55122">
                  <c:v>0.98309256286784297</c:v>
                </c:pt>
                <c:pt idx="55123">
                  <c:v>0.98311039771713904</c:v>
                </c:pt>
                <c:pt idx="55124">
                  <c:v>0.983128232566434</c:v>
                </c:pt>
                <c:pt idx="55125">
                  <c:v>0.98314606741572996</c:v>
                </c:pt>
                <c:pt idx="55126">
                  <c:v>0.98316390226502504</c:v>
                </c:pt>
                <c:pt idx="55127">
                  <c:v>0.983181737114321</c:v>
                </c:pt>
                <c:pt idx="55128">
                  <c:v>0.98319957196361696</c:v>
                </c:pt>
                <c:pt idx="55129">
                  <c:v>0.98321740681291203</c:v>
                </c:pt>
                <c:pt idx="55130">
                  <c:v>0.98323524166220799</c:v>
                </c:pt>
                <c:pt idx="55131">
                  <c:v>0.98325307651150295</c:v>
                </c:pt>
                <c:pt idx="55132">
                  <c:v>0.98327091136079903</c:v>
                </c:pt>
                <c:pt idx="55133">
                  <c:v>0.98328874621009399</c:v>
                </c:pt>
                <c:pt idx="55134">
                  <c:v>0.98330658105938995</c:v>
                </c:pt>
                <c:pt idx="55135">
                  <c:v>0.98332441590868502</c:v>
                </c:pt>
                <c:pt idx="55136">
                  <c:v>0.98334225075798098</c:v>
                </c:pt>
                <c:pt idx="55137">
                  <c:v>0.98336008560727595</c:v>
                </c:pt>
                <c:pt idx="55138">
                  <c:v>0.98337792045657202</c:v>
                </c:pt>
                <c:pt idx="55139">
                  <c:v>0.98339575530586698</c:v>
                </c:pt>
                <c:pt idx="55140">
                  <c:v>0.98341359015516305</c:v>
                </c:pt>
                <c:pt idx="55141">
                  <c:v>0.98343142500445802</c:v>
                </c:pt>
                <c:pt idx="55142">
                  <c:v>0.98344925985375398</c:v>
                </c:pt>
                <c:pt idx="55143">
                  <c:v>0.98346709470304905</c:v>
                </c:pt>
                <c:pt idx="55144">
                  <c:v>0.98348492955234501</c:v>
                </c:pt>
                <c:pt idx="55145">
                  <c:v>0.98350276440163997</c:v>
                </c:pt>
                <c:pt idx="55146">
                  <c:v>0.98352059925093605</c:v>
                </c:pt>
                <c:pt idx="55147">
                  <c:v>0.98353843410023101</c:v>
                </c:pt>
                <c:pt idx="55148">
                  <c:v>0.98355626894952697</c:v>
                </c:pt>
                <c:pt idx="55149">
                  <c:v>0.98357410379882204</c:v>
                </c:pt>
                <c:pt idx="55150">
                  <c:v>0.983591938648118</c:v>
                </c:pt>
                <c:pt idx="55151">
                  <c:v>0.98360977349741396</c:v>
                </c:pt>
                <c:pt idx="55152">
                  <c:v>0.98362760834670904</c:v>
                </c:pt>
                <c:pt idx="55153">
                  <c:v>0.983645443196005</c:v>
                </c:pt>
                <c:pt idx="55154">
                  <c:v>0.98366327804529996</c:v>
                </c:pt>
                <c:pt idx="55155">
                  <c:v>0.98368111289459603</c:v>
                </c:pt>
                <c:pt idx="55156">
                  <c:v>0.98369894774389099</c:v>
                </c:pt>
                <c:pt idx="55157">
                  <c:v>0.98371678259318696</c:v>
                </c:pt>
                <c:pt idx="55158">
                  <c:v>0.98373461744248203</c:v>
                </c:pt>
                <c:pt idx="55159">
                  <c:v>0.98375245229177799</c:v>
                </c:pt>
                <c:pt idx="55160">
                  <c:v>0.98377028714107295</c:v>
                </c:pt>
                <c:pt idx="55161">
                  <c:v>0.98378812199036902</c:v>
                </c:pt>
                <c:pt idx="55162">
                  <c:v>0.98380595683966399</c:v>
                </c:pt>
                <c:pt idx="55163">
                  <c:v>0.98382379168895995</c:v>
                </c:pt>
                <c:pt idx="55164">
                  <c:v>0.98384162653825502</c:v>
                </c:pt>
                <c:pt idx="55165">
                  <c:v>0.98385946138755098</c:v>
                </c:pt>
                <c:pt idx="55166">
                  <c:v>0.98387729623684606</c:v>
                </c:pt>
                <c:pt idx="55167">
                  <c:v>0.98389513108614202</c:v>
                </c:pt>
                <c:pt idx="55168">
                  <c:v>0.98391296593543698</c:v>
                </c:pt>
                <c:pt idx="55169">
                  <c:v>0.98393080078473305</c:v>
                </c:pt>
                <c:pt idx="55170">
                  <c:v>0.98394863563402801</c:v>
                </c:pt>
                <c:pt idx="55171">
                  <c:v>0.98396647048332397</c:v>
                </c:pt>
                <c:pt idx="55172">
                  <c:v>0.98398430533261905</c:v>
                </c:pt>
                <c:pt idx="55173">
                  <c:v>0.98400214018191501</c:v>
                </c:pt>
                <c:pt idx="55174">
                  <c:v>0.98401997503121097</c:v>
                </c:pt>
                <c:pt idx="55175">
                  <c:v>0.98403780988050604</c:v>
                </c:pt>
                <c:pt idx="55176">
                  <c:v>0.984055644729802</c:v>
                </c:pt>
                <c:pt idx="55177">
                  <c:v>0.98407347957909697</c:v>
                </c:pt>
                <c:pt idx="55178">
                  <c:v>0.98409131442839304</c:v>
                </c:pt>
                <c:pt idx="55179">
                  <c:v>0.984109149277688</c:v>
                </c:pt>
                <c:pt idx="55180">
                  <c:v>0.98412698412698396</c:v>
                </c:pt>
                <c:pt idx="55181">
                  <c:v>0.98414481897627903</c:v>
                </c:pt>
                <c:pt idx="55182">
                  <c:v>0.984162653825575</c:v>
                </c:pt>
                <c:pt idx="55183">
                  <c:v>0.98418048867486996</c:v>
                </c:pt>
                <c:pt idx="55184">
                  <c:v>0.98419832352416603</c:v>
                </c:pt>
                <c:pt idx="55185">
                  <c:v>0.98421615837346099</c:v>
                </c:pt>
                <c:pt idx="55186">
                  <c:v>0.98423399322275695</c:v>
                </c:pt>
                <c:pt idx="55187">
                  <c:v>0.98425182807205203</c:v>
                </c:pt>
                <c:pt idx="55188">
                  <c:v>0.98426966292134799</c:v>
                </c:pt>
                <c:pt idx="55189">
                  <c:v>0.98428749777064295</c:v>
                </c:pt>
                <c:pt idx="55190">
                  <c:v>0.98430533261993902</c:v>
                </c:pt>
                <c:pt idx="55191">
                  <c:v>0.98432316746923398</c:v>
                </c:pt>
                <c:pt idx="55192">
                  <c:v>0.98434100231852995</c:v>
                </c:pt>
                <c:pt idx="55193">
                  <c:v>0.98435883716782502</c:v>
                </c:pt>
                <c:pt idx="55194">
                  <c:v>0.98437667201712098</c:v>
                </c:pt>
                <c:pt idx="55195">
                  <c:v>0.98439450686641605</c:v>
                </c:pt>
                <c:pt idx="55196">
                  <c:v>0.98441234171571201</c:v>
                </c:pt>
                <c:pt idx="55197">
                  <c:v>0.98443017656500797</c:v>
                </c:pt>
                <c:pt idx="55198">
                  <c:v>0.98444801141430305</c:v>
                </c:pt>
                <c:pt idx="55199">
                  <c:v>0.98446584626359901</c:v>
                </c:pt>
                <c:pt idx="55200">
                  <c:v>0.98448368111289397</c:v>
                </c:pt>
                <c:pt idx="55201">
                  <c:v>0.98450151596219004</c:v>
                </c:pt>
                <c:pt idx="55202">
                  <c:v>0.98451935081148501</c:v>
                </c:pt>
                <c:pt idx="55203">
                  <c:v>0.98453718566078097</c:v>
                </c:pt>
                <c:pt idx="55204">
                  <c:v>0.98455502051007604</c:v>
                </c:pt>
                <c:pt idx="55205">
                  <c:v>0.984572855359372</c:v>
                </c:pt>
                <c:pt idx="55206">
                  <c:v>0.98459069020866696</c:v>
                </c:pt>
                <c:pt idx="55207">
                  <c:v>0.98460852505796304</c:v>
                </c:pt>
                <c:pt idx="55208">
                  <c:v>0.984626359907258</c:v>
                </c:pt>
                <c:pt idx="55209">
                  <c:v>0.98464419475655396</c:v>
                </c:pt>
                <c:pt idx="55210">
                  <c:v>0.98466202960584903</c:v>
                </c:pt>
                <c:pt idx="55211">
                  <c:v>0.98467986445514499</c:v>
                </c:pt>
                <c:pt idx="55212">
                  <c:v>0.98469769930443996</c:v>
                </c:pt>
                <c:pt idx="55213">
                  <c:v>0.98471553415373603</c:v>
                </c:pt>
                <c:pt idx="55214">
                  <c:v>0.98473336900303099</c:v>
                </c:pt>
                <c:pt idx="55215">
                  <c:v>0.98475120385232695</c:v>
                </c:pt>
                <c:pt idx="55216">
                  <c:v>0.98476903870162302</c:v>
                </c:pt>
                <c:pt idx="55217">
                  <c:v>0.98478687355091798</c:v>
                </c:pt>
                <c:pt idx="55218">
                  <c:v>0.98480470840021395</c:v>
                </c:pt>
                <c:pt idx="55219">
                  <c:v>0.98482254324950902</c:v>
                </c:pt>
                <c:pt idx="55220">
                  <c:v>0.98484037809880498</c:v>
                </c:pt>
                <c:pt idx="55221">
                  <c:v>0.98485821294810005</c:v>
                </c:pt>
                <c:pt idx="55222">
                  <c:v>0.98487604779739601</c:v>
                </c:pt>
                <c:pt idx="55223">
                  <c:v>0.98489388264669098</c:v>
                </c:pt>
                <c:pt idx="55224">
                  <c:v>0.98491171749598705</c:v>
                </c:pt>
                <c:pt idx="55225">
                  <c:v>0.98492955234528201</c:v>
                </c:pt>
                <c:pt idx="55226">
                  <c:v>0.98494738719457797</c:v>
                </c:pt>
                <c:pt idx="55227">
                  <c:v>0.98496522204387305</c:v>
                </c:pt>
                <c:pt idx="55228">
                  <c:v>0.98498305689316901</c:v>
                </c:pt>
                <c:pt idx="55229">
                  <c:v>0.98500089174246397</c:v>
                </c:pt>
                <c:pt idx="55230">
                  <c:v>0.98501872659176004</c:v>
                </c:pt>
                <c:pt idx="55231">
                  <c:v>0.985036561441055</c:v>
                </c:pt>
                <c:pt idx="55232">
                  <c:v>0.98505439629035096</c:v>
                </c:pt>
                <c:pt idx="55233">
                  <c:v>0.98507223113964604</c:v>
                </c:pt>
                <c:pt idx="55234">
                  <c:v>0.985090065988942</c:v>
                </c:pt>
                <c:pt idx="55235">
                  <c:v>0.98510790083823796</c:v>
                </c:pt>
                <c:pt idx="55236">
                  <c:v>0.98512573568753303</c:v>
                </c:pt>
                <c:pt idx="55237">
                  <c:v>0.98514357053682899</c:v>
                </c:pt>
                <c:pt idx="55238">
                  <c:v>0.98516140538612396</c:v>
                </c:pt>
                <c:pt idx="55239">
                  <c:v>0.98517924023542003</c:v>
                </c:pt>
                <c:pt idx="55240">
                  <c:v>0.98519707508471499</c:v>
                </c:pt>
                <c:pt idx="55241">
                  <c:v>0.98521490993401095</c:v>
                </c:pt>
                <c:pt idx="55242">
                  <c:v>0.98523274478330602</c:v>
                </c:pt>
                <c:pt idx="55243">
                  <c:v>0.98525057963260199</c:v>
                </c:pt>
                <c:pt idx="55244">
                  <c:v>0.98526841448189695</c:v>
                </c:pt>
                <c:pt idx="55245">
                  <c:v>0.98528624933119302</c:v>
                </c:pt>
                <c:pt idx="55246">
                  <c:v>0.98530408418048798</c:v>
                </c:pt>
                <c:pt idx="55247">
                  <c:v>0.98532191902978405</c:v>
                </c:pt>
                <c:pt idx="55248">
                  <c:v>0.98533975387907902</c:v>
                </c:pt>
                <c:pt idx="55249">
                  <c:v>0.98535758872837498</c:v>
                </c:pt>
                <c:pt idx="55250">
                  <c:v>0.98537542357767005</c:v>
                </c:pt>
                <c:pt idx="55251">
                  <c:v>0.98539325842696601</c:v>
                </c:pt>
                <c:pt idx="55252">
                  <c:v>0.98541109327626097</c:v>
                </c:pt>
                <c:pt idx="55253">
                  <c:v>0.98542892812555705</c:v>
                </c:pt>
                <c:pt idx="55254">
                  <c:v>0.98544676297485201</c:v>
                </c:pt>
                <c:pt idx="55255">
                  <c:v>0.98546459782414797</c:v>
                </c:pt>
                <c:pt idx="55256">
                  <c:v>0.98548243267344304</c:v>
                </c:pt>
                <c:pt idx="55257">
                  <c:v>0.985500267522739</c:v>
                </c:pt>
                <c:pt idx="55258">
                  <c:v>0.98551810237203497</c:v>
                </c:pt>
                <c:pt idx="55259">
                  <c:v>0.98553593722133004</c:v>
                </c:pt>
                <c:pt idx="55260">
                  <c:v>0.985553772070626</c:v>
                </c:pt>
                <c:pt idx="55261">
                  <c:v>0.98557160691992096</c:v>
                </c:pt>
                <c:pt idx="55262">
                  <c:v>0.98558944176921703</c:v>
                </c:pt>
                <c:pt idx="55263">
                  <c:v>0.985607276618512</c:v>
                </c:pt>
                <c:pt idx="55264">
                  <c:v>0.98562511146780796</c:v>
                </c:pt>
                <c:pt idx="55265">
                  <c:v>0.98564294631710303</c:v>
                </c:pt>
                <c:pt idx="55266">
                  <c:v>0.98566078116639899</c:v>
                </c:pt>
                <c:pt idx="55267">
                  <c:v>0.98567861601569395</c:v>
                </c:pt>
                <c:pt idx="55268">
                  <c:v>0.98569645086499003</c:v>
                </c:pt>
                <c:pt idx="55269">
                  <c:v>0.98571428571428499</c:v>
                </c:pt>
                <c:pt idx="55270">
                  <c:v>0.98573212056358095</c:v>
                </c:pt>
                <c:pt idx="55271">
                  <c:v>0.98574995541287602</c:v>
                </c:pt>
                <c:pt idx="55272">
                  <c:v>0.98576779026217198</c:v>
                </c:pt>
                <c:pt idx="55273">
                  <c:v>0.98578562511146695</c:v>
                </c:pt>
                <c:pt idx="55274">
                  <c:v>0.98580345996076302</c:v>
                </c:pt>
                <c:pt idx="55275">
                  <c:v>0.98582129481005798</c:v>
                </c:pt>
                <c:pt idx="55276">
                  <c:v>0.98583912965935405</c:v>
                </c:pt>
                <c:pt idx="55277">
                  <c:v>0.98585696450864901</c:v>
                </c:pt>
                <c:pt idx="55278">
                  <c:v>0.98587479935794498</c:v>
                </c:pt>
                <c:pt idx="55279">
                  <c:v>0.98589263420724005</c:v>
                </c:pt>
                <c:pt idx="55280">
                  <c:v>0.98591046905653601</c:v>
                </c:pt>
                <c:pt idx="55281">
                  <c:v>0.98592830390583197</c:v>
                </c:pt>
                <c:pt idx="55282">
                  <c:v>0.98594613875512704</c:v>
                </c:pt>
                <c:pt idx="55283">
                  <c:v>0.98596397360442301</c:v>
                </c:pt>
                <c:pt idx="55284">
                  <c:v>0.98598180845371797</c:v>
                </c:pt>
                <c:pt idx="55285">
                  <c:v>0.98599964330301404</c:v>
                </c:pt>
                <c:pt idx="55286">
                  <c:v>0.986017478152309</c:v>
                </c:pt>
                <c:pt idx="55287">
                  <c:v>0.98603531300160496</c:v>
                </c:pt>
                <c:pt idx="55288">
                  <c:v>0.98605314785090004</c:v>
                </c:pt>
                <c:pt idx="55289">
                  <c:v>0.986070982700196</c:v>
                </c:pt>
                <c:pt idx="55290">
                  <c:v>0.98608881754949096</c:v>
                </c:pt>
                <c:pt idx="55291">
                  <c:v>0.98610665239878703</c:v>
                </c:pt>
                <c:pt idx="55292">
                  <c:v>0.98612448724808199</c:v>
                </c:pt>
                <c:pt idx="55293">
                  <c:v>0.98614232209737795</c:v>
                </c:pt>
                <c:pt idx="55294">
                  <c:v>0.98616015694667303</c:v>
                </c:pt>
                <c:pt idx="55295">
                  <c:v>0.98617799179596899</c:v>
                </c:pt>
                <c:pt idx="55296">
                  <c:v>0.98619582664526395</c:v>
                </c:pt>
                <c:pt idx="55297">
                  <c:v>0.98621366149456002</c:v>
                </c:pt>
                <c:pt idx="55298">
                  <c:v>0.98623149634385499</c:v>
                </c:pt>
                <c:pt idx="55299">
                  <c:v>0.98624933119315095</c:v>
                </c:pt>
                <c:pt idx="55300">
                  <c:v>0.98626716604244602</c:v>
                </c:pt>
                <c:pt idx="55301">
                  <c:v>0.98628500089174198</c:v>
                </c:pt>
                <c:pt idx="55302">
                  <c:v>0.98630283574103705</c:v>
                </c:pt>
                <c:pt idx="55303">
                  <c:v>0.98632067059033302</c:v>
                </c:pt>
                <c:pt idx="55304">
                  <c:v>0.98633850543962898</c:v>
                </c:pt>
                <c:pt idx="55305">
                  <c:v>0.98635634028892405</c:v>
                </c:pt>
                <c:pt idx="55306">
                  <c:v>0.98637417513822001</c:v>
                </c:pt>
                <c:pt idx="55307">
                  <c:v>0.98639200998751497</c:v>
                </c:pt>
                <c:pt idx="55308">
                  <c:v>0.98640984483681104</c:v>
                </c:pt>
                <c:pt idx="55309">
                  <c:v>0.98642767968610601</c:v>
                </c:pt>
                <c:pt idx="55310">
                  <c:v>0.98644551453540197</c:v>
                </c:pt>
                <c:pt idx="55311">
                  <c:v>0.98646334938469704</c:v>
                </c:pt>
                <c:pt idx="55312">
                  <c:v>0.986481184233993</c:v>
                </c:pt>
                <c:pt idx="55313">
                  <c:v>0.98649901908328796</c:v>
                </c:pt>
                <c:pt idx="55314">
                  <c:v>0.98651685393258404</c:v>
                </c:pt>
                <c:pt idx="55315">
                  <c:v>0.986534688781879</c:v>
                </c:pt>
                <c:pt idx="55316">
                  <c:v>0.98655252363117496</c:v>
                </c:pt>
                <c:pt idx="55317">
                  <c:v>0.98657035848047003</c:v>
                </c:pt>
                <c:pt idx="55318">
                  <c:v>0.98658819332976599</c:v>
                </c:pt>
                <c:pt idx="55319">
                  <c:v>0.98660602817906096</c:v>
                </c:pt>
                <c:pt idx="55320">
                  <c:v>0.98662386302835703</c:v>
                </c:pt>
                <c:pt idx="55321">
                  <c:v>0.98664169787765199</c:v>
                </c:pt>
                <c:pt idx="55322">
                  <c:v>0.98665953272694795</c:v>
                </c:pt>
                <c:pt idx="55323">
                  <c:v>0.98667736757624402</c:v>
                </c:pt>
                <c:pt idx="55324">
                  <c:v>0.98669520242553899</c:v>
                </c:pt>
                <c:pt idx="55325">
                  <c:v>0.98671303727483495</c:v>
                </c:pt>
                <c:pt idx="55326">
                  <c:v>0.98673087212413002</c:v>
                </c:pt>
                <c:pt idx="55327">
                  <c:v>0.98674870697342598</c:v>
                </c:pt>
                <c:pt idx="55328">
                  <c:v>0.98676654182272105</c:v>
                </c:pt>
                <c:pt idx="55329">
                  <c:v>0.98678437667201702</c:v>
                </c:pt>
                <c:pt idx="55330">
                  <c:v>0.98680221152131198</c:v>
                </c:pt>
                <c:pt idx="55331">
                  <c:v>0.98682004637060805</c:v>
                </c:pt>
                <c:pt idx="55332">
                  <c:v>0.98683788121990301</c:v>
                </c:pt>
                <c:pt idx="55333">
                  <c:v>0.98685571606919897</c:v>
                </c:pt>
                <c:pt idx="55334">
                  <c:v>0.98687355091849405</c:v>
                </c:pt>
                <c:pt idx="55335">
                  <c:v>0.98689138576779001</c:v>
                </c:pt>
                <c:pt idx="55336">
                  <c:v>0.98690922061708497</c:v>
                </c:pt>
                <c:pt idx="55337">
                  <c:v>0.98692705546638104</c:v>
                </c:pt>
                <c:pt idx="55338">
                  <c:v>0.986944890315676</c:v>
                </c:pt>
                <c:pt idx="55339">
                  <c:v>0.98696272516497197</c:v>
                </c:pt>
                <c:pt idx="55340">
                  <c:v>0.98698056001426704</c:v>
                </c:pt>
                <c:pt idx="55341">
                  <c:v>0.986998394863563</c:v>
                </c:pt>
                <c:pt idx="55342">
                  <c:v>0.98701622971285896</c:v>
                </c:pt>
                <c:pt idx="55343">
                  <c:v>0.98703406456215403</c:v>
                </c:pt>
                <c:pt idx="55344">
                  <c:v>0.98705189941145</c:v>
                </c:pt>
                <c:pt idx="55345">
                  <c:v>0.98706973426074496</c:v>
                </c:pt>
                <c:pt idx="55346">
                  <c:v>0.98708756911004103</c:v>
                </c:pt>
                <c:pt idx="55347">
                  <c:v>0.98710540395933599</c:v>
                </c:pt>
                <c:pt idx="55348">
                  <c:v>0.98712323880863195</c:v>
                </c:pt>
                <c:pt idx="55349">
                  <c:v>0.98714107365792703</c:v>
                </c:pt>
                <c:pt idx="55350">
                  <c:v>0.98715890850722299</c:v>
                </c:pt>
                <c:pt idx="55351">
                  <c:v>0.98717674335651795</c:v>
                </c:pt>
                <c:pt idx="55352">
                  <c:v>0.98719457820581402</c:v>
                </c:pt>
                <c:pt idx="55353">
                  <c:v>0.98721241305510898</c:v>
                </c:pt>
                <c:pt idx="55354">
                  <c:v>0.98723024790440495</c:v>
                </c:pt>
                <c:pt idx="55355">
                  <c:v>0.98724808275370002</c:v>
                </c:pt>
                <c:pt idx="55356">
                  <c:v>0.98726591760299598</c:v>
                </c:pt>
                <c:pt idx="55357">
                  <c:v>0.98728375245229105</c:v>
                </c:pt>
                <c:pt idx="55358">
                  <c:v>0.98730158730158701</c:v>
                </c:pt>
                <c:pt idx="55359">
                  <c:v>0.98731942215088198</c:v>
                </c:pt>
                <c:pt idx="55360">
                  <c:v>0.98733725700017805</c:v>
                </c:pt>
                <c:pt idx="55361">
                  <c:v>0.98735509184947301</c:v>
                </c:pt>
                <c:pt idx="55362">
                  <c:v>0.98737292669876897</c:v>
                </c:pt>
                <c:pt idx="55363">
                  <c:v>0.98739076154806404</c:v>
                </c:pt>
                <c:pt idx="55364">
                  <c:v>0.98740859639736001</c:v>
                </c:pt>
                <c:pt idx="55365">
                  <c:v>0.98742643124665597</c:v>
                </c:pt>
                <c:pt idx="55366">
                  <c:v>0.98744426609595104</c:v>
                </c:pt>
                <c:pt idx="55367">
                  <c:v>0.987462100945247</c:v>
                </c:pt>
                <c:pt idx="55368">
                  <c:v>0.98747993579454196</c:v>
                </c:pt>
                <c:pt idx="55369">
                  <c:v>0.98749777064383804</c:v>
                </c:pt>
                <c:pt idx="55370">
                  <c:v>0.987515605493133</c:v>
                </c:pt>
                <c:pt idx="55371">
                  <c:v>0.98753344034242896</c:v>
                </c:pt>
                <c:pt idx="55372">
                  <c:v>0.98755127519172403</c:v>
                </c:pt>
                <c:pt idx="55373">
                  <c:v>0.98756911004101999</c:v>
                </c:pt>
                <c:pt idx="55374">
                  <c:v>0.98758694489031496</c:v>
                </c:pt>
                <c:pt idx="55375">
                  <c:v>0.98760477973961103</c:v>
                </c:pt>
                <c:pt idx="55376">
                  <c:v>0.98762261458890599</c:v>
                </c:pt>
                <c:pt idx="55377">
                  <c:v>0.98764044943820195</c:v>
                </c:pt>
                <c:pt idx="55378">
                  <c:v>0.98765828428749702</c:v>
                </c:pt>
                <c:pt idx="55379">
                  <c:v>0.98767611913679298</c:v>
                </c:pt>
                <c:pt idx="55380">
                  <c:v>0.98769395398608795</c:v>
                </c:pt>
                <c:pt idx="55381">
                  <c:v>0.98771178883538402</c:v>
                </c:pt>
                <c:pt idx="55382">
                  <c:v>0.98772962368467898</c:v>
                </c:pt>
                <c:pt idx="55383">
                  <c:v>0.98774745853397505</c:v>
                </c:pt>
                <c:pt idx="55384">
                  <c:v>0.98776529338327002</c:v>
                </c:pt>
                <c:pt idx="55385">
                  <c:v>0.98778312823256598</c:v>
                </c:pt>
                <c:pt idx="55386">
                  <c:v>0.98780096308186105</c:v>
                </c:pt>
                <c:pt idx="55387">
                  <c:v>0.98781879793115701</c:v>
                </c:pt>
                <c:pt idx="55388">
                  <c:v>0.98783663278045297</c:v>
                </c:pt>
                <c:pt idx="55389">
                  <c:v>0.98785446762974805</c:v>
                </c:pt>
                <c:pt idx="55390">
                  <c:v>0.98787230247904401</c:v>
                </c:pt>
                <c:pt idx="55391">
                  <c:v>0.98789013732833897</c:v>
                </c:pt>
                <c:pt idx="55392">
                  <c:v>0.98790797217763504</c:v>
                </c:pt>
                <c:pt idx="55393">
                  <c:v>0.98792580702693</c:v>
                </c:pt>
                <c:pt idx="55394">
                  <c:v>0.98794364187622596</c:v>
                </c:pt>
                <c:pt idx="55395">
                  <c:v>0.98796147672552104</c:v>
                </c:pt>
                <c:pt idx="55396">
                  <c:v>0.987979311574817</c:v>
                </c:pt>
                <c:pt idx="55397">
                  <c:v>0.98799714642411196</c:v>
                </c:pt>
                <c:pt idx="55398">
                  <c:v>0.98801498127340803</c:v>
                </c:pt>
                <c:pt idx="55399">
                  <c:v>0.98803281612270299</c:v>
                </c:pt>
                <c:pt idx="55400">
                  <c:v>0.98805065097199896</c:v>
                </c:pt>
                <c:pt idx="55401">
                  <c:v>0.98806848582129403</c:v>
                </c:pt>
                <c:pt idx="55402">
                  <c:v>0.98808632067058999</c:v>
                </c:pt>
                <c:pt idx="55403">
                  <c:v>0.98810415551988495</c:v>
                </c:pt>
                <c:pt idx="55404">
                  <c:v>0.98812199036918102</c:v>
                </c:pt>
                <c:pt idx="55405">
                  <c:v>0.98813982521847599</c:v>
                </c:pt>
                <c:pt idx="55406">
                  <c:v>0.98815766006777195</c:v>
                </c:pt>
                <c:pt idx="55407">
                  <c:v>0.98817549491706702</c:v>
                </c:pt>
                <c:pt idx="55408">
                  <c:v>0.98819332976636298</c:v>
                </c:pt>
                <c:pt idx="55409">
                  <c:v>0.98821116461565806</c:v>
                </c:pt>
                <c:pt idx="55410">
                  <c:v>0.98822899946495402</c:v>
                </c:pt>
                <c:pt idx="55411">
                  <c:v>0.98824683431424998</c:v>
                </c:pt>
                <c:pt idx="55412">
                  <c:v>0.98826466916354505</c:v>
                </c:pt>
                <c:pt idx="55413">
                  <c:v>0.98828250401284101</c:v>
                </c:pt>
                <c:pt idx="55414">
                  <c:v>0.98830033886213597</c:v>
                </c:pt>
                <c:pt idx="55415">
                  <c:v>0.98831817371143205</c:v>
                </c:pt>
                <c:pt idx="55416">
                  <c:v>0.98833600856072701</c:v>
                </c:pt>
                <c:pt idx="55417">
                  <c:v>0.98835384341002297</c:v>
                </c:pt>
                <c:pt idx="55418">
                  <c:v>0.98837167825931804</c:v>
                </c:pt>
                <c:pt idx="55419">
                  <c:v>0.988389513108614</c:v>
                </c:pt>
                <c:pt idx="55420">
                  <c:v>0.98840734795790897</c:v>
                </c:pt>
                <c:pt idx="55421">
                  <c:v>0.98842518280720504</c:v>
                </c:pt>
                <c:pt idx="55422">
                  <c:v>0.9884430176565</c:v>
                </c:pt>
                <c:pt idx="55423">
                  <c:v>0.98846085250579596</c:v>
                </c:pt>
                <c:pt idx="55424">
                  <c:v>0.98847868735509103</c:v>
                </c:pt>
                <c:pt idx="55425">
                  <c:v>0.988496522204387</c:v>
                </c:pt>
                <c:pt idx="55426">
                  <c:v>0.98851435705368196</c:v>
                </c:pt>
                <c:pt idx="55427">
                  <c:v>0.98853219190297803</c:v>
                </c:pt>
                <c:pt idx="55428">
                  <c:v>0.98855002675227399</c:v>
                </c:pt>
                <c:pt idx="55429">
                  <c:v>0.98856786160156895</c:v>
                </c:pt>
                <c:pt idx="55430">
                  <c:v>0.98858569645086503</c:v>
                </c:pt>
                <c:pt idx="55431">
                  <c:v>0.98860353130015999</c:v>
                </c:pt>
                <c:pt idx="55432">
                  <c:v>0.98862136614945595</c:v>
                </c:pt>
                <c:pt idx="55433">
                  <c:v>0.98863920099875102</c:v>
                </c:pt>
                <c:pt idx="55434">
                  <c:v>0.98865703584804698</c:v>
                </c:pt>
                <c:pt idx="55435">
                  <c:v>0.98867487069734195</c:v>
                </c:pt>
                <c:pt idx="55436">
                  <c:v>0.98869270554663802</c:v>
                </c:pt>
                <c:pt idx="55437">
                  <c:v>0.98871054039593298</c:v>
                </c:pt>
                <c:pt idx="55438">
                  <c:v>0.98872837524522905</c:v>
                </c:pt>
                <c:pt idx="55439">
                  <c:v>0.98874621009452401</c:v>
                </c:pt>
                <c:pt idx="55440">
                  <c:v>0.98876404494381998</c:v>
                </c:pt>
                <c:pt idx="55441">
                  <c:v>0.98878187979311505</c:v>
                </c:pt>
                <c:pt idx="55442">
                  <c:v>0.98879971464241101</c:v>
                </c:pt>
                <c:pt idx="55443">
                  <c:v>0.98881754949170597</c:v>
                </c:pt>
                <c:pt idx="55444">
                  <c:v>0.98883538434100204</c:v>
                </c:pt>
                <c:pt idx="55445">
                  <c:v>0.98885321919029701</c:v>
                </c:pt>
                <c:pt idx="55446">
                  <c:v>0.98887105403959297</c:v>
                </c:pt>
                <c:pt idx="55447">
                  <c:v>0.98888888888888804</c:v>
                </c:pt>
                <c:pt idx="55448">
                  <c:v>0.988906723738184</c:v>
                </c:pt>
                <c:pt idx="55449">
                  <c:v>0.98892455858747996</c:v>
                </c:pt>
                <c:pt idx="55450">
                  <c:v>0.98894239343677504</c:v>
                </c:pt>
                <c:pt idx="55451">
                  <c:v>0.988960228286071</c:v>
                </c:pt>
                <c:pt idx="55452">
                  <c:v>0.98897806313536596</c:v>
                </c:pt>
                <c:pt idx="55453">
                  <c:v>0.98899589798466203</c:v>
                </c:pt>
                <c:pt idx="55454">
                  <c:v>0.98901373283395699</c:v>
                </c:pt>
                <c:pt idx="55455">
                  <c:v>0.98903156768325295</c:v>
                </c:pt>
                <c:pt idx="55456">
                  <c:v>0.98904940253254803</c:v>
                </c:pt>
                <c:pt idx="55457">
                  <c:v>0.98906723738184399</c:v>
                </c:pt>
                <c:pt idx="55458">
                  <c:v>0.98908507223113895</c:v>
                </c:pt>
                <c:pt idx="55459">
                  <c:v>0.98910290708043502</c:v>
                </c:pt>
                <c:pt idx="55460">
                  <c:v>0.98912074192972999</c:v>
                </c:pt>
                <c:pt idx="55461">
                  <c:v>0.98913857677902595</c:v>
                </c:pt>
                <c:pt idx="55462">
                  <c:v>0.98915641162832102</c:v>
                </c:pt>
                <c:pt idx="55463">
                  <c:v>0.98917424647761698</c:v>
                </c:pt>
                <c:pt idx="55464">
                  <c:v>0.98919208132691205</c:v>
                </c:pt>
                <c:pt idx="55465">
                  <c:v>0.98920991617620802</c:v>
                </c:pt>
                <c:pt idx="55466">
                  <c:v>0.98922775102550298</c:v>
                </c:pt>
                <c:pt idx="55467">
                  <c:v>0.98924558587479905</c:v>
                </c:pt>
                <c:pt idx="55468">
                  <c:v>0.98926342072409401</c:v>
                </c:pt>
                <c:pt idx="55469">
                  <c:v>0.98928125557338997</c:v>
                </c:pt>
                <c:pt idx="55470">
                  <c:v>0.98929909042268505</c:v>
                </c:pt>
                <c:pt idx="55471">
                  <c:v>0.98931692527198101</c:v>
                </c:pt>
                <c:pt idx="55472">
                  <c:v>0.98933476012127697</c:v>
                </c:pt>
                <c:pt idx="55473">
                  <c:v>0.98935259497057204</c:v>
                </c:pt>
                <c:pt idx="55474">
                  <c:v>0.989370429819868</c:v>
                </c:pt>
                <c:pt idx="55475">
                  <c:v>0.98938826466916296</c:v>
                </c:pt>
                <c:pt idx="55476">
                  <c:v>0.98940609951845904</c:v>
                </c:pt>
                <c:pt idx="55477">
                  <c:v>0.989423934367754</c:v>
                </c:pt>
                <c:pt idx="55478">
                  <c:v>0.98944176921704996</c:v>
                </c:pt>
                <c:pt idx="55479">
                  <c:v>0.98945960406634503</c:v>
                </c:pt>
                <c:pt idx="55480">
                  <c:v>0.98947743891564099</c:v>
                </c:pt>
                <c:pt idx="55481">
                  <c:v>0.98949527376493596</c:v>
                </c:pt>
                <c:pt idx="55482">
                  <c:v>0.98951310861423203</c:v>
                </c:pt>
                <c:pt idx="55483">
                  <c:v>0.98953094346352699</c:v>
                </c:pt>
                <c:pt idx="55484">
                  <c:v>0.98954877831282295</c:v>
                </c:pt>
                <c:pt idx="55485">
                  <c:v>0.98956661316211803</c:v>
                </c:pt>
                <c:pt idx="55486">
                  <c:v>0.98958444801141399</c:v>
                </c:pt>
                <c:pt idx="55487">
                  <c:v>0.98960228286070895</c:v>
                </c:pt>
                <c:pt idx="55488">
                  <c:v>0.98962011771000502</c:v>
                </c:pt>
                <c:pt idx="55489">
                  <c:v>0.98963795255929998</c:v>
                </c:pt>
                <c:pt idx="55490">
                  <c:v>0.98965578740859605</c:v>
                </c:pt>
                <c:pt idx="55491">
                  <c:v>0.98967362225789102</c:v>
                </c:pt>
                <c:pt idx="55492">
                  <c:v>0.98969145710718698</c:v>
                </c:pt>
                <c:pt idx="55493">
                  <c:v>0.98970929195648205</c:v>
                </c:pt>
                <c:pt idx="55494">
                  <c:v>0.98972712680577801</c:v>
                </c:pt>
                <c:pt idx="55495">
                  <c:v>0.98974496165507397</c:v>
                </c:pt>
                <c:pt idx="55496">
                  <c:v>0.98976279650436905</c:v>
                </c:pt>
                <c:pt idx="55497">
                  <c:v>0.98978063135366501</c:v>
                </c:pt>
                <c:pt idx="55498">
                  <c:v>0.98979846620295997</c:v>
                </c:pt>
                <c:pt idx="55499">
                  <c:v>0.98981630105225604</c:v>
                </c:pt>
                <c:pt idx="55500">
                  <c:v>0.989834135901551</c:v>
                </c:pt>
                <c:pt idx="55501">
                  <c:v>0.98985197075084697</c:v>
                </c:pt>
                <c:pt idx="55502">
                  <c:v>0.98986980560014204</c:v>
                </c:pt>
                <c:pt idx="55503">
                  <c:v>0.989887640449438</c:v>
                </c:pt>
                <c:pt idx="55504">
                  <c:v>0.98990547529873296</c:v>
                </c:pt>
                <c:pt idx="55505">
                  <c:v>0.98992331014802903</c:v>
                </c:pt>
                <c:pt idx="55506">
                  <c:v>0.989941144997324</c:v>
                </c:pt>
                <c:pt idx="55507">
                  <c:v>0.98995897984661996</c:v>
                </c:pt>
                <c:pt idx="55508">
                  <c:v>0.98997681469591503</c:v>
                </c:pt>
                <c:pt idx="55509">
                  <c:v>0.98999464954521099</c:v>
                </c:pt>
                <c:pt idx="55510">
                  <c:v>0.99001248439450595</c:v>
                </c:pt>
                <c:pt idx="55511">
                  <c:v>0.99003031924380203</c:v>
                </c:pt>
                <c:pt idx="55512">
                  <c:v>0.99004815409309699</c:v>
                </c:pt>
                <c:pt idx="55513">
                  <c:v>0.99006598894239295</c:v>
                </c:pt>
                <c:pt idx="55514">
                  <c:v>0.99008382379168802</c:v>
                </c:pt>
                <c:pt idx="55515">
                  <c:v>0.99010165864098398</c:v>
                </c:pt>
                <c:pt idx="55516">
                  <c:v>0.99011949349027994</c:v>
                </c:pt>
                <c:pt idx="55517">
                  <c:v>0.99013732833957502</c:v>
                </c:pt>
                <c:pt idx="55518">
                  <c:v>0.99015516318887098</c:v>
                </c:pt>
                <c:pt idx="55519">
                  <c:v>0.99017299803816605</c:v>
                </c:pt>
                <c:pt idx="55520">
                  <c:v>0.99019083288746201</c:v>
                </c:pt>
                <c:pt idx="55521">
                  <c:v>0.99020866773675698</c:v>
                </c:pt>
                <c:pt idx="55522">
                  <c:v>0.99022650258605305</c:v>
                </c:pt>
                <c:pt idx="55523">
                  <c:v>0.99024433743534801</c:v>
                </c:pt>
                <c:pt idx="55524">
                  <c:v>0.99026217228464397</c:v>
                </c:pt>
                <c:pt idx="55525">
                  <c:v>0.99028000713393904</c:v>
                </c:pt>
                <c:pt idx="55526">
                  <c:v>0.99029784198323501</c:v>
                </c:pt>
                <c:pt idx="55527">
                  <c:v>0.99031567683252997</c:v>
                </c:pt>
                <c:pt idx="55528">
                  <c:v>0.99033351168182604</c:v>
                </c:pt>
                <c:pt idx="55529">
                  <c:v>0.990351346531121</c:v>
                </c:pt>
                <c:pt idx="55530">
                  <c:v>0.99036918138041696</c:v>
                </c:pt>
                <c:pt idx="55531">
                  <c:v>0.99038701622971204</c:v>
                </c:pt>
                <c:pt idx="55532">
                  <c:v>0.990404851079008</c:v>
                </c:pt>
                <c:pt idx="55533">
                  <c:v>0.99042268592830396</c:v>
                </c:pt>
                <c:pt idx="55534">
                  <c:v>0.99044052077759903</c:v>
                </c:pt>
                <c:pt idx="55535">
                  <c:v>0.99045835562689499</c:v>
                </c:pt>
                <c:pt idx="55536">
                  <c:v>0.99047619047618995</c:v>
                </c:pt>
                <c:pt idx="55537">
                  <c:v>0.99049402532548603</c:v>
                </c:pt>
                <c:pt idx="55538">
                  <c:v>0.99051186017478099</c:v>
                </c:pt>
                <c:pt idx="55539">
                  <c:v>0.99052969502407695</c:v>
                </c:pt>
                <c:pt idx="55540">
                  <c:v>0.99054752987337202</c:v>
                </c:pt>
                <c:pt idx="55541">
                  <c:v>0.99056536472266798</c:v>
                </c:pt>
                <c:pt idx="55542">
                  <c:v>0.99058319957196295</c:v>
                </c:pt>
                <c:pt idx="55543">
                  <c:v>0.99060103442125902</c:v>
                </c:pt>
                <c:pt idx="55544">
                  <c:v>0.99061886927055398</c:v>
                </c:pt>
                <c:pt idx="55545">
                  <c:v>0.99063670411985005</c:v>
                </c:pt>
                <c:pt idx="55546">
                  <c:v>0.99065453896914502</c:v>
                </c:pt>
                <c:pt idx="55547">
                  <c:v>0.99067237381844098</c:v>
                </c:pt>
                <c:pt idx="55548">
                  <c:v>0.99069020866773605</c:v>
                </c:pt>
                <c:pt idx="55549">
                  <c:v>0.99070804351703201</c:v>
                </c:pt>
                <c:pt idx="55550">
                  <c:v>0.99072587836632697</c:v>
                </c:pt>
                <c:pt idx="55551">
                  <c:v>0.99074371321562305</c:v>
                </c:pt>
                <c:pt idx="55552">
                  <c:v>0.99076154806491801</c:v>
                </c:pt>
                <c:pt idx="55553">
                  <c:v>0.99077938291421397</c:v>
                </c:pt>
                <c:pt idx="55554">
                  <c:v>0.99079721776350904</c:v>
                </c:pt>
                <c:pt idx="55555">
                  <c:v>0.990815052612805</c:v>
                </c:pt>
                <c:pt idx="55556">
                  <c:v>0.99083288746210096</c:v>
                </c:pt>
                <c:pt idx="55557">
                  <c:v>0.99085072231139604</c:v>
                </c:pt>
                <c:pt idx="55558">
                  <c:v>0.990868557160692</c:v>
                </c:pt>
                <c:pt idx="55559">
                  <c:v>0.99088639200998696</c:v>
                </c:pt>
                <c:pt idx="55560">
                  <c:v>0.99090422685928303</c:v>
                </c:pt>
                <c:pt idx="55561">
                  <c:v>0.99092206170857799</c:v>
                </c:pt>
                <c:pt idx="55562">
                  <c:v>0.99093989655787396</c:v>
                </c:pt>
                <c:pt idx="55563">
                  <c:v>0.99095773140716903</c:v>
                </c:pt>
                <c:pt idx="55564">
                  <c:v>0.99097556625646499</c:v>
                </c:pt>
                <c:pt idx="55565">
                  <c:v>0.99099340110575995</c:v>
                </c:pt>
                <c:pt idx="55566">
                  <c:v>0.99101123595505602</c:v>
                </c:pt>
                <c:pt idx="55567">
                  <c:v>0.99102907080435099</c:v>
                </c:pt>
                <c:pt idx="55568">
                  <c:v>0.99104690565364695</c:v>
                </c:pt>
                <c:pt idx="55569">
                  <c:v>0.99106474050294202</c:v>
                </c:pt>
                <c:pt idx="55570">
                  <c:v>0.99108257535223798</c:v>
                </c:pt>
                <c:pt idx="55571">
                  <c:v>0.99110041020153306</c:v>
                </c:pt>
                <c:pt idx="55572">
                  <c:v>0.99111824505082902</c:v>
                </c:pt>
                <c:pt idx="55573">
                  <c:v>0.99113607990012398</c:v>
                </c:pt>
                <c:pt idx="55574">
                  <c:v>0.99115391474942005</c:v>
                </c:pt>
                <c:pt idx="55575">
                  <c:v>0.99117174959871501</c:v>
                </c:pt>
                <c:pt idx="55576">
                  <c:v>0.99118958444801097</c:v>
                </c:pt>
                <c:pt idx="55577">
                  <c:v>0.99120741929730605</c:v>
                </c:pt>
                <c:pt idx="55578">
                  <c:v>0.99122525414660201</c:v>
                </c:pt>
                <c:pt idx="55579">
                  <c:v>0.99124308899589797</c:v>
                </c:pt>
                <c:pt idx="55580">
                  <c:v>0.99126092384519304</c:v>
                </c:pt>
                <c:pt idx="55581">
                  <c:v>0.991278758694489</c:v>
                </c:pt>
                <c:pt idx="55582">
                  <c:v>0.99129659354378397</c:v>
                </c:pt>
                <c:pt idx="55583">
                  <c:v>0.99131442839308004</c:v>
                </c:pt>
                <c:pt idx="55584">
                  <c:v>0.991332263242375</c:v>
                </c:pt>
                <c:pt idx="55585">
                  <c:v>0.99135009809167096</c:v>
                </c:pt>
                <c:pt idx="55586">
                  <c:v>0.99136793294096603</c:v>
                </c:pt>
                <c:pt idx="55587">
                  <c:v>0.991385767790262</c:v>
                </c:pt>
                <c:pt idx="55588">
                  <c:v>0.99140360263955696</c:v>
                </c:pt>
                <c:pt idx="55589">
                  <c:v>0.99142143748885303</c:v>
                </c:pt>
                <c:pt idx="55590">
                  <c:v>0.99143927233814799</c:v>
                </c:pt>
                <c:pt idx="55591">
                  <c:v>0.99145710718744395</c:v>
                </c:pt>
                <c:pt idx="55592">
                  <c:v>0.99147494203673903</c:v>
                </c:pt>
                <c:pt idx="55593">
                  <c:v>0.99149277688603499</c:v>
                </c:pt>
                <c:pt idx="55594">
                  <c:v>0.99151061173532995</c:v>
                </c:pt>
                <c:pt idx="55595">
                  <c:v>0.99152844658462602</c:v>
                </c:pt>
                <c:pt idx="55596">
                  <c:v>0.99154628143392098</c:v>
                </c:pt>
                <c:pt idx="55597">
                  <c:v>0.99156411628321695</c:v>
                </c:pt>
                <c:pt idx="55598">
                  <c:v>0.99158195113251202</c:v>
                </c:pt>
                <c:pt idx="55599">
                  <c:v>0.99159978598180798</c:v>
                </c:pt>
                <c:pt idx="55600">
                  <c:v>0.99161762083110305</c:v>
                </c:pt>
                <c:pt idx="55601">
                  <c:v>0.99163545568039901</c:v>
                </c:pt>
                <c:pt idx="55602">
                  <c:v>0.99165329052969498</c:v>
                </c:pt>
                <c:pt idx="55603">
                  <c:v>0.99167112537899005</c:v>
                </c:pt>
                <c:pt idx="55604">
                  <c:v>0.99168896022828601</c:v>
                </c:pt>
                <c:pt idx="55605">
                  <c:v>0.99170679507758097</c:v>
                </c:pt>
                <c:pt idx="55606">
                  <c:v>0.99172462992687704</c:v>
                </c:pt>
                <c:pt idx="55607">
                  <c:v>0.99174246477617201</c:v>
                </c:pt>
                <c:pt idx="55608">
                  <c:v>0.99176029962546797</c:v>
                </c:pt>
                <c:pt idx="55609">
                  <c:v>0.99177813447476304</c:v>
                </c:pt>
                <c:pt idx="55610">
                  <c:v>0.991795969324059</c:v>
                </c:pt>
                <c:pt idx="55611">
                  <c:v>0.99181380417335396</c:v>
                </c:pt>
                <c:pt idx="55612">
                  <c:v>0.99183163902265004</c:v>
                </c:pt>
                <c:pt idx="55613">
                  <c:v>0.991849473871945</c:v>
                </c:pt>
                <c:pt idx="55614">
                  <c:v>0.99186730872124096</c:v>
                </c:pt>
                <c:pt idx="55615">
                  <c:v>0.99188514357053603</c:v>
                </c:pt>
                <c:pt idx="55616">
                  <c:v>0.99190297841983199</c:v>
                </c:pt>
                <c:pt idx="55617">
                  <c:v>0.99192081326912696</c:v>
                </c:pt>
                <c:pt idx="55618">
                  <c:v>0.99193864811842303</c:v>
                </c:pt>
                <c:pt idx="55619">
                  <c:v>0.99195648296771799</c:v>
                </c:pt>
                <c:pt idx="55620">
                  <c:v>0.99197431781701395</c:v>
                </c:pt>
                <c:pt idx="55621">
                  <c:v>0.99199215266631002</c:v>
                </c:pt>
                <c:pt idx="55622">
                  <c:v>0.99200998751560499</c:v>
                </c:pt>
                <c:pt idx="55623">
                  <c:v>0.99202782236490095</c:v>
                </c:pt>
                <c:pt idx="55624">
                  <c:v>0.99204565721419602</c:v>
                </c:pt>
                <c:pt idx="55625">
                  <c:v>0.99206349206349198</c:v>
                </c:pt>
                <c:pt idx="55626">
                  <c:v>0.99208132691278705</c:v>
                </c:pt>
                <c:pt idx="55627">
                  <c:v>0.99209916176208301</c:v>
                </c:pt>
                <c:pt idx="55628">
                  <c:v>0.99211699661137798</c:v>
                </c:pt>
                <c:pt idx="55629">
                  <c:v>0.99213483146067405</c:v>
                </c:pt>
                <c:pt idx="55630">
                  <c:v>0.99215266630996901</c:v>
                </c:pt>
                <c:pt idx="55631">
                  <c:v>0.99217050115926497</c:v>
                </c:pt>
                <c:pt idx="55632">
                  <c:v>0.99218833600856005</c:v>
                </c:pt>
                <c:pt idx="55633">
                  <c:v>0.99220617085785601</c:v>
                </c:pt>
                <c:pt idx="55634">
                  <c:v>0.99222400570715097</c:v>
                </c:pt>
                <c:pt idx="55635">
                  <c:v>0.99224184055644704</c:v>
                </c:pt>
                <c:pt idx="55636">
                  <c:v>0.992259675405742</c:v>
                </c:pt>
                <c:pt idx="55637">
                  <c:v>0.99227751025503796</c:v>
                </c:pt>
                <c:pt idx="55638">
                  <c:v>0.99229534510433304</c:v>
                </c:pt>
                <c:pt idx="55639">
                  <c:v>0.992313179953629</c:v>
                </c:pt>
                <c:pt idx="55640">
                  <c:v>0.99233101480292496</c:v>
                </c:pt>
                <c:pt idx="55641">
                  <c:v>0.99234884965222003</c:v>
                </c:pt>
                <c:pt idx="55642">
                  <c:v>0.99236668450151599</c:v>
                </c:pt>
                <c:pt idx="55643">
                  <c:v>0.99238451935081096</c:v>
                </c:pt>
                <c:pt idx="55644">
                  <c:v>0.99240235420010703</c:v>
                </c:pt>
                <c:pt idx="55645">
                  <c:v>0.99242018904940199</c:v>
                </c:pt>
                <c:pt idx="55646">
                  <c:v>0.99243802389869795</c:v>
                </c:pt>
                <c:pt idx="55647">
                  <c:v>0.99245585874799302</c:v>
                </c:pt>
                <c:pt idx="55648">
                  <c:v>0.99247369359728899</c:v>
                </c:pt>
                <c:pt idx="55649">
                  <c:v>0.99249152844658395</c:v>
                </c:pt>
                <c:pt idx="55650">
                  <c:v>0.99250936329588002</c:v>
                </c:pt>
                <c:pt idx="55651">
                  <c:v>0.99252719814517498</c:v>
                </c:pt>
                <c:pt idx="55652">
                  <c:v>0.99254503299447105</c:v>
                </c:pt>
                <c:pt idx="55653">
                  <c:v>0.99256286784376602</c:v>
                </c:pt>
                <c:pt idx="55654">
                  <c:v>0.99258070269306198</c:v>
                </c:pt>
                <c:pt idx="55655">
                  <c:v>0.99259853754235705</c:v>
                </c:pt>
                <c:pt idx="55656">
                  <c:v>0.99261637239165301</c:v>
                </c:pt>
                <c:pt idx="55657">
                  <c:v>0.99263420724094797</c:v>
                </c:pt>
                <c:pt idx="55658">
                  <c:v>0.99265204209024405</c:v>
                </c:pt>
                <c:pt idx="55659">
                  <c:v>0.99266987693953901</c:v>
                </c:pt>
                <c:pt idx="55660">
                  <c:v>0.99268771178883497</c:v>
                </c:pt>
                <c:pt idx="55661">
                  <c:v>0.99270554663813004</c:v>
                </c:pt>
                <c:pt idx="55662">
                  <c:v>0.992723381487426</c:v>
                </c:pt>
                <c:pt idx="55663">
                  <c:v>0.99274121633672197</c:v>
                </c:pt>
                <c:pt idx="55664">
                  <c:v>0.99275905118601704</c:v>
                </c:pt>
                <c:pt idx="55665">
                  <c:v>0.992776886035313</c:v>
                </c:pt>
                <c:pt idx="55666">
                  <c:v>0.99279472088460796</c:v>
                </c:pt>
                <c:pt idx="55667">
                  <c:v>0.99281255573390403</c:v>
                </c:pt>
                <c:pt idx="55668">
                  <c:v>0.992830390583199</c:v>
                </c:pt>
                <c:pt idx="55669">
                  <c:v>0.99284822543249496</c:v>
                </c:pt>
                <c:pt idx="55670">
                  <c:v>0.99286606028179003</c:v>
                </c:pt>
                <c:pt idx="55671">
                  <c:v>0.99288389513108599</c:v>
                </c:pt>
                <c:pt idx="55672">
                  <c:v>0.99290172998038095</c:v>
                </c:pt>
                <c:pt idx="55673">
                  <c:v>0.99291956482967703</c:v>
                </c:pt>
                <c:pt idx="55674">
                  <c:v>0.99293739967897199</c:v>
                </c:pt>
                <c:pt idx="55675">
                  <c:v>0.99295523452826795</c:v>
                </c:pt>
                <c:pt idx="55676">
                  <c:v>0.99297306937756302</c:v>
                </c:pt>
                <c:pt idx="55677">
                  <c:v>0.99299090422685898</c:v>
                </c:pt>
                <c:pt idx="55678">
                  <c:v>0.99300873907615395</c:v>
                </c:pt>
                <c:pt idx="55679">
                  <c:v>0.99302657392545002</c:v>
                </c:pt>
                <c:pt idx="55680">
                  <c:v>0.99304440877474498</c:v>
                </c:pt>
                <c:pt idx="55681">
                  <c:v>0.99306224362404105</c:v>
                </c:pt>
                <c:pt idx="55682">
                  <c:v>0.99308007847333601</c:v>
                </c:pt>
                <c:pt idx="55683">
                  <c:v>0.99309791332263198</c:v>
                </c:pt>
                <c:pt idx="55684">
                  <c:v>0.99311574817192705</c:v>
                </c:pt>
                <c:pt idx="55685">
                  <c:v>0.99313358302122301</c:v>
                </c:pt>
                <c:pt idx="55686">
                  <c:v>0.99315141787051897</c:v>
                </c:pt>
                <c:pt idx="55687">
                  <c:v>0.99316925271981404</c:v>
                </c:pt>
                <c:pt idx="55688">
                  <c:v>0.99318708756911001</c:v>
                </c:pt>
                <c:pt idx="55689">
                  <c:v>0.99320492241840497</c:v>
                </c:pt>
                <c:pt idx="55690">
                  <c:v>0.99322275726770104</c:v>
                </c:pt>
                <c:pt idx="55691">
                  <c:v>0.993240592116996</c:v>
                </c:pt>
                <c:pt idx="55692">
                  <c:v>0.99325842696629196</c:v>
                </c:pt>
                <c:pt idx="55693">
                  <c:v>0.99327626181558704</c:v>
                </c:pt>
                <c:pt idx="55694">
                  <c:v>0.993294096664883</c:v>
                </c:pt>
                <c:pt idx="55695">
                  <c:v>0.99331193151417796</c:v>
                </c:pt>
                <c:pt idx="55696">
                  <c:v>0.99332976636347403</c:v>
                </c:pt>
                <c:pt idx="55697">
                  <c:v>0.99334760121276899</c:v>
                </c:pt>
                <c:pt idx="55698">
                  <c:v>0.99336543606206495</c:v>
                </c:pt>
                <c:pt idx="55699">
                  <c:v>0.99338327091136003</c:v>
                </c:pt>
                <c:pt idx="55700">
                  <c:v>0.99340110576065599</c:v>
                </c:pt>
                <c:pt idx="55701">
                  <c:v>0.99341894060995095</c:v>
                </c:pt>
                <c:pt idx="55702">
                  <c:v>0.99343677545924702</c:v>
                </c:pt>
                <c:pt idx="55703">
                  <c:v>0.99345461030854199</c:v>
                </c:pt>
                <c:pt idx="55704">
                  <c:v>0.99347244515783795</c:v>
                </c:pt>
                <c:pt idx="55705">
                  <c:v>0.99349028000713302</c:v>
                </c:pt>
                <c:pt idx="55706">
                  <c:v>0.99350811485642898</c:v>
                </c:pt>
                <c:pt idx="55707">
                  <c:v>0.99352594970572405</c:v>
                </c:pt>
                <c:pt idx="55708">
                  <c:v>0.99354378455502002</c:v>
                </c:pt>
                <c:pt idx="55709">
                  <c:v>0.99356161940431598</c:v>
                </c:pt>
                <c:pt idx="55710">
                  <c:v>0.99357945425361105</c:v>
                </c:pt>
                <c:pt idx="55711">
                  <c:v>0.99359728910290701</c:v>
                </c:pt>
                <c:pt idx="55712">
                  <c:v>0.99361512395220197</c:v>
                </c:pt>
                <c:pt idx="55713">
                  <c:v>0.99363295880149805</c:v>
                </c:pt>
                <c:pt idx="55714">
                  <c:v>0.99365079365079301</c:v>
                </c:pt>
                <c:pt idx="55715">
                  <c:v>0.99366862850008897</c:v>
                </c:pt>
                <c:pt idx="55716">
                  <c:v>0.99368646334938404</c:v>
                </c:pt>
                <c:pt idx="55717">
                  <c:v>0.99370429819868</c:v>
                </c:pt>
                <c:pt idx="55718">
                  <c:v>0.99372213304797496</c:v>
                </c:pt>
                <c:pt idx="55719">
                  <c:v>0.99373996789727104</c:v>
                </c:pt>
                <c:pt idx="55720">
                  <c:v>0.993757802746566</c:v>
                </c:pt>
                <c:pt idx="55721">
                  <c:v>0.99377563759586196</c:v>
                </c:pt>
                <c:pt idx="55722">
                  <c:v>0.99379347244515703</c:v>
                </c:pt>
                <c:pt idx="55723">
                  <c:v>0.99381130729445299</c:v>
                </c:pt>
                <c:pt idx="55724">
                  <c:v>0.99382914214374796</c:v>
                </c:pt>
                <c:pt idx="55725">
                  <c:v>0.99384697699304403</c:v>
                </c:pt>
                <c:pt idx="55726">
                  <c:v>0.99386481184233899</c:v>
                </c:pt>
                <c:pt idx="55727">
                  <c:v>0.99388264669163495</c:v>
                </c:pt>
                <c:pt idx="55728">
                  <c:v>0.99390048154093102</c:v>
                </c:pt>
                <c:pt idx="55729">
                  <c:v>0.99391831639022599</c:v>
                </c:pt>
                <c:pt idx="55730">
                  <c:v>0.99393615123952195</c:v>
                </c:pt>
                <c:pt idx="55731">
                  <c:v>0.99395398608881702</c:v>
                </c:pt>
                <c:pt idx="55732">
                  <c:v>0.99397182093811298</c:v>
                </c:pt>
                <c:pt idx="55733">
                  <c:v>0.99398965578740806</c:v>
                </c:pt>
                <c:pt idx="55734">
                  <c:v>0.99400749063670402</c:v>
                </c:pt>
                <c:pt idx="55735">
                  <c:v>0.99402532548599898</c:v>
                </c:pt>
                <c:pt idx="55736">
                  <c:v>0.99404316033529505</c:v>
                </c:pt>
                <c:pt idx="55737">
                  <c:v>0.99406099518459001</c:v>
                </c:pt>
                <c:pt idx="55738">
                  <c:v>0.99407883003388597</c:v>
                </c:pt>
                <c:pt idx="55739">
                  <c:v>0.99409666488318105</c:v>
                </c:pt>
                <c:pt idx="55740">
                  <c:v>0.99411449973247701</c:v>
                </c:pt>
                <c:pt idx="55741">
                  <c:v>0.99413233458177197</c:v>
                </c:pt>
                <c:pt idx="55742">
                  <c:v>0.99415016943106804</c:v>
                </c:pt>
                <c:pt idx="55743">
                  <c:v>0.994168004280363</c:v>
                </c:pt>
                <c:pt idx="55744">
                  <c:v>0.99418583912965897</c:v>
                </c:pt>
                <c:pt idx="55745">
                  <c:v>0.99420367397895404</c:v>
                </c:pt>
                <c:pt idx="55746">
                  <c:v>0.99422150882825</c:v>
                </c:pt>
                <c:pt idx="55747">
                  <c:v>0.99423934367754596</c:v>
                </c:pt>
                <c:pt idx="55748">
                  <c:v>0.99425717852684103</c:v>
                </c:pt>
                <c:pt idx="55749">
                  <c:v>0.994275013376137</c:v>
                </c:pt>
                <c:pt idx="55750">
                  <c:v>0.99429284822543196</c:v>
                </c:pt>
                <c:pt idx="55751">
                  <c:v>0.99431068307472803</c:v>
                </c:pt>
                <c:pt idx="55752">
                  <c:v>0.99432851792402299</c:v>
                </c:pt>
                <c:pt idx="55753">
                  <c:v>0.99434635277331895</c:v>
                </c:pt>
                <c:pt idx="55754">
                  <c:v>0.99436418762261403</c:v>
                </c:pt>
                <c:pt idx="55755">
                  <c:v>0.99438202247190999</c:v>
                </c:pt>
                <c:pt idx="55756">
                  <c:v>0.99439985732120495</c:v>
                </c:pt>
                <c:pt idx="55757">
                  <c:v>0.99441769217050102</c:v>
                </c:pt>
                <c:pt idx="55758">
                  <c:v>0.99443552701979598</c:v>
                </c:pt>
                <c:pt idx="55759">
                  <c:v>0.99445336186909195</c:v>
                </c:pt>
                <c:pt idx="55760">
                  <c:v>0.99447119671838702</c:v>
                </c:pt>
                <c:pt idx="55761">
                  <c:v>0.99448903156768298</c:v>
                </c:pt>
                <c:pt idx="55762">
                  <c:v>0.99450686641697805</c:v>
                </c:pt>
                <c:pt idx="55763">
                  <c:v>0.99452470126627401</c:v>
                </c:pt>
                <c:pt idx="55764">
                  <c:v>0.99454253611556898</c:v>
                </c:pt>
                <c:pt idx="55765">
                  <c:v>0.99456037096486505</c:v>
                </c:pt>
                <c:pt idx="55766">
                  <c:v>0.99457820581416001</c:v>
                </c:pt>
                <c:pt idx="55767">
                  <c:v>0.99459604066345597</c:v>
                </c:pt>
                <c:pt idx="55768">
                  <c:v>0.99461387551275104</c:v>
                </c:pt>
                <c:pt idx="55769">
                  <c:v>0.99463171036204701</c:v>
                </c:pt>
                <c:pt idx="55770">
                  <c:v>0.99464954521134297</c:v>
                </c:pt>
                <c:pt idx="55771">
                  <c:v>0.99466738006063804</c:v>
                </c:pt>
                <c:pt idx="55772">
                  <c:v>0.994685214909934</c:v>
                </c:pt>
                <c:pt idx="55773">
                  <c:v>0.99470304975922896</c:v>
                </c:pt>
                <c:pt idx="55774">
                  <c:v>0.99472088460852504</c:v>
                </c:pt>
                <c:pt idx="55775">
                  <c:v>0.99473871945782</c:v>
                </c:pt>
                <c:pt idx="55776">
                  <c:v>0.99475655430711596</c:v>
                </c:pt>
                <c:pt idx="55777">
                  <c:v>0.99477438915641103</c:v>
                </c:pt>
                <c:pt idx="55778">
                  <c:v>0.99479222400570699</c:v>
                </c:pt>
                <c:pt idx="55779">
                  <c:v>0.99481005885500196</c:v>
                </c:pt>
                <c:pt idx="55780">
                  <c:v>0.99482789370429803</c:v>
                </c:pt>
                <c:pt idx="55781">
                  <c:v>0.99484572855359299</c:v>
                </c:pt>
                <c:pt idx="55782">
                  <c:v>0.99486356340288895</c:v>
                </c:pt>
                <c:pt idx="55783">
                  <c:v>0.99488139825218402</c:v>
                </c:pt>
                <c:pt idx="55784">
                  <c:v>0.99489923310147999</c:v>
                </c:pt>
                <c:pt idx="55785">
                  <c:v>0.99491706795077495</c:v>
                </c:pt>
                <c:pt idx="55786">
                  <c:v>0.99493490280007102</c:v>
                </c:pt>
                <c:pt idx="55787">
                  <c:v>0.99495273764936598</c:v>
                </c:pt>
                <c:pt idx="55788">
                  <c:v>0.99497057249866205</c:v>
                </c:pt>
                <c:pt idx="55789">
                  <c:v>0.99498840734795702</c:v>
                </c:pt>
                <c:pt idx="55790">
                  <c:v>0.99500624219725298</c:v>
                </c:pt>
                <c:pt idx="55791">
                  <c:v>0.99502407704654805</c:v>
                </c:pt>
                <c:pt idx="55792">
                  <c:v>0.99504191189584401</c:v>
                </c:pt>
                <c:pt idx="55793">
                  <c:v>0.99505974674513997</c:v>
                </c:pt>
                <c:pt idx="55794">
                  <c:v>0.99507758159443505</c:v>
                </c:pt>
                <c:pt idx="55795">
                  <c:v>0.99509541644373101</c:v>
                </c:pt>
                <c:pt idx="55796">
                  <c:v>0.99511325129302597</c:v>
                </c:pt>
                <c:pt idx="55797">
                  <c:v>0.99513108614232204</c:v>
                </c:pt>
                <c:pt idx="55798">
                  <c:v>0.995148920991617</c:v>
                </c:pt>
                <c:pt idx="55799">
                  <c:v>0.99516675584091296</c:v>
                </c:pt>
                <c:pt idx="55800">
                  <c:v>0.99518459069020804</c:v>
                </c:pt>
                <c:pt idx="55801">
                  <c:v>0.995202425539504</c:v>
                </c:pt>
                <c:pt idx="55802">
                  <c:v>0.99522026038879896</c:v>
                </c:pt>
                <c:pt idx="55803">
                  <c:v>0.99523809523809503</c:v>
                </c:pt>
                <c:pt idx="55804">
                  <c:v>0.99525593008739</c:v>
                </c:pt>
                <c:pt idx="55805">
                  <c:v>0.99527376493668596</c:v>
                </c:pt>
                <c:pt idx="55806">
                  <c:v>0.99529159978598103</c:v>
                </c:pt>
                <c:pt idx="55807">
                  <c:v>0.99530943463527699</c:v>
                </c:pt>
                <c:pt idx="55808">
                  <c:v>0.99532726948457195</c:v>
                </c:pt>
                <c:pt idx="55809">
                  <c:v>0.99534510433386802</c:v>
                </c:pt>
                <c:pt idx="55810">
                  <c:v>0.99536293918316299</c:v>
                </c:pt>
                <c:pt idx="55811">
                  <c:v>0.99538077403245895</c:v>
                </c:pt>
                <c:pt idx="55812">
                  <c:v>0.99539860888175402</c:v>
                </c:pt>
                <c:pt idx="55813">
                  <c:v>0.99541644373104998</c:v>
                </c:pt>
                <c:pt idx="55814">
                  <c:v>0.99543427858034494</c:v>
                </c:pt>
                <c:pt idx="55815">
                  <c:v>0.99545211342964102</c:v>
                </c:pt>
                <c:pt idx="55816">
                  <c:v>0.99546994827893698</c:v>
                </c:pt>
                <c:pt idx="55817">
                  <c:v>0.99548778312823205</c:v>
                </c:pt>
                <c:pt idx="55818">
                  <c:v>0.99550561797752801</c:v>
                </c:pt>
                <c:pt idx="55819">
                  <c:v>0.99552345282682297</c:v>
                </c:pt>
                <c:pt idx="55820">
                  <c:v>0.99554128767611905</c:v>
                </c:pt>
                <c:pt idx="55821">
                  <c:v>0.99555912252541401</c:v>
                </c:pt>
                <c:pt idx="55822">
                  <c:v>0.99557695737470997</c:v>
                </c:pt>
                <c:pt idx="55823">
                  <c:v>0.99559479222400504</c:v>
                </c:pt>
                <c:pt idx="55824">
                  <c:v>0.995612627073301</c:v>
                </c:pt>
                <c:pt idx="55825">
                  <c:v>0.99563046192259597</c:v>
                </c:pt>
                <c:pt idx="55826">
                  <c:v>0.99564829677189204</c:v>
                </c:pt>
                <c:pt idx="55827">
                  <c:v>0.995666131621187</c:v>
                </c:pt>
                <c:pt idx="55828">
                  <c:v>0.99568396647048296</c:v>
                </c:pt>
                <c:pt idx="55829">
                  <c:v>0.99570180131977803</c:v>
                </c:pt>
                <c:pt idx="55830">
                  <c:v>0.995719636169074</c:v>
                </c:pt>
                <c:pt idx="55831">
                  <c:v>0.99573747101836896</c:v>
                </c:pt>
                <c:pt idx="55832">
                  <c:v>0.99575530586766503</c:v>
                </c:pt>
                <c:pt idx="55833">
                  <c:v>0.99577314071696099</c:v>
                </c:pt>
                <c:pt idx="55834">
                  <c:v>0.99579097556625595</c:v>
                </c:pt>
                <c:pt idx="55835">
                  <c:v>0.99580881041555203</c:v>
                </c:pt>
                <c:pt idx="55836">
                  <c:v>0.99582664526484699</c:v>
                </c:pt>
                <c:pt idx="55837">
                  <c:v>0.99584448011414295</c:v>
                </c:pt>
                <c:pt idx="55838">
                  <c:v>0.99586231496343802</c:v>
                </c:pt>
                <c:pt idx="55839">
                  <c:v>0.99588014981273398</c:v>
                </c:pt>
                <c:pt idx="55840">
                  <c:v>0.99589798466202895</c:v>
                </c:pt>
                <c:pt idx="55841">
                  <c:v>0.99591581951132502</c:v>
                </c:pt>
                <c:pt idx="55842">
                  <c:v>0.99593365436061998</c:v>
                </c:pt>
                <c:pt idx="55843">
                  <c:v>0.99595148920991605</c:v>
                </c:pt>
                <c:pt idx="55844">
                  <c:v>0.99596932405921101</c:v>
                </c:pt>
                <c:pt idx="55845">
                  <c:v>0.99598715890850698</c:v>
                </c:pt>
                <c:pt idx="55846">
                  <c:v>0.99600499375780205</c:v>
                </c:pt>
                <c:pt idx="55847">
                  <c:v>0.99602282860709801</c:v>
                </c:pt>
                <c:pt idx="55848">
                  <c:v>0.99604066345639297</c:v>
                </c:pt>
                <c:pt idx="55849">
                  <c:v>0.99605849830568904</c:v>
                </c:pt>
                <c:pt idx="55850">
                  <c:v>0.99607633315498401</c:v>
                </c:pt>
                <c:pt idx="55851">
                  <c:v>0.99609416800427997</c:v>
                </c:pt>
                <c:pt idx="55852">
                  <c:v>0.99611200285357504</c:v>
                </c:pt>
                <c:pt idx="55853">
                  <c:v>0.996129837702871</c:v>
                </c:pt>
                <c:pt idx="55854">
                  <c:v>0.99614767255216696</c:v>
                </c:pt>
                <c:pt idx="55855">
                  <c:v>0.99616550740146204</c:v>
                </c:pt>
                <c:pt idx="55856">
                  <c:v>0.996183342250758</c:v>
                </c:pt>
                <c:pt idx="55857">
                  <c:v>0.99620117710005296</c:v>
                </c:pt>
                <c:pt idx="55858">
                  <c:v>0.99621901194934903</c:v>
                </c:pt>
                <c:pt idx="55859">
                  <c:v>0.99623684679864399</c:v>
                </c:pt>
                <c:pt idx="55860">
                  <c:v>0.99625468164793995</c:v>
                </c:pt>
                <c:pt idx="55861">
                  <c:v>0.99627251649723503</c:v>
                </c:pt>
                <c:pt idx="55862">
                  <c:v>0.99629035134653099</c:v>
                </c:pt>
                <c:pt idx="55863">
                  <c:v>0.99630818619582595</c:v>
                </c:pt>
                <c:pt idx="55864">
                  <c:v>0.99632602104512202</c:v>
                </c:pt>
                <c:pt idx="55865">
                  <c:v>0.99634385589441699</c:v>
                </c:pt>
                <c:pt idx="55866">
                  <c:v>0.99636169074371295</c:v>
                </c:pt>
                <c:pt idx="55867">
                  <c:v>0.99637952559300802</c:v>
                </c:pt>
                <c:pt idx="55868">
                  <c:v>0.99639736044230398</c:v>
                </c:pt>
                <c:pt idx="55869">
                  <c:v>0.99641519529159905</c:v>
                </c:pt>
                <c:pt idx="55870">
                  <c:v>0.99643303014089502</c:v>
                </c:pt>
                <c:pt idx="55871">
                  <c:v>0.99645086499018998</c:v>
                </c:pt>
                <c:pt idx="55872">
                  <c:v>0.99646869983948605</c:v>
                </c:pt>
                <c:pt idx="55873">
                  <c:v>0.99648653468878101</c:v>
                </c:pt>
                <c:pt idx="55874">
                  <c:v>0.99650436953807697</c:v>
                </c:pt>
                <c:pt idx="55875">
                  <c:v>0.99652220438737205</c:v>
                </c:pt>
                <c:pt idx="55876">
                  <c:v>0.99654003923666801</c:v>
                </c:pt>
                <c:pt idx="55877">
                  <c:v>0.99655787408596397</c:v>
                </c:pt>
                <c:pt idx="55878">
                  <c:v>0.99657570893525904</c:v>
                </c:pt>
                <c:pt idx="55879">
                  <c:v>0.996593543784555</c:v>
                </c:pt>
                <c:pt idx="55880">
                  <c:v>0.99661137863384996</c:v>
                </c:pt>
                <c:pt idx="55881">
                  <c:v>0.99662921348314604</c:v>
                </c:pt>
                <c:pt idx="55882">
                  <c:v>0.996647048332441</c:v>
                </c:pt>
                <c:pt idx="55883">
                  <c:v>0.99666488318173696</c:v>
                </c:pt>
                <c:pt idx="55884">
                  <c:v>0.99668271803103203</c:v>
                </c:pt>
                <c:pt idx="55885">
                  <c:v>0.99670055288032799</c:v>
                </c:pt>
                <c:pt idx="55886">
                  <c:v>0.99671838772962296</c:v>
                </c:pt>
                <c:pt idx="55887">
                  <c:v>0.99673622257891903</c:v>
                </c:pt>
                <c:pt idx="55888">
                  <c:v>0.99675405742821399</c:v>
                </c:pt>
                <c:pt idx="55889">
                  <c:v>0.99677189227750995</c:v>
                </c:pt>
                <c:pt idx="55890">
                  <c:v>0.99678972712680503</c:v>
                </c:pt>
                <c:pt idx="55891">
                  <c:v>0.99680756197610099</c:v>
                </c:pt>
                <c:pt idx="55892">
                  <c:v>0.99682539682539595</c:v>
                </c:pt>
                <c:pt idx="55893">
                  <c:v>0.99684323167469202</c:v>
                </c:pt>
                <c:pt idx="55894">
                  <c:v>0.99686106652398698</c:v>
                </c:pt>
                <c:pt idx="55895">
                  <c:v>0.99687890137328306</c:v>
                </c:pt>
                <c:pt idx="55896">
                  <c:v>0.99689673622257802</c:v>
                </c:pt>
                <c:pt idx="55897">
                  <c:v>0.99691457107187398</c:v>
                </c:pt>
                <c:pt idx="55898">
                  <c:v>0.99693240592116905</c:v>
                </c:pt>
                <c:pt idx="55899">
                  <c:v>0.99695024077046501</c:v>
                </c:pt>
                <c:pt idx="55900">
                  <c:v>0.99696807561976097</c:v>
                </c:pt>
                <c:pt idx="55901">
                  <c:v>0.99698591046905605</c:v>
                </c:pt>
                <c:pt idx="55902">
                  <c:v>0.99700374531835201</c:v>
                </c:pt>
                <c:pt idx="55903">
                  <c:v>0.99702158016764697</c:v>
                </c:pt>
                <c:pt idx="55904">
                  <c:v>0.99703941501694304</c:v>
                </c:pt>
                <c:pt idx="55905">
                  <c:v>0.997057249866238</c:v>
                </c:pt>
                <c:pt idx="55906">
                  <c:v>0.99707508471553397</c:v>
                </c:pt>
                <c:pt idx="55907">
                  <c:v>0.99709291956482904</c:v>
                </c:pt>
                <c:pt idx="55908">
                  <c:v>0.997110754414125</c:v>
                </c:pt>
                <c:pt idx="55909">
                  <c:v>0.99712858926341996</c:v>
                </c:pt>
                <c:pt idx="55910">
                  <c:v>0.99714642411271603</c:v>
                </c:pt>
                <c:pt idx="55911">
                  <c:v>0.997164258962011</c:v>
                </c:pt>
                <c:pt idx="55912">
                  <c:v>0.99718209381130696</c:v>
                </c:pt>
                <c:pt idx="55913">
                  <c:v>0.99719992866060203</c:v>
                </c:pt>
                <c:pt idx="55914">
                  <c:v>0.99721776350989799</c:v>
                </c:pt>
                <c:pt idx="55915">
                  <c:v>0.99723559835919295</c:v>
                </c:pt>
                <c:pt idx="55916">
                  <c:v>0.99725343320848903</c:v>
                </c:pt>
                <c:pt idx="55917">
                  <c:v>0.99727126805778399</c:v>
                </c:pt>
                <c:pt idx="55918">
                  <c:v>0.99728910290707995</c:v>
                </c:pt>
                <c:pt idx="55919">
                  <c:v>0.99730693775637502</c:v>
                </c:pt>
                <c:pt idx="55920">
                  <c:v>0.99732477260567098</c:v>
                </c:pt>
                <c:pt idx="55921">
                  <c:v>0.99734260745496695</c:v>
                </c:pt>
                <c:pt idx="55922">
                  <c:v>0.99736044230426202</c:v>
                </c:pt>
                <c:pt idx="55923">
                  <c:v>0.99737827715355798</c:v>
                </c:pt>
                <c:pt idx="55924">
                  <c:v>0.99739611200285305</c:v>
                </c:pt>
                <c:pt idx="55925">
                  <c:v>0.99741394685214901</c:v>
                </c:pt>
                <c:pt idx="55926">
                  <c:v>0.99743178170144398</c:v>
                </c:pt>
                <c:pt idx="55927">
                  <c:v>0.99744961655074005</c:v>
                </c:pt>
                <c:pt idx="55928">
                  <c:v>0.99746745140003501</c:v>
                </c:pt>
                <c:pt idx="55929">
                  <c:v>0.99748528624933097</c:v>
                </c:pt>
                <c:pt idx="55930">
                  <c:v>0.99750312109862604</c:v>
                </c:pt>
                <c:pt idx="55931">
                  <c:v>0.99752095594792201</c:v>
                </c:pt>
                <c:pt idx="55932">
                  <c:v>0.99753879079721697</c:v>
                </c:pt>
                <c:pt idx="55933">
                  <c:v>0.99755662564651304</c:v>
                </c:pt>
                <c:pt idx="55934">
                  <c:v>0.997574460495808</c:v>
                </c:pt>
                <c:pt idx="55935">
                  <c:v>0.99759229534510396</c:v>
                </c:pt>
                <c:pt idx="55936">
                  <c:v>0.99761013019439904</c:v>
                </c:pt>
                <c:pt idx="55937">
                  <c:v>0.997627965043695</c:v>
                </c:pt>
                <c:pt idx="55938">
                  <c:v>0.99764579989299096</c:v>
                </c:pt>
                <c:pt idx="55939">
                  <c:v>0.99766363474228603</c:v>
                </c:pt>
                <c:pt idx="55940">
                  <c:v>0.99768146959158199</c:v>
                </c:pt>
                <c:pt idx="55941">
                  <c:v>0.99769930444087696</c:v>
                </c:pt>
                <c:pt idx="55942">
                  <c:v>0.99771713929017303</c:v>
                </c:pt>
                <c:pt idx="55943">
                  <c:v>0.99773497413946799</c:v>
                </c:pt>
                <c:pt idx="55944">
                  <c:v>0.99775280898876395</c:v>
                </c:pt>
                <c:pt idx="55945">
                  <c:v>0.99777064383805902</c:v>
                </c:pt>
                <c:pt idx="55946">
                  <c:v>0.99778847868735498</c:v>
                </c:pt>
                <c:pt idx="55947">
                  <c:v>0.99780631353664995</c:v>
                </c:pt>
                <c:pt idx="55948">
                  <c:v>0.99782414838594602</c:v>
                </c:pt>
                <c:pt idx="55949">
                  <c:v>0.99784198323524098</c:v>
                </c:pt>
                <c:pt idx="55950">
                  <c:v>0.99785981808453705</c:v>
                </c:pt>
                <c:pt idx="55951">
                  <c:v>0.99787765293383202</c:v>
                </c:pt>
                <c:pt idx="55952">
                  <c:v>0.99789548778312798</c:v>
                </c:pt>
                <c:pt idx="55953">
                  <c:v>0.99791332263242305</c:v>
                </c:pt>
                <c:pt idx="55954">
                  <c:v>0.99793115748171901</c:v>
                </c:pt>
                <c:pt idx="55955">
                  <c:v>0.99794899233101397</c:v>
                </c:pt>
                <c:pt idx="55956">
                  <c:v>0.99796682718031005</c:v>
                </c:pt>
                <c:pt idx="55957">
                  <c:v>0.99798466202960501</c:v>
                </c:pt>
                <c:pt idx="55958">
                  <c:v>0.99800249687890097</c:v>
                </c:pt>
                <c:pt idx="55959">
                  <c:v>0.99802033172819604</c:v>
                </c:pt>
                <c:pt idx="55960">
                  <c:v>0.998038166577492</c:v>
                </c:pt>
                <c:pt idx="55961">
                  <c:v>0.99805600142678796</c:v>
                </c:pt>
                <c:pt idx="55962">
                  <c:v>0.99807383627608304</c:v>
                </c:pt>
                <c:pt idx="55963">
                  <c:v>0.998091671125379</c:v>
                </c:pt>
                <c:pt idx="55964">
                  <c:v>0.99810950597467396</c:v>
                </c:pt>
                <c:pt idx="55965">
                  <c:v>0.99812734082397003</c:v>
                </c:pt>
                <c:pt idx="55966">
                  <c:v>0.99814517567326499</c:v>
                </c:pt>
                <c:pt idx="55967">
                  <c:v>0.99816301052256096</c:v>
                </c:pt>
                <c:pt idx="55968">
                  <c:v>0.99818084537185603</c:v>
                </c:pt>
                <c:pt idx="55969">
                  <c:v>0.99819868022115199</c:v>
                </c:pt>
                <c:pt idx="55970">
                  <c:v>0.99821651507044695</c:v>
                </c:pt>
                <c:pt idx="55971">
                  <c:v>0.99823434991974302</c:v>
                </c:pt>
                <c:pt idx="55972">
                  <c:v>0.99825218476903799</c:v>
                </c:pt>
                <c:pt idx="55973">
                  <c:v>0.99827001961833395</c:v>
                </c:pt>
                <c:pt idx="55974">
                  <c:v>0.99828785446762902</c:v>
                </c:pt>
                <c:pt idx="55975">
                  <c:v>0.99830568931692498</c:v>
                </c:pt>
                <c:pt idx="55976">
                  <c:v>0.99832352416622006</c:v>
                </c:pt>
                <c:pt idx="55977">
                  <c:v>0.99834135901551602</c:v>
                </c:pt>
                <c:pt idx="55978">
                  <c:v>0.99835919386481098</c:v>
                </c:pt>
                <c:pt idx="55979">
                  <c:v>0.99837702871410705</c:v>
                </c:pt>
                <c:pt idx="55980">
                  <c:v>0.99839486356340201</c:v>
                </c:pt>
                <c:pt idx="55981">
                  <c:v>0.99841269841269797</c:v>
                </c:pt>
                <c:pt idx="55982">
                  <c:v>0.99843053326199305</c:v>
                </c:pt>
                <c:pt idx="55983">
                  <c:v>0.99844836811128901</c:v>
                </c:pt>
                <c:pt idx="55984">
                  <c:v>0.99846620296058497</c:v>
                </c:pt>
                <c:pt idx="55985">
                  <c:v>0.99848403780988004</c:v>
                </c:pt>
                <c:pt idx="55986">
                  <c:v>0.998501872659176</c:v>
                </c:pt>
                <c:pt idx="55987">
                  <c:v>0.99851970750847097</c:v>
                </c:pt>
                <c:pt idx="55988">
                  <c:v>0.99853754235776704</c:v>
                </c:pt>
                <c:pt idx="55989">
                  <c:v>0.998555377207062</c:v>
                </c:pt>
                <c:pt idx="55990">
                  <c:v>0.99857321205635796</c:v>
                </c:pt>
                <c:pt idx="55991">
                  <c:v>0.99859104690565303</c:v>
                </c:pt>
                <c:pt idx="55992">
                  <c:v>0.998608881754949</c:v>
                </c:pt>
                <c:pt idx="55993">
                  <c:v>0.99862671660424396</c:v>
                </c:pt>
                <c:pt idx="55994">
                  <c:v>0.99864455145354003</c:v>
                </c:pt>
                <c:pt idx="55995">
                  <c:v>0.99866238630283499</c:v>
                </c:pt>
                <c:pt idx="55996">
                  <c:v>0.99868022115213095</c:v>
                </c:pt>
                <c:pt idx="55997">
                  <c:v>0.99869805600142603</c:v>
                </c:pt>
                <c:pt idx="55998">
                  <c:v>0.99871589085072199</c:v>
                </c:pt>
                <c:pt idx="55999">
                  <c:v>0.99873372570001695</c:v>
                </c:pt>
                <c:pt idx="56000">
                  <c:v>0.99875156054931302</c:v>
                </c:pt>
                <c:pt idx="56001">
                  <c:v>0.99876939539860798</c:v>
                </c:pt>
                <c:pt idx="56002">
                  <c:v>0.99878723024790395</c:v>
                </c:pt>
                <c:pt idx="56003">
                  <c:v>0.99880506509719902</c:v>
                </c:pt>
                <c:pt idx="56004">
                  <c:v>0.99882289994649498</c:v>
                </c:pt>
                <c:pt idx="56005">
                  <c:v>0.99884073479579005</c:v>
                </c:pt>
                <c:pt idx="56006">
                  <c:v>0.99885856964508601</c:v>
                </c:pt>
                <c:pt idx="56007">
                  <c:v>0.99887640449438198</c:v>
                </c:pt>
                <c:pt idx="56008">
                  <c:v>0.99889423934367705</c:v>
                </c:pt>
                <c:pt idx="56009">
                  <c:v>0.99891207419297301</c:v>
                </c:pt>
                <c:pt idx="56010">
                  <c:v>0.99892990904226797</c:v>
                </c:pt>
                <c:pt idx="56011">
                  <c:v>0.99894774389156404</c:v>
                </c:pt>
                <c:pt idx="56012">
                  <c:v>0.99896557874085901</c:v>
                </c:pt>
                <c:pt idx="56013">
                  <c:v>0.99898341359015497</c:v>
                </c:pt>
                <c:pt idx="56014">
                  <c:v>0.99900124843945004</c:v>
                </c:pt>
                <c:pt idx="56015">
                  <c:v>0.999019083288746</c:v>
                </c:pt>
                <c:pt idx="56016">
                  <c:v>0.99903691813804096</c:v>
                </c:pt>
                <c:pt idx="56017">
                  <c:v>0.99905475298733704</c:v>
                </c:pt>
                <c:pt idx="56018">
                  <c:v>0.999072587836632</c:v>
                </c:pt>
                <c:pt idx="56019">
                  <c:v>0.99909042268592796</c:v>
                </c:pt>
                <c:pt idx="56020">
                  <c:v>0.99910825753522303</c:v>
                </c:pt>
                <c:pt idx="56021">
                  <c:v>0.99912609238451899</c:v>
                </c:pt>
                <c:pt idx="56022">
                  <c:v>0.99914392723381396</c:v>
                </c:pt>
                <c:pt idx="56023">
                  <c:v>0.99916176208311003</c:v>
                </c:pt>
                <c:pt idx="56024">
                  <c:v>0.99917959693240499</c:v>
                </c:pt>
                <c:pt idx="56025">
                  <c:v>0.99919743178170095</c:v>
                </c:pt>
                <c:pt idx="56026">
                  <c:v>0.99921526663099702</c:v>
                </c:pt>
                <c:pt idx="56027">
                  <c:v>0.99923310148029199</c:v>
                </c:pt>
                <c:pt idx="56028">
                  <c:v>0.99925093632958795</c:v>
                </c:pt>
                <c:pt idx="56029">
                  <c:v>0.99926877117888302</c:v>
                </c:pt>
                <c:pt idx="56030">
                  <c:v>0.99928660602817898</c:v>
                </c:pt>
                <c:pt idx="56031">
                  <c:v>0.99930444087747405</c:v>
                </c:pt>
                <c:pt idx="56032">
                  <c:v>0.99932227572677002</c:v>
                </c:pt>
                <c:pt idx="56033">
                  <c:v>0.99934011057606498</c:v>
                </c:pt>
                <c:pt idx="56034">
                  <c:v>0.99935794542536105</c:v>
                </c:pt>
                <c:pt idx="56035">
                  <c:v>0.99937578027465601</c:v>
                </c:pt>
                <c:pt idx="56036">
                  <c:v>0.99939361512395197</c:v>
                </c:pt>
                <c:pt idx="56037">
                  <c:v>0.99941144997324705</c:v>
                </c:pt>
                <c:pt idx="56038">
                  <c:v>0.99942928482254301</c:v>
                </c:pt>
                <c:pt idx="56039">
                  <c:v>0.99944711967183797</c:v>
                </c:pt>
                <c:pt idx="56040">
                  <c:v>0.99946495452113404</c:v>
                </c:pt>
                <c:pt idx="56041">
                  <c:v>0.999482789370429</c:v>
                </c:pt>
                <c:pt idx="56042">
                  <c:v>0.99950062421972496</c:v>
                </c:pt>
                <c:pt idx="56043">
                  <c:v>0.99951845906902004</c:v>
                </c:pt>
                <c:pt idx="56044">
                  <c:v>0.999536293918316</c:v>
                </c:pt>
                <c:pt idx="56045">
                  <c:v>0.99955412876761196</c:v>
                </c:pt>
                <c:pt idx="56046">
                  <c:v>0.99957196361690703</c:v>
                </c:pt>
                <c:pt idx="56047">
                  <c:v>0.99958979846620299</c:v>
                </c:pt>
                <c:pt idx="56048">
                  <c:v>0.99960763331549796</c:v>
                </c:pt>
                <c:pt idx="56049">
                  <c:v>0.99962546816479403</c:v>
                </c:pt>
                <c:pt idx="56050">
                  <c:v>0.99964330301408899</c:v>
                </c:pt>
                <c:pt idx="56051">
                  <c:v>0.99966113786338495</c:v>
                </c:pt>
                <c:pt idx="56052">
                  <c:v>0.99967897271268003</c:v>
                </c:pt>
                <c:pt idx="56053">
                  <c:v>0.99969680756197599</c:v>
                </c:pt>
                <c:pt idx="56054">
                  <c:v>0.99971464241127095</c:v>
                </c:pt>
                <c:pt idx="56055">
                  <c:v>0.99973247726056702</c:v>
                </c:pt>
                <c:pt idx="56056">
                  <c:v>0.99975031210986198</c:v>
                </c:pt>
                <c:pt idx="56057">
                  <c:v>0.99976814695915805</c:v>
                </c:pt>
                <c:pt idx="56058">
                  <c:v>0.99978598180845302</c:v>
                </c:pt>
                <c:pt idx="56059">
                  <c:v>0.99980381665774898</c:v>
                </c:pt>
                <c:pt idx="56060">
                  <c:v>0.99982165150704405</c:v>
                </c:pt>
                <c:pt idx="56061">
                  <c:v>0.99983948635634001</c:v>
                </c:pt>
                <c:pt idx="56062">
                  <c:v>0.99985732120563497</c:v>
                </c:pt>
                <c:pt idx="56063">
                  <c:v>0.99987515605493105</c:v>
                </c:pt>
                <c:pt idx="56064">
                  <c:v>0.99989299090422601</c:v>
                </c:pt>
                <c:pt idx="56065">
                  <c:v>0.99991082575352197</c:v>
                </c:pt>
                <c:pt idx="56066">
                  <c:v>0.99992866060281704</c:v>
                </c:pt>
                <c:pt idx="56067">
                  <c:v>0.999946495452113</c:v>
                </c:pt>
                <c:pt idx="56068">
                  <c:v>0.99996433030140897</c:v>
                </c:pt>
                <c:pt idx="56069">
                  <c:v>0.99998216515070404</c:v>
                </c:pt>
              </c:numCache>
            </c:numRef>
          </c:cat>
          <c:val>
            <c:numRef>
              <c:f>Sheet1!$C$2:$C$56071</c:f>
              <c:numCache>
                <c:formatCode>0%</c:formatCode>
                <c:ptCount val="56070"/>
                <c:pt idx="0">
                  <c:v>-8.4033613445378102E-4</c:v>
                </c:pt>
                <c:pt idx="1">
                  <c:v>-1.6806722689075601E-3</c:v>
                </c:pt>
                <c:pt idx="2">
                  <c:v>-1.6806722689075601E-3</c:v>
                </c:pt>
                <c:pt idx="3">
                  <c:v>-2.5210084033613399E-3</c:v>
                </c:pt>
                <c:pt idx="4">
                  <c:v>-2.5210084033613399E-3</c:v>
                </c:pt>
                <c:pt idx="5">
                  <c:v>-1.6806722689075601E-3</c:v>
                </c:pt>
                <c:pt idx="6">
                  <c:v>-2.5210084033613399E-3</c:v>
                </c:pt>
                <c:pt idx="7">
                  <c:v>-2.5210084033613399E-3</c:v>
                </c:pt>
                <c:pt idx="8">
                  <c:v>-2.5210084033613399E-3</c:v>
                </c:pt>
                <c:pt idx="9">
                  <c:v>-3.3613445378151202E-3</c:v>
                </c:pt>
                <c:pt idx="10">
                  <c:v>-2.5210084033613399E-3</c:v>
                </c:pt>
                <c:pt idx="11">
                  <c:v>-2.5210084033613399E-3</c:v>
                </c:pt>
                <c:pt idx="12">
                  <c:v>-3.3613445378151202E-3</c:v>
                </c:pt>
                <c:pt idx="13">
                  <c:v>-3.3613445378151202E-3</c:v>
                </c:pt>
                <c:pt idx="14">
                  <c:v>-3.3613445378151202E-3</c:v>
                </c:pt>
                <c:pt idx="15">
                  <c:v>-3.3613445378151202E-3</c:v>
                </c:pt>
                <c:pt idx="16">
                  <c:v>-3.3613445378151202E-3</c:v>
                </c:pt>
                <c:pt idx="17">
                  <c:v>-3.3613445378151202E-3</c:v>
                </c:pt>
                <c:pt idx="18">
                  <c:v>-3.3613445378151202E-3</c:v>
                </c:pt>
                <c:pt idx="19">
                  <c:v>-3.3613445378151202E-3</c:v>
                </c:pt>
                <c:pt idx="20">
                  <c:v>-3.3613445378151202E-3</c:v>
                </c:pt>
                <c:pt idx="21">
                  <c:v>-3.3613445378151202E-3</c:v>
                </c:pt>
                <c:pt idx="22">
                  <c:v>-3.3613445378151202E-3</c:v>
                </c:pt>
                <c:pt idx="23">
                  <c:v>-3.3613445378151202E-3</c:v>
                </c:pt>
                <c:pt idx="24">
                  <c:v>-3.3613445378151202E-3</c:v>
                </c:pt>
                <c:pt idx="25">
                  <c:v>-3.3613445378151202E-3</c:v>
                </c:pt>
                <c:pt idx="26">
                  <c:v>-2.5210084033613399E-3</c:v>
                </c:pt>
                <c:pt idx="27">
                  <c:v>-3.3613445378151202E-3</c:v>
                </c:pt>
                <c:pt idx="28">
                  <c:v>-4.2016806722688996E-3</c:v>
                </c:pt>
                <c:pt idx="29">
                  <c:v>-4.2016806722688996E-3</c:v>
                </c:pt>
                <c:pt idx="30">
                  <c:v>-5.0420168067226798E-3</c:v>
                </c:pt>
                <c:pt idx="31">
                  <c:v>-5.8823529411764696E-3</c:v>
                </c:pt>
                <c:pt idx="32">
                  <c:v>-5.8823529411764696E-3</c:v>
                </c:pt>
                <c:pt idx="33">
                  <c:v>-5.8823529411764696E-3</c:v>
                </c:pt>
                <c:pt idx="34">
                  <c:v>-5.8823529411764696E-3</c:v>
                </c:pt>
                <c:pt idx="35">
                  <c:v>-5.8823529411764696E-3</c:v>
                </c:pt>
                <c:pt idx="36">
                  <c:v>-5.8823529411764696E-3</c:v>
                </c:pt>
                <c:pt idx="37">
                  <c:v>-5.0420168067226798E-3</c:v>
                </c:pt>
                <c:pt idx="38">
                  <c:v>-5.8823529411764696E-3</c:v>
                </c:pt>
                <c:pt idx="39">
                  <c:v>-5.0420168067226798E-3</c:v>
                </c:pt>
                <c:pt idx="40">
                  <c:v>-5.8823529411764696E-3</c:v>
                </c:pt>
                <c:pt idx="41">
                  <c:v>-5.8823529411764696E-3</c:v>
                </c:pt>
                <c:pt idx="42">
                  <c:v>-5.8823529411764696E-3</c:v>
                </c:pt>
                <c:pt idx="43">
                  <c:v>-5.0420168067226798E-3</c:v>
                </c:pt>
                <c:pt idx="44">
                  <c:v>-5.0420168067226798E-3</c:v>
                </c:pt>
                <c:pt idx="45">
                  <c:v>-5.8823529411764696E-3</c:v>
                </c:pt>
                <c:pt idx="46">
                  <c:v>-5.8823529411764696E-3</c:v>
                </c:pt>
                <c:pt idx="47">
                  <c:v>-5.8823529411764696E-3</c:v>
                </c:pt>
                <c:pt idx="48">
                  <c:v>-6.7226890756302499E-3</c:v>
                </c:pt>
                <c:pt idx="49">
                  <c:v>-6.7226890756302499E-3</c:v>
                </c:pt>
                <c:pt idx="50">
                  <c:v>-5.8823529411764696E-3</c:v>
                </c:pt>
                <c:pt idx="51">
                  <c:v>-5.0420168067226798E-3</c:v>
                </c:pt>
                <c:pt idx="52">
                  <c:v>-5.8823529411764696E-3</c:v>
                </c:pt>
                <c:pt idx="53">
                  <c:v>-5.8823529411764696E-3</c:v>
                </c:pt>
                <c:pt idx="54">
                  <c:v>-6.7226890756302499E-3</c:v>
                </c:pt>
                <c:pt idx="55">
                  <c:v>-5.8823529411764601E-3</c:v>
                </c:pt>
                <c:pt idx="56">
                  <c:v>-5.8823529411764601E-3</c:v>
                </c:pt>
                <c:pt idx="57">
                  <c:v>-5.0420168067226798E-3</c:v>
                </c:pt>
                <c:pt idx="58">
                  <c:v>-4.2016806722688996E-3</c:v>
                </c:pt>
                <c:pt idx="59">
                  <c:v>-4.2016806722688996E-3</c:v>
                </c:pt>
                <c:pt idx="60">
                  <c:v>-5.0420168067226798E-3</c:v>
                </c:pt>
                <c:pt idx="61">
                  <c:v>-5.0420168067226798E-3</c:v>
                </c:pt>
                <c:pt idx="62">
                  <c:v>-5.0420168067226798E-3</c:v>
                </c:pt>
                <c:pt idx="63">
                  <c:v>-5.0420168067226798E-3</c:v>
                </c:pt>
                <c:pt idx="64">
                  <c:v>-5.0420168067226798E-3</c:v>
                </c:pt>
                <c:pt idx="65">
                  <c:v>-4.2016806722688996E-3</c:v>
                </c:pt>
                <c:pt idx="66">
                  <c:v>-5.0420168067226798E-3</c:v>
                </c:pt>
                <c:pt idx="67">
                  <c:v>-5.8823529411764696E-3</c:v>
                </c:pt>
                <c:pt idx="68">
                  <c:v>-5.8823529411764696E-3</c:v>
                </c:pt>
                <c:pt idx="69">
                  <c:v>-5.8823529411764696E-3</c:v>
                </c:pt>
                <c:pt idx="70">
                  <c:v>-6.7226890756302499E-3</c:v>
                </c:pt>
                <c:pt idx="71">
                  <c:v>-6.7226890756302499E-3</c:v>
                </c:pt>
                <c:pt idx="72">
                  <c:v>-7.5630252100840302E-3</c:v>
                </c:pt>
                <c:pt idx="73">
                  <c:v>-7.5630252100840302E-3</c:v>
                </c:pt>
                <c:pt idx="74">
                  <c:v>-7.5630252100840302E-3</c:v>
                </c:pt>
                <c:pt idx="75">
                  <c:v>-6.7226890756302499E-3</c:v>
                </c:pt>
                <c:pt idx="76">
                  <c:v>-6.7226890756302499E-3</c:v>
                </c:pt>
                <c:pt idx="77">
                  <c:v>-5.8823529411764696E-3</c:v>
                </c:pt>
                <c:pt idx="78">
                  <c:v>-5.8823529411764696E-3</c:v>
                </c:pt>
                <c:pt idx="79">
                  <c:v>-5.8823529411764696E-3</c:v>
                </c:pt>
                <c:pt idx="80">
                  <c:v>-5.8823529411764696E-3</c:v>
                </c:pt>
                <c:pt idx="81">
                  <c:v>-6.7226890756302499E-3</c:v>
                </c:pt>
                <c:pt idx="82">
                  <c:v>-6.7226890756302499E-3</c:v>
                </c:pt>
                <c:pt idx="83">
                  <c:v>-6.7226890756302499E-3</c:v>
                </c:pt>
                <c:pt idx="84">
                  <c:v>-6.7226890756302499E-3</c:v>
                </c:pt>
                <c:pt idx="85">
                  <c:v>-6.7226890756302499E-3</c:v>
                </c:pt>
                <c:pt idx="86">
                  <c:v>-7.5630252100840302E-3</c:v>
                </c:pt>
                <c:pt idx="87">
                  <c:v>-7.5630252100840302E-3</c:v>
                </c:pt>
                <c:pt idx="88">
                  <c:v>-7.5630252100840302E-3</c:v>
                </c:pt>
                <c:pt idx="89">
                  <c:v>-7.5630252100840302E-3</c:v>
                </c:pt>
                <c:pt idx="90">
                  <c:v>-6.7226890756302499E-3</c:v>
                </c:pt>
                <c:pt idx="91">
                  <c:v>-7.5630252100840302E-3</c:v>
                </c:pt>
                <c:pt idx="92">
                  <c:v>-7.5630252100840302E-3</c:v>
                </c:pt>
                <c:pt idx="93">
                  <c:v>-7.5630252100840302E-3</c:v>
                </c:pt>
                <c:pt idx="94">
                  <c:v>-7.5630252100840302E-3</c:v>
                </c:pt>
                <c:pt idx="95">
                  <c:v>-8.4033613445378096E-3</c:v>
                </c:pt>
                <c:pt idx="96">
                  <c:v>-8.4033613445378096E-3</c:v>
                </c:pt>
                <c:pt idx="97">
                  <c:v>-8.4033613445378096E-3</c:v>
                </c:pt>
                <c:pt idx="98">
                  <c:v>-8.4033613445378096E-3</c:v>
                </c:pt>
                <c:pt idx="99">
                  <c:v>-9.2436974789915898E-3</c:v>
                </c:pt>
                <c:pt idx="100">
                  <c:v>-9.2436974789915898E-3</c:v>
                </c:pt>
                <c:pt idx="101">
                  <c:v>-9.2436974789915898E-3</c:v>
                </c:pt>
                <c:pt idx="102">
                  <c:v>-9.2436974789915898E-3</c:v>
                </c:pt>
                <c:pt idx="103">
                  <c:v>-9.2436974789915898E-3</c:v>
                </c:pt>
                <c:pt idx="104">
                  <c:v>-9.2436974789915898E-3</c:v>
                </c:pt>
                <c:pt idx="105">
                  <c:v>-9.2436974789915898E-3</c:v>
                </c:pt>
                <c:pt idx="106">
                  <c:v>-9.2436974789915898E-3</c:v>
                </c:pt>
                <c:pt idx="107">
                  <c:v>-9.2436974789915898E-3</c:v>
                </c:pt>
                <c:pt idx="108">
                  <c:v>-9.2436974789915898E-3</c:v>
                </c:pt>
                <c:pt idx="109">
                  <c:v>-8.4033613445378096E-3</c:v>
                </c:pt>
                <c:pt idx="110">
                  <c:v>-8.4033613445378096E-3</c:v>
                </c:pt>
                <c:pt idx="111">
                  <c:v>-8.4033613445378096E-3</c:v>
                </c:pt>
                <c:pt idx="112">
                  <c:v>-9.2436974789915898E-3</c:v>
                </c:pt>
                <c:pt idx="113">
                  <c:v>-9.2436974789915898E-3</c:v>
                </c:pt>
                <c:pt idx="114">
                  <c:v>-8.4033613445378096E-3</c:v>
                </c:pt>
                <c:pt idx="115">
                  <c:v>-8.4033613445378096E-3</c:v>
                </c:pt>
                <c:pt idx="116">
                  <c:v>-8.4033613445378096E-3</c:v>
                </c:pt>
                <c:pt idx="117">
                  <c:v>-9.2436974789915898E-3</c:v>
                </c:pt>
                <c:pt idx="118">
                  <c:v>-9.2436974789915898E-3</c:v>
                </c:pt>
                <c:pt idx="119">
                  <c:v>-9.2436974789915898E-3</c:v>
                </c:pt>
                <c:pt idx="120">
                  <c:v>-9.2436974789915898E-3</c:v>
                </c:pt>
                <c:pt idx="121">
                  <c:v>-1.0084033613445301E-2</c:v>
                </c:pt>
                <c:pt idx="122">
                  <c:v>-1.0084033613445301E-2</c:v>
                </c:pt>
                <c:pt idx="123">
                  <c:v>-1.0084033613445301E-2</c:v>
                </c:pt>
                <c:pt idx="124">
                  <c:v>-1.09243697478991E-2</c:v>
                </c:pt>
                <c:pt idx="125">
                  <c:v>-1.1764705882352899E-2</c:v>
                </c:pt>
                <c:pt idx="126">
                  <c:v>-1.26050420168067E-2</c:v>
                </c:pt>
                <c:pt idx="127">
                  <c:v>-1.1764705882352899E-2</c:v>
                </c:pt>
                <c:pt idx="128">
                  <c:v>-1.1764705882352899E-2</c:v>
                </c:pt>
                <c:pt idx="129">
                  <c:v>-1.1764705882352899E-2</c:v>
                </c:pt>
                <c:pt idx="130">
                  <c:v>-1.1764705882352899E-2</c:v>
                </c:pt>
                <c:pt idx="131">
                  <c:v>-1.1764705882352899E-2</c:v>
                </c:pt>
                <c:pt idx="132">
                  <c:v>-1.1764705882352899E-2</c:v>
                </c:pt>
                <c:pt idx="133">
                  <c:v>-1.1764705882352899E-2</c:v>
                </c:pt>
                <c:pt idx="134">
                  <c:v>-1.1764705882352899E-2</c:v>
                </c:pt>
                <c:pt idx="135">
                  <c:v>-1.1764705882352899E-2</c:v>
                </c:pt>
                <c:pt idx="136">
                  <c:v>-1.1764705882352899E-2</c:v>
                </c:pt>
                <c:pt idx="137">
                  <c:v>-1.1764705882352899E-2</c:v>
                </c:pt>
                <c:pt idx="138">
                  <c:v>-1.1764705882352899E-2</c:v>
                </c:pt>
                <c:pt idx="139">
                  <c:v>-1.1764705882352899E-2</c:v>
                </c:pt>
                <c:pt idx="140">
                  <c:v>-1.1764705882352899E-2</c:v>
                </c:pt>
                <c:pt idx="141">
                  <c:v>-1.09243697478991E-2</c:v>
                </c:pt>
                <c:pt idx="142">
                  <c:v>-1.09243697478991E-2</c:v>
                </c:pt>
                <c:pt idx="143">
                  <c:v>-1.1764705882352899E-2</c:v>
                </c:pt>
                <c:pt idx="144">
                  <c:v>-1.09243697478991E-2</c:v>
                </c:pt>
                <c:pt idx="145">
                  <c:v>-1.09243697478991E-2</c:v>
                </c:pt>
                <c:pt idx="146">
                  <c:v>-1.09243697478991E-2</c:v>
                </c:pt>
                <c:pt idx="147">
                  <c:v>-1.09243697478991E-2</c:v>
                </c:pt>
                <c:pt idx="148">
                  <c:v>-1.09243697478991E-2</c:v>
                </c:pt>
                <c:pt idx="149">
                  <c:v>-1.09243697478991E-2</c:v>
                </c:pt>
                <c:pt idx="150">
                  <c:v>-1.09243697478991E-2</c:v>
                </c:pt>
                <c:pt idx="151">
                  <c:v>-1.09243697478991E-2</c:v>
                </c:pt>
                <c:pt idx="152">
                  <c:v>-1.1764705882352899E-2</c:v>
                </c:pt>
                <c:pt idx="153">
                  <c:v>-1.26050420168067E-2</c:v>
                </c:pt>
                <c:pt idx="154">
                  <c:v>-1.26050420168067E-2</c:v>
                </c:pt>
                <c:pt idx="155">
                  <c:v>-1.26050420168067E-2</c:v>
                </c:pt>
                <c:pt idx="156">
                  <c:v>-1.26050420168067E-2</c:v>
                </c:pt>
                <c:pt idx="157">
                  <c:v>-1.26050420168067E-2</c:v>
                </c:pt>
                <c:pt idx="158">
                  <c:v>-1.34453781512605E-2</c:v>
                </c:pt>
                <c:pt idx="159">
                  <c:v>-1.42857142857142E-2</c:v>
                </c:pt>
                <c:pt idx="160">
                  <c:v>-1.42857142857142E-2</c:v>
                </c:pt>
                <c:pt idx="161">
                  <c:v>-1.34453781512605E-2</c:v>
                </c:pt>
                <c:pt idx="162">
                  <c:v>-1.34453781512605E-2</c:v>
                </c:pt>
                <c:pt idx="163">
                  <c:v>-1.26050420168067E-2</c:v>
                </c:pt>
                <c:pt idx="164">
                  <c:v>-1.26050420168067E-2</c:v>
                </c:pt>
                <c:pt idx="165">
                  <c:v>-1.26050420168067E-2</c:v>
                </c:pt>
                <c:pt idx="166">
                  <c:v>-1.34453781512605E-2</c:v>
                </c:pt>
                <c:pt idx="167">
                  <c:v>-1.42857142857142E-2</c:v>
                </c:pt>
                <c:pt idx="168">
                  <c:v>-1.34453781512605E-2</c:v>
                </c:pt>
                <c:pt idx="169">
                  <c:v>-1.42857142857142E-2</c:v>
                </c:pt>
                <c:pt idx="170">
                  <c:v>-1.34453781512605E-2</c:v>
                </c:pt>
                <c:pt idx="171">
                  <c:v>-1.34453781512605E-2</c:v>
                </c:pt>
                <c:pt idx="172">
                  <c:v>-1.34453781512605E-2</c:v>
                </c:pt>
                <c:pt idx="173">
                  <c:v>-1.34453781512605E-2</c:v>
                </c:pt>
                <c:pt idx="174">
                  <c:v>-1.26050420168067E-2</c:v>
                </c:pt>
                <c:pt idx="175">
                  <c:v>-1.1764705882352899E-2</c:v>
                </c:pt>
                <c:pt idx="176">
                  <c:v>-1.1764705882352899E-2</c:v>
                </c:pt>
                <c:pt idx="177">
                  <c:v>-1.1764705882352899E-2</c:v>
                </c:pt>
                <c:pt idx="178">
                  <c:v>-1.1764705882352899E-2</c:v>
                </c:pt>
                <c:pt idx="179">
                  <c:v>-1.1764705882352899E-2</c:v>
                </c:pt>
                <c:pt idx="180">
                  <c:v>-1.09243697478991E-2</c:v>
                </c:pt>
                <c:pt idx="181">
                  <c:v>-1.09243697478991E-2</c:v>
                </c:pt>
                <c:pt idx="182">
                  <c:v>-1.09243697478991E-2</c:v>
                </c:pt>
                <c:pt idx="183">
                  <c:v>-1.09243697478991E-2</c:v>
                </c:pt>
                <c:pt idx="184">
                  <c:v>-1.09243697478991E-2</c:v>
                </c:pt>
                <c:pt idx="185">
                  <c:v>-1.1764705882352899E-2</c:v>
                </c:pt>
                <c:pt idx="186">
                  <c:v>-1.1764705882352899E-2</c:v>
                </c:pt>
                <c:pt idx="187">
                  <c:v>-1.26050420168067E-2</c:v>
                </c:pt>
                <c:pt idx="188">
                  <c:v>-1.26050420168067E-2</c:v>
                </c:pt>
                <c:pt idx="189">
                  <c:v>-1.34453781512605E-2</c:v>
                </c:pt>
                <c:pt idx="190">
                  <c:v>-1.42857142857142E-2</c:v>
                </c:pt>
                <c:pt idx="191">
                  <c:v>-1.42857142857142E-2</c:v>
                </c:pt>
                <c:pt idx="192">
                  <c:v>-1.34453781512605E-2</c:v>
                </c:pt>
                <c:pt idx="193">
                  <c:v>-1.34453781512605E-2</c:v>
                </c:pt>
                <c:pt idx="194">
                  <c:v>-1.26050420168067E-2</c:v>
                </c:pt>
                <c:pt idx="195">
                  <c:v>-1.26050420168067E-2</c:v>
                </c:pt>
                <c:pt idx="196">
                  <c:v>-1.34453781512605E-2</c:v>
                </c:pt>
                <c:pt idx="197">
                  <c:v>-1.34453781512605E-2</c:v>
                </c:pt>
                <c:pt idx="198">
                  <c:v>-1.34453781512605E-2</c:v>
                </c:pt>
                <c:pt idx="199">
                  <c:v>-1.42857142857142E-2</c:v>
                </c:pt>
                <c:pt idx="200">
                  <c:v>-1.42857142857142E-2</c:v>
                </c:pt>
                <c:pt idx="201">
                  <c:v>-1.42857142857142E-2</c:v>
                </c:pt>
                <c:pt idx="202">
                  <c:v>-1.34453781512605E-2</c:v>
                </c:pt>
                <c:pt idx="203">
                  <c:v>-1.26050420168067E-2</c:v>
                </c:pt>
                <c:pt idx="204">
                  <c:v>-1.26050420168067E-2</c:v>
                </c:pt>
                <c:pt idx="205">
                  <c:v>-1.26050420168067E-2</c:v>
                </c:pt>
                <c:pt idx="206">
                  <c:v>-1.26050420168067E-2</c:v>
                </c:pt>
                <c:pt idx="207">
                  <c:v>-1.3445378151260399E-2</c:v>
                </c:pt>
                <c:pt idx="208">
                  <c:v>-1.3445378151260399E-2</c:v>
                </c:pt>
                <c:pt idx="209">
                  <c:v>-1.3445378151260399E-2</c:v>
                </c:pt>
                <c:pt idx="210">
                  <c:v>-1.3445378151260399E-2</c:v>
                </c:pt>
                <c:pt idx="211">
                  <c:v>-1.26050420168067E-2</c:v>
                </c:pt>
                <c:pt idx="212">
                  <c:v>-1.26050420168067E-2</c:v>
                </c:pt>
                <c:pt idx="213">
                  <c:v>-1.26050420168067E-2</c:v>
                </c:pt>
                <c:pt idx="214">
                  <c:v>-1.26050420168067E-2</c:v>
                </c:pt>
                <c:pt idx="215">
                  <c:v>-1.26050420168067E-2</c:v>
                </c:pt>
                <c:pt idx="216">
                  <c:v>-1.1764705882352899E-2</c:v>
                </c:pt>
                <c:pt idx="217">
                  <c:v>-1.1764705882352899E-2</c:v>
                </c:pt>
                <c:pt idx="218">
                  <c:v>-1.1764705882352899E-2</c:v>
                </c:pt>
                <c:pt idx="219">
                  <c:v>-1.1764705882352899E-2</c:v>
                </c:pt>
                <c:pt idx="220">
                  <c:v>-1.1764705882352899E-2</c:v>
                </c:pt>
                <c:pt idx="221">
                  <c:v>-1.09243697478991E-2</c:v>
                </c:pt>
                <c:pt idx="222">
                  <c:v>-1.0084033613445301E-2</c:v>
                </c:pt>
                <c:pt idx="223">
                  <c:v>-1.0084033613445301E-2</c:v>
                </c:pt>
                <c:pt idx="224">
                  <c:v>-1.0084033613445301E-2</c:v>
                </c:pt>
                <c:pt idx="225">
                  <c:v>-1.0084033613445301E-2</c:v>
                </c:pt>
                <c:pt idx="226">
                  <c:v>-1.0084033613445301E-2</c:v>
                </c:pt>
                <c:pt idx="227">
                  <c:v>-1.0084033613445301E-2</c:v>
                </c:pt>
                <c:pt idx="228">
                  <c:v>-1.0084033613445301E-2</c:v>
                </c:pt>
                <c:pt idx="229">
                  <c:v>-1.0084033613445301E-2</c:v>
                </c:pt>
                <c:pt idx="230">
                  <c:v>-1.0084033613445301E-2</c:v>
                </c:pt>
                <c:pt idx="231">
                  <c:v>-1.09243697478991E-2</c:v>
                </c:pt>
                <c:pt idx="232">
                  <c:v>-1.09243697478991E-2</c:v>
                </c:pt>
                <c:pt idx="233">
                  <c:v>-1.0084033613445301E-2</c:v>
                </c:pt>
                <c:pt idx="234">
                  <c:v>-1.0084033613445301E-2</c:v>
                </c:pt>
                <c:pt idx="235">
                  <c:v>-1.0084033613445301E-2</c:v>
                </c:pt>
                <c:pt idx="236">
                  <c:v>-1.0084033613445301E-2</c:v>
                </c:pt>
                <c:pt idx="237">
                  <c:v>-1.0084033613445301E-2</c:v>
                </c:pt>
                <c:pt idx="238">
                  <c:v>-1.09243697478991E-2</c:v>
                </c:pt>
                <c:pt idx="239">
                  <c:v>-1.09243697478991E-2</c:v>
                </c:pt>
                <c:pt idx="240">
                  <c:v>-1.09243697478991E-2</c:v>
                </c:pt>
                <c:pt idx="241">
                  <c:v>-1.09243697478991E-2</c:v>
                </c:pt>
                <c:pt idx="242">
                  <c:v>-1.09243697478991E-2</c:v>
                </c:pt>
                <c:pt idx="243">
                  <c:v>-1.0084033613445301E-2</c:v>
                </c:pt>
                <c:pt idx="244">
                  <c:v>-9.2436974789915898E-3</c:v>
                </c:pt>
                <c:pt idx="245">
                  <c:v>-1.0084033613445301E-2</c:v>
                </c:pt>
                <c:pt idx="246">
                  <c:v>-1.0084033613445301E-2</c:v>
                </c:pt>
                <c:pt idx="247">
                  <c:v>-9.2436974789915898E-3</c:v>
                </c:pt>
                <c:pt idx="248">
                  <c:v>-9.2436974789915898E-3</c:v>
                </c:pt>
                <c:pt idx="249">
                  <c:v>-9.2436974789915898E-3</c:v>
                </c:pt>
                <c:pt idx="250">
                  <c:v>-1.0084033613445301E-2</c:v>
                </c:pt>
                <c:pt idx="251">
                  <c:v>-1.09243697478991E-2</c:v>
                </c:pt>
                <c:pt idx="252">
                  <c:v>-1.0084033613445301E-2</c:v>
                </c:pt>
                <c:pt idx="253">
                  <c:v>-1.0084033613445301E-2</c:v>
                </c:pt>
                <c:pt idx="254">
                  <c:v>-1.0084033613445301E-2</c:v>
                </c:pt>
                <c:pt idx="255">
                  <c:v>-9.2436974789915898E-3</c:v>
                </c:pt>
                <c:pt idx="256">
                  <c:v>-9.2436974789915898E-3</c:v>
                </c:pt>
                <c:pt idx="257">
                  <c:v>-9.2436974789915898E-3</c:v>
                </c:pt>
                <c:pt idx="258">
                  <c:v>-9.2436974789915898E-3</c:v>
                </c:pt>
                <c:pt idx="259">
                  <c:v>-9.2436974789915898E-3</c:v>
                </c:pt>
                <c:pt idx="260">
                  <c:v>-9.2436974789915898E-3</c:v>
                </c:pt>
                <c:pt idx="261">
                  <c:v>-9.2436974789915898E-3</c:v>
                </c:pt>
                <c:pt idx="262">
                  <c:v>-8.4033613445378096E-3</c:v>
                </c:pt>
                <c:pt idx="263">
                  <c:v>-8.4033613445378096E-3</c:v>
                </c:pt>
                <c:pt idx="264">
                  <c:v>-8.4033613445378096E-3</c:v>
                </c:pt>
                <c:pt idx="265">
                  <c:v>-9.2436974789915898E-3</c:v>
                </c:pt>
                <c:pt idx="266">
                  <c:v>-9.2436974789915898E-3</c:v>
                </c:pt>
                <c:pt idx="267">
                  <c:v>-1.0084033613445301E-2</c:v>
                </c:pt>
                <c:pt idx="268">
                  <c:v>-9.2436974789915898E-3</c:v>
                </c:pt>
                <c:pt idx="269">
                  <c:v>-1.0084033613445301E-2</c:v>
                </c:pt>
                <c:pt idx="270">
                  <c:v>-1.0084033613445301E-2</c:v>
                </c:pt>
                <c:pt idx="271">
                  <c:v>-9.2436974789915898E-3</c:v>
                </c:pt>
                <c:pt idx="272">
                  <c:v>-9.2436974789915898E-3</c:v>
                </c:pt>
                <c:pt idx="273">
                  <c:v>-8.4033613445378096E-3</c:v>
                </c:pt>
                <c:pt idx="274">
                  <c:v>-8.4033613445378096E-3</c:v>
                </c:pt>
                <c:pt idx="275">
                  <c:v>-9.2436974789915898E-3</c:v>
                </c:pt>
                <c:pt idx="276">
                  <c:v>-9.2436974789915898E-3</c:v>
                </c:pt>
                <c:pt idx="277">
                  <c:v>-1.0084033613445301E-2</c:v>
                </c:pt>
                <c:pt idx="278">
                  <c:v>-1.0084033613445301E-2</c:v>
                </c:pt>
                <c:pt idx="279">
                  <c:v>-1.0084033613445301E-2</c:v>
                </c:pt>
                <c:pt idx="280">
                  <c:v>-1.0084033613445301E-2</c:v>
                </c:pt>
                <c:pt idx="281">
                  <c:v>-1.0084033613445301E-2</c:v>
                </c:pt>
                <c:pt idx="282">
                  <c:v>-1.0084033613445301E-2</c:v>
                </c:pt>
                <c:pt idx="283">
                  <c:v>-1.09243697478991E-2</c:v>
                </c:pt>
                <c:pt idx="284">
                  <c:v>-1.09243697478991E-2</c:v>
                </c:pt>
                <c:pt idx="285">
                  <c:v>-1.09243697478991E-2</c:v>
                </c:pt>
                <c:pt idx="286">
                  <c:v>-1.09243697478991E-2</c:v>
                </c:pt>
                <c:pt idx="287">
                  <c:v>-1.09243697478991E-2</c:v>
                </c:pt>
                <c:pt idx="288">
                  <c:v>-1.1764705882352899E-2</c:v>
                </c:pt>
                <c:pt idx="289">
                  <c:v>-1.09243697478991E-2</c:v>
                </c:pt>
                <c:pt idx="290">
                  <c:v>-1.09243697478991E-2</c:v>
                </c:pt>
                <c:pt idx="291">
                  <c:v>-1.09243697478991E-2</c:v>
                </c:pt>
                <c:pt idx="292">
                  <c:v>-1.09243697478991E-2</c:v>
                </c:pt>
                <c:pt idx="293">
                  <c:v>-1.09243697478991E-2</c:v>
                </c:pt>
                <c:pt idx="294">
                  <c:v>-1.09243697478991E-2</c:v>
                </c:pt>
                <c:pt idx="295">
                  <c:v>-1.0084033613445301E-2</c:v>
                </c:pt>
                <c:pt idx="296">
                  <c:v>-1.09243697478991E-2</c:v>
                </c:pt>
                <c:pt idx="297">
                  <c:v>-1.0084033613445301E-2</c:v>
                </c:pt>
                <c:pt idx="298">
                  <c:v>-1.0084033613445301E-2</c:v>
                </c:pt>
                <c:pt idx="299">
                  <c:v>-1.0084033613445301E-2</c:v>
                </c:pt>
                <c:pt idx="300">
                  <c:v>-9.2436974789915898E-3</c:v>
                </c:pt>
                <c:pt idx="301">
                  <c:v>-9.2436974789915898E-3</c:v>
                </c:pt>
                <c:pt idx="302">
                  <c:v>-9.2436974789915898E-3</c:v>
                </c:pt>
                <c:pt idx="303">
                  <c:v>-9.2436974789915898E-3</c:v>
                </c:pt>
                <c:pt idx="304">
                  <c:v>-9.2436974789915898E-3</c:v>
                </c:pt>
                <c:pt idx="305">
                  <c:v>-8.4033613445378096E-3</c:v>
                </c:pt>
                <c:pt idx="306">
                  <c:v>-7.5630252100840302E-3</c:v>
                </c:pt>
                <c:pt idx="307">
                  <c:v>-7.5630252100840198E-3</c:v>
                </c:pt>
                <c:pt idx="308">
                  <c:v>-7.5630252100840198E-3</c:v>
                </c:pt>
                <c:pt idx="309">
                  <c:v>-7.5630252100840198E-3</c:v>
                </c:pt>
                <c:pt idx="310">
                  <c:v>-7.5630252100840198E-3</c:v>
                </c:pt>
                <c:pt idx="311">
                  <c:v>-6.7226890756302404E-3</c:v>
                </c:pt>
                <c:pt idx="312">
                  <c:v>-6.7226890756302404E-3</c:v>
                </c:pt>
                <c:pt idx="313">
                  <c:v>-6.7226890756302404E-3</c:v>
                </c:pt>
                <c:pt idx="314">
                  <c:v>-7.5630252100840397E-3</c:v>
                </c:pt>
                <c:pt idx="315">
                  <c:v>-7.5630252100840397E-3</c:v>
                </c:pt>
                <c:pt idx="316">
                  <c:v>-7.5630252100840302E-3</c:v>
                </c:pt>
                <c:pt idx="317">
                  <c:v>-7.5630252100840302E-3</c:v>
                </c:pt>
                <c:pt idx="318">
                  <c:v>-7.5630252100840302E-3</c:v>
                </c:pt>
                <c:pt idx="319">
                  <c:v>-7.5630252100840302E-3</c:v>
                </c:pt>
                <c:pt idx="320">
                  <c:v>-6.7226890756302499E-3</c:v>
                </c:pt>
                <c:pt idx="321">
                  <c:v>-6.7226890756302499E-3</c:v>
                </c:pt>
                <c:pt idx="322">
                  <c:v>-6.7226890756302404E-3</c:v>
                </c:pt>
                <c:pt idx="323">
                  <c:v>-6.7226890756302404E-3</c:v>
                </c:pt>
                <c:pt idx="324">
                  <c:v>-6.7226890756302404E-3</c:v>
                </c:pt>
                <c:pt idx="325">
                  <c:v>-6.7226890756302404E-3</c:v>
                </c:pt>
                <c:pt idx="326">
                  <c:v>-6.7226890756302404E-3</c:v>
                </c:pt>
                <c:pt idx="327">
                  <c:v>-6.7226890756302404E-3</c:v>
                </c:pt>
                <c:pt idx="328">
                  <c:v>-6.7226890756302404E-3</c:v>
                </c:pt>
                <c:pt idx="329">
                  <c:v>-6.7226890756302404E-3</c:v>
                </c:pt>
                <c:pt idx="330">
                  <c:v>-7.5630252100840302E-3</c:v>
                </c:pt>
                <c:pt idx="331">
                  <c:v>-7.5630252100840302E-3</c:v>
                </c:pt>
                <c:pt idx="332">
                  <c:v>-8.4033613445378096E-3</c:v>
                </c:pt>
                <c:pt idx="333">
                  <c:v>-8.4033613445378096E-3</c:v>
                </c:pt>
                <c:pt idx="334">
                  <c:v>-8.4033613445378096E-3</c:v>
                </c:pt>
                <c:pt idx="335">
                  <c:v>-8.4033613445378096E-3</c:v>
                </c:pt>
                <c:pt idx="336">
                  <c:v>-8.4033613445378096E-3</c:v>
                </c:pt>
                <c:pt idx="337">
                  <c:v>-8.4033613445378096E-3</c:v>
                </c:pt>
                <c:pt idx="338">
                  <c:v>-8.4033613445378096E-3</c:v>
                </c:pt>
                <c:pt idx="339">
                  <c:v>-8.4033613445378096E-3</c:v>
                </c:pt>
                <c:pt idx="340">
                  <c:v>-8.4033613445378096E-3</c:v>
                </c:pt>
                <c:pt idx="341">
                  <c:v>-8.4033613445378096E-3</c:v>
                </c:pt>
                <c:pt idx="342">
                  <c:v>-7.5630252100840302E-3</c:v>
                </c:pt>
                <c:pt idx="343">
                  <c:v>-7.5630252100840302E-3</c:v>
                </c:pt>
                <c:pt idx="344">
                  <c:v>-6.7226890756302499E-3</c:v>
                </c:pt>
                <c:pt idx="345">
                  <c:v>-5.8823529411764696E-3</c:v>
                </c:pt>
                <c:pt idx="346">
                  <c:v>-5.8823529411764696E-3</c:v>
                </c:pt>
                <c:pt idx="347">
                  <c:v>-6.7226890756302499E-3</c:v>
                </c:pt>
                <c:pt idx="348">
                  <c:v>-6.7226890756302499E-3</c:v>
                </c:pt>
                <c:pt idx="349">
                  <c:v>-5.8823529411764601E-3</c:v>
                </c:pt>
                <c:pt idx="350">
                  <c:v>-5.0420168067226798E-3</c:v>
                </c:pt>
                <c:pt idx="351">
                  <c:v>-5.0420168067226798E-3</c:v>
                </c:pt>
                <c:pt idx="352">
                  <c:v>-5.0420168067226798E-3</c:v>
                </c:pt>
                <c:pt idx="353">
                  <c:v>-5.8823529411764601E-3</c:v>
                </c:pt>
                <c:pt idx="354">
                  <c:v>-6.7226890756302499E-3</c:v>
                </c:pt>
                <c:pt idx="355">
                  <c:v>-6.7226890756302499E-3</c:v>
                </c:pt>
                <c:pt idx="356">
                  <c:v>-5.8823529411764696E-3</c:v>
                </c:pt>
                <c:pt idx="357">
                  <c:v>-5.0420168067226902E-3</c:v>
                </c:pt>
                <c:pt idx="358">
                  <c:v>-5.0420168067226902E-3</c:v>
                </c:pt>
                <c:pt idx="359">
                  <c:v>-5.0420168067226902E-3</c:v>
                </c:pt>
                <c:pt idx="360">
                  <c:v>-5.0420168067226902E-3</c:v>
                </c:pt>
                <c:pt idx="361">
                  <c:v>-5.8823529411764696E-3</c:v>
                </c:pt>
                <c:pt idx="362">
                  <c:v>-5.8823529411764696E-3</c:v>
                </c:pt>
                <c:pt idx="363">
                  <c:v>-5.8823529411764696E-3</c:v>
                </c:pt>
                <c:pt idx="364">
                  <c:v>-5.8823529411764696E-3</c:v>
                </c:pt>
                <c:pt idx="365">
                  <c:v>-6.7226890756302499E-3</c:v>
                </c:pt>
                <c:pt idx="366">
                  <c:v>-6.7226890756302499E-3</c:v>
                </c:pt>
                <c:pt idx="367">
                  <c:v>-5.8823529411764601E-3</c:v>
                </c:pt>
                <c:pt idx="368">
                  <c:v>-6.7226890756302404E-3</c:v>
                </c:pt>
                <c:pt idx="369">
                  <c:v>-6.7226890756302404E-3</c:v>
                </c:pt>
                <c:pt idx="370">
                  <c:v>-6.7226890756302404E-3</c:v>
                </c:pt>
                <c:pt idx="371">
                  <c:v>-6.7226890756302404E-3</c:v>
                </c:pt>
                <c:pt idx="372">
                  <c:v>-6.7226890756302404E-3</c:v>
                </c:pt>
                <c:pt idx="373">
                  <c:v>-6.7226890756302404E-3</c:v>
                </c:pt>
                <c:pt idx="374">
                  <c:v>-6.7226890756302404E-3</c:v>
                </c:pt>
                <c:pt idx="375">
                  <c:v>-6.7226890756302404E-3</c:v>
                </c:pt>
                <c:pt idx="376">
                  <c:v>-6.7226890756302404E-3</c:v>
                </c:pt>
                <c:pt idx="377">
                  <c:v>-7.5630252100840302E-3</c:v>
                </c:pt>
                <c:pt idx="378">
                  <c:v>-6.7226890756302499E-3</c:v>
                </c:pt>
                <c:pt idx="379">
                  <c:v>-7.5630252100840302E-3</c:v>
                </c:pt>
                <c:pt idx="380">
                  <c:v>-7.5630252100840302E-3</c:v>
                </c:pt>
                <c:pt idx="381">
                  <c:v>-6.7226890756302499E-3</c:v>
                </c:pt>
                <c:pt idx="382">
                  <c:v>-6.7226890756302499E-3</c:v>
                </c:pt>
                <c:pt idx="383">
                  <c:v>-6.7226890756302499E-3</c:v>
                </c:pt>
                <c:pt idx="384">
                  <c:v>-6.7226890756302499E-3</c:v>
                </c:pt>
                <c:pt idx="385">
                  <c:v>-6.7226890756302499E-3</c:v>
                </c:pt>
                <c:pt idx="386">
                  <c:v>-5.8823529411764696E-3</c:v>
                </c:pt>
                <c:pt idx="387">
                  <c:v>-6.7226890756302499E-3</c:v>
                </c:pt>
                <c:pt idx="388">
                  <c:v>-6.7226890756302499E-3</c:v>
                </c:pt>
                <c:pt idx="389">
                  <c:v>-6.7226890756302499E-3</c:v>
                </c:pt>
                <c:pt idx="390">
                  <c:v>-6.7226890756302499E-3</c:v>
                </c:pt>
                <c:pt idx="391">
                  <c:v>-6.7226890756302499E-3</c:v>
                </c:pt>
                <c:pt idx="392">
                  <c:v>-6.7226890756302499E-3</c:v>
                </c:pt>
                <c:pt idx="393">
                  <c:v>-6.7226890756302499E-3</c:v>
                </c:pt>
                <c:pt idx="394">
                  <c:v>-5.8823529411764601E-3</c:v>
                </c:pt>
                <c:pt idx="395">
                  <c:v>-5.8823529411764601E-3</c:v>
                </c:pt>
                <c:pt idx="396">
                  <c:v>-5.8823529411764601E-3</c:v>
                </c:pt>
                <c:pt idx="397">
                  <c:v>-5.8823529411764601E-3</c:v>
                </c:pt>
                <c:pt idx="398">
                  <c:v>-5.8823529411764601E-3</c:v>
                </c:pt>
                <c:pt idx="399">
                  <c:v>-5.8823529411764601E-3</c:v>
                </c:pt>
                <c:pt idx="400">
                  <c:v>-5.8823529411764601E-3</c:v>
                </c:pt>
                <c:pt idx="401">
                  <c:v>-6.7226890756302404E-3</c:v>
                </c:pt>
                <c:pt idx="402">
                  <c:v>-6.7226890756302404E-3</c:v>
                </c:pt>
                <c:pt idx="403">
                  <c:v>-6.7226890756302404E-3</c:v>
                </c:pt>
                <c:pt idx="404">
                  <c:v>-6.7226890756302404E-3</c:v>
                </c:pt>
                <c:pt idx="405">
                  <c:v>-6.7226890756302404E-3</c:v>
                </c:pt>
                <c:pt idx="406">
                  <c:v>-6.7226890756302404E-3</c:v>
                </c:pt>
                <c:pt idx="407">
                  <c:v>-5.8823529411764601E-3</c:v>
                </c:pt>
                <c:pt idx="408">
                  <c:v>-5.8823529411764601E-3</c:v>
                </c:pt>
                <c:pt idx="409">
                  <c:v>-5.8823529411764601E-3</c:v>
                </c:pt>
                <c:pt idx="410">
                  <c:v>-5.8823529411764601E-3</c:v>
                </c:pt>
                <c:pt idx="411">
                  <c:v>-5.0420168067226798E-3</c:v>
                </c:pt>
                <c:pt idx="412">
                  <c:v>-5.8823529411764696E-3</c:v>
                </c:pt>
                <c:pt idx="413">
                  <c:v>-5.8823529411764696E-3</c:v>
                </c:pt>
                <c:pt idx="414">
                  <c:v>-5.8823529411764696E-3</c:v>
                </c:pt>
                <c:pt idx="415">
                  <c:v>-5.8823529411764696E-3</c:v>
                </c:pt>
                <c:pt idx="416">
                  <c:v>-5.8823529411764696E-3</c:v>
                </c:pt>
                <c:pt idx="417">
                  <c:v>-5.0420168067226902E-3</c:v>
                </c:pt>
                <c:pt idx="418">
                  <c:v>-5.0420168067226902E-3</c:v>
                </c:pt>
                <c:pt idx="419">
                  <c:v>-5.0420168067226902E-3</c:v>
                </c:pt>
                <c:pt idx="420">
                  <c:v>-5.0420168067226902E-3</c:v>
                </c:pt>
                <c:pt idx="421">
                  <c:v>-5.0420168067226902E-3</c:v>
                </c:pt>
                <c:pt idx="422">
                  <c:v>-5.0420168067226902E-3</c:v>
                </c:pt>
                <c:pt idx="423">
                  <c:v>-5.0420168067226902E-3</c:v>
                </c:pt>
                <c:pt idx="424">
                  <c:v>-5.8823529411764696E-3</c:v>
                </c:pt>
                <c:pt idx="425">
                  <c:v>-5.8823529411764696E-3</c:v>
                </c:pt>
                <c:pt idx="426">
                  <c:v>-5.0420168067226798E-3</c:v>
                </c:pt>
                <c:pt idx="427">
                  <c:v>-5.8823529411764601E-3</c:v>
                </c:pt>
                <c:pt idx="428">
                  <c:v>-5.8823529411764601E-3</c:v>
                </c:pt>
                <c:pt idx="429">
                  <c:v>-5.8823529411764601E-3</c:v>
                </c:pt>
                <c:pt idx="430">
                  <c:v>-5.8823529411764601E-3</c:v>
                </c:pt>
                <c:pt idx="431">
                  <c:v>-5.8823529411764601E-3</c:v>
                </c:pt>
                <c:pt idx="432">
                  <c:v>-6.7226890756302404E-3</c:v>
                </c:pt>
                <c:pt idx="433">
                  <c:v>-7.5630252100840302E-3</c:v>
                </c:pt>
                <c:pt idx="434">
                  <c:v>-7.5630252100840302E-3</c:v>
                </c:pt>
                <c:pt idx="435">
                  <c:v>-7.5630252100840302E-3</c:v>
                </c:pt>
                <c:pt idx="436">
                  <c:v>-7.5630252100840302E-3</c:v>
                </c:pt>
                <c:pt idx="437">
                  <c:v>-7.5630252100840302E-3</c:v>
                </c:pt>
                <c:pt idx="438">
                  <c:v>-7.5630252100840302E-3</c:v>
                </c:pt>
                <c:pt idx="439">
                  <c:v>-7.5630252100840302E-3</c:v>
                </c:pt>
                <c:pt idx="440">
                  <c:v>-6.7226890756302499E-3</c:v>
                </c:pt>
                <c:pt idx="441">
                  <c:v>-6.7226890756302499E-3</c:v>
                </c:pt>
                <c:pt idx="442">
                  <c:v>-6.7226890756302499E-3</c:v>
                </c:pt>
                <c:pt idx="443">
                  <c:v>-6.7226890756302499E-3</c:v>
                </c:pt>
                <c:pt idx="444">
                  <c:v>-6.7226890756302499E-3</c:v>
                </c:pt>
                <c:pt idx="445">
                  <c:v>-7.5630252100840302E-3</c:v>
                </c:pt>
                <c:pt idx="446">
                  <c:v>-7.5630252100840302E-3</c:v>
                </c:pt>
                <c:pt idx="447">
                  <c:v>-7.5630252100840302E-3</c:v>
                </c:pt>
                <c:pt idx="448">
                  <c:v>-6.7226890756302499E-3</c:v>
                </c:pt>
                <c:pt idx="449">
                  <c:v>-6.7226890756302499E-3</c:v>
                </c:pt>
                <c:pt idx="450">
                  <c:v>-6.7226890756302499E-3</c:v>
                </c:pt>
                <c:pt idx="451">
                  <c:v>-6.7226890756302499E-3</c:v>
                </c:pt>
                <c:pt idx="452">
                  <c:v>-6.7226890756302499E-3</c:v>
                </c:pt>
                <c:pt idx="453">
                  <c:v>-5.8823529411764696E-3</c:v>
                </c:pt>
                <c:pt idx="454">
                  <c:v>-5.8823529411764696E-3</c:v>
                </c:pt>
                <c:pt idx="455">
                  <c:v>-5.8823529411764696E-3</c:v>
                </c:pt>
                <c:pt idx="456">
                  <c:v>-5.8823529411764696E-3</c:v>
                </c:pt>
                <c:pt idx="457">
                  <c:v>-5.8823529411764696E-3</c:v>
                </c:pt>
                <c:pt idx="458">
                  <c:v>-6.7226890756302499E-3</c:v>
                </c:pt>
                <c:pt idx="459">
                  <c:v>-6.7226890756302499E-3</c:v>
                </c:pt>
                <c:pt idx="460">
                  <c:v>-6.7226890756302404E-3</c:v>
                </c:pt>
                <c:pt idx="461">
                  <c:v>-5.8823529411764601E-3</c:v>
                </c:pt>
                <c:pt idx="462">
                  <c:v>-5.8823529411764601E-3</c:v>
                </c:pt>
                <c:pt idx="463">
                  <c:v>-5.0420168067226798E-3</c:v>
                </c:pt>
                <c:pt idx="464">
                  <c:v>-4.2016806722688996E-3</c:v>
                </c:pt>
                <c:pt idx="465">
                  <c:v>-4.2016806722688996E-3</c:v>
                </c:pt>
                <c:pt idx="466">
                  <c:v>-4.2016806722688996E-3</c:v>
                </c:pt>
                <c:pt idx="467">
                  <c:v>-5.0420168067226798E-3</c:v>
                </c:pt>
                <c:pt idx="468">
                  <c:v>-5.0420168067226798E-3</c:v>
                </c:pt>
                <c:pt idx="469">
                  <c:v>-4.2016806722688996E-3</c:v>
                </c:pt>
                <c:pt idx="470">
                  <c:v>-4.2016806722688996E-3</c:v>
                </c:pt>
                <c:pt idx="471">
                  <c:v>-4.2016806722688996E-3</c:v>
                </c:pt>
                <c:pt idx="472">
                  <c:v>-3.3613445378151102E-3</c:v>
                </c:pt>
                <c:pt idx="473">
                  <c:v>-3.3613445378151102E-3</c:v>
                </c:pt>
                <c:pt idx="474">
                  <c:v>-3.3613445378151102E-3</c:v>
                </c:pt>
                <c:pt idx="475">
                  <c:v>-3.3613445378151102E-3</c:v>
                </c:pt>
                <c:pt idx="476">
                  <c:v>-4.2016806722688996E-3</c:v>
                </c:pt>
                <c:pt idx="477">
                  <c:v>-4.2016806722688996E-3</c:v>
                </c:pt>
                <c:pt idx="478">
                  <c:v>-4.2016806722688996E-3</c:v>
                </c:pt>
                <c:pt idx="479">
                  <c:v>-4.2016806722688996E-3</c:v>
                </c:pt>
                <c:pt idx="480">
                  <c:v>-4.2016806722688996E-3</c:v>
                </c:pt>
                <c:pt idx="481">
                  <c:v>-5.0420168067226798E-3</c:v>
                </c:pt>
                <c:pt idx="482">
                  <c:v>-5.0420168067226798E-3</c:v>
                </c:pt>
                <c:pt idx="483">
                  <c:v>-4.2016806722688996E-3</c:v>
                </c:pt>
                <c:pt idx="484">
                  <c:v>-3.3613445378151202E-3</c:v>
                </c:pt>
                <c:pt idx="485">
                  <c:v>-3.3613445378151202E-3</c:v>
                </c:pt>
                <c:pt idx="486">
                  <c:v>-3.3613445378151202E-3</c:v>
                </c:pt>
                <c:pt idx="487">
                  <c:v>-3.3613445378151202E-3</c:v>
                </c:pt>
                <c:pt idx="488">
                  <c:v>-4.2016806722688996E-3</c:v>
                </c:pt>
                <c:pt idx="489">
                  <c:v>-4.2016806722688996E-3</c:v>
                </c:pt>
                <c:pt idx="490">
                  <c:v>-4.2016806722688996E-3</c:v>
                </c:pt>
                <c:pt idx="491">
                  <c:v>-4.2016806722688996E-3</c:v>
                </c:pt>
                <c:pt idx="492">
                  <c:v>-4.2016806722688996E-3</c:v>
                </c:pt>
                <c:pt idx="493">
                  <c:v>-4.2016806722688996E-3</c:v>
                </c:pt>
                <c:pt idx="494">
                  <c:v>-4.2016806722688996E-3</c:v>
                </c:pt>
                <c:pt idx="495">
                  <c:v>-4.2016806722688996E-3</c:v>
                </c:pt>
                <c:pt idx="496">
                  <c:v>-4.2016806722688996E-3</c:v>
                </c:pt>
                <c:pt idx="497">
                  <c:v>-5.0420168067226798E-3</c:v>
                </c:pt>
                <c:pt idx="498">
                  <c:v>-4.2016806722688996E-3</c:v>
                </c:pt>
                <c:pt idx="499">
                  <c:v>-4.2016806722688996E-3</c:v>
                </c:pt>
                <c:pt idx="500">
                  <c:v>-4.2016806722688996E-3</c:v>
                </c:pt>
                <c:pt idx="501">
                  <c:v>-5.0420168067226902E-3</c:v>
                </c:pt>
                <c:pt idx="502">
                  <c:v>-5.0420168067226902E-3</c:v>
                </c:pt>
                <c:pt idx="503">
                  <c:v>-5.0420168067226902E-3</c:v>
                </c:pt>
                <c:pt idx="504">
                  <c:v>-5.0420168067226902E-3</c:v>
                </c:pt>
                <c:pt idx="505">
                  <c:v>-5.0420168067226902E-3</c:v>
                </c:pt>
                <c:pt idx="506">
                  <c:v>-5.0420168067226902E-3</c:v>
                </c:pt>
                <c:pt idx="507">
                  <c:v>-5.0420168067226902E-3</c:v>
                </c:pt>
                <c:pt idx="508">
                  <c:v>-5.0420168067226902E-3</c:v>
                </c:pt>
                <c:pt idx="509">
                  <c:v>-5.0420168067226902E-3</c:v>
                </c:pt>
                <c:pt idx="510">
                  <c:v>-4.2016806722689204E-3</c:v>
                </c:pt>
                <c:pt idx="511">
                  <c:v>-4.2016806722689204E-3</c:v>
                </c:pt>
                <c:pt idx="512">
                  <c:v>-4.2016806722689204E-3</c:v>
                </c:pt>
                <c:pt idx="513">
                  <c:v>-4.2016806722689204E-3</c:v>
                </c:pt>
                <c:pt idx="514">
                  <c:v>-4.2016806722689204E-3</c:v>
                </c:pt>
                <c:pt idx="515">
                  <c:v>-4.2016806722689204E-3</c:v>
                </c:pt>
                <c:pt idx="516">
                  <c:v>-4.2016806722689204E-3</c:v>
                </c:pt>
                <c:pt idx="517">
                  <c:v>-3.3613445378151202E-3</c:v>
                </c:pt>
                <c:pt idx="518">
                  <c:v>-3.3613445378151202E-3</c:v>
                </c:pt>
                <c:pt idx="519">
                  <c:v>-3.3613445378151202E-3</c:v>
                </c:pt>
                <c:pt idx="520">
                  <c:v>-3.3613445378151202E-3</c:v>
                </c:pt>
                <c:pt idx="521">
                  <c:v>-3.3613445378151202E-3</c:v>
                </c:pt>
                <c:pt idx="522">
                  <c:v>-3.3613445378151202E-3</c:v>
                </c:pt>
                <c:pt idx="523">
                  <c:v>-3.3613445378151202E-3</c:v>
                </c:pt>
                <c:pt idx="524">
                  <c:v>-3.3613445378151202E-3</c:v>
                </c:pt>
                <c:pt idx="525">
                  <c:v>-2.5210084033613399E-3</c:v>
                </c:pt>
                <c:pt idx="526">
                  <c:v>-2.5210084033613399E-3</c:v>
                </c:pt>
                <c:pt idx="527">
                  <c:v>-2.5210084033613399E-3</c:v>
                </c:pt>
                <c:pt idx="528">
                  <c:v>-2.5210084033613399E-3</c:v>
                </c:pt>
                <c:pt idx="529">
                  <c:v>-2.5210084033613399E-3</c:v>
                </c:pt>
                <c:pt idx="530">
                  <c:v>-2.5210084033613399E-3</c:v>
                </c:pt>
                <c:pt idx="531">
                  <c:v>-2.5210084033613399E-3</c:v>
                </c:pt>
                <c:pt idx="532">
                  <c:v>-2.5210084033613399E-3</c:v>
                </c:pt>
                <c:pt idx="533">
                  <c:v>-2.5210084033613399E-3</c:v>
                </c:pt>
                <c:pt idx="534">
                  <c:v>-2.5210084033613399E-3</c:v>
                </c:pt>
                <c:pt idx="535">
                  <c:v>-2.5210084033613399E-3</c:v>
                </c:pt>
                <c:pt idx="536">
                  <c:v>-2.5210084033613399E-3</c:v>
                </c:pt>
                <c:pt idx="537">
                  <c:v>-2.5210084033613399E-3</c:v>
                </c:pt>
                <c:pt idx="538">
                  <c:v>-2.5210084033613399E-3</c:v>
                </c:pt>
                <c:pt idx="539">
                  <c:v>-2.5210084033613399E-3</c:v>
                </c:pt>
                <c:pt idx="540">
                  <c:v>-2.5210084033613399E-3</c:v>
                </c:pt>
                <c:pt idx="541">
                  <c:v>-2.5210084033613399E-3</c:v>
                </c:pt>
                <c:pt idx="542">
                  <c:v>-2.5210084033613399E-3</c:v>
                </c:pt>
                <c:pt idx="543">
                  <c:v>-2.5210084033613399E-3</c:v>
                </c:pt>
                <c:pt idx="544">
                  <c:v>-2.5210084033613399E-3</c:v>
                </c:pt>
                <c:pt idx="545">
                  <c:v>-2.5210084033613399E-3</c:v>
                </c:pt>
                <c:pt idx="546">
                  <c:v>-2.5210084033613399E-3</c:v>
                </c:pt>
                <c:pt idx="547">
                  <c:v>-2.5210084033613399E-3</c:v>
                </c:pt>
                <c:pt idx="548">
                  <c:v>-2.5210084033613399E-3</c:v>
                </c:pt>
                <c:pt idx="549">
                  <c:v>-2.5210084033613399E-3</c:v>
                </c:pt>
                <c:pt idx="550">
                  <c:v>-2.5210084033613399E-3</c:v>
                </c:pt>
                <c:pt idx="551">
                  <c:v>-2.5210084033613399E-3</c:v>
                </c:pt>
                <c:pt idx="552">
                  <c:v>-2.5210084033613399E-3</c:v>
                </c:pt>
                <c:pt idx="553">
                  <c:v>-2.5210084033613399E-3</c:v>
                </c:pt>
                <c:pt idx="554">
                  <c:v>-2.5210084033613399E-3</c:v>
                </c:pt>
                <c:pt idx="555">
                  <c:v>-2.5210084033613399E-3</c:v>
                </c:pt>
                <c:pt idx="556">
                  <c:v>-3.3613445378151202E-3</c:v>
                </c:pt>
                <c:pt idx="557">
                  <c:v>-3.3613445378151202E-3</c:v>
                </c:pt>
                <c:pt idx="558">
                  <c:v>-3.3613445378151202E-3</c:v>
                </c:pt>
                <c:pt idx="559">
                  <c:v>-3.3613445378151202E-3</c:v>
                </c:pt>
                <c:pt idx="560">
                  <c:v>-3.3613445378151202E-3</c:v>
                </c:pt>
                <c:pt idx="561">
                  <c:v>-3.3613445378151202E-3</c:v>
                </c:pt>
                <c:pt idx="562">
                  <c:v>-3.3613445378151202E-3</c:v>
                </c:pt>
                <c:pt idx="563">
                  <c:v>-3.3613445378151202E-3</c:v>
                </c:pt>
                <c:pt idx="564">
                  <c:v>-3.3613445378151202E-3</c:v>
                </c:pt>
                <c:pt idx="565">
                  <c:v>-3.3613445378151202E-3</c:v>
                </c:pt>
                <c:pt idx="566">
                  <c:v>-2.5210084033613399E-3</c:v>
                </c:pt>
                <c:pt idx="567">
                  <c:v>-2.5210084033613399E-3</c:v>
                </c:pt>
                <c:pt idx="568">
                  <c:v>-2.5210084033613399E-3</c:v>
                </c:pt>
                <c:pt idx="569">
                  <c:v>-2.5210084033613399E-3</c:v>
                </c:pt>
                <c:pt idx="570">
                  <c:v>-2.5210084033613399E-3</c:v>
                </c:pt>
                <c:pt idx="571">
                  <c:v>-2.5210084033613399E-3</c:v>
                </c:pt>
                <c:pt idx="572">
                  <c:v>-3.3613445378151202E-3</c:v>
                </c:pt>
                <c:pt idx="573">
                  <c:v>-3.3613445378151202E-3</c:v>
                </c:pt>
                <c:pt idx="574">
                  <c:v>-3.3613445378151202E-3</c:v>
                </c:pt>
                <c:pt idx="575">
                  <c:v>-3.3613445378151202E-3</c:v>
                </c:pt>
                <c:pt idx="576">
                  <c:v>-3.3613445378151202E-3</c:v>
                </c:pt>
                <c:pt idx="577">
                  <c:v>-3.3613445378151202E-3</c:v>
                </c:pt>
                <c:pt idx="578">
                  <c:v>-3.3613445378151202E-3</c:v>
                </c:pt>
                <c:pt idx="579">
                  <c:v>-3.3613445378151202E-3</c:v>
                </c:pt>
                <c:pt idx="580">
                  <c:v>-2.5210084033613299E-3</c:v>
                </c:pt>
                <c:pt idx="581">
                  <c:v>-2.5210084033613299E-3</c:v>
                </c:pt>
                <c:pt idx="582">
                  <c:v>-2.5210084033613299E-3</c:v>
                </c:pt>
                <c:pt idx="583">
                  <c:v>-2.5210084033613299E-3</c:v>
                </c:pt>
                <c:pt idx="584">
                  <c:v>-2.5210084033613299E-3</c:v>
                </c:pt>
                <c:pt idx="585">
                  <c:v>-2.5210084033613299E-3</c:v>
                </c:pt>
                <c:pt idx="586">
                  <c:v>-2.5210084033613299E-3</c:v>
                </c:pt>
                <c:pt idx="587">
                  <c:v>-2.5210084033613299E-3</c:v>
                </c:pt>
                <c:pt idx="588">
                  <c:v>-2.5210084033613299E-3</c:v>
                </c:pt>
                <c:pt idx="589">
                  <c:v>-2.5210084033613299E-3</c:v>
                </c:pt>
                <c:pt idx="590">
                  <c:v>-2.5210084033613299E-3</c:v>
                </c:pt>
                <c:pt idx="591">
                  <c:v>-1.6806722689075499E-3</c:v>
                </c:pt>
                <c:pt idx="592">
                  <c:v>-1.6806722689075499E-3</c:v>
                </c:pt>
                <c:pt idx="593">
                  <c:v>-1.6806722689075499E-3</c:v>
                </c:pt>
                <c:pt idx="594">
                  <c:v>-1.6806722689075499E-3</c:v>
                </c:pt>
                <c:pt idx="595">
                  <c:v>-8.4033613445377799E-4</c:v>
                </c:pt>
                <c:pt idx="596">
                  <c:v>-8.4033613445377799E-4</c:v>
                </c:pt>
                <c:pt idx="597">
                  <c:v>-8.4033613445377799E-4</c:v>
                </c:pt>
                <c:pt idx="598">
                  <c:v>-8.4033613445377799E-4</c:v>
                </c:pt>
                <c:pt idx="599">
                  <c:v>-8.4033613445377799E-4</c:v>
                </c:pt>
                <c:pt idx="600">
                  <c:v>-8.4033613445377799E-4</c:v>
                </c:pt>
                <c:pt idx="601">
                  <c:v>-8.4033613445377799E-4</c:v>
                </c:pt>
                <c:pt idx="602">
                  <c:v>-8.4033613445377799E-4</c:v>
                </c:pt>
                <c:pt idx="603">
                  <c:v>-8.4033613445377799E-4</c:v>
                </c:pt>
                <c:pt idx="604">
                  <c:v>-8.4033613445377799E-4</c:v>
                </c:pt>
                <c:pt idx="605">
                  <c:v>-8.4033613445377799E-4</c:v>
                </c:pt>
                <c:pt idx="606">
                  <c:v>-8.4033613445377799E-4</c:v>
                </c:pt>
                <c:pt idx="607">
                  <c:v>-8.4033613445377799E-4</c:v>
                </c:pt>
                <c:pt idx="608">
                  <c:v>-8.4033613445377799E-4</c:v>
                </c:pt>
                <c:pt idx="609">
                  <c:v>-8.4033613445377799E-4</c:v>
                </c:pt>
                <c:pt idx="610">
                  <c:v>-8.4033613445377799E-4</c:v>
                </c:pt>
                <c:pt idx="611">
                  <c:v>-8.4033613445377799E-4</c:v>
                </c:pt>
                <c:pt idx="612">
                  <c:v>-8.4033613445377799E-4</c:v>
                </c:pt>
                <c:pt idx="613">
                  <c:v>-8.4033613445377799E-4</c:v>
                </c:pt>
                <c:pt idx="614">
                  <c:v>-8.4033613445377799E-4</c:v>
                </c:pt>
                <c:pt idx="615">
                  <c:v>0</c:v>
                </c:pt>
                <c:pt idx="616">
                  <c:v>0</c:v>
                </c:pt>
                <c:pt idx="617">
                  <c:v>0</c:v>
                </c:pt>
                <c:pt idx="618">
                  <c:v>0</c:v>
                </c:pt>
                <c:pt idx="619">
                  <c:v>0</c:v>
                </c:pt>
                <c:pt idx="620">
                  <c:v>0</c:v>
                </c:pt>
                <c:pt idx="621">
                  <c:v>8.4033613445377799E-4</c:v>
                </c:pt>
                <c:pt idx="622">
                  <c:v>8.4033613445377799E-4</c:v>
                </c:pt>
                <c:pt idx="623">
                  <c:v>8.4033613445377799E-4</c:v>
                </c:pt>
                <c:pt idx="624">
                  <c:v>8.4033613445377799E-4</c:v>
                </c:pt>
                <c:pt idx="625">
                  <c:v>8.4033613445377799E-4</c:v>
                </c:pt>
                <c:pt idx="626">
                  <c:v>0</c:v>
                </c:pt>
                <c:pt idx="627">
                  <c:v>0</c:v>
                </c:pt>
                <c:pt idx="628">
                  <c:v>0</c:v>
                </c:pt>
                <c:pt idx="629">
                  <c:v>0</c:v>
                </c:pt>
                <c:pt idx="630">
                  <c:v>0</c:v>
                </c:pt>
                <c:pt idx="631">
                  <c:v>0</c:v>
                </c:pt>
                <c:pt idx="632">
                  <c:v>-8.4033613445379197E-4</c:v>
                </c:pt>
                <c:pt idx="633">
                  <c:v>-8.4033613445379197E-4</c:v>
                </c:pt>
                <c:pt idx="634">
                  <c:v>-1.6806722689075701E-3</c:v>
                </c:pt>
                <c:pt idx="635">
                  <c:v>-1.6806722689075701E-3</c:v>
                </c:pt>
                <c:pt idx="636">
                  <c:v>-1.6806722689075701E-3</c:v>
                </c:pt>
                <c:pt idx="637">
                  <c:v>-1.6806722689075701E-3</c:v>
                </c:pt>
                <c:pt idx="638">
                  <c:v>-1.6806722689075701E-3</c:v>
                </c:pt>
                <c:pt idx="639">
                  <c:v>-1.6806722689075701E-3</c:v>
                </c:pt>
                <c:pt idx="640">
                  <c:v>-1.6806722689075701E-3</c:v>
                </c:pt>
                <c:pt idx="641">
                  <c:v>-1.6806722689075701E-3</c:v>
                </c:pt>
                <c:pt idx="642">
                  <c:v>-1.6806722689075701E-3</c:v>
                </c:pt>
                <c:pt idx="643">
                  <c:v>-1.6806722689075701E-3</c:v>
                </c:pt>
                <c:pt idx="644">
                  <c:v>-1.6806722689075701E-3</c:v>
                </c:pt>
                <c:pt idx="645">
                  <c:v>-1.6806722689075701E-3</c:v>
                </c:pt>
                <c:pt idx="646">
                  <c:v>-1.6806722689075701E-3</c:v>
                </c:pt>
                <c:pt idx="647">
                  <c:v>-1.6806722689075701E-3</c:v>
                </c:pt>
                <c:pt idx="648">
                  <c:v>-1.6806722689075701E-3</c:v>
                </c:pt>
                <c:pt idx="649">
                  <c:v>-1.6806722689075701E-3</c:v>
                </c:pt>
                <c:pt idx="650">
                  <c:v>-1.6806722689075701E-3</c:v>
                </c:pt>
                <c:pt idx="651">
                  <c:v>-1.6806722689075701E-3</c:v>
                </c:pt>
                <c:pt idx="652">
                  <c:v>-1.6806722689075701E-3</c:v>
                </c:pt>
                <c:pt idx="653">
                  <c:v>-1.6806722689075701E-3</c:v>
                </c:pt>
                <c:pt idx="654">
                  <c:v>-1.6806722689075701E-3</c:v>
                </c:pt>
                <c:pt idx="655">
                  <c:v>-1.6806722689075701E-3</c:v>
                </c:pt>
                <c:pt idx="656">
                  <c:v>-1.6806722689075701E-3</c:v>
                </c:pt>
                <c:pt idx="657">
                  <c:v>-1.6806722689075701E-3</c:v>
                </c:pt>
                <c:pt idx="658">
                  <c:v>-1.6806722689075701E-3</c:v>
                </c:pt>
                <c:pt idx="659">
                  <c:v>-2.5210084033613399E-3</c:v>
                </c:pt>
                <c:pt idx="660">
                  <c:v>-2.5210084033613399E-3</c:v>
                </c:pt>
                <c:pt idx="661">
                  <c:v>-2.5210084033613399E-3</c:v>
                </c:pt>
                <c:pt idx="662">
                  <c:v>-2.5210084033613399E-3</c:v>
                </c:pt>
                <c:pt idx="663">
                  <c:v>-2.5210084033613399E-3</c:v>
                </c:pt>
                <c:pt idx="664">
                  <c:v>-2.5210084033613399E-3</c:v>
                </c:pt>
                <c:pt idx="665">
                  <c:v>-2.5210084033613399E-3</c:v>
                </c:pt>
                <c:pt idx="666">
                  <c:v>-2.5210084033613399E-3</c:v>
                </c:pt>
                <c:pt idx="667">
                  <c:v>-2.5210084033613399E-3</c:v>
                </c:pt>
                <c:pt idx="668">
                  <c:v>-2.5210084033613399E-3</c:v>
                </c:pt>
                <c:pt idx="669">
                  <c:v>-2.5210084033613399E-3</c:v>
                </c:pt>
                <c:pt idx="670">
                  <c:v>-2.5210084033613399E-3</c:v>
                </c:pt>
                <c:pt idx="671">
                  <c:v>-2.5210084033613399E-3</c:v>
                </c:pt>
                <c:pt idx="672">
                  <c:v>-2.5210084033613399E-3</c:v>
                </c:pt>
                <c:pt idx="673">
                  <c:v>-2.5210084033613399E-3</c:v>
                </c:pt>
                <c:pt idx="674">
                  <c:v>-2.5210084033613399E-3</c:v>
                </c:pt>
                <c:pt idx="675">
                  <c:v>-2.5210084033613399E-3</c:v>
                </c:pt>
                <c:pt idx="676">
                  <c:v>-2.5210084033613399E-3</c:v>
                </c:pt>
                <c:pt idx="677">
                  <c:v>-2.5210084033613399E-3</c:v>
                </c:pt>
                <c:pt idx="678">
                  <c:v>-2.5210084033613399E-3</c:v>
                </c:pt>
                <c:pt idx="679">
                  <c:v>-2.5210084033613399E-3</c:v>
                </c:pt>
                <c:pt idx="680">
                  <c:v>-2.5210084033613399E-3</c:v>
                </c:pt>
                <c:pt idx="681">
                  <c:v>-2.5210084033613399E-3</c:v>
                </c:pt>
                <c:pt idx="682">
                  <c:v>-2.5210084033613399E-3</c:v>
                </c:pt>
                <c:pt idx="683">
                  <c:v>-2.5210084033613399E-3</c:v>
                </c:pt>
                <c:pt idx="684">
                  <c:v>-3.3613445378151202E-3</c:v>
                </c:pt>
                <c:pt idx="685">
                  <c:v>-3.3613445378151202E-3</c:v>
                </c:pt>
                <c:pt idx="686">
                  <c:v>-3.3613445378151202E-3</c:v>
                </c:pt>
                <c:pt idx="687">
                  <c:v>-3.3613445378151202E-3</c:v>
                </c:pt>
                <c:pt idx="688">
                  <c:v>-3.3613445378151202E-3</c:v>
                </c:pt>
                <c:pt idx="689">
                  <c:v>-3.3613445378151202E-3</c:v>
                </c:pt>
                <c:pt idx="690">
                  <c:v>-3.3613445378151202E-3</c:v>
                </c:pt>
                <c:pt idx="691">
                  <c:v>-2.5210084033613299E-3</c:v>
                </c:pt>
                <c:pt idx="692">
                  <c:v>-2.5210084033613299E-3</c:v>
                </c:pt>
                <c:pt idx="693">
                  <c:v>-2.5210084033613299E-3</c:v>
                </c:pt>
                <c:pt idx="694">
                  <c:v>-2.5210084033613299E-3</c:v>
                </c:pt>
                <c:pt idx="695">
                  <c:v>-2.5210084033613299E-3</c:v>
                </c:pt>
                <c:pt idx="696">
                  <c:v>-2.5210084033613299E-3</c:v>
                </c:pt>
                <c:pt idx="697">
                  <c:v>-2.5210084033613299E-3</c:v>
                </c:pt>
                <c:pt idx="698">
                  <c:v>-2.5210084033613299E-3</c:v>
                </c:pt>
                <c:pt idx="699">
                  <c:v>-2.5210084033613299E-3</c:v>
                </c:pt>
                <c:pt idx="700">
                  <c:v>-2.5210084033613299E-3</c:v>
                </c:pt>
                <c:pt idx="701">
                  <c:v>-2.5210084033613299E-3</c:v>
                </c:pt>
                <c:pt idx="702">
                  <c:v>-2.5210084033613299E-3</c:v>
                </c:pt>
                <c:pt idx="703">
                  <c:v>-2.5210084033613299E-3</c:v>
                </c:pt>
                <c:pt idx="704">
                  <c:v>-2.5210084033613299E-3</c:v>
                </c:pt>
                <c:pt idx="705">
                  <c:v>-1.6806722689075499E-3</c:v>
                </c:pt>
                <c:pt idx="706">
                  <c:v>-1.6806722689075499E-3</c:v>
                </c:pt>
                <c:pt idx="707">
                  <c:v>-1.6806722689075499E-3</c:v>
                </c:pt>
                <c:pt idx="708">
                  <c:v>-1.6806722689075499E-3</c:v>
                </c:pt>
                <c:pt idx="709">
                  <c:v>-1.6806722689075499E-3</c:v>
                </c:pt>
                <c:pt idx="710">
                  <c:v>-1.6806722689075499E-3</c:v>
                </c:pt>
                <c:pt idx="711">
                  <c:v>-1.6806722689075499E-3</c:v>
                </c:pt>
                <c:pt idx="712">
                  <c:v>-1.6806722689075499E-3</c:v>
                </c:pt>
                <c:pt idx="713">
                  <c:v>-1.6806722689075499E-3</c:v>
                </c:pt>
                <c:pt idx="714">
                  <c:v>-1.6806722689075499E-3</c:v>
                </c:pt>
                <c:pt idx="715">
                  <c:v>-1.6806722689075499E-3</c:v>
                </c:pt>
                <c:pt idx="716">
                  <c:v>-1.6806722689075499E-3</c:v>
                </c:pt>
                <c:pt idx="717">
                  <c:v>-1.6806722689075499E-3</c:v>
                </c:pt>
                <c:pt idx="718">
                  <c:v>-1.6806722689075499E-3</c:v>
                </c:pt>
                <c:pt idx="719">
                  <c:v>-1.6806722689075499E-3</c:v>
                </c:pt>
                <c:pt idx="720">
                  <c:v>-1.6806722689075499E-3</c:v>
                </c:pt>
                <c:pt idx="721">
                  <c:v>-1.6806722689075499E-3</c:v>
                </c:pt>
                <c:pt idx="722">
                  <c:v>-2.5210084033613299E-3</c:v>
                </c:pt>
                <c:pt idx="723">
                  <c:v>-2.5210084033613299E-3</c:v>
                </c:pt>
                <c:pt idx="724">
                  <c:v>-2.5210084033613299E-3</c:v>
                </c:pt>
                <c:pt idx="725">
                  <c:v>-2.5210084033613299E-3</c:v>
                </c:pt>
                <c:pt idx="726">
                  <c:v>-2.5210084033613299E-3</c:v>
                </c:pt>
                <c:pt idx="727">
                  <c:v>-2.5210084033613299E-3</c:v>
                </c:pt>
                <c:pt idx="728">
                  <c:v>-2.5210084033613299E-3</c:v>
                </c:pt>
                <c:pt idx="729">
                  <c:v>-2.5210084033613299E-3</c:v>
                </c:pt>
                <c:pt idx="730">
                  <c:v>-1.6806722689075499E-3</c:v>
                </c:pt>
                <c:pt idx="731">
                  <c:v>-1.6806722689075499E-3</c:v>
                </c:pt>
                <c:pt idx="732">
                  <c:v>-1.6806722689075499E-3</c:v>
                </c:pt>
                <c:pt idx="733">
                  <c:v>-1.6806722689075499E-3</c:v>
                </c:pt>
                <c:pt idx="734">
                  <c:v>-1.6806722689075499E-3</c:v>
                </c:pt>
                <c:pt idx="735">
                  <c:v>-1.6806722689075499E-3</c:v>
                </c:pt>
                <c:pt idx="736">
                  <c:v>-1.6806722689075499E-3</c:v>
                </c:pt>
                <c:pt idx="737">
                  <c:v>-1.6806722689075499E-3</c:v>
                </c:pt>
                <c:pt idx="738">
                  <c:v>-1.6806722689075499E-3</c:v>
                </c:pt>
                <c:pt idx="739">
                  <c:v>-1.6806722689075499E-3</c:v>
                </c:pt>
                <c:pt idx="740">
                  <c:v>-2.5210084033613399E-3</c:v>
                </c:pt>
                <c:pt idx="741">
                  <c:v>-2.5210084033613399E-3</c:v>
                </c:pt>
                <c:pt idx="742">
                  <c:v>-2.5210084033613399E-3</c:v>
                </c:pt>
                <c:pt idx="743">
                  <c:v>-2.5210084033613399E-3</c:v>
                </c:pt>
                <c:pt idx="744">
                  <c:v>-2.5210084033613399E-3</c:v>
                </c:pt>
                <c:pt idx="745">
                  <c:v>-2.5210084033613399E-3</c:v>
                </c:pt>
                <c:pt idx="746">
                  <c:v>-2.5210084033613399E-3</c:v>
                </c:pt>
                <c:pt idx="747">
                  <c:v>-2.5210084033613399E-3</c:v>
                </c:pt>
                <c:pt idx="748">
                  <c:v>-2.5210084033613399E-3</c:v>
                </c:pt>
                <c:pt idx="749">
                  <c:v>-3.3613445378151202E-3</c:v>
                </c:pt>
                <c:pt idx="750">
                  <c:v>-3.3613445378151202E-3</c:v>
                </c:pt>
                <c:pt idx="751">
                  <c:v>-3.3613445378151202E-3</c:v>
                </c:pt>
                <c:pt idx="752">
                  <c:v>-3.3613445378151202E-3</c:v>
                </c:pt>
                <c:pt idx="753">
                  <c:v>-3.3613445378151202E-3</c:v>
                </c:pt>
                <c:pt idx="754">
                  <c:v>-3.3613445378151202E-3</c:v>
                </c:pt>
                <c:pt idx="755">
                  <c:v>-3.3613445378151202E-3</c:v>
                </c:pt>
                <c:pt idx="756">
                  <c:v>-3.3613445378151202E-3</c:v>
                </c:pt>
                <c:pt idx="757">
                  <c:v>-3.3613445378151202E-3</c:v>
                </c:pt>
                <c:pt idx="758">
                  <c:v>-4.2016806722688996E-3</c:v>
                </c:pt>
                <c:pt idx="759">
                  <c:v>-4.2016806722688996E-3</c:v>
                </c:pt>
                <c:pt idx="760">
                  <c:v>-4.2016806722688996E-3</c:v>
                </c:pt>
                <c:pt idx="761">
                  <c:v>-4.2016806722688996E-3</c:v>
                </c:pt>
                <c:pt idx="762">
                  <c:v>-4.2016806722688996E-3</c:v>
                </c:pt>
                <c:pt idx="763">
                  <c:v>-4.2016806722688996E-3</c:v>
                </c:pt>
                <c:pt idx="764">
                  <c:v>-4.2016806722688996E-3</c:v>
                </c:pt>
                <c:pt idx="765">
                  <c:v>-4.2016806722688996E-3</c:v>
                </c:pt>
                <c:pt idx="766">
                  <c:v>-4.2016806722688996E-3</c:v>
                </c:pt>
                <c:pt idx="767">
                  <c:v>-4.2016806722688996E-3</c:v>
                </c:pt>
                <c:pt idx="768">
                  <c:v>-3.3613445378151202E-3</c:v>
                </c:pt>
                <c:pt idx="769">
                  <c:v>-3.3613445378151202E-3</c:v>
                </c:pt>
                <c:pt idx="770">
                  <c:v>-3.3613445378151202E-3</c:v>
                </c:pt>
                <c:pt idx="771">
                  <c:v>-3.3613445378151202E-3</c:v>
                </c:pt>
                <c:pt idx="772">
                  <c:v>-3.3613445378151202E-3</c:v>
                </c:pt>
                <c:pt idx="773">
                  <c:v>-3.3613445378151202E-3</c:v>
                </c:pt>
                <c:pt idx="774">
                  <c:v>-4.2016806722688996E-3</c:v>
                </c:pt>
                <c:pt idx="775">
                  <c:v>-4.2016806722688996E-3</c:v>
                </c:pt>
                <c:pt idx="776">
                  <c:v>-4.2016806722688996E-3</c:v>
                </c:pt>
                <c:pt idx="777">
                  <c:v>-3.3613445378151202E-3</c:v>
                </c:pt>
                <c:pt idx="778">
                  <c:v>-3.3613445378151202E-3</c:v>
                </c:pt>
                <c:pt idx="779">
                  <c:v>-2.5210084033613299E-3</c:v>
                </c:pt>
                <c:pt idx="780">
                  <c:v>-2.5210084033613299E-3</c:v>
                </c:pt>
                <c:pt idx="781">
                  <c:v>-2.5210084033613299E-3</c:v>
                </c:pt>
                <c:pt idx="782">
                  <c:v>-2.5210084033613299E-3</c:v>
                </c:pt>
                <c:pt idx="783">
                  <c:v>-2.5210084033613299E-3</c:v>
                </c:pt>
                <c:pt idx="784">
                  <c:v>-2.5210084033613299E-3</c:v>
                </c:pt>
                <c:pt idx="785">
                  <c:v>-2.5210084033613299E-3</c:v>
                </c:pt>
                <c:pt idx="786">
                  <c:v>-1.6806722689075499E-3</c:v>
                </c:pt>
                <c:pt idx="787">
                  <c:v>-1.6806722689075499E-3</c:v>
                </c:pt>
                <c:pt idx="788">
                  <c:v>-1.6806722689075499E-3</c:v>
                </c:pt>
                <c:pt idx="789">
                  <c:v>-1.6806722689075499E-3</c:v>
                </c:pt>
                <c:pt idx="790">
                  <c:v>-1.6806722689075499E-3</c:v>
                </c:pt>
                <c:pt idx="791">
                  <c:v>-1.6806722689075499E-3</c:v>
                </c:pt>
                <c:pt idx="792">
                  <c:v>-1.6806722689075499E-3</c:v>
                </c:pt>
                <c:pt idx="793">
                  <c:v>-1.6806722689075499E-3</c:v>
                </c:pt>
                <c:pt idx="794">
                  <c:v>-1.6806722689075499E-3</c:v>
                </c:pt>
                <c:pt idx="795">
                  <c:v>-1.6806722689075499E-3</c:v>
                </c:pt>
                <c:pt idx="796">
                  <c:v>-1.6806722689075499E-3</c:v>
                </c:pt>
                <c:pt idx="797">
                  <c:v>-1.6806722689075499E-3</c:v>
                </c:pt>
                <c:pt idx="798">
                  <c:v>-1.6806722689075499E-3</c:v>
                </c:pt>
                <c:pt idx="799">
                  <c:v>-1.6806722689075499E-3</c:v>
                </c:pt>
                <c:pt idx="800">
                  <c:v>-8.4033613445377799E-4</c:v>
                </c:pt>
                <c:pt idx="801">
                  <c:v>-8.4033613445377799E-4</c:v>
                </c:pt>
                <c:pt idx="802">
                  <c:v>-8.4033613445377799E-4</c:v>
                </c:pt>
                <c:pt idx="803">
                  <c:v>-8.4033613445377799E-4</c:v>
                </c:pt>
                <c:pt idx="804">
                  <c:v>-8.4033613445377799E-4</c:v>
                </c:pt>
                <c:pt idx="805">
                  <c:v>-8.4033613445377799E-4</c:v>
                </c:pt>
                <c:pt idx="806">
                  <c:v>-8.4033613445377799E-4</c:v>
                </c:pt>
                <c:pt idx="807">
                  <c:v>-8.4033613445377799E-4</c:v>
                </c:pt>
                <c:pt idx="808">
                  <c:v>-8.4033613445377799E-4</c:v>
                </c:pt>
                <c:pt idx="809">
                  <c:v>-8.4033613445377799E-4</c:v>
                </c:pt>
                <c:pt idx="810">
                  <c:v>-8.4033613445377799E-4</c:v>
                </c:pt>
                <c:pt idx="811">
                  <c:v>-8.4033613445377799E-4</c:v>
                </c:pt>
                <c:pt idx="812">
                  <c:v>0</c:v>
                </c:pt>
                <c:pt idx="813">
                  <c:v>0</c:v>
                </c:pt>
                <c:pt idx="814">
                  <c:v>0</c:v>
                </c:pt>
                <c:pt idx="815">
                  <c:v>0</c:v>
                </c:pt>
                <c:pt idx="816">
                  <c:v>0</c:v>
                </c:pt>
                <c:pt idx="817">
                  <c:v>8.4033613445379197E-4</c:v>
                </c:pt>
                <c:pt idx="818">
                  <c:v>8.4033613445379197E-4</c:v>
                </c:pt>
                <c:pt idx="819">
                  <c:v>8.4033613445379197E-4</c:v>
                </c:pt>
                <c:pt idx="820">
                  <c:v>8.4033613445379197E-4</c:v>
                </c:pt>
                <c:pt idx="821">
                  <c:v>8.4033613445379197E-4</c:v>
                </c:pt>
                <c:pt idx="822">
                  <c:v>8.4033613445379197E-4</c:v>
                </c:pt>
                <c:pt idx="823">
                  <c:v>8.4033613445379197E-4</c:v>
                </c:pt>
                <c:pt idx="824">
                  <c:v>8.4033613445379197E-4</c:v>
                </c:pt>
                <c:pt idx="825">
                  <c:v>8.4033613445379197E-4</c:v>
                </c:pt>
                <c:pt idx="826">
                  <c:v>8.4033613445379197E-4</c:v>
                </c:pt>
                <c:pt idx="827">
                  <c:v>8.4033613445379197E-4</c:v>
                </c:pt>
                <c:pt idx="828">
                  <c:v>8.4033613445379197E-4</c:v>
                </c:pt>
                <c:pt idx="829">
                  <c:v>8.4033613445379197E-4</c:v>
                </c:pt>
                <c:pt idx="830">
                  <c:v>8.4033613445379197E-4</c:v>
                </c:pt>
                <c:pt idx="831">
                  <c:v>8.4033613445379197E-4</c:v>
                </c:pt>
                <c:pt idx="832">
                  <c:v>8.4033613445379197E-4</c:v>
                </c:pt>
                <c:pt idx="833">
                  <c:v>8.4033613445379197E-4</c:v>
                </c:pt>
                <c:pt idx="834">
                  <c:v>8.4033613445379197E-4</c:v>
                </c:pt>
                <c:pt idx="835">
                  <c:v>8.4033613445379197E-4</c:v>
                </c:pt>
                <c:pt idx="836">
                  <c:v>8.4033613445379197E-4</c:v>
                </c:pt>
                <c:pt idx="837">
                  <c:v>8.4033613445379197E-4</c:v>
                </c:pt>
                <c:pt idx="838">
                  <c:v>8.4033613445379197E-4</c:v>
                </c:pt>
                <c:pt idx="839">
                  <c:v>8.4033613445379197E-4</c:v>
                </c:pt>
                <c:pt idx="840">
                  <c:v>1.6806722689075701E-3</c:v>
                </c:pt>
                <c:pt idx="841">
                  <c:v>1.6806722689075701E-3</c:v>
                </c:pt>
                <c:pt idx="842">
                  <c:v>1.6806722689075701E-3</c:v>
                </c:pt>
                <c:pt idx="843">
                  <c:v>1.6806722689075701E-3</c:v>
                </c:pt>
                <c:pt idx="844">
                  <c:v>1.6806722689075701E-3</c:v>
                </c:pt>
                <c:pt idx="845">
                  <c:v>1.6806722689075701E-3</c:v>
                </c:pt>
                <c:pt idx="846">
                  <c:v>2.5210084033613399E-3</c:v>
                </c:pt>
                <c:pt idx="847">
                  <c:v>2.5210084033613399E-3</c:v>
                </c:pt>
                <c:pt idx="848">
                  <c:v>2.5210084033613399E-3</c:v>
                </c:pt>
                <c:pt idx="849">
                  <c:v>2.5210084033613399E-3</c:v>
                </c:pt>
                <c:pt idx="850">
                  <c:v>2.5210084033613399E-3</c:v>
                </c:pt>
                <c:pt idx="851">
                  <c:v>2.5210084033613399E-3</c:v>
                </c:pt>
                <c:pt idx="852">
                  <c:v>2.5210084033613399E-3</c:v>
                </c:pt>
                <c:pt idx="853">
                  <c:v>2.5210084033613399E-3</c:v>
                </c:pt>
                <c:pt idx="854">
                  <c:v>2.5210084033613399E-3</c:v>
                </c:pt>
                <c:pt idx="855">
                  <c:v>1.6806722689075499E-3</c:v>
                </c:pt>
                <c:pt idx="856">
                  <c:v>1.6806722689075499E-3</c:v>
                </c:pt>
                <c:pt idx="857">
                  <c:v>1.6806722689075499E-3</c:v>
                </c:pt>
                <c:pt idx="858">
                  <c:v>1.6806722689075499E-3</c:v>
                </c:pt>
                <c:pt idx="859">
                  <c:v>1.6806722689075499E-3</c:v>
                </c:pt>
                <c:pt idx="860">
                  <c:v>1.6806722689075499E-3</c:v>
                </c:pt>
                <c:pt idx="861">
                  <c:v>1.6806722689075499E-3</c:v>
                </c:pt>
                <c:pt idx="862">
                  <c:v>1.6806722689075499E-3</c:v>
                </c:pt>
                <c:pt idx="863">
                  <c:v>1.6806722689075499E-3</c:v>
                </c:pt>
                <c:pt idx="864">
                  <c:v>1.6806722689075499E-3</c:v>
                </c:pt>
                <c:pt idx="865">
                  <c:v>1.6806722689075499E-3</c:v>
                </c:pt>
                <c:pt idx="866">
                  <c:v>1.6806722689075499E-3</c:v>
                </c:pt>
                <c:pt idx="867">
                  <c:v>1.6806722689075499E-3</c:v>
                </c:pt>
                <c:pt idx="868">
                  <c:v>1.6806722689075499E-3</c:v>
                </c:pt>
                <c:pt idx="869">
                  <c:v>1.6806722689075499E-3</c:v>
                </c:pt>
                <c:pt idx="870">
                  <c:v>1.6806722689075499E-3</c:v>
                </c:pt>
                <c:pt idx="871">
                  <c:v>1.6806722689075499E-3</c:v>
                </c:pt>
                <c:pt idx="872">
                  <c:v>1.6806722689075499E-3</c:v>
                </c:pt>
                <c:pt idx="873">
                  <c:v>1.6806722689075499E-3</c:v>
                </c:pt>
                <c:pt idx="874">
                  <c:v>1.6806722689075499E-3</c:v>
                </c:pt>
                <c:pt idx="875">
                  <c:v>1.6806722689075499E-3</c:v>
                </c:pt>
                <c:pt idx="876">
                  <c:v>1.6806722689075499E-3</c:v>
                </c:pt>
                <c:pt idx="877">
                  <c:v>1.6806722689075499E-3</c:v>
                </c:pt>
                <c:pt idx="878">
                  <c:v>1.6806722689075499E-3</c:v>
                </c:pt>
                <c:pt idx="879">
                  <c:v>2.5210084033613299E-3</c:v>
                </c:pt>
                <c:pt idx="880">
                  <c:v>2.5210084033613299E-3</c:v>
                </c:pt>
                <c:pt idx="881">
                  <c:v>2.5210084033613299E-3</c:v>
                </c:pt>
                <c:pt idx="882">
                  <c:v>2.5210084033613299E-3</c:v>
                </c:pt>
                <c:pt idx="883">
                  <c:v>2.5210084033613299E-3</c:v>
                </c:pt>
                <c:pt idx="884">
                  <c:v>2.5210084033613299E-3</c:v>
                </c:pt>
                <c:pt idx="885">
                  <c:v>2.5210084033613299E-3</c:v>
                </c:pt>
                <c:pt idx="886">
                  <c:v>2.5210084033613299E-3</c:v>
                </c:pt>
                <c:pt idx="887">
                  <c:v>1.6806722689075499E-3</c:v>
                </c:pt>
                <c:pt idx="888">
                  <c:v>1.6806722689075499E-3</c:v>
                </c:pt>
                <c:pt idx="889">
                  <c:v>1.6806722689075499E-3</c:v>
                </c:pt>
                <c:pt idx="890">
                  <c:v>1.6806722689075499E-3</c:v>
                </c:pt>
                <c:pt idx="891">
                  <c:v>2.5210084033613299E-3</c:v>
                </c:pt>
                <c:pt idx="892">
                  <c:v>1.6806722689075499E-3</c:v>
                </c:pt>
                <c:pt idx="893">
                  <c:v>1.6806722689075499E-3</c:v>
                </c:pt>
                <c:pt idx="894">
                  <c:v>1.6806722689075499E-3</c:v>
                </c:pt>
                <c:pt idx="895">
                  <c:v>1.6806722689075499E-3</c:v>
                </c:pt>
                <c:pt idx="896">
                  <c:v>1.6806722689075499E-3</c:v>
                </c:pt>
                <c:pt idx="897">
                  <c:v>1.6806722689075499E-3</c:v>
                </c:pt>
                <c:pt idx="898">
                  <c:v>1.6806722689075499E-3</c:v>
                </c:pt>
                <c:pt idx="899">
                  <c:v>1.6806722689075499E-3</c:v>
                </c:pt>
                <c:pt idx="900">
                  <c:v>1.6806722689075499E-3</c:v>
                </c:pt>
                <c:pt idx="901">
                  <c:v>8.4033613445377799E-4</c:v>
                </c:pt>
                <c:pt idx="902">
                  <c:v>8.4033613445377799E-4</c:v>
                </c:pt>
                <c:pt idx="903">
                  <c:v>8.4033613445377799E-4</c:v>
                </c:pt>
                <c:pt idx="904">
                  <c:v>8.4033613445377799E-4</c:v>
                </c:pt>
                <c:pt idx="905">
                  <c:v>8.4033613445377799E-4</c:v>
                </c:pt>
                <c:pt idx="906">
                  <c:v>8.4033613445377799E-4</c:v>
                </c:pt>
                <c:pt idx="907">
                  <c:v>0</c:v>
                </c:pt>
                <c:pt idx="908">
                  <c:v>0</c:v>
                </c:pt>
                <c:pt idx="909">
                  <c:v>0</c:v>
                </c:pt>
                <c:pt idx="910">
                  <c:v>0</c:v>
                </c:pt>
                <c:pt idx="911">
                  <c:v>0</c:v>
                </c:pt>
                <c:pt idx="912">
                  <c:v>0</c:v>
                </c:pt>
                <c:pt idx="913">
                  <c:v>0</c:v>
                </c:pt>
                <c:pt idx="914">
                  <c:v>0</c:v>
                </c:pt>
                <c:pt idx="915">
                  <c:v>0</c:v>
                </c:pt>
                <c:pt idx="916">
                  <c:v>0</c:v>
                </c:pt>
                <c:pt idx="917">
                  <c:v>0</c:v>
                </c:pt>
                <c:pt idx="918">
                  <c:v>0</c:v>
                </c:pt>
                <c:pt idx="919">
                  <c:v>0</c:v>
                </c:pt>
                <c:pt idx="920">
                  <c:v>0</c:v>
                </c:pt>
                <c:pt idx="921">
                  <c:v>0</c:v>
                </c:pt>
                <c:pt idx="922">
                  <c:v>0</c:v>
                </c:pt>
                <c:pt idx="923">
                  <c:v>0</c:v>
                </c:pt>
                <c:pt idx="924">
                  <c:v>0</c:v>
                </c:pt>
                <c:pt idx="925">
                  <c:v>8.4033613445379197E-4</c:v>
                </c:pt>
                <c:pt idx="926">
                  <c:v>0</c:v>
                </c:pt>
                <c:pt idx="927">
                  <c:v>0</c:v>
                </c:pt>
                <c:pt idx="928">
                  <c:v>0</c:v>
                </c:pt>
                <c:pt idx="929">
                  <c:v>0</c:v>
                </c:pt>
                <c:pt idx="930">
                  <c:v>0</c:v>
                </c:pt>
                <c:pt idx="931">
                  <c:v>0</c:v>
                </c:pt>
                <c:pt idx="932">
                  <c:v>-8.4033613445377799E-4</c:v>
                </c:pt>
                <c:pt idx="933">
                  <c:v>-8.4033613445377799E-4</c:v>
                </c:pt>
                <c:pt idx="934">
                  <c:v>-8.4033613445377799E-4</c:v>
                </c:pt>
                <c:pt idx="935">
                  <c:v>-8.4033613445377799E-4</c:v>
                </c:pt>
                <c:pt idx="936">
                  <c:v>0</c:v>
                </c:pt>
                <c:pt idx="937">
                  <c:v>0</c:v>
                </c:pt>
                <c:pt idx="938">
                  <c:v>0</c:v>
                </c:pt>
                <c:pt idx="939">
                  <c:v>0</c:v>
                </c:pt>
                <c:pt idx="940">
                  <c:v>0</c:v>
                </c:pt>
                <c:pt idx="941">
                  <c:v>0</c:v>
                </c:pt>
                <c:pt idx="942">
                  <c:v>0</c:v>
                </c:pt>
                <c:pt idx="943">
                  <c:v>0</c:v>
                </c:pt>
                <c:pt idx="944">
                  <c:v>0</c:v>
                </c:pt>
                <c:pt idx="945">
                  <c:v>0</c:v>
                </c:pt>
                <c:pt idx="946">
                  <c:v>0</c:v>
                </c:pt>
                <c:pt idx="947">
                  <c:v>0</c:v>
                </c:pt>
                <c:pt idx="948">
                  <c:v>0</c:v>
                </c:pt>
                <c:pt idx="949">
                  <c:v>0</c:v>
                </c:pt>
                <c:pt idx="950">
                  <c:v>8.4033613445377799E-4</c:v>
                </c:pt>
                <c:pt idx="951">
                  <c:v>0</c:v>
                </c:pt>
                <c:pt idx="952">
                  <c:v>-8.4033613445377799E-4</c:v>
                </c:pt>
                <c:pt idx="953">
                  <c:v>-8.4033613445377799E-4</c:v>
                </c:pt>
                <c:pt idx="954">
                  <c:v>-8.4033613445377799E-4</c:v>
                </c:pt>
                <c:pt idx="955">
                  <c:v>-8.4033613445377799E-4</c:v>
                </c:pt>
                <c:pt idx="956">
                  <c:v>-8.4033613445377799E-4</c:v>
                </c:pt>
                <c:pt idx="957">
                  <c:v>-8.4033613445377799E-4</c:v>
                </c:pt>
                <c:pt idx="958">
                  <c:v>-8.4033613445377799E-4</c:v>
                </c:pt>
                <c:pt idx="959">
                  <c:v>-8.4033613445377799E-4</c:v>
                </c:pt>
                <c:pt idx="960">
                  <c:v>-8.4033613445377799E-4</c:v>
                </c:pt>
                <c:pt idx="961">
                  <c:v>-8.4033613445377799E-4</c:v>
                </c:pt>
                <c:pt idx="962">
                  <c:v>-8.4033613445377799E-4</c:v>
                </c:pt>
                <c:pt idx="963">
                  <c:v>-8.4033613445377799E-4</c:v>
                </c:pt>
                <c:pt idx="964">
                  <c:v>-8.4033613445377799E-4</c:v>
                </c:pt>
                <c:pt idx="965">
                  <c:v>-8.4033613445377799E-4</c:v>
                </c:pt>
                <c:pt idx="966">
                  <c:v>-8.4033613445377799E-4</c:v>
                </c:pt>
                <c:pt idx="967">
                  <c:v>-8.4033613445377799E-4</c:v>
                </c:pt>
                <c:pt idx="968">
                  <c:v>-8.4033613445377799E-4</c:v>
                </c:pt>
                <c:pt idx="969">
                  <c:v>-8.4033613445377799E-4</c:v>
                </c:pt>
                <c:pt idx="970">
                  <c:v>-8.4033613445377799E-4</c:v>
                </c:pt>
                <c:pt idx="971">
                  <c:v>-8.4033613445377799E-4</c:v>
                </c:pt>
                <c:pt idx="972">
                  <c:v>-8.4033613445377799E-4</c:v>
                </c:pt>
                <c:pt idx="973">
                  <c:v>-8.4033613445377799E-4</c:v>
                </c:pt>
                <c:pt idx="974">
                  <c:v>-8.4033613445377799E-4</c:v>
                </c:pt>
                <c:pt idx="975">
                  <c:v>-8.4033613445377799E-4</c:v>
                </c:pt>
                <c:pt idx="976">
                  <c:v>-8.4033613445377799E-4</c:v>
                </c:pt>
                <c:pt idx="977">
                  <c:v>-8.4033613445377799E-4</c:v>
                </c:pt>
                <c:pt idx="978">
                  <c:v>-8.4033613445377799E-4</c:v>
                </c:pt>
                <c:pt idx="979">
                  <c:v>-8.4033613445377799E-4</c:v>
                </c:pt>
                <c:pt idx="980">
                  <c:v>-8.4033613445377799E-4</c:v>
                </c:pt>
                <c:pt idx="981">
                  <c:v>-8.4033613445377799E-4</c:v>
                </c:pt>
                <c:pt idx="982">
                  <c:v>-8.4033613445377799E-4</c:v>
                </c:pt>
                <c:pt idx="983">
                  <c:v>-8.4033613445377799E-4</c:v>
                </c:pt>
                <c:pt idx="984">
                  <c:v>-8.4033613445377799E-4</c:v>
                </c:pt>
                <c:pt idx="985">
                  <c:v>-8.4033613445377799E-4</c:v>
                </c:pt>
                <c:pt idx="986">
                  <c:v>-8.4033613445377799E-4</c:v>
                </c:pt>
                <c:pt idx="987">
                  <c:v>-8.4033613445377799E-4</c:v>
                </c:pt>
                <c:pt idx="988">
                  <c:v>-8.4033613445377799E-4</c:v>
                </c:pt>
                <c:pt idx="989">
                  <c:v>-8.4033613445377799E-4</c:v>
                </c:pt>
                <c:pt idx="990">
                  <c:v>-8.4033613445377799E-4</c:v>
                </c:pt>
                <c:pt idx="991">
                  <c:v>-8.4033613445377799E-4</c:v>
                </c:pt>
                <c:pt idx="992">
                  <c:v>-8.4033613445377799E-4</c:v>
                </c:pt>
                <c:pt idx="993">
                  <c:v>-8.4033613445377799E-4</c:v>
                </c:pt>
                <c:pt idx="994">
                  <c:v>-8.4033613445377799E-4</c:v>
                </c:pt>
                <c:pt idx="995">
                  <c:v>-8.4033613445377799E-4</c:v>
                </c:pt>
                <c:pt idx="996">
                  <c:v>0</c:v>
                </c:pt>
                <c:pt idx="997">
                  <c:v>8.4033613445377799E-4</c:v>
                </c:pt>
                <c:pt idx="998">
                  <c:v>8.4033613445377799E-4</c:v>
                </c:pt>
                <c:pt idx="999">
                  <c:v>8.4033613445377799E-4</c:v>
                </c:pt>
                <c:pt idx="1000">
                  <c:v>8.4033613445377799E-4</c:v>
                </c:pt>
                <c:pt idx="1001">
                  <c:v>0</c:v>
                </c:pt>
                <c:pt idx="1002">
                  <c:v>0</c:v>
                </c:pt>
                <c:pt idx="1003">
                  <c:v>-8.4033613445379197E-4</c:v>
                </c:pt>
                <c:pt idx="1004">
                  <c:v>-8.4033613445379197E-4</c:v>
                </c:pt>
                <c:pt idx="1005">
                  <c:v>-8.4033613445379197E-4</c:v>
                </c:pt>
                <c:pt idx="1006">
                  <c:v>-8.4033613445379197E-4</c:v>
                </c:pt>
                <c:pt idx="1007">
                  <c:v>-8.4033613445379197E-4</c:v>
                </c:pt>
                <c:pt idx="1008">
                  <c:v>-8.4033613445379197E-4</c:v>
                </c:pt>
                <c:pt idx="1009">
                  <c:v>-8.4033613445379197E-4</c:v>
                </c:pt>
                <c:pt idx="1010">
                  <c:v>-8.4033613445379197E-4</c:v>
                </c:pt>
                <c:pt idx="1011">
                  <c:v>-8.4033613445379197E-4</c:v>
                </c:pt>
                <c:pt idx="1012">
                  <c:v>-8.4033613445379197E-4</c:v>
                </c:pt>
                <c:pt idx="1013">
                  <c:v>-8.4033613445379197E-4</c:v>
                </c:pt>
                <c:pt idx="1014">
                  <c:v>-8.4033613445379197E-4</c:v>
                </c:pt>
                <c:pt idx="1015">
                  <c:v>-8.4033613445379197E-4</c:v>
                </c:pt>
                <c:pt idx="1016">
                  <c:v>-8.4033613445379197E-4</c:v>
                </c:pt>
                <c:pt idx="1017">
                  <c:v>-8.4033613445379197E-4</c:v>
                </c:pt>
                <c:pt idx="1018">
                  <c:v>-8.4033613445379197E-4</c:v>
                </c:pt>
                <c:pt idx="1019">
                  <c:v>-8.4033613445379197E-4</c:v>
                </c:pt>
                <c:pt idx="1020">
                  <c:v>-8.4033613445379197E-4</c:v>
                </c:pt>
                <c:pt idx="1021">
                  <c:v>0</c:v>
                </c:pt>
                <c:pt idx="1022">
                  <c:v>0</c:v>
                </c:pt>
                <c:pt idx="1023">
                  <c:v>8.4033613445377799E-4</c:v>
                </c:pt>
                <c:pt idx="1024">
                  <c:v>8.4033613445377799E-4</c:v>
                </c:pt>
                <c:pt idx="1025">
                  <c:v>0</c:v>
                </c:pt>
                <c:pt idx="1026">
                  <c:v>0</c:v>
                </c:pt>
                <c:pt idx="1027">
                  <c:v>0</c:v>
                </c:pt>
                <c:pt idx="1028">
                  <c:v>0</c:v>
                </c:pt>
                <c:pt idx="1029">
                  <c:v>0</c:v>
                </c:pt>
                <c:pt idx="1030">
                  <c:v>0</c:v>
                </c:pt>
                <c:pt idx="1031">
                  <c:v>0</c:v>
                </c:pt>
                <c:pt idx="1032">
                  <c:v>0</c:v>
                </c:pt>
                <c:pt idx="1033">
                  <c:v>0</c:v>
                </c:pt>
                <c:pt idx="1034">
                  <c:v>0</c:v>
                </c:pt>
                <c:pt idx="1035">
                  <c:v>0</c:v>
                </c:pt>
                <c:pt idx="1036">
                  <c:v>0</c:v>
                </c:pt>
                <c:pt idx="1037">
                  <c:v>0</c:v>
                </c:pt>
                <c:pt idx="1038">
                  <c:v>0</c:v>
                </c:pt>
                <c:pt idx="1039">
                  <c:v>0</c:v>
                </c:pt>
                <c:pt idx="1040">
                  <c:v>0</c:v>
                </c:pt>
                <c:pt idx="1041">
                  <c:v>-8.4033613445377799E-4</c:v>
                </c:pt>
                <c:pt idx="1042">
                  <c:v>-8.4033613445377799E-4</c:v>
                </c:pt>
                <c:pt idx="1043">
                  <c:v>-8.4033613445377799E-4</c:v>
                </c:pt>
                <c:pt idx="1044">
                  <c:v>-8.4033613445377799E-4</c:v>
                </c:pt>
                <c:pt idx="1045">
                  <c:v>-8.4033613445377799E-4</c:v>
                </c:pt>
                <c:pt idx="1046">
                  <c:v>-8.4033613445377799E-4</c:v>
                </c:pt>
                <c:pt idx="1047">
                  <c:v>-8.4033613445377799E-4</c:v>
                </c:pt>
                <c:pt idx="1048">
                  <c:v>-8.4033613445377799E-4</c:v>
                </c:pt>
                <c:pt idx="1049">
                  <c:v>-8.4033613445377799E-4</c:v>
                </c:pt>
                <c:pt idx="1050">
                  <c:v>-8.4033613445377799E-4</c:v>
                </c:pt>
                <c:pt idx="1051">
                  <c:v>-8.4033613445377799E-4</c:v>
                </c:pt>
                <c:pt idx="1052">
                  <c:v>-8.4033613445377799E-4</c:v>
                </c:pt>
                <c:pt idx="1053">
                  <c:v>-1.6806722689075499E-3</c:v>
                </c:pt>
                <c:pt idx="1054">
                  <c:v>-1.6806722689075499E-3</c:v>
                </c:pt>
                <c:pt idx="1055">
                  <c:v>-1.6806722689075499E-3</c:v>
                </c:pt>
                <c:pt idx="1056">
                  <c:v>-1.6806722689075499E-3</c:v>
                </c:pt>
                <c:pt idx="1057">
                  <c:v>-1.6806722689075499E-3</c:v>
                </c:pt>
                <c:pt idx="1058">
                  <c:v>-1.6806722689075701E-3</c:v>
                </c:pt>
                <c:pt idx="1059">
                  <c:v>-1.6806722689075701E-3</c:v>
                </c:pt>
                <c:pt idx="1060">
                  <c:v>-1.6806722689075701E-3</c:v>
                </c:pt>
                <c:pt idx="1061">
                  <c:v>-1.6806722689075701E-3</c:v>
                </c:pt>
                <c:pt idx="1062">
                  <c:v>-1.6806722689075701E-3</c:v>
                </c:pt>
                <c:pt idx="1063">
                  <c:v>-2.5210084033613399E-3</c:v>
                </c:pt>
                <c:pt idx="1064">
                  <c:v>-3.3613445378151202E-3</c:v>
                </c:pt>
                <c:pt idx="1065">
                  <c:v>-3.3613445378151202E-3</c:v>
                </c:pt>
                <c:pt idx="1066">
                  <c:v>-2.5210084033613399E-3</c:v>
                </c:pt>
                <c:pt idx="1067">
                  <c:v>-2.5210084033613399E-3</c:v>
                </c:pt>
                <c:pt idx="1068">
                  <c:v>-2.5210084033613399E-3</c:v>
                </c:pt>
                <c:pt idx="1069">
                  <c:v>-2.5210084033613399E-3</c:v>
                </c:pt>
                <c:pt idx="1070">
                  <c:v>-2.5210084033613399E-3</c:v>
                </c:pt>
                <c:pt idx="1071">
                  <c:v>-2.5210084033613399E-3</c:v>
                </c:pt>
                <c:pt idx="1072">
                  <c:v>-2.5210084033613399E-3</c:v>
                </c:pt>
                <c:pt idx="1073">
                  <c:v>-2.5210084033613399E-3</c:v>
                </c:pt>
                <c:pt idx="1074">
                  <c:v>-2.5210084033613399E-3</c:v>
                </c:pt>
                <c:pt idx="1075">
                  <c:v>-3.3613445378151202E-3</c:v>
                </c:pt>
                <c:pt idx="1076">
                  <c:v>-3.3613445378151202E-3</c:v>
                </c:pt>
                <c:pt idx="1077">
                  <c:v>-3.3613445378151202E-3</c:v>
                </c:pt>
                <c:pt idx="1078">
                  <c:v>-4.2016806722688996E-3</c:v>
                </c:pt>
                <c:pt idx="1079">
                  <c:v>-4.2016806722688996E-3</c:v>
                </c:pt>
                <c:pt idx="1080">
                  <c:v>-4.2016806722688996E-3</c:v>
                </c:pt>
                <c:pt idx="1081">
                  <c:v>-4.2016806722688996E-3</c:v>
                </c:pt>
                <c:pt idx="1082">
                  <c:v>-4.2016806722688996E-3</c:v>
                </c:pt>
                <c:pt idx="1083">
                  <c:v>-4.2016806722688996E-3</c:v>
                </c:pt>
                <c:pt idx="1084">
                  <c:v>-4.2016806722688996E-3</c:v>
                </c:pt>
                <c:pt idx="1085">
                  <c:v>-4.2016806722688996E-3</c:v>
                </c:pt>
                <c:pt idx="1086">
                  <c:v>-4.2016806722688996E-3</c:v>
                </c:pt>
                <c:pt idx="1087">
                  <c:v>-4.2016806722688996E-3</c:v>
                </c:pt>
                <c:pt idx="1088">
                  <c:v>-4.2016806722688996E-3</c:v>
                </c:pt>
                <c:pt idx="1089">
                  <c:v>-4.2016806722688996E-3</c:v>
                </c:pt>
                <c:pt idx="1090">
                  <c:v>-4.2016806722688996E-3</c:v>
                </c:pt>
                <c:pt idx="1091">
                  <c:v>-4.2016806722688996E-3</c:v>
                </c:pt>
                <c:pt idx="1092">
                  <c:v>-5.0420168067226902E-3</c:v>
                </c:pt>
                <c:pt idx="1093">
                  <c:v>-5.0420168067226902E-3</c:v>
                </c:pt>
                <c:pt idx="1094">
                  <c:v>-5.0420168067226902E-3</c:v>
                </c:pt>
                <c:pt idx="1095">
                  <c:v>-5.0420168067226902E-3</c:v>
                </c:pt>
                <c:pt idx="1096">
                  <c:v>-5.0420168067226902E-3</c:v>
                </c:pt>
                <c:pt idx="1097">
                  <c:v>-5.0420168067226902E-3</c:v>
                </c:pt>
                <c:pt idx="1098">
                  <c:v>-5.0420168067226902E-3</c:v>
                </c:pt>
                <c:pt idx="1099">
                  <c:v>-5.0420168067226902E-3</c:v>
                </c:pt>
                <c:pt idx="1100">
                  <c:v>-5.0420168067226902E-3</c:v>
                </c:pt>
                <c:pt idx="1101">
                  <c:v>-5.0420168067226902E-3</c:v>
                </c:pt>
                <c:pt idx="1102">
                  <c:v>-5.0420168067226902E-3</c:v>
                </c:pt>
                <c:pt idx="1103">
                  <c:v>-4.2016806722688996E-3</c:v>
                </c:pt>
                <c:pt idx="1104">
                  <c:v>-4.2016806722688996E-3</c:v>
                </c:pt>
                <c:pt idx="1105">
                  <c:v>-4.2016806722688996E-3</c:v>
                </c:pt>
                <c:pt idx="1106">
                  <c:v>-4.2016806722688996E-3</c:v>
                </c:pt>
                <c:pt idx="1107">
                  <c:v>-4.2016806722688996E-3</c:v>
                </c:pt>
                <c:pt idx="1108">
                  <c:v>-4.2016806722688996E-3</c:v>
                </c:pt>
                <c:pt idx="1109">
                  <c:v>-4.2016806722688996E-3</c:v>
                </c:pt>
                <c:pt idx="1110">
                  <c:v>-4.2016806722688996E-3</c:v>
                </c:pt>
                <c:pt idx="1111">
                  <c:v>-3.3613445378151202E-3</c:v>
                </c:pt>
                <c:pt idx="1112">
                  <c:v>-3.3613445378151202E-3</c:v>
                </c:pt>
                <c:pt idx="1113">
                  <c:v>-3.3613445378151202E-3</c:v>
                </c:pt>
                <c:pt idx="1114">
                  <c:v>-3.3613445378151202E-3</c:v>
                </c:pt>
                <c:pt idx="1115">
                  <c:v>-4.2016806722688996E-3</c:v>
                </c:pt>
                <c:pt idx="1116">
                  <c:v>-5.0420168067226798E-3</c:v>
                </c:pt>
                <c:pt idx="1117">
                  <c:v>-5.0420168067226798E-3</c:v>
                </c:pt>
                <c:pt idx="1118">
                  <c:v>-5.0420168067226798E-3</c:v>
                </c:pt>
                <c:pt idx="1119">
                  <c:v>-5.0420168067226798E-3</c:v>
                </c:pt>
                <c:pt idx="1120">
                  <c:v>-5.0420168067226798E-3</c:v>
                </c:pt>
                <c:pt idx="1121">
                  <c:v>-5.0420168067226798E-3</c:v>
                </c:pt>
                <c:pt idx="1122">
                  <c:v>-5.0420168067226798E-3</c:v>
                </c:pt>
                <c:pt idx="1123">
                  <c:v>-5.0420168067226798E-3</c:v>
                </c:pt>
                <c:pt idx="1124">
                  <c:v>-5.0420168067226798E-3</c:v>
                </c:pt>
                <c:pt idx="1125">
                  <c:v>-5.0420168067226798E-3</c:v>
                </c:pt>
                <c:pt idx="1126">
                  <c:v>-5.0420168067226798E-3</c:v>
                </c:pt>
                <c:pt idx="1127">
                  <c:v>-5.0420168067226798E-3</c:v>
                </c:pt>
                <c:pt idx="1128">
                  <c:v>-5.0420168067226798E-3</c:v>
                </c:pt>
                <c:pt idx="1129">
                  <c:v>-5.0420168067226798E-3</c:v>
                </c:pt>
                <c:pt idx="1130">
                  <c:v>-5.0420168067226798E-3</c:v>
                </c:pt>
                <c:pt idx="1131">
                  <c:v>-5.0420168067226798E-3</c:v>
                </c:pt>
                <c:pt idx="1132">
                  <c:v>-5.0420168067226798E-3</c:v>
                </c:pt>
                <c:pt idx="1133">
                  <c:v>-5.8823529411764601E-3</c:v>
                </c:pt>
                <c:pt idx="1134">
                  <c:v>-5.8823529411764601E-3</c:v>
                </c:pt>
                <c:pt idx="1135">
                  <c:v>-5.8823529411764601E-3</c:v>
                </c:pt>
                <c:pt idx="1136">
                  <c:v>-5.8823529411764601E-3</c:v>
                </c:pt>
                <c:pt idx="1137">
                  <c:v>-5.8823529411764601E-3</c:v>
                </c:pt>
                <c:pt idx="1138">
                  <c:v>-5.8823529411764601E-3</c:v>
                </c:pt>
                <c:pt idx="1139">
                  <c:v>-5.8823529411764601E-3</c:v>
                </c:pt>
                <c:pt idx="1140">
                  <c:v>-5.8823529411764601E-3</c:v>
                </c:pt>
                <c:pt idx="1141">
                  <c:v>-5.8823529411764601E-3</c:v>
                </c:pt>
                <c:pt idx="1142">
                  <c:v>-5.8823529411764601E-3</c:v>
                </c:pt>
                <c:pt idx="1143">
                  <c:v>-5.8823529411764601E-3</c:v>
                </c:pt>
                <c:pt idx="1144">
                  <c:v>-5.0420168067226798E-3</c:v>
                </c:pt>
                <c:pt idx="1145">
                  <c:v>-5.0420168067226798E-3</c:v>
                </c:pt>
                <c:pt idx="1146">
                  <c:v>-4.2016806722688996E-3</c:v>
                </c:pt>
                <c:pt idx="1147">
                  <c:v>-4.2016806722688996E-3</c:v>
                </c:pt>
                <c:pt idx="1148">
                  <c:v>-4.2016806722688996E-3</c:v>
                </c:pt>
                <c:pt idx="1149">
                  <c:v>-4.2016806722688996E-3</c:v>
                </c:pt>
                <c:pt idx="1150">
                  <c:v>-4.2016806722688996E-3</c:v>
                </c:pt>
                <c:pt idx="1151">
                  <c:v>-4.2016806722688996E-3</c:v>
                </c:pt>
                <c:pt idx="1152">
                  <c:v>-4.2016806722688996E-3</c:v>
                </c:pt>
                <c:pt idx="1153">
                  <c:v>-4.2016806722688996E-3</c:v>
                </c:pt>
                <c:pt idx="1154">
                  <c:v>-4.2016806722688996E-3</c:v>
                </c:pt>
                <c:pt idx="1155">
                  <c:v>-4.2016806722688996E-3</c:v>
                </c:pt>
                <c:pt idx="1156">
                  <c:v>-4.2016806722688996E-3</c:v>
                </c:pt>
                <c:pt idx="1157">
                  <c:v>-4.2016806722688996E-3</c:v>
                </c:pt>
                <c:pt idx="1158">
                  <c:v>-4.2016806722688996E-3</c:v>
                </c:pt>
                <c:pt idx="1159">
                  <c:v>-3.3613445378151202E-3</c:v>
                </c:pt>
                <c:pt idx="1160">
                  <c:v>-3.3613445378151202E-3</c:v>
                </c:pt>
                <c:pt idx="1161">
                  <c:v>-3.3613445378151202E-3</c:v>
                </c:pt>
                <c:pt idx="1162">
                  <c:v>-3.3613445378151202E-3</c:v>
                </c:pt>
                <c:pt idx="1163">
                  <c:v>-3.3613445378151202E-3</c:v>
                </c:pt>
                <c:pt idx="1164">
                  <c:v>-3.3613445378151202E-3</c:v>
                </c:pt>
                <c:pt idx="1165">
                  <c:v>-3.3613445378151202E-3</c:v>
                </c:pt>
                <c:pt idx="1166">
                  <c:v>-3.3613445378151202E-3</c:v>
                </c:pt>
                <c:pt idx="1167">
                  <c:v>-3.3613445378151202E-3</c:v>
                </c:pt>
                <c:pt idx="1168">
                  <c:v>-3.3613445378151202E-3</c:v>
                </c:pt>
                <c:pt idx="1169">
                  <c:v>-3.3613445378151202E-3</c:v>
                </c:pt>
                <c:pt idx="1170">
                  <c:v>-3.3613445378151202E-3</c:v>
                </c:pt>
                <c:pt idx="1171">
                  <c:v>-3.3613445378151202E-3</c:v>
                </c:pt>
                <c:pt idx="1172">
                  <c:v>-3.3613445378151202E-3</c:v>
                </c:pt>
                <c:pt idx="1173">
                  <c:v>-3.3613445378151202E-3</c:v>
                </c:pt>
                <c:pt idx="1174">
                  <c:v>-3.3613445378151202E-3</c:v>
                </c:pt>
                <c:pt idx="1175">
                  <c:v>-3.3613445378151202E-3</c:v>
                </c:pt>
                <c:pt idx="1176">
                  <c:v>-3.3613445378151202E-3</c:v>
                </c:pt>
                <c:pt idx="1177">
                  <c:v>-3.3613445378151202E-3</c:v>
                </c:pt>
                <c:pt idx="1178">
                  <c:v>-3.3613445378151202E-3</c:v>
                </c:pt>
                <c:pt idx="1179">
                  <c:v>-3.3613445378151202E-3</c:v>
                </c:pt>
                <c:pt idx="1180">
                  <c:v>-3.3613445378151202E-3</c:v>
                </c:pt>
                <c:pt idx="1181">
                  <c:v>-3.3613445378151202E-3</c:v>
                </c:pt>
                <c:pt idx="1182">
                  <c:v>-3.3613445378151202E-3</c:v>
                </c:pt>
                <c:pt idx="1183">
                  <c:v>-3.3613445378151202E-3</c:v>
                </c:pt>
                <c:pt idx="1184">
                  <c:v>-4.2016806722688996E-3</c:v>
                </c:pt>
                <c:pt idx="1185">
                  <c:v>-4.2016806722688996E-3</c:v>
                </c:pt>
                <c:pt idx="1186">
                  <c:v>-4.2016806722688996E-3</c:v>
                </c:pt>
                <c:pt idx="1187">
                  <c:v>-4.2016806722688996E-3</c:v>
                </c:pt>
                <c:pt idx="1188">
                  <c:v>-5.0420168067226798E-3</c:v>
                </c:pt>
                <c:pt idx="1189">
                  <c:v>-5.0420168067226798E-3</c:v>
                </c:pt>
                <c:pt idx="1190">
                  <c:v>-5.0420168067226798E-3</c:v>
                </c:pt>
                <c:pt idx="1191">
                  <c:v>-5.0420168067226798E-3</c:v>
                </c:pt>
                <c:pt idx="1192">
                  <c:v>-5.0420168067226798E-3</c:v>
                </c:pt>
                <c:pt idx="1193">
                  <c:v>-5.0420168067226798E-3</c:v>
                </c:pt>
                <c:pt idx="1194">
                  <c:v>-5.0420168067226798E-3</c:v>
                </c:pt>
                <c:pt idx="1195">
                  <c:v>-5.0420168067226798E-3</c:v>
                </c:pt>
                <c:pt idx="1196">
                  <c:v>-5.0420168067226798E-3</c:v>
                </c:pt>
                <c:pt idx="1197">
                  <c:v>-5.0420168067226798E-3</c:v>
                </c:pt>
                <c:pt idx="1198">
                  <c:v>-5.0420168067226798E-3</c:v>
                </c:pt>
                <c:pt idx="1199">
                  <c:v>-5.0420168067226798E-3</c:v>
                </c:pt>
                <c:pt idx="1200">
                  <c:v>-5.0420168067226798E-3</c:v>
                </c:pt>
                <c:pt idx="1201">
                  <c:v>-5.0420168067226798E-3</c:v>
                </c:pt>
                <c:pt idx="1202">
                  <c:v>-5.0420168067226798E-3</c:v>
                </c:pt>
                <c:pt idx="1203">
                  <c:v>-5.0420168067226798E-3</c:v>
                </c:pt>
                <c:pt idx="1204">
                  <c:v>-5.0420168067226798E-3</c:v>
                </c:pt>
                <c:pt idx="1205">
                  <c:v>-5.0420168067226798E-3</c:v>
                </c:pt>
                <c:pt idx="1206">
                  <c:v>-5.0420168067226798E-3</c:v>
                </c:pt>
                <c:pt idx="1207">
                  <c:v>-5.0420168067226798E-3</c:v>
                </c:pt>
                <c:pt idx="1208">
                  <c:v>-5.0420168067226798E-3</c:v>
                </c:pt>
                <c:pt idx="1209">
                  <c:v>-5.0420168067226798E-3</c:v>
                </c:pt>
                <c:pt idx="1210">
                  <c:v>-5.0420168067226798E-3</c:v>
                </c:pt>
                <c:pt idx="1211">
                  <c:v>-5.0420168067226798E-3</c:v>
                </c:pt>
                <c:pt idx="1212">
                  <c:v>-5.0420168067226798E-3</c:v>
                </c:pt>
                <c:pt idx="1213">
                  <c:v>-5.0420168067226798E-3</c:v>
                </c:pt>
                <c:pt idx="1214">
                  <c:v>-5.0420168067226798E-3</c:v>
                </c:pt>
                <c:pt idx="1215">
                  <c:v>-5.0420168067226798E-3</c:v>
                </c:pt>
                <c:pt idx="1216">
                  <c:v>-5.0420168067226798E-3</c:v>
                </c:pt>
                <c:pt idx="1217">
                  <c:v>-5.0420168067226798E-3</c:v>
                </c:pt>
                <c:pt idx="1218">
                  <c:v>-5.0420168067226798E-3</c:v>
                </c:pt>
                <c:pt idx="1219">
                  <c:v>-5.0420168067226798E-3</c:v>
                </c:pt>
                <c:pt idx="1220">
                  <c:v>-5.0420168067226798E-3</c:v>
                </c:pt>
                <c:pt idx="1221">
                  <c:v>-5.0420168067226798E-3</c:v>
                </c:pt>
                <c:pt idx="1222">
                  <c:v>-5.0420168067226798E-3</c:v>
                </c:pt>
                <c:pt idx="1223">
                  <c:v>-5.0420168067226798E-3</c:v>
                </c:pt>
                <c:pt idx="1224">
                  <c:v>-5.0420168067226798E-3</c:v>
                </c:pt>
                <c:pt idx="1225">
                  <c:v>-4.20168067226889E-3</c:v>
                </c:pt>
                <c:pt idx="1226">
                  <c:v>-4.20168067226889E-3</c:v>
                </c:pt>
                <c:pt idx="1227">
                  <c:v>-3.3613445378151102E-3</c:v>
                </c:pt>
                <c:pt idx="1228">
                  <c:v>-3.3613445378151102E-3</c:v>
                </c:pt>
                <c:pt idx="1229">
                  <c:v>-3.3613445378151102E-3</c:v>
                </c:pt>
                <c:pt idx="1230">
                  <c:v>-3.3613445378151102E-3</c:v>
                </c:pt>
                <c:pt idx="1231">
                  <c:v>-2.5210084033613299E-3</c:v>
                </c:pt>
                <c:pt idx="1232">
                  <c:v>-2.5210084033613299E-3</c:v>
                </c:pt>
                <c:pt idx="1233">
                  <c:v>-2.5210084033613299E-3</c:v>
                </c:pt>
                <c:pt idx="1234">
                  <c:v>-2.5210084033613299E-3</c:v>
                </c:pt>
                <c:pt idx="1235">
                  <c:v>-2.5210084033613299E-3</c:v>
                </c:pt>
                <c:pt idx="1236">
                  <c:v>-2.5210084033613299E-3</c:v>
                </c:pt>
                <c:pt idx="1237">
                  <c:v>-2.5210084033613299E-3</c:v>
                </c:pt>
                <c:pt idx="1238">
                  <c:v>-2.5210084033613299E-3</c:v>
                </c:pt>
                <c:pt idx="1239">
                  <c:v>-2.5210084033613299E-3</c:v>
                </c:pt>
                <c:pt idx="1240">
                  <c:v>-2.5210084033613299E-3</c:v>
                </c:pt>
                <c:pt idx="1241">
                  <c:v>-2.5210084033613299E-3</c:v>
                </c:pt>
                <c:pt idx="1242">
                  <c:v>-2.5210084033613299E-3</c:v>
                </c:pt>
                <c:pt idx="1243">
                  <c:v>-2.5210084033613299E-3</c:v>
                </c:pt>
                <c:pt idx="1244">
                  <c:v>-2.5210084033613299E-3</c:v>
                </c:pt>
                <c:pt idx="1245">
                  <c:v>-2.5210084033613299E-3</c:v>
                </c:pt>
                <c:pt idx="1246">
                  <c:v>-2.5210084033613299E-3</c:v>
                </c:pt>
                <c:pt idx="1247">
                  <c:v>-2.5210084033613299E-3</c:v>
                </c:pt>
                <c:pt idx="1248">
                  <c:v>-2.5210084033613299E-3</c:v>
                </c:pt>
                <c:pt idx="1249">
                  <c:v>-2.5210084033613299E-3</c:v>
                </c:pt>
                <c:pt idx="1250">
                  <c:v>-1.6806722689075499E-3</c:v>
                </c:pt>
                <c:pt idx="1251">
                  <c:v>-1.6806722689075499E-3</c:v>
                </c:pt>
                <c:pt idx="1252">
                  <c:v>-1.6806722689075499E-3</c:v>
                </c:pt>
                <c:pt idx="1253">
                  <c:v>-1.6806722689075499E-3</c:v>
                </c:pt>
                <c:pt idx="1254">
                  <c:v>-1.6806722689075499E-3</c:v>
                </c:pt>
                <c:pt idx="1255">
                  <c:v>-1.6806722689075499E-3</c:v>
                </c:pt>
                <c:pt idx="1256">
                  <c:v>-8.4033613445377799E-4</c:v>
                </c:pt>
                <c:pt idx="1257">
                  <c:v>-8.4033613445377799E-4</c:v>
                </c:pt>
                <c:pt idx="1258">
                  <c:v>-8.4033613445377799E-4</c:v>
                </c:pt>
                <c:pt idx="1259">
                  <c:v>0</c:v>
                </c:pt>
                <c:pt idx="1260">
                  <c:v>0</c:v>
                </c:pt>
                <c:pt idx="1261">
                  <c:v>0</c:v>
                </c:pt>
                <c:pt idx="1262">
                  <c:v>0</c:v>
                </c:pt>
                <c:pt idx="1263">
                  <c:v>0</c:v>
                </c:pt>
                <c:pt idx="1264">
                  <c:v>0</c:v>
                </c:pt>
                <c:pt idx="1265">
                  <c:v>0</c:v>
                </c:pt>
                <c:pt idx="1266">
                  <c:v>0</c:v>
                </c:pt>
                <c:pt idx="1267">
                  <c:v>0</c:v>
                </c:pt>
                <c:pt idx="1268">
                  <c:v>0</c:v>
                </c:pt>
                <c:pt idx="1269">
                  <c:v>-8.4033613445377799E-4</c:v>
                </c:pt>
                <c:pt idx="1270">
                  <c:v>-8.4033613445377799E-4</c:v>
                </c:pt>
                <c:pt idx="1271">
                  <c:v>-8.4033613445377799E-4</c:v>
                </c:pt>
                <c:pt idx="1272">
                  <c:v>-8.4033613445377799E-4</c:v>
                </c:pt>
                <c:pt idx="1273">
                  <c:v>-8.4033613445377799E-4</c:v>
                </c:pt>
                <c:pt idx="1274">
                  <c:v>-8.4033613445377799E-4</c:v>
                </c:pt>
                <c:pt idx="1275">
                  <c:v>-8.4033613445377799E-4</c:v>
                </c:pt>
                <c:pt idx="1276">
                  <c:v>-8.4033613445377799E-4</c:v>
                </c:pt>
                <c:pt idx="1277">
                  <c:v>-8.4033613445377799E-4</c:v>
                </c:pt>
                <c:pt idx="1278">
                  <c:v>-8.4033613445377799E-4</c:v>
                </c:pt>
                <c:pt idx="1279">
                  <c:v>-8.4033613445377799E-4</c:v>
                </c:pt>
                <c:pt idx="1280">
                  <c:v>-8.4033613445377799E-4</c:v>
                </c:pt>
                <c:pt idx="1281">
                  <c:v>-8.4033613445377799E-4</c:v>
                </c:pt>
                <c:pt idx="1282">
                  <c:v>-8.4033613445377799E-4</c:v>
                </c:pt>
                <c:pt idx="1283">
                  <c:v>-8.4033613445377799E-4</c:v>
                </c:pt>
                <c:pt idx="1284">
                  <c:v>-8.4033613445377799E-4</c:v>
                </c:pt>
                <c:pt idx="1285">
                  <c:v>-8.4033613445377799E-4</c:v>
                </c:pt>
                <c:pt idx="1286">
                  <c:v>-8.4033613445377799E-4</c:v>
                </c:pt>
                <c:pt idx="1287">
                  <c:v>-8.4033613445377799E-4</c:v>
                </c:pt>
                <c:pt idx="1288">
                  <c:v>-8.4033613445377799E-4</c:v>
                </c:pt>
                <c:pt idx="1289">
                  <c:v>-8.4033613445377799E-4</c:v>
                </c:pt>
                <c:pt idx="1290">
                  <c:v>-8.4033613445377799E-4</c:v>
                </c:pt>
                <c:pt idx="1291">
                  <c:v>-8.4033613445377799E-4</c:v>
                </c:pt>
                <c:pt idx="1292">
                  <c:v>-8.4033613445377799E-4</c:v>
                </c:pt>
                <c:pt idx="1293">
                  <c:v>0</c:v>
                </c:pt>
                <c:pt idx="1294">
                  <c:v>0</c:v>
                </c:pt>
                <c:pt idx="1295">
                  <c:v>0</c:v>
                </c:pt>
                <c:pt idx="1296">
                  <c:v>0</c:v>
                </c:pt>
                <c:pt idx="1297">
                  <c:v>0</c:v>
                </c:pt>
                <c:pt idx="1298">
                  <c:v>0</c:v>
                </c:pt>
                <c:pt idx="1299">
                  <c:v>8.4033613445380596E-4</c:v>
                </c:pt>
                <c:pt idx="1300">
                  <c:v>8.4033613445380596E-4</c:v>
                </c:pt>
                <c:pt idx="1301">
                  <c:v>1.68067226890758E-3</c:v>
                </c:pt>
                <c:pt idx="1302">
                  <c:v>1.68067226890758E-3</c:v>
                </c:pt>
                <c:pt idx="1303">
                  <c:v>2.5210084033613599E-3</c:v>
                </c:pt>
                <c:pt idx="1304">
                  <c:v>2.5210084033613599E-3</c:v>
                </c:pt>
                <c:pt idx="1305">
                  <c:v>2.5210084033613599E-3</c:v>
                </c:pt>
                <c:pt idx="1306">
                  <c:v>2.5210084033613599E-3</c:v>
                </c:pt>
                <c:pt idx="1307">
                  <c:v>2.5210084033613599E-3</c:v>
                </c:pt>
                <c:pt idx="1308">
                  <c:v>1.6806722689075499E-3</c:v>
                </c:pt>
                <c:pt idx="1309">
                  <c:v>1.6806722689075499E-3</c:v>
                </c:pt>
                <c:pt idx="1310">
                  <c:v>1.6806722689075499E-3</c:v>
                </c:pt>
                <c:pt idx="1311">
                  <c:v>1.6806722689075499E-3</c:v>
                </c:pt>
                <c:pt idx="1312">
                  <c:v>1.6806722689075499E-3</c:v>
                </c:pt>
                <c:pt idx="1313">
                  <c:v>1.6806722689075499E-3</c:v>
                </c:pt>
                <c:pt idx="1314">
                  <c:v>1.6806722689075499E-3</c:v>
                </c:pt>
                <c:pt idx="1315">
                  <c:v>2.5210084033613299E-3</c:v>
                </c:pt>
                <c:pt idx="1316">
                  <c:v>2.5210084033613299E-3</c:v>
                </c:pt>
                <c:pt idx="1317">
                  <c:v>2.5210084033613299E-3</c:v>
                </c:pt>
                <c:pt idx="1318">
                  <c:v>2.5210084033613299E-3</c:v>
                </c:pt>
                <c:pt idx="1319">
                  <c:v>2.5210084033613299E-3</c:v>
                </c:pt>
                <c:pt idx="1320">
                  <c:v>3.3613445378151102E-3</c:v>
                </c:pt>
                <c:pt idx="1321">
                  <c:v>3.3613445378151102E-3</c:v>
                </c:pt>
                <c:pt idx="1322">
                  <c:v>3.3613445378151102E-3</c:v>
                </c:pt>
                <c:pt idx="1323">
                  <c:v>3.3613445378151102E-3</c:v>
                </c:pt>
                <c:pt idx="1324">
                  <c:v>4.20168067226889E-3</c:v>
                </c:pt>
                <c:pt idx="1325">
                  <c:v>3.3613445378151102E-3</c:v>
                </c:pt>
                <c:pt idx="1326">
                  <c:v>3.3613445378151102E-3</c:v>
                </c:pt>
                <c:pt idx="1327">
                  <c:v>3.3613445378151102E-3</c:v>
                </c:pt>
                <c:pt idx="1328">
                  <c:v>3.3613445378151102E-3</c:v>
                </c:pt>
                <c:pt idx="1329">
                  <c:v>2.5210084033613299E-3</c:v>
                </c:pt>
                <c:pt idx="1330">
                  <c:v>2.5210084033613299E-3</c:v>
                </c:pt>
                <c:pt idx="1331">
                  <c:v>2.5210084033613299E-3</c:v>
                </c:pt>
                <c:pt idx="1332">
                  <c:v>2.5210084033613299E-3</c:v>
                </c:pt>
                <c:pt idx="1333">
                  <c:v>2.5210084033613299E-3</c:v>
                </c:pt>
                <c:pt idx="1334">
                  <c:v>2.5210084033613299E-3</c:v>
                </c:pt>
                <c:pt idx="1335">
                  <c:v>2.5210084033613299E-3</c:v>
                </c:pt>
                <c:pt idx="1336">
                  <c:v>2.5210084033613299E-3</c:v>
                </c:pt>
                <c:pt idx="1337">
                  <c:v>2.5210084033613299E-3</c:v>
                </c:pt>
                <c:pt idx="1338">
                  <c:v>2.5210084033613299E-3</c:v>
                </c:pt>
                <c:pt idx="1339">
                  <c:v>2.5210084033613299E-3</c:v>
                </c:pt>
                <c:pt idx="1340">
                  <c:v>1.6806722689075499E-3</c:v>
                </c:pt>
                <c:pt idx="1341">
                  <c:v>1.6806722689075499E-3</c:v>
                </c:pt>
                <c:pt idx="1342">
                  <c:v>1.6806722689075499E-3</c:v>
                </c:pt>
                <c:pt idx="1343">
                  <c:v>1.6806722689075499E-3</c:v>
                </c:pt>
                <c:pt idx="1344">
                  <c:v>1.6806722689075499E-3</c:v>
                </c:pt>
                <c:pt idx="1345">
                  <c:v>1.6806722689075499E-3</c:v>
                </c:pt>
                <c:pt idx="1346">
                  <c:v>8.4033613445377799E-4</c:v>
                </c:pt>
                <c:pt idx="1347">
                  <c:v>8.4033613445377799E-4</c:v>
                </c:pt>
                <c:pt idx="1348">
                  <c:v>8.4033613445377799E-4</c:v>
                </c:pt>
                <c:pt idx="1349">
                  <c:v>8.4033613445377799E-4</c:v>
                </c:pt>
                <c:pt idx="1350">
                  <c:v>8.4033613445377799E-4</c:v>
                </c:pt>
                <c:pt idx="1351">
                  <c:v>8.4033613445377799E-4</c:v>
                </c:pt>
                <c:pt idx="1352">
                  <c:v>8.4033613445377799E-4</c:v>
                </c:pt>
                <c:pt idx="1353">
                  <c:v>0</c:v>
                </c:pt>
                <c:pt idx="1354">
                  <c:v>0</c:v>
                </c:pt>
                <c:pt idx="1355">
                  <c:v>0</c:v>
                </c:pt>
                <c:pt idx="1356">
                  <c:v>0</c:v>
                </c:pt>
                <c:pt idx="1357">
                  <c:v>0</c:v>
                </c:pt>
                <c:pt idx="1358">
                  <c:v>0</c:v>
                </c:pt>
                <c:pt idx="1359">
                  <c:v>0</c:v>
                </c:pt>
                <c:pt idx="1360">
                  <c:v>0</c:v>
                </c:pt>
                <c:pt idx="1361">
                  <c:v>0</c:v>
                </c:pt>
                <c:pt idx="1362">
                  <c:v>0</c:v>
                </c:pt>
                <c:pt idx="1363">
                  <c:v>0</c:v>
                </c:pt>
                <c:pt idx="1364">
                  <c:v>0</c:v>
                </c:pt>
                <c:pt idx="1365">
                  <c:v>0</c:v>
                </c:pt>
                <c:pt idx="1366">
                  <c:v>0</c:v>
                </c:pt>
                <c:pt idx="1367">
                  <c:v>0</c:v>
                </c:pt>
                <c:pt idx="1368">
                  <c:v>0</c:v>
                </c:pt>
                <c:pt idx="1369">
                  <c:v>0</c:v>
                </c:pt>
                <c:pt idx="1370">
                  <c:v>0</c:v>
                </c:pt>
                <c:pt idx="1371">
                  <c:v>0</c:v>
                </c:pt>
                <c:pt idx="1372">
                  <c:v>0</c:v>
                </c:pt>
                <c:pt idx="1373">
                  <c:v>0</c:v>
                </c:pt>
                <c:pt idx="1374">
                  <c:v>8.4033613445377799E-4</c:v>
                </c:pt>
                <c:pt idx="1375">
                  <c:v>8.4033613445377799E-4</c:v>
                </c:pt>
                <c:pt idx="1376">
                  <c:v>8.4033613445377799E-4</c:v>
                </c:pt>
                <c:pt idx="1377">
                  <c:v>8.4033613445377799E-4</c:v>
                </c:pt>
                <c:pt idx="1378">
                  <c:v>8.4033613445377799E-4</c:v>
                </c:pt>
                <c:pt idx="1379">
                  <c:v>8.4033613445377799E-4</c:v>
                </c:pt>
                <c:pt idx="1380">
                  <c:v>8.4033613445377799E-4</c:v>
                </c:pt>
                <c:pt idx="1381">
                  <c:v>8.4033613445377799E-4</c:v>
                </c:pt>
                <c:pt idx="1382">
                  <c:v>8.4033613445377799E-4</c:v>
                </c:pt>
                <c:pt idx="1383">
                  <c:v>8.4033613445377799E-4</c:v>
                </c:pt>
                <c:pt idx="1384">
                  <c:v>8.4033613445377799E-4</c:v>
                </c:pt>
                <c:pt idx="1385">
                  <c:v>8.4033613445377799E-4</c:v>
                </c:pt>
                <c:pt idx="1386">
                  <c:v>8.4033613445377799E-4</c:v>
                </c:pt>
                <c:pt idx="1387">
                  <c:v>8.4033613445377799E-4</c:v>
                </c:pt>
                <c:pt idx="1388">
                  <c:v>8.4033613445377799E-4</c:v>
                </c:pt>
                <c:pt idx="1389">
                  <c:v>8.4033613445377799E-4</c:v>
                </c:pt>
                <c:pt idx="1390">
                  <c:v>8.4033613445377799E-4</c:v>
                </c:pt>
                <c:pt idx="1391">
                  <c:v>8.4033613445377799E-4</c:v>
                </c:pt>
                <c:pt idx="1392">
                  <c:v>8.4033613445377799E-4</c:v>
                </c:pt>
                <c:pt idx="1393">
                  <c:v>8.4033613445377799E-4</c:v>
                </c:pt>
                <c:pt idx="1394">
                  <c:v>8.4033613445377799E-4</c:v>
                </c:pt>
                <c:pt idx="1395">
                  <c:v>8.4033613445377799E-4</c:v>
                </c:pt>
                <c:pt idx="1396">
                  <c:v>8.4033613445377799E-4</c:v>
                </c:pt>
                <c:pt idx="1397">
                  <c:v>8.4033613445377799E-4</c:v>
                </c:pt>
                <c:pt idx="1398">
                  <c:v>8.4033613445377799E-4</c:v>
                </c:pt>
                <c:pt idx="1399">
                  <c:v>8.4033613445377799E-4</c:v>
                </c:pt>
                <c:pt idx="1400">
                  <c:v>8.4033613445377799E-4</c:v>
                </c:pt>
                <c:pt idx="1401">
                  <c:v>8.4033613445377799E-4</c:v>
                </c:pt>
                <c:pt idx="1402">
                  <c:v>0</c:v>
                </c:pt>
                <c:pt idx="1403">
                  <c:v>0</c:v>
                </c:pt>
                <c:pt idx="1404">
                  <c:v>0</c:v>
                </c:pt>
                <c:pt idx="1405">
                  <c:v>0</c:v>
                </c:pt>
                <c:pt idx="1406">
                  <c:v>0</c:v>
                </c:pt>
                <c:pt idx="1407">
                  <c:v>0</c:v>
                </c:pt>
                <c:pt idx="1408">
                  <c:v>0</c:v>
                </c:pt>
                <c:pt idx="1409">
                  <c:v>0</c:v>
                </c:pt>
                <c:pt idx="1410">
                  <c:v>0</c:v>
                </c:pt>
                <c:pt idx="1411">
                  <c:v>0</c:v>
                </c:pt>
                <c:pt idx="1412">
                  <c:v>0</c:v>
                </c:pt>
                <c:pt idx="1413">
                  <c:v>0</c:v>
                </c:pt>
                <c:pt idx="1414">
                  <c:v>8.4033613445377799E-4</c:v>
                </c:pt>
                <c:pt idx="1415">
                  <c:v>8.4033613445377799E-4</c:v>
                </c:pt>
                <c:pt idx="1416">
                  <c:v>8.4033613445377799E-4</c:v>
                </c:pt>
                <c:pt idx="1417">
                  <c:v>8.4033613445377799E-4</c:v>
                </c:pt>
                <c:pt idx="1418">
                  <c:v>8.4033613445377799E-4</c:v>
                </c:pt>
                <c:pt idx="1419">
                  <c:v>8.4033613445377799E-4</c:v>
                </c:pt>
                <c:pt idx="1420">
                  <c:v>8.4033613445377799E-4</c:v>
                </c:pt>
                <c:pt idx="1421">
                  <c:v>8.4033613445377799E-4</c:v>
                </c:pt>
                <c:pt idx="1422">
                  <c:v>8.4033613445377799E-4</c:v>
                </c:pt>
                <c:pt idx="1423">
                  <c:v>1.6806722689075499E-3</c:v>
                </c:pt>
                <c:pt idx="1424">
                  <c:v>1.6806722689075499E-3</c:v>
                </c:pt>
                <c:pt idx="1425">
                  <c:v>1.6806722689075499E-3</c:v>
                </c:pt>
                <c:pt idx="1426">
                  <c:v>1.6806722689075499E-3</c:v>
                </c:pt>
                <c:pt idx="1427">
                  <c:v>1.6806722689075499E-3</c:v>
                </c:pt>
                <c:pt idx="1428">
                  <c:v>1.6806722689075499E-3</c:v>
                </c:pt>
                <c:pt idx="1429">
                  <c:v>1.6806722689075499E-3</c:v>
                </c:pt>
                <c:pt idx="1430">
                  <c:v>1.6806722689075499E-3</c:v>
                </c:pt>
                <c:pt idx="1431">
                  <c:v>1.6806722689075499E-3</c:v>
                </c:pt>
                <c:pt idx="1432">
                  <c:v>1.6806722689075499E-3</c:v>
                </c:pt>
                <c:pt idx="1433">
                  <c:v>1.6806722689075499E-3</c:v>
                </c:pt>
                <c:pt idx="1434">
                  <c:v>1.6806722689075499E-3</c:v>
                </c:pt>
                <c:pt idx="1435">
                  <c:v>1.6806722689075499E-3</c:v>
                </c:pt>
                <c:pt idx="1436">
                  <c:v>1.6806722689075499E-3</c:v>
                </c:pt>
                <c:pt idx="1437">
                  <c:v>1.6806722689075499E-3</c:v>
                </c:pt>
                <c:pt idx="1438">
                  <c:v>1.6806722689075499E-3</c:v>
                </c:pt>
                <c:pt idx="1439">
                  <c:v>1.6806722689075499E-3</c:v>
                </c:pt>
                <c:pt idx="1440">
                  <c:v>1.6806722689075499E-3</c:v>
                </c:pt>
                <c:pt idx="1441">
                  <c:v>1.6806722689075499E-3</c:v>
                </c:pt>
                <c:pt idx="1442">
                  <c:v>1.6806722689075499E-3</c:v>
                </c:pt>
                <c:pt idx="1443">
                  <c:v>1.6806722689075499E-3</c:v>
                </c:pt>
                <c:pt idx="1444">
                  <c:v>1.6806722689075499E-3</c:v>
                </c:pt>
                <c:pt idx="1445">
                  <c:v>1.6806722689075499E-3</c:v>
                </c:pt>
                <c:pt idx="1446">
                  <c:v>2.5210084033613599E-3</c:v>
                </c:pt>
                <c:pt idx="1447">
                  <c:v>2.5210084033613599E-3</c:v>
                </c:pt>
                <c:pt idx="1448">
                  <c:v>3.3613445378151401E-3</c:v>
                </c:pt>
                <c:pt idx="1449">
                  <c:v>3.3613445378151401E-3</c:v>
                </c:pt>
                <c:pt idx="1450">
                  <c:v>3.3613445378151401E-3</c:v>
                </c:pt>
                <c:pt idx="1451">
                  <c:v>3.3613445378151401E-3</c:v>
                </c:pt>
                <c:pt idx="1452">
                  <c:v>3.3613445378151401E-3</c:v>
                </c:pt>
                <c:pt idx="1453">
                  <c:v>3.3613445378151401E-3</c:v>
                </c:pt>
                <c:pt idx="1454">
                  <c:v>3.3613445378151401E-3</c:v>
                </c:pt>
                <c:pt idx="1455">
                  <c:v>3.3613445378151401E-3</c:v>
                </c:pt>
                <c:pt idx="1456">
                  <c:v>3.3613445378151401E-3</c:v>
                </c:pt>
                <c:pt idx="1457">
                  <c:v>3.3613445378151401E-3</c:v>
                </c:pt>
                <c:pt idx="1458">
                  <c:v>3.3613445378151401E-3</c:v>
                </c:pt>
                <c:pt idx="1459">
                  <c:v>3.3613445378151401E-3</c:v>
                </c:pt>
                <c:pt idx="1460">
                  <c:v>3.3613445378151401E-3</c:v>
                </c:pt>
                <c:pt idx="1461">
                  <c:v>4.2016806722689204E-3</c:v>
                </c:pt>
                <c:pt idx="1462">
                  <c:v>3.3613445378151401E-3</c:v>
                </c:pt>
                <c:pt idx="1463">
                  <c:v>3.3613445378151401E-3</c:v>
                </c:pt>
                <c:pt idx="1464">
                  <c:v>3.3613445378151401E-3</c:v>
                </c:pt>
                <c:pt idx="1465">
                  <c:v>3.3613445378151401E-3</c:v>
                </c:pt>
                <c:pt idx="1466">
                  <c:v>4.2016806722689204E-3</c:v>
                </c:pt>
                <c:pt idx="1467">
                  <c:v>4.2016806722689204E-3</c:v>
                </c:pt>
                <c:pt idx="1468">
                  <c:v>4.2016806722689204E-3</c:v>
                </c:pt>
                <c:pt idx="1469">
                  <c:v>4.2016806722689204E-3</c:v>
                </c:pt>
                <c:pt idx="1470">
                  <c:v>4.2016806722689204E-3</c:v>
                </c:pt>
                <c:pt idx="1471">
                  <c:v>4.2016806722689204E-3</c:v>
                </c:pt>
                <c:pt idx="1472">
                  <c:v>4.2016806722689204E-3</c:v>
                </c:pt>
                <c:pt idx="1473">
                  <c:v>4.2016806722689204E-3</c:v>
                </c:pt>
                <c:pt idx="1474">
                  <c:v>4.2016806722689204E-3</c:v>
                </c:pt>
                <c:pt idx="1475">
                  <c:v>4.2016806722689204E-3</c:v>
                </c:pt>
                <c:pt idx="1476">
                  <c:v>4.2016806722689204E-3</c:v>
                </c:pt>
                <c:pt idx="1477">
                  <c:v>3.3613445378151401E-3</c:v>
                </c:pt>
                <c:pt idx="1478">
                  <c:v>3.3613445378151401E-3</c:v>
                </c:pt>
                <c:pt idx="1479">
                  <c:v>3.3613445378151401E-3</c:v>
                </c:pt>
                <c:pt idx="1480">
                  <c:v>3.3613445378151401E-3</c:v>
                </c:pt>
                <c:pt idx="1481">
                  <c:v>3.3613445378151401E-3</c:v>
                </c:pt>
                <c:pt idx="1482">
                  <c:v>3.3613445378151401E-3</c:v>
                </c:pt>
                <c:pt idx="1483">
                  <c:v>3.3613445378151401E-3</c:v>
                </c:pt>
                <c:pt idx="1484">
                  <c:v>3.3613445378151401E-3</c:v>
                </c:pt>
                <c:pt idx="1485">
                  <c:v>2.5210084033613299E-3</c:v>
                </c:pt>
                <c:pt idx="1486">
                  <c:v>2.5210084033613299E-3</c:v>
                </c:pt>
                <c:pt idx="1487">
                  <c:v>2.5210084033613299E-3</c:v>
                </c:pt>
                <c:pt idx="1488">
                  <c:v>1.6806722689075499E-3</c:v>
                </c:pt>
                <c:pt idx="1489">
                  <c:v>1.6806722689075499E-3</c:v>
                </c:pt>
                <c:pt idx="1490">
                  <c:v>1.6806722689075499E-3</c:v>
                </c:pt>
                <c:pt idx="1491">
                  <c:v>1.6806722689075499E-3</c:v>
                </c:pt>
                <c:pt idx="1492">
                  <c:v>1.6806722689075499E-3</c:v>
                </c:pt>
                <c:pt idx="1493">
                  <c:v>1.6806722689075499E-3</c:v>
                </c:pt>
                <c:pt idx="1494">
                  <c:v>1.6806722689075499E-3</c:v>
                </c:pt>
                <c:pt idx="1495">
                  <c:v>1.6806722689075499E-3</c:v>
                </c:pt>
                <c:pt idx="1496">
                  <c:v>1.6806722689075499E-3</c:v>
                </c:pt>
                <c:pt idx="1497">
                  <c:v>1.6806722689075499E-3</c:v>
                </c:pt>
                <c:pt idx="1498">
                  <c:v>1.6806722689075499E-3</c:v>
                </c:pt>
                <c:pt idx="1499">
                  <c:v>1.6806722689075499E-3</c:v>
                </c:pt>
                <c:pt idx="1500">
                  <c:v>1.6806722689075499E-3</c:v>
                </c:pt>
                <c:pt idx="1501">
                  <c:v>1.6806722689075499E-3</c:v>
                </c:pt>
                <c:pt idx="1502">
                  <c:v>1.6806722689075499E-3</c:v>
                </c:pt>
                <c:pt idx="1503">
                  <c:v>1.6806722689075499E-3</c:v>
                </c:pt>
                <c:pt idx="1504">
                  <c:v>2.5210084033613299E-3</c:v>
                </c:pt>
                <c:pt idx="1505">
                  <c:v>2.5210084033613299E-3</c:v>
                </c:pt>
                <c:pt idx="1506">
                  <c:v>2.5210084033613299E-3</c:v>
                </c:pt>
                <c:pt idx="1507">
                  <c:v>2.5210084033613299E-3</c:v>
                </c:pt>
                <c:pt idx="1508">
                  <c:v>2.5210084033613299E-3</c:v>
                </c:pt>
                <c:pt idx="1509">
                  <c:v>2.5210084033613299E-3</c:v>
                </c:pt>
                <c:pt idx="1510">
                  <c:v>2.5210084033613299E-3</c:v>
                </c:pt>
                <c:pt idx="1511">
                  <c:v>2.5210084033613299E-3</c:v>
                </c:pt>
                <c:pt idx="1512">
                  <c:v>2.5210084033613299E-3</c:v>
                </c:pt>
                <c:pt idx="1513">
                  <c:v>2.5210084033613299E-3</c:v>
                </c:pt>
                <c:pt idx="1514">
                  <c:v>2.5210084033613299E-3</c:v>
                </c:pt>
                <c:pt idx="1515">
                  <c:v>2.5210084033613299E-3</c:v>
                </c:pt>
                <c:pt idx="1516">
                  <c:v>2.5210084033613299E-3</c:v>
                </c:pt>
                <c:pt idx="1517">
                  <c:v>2.5210084033613299E-3</c:v>
                </c:pt>
                <c:pt idx="1518">
                  <c:v>2.5210084033613299E-3</c:v>
                </c:pt>
                <c:pt idx="1519">
                  <c:v>2.5210084033613299E-3</c:v>
                </c:pt>
                <c:pt idx="1520">
                  <c:v>2.5210084033613299E-3</c:v>
                </c:pt>
                <c:pt idx="1521">
                  <c:v>2.5210084033613299E-3</c:v>
                </c:pt>
                <c:pt idx="1522">
                  <c:v>2.5210084033613299E-3</c:v>
                </c:pt>
                <c:pt idx="1523">
                  <c:v>2.5210084033613299E-3</c:v>
                </c:pt>
                <c:pt idx="1524">
                  <c:v>2.5210084033613299E-3</c:v>
                </c:pt>
                <c:pt idx="1525">
                  <c:v>2.5210084033613299E-3</c:v>
                </c:pt>
                <c:pt idx="1526">
                  <c:v>3.3613445378151102E-3</c:v>
                </c:pt>
                <c:pt idx="1527">
                  <c:v>3.3613445378151102E-3</c:v>
                </c:pt>
                <c:pt idx="1528">
                  <c:v>3.3613445378151102E-3</c:v>
                </c:pt>
                <c:pt idx="1529">
                  <c:v>3.3613445378151102E-3</c:v>
                </c:pt>
                <c:pt idx="1530">
                  <c:v>3.3613445378151102E-3</c:v>
                </c:pt>
                <c:pt idx="1531">
                  <c:v>3.3613445378151102E-3</c:v>
                </c:pt>
                <c:pt idx="1532">
                  <c:v>3.3613445378151102E-3</c:v>
                </c:pt>
                <c:pt idx="1533">
                  <c:v>3.3613445378151102E-3</c:v>
                </c:pt>
                <c:pt idx="1534">
                  <c:v>3.3613445378151102E-3</c:v>
                </c:pt>
                <c:pt idx="1535">
                  <c:v>3.3613445378151102E-3</c:v>
                </c:pt>
                <c:pt idx="1536">
                  <c:v>3.3613445378151102E-3</c:v>
                </c:pt>
                <c:pt idx="1537">
                  <c:v>4.20168067226889E-3</c:v>
                </c:pt>
                <c:pt idx="1538">
                  <c:v>4.20168067226889E-3</c:v>
                </c:pt>
                <c:pt idx="1539">
                  <c:v>4.20168067226889E-3</c:v>
                </c:pt>
                <c:pt idx="1540">
                  <c:v>4.20168067226889E-3</c:v>
                </c:pt>
                <c:pt idx="1541">
                  <c:v>4.20168067226889E-3</c:v>
                </c:pt>
                <c:pt idx="1542">
                  <c:v>4.20168067226889E-3</c:v>
                </c:pt>
                <c:pt idx="1543">
                  <c:v>4.20168067226889E-3</c:v>
                </c:pt>
                <c:pt idx="1544">
                  <c:v>4.20168067226889E-3</c:v>
                </c:pt>
                <c:pt idx="1545">
                  <c:v>4.20168067226889E-3</c:v>
                </c:pt>
                <c:pt idx="1546">
                  <c:v>4.20168067226889E-3</c:v>
                </c:pt>
                <c:pt idx="1547">
                  <c:v>4.20168067226889E-3</c:v>
                </c:pt>
                <c:pt idx="1548">
                  <c:v>4.20168067226889E-3</c:v>
                </c:pt>
                <c:pt idx="1549">
                  <c:v>4.20168067226889E-3</c:v>
                </c:pt>
                <c:pt idx="1550">
                  <c:v>4.20168067226889E-3</c:v>
                </c:pt>
                <c:pt idx="1551">
                  <c:v>4.20168067226889E-3</c:v>
                </c:pt>
                <c:pt idx="1552">
                  <c:v>4.20168067226889E-3</c:v>
                </c:pt>
                <c:pt idx="1553">
                  <c:v>4.20168067226889E-3</c:v>
                </c:pt>
                <c:pt idx="1554">
                  <c:v>4.20168067226889E-3</c:v>
                </c:pt>
                <c:pt idx="1555">
                  <c:v>4.20168067226889E-3</c:v>
                </c:pt>
                <c:pt idx="1556">
                  <c:v>4.20168067226889E-3</c:v>
                </c:pt>
                <c:pt idx="1557">
                  <c:v>4.20168067226889E-3</c:v>
                </c:pt>
                <c:pt idx="1558">
                  <c:v>4.20168067226889E-3</c:v>
                </c:pt>
                <c:pt idx="1559">
                  <c:v>4.20168067226889E-3</c:v>
                </c:pt>
                <c:pt idx="1560">
                  <c:v>4.20168067226889E-3</c:v>
                </c:pt>
                <c:pt idx="1561">
                  <c:v>4.20168067226889E-3</c:v>
                </c:pt>
                <c:pt idx="1562">
                  <c:v>4.20168067226889E-3</c:v>
                </c:pt>
                <c:pt idx="1563">
                  <c:v>4.20168067226889E-3</c:v>
                </c:pt>
                <c:pt idx="1564">
                  <c:v>4.20168067226889E-3</c:v>
                </c:pt>
                <c:pt idx="1565">
                  <c:v>4.20168067226889E-3</c:v>
                </c:pt>
                <c:pt idx="1566">
                  <c:v>4.20168067226889E-3</c:v>
                </c:pt>
                <c:pt idx="1567">
                  <c:v>4.20168067226889E-3</c:v>
                </c:pt>
                <c:pt idx="1568">
                  <c:v>4.20168067226889E-3</c:v>
                </c:pt>
                <c:pt idx="1569">
                  <c:v>4.20168067226889E-3</c:v>
                </c:pt>
                <c:pt idx="1570">
                  <c:v>4.20168067226889E-3</c:v>
                </c:pt>
                <c:pt idx="1571">
                  <c:v>4.20168067226889E-3</c:v>
                </c:pt>
                <c:pt idx="1572">
                  <c:v>4.20168067226889E-3</c:v>
                </c:pt>
                <c:pt idx="1573">
                  <c:v>4.20168067226889E-3</c:v>
                </c:pt>
                <c:pt idx="1574">
                  <c:v>4.20168067226889E-3</c:v>
                </c:pt>
                <c:pt idx="1575">
                  <c:v>4.20168067226889E-3</c:v>
                </c:pt>
                <c:pt idx="1576">
                  <c:v>4.20168067226889E-3</c:v>
                </c:pt>
                <c:pt idx="1577">
                  <c:v>4.20168067226889E-3</c:v>
                </c:pt>
                <c:pt idx="1578">
                  <c:v>4.20168067226889E-3</c:v>
                </c:pt>
                <c:pt idx="1579">
                  <c:v>3.3613445378151102E-3</c:v>
                </c:pt>
                <c:pt idx="1580">
                  <c:v>3.3613445378151102E-3</c:v>
                </c:pt>
                <c:pt idx="1581">
                  <c:v>2.5210084033613299E-3</c:v>
                </c:pt>
                <c:pt idx="1582">
                  <c:v>2.5210084033613299E-3</c:v>
                </c:pt>
                <c:pt idx="1583">
                  <c:v>2.5210084033613299E-3</c:v>
                </c:pt>
                <c:pt idx="1584">
                  <c:v>2.5210084033613299E-3</c:v>
                </c:pt>
                <c:pt idx="1585">
                  <c:v>2.5210084033613299E-3</c:v>
                </c:pt>
                <c:pt idx="1586">
                  <c:v>1.6806722689075499E-3</c:v>
                </c:pt>
                <c:pt idx="1587">
                  <c:v>2.5210084033613299E-3</c:v>
                </c:pt>
                <c:pt idx="1588">
                  <c:v>2.5210084033613299E-3</c:v>
                </c:pt>
                <c:pt idx="1589">
                  <c:v>2.5210084033613299E-3</c:v>
                </c:pt>
                <c:pt idx="1590">
                  <c:v>2.5210084033613299E-3</c:v>
                </c:pt>
                <c:pt idx="1591">
                  <c:v>2.5210084033613299E-3</c:v>
                </c:pt>
                <c:pt idx="1592">
                  <c:v>2.5210084033613299E-3</c:v>
                </c:pt>
                <c:pt idx="1593">
                  <c:v>2.5210084033613299E-3</c:v>
                </c:pt>
                <c:pt idx="1594">
                  <c:v>2.5210084033613299E-3</c:v>
                </c:pt>
                <c:pt idx="1595">
                  <c:v>2.5210084033613299E-3</c:v>
                </c:pt>
                <c:pt idx="1596">
                  <c:v>2.5210084033613299E-3</c:v>
                </c:pt>
                <c:pt idx="1597">
                  <c:v>2.5210084033613299E-3</c:v>
                </c:pt>
                <c:pt idx="1598">
                  <c:v>2.5210084033613299E-3</c:v>
                </c:pt>
                <c:pt idx="1599">
                  <c:v>2.5210084033613299E-3</c:v>
                </c:pt>
                <c:pt idx="1600">
                  <c:v>2.5210084033613299E-3</c:v>
                </c:pt>
                <c:pt idx="1601">
                  <c:v>2.5210084033613299E-3</c:v>
                </c:pt>
                <c:pt idx="1602">
                  <c:v>2.5210084033613299E-3</c:v>
                </c:pt>
                <c:pt idx="1603">
                  <c:v>2.5210084033613299E-3</c:v>
                </c:pt>
                <c:pt idx="1604">
                  <c:v>2.5210084033613299E-3</c:v>
                </c:pt>
                <c:pt idx="1605">
                  <c:v>2.5210084033613299E-3</c:v>
                </c:pt>
                <c:pt idx="1606">
                  <c:v>2.5210084033613299E-3</c:v>
                </c:pt>
                <c:pt idx="1607">
                  <c:v>2.5210084033613299E-3</c:v>
                </c:pt>
                <c:pt idx="1608">
                  <c:v>2.5210084033613299E-3</c:v>
                </c:pt>
                <c:pt idx="1609">
                  <c:v>2.5210084033613299E-3</c:v>
                </c:pt>
                <c:pt idx="1610">
                  <c:v>2.5210084033613299E-3</c:v>
                </c:pt>
                <c:pt idx="1611">
                  <c:v>2.5210084033613299E-3</c:v>
                </c:pt>
                <c:pt idx="1612">
                  <c:v>2.5210084033613299E-3</c:v>
                </c:pt>
                <c:pt idx="1613">
                  <c:v>2.5210084033613299E-3</c:v>
                </c:pt>
                <c:pt idx="1614">
                  <c:v>3.3613445378151401E-3</c:v>
                </c:pt>
                <c:pt idx="1615">
                  <c:v>3.3613445378151401E-3</c:v>
                </c:pt>
                <c:pt idx="1616">
                  <c:v>3.3613445378151401E-3</c:v>
                </c:pt>
                <c:pt idx="1617">
                  <c:v>2.5210084033613599E-3</c:v>
                </c:pt>
                <c:pt idx="1618">
                  <c:v>2.5210084033613599E-3</c:v>
                </c:pt>
                <c:pt idx="1619">
                  <c:v>2.5210084033613599E-3</c:v>
                </c:pt>
                <c:pt idx="1620">
                  <c:v>2.5210084033613599E-3</c:v>
                </c:pt>
                <c:pt idx="1621">
                  <c:v>2.5210084033613599E-3</c:v>
                </c:pt>
                <c:pt idx="1622">
                  <c:v>2.5210084033613599E-3</c:v>
                </c:pt>
                <c:pt idx="1623">
                  <c:v>2.5210084033613599E-3</c:v>
                </c:pt>
                <c:pt idx="1624">
                  <c:v>2.5210084033613599E-3</c:v>
                </c:pt>
                <c:pt idx="1625">
                  <c:v>2.5210084033613599E-3</c:v>
                </c:pt>
                <c:pt idx="1626">
                  <c:v>2.5210084033613599E-3</c:v>
                </c:pt>
                <c:pt idx="1627">
                  <c:v>2.5210084033613599E-3</c:v>
                </c:pt>
                <c:pt idx="1628">
                  <c:v>1.68067226890758E-3</c:v>
                </c:pt>
                <c:pt idx="1629">
                  <c:v>1.68067226890758E-3</c:v>
                </c:pt>
                <c:pt idx="1630">
                  <c:v>8.4033613445380596E-4</c:v>
                </c:pt>
                <c:pt idx="1631">
                  <c:v>8.4033613445380596E-4</c:v>
                </c:pt>
                <c:pt idx="1632">
                  <c:v>8.4033613445380596E-4</c:v>
                </c:pt>
                <c:pt idx="1633">
                  <c:v>8.4033613445380596E-4</c:v>
                </c:pt>
                <c:pt idx="1634">
                  <c:v>8.4033613445380596E-4</c:v>
                </c:pt>
                <c:pt idx="1635">
                  <c:v>8.4033613445380596E-4</c:v>
                </c:pt>
                <c:pt idx="1636">
                  <c:v>8.4033613445380596E-4</c:v>
                </c:pt>
                <c:pt idx="1637">
                  <c:v>8.4033613445380596E-4</c:v>
                </c:pt>
                <c:pt idx="1638">
                  <c:v>8.4033613445380596E-4</c:v>
                </c:pt>
                <c:pt idx="1639">
                  <c:v>8.4033613445380596E-4</c:v>
                </c:pt>
                <c:pt idx="1640">
                  <c:v>8.4033613445380596E-4</c:v>
                </c:pt>
                <c:pt idx="1641">
                  <c:v>8.4033613445380596E-4</c:v>
                </c:pt>
                <c:pt idx="1642">
                  <c:v>8.4033613445380596E-4</c:v>
                </c:pt>
                <c:pt idx="1643">
                  <c:v>8.4033613445380596E-4</c:v>
                </c:pt>
                <c:pt idx="1644">
                  <c:v>8.4033613445380596E-4</c:v>
                </c:pt>
                <c:pt idx="1645">
                  <c:v>8.4033613445380596E-4</c:v>
                </c:pt>
                <c:pt idx="1646">
                  <c:v>8.4033613445380596E-4</c:v>
                </c:pt>
                <c:pt idx="1647">
                  <c:v>8.4033613445380596E-4</c:v>
                </c:pt>
                <c:pt idx="1648">
                  <c:v>8.4033613445380596E-4</c:v>
                </c:pt>
                <c:pt idx="1649">
                  <c:v>8.4033613445380596E-4</c:v>
                </c:pt>
                <c:pt idx="1650">
                  <c:v>8.4033613445380596E-4</c:v>
                </c:pt>
                <c:pt idx="1651">
                  <c:v>8.4033613445380596E-4</c:v>
                </c:pt>
                <c:pt idx="1652">
                  <c:v>8.4033613445380596E-4</c:v>
                </c:pt>
                <c:pt idx="1653">
                  <c:v>8.4033613445380596E-4</c:v>
                </c:pt>
                <c:pt idx="1654">
                  <c:v>8.4033613445380596E-4</c:v>
                </c:pt>
                <c:pt idx="1655">
                  <c:v>8.4033613445380596E-4</c:v>
                </c:pt>
                <c:pt idx="1656">
                  <c:v>8.4033613445380596E-4</c:v>
                </c:pt>
                <c:pt idx="1657">
                  <c:v>8.4033613445380596E-4</c:v>
                </c:pt>
                <c:pt idx="1658">
                  <c:v>8.4033613445380596E-4</c:v>
                </c:pt>
                <c:pt idx="1659">
                  <c:v>8.4033613445380596E-4</c:v>
                </c:pt>
                <c:pt idx="1660">
                  <c:v>8.4033613445380596E-4</c:v>
                </c:pt>
                <c:pt idx="1661">
                  <c:v>8.4033613445380596E-4</c:v>
                </c:pt>
                <c:pt idx="1662">
                  <c:v>8.4033613445380596E-4</c:v>
                </c:pt>
                <c:pt idx="1663">
                  <c:v>8.4033613445380596E-4</c:v>
                </c:pt>
                <c:pt idx="1664">
                  <c:v>8.4033613445380596E-4</c:v>
                </c:pt>
                <c:pt idx="1665">
                  <c:v>8.4033613445380596E-4</c:v>
                </c:pt>
                <c:pt idx="1666">
                  <c:v>0</c:v>
                </c:pt>
                <c:pt idx="1667">
                  <c:v>8.4033613445377799E-4</c:v>
                </c:pt>
                <c:pt idx="1668">
                  <c:v>8.4033613445377799E-4</c:v>
                </c:pt>
                <c:pt idx="1669">
                  <c:v>8.4033613445377799E-4</c:v>
                </c:pt>
                <c:pt idx="1670">
                  <c:v>8.4033613445377799E-4</c:v>
                </c:pt>
                <c:pt idx="1671">
                  <c:v>8.4033613445377799E-4</c:v>
                </c:pt>
                <c:pt idx="1672">
                  <c:v>8.4033613445377799E-4</c:v>
                </c:pt>
                <c:pt idx="1673">
                  <c:v>8.4033613445377799E-4</c:v>
                </c:pt>
                <c:pt idx="1674">
                  <c:v>8.4033613445377799E-4</c:v>
                </c:pt>
                <c:pt idx="1675">
                  <c:v>8.4033613445377799E-4</c:v>
                </c:pt>
                <c:pt idx="1676">
                  <c:v>8.4033613445377799E-4</c:v>
                </c:pt>
                <c:pt idx="1677">
                  <c:v>8.4033613445377799E-4</c:v>
                </c:pt>
                <c:pt idx="1678">
                  <c:v>8.4033613445377799E-4</c:v>
                </c:pt>
                <c:pt idx="1679">
                  <c:v>8.4033613445377799E-4</c:v>
                </c:pt>
                <c:pt idx="1680">
                  <c:v>8.4033613445377799E-4</c:v>
                </c:pt>
                <c:pt idx="1681">
                  <c:v>8.4033613445377799E-4</c:v>
                </c:pt>
                <c:pt idx="1682">
                  <c:v>0</c:v>
                </c:pt>
                <c:pt idx="1683">
                  <c:v>0</c:v>
                </c:pt>
                <c:pt idx="1684">
                  <c:v>-8.4033613445377799E-4</c:v>
                </c:pt>
                <c:pt idx="1685">
                  <c:v>0</c:v>
                </c:pt>
                <c:pt idx="1686">
                  <c:v>0</c:v>
                </c:pt>
                <c:pt idx="1687">
                  <c:v>8.4033613445377799E-4</c:v>
                </c:pt>
                <c:pt idx="1688">
                  <c:v>8.4033613445377799E-4</c:v>
                </c:pt>
                <c:pt idx="1689">
                  <c:v>8.4033613445377799E-4</c:v>
                </c:pt>
                <c:pt idx="1690">
                  <c:v>8.4033613445377799E-4</c:v>
                </c:pt>
                <c:pt idx="1691">
                  <c:v>8.4033613445377799E-4</c:v>
                </c:pt>
                <c:pt idx="1692">
                  <c:v>8.4033613445377799E-4</c:v>
                </c:pt>
                <c:pt idx="1693">
                  <c:v>8.4033613445377799E-4</c:v>
                </c:pt>
                <c:pt idx="1694">
                  <c:v>8.4033613445377799E-4</c:v>
                </c:pt>
                <c:pt idx="1695">
                  <c:v>8.4033613445377799E-4</c:v>
                </c:pt>
                <c:pt idx="1696">
                  <c:v>8.4033613445377799E-4</c:v>
                </c:pt>
                <c:pt idx="1697">
                  <c:v>8.4033613445377799E-4</c:v>
                </c:pt>
                <c:pt idx="1698">
                  <c:v>8.4033613445377799E-4</c:v>
                </c:pt>
                <c:pt idx="1699">
                  <c:v>8.4033613445377799E-4</c:v>
                </c:pt>
                <c:pt idx="1700">
                  <c:v>8.4033613445377799E-4</c:v>
                </c:pt>
                <c:pt idx="1701">
                  <c:v>8.4033613445377799E-4</c:v>
                </c:pt>
                <c:pt idx="1702">
                  <c:v>8.4033613445377799E-4</c:v>
                </c:pt>
                <c:pt idx="1703">
                  <c:v>8.4033613445377799E-4</c:v>
                </c:pt>
                <c:pt idx="1704">
                  <c:v>8.4033613445377799E-4</c:v>
                </c:pt>
                <c:pt idx="1705">
                  <c:v>8.4033613445377799E-4</c:v>
                </c:pt>
                <c:pt idx="1706">
                  <c:v>8.4033613445377799E-4</c:v>
                </c:pt>
                <c:pt idx="1707">
                  <c:v>8.4033613445377799E-4</c:v>
                </c:pt>
                <c:pt idx="1708">
                  <c:v>8.4033613445377799E-4</c:v>
                </c:pt>
                <c:pt idx="1709">
                  <c:v>8.4033613445377799E-4</c:v>
                </c:pt>
                <c:pt idx="1710">
                  <c:v>8.4033613445377799E-4</c:v>
                </c:pt>
                <c:pt idx="1711">
                  <c:v>8.4033613445377799E-4</c:v>
                </c:pt>
                <c:pt idx="1712">
                  <c:v>1.6806722689075499E-3</c:v>
                </c:pt>
                <c:pt idx="1713">
                  <c:v>1.6806722689075499E-3</c:v>
                </c:pt>
                <c:pt idx="1714">
                  <c:v>1.6806722689075499E-3</c:v>
                </c:pt>
                <c:pt idx="1715">
                  <c:v>1.6806722689075499E-3</c:v>
                </c:pt>
                <c:pt idx="1716">
                  <c:v>1.6806722689075499E-3</c:v>
                </c:pt>
                <c:pt idx="1717">
                  <c:v>1.6806722689075499E-3</c:v>
                </c:pt>
                <c:pt idx="1718">
                  <c:v>1.6806722689075499E-3</c:v>
                </c:pt>
                <c:pt idx="1719">
                  <c:v>1.6806722689075499E-3</c:v>
                </c:pt>
                <c:pt idx="1720">
                  <c:v>1.6806722689075499E-3</c:v>
                </c:pt>
                <c:pt idx="1721">
                  <c:v>1.6806722689075499E-3</c:v>
                </c:pt>
                <c:pt idx="1722">
                  <c:v>1.6806722689075499E-3</c:v>
                </c:pt>
                <c:pt idx="1723">
                  <c:v>1.6806722689075499E-3</c:v>
                </c:pt>
                <c:pt idx="1724">
                  <c:v>1.6806722689075499E-3</c:v>
                </c:pt>
                <c:pt idx="1725">
                  <c:v>8.4033613445377799E-4</c:v>
                </c:pt>
                <c:pt idx="1726">
                  <c:v>8.4033613445377799E-4</c:v>
                </c:pt>
                <c:pt idx="1727">
                  <c:v>8.4033613445377799E-4</c:v>
                </c:pt>
                <c:pt idx="1728">
                  <c:v>8.4033613445377799E-4</c:v>
                </c:pt>
                <c:pt idx="1729">
                  <c:v>8.4033613445377799E-4</c:v>
                </c:pt>
                <c:pt idx="1730">
                  <c:v>8.4033613445377799E-4</c:v>
                </c:pt>
                <c:pt idx="1731">
                  <c:v>8.4033613445377799E-4</c:v>
                </c:pt>
                <c:pt idx="1732">
                  <c:v>8.4033613445377799E-4</c:v>
                </c:pt>
                <c:pt idx="1733">
                  <c:v>8.4033613445377799E-4</c:v>
                </c:pt>
                <c:pt idx="1734">
                  <c:v>8.4033613445377799E-4</c:v>
                </c:pt>
                <c:pt idx="1735">
                  <c:v>8.4033613445377799E-4</c:v>
                </c:pt>
                <c:pt idx="1736">
                  <c:v>8.4033613445377799E-4</c:v>
                </c:pt>
                <c:pt idx="1737">
                  <c:v>8.4033613445377799E-4</c:v>
                </c:pt>
                <c:pt idx="1738">
                  <c:v>8.4033613445377799E-4</c:v>
                </c:pt>
                <c:pt idx="1739">
                  <c:v>8.4033613445377799E-4</c:v>
                </c:pt>
                <c:pt idx="1740">
                  <c:v>8.4033613445377799E-4</c:v>
                </c:pt>
                <c:pt idx="1741">
                  <c:v>8.4033613445377799E-4</c:v>
                </c:pt>
                <c:pt idx="1742">
                  <c:v>8.4033613445377799E-4</c:v>
                </c:pt>
                <c:pt idx="1743">
                  <c:v>8.4033613445377799E-4</c:v>
                </c:pt>
                <c:pt idx="1744">
                  <c:v>8.4033613445377799E-4</c:v>
                </c:pt>
                <c:pt idx="1745">
                  <c:v>8.4033613445377799E-4</c:v>
                </c:pt>
                <c:pt idx="1746">
                  <c:v>8.4033613445377799E-4</c:v>
                </c:pt>
                <c:pt idx="1747">
                  <c:v>8.4033613445377799E-4</c:v>
                </c:pt>
                <c:pt idx="1748">
                  <c:v>8.4033613445377799E-4</c:v>
                </c:pt>
                <c:pt idx="1749">
                  <c:v>8.4033613445377799E-4</c:v>
                </c:pt>
                <c:pt idx="1750">
                  <c:v>8.4033613445377799E-4</c:v>
                </c:pt>
                <c:pt idx="1751">
                  <c:v>8.4033613445377799E-4</c:v>
                </c:pt>
                <c:pt idx="1752">
                  <c:v>8.4033613445377799E-4</c:v>
                </c:pt>
                <c:pt idx="1753">
                  <c:v>8.4033613445377799E-4</c:v>
                </c:pt>
                <c:pt idx="1754">
                  <c:v>8.4033613445377799E-4</c:v>
                </c:pt>
                <c:pt idx="1755">
                  <c:v>8.4033613445377799E-4</c:v>
                </c:pt>
                <c:pt idx="1756">
                  <c:v>0</c:v>
                </c:pt>
                <c:pt idx="1757">
                  <c:v>-8.4033613445377799E-4</c:v>
                </c:pt>
                <c:pt idx="1758">
                  <c:v>-8.4033613445377799E-4</c:v>
                </c:pt>
                <c:pt idx="1759">
                  <c:v>-8.4033613445377799E-4</c:v>
                </c:pt>
                <c:pt idx="1760">
                  <c:v>-8.4033613445377799E-4</c:v>
                </c:pt>
                <c:pt idx="1761">
                  <c:v>-8.4033613445377799E-4</c:v>
                </c:pt>
                <c:pt idx="1762">
                  <c:v>-1.6806722689075499E-3</c:v>
                </c:pt>
                <c:pt idx="1763">
                  <c:v>-1.6806722689075499E-3</c:v>
                </c:pt>
                <c:pt idx="1764">
                  <c:v>-1.6806722689075499E-3</c:v>
                </c:pt>
                <c:pt idx="1765">
                  <c:v>-1.6806722689075499E-3</c:v>
                </c:pt>
                <c:pt idx="1766">
                  <c:v>-1.6806722689075499E-3</c:v>
                </c:pt>
                <c:pt idx="1767">
                  <c:v>-1.6806722689075499E-3</c:v>
                </c:pt>
                <c:pt idx="1768">
                  <c:v>-1.6806722689075499E-3</c:v>
                </c:pt>
                <c:pt idx="1769">
                  <c:v>-1.6806722689075499E-3</c:v>
                </c:pt>
                <c:pt idx="1770">
                  <c:v>-1.6806722689075499E-3</c:v>
                </c:pt>
                <c:pt idx="1771">
                  <c:v>-2.5210084033613299E-3</c:v>
                </c:pt>
                <c:pt idx="1772">
                  <c:v>-2.5210084033613299E-3</c:v>
                </c:pt>
                <c:pt idx="1773">
                  <c:v>-2.5210084033613299E-3</c:v>
                </c:pt>
                <c:pt idx="1774">
                  <c:v>-3.3613445378151102E-3</c:v>
                </c:pt>
                <c:pt idx="1775">
                  <c:v>-3.3613445378151102E-3</c:v>
                </c:pt>
                <c:pt idx="1776">
                  <c:v>-3.3613445378151102E-3</c:v>
                </c:pt>
                <c:pt idx="1777">
                  <c:v>-3.3613445378151102E-3</c:v>
                </c:pt>
                <c:pt idx="1778">
                  <c:v>-3.3613445378151102E-3</c:v>
                </c:pt>
                <c:pt idx="1779">
                  <c:v>-2.5210084033613299E-3</c:v>
                </c:pt>
                <c:pt idx="1780">
                  <c:v>-2.5210084033613299E-3</c:v>
                </c:pt>
                <c:pt idx="1781">
                  <c:v>-2.5210084033613299E-3</c:v>
                </c:pt>
                <c:pt idx="1782">
                  <c:v>-2.5210084033613299E-3</c:v>
                </c:pt>
                <c:pt idx="1783">
                  <c:v>-2.5210084033613299E-3</c:v>
                </c:pt>
                <c:pt idx="1784">
                  <c:v>-2.5210084033613299E-3</c:v>
                </c:pt>
                <c:pt idx="1785">
                  <c:v>-2.5210084033613299E-3</c:v>
                </c:pt>
                <c:pt idx="1786">
                  <c:v>-3.3613445378151102E-3</c:v>
                </c:pt>
                <c:pt idx="1787">
                  <c:v>-3.3613445378151102E-3</c:v>
                </c:pt>
                <c:pt idx="1788">
                  <c:v>-2.5210084033613299E-3</c:v>
                </c:pt>
                <c:pt idx="1789">
                  <c:v>-2.5210084033613299E-3</c:v>
                </c:pt>
                <c:pt idx="1790">
                  <c:v>-2.5210084033613299E-3</c:v>
                </c:pt>
                <c:pt idx="1791">
                  <c:v>-2.5210084033613299E-3</c:v>
                </c:pt>
                <c:pt idx="1792">
                  <c:v>-2.5210084033613299E-3</c:v>
                </c:pt>
                <c:pt idx="1793">
                  <c:v>-2.5210084033613299E-3</c:v>
                </c:pt>
                <c:pt idx="1794">
                  <c:v>-2.5210084033613299E-3</c:v>
                </c:pt>
                <c:pt idx="1795">
                  <c:v>-2.5210084033613299E-3</c:v>
                </c:pt>
                <c:pt idx="1796">
                  <c:v>-2.5210084033613299E-3</c:v>
                </c:pt>
                <c:pt idx="1797">
                  <c:v>-2.5210084033613299E-3</c:v>
                </c:pt>
                <c:pt idx="1798">
                  <c:v>-2.5210084033613299E-3</c:v>
                </c:pt>
                <c:pt idx="1799">
                  <c:v>-2.5210084033613299E-3</c:v>
                </c:pt>
                <c:pt idx="1800">
                  <c:v>-2.5210084033613299E-3</c:v>
                </c:pt>
                <c:pt idx="1801">
                  <c:v>-3.3613445378151401E-3</c:v>
                </c:pt>
                <c:pt idx="1802">
                  <c:v>-3.3613445378151401E-3</c:v>
                </c:pt>
                <c:pt idx="1803">
                  <c:v>-3.3613445378151401E-3</c:v>
                </c:pt>
                <c:pt idx="1804">
                  <c:v>-3.3613445378151401E-3</c:v>
                </c:pt>
                <c:pt idx="1805">
                  <c:v>-3.3613445378151401E-3</c:v>
                </c:pt>
                <c:pt idx="1806">
                  <c:v>-4.2016806722689204E-3</c:v>
                </c:pt>
                <c:pt idx="1807">
                  <c:v>-3.3613445378151401E-3</c:v>
                </c:pt>
                <c:pt idx="1808">
                  <c:v>-3.3613445378151401E-3</c:v>
                </c:pt>
                <c:pt idx="1809">
                  <c:v>-4.2016806722689204E-3</c:v>
                </c:pt>
                <c:pt idx="1810">
                  <c:v>-4.2016806722689204E-3</c:v>
                </c:pt>
                <c:pt idx="1811">
                  <c:v>-4.2016806722689204E-3</c:v>
                </c:pt>
                <c:pt idx="1812">
                  <c:v>-4.2016806722689204E-3</c:v>
                </c:pt>
                <c:pt idx="1813">
                  <c:v>-4.2016806722689204E-3</c:v>
                </c:pt>
                <c:pt idx="1814">
                  <c:v>-4.2016806722689204E-3</c:v>
                </c:pt>
                <c:pt idx="1815">
                  <c:v>-4.2016806722689204E-3</c:v>
                </c:pt>
                <c:pt idx="1816">
                  <c:v>-4.2016806722689204E-3</c:v>
                </c:pt>
                <c:pt idx="1817">
                  <c:v>-4.2016806722689204E-3</c:v>
                </c:pt>
                <c:pt idx="1818">
                  <c:v>-4.2016806722689204E-3</c:v>
                </c:pt>
                <c:pt idx="1819">
                  <c:v>-4.2016806722689204E-3</c:v>
                </c:pt>
                <c:pt idx="1820">
                  <c:v>-5.0420168067226902E-3</c:v>
                </c:pt>
                <c:pt idx="1821">
                  <c:v>-5.0420168067226902E-3</c:v>
                </c:pt>
                <c:pt idx="1822">
                  <c:v>-5.0420168067226902E-3</c:v>
                </c:pt>
                <c:pt idx="1823">
                  <c:v>-5.8823529411764696E-3</c:v>
                </c:pt>
                <c:pt idx="1824">
                  <c:v>-5.8823529411764696E-3</c:v>
                </c:pt>
                <c:pt idx="1825">
                  <c:v>-6.7226890756302499E-3</c:v>
                </c:pt>
                <c:pt idx="1826">
                  <c:v>-6.7226890756302499E-3</c:v>
                </c:pt>
                <c:pt idx="1827">
                  <c:v>-6.7226890756302499E-3</c:v>
                </c:pt>
                <c:pt idx="1828">
                  <c:v>-6.7226890756302499E-3</c:v>
                </c:pt>
                <c:pt idx="1829">
                  <c:v>-6.7226890756302499E-3</c:v>
                </c:pt>
                <c:pt idx="1830">
                  <c:v>-6.7226890756302499E-3</c:v>
                </c:pt>
                <c:pt idx="1831">
                  <c:v>-6.7226890756302499E-3</c:v>
                </c:pt>
                <c:pt idx="1832">
                  <c:v>-6.7226890756302499E-3</c:v>
                </c:pt>
                <c:pt idx="1833">
                  <c:v>-6.7226890756302499E-3</c:v>
                </c:pt>
                <c:pt idx="1834">
                  <c:v>-6.7226890756302499E-3</c:v>
                </c:pt>
                <c:pt idx="1835">
                  <c:v>-5.8823529411764696E-3</c:v>
                </c:pt>
                <c:pt idx="1836">
                  <c:v>-5.8823529411764696E-3</c:v>
                </c:pt>
                <c:pt idx="1837">
                  <c:v>-5.8823529411764696E-3</c:v>
                </c:pt>
                <c:pt idx="1838">
                  <c:v>-5.8823529411764696E-3</c:v>
                </c:pt>
                <c:pt idx="1839">
                  <c:v>-5.8823529411764696E-3</c:v>
                </c:pt>
                <c:pt idx="1840">
                  <c:v>-5.8823529411764696E-3</c:v>
                </c:pt>
                <c:pt idx="1841">
                  <c:v>-5.8823529411764696E-3</c:v>
                </c:pt>
                <c:pt idx="1842">
                  <c:v>-5.8823529411764696E-3</c:v>
                </c:pt>
                <c:pt idx="1843">
                  <c:v>-6.7226890756302499E-3</c:v>
                </c:pt>
                <c:pt idx="1844">
                  <c:v>-7.5630252100840302E-3</c:v>
                </c:pt>
                <c:pt idx="1845">
                  <c:v>-7.5630252100840302E-3</c:v>
                </c:pt>
                <c:pt idx="1846">
                  <c:v>-8.4033613445378096E-3</c:v>
                </c:pt>
                <c:pt idx="1847">
                  <c:v>-8.4033613445378096E-3</c:v>
                </c:pt>
                <c:pt idx="1848">
                  <c:v>-8.4033613445378096E-3</c:v>
                </c:pt>
                <c:pt idx="1849">
                  <c:v>-7.5630252100840302E-3</c:v>
                </c:pt>
                <c:pt idx="1850">
                  <c:v>-7.5630252100840302E-3</c:v>
                </c:pt>
                <c:pt idx="1851">
                  <c:v>-7.5630252100840302E-3</c:v>
                </c:pt>
                <c:pt idx="1852">
                  <c:v>-7.5630252100840302E-3</c:v>
                </c:pt>
                <c:pt idx="1853">
                  <c:v>-7.5630252100840302E-3</c:v>
                </c:pt>
                <c:pt idx="1854">
                  <c:v>-7.5630252100840302E-3</c:v>
                </c:pt>
                <c:pt idx="1855">
                  <c:v>-7.5630252100840302E-3</c:v>
                </c:pt>
                <c:pt idx="1856">
                  <c:v>-7.5630252100840302E-3</c:v>
                </c:pt>
                <c:pt idx="1857">
                  <c:v>-7.5630252100840302E-3</c:v>
                </c:pt>
                <c:pt idx="1858">
                  <c:v>-7.5630252100840302E-3</c:v>
                </c:pt>
                <c:pt idx="1859">
                  <c:v>-8.4033613445378408E-3</c:v>
                </c:pt>
                <c:pt idx="1860">
                  <c:v>-8.4033613445378408E-3</c:v>
                </c:pt>
                <c:pt idx="1861">
                  <c:v>-8.4033613445378408E-3</c:v>
                </c:pt>
                <c:pt idx="1862">
                  <c:v>-8.4033613445378408E-3</c:v>
                </c:pt>
                <c:pt idx="1863">
                  <c:v>-8.4033613445378408E-3</c:v>
                </c:pt>
                <c:pt idx="1864">
                  <c:v>-8.4033613445378408E-3</c:v>
                </c:pt>
                <c:pt idx="1865">
                  <c:v>-8.4033613445378408E-3</c:v>
                </c:pt>
                <c:pt idx="1866">
                  <c:v>-8.4033613445378408E-3</c:v>
                </c:pt>
                <c:pt idx="1867">
                  <c:v>-8.4033613445378408E-3</c:v>
                </c:pt>
                <c:pt idx="1868">
                  <c:v>-8.4033613445378408E-3</c:v>
                </c:pt>
                <c:pt idx="1869">
                  <c:v>-8.4033613445378408E-3</c:v>
                </c:pt>
                <c:pt idx="1870">
                  <c:v>-8.4033613445378408E-3</c:v>
                </c:pt>
                <c:pt idx="1871">
                  <c:v>-8.4033613445378408E-3</c:v>
                </c:pt>
                <c:pt idx="1872">
                  <c:v>-8.4033613445378408E-3</c:v>
                </c:pt>
                <c:pt idx="1873">
                  <c:v>-8.4033613445378408E-3</c:v>
                </c:pt>
                <c:pt idx="1874">
                  <c:v>-8.4033613445378408E-3</c:v>
                </c:pt>
                <c:pt idx="1875">
                  <c:v>-8.4033613445378408E-3</c:v>
                </c:pt>
                <c:pt idx="1876">
                  <c:v>-8.4033613445378408E-3</c:v>
                </c:pt>
                <c:pt idx="1877">
                  <c:v>-8.4033613445378408E-3</c:v>
                </c:pt>
                <c:pt idx="1878">
                  <c:v>-8.4033613445378408E-3</c:v>
                </c:pt>
                <c:pt idx="1879">
                  <c:v>-8.4033613445378408E-3</c:v>
                </c:pt>
                <c:pt idx="1880">
                  <c:v>-8.4033613445378408E-3</c:v>
                </c:pt>
                <c:pt idx="1881">
                  <c:v>-8.4033613445378408E-3</c:v>
                </c:pt>
                <c:pt idx="1882">
                  <c:v>-9.2436974789916193E-3</c:v>
                </c:pt>
                <c:pt idx="1883">
                  <c:v>-8.4033613445378096E-3</c:v>
                </c:pt>
                <c:pt idx="1884">
                  <c:v>-8.4033613445378096E-3</c:v>
                </c:pt>
                <c:pt idx="1885">
                  <c:v>-8.4033613445378096E-3</c:v>
                </c:pt>
                <c:pt idx="1886">
                  <c:v>-8.4033613445378096E-3</c:v>
                </c:pt>
                <c:pt idx="1887">
                  <c:v>-8.4033613445378096E-3</c:v>
                </c:pt>
                <c:pt idx="1888">
                  <c:v>-8.4033613445378096E-3</c:v>
                </c:pt>
                <c:pt idx="1889">
                  <c:v>-8.4033613445378096E-3</c:v>
                </c:pt>
                <c:pt idx="1890">
                  <c:v>-8.4033613445378096E-3</c:v>
                </c:pt>
                <c:pt idx="1891">
                  <c:v>-9.2436974789915898E-3</c:v>
                </c:pt>
                <c:pt idx="1892">
                  <c:v>-1.0084033613445301E-2</c:v>
                </c:pt>
                <c:pt idx="1893">
                  <c:v>-1.0084033613445301E-2</c:v>
                </c:pt>
                <c:pt idx="1894">
                  <c:v>-1.0084033613445301E-2</c:v>
                </c:pt>
                <c:pt idx="1895">
                  <c:v>-1.0084033613445301E-2</c:v>
                </c:pt>
                <c:pt idx="1896">
                  <c:v>-1.0084033613445301E-2</c:v>
                </c:pt>
                <c:pt idx="1897">
                  <c:v>-9.2436974789915898E-3</c:v>
                </c:pt>
                <c:pt idx="1898">
                  <c:v>-9.2436974789915898E-3</c:v>
                </c:pt>
                <c:pt idx="1899">
                  <c:v>-9.2436974789915898E-3</c:v>
                </c:pt>
                <c:pt idx="1900">
                  <c:v>-8.4033613445378096E-3</c:v>
                </c:pt>
                <c:pt idx="1901">
                  <c:v>-8.4033613445378096E-3</c:v>
                </c:pt>
                <c:pt idx="1902">
                  <c:v>-8.4033613445378096E-3</c:v>
                </c:pt>
                <c:pt idx="1903">
                  <c:v>-8.4033613445378096E-3</c:v>
                </c:pt>
                <c:pt idx="1904">
                  <c:v>-8.4033613445378096E-3</c:v>
                </c:pt>
                <c:pt idx="1905">
                  <c:v>-8.4033613445378096E-3</c:v>
                </c:pt>
                <c:pt idx="1906">
                  <c:v>-8.4033613445378096E-3</c:v>
                </c:pt>
                <c:pt idx="1907">
                  <c:v>-8.4033613445378096E-3</c:v>
                </c:pt>
                <c:pt idx="1908">
                  <c:v>-8.4033613445378096E-3</c:v>
                </c:pt>
                <c:pt idx="1909">
                  <c:v>-8.4033613445378096E-3</c:v>
                </c:pt>
                <c:pt idx="1910">
                  <c:v>-8.4033613445378096E-3</c:v>
                </c:pt>
                <c:pt idx="1911">
                  <c:v>-8.4033613445378096E-3</c:v>
                </c:pt>
                <c:pt idx="1912">
                  <c:v>-8.4033613445378096E-3</c:v>
                </c:pt>
                <c:pt idx="1913">
                  <c:v>-8.4033613445378096E-3</c:v>
                </c:pt>
                <c:pt idx="1914">
                  <c:v>-8.4033613445378096E-3</c:v>
                </c:pt>
                <c:pt idx="1915">
                  <c:v>-8.4033613445378096E-3</c:v>
                </c:pt>
                <c:pt idx="1916">
                  <c:v>-8.4033613445378096E-3</c:v>
                </c:pt>
                <c:pt idx="1917">
                  <c:v>-8.4033613445378096E-3</c:v>
                </c:pt>
                <c:pt idx="1918">
                  <c:v>-8.4033613445378096E-3</c:v>
                </c:pt>
                <c:pt idx="1919">
                  <c:v>-8.4033613445378096E-3</c:v>
                </c:pt>
                <c:pt idx="1920">
                  <c:v>-8.4033613445378096E-3</c:v>
                </c:pt>
                <c:pt idx="1921">
                  <c:v>-8.4033613445378096E-3</c:v>
                </c:pt>
                <c:pt idx="1922">
                  <c:v>-9.2436974789915898E-3</c:v>
                </c:pt>
                <c:pt idx="1923">
                  <c:v>-9.2436974789915898E-3</c:v>
                </c:pt>
                <c:pt idx="1924">
                  <c:v>-9.2436974789915898E-3</c:v>
                </c:pt>
                <c:pt idx="1925">
                  <c:v>-8.4033613445378096E-3</c:v>
                </c:pt>
                <c:pt idx="1926">
                  <c:v>-8.4033613445378096E-3</c:v>
                </c:pt>
                <c:pt idx="1927">
                  <c:v>-9.2436974789915898E-3</c:v>
                </c:pt>
                <c:pt idx="1928">
                  <c:v>-9.2436974789915898E-3</c:v>
                </c:pt>
                <c:pt idx="1929">
                  <c:v>-9.2436974789915898E-3</c:v>
                </c:pt>
                <c:pt idx="1930">
                  <c:v>-9.2436974789915898E-3</c:v>
                </c:pt>
                <c:pt idx="1931">
                  <c:v>-9.2436974789915898E-3</c:v>
                </c:pt>
                <c:pt idx="1932">
                  <c:v>-9.2436974789915898E-3</c:v>
                </c:pt>
                <c:pt idx="1933">
                  <c:v>-9.2436974789915898E-3</c:v>
                </c:pt>
                <c:pt idx="1934">
                  <c:v>-9.2436974789915898E-3</c:v>
                </c:pt>
                <c:pt idx="1935">
                  <c:v>-9.2436974789915898E-3</c:v>
                </c:pt>
                <c:pt idx="1936">
                  <c:v>-9.2436974789915898E-3</c:v>
                </c:pt>
                <c:pt idx="1937">
                  <c:v>-9.2436974789915898E-3</c:v>
                </c:pt>
                <c:pt idx="1938">
                  <c:v>-9.2436974789915898E-3</c:v>
                </c:pt>
                <c:pt idx="1939">
                  <c:v>-9.2436974789915898E-3</c:v>
                </c:pt>
                <c:pt idx="1940">
                  <c:v>-9.2436974789915898E-3</c:v>
                </c:pt>
                <c:pt idx="1941">
                  <c:v>-9.2436974789915898E-3</c:v>
                </c:pt>
                <c:pt idx="1942">
                  <c:v>-9.2436974789915898E-3</c:v>
                </c:pt>
                <c:pt idx="1943">
                  <c:v>-9.2436974789915898E-3</c:v>
                </c:pt>
                <c:pt idx="1944">
                  <c:v>-9.2436974789915898E-3</c:v>
                </c:pt>
                <c:pt idx="1945">
                  <c:v>-8.4033613445378096E-3</c:v>
                </c:pt>
                <c:pt idx="1946">
                  <c:v>-8.4033613445378096E-3</c:v>
                </c:pt>
                <c:pt idx="1947">
                  <c:v>-8.4033613445378096E-3</c:v>
                </c:pt>
                <c:pt idx="1948">
                  <c:v>-8.4033613445378096E-3</c:v>
                </c:pt>
                <c:pt idx="1949">
                  <c:v>-8.4033613445378096E-3</c:v>
                </c:pt>
                <c:pt idx="1950">
                  <c:v>-8.4033613445378096E-3</c:v>
                </c:pt>
                <c:pt idx="1951">
                  <c:v>-8.4033613445378096E-3</c:v>
                </c:pt>
                <c:pt idx="1952">
                  <c:v>-8.4033613445378096E-3</c:v>
                </c:pt>
                <c:pt idx="1953">
                  <c:v>-8.4033613445378096E-3</c:v>
                </c:pt>
                <c:pt idx="1954">
                  <c:v>-8.4033613445378096E-3</c:v>
                </c:pt>
                <c:pt idx="1955">
                  <c:v>-7.5630252100840302E-3</c:v>
                </c:pt>
                <c:pt idx="1956">
                  <c:v>-8.4033613445378096E-3</c:v>
                </c:pt>
                <c:pt idx="1957">
                  <c:v>-8.4033613445378096E-3</c:v>
                </c:pt>
                <c:pt idx="1958">
                  <c:v>-8.4033613445378096E-3</c:v>
                </c:pt>
                <c:pt idx="1959">
                  <c:v>-8.4033613445378096E-3</c:v>
                </c:pt>
                <c:pt idx="1960">
                  <c:v>-8.4033613445378096E-3</c:v>
                </c:pt>
                <c:pt idx="1961">
                  <c:v>-8.4033613445378096E-3</c:v>
                </c:pt>
                <c:pt idx="1962">
                  <c:v>-8.4033613445378096E-3</c:v>
                </c:pt>
                <c:pt idx="1963">
                  <c:v>-8.4033613445378096E-3</c:v>
                </c:pt>
                <c:pt idx="1964">
                  <c:v>-8.4033613445378096E-3</c:v>
                </c:pt>
                <c:pt idx="1965">
                  <c:v>-8.4033613445378096E-3</c:v>
                </c:pt>
                <c:pt idx="1966">
                  <c:v>-8.4033613445378096E-3</c:v>
                </c:pt>
                <c:pt idx="1967">
                  <c:v>-8.4033613445378096E-3</c:v>
                </c:pt>
                <c:pt idx="1968">
                  <c:v>-8.4033613445378096E-3</c:v>
                </c:pt>
                <c:pt idx="1969">
                  <c:v>-8.4033613445378096E-3</c:v>
                </c:pt>
                <c:pt idx="1970">
                  <c:v>-9.2436974789915898E-3</c:v>
                </c:pt>
                <c:pt idx="1971">
                  <c:v>-9.2436974789915898E-3</c:v>
                </c:pt>
                <c:pt idx="1972">
                  <c:v>-9.2436974789915898E-3</c:v>
                </c:pt>
                <c:pt idx="1973">
                  <c:v>-9.2436974789915898E-3</c:v>
                </c:pt>
                <c:pt idx="1974">
                  <c:v>-9.2436974789915898E-3</c:v>
                </c:pt>
                <c:pt idx="1975">
                  <c:v>-9.2436974789915898E-3</c:v>
                </c:pt>
                <c:pt idx="1976">
                  <c:v>-9.2436974789915898E-3</c:v>
                </c:pt>
                <c:pt idx="1977">
                  <c:v>-9.2436974789915898E-3</c:v>
                </c:pt>
                <c:pt idx="1978">
                  <c:v>-9.2436974789915898E-3</c:v>
                </c:pt>
                <c:pt idx="1979">
                  <c:v>-9.2436974789915898E-3</c:v>
                </c:pt>
                <c:pt idx="1980">
                  <c:v>-1.0084033613445301E-2</c:v>
                </c:pt>
                <c:pt idx="1981">
                  <c:v>-1.0084033613445301E-2</c:v>
                </c:pt>
                <c:pt idx="1982">
                  <c:v>-1.0084033613445301E-2</c:v>
                </c:pt>
                <c:pt idx="1983">
                  <c:v>-1.0084033613445301E-2</c:v>
                </c:pt>
                <c:pt idx="1984">
                  <c:v>-1.0084033613445301E-2</c:v>
                </c:pt>
                <c:pt idx="1985">
                  <c:v>-1.0084033613445301E-2</c:v>
                </c:pt>
                <c:pt idx="1986">
                  <c:v>-1.0084033613445301E-2</c:v>
                </c:pt>
                <c:pt idx="1987">
                  <c:v>-1.0084033613445301E-2</c:v>
                </c:pt>
                <c:pt idx="1988">
                  <c:v>-1.0084033613445301E-2</c:v>
                </c:pt>
                <c:pt idx="1989">
                  <c:v>-1.0084033613445301E-2</c:v>
                </c:pt>
                <c:pt idx="1990">
                  <c:v>-1.0084033613445301E-2</c:v>
                </c:pt>
                <c:pt idx="1991">
                  <c:v>-1.0084033613445301E-2</c:v>
                </c:pt>
                <c:pt idx="1992">
                  <c:v>-1.0084033613445301E-2</c:v>
                </c:pt>
                <c:pt idx="1993">
                  <c:v>-1.0084033613445301E-2</c:v>
                </c:pt>
                <c:pt idx="1994">
                  <c:v>-1.0084033613445301E-2</c:v>
                </c:pt>
                <c:pt idx="1995">
                  <c:v>-1.0084033613445301E-2</c:v>
                </c:pt>
                <c:pt idx="1996">
                  <c:v>-1.0084033613445301E-2</c:v>
                </c:pt>
                <c:pt idx="1997">
                  <c:v>-1.0084033613445301E-2</c:v>
                </c:pt>
                <c:pt idx="1998">
                  <c:v>-1.0084033613445301E-2</c:v>
                </c:pt>
                <c:pt idx="1999">
                  <c:v>-1.0084033613445301E-2</c:v>
                </c:pt>
                <c:pt idx="2000">
                  <c:v>-1.0084033613445301E-2</c:v>
                </c:pt>
                <c:pt idx="2001">
                  <c:v>-1.0084033613445301E-2</c:v>
                </c:pt>
                <c:pt idx="2002">
                  <c:v>-1.0084033613445301E-2</c:v>
                </c:pt>
                <c:pt idx="2003">
                  <c:v>-1.0084033613445301E-2</c:v>
                </c:pt>
                <c:pt idx="2004">
                  <c:v>-1.0084033613445301E-2</c:v>
                </c:pt>
                <c:pt idx="2005">
                  <c:v>-1.0084033613445301E-2</c:v>
                </c:pt>
                <c:pt idx="2006">
                  <c:v>-1.09243697478991E-2</c:v>
                </c:pt>
                <c:pt idx="2007">
                  <c:v>-1.09243697478991E-2</c:v>
                </c:pt>
                <c:pt idx="2008">
                  <c:v>-1.09243697478991E-2</c:v>
                </c:pt>
                <c:pt idx="2009">
                  <c:v>-1.09243697478991E-2</c:v>
                </c:pt>
                <c:pt idx="2010">
                  <c:v>-1.0084033613445301E-2</c:v>
                </c:pt>
                <c:pt idx="2011">
                  <c:v>-1.09243697478991E-2</c:v>
                </c:pt>
                <c:pt idx="2012">
                  <c:v>-1.09243697478991E-2</c:v>
                </c:pt>
                <c:pt idx="2013">
                  <c:v>-1.09243697478991E-2</c:v>
                </c:pt>
                <c:pt idx="2014">
                  <c:v>-1.09243697478991E-2</c:v>
                </c:pt>
                <c:pt idx="2015">
                  <c:v>-1.09243697478991E-2</c:v>
                </c:pt>
                <c:pt idx="2016">
                  <c:v>-1.09243697478991E-2</c:v>
                </c:pt>
                <c:pt idx="2017">
                  <c:v>-1.09243697478991E-2</c:v>
                </c:pt>
                <c:pt idx="2018">
                  <c:v>-1.09243697478991E-2</c:v>
                </c:pt>
                <c:pt idx="2019">
                  <c:v>-1.09243697478991E-2</c:v>
                </c:pt>
                <c:pt idx="2020">
                  <c:v>-1.09243697478991E-2</c:v>
                </c:pt>
                <c:pt idx="2021">
                  <c:v>-1.09243697478991E-2</c:v>
                </c:pt>
                <c:pt idx="2022">
                  <c:v>-1.09243697478991E-2</c:v>
                </c:pt>
                <c:pt idx="2023">
                  <c:v>-1.09243697478991E-2</c:v>
                </c:pt>
                <c:pt idx="2024">
                  <c:v>-1.09243697478991E-2</c:v>
                </c:pt>
                <c:pt idx="2025">
                  <c:v>-1.09243697478991E-2</c:v>
                </c:pt>
                <c:pt idx="2026">
                  <c:v>-1.09243697478991E-2</c:v>
                </c:pt>
                <c:pt idx="2027">
                  <c:v>-1.09243697478991E-2</c:v>
                </c:pt>
                <c:pt idx="2028">
                  <c:v>-1.1764705882352899E-2</c:v>
                </c:pt>
                <c:pt idx="2029">
                  <c:v>-1.09243697478991E-2</c:v>
                </c:pt>
                <c:pt idx="2030">
                  <c:v>-1.09243697478991E-2</c:v>
                </c:pt>
                <c:pt idx="2031">
                  <c:v>-1.0084033613445301E-2</c:v>
                </c:pt>
                <c:pt idx="2032">
                  <c:v>-1.0084033613445301E-2</c:v>
                </c:pt>
                <c:pt idx="2033">
                  <c:v>-1.0084033613445301E-2</c:v>
                </c:pt>
                <c:pt idx="2034">
                  <c:v>-1.0084033613445301E-2</c:v>
                </c:pt>
                <c:pt idx="2035">
                  <c:v>-1.0084033613445301E-2</c:v>
                </c:pt>
                <c:pt idx="2036">
                  <c:v>-1.0084033613445301E-2</c:v>
                </c:pt>
                <c:pt idx="2037">
                  <c:v>-1.0084033613445301E-2</c:v>
                </c:pt>
                <c:pt idx="2038">
                  <c:v>-1.0084033613445301E-2</c:v>
                </c:pt>
                <c:pt idx="2039">
                  <c:v>-9.2436974789915898E-3</c:v>
                </c:pt>
                <c:pt idx="2040">
                  <c:v>-9.2436974789915898E-3</c:v>
                </c:pt>
                <c:pt idx="2041">
                  <c:v>-9.2436974789915898E-3</c:v>
                </c:pt>
                <c:pt idx="2042">
                  <c:v>-9.2436974789915898E-3</c:v>
                </c:pt>
                <c:pt idx="2043">
                  <c:v>-9.2436974789915898E-3</c:v>
                </c:pt>
                <c:pt idx="2044">
                  <c:v>-9.2436974789915898E-3</c:v>
                </c:pt>
                <c:pt idx="2045">
                  <c:v>-9.2436974789915898E-3</c:v>
                </c:pt>
                <c:pt idx="2046">
                  <c:v>-8.4033613445378096E-3</c:v>
                </c:pt>
                <c:pt idx="2047">
                  <c:v>-8.4033613445378096E-3</c:v>
                </c:pt>
                <c:pt idx="2048">
                  <c:v>-8.4033613445378096E-3</c:v>
                </c:pt>
                <c:pt idx="2049">
                  <c:v>-8.4033613445378096E-3</c:v>
                </c:pt>
                <c:pt idx="2050">
                  <c:v>-8.4033613445378096E-3</c:v>
                </c:pt>
                <c:pt idx="2051">
                  <c:v>-8.4033613445378096E-3</c:v>
                </c:pt>
                <c:pt idx="2052">
                  <c:v>-8.4033613445378096E-3</c:v>
                </c:pt>
                <c:pt idx="2053">
                  <c:v>-8.4033613445378096E-3</c:v>
                </c:pt>
                <c:pt idx="2054">
                  <c:v>-8.4033613445378096E-3</c:v>
                </c:pt>
                <c:pt idx="2055">
                  <c:v>-9.2436974789915898E-3</c:v>
                </c:pt>
                <c:pt idx="2056">
                  <c:v>-9.2436974789915898E-3</c:v>
                </c:pt>
                <c:pt idx="2057">
                  <c:v>-9.2436974789915898E-3</c:v>
                </c:pt>
                <c:pt idx="2058">
                  <c:v>-9.2436974789915898E-3</c:v>
                </c:pt>
                <c:pt idx="2059">
                  <c:v>-9.2436974789915898E-3</c:v>
                </c:pt>
                <c:pt idx="2060">
                  <c:v>-9.2436974789915898E-3</c:v>
                </c:pt>
                <c:pt idx="2061">
                  <c:v>-9.2436974789915898E-3</c:v>
                </c:pt>
                <c:pt idx="2062">
                  <c:v>-9.2436974789915898E-3</c:v>
                </c:pt>
                <c:pt idx="2063">
                  <c:v>-9.2436974789915898E-3</c:v>
                </c:pt>
                <c:pt idx="2064">
                  <c:v>-1.0084033613445301E-2</c:v>
                </c:pt>
                <c:pt idx="2065">
                  <c:v>-1.0084033613445301E-2</c:v>
                </c:pt>
                <c:pt idx="2066">
                  <c:v>-1.0084033613445301E-2</c:v>
                </c:pt>
                <c:pt idx="2067">
                  <c:v>-1.09243697478991E-2</c:v>
                </c:pt>
                <c:pt idx="2068">
                  <c:v>-1.09243697478991E-2</c:v>
                </c:pt>
                <c:pt idx="2069">
                  <c:v>-1.09243697478991E-2</c:v>
                </c:pt>
                <c:pt idx="2070">
                  <c:v>-1.09243697478991E-2</c:v>
                </c:pt>
                <c:pt idx="2071">
                  <c:v>-1.09243697478991E-2</c:v>
                </c:pt>
                <c:pt idx="2072">
                  <c:v>-1.09243697478991E-2</c:v>
                </c:pt>
                <c:pt idx="2073">
                  <c:v>-1.09243697478991E-2</c:v>
                </c:pt>
                <c:pt idx="2074">
                  <c:v>-1.09243697478991E-2</c:v>
                </c:pt>
                <c:pt idx="2075">
                  <c:v>-1.09243697478991E-2</c:v>
                </c:pt>
                <c:pt idx="2076">
                  <c:v>-1.09243697478991E-2</c:v>
                </c:pt>
                <c:pt idx="2077">
                  <c:v>-1.09243697478991E-2</c:v>
                </c:pt>
                <c:pt idx="2078">
                  <c:v>-1.09243697478991E-2</c:v>
                </c:pt>
                <c:pt idx="2079">
                  <c:v>-1.09243697478991E-2</c:v>
                </c:pt>
                <c:pt idx="2080">
                  <c:v>-1.09243697478991E-2</c:v>
                </c:pt>
                <c:pt idx="2081">
                  <c:v>-1.09243697478991E-2</c:v>
                </c:pt>
                <c:pt idx="2082">
                  <c:v>-1.09243697478991E-2</c:v>
                </c:pt>
                <c:pt idx="2083">
                  <c:v>-1.09243697478991E-2</c:v>
                </c:pt>
                <c:pt idx="2084">
                  <c:v>-1.09243697478991E-2</c:v>
                </c:pt>
                <c:pt idx="2085">
                  <c:v>-1.09243697478991E-2</c:v>
                </c:pt>
                <c:pt idx="2086">
                  <c:v>-1.09243697478991E-2</c:v>
                </c:pt>
                <c:pt idx="2087">
                  <c:v>-1.09243697478991E-2</c:v>
                </c:pt>
                <c:pt idx="2088">
                  <c:v>-1.09243697478991E-2</c:v>
                </c:pt>
                <c:pt idx="2089">
                  <c:v>-1.09243697478991E-2</c:v>
                </c:pt>
                <c:pt idx="2090">
                  <c:v>-1.1764705882352899E-2</c:v>
                </c:pt>
                <c:pt idx="2091">
                  <c:v>-1.1764705882352899E-2</c:v>
                </c:pt>
                <c:pt idx="2092">
                  <c:v>-1.1764705882352899E-2</c:v>
                </c:pt>
                <c:pt idx="2093">
                  <c:v>-1.1764705882352899E-2</c:v>
                </c:pt>
                <c:pt idx="2094">
                  <c:v>-1.1764705882352899E-2</c:v>
                </c:pt>
                <c:pt idx="2095">
                  <c:v>-1.1764705882352899E-2</c:v>
                </c:pt>
                <c:pt idx="2096">
                  <c:v>-1.1764705882352899E-2</c:v>
                </c:pt>
                <c:pt idx="2097">
                  <c:v>-1.1764705882352899E-2</c:v>
                </c:pt>
                <c:pt idx="2098">
                  <c:v>-1.1764705882352899E-2</c:v>
                </c:pt>
                <c:pt idx="2099">
                  <c:v>-1.1764705882352899E-2</c:v>
                </c:pt>
                <c:pt idx="2100">
                  <c:v>-1.1764705882352899E-2</c:v>
                </c:pt>
                <c:pt idx="2101">
                  <c:v>-1.1764705882352899E-2</c:v>
                </c:pt>
                <c:pt idx="2102">
                  <c:v>-1.1764705882352899E-2</c:v>
                </c:pt>
                <c:pt idx="2103">
                  <c:v>-1.1764705882352899E-2</c:v>
                </c:pt>
                <c:pt idx="2104">
                  <c:v>-1.1764705882352899E-2</c:v>
                </c:pt>
                <c:pt idx="2105">
                  <c:v>-1.1764705882352899E-2</c:v>
                </c:pt>
                <c:pt idx="2106">
                  <c:v>-1.1764705882352899E-2</c:v>
                </c:pt>
                <c:pt idx="2107">
                  <c:v>-1.1764705882352899E-2</c:v>
                </c:pt>
                <c:pt idx="2108">
                  <c:v>-1.1764705882352899E-2</c:v>
                </c:pt>
                <c:pt idx="2109">
                  <c:v>-1.1764705882352899E-2</c:v>
                </c:pt>
                <c:pt idx="2110">
                  <c:v>-1.1764705882352899E-2</c:v>
                </c:pt>
                <c:pt idx="2111">
                  <c:v>-1.1764705882352899E-2</c:v>
                </c:pt>
                <c:pt idx="2112">
                  <c:v>-1.1764705882352899E-2</c:v>
                </c:pt>
                <c:pt idx="2113">
                  <c:v>-1.1764705882352899E-2</c:v>
                </c:pt>
                <c:pt idx="2114">
                  <c:v>-1.1764705882352899E-2</c:v>
                </c:pt>
                <c:pt idx="2115">
                  <c:v>-1.1764705882352899E-2</c:v>
                </c:pt>
                <c:pt idx="2116">
                  <c:v>-1.1764705882352899E-2</c:v>
                </c:pt>
                <c:pt idx="2117">
                  <c:v>-1.1764705882352899E-2</c:v>
                </c:pt>
                <c:pt idx="2118">
                  <c:v>-1.1764705882352899E-2</c:v>
                </c:pt>
                <c:pt idx="2119">
                  <c:v>-1.26050420168067E-2</c:v>
                </c:pt>
                <c:pt idx="2120">
                  <c:v>-1.26050420168067E-2</c:v>
                </c:pt>
                <c:pt idx="2121">
                  <c:v>-1.26050420168067E-2</c:v>
                </c:pt>
                <c:pt idx="2122">
                  <c:v>-1.26050420168067E-2</c:v>
                </c:pt>
                <c:pt idx="2123">
                  <c:v>-1.26050420168067E-2</c:v>
                </c:pt>
                <c:pt idx="2124">
                  <c:v>-1.26050420168067E-2</c:v>
                </c:pt>
                <c:pt idx="2125">
                  <c:v>-1.1764705882352899E-2</c:v>
                </c:pt>
                <c:pt idx="2126">
                  <c:v>-1.1764705882352899E-2</c:v>
                </c:pt>
                <c:pt idx="2127">
                  <c:v>-1.1764705882352899E-2</c:v>
                </c:pt>
                <c:pt idx="2128">
                  <c:v>-1.1764705882352899E-2</c:v>
                </c:pt>
                <c:pt idx="2129">
                  <c:v>-1.1764705882352899E-2</c:v>
                </c:pt>
                <c:pt idx="2130">
                  <c:v>-1.1764705882352899E-2</c:v>
                </c:pt>
                <c:pt idx="2131">
                  <c:v>-1.1764705882352899E-2</c:v>
                </c:pt>
                <c:pt idx="2132">
                  <c:v>-1.1764705882352899E-2</c:v>
                </c:pt>
                <c:pt idx="2133">
                  <c:v>-1.1764705882352899E-2</c:v>
                </c:pt>
                <c:pt idx="2134">
                  <c:v>-1.1764705882352899E-2</c:v>
                </c:pt>
                <c:pt idx="2135">
                  <c:v>-1.1764705882352899E-2</c:v>
                </c:pt>
                <c:pt idx="2136">
                  <c:v>-1.1764705882352899E-2</c:v>
                </c:pt>
                <c:pt idx="2137">
                  <c:v>-1.1764705882352899E-2</c:v>
                </c:pt>
                <c:pt idx="2138">
                  <c:v>-1.1764705882352899E-2</c:v>
                </c:pt>
                <c:pt idx="2139">
                  <c:v>-1.1764705882352899E-2</c:v>
                </c:pt>
                <c:pt idx="2140">
                  <c:v>-1.1764705882352899E-2</c:v>
                </c:pt>
                <c:pt idx="2141">
                  <c:v>-1.1764705882352899E-2</c:v>
                </c:pt>
                <c:pt idx="2142">
                  <c:v>-1.1764705882352899E-2</c:v>
                </c:pt>
                <c:pt idx="2143">
                  <c:v>-1.1764705882352899E-2</c:v>
                </c:pt>
                <c:pt idx="2144">
                  <c:v>-1.1764705882352899E-2</c:v>
                </c:pt>
                <c:pt idx="2145">
                  <c:v>-1.09243697478991E-2</c:v>
                </c:pt>
                <c:pt idx="2146">
                  <c:v>-1.09243697478991E-2</c:v>
                </c:pt>
                <c:pt idx="2147">
                  <c:v>-1.09243697478991E-2</c:v>
                </c:pt>
                <c:pt idx="2148">
                  <c:v>-1.1764705882352899E-2</c:v>
                </c:pt>
                <c:pt idx="2149">
                  <c:v>-1.1764705882352899E-2</c:v>
                </c:pt>
                <c:pt idx="2150">
                  <c:v>-1.1764705882352899E-2</c:v>
                </c:pt>
                <c:pt idx="2151">
                  <c:v>-1.1764705882352899E-2</c:v>
                </c:pt>
                <c:pt idx="2152">
                  <c:v>-1.1764705882352899E-2</c:v>
                </c:pt>
                <c:pt idx="2153">
                  <c:v>-1.1764705882352899E-2</c:v>
                </c:pt>
                <c:pt idx="2154">
                  <c:v>-1.1764705882352899E-2</c:v>
                </c:pt>
                <c:pt idx="2155">
                  <c:v>-1.1764705882352899E-2</c:v>
                </c:pt>
                <c:pt idx="2156">
                  <c:v>-1.1764705882352899E-2</c:v>
                </c:pt>
                <c:pt idx="2157">
                  <c:v>-1.1764705882352899E-2</c:v>
                </c:pt>
                <c:pt idx="2158">
                  <c:v>-1.1764705882352899E-2</c:v>
                </c:pt>
                <c:pt idx="2159">
                  <c:v>-1.1764705882352899E-2</c:v>
                </c:pt>
                <c:pt idx="2160">
                  <c:v>-1.1764705882352899E-2</c:v>
                </c:pt>
                <c:pt idx="2161">
                  <c:v>-1.1764705882352899E-2</c:v>
                </c:pt>
                <c:pt idx="2162">
                  <c:v>-1.1764705882352899E-2</c:v>
                </c:pt>
                <c:pt idx="2163">
                  <c:v>-1.1764705882352899E-2</c:v>
                </c:pt>
                <c:pt idx="2164">
                  <c:v>-1.1764705882352899E-2</c:v>
                </c:pt>
                <c:pt idx="2165">
                  <c:v>-1.1764705882352899E-2</c:v>
                </c:pt>
                <c:pt idx="2166">
                  <c:v>-1.1764705882352899E-2</c:v>
                </c:pt>
                <c:pt idx="2167">
                  <c:v>-1.1764705882352899E-2</c:v>
                </c:pt>
                <c:pt idx="2168">
                  <c:v>-1.1764705882352899E-2</c:v>
                </c:pt>
                <c:pt idx="2169">
                  <c:v>-1.1764705882352899E-2</c:v>
                </c:pt>
                <c:pt idx="2170">
                  <c:v>-1.1764705882352899E-2</c:v>
                </c:pt>
                <c:pt idx="2171">
                  <c:v>-1.1764705882352899E-2</c:v>
                </c:pt>
                <c:pt idx="2172">
                  <c:v>-1.1764705882352899E-2</c:v>
                </c:pt>
                <c:pt idx="2173">
                  <c:v>-1.1764705882352899E-2</c:v>
                </c:pt>
                <c:pt idx="2174">
                  <c:v>-1.26050420168067E-2</c:v>
                </c:pt>
                <c:pt idx="2175">
                  <c:v>-1.26050420168067E-2</c:v>
                </c:pt>
                <c:pt idx="2176">
                  <c:v>-1.34453781512605E-2</c:v>
                </c:pt>
                <c:pt idx="2177">
                  <c:v>-1.34453781512605E-2</c:v>
                </c:pt>
                <c:pt idx="2178">
                  <c:v>-1.34453781512605E-2</c:v>
                </c:pt>
                <c:pt idx="2179">
                  <c:v>-1.34453781512605E-2</c:v>
                </c:pt>
                <c:pt idx="2180">
                  <c:v>-1.34453781512605E-2</c:v>
                </c:pt>
                <c:pt idx="2181">
                  <c:v>-1.34453781512605E-2</c:v>
                </c:pt>
                <c:pt idx="2182">
                  <c:v>-1.34453781512605E-2</c:v>
                </c:pt>
                <c:pt idx="2183">
                  <c:v>-1.34453781512605E-2</c:v>
                </c:pt>
                <c:pt idx="2184">
                  <c:v>-1.26050420168067E-2</c:v>
                </c:pt>
                <c:pt idx="2185">
                  <c:v>-1.26050420168067E-2</c:v>
                </c:pt>
                <c:pt idx="2186">
                  <c:v>-1.26050420168067E-2</c:v>
                </c:pt>
                <c:pt idx="2187">
                  <c:v>-1.1764705882352899E-2</c:v>
                </c:pt>
                <c:pt idx="2188">
                  <c:v>-1.1764705882352899E-2</c:v>
                </c:pt>
                <c:pt idx="2189">
                  <c:v>-1.1764705882352899E-2</c:v>
                </c:pt>
                <c:pt idx="2190">
                  <c:v>-1.1764705882352899E-2</c:v>
                </c:pt>
                <c:pt idx="2191">
                  <c:v>-1.1764705882352899E-2</c:v>
                </c:pt>
                <c:pt idx="2192">
                  <c:v>-1.1764705882352899E-2</c:v>
                </c:pt>
                <c:pt idx="2193">
                  <c:v>-1.1764705882352899E-2</c:v>
                </c:pt>
                <c:pt idx="2194">
                  <c:v>-1.1764705882352899E-2</c:v>
                </c:pt>
                <c:pt idx="2195">
                  <c:v>-1.1764705882352899E-2</c:v>
                </c:pt>
                <c:pt idx="2196">
                  <c:v>-1.1764705882352899E-2</c:v>
                </c:pt>
                <c:pt idx="2197">
                  <c:v>-1.1764705882352899E-2</c:v>
                </c:pt>
                <c:pt idx="2198">
                  <c:v>-1.1764705882352899E-2</c:v>
                </c:pt>
                <c:pt idx="2199">
                  <c:v>-1.1764705882352899E-2</c:v>
                </c:pt>
                <c:pt idx="2200">
                  <c:v>-1.1764705882352899E-2</c:v>
                </c:pt>
                <c:pt idx="2201">
                  <c:v>-1.1764705882352899E-2</c:v>
                </c:pt>
                <c:pt idx="2202">
                  <c:v>-1.1764705882352899E-2</c:v>
                </c:pt>
                <c:pt idx="2203">
                  <c:v>-1.1764705882352899E-2</c:v>
                </c:pt>
                <c:pt idx="2204">
                  <c:v>-1.1764705882352899E-2</c:v>
                </c:pt>
                <c:pt idx="2205">
                  <c:v>-1.1764705882352899E-2</c:v>
                </c:pt>
                <c:pt idx="2206">
                  <c:v>-1.1764705882352899E-2</c:v>
                </c:pt>
                <c:pt idx="2207">
                  <c:v>-1.1764705882352899E-2</c:v>
                </c:pt>
                <c:pt idx="2208">
                  <c:v>-1.1764705882352899E-2</c:v>
                </c:pt>
                <c:pt idx="2209">
                  <c:v>-1.1764705882352899E-2</c:v>
                </c:pt>
                <c:pt idx="2210">
                  <c:v>-1.1764705882352899E-2</c:v>
                </c:pt>
                <c:pt idx="2211">
                  <c:v>-1.1764705882352899E-2</c:v>
                </c:pt>
                <c:pt idx="2212">
                  <c:v>-1.1764705882352899E-2</c:v>
                </c:pt>
                <c:pt idx="2213">
                  <c:v>-1.1764705882352899E-2</c:v>
                </c:pt>
                <c:pt idx="2214">
                  <c:v>-1.1764705882352899E-2</c:v>
                </c:pt>
                <c:pt idx="2215">
                  <c:v>-1.1764705882352899E-2</c:v>
                </c:pt>
                <c:pt idx="2216">
                  <c:v>-1.1764705882352899E-2</c:v>
                </c:pt>
                <c:pt idx="2217">
                  <c:v>-1.1764705882352899E-2</c:v>
                </c:pt>
                <c:pt idx="2218">
                  <c:v>-1.1764705882352899E-2</c:v>
                </c:pt>
                <c:pt idx="2219">
                  <c:v>-1.1764705882352899E-2</c:v>
                </c:pt>
                <c:pt idx="2220">
                  <c:v>-1.1764705882352899E-2</c:v>
                </c:pt>
                <c:pt idx="2221">
                  <c:v>-1.1764705882352899E-2</c:v>
                </c:pt>
                <c:pt idx="2222">
                  <c:v>-1.1764705882352899E-2</c:v>
                </c:pt>
                <c:pt idx="2223">
                  <c:v>-1.1764705882352899E-2</c:v>
                </c:pt>
                <c:pt idx="2224">
                  <c:v>-1.1764705882352899E-2</c:v>
                </c:pt>
                <c:pt idx="2225">
                  <c:v>-1.1764705882352899E-2</c:v>
                </c:pt>
                <c:pt idx="2226">
                  <c:v>-1.1764705882352899E-2</c:v>
                </c:pt>
                <c:pt idx="2227">
                  <c:v>-1.1764705882352899E-2</c:v>
                </c:pt>
                <c:pt idx="2228">
                  <c:v>-1.1764705882352899E-2</c:v>
                </c:pt>
                <c:pt idx="2229">
                  <c:v>-1.1764705882352899E-2</c:v>
                </c:pt>
                <c:pt idx="2230">
                  <c:v>-1.1764705882352899E-2</c:v>
                </c:pt>
                <c:pt idx="2231">
                  <c:v>-1.1764705882352899E-2</c:v>
                </c:pt>
                <c:pt idx="2232">
                  <c:v>-1.1764705882352899E-2</c:v>
                </c:pt>
                <c:pt idx="2233">
                  <c:v>-1.1764705882352899E-2</c:v>
                </c:pt>
                <c:pt idx="2234">
                  <c:v>-1.1764705882352899E-2</c:v>
                </c:pt>
                <c:pt idx="2235">
                  <c:v>-1.1764705882352899E-2</c:v>
                </c:pt>
                <c:pt idx="2236">
                  <c:v>-1.1764705882352899E-2</c:v>
                </c:pt>
                <c:pt idx="2237">
                  <c:v>-1.1764705882352899E-2</c:v>
                </c:pt>
                <c:pt idx="2238">
                  <c:v>-1.1764705882352899E-2</c:v>
                </c:pt>
                <c:pt idx="2239">
                  <c:v>-1.1764705882352899E-2</c:v>
                </c:pt>
                <c:pt idx="2240">
                  <c:v>-1.1764705882352899E-2</c:v>
                </c:pt>
                <c:pt idx="2241">
                  <c:v>-1.1764705882352899E-2</c:v>
                </c:pt>
                <c:pt idx="2242">
                  <c:v>-1.1764705882352899E-2</c:v>
                </c:pt>
                <c:pt idx="2243">
                  <c:v>-1.1764705882352899E-2</c:v>
                </c:pt>
                <c:pt idx="2244">
                  <c:v>-1.1764705882352899E-2</c:v>
                </c:pt>
                <c:pt idx="2245">
                  <c:v>-1.1764705882352899E-2</c:v>
                </c:pt>
                <c:pt idx="2246">
                  <c:v>-1.26050420168067E-2</c:v>
                </c:pt>
                <c:pt idx="2247">
                  <c:v>-1.26050420168067E-2</c:v>
                </c:pt>
                <c:pt idx="2248">
                  <c:v>-1.26050420168067E-2</c:v>
                </c:pt>
                <c:pt idx="2249">
                  <c:v>-1.26050420168067E-2</c:v>
                </c:pt>
                <c:pt idx="2250">
                  <c:v>-1.26050420168067E-2</c:v>
                </c:pt>
                <c:pt idx="2251">
                  <c:v>-1.26050420168067E-2</c:v>
                </c:pt>
                <c:pt idx="2252">
                  <c:v>-1.26050420168067E-2</c:v>
                </c:pt>
                <c:pt idx="2253">
                  <c:v>-1.34453781512605E-2</c:v>
                </c:pt>
                <c:pt idx="2254">
                  <c:v>-1.34453781512605E-2</c:v>
                </c:pt>
                <c:pt idx="2255">
                  <c:v>-1.34453781512605E-2</c:v>
                </c:pt>
                <c:pt idx="2256">
                  <c:v>-1.34453781512605E-2</c:v>
                </c:pt>
                <c:pt idx="2257">
                  <c:v>-1.34453781512605E-2</c:v>
                </c:pt>
                <c:pt idx="2258">
                  <c:v>-1.34453781512605E-2</c:v>
                </c:pt>
                <c:pt idx="2259">
                  <c:v>-1.34453781512605E-2</c:v>
                </c:pt>
                <c:pt idx="2260">
                  <c:v>-1.42857142857142E-2</c:v>
                </c:pt>
                <c:pt idx="2261">
                  <c:v>-1.42857142857142E-2</c:v>
                </c:pt>
                <c:pt idx="2262">
                  <c:v>-1.42857142857142E-2</c:v>
                </c:pt>
                <c:pt idx="2263">
                  <c:v>-1.42857142857142E-2</c:v>
                </c:pt>
                <c:pt idx="2264">
                  <c:v>-1.42857142857142E-2</c:v>
                </c:pt>
                <c:pt idx="2265">
                  <c:v>-1.42857142857142E-2</c:v>
                </c:pt>
                <c:pt idx="2266">
                  <c:v>-1.42857142857142E-2</c:v>
                </c:pt>
                <c:pt idx="2267">
                  <c:v>-1.42857142857142E-2</c:v>
                </c:pt>
                <c:pt idx="2268">
                  <c:v>-1.42857142857142E-2</c:v>
                </c:pt>
                <c:pt idx="2269">
                  <c:v>-1.42857142857142E-2</c:v>
                </c:pt>
                <c:pt idx="2270">
                  <c:v>-1.42857142857142E-2</c:v>
                </c:pt>
                <c:pt idx="2271">
                  <c:v>-1.42857142857142E-2</c:v>
                </c:pt>
                <c:pt idx="2272">
                  <c:v>-1.42857142857142E-2</c:v>
                </c:pt>
                <c:pt idx="2273">
                  <c:v>-1.42857142857142E-2</c:v>
                </c:pt>
                <c:pt idx="2274">
                  <c:v>-1.34453781512605E-2</c:v>
                </c:pt>
                <c:pt idx="2275">
                  <c:v>-1.34453781512605E-2</c:v>
                </c:pt>
                <c:pt idx="2276">
                  <c:v>-1.34453781512605E-2</c:v>
                </c:pt>
                <c:pt idx="2277">
                  <c:v>-1.34453781512605E-2</c:v>
                </c:pt>
                <c:pt idx="2278">
                  <c:v>-1.34453781512605E-2</c:v>
                </c:pt>
                <c:pt idx="2279">
                  <c:v>-1.34453781512605E-2</c:v>
                </c:pt>
                <c:pt idx="2280">
                  <c:v>-1.34453781512605E-2</c:v>
                </c:pt>
                <c:pt idx="2281">
                  <c:v>-1.34453781512605E-2</c:v>
                </c:pt>
                <c:pt idx="2282">
                  <c:v>-1.34453781512605E-2</c:v>
                </c:pt>
                <c:pt idx="2283">
                  <c:v>-1.34453781512605E-2</c:v>
                </c:pt>
                <c:pt idx="2284">
                  <c:v>-1.34453781512605E-2</c:v>
                </c:pt>
                <c:pt idx="2285">
                  <c:v>-1.34453781512605E-2</c:v>
                </c:pt>
                <c:pt idx="2286">
                  <c:v>-1.42857142857142E-2</c:v>
                </c:pt>
                <c:pt idx="2287">
                  <c:v>-1.42857142857142E-2</c:v>
                </c:pt>
                <c:pt idx="2288">
                  <c:v>-1.42857142857142E-2</c:v>
                </c:pt>
                <c:pt idx="2289">
                  <c:v>-1.42857142857142E-2</c:v>
                </c:pt>
                <c:pt idx="2290">
                  <c:v>-1.42857142857142E-2</c:v>
                </c:pt>
                <c:pt idx="2291">
                  <c:v>-1.42857142857142E-2</c:v>
                </c:pt>
                <c:pt idx="2292">
                  <c:v>-1.42857142857142E-2</c:v>
                </c:pt>
                <c:pt idx="2293">
                  <c:v>-1.42857142857142E-2</c:v>
                </c:pt>
                <c:pt idx="2294">
                  <c:v>-1.42857142857142E-2</c:v>
                </c:pt>
                <c:pt idx="2295">
                  <c:v>-1.42857142857142E-2</c:v>
                </c:pt>
                <c:pt idx="2296">
                  <c:v>-1.42857142857142E-2</c:v>
                </c:pt>
                <c:pt idx="2297">
                  <c:v>-1.42857142857142E-2</c:v>
                </c:pt>
                <c:pt idx="2298">
                  <c:v>-1.42857142857142E-2</c:v>
                </c:pt>
                <c:pt idx="2299">
                  <c:v>-1.42857142857142E-2</c:v>
                </c:pt>
                <c:pt idx="2300">
                  <c:v>-1.42857142857142E-2</c:v>
                </c:pt>
                <c:pt idx="2301">
                  <c:v>-1.42857142857142E-2</c:v>
                </c:pt>
                <c:pt idx="2302">
                  <c:v>-1.42857142857142E-2</c:v>
                </c:pt>
                <c:pt idx="2303">
                  <c:v>-1.42857142857142E-2</c:v>
                </c:pt>
                <c:pt idx="2304">
                  <c:v>-1.42857142857142E-2</c:v>
                </c:pt>
                <c:pt idx="2305">
                  <c:v>-1.42857142857142E-2</c:v>
                </c:pt>
                <c:pt idx="2306">
                  <c:v>-1.42857142857142E-2</c:v>
                </c:pt>
                <c:pt idx="2307">
                  <c:v>-1.42857142857142E-2</c:v>
                </c:pt>
                <c:pt idx="2308">
                  <c:v>-1.42857142857142E-2</c:v>
                </c:pt>
                <c:pt idx="2309">
                  <c:v>-1.42857142857142E-2</c:v>
                </c:pt>
                <c:pt idx="2310">
                  <c:v>-1.42857142857142E-2</c:v>
                </c:pt>
                <c:pt idx="2311">
                  <c:v>-1.42857142857142E-2</c:v>
                </c:pt>
                <c:pt idx="2312">
                  <c:v>-1.42857142857142E-2</c:v>
                </c:pt>
                <c:pt idx="2313">
                  <c:v>-1.42857142857142E-2</c:v>
                </c:pt>
                <c:pt idx="2314">
                  <c:v>-1.34453781512605E-2</c:v>
                </c:pt>
                <c:pt idx="2315">
                  <c:v>-1.34453781512605E-2</c:v>
                </c:pt>
                <c:pt idx="2316">
                  <c:v>-1.34453781512605E-2</c:v>
                </c:pt>
                <c:pt idx="2317">
                  <c:v>-1.34453781512605E-2</c:v>
                </c:pt>
                <c:pt idx="2318">
                  <c:v>-1.34453781512605E-2</c:v>
                </c:pt>
                <c:pt idx="2319">
                  <c:v>-1.34453781512605E-2</c:v>
                </c:pt>
                <c:pt idx="2320">
                  <c:v>-1.34453781512605E-2</c:v>
                </c:pt>
                <c:pt idx="2321">
                  <c:v>-1.34453781512605E-2</c:v>
                </c:pt>
                <c:pt idx="2322">
                  <c:v>-1.34453781512605E-2</c:v>
                </c:pt>
                <c:pt idx="2323">
                  <c:v>-1.34453781512605E-2</c:v>
                </c:pt>
                <c:pt idx="2324">
                  <c:v>-1.34453781512605E-2</c:v>
                </c:pt>
                <c:pt idx="2325">
                  <c:v>-1.34453781512605E-2</c:v>
                </c:pt>
                <c:pt idx="2326">
                  <c:v>-1.34453781512605E-2</c:v>
                </c:pt>
                <c:pt idx="2327">
                  <c:v>-1.34453781512605E-2</c:v>
                </c:pt>
                <c:pt idx="2328">
                  <c:v>-1.34453781512605E-2</c:v>
                </c:pt>
                <c:pt idx="2329">
                  <c:v>-1.34453781512605E-2</c:v>
                </c:pt>
                <c:pt idx="2330">
                  <c:v>-1.34453781512605E-2</c:v>
                </c:pt>
                <c:pt idx="2331">
                  <c:v>-1.34453781512605E-2</c:v>
                </c:pt>
                <c:pt idx="2332">
                  <c:v>-1.34453781512605E-2</c:v>
                </c:pt>
                <c:pt idx="2333">
                  <c:v>-1.34453781512605E-2</c:v>
                </c:pt>
                <c:pt idx="2334">
                  <c:v>-1.34453781512605E-2</c:v>
                </c:pt>
                <c:pt idx="2335">
                  <c:v>-1.42857142857142E-2</c:v>
                </c:pt>
                <c:pt idx="2336">
                  <c:v>-1.42857142857142E-2</c:v>
                </c:pt>
                <c:pt idx="2337">
                  <c:v>-1.42857142857142E-2</c:v>
                </c:pt>
                <c:pt idx="2338">
                  <c:v>-1.42857142857142E-2</c:v>
                </c:pt>
                <c:pt idx="2339">
                  <c:v>-1.42857142857142E-2</c:v>
                </c:pt>
                <c:pt idx="2340">
                  <c:v>-1.42857142857142E-2</c:v>
                </c:pt>
                <c:pt idx="2341">
                  <c:v>-1.42857142857142E-2</c:v>
                </c:pt>
                <c:pt idx="2342">
                  <c:v>-1.42857142857142E-2</c:v>
                </c:pt>
                <c:pt idx="2343">
                  <c:v>-1.3445378151260399E-2</c:v>
                </c:pt>
                <c:pt idx="2344">
                  <c:v>-1.3445378151260399E-2</c:v>
                </c:pt>
                <c:pt idx="2345">
                  <c:v>-1.3445378151260399E-2</c:v>
                </c:pt>
                <c:pt idx="2346">
                  <c:v>-1.3445378151260399E-2</c:v>
                </c:pt>
                <c:pt idx="2347">
                  <c:v>-1.3445378151260399E-2</c:v>
                </c:pt>
                <c:pt idx="2348">
                  <c:v>-1.26050420168067E-2</c:v>
                </c:pt>
                <c:pt idx="2349">
                  <c:v>-1.26050420168067E-2</c:v>
                </c:pt>
                <c:pt idx="2350">
                  <c:v>-1.1764705882352899E-2</c:v>
                </c:pt>
                <c:pt idx="2351">
                  <c:v>-1.1764705882352899E-2</c:v>
                </c:pt>
                <c:pt idx="2352">
                  <c:v>-1.1764705882352899E-2</c:v>
                </c:pt>
                <c:pt idx="2353">
                  <c:v>-1.1764705882352899E-2</c:v>
                </c:pt>
                <c:pt idx="2354">
                  <c:v>-1.1764705882352899E-2</c:v>
                </c:pt>
                <c:pt idx="2355">
                  <c:v>-1.1764705882352899E-2</c:v>
                </c:pt>
                <c:pt idx="2356">
                  <c:v>-1.1764705882352899E-2</c:v>
                </c:pt>
                <c:pt idx="2357">
                  <c:v>-1.1764705882352899E-2</c:v>
                </c:pt>
                <c:pt idx="2358">
                  <c:v>-1.1764705882352899E-2</c:v>
                </c:pt>
                <c:pt idx="2359">
                  <c:v>-1.1764705882352899E-2</c:v>
                </c:pt>
                <c:pt idx="2360">
                  <c:v>-1.1764705882352899E-2</c:v>
                </c:pt>
                <c:pt idx="2361">
                  <c:v>-1.1764705882352899E-2</c:v>
                </c:pt>
                <c:pt idx="2362">
                  <c:v>-1.1764705882352899E-2</c:v>
                </c:pt>
                <c:pt idx="2363">
                  <c:v>-1.1764705882352899E-2</c:v>
                </c:pt>
                <c:pt idx="2364">
                  <c:v>-1.1764705882352899E-2</c:v>
                </c:pt>
                <c:pt idx="2365">
                  <c:v>-1.1764705882352899E-2</c:v>
                </c:pt>
                <c:pt idx="2366">
                  <c:v>-1.1764705882352899E-2</c:v>
                </c:pt>
                <c:pt idx="2367">
                  <c:v>-1.1764705882352899E-2</c:v>
                </c:pt>
                <c:pt idx="2368">
                  <c:v>-1.1764705882352899E-2</c:v>
                </c:pt>
                <c:pt idx="2369">
                  <c:v>-1.1764705882352899E-2</c:v>
                </c:pt>
                <c:pt idx="2370">
                  <c:v>-1.09243697478991E-2</c:v>
                </c:pt>
                <c:pt idx="2371">
                  <c:v>-1.09243697478991E-2</c:v>
                </c:pt>
                <c:pt idx="2372">
                  <c:v>-1.09243697478991E-2</c:v>
                </c:pt>
                <c:pt idx="2373">
                  <c:v>-1.09243697478991E-2</c:v>
                </c:pt>
                <c:pt idx="2374">
                  <c:v>-1.09243697478991E-2</c:v>
                </c:pt>
                <c:pt idx="2375">
                  <c:v>-1.0084033613445301E-2</c:v>
                </c:pt>
                <c:pt idx="2376">
                  <c:v>-1.0084033613445301E-2</c:v>
                </c:pt>
                <c:pt idx="2377">
                  <c:v>-1.0084033613445301E-2</c:v>
                </c:pt>
                <c:pt idx="2378">
                  <c:v>-1.0084033613445301E-2</c:v>
                </c:pt>
                <c:pt idx="2379">
                  <c:v>-1.09243697478991E-2</c:v>
                </c:pt>
                <c:pt idx="2380">
                  <c:v>-1.09243697478991E-2</c:v>
                </c:pt>
                <c:pt idx="2381">
                  <c:v>-1.09243697478991E-2</c:v>
                </c:pt>
                <c:pt idx="2382">
                  <c:v>-1.09243697478991E-2</c:v>
                </c:pt>
                <c:pt idx="2383">
                  <c:v>-1.09243697478991E-2</c:v>
                </c:pt>
                <c:pt idx="2384">
                  <c:v>-1.09243697478991E-2</c:v>
                </c:pt>
                <c:pt idx="2385">
                  <c:v>-1.09243697478991E-2</c:v>
                </c:pt>
                <c:pt idx="2386">
                  <c:v>-1.09243697478991E-2</c:v>
                </c:pt>
                <c:pt idx="2387">
                  <c:v>-1.09243697478991E-2</c:v>
                </c:pt>
                <c:pt idx="2388">
                  <c:v>-1.09243697478991E-2</c:v>
                </c:pt>
                <c:pt idx="2389">
                  <c:v>-1.09243697478991E-2</c:v>
                </c:pt>
                <c:pt idx="2390">
                  <c:v>-1.09243697478991E-2</c:v>
                </c:pt>
                <c:pt idx="2391">
                  <c:v>-1.09243697478991E-2</c:v>
                </c:pt>
                <c:pt idx="2392">
                  <c:v>-1.09243697478991E-2</c:v>
                </c:pt>
                <c:pt idx="2393">
                  <c:v>-1.09243697478991E-2</c:v>
                </c:pt>
                <c:pt idx="2394">
                  <c:v>-1.09243697478991E-2</c:v>
                </c:pt>
                <c:pt idx="2395">
                  <c:v>-1.09243697478991E-2</c:v>
                </c:pt>
                <c:pt idx="2396">
                  <c:v>-1.09243697478991E-2</c:v>
                </c:pt>
                <c:pt idx="2397">
                  <c:v>-1.09243697478991E-2</c:v>
                </c:pt>
                <c:pt idx="2398">
                  <c:v>-1.09243697478991E-2</c:v>
                </c:pt>
                <c:pt idx="2399">
                  <c:v>-1.09243697478991E-2</c:v>
                </c:pt>
                <c:pt idx="2400">
                  <c:v>-1.09243697478991E-2</c:v>
                </c:pt>
                <c:pt idx="2401">
                  <c:v>-1.09243697478991E-2</c:v>
                </c:pt>
                <c:pt idx="2402">
                  <c:v>-1.09243697478991E-2</c:v>
                </c:pt>
                <c:pt idx="2403">
                  <c:v>-1.09243697478991E-2</c:v>
                </c:pt>
                <c:pt idx="2404">
                  <c:v>-1.09243697478991E-2</c:v>
                </c:pt>
                <c:pt idx="2405">
                  <c:v>-1.09243697478991E-2</c:v>
                </c:pt>
                <c:pt idx="2406">
                  <c:v>-1.09243697478991E-2</c:v>
                </c:pt>
                <c:pt idx="2407">
                  <c:v>-1.09243697478991E-2</c:v>
                </c:pt>
                <c:pt idx="2408">
                  <c:v>-1.09243697478991E-2</c:v>
                </c:pt>
                <c:pt idx="2409">
                  <c:v>-1.09243697478991E-2</c:v>
                </c:pt>
                <c:pt idx="2410">
                  <c:v>-1.09243697478991E-2</c:v>
                </c:pt>
                <c:pt idx="2411">
                  <c:v>-1.09243697478991E-2</c:v>
                </c:pt>
                <c:pt idx="2412">
                  <c:v>-1.09243697478991E-2</c:v>
                </c:pt>
                <c:pt idx="2413">
                  <c:v>-1.09243697478991E-2</c:v>
                </c:pt>
                <c:pt idx="2414">
                  <c:v>-1.09243697478991E-2</c:v>
                </c:pt>
                <c:pt idx="2415">
                  <c:v>-1.09243697478991E-2</c:v>
                </c:pt>
                <c:pt idx="2416">
                  <c:v>-1.09243697478991E-2</c:v>
                </c:pt>
                <c:pt idx="2417">
                  <c:v>-1.09243697478991E-2</c:v>
                </c:pt>
                <c:pt idx="2418">
                  <c:v>-1.09243697478991E-2</c:v>
                </c:pt>
                <c:pt idx="2419">
                  <c:v>-1.09243697478991E-2</c:v>
                </c:pt>
                <c:pt idx="2420">
                  <c:v>-1.09243697478991E-2</c:v>
                </c:pt>
                <c:pt idx="2421">
                  <c:v>-1.09243697478991E-2</c:v>
                </c:pt>
                <c:pt idx="2422">
                  <c:v>-1.1764705882352899E-2</c:v>
                </c:pt>
                <c:pt idx="2423">
                  <c:v>-1.1764705882352899E-2</c:v>
                </c:pt>
                <c:pt idx="2424">
                  <c:v>-1.1764705882352899E-2</c:v>
                </c:pt>
                <c:pt idx="2425">
                  <c:v>-1.1764705882352899E-2</c:v>
                </c:pt>
                <c:pt idx="2426">
                  <c:v>-1.1764705882352899E-2</c:v>
                </c:pt>
                <c:pt idx="2427">
                  <c:v>-1.1764705882352899E-2</c:v>
                </c:pt>
                <c:pt idx="2428">
                  <c:v>-1.1764705882352899E-2</c:v>
                </c:pt>
                <c:pt idx="2429">
                  <c:v>-1.1764705882352899E-2</c:v>
                </c:pt>
                <c:pt idx="2430">
                  <c:v>-1.1764705882352899E-2</c:v>
                </c:pt>
                <c:pt idx="2431">
                  <c:v>-1.1764705882352899E-2</c:v>
                </c:pt>
                <c:pt idx="2432">
                  <c:v>-1.1764705882352899E-2</c:v>
                </c:pt>
                <c:pt idx="2433">
                  <c:v>-1.1764705882352899E-2</c:v>
                </c:pt>
                <c:pt idx="2434">
                  <c:v>-1.1764705882352899E-2</c:v>
                </c:pt>
                <c:pt idx="2435">
                  <c:v>-1.1764705882352899E-2</c:v>
                </c:pt>
                <c:pt idx="2436">
                  <c:v>-1.1764705882352899E-2</c:v>
                </c:pt>
                <c:pt idx="2437">
                  <c:v>-1.1764705882352899E-2</c:v>
                </c:pt>
                <c:pt idx="2438">
                  <c:v>-1.1764705882352899E-2</c:v>
                </c:pt>
                <c:pt idx="2439">
                  <c:v>-1.1764705882352899E-2</c:v>
                </c:pt>
                <c:pt idx="2440">
                  <c:v>-1.1764705882352899E-2</c:v>
                </c:pt>
                <c:pt idx="2441">
                  <c:v>-1.1764705882352899E-2</c:v>
                </c:pt>
                <c:pt idx="2442">
                  <c:v>-1.1764705882352899E-2</c:v>
                </c:pt>
                <c:pt idx="2443">
                  <c:v>-1.1764705882352899E-2</c:v>
                </c:pt>
                <c:pt idx="2444">
                  <c:v>-1.1764705882352899E-2</c:v>
                </c:pt>
                <c:pt idx="2445">
                  <c:v>-1.1764705882352899E-2</c:v>
                </c:pt>
                <c:pt idx="2446">
                  <c:v>-1.1764705882352899E-2</c:v>
                </c:pt>
                <c:pt idx="2447">
                  <c:v>-1.1764705882352899E-2</c:v>
                </c:pt>
                <c:pt idx="2448">
                  <c:v>-1.09243697478991E-2</c:v>
                </c:pt>
                <c:pt idx="2449">
                  <c:v>-1.09243697478991E-2</c:v>
                </c:pt>
                <c:pt idx="2450">
                  <c:v>-1.09243697478991E-2</c:v>
                </c:pt>
                <c:pt idx="2451">
                  <c:v>-1.1764705882352899E-2</c:v>
                </c:pt>
                <c:pt idx="2452">
                  <c:v>-1.1764705882352899E-2</c:v>
                </c:pt>
                <c:pt idx="2453">
                  <c:v>-1.26050420168067E-2</c:v>
                </c:pt>
                <c:pt idx="2454">
                  <c:v>-1.26050420168067E-2</c:v>
                </c:pt>
                <c:pt idx="2455">
                  <c:v>-1.26050420168067E-2</c:v>
                </c:pt>
                <c:pt idx="2456">
                  <c:v>-1.26050420168067E-2</c:v>
                </c:pt>
                <c:pt idx="2457">
                  <c:v>-1.1764705882352899E-2</c:v>
                </c:pt>
                <c:pt idx="2458">
                  <c:v>-1.1764705882352899E-2</c:v>
                </c:pt>
                <c:pt idx="2459">
                  <c:v>-1.1764705882352899E-2</c:v>
                </c:pt>
                <c:pt idx="2460">
                  <c:v>-1.1764705882352899E-2</c:v>
                </c:pt>
                <c:pt idx="2461">
                  <c:v>-1.09243697478991E-2</c:v>
                </c:pt>
                <c:pt idx="2462">
                  <c:v>-1.09243697478991E-2</c:v>
                </c:pt>
                <c:pt idx="2463">
                  <c:v>-1.09243697478991E-2</c:v>
                </c:pt>
                <c:pt idx="2464">
                  <c:v>-1.1764705882352899E-2</c:v>
                </c:pt>
                <c:pt idx="2465">
                  <c:v>-1.26050420168067E-2</c:v>
                </c:pt>
                <c:pt idx="2466">
                  <c:v>-1.26050420168067E-2</c:v>
                </c:pt>
                <c:pt idx="2467">
                  <c:v>-1.26050420168067E-2</c:v>
                </c:pt>
                <c:pt idx="2468">
                  <c:v>-1.26050420168067E-2</c:v>
                </c:pt>
                <c:pt idx="2469">
                  <c:v>-1.1764705882352899E-2</c:v>
                </c:pt>
                <c:pt idx="2470">
                  <c:v>-1.1764705882352899E-2</c:v>
                </c:pt>
                <c:pt idx="2471">
                  <c:v>-1.1764705882352899E-2</c:v>
                </c:pt>
                <c:pt idx="2472">
                  <c:v>-1.1764705882352899E-2</c:v>
                </c:pt>
                <c:pt idx="2473">
                  <c:v>-1.1764705882352899E-2</c:v>
                </c:pt>
                <c:pt idx="2474">
                  <c:v>-1.1764705882352899E-2</c:v>
                </c:pt>
                <c:pt idx="2475">
                  <c:v>-1.26050420168067E-2</c:v>
                </c:pt>
                <c:pt idx="2476">
                  <c:v>-1.26050420168067E-2</c:v>
                </c:pt>
                <c:pt idx="2477">
                  <c:v>-1.26050420168067E-2</c:v>
                </c:pt>
                <c:pt idx="2478">
                  <c:v>-1.26050420168067E-2</c:v>
                </c:pt>
                <c:pt idx="2479">
                  <c:v>-1.26050420168067E-2</c:v>
                </c:pt>
                <c:pt idx="2480">
                  <c:v>-1.26050420168067E-2</c:v>
                </c:pt>
                <c:pt idx="2481">
                  <c:v>-1.26050420168067E-2</c:v>
                </c:pt>
                <c:pt idx="2482">
                  <c:v>-1.26050420168067E-2</c:v>
                </c:pt>
                <c:pt idx="2483">
                  <c:v>-1.26050420168067E-2</c:v>
                </c:pt>
                <c:pt idx="2484">
                  <c:v>-1.26050420168067E-2</c:v>
                </c:pt>
                <c:pt idx="2485">
                  <c:v>-1.3445378151260399E-2</c:v>
                </c:pt>
                <c:pt idx="2486">
                  <c:v>-1.3445378151260399E-2</c:v>
                </c:pt>
                <c:pt idx="2487">
                  <c:v>-1.3445378151260399E-2</c:v>
                </c:pt>
                <c:pt idx="2488">
                  <c:v>-1.3445378151260399E-2</c:v>
                </c:pt>
                <c:pt idx="2489">
                  <c:v>-1.3445378151260399E-2</c:v>
                </c:pt>
                <c:pt idx="2490">
                  <c:v>-1.3445378151260399E-2</c:v>
                </c:pt>
                <c:pt idx="2491">
                  <c:v>-1.3445378151260399E-2</c:v>
                </c:pt>
                <c:pt idx="2492">
                  <c:v>-1.3445378151260399E-2</c:v>
                </c:pt>
                <c:pt idx="2493">
                  <c:v>-1.3445378151260399E-2</c:v>
                </c:pt>
                <c:pt idx="2494">
                  <c:v>-1.42857142857142E-2</c:v>
                </c:pt>
                <c:pt idx="2495">
                  <c:v>-1.42857142857142E-2</c:v>
                </c:pt>
                <c:pt idx="2496">
                  <c:v>-1.42857142857142E-2</c:v>
                </c:pt>
                <c:pt idx="2497">
                  <c:v>-1.42857142857142E-2</c:v>
                </c:pt>
                <c:pt idx="2498">
                  <c:v>-1.42857142857142E-2</c:v>
                </c:pt>
                <c:pt idx="2499">
                  <c:v>-1.42857142857142E-2</c:v>
                </c:pt>
                <c:pt idx="2500">
                  <c:v>-1.42857142857142E-2</c:v>
                </c:pt>
                <c:pt idx="2501">
                  <c:v>-1.42857142857142E-2</c:v>
                </c:pt>
                <c:pt idx="2502">
                  <c:v>-1.42857142857142E-2</c:v>
                </c:pt>
                <c:pt idx="2503">
                  <c:v>-1.42857142857142E-2</c:v>
                </c:pt>
                <c:pt idx="2504">
                  <c:v>-1.42857142857142E-2</c:v>
                </c:pt>
                <c:pt idx="2505">
                  <c:v>-1.42857142857142E-2</c:v>
                </c:pt>
                <c:pt idx="2506">
                  <c:v>-1.42857142857142E-2</c:v>
                </c:pt>
                <c:pt idx="2507">
                  <c:v>-1.42857142857142E-2</c:v>
                </c:pt>
                <c:pt idx="2508">
                  <c:v>-1.42857142857142E-2</c:v>
                </c:pt>
                <c:pt idx="2509">
                  <c:v>-1.42857142857142E-2</c:v>
                </c:pt>
                <c:pt idx="2510">
                  <c:v>-1.42857142857142E-2</c:v>
                </c:pt>
                <c:pt idx="2511">
                  <c:v>-1.5126050420168E-2</c:v>
                </c:pt>
                <c:pt idx="2512">
                  <c:v>-1.5126050420168E-2</c:v>
                </c:pt>
                <c:pt idx="2513">
                  <c:v>-1.5126050420168E-2</c:v>
                </c:pt>
                <c:pt idx="2514">
                  <c:v>-1.5126050420168E-2</c:v>
                </c:pt>
                <c:pt idx="2515">
                  <c:v>-1.5126050420168E-2</c:v>
                </c:pt>
                <c:pt idx="2516">
                  <c:v>-1.5126050420168E-2</c:v>
                </c:pt>
                <c:pt idx="2517">
                  <c:v>-1.5126050420168E-2</c:v>
                </c:pt>
                <c:pt idx="2518">
                  <c:v>-1.5126050420168E-2</c:v>
                </c:pt>
                <c:pt idx="2519">
                  <c:v>-1.5126050420168E-2</c:v>
                </c:pt>
                <c:pt idx="2520">
                  <c:v>-1.5126050420168E-2</c:v>
                </c:pt>
                <c:pt idx="2521">
                  <c:v>-1.5126050420168E-2</c:v>
                </c:pt>
                <c:pt idx="2522">
                  <c:v>-1.5126050420168E-2</c:v>
                </c:pt>
                <c:pt idx="2523">
                  <c:v>-1.5126050420168E-2</c:v>
                </c:pt>
                <c:pt idx="2524">
                  <c:v>-1.5126050420168E-2</c:v>
                </c:pt>
                <c:pt idx="2525">
                  <c:v>-1.5126050420168E-2</c:v>
                </c:pt>
                <c:pt idx="2526">
                  <c:v>-1.5126050420168E-2</c:v>
                </c:pt>
                <c:pt idx="2527">
                  <c:v>-1.5126050420168E-2</c:v>
                </c:pt>
                <c:pt idx="2528">
                  <c:v>-1.42857142857142E-2</c:v>
                </c:pt>
                <c:pt idx="2529">
                  <c:v>-1.42857142857142E-2</c:v>
                </c:pt>
                <c:pt idx="2530">
                  <c:v>-1.42857142857142E-2</c:v>
                </c:pt>
                <c:pt idx="2531">
                  <c:v>-1.42857142857142E-2</c:v>
                </c:pt>
                <c:pt idx="2532">
                  <c:v>-1.42857142857142E-2</c:v>
                </c:pt>
                <c:pt idx="2533">
                  <c:v>-1.42857142857142E-2</c:v>
                </c:pt>
                <c:pt idx="2534">
                  <c:v>-1.42857142857142E-2</c:v>
                </c:pt>
                <c:pt idx="2535">
                  <c:v>-1.42857142857142E-2</c:v>
                </c:pt>
                <c:pt idx="2536">
                  <c:v>-1.42857142857142E-2</c:v>
                </c:pt>
                <c:pt idx="2537">
                  <c:v>-1.42857142857142E-2</c:v>
                </c:pt>
                <c:pt idx="2538">
                  <c:v>-1.42857142857142E-2</c:v>
                </c:pt>
                <c:pt idx="2539">
                  <c:v>-1.42857142857142E-2</c:v>
                </c:pt>
                <c:pt idx="2540">
                  <c:v>-1.42857142857142E-2</c:v>
                </c:pt>
                <c:pt idx="2541">
                  <c:v>-1.42857142857142E-2</c:v>
                </c:pt>
                <c:pt idx="2542">
                  <c:v>-1.42857142857142E-2</c:v>
                </c:pt>
                <c:pt idx="2543">
                  <c:v>-1.42857142857142E-2</c:v>
                </c:pt>
                <c:pt idx="2544">
                  <c:v>-1.42857142857142E-2</c:v>
                </c:pt>
                <c:pt idx="2545">
                  <c:v>-1.42857142857142E-2</c:v>
                </c:pt>
                <c:pt idx="2546">
                  <c:v>-1.42857142857142E-2</c:v>
                </c:pt>
                <c:pt idx="2547">
                  <c:v>-1.42857142857142E-2</c:v>
                </c:pt>
                <c:pt idx="2548">
                  <c:v>-1.42857142857142E-2</c:v>
                </c:pt>
                <c:pt idx="2549">
                  <c:v>-1.42857142857142E-2</c:v>
                </c:pt>
                <c:pt idx="2550">
                  <c:v>-1.42857142857142E-2</c:v>
                </c:pt>
                <c:pt idx="2551">
                  <c:v>-1.42857142857142E-2</c:v>
                </c:pt>
                <c:pt idx="2552">
                  <c:v>-1.42857142857142E-2</c:v>
                </c:pt>
                <c:pt idx="2553">
                  <c:v>-1.42857142857142E-2</c:v>
                </c:pt>
                <c:pt idx="2554">
                  <c:v>-1.42857142857142E-2</c:v>
                </c:pt>
                <c:pt idx="2555">
                  <c:v>-1.42857142857142E-2</c:v>
                </c:pt>
                <c:pt idx="2556">
                  <c:v>-1.42857142857142E-2</c:v>
                </c:pt>
                <c:pt idx="2557">
                  <c:v>-1.42857142857142E-2</c:v>
                </c:pt>
                <c:pt idx="2558">
                  <c:v>-1.42857142857142E-2</c:v>
                </c:pt>
                <c:pt idx="2559">
                  <c:v>-1.42857142857142E-2</c:v>
                </c:pt>
                <c:pt idx="2560">
                  <c:v>-1.42857142857142E-2</c:v>
                </c:pt>
                <c:pt idx="2561">
                  <c:v>-1.42857142857142E-2</c:v>
                </c:pt>
                <c:pt idx="2562">
                  <c:v>-1.42857142857142E-2</c:v>
                </c:pt>
                <c:pt idx="2563">
                  <c:v>-1.42857142857142E-2</c:v>
                </c:pt>
                <c:pt idx="2564">
                  <c:v>-1.42857142857142E-2</c:v>
                </c:pt>
                <c:pt idx="2565">
                  <c:v>-1.42857142857142E-2</c:v>
                </c:pt>
                <c:pt idx="2566">
                  <c:v>-1.42857142857142E-2</c:v>
                </c:pt>
                <c:pt idx="2567">
                  <c:v>-1.42857142857142E-2</c:v>
                </c:pt>
                <c:pt idx="2568">
                  <c:v>-1.42857142857142E-2</c:v>
                </c:pt>
                <c:pt idx="2569">
                  <c:v>-1.42857142857142E-2</c:v>
                </c:pt>
                <c:pt idx="2570">
                  <c:v>-1.42857142857142E-2</c:v>
                </c:pt>
                <c:pt idx="2571">
                  <c:v>-1.42857142857142E-2</c:v>
                </c:pt>
                <c:pt idx="2572">
                  <c:v>-1.42857142857142E-2</c:v>
                </c:pt>
                <c:pt idx="2573">
                  <c:v>-1.42857142857142E-2</c:v>
                </c:pt>
                <c:pt idx="2574">
                  <c:v>-1.42857142857142E-2</c:v>
                </c:pt>
                <c:pt idx="2575">
                  <c:v>-1.42857142857142E-2</c:v>
                </c:pt>
                <c:pt idx="2576">
                  <c:v>-1.42857142857142E-2</c:v>
                </c:pt>
                <c:pt idx="2577">
                  <c:v>-1.34453781512605E-2</c:v>
                </c:pt>
                <c:pt idx="2578">
                  <c:v>-1.34453781512605E-2</c:v>
                </c:pt>
                <c:pt idx="2579">
                  <c:v>-1.34453781512605E-2</c:v>
                </c:pt>
                <c:pt idx="2580">
                  <c:v>-1.34453781512605E-2</c:v>
                </c:pt>
                <c:pt idx="2581">
                  <c:v>-1.34453781512605E-2</c:v>
                </c:pt>
                <c:pt idx="2582">
                  <c:v>-1.34453781512605E-2</c:v>
                </c:pt>
                <c:pt idx="2583">
                  <c:v>-1.34453781512605E-2</c:v>
                </c:pt>
                <c:pt idx="2584">
                  <c:v>-1.34453781512605E-2</c:v>
                </c:pt>
                <c:pt idx="2585">
                  <c:v>-1.34453781512605E-2</c:v>
                </c:pt>
                <c:pt idx="2586">
                  <c:v>-1.34453781512605E-2</c:v>
                </c:pt>
                <c:pt idx="2587">
                  <c:v>-1.26050420168067E-2</c:v>
                </c:pt>
                <c:pt idx="2588">
                  <c:v>-1.26050420168067E-2</c:v>
                </c:pt>
                <c:pt idx="2589">
                  <c:v>-1.1764705882352899E-2</c:v>
                </c:pt>
                <c:pt idx="2590">
                  <c:v>-1.1764705882352899E-2</c:v>
                </c:pt>
                <c:pt idx="2591">
                  <c:v>-1.09243697478991E-2</c:v>
                </c:pt>
                <c:pt idx="2592">
                  <c:v>-1.09243697478991E-2</c:v>
                </c:pt>
                <c:pt idx="2593">
                  <c:v>-1.09243697478991E-2</c:v>
                </c:pt>
                <c:pt idx="2594">
                  <c:v>-1.09243697478991E-2</c:v>
                </c:pt>
                <c:pt idx="2595">
                  <c:v>-1.1764705882352899E-2</c:v>
                </c:pt>
                <c:pt idx="2596">
                  <c:v>-1.1764705882352899E-2</c:v>
                </c:pt>
                <c:pt idx="2597">
                  <c:v>-1.1764705882352899E-2</c:v>
                </c:pt>
                <c:pt idx="2598">
                  <c:v>-1.1764705882352899E-2</c:v>
                </c:pt>
                <c:pt idx="2599">
                  <c:v>-1.1764705882352899E-2</c:v>
                </c:pt>
                <c:pt idx="2600">
                  <c:v>-1.1764705882352899E-2</c:v>
                </c:pt>
                <c:pt idx="2601">
                  <c:v>-1.1764705882352899E-2</c:v>
                </c:pt>
                <c:pt idx="2602">
                  <c:v>-1.09243697478991E-2</c:v>
                </c:pt>
                <c:pt idx="2603">
                  <c:v>-1.09243697478991E-2</c:v>
                </c:pt>
                <c:pt idx="2604">
                  <c:v>-1.09243697478991E-2</c:v>
                </c:pt>
                <c:pt idx="2605">
                  <c:v>-1.09243697478991E-2</c:v>
                </c:pt>
                <c:pt idx="2606">
                  <c:v>-1.09243697478991E-2</c:v>
                </c:pt>
                <c:pt idx="2607">
                  <c:v>-1.09243697478991E-2</c:v>
                </c:pt>
                <c:pt idx="2608">
                  <c:v>-1.09243697478991E-2</c:v>
                </c:pt>
                <c:pt idx="2609">
                  <c:v>-1.09243697478991E-2</c:v>
                </c:pt>
                <c:pt idx="2610">
                  <c:v>-1.09243697478991E-2</c:v>
                </c:pt>
                <c:pt idx="2611">
                  <c:v>-1.09243697478991E-2</c:v>
                </c:pt>
                <c:pt idx="2612">
                  <c:v>-1.09243697478991E-2</c:v>
                </c:pt>
                <c:pt idx="2613">
                  <c:v>-1.09243697478991E-2</c:v>
                </c:pt>
                <c:pt idx="2614">
                  <c:v>-1.09243697478991E-2</c:v>
                </c:pt>
                <c:pt idx="2615">
                  <c:v>-1.09243697478991E-2</c:v>
                </c:pt>
                <c:pt idx="2616">
                  <c:v>-1.09243697478991E-2</c:v>
                </c:pt>
                <c:pt idx="2617">
                  <c:v>-1.09243697478991E-2</c:v>
                </c:pt>
                <c:pt idx="2618">
                  <c:v>-1.1764705882352899E-2</c:v>
                </c:pt>
                <c:pt idx="2619">
                  <c:v>-1.1764705882352899E-2</c:v>
                </c:pt>
                <c:pt idx="2620">
                  <c:v>-1.1764705882352899E-2</c:v>
                </c:pt>
                <c:pt idx="2621">
                  <c:v>-1.1764705882352899E-2</c:v>
                </c:pt>
                <c:pt idx="2622">
                  <c:v>-1.1764705882352899E-2</c:v>
                </c:pt>
                <c:pt idx="2623">
                  <c:v>-1.1764705882352899E-2</c:v>
                </c:pt>
                <c:pt idx="2624">
                  <c:v>-1.1764705882352899E-2</c:v>
                </c:pt>
                <c:pt idx="2625">
                  <c:v>-1.1764705882352899E-2</c:v>
                </c:pt>
                <c:pt idx="2626">
                  <c:v>-1.1764705882352899E-2</c:v>
                </c:pt>
                <c:pt idx="2627">
                  <c:v>-1.1764705882352899E-2</c:v>
                </c:pt>
                <c:pt idx="2628">
                  <c:v>-1.1764705882352899E-2</c:v>
                </c:pt>
                <c:pt idx="2629">
                  <c:v>-1.1764705882352899E-2</c:v>
                </c:pt>
                <c:pt idx="2630">
                  <c:v>-1.1764705882352899E-2</c:v>
                </c:pt>
                <c:pt idx="2631">
                  <c:v>-1.1764705882352899E-2</c:v>
                </c:pt>
                <c:pt idx="2632">
                  <c:v>-1.1764705882352899E-2</c:v>
                </c:pt>
                <c:pt idx="2633">
                  <c:v>-1.1764705882352899E-2</c:v>
                </c:pt>
                <c:pt idx="2634">
                  <c:v>-1.1764705882352899E-2</c:v>
                </c:pt>
                <c:pt idx="2635">
                  <c:v>-1.1764705882352899E-2</c:v>
                </c:pt>
                <c:pt idx="2636">
                  <c:v>-1.1764705882352899E-2</c:v>
                </c:pt>
                <c:pt idx="2637">
                  <c:v>-1.1764705882352899E-2</c:v>
                </c:pt>
                <c:pt idx="2638">
                  <c:v>-1.1764705882352899E-2</c:v>
                </c:pt>
                <c:pt idx="2639">
                  <c:v>-1.1764705882352899E-2</c:v>
                </c:pt>
                <c:pt idx="2640">
                  <c:v>-1.1764705882352899E-2</c:v>
                </c:pt>
                <c:pt idx="2641">
                  <c:v>-1.1764705882352899E-2</c:v>
                </c:pt>
                <c:pt idx="2642">
                  <c:v>-1.1764705882352899E-2</c:v>
                </c:pt>
                <c:pt idx="2643">
                  <c:v>-1.09243697478991E-2</c:v>
                </c:pt>
                <c:pt idx="2644">
                  <c:v>-1.09243697478991E-2</c:v>
                </c:pt>
                <c:pt idx="2645">
                  <c:v>-1.0084033613445301E-2</c:v>
                </c:pt>
                <c:pt idx="2646">
                  <c:v>-1.0084033613445301E-2</c:v>
                </c:pt>
                <c:pt idx="2647">
                  <c:v>-1.0084033613445301E-2</c:v>
                </c:pt>
                <c:pt idx="2648">
                  <c:v>-1.0084033613445301E-2</c:v>
                </c:pt>
                <c:pt idx="2649">
                  <c:v>-1.0084033613445301E-2</c:v>
                </c:pt>
                <c:pt idx="2650">
                  <c:v>-1.0084033613445301E-2</c:v>
                </c:pt>
                <c:pt idx="2651">
                  <c:v>-1.0084033613445301E-2</c:v>
                </c:pt>
                <c:pt idx="2652">
                  <c:v>-1.0084033613445301E-2</c:v>
                </c:pt>
                <c:pt idx="2653">
                  <c:v>-1.0084033613445301E-2</c:v>
                </c:pt>
                <c:pt idx="2654">
                  <c:v>-1.0084033613445301E-2</c:v>
                </c:pt>
                <c:pt idx="2655">
                  <c:v>-1.0084033613445301E-2</c:v>
                </c:pt>
                <c:pt idx="2656">
                  <c:v>-1.0084033613445301E-2</c:v>
                </c:pt>
                <c:pt idx="2657">
                  <c:v>-1.0084033613445301E-2</c:v>
                </c:pt>
                <c:pt idx="2658">
                  <c:v>-1.0084033613445301E-2</c:v>
                </c:pt>
                <c:pt idx="2659">
                  <c:v>-1.0084033613445301E-2</c:v>
                </c:pt>
                <c:pt idx="2660">
                  <c:v>-1.0084033613445301E-2</c:v>
                </c:pt>
                <c:pt idx="2661">
                  <c:v>-1.0084033613445301E-2</c:v>
                </c:pt>
                <c:pt idx="2662">
                  <c:v>-1.0084033613445301E-2</c:v>
                </c:pt>
                <c:pt idx="2663">
                  <c:v>-1.0084033613445301E-2</c:v>
                </c:pt>
                <c:pt idx="2664">
                  <c:v>-1.0084033613445301E-2</c:v>
                </c:pt>
                <c:pt idx="2665">
                  <c:v>-1.0084033613445301E-2</c:v>
                </c:pt>
                <c:pt idx="2666">
                  <c:v>-1.0084033613445301E-2</c:v>
                </c:pt>
                <c:pt idx="2667">
                  <c:v>-1.0084033613445301E-2</c:v>
                </c:pt>
                <c:pt idx="2668">
                  <c:v>-1.0084033613445301E-2</c:v>
                </c:pt>
                <c:pt idx="2669">
                  <c:v>-1.0084033613445301E-2</c:v>
                </c:pt>
                <c:pt idx="2670">
                  <c:v>-1.0084033613445301E-2</c:v>
                </c:pt>
                <c:pt idx="2671">
                  <c:v>-1.0084033613445301E-2</c:v>
                </c:pt>
                <c:pt idx="2672">
                  <c:v>-1.0084033613445301E-2</c:v>
                </c:pt>
                <c:pt idx="2673">
                  <c:v>-1.0084033613445301E-2</c:v>
                </c:pt>
                <c:pt idx="2674">
                  <c:v>-1.0084033613445301E-2</c:v>
                </c:pt>
                <c:pt idx="2675">
                  <c:v>-1.09243697478991E-2</c:v>
                </c:pt>
                <c:pt idx="2676">
                  <c:v>-1.09243697478991E-2</c:v>
                </c:pt>
                <c:pt idx="2677">
                  <c:v>-1.09243697478991E-2</c:v>
                </c:pt>
                <c:pt idx="2678">
                  <c:v>-1.1764705882352899E-2</c:v>
                </c:pt>
                <c:pt idx="2679">
                  <c:v>-1.1764705882352899E-2</c:v>
                </c:pt>
                <c:pt idx="2680">
                  <c:v>-1.1764705882352899E-2</c:v>
                </c:pt>
                <c:pt idx="2681">
                  <c:v>-1.09243697478991E-2</c:v>
                </c:pt>
                <c:pt idx="2682">
                  <c:v>-1.09243697478991E-2</c:v>
                </c:pt>
                <c:pt idx="2683">
                  <c:v>-1.09243697478991E-2</c:v>
                </c:pt>
                <c:pt idx="2684">
                  <c:v>-1.09243697478991E-2</c:v>
                </c:pt>
                <c:pt idx="2685">
                  <c:v>-1.09243697478991E-2</c:v>
                </c:pt>
                <c:pt idx="2686">
                  <c:v>-1.09243697478991E-2</c:v>
                </c:pt>
                <c:pt idx="2687">
                  <c:v>-1.09243697478991E-2</c:v>
                </c:pt>
                <c:pt idx="2688">
                  <c:v>-1.09243697478991E-2</c:v>
                </c:pt>
                <c:pt idx="2689">
                  <c:v>-1.09243697478991E-2</c:v>
                </c:pt>
                <c:pt idx="2690">
                  <c:v>-1.09243697478991E-2</c:v>
                </c:pt>
                <c:pt idx="2691">
                  <c:v>-1.09243697478991E-2</c:v>
                </c:pt>
                <c:pt idx="2692">
                  <c:v>-1.09243697478991E-2</c:v>
                </c:pt>
                <c:pt idx="2693">
                  <c:v>-1.09243697478991E-2</c:v>
                </c:pt>
                <c:pt idx="2694">
                  <c:v>-1.1764705882352899E-2</c:v>
                </c:pt>
                <c:pt idx="2695">
                  <c:v>-1.1764705882352899E-2</c:v>
                </c:pt>
                <c:pt idx="2696">
                  <c:v>-1.26050420168067E-2</c:v>
                </c:pt>
                <c:pt idx="2697">
                  <c:v>-1.26050420168067E-2</c:v>
                </c:pt>
                <c:pt idx="2698">
                  <c:v>-1.26050420168067E-2</c:v>
                </c:pt>
                <c:pt idx="2699">
                  <c:v>-1.26050420168067E-2</c:v>
                </c:pt>
                <c:pt idx="2700">
                  <c:v>-1.1764705882352899E-2</c:v>
                </c:pt>
                <c:pt idx="2701">
                  <c:v>-1.1764705882352899E-2</c:v>
                </c:pt>
                <c:pt idx="2702">
                  <c:v>-1.1764705882352899E-2</c:v>
                </c:pt>
                <c:pt idx="2703">
                  <c:v>-1.1764705882352899E-2</c:v>
                </c:pt>
                <c:pt idx="2704">
                  <c:v>-1.1764705882352899E-2</c:v>
                </c:pt>
                <c:pt idx="2705">
                  <c:v>-1.1764705882352899E-2</c:v>
                </c:pt>
                <c:pt idx="2706">
                  <c:v>-1.1764705882352899E-2</c:v>
                </c:pt>
                <c:pt idx="2707">
                  <c:v>-1.1764705882352899E-2</c:v>
                </c:pt>
                <c:pt idx="2708">
                  <c:v>-1.1764705882352899E-2</c:v>
                </c:pt>
                <c:pt idx="2709">
                  <c:v>-1.09243697478991E-2</c:v>
                </c:pt>
                <c:pt idx="2710">
                  <c:v>-1.09243697478991E-2</c:v>
                </c:pt>
                <c:pt idx="2711">
                  <c:v>-1.09243697478991E-2</c:v>
                </c:pt>
                <c:pt idx="2712">
                  <c:v>-1.09243697478991E-2</c:v>
                </c:pt>
                <c:pt idx="2713">
                  <c:v>-1.09243697478991E-2</c:v>
                </c:pt>
                <c:pt idx="2714">
                  <c:v>-1.09243697478991E-2</c:v>
                </c:pt>
                <c:pt idx="2715">
                  <c:v>-1.09243697478991E-2</c:v>
                </c:pt>
                <c:pt idx="2716">
                  <c:v>-1.09243697478991E-2</c:v>
                </c:pt>
                <c:pt idx="2717">
                  <c:v>-1.09243697478991E-2</c:v>
                </c:pt>
                <c:pt idx="2718">
                  <c:v>-1.09243697478991E-2</c:v>
                </c:pt>
                <c:pt idx="2719">
                  <c:v>-1.09243697478991E-2</c:v>
                </c:pt>
                <c:pt idx="2720">
                  <c:v>-1.09243697478991E-2</c:v>
                </c:pt>
                <c:pt idx="2721">
                  <c:v>-1.09243697478991E-2</c:v>
                </c:pt>
                <c:pt idx="2722">
                  <c:v>-1.09243697478991E-2</c:v>
                </c:pt>
                <c:pt idx="2723">
                  <c:v>-1.09243697478991E-2</c:v>
                </c:pt>
                <c:pt idx="2724">
                  <c:v>-1.09243697478991E-2</c:v>
                </c:pt>
                <c:pt idx="2725">
                  <c:v>-1.0084033613445301E-2</c:v>
                </c:pt>
                <c:pt idx="2726">
                  <c:v>-1.0084033613445301E-2</c:v>
                </c:pt>
                <c:pt idx="2727">
                  <c:v>-1.0084033613445301E-2</c:v>
                </c:pt>
                <c:pt idx="2728">
                  <c:v>-1.0084033613445301E-2</c:v>
                </c:pt>
                <c:pt idx="2729">
                  <c:v>-1.0084033613445301E-2</c:v>
                </c:pt>
                <c:pt idx="2730">
                  <c:v>-1.0084033613445301E-2</c:v>
                </c:pt>
                <c:pt idx="2731">
                  <c:v>-1.0084033613445301E-2</c:v>
                </c:pt>
                <c:pt idx="2732">
                  <c:v>-1.09243697478991E-2</c:v>
                </c:pt>
                <c:pt idx="2733">
                  <c:v>-1.09243697478991E-2</c:v>
                </c:pt>
                <c:pt idx="2734">
                  <c:v>-1.09243697478991E-2</c:v>
                </c:pt>
                <c:pt idx="2735">
                  <c:v>-1.1764705882352899E-2</c:v>
                </c:pt>
                <c:pt idx="2736">
                  <c:v>-1.1764705882352899E-2</c:v>
                </c:pt>
                <c:pt idx="2737">
                  <c:v>-1.1764705882352899E-2</c:v>
                </c:pt>
                <c:pt idx="2738">
                  <c:v>-1.1764705882352899E-2</c:v>
                </c:pt>
                <c:pt idx="2739">
                  <c:v>-1.1764705882352899E-2</c:v>
                </c:pt>
                <c:pt idx="2740">
                  <c:v>-1.1764705882352899E-2</c:v>
                </c:pt>
                <c:pt idx="2741">
                  <c:v>-1.1764705882352899E-2</c:v>
                </c:pt>
                <c:pt idx="2742">
                  <c:v>-1.1764705882352899E-2</c:v>
                </c:pt>
                <c:pt idx="2743">
                  <c:v>-1.1764705882352899E-2</c:v>
                </c:pt>
                <c:pt idx="2744">
                  <c:v>-1.26050420168067E-2</c:v>
                </c:pt>
                <c:pt idx="2745">
                  <c:v>-1.26050420168067E-2</c:v>
                </c:pt>
                <c:pt idx="2746">
                  <c:v>-1.26050420168067E-2</c:v>
                </c:pt>
                <c:pt idx="2747">
                  <c:v>-1.1764705882352899E-2</c:v>
                </c:pt>
                <c:pt idx="2748">
                  <c:v>-1.1764705882352899E-2</c:v>
                </c:pt>
                <c:pt idx="2749">
                  <c:v>-1.1764705882352899E-2</c:v>
                </c:pt>
                <c:pt idx="2750">
                  <c:v>-1.1764705882352899E-2</c:v>
                </c:pt>
                <c:pt idx="2751">
                  <c:v>-1.1764705882352899E-2</c:v>
                </c:pt>
                <c:pt idx="2752">
                  <c:v>-1.1764705882352899E-2</c:v>
                </c:pt>
                <c:pt idx="2753">
                  <c:v>-1.1764705882352899E-2</c:v>
                </c:pt>
                <c:pt idx="2754">
                  <c:v>-1.1764705882352899E-2</c:v>
                </c:pt>
                <c:pt idx="2755">
                  <c:v>-1.1764705882352899E-2</c:v>
                </c:pt>
                <c:pt idx="2756">
                  <c:v>-1.1764705882352899E-2</c:v>
                </c:pt>
                <c:pt idx="2757">
                  <c:v>-1.09243697478991E-2</c:v>
                </c:pt>
                <c:pt idx="2758">
                  <c:v>-1.09243697478991E-2</c:v>
                </c:pt>
                <c:pt idx="2759">
                  <c:v>-1.09243697478991E-2</c:v>
                </c:pt>
                <c:pt idx="2760">
                  <c:v>-1.09243697478991E-2</c:v>
                </c:pt>
                <c:pt idx="2761">
                  <c:v>-1.09243697478991E-2</c:v>
                </c:pt>
                <c:pt idx="2762">
                  <c:v>-1.09243697478991E-2</c:v>
                </c:pt>
                <c:pt idx="2763">
                  <c:v>-1.09243697478991E-2</c:v>
                </c:pt>
                <c:pt idx="2764">
                  <c:v>-1.09243697478991E-2</c:v>
                </c:pt>
                <c:pt idx="2765">
                  <c:v>-1.09243697478991E-2</c:v>
                </c:pt>
                <c:pt idx="2766">
                  <c:v>-1.09243697478991E-2</c:v>
                </c:pt>
                <c:pt idx="2767">
                  <c:v>-1.09243697478991E-2</c:v>
                </c:pt>
                <c:pt idx="2768">
                  <c:v>-1.09243697478991E-2</c:v>
                </c:pt>
                <c:pt idx="2769">
                  <c:v>-1.09243697478991E-2</c:v>
                </c:pt>
                <c:pt idx="2770">
                  <c:v>-1.09243697478991E-2</c:v>
                </c:pt>
                <c:pt idx="2771">
                  <c:v>-1.09243697478991E-2</c:v>
                </c:pt>
                <c:pt idx="2772">
                  <c:v>-1.09243697478991E-2</c:v>
                </c:pt>
                <c:pt idx="2773">
                  <c:v>-1.09243697478991E-2</c:v>
                </c:pt>
                <c:pt idx="2774">
                  <c:v>-1.1764705882352899E-2</c:v>
                </c:pt>
                <c:pt idx="2775">
                  <c:v>-1.1764705882352899E-2</c:v>
                </c:pt>
                <c:pt idx="2776">
                  <c:v>-1.1764705882352899E-2</c:v>
                </c:pt>
                <c:pt idx="2777">
                  <c:v>-1.1764705882352899E-2</c:v>
                </c:pt>
                <c:pt idx="2778">
                  <c:v>-1.1764705882352899E-2</c:v>
                </c:pt>
                <c:pt idx="2779">
                  <c:v>-1.1764705882352899E-2</c:v>
                </c:pt>
                <c:pt idx="2780">
                  <c:v>-1.1764705882352899E-2</c:v>
                </c:pt>
                <c:pt idx="2781">
                  <c:v>-1.1764705882352899E-2</c:v>
                </c:pt>
                <c:pt idx="2782">
                  <c:v>-1.26050420168067E-2</c:v>
                </c:pt>
                <c:pt idx="2783">
                  <c:v>-1.26050420168067E-2</c:v>
                </c:pt>
                <c:pt idx="2784">
                  <c:v>-1.34453781512605E-2</c:v>
                </c:pt>
                <c:pt idx="2785">
                  <c:v>-1.34453781512605E-2</c:v>
                </c:pt>
                <c:pt idx="2786">
                  <c:v>-1.34453781512605E-2</c:v>
                </c:pt>
                <c:pt idx="2787">
                  <c:v>-1.34453781512605E-2</c:v>
                </c:pt>
                <c:pt idx="2788">
                  <c:v>-1.34453781512605E-2</c:v>
                </c:pt>
                <c:pt idx="2789">
                  <c:v>-1.34453781512605E-2</c:v>
                </c:pt>
                <c:pt idx="2790">
                  <c:v>-1.34453781512605E-2</c:v>
                </c:pt>
                <c:pt idx="2791">
                  <c:v>-1.26050420168067E-2</c:v>
                </c:pt>
                <c:pt idx="2792">
                  <c:v>-1.1764705882352899E-2</c:v>
                </c:pt>
                <c:pt idx="2793">
                  <c:v>-1.1764705882352899E-2</c:v>
                </c:pt>
                <c:pt idx="2794">
                  <c:v>-1.1764705882352899E-2</c:v>
                </c:pt>
                <c:pt idx="2795">
                  <c:v>-1.1764705882352899E-2</c:v>
                </c:pt>
                <c:pt idx="2796">
                  <c:v>-1.1764705882352899E-2</c:v>
                </c:pt>
                <c:pt idx="2797">
                  <c:v>-1.1764705882352899E-2</c:v>
                </c:pt>
                <c:pt idx="2798">
                  <c:v>-1.09243697478991E-2</c:v>
                </c:pt>
                <c:pt idx="2799">
                  <c:v>-1.09243697478991E-2</c:v>
                </c:pt>
                <c:pt idx="2800">
                  <c:v>-1.09243697478991E-2</c:v>
                </c:pt>
                <c:pt idx="2801">
                  <c:v>-1.09243697478991E-2</c:v>
                </c:pt>
                <c:pt idx="2802">
                  <c:v>-1.09243697478991E-2</c:v>
                </c:pt>
                <c:pt idx="2803">
                  <c:v>-1.09243697478991E-2</c:v>
                </c:pt>
                <c:pt idx="2804">
                  <c:v>-1.09243697478991E-2</c:v>
                </c:pt>
                <c:pt idx="2805">
                  <c:v>-1.09243697478991E-2</c:v>
                </c:pt>
                <c:pt idx="2806">
                  <c:v>-1.1764705882352899E-2</c:v>
                </c:pt>
                <c:pt idx="2807">
                  <c:v>-1.1764705882352899E-2</c:v>
                </c:pt>
                <c:pt idx="2808">
                  <c:v>-1.1764705882352899E-2</c:v>
                </c:pt>
                <c:pt idx="2809">
                  <c:v>-1.1764705882352899E-2</c:v>
                </c:pt>
                <c:pt idx="2810">
                  <c:v>-1.1764705882352899E-2</c:v>
                </c:pt>
                <c:pt idx="2811">
                  <c:v>-1.1764705882352899E-2</c:v>
                </c:pt>
                <c:pt idx="2812">
                  <c:v>-1.1764705882352899E-2</c:v>
                </c:pt>
                <c:pt idx="2813">
                  <c:v>-1.1764705882352899E-2</c:v>
                </c:pt>
                <c:pt idx="2814">
                  <c:v>-1.1764705882352899E-2</c:v>
                </c:pt>
                <c:pt idx="2815">
                  <c:v>-1.09243697478991E-2</c:v>
                </c:pt>
                <c:pt idx="2816">
                  <c:v>-1.09243697478991E-2</c:v>
                </c:pt>
                <c:pt idx="2817">
                  <c:v>-1.09243697478991E-2</c:v>
                </c:pt>
                <c:pt idx="2818">
                  <c:v>-1.09243697478991E-2</c:v>
                </c:pt>
                <c:pt idx="2819">
                  <c:v>-1.09243697478991E-2</c:v>
                </c:pt>
                <c:pt idx="2820">
                  <c:v>-1.0084033613445301E-2</c:v>
                </c:pt>
                <c:pt idx="2821">
                  <c:v>-9.2436974789915898E-3</c:v>
                </c:pt>
                <c:pt idx="2822">
                  <c:v>-9.2436974789915898E-3</c:v>
                </c:pt>
                <c:pt idx="2823">
                  <c:v>-9.2436974789915898E-3</c:v>
                </c:pt>
                <c:pt idx="2824">
                  <c:v>-9.2436974789915898E-3</c:v>
                </c:pt>
                <c:pt idx="2825">
                  <c:v>-9.2436974789915898E-3</c:v>
                </c:pt>
                <c:pt idx="2826">
                  <c:v>-1.0084033613445301E-2</c:v>
                </c:pt>
                <c:pt idx="2827">
                  <c:v>-1.0084033613445301E-2</c:v>
                </c:pt>
                <c:pt idx="2828">
                  <c:v>-1.0084033613445301E-2</c:v>
                </c:pt>
                <c:pt idx="2829">
                  <c:v>-1.0084033613445301E-2</c:v>
                </c:pt>
                <c:pt idx="2830">
                  <c:v>-1.0084033613445301E-2</c:v>
                </c:pt>
                <c:pt idx="2831">
                  <c:v>-1.0084033613445301E-2</c:v>
                </c:pt>
                <c:pt idx="2832">
                  <c:v>-1.09243697478991E-2</c:v>
                </c:pt>
                <c:pt idx="2833">
                  <c:v>-1.09243697478991E-2</c:v>
                </c:pt>
                <c:pt idx="2834">
                  <c:v>-1.09243697478991E-2</c:v>
                </c:pt>
                <c:pt idx="2835">
                  <c:v>-1.09243697478991E-2</c:v>
                </c:pt>
                <c:pt idx="2836">
                  <c:v>-1.09243697478991E-2</c:v>
                </c:pt>
                <c:pt idx="2837">
                  <c:v>-1.09243697478991E-2</c:v>
                </c:pt>
                <c:pt idx="2838">
                  <c:v>-1.09243697478991E-2</c:v>
                </c:pt>
                <c:pt idx="2839">
                  <c:v>-1.09243697478991E-2</c:v>
                </c:pt>
                <c:pt idx="2840">
                  <c:v>-1.09243697478991E-2</c:v>
                </c:pt>
                <c:pt idx="2841">
                  <c:v>-1.09243697478991E-2</c:v>
                </c:pt>
                <c:pt idx="2842">
                  <c:v>-1.09243697478991E-2</c:v>
                </c:pt>
                <c:pt idx="2843">
                  <c:v>-1.0084033613445301E-2</c:v>
                </c:pt>
                <c:pt idx="2844">
                  <c:v>-1.0084033613445301E-2</c:v>
                </c:pt>
                <c:pt idx="2845">
                  <c:v>-1.0084033613445301E-2</c:v>
                </c:pt>
                <c:pt idx="2846">
                  <c:v>-1.0084033613445301E-2</c:v>
                </c:pt>
                <c:pt idx="2847">
                  <c:v>-1.0084033613445301E-2</c:v>
                </c:pt>
                <c:pt idx="2848">
                  <c:v>-1.0084033613445301E-2</c:v>
                </c:pt>
                <c:pt idx="2849">
                  <c:v>-1.0084033613445301E-2</c:v>
                </c:pt>
                <c:pt idx="2850">
                  <c:v>-1.0084033613445301E-2</c:v>
                </c:pt>
                <c:pt idx="2851">
                  <c:v>-1.0084033613445301E-2</c:v>
                </c:pt>
                <c:pt idx="2852">
                  <c:v>-9.2436974789915898E-3</c:v>
                </c:pt>
                <c:pt idx="2853">
                  <c:v>-9.2436974789915898E-3</c:v>
                </c:pt>
                <c:pt idx="2854">
                  <c:v>-9.2436974789915898E-3</c:v>
                </c:pt>
                <c:pt idx="2855">
                  <c:v>-9.2436974789915898E-3</c:v>
                </c:pt>
                <c:pt idx="2856">
                  <c:v>-1.0084033613445301E-2</c:v>
                </c:pt>
                <c:pt idx="2857">
                  <c:v>-1.0084033613445301E-2</c:v>
                </c:pt>
                <c:pt idx="2858">
                  <c:v>-1.0084033613445301E-2</c:v>
                </c:pt>
                <c:pt idx="2859">
                  <c:v>-1.0084033613445301E-2</c:v>
                </c:pt>
                <c:pt idx="2860">
                  <c:v>-1.09243697478991E-2</c:v>
                </c:pt>
                <c:pt idx="2861">
                  <c:v>-1.09243697478991E-2</c:v>
                </c:pt>
                <c:pt idx="2862">
                  <c:v>-1.09243697478991E-2</c:v>
                </c:pt>
                <c:pt idx="2863">
                  <c:v>-1.09243697478991E-2</c:v>
                </c:pt>
                <c:pt idx="2864">
                  <c:v>-1.0084033613445301E-2</c:v>
                </c:pt>
                <c:pt idx="2865">
                  <c:v>-1.0084033613445301E-2</c:v>
                </c:pt>
                <c:pt idx="2866">
                  <c:v>-1.0084033613445301E-2</c:v>
                </c:pt>
                <c:pt idx="2867">
                  <c:v>-1.0084033613445301E-2</c:v>
                </c:pt>
                <c:pt idx="2868">
                  <c:v>-1.0084033613445301E-2</c:v>
                </c:pt>
                <c:pt idx="2869">
                  <c:v>-1.09243697478991E-2</c:v>
                </c:pt>
                <c:pt idx="2870">
                  <c:v>-1.09243697478991E-2</c:v>
                </c:pt>
                <c:pt idx="2871">
                  <c:v>-1.09243697478991E-2</c:v>
                </c:pt>
                <c:pt idx="2872">
                  <c:v>-1.09243697478991E-2</c:v>
                </c:pt>
                <c:pt idx="2873">
                  <c:v>-1.09243697478991E-2</c:v>
                </c:pt>
                <c:pt idx="2874">
                  <c:v>-1.1764705882352899E-2</c:v>
                </c:pt>
                <c:pt idx="2875">
                  <c:v>-1.1764705882352899E-2</c:v>
                </c:pt>
                <c:pt idx="2876">
                  <c:v>-1.1764705882352899E-2</c:v>
                </c:pt>
                <c:pt idx="2877">
                  <c:v>-1.1764705882352899E-2</c:v>
                </c:pt>
                <c:pt idx="2878">
                  <c:v>-1.1764705882352899E-2</c:v>
                </c:pt>
                <c:pt idx="2879">
                  <c:v>-1.1764705882352899E-2</c:v>
                </c:pt>
                <c:pt idx="2880">
                  <c:v>-1.1764705882352899E-2</c:v>
                </c:pt>
                <c:pt idx="2881">
                  <c:v>-1.1764705882352899E-2</c:v>
                </c:pt>
                <c:pt idx="2882">
                  <c:v>-1.1764705882352899E-2</c:v>
                </c:pt>
                <c:pt idx="2883">
                  <c:v>-1.1764705882352899E-2</c:v>
                </c:pt>
                <c:pt idx="2884">
                  <c:v>-1.1764705882352899E-2</c:v>
                </c:pt>
                <c:pt idx="2885">
                  <c:v>-1.1764705882352899E-2</c:v>
                </c:pt>
                <c:pt idx="2886">
                  <c:v>-1.1764705882352899E-2</c:v>
                </c:pt>
                <c:pt idx="2887">
                  <c:v>-1.1764705882352899E-2</c:v>
                </c:pt>
                <c:pt idx="2888">
                  <c:v>-1.1764705882352899E-2</c:v>
                </c:pt>
                <c:pt idx="2889">
                  <c:v>-1.1764705882352899E-2</c:v>
                </c:pt>
                <c:pt idx="2890">
                  <c:v>-1.26050420168067E-2</c:v>
                </c:pt>
                <c:pt idx="2891">
                  <c:v>-1.26050420168067E-2</c:v>
                </c:pt>
                <c:pt idx="2892">
                  <c:v>-1.26050420168067E-2</c:v>
                </c:pt>
                <c:pt idx="2893">
                  <c:v>-1.26050420168067E-2</c:v>
                </c:pt>
                <c:pt idx="2894">
                  <c:v>-1.26050420168067E-2</c:v>
                </c:pt>
                <c:pt idx="2895">
                  <c:v>-1.26050420168067E-2</c:v>
                </c:pt>
                <c:pt idx="2896">
                  <c:v>-1.26050420168067E-2</c:v>
                </c:pt>
                <c:pt idx="2897">
                  <c:v>-1.26050420168067E-2</c:v>
                </c:pt>
                <c:pt idx="2898">
                  <c:v>-1.26050420168067E-2</c:v>
                </c:pt>
                <c:pt idx="2899">
                  <c:v>-1.26050420168067E-2</c:v>
                </c:pt>
                <c:pt idx="2900">
                  <c:v>-1.26050420168067E-2</c:v>
                </c:pt>
                <c:pt idx="2901">
                  <c:v>-1.26050420168067E-2</c:v>
                </c:pt>
                <c:pt idx="2902">
                  <c:v>-1.26050420168067E-2</c:v>
                </c:pt>
                <c:pt idx="2903">
                  <c:v>-1.26050420168067E-2</c:v>
                </c:pt>
                <c:pt idx="2904">
                  <c:v>-1.26050420168067E-2</c:v>
                </c:pt>
                <c:pt idx="2905">
                  <c:v>-1.26050420168067E-2</c:v>
                </c:pt>
                <c:pt idx="2906">
                  <c:v>-1.26050420168067E-2</c:v>
                </c:pt>
                <c:pt idx="2907">
                  <c:v>-1.26050420168067E-2</c:v>
                </c:pt>
                <c:pt idx="2908">
                  <c:v>-1.26050420168067E-2</c:v>
                </c:pt>
                <c:pt idx="2909">
                  <c:v>-1.26050420168067E-2</c:v>
                </c:pt>
                <c:pt idx="2910">
                  <c:v>-1.26050420168067E-2</c:v>
                </c:pt>
                <c:pt idx="2911">
                  <c:v>-1.26050420168067E-2</c:v>
                </c:pt>
                <c:pt idx="2912">
                  <c:v>-1.26050420168067E-2</c:v>
                </c:pt>
                <c:pt idx="2913">
                  <c:v>-1.26050420168067E-2</c:v>
                </c:pt>
                <c:pt idx="2914">
                  <c:v>-1.26050420168067E-2</c:v>
                </c:pt>
                <c:pt idx="2915">
                  <c:v>-1.26050420168067E-2</c:v>
                </c:pt>
                <c:pt idx="2916">
                  <c:v>-1.26050420168067E-2</c:v>
                </c:pt>
                <c:pt idx="2917">
                  <c:v>-1.1764705882352899E-2</c:v>
                </c:pt>
                <c:pt idx="2918">
                  <c:v>-1.1764705882352899E-2</c:v>
                </c:pt>
                <c:pt idx="2919">
                  <c:v>-1.1764705882352899E-2</c:v>
                </c:pt>
                <c:pt idx="2920">
                  <c:v>-1.1764705882352899E-2</c:v>
                </c:pt>
                <c:pt idx="2921">
                  <c:v>-1.09243697478991E-2</c:v>
                </c:pt>
                <c:pt idx="2922">
                  <c:v>-1.09243697478991E-2</c:v>
                </c:pt>
                <c:pt idx="2923">
                  <c:v>-1.09243697478991E-2</c:v>
                </c:pt>
                <c:pt idx="2924">
                  <c:v>-1.09243697478991E-2</c:v>
                </c:pt>
                <c:pt idx="2925">
                  <c:v>-1.09243697478991E-2</c:v>
                </c:pt>
                <c:pt idx="2926">
                  <c:v>-1.09243697478991E-2</c:v>
                </c:pt>
                <c:pt idx="2927">
                  <c:v>-1.09243697478991E-2</c:v>
                </c:pt>
                <c:pt idx="2928">
                  <c:v>-1.09243697478991E-2</c:v>
                </c:pt>
                <c:pt idx="2929">
                  <c:v>-1.09243697478991E-2</c:v>
                </c:pt>
                <c:pt idx="2930">
                  <c:v>-1.0084033613445301E-2</c:v>
                </c:pt>
                <c:pt idx="2931">
                  <c:v>-1.0084033613445301E-2</c:v>
                </c:pt>
                <c:pt idx="2932">
                  <c:v>-1.0084033613445301E-2</c:v>
                </c:pt>
                <c:pt idx="2933">
                  <c:v>-1.09243697478991E-2</c:v>
                </c:pt>
                <c:pt idx="2934">
                  <c:v>-1.09243697478991E-2</c:v>
                </c:pt>
                <c:pt idx="2935">
                  <c:v>-1.09243697478991E-2</c:v>
                </c:pt>
                <c:pt idx="2936">
                  <c:v>-1.09243697478991E-2</c:v>
                </c:pt>
                <c:pt idx="2937">
                  <c:v>-1.09243697478991E-2</c:v>
                </c:pt>
                <c:pt idx="2938">
                  <c:v>-1.09243697478991E-2</c:v>
                </c:pt>
                <c:pt idx="2939">
                  <c:v>-1.09243697478991E-2</c:v>
                </c:pt>
                <c:pt idx="2940">
                  <c:v>-1.0084033613445301E-2</c:v>
                </c:pt>
                <c:pt idx="2941">
                  <c:v>-1.0084033613445301E-2</c:v>
                </c:pt>
                <c:pt idx="2942">
                  <c:v>-1.0084033613445301E-2</c:v>
                </c:pt>
                <c:pt idx="2943">
                  <c:v>-1.0084033613445301E-2</c:v>
                </c:pt>
                <c:pt idx="2944">
                  <c:v>-1.0084033613445301E-2</c:v>
                </c:pt>
                <c:pt idx="2945">
                  <c:v>-1.0084033613445301E-2</c:v>
                </c:pt>
                <c:pt idx="2946">
                  <c:v>-1.0084033613445301E-2</c:v>
                </c:pt>
                <c:pt idx="2947">
                  <c:v>-9.2436974789915898E-3</c:v>
                </c:pt>
                <c:pt idx="2948">
                  <c:v>-9.2436974789915898E-3</c:v>
                </c:pt>
                <c:pt idx="2949">
                  <c:v>-9.2436974789915898E-3</c:v>
                </c:pt>
                <c:pt idx="2950">
                  <c:v>-9.2436974789915898E-3</c:v>
                </c:pt>
                <c:pt idx="2951">
                  <c:v>-9.2436974789915898E-3</c:v>
                </c:pt>
                <c:pt idx="2952">
                  <c:v>-9.2436974789915898E-3</c:v>
                </c:pt>
                <c:pt idx="2953">
                  <c:v>-9.2436974789915898E-3</c:v>
                </c:pt>
                <c:pt idx="2954">
                  <c:v>-9.2436974789915898E-3</c:v>
                </c:pt>
                <c:pt idx="2955">
                  <c:v>-9.2436974789915898E-3</c:v>
                </c:pt>
                <c:pt idx="2956">
                  <c:v>-8.4033613445378096E-3</c:v>
                </c:pt>
                <c:pt idx="2957">
                  <c:v>-8.4033613445378096E-3</c:v>
                </c:pt>
                <c:pt idx="2958">
                  <c:v>-8.4033613445378096E-3</c:v>
                </c:pt>
                <c:pt idx="2959">
                  <c:v>-8.4033613445378096E-3</c:v>
                </c:pt>
                <c:pt idx="2960">
                  <c:v>-8.4033613445378096E-3</c:v>
                </c:pt>
                <c:pt idx="2961">
                  <c:v>-8.4033613445378096E-3</c:v>
                </c:pt>
                <c:pt idx="2962">
                  <c:v>-8.4033613445378096E-3</c:v>
                </c:pt>
                <c:pt idx="2963">
                  <c:v>-8.4033613445378096E-3</c:v>
                </c:pt>
                <c:pt idx="2964">
                  <c:v>-8.4033613445378096E-3</c:v>
                </c:pt>
                <c:pt idx="2965">
                  <c:v>-8.4033613445378096E-3</c:v>
                </c:pt>
                <c:pt idx="2966">
                  <c:v>-8.4033613445378096E-3</c:v>
                </c:pt>
                <c:pt idx="2967">
                  <c:v>-7.5630252100840302E-3</c:v>
                </c:pt>
                <c:pt idx="2968">
                  <c:v>-7.5630252100840302E-3</c:v>
                </c:pt>
                <c:pt idx="2969">
                  <c:v>-7.5630252100840302E-3</c:v>
                </c:pt>
                <c:pt idx="2970">
                  <c:v>-8.4033613445378096E-3</c:v>
                </c:pt>
                <c:pt idx="2971">
                  <c:v>-8.4033613445378096E-3</c:v>
                </c:pt>
                <c:pt idx="2972">
                  <c:v>-8.4033613445378096E-3</c:v>
                </c:pt>
                <c:pt idx="2973">
                  <c:v>-9.2436974789915898E-3</c:v>
                </c:pt>
                <c:pt idx="2974">
                  <c:v>-8.4033613445378096E-3</c:v>
                </c:pt>
                <c:pt idx="2975">
                  <c:v>-8.4033613445378096E-3</c:v>
                </c:pt>
                <c:pt idx="2976">
                  <c:v>-8.4033613445378096E-3</c:v>
                </c:pt>
                <c:pt idx="2977">
                  <c:v>-8.4033613445378096E-3</c:v>
                </c:pt>
                <c:pt idx="2978">
                  <c:v>-8.4033613445378096E-3</c:v>
                </c:pt>
                <c:pt idx="2979">
                  <c:v>-8.4033613445378096E-3</c:v>
                </c:pt>
                <c:pt idx="2980">
                  <c:v>-8.4033613445378096E-3</c:v>
                </c:pt>
                <c:pt idx="2981">
                  <c:v>-8.4033613445378096E-3</c:v>
                </c:pt>
                <c:pt idx="2982">
                  <c:v>-8.4033613445378096E-3</c:v>
                </c:pt>
                <c:pt idx="2983">
                  <c:v>-8.4033613445378096E-3</c:v>
                </c:pt>
                <c:pt idx="2984">
                  <c:v>-8.4033613445378096E-3</c:v>
                </c:pt>
                <c:pt idx="2985">
                  <c:v>-8.4033613445378096E-3</c:v>
                </c:pt>
                <c:pt idx="2986">
                  <c:v>-8.4033613445378096E-3</c:v>
                </c:pt>
                <c:pt idx="2987">
                  <c:v>-8.4033613445378096E-3</c:v>
                </c:pt>
                <c:pt idx="2988">
                  <c:v>-9.2436974789915898E-3</c:v>
                </c:pt>
                <c:pt idx="2989">
                  <c:v>-9.2436974789915898E-3</c:v>
                </c:pt>
                <c:pt idx="2990">
                  <c:v>-9.2436974789915898E-3</c:v>
                </c:pt>
                <c:pt idx="2991">
                  <c:v>-9.2436974789915898E-3</c:v>
                </c:pt>
                <c:pt idx="2992">
                  <c:v>-9.2436974789915898E-3</c:v>
                </c:pt>
                <c:pt idx="2993">
                  <c:v>-9.2436974789915898E-3</c:v>
                </c:pt>
                <c:pt idx="2994">
                  <c:v>-9.2436974789915898E-3</c:v>
                </c:pt>
                <c:pt idx="2995">
                  <c:v>-9.2436974789915898E-3</c:v>
                </c:pt>
                <c:pt idx="2996">
                  <c:v>-9.2436974789915898E-3</c:v>
                </c:pt>
                <c:pt idx="2997">
                  <c:v>-9.2436974789915898E-3</c:v>
                </c:pt>
                <c:pt idx="2998">
                  <c:v>-9.2436974789915898E-3</c:v>
                </c:pt>
                <c:pt idx="2999">
                  <c:v>-8.4033613445378096E-3</c:v>
                </c:pt>
                <c:pt idx="3000">
                  <c:v>-8.4033613445378096E-3</c:v>
                </c:pt>
                <c:pt idx="3001">
                  <c:v>-8.4033613445378096E-3</c:v>
                </c:pt>
                <c:pt idx="3002">
                  <c:v>-8.4033613445378096E-3</c:v>
                </c:pt>
                <c:pt idx="3003">
                  <c:v>-8.4033613445378096E-3</c:v>
                </c:pt>
                <c:pt idx="3004">
                  <c:v>-8.4033613445378096E-3</c:v>
                </c:pt>
                <c:pt idx="3005">
                  <c:v>-7.5630252100840302E-3</c:v>
                </c:pt>
                <c:pt idx="3006">
                  <c:v>-7.5630252100840302E-3</c:v>
                </c:pt>
                <c:pt idx="3007">
                  <c:v>-7.5630252100840302E-3</c:v>
                </c:pt>
                <c:pt idx="3008">
                  <c:v>-7.5630252100840302E-3</c:v>
                </c:pt>
                <c:pt idx="3009">
                  <c:v>-7.5630252100840302E-3</c:v>
                </c:pt>
                <c:pt idx="3010">
                  <c:v>-8.4033613445378096E-3</c:v>
                </c:pt>
                <c:pt idx="3011">
                  <c:v>-8.4033613445378096E-3</c:v>
                </c:pt>
                <c:pt idx="3012">
                  <c:v>-8.4033613445378096E-3</c:v>
                </c:pt>
                <c:pt idx="3013">
                  <c:v>-8.4033613445378096E-3</c:v>
                </c:pt>
                <c:pt idx="3014">
                  <c:v>-8.4033613445378096E-3</c:v>
                </c:pt>
                <c:pt idx="3015">
                  <c:v>-8.4033613445378096E-3</c:v>
                </c:pt>
                <c:pt idx="3016">
                  <c:v>-8.4033613445378096E-3</c:v>
                </c:pt>
                <c:pt idx="3017">
                  <c:v>-8.4033613445378096E-3</c:v>
                </c:pt>
                <c:pt idx="3018">
                  <c:v>-8.4033613445378096E-3</c:v>
                </c:pt>
                <c:pt idx="3019">
                  <c:v>-8.4033613445378096E-3</c:v>
                </c:pt>
                <c:pt idx="3020">
                  <c:v>-8.4033613445378096E-3</c:v>
                </c:pt>
                <c:pt idx="3021">
                  <c:v>-8.4033613445378096E-3</c:v>
                </c:pt>
                <c:pt idx="3022">
                  <c:v>-8.4033613445378096E-3</c:v>
                </c:pt>
                <c:pt idx="3023">
                  <c:v>-8.4033613445378096E-3</c:v>
                </c:pt>
                <c:pt idx="3024">
                  <c:v>-8.4033613445378096E-3</c:v>
                </c:pt>
                <c:pt idx="3025">
                  <c:v>-8.4033613445378096E-3</c:v>
                </c:pt>
                <c:pt idx="3026">
                  <c:v>-7.5630252100840302E-3</c:v>
                </c:pt>
                <c:pt idx="3027">
                  <c:v>-7.5630252100840302E-3</c:v>
                </c:pt>
                <c:pt idx="3028">
                  <c:v>-7.5630252100840302E-3</c:v>
                </c:pt>
                <c:pt idx="3029">
                  <c:v>-7.5630252100840302E-3</c:v>
                </c:pt>
                <c:pt idx="3030">
                  <c:v>-7.5630252100840302E-3</c:v>
                </c:pt>
                <c:pt idx="3031">
                  <c:v>-7.5630252100840302E-3</c:v>
                </c:pt>
                <c:pt idx="3032">
                  <c:v>-7.5630252100840302E-3</c:v>
                </c:pt>
                <c:pt idx="3033">
                  <c:v>-7.5630252100840302E-3</c:v>
                </c:pt>
                <c:pt idx="3034">
                  <c:v>-7.5630252100840302E-3</c:v>
                </c:pt>
                <c:pt idx="3035">
                  <c:v>-7.5630252100840302E-3</c:v>
                </c:pt>
                <c:pt idx="3036">
                  <c:v>-7.5630252100840302E-3</c:v>
                </c:pt>
                <c:pt idx="3037">
                  <c:v>-7.5630252100840302E-3</c:v>
                </c:pt>
                <c:pt idx="3038">
                  <c:v>-7.5630252100840302E-3</c:v>
                </c:pt>
                <c:pt idx="3039">
                  <c:v>-7.5630252100840302E-3</c:v>
                </c:pt>
                <c:pt idx="3040">
                  <c:v>-6.7226890756302204E-3</c:v>
                </c:pt>
                <c:pt idx="3041">
                  <c:v>-6.7226890756302204E-3</c:v>
                </c:pt>
                <c:pt idx="3042">
                  <c:v>-6.7226890756302204E-3</c:v>
                </c:pt>
                <c:pt idx="3043">
                  <c:v>-6.7226890756302204E-3</c:v>
                </c:pt>
                <c:pt idx="3044">
                  <c:v>-6.7226890756302204E-3</c:v>
                </c:pt>
                <c:pt idx="3045">
                  <c:v>-6.7226890756302204E-3</c:v>
                </c:pt>
                <c:pt idx="3046">
                  <c:v>-6.7226890756302204E-3</c:v>
                </c:pt>
                <c:pt idx="3047">
                  <c:v>-6.7226890756302204E-3</c:v>
                </c:pt>
                <c:pt idx="3048">
                  <c:v>-7.5630252100840302E-3</c:v>
                </c:pt>
                <c:pt idx="3049">
                  <c:v>-7.5630252100840302E-3</c:v>
                </c:pt>
                <c:pt idx="3050">
                  <c:v>-7.5630252100840302E-3</c:v>
                </c:pt>
                <c:pt idx="3051">
                  <c:v>-7.5630252100840302E-3</c:v>
                </c:pt>
                <c:pt idx="3052">
                  <c:v>-7.5630252100840302E-3</c:v>
                </c:pt>
                <c:pt idx="3053">
                  <c:v>-7.5630252100840302E-3</c:v>
                </c:pt>
                <c:pt idx="3054">
                  <c:v>-7.5630252100840302E-3</c:v>
                </c:pt>
                <c:pt idx="3055">
                  <c:v>-7.5630252100840302E-3</c:v>
                </c:pt>
                <c:pt idx="3056">
                  <c:v>-7.5630252100840302E-3</c:v>
                </c:pt>
                <c:pt idx="3057">
                  <c:v>-7.5630252100840302E-3</c:v>
                </c:pt>
                <c:pt idx="3058">
                  <c:v>-8.4033613445378096E-3</c:v>
                </c:pt>
                <c:pt idx="3059">
                  <c:v>-8.4033613445378096E-3</c:v>
                </c:pt>
                <c:pt idx="3060">
                  <c:v>-8.4033613445378096E-3</c:v>
                </c:pt>
                <c:pt idx="3061">
                  <c:v>-9.2436974789915898E-3</c:v>
                </c:pt>
                <c:pt idx="3062">
                  <c:v>-9.2436974789915898E-3</c:v>
                </c:pt>
                <c:pt idx="3063">
                  <c:v>-9.2436974789915898E-3</c:v>
                </c:pt>
                <c:pt idx="3064">
                  <c:v>-9.2436974789915898E-3</c:v>
                </c:pt>
                <c:pt idx="3065">
                  <c:v>-9.2436974789915898E-3</c:v>
                </c:pt>
                <c:pt idx="3066">
                  <c:v>-9.2436974789915898E-3</c:v>
                </c:pt>
                <c:pt idx="3067">
                  <c:v>-9.2436974789915898E-3</c:v>
                </c:pt>
                <c:pt idx="3068">
                  <c:v>-9.2436974789915898E-3</c:v>
                </c:pt>
                <c:pt idx="3069">
                  <c:v>-9.2436974789915898E-3</c:v>
                </c:pt>
                <c:pt idx="3070">
                  <c:v>-9.2436974789915898E-3</c:v>
                </c:pt>
                <c:pt idx="3071">
                  <c:v>-9.2436974789915898E-3</c:v>
                </c:pt>
                <c:pt idx="3072">
                  <c:v>-8.4033613445378096E-3</c:v>
                </c:pt>
                <c:pt idx="3073">
                  <c:v>-7.5630252100840302E-3</c:v>
                </c:pt>
                <c:pt idx="3074">
                  <c:v>-7.5630252100840302E-3</c:v>
                </c:pt>
                <c:pt idx="3075">
                  <c:v>-7.5630252100840302E-3</c:v>
                </c:pt>
                <c:pt idx="3076">
                  <c:v>-7.5630252100840302E-3</c:v>
                </c:pt>
                <c:pt idx="3077">
                  <c:v>-7.5630252100840302E-3</c:v>
                </c:pt>
                <c:pt idx="3078">
                  <c:v>-7.5630252100840302E-3</c:v>
                </c:pt>
                <c:pt idx="3079">
                  <c:v>-7.5630252100840302E-3</c:v>
                </c:pt>
                <c:pt idx="3080">
                  <c:v>-7.5630252100840302E-3</c:v>
                </c:pt>
                <c:pt idx="3081">
                  <c:v>-7.5630252100840302E-3</c:v>
                </c:pt>
                <c:pt idx="3082">
                  <c:v>-7.5630252100840302E-3</c:v>
                </c:pt>
                <c:pt idx="3083">
                  <c:v>-7.5630252100840302E-3</c:v>
                </c:pt>
                <c:pt idx="3084">
                  <c:v>-6.7226890756302499E-3</c:v>
                </c:pt>
                <c:pt idx="3085">
                  <c:v>-6.7226890756302499E-3</c:v>
                </c:pt>
                <c:pt idx="3086">
                  <c:v>-6.7226890756302499E-3</c:v>
                </c:pt>
                <c:pt idx="3087">
                  <c:v>-6.7226890756302499E-3</c:v>
                </c:pt>
                <c:pt idx="3088">
                  <c:v>-6.7226890756302499E-3</c:v>
                </c:pt>
                <c:pt idx="3089">
                  <c:v>-6.7226890756302499E-3</c:v>
                </c:pt>
                <c:pt idx="3090">
                  <c:v>-5.8823529411764696E-3</c:v>
                </c:pt>
                <c:pt idx="3091">
                  <c:v>-5.8823529411764696E-3</c:v>
                </c:pt>
                <c:pt idx="3092">
                  <c:v>-5.8823529411764696E-3</c:v>
                </c:pt>
                <c:pt idx="3093">
                  <c:v>-5.8823529411764696E-3</c:v>
                </c:pt>
                <c:pt idx="3094">
                  <c:v>-5.8823529411764696E-3</c:v>
                </c:pt>
                <c:pt idx="3095">
                  <c:v>-5.8823529411764696E-3</c:v>
                </c:pt>
                <c:pt idx="3096">
                  <c:v>-5.8823529411764696E-3</c:v>
                </c:pt>
                <c:pt idx="3097">
                  <c:v>-5.8823529411764696E-3</c:v>
                </c:pt>
                <c:pt idx="3098">
                  <c:v>-5.8823529411764696E-3</c:v>
                </c:pt>
                <c:pt idx="3099">
                  <c:v>-5.8823529411764696E-3</c:v>
                </c:pt>
                <c:pt idx="3100">
                  <c:v>-5.8823529411764696E-3</c:v>
                </c:pt>
                <c:pt idx="3101">
                  <c:v>-5.8823529411764696E-3</c:v>
                </c:pt>
                <c:pt idx="3102">
                  <c:v>-5.8823529411764696E-3</c:v>
                </c:pt>
                <c:pt idx="3103">
                  <c:v>-6.7226890756302499E-3</c:v>
                </c:pt>
                <c:pt idx="3104">
                  <c:v>-6.7226890756302499E-3</c:v>
                </c:pt>
                <c:pt idx="3105">
                  <c:v>-7.5630252100840302E-3</c:v>
                </c:pt>
                <c:pt idx="3106">
                  <c:v>-7.5630252100840302E-3</c:v>
                </c:pt>
                <c:pt idx="3107">
                  <c:v>-7.5630252100840302E-3</c:v>
                </c:pt>
                <c:pt idx="3108">
                  <c:v>-7.5630252100840302E-3</c:v>
                </c:pt>
                <c:pt idx="3109">
                  <c:v>-7.5630252100840302E-3</c:v>
                </c:pt>
                <c:pt idx="3110">
                  <c:v>-7.5630252100840302E-3</c:v>
                </c:pt>
                <c:pt idx="3111">
                  <c:v>-7.5630252100840302E-3</c:v>
                </c:pt>
                <c:pt idx="3112">
                  <c:v>-7.5630252100840302E-3</c:v>
                </c:pt>
                <c:pt idx="3113">
                  <c:v>-7.5630252100840302E-3</c:v>
                </c:pt>
                <c:pt idx="3114">
                  <c:v>-8.4033613445378096E-3</c:v>
                </c:pt>
                <c:pt idx="3115">
                  <c:v>-8.4033613445378096E-3</c:v>
                </c:pt>
                <c:pt idx="3116">
                  <c:v>-8.4033613445378096E-3</c:v>
                </c:pt>
                <c:pt idx="3117">
                  <c:v>-8.4033613445378096E-3</c:v>
                </c:pt>
                <c:pt idx="3118">
                  <c:v>-8.4033613445378096E-3</c:v>
                </c:pt>
                <c:pt idx="3119">
                  <c:v>-8.4033613445378096E-3</c:v>
                </c:pt>
                <c:pt idx="3120">
                  <c:v>-8.4033613445378096E-3</c:v>
                </c:pt>
                <c:pt idx="3121">
                  <c:v>-8.4033613445378096E-3</c:v>
                </c:pt>
                <c:pt idx="3122">
                  <c:v>-8.4033613445378096E-3</c:v>
                </c:pt>
                <c:pt idx="3123">
                  <c:v>-9.2436974789915898E-3</c:v>
                </c:pt>
                <c:pt idx="3124">
                  <c:v>-9.2436974789915898E-3</c:v>
                </c:pt>
                <c:pt idx="3125">
                  <c:v>-9.2436974789915898E-3</c:v>
                </c:pt>
                <c:pt idx="3126">
                  <c:v>-9.2436974789915898E-3</c:v>
                </c:pt>
                <c:pt idx="3127">
                  <c:v>-9.2436974789915898E-3</c:v>
                </c:pt>
                <c:pt idx="3128">
                  <c:v>-9.2436974789915898E-3</c:v>
                </c:pt>
                <c:pt idx="3129">
                  <c:v>-9.2436974789915898E-3</c:v>
                </c:pt>
                <c:pt idx="3130">
                  <c:v>-9.2436974789915898E-3</c:v>
                </c:pt>
                <c:pt idx="3131">
                  <c:v>-9.2436974789915898E-3</c:v>
                </c:pt>
                <c:pt idx="3132">
                  <c:v>-9.2436974789915898E-3</c:v>
                </c:pt>
                <c:pt idx="3133">
                  <c:v>-9.2436974789915898E-3</c:v>
                </c:pt>
                <c:pt idx="3134">
                  <c:v>-9.2436974789915898E-3</c:v>
                </c:pt>
                <c:pt idx="3135">
                  <c:v>-9.2436974789915898E-3</c:v>
                </c:pt>
                <c:pt idx="3136">
                  <c:v>-9.2436974789915898E-3</c:v>
                </c:pt>
                <c:pt idx="3137">
                  <c:v>-9.2436974789915898E-3</c:v>
                </c:pt>
                <c:pt idx="3138">
                  <c:v>-9.2436974789915898E-3</c:v>
                </c:pt>
                <c:pt idx="3139">
                  <c:v>-9.2436974789915898E-3</c:v>
                </c:pt>
                <c:pt idx="3140">
                  <c:v>-8.4033613445378096E-3</c:v>
                </c:pt>
                <c:pt idx="3141">
                  <c:v>-8.4033613445378096E-3</c:v>
                </c:pt>
                <c:pt idx="3142">
                  <c:v>-8.4033613445378096E-3</c:v>
                </c:pt>
                <c:pt idx="3143">
                  <c:v>-7.5630252100840302E-3</c:v>
                </c:pt>
                <c:pt idx="3144">
                  <c:v>-7.5630252100840302E-3</c:v>
                </c:pt>
                <c:pt idx="3145">
                  <c:v>-7.5630252100840302E-3</c:v>
                </c:pt>
                <c:pt idx="3146">
                  <c:v>-7.5630252100840302E-3</c:v>
                </c:pt>
                <c:pt idx="3147">
                  <c:v>-7.5630252100840302E-3</c:v>
                </c:pt>
                <c:pt idx="3148">
                  <c:v>-7.5630252100840302E-3</c:v>
                </c:pt>
                <c:pt idx="3149">
                  <c:v>-7.5630252100840302E-3</c:v>
                </c:pt>
                <c:pt idx="3150">
                  <c:v>-6.7226890756302499E-3</c:v>
                </c:pt>
                <c:pt idx="3151">
                  <c:v>-6.7226890756302499E-3</c:v>
                </c:pt>
                <c:pt idx="3152">
                  <c:v>-7.5630252100840302E-3</c:v>
                </c:pt>
                <c:pt idx="3153">
                  <c:v>-7.5630252100840302E-3</c:v>
                </c:pt>
                <c:pt idx="3154">
                  <c:v>-7.5630252100840302E-3</c:v>
                </c:pt>
                <c:pt idx="3155">
                  <c:v>-7.5630252100840302E-3</c:v>
                </c:pt>
                <c:pt idx="3156">
                  <c:v>-7.5630252100840302E-3</c:v>
                </c:pt>
                <c:pt idx="3157">
                  <c:v>-7.5630252100840302E-3</c:v>
                </c:pt>
                <c:pt idx="3158">
                  <c:v>-7.5630252100840302E-3</c:v>
                </c:pt>
                <c:pt idx="3159">
                  <c:v>-7.5630252100840302E-3</c:v>
                </c:pt>
                <c:pt idx="3160">
                  <c:v>-7.5630252100840302E-3</c:v>
                </c:pt>
                <c:pt idx="3161">
                  <c:v>-7.5630252100840302E-3</c:v>
                </c:pt>
                <c:pt idx="3162">
                  <c:v>-7.5630252100840302E-3</c:v>
                </c:pt>
                <c:pt idx="3163">
                  <c:v>-7.5630252100840302E-3</c:v>
                </c:pt>
                <c:pt idx="3164">
                  <c:v>-7.5630252100840302E-3</c:v>
                </c:pt>
                <c:pt idx="3165">
                  <c:v>-7.5630252100840302E-3</c:v>
                </c:pt>
                <c:pt idx="3166">
                  <c:v>-7.5630252100840302E-3</c:v>
                </c:pt>
                <c:pt idx="3167">
                  <c:v>-7.5630252100840302E-3</c:v>
                </c:pt>
                <c:pt idx="3168">
                  <c:v>-7.5630252100840302E-3</c:v>
                </c:pt>
                <c:pt idx="3169">
                  <c:v>-7.5630252100840302E-3</c:v>
                </c:pt>
                <c:pt idx="3170">
                  <c:v>-7.5630252100840302E-3</c:v>
                </c:pt>
                <c:pt idx="3171">
                  <c:v>-7.5630252100840302E-3</c:v>
                </c:pt>
                <c:pt idx="3172">
                  <c:v>-7.5630252100840302E-3</c:v>
                </c:pt>
                <c:pt idx="3173">
                  <c:v>-8.4033613445378096E-3</c:v>
                </c:pt>
                <c:pt idx="3174">
                  <c:v>-8.4033613445378096E-3</c:v>
                </c:pt>
                <c:pt idx="3175">
                  <c:v>-8.4033613445378096E-3</c:v>
                </c:pt>
                <c:pt idx="3176">
                  <c:v>-8.4033613445378096E-3</c:v>
                </c:pt>
                <c:pt idx="3177">
                  <c:v>-8.4033613445378096E-3</c:v>
                </c:pt>
                <c:pt idx="3178">
                  <c:v>-8.4033613445378096E-3</c:v>
                </c:pt>
                <c:pt idx="3179">
                  <c:v>-8.4033613445378096E-3</c:v>
                </c:pt>
                <c:pt idx="3180">
                  <c:v>-9.2436974789916193E-3</c:v>
                </c:pt>
                <c:pt idx="3181">
                  <c:v>-9.2436974789916193E-3</c:v>
                </c:pt>
                <c:pt idx="3182">
                  <c:v>-9.2436974789916193E-3</c:v>
                </c:pt>
                <c:pt idx="3183">
                  <c:v>-9.2436974789916193E-3</c:v>
                </c:pt>
                <c:pt idx="3184">
                  <c:v>-9.2436974789916193E-3</c:v>
                </c:pt>
                <c:pt idx="3185">
                  <c:v>-9.2436974789916193E-3</c:v>
                </c:pt>
                <c:pt idx="3186">
                  <c:v>-9.2436974789916193E-3</c:v>
                </c:pt>
                <c:pt idx="3187">
                  <c:v>-9.2436974789916193E-3</c:v>
                </c:pt>
                <c:pt idx="3188">
                  <c:v>-9.2436974789916193E-3</c:v>
                </c:pt>
                <c:pt idx="3189">
                  <c:v>-8.4033613445378408E-3</c:v>
                </c:pt>
                <c:pt idx="3190">
                  <c:v>-8.4033613445378408E-3</c:v>
                </c:pt>
                <c:pt idx="3191">
                  <c:v>-8.4033613445378408E-3</c:v>
                </c:pt>
                <c:pt idx="3192">
                  <c:v>-8.4033613445378408E-3</c:v>
                </c:pt>
                <c:pt idx="3193">
                  <c:v>-8.4033613445378408E-3</c:v>
                </c:pt>
                <c:pt idx="3194">
                  <c:v>-7.5630252100840302E-3</c:v>
                </c:pt>
                <c:pt idx="3195">
                  <c:v>-7.5630252100840302E-3</c:v>
                </c:pt>
                <c:pt idx="3196">
                  <c:v>-7.5630252100840302E-3</c:v>
                </c:pt>
                <c:pt idx="3197">
                  <c:v>-7.5630252100840302E-3</c:v>
                </c:pt>
                <c:pt idx="3198">
                  <c:v>-7.5630252100840302E-3</c:v>
                </c:pt>
                <c:pt idx="3199">
                  <c:v>-8.4033613445378096E-3</c:v>
                </c:pt>
                <c:pt idx="3200">
                  <c:v>-8.4033613445378096E-3</c:v>
                </c:pt>
                <c:pt idx="3201">
                  <c:v>-8.4033613445378096E-3</c:v>
                </c:pt>
                <c:pt idx="3202">
                  <c:v>-8.4033613445378096E-3</c:v>
                </c:pt>
                <c:pt idx="3203">
                  <c:v>-8.4033613445378096E-3</c:v>
                </c:pt>
                <c:pt idx="3204">
                  <c:v>-8.4033613445378096E-3</c:v>
                </c:pt>
                <c:pt idx="3205">
                  <c:v>-8.4033613445378096E-3</c:v>
                </c:pt>
                <c:pt idx="3206">
                  <c:v>-8.4033613445378096E-3</c:v>
                </c:pt>
                <c:pt idx="3207">
                  <c:v>-8.4033613445378096E-3</c:v>
                </c:pt>
                <c:pt idx="3208">
                  <c:v>-8.4033613445378096E-3</c:v>
                </c:pt>
                <c:pt idx="3209">
                  <c:v>-8.4033613445378096E-3</c:v>
                </c:pt>
                <c:pt idx="3210">
                  <c:v>-8.4033613445378096E-3</c:v>
                </c:pt>
                <c:pt idx="3211">
                  <c:v>-8.4033613445378096E-3</c:v>
                </c:pt>
                <c:pt idx="3212">
                  <c:v>-7.5630252100840302E-3</c:v>
                </c:pt>
                <c:pt idx="3213">
                  <c:v>-7.5630252100840302E-3</c:v>
                </c:pt>
                <c:pt idx="3214">
                  <c:v>-7.5630252100840302E-3</c:v>
                </c:pt>
                <c:pt idx="3215">
                  <c:v>-7.5630252100840302E-3</c:v>
                </c:pt>
                <c:pt idx="3216">
                  <c:v>-7.5630252100840302E-3</c:v>
                </c:pt>
                <c:pt idx="3217">
                  <c:v>-7.5630252100840302E-3</c:v>
                </c:pt>
                <c:pt idx="3218">
                  <c:v>-8.4033613445378096E-3</c:v>
                </c:pt>
                <c:pt idx="3219">
                  <c:v>-8.4033613445378096E-3</c:v>
                </c:pt>
                <c:pt idx="3220">
                  <c:v>-8.4033613445378096E-3</c:v>
                </c:pt>
                <c:pt idx="3221">
                  <c:v>-8.4033613445378096E-3</c:v>
                </c:pt>
                <c:pt idx="3222">
                  <c:v>-8.4033613445378096E-3</c:v>
                </c:pt>
                <c:pt idx="3223">
                  <c:v>-8.4033613445378096E-3</c:v>
                </c:pt>
                <c:pt idx="3224">
                  <c:v>-8.4033613445378096E-3</c:v>
                </c:pt>
                <c:pt idx="3225">
                  <c:v>-8.4033613445378096E-3</c:v>
                </c:pt>
                <c:pt idx="3226">
                  <c:v>-8.4033613445378096E-3</c:v>
                </c:pt>
                <c:pt idx="3227">
                  <c:v>-8.4033613445378096E-3</c:v>
                </c:pt>
                <c:pt idx="3228">
                  <c:v>-8.4033613445378096E-3</c:v>
                </c:pt>
                <c:pt idx="3229">
                  <c:v>-8.4033613445378096E-3</c:v>
                </c:pt>
                <c:pt idx="3230">
                  <c:v>-8.4033613445378096E-3</c:v>
                </c:pt>
                <c:pt idx="3231">
                  <c:v>-8.4033613445378096E-3</c:v>
                </c:pt>
                <c:pt idx="3232">
                  <c:v>-8.4033613445378096E-3</c:v>
                </c:pt>
                <c:pt idx="3233">
                  <c:v>-8.4033613445378096E-3</c:v>
                </c:pt>
                <c:pt idx="3234">
                  <c:v>-8.4033613445378096E-3</c:v>
                </c:pt>
                <c:pt idx="3235">
                  <c:v>-8.4033613445378096E-3</c:v>
                </c:pt>
                <c:pt idx="3236">
                  <c:v>-8.4033613445378096E-3</c:v>
                </c:pt>
                <c:pt idx="3237">
                  <c:v>-8.4033613445378096E-3</c:v>
                </c:pt>
                <c:pt idx="3238">
                  <c:v>-8.4033613445378096E-3</c:v>
                </c:pt>
                <c:pt idx="3239">
                  <c:v>-8.4033613445378096E-3</c:v>
                </c:pt>
                <c:pt idx="3240">
                  <c:v>-8.4033613445378096E-3</c:v>
                </c:pt>
                <c:pt idx="3241">
                  <c:v>-8.4033613445378096E-3</c:v>
                </c:pt>
                <c:pt idx="3242">
                  <c:v>-8.4033613445378096E-3</c:v>
                </c:pt>
                <c:pt idx="3243">
                  <c:v>-8.4033613445378096E-3</c:v>
                </c:pt>
                <c:pt idx="3244">
                  <c:v>-8.4033613445378096E-3</c:v>
                </c:pt>
                <c:pt idx="3245">
                  <c:v>-8.4033613445378096E-3</c:v>
                </c:pt>
                <c:pt idx="3246">
                  <c:v>-8.4033613445378096E-3</c:v>
                </c:pt>
                <c:pt idx="3247">
                  <c:v>-8.4033613445378096E-3</c:v>
                </c:pt>
                <c:pt idx="3248">
                  <c:v>-8.4033613445378096E-3</c:v>
                </c:pt>
                <c:pt idx="3249">
                  <c:v>-8.4033613445378096E-3</c:v>
                </c:pt>
                <c:pt idx="3250">
                  <c:v>-8.4033613445378096E-3</c:v>
                </c:pt>
                <c:pt idx="3251">
                  <c:v>-7.5630252100840302E-3</c:v>
                </c:pt>
                <c:pt idx="3252">
                  <c:v>-7.5630252100840302E-3</c:v>
                </c:pt>
                <c:pt idx="3253">
                  <c:v>-7.5630252100840302E-3</c:v>
                </c:pt>
                <c:pt idx="3254">
                  <c:v>-7.5630252100840302E-3</c:v>
                </c:pt>
                <c:pt idx="3255">
                  <c:v>-7.5630252100840302E-3</c:v>
                </c:pt>
                <c:pt idx="3256">
                  <c:v>-7.5630252100840302E-3</c:v>
                </c:pt>
                <c:pt idx="3257">
                  <c:v>-7.5630252100840302E-3</c:v>
                </c:pt>
                <c:pt idx="3258">
                  <c:v>-6.7226890756302499E-3</c:v>
                </c:pt>
                <c:pt idx="3259">
                  <c:v>-6.7226890756302499E-3</c:v>
                </c:pt>
                <c:pt idx="3260">
                  <c:v>-6.7226890756302499E-3</c:v>
                </c:pt>
                <c:pt idx="3261">
                  <c:v>-6.7226890756302499E-3</c:v>
                </c:pt>
                <c:pt idx="3262">
                  <c:v>-6.7226890756302499E-3</c:v>
                </c:pt>
                <c:pt idx="3263">
                  <c:v>-6.7226890756302499E-3</c:v>
                </c:pt>
                <c:pt idx="3264">
                  <c:v>-6.7226890756302499E-3</c:v>
                </c:pt>
                <c:pt idx="3265">
                  <c:v>-6.7226890756302499E-3</c:v>
                </c:pt>
                <c:pt idx="3266">
                  <c:v>-7.5630252100840302E-3</c:v>
                </c:pt>
                <c:pt idx="3267">
                  <c:v>-7.5630252100840302E-3</c:v>
                </c:pt>
                <c:pt idx="3268">
                  <c:v>-7.5630252100840302E-3</c:v>
                </c:pt>
                <c:pt idx="3269">
                  <c:v>-7.5630252100840302E-3</c:v>
                </c:pt>
                <c:pt idx="3270">
                  <c:v>-7.5630252100840302E-3</c:v>
                </c:pt>
                <c:pt idx="3271">
                  <c:v>-7.5630252100840302E-3</c:v>
                </c:pt>
                <c:pt idx="3272">
                  <c:v>-7.5630252100840302E-3</c:v>
                </c:pt>
                <c:pt idx="3273">
                  <c:v>-7.5630252100840302E-3</c:v>
                </c:pt>
                <c:pt idx="3274">
                  <c:v>-7.5630252100840302E-3</c:v>
                </c:pt>
                <c:pt idx="3275">
                  <c:v>-7.5630252100840302E-3</c:v>
                </c:pt>
                <c:pt idx="3276">
                  <c:v>-7.5630252100840302E-3</c:v>
                </c:pt>
                <c:pt idx="3277">
                  <c:v>-7.5630252100840302E-3</c:v>
                </c:pt>
                <c:pt idx="3278">
                  <c:v>-7.5630252100840302E-3</c:v>
                </c:pt>
                <c:pt idx="3279">
                  <c:v>-7.5630252100840302E-3</c:v>
                </c:pt>
                <c:pt idx="3280">
                  <c:v>-7.5630252100840302E-3</c:v>
                </c:pt>
                <c:pt idx="3281">
                  <c:v>-7.5630252100840302E-3</c:v>
                </c:pt>
                <c:pt idx="3282">
                  <c:v>-7.5630252100840302E-3</c:v>
                </c:pt>
                <c:pt idx="3283">
                  <c:v>-7.5630252100840302E-3</c:v>
                </c:pt>
                <c:pt idx="3284">
                  <c:v>-7.5630252100840302E-3</c:v>
                </c:pt>
                <c:pt idx="3285">
                  <c:v>-6.7226890756302499E-3</c:v>
                </c:pt>
                <c:pt idx="3286">
                  <c:v>-6.7226890756302499E-3</c:v>
                </c:pt>
                <c:pt idx="3287">
                  <c:v>-6.7226890756302499E-3</c:v>
                </c:pt>
                <c:pt idx="3288">
                  <c:v>-6.7226890756302499E-3</c:v>
                </c:pt>
                <c:pt idx="3289">
                  <c:v>-6.7226890756302499E-3</c:v>
                </c:pt>
                <c:pt idx="3290">
                  <c:v>-6.7226890756302499E-3</c:v>
                </c:pt>
                <c:pt idx="3291">
                  <c:v>-6.7226890756302499E-3</c:v>
                </c:pt>
                <c:pt idx="3292">
                  <c:v>-6.7226890756302499E-3</c:v>
                </c:pt>
                <c:pt idx="3293">
                  <c:v>-6.7226890756302499E-3</c:v>
                </c:pt>
                <c:pt idx="3294">
                  <c:v>-6.7226890756302499E-3</c:v>
                </c:pt>
                <c:pt idx="3295">
                  <c:v>-6.7226890756302499E-3</c:v>
                </c:pt>
                <c:pt idx="3296">
                  <c:v>-6.7226890756302499E-3</c:v>
                </c:pt>
                <c:pt idx="3297">
                  <c:v>-6.7226890756302499E-3</c:v>
                </c:pt>
                <c:pt idx="3298">
                  <c:v>-6.7226890756302499E-3</c:v>
                </c:pt>
                <c:pt idx="3299">
                  <c:v>-6.7226890756302499E-3</c:v>
                </c:pt>
                <c:pt idx="3300">
                  <c:v>-6.7226890756302499E-3</c:v>
                </c:pt>
                <c:pt idx="3301">
                  <c:v>-5.8823529411764696E-3</c:v>
                </c:pt>
                <c:pt idx="3302">
                  <c:v>-5.8823529411764696E-3</c:v>
                </c:pt>
                <c:pt idx="3303">
                  <c:v>-5.8823529411764696E-3</c:v>
                </c:pt>
                <c:pt idx="3304">
                  <c:v>-5.8823529411764696E-3</c:v>
                </c:pt>
                <c:pt idx="3305">
                  <c:v>-5.8823529411764696E-3</c:v>
                </c:pt>
                <c:pt idx="3306">
                  <c:v>-5.8823529411764696E-3</c:v>
                </c:pt>
                <c:pt idx="3307">
                  <c:v>-5.8823529411764696E-3</c:v>
                </c:pt>
                <c:pt idx="3308">
                  <c:v>-5.8823529411764696E-3</c:v>
                </c:pt>
                <c:pt idx="3309">
                  <c:v>-5.8823529411764696E-3</c:v>
                </c:pt>
                <c:pt idx="3310">
                  <c:v>-5.8823529411764696E-3</c:v>
                </c:pt>
                <c:pt idx="3311">
                  <c:v>-5.8823529411764696E-3</c:v>
                </c:pt>
                <c:pt idx="3312">
                  <c:v>-5.8823529411764696E-3</c:v>
                </c:pt>
                <c:pt idx="3313">
                  <c:v>-5.8823529411764696E-3</c:v>
                </c:pt>
                <c:pt idx="3314">
                  <c:v>-5.8823529411764696E-3</c:v>
                </c:pt>
                <c:pt idx="3315">
                  <c:v>-5.8823529411764696E-3</c:v>
                </c:pt>
                <c:pt idx="3316">
                  <c:v>-5.8823529411764696E-3</c:v>
                </c:pt>
                <c:pt idx="3317">
                  <c:v>-5.8823529411764696E-3</c:v>
                </c:pt>
                <c:pt idx="3318">
                  <c:v>-5.8823529411764696E-3</c:v>
                </c:pt>
                <c:pt idx="3319">
                  <c:v>-5.8823529411764696E-3</c:v>
                </c:pt>
                <c:pt idx="3320">
                  <c:v>-5.8823529411764696E-3</c:v>
                </c:pt>
                <c:pt idx="3321">
                  <c:v>-5.8823529411764696E-3</c:v>
                </c:pt>
                <c:pt idx="3322">
                  <c:v>-5.8823529411764696E-3</c:v>
                </c:pt>
                <c:pt idx="3323">
                  <c:v>-5.8823529411764696E-3</c:v>
                </c:pt>
                <c:pt idx="3324">
                  <c:v>-5.8823529411764696E-3</c:v>
                </c:pt>
                <c:pt idx="3325">
                  <c:v>-5.8823529411764696E-3</c:v>
                </c:pt>
                <c:pt idx="3326">
                  <c:v>-5.8823529411764696E-3</c:v>
                </c:pt>
                <c:pt idx="3327">
                  <c:v>-5.8823529411764696E-3</c:v>
                </c:pt>
                <c:pt idx="3328">
                  <c:v>-5.8823529411764696E-3</c:v>
                </c:pt>
                <c:pt idx="3329">
                  <c:v>-5.8823529411764696E-3</c:v>
                </c:pt>
                <c:pt idx="3330">
                  <c:v>-5.8823529411764696E-3</c:v>
                </c:pt>
                <c:pt idx="3331">
                  <c:v>-5.8823529411764696E-3</c:v>
                </c:pt>
                <c:pt idx="3332">
                  <c:v>-5.8823529411764696E-3</c:v>
                </c:pt>
                <c:pt idx="3333">
                  <c:v>-5.8823529411764696E-3</c:v>
                </c:pt>
                <c:pt idx="3334">
                  <c:v>-5.8823529411764696E-3</c:v>
                </c:pt>
                <c:pt idx="3335">
                  <c:v>-5.8823529411764696E-3</c:v>
                </c:pt>
                <c:pt idx="3336">
                  <c:v>-5.8823529411764696E-3</c:v>
                </c:pt>
                <c:pt idx="3337">
                  <c:v>-5.8823529411764696E-3</c:v>
                </c:pt>
                <c:pt idx="3338">
                  <c:v>-5.8823529411764696E-3</c:v>
                </c:pt>
                <c:pt idx="3339">
                  <c:v>-5.8823529411764696E-3</c:v>
                </c:pt>
                <c:pt idx="3340">
                  <c:v>-5.8823529411764696E-3</c:v>
                </c:pt>
                <c:pt idx="3341">
                  <c:v>-5.8823529411764696E-3</c:v>
                </c:pt>
                <c:pt idx="3342">
                  <c:v>-5.8823529411764696E-3</c:v>
                </c:pt>
                <c:pt idx="3343">
                  <c:v>-5.8823529411764696E-3</c:v>
                </c:pt>
                <c:pt idx="3344">
                  <c:v>-5.8823529411764696E-3</c:v>
                </c:pt>
                <c:pt idx="3345">
                  <c:v>-5.8823529411764696E-3</c:v>
                </c:pt>
                <c:pt idx="3346">
                  <c:v>-5.8823529411764696E-3</c:v>
                </c:pt>
                <c:pt idx="3347">
                  <c:v>-5.8823529411764696E-3</c:v>
                </c:pt>
                <c:pt idx="3348">
                  <c:v>-5.8823529411764696E-3</c:v>
                </c:pt>
                <c:pt idx="3349">
                  <c:v>-5.8823529411764696E-3</c:v>
                </c:pt>
                <c:pt idx="3350">
                  <c:v>-5.0420168067226902E-3</c:v>
                </c:pt>
                <c:pt idx="3351">
                  <c:v>-5.0420168067226902E-3</c:v>
                </c:pt>
                <c:pt idx="3352">
                  <c:v>-5.0420168067226902E-3</c:v>
                </c:pt>
                <c:pt idx="3353">
                  <c:v>-5.0420168067226902E-3</c:v>
                </c:pt>
                <c:pt idx="3354">
                  <c:v>-5.0420168067226902E-3</c:v>
                </c:pt>
                <c:pt idx="3355">
                  <c:v>-5.0420168067226902E-3</c:v>
                </c:pt>
                <c:pt idx="3356">
                  <c:v>-5.0420168067226902E-3</c:v>
                </c:pt>
                <c:pt idx="3357">
                  <c:v>-5.0420168067226902E-3</c:v>
                </c:pt>
                <c:pt idx="3358">
                  <c:v>-5.0420168067226902E-3</c:v>
                </c:pt>
                <c:pt idx="3359">
                  <c:v>-5.0420168067226902E-3</c:v>
                </c:pt>
                <c:pt idx="3360">
                  <c:v>-5.0420168067226902E-3</c:v>
                </c:pt>
                <c:pt idx="3361">
                  <c:v>-5.0420168067226902E-3</c:v>
                </c:pt>
                <c:pt idx="3362">
                  <c:v>-5.8823529411764696E-3</c:v>
                </c:pt>
                <c:pt idx="3363">
                  <c:v>-5.8823529411764696E-3</c:v>
                </c:pt>
                <c:pt idx="3364">
                  <c:v>-5.8823529411764696E-3</c:v>
                </c:pt>
                <c:pt idx="3365">
                  <c:v>-5.8823529411764696E-3</c:v>
                </c:pt>
                <c:pt idx="3366">
                  <c:v>-6.7226890756302499E-3</c:v>
                </c:pt>
                <c:pt idx="3367">
                  <c:v>-6.7226890756302499E-3</c:v>
                </c:pt>
                <c:pt idx="3368">
                  <c:v>-7.5630252100840302E-3</c:v>
                </c:pt>
                <c:pt idx="3369">
                  <c:v>-7.5630252100840302E-3</c:v>
                </c:pt>
                <c:pt idx="3370">
                  <c:v>-7.5630252100840302E-3</c:v>
                </c:pt>
                <c:pt idx="3371">
                  <c:v>-7.5630252100840302E-3</c:v>
                </c:pt>
                <c:pt idx="3372">
                  <c:v>-7.5630252100840302E-3</c:v>
                </c:pt>
                <c:pt idx="3373">
                  <c:v>-7.5630252100840302E-3</c:v>
                </c:pt>
                <c:pt idx="3374">
                  <c:v>-7.5630252100840302E-3</c:v>
                </c:pt>
                <c:pt idx="3375">
                  <c:v>-7.5630252100840302E-3</c:v>
                </c:pt>
                <c:pt idx="3376">
                  <c:v>-7.5630252100840302E-3</c:v>
                </c:pt>
                <c:pt idx="3377">
                  <c:v>-7.5630252100840302E-3</c:v>
                </c:pt>
                <c:pt idx="3378">
                  <c:v>-7.5630252100840302E-3</c:v>
                </c:pt>
                <c:pt idx="3379">
                  <c:v>-7.5630252100840302E-3</c:v>
                </c:pt>
                <c:pt idx="3380">
                  <c:v>-7.5630252100840302E-3</c:v>
                </c:pt>
                <c:pt idx="3381">
                  <c:v>-7.5630252100840302E-3</c:v>
                </c:pt>
                <c:pt idx="3382">
                  <c:v>-7.5630252100840302E-3</c:v>
                </c:pt>
                <c:pt idx="3383">
                  <c:v>-7.5630252100840302E-3</c:v>
                </c:pt>
                <c:pt idx="3384">
                  <c:v>-7.5630252100840302E-3</c:v>
                </c:pt>
                <c:pt idx="3385">
                  <c:v>-7.5630252100840302E-3</c:v>
                </c:pt>
                <c:pt idx="3386">
                  <c:v>-7.5630252100840302E-3</c:v>
                </c:pt>
                <c:pt idx="3387">
                  <c:v>-7.5630252100840302E-3</c:v>
                </c:pt>
                <c:pt idx="3388">
                  <c:v>-7.5630252100840302E-3</c:v>
                </c:pt>
                <c:pt idx="3389">
                  <c:v>-7.5630252100840302E-3</c:v>
                </c:pt>
                <c:pt idx="3390">
                  <c:v>-7.5630252100840302E-3</c:v>
                </c:pt>
                <c:pt idx="3391">
                  <c:v>-8.4033613445378096E-3</c:v>
                </c:pt>
                <c:pt idx="3392">
                  <c:v>-8.4033613445378096E-3</c:v>
                </c:pt>
                <c:pt idx="3393">
                  <c:v>-8.4033613445378096E-3</c:v>
                </c:pt>
                <c:pt idx="3394">
                  <c:v>-8.4033613445378096E-3</c:v>
                </c:pt>
                <c:pt idx="3395">
                  <c:v>-8.4033613445378096E-3</c:v>
                </c:pt>
                <c:pt idx="3396">
                  <c:v>-9.2436974789915898E-3</c:v>
                </c:pt>
                <c:pt idx="3397">
                  <c:v>-9.2436974789915898E-3</c:v>
                </c:pt>
                <c:pt idx="3398">
                  <c:v>-9.2436974789915898E-3</c:v>
                </c:pt>
                <c:pt idx="3399">
                  <c:v>-9.2436974789915898E-3</c:v>
                </c:pt>
                <c:pt idx="3400">
                  <c:v>-9.2436974789915898E-3</c:v>
                </c:pt>
                <c:pt idx="3401">
                  <c:v>-9.2436974789915898E-3</c:v>
                </c:pt>
                <c:pt idx="3402">
                  <c:v>-9.2436974789915898E-3</c:v>
                </c:pt>
                <c:pt idx="3403">
                  <c:v>-9.2436974789915898E-3</c:v>
                </c:pt>
                <c:pt idx="3404">
                  <c:v>-9.2436974789915898E-3</c:v>
                </c:pt>
                <c:pt idx="3405">
                  <c:v>-8.4033613445378096E-3</c:v>
                </c:pt>
                <c:pt idx="3406">
                  <c:v>-8.4033613445378096E-3</c:v>
                </c:pt>
                <c:pt idx="3407">
                  <c:v>-8.4033613445378096E-3</c:v>
                </c:pt>
                <c:pt idx="3408">
                  <c:v>-8.4033613445378096E-3</c:v>
                </c:pt>
                <c:pt idx="3409">
                  <c:v>-8.4033613445378096E-3</c:v>
                </c:pt>
                <c:pt idx="3410">
                  <c:v>-8.4033613445378096E-3</c:v>
                </c:pt>
                <c:pt idx="3411">
                  <c:v>-8.4033613445378096E-3</c:v>
                </c:pt>
                <c:pt idx="3412">
                  <c:v>-8.4033613445378096E-3</c:v>
                </c:pt>
                <c:pt idx="3413">
                  <c:v>-8.4033613445378096E-3</c:v>
                </c:pt>
                <c:pt idx="3414">
                  <c:v>-8.4033613445378096E-3</c:v>
                </c:pt>
                <c:pt idx="3415">
                  <c:v>-8.4033613445378096E-3</c:v>
                </c:pt>
                <c:pt idx="3416">
                  <c:v>-8.4033613445378096E-3</c:v>
                </c:pt>
                <c:pt idx="3417">
                  <c:v>-7.5630252100840302E-3</c:v>
                </c:pt>
                <c:pt idx="3418">
                  <c:v>-7.5630252100840302E-3</c:v>
                </c:pt>
                <c:pt idx="3419">
                  <c:v>-7.5630252100840302E-3</c:v>
                </c:pt>
                <c:pt idx="3420">
                  <c:v>-7.5630252100840302E-3</c:v>
                </c:pt>
                <c:pt idx="3421">
                  <c:v>-7.5630252100840302E-3</c:v>
                </c:pt>
                <c:pt idx="3422">
                  <c:v>-7.5630252100840302E-3</c:v>
                </c:pt>
                <c:pt idx="3423">
                  <c:v>-7.5630252100840302E-3</c:v>
                </c:pt>
                <c:pt idx="3424">
                  <c:v>-7.5630252100840302E-3</c:v>
                </c:pt>
                <c:pt idx="3425">
                  <c:v>-7.5630252100840302E-3</c:v>
                </c:pt>
                <c:pt idx="3426">
                  <c:v>-7.5630252100840302E-3</c:v>
                </c:pt>
                <c:pt idx="3427">
                  <c:v>-7.5630252100840302E-3</c:v>
                </c:pt>
                <c:pt idx="3428">
                  <c:v>-6.7226890756302204E-3</c:v>
                </c:pt>
                <c:pt idx="3429">
                  <c:v>-6.7226890756302204E-3</c:v>
                </c:pt>
                <c:pt idx="3430">
                  <c:v>-7.5630252100839998E-3</c:v>
                </c:pt>
                <c:pt idx="3431">
                  <c:v>-7.5630252100839998E-3</c:v>
                </c:pt>
                <c:pt idx="3432">
                  <c:v>-7.5630252100839998E-3</c:v>
                </c:pt>
                <c:pt idx="3433">
                  <c:v>-7.5630252100839998E-3</c:v>
                </c:pt>
                <c:pt idx="3434">
                  <c:v>-7.5630252100839998E-3</c:v>
                </c:pt>
                <c:pt idx="3435">
                  <c:v>-8.4033613445378096E-3</c:v>
                </c:pt>
                <c:pt idx="3436">
                  <c:v>-8.4033613445378096E-3</c:v>
                </c:pt>
                <c:pt idx="3437">
                  <c:v>-8.4033613445378096E-3</c:v>
                </c:pt>
                <c:pt idx="3438">
                  <c:v>-8.4033613445378096E-3</c:v>
                </c:pt>
                <c:pt idx="3439">
                  <c:v>-8.4033613445378096E-3</c:v>
                </c:pt>
                <c:pt idx="3440">
                  <c:v>-8.4033613445378096E-3</c:v>
                </c:pt>
                <c:pt idx="3441">
                  <c:v>-8.4033613445378096E-3</c:v>
                </c:pt>
                <c:pt idx="3442">
                  <c:v>-8.4033613445378096E-3</c:v>
                </c:pt>
                <c:pt idx="3443">
                  <c:v>-8.4033613445378096E-3</c:v>
                </c:pt>
                <c:pt idx="3444">
                  <c:v>-8.4033613445378096E-3</c:v>
                </c:pt>
                <c:pt idx="3445">
                  <c:v>-7.5630252100840302E-3</c:v>
                </c:pt>
                <c:pt idx="3446">
                  <c:v>-7.5630252100840302E-3</c:v>
                </c:pt>
                <c:pt idx="3447">
                  <c:v>-7.5630252100840302E-3</c:v>
                </c:pt>
                <c:pt idx="3448">
                  <c:v>-7.5630252100840302E-3</c:v>
                </c:pt>
                <c:pt idx="3449">
                  <c:v>-7.5630252100840302E-3</c:v>
                </c:pt>
                <c:pt idx="3450">
                  <c:v>-7.5630252100840302E-3</c:v>
                </c:pt>
                <c:pt idx="3451">
                  <c:v>-7.5630252100840302E-3</c:v>
                </c:pt>
                <c:pt idx="3452">
                  <c:v>-7.5630252100840302E-3</c:v>
                </c:pt>
                <c:pt idx="3453">
                  <c:v>-7.5630252100840302E-3</c:v>
                </c:pt>
                <c:pt idx="3454">
                  <c:v>-7.5630252100840302E-3</c:v>
                </c:pt>
                <c:pt idx="3455">
                  <c:v>-7.5630252100840302E-3</c:v>
                </c:pt>
                <c:pt idx="3456">
                  <c:v>-7.5630252100840302E-3</c:v>
                </c:pt>
                <c:pt idx="3457">
                  <c:v>-7.5630252100840302E-3</c:v>
                </c:pt>
                <c:pt idx="3458">
                  <c:v>-7.5630252100840302E-3</c:v>
                </c:pt>
                <c:pt idx="3459">
                  <c:v>-6.7226890756302499E-3</c:v>
                </c:pt>
                <c:pt idx="3460">
                  <c:v>-6.7226890756302499E-3</c:v>
                </c:pt>
                <c:pt idx="3461">
                  <c:v>-6.7226890756302499E-3</c:v>
                </c:pt>
                <c:pt idx="3462">
                  <c:v>-6.7226890756302499E-3</c:v>
                </c:pt>
                <c:pt idx="3463">
                  <c:v>-6.7226890756302499E-3</c:v>
                </c:pt>
                <c:pt idx="3464">
                  <c:v>-6.7226890756302499E-3</c:v>
                </c:pt>
                <c:pt idx="3465">
                  <c:v>-6.7226890756302499E-3</c:v>
                </c:pt>
                <c:pt idx="3466">
                  <c:v>-6.7226890756302499E-3</c:v>
                </c:pt>
                <c:pt idx="3467">
                  <c:v>-6.7226890756302499E-3</c:v>
                </c:pt>
                <c:pt idx="3468">
                  <c:v>-6.7226890756302499E-3</c:v>
                </c:pt>
                <c:pt idx="3469">
                  <c:v>-6.7226890756302499E-3</c:v>
                </c:pt>
                <c:pt idx="3470">
                  <c:v>-6.7226890756302499E-3</c:v>
                </c:pt>
                <c:pt idx="3471">
                  <c:v>-6.7226890756302499E-3</c:v>
                </c:pt>
                <c:pt idx="3472">
                  <c:v>-6.7226890756302499E-3</c:v>
                </c:pt>
                <c:pt idx="3473">
                  <c:v>-7.5630252100840302E-3</c:v>
                </c:pt>
                <c:pt idx="3474">
                  <c:v>-7.5630252100840302E-3</c:v>
                </c:pt>
                <c:pt idx="3475">
                  <c:v>-7.5630252100840302E-3</c:v>
                </c:pt>
                <c:pt idx="3476">
                  <c:v>-6.7226890756302499E-3</c:v>
                </c:pt>
                <c:pt idx="3477">
                  <c:v>-6.7226890756302499E-3</c:v>
                </c:pt>
                <c:pt idx="3478">
                  <c:v>-6.7226890756302499E-3</c:v>
                </c:pt>
                <c:pt idx="3479">
                  <c:v>-6.7226890756302499E-3</c:v>
                </c:pt>
                <c:pt idx="3480">
                  <c:v>-5.8823529411764696E-3</c:v>
                </c:pt>
                <c:pt idx="3481">
                  <c:v>-5.8823529411764696E-3</c:v>
                </c:pt>
                <c:pt idx="3482">
                  <c:v>-5.8823529411764696E-3</c:v>
                </c:pt>
                <c:pt idx="3483">
                  <c:v>-5.8823529411764696E-3</c:v>
                </c:pt>
                <c:pt idx="3484">
                  <c:v>-5.8823529411764696E-3</c:v>
                </c:pt>
                <c:pt idx="3485">
                  <c:v>-5.0420168067226902E-3</c:v>
                </c:pt>
                <c:pt idx="3486">
                  <c:v>-5.0420168067226902E-3</c:v>
                </c:pt>
                <c:pt idx="3487">
                  <c:v>-5.0420168067226902E-3</c:v>
                </c:pt>
                <c:pt idx="3488">
                  <c:v>-5.0420168067226902E-3</c:v>
                </c:pt>
                <c:pt idx="3489">
                  <c:v>-5.0420168067226902E-3</c:v>
                </c:pt>
                <c:pt idx="3490">
                  <c:v>-5.8823529411764696E-3</c:v>
                </c:pt>
                <c:pt idx="3491">
                  <c:v>-5.8823529411764696E-3</c:v>
                </c:pt>
                <c:pt idx="3492">
                  <c:v>-5.8823529411764696E-3</c:v>
                </c:pt>
                <c:pt idx="3493">
                  <c:v>-5.8823529411764696E-3</c:v>
                </c:pt>
                <c:pt idx="3494">
                  <c:v>-5.8823529411764696E-3</c:v>
                </c:pt>
                <c:pt idx="3495">
                  <c:v>-5.8823529411764696E-3</c:v>
                </c:pt>
                <c:pt idx="3496">
                  <c:v>-5.8823529411764696E-3</c:v>
                </c:pt>
                <c:pt idx="3497">
                  <c:v>-5.8823529411764696E-3</c:v>
                </c:pt>
                <c:pt idx="3498">
                  <c:v>-5.8823529411764696E-3</c:v>
                </c:pt>
                <c:pt idx="3499">
                  <c:v>-5.8823529411764696E-3</c:v>
                </c:pt>
                <c:pt idx="3500">
                  <c:v>-5.8823529411764696E-3</c:v>
                </c:pt>
                <c:pt idx="3501">
                  <c:v>-5.8823529411764696E-3</c:v>
                </c:pt>
                <c:pt idx="3502">
                  <c:v>-5.8823529411764696E-3</c:v>
                </c:pt>
                <c:pt idx="3503">
                  <c:v>-5.8823529411764696E-3</c:v>
                </c:pt>
                <c:pt idx="3504">
                  <c:v>-5.8823529411764696E-3</c:v>
                </c:pt>
                <c:pt idx="3505">
                  <c:v>-6.7226890756302499E-3</c:v>
                </c:pt>
                <c:pt idx="3506">
                  <c:v>-6.7226890756302499E-3</c:v>
                </c:pt>
                <c:pt idx="3507">
                  <c:v>-6.7226890756302499E-3</c:v>
                </c:pt>
                <c:pt idx="3508">
                  <c:v>-6.7226890756302499E-3</c:v>
                </c:pt>
                <c:pt idx="3509">
                  <c:v>-6.7226890756302499E-3</c:v>
                </c:pt>
                <c:pt idx="3510">
                  <c:v>-6.7226890756302499E-3</c:v>
                </c:pt>
                <c:pt idx="3511">
                  <c:v>-6.7226890756302499E-3</c:v>
                </c:pt>
                <c:pt idx="3512">
                  <c:v>-6.7226890756302499E-3</c:v>
                </c:pt>
                <c:pt idx="3513">
                  <c:v>-6.7226890756302499E-3</c:v>
                </c:pt>
                <c:pt idx="3514">
                  <c:v>-6.7226890756302499E-3</c:v>
                </c:pt>
                <c:pt idx="3515">
                  <c:v>-6.7226890756302499E-3</c:v>
                </c:pt>
                <c:pt idx="3516">
                  <c:v>-6.7226890756302499E-3</c:v>
                </c:pt>
                <c:pt idx="3517">
                  <c:v>-6.7226890756302499E-3</c:v>
                </c:pt>
                <c:pt idx="3518">
                  <c:v>-6.7226890756302499E-3</c:v>
                </c:pt>
                <c:pt idx="3519">
                  <c:v>-6.7226890756302499E-3</c:v>
                </c:pt>
                <c:pt idx="3520">
                  <c:v>-6.7226890756302499E-3</c:v>
                </c:pt>
                <c:pt idx="3521">
                  <c:v>-6.7226890756302499E-3</c:v>
                </c:pt>
                <c:pt idx="3522">
                  <c:v>-6.7226890756302499E-3</c:v>
                </c:pt>
                <c:pt idx="3523">
                  <c:v>-6.7226890756302499E-3</c:v>
                </c:pt>
                <c:pt idx="3524">
                  <c:v>-6.7226890756302499E-3</c:v>
                </c:pt>
                <c:pt idx="3525">
                  <c:v>-6.7226890756302499E-3</c:v>
                </c:pt>
                <c:pt idx="3526">
                  <c:v>-6.7226890756302499E-3</c:v>
                </c:pt>
                <c:pt idx="3527">
                  <c:v>-6.7226890756302499E-3</c:v>
                </c:pt>
                <c:pt idx="3528">
                  <c:v>-6.7226890756302499E-3</c:v>
                </c:pt>
                <c:pt idx="3529">
                  <c:v>-6.7226890756302499E-3</c:v>
                </c:pt>
                <c:pt idx="3530">
                  <c:v>-6.7226890756302499E-3</c:v>
                </c:pt>
                <c:pt idx="3531">
                  <c:v>-6.7226890756302499E-3</c:v>
                </c:pt>
                <c:pt idx="3532">
                  <c:v>-6.7226890756302499E-3</c:v>
                </c:pt>
                <c:pt idx="3533">
                  <c:v>-6.7226890756302499E-3</c:v>
                </c:pt>
                <c:pt idx="3534">
                  <c:v>-6.7226890756302499E-3</c:v>
                </c:pt>
                <c:pt idx="3535">
                  <c:v>-6.7226890756302499E-3</c:v>
                </c:pt>
                <c:pt idx="3536">
                  <c:v>-6.7226890756302499E-3</c:v>
                </c:pt>
                <c:pt idx="3537">
                  <c:v>-7.5630252100840302E-3</c:v>
                </c:pt>
                <c:pt idx="3538">
                  <c:v>-7.5630252100840302E-3</c:v>
                </c:pt>
                <c:pt idx="3539">
                  <c:v>-7.5630252100840302E-3</c:v>
                </c:pt>
                <c:pt idx="3540">
                  <c:v>-7.5630252100840302E-3</c:v>
                </c:pt>
                <c:pt idx="3541">
                  <c:v>-7.5630252100840302E-3</c:v>
                </c:pt>
                <c:pt idx="3542">
                  <c:v>-7.5630252100840302E-3</c:v>
                </c:pt>
                <c:pt idx="3543">
                  <c:v>-7.5630252100840302E-3</c:v>
                </c:pt>
                <c:pt idx="3544">
                  <c:v>-7.5630252100840302E-3</c:v>
                </c:pt>
                <c:pt idx="3545">
                  <c:v>-7.5630252100840302E-3</c:v>
                </c:pt>
                <c:pt idx="3546">
                  <c:v>-7.5630252100840302E-3</c:v>
                </c:pt>
                <c:pt idx="3547">
                  <c:v>-7.5630252100840302E-3</c:v>
                </c:pt>
                <c:pt idx="3548">
                  <c:v>-7.5630252100840302E-3</c:v>
                </c:pt>
                <c:pt idx="3549">
                  <c:v>-7.5630252100840302E-3</c:v>
                </c:pt>
                <c:pt idx="3550">
                  <c:v>-7.5630252100840302E-3</c:v>
                </c:pt>
                <c:pt idx="3551">
                  <c:v>-7.5630252100840302E-3</c:v>
                </c:pt>
                <c:pt idx="3552">
                  <c:v>-7.5630252100840302E-3</c:v>
                </c:pt>
                <c:pt idx="3553">
                  <c:v>-7.5630252100840302E-3</c:v>
                </c:pt>
                <c:pt idx="3554">
                  <c:v>-7.5630252100840302E-3</c:v>
                </c:pt>
                <c:pt idx="3555">
                  <c:v>-7.5630252100840302E-3</c:v>
                </c:pt>
                <c:pt idx="3556">
                  <c:v>-7.5630252100840302E-3</c:v>
                </c:pt>
                <c:pt idx="3557">
                  <c:v>-7.5630252100840302E-3</c:v>
                </c:pt>
                <c:pt idx="3558">
                  <c:v>-6.7226890756302499E-3</c:v>
                </c:pt>
                <c:pt idx="3559">
                  <c:v>-6.7226890756302499E-3</c:v>
                </c:pt>
                <c:pt idx="3560">
                  <c:v>-6.7226890756302499E-3</c:v>
                </c:pt>
                <c:pt idx="3561">
                  <c:v>-6.7226890756302499E-3</c:v>
                </c:pt>
                <c:pt idx="3562">
                  <c:v>-7.5630252100840302E-3</c:v>
                </c:pt>
                <c:pt idx="3563">
                  <c:v>-7.5630252100840302E-3</c:v>
                </c:pt>
                <c:pt idx="3564">
                  <c:v>-7.5630252100840302E-3</c:v>
                </c:pt>
                <c:pt idx="3565">
                  <c:v>-7.5630252100840302E-3</c:v>
                </c:pt>
                <c:pt idx="3566">
                  <c:v>-7.5630252100840302E-3</c:v>
                </c:pt>
                <c:pt idx="3567">
                  <c:v>-7.5630252100840302E-3</c:v>
                </c:pt>
                <c:pt idx="3568">
                  <c:v>-7.5630252100840302E-3</c:v>
                </c:pt>
                <c:pt idx="3569">
                  <c:v>-7.5630252100840302E-3</c:v>
                </c:pt>
                <c:pt idx="3570">
                  <c:v>-7.5630252100840302E-3</c:v>
                </c:pt>
                <c:pt idx="3571">
                  <c:v>-7.5630252100840302E-3</c:v>
                </c:pt>
                <c:pt idx="3572">
                  <c:v>-7.5630252100840302E-3</c:v>
                </c:pt>
                <c:pt idx="3573">
                  <c:v>-7.5630252100840302E-3</c:v>
                </c:pt>
                <c:pt idx="3574">
                  <c:v>-7.5630252100840302E-3</c:v>
                </c:pt>
                <c:pt idx="3575">
                  <c:v>-7.5630252100840302E-3</c:v>
                </c:pt>
                <c:pt idx="3576">
                  <c:v>-7.5630252100840302E-3</c:v>
                </c:pt>
                <c:pt idx="3577">
                  <c:v>-7.5630252100840302E-3</c:v>
                </c:pt>
                <c:pt idx="3578">
                  <c:v>-7.5630252100840302E-3</c:v>
                </c:pt>
                <c:pt idx="3579">
                  <c:v>-7.5630252100840302E-3</c:v>
                </c:pt>
                <c:pt idx="3580">
                  <c:v>-7.5630252100840302E-3</c:v>
                </c:pt>
                <c:pt idx="3581">
                  <c:v>-7.5630252100840302E-3</c:v>
                </c:pt>
                <c:pt idx="3582">
                  <c:v>-7.5630252100840302E-3</c:v>
                </c:pt>
                <c:pt idx="3583">
                  <c:v>-6.7226890756302499E-3</c:v>
                </c:pt>
                <c:pt idx="3584">
                  <c:v>-6.7226890756302499E-3</c:v>
                </c:pt>
                <c:pt idx="3585">
                  <c:v>-6.7226890756302499E-3</c:v>
                </c:pt>
                <c:pt idx="3586">
                  <c:v>-6.7226890756302499E-3</c:v>
                </c:pt>
                <c:pt idx="3587">
                  <c:v>-6.7226890756302499E-3</c:v>
                </c:pt>
                <c:pt idx="3588">
                  <c:v>-6.7226890756302499E-3</c:v>
                </c:pt>
                <c:pt idx="3589">
                  <c:v>-6.7226890756302499E-3</c:v>
                </c:pt>
                <c:pt idx="3590">
                  <c:v>-6.7226890756302499E-3</c:v>
                </c:pt>
                <c:pt idx="3591">
                  <c:v>-6.7226890756302499E-3</c:v>
                </c:pt>
                <c:pt idx="3592">
                  <c:v>-6.7226890756302499E-3</c:v>
                </c:pt>
                <c:pt idx="3593">
                  <c:v>-6.7226890756302499E-3</c:v>
                </c:pt>
                <c:pt idx="3594">
                  <c:v>-6.7226890756302499E-3</c:v>
                </c:pt>
                <c:pt idx="3595">
                  <c:v>-6.7226890756302499E-3</c:v>
                </c:pt>
                <c:pt idx="3596">
                  <c:v>-6.7226890756302499E-3</c:v>
                </c:pt>
                <c:pt idx="3597">
                  <c:v>-6.7226890756302499E-3</c:v>
                </c:pt>
                <c:pt idx="3598">
                  <c:v>-6.7226890756302499E-3</c:v>
                </c:pt>
                <c:pt idx="3599">
                  <c:v>-6.7226890756302499E-3</c:v>
                </c:pt>
                <c:pt idx="3600">
                  <c:v>-6.7226890756302499E-3</c:v>
                </c:pt>
                <c:pt idx="3601">
                  <c:v>-6.7226890756302499E-3</c:v>
                </c:pt>
                <c:pt idx="3602">
                  <c:v>-6.7226890756302499E-3</c:v>
                </c:pt>
                <c:pt idx="3603">
                  <c:v>-6.7226890756302499E-3</c:v>
                </c:pt>
                <c:pt idx="3604">
                  <c:v>-6.7226890756302499E-3</c:v>
                </c:pt>
                <c:pt idx="3605">
                  <c:v>-6.7226890756302499E-3</c:v>
                </c:pt>
                <c:pt idx="3606">
                  <c:v>-6.7226890756302499E-3</c:v>
                </c:pt>
                <c:pt idx="3607">
                  <c:v>-6.7226890756302499E-3</c:v>
                </c:pt>
                <c:pt idx="3608">
                  <c:v>-6.7226890756302499E-3</c:v>
                </c:pt>
                <c:pt idx="3609">
                  <c:v>-6.7226890756302499E-3</c:v>
                </c:pt>
                <c:pt idx="3610">
                  <c:v>-6.7226890756302499E-3</c:v>
                </c:pt>
                <c:pt idx="3611">
                  <c:v>-5.8823529411764696E-3</c:v>
                </c:pt>
                <c:pt idx="3612">
                  <c:v>-5.8823529411764696E-3</c:v>
                </c:pt>
                <c:pt idx="3613">
                  <c:v>-5.8823529411764696E-3</c:v>
                </c:pt>
                <c:pt idx="3614">
                  <c:v>-5.8823529411764696E-3</c:v>
                </c:pt>
                <c:pt idx="3615">
                  <c:v>-5.8823529411764696E-3</c:v>
                </c:pt>
                <c:pt idx="3616">
                  <c:v>-5.8823529411764696E-3</c:v>
                </c:pt>
                <c:pt idx="3617">
                  <c:v>-5.8823529411764696E-3</c:v>
                </c:pt>
                <c:pt idx="3618">
                  <c:v>-5.8823529411764696E-3</c:v>
                </c:pt>
                <c:pt idx="3619">
                  <c:v>-5.8823529411764696E-3</c:v>
                </c:pt>
                <c:pt idx="3620">
                  <c:v>-5.8823529411764696E-3</c:v>
                </c:pt>
                <c:pt idx="3621">
                  <c:v>-5.0420168067226902E-3</c:v>
                </c:pt>
                <c:pt idx="3622">
                  <c:v>-5.0420168067226902E-3</c:v>
                </c:pt>
                <c:pt idx="3623">
                  <c:v>-5.0420168067226902E-3</c:v>
                </c:pt>
                <c:pt idx="3624">
                  <c:v>-5.0420168067226902E-3</c:v>
                </c:pt>
                <c:pt idx="3625">
                  <c:v>-5.0420168067226902E-3</c:v>
                </c:pt>
                <c:pt idx="3626">
                  <c:v>-5.0420168067226902E-3</c:v>
                </c:pt>
                <c:pt idx="3627">
                  <c:v>-5.0420168067226902E-3</c:v>
                </c:pt>
                <c:pt idx="3628">
                  <c:v>-4.20168067226889E-3</c:v>
                </c:pt>
                <c:pt idx="3629">
                  <c:v>-4.20168067226889E-3</c:v>
                </c:pt>
                <c:pt idx="3630">
                  <c:v>-4.20168067226889E-3</c:v>
                </c:pt>
                <c:pt idx="3631">
                  <c:v>-4.20168067226889E-3</c:v>
                </c:pt>
                <c:pt idx="3632">
                  <c:v>-4.20168067226889E-3</c:v>
                </c:pt>
                <c:pt idx="3633">
                  <c:v>-4.20168067226889E-3</c:v>
                </c:pt>
                <c:pt idx="3634">
                  <c:v>-4.20168067226889E-3</c:v>
                </c:pt>
                <c:pt idx="3635">
                  <c:v>-4.20168067226889E-3</c:v>
                </c:pt>
                <c:pt idx="3636">
                  <c:v>-4.20168067226889E-3</c:v>
                </c:pt>
                <c:pt idx="3637">
                  <c:v>-4.20168067226889E-3</c:v>
                </c:pt>
                <c:pt idx="3638">
                  <c:v>-4.20168067226889E-3</c:v>
                </c:pt>
                <c:pt idx="3639">
                  <c:v>-4.20168067226889E-3</c:v>
                </c:pt>
                <c:pt idx="3640">
                  <c:v>-4.20168067226889E-3</c:v>
                </c:pt>
                <c:pt idx="3641">
                  <c:v>-4.20168067226889E-3</c:v>
                </c:pt>
                <c:pt idx="3642">
                  <c:v>-4.20168067226889E-3</c:v>
                </c:pt>
                <c:pt idx="3643">
                  <c:v>-4.20168067226889E-3</c:v>
                </c:pt>
                <c:pt idx="3644">
                  <c:v>-4.20168067226889E-3</c:v>
                </c:pt>
                <c:pt idx="3645">
                  <c:v>-4.20168067226889E-3</c:v>
                </c:pt>
                <c:pt idx="3646">
                  <c:v>-4.20168067226889E-3</c:v>
                </c:pt>
                <c:pt idx="3647">
                  <c:v>-4.20168067226889E-3</c:v>
                </c:pt>
                <c:pt idx="3648">
                  <c:v>-4.20168067226889E-3</c:v>
                </c:pt>
                <c:pt idx="3649">
                  <c:v>-4.20168067226889E-3</c:v>
                </c:pt>
                <c:pt idx="3650">
                  <c:v>-4.20168067226889E-3</c:v>
                </c:pt>
                <c:pt idx="3651">
                  <c:v>-4.20168067226889E-3</c:v>
                </c:pt>
                <c:pt idx="3652">
                  <c:v>-4.20168067226889E-3</c:v>
                </c:pt>
                <c:pt idx="3653">
                  <c:v>-4.20168067226889E-3</c:v>
                </c:pt>
                <c:pt idx="3654">
                  <c:v>-4.20168067226889E-3</c:v>
                </c:pt>
                <c:pt idx="3655">
                  <c:v>-4.20168067226889E-3</c:v>
                </c:pt>
                <c:pt idx="3656">
                  <c:v>-4.20168067226889E-3</c:v>
                </c:pt>
                <c:pt idx="3657">
                  <c:v>-4.20168067226889E-3</c:v>
                </c:pt>
                <c:pt idx="3658">
                  <c:v>-4.20168067226889E-3</c:v>
                </c:pt>
                <c:pt idx="3659">
                  <c:v>-4.20168067226889E-3</c:v>
                </c:pt>
                <c:pt idx="3660">
                  <c:v>-4.20168067226889E-3</c:v>
                </c:pt>
                <c:pt idx="3661">
                  <c:v>-4.20168067226889E-3</c:v>
                </c:pt>
                <c:pt idx="3662">
                  <c:v>-4.20168067226889E-3</c:v>
                </c:pt>
                <c:pt idx="3663">
                  <c:v>-4.20168067226889E-3</c:v>
                </c:pt>
                <c:pt idx="3664">
                  <c:v>-4.20168067226889E-3</c:v>
                </c:pt>
                <c:pt idx="3665">
                  <c:v>-4.20168067226889E-3</c:v>
                </c:pt>
                <c:pt idx="3666">
                  <c:v>-4.20168067226889E-3</c:v>
                </c:pt>
                <c:pt idx="3667">
                  <c:v>-4.20168067226889E-3</c:v>
                </c:pt>
                <c:pt idx="3668">
                  <c:v>-4.20168067226889E-3</c:v>
                </c:pt>
                <c:pt idx="3669">
                  <c:v>-4.20168067226889E-3</c:v>
                </c:pt>
                <c:pt idx="3670">
                  <c:v>-4.20168067226889E-3</c:v>
                </c:pt>
                <c:pt idx="3671">
                  <c:v>-4.20168067226889E-3</c:v>
                </c:pt>
                <c:pt idx="3672">
                  <c:v>-4.20168067226889E-3</c:v>
                </c:pt>
                <c:pt idx="3673">
                  <c:v>-4.20168067226889E-3</c:v>
                </c:pt>
                <c:pt idx="3674">
                  <c:v>-4.20168067226889E-3</c:v>
                </c:pt>
                <c:pt idx="3675">
                  <c:v>-4.20168067226889E-3</c:v>
                </c:pt>
                <c:pt idx="3676">
                  <c:v>-3.3613445378151102E-3</c:v>
                </c:pt>
                <c:pt idx="3677">
                  <c:v>-3.3613445378151102E-3</c:v>
                </c:pt>
                <c:pt idx="3678">
                  <c:v>-3.3613445378151102E-3</c:v>
                </c:pt>
                <c:pt idx="3679">
                  <c:v>-3.3613445378151102E-3</c:v>
                </c:pt>
                <c:pt idx="3680">
                  <c:v>-3.3613445378151102E-3</c:v>
                </c:pt>
                <c:pt idx="3681">
                  <c:v>-3.3613445378151102E-3</c:v>
                </c:pt>
                <c:pt idx="3682">
                  <c:v>-4.20168067226889E-3</c:v>
                </c:pt>
                <c:pt idx="3683">
                  <c:v>-4.20168067226889E-3</c:v>
                </c:pt>
                <c:pt idx="3684">
                  <c:v>-4.20168067226889E-3</c:v>
                </c:pt>
                <c:pt idx="3685">
                  <c:v>-4.20168067226889E-3</c:v>
                </c:pt>
                <c:pt idx="3686">
                  <c:v>-4.20168067226889E-3</c:v>
                </c:pt>
                <c:pt idx="3687">
                  <c:v>-4.20168067226889E-3</c:v>
                </c:pt>
                <c:pt idx="3688">
                  <c:v>-4.20168067226889E-3</c:v>
                </c:pt>
                <c:pt idx="3689">
                  <c:v>-3.3613445378151102E-3</c:v>
                </c:pt>
                <c:pt idx="3690">
                  <c:v>-3.3613445378151102E-3</c:v>
                </c:pt>
                <c:pt idx="3691">
                  <c:v>-3.3613445378151102E-3</c:v>
                </c:pt>
                <c:pt idx="3692">
                  <c:v>-3.3613445378151102E-3</c:v>
                </c:pt>
                <c:pt idx="3693">
                  <c:v>-3.3613445378151102E-3</c:v>
                </c:pt>
                <c:pt idx="3694">
                  <c:v>-3.3613445378151102E-3</c:v>
                </c:pt>
                <c:pt idx="3695">
                  <c:v>-2.5210084033613299E-3</c:v>
                </c:pt>
                <c:pt idx="3696">
                  <c:v>-2.5210084033613299E-3</c:v>
                </c:pt>
                <c:pt idx="3697">
                  <c:v>-1.6806722689075499E-3</c:v>
                </c:pt>
                <c:pt idx="3698">
                  <c:v>-1.6806722689075499E-3</c:v>
                </c:pt>
                <c:pt idx="3699">
                  <c:v>-1.6806722689075499E-3</c:v>
                </c:pt>
                <c:pt idx="3700">
                  <c:v>-1.6806722689075499E-3</c:v>
                </c:pt>
                <c:pt idx="3701">
                  <c:v>-1.6806722689075499E-3</c:v>
                </c:pt>
                <c:pt idx="3702">
                  <c:v>-2.5210084033613299E-3</c:v>
                </c:pt>
                <c:pt idx="3703">
                  <c:v>-2.5210084033613299E-3</c:v>
                </c:pt>
                <c:pt idx="3704">
                  <c:v>-2.5210084033613299E-3</c:v>
                </c:pt>
                <c:pt idx="3705">
                  <c:v>-3.3613445378151102E-3</c:v>
                </c:pt>
                <c:pt idx="3706">
                  <c:v>-3.3613445378151102E-3</c:v>
                </c:pt>
                <c:pt idx="3707">
                  <c:v>-3.3613445378151102E-3</c:v>
                </c:pt>
                <c:pt idx="3708">
                  <c:v>-3.3613445378151102E-3</c:v>
                </c:pt>
                <c:pt idx="3709">
                  <c:v>-3.3613445378151102E-3</c:v>
                </c:pt>
                <c:pt idx="3710">
                  <c:v>-3.3613445378151102E-3</c:v>
                </c:pt>
                <c:pt idx="3711">
                  <c:v>-3.3613445378151102E-3</c:v>
                </c:pt>
                <c:pt idx="3712">
                  <c:v>-3.3613445378151102E-3</c:v>
                </c:pt>
                <c:pt idx="3713">
                  <c:v>-4.2016806722689204E-3</c:v>
                </c:pt>
                <c:pt idx="3714">
                  <c:v>-4.2016806722689204E-3</c:v>
                </c:pt>
                <c:pt idx="3715">
                  <c:v>-4.2016806722689204E-3</c:v>
                </c:pt>
                <c:pt idx="3716">
                  <c:v>-4.2016806722689204E-3</c:v>
                </c:pt>
                <c:pt idx="3717">
                  <c:v>-4.2016806722689204E-3</c:v>
                </c:pt>
                <c:pt idx="3718">
                  <c:v>-4.2016806722689204E-3</c:v>
                </c:pt>
                <c:pt idx="3719">
                  <c:v>-4.2016806722689204E-3</c:v>
                </c:pt>
                <c:pt idx="3720">
                  <c:v>-4.2016806722689204E-3</c:v>
                </c:pt>
                <c:pt idx="3721">
                  <c:v>-4.2016806722689204E-3</c:v>
                </c:pt>
                <c:pt idx="3722">
                  <c:v>-4.2016806722689204E-3</c:v>
                </c:pt>
                <c:pt idx="3723">
                  <c:v>-4.2016806722689204E-3</c:v>
                </c:pt>
                <c:pt idx="3724">
                  <c:v>-4.2016806722689204E-3</c:v>
                </c:pt>
                <c:pt idx="3725">
                  <c:v>-4.2016806722689204E-3</c:v>
                </c:pt>
                <c:pt idx="3726">
                  <c:v>-4.2016806722689204E-3</c:v>
                </c:pt>
                <c:pt idx="3727">
                  <c:v>-4.2016806722689204E-3</c:v>
                </c:pt>
                <c:pt idx="3728">
                  <c:v>-4.2016806722689204E-3</c:v>
                </c:pt>
                <c:pt idx="3729">
                  <c:v>-4.2016806722689204E-3</c:v>
                </c:pt>
                <c:pt idx="3730">
                  <c:v>-4.2016806722689204E-3</c:v>
                </c:pt>
                <c:pt idx="3731">
                  <c:v>-3.3613445378151401E-3</c:v>
                </c:pt>
                <c:pt idx="3732">
                  <c:v>-3.3613445378151401E-3</c:v>
                </c:pt>
                <c:pt idx="3733">
                  <c:v>-3.3613445378151401E-3</c:v>
                </c:pt>
                <c:pt idx="3734">
                  <c:v>-3.3613445378151401E-3</c:v>
                </c:pt>
                <c:pt idx="3735">
                  <c:v>-4.2016806722689204E-3</c:v>
                </c:pt>
                <c:pt idx="3736">
                  <c:v>-4.2016806722689204E-3</c:v>
                </c:pt>
                <c:pt idx="3737">
                  <c:v>-4.2016806722689204E-3</c:v>
                </c:pt>
                <c:pt idx="3738">
                  <c:v>-4.2016806722689204E-3</c:v>
                </c:pt>
                <c:pt idx="3739">
                  <c:v>-4.2016806722689204E-3</c:v>
                </c:pt>
                <c:pt idx="3740">
                  <c:v>-4.2016806722689204E-3</c:v>
                </c:pt>
                <c:pt idx="3741">
                  <c:v>-4.2016806722689204E-3</c:v>
                </c:pt>
                <c:pt idx="3742">
                  <c:v>-4.2016806722689204E-3</c:v>
                </c:pt>
                <c:pt idx="3743">
                  <c:v>-3.3613445378151401E-3</c:v>
                </c:pt>
                <c:pt idx="3744">
                  <c:v>-3.3613445378151401E-3</c:v>
                </c:pt>
                <c:pt idx="3745">
                  <c:v>-3.3613445378151401E-3</c:v>
                </c:pt>
                <c:pt idx="3746">
                  <c:v>-3.3613445378151401E-3</c:v>
                </c:pt>
                <c:pt idx="3747">
                  <c:v>-3.3613445378151401E-3</c:v>
                </c:pt>
                <c:pt idx="3748">
                  <c:v>-3.3613445378151401E-3</c:v>
                </c:pt>
                <c:pt idx="3749">
                  <c:v>-3.3613445378151401E-3</c:v>
                </c:pt>
                <c:pt idx="3750">
                  <c:v>-2.5210084033613599E-3</c:v>
                </c:pt>
                <c:pt idx="3751">
                  <c:v>-2.5210084033613599E-3</c:v>
                </c:pt>
                <c:pt idx="3752">
                  <c:v>-2.5210084033613599E-3</c:v>
                </c:pt>
                <c:pt idx="3753">
                  <c:v>-2.5210084033613599E-3</c:v>
                </c:pt>
                <c:pt idx="3754">
                  <c:v>-2.5210084033613599E-3</c:v>
                </c:pt>
                <c:pt idx="3755">
                  <c:v>-2.5210084033613599E-3</c:v>
                </c:pt>
                <c:pt idx="3756">
                  <c:v>-2.5210084033613599E-3</c:v>
                </c:pt>
                <c:pt idx="3757">
                  <c:v>-2.5210084033613599E-3</c:v>
                </c:pt>
                <c:pt idx="3758">
                  <c:v>-2.5210084033613599E-3</c:v>
                </c:pt>
                <c:pt idx="3759">
                  <c:v>-3.3613445378151401E-3</c:v>
                </c:pt>
                <c:pt idx="3760">
                  <c:v>-4.2016806722689204E-3</c:v>
                </c:pt>
                <c:pt idx="3761">
                  <c:v>-4.2016806722689204E-3</c:v>
                </c:pt>
                <c:pt idx="3762">
                  <c:v>-4.2016806722689204E-3</c:v>
                </c:pt>
                <c:pt idx="3763">
                  <c:v>-4.2016806722689204E-3</c:v>
                </c:pt>
                <c:pt idx="3764">
                  <c:v>-4.2016806722689204E-3</c:v>
                </c:pt>
                <c:pt idx="3765">
                  <c:v>-4.2016806722689204E-3</c:v>
                </c:pt>
                <c:pt idx="3766">
                  <c:v>-4.2016806722689204E-3</c:v>
                </c:pt>
                <c:pt idx="3767">
                  <c:v>-4.2016806722689204E-3</c:v>
                </c:pt>
                <c:pt idx="3768">
                  <c:v>-4.2016806722689204E-3</c:v>
                </c:pt>
                <c:pt idx="3769">
                  <c:v>-4.2016806722689204E-3</c:v>
                </c:pt>
                <c:pt idx="3770">
                  <c:v>-3.3613445378151401E-3</c:v>
                </c:pt>
                <c:pt idx="3771">
                  <c:v>-3.3613445378151401E-3</c:v>
                </c:pt>
                <c:pt idx="3772">
                  <c:v>-3.3613445378151401E-3</c:v>
                </c:pt>
                <c:pt idx="3773">
                  <c:v>-3.3613445378151401E-3</c:v>
                </c:pt>
                <c:pt idx="3774">
                  <c:v>-3.3613445378151401E-3</c:v>
                </c:pt>
                <c:pt idx="3775">
                  <c:v>-3.3613445378151401E-3</c:v>
                </c:pt>
                <c:pt idx="3776">
                  <c:v>-3.3613445378151401E-3</c:v>
                </c:pt>
                <c:pt idx="3777">
                  <c:v>-3.3613445378151401E-3</c:v>
                </c:pt>
                <c:pt idx="3778">
                  <c:v>-3.3613445378151401E-3</c:v>
                </c:pt>
                <c:pt idx="3779">
                  <c:v>-3.3613445378151401E-3</c:v>
                </c:pt>
                <c:pt idx="3780">
                  <c:v>-3.3613445378151401E-3</c:v>
                </c:pt>
                <c:pt idx="3781">
                  <c:v>-3.3613445378151401E-3</c:v>
                </c:pt>
                <c:pt idx="3782">
                  <c:v>-3.3613445378151401E-3</c:v>
                </c:pt>
                <c:pt idx="3783">
                  <c:v>-3.3613445378151401E-3</c:v>
                </c:pt>
                <c:pt idx="3784">
                  <c:v>-3.3613445378151401E-3</c:v>
                </c:pt>
                <c:pt idx="3785">
                  <c:v>-3.3613445378151401E-3</c:v>
                </c:pt>
                <c:pt idx="3786">
                  <c:v>-3.3613445378151401E-3</c:v>
                </c:pt>
                <c:pt idx="3787">
                  <c:v>-3.3613445378151401E-3</c:v>
                </c:pt>
                <c:pt idx="3788">
                  <c:v>-3.3613445378151401E-3</c:v>
                </c:pt>
                <c:pt idx="3789">
                  <c:v>-3.3613445378151401E-3</c:v>
                </c:pt>
                <c:pt idx="3790">
                  <c:v>-3.3613445378151401E-3</c:v>
                </c:pt>
                <c:pt idx="3791">
                  <c:v>-3.3613445378151401E-3</c:v>
                </c:pt>
                <c:pt idx="3792">
                  <c:v>-3.3613445378151401E-3</c:v>
                </c:pt>
                <c:pt idx="3793">
                  <c:v>-2.5210084033613299E-3</c:v>
                </c:pt>
                <c:pt idx="3794">
                  <c:v>-2.5210084033613299E-3</c:v>
                </c:pt>
                <c:pt idx="3795">
                  <c:v>-2.5210084033613299E-3</c:v>
                </c:pt>
                <c:pt idx="3796">
                  <c:v>-2.5210084033613299E-3</c:v>
                </c:pt>
                <c:pt idx="3797">
                  <c:v>-2.5210084033613299E-3</c:v>
                </c:pt>
                <c:pt idx="3798">
                  <c:v>-2.5210084033613299E-3</c:v>
                </c:pt>
                <c:pt idx="3799">
                  <c:v>-2.5210084033613299E-3</c:v>
                </c:pt>
                <c:pt idx="3800">
                  <c:v>-2.5210084033613299E-3</c:v>
                </c:pt>
                <c:pt idx="3801">
                  <c:v>-2.5210084033613299E-3</c:v>
                </c:pt>
                <c:pt idx="3802">
                  <c:v>-2.5210084033613299E-3</c:v>
                </c:pt>
                <c:pt idx="3803">
                  <c:v>-2.5210084033613299E-3</c:v>
                </c:pt>
                <c:pt idx="3804">
                  <c:v>-2.5210084033613299E-3</c:v>
                </c:pt>
                <c:pt idx="3805">
                  <c:v>-2.5210084033613299E-3</c:v>
                </c:pt>
                <c:pt idx="3806">
                  <c:v>-2.5210084033613299E-3</c:v>
                </c:pt>
                <c:pt idx="3807">
                  <c:v>-2.5210084033613299E-3</c:v>
                </c:pt>
                <c:pt idx="3808">
                  <c:v>-2.5210084033613299E-3</c:v>
                </c:pt>
                <c:pt idx="3809">
                  <c:v>-2.5210084033613299E-3</c:v>
                </c:pt>
                <c:pt idx="3810">
                  <c:v>-2.5210084033613299E-3</c:v>
                </c:pt>
                <c:pt idx="3811">
                  <c:v>-2.5210084033613299E-3</c:v>
                </c:pt>
                <c:pt idx="3812">
                  <c:v>-2.5210084033613299E-3</c:v>
                </c:pt>
                <c:pt idx="3813">
                  <c:v>-2.5210084033613299E-3</c:v>
                </c:pt>
                <c:pt idx="3814">
                  <c:v>-2.5210084033613299E-3</c:v>
                </c:pt>
                <c:pt idx="3815">
                  <c:v>-3.3613445378151102E-3</c:v>
                </c:pt>
                <c:pt idx="3816">
                  <c:v>-3.3613445378151102E-3</c:v>
                </c:pt>
                <c:pt idx="3817">
                  <c:v>-3.3613445378151102E-3</c:v>
                </c:pt>
                <c:pt idx="3818">
                  <c:v>-3.3613445378151102E-3</c:v>
                </c:pt>
                <c:pt idx="3819">
                  <c:v>-3.3613445378151102E-3</c:v>
                </c:pt>
                <c:pt idx="3820">
                  <c:v>-3.3613445378151102E-3</c:v>
                </c:pt>
                <c:pt idx="3821">
                  <c:v>-3.3613445378151102E-3</c:v>
                </c:pt>
                <c:pt idx="3822">
                  <c:v>-3.3613445378151102E-3</c:v>
                </c:pt>
                <c:pt idx="3823">
                  <c:v>-3.3613445378151102E-3</c:v>
                </c:pt>
                <c:pt idx="3824">
                  <c:v>-2.5210084033613299E-3</c:v>
                </c:pt>
                <c:pt idx="3825">
                  <c:v>-2.5210084033613299E-3</c:v>
                </c:pt>
                <c:pt idx="3826">
                  <c:v>-2.5210084033613299E-3</c:v>
                </c:pt>
                <c:pt idx="3827">
                  <c:v>-2.5210084033613299E-3</c:v>
                </c:pt>
                <c:pt idx="3828">
                  <c:v>-2.5210084033613299E-3</c:v>
                </c:pt>
                <c:pt idx="3829">
                  <c:v>-2.5210084033613299E-3</c:v>
                </c:pt>
                <c:pt idx="3830">
                  <c:v>-2.5210084033613299E-3</c:v>
                </c:pt>
                <c:pt idx="3831">
                  <c:v>-2.5210084033613299E-3</c:v>
                </c:pt>
                <c:pt idx="3832">
                  <c:v>-1.6806722689075499E-3</c:v>
                </c:pt>
                <c:pt idx="3833">
                  <c:v>-8.4033613445377799E-4</c:v>
                </c:pt>
                <c:pt idx="3834">
                  <c:v>-8.4033613445377799E-4</c:v>
                </c:pt>
                <c:pt idx="3835">
                  <c:v>-8.4033613445377799E-4</c:v>
                </c:pt>
                <c:pt idx="3836">
                  <c:v>-8.4033613445377799E-4</c:v>
                </c:pt>
                <c:pt idx="3837">
                  <c:v>-8.4033613445377799E-4</c:v>
                </c:pt>
                <c:pt idx="3838">
                  <c:v>-8.4033613445377799E-4</c:v>
                </c:pt>
                <c:pt idx="3839">
                  <c:v>-8.4033613445377799E-4</c:v>
                </c:pt>
                <c:pt idx="3840">
                  <c:v>-8.4033613445377799E-4</c:v>
                </c:pt>
                <c:pt idx="3841">
                  <c:v>-8.4033613445377799E-4</c:v>
                </c:pt>
                <c:pt idx="3842">
                  <c:v>-8.4033613445377799E-4</c:v>
                </c:pt>
                <c:pt idx="3843">
                  <c:v>-8.4033613445377799E-4</c:v>
                </c:pt>
                <c:pt idx="3844">
                  <c:v>-8.4033613445377799E-4</c:v>
                </c:pt>
                <c:pt idx="3845">
                  <c:v>-8.4033613445377799E-4</c:v>
                </c:pt>
                <c:pt idx="3846">
                  <c:v>-8.4033613445377799E-4</c:v>
                </c:pt>
                <c:pt idx="3847">
                  <c:v>-8.4033613445377799E-4</c:v>
                </c:pt>
                <c:pt idx="3848">
                  <c:v>-8.4033613445377799E-4</c:v>
                </c:pt>
                <c:pt idx="3849">
                  <c:v>-1.6806722689075499E-3</c:v>
                </c:pt>
                <c:pt idx="3850">
                  <c:v>-1.6806722689075499E-3</c:v>
                </c:pt>
                <c:pt idx="3851">
                  <c:v>-1.6806722689075499E-3</c:v>
                </c:pt>
                <c:pt idx="3852">
                  <c:v>-2.5210084033613299E-3</c:v>
                </c:pt>
                <c:pt idx="3853">
                  <c:v>-2.5210084033613299E-3</c:v>
                </c:pt>
                <c:pt idx="3854">
                  <c:v>-2.5210084033613299E-3</c:v>
                </c:pt>
                <c:pt idx="3855">
                  <c:v>-2.5210084033613299E-3</c:v>
                </c:pt>
                <c:pt idx="3856">
                  <c:v>-2.5210084033613299E-3</c:v>
                </c:pt>
                <c:pt idx="3857">
                  <c:v>-2.5210084033613299E-3</c:v>
                </c:pt>
                <c:pt idx="3858">
                  <c:v>-2.5210084033613299E-3</c:v>
                </c:pt>
                <c:pt idx="3859">
                  <c:v>-3.3613445378151102E-3</c:v>
                </c:pt>
                <c:pt idx="3860">
                  <c:v>-3.3613445378151102E-3</c:v>
                </c:pt>
                <c:pt idx="3861">
                  <c:v>-3.3613445378151102E-3</c:v>
                </c:pt>
                <c:pt idx="3862">
                  <c:v>-3.3613445378151102E-3</c:v>
                </c:pt>
                <c:pt idx="3863">
                  <c:v>-3.3613445378151102E-3</c:v>
                </c:pt>
                <c:pt idx="3864">
                  <c:v>-3.3613445378151102E-3</c:v>
                </c:pt>
                <c:pt idx="3865">
                  <c:v>-3.3613445378151102E-3</c:v>
                </c:pt>
                <c:pt idx="3866">
                  <c:v>-3.3613445378151102E-3</c:v>
                </c:pt>
                <c:pt idx="3867">
                  <c:v>-3.3613445378151102E-3</c:v>
                </c:pt>
                <c:pt idx="3868">
                  <c:v>-3.3613445378151102E-3</c:v>
                </c:pt>
                <c:pt idx="3869">
                  <c:v>-3.3613445378151102E-3</c:v>
                </c:pt>
                <c:pt idx="3870">
                  <c:v>-3.3613445378151102E-3</c:v>
                </c:pt>
                <c:pt idx="3871">
                  <c:v>-3.3613445378151102E-3</c:v>
                </c:pt>
                <c:pt idx="3872">
                  <c:v>-3.3613445378151102E-3</c:v>
                </c:pt>
                <c:pt idx="3873">
                  <c:v>-3.3613445378151102E-3</c:v>
                </c:pt>
                <c:pt idx="3874">
                  <c:v>-3.3613445378151102E-3</c:v>
                </c:pt>
                <c:pt idx="3875">
                  <c:v>-2.5210084033613299E-3</c:v>
                </c:pt>
                <c:pt idx="3876">
                  <c:v>-2.5210084033613299E-3</c:v>
                </c:pt>
                <c:pt idx="3877">
                  <c:v>-2.5210084033613299E-3</c:v>
                </c:pt>
                <c:pt idx="3878">
                  <c:v>-2.5210084033613299E-3</c:v>
                </c:pt>
                <c:pt idx="3879">
                  <c:v>-2.5210084033613299E-3</c:v>
                </c:pt>
                <c:pt idx="3880">
                  <c:v>-3.3613445378151102E-3</c:v>
                </c:pt>
                <c:pt idx="3881">
                  <c:v>-3.3613445378151102E-3</c:v>
                </c:pt>
                <c:pt idx="3882">
                  <c:v>-3.3613445378151102E-3</c:v>
                </c:pt>
                <c:pt idx="3883">
                  <c:v>-3.3613445378151102E-3</c:v>
                </c:pt>
                <c:pt idx="3884">
                  <c:v>-3.3613445378151102E-3</c:v>
                </c:pt>
                <c:pt idx="3885">
                  <c:v>-3.3613445378151102E-3</c:v>
                </c:pt>
                <c:pt idx="3886">
                  <c:v>-3.3613445378151102E-3</c:v>
                </c:pt>
                <c:pt idx="3887">
                  <c:v>-3.3613445378151102E-3</c:v>
                </c:pt>
                <c:pt idx="3888">
                  <c:v>-3.3613445378151102E-3</c:v>
                </c:pt>
                <c:pt idx="3889">
                  <c:v>-3.3613445378151102E-3</c:v>
                </c:pt>
                <c:pt idx="3890">
                  <c:v>-3.3613445378151102E-3</c:v>
                </c:pt>
                <c:pt idx="3891">
                  <c:v>-3.3613445378151102E-3</c:v>
                </c:pt>
                <c:pt idx="3892">
                  <c:v>-3.3613445378151102E-3</c:v>
                </c:pt>
                <c:pt idx="3893">
                  <c:v>-4.2016806722689204E-3</c:v>
                </c:pt>
                <c:pt idx="3894">
                  <c:v>-4.2016806722689204E-3</c:v>
                </c:pt>
                <c:pt idx="3895">
                  <c:v>-4.2016806722689204E-3</c:v>
                </c:pt>
                <c:pt idx="3896">
                  <c:v>-4.2016806722689204E-3</c:v>
                </c:pt>
                <c:pt idx="3897">
                  <c:v>-4.2016806722689204E-3</c:v>
                </c:pt>
                <c:pt idx="3898">
                  <c:v>-4.2016806722689204E-3</c:v>
                </c:pt>
                <c:pt idx="3899">
                  <c:v>-4.2016806722689204E-3</c:v>
                </c:pt>
                <c:pt idx="3900">
                  <c:v>-4.2016806722689204E-3</c:v>
                </c:pt>
                <c:pt idx="3901">
                  <c:v>-4.2016806722689204E-3</c:v>
                </c:pt>
                <c:pt idx="3902">
                  <c:v>-4.2016806722689204E-3</c:v>
                </c:pt>
                <c:pt idx="3903">
                  <c:v>-4.2016806722689204E-3</c:v>
                </c:pt>
                <c:pt idx="3904">
                  <c:v>-4.2016806722689204E-3</c:v>
                </c:pt>
                <c:pt idx="3905">
                  <c:v>-4.2016806722689204E-3</c:v>
                </c:pt>
                <c:pt idx="3906">
                  <c:v>-4.2016806722689204E-3</c:v>
                </c:pt>
                <c:pt idx="3907">
                  <c:v>-4.2016806722689204E-3</c:v>
                </c:pt>
                <c:pt idx="3908">
                  <c:v>-4.2016806722689204E-3</c:v>
                </c:pt>
                <c:pt idx="3909">
                  <c:v>-4.2016806722689204E-3</c:v>
                </c:pt>
                <c:pt idx="3910">
                  <c:v>-4.2016806722689204E-3</c:v>
                </c:pt>
                <c:pt idx="3911">
                  <c:v>-4.2016806722689204E-3</c:v>
                </c:pt>
                <c:pt idx="3912">
                  <c:v>-3.3613445378151401E-3</c:v>
                </c:pt>
                <c:pt idx="3913">
                  <c:v>-3.3613445378151401E-3</c:v>
                </c:pt>
                <c:pt idx="3914">
                  <c:v>-2.5210084033613599E-3</c:v>
                </c:pt>
                <c:pt idx="3915">
                  <c:v>-2.5210084033613599E-3</c:v>
                </c:pt>
                <c:pt idx="3916">
                  <c:v>-2.5210084033613599E-3</c:v>
                </c:pt>
                <c:pt idx="3917">
                  <c:v>-1.68067226890758E-3</c:v>
                </c:pt>
                <c:pt idx="3918">
                  <c:v>-1.68067226890758E-3</c:v>
                </c:pt>
                <c:pt idx="3919">
                  <c:v>-1.68067226890758E-3</c:v>
                </c:pt>
                <c:pt idx="3920">
                  <c:v>-1.68067226890758E-3</c:v>
                </c:pt>
                <c:pt idx="3921">
                  <c:v>-1.68067226890758E-3</c:v>
                </c:pt>
                <c:pt idx="3922">
                  <c:v>-2.5210084033613599E-3</c:v>
                </c:pt>
                <c:pt idx="3923">
                  <c:v>-2.5210084033613599E-3</c:v>
                </c:pt>
                <c:pt idx="3924">
                  <c:v>-2.5210084033613599E-3</c:v>
                </c:pt>
                <c:pt idx="3925">
                  <c:v>-2.5210084033613599E-3</c:v>
                </c:pt>
                <c:pt idx="3926">
                  <c:v>-2.5210084033613599E-3</c:v>
                </c:pt>
                <c:pt idx="3927">
                  <c:v>-2.5210084033613599E-3</c:v>
                </c:pt>
                <c:pt idx="3928">
                  <c:v>-2.5210084033613599E-3</c:v>
                </c:pt>
                <c:pt idx="3929">
                  <c:v>-3.3613445378151401E-3</c:v>
                </c:pt>
                <c:pt idx="3930">
                  <c:v>-4.2016806722689204E-3</c:v>
                </c:pt>
                <c:pt idx="3931">
                  <c:v>-4.2016806722689204E-3</c:v>
                </c:pt>
                <c:pt idx="3932">
                  <c:v>-4.2016806722689204E-3</c:v>
                </c:pt>
                <c:pt idx="3933">
                  <c:v>-4.2016806722689204E-3</c:v>
                </c:pt>
                <c:pt idx="3934">
                  <c:v>-4.2016806722689204E-3</c:v>
                </c:pt>
                <c:pt idx="3935">
                  <c:v>-4.2016806722689204E-3</c:v>
                </c:pt>
                <c:pt idx="3936">
                  <c:v>-4.2016806722689204E-3</c:v>
                </c:pt>
                <c:pt idx="3937">
                  <c:v>-4.2016806722689204E-3</c:v>
                </c:pt>
                <c:pt idx="3938">
                  <c:v>-4.2016806722689204E-3</c:v>
                </c:pt>
                <c:pt idx="3939">
                  <c:v>-4.2016806722689204E-3</c:v>
                </c:pt>
                <c:pt idx="3940">
                  <c:v>-4.2016806722689204E-3</c:v>
                </c:pt>
                <c:pt idx="3941">
                  <c:v>-4.2016806722689204E-3</c:v>
                </c:pt>
                <c:pt idx="3942">
                  <c:v>-4.2016806722689204E-3</c:v>
                </c:pt>
                <c:pt idx="3943">
                  <c:v>-4.2016806722689204E-3</c:v>
                </c:pt>
                <c:pt idx="3944">
                  <c:v>-4.2016806722689204E-3</c:v>
                </c:pt>
                <c:pt idx="3945">
                  <c:v>-4.2016806722689204E-3</c:v>
                </c:pt>
                <c:pt idx="3946">
                  <c:v>-4.2016806722689204E-3</c:v>
                </c:pt>
                <c:pt idx="3947">
                  <c:v>-5.0420168067226902E-3</c:v>
                </c:pt>
                <c:pt idx="3948">
                  <c:v>-5.0420168067226902E-3</c:v>
                </c:pt>
                <c:pt idx="3949">
                  <c:v>-5.0420168067226902E-3</c:v>
                </c:pt>
                <c:pt idx="3950">
                  <c:v>-5.0420168067226902E-3</c:v>
                </c:pt>
                <c:pt idx="3951">
                  <c:v>-5.0420168067226902E-3</c:v>
                </c:pt>
                <c:pt idx="3952">
                  <c:v>-5.0420168067226902E-3</c:v>
                </c:pt>
                <c:pt idx="3953">
                  <c:v>-5.0420168067226902E-3</c:v>
                </c:pt>
                <c:pt idx="3954">
                  <c:v>-5.0420168067226902E-3</c:v>
                </c:pt>
                <c:pt idx="3955">
                  <c:v>-5.0420168067226902E-3</c:v>
                </c:pt>
                <c:pt idx="3956">
                  <c:v>-5.0420168067226902E-3</c:v>
                </c:pt>
                <c:pt idx="3957">
                  <c:v>-5.0420168067226902E-3</c:v>
                </c:pt>
                <c:pt idx="3958">
                  <c:v>-5.0420168067226902E-3</c:v>
                </c:pt>
                <c:pt idx="3959">
                  <c:v>-5.0420168067226902E-3</c:v>
                </c:pt>
                <c:pt idx="3960">
                  <c:v>-5.0420168067226902E-3</c:v>
                </c:pt>
                <c:pt idx="3961">
                  <c:v>-5.0420168067226902E-3</c:v>
                </c:pt>
                <c:pt idx="3962">
                  <c:v>-5.0420168067226902E-3</c:v>
                </c:pt>
                <c:pt idx="3963">
                  <c:v>-5.0420168067226902E-3</c:v>
                </c:pt>
                <c:pt idx="3964">
                  <c:v>-5.0420168067226902E-3</c:v>
                </c:pt>
                <c:pt idx="3965">
                  <c:v>-5.0420168067226902E-3</c:v>
                </c:pt>
                <c:pt idx="3966">
                  <c:v>-5.0420168067226902E-3</c:v>
                </c:pt>
                <c:pt idx="3967">
                  <c:v>-5.0420168067226902E-3</c:v>
                </c:pt>
                <c:pt idx="3968">
                  <c:v>-5.0420168067226902E-3</c:v>
                </c:pt>
                <c:pt idx="3969">
                  <c:v>-5.0420168067226902E-3</c:v>
                </c:pt>
                <c:pt idx="3970">
                  <c:v>-5.0420168067226902E-3</c:v>
                </c:pt>
                <c:pt idx="3971">
                  <c:v>-5.0420168067226902E-3</c:v>
                </c:pt>
                <c:pt idx="3972">
                  <c:v>-5.0420168067226902E-3</c:v>
                </c:pt>
                <c:pt idx="3973">
                  <c:v>-5.0420168067226902E-3</c:v>
                </c:pt>
                <c:pt idx="3974">
                  <c:v>-5.0420168067226902E-3</c:v>
                </c:pt>
                <c:pt idx="3975">
                  <c:v>-5.0420168067226902E-3</c:v>
                </c:pt>
                <c:pt idx="3976">
                  <c:v>-5.0420168067226902E-3</c:v>
                </c:pt>
                <c:pt idx="3977">
                  <c:v>-5.0420168067226902E-3</c:v>
                </c:pt>
                <c:pt idx="3978">
                  <c:v>-5.0420168067226902E-3</c:v>
                </c:pt>
                <c:pt idx="3979">
                  <c:v>-5.0420168067226902E-3</c:v>
                </c:pt>
                <c:pt idx="3980">
                  <c:v>-5.0420168067226902E-3</c:v>
                </c:pt>
                <c:pt idx="3981">
                  <c:v>-5.0420168067226902E-3</c:v>
                </c:pt>
                <c:pt idx="3982">
                  <c:v>-5.0420168067226902E-3</c:v>
                </c:pt>
                <c:pt idx="3983">
                  <c:v>-5.0420168067226902E-3</c:v>
                </c:pt>
                <c:pt idx="3984">
                  <c:v>-5.0420168067226902E-3</c:v>
                </c:pt>
                <c:pt idx="3985">
                  <c:v>-5.8823529411764696E-3</c:v>
                </c:pt>
                <c:pt idx="3986">
                  <c:v>-5.8823529411764696E-3</c:v>
                </c:pt>
                <c:pt idx="3987">
                  <c:v>-5.8823529411764696E-3</c:v>
                </c:pt>
                <c:pt idx="3988">
                  <c:v>-5.8823529411764696E-3</c:v>
                </c:pt>
                <c:pt idx="3989">
                  <c:v>-5.8823529411764696E-3</c:v>
                </c:pt>
                <c:pt idx="3990">
                  <c:v>-5.8823529411764696E-3</c:v>
                </c:pt>
                <c:pt idx="3991">
                  <c:v>-5.8823529411764696E-3</c:v>
                </c:pt>
                <c:pt idx="3992">
                  <c:v>-5.8823529411764696E-3</c:v>
                </c:pt>
                <c:pt idx="3993">
                  <c:v>-5.8823529411764696E-3</c:v>
                </c:pt>
                <c:pt idx="3994">
                  <c:v>-5.8823529411764696E-3</c:v>
                </c:pt>
                <c:pt idx="3995">
                  <c:v>-5.8823529411764696E-3</c:v>
                </c:pt>
                <c:pt idx="3996">
                  <c:v>-5.0420168067226902E-3</c:v>
                </c:pt>
                <c:pt idx="3997">
                  <c:v>-5.0420168067226902E-3</c:v>
                </c:pt>
                <c:pt idx="3998">
                  <c:v>-5.0420168067226902E-3</c:v>
                </c:pt>
                <c:pt idx="3999">
                  <c:v>-5.0420168067226902E-3</c:v>
                </c:pt>
                <c:pt idx="4000">
                  <c:v>-5.0420168067226902E-3</c:v>
                </c:pt>
                <c:pt idx="4001">
                  <c:v>-5.0420168067226902E-3</c:v>
                </c:pt>
                <c:pt idx="4002">
                  <c:v>-5.0420168067226902E-3</c:v>
                </c:pt>
                <c:pt idx="4003">
                  <c:v>-5.0420168067226902E-3</c:v>
                </c:pt>
                <c:pt idx="4004">
                  <c:v>-5.0420168067226902E-3</c:v>
                </c:pt>
                <c:pt idx="4005">
                  <c:v>-5.0420168067226902E-3</c:v>
                </c:pt>
                <c:pt idx="4006">
                  <c:v>-5.0420168067226902E-3</c:v>
                </c:pt>
                <c:pt idx="4007">
                  <c:v>-5.0420168067226902E-3</c:v>
                </c:pt>
                <c:pt idx="4008">
                  <c:v>-5.0420168067226902E-3</c:v>
                </c:pt>
                <c:pt idx="4009">
                  <c:v>-5.0420168067226902E-3</c:v>
                </c:pt>
                <c:pt idx="4010">
                  <c:v>-5.0420168067226902E-3</c:v>
                </c:pt>
                <c:pt idx="4011">
                  <c:v>-5.0420168067226902E-3</c:v>
                </c:pt>
                <c:pt idx="4012">
                  <c:v>-5.0420168067226902E-3</c:v>
                </c:pt>
                <c:pt idx="4013">
                  <c:v>-5.0420168067226902E-3</c:v>
                </c:pt>
                <c:pt idx="4014">
                  <c:v>-5.0420168067226902E-3</c:v>
                </c:pt>
                <c:pt idx="4015">
                  <c:v>-5.0420168067226902E-3</c:v>
                </c:pt>
                <c:pt idx="4016">
                  <c:v>-5.0420168067226902E-3</c:v>
                </c:pt>
                <c:pt idx="4017">
                  <c:v>-5.0420168067226902E-3</c:v>
                </c:pt>
                <c:pt idx="4018">
                  <c:v>-5.0420168067226902E-3</c:v>
                </c:pt>
                <c:pt idx="4019">
                  <c:v>-5.0420168067226902E-3</c:v>
                </c:pt>
                <c:pt idx="4020">
                  <c:v>-5.0420168067226902E-3</c:v>
                </c:pt>
                <c:pt idx="4021">
                  <c:v>-5.8823529411764696E-3</c:v>
                </c:pt>
                <c:pt idx="4022">
                  <c:v>-5.8823529411764696E-3</c:v>
                </c:pt>
                <c:pt idx="4023">
                  <c:v>-5.8823529411764696E-3</c:v>
                </c:pt>
                <c:pt idx="4024">
                  <c:v>-5.8823529411764696E-3</c:v>
                </c:pt>
                <c:pt idx="4025">
                  <c:v>-6.7226890756302499E-3</c:v>
                </c:pt>
                <c:pt idx="4026">
                  <c:v>-6.7226890756302499E-3</c:v>
                </c:pt>
                <c:pt idx="4027">
                  <c:v>-6.7226890756302499E-3</c:v>
                </c:pt>
                <c:pt idx="4028">
                  <c:v>-6.7226890756302499E-3</c:v>
                </c:pt>
                <c:pt idx="4029">
                  <c:v>-6.7226890756302499E-3</c:v>
                </c:pt>
                <c:pt idx="4030">
                  <c:v>-5.8823529411764497E-3</c:v>
                </c:pt>
                <c:pt idx="4031">
                  <c:v>-5.8823529411764497E-3</c:v>
                </c:pt>
                <c:pt idx="4032">
                  <c:v>-5.8823529411764497E-3</c:v>
                </c:pt>
                <c:pt idx="4033">
                  <c:v>-5.8823529411764497E-3</c:v>
                </c:pt>
                <c:pt idx="4034">
                  <c:v>-5.8823529411764497E-3</c:v>
                </c:pt>
                <c:pt idx="4035">
                  <c:v>-5.8823529411764497E-3</c:v>
                </c:pt>
                <c:pt idx="4036">
                  <c:v>-5.8823529411764497E-3</c:v>
                </c:pt>
                <c:pt idx="4037">
                  <c:v>-5.8823529411764497E-3</c:v>
                </c:pt>
                <c:pt idx="4038">
                  <c:v>-5.8823529411764497E-3</c:v>
                </c:pt>
                <c:pt idx="4039">
                  <c:v>-5.8823529411764497E-3</c:v>
                </c:pt>
                <c:pt idx="4040">
                  <c:v>-5.8823529411764497E-3</c:v>
                </c:pt>
                <c:pt idx="4041">
                  <c:v>-5.0420168067226703E-3</c:v>
                </c:pt>
                <c:pt idx="4042">
                  <c:v>-5.0420168067226703E-3</c:v>
                </c:pt>
                <c:pt idx="4043">
                  <c:v>-5.0420168067226703E-3</c:v>
                </c:pt>
                <c:pt idx="4044">
                  <c:v>-5.0420168067226703E-3</c:v>
                </c:pt>
                <c:pt idx="4045">
                  <c:v>-5.0420168067226703E-3</c:v>
                </c:pt>
                <c:pt idx="4046">
                  <c:v>-5.0420168067226703E-3</c:v>
                </c:pt>
                <c:pt idx="4047">
                  <c:v>-5.0420168067226703E-3</c:v>
                </c:pt>
                <c:pt idx="4048">
                  <c:v>-5.0420168067226703E-3</c:v>
                </c:pt>
                <c:pt idx="4049">
                  <c:v>-5.0420168067226703E-3</c:v>
                </c:pt>
                <c:pt idx="4050">
                  <c:v>-5.0420168067226703E-3</c:v>
                </c:pt>
                <c:pt idx="4051">
                  <c:v>-5.0420168067226703E-3</c:v>
                </c:pt>
                <c:pt idx="4052">
                  <c:v>-5.0420168067226703E-3</c:v>
                </c:pt>
                <c:pt idx="4053">
                  <c:v>-5.0420168067226703E-3</c:v>
                </c:pt>
                <c:pt idx="4054">
                  <c:v>-5.0420168067226703E-3</c:v>
                </c:pt>
                <c:pt idx="4055">
                  <c:v>-5.0420168067226703E-3</c:v>
                </c:pt>
                <c:pt idx="4056">
                  <c:v>-5.0420168067226703E-3</c:v>
                </c:pt>
                <c:pt idx="4057">
                  <c:v>-5.0420168067226703E-3</c:v>
                </c:pt>
                <c:pt idx="4058">
                  <c:v>-4.20168067226889E-3</c:v>
                </c:pt>
                <c:pt idx="4059">
                  <c:v>-4.20168067226889E-3</c:v>
                </c:pt>
                <c:pt idx="4060">
                  <c:v>-4.20168067226889E-3</c:v>
                </c:pt>
                <c:pt idx="4061">
                  <c:v>-4.20168067226889E-3</c:v>
                </c:pt>
                <c:pt idx="4062">
                  <c:v>-4.20168067226889E-3</c:v>
                </c:pt>
                <c:pt idx="4063">
                  <c:v>-4.20168067226889E-3</c:v>
                </c:pt>
                <c:pt idx="4064">
                  <c:v>-4.20168067226889E-3</c:v>
                </c:pt>
                <c:pt idx="4065">
                  <c:v>-4.20168067226889E-3</c:v>
                </c:pt>
                <c:pt idx="4066">
                  <c:v>-5.0420168067226703E-3</c:v>
                </c:pt>
                <c:pt idx="4067">
                  <c:v>-5.0420168067226703E-3</c:v>
                </c:pt>
                <c:pt idx="4068">
                  <c:v>-5.0420168067226703E-3</c:v>
                </c:pt>
                <c:pt idx="4069">
                  <c:v>-5.0420168067226703E-3</c:v>
                </c:pt>
                <c:pt idx="4070">
                  <c:v>-5.0420168067226703E-3</c:v>
                </c:pt>
                <c:pt idx="4071">
                  <c:v>-5.0420168067226703E-3</c:v>
                </c:pt>
                <c:pt idx="4072">
                  <c:v>-5.0420168067226703E-3</c:v>
                </c:pt>
                <c:pt idx="4073">
                  <c:v>-5.0420168067226703E-3</c:v>
                </c:pt>
                <c:pt idx="4074">
                  <c:v>-5.0420168067226703E-3</c:v>
                </c:pt>
                <c:pt idx="4075">
                  <c:v>-4.20168067226889E-3</c:v>
                </c:pt>
                <c:pt idx="4076">
                  <c:v>-4.20168067226889E-3</c:v>
                </c:pt>
                <c:pt idx="4077">
                  <c:v>-4.20168067226889E-3</c:v>
                </c:pt>
                <c:pt idx="4078">
                  <c:v>-4.20168067226889E-3</c:v>
                </c:pt>
                <c:pt idx="4079">
                  <c:v>-4.20168067226889E-3</c:v>
                </c:pt>
                <c:pt idx="4080">
                  <c:v>-3.3613445378151102E-3</c:v>
                </c:pt>
                <c:pt idx="4081">
                  <c:v>-3.3613445378151102E-3</c:v>
                </c:pt>
                <c:pt idx="4082">
                  <c:v>-3.3613445378151102E-3</c:v>
                </c:pt>
                <c:pt idx="4083">
                  <c:v>-3.3613445378151102E-3</c:v>
                </c:pt>
                <c:pt idx="4084">
                  <c:v>-3.3613445378151102E-3</c:v>
                </c:pt>
                <c:pt idx="4085">
                  <c:v>-2.5210084033613299E-3</c:v>
                </c:pt>
                <c:pt idx="4086">
                  <c:v>-2.5210084033613299E-3</c:v>
                </c:pt>
                <c:pt idx="4087">
                  <c:v>-2.5210084033613299E-3</c:v>
                </c:pt>
                <c:pt idx="4088">
                  <c:v>-2.5210084033613299E-3</c:v>
                </c:pt>
                <c:pt idx="4089">
                  <c:v>-3.3613445378151102E-3</c:v>
                </c:pt>
                <c:pt idx="4090">
                  <c:v>-3.3613445378151102E-3</c:v>
                </c:pt>
                <c:pt idx="4091">
                  <c:v>-3.3613445378151102E-3</c:v>
                </c:pt>
                <c:pt idx="4092">
                  <c:v>-4.20168067226889E-3</c:v>
                </c:pt>
                <c:pt idx="4093">
                  <c:v>-4.20168067226889E-3</c:v>
                </c:pt>
                <c:pt idx="4094">
                  <c:v>-4.20168067226889E-3</c:v>
                </c:pt>
                <c:pt idx="4095">
                  <c:v>-4.20168067226889E-3</c:v>
                </c:pt>
                <c:pt idx="4096">
                  <c:v>-4.20168067226889E-3</c:v>
                </c:pt>
                <c:pt idx="4097">
                  <c:v>-4.20168067226889E-3</c:v>
                </c:pt>
                <c:pt idx="4098">
                  <c:v>-4.20168067226889E-3</c:v>
                </c:pt>
                <c:pt idx="4099">
                  <c:v>-4.20168067226889E-3</c:v>
                </c:pt>
                <c:pt idx="4100">
                  <c:v>-4.20168067226889E-3</c:v>
                </c:pt>
                <c:pt idx="4101">
                  <c:v>-4.20168067226889E-3</c:v>
                </c:pt>
                <c:pt idx="4102">
                  <c:v>-4.20168067226889E-3</c:v>
                </c:pt>
                <c:pt idx="4103">
                  <c:v>-5.0420168067226703E-3</c:v>
                </c:pt>
                <c:pt idx="4104">
                  <c:v>-5.0420168067226703E-3</c:v>
                </c:pt>
                <c:pt idx="4105">
                  <c:v>-5.0420168067226703E-3</c:v>
                </c:pt>
                <c:pt idx="4106">
                  <c:v>-5.0420168067226703E-3</c:v>
                </c:pt>
                <c:pt idx="4107">
                  <c:v>-5.0420168067226703E-3</c:v>
                </c:pt>
                <c:pt idx="4108">
                  <c:v>-4.20168067226889E-3</c:v>
                </c:pt>
                <c:pt idx="4109">
                  <c:v>-4.20168067226889E-3</c:v>
                </c:pt>
                <c:pt idx="4110">
                  <c:v>-4.20168067226889E-3</c:v>
                </c:pt>
                <c:pt idx="4111">
                  <c:v>-4.20168067226889E-3</c:v>
                </c:pt>
                <c:pt idx="4112">
                  <c:v>-4.20168067226889E-3</c:v>
                </c:pt>
                <c:pt idx="4113">
                  <c:v>-4.20168067226889E-3</c:v>
                </c:pt>
                <c:pt idx="4114">
                  <c:v>-4.20168067226889E-3</c:v>
                </c:pt>
                <c:pt idx="4115">
                  <c:v>-4.20168067226889E-3</c:v>
                </c:pt>
                <c:pt idx="4116">
                  <c:v>-4.20168067226889E-3</c:v>
                </c:pt>
                <c:pt idx="4117">
                  <c:v>-5.0420168067226703E-3</c:v>
                </c:pt>
                <c:pt idx="4118">
                  <c:v>-5.0420168067226703E-3</c:v>
                </c:pt>
                <c:pt idx="4119">
                  <c:v>-5.0420168067226703E-3</c:v>
                </c:pt>
                <c:pt idx="4120">
                  <c:v>-5.0420168067226703E-3</c:v>
                </c:pt>
                <c:pt idx="4121">
                  <c:v>-5.0420168067226703E-3</c:v>
                </c:pt>
                <c:pt idx="4122">
                  <c:v>-5.0420168067226703E-3</c:v>
                </c:pt>
                <c:pt idx="4123">
                  <c:v>-5.0420168067226703E-3</c:v>
                </c:pt>
                <c:pt idx="4124">
                  <c:v>-5.0420168067226703E-3</c:v>
                </c:pt>
                <c:pt idx="4125">
                  <c:v>-5.0420168067226703E-3</c:v>
                </c:pt>
                <c:pt idx="4126">
                  <c:v>-5.0420168067226703E-3</c:v>
                </c:pt>
                <c:pt idx="4127">
                  <c:v>-5.8823529411764497E-3</c:v>
                </c:pt>
                <c:pt idx="4128">
                  <c:v>-5.8823529411764497E-3</c:v>
                </c:pt>
                <c:pt idx="4129">
                  <c:v>-5.8823529411764497E-3</c:v>
                </c:pt>
                <c:pt idx="4130">
                  <c:v>-5.8823529411764497E-3</c:v>
                </c:pt>
                <c:pt idx="4131">
                  <c:v>-5.8823529411764497E-3</c:v>
                </c:pt>
                <c:pt idx="4132">
                  <c:v>-5.8823529411764497E-3</c:v>
                </c:pt>
                <c:pt idx="4133">
                  <c:v>-5.8823529411764497E-3</c:v>
                </c:pt>
                <c:pt idx="4134">
                  <c:v>-5.8823529411764497E-3</c:v>
                </c:pt>
                <c:pt idx="4135">
                  <c:v>-5.8823529411764497E-3</c:v>
                </c:pt>
                <c:pt idx="4136">
                  <c:v>-5.8823529411764497E-3</c:v>
                </c:pt>
                <c:pt idx="4137">
                  <c:v>-5.8823529411764497E-3</c:v>
                </c:pt>
                <c:pt idx="4138">
                  <c:v>-5.8823529411764497E-3</c:v>
                </c:pt>
                <c:pt idx="4139">
                  <c:v>-5.8823529411764497E-3</c:v>
                </c:pt>
                <c:pt idx="4140">
                  <c:v>-5.8823529411764497E-3</c:v>
                </c:pt>
                <c:pt idx="4141">
                  <c:v>-5.8823529411764497E-3</c:v>
                </c:pt>
                <c:pt idx="4142">
                  <c:v>-5.8823529411764497E-3</c:v>
                </c:pt>
                <c:pt idx="4143">
                  <c:v>-5.8823529411764497E-3</c:v>
                </c:pt>
                <c:pt idx="4144">
                  <c:v>-5.8823529411764497E-3</c:v>
                </c:pt>
                <c:pt idx="4145">
                  <c:v>-5.8823529411764497E-3</c:v>
                </c:pt>
                <c:pt idx="4146">
                  <c:v>-5.8823529411764497E-3</c:v>
                </c:pt>
                <c:pt idx="4147">
                  <c:v>-5.0420168067226703E-3</c:v>
                </c:pt>
                <c:pt idx="4148">
                  <c:v>-5.0420168067226703E-3</c:v>
                </c:pt>
                <c:pt idx="4149">
                  <c:v>-5.0420168067226703E-3</c:v>
                </c:pt>
                <c:pt idx="4150">
                  <c:v>-5.0420168067226703E-3</c:v>
                </c:pt>
                <c:pt idx="4151">
                  <c:v>-5.0420168067226703E-3</c:v>
                </c:pt>
                <c:pt idx="4152">
                  <c:v>-5.0420168067226703E-3</c:v>
                </c:pt>
                <c:pt idx="4153">
                  <c:v>-5.0420168067226703E-3</c:v>
                </c:pt>
                <c:pt idx="4154">
                  <c:v>-5.0420168067226703E-3</c:v>
                </c:pt>
                <c:pt idx="4155">
                  <c:v>-5.0420168067226703E-3</c:v>
                </c:pt>
                <c:pt idx="4156">
                  <c:v>-5.0420168067226703E-3</c:v>
                </c:pt>
                <c:pt idx="4157">
                  <c:v>-5.0420168067226703E-3</c:v>
                </c:pt>
                <c:pt idx="4158">
                  <c:v>-5.0420168067226703E-3</c:v>
                </c:pt>
                <c:pt idx="4159">
                  <c:v>-5.0420168067226703E-3</c:v>
                </c:pt>
                <c:pt idx="4160">
                  <c:v>-5.0420168067226703E-3</c:v>
                </c:pt>
                <c:pt idx="4161">
                  <c:v>-5.0420168067226703E-3</c:v>
                </c:pt>
                <c:pt idx="4162">
                  <c:v>-5.0420168067226703E-3</c:v>
                </c:pt>
                <c:pt idx="4163">
                  <c:v>-5.0420168067226703E-3</c:v>
                </c:pt>
                <c:pt idx="4164">
                  <c:v>-5.0420168067226703E-3</c:v>
                </c:pt>
                <c:pt idx="4165">
                  <c:v>-5.0420168067226703E-3</c:v>
                </c:pt>
                <c:pt idx="4166">
                  <c:v>-4.20168067226889E-3</c:v>
                </c:pt>
                <c:pt idx="4167">
                  <c:v>-3.3613445378151102E-3</c:v>
                </c:pt>
                <c:pt idx="4168">
                  <c:v>-3.3613445378151102E-3</c:v>
                </c:pt>
                <c:pt idx="4169">
                  <c:v>-3.3613445378151102E-3</c:v>
                </c:pt>
                <c:pt idx="4170">
                  <c:v>-3.3613445378151102E-3</c:v>
                </c:pt>
                <c:pt idx="4171">
                  <c:v>-3.3613445378151102E-3</c:v>
                </c:pt>
                <c:pt idx="4172">
                  <c:v>-3.3613445378151102E-3</c:v>
                </c:pt>
                <c:pt idx="4173">
                  <c:v>-3.3613445378151102E-3</c:v>
                </c:pt>
                <c:pt idx="4174">
                  <c:v>-3.3613445378151102E-3</c:v>
                </c:pt>
                <c:pt idx="4175">
                  <c:v>-3.3613445378151102E-3</c:v>
                </c:pt>
                <c:pt idx="4176">
                  <c:v>-3.3613445378151102E-3</c:v>
                </c:pt>
                <c:pt idx="4177">
                  <c:v>-3.3613445378151102E-3</c:v>
                </c:pt>
                <c:pt idx="4178">
                  <c:v>-3.3613445378151102E-3</c:v>
                </c:pt>
                <c:pt idx="4179">
                  <c:v>-3.3613445378151102E-3</c:v>
                </c:pt>
                <c:pt idx="4180">
                  <c:v>-3.3613445378151102E-3</c:v>
                </c:pt>
                <c:pt idx="4181">
                  <c:v>-3.3613445378151102E-3</c:v>
                </c:pt>
                <c:pt idx="4182">
                  <c:v>-3.3613445378151102E-3</c:v>
                </c:pt>
                <c:pt idx="4183">
                  <c:v>-3.3613445378151102E-3</c:v>
                </c:pt>
                <c:pt idx="4184">
                  <c:v>-3.3613445378151102E-3</c:v>
                </c:pt>
                <c:pt idx="4185">
                  <c:v>-3.3613445378151102E-3</c:v>
                </c:pt>
                <c:pt idx="4186">
                  <c:v>-3.3613445378151102E-3</c:v>
                </c:pt>
                <c:pt idx="4187">
                  <c:v>-3.3613445378151102E-3</c:v>
                </c:pt>
                <c:pt idx="4188">
                  <c:v>-3.3613445378151102E-3</c:v>
                </c:pt>
                <c:pt idx="4189">
                  <c:v>-3.3613445378151102E-3</c:v>
                </c:pt>
                <c:pt idx="4190">
                  <c:v>-3.3613445378151102E-3</c:v>
                </c:pt>
                <c:pt idx="4191">
                  <c:v>-3.3613445378151102E-3</c:v>
                </c:pt>
                <c:pt idx="4192">
                  <c:v>-3.3613445378151102E-3</c:v>
                </c:pt>
                <c:pt idx="4193">
                  <c:v>-4.2016806722689403E-3</c:v>
                </c:pt>
                <c:pt idx="4194">
                  <c:v>-4.2016806722689403E-3</c:v>
                </c:pt>
                <c:pt idx="4195">
                  <c:v>-4.2016806722689403E-3</c:v>
                </c:pt>
                <c:pt idx="4196">
                  <c:v>-4.2016806722689403E-3</c:v>
                </c:pt>
                <c:pt idx="4197">
                  <c:v>-4.2016806722689403E-3</c:v>
                </c:pt>
                <c:pt idx="4198">
                  <c:v>-4.2016806722689403E-3</c:v>
                </c:pt>
                <c:pt idx="4199">
                  <c:v>-4.2016806722689403E-3</c:v>
                </c:pt>
                <c:pt idx="4200">
                  <c:v>-4.2016806722689403E-3</c:v>
                </c:pt>
                <c:pt idx="4201">
                  <c:v>-4.2016806722689403E-3</c:v>
                </c:pt>
                <c:pt idx="4202">
                  <c:v>-4.2016806722689403E-3</c:v>
                </c:pt>
                <c:pt idx="4203">
                  <c:v>-5.0420168067227197E-3</c:v>
                </c:pt>
                <c:pt idx="4204">
                  <c:v>-5.0420168067227197E-3</c:v>
                </c:pt>
                <c:pt idx="4205">
                  <c:v>-5.0420168067227197E-3</c:v>
                </c:pt>
                <c:pt idx="4206">
                  <c:v>-5.0420168067227197E-3</c:v>
                </c:pt>
                <c:pt idx="4207">
                  <c:v>-5.0420168067227197E-3</c:v>
                </c:pt>
                <c:pt idx="4208">
                  <c:v>-5.0420168067227197E-3</c:v>
                </c:pt>
                <c:pt idx="4209">
                  <c:v>-5.0420168067227197E-3</c:v>
                </c:pt>
                <c:pt idx="4210">
                  <c:v>-5.0420168067227197E-3</c:v>
                </c:pt>
                <c:pt idx="4211">
                  <c:v>-5.0420168067227197E-3</c:v>
                </c:pt>
                <c:pt idx="4212">
                  <c:v>-5.0420168067227197E-3</c:v>
                </c:pt>
                <c:pt idx="4213">
                  <c:v>-5.0420168067227197E-3</c:v>
                </c:pt>
                <c:pt idx="4214">
                  <c:v>-5.0420168067227197E-3</c:v>
                </c:pt>
                <c:pt idx="4215">
                  <c:v>-5.0420168067227197E-3</c:v>
                </c:pt>
                <c:pt idx="4216">
                  <c:v>-5.0420168067227197E-3</c:v>
                </c:pt>
                <c:pt idx="4217">
                  <c:v>-5.0420168067227197E-3</c:v>
                </c:pt>
                <c:pt idx="4218">
                  <c:v>-5.0420168067227197E-3</c:v>
                </c:pt>
                <c:pt idx="4219">
                  <c:v>-5.0420168067227197E-3</c:v>
                </c:pt>
                <c:pt idx="4220">
                  <c:v>-5.0420168067227197E-3</c:v>
                </c:pt>
                <c:pt idx="4221">
                  <c:v>-5.0420168067227197E-3</c:v>
                </c:pt>
                <c:pt idx="4222">
                  <c:v>-5.0420168067227197E-3</c:v>
                </c:pt>
                <c:pt idx="4223">
                  <c:v>-5.0420168067227197E-3</c:v>
                </c:pt>
                <c:pt idx="4224">
                  <c:v>-5.0420168067227197E-3</c:v>
                </c:pt>
                <c:pt idx="4225">
                  <c:v>-5.0420168067227197E-3</c:v>
                </c:pt>
                <c:pt idx="4226">
                  <c:v>-5.0420168067227197E-3</c:v>
                </c:pt>
                <c:pt idx="4227">
                  <c:v>-5.0420168067227197E-3</c:v>
                </c:pt>
                <c:pt idx="4228">
                  <c:v>-5.0420168067227197E-3</c:v>
                </c:pt>
                <c:pt idx="4229">
                  <c:v>-5.8823529411765E-3</c:v>
                </c:pt>
                <c:pt idx="4230">
                  <c:v>-5.8823529411765E-3</c:v>
                </c:pt>
                <c:pt idx="4231">
                  <c:v>-5.8823529411765E-3</c:v>
                </c:pt>
                <c:pt idx="4232">
                  <c:v>-5.8823529411765E-3</c:v>
                </c:pt>
                <c:pt idx="4233">
                  <c:v>-5.8823529411765E-3</c:v>
                </c:pt>
                <c:pt idx="4234">
                  <c:v>-5.8823529411765E-3</c:v>
                </c:pt>
                <c:pt idx="4235">
                  <c:v>-5.8823529411765E-3</c:v>
                </c:pt>
                <c:pt idx="4236">
                  <c:v>-5.8823529411765E-3</c:v>
                </c:pt>
                <c:pt idx="4237">
                  <c:v>-5.8823529411765E-3</c:v>
                </c:pt>
                <c:pt idx="4238">
                  <c:v>-5.8823529411765E-3</c:v>
                </c:pt>
                <c:pt idx="4239">
                  <c:v>-5.8823529411765E-3</c:v>
                </c:pt>
                <c:pt idx="4240">
                  <c:v>-5.8823529411765E-3</c:v>
                </c:pt>
                <c:pt idx="4241">
                  <c:v>-5.8823529411765E-3</c:v>
                </c:pt>
                <c:pt idx="4242">
                  <c:v>-5.8823529411765E-3</c:v>
                </c:pt>
                <c:pt idx="4243">
                  <c:v>-5.8823529411765E-3</c:v>
                </c:pt>
                <c:pt idx="4244">
                  <c:v>-5.0420168067227197E-3</c:v>
                </c:pt>
                <c:pt idx="4245">
                  <c:v>-5.0420168067227197E-3</c:v>
                </c:pt>
                <c:pt idx="4246">
                  <c:v>-5.0420168067227197E-3</c:v>
                </c:pt>
                <c:pt idx="4247">
                  <c:v>-5.0420168067227197E-3</c:v>
                </c:pt>
                <c:pt idx="4248">
                  <c:v>-5.0420168067227197E-3</c:v>
                </c:pt>
                <c:pt idx="4249">
                  <c:v>-5.0420168067227197E-3</c:v>
                </c:pt>
                <c:pt idx="4250">
                  <c:v>-5.0420168067227197E-3</c:v>
                </c:pt>
                <c:pt idx="4251">
                  <c:v>-5.0420168067227197E-3</c:v>
                </c:pt>
                <c:pt idx="4252">
                  <c:v>-5.0420168067227197E-3</c:v>
                </c:pt>
                <c:pt idx="4253">
                  <c:v>-5.0420168067227197E-3</c:v>
                </c:pt>
                <c:pt idx="4254">
                  <c:v>-5.0420168067227197E-3</c:v>
                </c:pt>
                <c:pt idx="4255">
                  <c:v>-5.0420168067227197E-3</c:v>
                </c:pt>
                <c:pt idx="4256">
                  <c:v>-5.0420168067227197E-3</c:v>
                </c:pt>
                <c:pt idx="4257">
                  <c:v>-5.0420168067227197E-3</c:v>
                </c:pt>
                <c:pt idx="4258">
                  <c:v>-5.0420168067227197E-3</c:v>
                </c:pt>
                <c:pt idx="4259">
                  <c:v>-5.0420168067227197E-3</c:v>
                </c:pt>
                <c:pt idx="4260">
                  <c:v>-5.0420168067227197E-3</c:v>
                </c:pt>
                <c:pt idx="4261">
                  <c:v>-5.0420168067227197E-3</c:v>
                </c:pt>
                <c:pt idx="4262">
                  <c:v>-5.0420168067227197E-3</c:v>
                </c:pt>
                <c:pt idx="4263">
                  <c:v>-5.0420168067227197E-3</c:v>
                </c:pt>
                <c:pt idx="4264">
                  <c:v>-5.0420168067227197E-3</c:v>
                </c:pt>
                <c:pt idx="4265">
                  <c:v>-5.0420168067227197E-3</c:v>
                </c:pt>
                <c:pt idx="4266">
                  <c:v>-5.0420168067227197E-3</c:v>
                </c:pt>
                <c:pt idx="4267">
                  <c:v>-5.0420168067227197E-3</c:v>
                </c:pt>
                <c:pt idx="4268">
                  <c:v>-5.0420168067227197E-3</c:v>
                </c:pt>
                <c:pt idx="4269">
                  <c:v>-5.0420168067227197E-3</c:v>
                </c:pt>
                <c:pt idx="4270">
                  <c:v>-5.0420168067227197E-3</c:v>
                </c:pt>
                <c:pt idx="4271">
                  <c:v>-5.0420168067227197E-3</c:v>
                </c:pt>
                <c:pt idx="4272">
                  <c:v>-5.0420168067227197E-3</c:v>
                </c:pt>
                <c:pt idx="4273">
                  <c:v>-5.0420168067227197E-3</c:v>
                </c:pt>
                <c:pt idx="4274">
                  <c:v>-5.0420168067227197E-3</c:v>
                </c:pt>
                <c:pt idx="4275">
                  <c:v>-5.0420168067227197E-3</c:v>
                </c:pt>
                <c:pt idx="4276">
                  <c:v>-5.0420168067227197E-3</c:v>
                </c:pt>
                <c:pt idx="4277">
                  <c:v>-5.0420168067227197E-3</c:v>
                </c:pt>
                <c:pt idx="4278">
                  <c:v>-5.0420168067227197E-3</c:v>
                </c:pt>
                <c:pt idx="4279">
                  <c:v>-5.0420168067227197E-3</c:v>
                </c:pt>
                <c:pt idx="4280">
                  <c:v>-5.0420168067227197E-3</c:v>
                </c:pt>
                <c:pt idx="4281">
                  <c:v>-5.0420168067227197E-3</c:v>
                </c:pt>
                <c:pt idx="4282">
                  <c:v>-5.0420168067227197E-3</c:v>
                </c:pt>
                <c:pt idx="4283">
                  <c:v>-5.0420168067227197E-3</c:v>
                </c:pt>
                <c:pt idx="4284">
                  <c:v>-5.0420168067227197E-3</c:v>
                </c:pt>
                <c:pt idx="4285">
                  <c:v>-5.0420168067227197E-3</c:v>
                </c:pt>
                <c:pt idx="4286">
                  <c:v>-5.0420168067227197E-3</c:v>
                </c:pt>
                <c:pt idx="4287">
                  <c:v>-5.0420168067227197E-3</c:v>
                </c:pt>
                <c:pt idx="4288">
                  <c:v>-4.2016806722689403E-3</c:v>
                </c:pt>
                <c:pt idx="4289">
                  <c:v>-5.0420168067227197E-3</c:v>
                </c:pt>
                <c:pt idx="4290">
                  <c:v>-5.0420168067227197E-3</c:v>
                </c:pt>
                <c:pt idx="4291">
                  <c:v>-5.0420168067227197E-3</c:v>
                </c:pt>
                <c:pt idx="4292">
                  <c:v>-5.0420168067227197E-3</c:v>
                </c:pt>
                <c:pt idx="4293">
                  <c:v>-5.0420168067227197E-3</c:v>
                </c:pt>
                <c:pt idx="4294">
                  <c:v>-5.0420168067227197E-3</c:v>
                </c:pt>
                <c:pt idx="4295">
                  <c:v>-5.0420168067227197E-3</c:v>
                </c:pt>
                <c:pt idx="4296">
                  <c:v>-5.0420168067227197E-3</c:v>
                </c:pt>
                <c:pt idx="4297">
                  <c:v>-5.0420168067227197E-3</c:v>
                </c:pt>
                <c:pt idx="4298">
                  <c:v>-5.0420168067227197E-3</c:v>
                </c:pt>
                <c:pt idx="4299">
                  <c:v>-5.0420168067227197E-3</c:v>
                </c:pt>
                <c:pt idx="4300">
                  <c:v>-5.8823529411765E-3</c:v>
                </c:pt>
                <c:pt idx="4301">
                  <c:v>-5.0420168067227197E-3</c:v>
                </c:pt>
                <c:pt idx="4302">
                  <c:v>-5.0420168067227197E-3</c:v>
                </c:pt>
                <c:pt idx="4303">
                  <c:v>-5.8823529411765E-3</c:v>
                </c:pt>
                <c:pt idx="4304">
                  <c:v>-5.8823529411765E-3</c:v>
                </c:pt>
                <c:pt idx="4305">
                  <c:v>-5.8823529411765E-3</c:v>
                </c:pt>
                <c:pt idx="4306">
                  <c:v>-5.8823529411765E-3</c:v>
                </c:pt>
                <c:pt idx="4307">
                  <c:v>-5.8823529411765E-3</c:v>
                </c:pt>
                <c:pt idx="4308">
                  <c:v>-5.8823529411765E-3</c:v>
                </c:pt>
                <c:pt idx="4309">
                  <c:v>-5.8823529411765E-3</c:v>
                </c:pt>
                <c:pt idx="4310">
                  <c:v>-5.8823529411765E-3</c:v>
                </c:pt>
                <c:pt idx="4311">
                  <c:v>-5.8823529411765E-3</c:v>
                </c:pt>
                <c:pt idx="4312">
                  <c:v>-5.8823529411765E-3</c:v>
                </c:pt>
                <c:pt idx="4313">
                  <c:v>-5.8823529411765E-3</c:v>
                </c:pt>
                <c:pt idx="4314">
                  <c:v>-5.8823529411765E-3</c:v>
                </c:pt>
                <c:pt idx="4315">
                  <c:v>-5.8823529411765E-3</c:v>
                </c:pt>
                <c:pt idx="4316">
                  <c:v>-5.8823529411765E-3</c:v>
                </c:pt>
                <c:pt idx="4317">
                  <c:v>-5.8823529411765E-3</c:v>
                </c:pt>
                <c:pt idx="4318">
                  <c:v>-5.8823529411765E-3</c:v>
                </c:pt>
                <c:pt idx="4319">
                  <c:v>-5.8823529411765E-3</c:v>
                </c:pt>
                <c:pt idx="4320">
                  <c:v>-5.8823529411765E-3</c:v>
                </c:pt>
                <c:pt idx="4321">
                  <c:v>-5.8823529411765E-3</c:v>
                </c:pt>
                <c:pt idx="4322">
                  <c:v>-5.8823529411765E-3</c:v>
                </c:pt>
                <c:pt idx="4323">
                  <c:v>-5.8823529411765E-3</c:v>
                </c:pt>
                <c:pt idx="4324">
                  <c:v>-5.8823529411765E-3</c:v>
                </c:pt>
                <c:pt idx="4325">
                  <c:v>-5.8823529411765E-3</c:v>
                </c:pt>
                <c:pt idx="4326">
                  <c:v>-5.8823529411765E-3</c:v>
                </c:pt>
                <c:pt idx="4327">
                  <c:v>-5.8823529411765E-3</c:v>
                </c:pt>
                <c:pt idx="4328">
                  <c:v>-5.8823529411765E-3</c:v>
                </c:pt>
                <c:pt idx="4329">
                  <c:v>-5.8823529411765E-3</c:v>
                </c:pt>
                <c:pt idx="4330">
                  <c:v>-5.8823529411765E-3</c:v>
                </c:pt>
                <c:pt idx="4331">
                  <c:v>-6.7226890756302803E-3</c:v>
                </c:pt>
                <c:pt idx="4332">
                  <c:v>-6.7226890756302803E-3</c:v>
                </c:pt>
                <c:pt idx="4333">
                  <c:v>-6.7226890756302803E-3</c:v>
                </c:pt>
                <c:pt idx="4334">
                  <c:v>-6.7226890756302803E-3</c:v>
                </c:pt>
                <c:pt idx="4335">
                  <c:v>-6.7226890756302803E-3</c:v>
                </c:pt>
                <c:pt idx="4336">
                  <c:v>-6.7226890756302803E-3</c:v>
                </c:pt>
                <c:pt idx="4337">
                  <c:v>-6.7226890756302803E-3</c:v>
                </c:pt>
                <c:pt idx="4338">
                  <c:v>-6.7226890756302803E-3</c:v>
                </c:pt>
                <c:pt idx="4339">
                  <c:v>-6.7226890756302803E-3</c:v>
                </c:pt>
                <c:pt idx="4340">
                  <c:v>-6.7226890756302803E-3</c:v>
                </c:pt>
                <c:pt idx="4341">
                  <c:v>-6.7226890756302803E-3</c:v>
                </c:pt>
                <c:pt idx="4342">
                  <c:v>-6.7226890756302803E-3</c:v>
                </c:pt>
                <c:pt idx="4343">
                  <c:v>-5.8823529411764497E-3</c:v>
                </c:pt>
                <c:pt idx="4344">
                  <c:v>-5.8823529411764497E-3</c:v>
                </c:pt>
                <c:pt idx="4345">
                  <c:v>-5.8823529411764497E-3</c:v>
                </c:pt>
                <c:pt idx="4346">
                  <c:v>-5.8823529411764497E-3</c:v>
                </c:pt>
                <c:pt idx="4347">
                  <c:v>-5.8823529411764497E-3</c:v>
                </c:pt>
                <c:pt idx="4348">
                  <c:v>-5.8823529411764497E-3</c:v>
                </c:pt>
                <c:pt idx="4349">
                  <c:v>-6.7226890756302204E-3</c:v>
                </c:pt>
                <c:pt idx="4350">
                  <c:v>-6.7226890756302204E-3</c:v>
                </c:pt>
                <c:pt idx="4351">
                  <c:v>-7.5630252100839998E-3</c:v>
                </c:pt>
                <c:pt idx="4352">
                  <c:v>-7.5630252100839998E-3</c:v>
                </c:pt>
                <c:pt idx="4353">
                  <c:v>-7.5630252100839998E-3</c:v>
                </c:pt>
                <c:pt idx="4354">
                  <c:v>-7.5630252100839998E-3</c:v>
                </c:pt>
                <c:pt idx="4355">
                  <c:v>-7.5630252100839998E-3</c:v>
                </c:pt>
                <c:pt idx="4356">
                  <c:v>-7.5630252100839998E-3</c:v>
                </c:pt>
                <c:pt idx="4357">
                  <c:v>-7.5630252100839998E-3</c:v>
                </c:pt>
                <c:pt idx="4358">
                  <c:v>-7.5630252100839998E-3</c:v>
                </c:pt>
                <c:pt idx="4359">
                  <c:v>-7.5630252100839998E-3</c:v>
                </c:pt>
                <c:pt idx="4360">
                  <c:v>-7.5630252100839998E-3</c:v>
                </c:pt>
                <c:pt idx="4361">
                  <c:v>-7.5630252100839998E-3</c:v>
                </c:pt>
                <c:pt idx="4362">
                  <c:v>-7.5630252100839998E-3</c:v>
                </c:pt>
                <c:pt idx="4363">
                  <c:v>-7.5630252100839998E-3</c:v>
                </c:pt>
                <c:pt idx="4364">
                  <c:v>-7.5630252100839998E-3</c:v>
                </c:pt>
                <c:pt idx="4365">
                  <c:v>-7.5630252100839998E-3</c:v>
                </c:pt>
                <c:pt idx="4366">
                  <c:v>-7.5630252100839998E-3</c:v>
                </c:pt>
                <c:pt idx="4367">
                  <c:v>-7.5630252100839998E-3</c:v>
                </c:pt>
                <c:pt idx="4368">
                  <c:v>-7.5630252100839998E-3</c:v>
                </c:pt>
                <c:pt idx="4369">
                  <c:v>-7.5630252100839998E-3</c:v>
                </c:pt>
                <c:pt idx="4370">
                  <c:v>-7.5630252100839998E-3</c:v>
                </c:pt>
                <c:pt idx="4371">
                  <c:v>-7.5630252100839998E-3</c:v>
                </c:pt>
                <c:pt idx="4372">
                  <c:v>-7.5630252100839998E-3</c:v>
                </c:pt>
                <c:pt idx="4373">
                  <c:v>-7.5630252100839998E-3</c:v>
                </c:pt>
                <c:pt idx="4374">
                  <c:v>-7.5630252100839998E-3</c:v>
                </c:pt>
                <c:pt idx="4375">
                  <c:v>-7.5630252100839998E-3</c:v>
                </c:pt>
                <c:pt idx="4376">
                  <c:v>-7.5630252100839998E-3</c:v>
                </c:pt>
                <c:pt idx="4377">
                  <c:v>-7.5630252100839998E-3</c:v>
                </c:pt>
                <c:pt idx="4378">
                  <c:v>-7.5630252100839998E-3</c:v>
                </c:pt>
                <c:pt idx="4379">
                  <c:v>-7.5630252100839998E-3</c:v>
                </c:pt>
                <c:pt idx="4380">
                  <c:v>-7.5630252100839998E-3</c:v>
                </c:pt>
                <c:pt idx="4381">
                  <c:v>-7.5630252100839998E-3</c:v>
                </c:pt>
                <c:pt idx="4382">
                  <c:v>-6.7226890756302204E-3</c:v>
                </c:pt>
                <c:pt idx="4383">
                  <c:v>-6.7226890756302204E-3</c:v>
                </c:pt>
                <c:pt idx="4384">
                  <c:v>-7.5630252100839998E-3</c:v>
                </c:pt>
                <c:pt idx="4385">
                  <c:v>-7.5630252100839998E-3</c:v>
                </c:pt>
                <c:pt idx="4386">
                  <c:v>-7.5630252100839998E-3</c:v>
                </c:pt>
                <c:pt idx="4387">
                  <c:v>-7.5630252100839998E-3</c:v>
                </c:pt>
                <c:pt idx="4388">
                  <c:v>-7.5630252100839998E-3</c:v>
                </c:pt>
                <c:pt idx="4389">
                  <c:v>-7.5630252100839998E-3</c:v>
                </c:pt>
                <c:pt idx="4390">
                  <c:v>-7.5630252100839998E-3</c:v>
                </c:pt>
                <c:pt idx="4391">
                  <c:v>-7.5630252100839998E-3</c:v>
                </c:pt>
                <c:pt idx="4392">
                  <c:v>-7.5630252100839998E-3</c:v>
                </c:pt>
                <c:pt idx="4393">
                  <c:v>-7.5630252100839998E-3</c:v>
                </c:pt>
                <c:pt idx="4394">
                  <c:v>-7.5630252100839998E-3</c:v>
                </c:pt>
                <c:pt idx="4395">
                  <c:v>-7.5630252100839998E-3</c:v>
                </c:pt>
                <c:pt idx="4396">
                  <c:v>-7.5630252100839998E-3</c:v>
                </c:pt>
                <c:pt idx="4397">
                  <c:v>-7.5630252100839998E-3</c:v>
                </c:pt>
                <c:pt idx="4398">
                  <c:v>-7.5630252100839998E-3</c:v>
                </c:pt>
                <c:pt idx="4399">
                  <c:v>-7.5630252100839998E-3</c:v>
                </c:pt>
                <c:pt idx="4400">
                  <c:v>-7.5630252100839998E-3</c:v>
                </c:pt>
                <c:pt idx="4401">
                  <c:v>-7.5630252100839998E-3</c:v>
                </c:pt>
                <c:pt idx="4402">
                  <c:v>-7.5630252100839998E-3</c:v>
                </c:pt>
                <c:pt idx="4403">
                  <c:v>-7.5630252100839998E-3</c:v>
                </c:pt>
                <c:pt idx="4404">
                  <c:v>-7.5630252100839998E-3</c:v>
                </c:pt>
                <c:pt idx="4405">
                  <c:v>-7.5630252100839998E-3</c:v>
                </c:pt>
                <c:pt idx="4406">
                  <c:v>-7.5630252100839998E-3</c:v>
                </c:pt>
                <c:pt idx="4407">
                  <c:v>-7.5630252100839998E-3</c:v>
                </c:pt>
                <c:pt idx="4408">
                  <c:v>-7.5630252100839998E-3</c:v>
                </c:pt>
                <c:pt idx="4409">
                  <c:v>-7.5630252100839998E-3</c:v>
                </c:pt>
                <c:pt idx="4410">
                  <c:v>-7.5630252100839998E-3</c:v>
                </c:pt>
                <c:pt idx="4411">
                  <c:v>-7.5630252100839998E-3</c:v>
                </c:pt>
                <c:pt idx="4412">
                  <c:v>-7.5630252100839998E-3</c:v>
                </c:pt>
                <c:pt idx="4413">
                  <c:v>-7.5630252100839998E-3</c:v>
                </c:pt>
                <c:pt idx="4414">
                  <c:v>-7.5630252100839998E-3</c:v>
                </c:pt>
                <c:pt idx="4415">
                  <c:v>-7.5630252100839998E-3</c:v>
                </c:pt>
                <c:pt idx="4416">
                  <c:v>-7.5630252100839998E-3</c:v>
                </c:pt>
                <c:pt idx="4417">
                  <c:v>-7.5630252100839998E-3</c:v>
                </c:pt>
                <c:pt idx="4418">
                  <c:v>-7.5630252100839998E-3</c:v>
                </c:pt>
                <c:pt idx="4419">
                  <c:v>-7.5630252100839998E-3</c:v>
                </c:pt>
                <c:pt idx="4420">
                  <c:v>-7.5630252100839998E-3</c:v>
                </c:pt>
                <c:pt idx="4421">
                  <c:v>-7.5630252100839998E-3</c:v>
                </c:pt>
                <c:pt idx="4422">
                  <c:v>-6.7226890756302204E-3</c:v>
                </c:pt>
                <c:pt idx="4423">
                  <c:v>-6.7226890756302204E-3</c:v>
                </c:pt>
                <c:pt idx="4424">
                  <c:v>-6.7226890756302204E-3</c:v>
                </c:pt>
                <c:pt idx="4425">
                  <c:v>-7.5630252100839998E-3</c:v>
                </c:pt>
                <c:pt idx="4426">
                  <c:v>-6.7226890756302204E-3</c:v>
                </c:pt>
                <c:pt idx="4427">
                  <c:v>-6.7226890756302204E-3</c:v>
                </c:pt>
                <c:pt idx="4428">
                  <c:v>-6.7226890756302204E-3</c:v>
                </c:pt>
                <c:pt idx="4429">
                  <c:v>-6.7226890756302204E-3</c:v>
                </c:pt>
                <c:pt idx="4430">
                  <c:v>-6.7226890756302204E-3</c:v>
                </c:pt>
                <c:pt idx="4431">
                  <c:v>-6.7226890756302204E-3</c:v>
                </c:pt>
                <c:pt idx="4432">
                  <c:v>-6.7226890756302204E-3</c:v>
                </c:pt>
                <c:pt idx="4433">
                  <c:v>-6.7226890756302204E-3</c:v>
                </c:pt>
                <c:pt idx="4434">
                  <c:v>-6.7226890756302204E-3</c:v>
                </c:pt>
                <c:pt idx="4435">
                  <c:v>-6.7226890756302204E-3</c:v>
                </c:pt>
                <c:pt idx="4436">
                  <c:v>-6.7226890756302204E-3</c:v>
                </c:pt>
                <c:pt idx="4437">
                  <c:v>-6.7226890756302204E-3</c:v>
                </c:pt>
                <c:pt idx="4438">
                  <c:v>-6.7226890756302204E-3</c:v>
                </c:pt>
                <c:pt idx="4439">
                  <c:v>-6.7226890756302204E-3</c:v>
                </c:pt>
                <c:pt idx="4440">
                  <c:v>-6.7226890756302204E-3</c:v>
                </c:pt>
                <c:pt idx="4441">
                  <c:v>-6.7226890756302204E-3</c:v>
                </c:pt>
                <c:pt idx="4442">
                  <c:v>-6.7226890756302204E-3</c:v>
                </c:pt>
                <c:pt idx="4443">
                  <c:v>-6.7226890756302204E-3</c:v>
                </c:pt>
                <c:pt idx="4444">
                  <c:v>-6.7226890756302204E-3</c:v>
                </c:pt>
                <c:pt idx="4445">
                  <c:v>-6.7226890756302204E-3</c:v>
                </c:pt>
                <c:pt idx="4446">
                  <c:v>-6.7226890756302204E-3</c:v>
                </c:pt>
                <c:pt idx="4447">
                  <c:v>-6.7226890756302204E-3</c:v>
                </c:pt>
                <c:pt idx="4448">
                  <c:v>-6.7226890756302204E-3</c:v>
                </c:pt>
                <c:pt idx="4449">
                  <c:v>-6.7226890756302204E-3</c:v>
                </c:pt>
                <c:pt idx="4450">
                  <c:v>-6.7226890756302204E-3</c:v>
                </c:pt>
                <c:pt idx="4451">
                  <c:v>-6.7226890756302204E-3</c:v>
                </c:pt>
                <c:pt idx="4452">
                  <c:v>-6.7226890756302204E-3</c:v>
                </c:pt>
                <c:pt idx="4453">
                  <c:v>-6.7226890756302204E-3</c:v>
                </c:pt>
                <c:pt idx="4454">
                  <c:v>-6.7226890756302204E-3</c:v>
                </c:pt>
                <c:pt idx="4455">
                  <c:v>-6.7226890756302204E-3</c:v>
                </c:pt>
                <c:pt idx="4456">
                  <c:v>-6.7226890756302204E-3</c:v>
                </c:pt>
                <c:pt idx="4457">
                  <c:v>-6.7226890756302204E-3</c:v>
                </c:pt>
                <c:pt idx="4458">
                  <c:v>-6.7226890756302204E-3</c:v>
                </c:pt>
                <c:pt idx="4459">
                  <c:v>-6.7226890756302204E-3</c:v>
                </c:pt>
                <c:pt idx="4460">
                  <c:v>-6.7226890756302204E-3</c:v>
                </c:pt>
                <c:pt idx="4461">
                  <c:v>-6.7226890756302204E-3</c:v>
                </c:pt>
                <c:pt idx="4462">
                  <c:v>-6.7226890756302204E-3</c:v>
                </c:pt>
                <c:pt idx="4463">
                  <c:v>-6.7226890756302204E-3</c:v>
                </c:pt>
                <c:pt idx="4464">
                  <c:v>-5.8823529411764497E-3</c:v>
                </c:pt>
                <c:pt idx="4465">
                  <c:v>-5.8823529411764497E-3</c:v>
                </c:pt>
                <c:pt idx="4466">
                  <c:v>-5.8823529411764497E-3</c:v>
                </c:pt>
                <c:pt idx="4467">
                  <c:v>-5.8823529411764497E-3</c:v>
                </c:pt>
                <c:pt idx="4468">
                  <c:v>-5.8823529411764497E-3</c:v>
                </c:pt>
                <c:pt idx="4469">
                  <c:v>-5.8823529411764497E-3</c:v>
                </c:pt>
                <c:pt idx="4470">
                  <c:v>-5.8823529411764497E-3</c:v>
                </c:pt>
                <c:pt idx="4471">
                  <c:v>-5.8823529411764497E-3</c:v>
                </c:pt>
                <c:pt idx="4472">
                  <c:v>-5.8823529411764497E-3</c:v>
                </c:pt>
                <c:pt idx="4473">
                  <c:v>-5.8823529411764497E-3</c:v>
                </c:pt>
                <c:pt idx="4474">
                  <c:v>-5.8823529411764497E-3</c:v>
                </c:pt>
                <c:pt idx="4475">
                  <c:v>-5.8823529411764497E-3</c:v>
                </c:pt>
                <c:pt idx="4476">
                  <c:v>-5.8823529411764497E-3</c:v>
                </c:pt>
                <c:pt idx="4477">
                  <c:v>-5.8823529411764497E-3</c:v>
                </c:pt>
                <c:pt idx="4478">
                  <c:v>-5.8823529411764497E-3</c:v>
                </c:pt>
                <c:pt idx="4479">
                  <c:v>-5.8823529411764497E-3</c:v>
                </c:pt>
                <c:pt idx="4480">
                  <c:v>-5.0420168067226703E-3</c:v>
                </c:pt>
                <c:pt idx="4481">
                  <c:v>-5.0420168067226703E-3</c:v>
                </c:pt>
                <c:pt idx="4482">
                  <c:v>-5.8823529411764497E-3</c:v>
                </c:pt>
                <c:pt idx="4483">
                  <c:v>-5.8823529411764497E-3</c:v>
                </c:pt>
                <c:pt idx="4484">
                  <c:v>-5.8823529411764497E-3</c:v>
                </c:pt>
                <c:pt idx="4485">
                  <c:v>-5.8823529411764497E-3</c:v>
                </c:pt>
                <c:pt idx="4486">
                  <c:v>-5.8823529411764497E-3</c:v>
                </c:pt>
                <c:pt idx="4487">
                  <c:v>-5.8823529411764497E-3</c:v>
                </c:pt>
                <c:pt idx="4488">
                  <c:v>-5.8823529411764497E-3</c:v>
                </c:pt>
                <c:pt idx="4489">
                  <c:v>-5.8823529411764497E-3</c:v>
                </c:pt>
                <c:pt idx="4490">
                  <c:v>-5.8823529411764497E-3</c:v>
                </c:pt>
                <c:pt idx="4491">
                  <c:v>-5.8823529411764497E-3</c:v>
                </c:pt>
                <c:pt idx="4492">
                  <c:v>-5.8823529411764497E-3</c:v>
                </c:pt>
                <c:pt idx="4493">
                  <c:v>-5.8823529411764497E-3</c:v>
                </c:pt>
                <c:pt idx="4494">
                  <c:v>-5.8823529411764497E-3</c:v>
                </c:pt>
                <c:pt idx="4495">
                  <c:v>-5.8823529411764497E-3</c:v>
                </c:pt>
                <c:pt idx="4496">
                  <c:v>-5.8823529411764497E-3</c:v>
                </c:pt>
                <c:pt idx="4497">
                  <c:v>-5.8823529411764497E-3</c:v>
                </c:pt>
                <c:pt idx="4498">
                  <c:v>-5.8823529411764497E-3</c:v>
                </c:pt>
                <c:pt idx="4499">
                  <c:v>-5.8823529411764497E-3</c:v>
                </c:pt>
                <c:pt idx="4500">
                  <c:v>-6.7226890756302204E-3</c:v>
                </c:pt>
                <c:pt idx="4501">
                  <c:v>-6.7226890756302204E-3</c:v>
                </c:pt>
                <c:pt idx="4502">
                  <c:v>-6.7226890756302204E-3</c:v>
                </c:pt>
                <c:pt idx="4503">
                  <c:v>-6.7226890756302204E-3</c:v>
                </c:pt>
                <c:pt idx="4504">
                  <c:v>-6.7226890756302204E-3</c:v>
                </c:pt>
                <c:pt idx="4505">
                  <c:v>-6.7226890756302204E-3</c:v>
                </c:pt>
                <c:pt idx="4506">
                  <c:v>-6.7226890756302204E-3</c:v>
                </c:pt>
                <c:pt idx="4507">
                  <c:v>-6.7226890756302204E-3</c:v>
                </c:pt>
                <c:pt idx="4508">
                  <c:v>-6.7226890756302204E-3</c:v>
                </c:pt>
                <c:pt idx="4509">
                  <c:v>-6.7226890756302204E-3</c:v>
                </c:pt>
                <c:pt idx="4510">
                  <c:v>-6.7226890756302204E-3</c:v>
                </c:pt>
                <c:pt idx="4511">
                  <c:v>-6.7226890756302204E-3</c:v>
                </c:pt>
                <c:pt idx="4512">
                  <c:v>-6.7226890756302204E-3</c:v>
                </c:pt>
                <c:pt idx="4513">
                  <c:v>-6.7226890756302204E-3</c:v>
                </c:pt>
                <c:pt idx="4514">
                  <c:v>-6.7226890756302204E-3</c:v>
                </c:pt>
                <c:pt idx="4515">
                  <c:v>-6.7226890756302204E-3</c:v>
                </c:pt>
                <c:pt idx="4516">
                  <c:v>-6.7226890756302204E-3</c:v>
                </c:pt>
                <c:pt idx="4517">
                  <c:v>-6.7226890756302204E-3</c:v>
                </c:pt>
                <c:pt idx="4518">
                  <c:v>-6.7226890756302204E-3</c:v>
                </c:pt>
                <c:pt idx="4519">
                  <c:v>-6.7226890756302204E-3</c:v>
                </c:pt>
                <c:pt idx="4520">
                  <c:v>-5.8823529411764497E-3</c:v>
                </c:pt>
                <c:pt idx="4521">
                  <c:v>-5.8823529411764497E-3</c:v>
                </c:pt>
                <c:pt idx="4522">
                  <c:v>-5.0420168067226703E-3</c:v>
                </c:pt>
                <c:pt idx="4523">
                  <c:v>-5.0420168067226703E-3</c:v>
                </c:pt>
                <c:pt idx="4524">
                  <c:v>-5.0420168067226703E-3</c:v>
                </c:pt>
                <c:pt idx="4525">
                  <c:v>-5.0420168067226703E-3</c:v>
                </c:pt>
                <c:pt idx="4526">
                  <c:v>-5.0420168067226703E-3</c:v>
                </c:pt>
                <c:pt idx="4527">
                  <c:v>-5.0420168067226703E-3</c:v>
                </c:pt>
                <c:pt idx="4528">
                  <c:v>-5.0420168067226703E-3</c:v>
                </c:pt>
                <c:pt idx="4529">
                  <c:v>-4.20168067226889E-3</c:v>
                </c:pt>
                <c:pt idx="4530">
                  <c:v>-4.20168067226889E-3</c:v>
                </c:pt>
                <c:pt idx="4531">
                  <c:v>-4.20168067226889E-3</c:v>
                </c:pt>
                <c:pt idx="4532">
                  <c:v>-4.20168067226889E-3</c:v>
                </c:pt>
                <c:pt idx="4533">
                  <c:v>-4.20168067226889E-3</c:v>
                </c:pt>
                <c:pt idx="4534">
                  <c:v>-4.20168067226889E-3</c:v>
                </c:pt>
                <c:pt idx="4535">
                  <c:v>-4.20168067226889E-3</c:v>
                </c:pt>
                <c:pt idx="4536">
                  <c:v>-3.3613445378151102E-3</c:v>
                </c:pt>
                <c:pt idx="4537">
                  <c:v>-3.3613445378151102E-3</c:v>
                </c:pt>
                <c:pt idx="4538">
                  <c:v>-3.3613445378151102E-3</c:v>
                </c:pt>
                <c:pt idx="4539">
                  <c:v>-3.3613445378151102E-3</c:v>
                </c:pt>
                <c:pt idx="4540">
                  <c:v>-3.3613445378151102E-3</c:v>
                </c:pt>
                <c:pt idx="4541">
                  <c:v>-3.3613445378151102E-3</c:v>
                </c:pt>
                <c:pt idx="4542">
                  <c:v>-3.3613445378151102E-3</c:v>
                </c:pt>
                <c:pt idx="4543">
                  <c:v>-3.3613445378151102E-3</c:v>
                </c:pt>
                <c:pt idx="4544">
                  <c:v>-3.3613445378151102E-3</c:v>
                </c:pt>
                <c:pt idx="4545">
                  <c:v>-3.3613445378151102E-3</c:v>
                </c:pt>
                <c:pt idx="4546">
                  <c:v>-4.20168067226889E-3</c:v>
                </c:pt>
                <c:pt idx="4547">
                  <c:v>-4.20168067226889E-3</c:v>
                </c:pt>
                <c:pt idx="4548">
                  <c:v>-4.20168067226889E-3</c:v>
                </c:pt>
                <c:pt idx="4549">
                  <c:v>-4.20168067226889E-3</c:v>
                </c:pt>
                <c:pt idx="4550">
                  <c:v>-4.20168067226889E-3</c:v>
                </c:pt>
                <c:pt idx="4551">
                  <c:v>-4.20168067226889E-3</c:v>
                </c:pt>
                <c:pt idx="4552">
                  <c:v>-3.3613445378151102E-3</c:v>
                </c:pt>
                <c:pt idx="4553">
                  <c:v>-3.3613445378151102E-3</c:v>
                </c:pt>
                <c:pt idx="4554">
                  <c:v>-3.3613445378151102E-3</c:v>
                </c:pt>
                <c:pt idx="4555">
                  <c:v>-3.3613445378151102E-3</c:v>
                </c:pt>
                <c:pt idx="4556">
                  <c:v>-3.3613445378151102E-3</c:v>
                </c:pt>
                <c:pt idx="4557">
                  <c:v>-3.3613445378151102E-3</c:v>
                </c:pt>
                <c:pt idx="4558">
                  <c:v>-3.3613445378151102E-3</c:v>
                </c:pt>
                <c:pt idx="4559">
                  <c:v>-3.3613445378151102E-3</c:v>
                </c:pt>
                <c:pt idx="4560">
                  <c:v>-3.3613445378151102E-3</c:v>
                </c:pt>
                <c:pt idx="4561">
                  <c:v>-3.3613445378151102E-3</c:v>
                </c:pt>
                <c:pt idx="4562">
                  <c:v>-3.3613445378151102E-3</c:v>
                </c:pt>
                <c:pt idx="4563">
                  <c:v>-3.3613445378151102E-3</c:v>
                </c:pt>
                <c:pt idx="4564">
                  <c:v>-2.5210084033613299E-3</c:v>
                </c:pt>
                <c:pt idx="4565">
                  <c:v>-2.5210084033613299E-3</c:v>
                </c:pt>
                <c:pt idx="4566">
                  <c:v>-2.5210084033613299E-3</c:v>
                </c:pt>
                <c:pt idx="4567">
                  <c:v>-2.5210084033613299E-3</c:v>
                </c:pt>
                <c:pt idx="4568">
                  <c:v>-2.5210084033613299E-3</c:v>
                </c:pt>
                <c:pt idx="4569">
                  <c:v>-2.5210084033613299E-3</c:v>
                </c:pt>
                <c:pt idx="4570">
                  <c:v>-2.5210084033613299E-3</c:v>
                </c:pt>
                <c:pt idx="4571">
                  <c:v>-2.5210084033613299E-3</c:v>
                </c:pt>
                <c:pt idx="4572">
                  <c:v>-2.5210084033613299E-3</c:v>
                </c:pt>
                <c:pt idx="4573">
                  <c:v>-2.5210084033613299E-3</c:v>
                </c:pt>
                <c:pt idx="4574">
                  <c:v>-2.5210084033613299E-3</c:v>
                </c:pt>
                <c:pt idx="4575">
                  <c:v>-2.5210084033613299E-3</c:v>
                </c:pt>
                <c:pt idx="4576">
                  <c:v>-2.5210084033613299E-3</c:v>
                </c:pt>
                <c:pt idx="4577">
                  <c:v>-2.5210084033613299E-3</c:v>
                </c:pt>
                <c:pt idx="4578">
                  <c:v>-2.5210084033613299E-3</c:v>
                </c:pt>
                <c:pt idx="4579">
                  <c:v>-2.5210084033613299E-3</c:v>
                </c:pt>
                <c:pt idx="4580">
                  <c:v>-2.5210084033613299E-3</c:v>
                </c:pt>
                <c:pt idx="4581">
                  <c:v>-2.5210084033613299E-3</c:v>
                </c:pt>
                <c:pt idx="4582">
                  <c:v>-2.5210084033613299E-3</c:v>
                </c:pt>
                <c:pt idx="4583">
                  <c:v>-2.5210084033613299E-3</c:v>
                </c:pt>
                <c:pt idx="4584">
                  <c:v>-2.5210084033613299E-3</c:v>
                </c:pt>
                <c:pt idx="4585">
                  <c:v>-2.5210084033613299E-3</c:v>
                </c:pt>
                <c:pt idx="4586">
                  <c:v>-2.5210084033613299E-3</c:v>
                </c:pt>
                <c:pt idx="4587">
                  <c:v>-2.5210084033613299E-3</c:v>
                </c:pt>
                <c:pt idx="4588">
                  <c:v>-2.5210084033613299E-3</c:v>
                </c:pt>
                <c:pt idx="4589">
                  <c:v>-2.5210084033613299E-3</c:v>
                </c:pt>
                <c:pt idx="4590">
                  <c:v>-2.5210084033613299E-3</c:v>
                </c:pt>
                <c:pt idx="4591">
                  <c:v>-2.5210084033613299E-3</c:v>
                </c:pt>
                <c:pt idx="4592">
                  <c:v>-2.5210084033613299E-3</c:v>
                </c:pt>
                <c:pt idx="4593">
                  <c:v>-2.5210084033613299E-3</c:v>
                </c:pt>
                <c:pt idx="4594">
                  <c:v>-3.3613445378151102E-3</c:v>
                </c:pt>
                <c:pt idx="4595">
                  <c:v>-3.3613445378151102E-3</c:v>
                </c:pt>
                <c:pt idx="4596">
                  <c:v>-3.3613445378151102E-3</c:v>
                </c:pt>
                <c:pt idx="4597">
                  <c:v>-3.3613445378151102E-3</c:v>
                </c:pt>
                <c:pt idx="4598">
                  <c:v>-3.3613445378151102E-3</c:v>
                </c:pt>
                <c:pt idx="4599">
                  <c:v>-3.3613445378151102E-3</c:v>
                </c:pt>
                <c:pt idx="4600">
                  <c:v>-3.3613445378151102E-3</c:v>
                </c:pt>
                <c:pt idx="4601">
                  <c:v>-3.3613445378151102E-3</c:v>
                </c:pt>
                <c:pt idx="4602">
                  <c:v>-3.3613445378151102E-3</c:v>
                </c:pt>
                <c:pt idx="4603">
                  <c:v>-3.3613445378151102E-3</c:v>
                </c:pt>
                <c:pt idx="4604">
                  <c:v>-3.3613445378151102E-3</c:v>
                </c:pt>
                <c:pt idx="4605">
                  <c:v>-3.3613445378151102E-3</c:v>
                </c:pt>
                <c:pt idx="4606">
                  <c:v>-3.3613445378151102E-3</c:v>
                </c:pt>
                <c:pt idx="4607">
                  <c:v>-3.3613445378151102E-3</c:v>
                </c:pt>
                <c:pt idx="4608">
                  <c:v>-3.3613445378151102E-3</c:v>
                </c:pt>
                <c:pt idx="4609">
                  <c:v>-3.3613445378151102E-3</c:v>
                </c:pt>
                <c:pt idx="4610">
                  <c:v>-3.3613445378151102E-3</c:v>
                </c:pt>
                <c:pt idx="4611">
                  <c:v>-3.3613445378151102E-3</c:v>
                </c:pt>
                <c:pt idx="4612">
                  <c:v>-3.3613445378151102E-3</c:v>
                </c:pt>
                <c:pt idx="4613">
                  <c:v>-3.3613445378151102E-3</c:v>
                </c:pt>
                <c:pt idx="4614">
                  <c:v>-3.3613445378151102E-3</c:v>
                </c:pt>
                <c:pt idx="4615">
                  <c:v>-3.3613445378151102E-3</c:v>
                </c:pt>
                <c:pt idx="4616">
                  <c:v>-3.3613445378151102E-3</c:v>
                </c:pt>
                <c:pt idx="4617">
                  <c:v>-3.3613445378151102E-3</c:v>
                </c:pt>
                <c:pt idx="4618">
                  <c:v>-3.3613445378151102E-3</c:v>
                </c:pt>
                <c:pt idx="4619">
                  <c:v>-3.3613445378151102E-3</c:v>
                </c:pt>
                <c:pt idx="4620">
                  <c:v>-3.3613445378151102E-3</c:v>
                </c:pt>
                <c:pt idx="4621">
                  <c:v>-3.3613445378151102E-3</c:v>
                </c:pt>
                <c:pt idx="4622">
                  <c:v>-3.3613445378151102E-3</c:v>
                </c:pt>
                <c:pt idx="4623">
                  <c:v>-3.3613445378151102E-3</c:v>
                </c:pt>
                <c:pt idx="4624">
                  <c:v>-3.3613445378151102E-3</c:v>
                </c:pt>
                <c:pt idx="4625">
                  <c:v>-3.3613445378151102E-3</c:v>
                </c:pt>
                <c:pt idx="4626">
                  <c:v>-3.3613445378151102E-3</c:v>
                </c:pt>
                <c:pt idx="4627">
                  <c:v>-3.3613445378151102E-3</c:v>
                </c:pt>
                <c:pt idx="4628">
                  <c:v>-3.3613445378151102E-3</c:v>
                </c:pt>
                <c:pt idx="4629">
                  <c:v>-3.3613445378151102E-3</c:v>
                </c:pt>
                <c:pt idx="4630">
                  <c:v>-3.3613445378151102E-3</c:v>
                </c:pt>
                <c:pt idx="4631">
                  <c:v>-3.3613445378151102E-3</c:v>
                </c:pt>
                <c:pt idx="4632">
                  <c:v>-3.3613445378151102E-3</c:v>
                </c:pt>
                <c:pt idx="4633">
                  <c:v>-3.3613445378151102E-3</c:v>
                </c:pt>
                <c:pt idx="4634">
                  <c:v>-3.3613445378151102E-3</c:v>
                </c:pt>
                <c:pt idx="4635">
                  <c:v>-2.5210084033613299E-3</c:v>
                </c:pt>
                <c:pt idx="4636">
                  <c:v>-2.5210084033613299E-3</c:v>
                </c:pt>
                <c:pt idx="4637">
                  <c:v>-2.5210084033613299E-3</c:v>
                </c:pt>
                <c:pt idx="4638">
                  <c:v>-2.5210084033613299E-3</c:v>
                </c:pt>
                <c:pt idx="4639">
                  <c:v>-2.5210084033613299E-3</c:v>
                </c:pt>
                <c:pt idx="4640">
                  <c:v>-3.3613445378151102E-3</c:v>
                </c:pt>
                <c:pt idx="4641">
                  <c:v>-3.3613445378151102E-3</c:v>
                </c:pt>
                <c:pt idx="4642">
                  <c:v>-3.3613445378151102E-3</c:v>
                </c:pt>
                <c:pt idx="4643">
                  <c:v>-3.3613445378151102E-3</c:v>
                </c:pt>
                <c:pt idx="4644">
                  <c:v>-3.3613445378151102E-3</c:v>
                </c:pt>
                <c:pt idx="4645">
                  <c:v>-3.3613445378151102E-3</c:v>
                </c:pt>
                <c:pt idx="4646">
                  <c:v>-3.3613445378151102E-3</c:v>
                </c:pt>
                <c:pt idx="4647">
                  <c:v>-3.3613445378151102E-3</c:v>
                </c:pt>
                <c:pt idx="4648">
                  <c:v>-3.3613445378151102E-3</c:v>
                </c:pt>
                <c:pt idx="4649">
                  <c:v>-3.3613445378151102E-3</c:v>
                </c:pt>
                <c:pt idx="4650">
                  <c:v>-3.3613445378151102E-3</c:v>
                </c:pt>
                <c:pt idx="4651">
                  <c:v>-3.3613445378151102E-3</c:v>
                </c:pt>
                <c:pt idx="4652">
                  <c:v>-3.3613445378151102E-3</c:v>
                </c:pt>
                <c:pt idx="4653">
                  <c:v>-3.3613445378151102E-3</c:v>
                </c:pt>
                <c:pt idx="4654">
                  <c:v>-3.3613445378151102E-3</c:v>
                </c:pt>
                <c:pt idx="4655">
                  <c:v>-3.3613445378151102E-3</c:v>
                </c:pt>
                <c:pt idx="4656">
                  <c:v>-3.3613445378151102E-3</c:v>
                </c:pt>
                <c:pt idx="4657">
                  <c:v>-3.3613445378151102E-3</c:v>
                </c:pt>
                <c:pt idx="4658">
                  <c:v>-3.3613445378151102E-3</c:v>
                </c:pt>
                <c:pt idx="4659">
                  <c:v>-3.3613445378151102E-3</c:v>
                </c:pt>
                <c:pt idx="4660">
                  <c:v>-3.3613445378151102E-3</c:v>
                </c:pt>
                <c:pt idx="4661">
                  <c:v>-3.3613445378151102E-3</c:v>
                </c:pt>
                <c:pt idx="4662">
                  <c:v>-3.3613445378151102E-3</c:v>
                </c:pt>
                <c:pt idx="4663">
                  <c:v>-3.3613445378151102E-3</c:v>
                </c:pt>
                <c:pt idx="4664">
                  <c:v>-3.3613445378151102E-3</c:v>
                </c:pt>
                <c:pt idx="4665">
                  <c:v>-3.3613445378151102E-3</c:v>
                </c:pt>
                <c:pt idx="4666">
                  <c:v>-3.3613445378151102E-3</c:v>
                </c:pt>
                <c:pt idx="4667">
                  <c:v>-3.3613445378151102E-3</c:v>
                </c:pt>
                <c:pt idx="4668">
                  <c:v>-3.3613445378151102E-3</c:v>
                </c:pt>
                <c:pt idx="4669">
                  <c:v>-3.3613445378151102E-3</c:v>
                </c:pt>
                <c:pt idx="4670">
                  <c:v>-3.3613445378151102E-3</c:v>
                </c:pt>
                <c:pt idx="4671">
                  <c:v>-3.3613445378151102E-3</c:v>
                </c:pt>
                <c:pt idx="4672">
                  <c:v>-3.3613445378151102E-3</c:v>
                </c:pt>
                <c:pt idx="4673">
                  <c:v>-3.3613445378151102E-3</c:v>
                </c:pt>
                <c:pt idx="4674">
                  <c:v>-3.3613445378151102E-3</c:v>
                </c:pt>
                <c:pt idx="4675">
                  <c:v>-3.3613445378151102E-3</c:v>
                </c:pt>
                <c:pt idx="4676">
                  <c:v>-3.3613445378151102E-3</c:v>
                </c:pt>
                <c:pt idx="4677">
                  <c:v>-4.20168067226889E-3</c:v>
                </c:pt>
                <c:pt idx="4678">
                  <c:v>-4.20168067226889E-3</c:v>
                </c:pt>
                <c:pt idx="4679">
                  <c:v>-4.20168067226889E-3</c:v>
                </c:pt>
                <c:pt idx="4680">
                  <c:v>-4.20168067226889E-3</c:v>
                </c:pt>
                <c:pt idx="4681">
                  <c:v>-4.20168067226889E-3</c:v>
                </c:pt>
                <c:pt idx="4682">
                  <c:v>-4.20168067226889E-3</c:v>
                </c:pt>
                <c:pt idx="4683">
                  <c:v>-4.20168067226889E-3</c:v>
                </c:pt>
                <c:pt idx="4684">
                  <c:v>-4.20168067226889E-3</c:v>
                </c:pt>
                <c:pt idx="4685">
                  <c:v>-4.20168067226889E-3</c:v>
                </c:pt>
                <c:pt idx="4686">
                  <c:v>-4.20168067226889E-3</c:v>
                </c:pt>
                <c:pt idx="4687">
                  <c:v>-4.20168067226889E-3</c:v>
                </c:pt>
                <c:pt idx="4688">
                  <c:v>-4.20168067226889E-3</c:v>
                </c:pt>
                <c:pt idx="4689">
                  <c:v>-4.20168067226889E-3</c:v>
                </c:pt>
                <c:pt idx="4690">
                  <c:v>-4.20168067226889E-3</c:v>
                </c:pt>
                <c:pt idx="4691">
                  <c:v>-4.20168067226889E-3</c:v>
                </c:pt>
                <c:pt idx="4692">
                  <c:v>-4.20168067226889E-3</c:v>
                </c:pt>
                <c:pt idx="4693">
                  <c:v>-4.20168067226889E-3</c:v>
                </c:pt>
                <c:pt idx="4694">
                  <c:v>-4.20168067226889E-3</c:v>
                </c:pt>
                <c:pt idx="4695">
                  <c:v>-4.20168067226889E-3</c:v>
                </c:pt>
                <c:pt idx="4696">
                  <c:v>-4.20168067226889E-3</c:v>
                </c:pt>
                <c:pt idx="4697">
                  <c:v>-4.20168067226889E-3</c:v>
                </c:pt>
                <c:pt idx="4698">
                  <c:v>-4.20168067226889E-3</c:v>
                </c:pt>
                <c:pt idx="4699">
                  <c:v>-4.20168067226889E-3</c:v>
                </c:pt>
                <c:pt idx="4700">
                  <c:v>-4.20168067226889E-3</c:v>
                </c:pt>
                <c:pt idx="4701">
                  <c:v>-4.20168067226889E-3</c:v>
                </c:pt>
                <c:pt idx="4702">
                  <c:v>-4.20168067226889E-3</c:v>
                </c:pt>
                <c:pt idx="4703">
                  <c:v>-5.0420168067227197E-3</c:v>
                </c:pt>
                <c:pt idx="4704">
                  <c:v>-5.0420168067227197E-3</c:v>
                </c:pt>
                <c:pt idx="4705">
                  <c:v>-5.0420168067227197E-3</c:v>
                </c:pt>
                <c:pt idx="4706">
                  <c:v>-5.0420168067227197E-3</c:v>
                </c:pt>
                <c:pt idx="4707">
                  <c:v>-5.0420168067227197E-3</c:v>
                </c:pt>
                <c:pt idx="4708">
                  <c:v>-5.0420168067227197E-3</c:v>
                </c:pt>
                <c:pt idx="4709">
                  <c:v>-5.0420168067227197E-3</c:v>
                </c:pt>
                <c:pt idx="4710">
                  <c:v>-5.0420168067227197E-3</c:v>
                </c:pt>
                <c:pt idx="4711">
                  <c:v>-5.0420168067227197E-3</c:v>
                </c:pt>
                <c:pt idx="4712">
                  <c:v>-5.0420168067227197E-3</c:v>
                </c:pt>
                <c:pt idx="4713">
                  <c:v>-5.0420168067227197E-3</c:v>
                </c:pt>
                <c:pt idx="4714">
                  <c:v>-5.0420168067227197E-3</c:v>
                </c:pt>
                <c:pt idx="4715">
                  <c:v>-5.0420168067227197E-3</c:v>
                </c:pt>
                <c:pt idx="4716">
                  <c:v>-5.0420168067227197E-3</c:v>
                </c:pt>
                <c:pt idx="4717">
                  <c:v>-5.0420168067227197E-3</c:v>
                </c:pt>
                <c:pt idx="4718">
                  <c:v>-5.0420168067227197E-3</c:v>
                </c:pt>
                <c:pt idx="4719">
                  <c:v>-5.8823529411765E-3</c:v>
                </c:pt>
                <c:pt idx="4720">
                  <c:v>-5.8823529411765E-3</c:v>
                </c:pt>
                <c:pt idx="4721">
                  <c:v>-5.8823529411765E-3</c:v>
                </c:pt>
                <c:pt idx="4722">
                  <c:v>-5.8823529411765E-3</c:v>
                </c:pt>
                <c:pt idx="4723">
                  <c:v>-5.8823529411765E-3</c:v>
                </c:pt>
                <c:pt idx="4724">
                  <c:v>-6.7226890756302803E-3</c:v>
                </c:pt>
                <c:pt idx="4725">
                  <c:v>-6.7226890756302803E-3</c:v>
                </c:pt>
                <c:pt idx="4726">
                  <c:v>-6.7226890756302803E-3</c:v>
                </c:pt>
                <c:pt idx="4727">
                  <c:v>-6.7226890756302803E-3</c:v>
                </c:pt>
                <c:pt idx="4728">
                  <c:v>-7.5630252100840597E-3</c:v>
                </c:pt>
                <c:pt idx="4729">
                  <c:v>-7.5630252100840597E-3</c:v>
                </c:pt>
                <c:pt idx="4730">
                  <c:v>-7.5630252100840597E-3</c:v>
                </c:pt>
                <c:pt idx="4731">
                  <c:v>-7.5630252100840597E-3</c:v>
                </c:pt>
                <c:pt idx="4732">
                  <c:v>-7.5630252100840597E-3</c:v>
                </c:pt>
                <c:pt idx="4733">
                  <c:v>-7.5630252100840597E-3</c:v>
                </c:pt>
                <c:pt idx="4734">
                  <c:v>-7.5630252100840597E-3</c:v>
                </c:pt>
                <c:pt idx="4735">
                  <c:v>-8.4033613445378408E-3</c:v>
                </c:pt>
                <c:pt idx="4736">
                  <c:v>-8.4033613445378408E-3</c:v>
                </c:pt>
                <c:pt idx="4737">
                  <c:v>-8.4033613445378408E-3</c:v>
                </c:pt>
                <c:pt idx="4738">
                  <c:v>-8.4033613445378408E-3</c:v>
                </c:pt>
                <c:pt idx="4739">
                  <c:v>-8.4033613445378408E-3</c:v>
                </c:pt>
                <c:pt idx="4740">
                  <c:v>-8.4033613445378408E-3</c:v>
                </c:pt>
                <c:pt idx="4741">
                  <c:v>-8.4033613445378408E-3</c:v>
                </c:pt>
                <c:pt idx="4742">
                  <c:v>-8.4033613445378408E-3</c:v>
                </c:pt>
                <c:pt idx="4743">
                  <c:v>-8.4033613445378408E-3</c:v>
                </c:pt>
                <c:pt idx="4744">
                  <c:v>-8.4033613445378408E-3</c:v>
                </c:pt>
                <c:pt idx="4745">
                  <c:v>-9.2436974789916193E-3</c:v>
                </c:pt>
                <c:pt idx="4746">
                  <c:v>-9.2436974789916193E-3</c:v>
                </c:pt>
                <c:pt idx="4747">
                  <c:v>-9.2436974789916193E-3</c:v>
                </c:pt>
                <c:pt idx="4748">
                  <c:v>-9.2436974789916193E-3</c:v>
                </c:pt>
                <c:pt idx="4749">
                  <c:v>-8.4033613445378408E-3</c:v>
                </c:pt>
                <c:pt idx="4750">
                  <c:v>-8.4033613445378408E-3</c:v>
                </c:pt>
                <c:pt idx="4751">
                  <c:v>-8.4033613445378408E-3</c:v>
                </c:pt>
                <c:pt idx="4752">
                  <c:v>-8.4033613445378408E-3</c:v>
                </c:pt>
                <c:pt idx="4753">
                  <c:v>-8.4033613445378408E-3</c:v>
                </c:pt>
                <c:pt idx="4754">
                  <c:v>-8.4033613445378408E-3</c:v>
                </c:pt>
                <c:pt idx="4755">
                  <c:v>-9.2436974789916193E-3</c:v>
                </c:pt>
                <c:pt idx="4756">
                  <c:v>-9.2436974789916193E-3</c:v>
                </c:pt>
                <c:pt idx="4757">
                  <c:v>-9.2436974789916193E-3</c:v>
                </c:pt>
                <c:pt idx="4758">
                  <c:v>-9.2436974789916193E-3</c:v>
                </c:pt>
                <c:pt idx="4759">
                  <c:v>-1.0084033613445301E-2</c:v>
                </c:pt>
                <c:pt idx="4760">
                  <c:v>-1.0084033613445301E-2</c:v>
                </c:pt>
                <c:pt idx="4761">
                  <c:v>-9.2436974789916193E-3</c:v>
                </c:pt>
                <c:pt idx="4762">
                  <c:v>-9.2436974789916193E-3</c:v>
                </c:pt>
                <c:pt idx="4763">
                  <c:v>-9.2436974789916193E-3</c:v>
                </c:pt>
                <c:pt idx="4764">
                  <c:v>-9.2436974789916193E-3</c:v>
                </c:pt>
                <c:pt idx="4765">
                  <c:v>-8.4033613445378408E-3</c:v>
                </c:pt>
                <c:pt idx="4766">
                  <c:v>-8.4033613445378408E-3</c:v>
                </c:pt>
                <c:pt idx="4767">
                  <c:v>-8.4033613445378408E-3</c:v>
                </c:pt>
                <c:pt idx="4768">
                  <c:v>-8.4033613445378408E-3</c:v>
                </c:pt>
                <c:pt idx="4769">
                  <c:v>-7.5630252100840597E-3</c:v>
                </c:pt>
                <c:pt idx="4770">
                  <c:v>-7.5630252100840597E-3</c:v>
                </c:pt>
                <c:pt idx="4771">
                  <c:v>-7.5630252100840597E-3</c:v>
                </c:pt>
                <c:pt idx="4772">
                  <c:v>-7.5630252100840597E-3</c:v>
                </c:pt>
                <c:pt idx="4773">
                  <c:v>-7.5630252100840597E-3</c:v>
                </c:pt>
                <c:pt idx="4774">
                  <c:v>-6.7226890756302803E-3</c:v>
                </c:pt>
                <c:pt idx="4775">
                  <c:v>-6.7226890756302803E-3</c:v>
                </c:pt>
                <c:pt idx="4776">
                  <c:v>-6.7226890756302803E-3</c:v>
                </c:pt>
                <c:pt idx="4777">
                  <c:v>-6.7226890756302803E-3</c:v>
                </c:pt>
                <c:pt idx="4778">
                  <c:v>-6.7226890756302803E-3</c:v>
                </c:pt>
                <c:pt idx="4779">
                  <c:v>-6.7226890756302803E-3</c:v>
                </c:pt>
                <c:pt idx="4780">
                  <c:v>-6.7226890756302803E-3</c:v>
                </c:pt>
                <c:pt idx="4781">
                  <c:v>-6.7226890756302803E-3</c:v>
                </c:pt>
                <c:pt idx="4782">
                  <c:v>-6.7226890756302803E-3</c:v>
                </c:pt>
                <c:pt idx="4783">
                  <c:v>-6.7226890756302803E-3</c:v>
                </c:pt>
                <c:pt idx="4784">
                  <c:v>-6.7226890756302803E-3</c:v>
                </c:pt>
                <c:pt idx="4785">
                  <c:v>-6.7226890756302803E-3</c:v>
                </c:pt>
                <c:pt idx="4786">
                  <c:v>-6.7226890756302803E-3</c:v>
                </c:pt>
                <c:pt idx="4787">
                  <c:v>-6.7226890756302803E-3</c:v>
                </c:pt>
                <c:pt idx="4788">
                  <c:v>-6.7226890756302803E-3</c:v>
                </c:pt>
                <c:pt idx="4789">
                  <c:v>-6.7226890756302803E-3</c:v>
                </c:pt>
                <c:pt idx="4790">
                  <c:v>-6.7226890756302803E-3</c:v>
                </c:pt>
                <c:pt idx="4791">
                  <c:v>-6.7226890756302803E-3</c:v>
                </c:pt>
                <c:pt idx="4792">
                  <c:v>-6.7226890756302803E-3</c:v>
                </c:pt>
                <c:pt idx="4793">
                  <c:v>-6.7226890756302803E-3</c:v>
                </c:pt>
                <c:pt idx="4794">
                  <c:v>-6.7226890756302803E-3</c:v>
                </c:pt>
                <c:pt idx="4795">
                  <c:v>-6.7226890756302803E-3</c:v>
                </c:pt>
                <c:pt idx="4796">
                  <c:v>-6.7226890756302803E-3</c:v>
                </c:pt>
                <c:pt idx="4797">
                  <c:v>-6.7226890756302803E-3</c:v>
                </c:pt>
                <c:pt idx="4798">
                  <c:v>-6.7226890756302803E-3</c:v>
                </c:pt>
                <c:pt idx="4799">
                  <c:v>-6.7226890756302803E-3</c:v>
                </c:pt>
                <c:pt idx="4800">
                  <c:v>-6.7226890756302803E-3</c:v>
                </c:pt>
                <c:pt idx="4801">
                  <c:v>-6.7226890756302803E-3</c:v>
                </c:pt>
                <c:pt idx="4802">
                  <c:v>-6.7226890756302803E-3</c:v>
                </c:pt>
                <c:pt idx="4803">
                  <c:v>-6.7226890756302803E-3</c:v>
                </c:pt>
                <c:pt idx="4804">
                  <c:v>-6.7226890756302803E-3</c:v>
                </c:pt>
                <c:pt idx="4805">
                  <c:v>-6.7226890756302803E-3</c:v>
                </c:pt>
                <c:pt idx="4806">
                  <c:v>-5.8823529411764497E-3</c:v>
                </c:pt>
                <c:pt idx="4807">
                  <c:v>-5.8823529411764497E-3</c:v>
                </c:pt>
                <c:pt idx="4808">
                  <c:v>-5.8823529411764497E-3</c:v>
                </c:pt>
                <c:pt idx="4809">
                  <c:v>-5.8823529411764497E-3</c:v>
                </c:pt>
                <c:pt idx="4810">
                  <c:v>-5.8823529411764497E-3</c:v>
                </c:pt>
                <c:pt idx="4811">
                  <c:v>-5.8823529411764497E-3</c:v>
                </c:pt>
                <c:pt idx="4812">
                  <c:v>-5.8823529411764497E-3</c:v>
                </c:pt>
                <c:pt idx="4813">
                  <c:v>-5.8823529411764497E-3</c:v>
                </c:pt>
                <c:pt idx="4814">
                  <c:v>-5.8823529411764497E-3</c:v>
                </c:pt>
                <c:pt idx="4815">
                  <c:v>-5.8823529411764497E-3</c:v>
                </c:pt>
                <c:pt idx="4816">
                  <c:v>-5.8823529411764497E-3</c:v>
                </c:pt>
                <c:pt idx="4817">
                  <c:v>-5.8823529411764497E-3</c:v>
                </c:pt>
                <c:pt idx="4818">
                  <c:v>-5.8823529411764497E-3</c:v>
                </c:pt>
                <c:pt idx="4819">
                  <c:v>-5.8823529411764497E-3</c:v>
                </c:pt>
                <c:pt idx="4820">
                  <c:v>-5.0420168067226703E-3</c:v>
                </c:pt>
                <c:pt idx="4821">
                  <c:v>-5.0420168067226703E-3</c:v>
                </c:pt>
                <c:pt idx="4822">
                  <c:v>-5.0420168067226703E-3</c:v>
                </c:pt>
                <c:pt idx="4823">
                  <c:v>-5.0420168067226703E-3</c:v>
                </c:pt>
                <c:pt idx="4824">
                  <c:v>-5.0420168067226703E-3</c:v>
                </c:pt>
                <c:pt idx="4825">
                  <c:v>-5.0420168067226703E-3</c:v>
                </c:pt>
                <c:pt idx="4826">
                  <c:v>-5.0420168067226703E-3</c:v>
                </c:pt>
                <c:pt idx="4827">
                  <c:v>-5.0420168067226703E-3</c:v>
                </c:pt>
                <c:pt idx="4828">
                  <c:v>-5.0420168067226703E-3</c:v>
                </c:pt>
                <c:pt idx="4829">
                  <c:v>-5.0420168067226703E-3</c:v>
                </c:pt>
                <c:pt idx="4830">
                  <c:v>-5.0420168067226703E-3</c:v>
                </c:pt>
                <c:pt idx="4831">
                  <c:v>-5.0420168067226703E-3</c:v>
                </c:pt>
                <c:pt idx="4832">
                  <c:v>-5.0420168067226703E-3</c:v>
                </c:pt>
                <c:pt idx="4833">
                  <c:v>-5.0420168067226703E-3</c:v>
                </c:pt>
                <c:pt idx="4834">
                  <c:v>-5.0420168067226703E-3</c:v>
                </c:pt>
                <c:pt idx="4835">
                  <c:v>-5.0420168067226703E-3</c:v>
                </c:pt>
                <c:pt idx="4836">
                  <c:v>-5.0420168067226703E-3</c:v>
                </c:pt>
                <c:pt idx="4837">
                  <c:v>-5.0420168067226703E-3</c:v>
                </c:pt>
                <c:pt idx="4838">
                  <c:v>-5.0420168067226703E-3</c:v>
                </c:pt>
                <c:pt idx="4839">
                  <c:v>-5.0420168067226703E-3</c:v>
                </c:pt>
                <c:pt idx="4840">
                  <c:v>-5.0420168067226703E-3</c:v>
                </c:pt>
                <c:pt idx="4841">
                  <c:v>-5.0420168067226703E-3</c:v>
                </c:pt>
                <c:pt idx="4842">
                  <c:v>-5.0420168067226703E-3</c:v>
                </c:pt>
                <c:pt idx="4843">
                  <c:v>-5.0420168067226703E-3</c:v>
                </c:pt>
                <c:pt idx="4844">
                  <c:v>-5.0420168067226703E-3</c:v>
                </c:pt>
                <c:pt idx="4845">
                  <c:v>-5.0420168067226703E-3</c:v>
                </c:pt>
                <c:pt idx="4846">
                  <c:v>-5.0420168067226703E-3</c:v>
                </c:pt>
                <c:pt idx="4847">
                  <c:v>-5.0420168067226703E-3</c:v>
                </c:pt>
                <c:pt idx="4848">
                  <c:v>-5.0420168067226703E-3</c:v>
                </c:pt>
                <c:pt idx="4849">
                  <c:v>-5.0420168067226703E-3</c:v>
                </c:pt>
                <c:pt idx="4850">
                  <c:v>-5.0420168067226703E-3</c:v>
                </c:pt>
                <c:pt idx="4851">
                  <c:v>-5.0420168067226703E-3</c:v>
                </c:pt>
                <c:pt idx="4852">
                  <c:v>-5.0420168067226703E-3</c:v>
                </c:pt>
                <c:pt idx="4853">
                  <c:v>-5.0420168067226703E-3</c:v>
                </c:pt>
                <c:pt idx="4854">
                  <c:v>-5.0420168067226703E-3</c:v>
                </c:pt>
                <c:pt idx="4855">
                  <c:v>-5.0420168067226703E-3</c:v>
                </c:pt>
                <c:pt idx="4856">
                  <c:v>-5.0420168067226703E-3</c:v>
                </c:pt>
                <c:pt idx="4857">
                  <c:v>-5.0420168067226703E-3</c:v>
                </c:pt>
                <c:pt idx="4858">
                  <c:v>-5.0420168067226703E-3</c:v>
                </c:pt>
                <c:pt idx="4859">
                  <c:v>-5.0420168067226703E-3</c:v>
                </c:pt>
                <c:pt idx="4860">
                  <c:v>-5.0420168067226703E-3</c:v>
                </c:pt>
                <c:pt idx="4861">
                  <c:v>-5.0420168067226703E-3</c:v>
                </c:pt>
                <c:pt idx="4862">
                  <c:v>-5.0420168067226703E-3</c:v>
                </c:pt>
                <c:pt idx="4863">
                  <c:v>-5.0420168067226703E-3</c:v>
                </c:pt>
                <c:pt idx="4864">
                  <c:v>-5.0420168067226703E-3</c:v>
                </c:pt>
                <c:pt idx="4865">
                  <c:v>-5.0420168067226703E-3</c:v>
                </c:pt>
                <c:pt idx="4866">
                  <c:v>-5.0420168067226703E-3</c:v>
                </c:pt>
                <c:pt idx="4867">
                  <c:v>-5.0420168067226703E-3</c:v>
                </c:pt>
                <c:pt idx="4868">
                  <c:v>-5.0420168067226703E-3</c:v>
                </c:pt>
                <c:pt idx="4869">
                  <c:v>-5.0420168067226703E-3</c:v>
                </c:pt>
                <c:pt idx="4870">
                  <c:v>-5.0420168067226703E-3</c:v>
                </c:pt>
                <c:pt idx="4871">
                  <c:v>-5.0420168067226703E-3</c:v>
                </c:pt>
                <c:pt idx="4872">
                  <c:v>-5.0420168067226703E-3</c:v>
                </c:pt>
                <c:pt idx="4873">
                  <c:v>-5.0420168067226703E-3</c:v>
                </c:pt>
                <c:pt idx="4874">
                  <c:v>-5.0420168067226703E-3</c:v>
                </c:pt>
                <c:pt idx="4875">
                  <c:v>-5.0420168067226703E-3</c:v>
                </c:pt>
                <c:pt idx="4876">
                  <c:v>-5.0420168067226703E-3</c:v>
                </c:pt>
                <c:pt idx="4877">
                  <c:v>-5.0420168067226703E-3</c:v>
                </c:pt>
                <c:pt idx="4878">
                  <c:v>-5.8823529411764497E-3</c:v>
                </c:pt>
                <c:pt idx="4879">
                  <c:v>-5.8823529411764497E-3</c:v>
                </c:pt>
                <c:pt idx="4880">
                  <c:v>-5.8823529411764497E-3</c:v>
                </c:pt>
                <c:pt idx="4881">
                  <c:v>-5.8823529411764497E-3</c:v>
                </c:pt>
                <c:pt idx="4882">
                  <c:v>-5.8823529411764497E-3</c:v>
                </c:pt>
                <c:pt idx="4883">
                  <c:v>-5.8823529411764497E-3</c:v>
                </c:pt>
                <c:pt idx="4884">
                  <c:v>-5.8823529411764497E-3</c:v>
                </c:pt>
                <c:pt idx="4885">
                  <c:v>-5.8823529411764497E-3</c:v>
                </c:pt>
                <c:pt idx="4886">
                  <c:v>-5.8823529411764497E-3</c:v>
                </c:pt>
                <c:pt idx="4887">
                  <c:v>-5.8823529411764497E-3</c:v>
                </c:pt>
                <c:pt idx="4888">
                  <c:v>-5.8823529411764497E-3</c:v>
                </c:pt>
                <c:pt idx="4889">
                  <c:v>-5.8823529411764497E-3</c:v>
                </c:pt>
                <c:pt idx="4890">
                  <c:v>-5.8823529411764497E-3</c:v>
                </c:pt>
                <c:pt idx="4891">
                  <c:v>-5.8823529411764497E-3</c:v>
                </c:pt>
                <c:pt idx="4892">
                  <c:v>-5.8823529411764497E-3</c:v>
                </c:pt>
                <c:pt idx="4893">
                  <c:v>-5.0420168067226703E-3</c:v>
                </c:pt>
                <c:pt idx="4894">
                  <c:v>-5.0420168067226703E-3</c:v>
                </c:pt>
                <c:pt idx="4895">
                  <c:v>-5.0420168067226703E-3</c:v>
                </c:pt>
                <c:pt idx="4896">
                  <c:v>-5.0420168067226703E-3</c:v>
                </c:pt>
                <c:pt idx="4897">
                  <c:v>-5.0420168067226703E-3</c:v>
                </c:pt>
                <c:pt idx="4898">
                  <c:v>-5.0420168067226703E-3</c:v>
                </c:pt>
                <c:pt idx="4899">
                  <c:v>-5.0420168067226703E-3</c:v>
                </c:pt>
                <c:pt idx="4900">
                  <c:v>-5.0420168067226703E-3</c:v>
                </c:pt>
                <c:pt idx="4901">
                  <c:v>-5.0420168067226703E-3</c:v>
                </c:pt>
                <c:pt idx="4902">
                  <c:v>-5.8823529411764497E-3</c:v>
                </c:pt>
                <c:pt idx="4903">
                  <c:v>-5.8823529411764497E-3</c:v>
                </c:pt>
                <c:pt idx="4904">
                  <c:v>-5.8823529411764497E-3</c:v>
                </c:pt>
                <c:pt idx="4905">
                  <c:v>-5.8823529411764497E-3</c:v>
                </c:pt>
                <c:pt idx="4906">
                  <c:v>-5.8823529411764497E-3</c:v>
                </c:pt>
                <c:pt idx="4907">
                  <c:v>-5.8823529411764497E-3</c:v>
                </c:pt>
                <c:pt idx="4908">
                  <c:v>-5.8823529411764497E-3</c:v>
                </c:pt>
                <c:pt idx="4909">
                  <c:v>-5.8823529411764497E-3</c:v>
                </c:pt>
                <c:pt idx="4910">
                  <c:v>-5.8823529411764497E-3</c:v>
                </c:pt>
                <c:pt idx="4911">
                  <c:v>-6.7226890756302204E-3</c:v>
                </c:pt>
                <c:pt idx="4912">
                  <c:v>-6.7226890756302204E-3</c:v>
                </c:pt>
                <c:pt idx="4913">
                  <c:v>-6.7226890756302204E-3</c:v>
                </c:pt>
                <c:pt idx="4914">
                  <c:v>-6.7226890756302204E-3</c:v>
                </c:pt>
                <c:pt idx="4915">
                  <c:v>-6.7226890756302204E-3</c:v>
                </c:pt>
                <c:pt idx="4916">
                  <c:v>-6.7226890756302204E-3</c:v>
                </c:pt>
                <c:pt idx="4917">
                  <c:v>-6.7226890756302204E-3</c:v>
                </c:pt>
                <c:pt idx="4918">
                  <c:v>-6.7226890756302204E-3</c:v>
                </c:pt>
                <c:pt idx="4919">
                  <c:v>-6.7226890756302204E-3</c:v>
                </c:pt>
                <c:pt idx="4920">
                  <c:v>-6.7226890756302204E-3</c:v>
                </c:pt>
                <c:pt idx="4921">
                  <c:v>-6.7226890756302204E-3</c:v>
                </c:pt>
                <c:pt idx="4922">
                  <c:v>-6.7226890756302204E-3</c:v>
                </c:pt>
                <c:pt idx="4923">
                  <c:v>-6.7226890756302204E-3</c:v>
                </c:pt>
                <c:pt idx="4924">
                  <c:v>-6.7226890756302204E-3</c:v>
                </c:pt>
                <c:pt idx="4925">
                  <c:v>-6.7226890756302204E-3</c:v>
                </c:pt>
                <c:pt idx="4926">
                  <c:v>-6.7226890756302204E-3</c:v>
                </c:pt>
                <c:pt idx="4927">
                  <c:v>-6.7226890756302204E-3</c:v>
                </c:pt>
                <c:pt idx="4928">
                  <c:v>-6.7226890756302204E-3</c:v>
                </c:pt>
                <c:pt idx="4929">
                  <c:v>-6.7226890756302204E-3</c:v>
                </c:pt>
                <c:pt idx="4930">
                  <c:v>-6.7226890756302204E-3</c:v>
                </c:pt>
                <c:pt idx="4931">
                  <c:v>-6.7226890756302204E-3</c:v>
                </c:pt>
                <c:pt idx="4932">
                  <c:v>-6.7226890756302204E-3</c:v>
                </c:pt>
                <c:pt idx="4933">
                  <c:v>-6.7226890756302204E-3</c:v>
                </c:pt>
                <c:pt idx="4934">
                  <c:v>-6.7226890756302204E-3</c:v>
                </c:pt>
                <c:pt idx="4935">
                  <c:v>-6.7226890756302204E-3</c:v>
                </c:pt>
                <c:pt idx="4936">
                  <c:v>-6.7226890756302204E-3</c:v>
                </c:pt>
                <c:pt idx="4937">
                  <c:v>-5.8823529411764497E-3</c:v>
                </c:pt>
                <c:pt idx="4938">
                  <c:v>-5.8823529411764497E-3</c:v>
                </c:pt>
                <c:pt idx="4939">
                  <c:v>-5.8823529411764497E-3</c:v>
                </c:pt>
                <c:pt idx="4940">
                  <c:v>-6.7226890756302204E-3</c:v>
                </c:pt>
                <c:pt idx="4941">
                  <c:v>-6.7226890756302204E-3</c:v>
                </c:pt>
                <c:pt idx="4942">
                  <c:v>-6.7226890756302204E-3</c:v>
                </c:pt>
                <c:pt idx="4943">
                  <c:v>-6.7226890756302204E-3</c:v>
                </c:pt>
                <c:pt idx="4944">
                  <c:v>-6.7226890756302204E-3</c:v>
                </c:pt>
                <c:pt idx="4945">
                  <c:v>-6.7226890756302204E-3</c:v>
                </c:pt>
                <c:pt idx="4946">
                  <c:v>-6.7226890756302204E-3</c:v>
                </c:pt>
                <c:pt idx="4947">
                  <c:v>-6.7226890756302204E-3</c:v>
                </c:pt>
                <c:pt idx="4948">
                  <c:v>-6.7226890756302204E-3</c:v>
                </c:pt>
                <c:pt idx="4949">
                  <c:v>-6.7226890756302204E-3</c:v>
                </c:pt>
                <c:pt idx="4950">
                  <c:v>-6.7226890756302204E-3</c:v>
                </c:pt>
                <c:pt idx="4951">
                  <c:v>-6.7226890756302204E-3</c:v>
                </c:pt>
                <c:pt idx="4952">
                  <c:v>-6.7226890756302204E-3</c:v>
                </c:pt>
                <c:pt idx="4953">
                  <c:v>-6.7226890756302204E-3</c:v>
                </c:pt>
                <c:pt idx="4954">
                  <c:v>-6.7226890756302204E-3</c:v>
                </c:pt>
                <c:pt idx="4955">
                  <c:v>-6.7226890756302204E-3</c:v>
                </c:pt>
                <c:pt idx="4956">
                  <c:v>-6.7226890756302204E-3</c:v>
                </c:pt>
                <c:pt idx="4957">
                  <c:v>-6.7226890756302204E-3</c:v>
                </c:pt>
                <c:pt idx="4958">
                  <c:v>-6.7226890756302204E-3</c:v>
                </c:pt>
                <c:pt idx="4959">
                  <c:v>-6.7226890756302204E-3</c:v>
                </c:pt>
                <c:pt idx="4960">
                  <c:v>-6.7226890756302204E-3</c:v>
                </c:pt>
                <c:pt idx="4961">
                  <c:v>-6.7226890756302204E-3</c:v>
                </c:pt>
                <c:pt idx="4962">
                  <c:v>-6.7226890756302204E-3</c:v>
                </c:pt>
                <c:pt idx="4963">
                  <c:v>-6.7226890756302204E-3</c:v>
                </c:pt>
                <c:pt idx="4964">
                  <c:v>-6.7226890756302204E-3</c:v>
                </c:pt>
                <c:pt idx="4965">
                  <c:v>-6.7226890756302204E-3</c:v>
                </c:pt>
                <c:pt idx="4966">
                  <c:v>-6.7226890756302204E-3</c:v>
                </c:pt>
                <c:pt idx="4967">
                  <c:v>-6.7226890756302204E-3</c:v>
                </c:pt>
                <c:pt idx="4968">
                  <c:v>-6.7226890756302204E-3</c:v>
                </c:pt>
                <c:pt idx="4969">
                  <c:v>-6.7226890756302204E-3</c:v>
                </c:pt>
                <c:pt idx="4970">
                  <c:v>-6.7226890756302204E-3</c:v>
                </c:pt>
                <c:pt idx="4971">
                  <c:v>-6.7226890756302204E-3</c:v>
                </c:pt>
                <c:pt idx="4972">
                  <c:v>-6.7226890756302204E-3</c:v>
                </c:pt>
                <c:pt idx="4973">
                  <c:v>-6.7226890756302204E-3</c:v>
                </c:pt>
                <c:pt idx="4974">
                  <c:v>-6.7226890756302204E-3</c:v>
                </c:pt>
                <c:pt idx="4975">
                  <c:v>-6.7226890756302204E-3</c:v>
                </c:pt>
                <c:pt idx="4976">
                  <c:v>-6.7226890756302204E-3</c:v>
                </c:pt>
                <c:pt idx="4977">
                  <c:v>-6.7226890756302204E-3</c:v>
                </c:pt>
                <c:pt idx="4978">
                  <c:v>-6.7226890756302204E-3</c:v>
                </c:pt>
                <c:pt idx="4979">
                  <c:v>-6.7226890756302204E-3</c:v>
                </c:pt>
                <c:pt idx="4980">
                  <c:v>-6.7226890756302204E-3</c:v>
                </c:pt>
                <c:pt idx="4981">
                  <c:v>-6.7226890756302204E-3</c:v>
                </c:pt>
                <c:pt idx="4982">
                  <c:v>-6.7226890756302204E-3</c:v>
                </c:pt>
                <c:pt idx="4983">
                  <c:v>-7.5630252100839998E-3</c:v>
                </c:pt>
                <c:pt idx="4984">
                  <c:v>-7.5630252100839998E-3</c:v>
                </c:pt>
                <c:pt idx="4985">
                  <c:v>-7.5630252100839998E-3</c:v>
                </c:pt>
                <c:pt idx="4986">
                  <c:v>-7.5630252100839998E-3</c:v>
                </c:pt>
                <c:pt idx="4987">
                  <c:v>-7.5630252100839998E-3</c:v>
                </c:pt>
                <c:pt idx="4988">
                  <c:v>-7.5630252100839998E-3</c:v>
                </c:pt>
                <c:pt idx="4989">
                  <c:v>-7.5630252100839998E-3</c:v>
                </c:pt>
                <c:pt idx="4990">
                  <c:v>-6.7226890756302204E-3</c:v>
                </c:pt>
                <c:pt idx="4991">
                  <c:v>-6.7226890756302204E-3</c:v>
                </c:pt>
                <c:pt idx="4992">
                  <c:v>-6.7226890756302204E-3</c:v>
                </c:pt>
                <c:pt idx="4993">
                  <c:v>-6.7226890756302204E-3</c:v>
                </c:pt>
                <c:pt idx="4994">
                  <c:v>-6.7226890756302204E-3</c:v>
                </c:pt>
                <c:pt idx="4995">
                  <c:v>-6.7226890756302204E-3</c:v>
                </c:pt>
                <c:pt idx="4996">
                  <c:v>-6.7226890756302204E-3</c:v>
                </c:pt>
                <c:pt idx="4997">
                  <c:v>-6.7226890756302204E-3</c:v>
                </c:pt>
                <c:pt idx="4998">
                  <c:v>-6.7226890756302204E-3</c:v>
                </c:pt>
                <c:pt idx="4999">
                  <c:v>-6.7226890756302204E-3</c:v>
                </c:pt>
                <c:pt idx="5000">
                  <c:v>-6.7226890756302204E-3</c:v>
                </c:pt>
                <c:pt idx="5001">
                  <c:v>-6.7226890756302204E-3</c:v>
                </c:pt>
                <c:pt idx="5002">
                  <c:v>-6.7226890756302204E-3</c:v>
                </c:pt>
                <c:pt idx="5003">
                  <c:v>-6.7226890756302204E-3</c:v>
                </c:pt>
                <c:pt idx="5004">
                  <c:v>-6.7226890756302204E-3</c:v>
                </c:pt>
                <c:pt idx="5005">
                  <c:v>-6.7226890756302204E-3</c:v>
                </c:pt>
                <c:pt idx="5006">
                  <c:v>-5.8823529411764497E-3</c:v>
                </c:pt>
                <c:pt idx="5007">
                  <c:v>-5.8823529411764497E-3</c:v>
                </c:pt>
                <c:pt idx="5008">
                  <c:v>-5.8823529411764497E-3</c:v>
                </c:pt>
                <c:pt idx="5009">
                  <c:v>-5.8823529411764497E-3</c:v>
                </c:pt>
                <c:pt idx="5010">
                  <c:v>-5.8823529411764497E-3</c:v>
                </c:pt>
                <c:pt idx="5011">
                  <c:v>-5.8823529411764497E-3</c:v>
                </c:pt>
                <c:pt idx="5012">
                  <c:v>-5.8823529411764497E-3</c:v>
                </c:pt>
                <c:pt idx="5013">
                  <c:v>-5.8823529411764497E-3</c:v>
                </c:pt>
                <c:pt idx="5014">
                  <c:v>-5.8823529411764497E-3</c:v>
                </c:pt>
                <c:pt idx="5015">
                  <c:v>-5.8823529411764497E-3</c:v>
                </c:pt>
                <c:pt idx="5016">
                  <c:v>-5.8823529411764497E-3</c:v>
                </c:pt>
                <c:pt idx="5017">
                  <c:v>-5.8823529411764497E-3</c:v>
                </c:pt>
                <c:pt idx="5018">
                  <c:v>-5.8823529411764497E-3</c:v>
                </c:pt>
                <c:pt idx="5019">
                  <c:v>-5.8823529411764497E-3</c:v>
                </c:pt>
                <c:pt idx="5020">
                  <c:v>-5.8823529411764497E-3</c:v>
                </c:pt>
                <c:pt idx="5021">
                  <c:v>-5.8823529411764497E-3</c:v>
                </c:pt>
                <c:pt idx="5022">
                  <c:v>-5.8823529411764497E-3</c:v>
                </c:pt>
                <c:pt idx="5023">
                  <c:v>-5.8823529411764497E-3</c:v>
                </c:pt>
                <c:pt idx="5024">
                  <c:v>-5.8823529411764497E-3</c:v>
                </c:pt>
                <c:pt idx="5025">
                  <c:v>-5.8823529411764497E-3</c:v>
                </c:pt>
                <c:pt idx="5026">
                  <c:v>-5.8823529411764497E-3</c:v>
                </c:pt>
                <c:pt idx="5027">
                  <c:v>-5.8823529411764497E-3</c:v>
                </c:pt>
                <c:pt idx="5028">
                  <c:v>-5.8823529411764497E-3</c:v>
                </c:pt>
                <c:pt idx="5029">
                  <c:v>-5.8823529411764497E-3</c:v>
                </c:pt>
                <c:pt idx="5030">
                  <c:v>-5.8823529411764497E-3</c:v>
                </c:pt>
                <c:pt idx="5031">
                  <c:v>-6.7226890756302204E-3</c:v>
                </c:pt>
                <c:pt idx="5032">
                  <c:v>-6.7226890756302204E-3</c:v>
                </c:pt>
                <c:pt idx="5033">
                  <c:v>-6.7226890756302204E-3</c:v>
                </c:pt>
                <c:pt idx="5034">
                  <c:v>-6.7226890756302204E-3</c:v>
                </c:pt>
                <c:pt idx="5035">
                  <c:v>-6.7226890756302204E-3</c:v>
                </c:pt>
                <c:pt idx="5036">
                  <c:v>-6.7226890756302204E-3</c:v>
                </c:pt>
                <c:pt idx="5037">
                  <c:v>-6.7226890756302204E-3</c:v>
                </c:pt>
                <c:pt idx="5038">
                  <c:v>-6.7226890756302204E-3</c:v>
                </c:pt>
                <c:pt idx="5039">
                  <c:v>-6.7226890756302204E-3</c:v>
                </c:pt>
                <c:pt idx="5040">
                  <c:v>-6.7226890756302204E-3</c:v>
                </c:pt>
                <c:pt idx="5041">
                  <c:v>-6.7226890756302204E-3</c:v>
                </c:pt>
                <c:pt idx="5042">
                  <c:v>-6.7226890756302204E-3</c:v>
                </c:pt>
                <c:pt idx="5043">
                  <c:v>-6.7226890756302204E-3</c:v>
                </c:pt>
                <c:pt idx="5044">
                  <c:v>-6.7226890756302204E-3</c:v>
                </c:pt>
                <c:pt idx="5045">
                  <c:v>-6.7226890756302204E-3</c:v>
                </c:pt>
                <c:pt idx="5046">
                  <c:v>-6.7226890756302204E-3</c:v>
                </c:pt>
                <c:pt idx="5047">
                  <c:v>-6.7226890756302204E-3</c:v>
                </c:pt>
                <c:pt idx="5048">
                  <c:v>-6.7226890756302204E-3</c:v>
                </c:pt>
                <c:pt idx="5049">
                  <c:v>-6.7226890756302204E-3</c:v>
                </c:pt>
                <c:pt idx="5050">
                  <c:v>-6.7226890756302204E-3</c:v>
                </c:pt>
                <c:pt idx="5051">
                  <c:v>-6.7226890756302204E-3</c:v>
                </c:pt>
                <c:pt idx="5052">
                  <c:v>-6.7226890756302204E-3</c:v>
                </c:pt>
                <c:pt idx="5053">
                  <c:v>-6.7226890756302204E-3</c:v>
                </c:pt>
                <c:pt idx="5054">
                  <c:v>-6.7226890756302204E-3</c:v>
                </c:pt>
                <c:pt idx="5055">
                  <c:v>-6.7226890756302204E-3</c:v>
                </c:pt>
                <c:pt idx="5056">
                  <c:v>-6.7226890756302204E-3</c:v>
                </c:pt>
                <c:pt idx="5057">
                  <c:v>-6.7226890756302204E-3</c:v>
                </c:pt>
                <c:pt idx="5058">
                  <c:v>-6.7226890756302204E-3</c:v>
                </c:pt>
                <c:pt idx="5059">
                  <c:v>-6.7226890756302204E-3</c:v>
                </c:pt>
                <c:pt idx="5060">
                  <c:v>-6.7226890756302204E-3</c:v>
                </c:pt>
                <c:pt idx="5061">
                  <c:v>-6.7226890756302204E-3</c:v>
                </c:pt>
                <c:pt idx="5062">
                  <c:v>-6.7226890756302204E-3</c:v>
                </c:pt>
                <c:pt idx="5063">
                  <c:v>-6.7226890756302204E-3</c:v>
                </c:pt>
                <c:pt idx="5064">
                  <c:v>-6.7226890756302204E-3</c:v>
                </c:pt>
                <c:pt idx="5065">
                  <c:v>-6.7226890756302204E-3</c:v>
                </c:pt>
                <c:pt idx="5066">
                  <c:v>-6.7226890756302204E-3</c:v>
                </c:pt>
                <c:pt idx="5067">
                  <c:v>-6.7226890756302204E-3</c:v>
                </c:pt>
                <c:pt idx="5068">
                  <c:v>-6.7226890756302204E-3</c:v>
                </c:pt>
                <c:pt idx="5069">
                  <c:v>-6.7226890756302204E-3</c:v>
                </c:pt>
                <c:pt idx="5070">
                  <c:v>-6.7226890756302204E-3</c:v>
                </c:pt>
                <c:pt idx="5071">
                  <c:v>-6.7226890756302204E-3</c:v>
                </c:pt>
                <c:pt idx="5072">
                  <c:v>-7.5630252100839998E-3</c:v>
                </c:pt>
                <c:pt idx="5073">
                  <c:v>-7.5630252100839998E-3</c:v>
                </c:pt>
                <c:pt idx="5074">
                  <c:v>-7.5630252100839998E-3</c:v>
                </c:pt>
                <c:pt idx="5075">
                  <c:v>-7.5630252100839998E-3</c:v>
                </c:pt>
                <c:pt idx="5076">
                  <c:v>-7.5630252100839998E-3</c:v>
                </c:pt>
                <c:pt idx="5077">
                  <c:v>-7.5630252100839998E-3</c:v>
                </c:pt>
                <c:pt idx="5078">
                  <c:v>-7.5630252100839998E-3</c:v>
                </c:pt>
                <c:pt idx="5079">
                  <c:v>-7.5630252100839998E-3</c:v>
                </c:pt>
                <c:pt idx="5080">
                  <c:v>-7.5630252100839998E-3</c:v>
                </c:pt>
                <c:pt idx="5081">
                  <c:v>-7.5630252100839998E-3</c:v>
                </c:pt>
                <c:pt idx="5082">
                  <c:v>-8.4033613445377801E-3</c:v>
                </c:pt>
                <c:pt idx="5083">
                  <c:v>-8.4033613445377801E-3</c:v>
                </c:pt>
                <c:pt idx="5084">
                  <c:v>-8.4033613445377801E-3</c:v>
                </c:pt>
                <c:pt idx="5085">
                  <c:v>-8.4033613445377801E-3</c:v>
                </c:pt>
                <c:pt idx="5086">
                  <c:v>-9.2436974789916193E-3</c:v>
                </c:pt>
                <c:pt idx="5087">
                  <c:v>-9.2436974789916193E-3</c:v>
                </c:pt>
                <c:pt idx="5088">
                  <c:v>-9.2436974789916193E-3</c:v>
                </c:pt>
                <c:pt idx="5089">
                  <c:v>-9.2436974789916193E-3</c:v>
                </c:pt>
                <c:pt idx="5090">
                  <c:v>-9.2436974789916193E-3</c:v>
                </c:pt>
                <c:pt idx="5091">
                  <c:v>-9.2436974789916193E-3</c:v>
                </c:pt>
                <c:pt idx="5092">
                  <c:v>-9.2436974789916193E-3</c:v>
                </c:pt>
                <c:pt idx="5093">
                  <c:v>-9.2436974789916193E-3</c:v>
                </c:pt>
                <c:pt idx="5094">
                  <c:v>-9.2436974789916193E-3</c:v>
                </c:pt>
                <c:pt idx="5095">
                  <c:v>-9.2436974789916193E-3</c:v>
                </c:pt>
                <c:pt idx="5096">
                  <c:v>-9.2436974789916193E-3</c:v>
                </c:pt>
                <c:pt idx="5097">
                  <c:v>-9.2436974789916193E-3</c:v>
                </c:pt>
                <c:pt idx="5098">
                  <c:v>-9.2436974789916193E-3</c:v>
                </c:pt>
                <c:pt idx="5099">
                  <c:v>-9.2436974789916193E-3</c:v>
                </c:pt>
                <c:pt idx="5100">
                  <c:v>-9.2436974789916193E-3</c:v>
                </c:pt>
                <c:pt idx="5101">
                  <c:v>-9.2436974789916193E-3</c:v>
                </c:pt>
                <c:pt idx="5102">
                  <c:v>-9.2436974789916193E-3</c:v>
                </c:pt>
                <c:pt idx="5103">
                  <c:v>-9.2436974789916193E-3</c:v>
                </c:pt>
                <c:pt idx="5104">
                  <c:v>-9.2436974789916193E-3</c:v>
                </c:pt>
                <c:pt idx="5105">
                  <c:v>-9.2436974789916193E-3</c:v>
                </c:pt>
                <c:pt idx="5106">
                  <c:v>-9.2436974789916193E-3</c:v>
                </c:pt>
                <c:pt idx="5107">
                  <c:v>-9.2436974789916193E-3</c:v>
                </c:pt>
                <c:pt idx="5108">
                  <c:v>-9.2436974789916193E-3</c:v>
                </c:pt>
                <c:pt idx="5109">
                  <c:v>-9.2436974789916193E-3</c:v>
                </c:pt>
                <c:pt idx="5110">
                  <c:v>-9.2436974789916193E-3</c:v>
                </c:pt>
                <c:pt idx="5111">
                  <c:v>-9.2436974789916193E-3</c:v>
                </c:pt>
                <c:pt idx="5112">
                  <c:v>-9.2436974789916193E-3</c:v>
                </c:pt>
                <c:pt idx="5113">
                  <c:v>-8.4033613445378408E-3</c:v>
                </c:pt>
                <c:pt idx="5114">
                  <c:v>-8.4033613445378408E-3</c:v>
                </c:pt>
                <c:pt idx="5115">
                  <c:v>-8.4033613445378408E-3</c:v>
                </c:pt>
                <c:pt idx="5116">
                  <c:v>-8.4033613445378408E-3</c:v>
                </c:pt>
                <c:pt idx="5117">
                  <c:v>-8.4033613445378408E-3</c:v>
                </c:pt>
                <c:pt idx="5118">
                  <c:v>-8.4033613445378408E-3</c:v>
                </c:pt>
                <c:pt idx="5119">
                  <c:v>-8.4033613445378408E-3</c:v>
                </c:pt>
                <c:pt idx="5120">
                  <c:v>-8.4033613445378408E-3</c:v>
                </c:pt>
                <c:pt idx="5121">
                  <c:v>-8.4033613445378408E-3</c:v>
                </c:pt>
                <c:pt idx="5122">
                  <c:v>-8.4033613445378408E-3</c:v>
                </c:pt>
                <c:pt idx="5123">
                  <c:v>-8.4033613445378408E-3</c:v>
                </c:pt>
                <c:pt idx="5124">
                  <c:v>-8.4033613445378408E-3</c:v>
                </c:pt>
                <c:pt idx="5125">
                  <c:v>-8.4033613445378408E-3</c:v>
                </c:pt>
                <c:pt idx="5126">
                  <c:v>-8.4033613445378408E-3</c:v>
                </c:pt>
                <c:pt idx="5127">
                  <c:v>-8.4033613445378408E-3</c:v>
                </c:pt>
                <c:pt idx="5128">
                  <c:v>-8.4033613445378408E-3</c:v>
                </c:pt>
                <c:pt idx="5129">
                  <c:v>-8.4033613445378408E-3</c:v>
                </c:pt>
                <c:pt idx="5130">
                  <c:v>-8.4033613445378408E-3</c:v>
                </c:pt>
                <c:pt idx="5131">
                  <c:v>-8.4033613445378408E-3</c:v>
                </c:pt>
                <c:pt idx="5132">
                  <c:v>-7.5630252100840597E-3</c:v>
                </c:pt>
                <c:pt idx="5133">
                  <c:v>-7.5630252100840597E-3</c:v>
                </c:pt>
                <c:pt idx="5134">
                  <c:v>-7.5630252100840597E-3</c:v>
                </c:pt>
                <c:pt idx="5135">
                  <c:v>-7.5630252100840597E-3</c:v>
                </c:pt>
                <c:pt idx="5136">
                  <c:v>-7.5630252100840597E-3</c:v>
                </c:pt>
                <c:pt idx="5137">
                  <c:v>-8.4033613445378408E-3</c:v>
                </c:pt>
                <c:pt idx="5138">
                  <c:v>-8.4033613445378408E-3</c:v>
                </c:pt>
                <c:pt idx="5139">
                  <c:v>-8.4033613445378408E-3</c:v>
                </c:pt>
                <c:pt idx="5140">
                  <c:v>-8.4033613445378408E-3</c:v>
                </c:pt>
                <c:pt idx="5141">
                  <c:v>-8.4033613445378408E-3</c:v>
                </c:pt>
                <c:pt idx="5142">
                  <c:v>-8.4033613445378408E-3</c:v>
                </c:pt>
                <c:pt idx="5143">
                  <c:v>-8.4033613445378408E-3</c:v>
                </c:pt>
                <c:pt idx="5144">
                  <c:v>-8.4033613445378408E-3</c:v>
                </c:pt>
                <c:pt idx="5145">
                  <c:v>-8.4033613445378408E-3</c:v>
                </c:pt>
                <c:pt idx="5146">
                  <c:v>-8.4033613445378408E-3</c:v>
                </c:pt>
                <c:pt idx="5147">
                  <c:v>-8.4033613445378408E-3</c:v>
                </c:pt>
                <c:pt idx="5148">
                  <c:v>-8.4033613445378408E-3</c:v>
                </c:pt>
                <c:pt idx="5149">
                  <c:v>-8.4033613445378408E-3</c:v>
                </c:pt>
                <c:pt idx="5150">
                  <c:v>-8.4033613445378408E-3</c:v>
                </c:pt>
                <c:pt idx="5151">
                  <c:v>-8.4033613445378408E-3</c:v>
                </c:pt>
                <c:pt idx="5152">
                  <c:v>-8.4033613445378408E-3</c:v>
                </c:pt>
                <c:pt idx="5153">
                  <c:v>-8.4033613445378408E-3</c:v>
                </c:pt>
                <c:pt idx="5154">
                  <c:v>-8.4033613445378408E-3</c:v>
                </c:pt>
                <c:pt idx="5155">
                  <c:v>-8.4033613445378408E-3</c:v>
                </c:pt>
                <c:pt idx="5156">
                  <c:v>-8.4033613445378408E-3</c:v>
                </c:pt>
                <c:pt idx="5157">
                  <c:v>-8.4033613445378408E-3</c:v>
                </c:pt>
                <c:pt idx="5158">
                  <c:v>-8.4033613445378408E-3</c:v>
                </c:pt>
                <c:pt idx="5159">
                  <c:v>-8.4033613445378408E-3</c:v>
                </c:pt>
                <c:pt idx="5160">
                  <c:v>-8.4033613445378408E-3</c:v>
                </c:pt>
                <c:pt idx="5161">
                  <c:v>-8.4033613445378408E-3</c:v>
                </c:pt>
                <c:pt idx="5162">
                  <c:v>-8.4033613445378408E-3</c:v>
                </c:pt>
                <c:pt idx="5163">
                  <c:v>-8.4033613445378408E-3</c:v>
                </c:pt>
                <c:pt idx="5164">
                  <c:v>-8.4033613445378408E-3</c:v>
                </c:pt>
                <c:pt idx="5165">
                  <c:v>-8.4033613445378408E-3</c:v>
                </c:pt>
                <c:pt idx="5166">
                  <c:v>-8.4033613445378408E-3</c:v>
                </c:pt>
                <c:pt idx="5167">
                  <c:v>-8.4033613445378408E-3</c:v>
                </c:pt>
                <c:pt idx="5168">
                  <c:v>-8.4033613445378408E-3</c:v>
                </c:pt>
                <c:pt idx="5169">
                  <c:v>-9.2436974789916193E-3</c:v>
                </c:pt>
                <c:pt idx="5170">
                  <c:v>-9.2436974789916193E-3</c:v>
                </c:pt>
                <c:pt idx="5171">
                  <c:v>-9.2436974789916193E-3</c:v>
                </c:pt>
                <c:pt idx="5172">
                  <c:v>-9.2436974789916193E-3</c:v>
                </c:pt>
                <c:pt idx="5173">
                  <c:v>-9.2436974789916193E-3</c:v>
                </c:pt>
                <c:pt idx="5174">
                  <c:v>-9.2436974789916193E-3</c:v>
                </c:pt>
                <c:pt idx="5175">
                  <c:v>-9.2436974789916193E-3</c:v>
                </c:pt>
                <c:pt idx="5176">
                  <c:v>-9.2436974789916193E-3</c:v>
                </c:pt>
                <c:pt idx="5177">
                  <c:v>-9.2436974789916193E-3</c:v>
                </c:pt>
                <c:pt idx="5178">
                  <c:v>-9.2436974789916193E-3</c:v>
                </c:pt>
                <c:pt idx="5179">
                  <c:v>-9.2436974789916193E-3</c:v>
                </c:pt>
                <c:pt idx="5180">
                  <c:v>-9.2436974789916193E-3</c:v>
                </c:pt>
                <c:pt idx="5181">
                  <c:v>-1.0084033613445301E-2</c:v>
                </c:pt>
                <c:pt idx="5182">
                  <c:v>-1.0084033613445301E-2</c:v>
                </c:pt>
                <c:pt idx="5183">
                  <c:v>-1.0084033613445301E-2</c:v>
                </c:pt>
                <c:pt idx="5184">
                  <c:v>-1.09243697478991E-2</c:v>
                </c:pt>
                <c:pt idx="5185">
                  <c:v>-1.09243697478991E-2</c:v>
                </c:pt>
                <c:pt idx="5186">
                  <c:v>-1.09243697478991E-2</c:v>
                </c:pt>
                <c:pt idx="5187">
                  <c:v>-1.09243697478991E-2</c:v>
                </c:pt>
                <c:pt idx="5188">
                  <c:v>-1.1764705882352899E-2</c:v>
                </c:pt>
                <c:pt idx="5189">
                  <c:v>-1.1764705882352899E-2</c:v>
                </c:pt>
                <c:pt idx="5190">
                  <c:v>-1.1764705882352899E-2</c:v>
                </c:pt>
                <c:pt idx="5191">
                  <c:v>-1.1764705882352899E-2</c:v>
                </c:pt>
                <c:pt idx="5192">
                  <c:v>-1.1764705882352899E-2</c:v>
                </c:pt>
                <c:pt idx="5193">
                  <c:v>-1.26050420168067E-2</c:v>
                </c:pt>
                <c:pt idx="5194">
                  <c:v>-1.26050420168067E-2</c:v>
                </c:pt>
                <c:pt idx="5195">
                  <c:v>-1.26050420168067E-2</c:v>
                </c:pt>
                <c:pt idx="5196">
                  <c:v>-1.26050420168067E-2</c:v>
                </c:pt>
                <c:pt idx="5197">
                  <c:v>-1.26050420168067E-2</c:v>
                </c:pt>
                <c:pt idx="5198">
                  <c:v>-1.26050420168067E-2</c:v>
                </c:pt>
                <c:pt idx="5199">
                  <c:v>-1.26050420168067E-2</c:v>
                </c:pt>
                <c:pt idx="5200">
                  <c:v>-1.26050420168067E-2</c:v>
                </c:pt>
                <c:pt idx="5201">
                  <c:v>-1.26050420168067E-2</c:v>
                </c:pt>
                <c:pt idx="5202">
                  <c:v>-1.26050420168067E-2</c:v>
                </c:pt>
                <c:pt idx="5203">
                  <c:v>-1.26050420168067E-2</c:v>
                </c:pt>
                <c:pt idx="5204">
                  <c:v>-1.26050420168067E-2</c:v>
                </c:pt>
                <c:pt idx="5205">
                  <c:v>-1.26050420168067E-2</c:v>
                </c:pt>
                <c:pt idx="5206">
                  <c:v>-1.34453781512605E-2</c:v>
                </c:pt>
                <c:pt idx="5207">
                  <c:v>-1.26050420168067E-2</c:v>
                </c:pt>
                <c:pt idx="5208">
                  <c:v>-1.26050420168067E-2</c:v>
                </c:pt>
                <c:pt idx="5209">
                  <c:v>-1.26050420168067E-2</c:v>
                </c:pt>
                <c:pt idx="5210">
                  <c:v>-1.26050420168067E-2</c:v>
                </c:pt>
                <c:pt idx="5211">
                  <c:v>-1.26050420168067E-2</c:v>
                </c:pt>
                <c:pt idx="5212">
                  <c:v>-1.34453781512605E-2</c:v>
                </c:pt>
                <c:pt idx="5213">
                  <c:v>-1.34453781512605E-2</c:v>
                </c:pt>
                <c:pt idx="5214">
                  <c:v>-1.34453781512605E-2</c:v>
                </c:pt>
                <c:pt idx="5215">
                  <c:v>-1.34453781512605E-2</c:v>
                </c:pt>
                <c:pt idx="5216">
                  <c:v>-1.34453781512605E-2</c:v>
                </c:pt>
                <c:pt idx="5217">
                  <c:v>-1.34453781512605E-2</c:v>
                </c:pt>
                <c:pt idx="5218">
                  <c:v>-1.34453781512605E-2</c:v>
                </c:pt>
                <c:pt idx="5219">
                  <c:v>-1.34453781512605E-2</c:v>
                </c:pt>
                <c:pt idx="5220">
                  <c:v>-1.42857142857142E-2</c:v>
                </c:pt>
                <c:pt idx="5221">
                  <c:v>-1.42857142857142E-2</c:v>
                </c:pt>
                <c:pt idx="5222">
                  <c:v>-1.42857142857142E-2</c:v>
                </c:pt>
                <c:pt idx="5223">
                  <c:v>-1.42857142857142E-2</c:v>
                </c:pt>
                <c:pt idx="5224">
                  <c:v>-1.42857142857142E-2</c:v>
                </c:pt>
                <c:pt idx="5225">
                  <c:v>-1.42857142857142E-2</c:v>
                </c:pt>
                <c:pt idx="5226">
                  <c:v>-1.42857142857142E-2</c:v>
                </c:pt>
                <c:pt idx="5227">
                  <c:v>-1.42857142857142E-2</c:v>
                </c:pt>
                <c:pt idx="5228">
                  <c:v>-1.42857142857142E-2</c:v>
                </c:pt>
                <c:pt idx="5229">
                  <c:v>-1.42857142857142E-2</c:v>
                </c:pt>
                <c:pt idx="5230">
                  <c:v>-1.42857142857142E-2</c:v>
                </c:pt>
                <c:pt idx="5231">
                  <c:v>-1.42857142857142E-2</c:v>
                </c:pt>
                <c:pt idx="5232">
                  <c:v>-1.42857142857142E-2</c:v>
                </c:pt>
                <c:pt idx="5233">
                  <c:v>-1.42857142857142E-2</c:v>
                </c:pt>
                <c:pt idx="5234">
                  <c:v>-1.42857142857142E-2</c:v>
                </c:pt>
                <c:pt idx="5235">
                  <c:v>-1.42857142857142E-2</c:v>
                </c:pt>
                <c:pt idx="5236">
                  <c:v>-1.42857142857142E-2</c:v>
                </c:pt>
                <c:pt idx="5237">
                  <c:v>-1.42857142857142E-2</c:v>
                </c:pt>
                <c:pt idx="5238">
                  <c:v>-1.42857142857142E-2</c:v>
                </c:pt>
                <c:pt idx="5239">
                  <c:v>-1.42857142857142E-2</c:v>
                </c:pt>
                <c:pt idx="5240">
                  <c:v>-1.42857142857142E-2</c:v>
                </c:pt>
                <c:pt idx="5241">
                  <c:v>-1.42857142857142E-2</c:v>
                </c:pt>
                <c:pt idx="5242">
                  <c:v>-1.42857142857142E-2</c:v>
                </c:pt>
                <c:pt idx="5243">
                  <c:v>-1.42857142857142E-2</c:v>
                </c:pt>
                <c:pt idx="5244">
                  <c:v>-1.42857142857142E-2</c:v>
                </c:pt>
                <c:pt idx="5245">
                  <c:v>-1.42857142857142E-2</c:v>
                </c:pt>
                <c:pt idx="5246">
                  <c:v>-1.42857142857142E-2</c:v>
                </c:pt>
                <c:pt idx="5247">
                  <c:v>-1.42857142857142E-2</c:v>
                </c:pt>
                <c:pt idx="5248">
                  <c:v>-1.42857142857142E-2</c:v>
                </c:pt>
                <c:pt idx="5249">
                  <c:v>-1.42857142857142E-2</c:v>
                </c:pt>
                <c:pt idx="5250">
                  <c:v>-1.42857142857142E-2</c:v>
                </c:pt>
                <c:pt idx="5251">
                  <c:v>-1.42857142857142E-2</c:v>
                </c:pt>
                <c:pt idx="5252">
                  <c:v>-1.42857142857142E-2</c:v>
                </c:pt>
                <c:pt idx="5253">
                  <c:v>-1.42857142857142E-2</c:v>
                </c:pt>
                <c:pt idx="5254">
                  <c:v>-1.42857142857142E-2</c:v>
                </c:pt>
                <c:pt idx="5255">
                  <c:v>-1.42857142857142E-2</c:v>
                </c:pt>
                <c:pt idx="5256">
                  <c:v>-1.42857142857142E-2</c:v>
                </c:pt>
                <c:pt idx="5257">
                  <c:v>-1.42857142857142E-2</c:v>
                </c:pt>
                <c:pt idx="5258">
                  <c:v>-1.42857142857142E-2</c:v>
                </c:pt>
                <c:pt idx="5259">
                  <c:v>-1.42857142857142E-2</c:v>
                </c:pt>
                <c:pt idx="5260">
                  <c:v>-1.42857142857142E-2</c:v>
                </c:pt>
                <c:pt idx="5261">
                  <c:v>-1.42857142857142E-2</c:v>
                </c:pt>
                <c:pt idx="5262">
                  <c:v>-1.42857142857142E-2</c:v>
                </c:pt>
                <c:pt idx="5263">
                  <c:v>-1.42857142857142E-2</c:v>
                </c:pt>
                <c:pt idx="5264">
                  <c:v>-1.42857142857142E-2</c:v>
                </c:pt>
                <c:pt idx="5265">
                  <c:v>-1.42857142857142E-2</c:v>
                </c:pt>
                <c:pt idx="5266">
                  <c:v>-1.42857142857142E-2</c:v>
                </c:pt>
                <c:pt idx="5267">
                  <c:v>-1.42857142857142E-2</c:v>
                </c:pt>
                <c:pt idx="5268">
                  <c:v>-1.42857142857142E-2</c:v>
                </c:pt>
                <c:pt idx="5269">
                  <c:v>-1.42857142857142E-2</c:v>
                </c:pt>
                <c:pt idx="5270">
                  <c:v>-1.42857142857142E-2</c:v>
                </c:pt>
                <c:pt idx="5271">
                  <c:v>-1.5126050420168E-2</c:v>
                </c:pt>
                <c:pt idx="5272">
                  <c:v>-1.5126050420168E-2</c:v>
                </c:pt>
                <c:pt idx="5273">
                  <c:v>-1.5966386554621799E-2</c:v>
                </c:pt>
                <c:pt idx="5274">
                  <c:v>-1.5966386554621799E-2</c:v>
                </c:pt>
                <c:pt idx="5275">
                  <c:v>-1.5966386554621799E-2</c:v>
                </c:pt>
                <c:pt idx="5276">
                  <c:v>-1.5966386554621799E-2</c:v>
                </c:pt>
                <c:pt idx="5277">
                  <c:v>-1.5966386554621799E-2</c:v>
                </c:pt>
                <c:pt idx="5278">
                  <c:v>-1.5966386554621799E-2</c:v>
                </c:pt>
                <c:pt idx="5279">
                  <c:v>-1.5966386554621799E-2</c:v>
                </c:pt>
                <c:pt idx="5280">
                  <c:v>-1.5966386554621799E-2</c:v>
                </c:pt>
                <c:pt idx="5281">
                  <c:v>-1.5966386554621799E-2</c:v>
                </c:pt>
                <c:pt idx="5282">
                  <c:v>-1.5966386554621799E-2</c:v>
                </c:pt>
                <c:pt idx="5283">
                  <c:v>-1.5966386554621799E-2</c:v>
                </c:pt>
                <c:pt idx="5284">
                  <c:v>-1.5966386554621799E-2</c:v>
                </c:pt>
                <c:pt idx="5285">
                  <c:v>-1.5966386554621799E-2</c:v>
                </c:pt>
                <c:pt idx="5286">
                  <c:v>-1.5966386554621799E-2</c:v>
                </c:pt>
                <c:pt idx="5287">
                  <c:v>-1.5966386554621799E-2</c:v>
                </c:pt>
                <c:pt idx="5288">
                  <c:v>-1.5966386554621799E-2</c:v>
                </c:pt>
                <c:pt idx="5289">
                  <c:v>-1.5966386554621799E-2</c:v>
                </c:pt>
                <c:pt idx="5290">
                  <c:v>-1.6806722689075598E-2</c:v>
                </c:pt>
                <c:pt idx="5291">
                  <c:v>-1.6806722689075598E-2</c:v>
                </c:pt>
                <c:pt idx="5292">
                  <c:v>-1.6806722689075598E-2</c:v>
                </c:pt>
                <c:pt idx="5293">
                  <c:v>-1.6806722689075598E-2</c:v>
                </c:pt>
                <c:pt idx="5294">
                  <c:v>-1.6806722689075598E-2</c:v>
                </c:pt>
                <c:pt idx="5295">
                  <c:v>-1.6806722689075598E-2</c:v>
                </c:pt>
                <c:pt idx="5296">
                  <c:v>-1.6806722689075598E-2</c:v>
                </c:pt>
                <c:pt idx="5297">
                  <c:v>-1.6806722689075598E-2</c:v>
                </c:pt>
                <c:pt idx="5298">
                  <c:v>-1.6806722689075598E-2</c:v>
                </c:pt>
                <c:pt idx="5299">
                  <c:v>-1.6806722689075598E-2</c:v>
                </c:pt>
                <c:pt idx="5300">
                  <c:v>-1.6806722689075598E-2</c:v>
                </c:pt>
                <c:pt idx="5301">
                  <c:v>-1.6806722689075598E-2</c:v>
                </c:pt>
                <c:pt idx="5302">
                  <c:v>-1.6806722689075598E-2</c:v>
                </c:pt>
                <c:pt idx="5303">
                  <c:v>-1.6806722689075598E-2</c:v>
                </c:pt>
                <c:pt idx="5304">
                  <c:v>-1.5966386554621799E-2</c:v>
                </c:pt>
                <c:pt idx="5305">
                  <c:v>-1.5966386554621799E-2</c:v>
                </c:pt>
                <c:pt idx="5306">
                  <c:v>-1.5966386554621799E-2</c:v>
                </c:pt>
                <c:pt idx="5307">
                  <c:v>-1.5966386554621799E-2</c:v>
                </c:pt>
                <c:pt idx="5308">
                  <c:v>-1.5966386554621799E-2</c:v>
                </c:pt>
                <c:pt idx="5309">
                  <c:v>-1.5966386554621799E-2</c:v>
                </c:pt>
                <c:pt idx="5310">
                  <c:v>-1.5966386554621799E-2</c:v>
                </c:pt>
                <c:pt idx="5311">
                  <c:v>-1.5966386554621799E-2</c:v>
                </c:pt>
                <c:pt idx="5312">
                  <c:v>-1.5966386554621799E-2</c:v>
                </c:pt>
                <c:pt idx="5313">
                  <c:v>-1.5966386554621799E-2</c:v>
                </c:pt>
                <c:pt idx="5314">
                  <c:v>-1.5966386554621799E-2</c:v>
                </c:pt>
                <c:pt idx="5315">
                  <c:v>-1.5966386554621799E-2</c:v>
                </c:pt>
                <c:pt idx="5316">
                  <c:v>-1.5966386554621799E-2</c:v>
                </c:pt>
                <c:pt idx="5317">
                  <c:v>-1.5966386554621799E-2</c:v>
                </c:pt>
                <c:pt idx="5318">
                  <c:v>-1.5966386554621799E-2</c:v>
                </c:pt>
                <c:pt idx="5319">
                  <c:v>-1.5966386554621799E-2</c:v>
                </c:pt>
                <c:pt idx="5320">
                  <c:v>-1.5966386554621799E-2</c:v>
                </c:pt>
                <c:pt idx="5321">
                  <c:v>-1.5966386554621799E-2</c:v>
                </c:pt>
                <c:pt idx="5322">
                  <c:v>-1.5966386554621799E-2</c:v>
                </c:pt>
                <c:pt idx="5323">
                  <c:v>-1.5966386554621799E-2</c:v>
                </c:pt>
                <c:pt idx="5324">
                  <c:v>-1.5966386554621799E-2</c:v>
                </c:pt>
                <c:pt idx="5325">
                  <c:v>-1.6806722689075598E-2</c:v>
                </c:pt>
                <c:pt idx="5326">
                  <c:v>-1.6806722689075598E-2</c:v>
                </c:pt>
                <c:pt idx="5327">
                  <c:v>-1.5966386554621799E-2</c:v>
                </c:pt>
                <c:pt idx="5328">
                  <c:v>-1.5966386554621799E-2</c:v>
                </c:pt>
                <c:pt idx="5329">
                  <c:v>-1.5966386554621799E-2</c:v>
                </c:pt>
                <c:pt idx="5330">
                  <c:v>-1.5966386554621799E-2</c:v>
                </c:pt>
                <c:pt idx="5331">
                  <c:v>-1.5966386554621799E-2</c:v>
                </c:pt>
                <c:pt idx="5332">
                  <c:v>-1.5126050420168E-2</c:v>
                </c:pt>
                <c:pt idx="5333">
                  <c:v>-1.5126050420168E-2</c:v>
                </c:pt>
                <c:pt idx="5334">
                  <c:v>-1.5126050420168E-2</c:v>
                </c:pt>
                <c:pt idx="5335">
                  <c:v>-1.5126050420168E-2</c:v>
                </c:pt>
                <c:pt idx="5336">
                  <c:v>-1.5126050420168E-2</c:v>
                </c:pt>
                <c:pt idx="5337">
                  <c:v>-1.5126050420168E-2</c:v>
                </c:pt>
                <c:pt idx="5338">
                  <c:v>-1.5126050420168E-2</c:v>
                </c:pt>
                <c:pt idx="5339">
                  <c:v>-1.5126050420168E-2</c:v>
                </c:pt>
                <c:pt idx="5340">
                  <c:v>-1.5126050420168E-2</c:v>
                </c:pt>
                <c:pt idx="5341">
                  <c:v>-1.5126050420168E-2</c:v>
                </c:pt>
                <c:pt idx="5342">
                  <c:v>-1.5126050420168E-2</c:v>
                </c:pt>
                <c:pt idx="5343">
                  <c:v>-1.5126050420168E-2</c:v>
                </c:pt>
                <c:pt idx="5344">
                  <c:v>-1.5126050420168E-2</c:v>
                </c:pt>
                <c:pt idx="5345">
                  <c:v>-1.5126050420168E-2</c:v>
                </c:pt>
                <c:pt idx="5346">
                  <c:v>-1.5126050420168E-2</c:v>
                </c:pt>
                <c:pt idx="5347">
                  <c:v>-1.5126050420168E-2</c:v>
                </c:pt>
                <c:pt idx="5348">
                  <c:v>-1.5126050420168E-2</c:v>
                </c:pt>
                <c:pt idx="5349">
                  <c:v>-1.5126050420168E-2</c:v>
                </c:pt>
                <c:pt idx="5350">
                  <c:v>-1.5126050420168E-2</c:v>
                </c:pt>
                <c:pt idx="5351">
                  <c:v>-1.5126050420168E-2</c:v>
                </c:pt>
                <c:pt idx="5352">
                  <c:v>-1.5126050420168E-2</c:v>
                </c:pt>
                <c:pt idx="5353">
                  <c:v>-1.5126050420168E-2</c:v>
                </c:pt>
                <c:pt idx="5354">
                  <c:v>-1.5126050420168E-2</c:v>
                </c:pt>
                <c:pt idx="5355">
                  <c:v>-1.5126050420168E-2</c:v>
                </c:pt>
                <c:pt idx="5356">
                  <c:v>-1.5966386554621799E-2</c:v>
                </c:pt>
                <c:pt idx="5357">
                  <c:v>-1.5966386554621799E-2</c:v>
                </c:pt>
                <c:pt idx="5358">
                  <c:v>-1.5966386554621799E-2</c:v>
                </c:pt>
                <c:pt idx="5359">
                  <c:v>-1.5966386554621799E-2</c:v>
                </c:pt>
                <c:pt idx="5360">
                  <c:v>-1.5966386554621799E-2</c:v>
                </c:pt>
                <c:pt idx="5361">
                  <c:v>-1.5966386554621799E-2</c:v>
                </c:pt>
                <c:pt idx="5362">
                  <c:v>-1.5966386554621799E-2</c:v>
                </c:pt>
                <c:pt idx="5363">
                  <c:v>-1.6806722689075598E-2</c:v>
                </c:pt>
                <c:pt idx="5364">
                  <c:v>-1.7647058823529401E-2</c:v>
                </c:pt>
                <c:pt idx="5365">
                  <c:v>-1.7647058823529401E-2</c:v>
                </c:pt>
                <c:pt idx="5366">
                  <c:v>-1.7647058823529401E-2</c:v>
                </c:pt>
                <c:pt idx="5367">
                  <c:v>-1.7647058823529401E-2</c:v>
                </c:pt>
                <c:pt idx="5368">
                  <c:v>-1.7647058823529401E-2</c:v>
                </c:pt>
                <c:pt idx="5369">
                  <c:v>-1.7647058823529401E-2</c:v>
                </c:pt>
                <c:pt idx="5370">
                  <c:v>-1.7647058823529401E-2</c:v>
                </c:pt>
                <c:pt idx="5371">
                  <c:v>-1.7647058823529401E-2</c:v>
                </c:pt>
                <c:pt idx="5372">
                  <c:v>-1.7647058823529401E-2</c:v>
                </c:pt>
                <c:pt idx="5373">
                  <c:v>-1.7647058823529401E-2</c:v>
                </c:pt>
                <c:pt idx="5374">
                  <c:v>-1.7647058823529401E-2</c:v>
                </c:pt>
                <c:pt idx="5375">
                  <c:v>-1.7647058823529401E-2</c:v>
                </c:pt>
                <c:pt idx="5376">
                  <c:v>-1.7647058823529401E-2</c:v>
                </c:pt>
                <c:pt idx="5377">
                  <c:v>-1.7647058823529401E-2</c:v>
                </c:pt>
                <c:pt idx="5378">
                  <c:v>-1.7647058823529401E-2</c:v>
                </c:pt>
                <c:pt idx="5379">
                  <c:v>-1.7647058823529401E-2</c:v>
                </c:pt>
                <c:pt idx="5380">
                  <c:v>-1.7647058823529401E-2</c:v>
                </c:pt>
                <c:pt idx="5381">
                  <c:v>-1.7647058823529401E-2</c:v>
                </c:pt>
                <c:pt idx="5382">
                  <c:v>-1.7647058823529401E-2</c:v>
                </c:pt>
                <c:pt idx="5383">
                  <c:v>-1.7647058823529401E-2</c:v>
                </c:pt>
                <c:pt idx="5384">
                  <c:v>-1.7647058823529401E-2</c:v>
                </c:pt>
                <c:pt idx="5385">
                  <c:v>-1.7647058823529401E-2</c:v>
                </c:pt>
                <c:pt idx="5386">
                  <c:v>-1.7647058823529401E-2</c:v>
                </c:pt>
                <c:pt idx="5387">
                  <c:v>-1.7647058823529401E-2</c:v>
                </c:pt>
                <c:pt idx="5388">
                  <c:v>-1.7647058823529401E-2</c:v>
                </c:pt>
                <c:pt idx="5389">
                  <c:v>-1.6806722689075598E-2</c:v>
                </c:pt>
                <c:pt idx="5390">
                  <c:v>-1.6806722689075598E-2</c:v>
                </c:pt>
                <c:pt idx="5391">
                  <c:v>-1.6806722689075598E-2</c:v>
                </c:pt>
                <c:pt idx="5392">
                  <c:v>-1.6806722689075598E-2</c:v>
                </c:pt>
                <c:pt idx="5393">
                  <c:v>-1.6806722689075598E-2</c:v>
                </c:pt>
                <c:pt idx="5394">
                  <c:v>-1.6806722689075598E-2</c:v>
                </c:pt>
                <c:pt idx="5395">
                  <c:v>-1.6806722689075598E-2</c:v>
                </c:pt>
                <c:pt idx="5396">
                  <c:v>-1.6806722689075598E-2</c:v>
                </c:pt>
                <c:pt idx="5397">
                  <c:v>-1.6806722689075598E-2</c:v>
                </c:pt>
                <c:pt idx="5398">
                  <c:v>-1.6806722689075598E-2</c:v>
                </c:pt>
                <c:pt idx="5399">
                  <c:v>-1.6806722689075598E-2</c:v>
                </c:pt>
                <c:pt idx="5400">
                  <c:v>-1.6806722689075598E-2</c:v>
                </c:pt>
                <c:pt idx="5401">
                  <c:v>-1.6806722689075598E-2</c:v>
                </c:pt>
                <c:pt idx="5402">
                  <c:v>-1.6806722689075598E-2</c:v>
                </c:pt>
                <c:pt idx="5403">
                  <c:v>-1.6806722689075598E-2</c:v>
                </c:pt>
                <c:pt idx="5404">
                  <c:v>-1.6806722689075598E-2</c:v>
                </c:pt>
                <c:pt idx="5405">
                  <c:v>-1.6806722689075598E-2</c:v>
                </c:pt>
                <c:pt idx="5406">
                  <c:v>-1.6806722689075598E-2</c:v>
                </c:pt>
                <c:pt idx="5407">
                  <c:v>-1.6806722689075598E-2</c:v>
                </c:pt>
                <c:pt idx="5408">
                  <c:v>-1.6806722689075598E-2</c:v>
                </c:pt>
                <c:pt idx="5409">
                  <c:v>-1.6806722689075598E-2</c:v>
                </c:pt>
                <c:pt idx="5410">
                  <c:v>-1.6806722689075598E-2</c:v>
                </c:pt>
                <c:pt idx="5411">
                  <c:v>-1.6806722689075598E-2</c:v>
                </c:pt>
                <c:pt idx="5412">
                  <c:v>-1.6806722689075598E-2</c:v>
                </c:pt>
                <c:pt idx="5413">
                  <c:v>-1.6806722689075598E-2</c:v>
                </c:pt>
                <c:pt idx="5414">
                  <c:v>-1.6806722689075598E-2</c:v>
                </c:pt>
                <c:pt idx="5415">
                  <c:v>-1.6806722689075598E-2</c:v>
                </c:pt>
                <c:pt idx="5416">
                  <c:v>-1.6806722689075598E-2</c:v>
                </c:pt>
                <c:pt idx="5417">
                  <c:v>-1.6806722689075598E-2</c:v>
                </c:pt>
                <c:pt idx="5418">
                  <c:v>-1.6806722689075598E-2</c:v>
                </c:pt>
                <c:pt idx="5419">
                  <c:v>-1.6806722689075598E-2</c:v>
                </c:pt>
                <c:pt idx="5420">
                  <c:v>-1.6806722689075598E-2</c:v>
                </c:pt>
                <c:pt idx="5421">
                  <c:v>-1.6806722689075598E-2</c:v>
                </c:pt>
                <c:pt idx="5422">
                  <c:v>-1.6806722689075598E-2</c:v>
                </c:pt>
                <c:pt idx="5423">
                  <c:v>-1.6806722689075598E-2</c:v>
                </c:pt>
                <c:pt idx="5424">
                  <c:v>-1.6806722689075598E-2</c:v>
                </c:pt>
                <c:pt idx="5425">
                  <c:v>-1.6806722689075598E-2</c:v>
                </c:pt>
                <c:pt idx="5426">
                  <c:v>-1.6806722689075598E-2</c:v>
                </c:pt>
                <c:pt idx="5427">
                  <c:v>-1.6806722689075598E-2</c:v>
                </c:pt>
                <c:pt idx="5428">
                  <c:v>-1.6806722689075598E-2</c:v>
                </c:pt>
                <c:pt idx="5429">
                  <c:v>-1.6806722689075598E-2</c:v>
                </c:pt>
                <c:pt idx="5430">
                  <c:v>-1.6806722689075598E-2</c:v>
                </c:pt>
                <c:pt idx="5431">
                  <c:v>-1.6806722689075598E-2</c:v>
                </c:pt>
                <c:pt idx="5432">
                  <c:v>-1.5966386554621799E-2</c:v>
                </c:pt>
                <c:pt idx="5433">
                  <c:v>-1.5126050420168E-2</c:v>
                </c:pt>
                <c:pt idx="5434">
                  <c:v>-1.5126050420168E-2</c:v>
                </c:pt>
                <c:pt idx="5435">
                  <c:v>-1.5126050420168E-2</c:v>
                </c:pt>
                <c:pt idx="5436">
                  <c:v>-1.5126050420168E-2</c:v>
                </c:pt>
                <c:pt idx="5437">
                  <c:v>-1.5966386554621799E-2</c:v>
                </c:pt>
                <c:pt idx="5438">
                  <c:v>-1.5966386554621799E-2</c:v>
                </c:pt>
                <c:pt idx="5439">
                  <c:v>-1.5966386554621799E-2</c:v>
                </c:pt>
                <c:pt idx="5440">
                  <c:v>-1.5966386554621799E-2</c:v>
                </c:pt>
                <c:pt idx="5441">
                  <c:v>-1.5966386554621799E-2</c:v>
                </c:pt>
                <c:pt idx="5442">
                  <c:v>-1.5966386554621799E-2</c:v>
                </c:pt>
                <c:pt idx="5443">
                  <c:v>-1.5966386554621799E-2</c:v>
                </c:pt>
                <c:pt idx="5444">
                  <c:v>-1.5966386554621799E-2</c:v>
                </c:pt>
                <c:pt idx="5445">
                  <c:v>-1.5966386554621799E-2</c:v>
                </c:pt>
                <c:pt idx="5446">
                  <c:v>-1.5966386554621799E-2</c:v>
                </c:pt>
                <c:pt idx="5447">
                  <c:v>-1.5966386554621799E-2</c:v>
                </c:pt>
                <c:pt idx="5448">
                  <c:v>-1.5966386554621799E-2</c:v>
                </c:pt>
                <c:pt idx="5449">
                  <c:v>-1.5966386554621799E-2</c:v>
                </c:pt>
                <c:pt idx="5450">
                  <c:v>-1.5966386554621799E-2</c:v>
                </c:pt>
                <c:pt idx="5451">
                  <c:v>-1.5966386554621799E-2</c:v>
                </c:pt>
                <c:pt idx="5452">
                  <c:v>-1.5966386554621799E-2</c:v>
                </c:pt>
                <c:pt idx="5453">
                  <c:v>-1.5966386554621799E-2</c:v>
                </c:pt>
                <c:pt idx="5454">
                  <c:v>-1.5966386554621799E-2</c:v>
                </c:pt>
                <c:pt idx="5455">
                  <c:v>-1.5966386554621799E-2</c:v>
                </c:pt>
                <c:pt idx="5456">
                  <c:v>-1.5966386554621799E-2</c:v>
                </c:pt>
                <c:pt idx="5457">
                  <c:v>-1.5966386554621799E-2</c:v>
                </c:pt>
                <c:pt idx="5458">
                  <c:v>-1.5966386554621799E-2</c:v>
                </c:pt>
                <c:pt idx="5459">
                  <c:v>-1.5966386554621799E-2</c:v>
                </c:pt>
                <c:pt idx="5460">
                  <c:v>-1.5966386554621799E-2</c:v>
                </c:pt>
                <c:pt idx="5461">
                  <c:v>-1.5966386554621799E-2</c:v>
                </c:pt>
                <c:pt idx="5462">
                  <c:v>-1.5966386554621799E-2</c:v>
                </c:pt>
                <c:pt idx="5463">
                  <c:v>-1.5966386554621799E-2</c:v>
                </c:pt>
                <c:pt idx="5464">
                  <c:v>-1.5966386554621799E-2</c:v>
                </c:pt>
                <c:pt idx="5465">
                  <c:v>-1.5966386554621799E-2</c:v>
                </c:pt>
                <c:pt idx="5466">
                  <c:v>-1.5966386554621799E-2</c:v>
                </c:pt>
                <c:pt idx="5467">
                  <c:v>-1.5966386554621799E-2</c:v>
                </c:pt>
                <c:pt idx="5468">
                  <c:v>-1.5966386554621799E-2</c:v>
                </c:pt>
                <c:pt idx="5469">
                  <c:v>-1.5966386554621799E-2</c:v>
                </c:pt>
                <c:pt idx="5470">
                  <c:v>-1.5126050420168E-2</c:v>
                </c:pt>
                <c:pt idx="5471">
                  <c:v>-1.5126050420168E-2</c:v>
                </c:pt>
                <c:pt idx="5472">
                  <c:v>-1.5966386554621799E-2</c:v>
                </c:pt>
                <c:pt idx="5473">
                  <c:v>-1.5966386554621799E-2</c:v>
                </c:pt>
                <c:pt idx="5474">
                  <c:v>-1.5966386554621799E-2</c:v>
                </c:pt>
                <c:pt idx="5475">
                  <c:v>-1.5966386554621799E-2</c:v>
                </c:pt>
                <c:pt idx="5476">
                  <c:v>-1.5966386554621799E-2</c:v>
                </c:pt>
                <c:pt idx="5477">
                  <c:v>-1.6806722689075598E-2</c:v>
                </c:pt>
                <c:pt idx="5478">
                  <c:v>-1.6806722689075598E-2</c:v>
                </c:pt>
                <c:pt idx="5479">
                  <c:v>-1.6806722689075598E-2</c:v>
                </c:pt>
                <c:pt idx="5480">
                  <c:v>-1.6806722689075598E-2</c:v>
                </c:pt>
                <c:pt idx="5481">
                  <c:v>-1.6806722689075598E-2</c:v>
                </c:pt>
                <c:pt idx="5482">
                  <c:v>-1.6806722689075598E-2</c:v>
                </c:pt>
                <c:pt idx="5483">
                  <c:v>-1.6806722689075598E-2</c:v>
                </c:pt>
                <c:pt idx="5484">
                  <c:v>-1.6806722689075598E-2</c:v>
                </c:pt>
                <c:pt idx="5485">
                  <c:v>-1.6806722689075598E-2</c:v>
                </c:pt>
                <c:pt idx="5486">
                  <c:v>-1.6806722689075598E-2</c:v>
                </c:pt>
                <c:pt idx="5487">
                  <c:v>-1.6806722689075598E-2</c:v>
                </c:pt>
                <c:pt idx="5488">
                  <c:v>-1.6806722689075598E-2</c:v>
                </c:pt>
                <c:pt idx="5489">
                  <c:v>-1.6806722689075598E-2</c:v>
                </c:pt>
                <c:pt idx="5490">
                  <c:v>-1.6806722689075598E-2</c:v>
                </c:pt>
                <c:pt idx="5491">
                  <c:v>-1.6806722689075598E-2</c:v>
                </c:pt>
                <c:pt idx="5492">
                  <c:v>-1.6806722689075598E-2</c:v>
                </c:pt>
                <c:pt idx="5493">
                  <c:v>-1.6806722689075598E-2</c:v>
                </c:pt>
                <c:pt idx="5494">
                  <c:v>-1.6806722689075598E-2</c:v>
                </c:pt>
                <c:pt idx="5495">
                  <c:v>-1.6806722689075598E-2</c:v>
                </c:pt>
                <c:pt idx="5496">
                  <c:v>-1.6806722689075598E-2</c:v>
                </c:pt>
                <c:pt idx="5497">
                  <c:v>-1.6806722689075598E-2</c:v>
                </c:pt>
                <c:pt idx="5498">
                  <c:v>-1.6806722689075598E-2</c:v>
                </c:pt>
                <c:pt idx="5499">
                  <c:v>-1.6806722689075598E-2</c:v>
                </c:pt>
                <c:pt idx="5500">
                  <c:v>-1.6806722689075598E-2</c:v>
                </c:pt>
                <c:pt idx="5501">
                  <c:v>-1.6806722689075598E-2</c:v>
                </c:pt>
                <c:pt idx="5502">
                  <c:v>-1.6806722689075598E-2</c:v>
                </c:pt>
                <c:pt idx="5503">
                  <c:v>-1.6806722689075598E-2</c:v>
                </c:pt>
                <c:pt idx="5504">
                  <c:v>-1.6806722689075598E-2</c:v>
                </c:pt>
                <c:pt idx="5505">
                  <c:v>-1.6806722689075598E-2</c:v>
                </c:pt>
                <c:pt idx="5506">
                  <c:v>-1.6806722689075598E-2</c:v>
                </c:pt>
                <c:pt idx="5507">
                  <c:v>-1.6806722689075598E-2</c:v>
                </c:pt>
                <c:pt idx="5508">
                  <c:v>-1.6806722689075598E-2</c:v>
                </c:pt>
                <c:pt idx="5509">
                  <c:v>-1.6806722689075598E-2</c:v>
                </c:pt>
                <c:pt idx="5510">
                  <c:v>-1.6806722689075598E-2</c:v>
                </c:pt>
                <c:pt idx="5511">
                  <c:v>-1.6806722689075598E-2</c:v>
                </c:pt>
                <c:pt idx="5512">
                  <c:v>-1.6806722689075598E-2</c:v>
                </c:pt>
                <c:pt idx="5513">
                  <c:v>-1.6806722689075598E-2</c:v>
                </c:pt>
                <c:pt idx="5514">
                  <c:v>-1.6806722689075598E-2</c:v>
                </c:pt>
                <c:pt idx="5515">
                  <c:v>-1.6806722689075598E-2</c:v>
                </c:pt>
                <c:pt idx="5516">
                  <c:v>-1.6806722689075598E-2</c:v>
                </c:pt>
                <c:pt idx="5517">
                  <c:v>-1.6806722689075598E-2</c:v>
                </c:pt>
                <c:pt idx="5518">
                  <c:v>-1.6806722689075598E-2</c:v>
                </c:pt>
                <c:pt idx="5519">
                  <c:v>-1.6806722689075598E-2</c:v>
                </c:pt>
                <c:pt idx="5520">
                  <c:v>-1.6806722689075598E-2</c:v>
                </c:pt>
                <c:pt idx="5521">
                  <c:v>-1.6806722689075598E-2</c:v>
                </c:pt>
                <c:pt idx="5522">
                  <c:v>-1.5966386554621799E-2</c:v>
                </c:pt>
                <c:pt idx="5523">
                  <c:v>-1.5966386554621799E-2</c:v>
                </c:pt>
                <c:pt idx="5524">
                  <c:v>-1.5966386554621799E-2</c:v>
                </c:pt>
                <c:pt idx="5525">
                  <c:v>-1.5966386554621799E-2</c:v>
                </c:pt>
                <c:pt idx="5526">
                  <c:v>-1.5966386554621799E-2</c:v>
                </c:pt>
                <c:pt idx="5527">
                  <c:v>-1.5966386554621799E-2</c:v>
                </c:pt>
                <c:pt idx="5528">
                  <c:v>-1.6806722689075598E-2</c:v>
                </c:pt>
                <c:pt idx="5529">
                  <c:v>-1.6806722689075598E-2</c:v>
                </c:pt>
                <c:pt idx="5530">
                  <c:v>-1.6806722689075598E-2</c:v>
                </c:pt>
                <c:pt idx="5531">
                  <c:v>-1.6806722689075598E-2</c:v>
                </c:pt>
                <c:pt idx="5532">
                  <c:v>-1.6806722689075598E-2</c:v>
                </c:pt>
                <c:pt idx="5533">
                  <c:v>-1.6806722689075598E-2</c:v>
                </c:pt>
                <c:pt idx="5534">
                  <c:v>-1.6806722689075598E-2</c:v>
                </c:pt>
                <c:pt idx="5535">
                  <c:v>-1.6806722689075598E-2</c:v>
                </c:pt>
                <c:pt idx="5536">
                  <c:v>-1.6806722689075598E-2</c:v>
                </c:pt>
                <c:pt idx="5537">
                  <c:v>-1.6806722689075598E-2</c:v>
                </c:pt>
                <c:pt idx="5538">
                  <c:v>-1.6806722689075598E-2</c:v>
                </c:pt>
                <c:pt idx="5539">
                  <c:v>-1.6806722689075598E-2</c:v>
                </c:pt>
                <c:pt idx="5540">
                  <c:v>-1.6806722689075598E-2</c:v>
                </c:pt>
                <c:pt idx="5541">
                  <c:v>-1.6806722689075598E-2</c:v>
                </c:pt>
                <c:pt idx="5542">
                  <c:v>-1.6806722689075598E-2</c:v>
                </c:pt>
                <c:pt idx="5543">
                  <c:v>-1.6806722689075598E-2</c:v>
                </c:pt>
                <c:pt idx="5544">
                  <c:v>-1.6806722689075598E-2</c:v>
                </c:pt>
                <c:pt idx="5545">
                  <c:v>-1.6806722689075598E-2</c:v>
                </c:pt>
                <c:pt idx="5546">
                  <c:v>-1.6806722689075598E-2</c:v>
                </c:pt>
                <c:pt idx="5547">
                  <c:v>-1.6806722689075598E-2</c:v>
                </c:pt>
                <c:pt idx="5548">
                  <c:v>-1.6806722689075598E-2</c:v>
                </c:pt>
                <c:pt idx="5549">
                  <c:v>-1.6806722689075598E-2</c:v>
                </c:pt>
                <c:pt idx="5550">
                  <c:v>-1.6806722689075598E-2</c:v>
                </c:pt>
                <c:pt idx="5551">
                  <c:v>-1.6806722689075598E-2</c:v>
                </c:pt>
                <c:pt idx="5552">
                  <c:v>-1.6806722689075598E-2</c:v>
                </c:pt>
                <c:pt idx="5553">
                  <c:v>-1.6806722689075598E-2</c:v>
                </c:pt>
                <c:pt idx="5554">
                  <c:v>-1.6806722689075598E-2</c:v>
                </c:pt>
                <c:pt idx="5555">
                  <c:v>-1.6806722689075598E-2</c:v>
                </c:pt>
                <c:pt idx="5556">
                  <c:v>-1.6806722689075598E-2</c:v>
                </c:pt>
                <c:pt idx="5557">
                  <c:v>-1.6806722689075598E-2</c:v>
                </c:pt>
                <c:pt idx="5558">
                  <c:v>-1.6806722689075598E-2</c:v>
                </c:pt>
                <c:pt idx="5559">
                  <c:v>-1.6806722689075598E-2</c:v>
                </c:pt>
                <c:pt idx="5560">
                  <c:v>-1.6806722689075598E-2</c:v>
                </c:pt>
                <c:pt idx="5561">
                  <c:v>-1.6806722689075598E-2</c:v>
                </c:pt>
                <c:pt idx="5562">
                  <c:v>-1.6806722689075598E-2</c:v>
                </c:pt>
                <c:pt idx="5563">
                  <c:v>-1.6806722689075598E-2</c:v>
                </c:pt>
                <c:pt idx="5564">
                  <c:v>-1.6806722689075598E-2</c:v>
                </c:pt>
                <c:pt idx="5565">
                  <c:v>-1.7647058823529401E-2</c:v>
                </c:pt>
                <c:pt idx="5566">
                  <c:v>-1.7647058823529401E-2</c:v>
                </c:pt>
                <c:pt idx="5567">
                  <c:v>-1.7647058823529401E-2</c:v>
                </c:pt>
                <c:pt idx="5568">
                  <c:v>-1.7647058823529401E-2</c:v>
                </c:pt>
                <c:pt idx="5569">
                  <c:v>-1.7647058823529401E-2</c:v>
                </c:pt>
                <c:pt idx="5570">
                  <c:v>-1.7647058823529401E-2</c:v>
                </c:pt>
                <c:pt idx="5571">
                  <c:v>-1.7647058823529401E-2</c:v>
                </c:pt>
                <c:pt idx="5572">
                  <c:v>-1.7647058823529401E-2</c:v>
                </c:pt>
                <c:pt idx="5573">
                  <c:v>-1.7647058823529401E-2</c:v>
                </c:pt>
                <c:pt idx="5574">
                  <c:v>-1.6806722689075598E-2</c:v>
                </c:pt>
                <c:pt idx="5575">
                  <c:v>-1.6806722689075598E-2</c:v>
                </c:pt>
                <c:pt idx="5576">
                  <c:v>-1.6806722689075598E-2</c:v>
                </c:pt>
                <c:pt idx="5577">
                  <c:v>-1.6806722689075598E-2</c:v>
                </c:pt>
                <c:pt idx="5578">
                  <c:v>-1.6806722689075598E-2</c:v>
                </c:pt>
                <c:pt idx="5579">
                  <c:v>-1.6806722689075598E-2</c:v>
                </c:pt>
                <c:pt idx="5580">
                  <c:v>-1.6806722689075598E-2</c:v>
                </c:pt>
                <c:pt idx="5581">
                  <c:v>-1.6806722689075598E-2</c:v>
                </c:pt>
                <c:pt idx="5582">
                  <c:v>-1.5966386554621799E-2</c:v>
                </c:pt>
                <c:pt idx="5583">
                  <c:v>-1.6806722689075598E-2</c:v>
                </c:pt>
                <c:pt idx="5584">
                  <c:v>-1.6806722689075598E-2</c:v>
                </c:pt>
                <c:pt idx="5585">
                  <c:v>-1.6806722689075598E-2</c:v>
                </c:pt>
                <c:pt idx="5586">
                  <c:v>-1.6806722689075598E-2</c:v>
                </c:pt>
                <c:pt idx="5587">
                  <c:v>-1.6806722689075598E-2</c:v>
                </c:pt>
                <c:pt idx="5588">
                  <c:v>-1.6806722689075598E-2</c:v>
                </c:pt>
                <c:pt idx="5589">
                  <c:v>-1.6806722689075598E-2</c:v>
                </c:pt>
                <c:pt idx="5590">
                  <c:v>-1.6806722689075598E-2</c:v>
                </c:pt>
                <c:pt idx="5591">
                  <c:v>-1.6806722689075598E-2</c:v>
                </c:pt>
                <c:pt idx="5592">
                  <c:v>-1.6806722689075598E-2</c:v>
                </c:pt>
                <c:pt idx="5593">
                  <c:v>-1.6806722689075598E-2</c:v>
                </c:pt>
                <c:pt idx="5594">
                  <c:v>-1.6806722689075598E-2</c:v>
                </c:pt>
                <c:pt idx="5595">
                  <c:v>-1.6806722689075598E-2</c:v>
                </c:pt>
                <c:pt idx="5596">
                  <c:v>-1.6806722689075598E-2</c:v>
                </c:pt>
                <c:pt idx="5597">
                  <c:v>-1.6806722689075598E-2</c:v>
                </c:pt>
                <c:pt idx="5598">
                  <c:v>-1.6806722689075598E-2</c:v>
                </c:pt>
                <c:pt idx="5599">
                  <c:v>-1.6806722689075598E-2</c:v>
                </c:pt>
                <c:pt idx="5600">
                  <c:v>-1.6806722689075598E-2</c:v>
                </c:pt>
                <c:pt idx="5601">
                  <c:v>-1.6806722689075598E-2</c:v>
                </c:pt>
                <c:pt idx="5602">
                  <c:v>-1.6806722689075598E-2</c:v>
                </c:pt>
                <c:pt idx="5603">
                  <c:v>-1.6806722689075598E-2</c:v>
                </c:pt>
                <c:pt idx="5604">
                  <c:v>-1.6806722689075598E-2</c:v>
                </c:pt>
                <c:pt idx="5605">
                  <c:v>-1.7647058823529401E-2</c:v>
                </c:pt>
                <c:pt idx="5606">
                  <c:v>-1.7647058823529401E-2</c:v>
                </c:pt>
                <c:pt idx="5607">
                  <c:v>-1.7647058823529401E-2</c:v>
                </c:pt>
                <c:pt idx="5608">
                  <c:v>-1.7647058823529401E-2</c:v>
                </c:pt>
                <c:pt idx="5609">
                  <c:v>-1.7647058823529401E-2</c:v>
                </c:pt>
                <c:pt idx="5610">
                  <c:v>-1.7647058823529401E-2</c:v>
                </c:pt>
                <c:pt idx="5611">
                  <c:v>-1.7647058823529401E-2</c:v>
                </c:pt>
                <c:pt idx="5612">
                  <c:v>-1.7647058823529401E-2</c:v>
                </c:pt>
                <c:pt idx="5613">
                  <c:v>-1.7647058823529401E-2</c:v>
                </c:pt>
                <c:pt idx="5614">
                  <c:v>-1.7647058823529401E-2</c:v>
                </c:pt>
                <c:pt idx="5615">
                  <c:v>-1.6806722689075598E-2</c:v>
                </c:pt>
                <c:pt idx="5616">
                  <c:v>-1.6806722689075598E-2</c:v>
                </c:pt>
                <c:pt idx="5617">
                  <c:v>-1.6806722689075598E-2</c:v>
                </c:pt>
                <c:pt idx="5618">
                  <c:v>-1.6806722689075598E-2</c:v>
                </c:pt>
                <c:pt idx="5619">
                  <c:v>-1.6806722689075598E-2</c:v>
                </c:pt>
                <c:pt idx="5620">
                  <c:v>-1.5966386554621799E-2</c:v>
                </c:pt>
                <c:pt idx="5621">
                  <c:v>-1.5966386554621799E-2</c:v>
                </c:pt>
                <c:pt idx="5622">
                  <c:v>-1.5966386554621799E-2</c:v>
                </c:pt>
                <c:pt idx="5623">
                  <c:v>-1.5966386554621799E-2</c:v>
                </c:pt>
                <c:pt idx="5624">
                  <c:v>-1.5966386554621799E-2</c:v>
                </c:pt>
                <c:pt idx="5625">
                  <c:v>-1.5966386554621799E-2</c:v>
                </c:pt>
                <c:pt idx="5626">
                  <c:v>-1.5966386554621799E-2</c:v>
                </c:pt>
                <c:pt idx="5627">
                  <c:v>-1.5966386554621799E-2</c:v>
                </c:pt>
                <c:pt idx="5628">
                  <c:v>-1.5966386554621799E-2</c:v>
                </c:pt>
                <c:pt idx="5629">
                  <c:v>-1.5966386554621799E-2</c:v>
                </c:pt>
                <c:pt idx="5630">
                  <c:v>-1.5966386554621799E-2</c:v>
                </c:pt>
                <c:pt idx="5631">
                  <c:v>-1.5966386554621799E-2</c:v>
                </c:pt>
                <c:pt idx="5632">
                  <c:v>-1.6806722689075598E-2</c:v>
                </c:pt>
                <c:pt idx="5633">
                  <c:v>-1.6806722689075598E-2</c:v>
                </c:pt>
                <c:pt idx="5634">
                  <c:v>-1.6806722689075598E-2</c:v>
                </c:pt>
                <c:pt idx="5635">
                  <c:v>-1.6806722689075598E-2</c:v>
                </c:pt>
                <c:pt idx="5636">
                  <c:v>-1.6806722689075598E-2</c:v>
                </c:pt>
                <c:pt idx="5637">
                  <c:v>-1.6806722689075598E-2</c:v>
                </c:pt>
                <c:pt idx="5638">
                  <c:v>-1.6806722689075598E-2</c:v>
                </c:pt>
                <c:pt idx="5639">
                  <c:v>-1.6806722689075598E-2</c:v>
                </c:pt>
                <c:pt idx="5640">
                  <c:v>-1.5966386554621799E-2</c:v>
                </c:pt>
                <c:pt idx="5641">
                  <c:v>-1.5966386554621799E-2</c:v>
                </c:pt>
                <c:pt idx="5642">
                  <c:v>-1.5966386554621799E-2</c:v>
                </c:pt>
                <c:pt idx="5643">
                  <c:v>-1.5966386554621799E-2</c:v>
                </c:pt>
                <c:pt idx="5644">
                  <c:v>-1.5966386554621799E-2</c:v>
                </c:pt>
                <c:pt idx="5645">
                  <c:v>-1.5966386554621799E-2</c:v>
                </c:pt>
                <c:pt idx="5646">
                  <c:v>-1.5966386554621799E-2</c:v>
                </c:pt>
                <c:pt idx="5647">
                  <c:v>-1.5966386554621799E-2</c:v>
                </c:pt>
                <c:pt idx="5648">
                  <c:v>-1.5966386554621799E-2</c:v>
                </c:pt>
                <c:pt idx="5649">
                  <c:v>-1.5966386554621799E-2</c:v>
                </c:pt>
                <c:pt idx="5650">
                  <c:v>-1.5966386554621799E-2</c:v>
                </c:pt>
                <c:pt idx="5651">
                  <c:v>-1.5966386554621799E-2</c:v>
                </c:pt>
                <c:pt idx="5652">
                  <c:v>-1.5966386554621799E-2</c:v>
                </c:pt>
                <c:pt idx="5653">
                  <c:v>-1.5966386554621799E-2</c:v>
                </c:pt>
                <c:pt idx="5654">
                  <c:v>-1.5966386554621799E-2</c:v>
                </c:pt>
                <c:pt idx="5655">
                  <c:v>-1.5966386554621799E-2</c:v>
                </c:pt>
                <c:pt idx="5656">
                  <c:v>-1.5966386554621799E-2</c:v>
                </c:pt>
                <c:pt idx="5657">
                  <c:v>-1.5966386554621799E-2</c:v>
                </c:pt>
                <c:pt idx="5658">
                  <c:v>-1.6806722689075598E-2</c:v>
                </c:pt>
                <c:pt idx="5659">
                  <c:v>-1.5966386554621799E-2</c:v>
                </c:pt>
                <c:pt idx="5660">
                  <c:v>-1.5966386554621799E-2</c:v>
                </c:pt>
                <c:pt idx="5661">
                  <c:v>-1.5966386554621799E-2</c:v>
                </c:pt>
                <c:pt idx="5662">
                  <c:v>-1.6806722689075598E-2</c:v>
                </c:pt>
                <c:pt idx="5663">
                  <c:v>-1.6806722689075598E-2</c:v>
                </c:pt>
                <c:pt idx="5664">
                  <c:v>-1.6806722689075598E-2</c:v>
                </c:pt>
                <c:pt idx="5665">
                  <c:v>-1.6806722689075598E-2</c:v>
                </c:pt>
                <c:pt idx="5666">
                  <c:v>-1.6806722689075598E-2</c:v>
                </c:pt>
                <c:pt idx="5667">
                  <c:v>-1.6806722689075598E-2</c:v>
                </c:pt>
                <c:pt idx="5668">
                  <c:v>-1.5966386554621799E-2</c:v>
                </c:pt>
                <c:pt idx="5669">
                  <c:v>-1.5966386554621799E-2</c:v>
                </c:pt>
                <c:pt idx="5670">
                  <c:v>-1.5966386554621799E-2</c:v>
                </c:pt>
                <c:pt idx="5671">
                  <c:v>-1.5966386554621799E-2</c:v>
                </c:pt>
                <c:pt idx="5672">
                  <c:v>-1.5966386554621799E-2</c:v>
                </c:pt>
                <c:pt idx="5673">
                  <c:v>-1.5966386554621799E-2</c:v>
                </c:pt>
                <c:pt idx="5674">
                  <c:v>-1.5966386554621799E-2</c:v>
                </c:pt>
                <c:pt idx="5675">
                  <c:v>-1.5966386554621799E-2</c:v>
                </c:pt>
                <c:pt idx="5676">
                  <c:v>-1.5966386554621799E-2</c:v>
                </c:pt>
                <c:pt idx="5677">
                  <c:v>-1.5966386554621799E-2</c:v>
                </c:pt>
                <c:pt idx="5678">
                  <c:v>-1.5966386554621799E-2</c:v>
                </c:pt>
                <c:pt idx="5679">
                  <c:v>-1.5966386554621799E-2</c:v>
                </c:pt>
                <c:pt idx="5680">
                  <c:v>-1.5966386554621799E-2</c:v>
                </c:pt>
                <c:pt idx="5681">
                  <c:v>-1.5966386554621799E-2</c:v>
                </c:pt>
                <c:pt idx="5682">
                  <c:v>-1.5966386554621799E-2</c:v>
                </c:pt>
                <c:pt idx="5683">
                  <c:v>-1.5966386554621799E-2</c:v>
                </c:pt>
                <c:pt idx="5684">
                  <c:v>-1.5966386554621799E-2</c:v>
                </c:pt>
                <c:pt idx="5685">
                  <c:v>-1.5966386554621799E-2</c:v>
                </c:pt>
                <c:pt idx="5686">
                  <c:v>-1.6806722689075598E-2</c:v>
                </c:pt>
                <c:pt idx="5687">
                  <c:v>-1.6806722689075598E-2</c:v>
                </c:pt>
                <c:pt idx="5688">
                  <c:v>-1.6806722689075598E-2</c:v>
                </c:pt>
                <c:pt idx="5689">
                  <c:v>-1.6806722689075598E-2</c:v>
                </c:pt>
                <c:pt idx="5690">
                  <c:v>-1.6806722689075598E-2</c:v>
                </c:pt>
                <c:pt idx="5691">
                  <c:v>-1.6806722689075598E-2</c:v>
                </c:pt>
                <c:pt idx="5692">
                  <c:v>-1.6806722689075598E-2</c:v>
                </c:pt>
                <c:pt idx="5693">
                  <c:v>-1.6806722689075598E-2</c:v>
                </c:pt>
                <c:pt idx="5694">
                  <c:v>-1.7647058823529401E-2</c:v>
                </c:pt>
                <c:pt idx="5695">
                  <c:v>-1.7647058823529401E-2</c:v>
                </c:pt>
                <c:pt idx="5696">
                  <c:v>-1.7647058823529401E-2</c:v>
                </c:pt>
                <c:pt idx="5697">
                  <c:v>-1.7647058823529401E-2</c:v>
                </c:pt>
                <c:pt idx="5698">
                  <c:v>-1.7647058823529401E-2</c:v>
                </c:pt>
                <c:pt idx="5699">
                  <c:v>-1.7647058823529401E-2</c:v>
                </c:pt>
                <c:pt idx="5700">
                  <c:v>-1.7647058823529401E-2</c:v>
                </c:pt>
                <c:pt idx="5701">
                  <c:v>-1.7647058823529401E-2</c:v>
                </c:pt>
                <c:pt idx="5702">
                  <c:v>-1.7647058823529401E-2</c:v>
                </c:pt>
                <c:pt idx="5703">
                  <c:v>-1.7647058823529401E-2</c:v>
                </c:pt>
                <c:pt idx="5704">
                  <c:v>-1.7647058823529401E-2</c:v>
                </c:pt>
                <c:pt idx="5705">
                  <c:v>-1.7647058823529401E-2</c:v>
                </c:pt>
                <c:pt idx="5706">
                  <c:v>-1.7647058823529401E-2</c:v>
                </c:pt>
                <c:pt idx="5707">
                  <c:v>-1.7647058823529401E-2</c:v>
                </c:pt>
                <c:pt idx="5708">
                  <c:v>-1.7647058823529401E-2</c:v>
                </c:pt>
                <c:pt idx="5709">
                  <c:v>-1.7647058823529401E-2</c:v>
                </c:pt>
                <c:pt idx="5710">
                  <c:v>-1.84873949579831E-2</c:v>
                </c:pt>
                <c:pt idx="5711">
                  <c:v>-1.84873949579831E-2</c:v>
                </c:pt>
                <c:pt idx="5712">
                  <c:v>-1.84873949579831E-2</c:v>
                </c:pt>
                <c:pt idx="5713">
                  <c:v>-1.84873949579831E-2</c:v>
                </c:pt>
                <c:pt idx="5714">
                  <c:v>-1.84873949579831E-2</c:v>
                </c:pt>
                <c:pt idx="5715">
                  <c:v>-1.84873949579831E-2</c:v>
                </c:pt>
                <c:pt idx="5716">
                  <c:v>-1.84873949579831E-2</c:v>
                </c:pt>
                <c:pt idx="5717">
                  <c:v>-1.9327731092436899E-2</c:v>
                </c:pt>
                <c:pt idx="5718">
                  <c:v>-1.9327731092436899E-2</c:v>
                </c:pt>
                <c:pt idx="5719">
                  <c:v>-1.9327731092436899E-2</c:v>
                </c:pt>
                <c:pt idx="5720">
                  <c:v>-1.9327731092436899E-2</c:v>
                </c:pt>
                <c:pt idx="5721">
                  <c:v>-1.84873949579831E-2</c:v>
                </c:pt>
                <c:pt idx="5722">
                  <c:v>-1.84873949579831E-2</c:v>
                </c:pt>
                <c:pt idx="5723">
                  <c:v>-1.84873949579831E-2</c:v>
                </c:pt>
                <c:pt idx="5724">
                  <c:v>-1.84873949579831E-2</c:v>
                </c:pt>
                <c:pt idx="5725">
                  <c:v>-1.84873949579831E-2</c:v>
                </c:pt>
                <c:pt idx="5726">
                  <c:v>-1.84873949579831E-2</c:v>
                </c:pt>
                <c:pt idx="5727">
                  <c:v>-1.84873949579831E-2</c:v>
                </c:pt>
                <c:pt idx="5728">
                  <c:v>-1.84873949579831E-2</c:v>
                </c:pt>
                <c:pt idx="5729">
                  <c:v>-1.84873949579831E-2</c:v>
                </c:pt>
                <c:pt idx="5730">
                  <c:v>-1.84873949579831E-2</c:v>
                </c:pt>
                <c:pt idx="5731">
                  <c:v>-1.84873949579831E-2</c:v>
                </c:pt>
                <c:pt idx="5732">
                  <c:v>-1.84873949579831E-2</c:v>
                </c:pt>
                <c:pt idx="5733">
                  <c:v>-1.84873949579831E-2</c:v>
                </c:pt>
                <c:pt idx="5734">
                  <c:v>-1.84873949579831E-2</c:v>
                </c:pt>
                <c:pt idx="5735">
                  <c:v>-1.9327731092436899E-2</c:v>
                </c:pt>
                <c:pt idx="5736">
                  <c:v>-1.84873949579831E-2</c:v>
                </c:pt>
                <c:pt idx="5737">
                  <c:v>-1.84873949579831E-2</c:v>
                </c:pt>
                <c:pt idx="5738">
                  <c:v>-1.84873949579831E-2</c:v>
                </c:pt>
                <c:pt idx="5739">
                  <c:v>-1.84873949579831E-2</c:v>
                </c:pt>
                <c:pt idx="5740">
                  <c:v>-1.84873949579831E-2</c:v>
                </c:pt>
                <c:pt idx="5741">
                  <c:v>-1.84873949579831E-2</c:v>
                </c:pt>
                <c:pt idx="5742">
                  <c:v>-1.84873949579831E-2</c:v>
                </c:pt>
                <c:pt idx="5743">
                  <c:v>-1.84873949579831E-2</c:v>
                </c:pt>
                <c:pt idx="5744">
                  <c:v>-1.9327731092436899E-2</c:v>
                </c:pt>
                <c:pt idx="5745">
                  <c:v>-1.9327731092436899E-2</c:v>
                </c:pt>
                <c:pt idx="5746">
                  <c:v>-1.9327731092436899E-2</c:v>
                </c:pt>
                <c:pt idx="5747">
                  <c:v>-1.9327731092436899E-2</c:v>
                </c:pt>
                <c:pt idx="5748">
                  <c:v>-1.9327731092436899E-2</c:v>
                </c:pt>
                <c:pt idx="5749">
                  <c:v>-1.9327731092436899E-2</c:v>
                </c:pt>
                <c:pt idx="5750">
                  <c:v>-1.9327731092436899E-2</c:v>
                </c:pt>
                <c:pt idx="5751">
                  <c:v>-1.9327731092436899E-2</c:v>
                </c:pt>
                <c:pt idx="5752">
                  <c:v>-2.0168067226890699E-2</c:v>
                </c:pt>
                <c:pt idx="5753">
                  <c:v>-2.0168067226890699E-2</c:v>
                </c:pt>
                <c:pt idx="5754">
                  <c:v>-2.0168067226890699E-2</c:v>
                </c:pt>
                <c:pt idx="5755">
                  <c:v>-2.0168067226890699E-2</c:v>
                </c:pt>
                <c:pt idx="5756">
                  <c:v>-2.0168067226890699E-2</c:v>
                </c:pt>
                <c:pt idx="5757">
                  <c:v>-2.0168067226890699E-2</c:v>
                </c:pt>
                <c:pt idx="5758">
                  <c:v>-2.0168067226890699E-2</c:v>
                </c:pt>
                <c:pt idx="5759">
                  <c:v>-2.0168067226890699E-2</c:v>
                </c:pt>
                <c:pt idx="5760">
                  <c:v>-2.0168067226890699E-2</c:v>
                </c:pt>
                <c:pt idx="5761">
                  <c:v>-2.0168067226890699E-2</c:v>
                </c:pt>
                <c:pt idx="5762">
                  <c:v>-2.0168067226890699E-2</c:v>
                </c:pt>
                <c:pt idx="5763">
                  <c:v>-2.0168067226890699E-2</c:v>
                </c:pt>
                <c:pt idx="5764">
                  <c:v>-2.0168067226890699E-2</c:v>
                </c:pt>
                <c:pt idx="5765">
                  <c:v>-2.0168067226890699E-2</c:v>
                </c:pt>
                <c:pt idx="5766">
                  <c:v>-2.0168067226890699E-2</c:v>
                </c:pt>
                <c:pt idx="5767">
                  <c:v>-2.0168067226890699E-2</c:v>
                </c:pt>
                <c:pt idx="5768">
                  <c:v>-2.0168067226890699E-2</c:v>
                </c:pt>
                <c:pt idx="5769">
                  <c:v>-2.0168067226890699E-2</c:v>
                </c:pt>
                <c:pt idx="5770">
                  <c:v>-2.0168067226890699E-2</c:v>
                </c:pt>
                <c:pt idx="5771">
                  <c:v>-1.9327731092436899E-2</c:v>
                </c:pt>
                <c:pt idx="5772">
                  <c:v>-1.9327731092436899E-2</c:v>
                </c:pt>
                <c:pt idx="5773">
                  <c:v>-1.9327731092436899E-2</c:v>
                </c:pt>
                <c:pt idx="5774">
                  <c:v>-1.9327731092436899E-2</c:v>
                </c:pt>
                <c:pt idx="5775">
                  <c:v>-1.9327731092436899E-2</c:v>
                </c:pt>
                <c:pt idx="5776">
                  <c:v>-1.9327731092436899E-2</c:v>
                </c:pt>
                <c:pt idx="5777">
                  <c:v>-1.9327731092436899E-2</c:v>
                </c:pt>
                <c:pt idx="5778">
                  <c:v>-1.9327731092436899E-2</c:v>
                </c:pt>
                <c:pt idx="5779">
                  <c:v>-1.9327731092436899E-2</c:v>
                </c:pt>
                <c:pt idx="5780">
                  <c:v>-1.84873949579831E-2</c:v>
                </c:pt>
                <c:pt idx="5781">
                  <c:v>-1.9327731092436899E-2</c:v>
                </c:pt>
                <c:pt idx="5782">
                  <c:v>-1.9327731092436899E-2</c:v>
                </c:pt>
                <c:pt idx="5783">
                  <c:v>-1.9327731092436899E-2</c:v>
                </c:pt>
                <c:pt idx="5784">
                  <c:v>-1.9327731092436899E-2</c:v>
                </c:pt>
                <c:pt idx="5785">
                  <c:v>-1.9327731092436899E-2</c:v>
                </c:pt>
                <c:pt idx="5786">
                  <c:v>-1.84873949579831E-2</c:v>
                </c:pt>
                <c:pt idx="5787">
                  <c:v>-1.84873949579831E-2</c:v>
                </c:pt>
                <c:pt idx="5788">
                  <c:v>-1.84873949579831E-2</c:v>
                </c:pt>
                <c:pt idx="5789">
                  <c:v>-1.84873949579831E-2</c:v>
                </c:pt>
                <c:pt idx="5790">
                  <c:v>-1.84873949579831E-2</c:v>
                </c:pt>
                <c:pt idx="5791">
                  <c:v>-1.84873949579831E-2</c:v>
                </c:pt>
                <c:pt idx="5792">
                  <c:v>-1.84873949579831E-2</c:v>
                </c:pt>
                <c:pt idx="5793">
                  <c:v>-1.84873949579831E-2</c:v>
                </c:pt>
                <c:pt idx="5794">
                  <c:v>-1.84873949579831E-2</c:v>
                </c:pt>
                <c:pt idx="5795">
                  <c:v>-1.84873949579831E-2</c:v>
                </c:pt>
                <c:pt idx="5796">
                  <c:v>-1.84873949579831E-2</c:v>
                </c:pt>
                <c:pt idx="5797">
                  <c:v>-1.84873949579831E-2</c:v>
                </c:pt>
                <c:pt idx="5798">
                  <c:v>-1.84873949579831E-2</c:v>
                </c:pt>
                <c:pt idx="5799">
                  <c:v>-1.84873949579831E-2</c:v>
                </c:pt>
                <c:pt idx="5800">
                  <c:v>-1.84873949579831E-2</c:v>
                </c:pt>
                <c:pt idx="5801">
                  <c:v>-1.84873949579831E-2</c:v>
                </c:pt>
                <c:pt idx="5802">
                  <c:v>-1.84873949579831E-2</c:v>
                </c:pt>
                <c:pt idx="5803">
                  <c:v>-1.84873949579831E-2</c:v>
                </c:pt>
                <c:pt idx="5804">
                  <c:v>-1.84873949579831E-2</c:v>
                </c:pt>
                <c:pt idx="5805">
                  <c:v>-1.84873949579831E-2</c:v>
                </c:pt>
                <c:pt idx="5806">
                  <c:v>-1.84873949579831E-2</c:v>
                </c:pt>
                <c:pt idx="5807">
                  <c:v>-1.84873949579831E-2</c:v>
                </c:pt>
                <c:pt idx="5808">
                  <c:v>-1.84873949579831E-2</c:v>
                </c:pt>
                <c:pt idx="5809">
                  <c:v>-1.84873949579831E-2</c:v>
                </c:pt>
                <c:pt idx="5810">
                  <c:v>-1.84873949579831E-2</c:v>
                </c:pt>
                <c:pt idx="5811">
                  <c:v>-1.84873949579831E-2</c:v>
                </c:pt>
                <c:pt idx="5812">
                  <c:v>-1.84873949579831E-2</c:v>
                </c:pt>
                <c:pt idx="5813">
                  <c:v>-1.84873949579831E-2</c:v>
                </c:pt>
                <c:pt idx="5814">
                  <c:v>-1.84873949579831E-2</c:v>
                </c:pt>
                <c:pt idx="5815">
                  <c:v>-1.84873949579831E-2</c:v>
                </c:pt>
                <c:pt idx="5816">
                  <c:v>-1.84873949579831E-2</c:v>
                </c:pt>
                <c:pt idx="5817">
                  <c:v>-1.84873949579831E-2</c:v>
                </c:pt>
                <c:pt idx="5818">
                  <c:v>-1.84873949579831E-2</c:v>
                </c:pt>
                <c:pt idx="5819">
                  <c:v>-1.84873949579831E-2</c:v>
                </c:pt>
                <c:pt idx="5820">
                  <c:v>-1.84873949579831E-2</c:v>
                </c:pt>
                <c:pt idx="5821">
                  <c:v>-1.84873949579831E-2</c:v>
                </c:pt>
                <c:pt idx="5822">
                  <c:v>-1.84873949579831E-2</c:v>
                </c:pt>
                <c:pt idx="5823">
                  <c:v>-1.84873949579831E-2</c:v>
                </c:pt>
                <c:pt idx="5824">
                  <c:v>-1.84873949579831E-2</c:v>
                </c:pt>
                <c:pt idx="5825">
                  <c:v>-1.84873949579831E-2</c:v>
                </c:pt>
                <c:pt idx="5826">
                  <c:v>-1.9327731092436899E-2</c:v>
                </c:pt>
                <c:pt idx="5827">
                  <c:v>-1.9327731092436899E-2</c:v>
                </c:pt>
                <c:pt idx="5828">
                  <c:v>-1.9327731092436899E-2</c:v>
                </c:pt>
                <c:pt idx="5829">
                  <c:v>-1.9327731092436899E-2</c:v>
                </c:pt>
                <c:pt idx="5830">
                  <c:v>-1.9327731092436899E-2</c:v>
                </c:pt>
                <c:pt idx="5831">
                  <c:v>-1.9327731092436899E-2</c:v>
                </c:pt>
                <c:pt idx="5832">
                  <c:v>-1.9327731092436899E-2</c:v>
                </c:pt>
                <c:pt idx="5833">
                  <c:v>-1.9327731092436899E-2</c:v>
                </c:pt>
                <c:pt idx="5834">
                  <c:v>-1.9327731092436899E-2</c:v>
                </c:pt>
                <c:pt idx="5835">
                  <c:v>-1.9327731092436899E-2</c:v>
                </c:pt>
                <c:pt idx="5836">
                  <c:v>-2.0168067226890699E-2</c:v>
                </c:pt>
                <c:pt idx="5837">
                  <c:v>-2.0168067226890699E-2</c:v>
                </c:pt>
                <c:pt idx="5838">
                  <c:v>-2.0168067226890699E-2</c:v>
                </c:pt>
                <c:pt idx="5839">
                  <c:v>-2.0168067226890699E-2</c:v>
                </c:pt>
                <c:pt idx="5840">
                  <c:v>-2.0168067226890699E-2</c:v>
                </c:pt>
                <c:pt idx="5841">
                  <c:v>-2.0168067226890699E-2</c:v>
                </c:pt>
                <c:pt idx="5842">
                  <c:v>-2.0168067226890699E-2</c:v>
                </c:pt>
                <c:pt idx="5843">
                  <c:v>-2.0168067226890699E-2</c:v>
                </c:pt>
                <c:pt idx="5844">
                  <c:v>-1.9327731092437E-2</c:v>
                </c:pt>
                <c:pt idx="5845">
                  <c:v>-1.9327731092437E-2</c:v>
                </c:pt>
                <c:pt idx="5846">
                  <c:v>-1.9327731092437E-2</c:v>
                </c:pt>
                <c:pt idx="5847">
                  <c:v>-1.9327731092437E-2</c:v>
                </c:pt>
                <c:pt idx="5848">
                  <c:v>-1.9327731092437E-2</c:v>
                </c:pt>
                <c:pt idx="5849">
                  <c:v>-1.9327731092437E-2</c:v>
                </c:pt>
                <c:pt idx="5850">
                  <c:v>-1.9327731092437E-2</c:v>
                </c:pt>
                <c:pt idx="5851">
                  <c:v>-1.9327731092437E-2</c:v>
                </c:pt>
                <c:pt idx="5852">
                  <c:v>-2.0168067226890699E-2</c:v>
                </c:pt>
                <c:pt idx="5853">
                  <c:v>-2.0168067226890699E-2</c:v>
                </c:pt>
                <c:pt idx="5854">
                  <c:v>-2.0168067226890699E-2</c:v>
                </c:pt>
                <c:pt idx="5855">
                  <c:v>-2.0168067226890699E-2</c:v>
                </c:pt>
                <c:pt idx="5856">
                  <c:v>-2.1008403361344501E-2</c:v>
                </c:pt>
                <c:pt idx="5857">
                  <c:v>-2.1848739495798301E-2</c:v>
                </c:pt>
                <c:pt idx="5858">
                  <c:v>-2.1848739495798301E-2</c:v>
                </c:pt>
                <c:pt idx="5859">
                  <c:v>-2.1848739495798301E-2</c:v>
                </c:pt>
                <c:pt idx="5860">
                  <c:v>-2.1008403361344501E-2</c:v>
                </c:pt>
                <c:pt idx="5861">
                  <c:v>-2.1008403361344501E-2</c:v>
                </c:pt>
                <c:pt idx="5862">
                  <c:v>-2.1008403361344501E-2</c:v>
                </c:pt>
                <c:pt idx="5863">
                  <c:v>-2.1008403361344501E-2</c:v>
                </c:pt>
                <c:pt idx="5864">
                  <c:v>-2.1008403361344501E-2</c:v>
                </c:pt>
                <c:pt idx="5865">
                  <c:v>-2.1008403361344501E-2</c:v>
                </c:pt>
                <c:pt idx="5866">
                  <c:v>-2.1008403361344501E-2</c:v>
                </c:pt>
                <c:pt idx="5867">
                  <c:v>-2.1008403361344501E-2</c:v>
                </c:pt>
                <c:pt idx="5868">
                  <c:v>-2.1008403361344501E-2</c:v>
                </c:pt>
                <c:pt idx="5869">
                  <c:v>-2.1008403361344501E-2</c:v>
                </c:pt>
                <c:pt idx="5870">
                  <c:v>-2.1008403361344501E-2</c:v>
                </c:pt>
                <c:pt idx="5871">
                  <c:v>-2.1008403361344501E-2</c:v>
                </c:pt>
                <c:pt idx="5872">
                  <c:v>-2.1848739495798301E-2</c:v>
                </c:pt>
                <c:pt idx="5873">
                  <c:v>-2.1848739495798301E-2</c:v>
                </c:pt>
                <c:pt idx="5874">
                  <c:v>-2.1848739495798301E-2</c:v>
                </c:pt>
                <c:pt idx="5875">
                  <c:v>-2.1848739495798301E-2</c:v>
                </c:pt>
                <c:pt idx="5876">
                  <c:v>-2.1848739495798301E-2</c:v>
                </c:pt>
                <c:pt idx="5877">
                  <c:v>-2.1848739495798301E-2</c:v>
                </c:pt>
                <c:pt idx="5878">
                  <c:v>-2.1848739495798301E-2</c:v>
                </c:pt>
                <c:pt idx="5879">
                  <c:v>-2.1848739495798301E-2</c:v>
                </c:pt>
                <c:pt idx="5880">
                  <c:v>-2.1848739495798301E-2</c:v>
                </c:pt>
                <c:pt idx="5881">
                  <c:v>-2.1848739495798301E-2</c:v>
                </c:pt>
                <c:pt idx="5882">
                  <c:v>-2.1848739495798301E-2</c:v>
                </c:pt>
                <c:pt idx="5883">
                  <c:v>-2.1848739495798301E-2</c:v>
                </c:pt>
                <c:pt idx="5884">
                  <c:v>-2.1848739495798301E-2</c:v>
                </c:pt>
                <c:pt idx="5885">
                  <c:v>-2.1848739495798301E-2</c:v>
                </c:pt>
                <c:pt idx="5886">
                  <c:v>-2.1848739495798301E-2</c:v>
                </c:pt>
                <c:pt idx="5887">
                  <c:v>-2.1848739495798301E-2</c:v>
                </c:pt>
                <c:pt idx="5888">
                  <c:v>-2.1008403361344501E-2</c:v>
                </c:pt>
                <c:pt idx="5889">
                  <c:v>-2.1008403361344501E-2</c:v>
                </c:pt>
                <c:pt idx="5890">
                  <c:v>-2.1008403361344501E-2</c:v>
                </c:pt>
                <c:pt idx="5891">
                  <c:v>-2.1008403361344501E-2</c:v>
                </c:pt>
                <c:pt idx="5892">
                  <c:v>-2.1008403361344501E-2</c:v>
                </c:pt>
                <c:pt idx="5893">
                  <c:v>-2.1008403361344501E-2</c:v>
                </c:pt>
                <c:pt idx="5894">
                  <c:v>-2.1008403361344501E-2</c:v>
                </c:pt>
                <c:pt idx="5895">
                  <c:v>-2.1008403361344501E-2</c:v>
                </c:pt>
                <c:pt idx="5896">
                  <c:v>-2.1008403361344501E-2</c:v>
                </c:pt>
                <c:pt idx="5897">
                  <c:v>-2.1008403361344501E-2</c:v>
                </c:pt>
                <c:pt idx="5898">
                  <c:v>-2.1008403361344501E-2</c:v>
                </c:pt>
                <c:pt idx="5899">
                  <c:v>-2.1008403361344501E-2</c:v>
                </c:pt>
                <c:pt idx="5900">
                  <c:v>-2.1008403361344501E-2</c:v>
                </c:pt>
                <c:pt idx="5901">
                  <c:v>-2.1008403361344501E-2</c:v>
                </c:pt>
                <c:pt idx="5902">
                  <c:v>-2.1008403361344501E-2</c:v>
                </c:pt>
                <c:pt idx="5903">
                  <c:v>-2.1008403361344501E-2</c:v>
                </c:pt>
                <c:pt idx="5904">
                  <c:v>-2.1008403361344501E-2</c:v>
                </c:pt>
                <c:pt idx="5905">
                  <c:v>-2.1008403361344501E-2</c:v>
                </c:pt>
                <c:pt idx="5906">
                  <c:v>-2.1008403361344501E-2</c:v>
                </c:pt>
                <c:pt idx="5907">
                  <c:v>-2.1008403361344501E-2</c:v>
                </c:pt>
                <c:pt idx="5908">
                  <c:v>-2.1008403361344501E-2</c:v>
                </c:pt>
                <c:pt idx="5909">
                  <c:v>-2.1008403361344501E-2</c:v>
                </c:pt>
                <c:pt idx="5910">
                  <c:v>-2.1008403361344501E-2</c:v>
                </c:pt>
                <c:pt idx="5911">
                  <c:v>-2.1008403361344501E-2</c:v>
                </c:pt>
                <c:pt idx="5912">
                  <c:v>-2.1008403361344501E-2</c:v>
                </c:pt>
                <c:pt idx="5913">
                  <c:v>-2.1008403361344501E-2</c:v>
                </c:pt>
                <c:pt idx="5914">
                  <c:v>-2.1008403361344501E-2</c:v>
                </c:pt>
                <c:pt idx="5915">
                  <c:v>-2.1008403361344501E-2</c:v>
                </c:pt>
                <c:pt idx="5916">
                  <c:v>-2.1008403361344501E-2</c:v>
                </c:pt>
                <c:pt idx="5917">
                  <c:v>-2.1008403361344501E-2</c:v>
                </c:pt>
                <c:pt idx="5918">
                  <c:v>-2.1008403361344501E-2</c:v>
                </c:pt>
                <c:pt idx="5919">
                  <c:v>-2.1008403361344501E-2</c:v>
                </c:pt>
                <c:pt idx="5920">
                  <c:v>-2.1008403361344501E-2</c:v>
                </c:pt>
                <c:pt idx="5921">
                  <c:v>-2.1008403361344501E-2</c:v>
                </c:pt>
                <c:pt idx="5922">
                  <c:v>-2.1008403361344501E-2</c:v>
                </c:pt>
                <c:pt idx="5923">
                  <c:v>-2.1848739495798301E-2</c:v>
                </c:pt>
                <c:pt idx="5924">
                  <c:v>-2.1848739495798301E-2</c:v>
                </c:pt>
                <c:pt idx="5925">
                  <c:v>-2.1848739495798301E-2</c:v>
                </c:pt>
                <c:pt idx="5926">
                  <c:v>-2.1848739495798301E-2</c:v>
                </c:pt>
                <c:pt idx="5927">
                  <c:v>-2.1848739495798301E-2</c:v>
                </c:pt>
                <c:pt idx="5928">
                  <c:v>-2.1848739495798301E-2</c:v>
                </c:pt>
                <c:pt idx="5929">
                  <c:v>-2.1848739495798301E-2</c:v>
                </c:pt>
                <c:pt idx="5930">
                  <c:v>-2.1848739495798301E-2</c:v>
                </c:pt>
                <c:pt idx="5931">
                  <c:v>-2.1848739495798301E-2</c:v>
                </c:pt>
                <c:pt idx="5932">
                  <c:v>-2.1848739495798301E-2</c:v>
                </c:pt>
                <c:pt idx="5933">
                  <c:v>-2.1848739495798301E-2</c:v>
                </c:pt>
                <c:pt idx="5934">
                  <c:v>-2.1848739495798301E-2</c:v>
                </c:pt>
                <c:pt idx="5935">
                  <c:v>-2.1848739495798301E-2</c:v>
                </c:pt>
                <c:pt idx="5936">
                  <c:v>-2.1848739495798301E-2</c:v>
                </c:pt>
                <c:pt idx="5937">
                  <c:v>-2.1848739495798301E-2</c:v>
                </c:pt>
                <c:pt idx="5938">
                  <c:v>-2.1848739495798301E-2</c:v>
                </c:pt>
                <c:pt idx="5939">
                  <c:v>-2.1008403361344501E-2</c:v>
                </c:pt>
                <c:pt idx="5940">
                  <c:v>-2.1008403361344501E-2</c:v>
                </c:pt>
                <c:pt idx="5941">
                  <c:v>-2.1008403361344501E-2</c:v>
                </c:pt>
                <c:pt idx="5942">
                  <c:v>-2.1008403361344501E-2</c:v>
                </c:pt>
                <c:pt idx="5943">
                  <c:v>-2.1008403361344501E-2</c:v>
                </c:pt>
                <c:pt idx="5944">
                  <c:v>-2.1008403361344501E-2</c:v>
                </c:pt>
                <c:pt idx="5945">
                  <c:v>-2.1008403361344501E-2</c:v>
                </c:pt>
                <c:pt idx="5946">
                  <c:v>-2.1008403361344501E-2</c:v>
                </c:pt>
                <c:pt idx="5947">
                  <c:v>-2.1008403361344501E-2</c:v>
                </c:pt>
                <c:pt idx="5948">
                  <c:v>-2.1008403361344501E-2</c:v>
                </c:pt>
                <c:pt idx="5949">
                  <c:v>-2.1008403361344501E-2</c:v>
                </c:pt>
                <c:pt idx="5950">
                  <c:v>-2.1008403361344501E-2</c:v>
                </c:pt>
                <c:pt idx="5951">
                  <c:v>-2.1008403361344501E-2</c:v>
                </c:pt>
                <c:pt idx="5952">
                  <c:v>-2.1008403361344501E-2</c:v>
                </c:pt>
                <c:pt idx="5953">
                  <c:v>-2.1008403361344501E-2</c:v>
                </c:pt>
                <c:pt idx="5954">
                  <c:v>-2.1008403361344501E-2</c:v>
                </c:pt>
                <c:pt idx="5955">
                  <c:v>-2.1008403361344501E-2</c:v>
                </c:pt>
                <c:pt idx="5956">
                  <c:v>-2.1008403361344501E-2</c:v>
                </c:pt>
                <c:pt idx="5957">
                  <c:v>-2.1008403361344501E-2</c:v>
                </c:pt>
                <c:pt idx="5958">
                  <c:v>-2.1008403361344501E-2</c:v>
                </c:pt>
                <c:pt idx="5959">
                  <c:v>-2.1008403361344501E-2</c:v>
                </c:pt>
                <c:pt idx="5960">
                  <c:v>-2.1008403361344501E-2</c:v>
                </c:pt>
                <c:pt idx="5961">
                  <c:v>-2.1008403361344501E-2</c:v>
                </c:pt>
                <c:pt idx="5962">
                  <c:v>-2.1008403361344501E-2</c:v>
                </c:pt>
                <c:pt idx="5963">
                  <c:v>-2.1008403361344501E-2</c:v>
                </c:pt>
                <c:pt idx="5964">
                  <c:v>-2.1008403361344501E-2</c:v>
                </c:pt>
                <c:pt idx="5965">
                  <c:v>-2.1008403361344501E-2</c:v>
                </c:pt>
                <c:pt idx="5966">
                  <c:v>-2.1008403361344501E-2</c:v>
                </c:pt>
                <c:pt idx="5967">
                  <c:v>-2.1008403361344501E-2</c:v>
                </c:pt>
                <c:pt idx="5968">
                  <c:v>-2.1008403361344501E-2</c:v>
                </c:pt>
                <c:pt idx="5969">
                  <c:v>-2.1008403361344501E-2</c:v>
                </c:pt>
                <c:pt idx="5970">
                  <c:v>-2.0168067226890699E-2</c:v>
                </c:pt>
                <c:pt idx="5971">
                  <c:v>-2.0168067226890699E-2</c:v>
                </c:pt>
                <c:pt idx="5972">
                  <c:v>-2.0168067226890699E-2</c:v>
                </c:pt>
                <c:pt idx="5973">
                  <c:v>-2.0168067226890699E-2</c:v>
                </c:pt>
                <c:pt idx="5974">
                  <c:v>-2.0168067226890699E-2</c:v>
                </c:pt>
                <c:pt idx="5975">
                  <c:v>-2.0168067226890699E-2</c:v>
                </c:pt>
                <c:pt idx="5976">
                  <c:v>-2.0168067226890699E-2</c:v>
                </c:pt>
                <c:pt idx="5977">
                  <c:v>-2.0168067226890699E-2</c:v>
                </c:pt>
                <c:pt idx="5978">
                  <c:v>-2.0168067226890699E-2</c:v>
                </c:pt>
                <c:pt idx="5979">
                  <c:v>-2.0168067226890699E-2</c:v>
                </c:pt>
                <c:pt idx="5980">
                  <c:v>-2.0168067226890699E-2</c:v>
                </c:pt>
                <c:pt idx="5981">
                  <c:v>-2.1008403361344501E-2</c:v>
                </c:pt>
                <c:pt idx="5982">
                  <c:v>-2.1008403361344501E-2</c:v>
                </c:pt>
                <c:pt idx="5983">
                  <c:v>-2.1008403361344501E-2</c:v>
                </c:pt>
                <c:pt idx="5984">
                  <c:v>-2.1008403361344501E-2</c:v>
                </c:pt>
                <c:pt idx="5985">
                  <c:v>-2.1008403361344501E-2</c:v>
                </c:pt>
                <c:pt idx="5986">
                  <c:v>-2.18487394957982E-2</c:v>
                </c:pt>
                <c:pt idx="5987">
                  <c:v>-2.18487394957982E-2</c:v>
                </c:pt>
                <c:pt idx="5988">
                  <c:v>-2.18487394957982E-2</c:v>
                </c:pt>
                <c:pt idx="5989">
                  <c:v>-2.18487394957982E-2</c:v>
                </c:pt>
                <c:pt idx="5990">
                  <c:v>-2.18487394957982E-2</c:v>
                </c:pt>
                <c:pt idx="5991">
                  <c:v>-2.18487394957982E-2</c:v>
                </c:pt>
                <c:pt idx="5992">
                  <c:v>-2.18487394957982E-2</c:v>
                </c:pt>
                <c:pt idx="5993">
                  <c:v>-2.18487394957982E-2</c:v>
                </c:pt>
                <c:pt idx="5994">
                  <c:v>-2.18487394957982E-2</c:v>
                </c:pt>
                <c:pt idx="5995">
                  <c:v>-2.18487394957982E-2</c:v>
                </c:pt>
                <c:pt idx="5996">
                  <c:v>-2.18487394957982E-2</c:v>
                </c:pt>
                <c:pt idx="5997">
                  <c:v>-2.18487394957982E-2</c:v>
                </c:pt>
                <c:pt idx="5998">
                  <c:v>-2.18487394957982E-2</c:v>
                </c:pt>
                <c:pt idx="5999">
                  <c:v>-2.18487394957982E-2</c:v>
                </c:pt>
                <c:pt idx="6000">
                  <c:v>-2.18487394957982E-2</c:v>
                </c:pt>
                <c:pt idx="6001">
                  <c:v>-2.18487394957982E-2</c:v>
                </c:pt>
                <c:pt idx="6002">
                  <c:v>-2.18487394957982E-2</c:v>
                </c:pt>
                <c:pt idx="6003">
                  <c:v>-2.18487394957982E-2</c:v>
                </c:pt>
                <c:pt idx="6004">
                  <c:v>-2.18487394957982E-2</c:v>
                </c:pt>
                <c:pt idx="6005">
                  <c:v>-2.18487394957982E-2</c:v>
                </c:pt>
                <c:pt idx="6006">
                  <c:v>-2.2689075630251999E-2</c:v>
                </c:pt>
                <c:pt idx="6007">
                  <c:v>-2.2689075630251999E-2</c:v>
                </c:pt>
                <c:pt idx="6008">
                  <c:v>-2.2689075630251999E-2</c:v>
                </c:pt>
                <c:pt idx="6009">
                  <c:v>-2.2689075630251999E-2</c:v>
                </c:pt>
                <c:pt idx="6010">
                  <c:v>-2.3529411764705799E-2</c:v>
                </c:pt>
                <c:pt idx="6011">
                  <c:v>-2.3529411764705799E-2</c:v>
                </c:pt>
                <c:pt idx="6012">
                  <c:v>-2.4369747899159602E-2</c:v>
                </c:pt>
                <c:pt idx="6013">
                  <c:v>-2.4369747899159602E-2</c:v>
                </c:pt>
                <c:pt idx="6014">
                  <c:v>-2.4369747899159602E-2</c:v>
                </c:pt>
                <c:pt idx="6015">
                  <c:v>-2.4369747899159602E-2</c:v>
                </c:pt>
                <c:pt idx="6016">
                  <c:v>-2.4369747899159602E-2</c:v>
                </c:pt>
                <c:pt idx="6017">
                  <c:v>-2.4369747899159602E-2</c:v>
                </c:pt>
                <c:pt idx="6018">
                  <c:v>-2.4369747899159602E-2</c:v>
                </c:pt>
                <c:pt idx="6019">
                  <c:v>-2.4369747899159602E-2</c:v>
                </c:pt>
                <c:pt idx="6020">
                  <c:v>-2.4369747899159602E-2</c:v>
                </c:pt>
                <c:pt idx="6021">
                  <c:v>-2.4369747899159602E-2</c:v>
                </c:pt>
                <c:pt idx="6022">
                  <c:v>-2.4369747899159602E-2</c:v>
                </c:pt>
                <c:pt idx="6023">
                  <c:v>-2.4369747899159602E-2</c:v>
                </c:pt>
                <c:pt idx="6024">
                  <c:v>-2.4369747899159602E-2</c:v>
                </c:pt>
                <c:pt idx="6025">
                  <c:v>-2.4369747899159602E-2</c:v>
                </c:pt>
                <c:pt idx="6026">
                  <c:v>-2.4369747899159602E-2</c:v>
                </c:pt>
                <c:pt idx="6027">
                  <c:v>-2.4369747899159602E-2</c:v>
                </c:pt>
                <c:pt idx="6028">
                  <c:v>-2.4369747899159602E-2</c:v>
                </c:pt>
                <c:pt idx="6029">
                  <c:v>-2.4369747899159602E-2</c:v>
                </c:pt>
                <c:pt idx="6030">
                  <c:v>-2.4369747899159602E-2</c:v>
                </c:pt>
                <c:pt idx="6031">
                  <c:v>-2.4369747899159602E-2</c:v>
                </c:pt>
                <c:pt idx="6032">
                  <c:v>-2.4369747899159602E-2</c:v>
                </c:pt>
                <c:pt idx="6033">
                  <c:v>-2.5210084033613401E-2</c:v>
                </c:pt>
                <c:pt idx="6034">
                  <c:v>-2.5210084033613401E-2</c:v>
                </c:pt>
                <c:pt idx="6035">
                  <c:v>-2.5210084033613401E-2</c:v>
                </c:pt>
                <c:pt idx="6036">
                  <c:v>-2.5210084033613401E-2</c:v>
                </c:pt>
                <c:pt idx="6037">
                  <c:v>-2.5210084033613401E-2</c:v>
                </c:pt>
                <c:pt idx="6038">
                  <c:v>-2.5210084033613401E-2</c:v>
                </c:pt>
                <c:pt idx="6039">
                  <c:v>-2.5210084033613401E-2</c:v>
                </c:pt>
                <c:pt idx="6040">
                  <c:v>-2.5210084033613401E-2</c:v>
                </c:pt>
                <c:pt idx="6041">
                  <c:v>-2.5210084033613401E-2</c:v>
                </c:pt>
                <c:pt idx="6042">
                  <c:v>-2.5210084033613401E-2</c:v>
                </c:pt>
                <c:pt idx="6043">
                  <c:v>-2.5210084033613401E-2</c:v>
                </c:pt>
                <c:pt idx="6044">
                  <c:v>-2.5210084033613401E-2</c:v>
                </c:pt>
                <c:pt idx="6045">
                  <c:v>-2.5210084033613401E-2</c:v>
                </c:pt>
                <c:pt idx="6046">
                  <c:v>-2.5210084033613401E-2</c:v>
                </c:pt>
                <c:pt idx="6047">
                  <c:v>-2.5210084033613401E-2</c:v>
                </c:pt>
                <c:pt idx="6048">
                  <c:v>-2.5210084033613401E-2</c:v>
                </c:pt>
                <c:pt idx="6049">
                  <c:v>-2.5210084033613401E-2</c:v>
                </c:pt>
                <c:pt idx="6050">
                  <c:v>-2.5210084033613401E-2</c:v>
                </c:pt>
                <c:pt idx="6051">
                  <c:v>-2.5210084033613401E-2</c:v>
                </c:pt>
                <c:pt idx="6052">
                  <c:v>-2.5210084033613401E-2</c:v>
                </c:pt>
                <c:pt idx="6053">
                  <c:v>-2.5210084033613401E-2</c:v>
                </c:pt>
                <c:pt idx="6054">
                  <c:v>-2.5210084033613401E-2</c:v>
                </c:pt>
                <c:pt idx="6055">
                  <c:v>-2.5210084033613401E-2</c:v>
                </c:pt>
                <c:pt idx="6056">
                  <c:v>-2.5210084033613401E-2</c:v>
                </c:pt>
                <c:pt idx="6057">
                  <c:v>-2.5210084033613401E-2</c:v>
                </c:pt>
                <c:pt idx="6058">
                  <c:v>-2.5210084033613401E-2</c:v>
                </c:pt>
                <c:pt idx="6059">
                  <c:v>-2.5210084033613401E-2</c:v>
                </c:pt>
                <c:pt idx="6060">
                  <c:v>-2.5210084033613401E-2</c:v>
                </c:pt>
                <c:pt idx="6061">
                  <c:v>-2.5210084033613401E-2</c:v>
                </c:pt>
                <c:pt idx="6062">
                  <c:v>-2.5210084033613401E-2</c:v>
                </c:pt>
                <c:pt idx="6063">
                  <c:v>-2.5210084033613401E-2</c:v>
                </c:pt>
                <c:pt idx="6064">
                  <c:v>-2.5210084033613401E-2</c:v>
                </c:pt>
                <c:pt idx="6065">
                  <c:v>-2.60504201680671E-2</c:v>
                </c:pt>
                <c:pt idx="6066">
                  <c:v>-2.60504201680671E-2</c:v>
                </c:pt>
                <c:pt idx="6067">
                  <c:v>-2.60504201680671E-2</c:v>
                </c:pt>
                <c:pt idx="6068">
                  <c:v>-2.60504201680671E-2</c:v>
                </c:pt>
                <c:pt idx="6069">
                  <c:v>-2.60504201680671E-2</c:v>
                </c:pt>
                <c:pt idx="6070">
                  <c:v>-2.60504201680671E-2</c:v>
                </c:pt>
                <c:pt idx="6071">
                  <c:v>-2.60504201680671E-2</c:v>
                </c:pt>
                <c:pt idx="6072">
                  <c:v>-2.60504201680671E-2</c:v>
                </c:pt>
                <c:pt idx="6073">
                  <c:v>-2.60504201680671E-2</c:v>
                </c:pt>
                <c:pt idx="6074">
                  <c:v>-2.60504201680671E-2</c:v>
                </c:pt>
                <c:pt idx="6075">
                  <c:v>-2.60504201680671E-2</c:v>
                </c:pt>
                <c:pt idx="6076">
                  <c:v>-2.60504201680671E-2</c:v>
                </c:pt>
                <c:pt idx="6077">
                  <c:v>-2.60504201680671E-2</c:v>
                </c:pt>
                <c:pt idx="6078">
                  <c:v>-2.60504201680671E-2</c:v>
                </c:pt>
                <c:pt idx="6079">
                  <c:v>-2.60504201680671E-2</c:v>
                </c:pt>
                <c:pt idx="6080">
                  <c:v>-2.5210084033613401E-2</c:v>
                </c:pt>
                <c:pt idx="6081">
                  <c:v>-2.5210084033613401E-2</c:v>
                </c:pt>
                <c:pt idx="6082">
                  <c:v>-2.5210084033613401E-2</c:v>
                </c:pt>
                <c:pt idx="6083">
                  <c:v>-2.5210084033613401E-2</c:v>
                </c:pt>
                <c:pt idx="6084">
                  <c:v>-2.5210084033613401E-2</c:v>
                </c:pt>
                <c:pt idx="6085">
                  <c:v>-2.5210084033613401E-2</c:v>
                </c:pt>
                <c:pt idx="6086">
                  <c:v>-2.5210084033613401E-2</c:v>
                </c:pt>
                <c:pt idx="6087">
                  <c:v>-2.5210084033613401E-2</c:v>
                </c:pt>
                <c:pt idx="6088">
                  <c:v>-2.5210084033613401E-2</c:v>
                </c:pt>
                <c:pt idx="6089">
                  <c:v>-2.5210084033613401E-2</c:v>
                </c:pt>
                <c:pt idx="6090">
                  <c:v>-2.5210084033613401E-2</c:v>
                </c:pt>
                <c:pt idx="6091">
                  <c:v>-2.5210084033613401E-2</c:v>
                </c:pt>
                <c:pt idx="6092">
                  <c:v>-2.5210084033613401E-2</c:v>
                </c:pt>
                <c:pt idx="6093">
                  <c:v>-2.4369747899159602E-2</c:v>
                </c:pt>
                <c:pt idx="6094">
                  <c:v>-2.4369747899159602E-2</c:v>
                </c:pt>
                <c:pt idx="6095">
                  <c:v>-2.5210084033613401E-2</c:v>
                </c:pt>
                <c:pt idx="6096">
                  <c:v>-2.5210084033613401E-2</c:v>
                </c:pt>
                <c:pt idx="6097">
                  <c:v>-2.5210084033613401E-2</c:v>
                </c:pt>
                <c:pt idx="6098">
                  <c:v>-2.5210084033613401E-2</c:v>
                </c:pt>
                <c:pt idx="6099">
                  <c:v>-2.5210084033613401E-2</c:v>
                </c:pt>
                <c:pt idx="6100">
                  <c:v>-2.5210084033613401E-2</c:v>
                </c:pt>
                <c:pt idx="6101">
                  <c:v>-2.5210084033613401E-2</c:v>
                </c:pt>
                <c:pt idx="6102">
                  <c:v>-2.5210084033613401E-2</c:v>
                </c:pt>
                <c:pt idx="6103">
                  <c:v>-2.5210084033613401E-2</c:v>
                </c:pt>
                <c:pt idx="6104">
                  <c:v>-2.5210084033613401E-2</c:v>
                </c:pt>
                <c:pt idx="6105">
                  <c:v>-2.5210084033613401E-2</c:v>
                </c:pt>
                <c:pt idx="6106">
                  <c:v>-2.5210084033613401E-2</c:v>
                </c:pt>
                <c:pt idx="6107">
                  <c:v>-2.5210084033613401E-2</c:v>
                </c:pt>
                <c:pt idx="6108">
                  <c:v>-2.5210084033613401E-2</c:v>
                </c:pt>
                <c:pt idx="6109">
                  <c:v>-2.5210084033613401E-2</c:v>
                </c:pt>
                <c:pt idx="6110">
                  <c:v>-2.5210084033613401E-2</c:v>
                </c:pt>
                <c:pt idx="6111">
                  <c:v>-2.5210084033613401E-2</c:v>
                </c:pt>
                <c:pt idx="6112">
                  <c:v>-2.5210084033613401E-2</c:v>
                </c:pt>
                <c:pt idx="6113">
                  <c:v>-2.5210084033613401E-2</c:v>
                </c:pt>
                <c:pt idx="6114">
                  <c:v>-2.5210084033613401E-2</c:v>
                </c:pt>
                <c:pt idx="6115">
                  <c:v>-2.5210084033613401E-2</c:v>
                </c:pt>
                <c:pt idx="6116">
                  <c:v>-2.5210084033613401E-2</c:v>
                </c:pt>
                <c:pt idx="6117">
                  <c:v>-2.5210084033613401E-2</c:v>
                </c:pt>
                <c:pt idx="6118">
                  <c:v>-2.5210084033613401E-2</c:v>
                </c:pt>
                <c:pt idx="6119">
                  <c:v>-2.5210084033613401E-2</c:v>
                </c:pt>
                <c:pt idx="6120">
                  <c:v>-2.5210084033613401E-2</c:v>
                </c:pt>
                <c:pt idx="6121">
                  <c:v>-2.5210084033613401E-2</c:v>
                </c:pt>
                <c:pt idx="6122">
                  <c:v>-2.5210084033613401E-2</c:v>
                </c:pt>
                <c:pt idx="6123">
                  <c:v>-2.5210084033613401E-2</c:v>
                </c:pt>
                <c:pt idx="6124">
                  <c:v>-2.5210084033613401E-2</c:v>
                </c:pt>
                <c:pt idx="6125">
                  <c:v>-2.5210084033613401E-2</c:v>
                </c:pt>
                <c:pt idx="6126">
                  <c:v>-2.5210084033613401E-2</c:v>
                </c:pt>
                <c:pt idx="6127">
                  <c:v>-2.5210084033613401E-2</c:v>
                </c:pt>
                <c:pt idx="6128">
                  <c:v>-2.5210084033613401E-2</c:v>
                </c:pt>
                <c:pt idx="6129">
                  <c:v>-2.5210084033613401E-2</c:v>
                </c:pt>
                <c:pt idx="6130">
                  <c:v>-2.5210084033613401E-2</c:v>
                </c:pt>
                <c:pt idx="6131">
                  <c:v>-2.5210084033613401E-2</c:v>
                </c:pt>
                <c:pt idx="6132">
                  <c:v>-2.5210084033613401E-2</c:v>
                </c:pt>
                <c:pt idx="6133">
                  <c:v>-2.5210084033613401E-2</c:v>
                </c:pt>
                <c:pt idx="6134">
                  <c:v>-2.5210084033613401E-2</c:v>
                </c:pt>
                <c:pt idx="6135">
                  <c:v>-2.5210084033613401E-2</c:v>
                </c:pt>
                <c:pt idx="6136">
                  <c:v>-2.5210084033613401E-2</c:v>
                </c:pt>
                <c:pt idx="6137">
                  <c:v>-2.5210084033613401E-2</c:v>
                </c:pt>
                <c:pt idx="6138">
                  <c:v>-2.5210084033613401E-2</c:v>
                </c:pt>
                <c:pt idx="6139">
                  <c:v>-2.5210084033613401E-2</c:v>
                </c:pt>
                <c:pt idx="6140">
                  <c:v>-2.60504201680671E-2</c:v>
                </c:pt>
                <c:pt idx="6141">
                  <c:v>-2.60504201680671E-2</c:v>
                </c:pt>
                <c:pt idx="6142">
                  <c:v>-2.60504201680671E-2</c:v>
                </c:pt>
                <c:pt idx="6143">
                  <c:v>-2.60504201680671E-2</c:v>
                </c:pt>
                <c:pt idx="6144">
                  <c:v>-2.60504201680671E-2</c:v>
                </c:pt>
                <c:pt idx="6145">
                  <c:v>-2.60504201680671E-2</c:v>
                </c:pt>
                <c:pt idx="6146">
                  <c:v>-2.60504201680671E-2</c:v>
                </c:pt>
                <c:pt idx="6147">
                  <c:v>-2.60504201680671E-2</c:v>
                </c:pt>
                <c:pt idx="6148">
                  <c:v>-2.60504201680671E-2</c:v>
                </c:pt>
                <c:pt idx="6149">
                  <c:v>-2.60504201680671E-2</c:v>
                </c:pt>
                <c:pt idx="6150">
                  <c:v>-2.60504201680671E-2</c:v>
                </c:pt>
                <c:pt idx="6151">
                  <c:v>-2.60504201680671E-2</c:v>
                </c:pt>
                <c:pt idx="6152">
                  <c:v>-2.60504201680671E-2</c:v>
                </c:pt>
                <c:pt idx="6153">
                  <c:v>-2.60504201680671E-2</c:v>
                </c:pt>
                <c:pt idx="6154">
                  <c:v>-2.60504201680671E-2</c:v>
                </c:pt>
                <c:pt idx="6155">
                  <c:v>-2.60504201680671E-2</c:v>
                </c:pt>
                <c:pt idx="6156">
                  <c:v>-2.60504201680671E-2</c:v>
                </c:pt>
                <c:pt idx="6157">
                  <c:v>-2.60504201680671E-2</c:v>
                </c:pt>
                <c:pt idx="6158">
                  <c:v>-2.60504201680671E-2</c:v>
                </c:pt>
                <c:pt idx="6159">
                  <c:v>-2.60504201680671E-2</c:v>
                </c:pt>
                <c:pt idx="6160">
                  <c:v>-2.60504201680671E-2</c:v>
                </c:pt>
                <c:pt idx="6161">
                  <c:v>-2.60504201680671E-2</c:v>
                </c:pt>
                <c:pt idx="6162">
                  <c:v>-2.60504201680671E-2</c:v>
                </c:pt>
                <c:pt idx="6163">
                  <c:v>-2.60504201680671E-2</c:v>
                </c:pt>
                <c:pt idx="6164">
                  <c:v>-2.6890756302520899E-2</c:v>
                </c:pt>
                <c:pt idx="6165">
                  <c:v>-2.6890756302520899E-2</c:v>
                </c:pt>
                <c:pt idx="6166">
                  <c:v>-2.6890756302520899E-2</c:v>
                </c:pt>
                <c:pt idx="6167">
                  <c:v>-2.6890756302520899E-2</c:v>
                </c:pt>
                <c:pt idx="6168">
                  <c:v>-2.6890756302520899E-2</c:v>
                </c:pt>
                <c:pt idx="6169">
                  <c:v>-2.6890756302520899E-2</c:v>
                </c:pt>
                <c:pt idx="6170">
                  <c:v>-2.6890756302520899E-2</c:v>
                </c:pt>
                <c:pt idx="6171">
                  <c:v>-2.6890756302520899E-2</c:v>
                </c:pt>
                <c:pt idx="6172">
                  <c:v>-2.6890756302520899E-2</c:v>
                </c:pt>
                <c:pt idx="6173">
                  <c:v>-2.6890756302520899E-2</c:v>
                </c:pt>
                <c:pt idx="6174">
                  <c:v>-2.6890756302520899E-2</c:v>
                </c:pt>
                <c:pt idx="6175">
                  <c:v>-2.6890756302520899E-2</c:v>
                </c:pt>
                <c:pt idx="6176">
                  <c:v>-2.6890756302520899E-2</c:v>
                </c:pt>
                <c:pt idx="6177">
                  <c:v>-2.6890756302520899E-2</c:v>
                </c:pt>
                <c:pt idx="6178">
                  <c:v>-2.6890756302520899E-2</c:v>
                </c:pt>
                <c:pt idx="6179">
                  <c:v>-2.6890756302520899E-2</c:v>
                </c:pt>
                <c:pt idx="6180">
                  <c:v>-2.6890756302520899E-2</c:v>
                </c:pt>
                <c:pt idx="6181">
                  <c:v>-2.6890756302520899E-2</c:v>
                </c:pt>
                <c:pt idx="6182">
                  <c:v>-2.6890756302520899E-2</c:v>
                </c:pt>
                <c:pt idx="6183">
                  <c:v>-2.6890756302520899E-2</c:v>
                </c:pt>
                <c:pt idx="6184">
                  <c:v>-2.6890756302520899E-2</c:v>
                </c:pt>
                <c:pt idx="6185">
                  <c:v>-2.6890756302520899E-2</c:v>
                </c:pt>
                <c:pt idx="6186">
                  <c:v>-2.6890756302520899E-2</c:v>
                </c:pt>
                <c:pt idx="6187">
                  <c:v>-2.6890756302520899E-2</c:v>
                </c:pt>
                <c:pt idx="6188">
                  <c:v>-2.6890756302520899E-2</c:v>
                </c:pt>
                <c:pt idx="6189">
                  <c:v>-2.6890756302520899E-2</c:v>
                </c:pt>
                <c:pt idx="6190">
                  <c:v>-2.6890756302520899E-2</c:v>
                </c:pt>
                <c:pt idx="6191">
                  <c:v>-2.6890756302520899E-2</c:v>
                </c:pt>
                <c:pt idx="6192">
                  <c:v>-2.6890756302520899E-2</c:v>
                </c:pt>
                <c:pt idx="6193">
                  <c:v>-2.6890756302520899E-2</c:v>
                </c:pt>
                <c:pt idx="6194">
                  <c:v>-2.6890756302520899E-2</c:v>
                </c:pt>
                <c:pt idx="6195">
                  <c:v>-2.6890756302520899E-2</c:v>
                </c:pt>
                <c:pt idx="6196">
                  <c:v>-2.6890756302520899E-2</c:v>
                </c:pt>
                <c:pt idx="6197">
                  <c:v>-2.6890756302520899E-2</c:v>
                </c:pt>
                <c:pt idx="6198">
                  <c:v>-2.6890756302520899E-2</c:v>
                </c:pt>
                <c:pt idx="6199">
                  <c:v>-2.6890756302520899E-2</c:v>
                </c:pt>
                <c:pt idx="6200">
                  <c:v>-2.6890756302520899E-2</c:v>
                </c:pt>
                <c:pt idx="6201">
                  <c:v>-2.6890756302520899E-2</c:v>
                </c:pt>
                <c:pt idx="6202">
                  <c:v>-2.6890756302520899E-2</c:v>
                </c:pt>
                <c:pt idx="6203">
                  <c:v>-2.6890756302520899E-2</c:v>
                </c:pt>
                <c:pt idx="6204">
                  <c:v>-2.6890756302520899E-2</c:v>
                </c:pt>
                <c:pt idx="6205">
                  <c:v>-2.6890756302520899E-2</c:v>
                </c:pt>
                <c:pt idx="6206">
                  <c:v>-2.6890756302520899E-2</c:v>
                </c:pt>
                <c:pt idx="6207">
                  <c:v>-2.6890756302520899E-2</c:v>
                </c:pt>
                <c:pt idx="6208">
                  <c:v>-2.6890756302520899E-2</c:v>
                </c:pt>
                <c:pt idx="6209">
                  <c:v>-2.60504201680671E-2</c:v>
                </c:pt>
                <c:pt idx="6210">
                  <c:v>-2.60504201680671E-2</c:v>
                </c:pt>
                <c:pt idx="6211">
                  <c:v>-2.60504201680671E-2</c:v>
                </c:pt>
                <c:pt idx="6212">
                  <c:v>-2.60504201680671E-2</c:v>
                </c:pt>
                <c:pt idx="6213">
                  <c:v>-2.60504201680671E-2</c:v>
                </c:pt>
                <c:pt idx="6214">
                  <c:v>-2.5210084033613401E-2</c:v>
                </c:pt>
                <c:pt idx="6215">
                  <c:v>-2.5210084033613401E-2</c:v>
                </c:pt>
                <c:pt idx="6216">
                  <c:v>-2.5210084033613401E-2</c:v>
                </c:pt>
                <c:pt idx="6217">
                  <c:v>-2.5210084033613401E-2</c:v>
                </c:pt>
                <c:pt idx="6218">
                  <c:v>-2.5210084033613401E-2</c:v>
                </c:pt>
                <c:pt idx="6219">
                  <c:v>-2.5210084033613401E-2</c:v>
                </c:pt>
                <c:pt idx="6220">
                  <c:v>-2.5210084033613401E-2</c:v>
                </c:pt>
                <c:pt idx="6221">
                  <c:v>-2.5210084033613401E-2</c:v>
                </c:pt>
                <c:pt idx="6222">
                  <c:v>-2.5210084033613401E-2</c:v>
                </c:pt>
                <c:pt idx="6223">
                  <c:v>-2.5210084033613401E-2</c:v>
                </c:pt>
                <c:pt idx="6224">
                  <c:v>-2.5210084033613401E-2</c:v>
                </c:pt>
                <c:pt idx="6225">
                  <c:v>-2.5210084033613401E-2</c:v>
                </c:pt>
                <c:pt idx="6226">
                  <c:v>-2.5210084033613401E-2</c:v>
                </c:pt>
                <c:pt idx="6227">
                  <c:v>-2.5210084033613401E-2</c:v>
                </c:pt>
                <c:pt idx="6228">
                  <c:v>-2.5210084033613401E-2</c:v>
                </c:pt>
                <c:pt idx="6229">
                  <c:v>-2.5210084033613401E-2</c:v>
                </c:pt>
                <c:pt idx="6230">
                  <c:v>-2.5210084033613401E-2</c:v>
                </c:pt>
                <c:pt idx="6231">
                  <c:v>-2.5210084033613401E-2</c:v>
                </c:pt>
                <c:pt idx="6232">
                  <c:v>-2.5210084033613401E-2</c:v>
                </c:pt>
                <c:pt idx="6233">
                  <c:v>-2.5210084033613401E-2</c:v>
                </c:pt>
                <c:pt idx="6234">
                  <c:v>-2.5210084033613401E-2</c:v>
                </c:pt>
                <c:pt idx="6235">
                  <c:v>-2.5210084033613401E-2</c:v>
                </c:pt>
                <c:pt idx="6236">
                  <c:v>-2.4369747899159602E-2</c:v>
                </c:pt>
                <c:pt idx="6237">
                  <c:v>-2.4369747899159602E-2</c:v>
                </c:pt>
                <c:pt idx="6238">
                  <c:v>-2.4369747899159602E-2</c:v>
                </c:pt>
                <c:pt idx="6239">
                  <c:v>-2.4369747899159602E-2</c:v>
                </c:pt>
                <c:pt idx="6240">
                  <c:v>-2.4369747899159602E-2</c:v>
                </c:pt>
                <c:pt idx="6241">
                  <c:v>-2.4369747899159602E-2</c:v>
                </c:pt>
                <c:pt idx="6242">
                  <c:v>-2.4369747899159602E-2</c:v>
                </c:pt>
                <c:pt idx="6243">
                  <c:v>-2.4369747899159602E-2</c:v>
                </c:pt>
                <c:pt idx="6244">
                  <c:v>-2.4369747899159602E-2</c:v>
                </c:pt>
                <c:pt idx="6245">
                  <c:v>-2.4369747899159602E-2</c:v>
                </c:pt>
                <c:pt idx="6246">
                  <c:v>-2.4369747899159602E-2</c:v>
                </c:pt>
                <c:pt idx="6247">
                  <c:v>-2.4369747899159602E-2</c:v>
                </c:pt>
                <c:pt idx="6248">
                  <c:v>-2.4369747899159602E-2</c:v>
                </c:pt>
                <c:pt idx="6249">
                  <c:v>-2.4369747899159602E-2</c:v>
                </c:pt>
                <c:pt idx="6250">
                  <c:v>-2.4369747899159602E-2</c:v>
                </c:pt>
                <c:pt idx="6251">
                  <c:v>-2.4369747899159602E-2</c:v>
                </c:pt>
                <c:pt idx="6252">
                  <c:v>-2.4369747899159602E-2</c:v>
                </c:pt>
                <c:pt idx="6253">
                  <c:v>-2.4369747899159602E-2</c:v>
                </c:pt>
                <c:pt idx="6254">
                  <c:v>-2.4369747899159602E-2</c:v>
                </c:pt>
                <c:pt idx="6255">
                  <c:v>-2.4369747899159602E-2</c:v>
                </c:pt>
                <c:pt idx="6256">
                  <c:v>-2.4369747899159602E-2</c:v>
                </c:pt>
                <c:pt idx="6257">
                  <c:v>-2.4369747899159602E-2</c:v>
                </c:pt>
                <c:pt idx="6258">
                  <c:v>-2.4369747899159602E-2</c:v>
                </c:pt>
                <c:pt idx="6259">
                  <c:v>-2.4369747899159602E-2</c:v>
                </c:pt>
                <c:pt idx="6260">
                  <c:v>-2.4369747899159602E-2</c:v>
                </c:pt>
                <c:pt idx="6261">
                  <c:v>-2.4369747899159602E-2</c:v>
                </c:pt>
                <c:pt idx="6262">
                  <c:v>-2.4369747899159602E-2</c:v>
                </c:pt>
                <c:pt idx="6263">
                  <c:v>-2.4369747899159602E-2</c:v>
                </c:pt>
                <c:pt idx="6264">
                  <c:v>-2.4369747899159602E-2</c:v>
                </c:pt>
                <c:pt idx="6265">
                  <c:v>-2.4369747899159602E-2</c:v>
                </c:pt>
                <c:pt idx="6266">
                  <c:v>-2.4369747899159602E-2</c:v>
                </c:pt>
                <c:pt idx="6267">
                  <c:v>-2.4369747899159602E-2</c:v>
                </c:pt>
                <c:pt idx="6268">
                  <c:v>-2.4369747899159602E-2</c:v>
                </c:pt>
                <c:pt idx="6269">
                  <c:v>-2.4369747899159602E-2</c:v>
                </c:pt>
                <c:pt idx="6270">
                  <c:v>-2.4369747899159602E-2</c:v>
                </c:pt>
                <c:pt idx="6271">
                  <c:v>-2.4369747899159602E-2</c:v>
                </c:pt>
                <c:pt idx="6272">
                  <c:v>-2.4369747899159602E-2</c:v>
                </c:pt>
                <c:pt idx="6273">
                  <c:v>-2.4369747899159602E-2</c:v>
                </c:pt>
                <c:pt idx="6274">
                  <c:v>-2.4369747899159602E-2</c:v>
                </c:pt>
                <c:pt idx="6275">
                  <c:v>-2.5210084033613401E-2</c:v>
                </c:pt>
                <c:pt idx="6276">
                  <c:v>-2.5210084033613401E-2</c:v>
                </c:pt>
                <c:pt idx="6277">
                  <c:v>-2.5210084033613401E-2</c:v>
                </c:pt>
                <c:pt idx="6278">
                  <c:v>-2.5210084033613401E-2</c:v>
                </c:pt>
                <c:pt idx="6279">
                  <c:v>-2.5210084033613401E-2</c:v>
                </c:pt>
                <c:pt idx="6280">
                  <c:v>-2.5210084033613401E-2</c:v>
                </c:pt>
                <c:pt idx="6281">
                  <c:v>-2.5210084033613401E-2</c:v>
                </c:pt>
                <c:pt idx="6282">
                  <c:v>-2.5210084033613401E-2</c:v>
                </c:pt>
                <c:pt idx="6283">
                  <c:v>-2.5210084033613401E-2</c:v>
                </c:pt>
                <c:pt idx="6284">
                  <c:v>-2.5210084033613401E-2</c:v>
                </c:pt>
                <c:pt idx="6285">
                  <c:v>-2.5210084033613401E-2</c:v>
                </c:pt>
                <c:pt idx="6286">
                  <c:v>-2.5210084033613401E-2</c:v>
                </c:pt>
                <c:pt idx="6287">
                  <c:v>-2.5210084033613401E-2</c:v>
                </c:pt>
                <c:pt idx="6288">
                  <c:v>-2.5210084033613401E-2</c:v>
                </c:pt>
                <c:pt idx="6289">
                  <c:v>-2.5210084033613401E-2</c:v>
                </c:pt>
                <c:pt idx="6290">
                  <c:v>-2.5210084033613401E-2</c:v>
                </c:pt>
                <c:pt idx="6291">
                  <c:v>-2.5210084033613401E-2</c:v>
                </c:pt>
                <c:pt idx="6292">
                  <c:v>-2.5210084033613401E-2</c:v>
                </c:pt>
                <c:pt idx="6293">
                  <c:v>-2.5210084033613401E-2</c:v>
                </c:pt>
                <c:pt idx="6294">
                  <c:v>-2.5210084033613401E-2</c:v>
                </c:pt>
                <c:pt idx="6295">
                  <c:v>-2.4369747899159602E-2</c:v>
                </c:pt>
                <c:pt idx="6296">
                  <c:v>-2.4369747899159602E-2</c:v>
                </c:pt>
                <c:pt idx="6297">
                  <c:v>-2.4369747899159602E-2</c:v>
                </c:pt>
                <c:pt idx="6298">
                  <c:v>-2.4369747899159602E-2</c:v>
                </c:pt>
                <c:pt idx="6299">
                  <c:v>-2.4369747899159602E-2</c:v>
                </c:pt>
                <c:pt idx="6300">
                  <c:v>-2.5210084033613401E-2</c:v>
                </c:pt>
                <c:pt idx="6301">
                  <c:v>-2.5210084033613401E-2</c:v>
                </c:pt>
                <c:pt idx="6302">
                  <c:v>-2.5210084033613401E-2</c:v>
                </c:pt>
                <c:pt idx="6303">
                  <c:v>-2.5210084033613401E-2</c:v>
                </c:pt>
                <c:pt idx="6304">
                  <c:v>-2.5210084033613401E-2</c:v>
                </c:pt>
                <c:pt idx="6305">
                  <c:v>-2.5210084033613401E-2</c:v>
                </c:pt>
                <c:pt idx="6306">
                  <c:v>-2.5210084033613401E-2</c:v>
                </c:pt>
                <c:pt idx="6307">
                  <c:v>-2.5210084033613401E-2</c:v>
                </c:pt>
                <c:pt idx="6308">
                  <c:v>-2.5210084033613401E-2</c:v>
                </c:pt>
                <c:pt idx="6309">
                  <c:v>-2.5210084033613401E-2</c:v>
                </c:pt>
                <c:pt idx="6310">
                  <c:v>-2.5210084033613401E-2</c:v>
                </c:pt>
                <c:pt idx="6311">
                  <c:v>-2.5210084033613401E-2</c:v>
                </c:pt>
                <c:pt idx="6312">
                  <c:v>-2.5210084033613401E-2</c:v>
                </c:pt>
                <c:pt idx="6313">
                  <c:v>-2.5210084033613401E-2</c:v>
                </c:pt>
                <c:pt idx="6314">
                  <c:v>-2.5210084033613401E-2</c:v>
                </c:pt>
                <c:pt idx="6315">
                  <c:v>-2.5210084033613401E-2</c:v>
                </c:pt>
                <c:pt idx="6316">
                  <c:v>-2.60504201680672E-2</c:v>
                </c:pt>
                <c:pt idx="6317">
                  <c:v>-2.60504201680672E-2</c:v>
                </c:pt>
                <c:pt idx="6318">
                  <c:v>-2.60504201680672E-2</c:v>
                </c:pt>
                <c:pt idx="6319">
                  <c:v>-2.60504201680672E-2</c:v>
                </c:pt>
                <c:pt idx="6320">
                  <c:v>-2.5210084033613401E-2</c:v>
                </c:pt>
                <c:pt idx="6321">
                  <c:v>-2.5210084033613401E-2</c:v>
                </c:pt>
                <c:pt idx="6322">
                  <c:v>-2.5210084033613401E-2</c:v>
                </c:pt>
                <c:pt idx="6323">
                  <c:v>-2.5210084033613401E-2</c:v>
                </c:pt>
                <c:pt idx="6324">
                  <c:v>-2.5210084033613401E-2</c:v>
                </c:pt>
                <c:pt idx="6325">
                  <c:v>-2.5210084033613401E-2</c:v>
                </c:pt>
                <c:pt idx="6326">
                  <c:v>-2.5210084033613401E-2</c:v>
                </c:pt>
                <c:pt idx="6327">
                  <c:v>-2.5210084033613401E-2</c:v>
                </c:pt>
                <c:pt idx="6328">
                  <c:v>-2.5210084033613401E-2</c:v>
                </c:pt>
                <c:pt idx="6329">
                  <c:v>-2.60504201680672E-2</c:v>
                </c:pt>
                <c:pt idx="6330">
                  <c:v>-2.60504201680672E-2</c:v>
                </c:pt>
                <c:pt idx="6331">
                  <c:v>-2.60504201680672E-2</c:v>
                </c:pt>
                <c:pt idx="6332">
                  <c:v>-2.60504201680672E-2</c:v>
                </c:pt>
                <c:pt idx="6333">
                  <c:v>-2.60504201680672E-2</c:v>
                </c:pt>
                <c:pt idx="6334">
                  <c:v>-2.60504201680672E-2</c:v>
                </c:pt>
                <c:pt idx="6335">
                  <c:v>-2.60504201680672E-2</c:v>
                </c:pt>
                <c:pt idx="6336">
                  <c:v>-2.60504201680672E-2</c:v>
                </c:pt>
                <c:pt idx="6337">
                  <c:v>-2.60504201680672E-2</c:v>
                </c:pt>
                <c:pt idx="6338">
                  <c:v>-2.60504201680672E-2</c:v>
                </c:pt>
                <c:pt idx="6339">
                  <c:v>-2.6890756302521E-2</c:v>
                </c:pt>
                <c:pt idx="6340">
                  <c:v>-2.6890756302521E-2</c:v>
                </c:pt>
                <c:pt idx="6341">
                  <c:v>-2.6890756302521E-2</c:v>
                </c:pt>
                <c:pt idx="6342">
                  <c:v>-2.6890756302521E-2</c:v>
                </c:pt>
                <c:pt idx="6343">
                  <c:v>-2.6890756302521E-2</c:v>
                </c:pt>
                <c:pt idx="6344">
                  <c:v>-2.6890756302521E-2</c:v>
                </c:pt>
                <c:pt idx="6345">
                  <c:v>-2.6890756302521E-2</c:v>
                </c:pt>
                <c:pt idx="6346">
                  <c:v>-2.6890756302521E-2</c:v>
                </c:pt>
                <c:pt idx="6347">
                  <c:v>-2.6890756302521E-2</c:v>
                </c:pt>
                <c:pt idx="6348">
                  <c:v>-2.7731092436974799E-2</c:v>
                </c:pt>
                <c:pt idx="6349">
                  <c:v>-2.7731092436974799E-2</c:v>
                </c:pt>
                <c:pt idx="6350">
                  <c:v>-2.7731092436974799E-2</c:v>
                </c:pt>
                <c:pt idx="6351">
                  <c:v>-2.7731092436974799E-2</c:v>
                </c:pt>
                <c:pt idx="6352">
                  <c:v>-2.7731092436974799E-2</c:v>
                </c:pt>
                <c:pt idx="6353">
                  <c:v>-2.7731092436974799E-2</c:v>
                </c:pt>
                <c:pt idx="6354">
                  <c:v>-2.7731092436974799E-2</c:v>
                </c:pt>
                <c:pt idx="6355">
                  <c:v>-2.7731092436974799E-2</c:v>
                </c:pt>
                <c:pt idx="6356">
                  <c:v>-2.7731092436974799E-2</c:v>
                </c:pt>
                <c:pt idx="6357">
                  <c:v>-2.7731092436974799E-2</c:v>
                </c:pt>
                <c:pt idx="6358">
                  <c:v>-2.7731092436974799E-2</c:v>
                </c:pt>
                <c:pt idx="6359">
                  <c:v>-2.7731092436974799E-2</c:v>
                </c:pt>
                <c:pt idx="6360">
                  <c:v>-2.7731092436974799E-2</c:v>
                </c:pt>
                <c:pt idx="6361">
                  <c:v>-2.7731092436974799E-2</c:v>
                </c:pt>
                <c:pt idx="6362">
                  <c:v>-2.7731092436974799E-2</c:v>
                </c:pt>
                <c:pt idx="6363">
                  <c:v>-2.7731092436974799E-2</c:v>
                </c:pt>
                <c:pt idx="6364">
                  <c:v>-2.7731092436974799E-2</c:v>
                </c:pt>
                <c:pt idx="6365">
                  <c:v>-2.7731092436974799E-2</c:v>
                </c:pt>
                <c:pt idx="6366">
                  <c:v>-2.7731092436974799E-2</c:v>
                </c:pt>
                <c:pt idx="6367">
                  <c:v>-2.7731092436974799E-2</c:v>
                </c:pt>
                <c:pt idx="6368">
                  <c:v>-2.7731092436974799E-2</c:v>
                </c:pt>
                <c:pt idx="6369">
                  <c:v>-2.7731092436974799E-2</c:v>
                </c:pt>
                <c:pt idx="6370">
                  <c:v>-2.7731092436974799E-2</c:v>
                </c:pt>
                <c:pt idx="6371">
                  <c:v>-2.7731092436974799E-2</c:v>
                </c:pt>
                <c:pt idx="6372">
                  <c:v>-2.7731092436974799E-2</c:v>
                </c:pt>
                <c:pt idx="6373">
                  <c:v>-2.7731092436974799E-2</c:v>
                </c:pt>
                <c:pt idx="6374">
                  <c:v>-2.7731092436974799E-2</c:v>
                </c:pt>
                <c:pt idx="6375">
                  <c:v>-2.7731092436974799E-2</c:v>
                </c:pt>
                <c:pt idx="6376">
                  <c:v>-2.7731092436974799E-2</c:v>
                </c:pt>
                <c:pt idx="6377">
                  <c:v>-2.7731092436974799E-2</c:v>
                </c:pt>
                <c:pt idx="6378">
                  <c:v>-2.7731092436974799E-2</c:v>
                </c:pt>
                <c:pt idx="6379">
                  <c:v>-2.7731092436974799E-2</c:v>
                </c:pt>
                <c:pt idx="6380">
                  <c:v>-2.6890756302521E-2</c:v>
                </c:pt>
                <c:pt idx="6381">
                  <c:v>-2.6890756302521E-2</c:v>
                </c:pt>
                <c:pt idx="6382">
                  <c:v>-2.6890756302521E-2</c:v>
                </c:pt>
                <c:pt idx="6383">
                  <c:v>-2.6890756302521E-2</c:v>
                </c:pt>
                <c:pt idx="6384">
                  <c:v>-2.7731092436974799E-2</c:v>
                </c:pt>
                <c:pt idx="6385">
                  <c:v>-2.7731092436974799E-2</c:v>
                </c:pt>
                <c:pt idx="6386">
                  <c:v>-2.7731092436974799E-2</c:v>
                </c:pt>
                <c:pt idx="6387">
                  <c:v>-2.7731092436974799E-2</c:v>
                </c:pt>
                <c:pt idx="6388">
                  <c:v>-2.7731092436974799E-2</c:v>
                </c:pt>
                <c:pt idx="6389">
                  <c:v>-2.7731092436974799E-2</c:v>
                </c:pt>
                <c:pt idx="6390">
                  <c:v>-2.7731092436974799E-2</c:v>
                </c:pt>
                <c:pt idx="6391">
                  <c:v>-2.7731092436974799E-2</c:v>
                </c:pt>
                <c:pt idx="6392">
                  <c:v>-2.7731092436974799E-2</c:v>
                </c:pt>
                <c:pt idx="6393">
                  <c:v>-2.7731092436974799E-2</c:v>
                </c:pt>
                <c:pt idx="6394">
                  <c:v>-2.7731092436974799E-2</c:v>
                </c:pt>
                <c:pt idx="6395">
                  <c:v>-2.7731092436974799E-2</c:v>
                </c:pt>
                <c:pt idx="6396">
                  <c:v>-2.7731092436974799E-2</c:v>
                </c:pt>
                <c:pt idx="6397">
                  <c:v>-2.7731092436974799E-2</c:v>
                </c:pt>
                <c:pt idx="6398">
                  <c:v>-2.7731092436974799E-2</c:v>
                </c:pt>
                <c:pt idx="6399">
                  <c:v>-2.7731092436974799E-2</c:v>
                </c:pt>
                <c:pt idx="6400">
                  <c:v>-2.6890756302521E-2</c:v>
                </c:pt>
                <c:pt idx="6401">
                  <c:v>-2.6890756302521E-2</c:v>
                </c:pt>
                <c:pt idx="6402">
                  <c:v>-2.6890756302521E-2</c:v>
                </c:pt>
                <c:pt idx="6403">
                  <c:v>-2.6890756302521E-2</c:v>
                </c:pt>
                <c:pt idx="6404">
                  <c:v>-2.60504201680672E-2</c:v>
                </c:pt>
                <c:pt idx="6405">
                  <c:v>-2.60504201680672E-2</c:v>
                </c:pt>
                <c:pt idx="6406">
                  <c:v>-2.60504201680672E-2</c:v>
                </c:pt>
                <c:pt idx="6407">
                  <c:v>-2.60504201680672E-2</c:v>
                </c:pt>
                <c:pt idx="6408">
                  <c:v>-2.60504201680672E-2</c:v>
                </c:pt>
                <c:pt idx="6409">
                  <c:v>-2.60504201680672E-2</c:v>
                </c:pt>
                <c:pt idx="6410">
                  <c:v>-2.60504201680672E-2</c:v>
                </c:pt>
                <c:pt idx="6411">
                  <c:v>-2.60504201680672E-2</c:v>
                </c:pt>
                <c:pt idx="6412">
                  <c:v>-2.60504201680672E-2</c:v>
                </c:pt>
                <c:pt idx="6413">
                  <c:v>-2.60504201680672E-2</c:v>
                </c:pt>
                <c:pt idx="6414">
                  <c:v>-2.60504201680672E-2</c:v>
                </c:pt>
                <c:pt idx="6415">
                  <c:v>-2.60504201680672E-2</c:v>
                </c:pt>
                <c:pt idx="6416">
                  <c:v>-2.60504201680672E-2</c:v>
                </c:pt>
                <c:pt idx="6417">
                  <c:v>-2.6890756302521E-2</c:v>
                </c:pt>
                <c:pt idx="6418">
                  <c:v>-2.6890756302521E-2</c:v>
                </c:pt>
                <c:pt idx="6419">
                  <c:v>-2.6890756302521E-2</c:v>
                </c:pt>
                <c:pt idx="6420">
                  <c:v>-2.6890756302521E-2</c:v>
                </c:pt>
                <c:pt idx="6421">
                  <c:v>-2.6890756302521E-2</c:v>
                </c:pt>
                <c:pt idx="6422">
                  <c:v>-2.6890756302521E-2</c:v>
                </c:pt>
                <c:pt idx="6423">
                  <c:v>-2.6890756302521E-2</c:v>
                </c:pt>
                <c:pt idx="6424">
                  <c:v>-2.6890756302521E-2</c:v>
                </c:pt>
                <c:pt idx="6425">
                  <c:v>-2.7731092436974799E-2</c:v>
                </c:pt>
                <c:pt idx="6426">
                  <c:v>-2.7731092436974799E-2</c:v>
                </c:pt>
                <c:pt idx="6427">
                  <c:v>-2.7731092436974799E-2</c:v>
                </c:pt>
                <c:pt idx="6428">
                  <c:v>-2.6890756302521E-2</c:v>
                </c:pt>
                <c:pt idx="6429">
                  <c:v>-2.6890756302521E-2</c:v>
                </c:pt>
                <c:pt idx="6430">
                  <c:v>-2.6890756302521E-2</c:v>
                </c:pt>
                <c:pt idx="6431">
                  <c:v>-2.6890756302521E-2</c:v>
                </c:pt>
                <c:pt idx="6432">
                  <c:v>-2.6890756302521E-2</c:v>
                </c:pt>
                <c:pt idx="6433">
                  <c:v>-2.6890756302521E-2</c:v>
                </c:pt>
                <c:pt idx="6434">
                  <c:v>-2.7731092436974799E-2</c:v>
                </c:pt>
                <c:pt idx="6435">
                  <c:v>-2.7731092436974799E-2</c:v>
                </c:pt>
                <c:pt idx="6436">
                  <c:v>-2.7731092436974799E-2</c:v>
                </c:pt>
                <c:pt idx="6437">
                  <c:v>-2.7731092436974799E-2</c:v>
                </c:pt>
                <c:pt idx="6438">
                  <c:v>-2.7731092436974799E-2</c:v>
                </c:pt>
                <c:pt idx="6439">
                  <c:v>-2.7731092436974799E-2</c:v>
                </c:pt>
                <c:pt idx="6440">
                  <c:v>-2.7731092436974799E-2</c:v>
                </c:pt>
                <c:pt idx="6441">
                  <c:v>-2.7731092436974799E-2</c:v>
                </c:pt>
                <c:pt idx="6442">
                  <c:v>-2.7731092436974799E-2</c:v>
                </c:pt>
                <c:pt idx="6443">
                  <c:v>-2.7731092436974799E-2</c:v>
                </c:pt>
                <c:pt idx="6444">
                  <c:v>-2.7731092436974799E-2</c:v>
                </c:pt>
                <c:pt idx="6445">
                  <c:v>-2.7731092436974799E-2</c:v>
                </c:pt>
                <c:pt idx="6446">
                  <c:v>-2.7731092436974799E-2</c:v>
                </c:pt>
                <c:pt idx="6447">
                  <c:v>-2.7731092436974799E-2</c:v>
                </c:pt>
                <c:pt idx="6448">
                  <c:v>-2.7731092436974799E-2</c:v>
                </c:pt>
                <c:pt idx="6449">
                  <c:v>-2.7731092436974799E-2</c:v>
                </c:pt>
                <c:pt idx="6450">
                  <c:v>-2.7731092436974799E-2</c:v>
                </c:pt>
                <c:pt idx="6451">
                  <c:v>-2.7731092436974799E-2</c:v>
                </c:pt>
                <c:pt idx="6452">
                  <c:v>-2.7731092436974799E-2</c:v>
                </c:pt>
                <c:pt idx="6453">
                  <c:v>-2.7731092436974799E-2</c:v>
                </c:pt>
                <c:pt idx="6454">
                  <c:v>-2.7731092436974799E-2</c:v>
                </c:pt>
                <c:pt idx="6455">
                  <c:v>-2.7731092436974799E-2</c:v>
                </c:pt>
                <c:pt idx="6456">
                  <c:v>-2.7731092436974799E-2</c:v>
                </c:pt>
                <c:pt idx="6457">
                  <c:v>-2.7731092436974799E-2</c:v>
                </c:pt>
                <c:pt idx="6458">
                  <c:v>-2.7731092436974799E-2</c:v>
                </c:pt>
                <c:pt idx="6459">
                  <c:v>-2.7731092436974799E-2</c:v>
                </c:pt>
                <c:pt idx="6460">
                  <c:v>-2.7731092436974799E-2</c:v>
                </c:pt>
                <c:pt idx="6461">
                  <c:v>-2.7731092436974799E-2</c:v>
                </c:pt>
                <c:pt idx="6462">
                  <c:v>-2.7731092436974799E-2</c:v>
                </c:pt>
                <c:pt idx="6463">
                  <c:v>-2.7731092436974799E-2</c:v>
                </c:pt>
                <c:pt idx="6464">
                  <c:v>-2.7731092436974799E-2</c:v>
                </c:pt>
                <c:pt idx="6465">
                  <c:v>-2.7731092436974799E-2</c:v>
                </c:pt>
                <c:pt idx="6466">
                  <c:v>-2.7731092436974799E-2</c:v>
                </c:pt>
                <c:pt idx="6467">
                  <c:v>-2.7731092436974799E-2</c:v>
                </c:pt>
                <c:pt idx="6468">
                  <c:v>-2.7731092436974799E-2</c:v>
                </c:pt>
                <c:pt idx="6469">
                  <c:v>-2.7731092436974799E-2</c:v>
                </c:pt>
                <c:pt idx="6470">
                  <c:v>-2.7731092436974799E-2</c:v>
                </c:pt>
                <c:pt idx="6471">
                  <c:v>-2.7731092436974799E-2</c:v>
                </c:pt>
                <c:pt idx="6472">
                  <c:v>-2.7731092436974799E-2</c:v>
                </c:pt>
                <c:pt idx="6473">
                  <c:v>-2.7731092436974799E-2</c:v>
                </c:pt>
                <c:pt idx="6474">
                  <c:v>-2.7731092436974799E-2</c:v>
                </c:pt>
                <c:pt idx="6475">
                  <c:v>-2.7731092436974799E-2</c:v>
                </c:pt>
                <c:pt idx="6476">
                  <c:v>-2.7731092436974799E-2</c:v>
                </c:pt>
                <c:pt idx="6477">
                  <c:v>-2.7731092436974799E-2</c:v>
                </c:pt>
                <c:pt idx="6478">
                  <c:v>-2.7731092436974799E-2</c:v>
                </c:pt>
                <c:pt idx="6479">
                  <c:v>-2.7731092436974799E-2</c:v>
                </c:pt>
                <c:pt idx="6480">
                  <c:v>-2.7731092436974799E-2</c:v>
                </c:pt>
                <c:pt idx="6481">
                  <c:v>-2.7731092436974799E-2</c:v>
                </c:pt>
                <c:pt idx="6482">
                  <c:v>-2.7731092436974799E-2</c:v>
                </c:pt>
                <c:pt idx="6483">
                  <c:v>-2.7731092436974799E-2</c:v>
                </c:pt>
                <c:pt idx="6484">
                  <c:v>-2.7731092436974799E-2</c:v>
                </c:pt>
                <c:pt idx="6485">
                  <c:v>-2.7731092436974799E-2</c:v>
                </c:pt>
                <c:pt idx="6486">
                  <c:v>-2.7731092436974799E-2</c:v>
                </c:pt>
                <c:pt idx="6487">
                  <c:v>-2.7731092436974799E-2</c:v>
                </c:pt>
                <c:pt idx="6488">
                  <c:v>-2.7731092436974799E-2</c:v>
                </c:pt>
                <c:pt idx="6489">
                  <c:v>-2.7731092436974799E-2</c:v>
                </c:pt>
                <c:pt idx="6490">
                  <c:v>-2.6890756302521E-2</c:v>
                </c:pt>
                <c:pt idx="6491">
                  <c:v>-2.6890756302521E-2</c:v>
                </c:pt>
                <c:pt idx="6492">
                  <c:v>-2.6890756302521E-2</c:v>
                </c:pt>
                <c:pt idx="6493">
                  <c:v>-2.6890756302521E-2</c:v>
                </c:pt>
                <c:pt idx="6494">
                  <c:v>-2.6890756302521E-2</c:v>
                </c:pt>
                <c:pt idx="6495">
                  <c:v>-2.6890756302521E-2</c:v>
                </c:pt>
                <c:pt idx="6496">
                  <c:v>-2.6890756302521E-2</c:v>
                </c:pt>
                <c:pt idx="6497">
                  <c:v>-2.6890756302521E-2</c:v>
                </c:pt>
                <c:pt idx="6498">
                  <c:v>-2.6890756302521E-2</c:v>
                </c:pt>
                <c:pt idx="6499">
                  <c:v>-2.6890756302521E-2</c:v>
                </c:pt>
                <c:pt idx="6500">
                  <c:v>-2.6890756302521E-2</c:v>
                </c:pt>
                <c:pt idx="6501">
                  <c:v>-2.6890756302521E-2</c:v>
                </c:pt>
                <c:pt idx="6502">
                  <c:v>-2.7731092436974799E-2</c:v>
                </c:pt>
                <c:pt idx="6503">
                  <c:v>-2.7731092436974799E-2</c:v>
                </c:pt>
                <c:pt idx="6504">
                  <c:v>-2.7731092436974799E-2</c:v>
                </c:pt>
                <c:pt idx="6505">
                  <c:v>-2.7731092436974799E-2</c:v>
                </c:pt>
                <c:pt idx="6506">
                  <c:v>-2.8571428571428501E-2</c:v>
                </c:pt>
                <c:pt idx="6507">
                  <c:v>-2.8571428571428501E-2</c:v>
                </c:pt>
                <c:pt idx="6508">
                  <c:v>-2.7731092436974799E-2</c:v>
                </c:pt>
                <c:pt idx="6509">
                  <c:v>-2.7731092436974799E-2</c:v>
                </c:pt>
                <c:pt idx="6510">
                  <c:v>-2.7731092436974799E-2</c:v>
                </c:pt>
                <c:pt idx="6511">
                  <c:v>-2.7731092436974799E-2</c:v>
                </c:pt>
                <c:pt idx="6512">
                  <c:v>-2.7731092436974799E-2</c:v>
                </c:pt>
                <c:pt idx="6513">
                  <c:v>-2.7731092436974799E-2</c:v>
                </c:pt>
                <c:pt idx="6514">
                  <c:v>-2.7731092436974799E-2</c:v>
                </c:pt>
                <c:pt idx="6515">
                  <c:v>-2.7731092436974799E-2</c:v>
                </c:pt>
                <c:pt idx="6516">
                  <c:v>-2.7731092436974799E-2</c:v>
                </c:pt>
                <c:pt idx="6517">
                  <c:v>-2.6890756302521E-2</c:v>
                </c:pt>
                <c:pt idx="6518">
                  <c:v>-2.6890756302521E-2</c:v>
                </c:pt>
                <c:pt idx="6519">
                  <c:v>-2.6890756302521E-2</c:v>
                </c:pt>
                <c:pt idx="6520">
                  <c:v>-2.6890756302521E-2</c:v>
                </c:pt>
                <c:pt idx="6521">
                  <c:v>-2.6890756302521E-2</c:v>
                </c:pt>
                <c:pt idx="6522">
                  <c:v>-2.60504201680672E-2</c:v>
                </c:pt>
                <c:pt idx="6523">
                  <c:v>-2.60504201680672E-2</c:v>
                </c:pt>
                <c:pt idx="6524">
                  <c:v>-2.60504201680672E-2</c:v>
                </c:pt>
                <c:pt idx="6525">
                  <c:v>-2.60504201680672E-2</c:v>
                </c:pt>
                <c:pt idx="6526">
                  <c:v>-2.60504201680672E-2</c:v>
                </c:pt>
                <c:pt idx="6527">
                  <c:v>-2.60504201680672E-2</c:v>
                </c:pt>
                <c:pt idx="6528">
                  <c:v>-2.60504201680672E-2</c:v>
                </c:pt>
                <c:pt idx="6529">
                  <c:v>-2.5210084033613401E-2</c:v>
                </c:pt>
                <c:pt idx="6530">
                  <c:v>-2.5210084033613401E-2</c:v>
                </c:pt>
                <c:pt idx="6531">
                  <c:v>-2.4369747899159602E-2</c:v>
                </c:pt>
                <c:pt idx="6532">
                  <c:v>-2.4369747899159602E-2</c:v>
                </c:pt>
                <c:pt idx="6533">
                  <c:v>-2.3529411764705799E-2</c:v>
                </c:pt>
                <c:pt idx="6534">
                  <c:v>-2.3529411764705799E-2</c:v>
                </c:pt>
                <c:pt idx="6535">
                  <c:v>-2.3529411764705799E-2</c:v>
                </c:pt>
                <c:pt idx="6536">
                  <c:v>-2.3529411764705799E-2</c:v>
                </c:pt>
                <c:pt idx="6537">
                  <c:v>-2.3529411764705799E-2</c:v>
                </c:pt>
                <c:pt idx="6538">
                  <c:v>-2.3529411764705799E-2</c:v>
                </c:pt>
                <c:pt idx="6539">
                  <c:v>-2.3529411764705799E-2</c:v>
                </c:pt>
                <c:pt idx="6540">
                  <c:v>-2.3529411764705799E-2</c:v>
                </c:pt>
                <c:pt idx="6541">
                  <c:v>-2.3529411764705799E-2</c:v>
                </c:pt>
                <c:pt idx="6542">
                  <c:v>-2.3529411764705799E-2</c:v>
                </c:pt>
                <c:pt idx="6543">
                  <c:v>-2.3529411764705799E-2</c:v>
                </c:pt>
                <c:pt idx="6544">
                  <c:v>-2.3529411764705799E-2</c:v>
                </c:pt>
                <c:pt idx="6545">
                  <c:v>-2.3529411764705799E-2</c:v>
                </c:pt>
                <c:pt idx="6546">
                  <c:v>-2.3529411764705799E-2</c:v>
                </c:pt>
                <c:pt idx="6547">
                  <c:v>-2.3529411764705799E-2</c:v>
                </c:pt>
                <c:pt idx="6548">
                  <c:v>-2.3529411764705799E-2</c:v>
                </c:pt>
                <c:pt idx="6549">
                  <c:v>-2.3529411764705799E-2</c:v>
                </c:pt>
                <c:pt idx="6550">
                  <c:v>-2.3529411764705799E-2</c:v>
                </c:pt>
                <c:pt idx="6551">
                  <c:v>-2.3529411764705799E-2</c:v>
                </c:pt>
                <c:pt idx="6552">
                  <c:v>-2.3529411764705799E-2</c:v>
                </c:pt>
                <c:pt idx="6553">
                  <c:v>-2.3529411764705799E-2</c:v>
                </c:pt>
                <c:pt idx="6554">
                  <c:v>-2.3529411764705799E-2</c:v>
                </c:pt>
                <c:pt idx="6555">
                  <c:v>-2.3529411764705799E-2</c:v>
                </c:pt>
                <c:pt idx="6556">
                  <c:v>-2.3529411764705799E-2</c:v>
                </c:pt>
                <c:pt idx="6557">
                  <c:v>-2.3529411764705799E-2</c:v>
                </c:pt>
                <c:pt idx="6558">
                  <c:v>-2.3529411764705799E-2</c:v>
                </c:pt>
                <c:pt idx="6559">
                  <c:v>-2.3529411764705799E-2</c:v>
                </c:pt>
                <c:pt idx="6560">
                  <c:v>-2.3529411764705799E-2</c:v>
                </c:pt>
                <c:pt idx="6561">
                  <c:v>-2.3529411764705799E-2</c:v>
                </c:pt>
                <c:pt idx="6562">
                  <c:v>-2.3529411764705799E-2</c:v>
                </c:pt>
                <c:pt idx="6563">
                  <c:v>-2.3529411764705799E-2</c:v>
                </c:pt>
                <c:pt idx="6564">
                  <c:v>-2.3529411764705799E-2</c:v>
                </c:pt>
                <c:pt idx="6565">
                  <c:v>-2.3529411764705799E-2</c:v>
                </c:pt>
                <c:pt idx="6566">
                  <c:v>-2.3529411764705799E-2</c:v>
                </c:pt>
                <c:pt idx="6567">
                  <c:v>-2.3529411764705799E-2</c:v>
                </c:pt>
                <c:pt idx="6568">
                  <c:v>-2.3529411764705799E-2</c:v>
                </c:pt>
                <c:pt idx="6569">
                  <c:v>-2.3529411764705799E-2</c:v>
                </c:pt>
                <c:pt idx="6570">
                  <c:v>-2.3529411764705799E-2</c:v>
                </c:pt>
                <c:pt idx="6571">
                  <c:v>-2.3529411764705799E-2</c:v>
                </c:pt>
                <c:pt idx="6572">
                  <c:v>-2.3529411764705799E-2</c:v>
                </c:pt>
                <c:pt idx="6573">
                  <c:v>-2.3529411764705799E-2</c:v>
                </c:pt>
                <c:pt idx="6574">
                  <c:v>-2.3529411764705799E-2</c:v>
                </c:pt>
                <c:pt idx="6575">
                  <c:v>-2.3529411764705799E-2</c:v>
                </c:pt>
                <c:pt idx="6576">
                  <c:v>-2.3529411764705799E-2</c:v>
                </c:pt>
                <c:pt idx="6577">
                  <c:v>-2.3529411764705799E-2</c:v>
                </c:pt>
                <c:pt idx="6578">
                  <c:v>-2.3529411764705799E-2</c:v>
                </c:pt>
                <c:pt idx="6579">
                  <c:v>-2.3529411764705799E-2</c:v>
                </c:pt>
                <c:pt idx="6580">
                  <c:v>-2.3529411764705799E-2</c:v>
                </c:pt>
                <c:pt idx="6581">
                  <c:v>-2.3529411764705799E-2</c:v>
                </c:pt>
                <c:pt idx="6582">
                  <c:v>-2.3529411764705799E-2</c:v>
                </c:pt>
                <c:pt idx="6583">
                  <c:v>-2.2689075630251999E-2</c:v>
                </c:pt>
                <c:pt idx="6584">
                  <c:v>-2.2689075630251999E-2</c:v>
                </c:pt>
                <c:pt idx="6585">
                  <c:v>-2.2689075630251999E-2</c:v>
                </c:pt>
                <c:pt idx="6586">
                  <c:v>-2.2689075630251999E-2</c:v>
                </c:pt>
                <c:pt idx="6587">
                  <c:v>-2.2689075630251999E-2</c:v>
                </c:pt>
                <c:pt idx="6588">
                  <c:v>-2.2689075630251999E-2</c:v>
                </c:pt>
                <c:pt idx="6589">
                  <c:v>-2.2689075630251999E-2</c:v>
                </c:pt>
                <c:pt idx="6590">
                  <c:v>-2.2689075630251999E-2</c:v>
                </c:pt>
                <c:pt idx="6591">
                  <c:v>-2.2689075630251999E-2</c:v>
                </c:pt>
                <c:pt idx="6592">
                  <c:v>-2.2689075630251999E-2</c:v>
                </c:pt>
                <c:pt idx="6593">
                  <c:v>-2.2689075630251999E-2</c:v>
                </c:pt>
                <c:pt idx="6594">
                  <c:v>-2.2689075630251999E-2</c:v>
                </c:pt>
                <c:pt idx="6595">
                  <c:v>-2.2689075630251999E-2</c:v>
                </c:pt>
                <c:pt idx="6596">
                  <c:v>-2.2689075630251999E-2</c:v>
                </c:pt>
                <c:pt idx="6597">
                  <c:v>-2.2689075630251999E-2</c:v>
                </c:pt>
                <c:pt idx="6598">
                  <c:v>-2.2689075630251999E-2</c:v>
                </c:pt>
                <c:pt idx="6599">
                  <c:v>-2.2689075630251999E-2</c:v>
                </c:pt>
                <c:pt idx="6600">
                  <c:v>-2.2689075630251999E-2</c:v>
                </c:pt>
                <c:pt idx="6601">
                  <c:v>-2.2689075630251999E-2</c:v>
                </c:pt>
                <c:pt idx="6602">
                  <c:v>-2.2689075630251999E-2</c:v>
                </c:pt>
                <c:pt idx="6603">
                  <c:v>-2.2689075630251999E-2</c:v>
                </c:pt>
                <c:pt idx="6604">
                  <c:v>-2.2689075630251999E-2</c:v>
                </c:pt>
                <c:pt idx="6605">
                  <c:v>-2.2689075630251999E-2</c:v>
                </c:pt>
                <c:pt idx="6606">
                  <c:v>-2.2689075630251999E-2</c:v>
                </c:pt>
                <c:pt idx="6607">
                  <c:v>-2.2689075630251999E-2</c:v>
                </c:pt>
                <c:pt idx="6608">
                  <c:v>-2.18487394957982E-2</c:v>
                </c:pt>
                <c:pt idx="6609">
                  <c:v>-2.18487394957982E-2</c:v>
                </c:pt>
                <c:pt idx="6610">
                  <c:v>-2.1008403361344501E-2</c:v>
                </c:pt>
                <c:pt idx="6611">
                  <c:v>-2.1008403361344501E-2</c:v>
                </c:pt>
                <c:pt idx="6612">
                  <c:v>-2.1008403361344501E-2</c:v>
                </c:pt>
                <c:pt idx="6613">
                  <c:v>-2.1008403361344501E-2</c:v>
                </c:pt>
                <c:pt idx="6614">
                  <c:v>-2.18487394957982E-2</c:v>
                </c:pt>
                <c:pt idx="6615">
                  <c:v>-2.18487394957982E-2</c:v>
                </c:pt>
                <c:pt idx="6616">
                  <c:v>-2.2689075630251999E-2</c:v>
                </c:pt>
                <c:pt idx="6617">
                  <c:v>-2.2689075630251999E-2</c:v>
                </c:pt>
                <c:pt idx="6618">
                  <c:v>-2.2689075630251999E-2</c:v>
                </c:pt>
                <c:pt idx="6619">
                  <c:v>-2.18487394957982E-2</c:v>
                </c:pt>
                <c:pt idx="6620">
                  <c:v>-2.18487394957982E-2</c:v>
                </c:pt>
                <c:pt idx="6621">
                  <c:v>-2.18487394957982E-2</c:v>
                </c:pt>
                <c:pt idx="6622">
                  <c:v>-2.18487394957982E-2</c:v>
                </c:pt>
                <c:pt idx="6623">
                  <c:v>-2.18487394957982E-2</c:v>
                </c:pt>
                <c:pt idx="6624">
                  <c:v>-2.18487394957982E-2</c:v>
                </c:pt>
                <c:pt idx="6625">
                  <c:v>-2.18487394957982E-2</c:v>
                </c:pt>
                <c:pt idx="6626">
                  <c:v>-2.18487394957982E-2</c:v>
                </c:pt>
                <c:pt idx="6627">
                  <c:v>-2.18487394957982E-2</c:v>
                </c:pt>
                <c:pt idx="6628">
                  <c:v>-2.18487394957982E-2</c:v>
                </c:pt>
                <c:pt idx="6629">
                  <c:v>-2.18487394957982E-2</c:v>
                </c:pt>
                <c:pt idx="6630">
                  <c:v>-2.18487394957982E-2</c:v>
                </c:pt>
                <c:pt idx="6631">
                  <c:v>-2.2689075630251999E-2</c:v>
                </c:pt>
                <c:pt idx="6632">
                  <c:v>-2.2689075630251999E-2</c:v>
                </c:pt>
                <c:pt idx="6633">
                  <c:v>-2.2689075630251999E-2</c:v>
                </c:pt>
                <c:pt idx="6634">
                  <c:v>-2.2689075630251999E-2</c:v>
                </c:pt>
                <c:pt idx="6635">
                  <c:v>-2.2689075630251999E-2</c:v>
                </c:pt>
                <c:pt idx="6636">
                  <c:v>-2.2689075630251999E-2</c:v>
                </c:pt>
                <c:pt idx="6637">
                  <c:v>-2.2689075630251999E-2</c:v>
                </c:pt>
                <c:pt idx="6638">
                  <c:v>-2.2689075630251999E-2</c:v>
                </c:pt>
                <c:pt idx="6639">
                  <c:v>-2.2689075630251999E-2</c:v>
                </c:pt>
                <c:pt idx="6640">
                  <c:v>-2.2689075630251999E-2</c:v>
                </c:pt>
                <c:pt idx="6641">
                  <c:v>-2.2689075630251999E-2</c:v>
                </c:pt>
                <c:pt idx="6642">
                  <c:v>-2.2689075630251999E-2</c:v>
                </c:pt>
                <c:pt idx="6643">
                  <c:v>-2.2689075630251999E-2</c:v>
                </c:pt>
                <c:pt idx="6644">
                  <c:v>-2.2689075630251999E-2</c:v>
                </c:pt>
                <c:pt idx="6645">
                  <c:v>-2.2689075630251999E-2</c:v>
                </c:pt>
                <c:pt idx="6646">
                  <c:v>-2.2689075630251999E-2</c:v>
                </c:pt>
                <c:pt idx="6647">
                  <c:v>-2.2689075630251999E-2</c:v>
                </c:pt>
                <c:pt idx="6648">
                  <c:v>-2.3529411764705799E-2</c:v>
                </c:pt>
                <c:pt idx="6649">
                  <c:v>-2.3529411764705799E-2</c:v>
                </c:pt>
                <c:pt idx="6650">
                  <c:v>-2.3529411764705799E-2</c:v>
                </c:pt>
                <c:pt idx="6651">
                  <c:v>-2.3529411764705799E-2</c:v>
                </c:pt>
                <c:pt idx="6652">
                  <c:v>-2.3529411764705799E-2</c:v>
                </c:pt>
                <c:pt idx="6653">
                  <c:v>-2.3529411764705799E-2</c:v>
                </c:pt>
                <c:pt idx="6654">
                  <c:v>-2.3529411764705799E-2</c:v>
                </c:pt>
                <c:pt idx="6655">
                  <c:v>-2.3529411764705799E-2</c:v>
                </c:pt>
                <c:pt idx="6656">
                  <c:v>-2.3529411764705799E-2</c:v>
                </c:pt>
                <c:pt idx="6657">
                  <c:v>-2.3529411764705799E-2</c:v>
                </c:pt>
                <c:pt idx="6658">
                  <c:v>-2.3529411764705799E-2</c:v>
                </c:pt>
                <c:pt idx="6659">
                  <c:v>-2.3529411764705799E-2</c:v>
                </c:pt>
                <c:pt idx="6660">
                  <c:v>-2.3529411764705799E-2</c:v>
                </c:pt>
                <c:pt idx="6661">
                  <c:v>-2.3529411764705799E-2</c:v>
                </c:pt>
                <c:pt idx="6662">
                  <c:v>-2.3529411764705799E-2</c:v>
                </c:pt>
                <c:pt idx="6663">
                  <c:v>-2.3529411764705799E-2</c:v>
                </c:pt>
                <c:pt idx="6664">
                  <c:v>-2.3529411764705799E-2</c:v>
                </c:pt>
                <c:pt idx="6665">
                  <c:v>-2.3529411764705799E-2</c:v>
                </c:pt>
                <c:pt idx="6666">
                  <c:v>-2.3529411764705799E-2</c:v>
                </c:pt>
                <c:pt idx="6667">
                  <c:v>-2.3529411764705799E-2</c:v>
                </c:pt>
                <c:pt idx="6668">
                  <c:v>-2.2689075630251999E-2</c:v>
                </c:pt>
                <c:pt idx="6669">
                  <c:v>-2.2689075630251999E-2</c:v>
                </c:pt>
                <c:pt idx="6670">
                  <c:v>-2.2689075630251999E-2</c:v>
                </c:pt>
                <c:pt idx="6671">
                  <c:v>-2.2689075630251999E-2</c:v>
                </c:pt>
                <c:pt idx="6672">
                  <c:v>-2.2689075630251999E-2</c:v>
                </c:pt>
                <c:pt idx="6673">
                  <c:v>-2.2689075630251999E-2</c:v>
                </c:pt>
                <c:pt idx="6674">
                  <c:v>-2.2689075630251999E-2</c:v>
                </c:pt>
                <c:pt idx="6675">
                  <c:v>-2.18487394957982E-2</c:v>
                </c:pt>
                <c:pt idx="6676">
                  <c:v>-2.18487394957982E-2</c:v>
                </c:pt>
                <c:pt idx="6677">
                  <c:v>-2.18487394957982E-2</c:v>
                </c:pt>
                <c:pt idx="6678">
                  <c:v>-2.18487394957982E-2</c:v>
                </c:pt>
                <c:pt idx="6679">
                  <c:v>-2.18487394957982E-2</c:v>
                </c:pt>
                <c:pt idx="6680">
                  <c:v>-2.18487394957982E-2</c:v>
                </c:pt>
                <c:pt idx="6681">
                  <c:v>-2.18487394957982E-2</c:v>
                </c:pt>
                <c:pt idx="6682">
                  <c:v>-2.1008403361344501E-2</c:v>
                </c:pt>
                <c:pt idx="6683">
                  <c:v>-2.1008403361344501E-2</c:v>
                </c:pt>
                <c:pt idx="6684">
                  <c:v>-2.1008403361344501E-2</c:v>
                </c:pt>
                <c:pt idx="6685">
                  <c:v>-2.1008403361344501E-2</c:v>
                </c:pt>
                <c:pt idx="6686">
                  <c:v>-2.1008403361344501E-2</c:v>
                </c:pt>
                <c:pt idx="6687">
                  <c:v>-2.1008403361344501E-2</c:v>
                </c:pt>
                <c:pt idx="6688">
                  <c:v>-2.1008403361344501E-2</c:v>
                </c:pt>
                <c:pt idx="6689">
                  <c:v>-2.1008403361344501E-2</c:v>
                </c:pt>
                <c:pt idx="6690">
                  <c:v>-2.1008403361344501E-2</c:v>
                </c:pt>
                <c:pt idx="6691">
                  <c:v>-2.1008403361344501E-2</c:v>
                </c:pt>
                <c:pt idx="6692">
                  <c:v>-2.1008403361344501E-2</c:v>
                </c:pt>
                <c:pt idx="6693">
                  <c:v>-2.1008403361344501E-2</c:v>
                </c:pt>
                <c:pt idx="6694">
                  <c:v>-2.1008403361344501E-2</c:v>
                </c:pt>
                <c:pt idx="6695">
                  <c:v>-2.1008403361344501E-2</c:v>
                </c:pt>
                <c:pt idx="6696">
                  <c:v>-2.1008403361344501E-2</c:v>
                </c:pt>
                <c:pt idx="6697">
                  <c:v>-2.1008403361344501E-2</c:v>
                </c:pt>
                <c:pt idx="6698">
                  <c:v>-2.1008403361344501E-2</c:v>
                </c:pt>
                <c:pt idx="6699">
                  <c:v>-2.1008403361344501E-2</c:v>
                </c:pt>
                <c:pt idx="6700">
                  <c:v>-2.0168067226890699E-2</c:v>
                </c:pt>
                <c:pt idx="6701">
                  <c:v>-2.0168067226890699E-2</c:v>
                </c:pt>
                <c:pt idx="6702">
                  <c:v>-2.0168067226890699E-2</c:v>
                </c:pt>
                <c:pt idx="6703">
                  <c:v>-2.0168067226890699E-2</c:v>
                </c:pt>
                <c:pt idx="6704">
                  <c:v>-2.0168067226890699E-2</c:v>
                </c:pt>
                <c:pt idx="6705">
                  <c:v>-2.0168067226890699E-2</c:v>
                </c:pt>
                <c:pt idx="6706">
                  <c:v>-2.0168067226890699E-2</c:v>
                </c:pt>
                <c:pt idx="6707">
                  <c:v>-2.0168067226890699E-2</c:v>
                </c:pt>
                <c:pt idx="6708">
                  <c:v>-2.0168067226890699E-2</c:v>
                </c:pt>
                <c:pt idx="6709">
                  <c:v>-2.0168067226890699E-2</c:v>
                </c:pt>
                <c:pt idx="6710">
                  <c:v>-2.0168067226890699E-2</c:v>
                </c:pt>
                <c:pt idx="6711">
                  <c:v>-2.0168067226890699E-2</c:v>
                </c:pt>
                <c:pt idx="6712">
                  <c:v>-2.0168067226890699E-2</c:v>
                </c:pt>
                <c:pt idx="6713">
                  <c:v>-2.0168067226890699E-2</c:v>
                </c:pt>
                <c:pt idx="6714">
                  <c:v>-2.0168067226890699E-2</c:v>
                </c:pt>
                <c:pt idx="6715">
                  <c:v>-2.0168067226890699E-2</c:v>
                </c:pt>
                <c:pt idx="6716">
                  <c:v>-2.0168067226890699E-2</c:v>
                </c:pt>
                <c:pt idx="6717">
                  <c:v>-2.0168067226890699E-2</c:v>
                </c:pt>
                <c:pt idx="6718">
                  <c:v>-2.0168067226890699E-2</c:v>
                </c:pt>
                <c:pt idx="6719">
                  <c:v>-2.0168067226890699E-2</c:v>
                </c:pt>
                <c:pt idx="6720">
                  <c:v>-2.0168067226890699E-2</c:v>
                </c:pt>
                <c:pt idx="6721">
                  <c:v>-2.0168067226890699E-2</c:v>
                </c:pt>
                <c:pt idx="6722">
                  <c:v>-1.9327731092436899E-2</c:v>
                </c:pt>
                <c:pt idx="6723">
                  <c:v>-1.9327731092436899E-2</c:v>
                </c:pt>
                <c:pt idx="6724">
                  <c:v>-1.9327731092436899E-2</c:v>
                </c:pt>
                <c:pt idx="6725">
                  <c:v>-1.9327731092436899E-2</c:v>
                </c:pt>
                <c:pt idx="6726">
                  <c:v>-1.9327731092436899E-2</c:v>
                </c:pt>
                <c:pt idx="6727">
                  <c:v>-1.9327731092436899E-2</c:v>
                </c:pt>
                <c:pt idx="6728">
                  <c:v>-1.9327731092436899E-2</c:v>
                </c:pt>
                <c:pt idx="6729">
                  <c:v>-1.9327731092436899E-2</c:v>
                </c:pt>
                <c:pt idx="6730">
                  <c:v>-1.9327731092436899E-2</c:v>
                </c:pt>
                <c:pt idx="6731">
                  <c:v>-1.9327731092436899E-2</c:v>
                </c:pt>
                <c:pt idx="6732">
                  <c:v>-1.9327731092436899E-2</c:v>
                </c:pt>
                <c:pt idx="6733">
                  <c:v>-1.9327731092436899E-2</c:v>
                </c:pt>
                <c:pt idx="6734">
                  <c:v>-1.9327731092436899E-2</c:v>
                </c:pt>
                <c:pt idx="6735">
                  <c:v>-1.9327731092436899E-2</c:v>
                </c:pt>
                <c:pt idx="6736">
                  <c:v>-1.9327731092436899E-2</c:v>
                </c:pt>
                <c:pt idx="6737">
                  <c:v>-1.9327731092436899E-2</c:v>
                </c:pt>
                <c:pt idx="6738">
                  <c:v>-1.9327731092436899E-2</c:v>
                </c:pt>
                <c:pt idx="6739">
                  <c:v>-1.9327731092436899E-2</c:v>
                </c:pt>
                <c:pt idx="6740">
                  <c:v>-1.9327731092436899E-2</c:v>
                </c:pt>
                <c:pt idx="6741">
                  <c:v>-1.9327731092436899E-2</c:v>
                </c:pt>
                <c:pt idx="6742">
                  <c:v>-1.9327731092436899E-2</c:v>
                </c:pt>
                <c:pt idx="6743">
                  <c:v>-1.9327731092436899E-2</c:v>
                </c:pt>
                <c:pt idx="6744">
                  <c:v>-1.9327731092436899E-2</c:v>
                </c:pt>
                <c:pt idx="6745">
                  <c:v>-1.9327731092436899E-2</c:v>
                </c:pt>
                <c:pt idx="6746">
                  <c:v>-1.9327731092436899E-2</c:v>
                </c:pt>
                <c:pt idx="6747">
                  <c:v>-1.9327731092436899E-2</c:v>
                </c:pt>
                <c:pt idx="6748">
                  <c:v>-1.9327731092436899E-2</c:v>
                </c:pt>
                <c:pt idx="6749">
                  <c:v>-1.9327731092436899E-2</c:v>
                </c:pt>
                <c:pt idx="6750">
                  <c:v>-1.9327731092436899E-2</c:v>
                </c:pt>
                <c:pt idx="6751">
                  <c:v>-1.9327731092436899E-2</c:v>
                </c:pt>
                <c:pt idx="6752">
                  <c:v>-1.9327731092436899E-2</c:v>
                </c:pt>
                <c:pt idx="6753">
                  <c:v>-1.9327731092436899E-2</c:v>
                </c:pt>
                <c:pt idx="6754">
                  <c:v>-1.9327731092436899E-2</c:v>
                </c:pt>
                <c:pt idx="6755">
                  <c:v>-1.9327731092436899E-2</c:v>
                </c:pt>
                <c:pt idx="6756">
                  <c:v>-2.0168067226890699E-2</c:v>
                </c:pt>
                <c:pt idx="6757">
                  <c:v>-2.0168067226890699E-2</c:v>
                </c:pt>
                <c:pt idx="6758">
                  <c:v>-2.0168067226890699E-2</c:v>
                </c:pt>
                <c:pt idx="6759">
                  <c:v>-2.0168067226890699E-2</c:v>
                </c:pt>
                <c:pt idx="6760">
                  <c:v>-2.0168067226890699E-2</c:v>
                </c:pt>
                <c:pt idx="6761">
                  <c:v>-2.0168067226890699E-2</c:v>
                </c:pt>
                <c:pt idx="6762">
                  <c:v>-2.0168067226890699E-2</c:v>
                </c:pt>
                <c:pt idx="6763">
                  <c:v>-2.0168067226890699E-2</c:v>
                </c:pt>
                <c:pt idx="6764">
                  <c:v>-2.0168067226890699E-2</c:v>
                </c:pt>
                <c:pt idx="6765">
                  <c:v>-2.0168067226890699E-2</c:v>
                </c:pt>
                <c:pt idx="6766">
                  <c:v>-2.0168067226890699E-2</c:v>
                </c:pt>
                <c:pt idx="6767">
                  <c:v>-2.0168067226890699E-2</c:v>
                </c:pt>
                <c:pt idx="6768">
                  <c:v>-2.0168067226890699E-2</c:v>
                </c:pt>
                <c:pt idx="6769">
                  <c:v>-2.0168067226890699E-2</c:v>
                </c:pt>
                <c:pt idx="6770">
                  <c:v>-2.0168067226890699E-2</c:v>
                </c:pt>
                <c:pt idx="6771">
                  <c:v>-2.0168067226890699E-2</c:v>
                </c:pt>
                <c:pt idx="6772">
                  <c:v>-2.0168067226890699E-2</c:v>
                </c:pt>
                <c:pt idx="6773">
                  <c:v>-2.0168067226890699E-2</c:v>
                </c:pt>
                <c:pt idx="6774">
                  <c:v>-2.0168067226890699E-2</c:v>
                </c:pt>
                <c:pt idx="6775">
                  <c:v>-2.0168067226890699E-2</c:v>
                </c:pt>
                <c:pt idx="6776">
                  <c:v>-2.0168067226890699E-2</c:v>
                </c:pt>
                <c:pt idx="6777">
                  <c:v>-2.0168067226890699E-2</c:v>
                </c:pt>
                <c:pt idx="6778">
                  <c:v>-2.0168067226890699E-2</c:v>
                </c:pt>
                <c:pt idx="6779">
                  <c:v>-2.0168067226890699E-2</c:v>
                </c:pt>
                <c:pt idx="6780">
                  <c:v>-2.0168067226890699E-2</c:v>
                </c:pt>
                <c:pt idx="6781">
                  <c:v>-2.0168067226890699E-2</c:v>
                </c:pt>
                <c:pt idx="6782">
                  <c:v>-2.0168067226890699E-2</c:v>
                </c:pt>
                <c:pt idx="6783">
                  <c:v>-2.0168067226890699E-2</c:v>
                </c:pt>
                <c:pt idx="6784">
                  <c:v>-2.0168067226890699E-2</c:v>
                </c:pt>
                <c:pt idx="6785">
                  <c:v>-2.0168067226890699E-2</c:v>
                </c:pt>
                <c:pt idx="6786">
                  <c:v>-2.0168067226890699E-2</c:v>
                </c:pt>
                <c:pt idx="6787">
                  <c:v>-2.0168067226890699E-2</c:v>
                </c:pt>
                <c:pt idx="6788">
                  <c:v>-2.0168067226890699E-2</c:v>
                </c:pt>
                <c:pt idx="6789">
                  <c:v>-2.0168067226890699E-2</c:v>
                </c:pt>
                <c:pt idx="6790">
                  <c:v>-2.0168067226890699E-2</c:v>
                </c:pt>
                <c:pt idx="6791">
                  <c:v>-2.0168067226890699E-2</c:v>
                </c:pt>
                <c:pt idx="6792">
                  <c:v>-1.9327731092436899E-2</c:v>
                </c:pt>
                <c:pt idx="6793">
                  <c:v>-1.9327731092436899E-2</c:v>
                </c:pt>
                <c:pt idx="6794">
                  <c:v>-1.9327731092436899E-2</c:v>
                </c:pt>
                <c:pt idx="6795">
                  <c:v>-1.9327731092436899E-2</c:v>
                </c:pt>
                <c:pt idx="6796">
                  <c:v>-1.9327731092436899E-2</c:v>
                </c:pt>
                <c:pt idx="6797">
                  <c:v>-1.9327731092436899E-2</c:v>
                </c:pt>
                <c:pt idx="6798">
                  <c:v>-1.9327731092436899E-2</c:v>
                </c:pt>
                <c:pt idx="6799">
                  <c:v>-1.9327731092436899E-2</c:v>
                </c:pt>
                <c:pt idx="6800">
                  <c:v>-1.9327731092436899E-2</c:v>
                </c:pt>
                <c:pt idx="6801">
                  <c:v>-1.9327731092436899E-2</c:v>
                </c:pt>
                <c:pt idx="6802">
                  <c:v>-1.9327731092436899E-2</c:v>
                </c:pt>
                <c:pt idx="6803">
                  <c:v>-1.9327731092436899E-2</c:v>
                </c:pt>
                <c:pt idx="6804">
                  <c:v>-1.9327731092436899E-2</c:v>
                </c:pt>
                <c:pt idx="6805">
                  <c:v>-1.9327731092436899E-2</c:v>
                </c:pt>
                <c:pt idx="6806">
                  <c:v>-1.9327731092436899E-2</c:v>
                </c:pt>
                <c:pt idx="6807">
                  <c:v>-1.9327731092436899E-2</c:v>
                </c:pt>
                <c:pt idx="6808">
                  <c:v>-1.9327731092436899E-2</c:v>
                </c:pt>
                <c:pt idx="6809">
                  <c:v>-1.9327731092436899E-2</c:v>
                </c:pt>
                <c:pt idx="6810">
                  <c:v>-1.9327731092436899E-2</c:v>
                </c:pt>
                <c:pt idx="6811">
                  <c:v>-1.9327731092436899E-2</c:v>
                </c:pt>
                <c:pt idx="6812">
                  <c:v>-1.9327731092436899E-2</c:v>
                </c:pt>
                <c:pt idx="6813">
                  <c:v>-1.9327731092436899E-2</c:v>
                </c:pt>
                <c:pt idx="6814">
                  <c:v>-1.9327731092436899E-2</c:v>
                </c:pt>
                <c:pt idx="6815">
                  <c:v>-1.9327731092436899E-2</c:v>
                </c:pt>
                <c:pt idx="6816">
                  <c:v>-2.0168067226890699E-2</c:v>
                </c:pt>
                <c:pt idx="6817">
                  <c:v>-2.0168067226890699E-2</c:v>
                </c:pt>
                <c:pt idx="6818">
                  <c:v>-2.0168067226890699E-2</c:v>
                </c:pt>
                <c:pt idx="6819">
                  <c:v>-2.0168067226890699E-2</c:v>
                </c:pt>
                <c:pt idx="6820">
                  <c:v>-2.0168067226890699E-2</c:v>
                </c:pt>
                <c:pt idx="6821">
                  <c:v>-2.0168067226890699E-2</c:v>
                </c:pt>
                <c:pt idx="6822">
                  <c:v>-2.0168067226890699E-2</c:v>
                </c:pt>
                <c:pt idx="6823">
                  <c:v>-2.0168067226890699E-2</c:v>
                </c:pt>
                <c:pt idx="6824">
                  <c:v>-2.0168067226890699E-2</c:v>
                </c:pt>
                <c:pt idx="6825">
                  <c:v>-2.0168067226890699E-2</c:v>
                </c:pt>
                <c:pt idx="6826">
                  <c:v>-2.0168067226890699E-2</c:v>
                </c:pt>
                <c:pt idx="6827">
                  <c:v>-2.0168067226890699E-2</c:v>
                </c:pt>
                <c:pt idx="6828">
                  <c:v>-2.0168067226890699E-2</c:v>
                </c:pt>
                <c:pt idx="6829">
                  <c:v>-2.0168067226890699E-2</c:v>
                </c:pt>
                <c:pt idx="6830">
                  <c:v>-2.0168067226890699E-2</c:v>
                </c:pt>
                <c:pt idx="6831">
                  <c:v>-2.0168067226890699E-2</c:v>
                </c:pt>
                <c:pt idx="6832">
                  <c:v>-2.0168067226890699E-2</c:v>
                </c:pt>
                <c:pt idx="6833">
                  <c:v>-2.0168067226890699E-2</c:v>
                </c:pt>
                <c:pt idx="6834">
                  <c:v>-2.0168067226890699E-2</c:v>
                </c:pt>
                <c:pt idx="6835">
                  <c:v>-2.0168067226890699E-2</c:v>
                </c:pt>
                <c:pt idx="6836">
                  <c:v>-2.0168067226890699E-2</c:v>
                </c:pt>
                <c:pt idx="6837">
                  <c:v>-2.0168067226890699E-2</c:v>
                </c:pt>
                <c:pt idx="6838">
                  <c:v>-2.0168067226890699E-2</c:v>
                </c:pt>
                <c:pt idx="6839">
                  <c:v>-2.0168067226890699E-2</c:v>
                </c:pt>
                <c:pt idx="6840">
                  <c:v>-2.0168067226890699E-2</c:v>
                </c:pt>
                <c:pt idx="6841">
                  <c:v>-2.0168067226890699E-2</c:v>
                </c:pt>
                <c:pt idx="6842">
                  <c:v>-2.0168067226890699E-2</c:v>
                </c:pt>
                <c:pt idx="6843">
                  <c:v>-2.0168067226890699E-2</c:v>
                </c:pt>
                <c:pt idx="6844">
                  <c:v>-2.1008403361344501E-2</c:v>
                </c:pt>
                <c:pt idx="6845">
                  <c:v>-2.1848739495798301E-2</c:v>
                </c:pt>
                <c:pt idx="6846">
                  <c:v>-2.26890756302521E-2</c:v>
                </c:pt>
                <c:pt idx="6847">
                  <c:v>-2.26890756302521E-2</c:v>
                </c:pt>
                <c:pt idx="6848">
                  <c:v>-2.26890756302521E-2</c:v>
                </c:pt>
                <c:pt idx="6849">
                  <c:v>-2.1848739495798301E-2</c:v>
                </c:pt>
                <c:pt idx="6850">
                  <c:v>-2.1848739495798301E-2</c:v>
                </c:pt>
                <c:pt idx="6851">
                  <c:v>-2.1848739495798301E-2</c:v>
                </c:pt>
                <c:pt idx="6852">
                  <c:v>-2.1848739495798301E-2</c:v>
                </c:pt>
                <c:pt idx="6853">
                  <c:v>-2.1848739495798301E-2</c:v>
                </c:pt>
                <c:pt idx="6854">
                  <c:v>-2.1848739495798301E-2</c:v>
                </c:pt>
                <c:pt idx="6855">
                  <c:v>-2.1008403361344501E-2</c:v>
                </c:pt>
                <c:pt idx="6856">
                  <c:v>-2.1008403361344501E-2</c:v>
                </c:pt>
                <c:pt idx="6857">
                  <c:v>-2.1008403361344501E-2</c:v>
                </c:pt>
                <c:pt idx="6858">
                  <c:v>-2.1008403361344501E-2</c:v>
                </c:pt>
                <c:pt idx="6859">
                  <c:v>-2.1008403361344501E-2</c:v>
                </c:pt>
                <c:pt idx="6860">
                  <c:v>-2.0168067226890699E-2</c:v>
                </c:pt>
                <c:pt idx="6861">
                  <c:v>-2.0168067226890699E-2</c:v>
                </c:pt>
                <c:pt idx="6862">
                  <c:v>-2.0168067226890699E-2</c:v>
                </c:pt>
                <c:pt idx="6863">
                  <c:v>-2.0168067226890699E-2</c:v>
                </c:pt>
                <c:pt idx="6864">
                  <c:v>-2.0168067226890699E-2</c:v>
                </c:pt>
                <c:pt idx="6865">
                  <c:v>-2.0168067226890699E-2</c:v>
                </c:pt>
                <c:pt idx="6866">
                  <c:v>-2.0168067226890699E-2</c:v>
                </c:pt>
                <c:pt idx="6867">
                  <c:v>-2.0168067226890699E-2</c:v>
                </c:pt>
                <c:pt idx="6868">
                  <c:v>-2.0168067226890699E-2</c:v>
                </c:pt>
                <c:pt idx="6869">
                  <c:v>-2.0168067226890699E-2</c:v>
                </c:pt>
                <c:pt idx="6870">
                  <c:v>-2.0168067226890699E-2</c:v>
                </c:pt>
                <c:pt idx="6871">
                  <c:v>-2.0168067226890699E-2</c:v>
                </c:pt>
                <c:pt idx="6872">
                  <c:v>-2.0168067226890699E-2</c:v>
                </c:pt>
                <c:pt idx="6873">
                  <c:v>-2.0168067226890699E-2</c:v>
                </c:pt>
                <c:pt idx="6874">
                  <c:v>-2.0168067226890699E-2</c:v>
                </c:pt>
                <c:pt idx="6875">
                  <c:v>-2.0168067226890699E-2</c:v>
                </c:pt>
                <c:pt idx="6876">
                  <c:v>-2.0168067226890699E-2</c:v>
                </c:pt>
                <c:pt idx="6877">
                  <c:v>-2.0168067226890699E-2</c:v>
                </c:pt>
                <c:pt idx="6878">
                  <c:v>-2.0168067226890699E-2</c:v>
                </c:pt>
                <c:pt idx="6879">
                  <c:v>-2.0168067226890699E-2</c:v>
                </c:pt>
                <c:pt idx="6880">
                  <c:v>-2.1008403361344501E-2</c:v>
                </c:pt>
                <c:pt idx="6881">
                  <c:v>-2.1008403361344501E-2</c:v>
                </c:pt>
                <c:pt idx="6882">
                  <c:v>-2.1008403361344501E-2</c:v>
                </c:pt>
                <c:pt idx="6883">
                  <c:v>-2.1008403361344501E-2</c:v>
                </c:pt>
                <c:pt idx="6884">
                  <c:v>-2.1008403361344501E-2</c:v>
                </c:pt>
                <c:pt idx="6885">
                  <c:v>-2.1008403361344501E-2</c:v>
                </c:pt>
                <c:pt idx="6886">
                  <c:v>-2.1008403361344501E-2</c:v>
                </c:pt>
                <c:pt idx="6887">
                  <c:v>-2.1008403361344501E-2</c:v>
                </c:pt>
                <c:pt idx="6888">
                  <c:v>-2.1008403361344501E-2</c:v>
                </c:pt>
                <c:pt idx="6889">
                  <c:v>-2.1008403361344501E-2</c:v>
                </c:pt>
                <c:pt idx="6890">
                  <c:v>-2.1008403361344501E-2</c:v>
                </c:pt>
                <c:pt idx="6891">
                  <c:v>-2.1008403361344501E-2</c:v>
                </c:pt>
                <c:pt idx="6892">
                  <c:v>-2.1848739495798301E-2</c:v>
                </c:pt>
                <c:pt idx="6893">
                  <c:v>-2.1848739495798301E-2</c:v>
                </c:pt>
                <c:pt idx="6894">
                  <c:v>-2.1848739495798301E-2</c:v>
                </c:pt>
                <c:pt idx="6895">
                  <c:v>-2.1848739495798301E-2</c:v>
                </c:pt>
                <c:pt idx="6896">
                  <c:v>-2.1848739495798301E-2</c:v>
                </c:pt>
                <c:pt idx="6897">
                  <c:v>-2.1848739495798301E-2</c:v>
                </c:pt>
                <c:pt idx="6898">
                  <c:v>-2.1848739495798301E-2</c:v>
                </c:pt>
                <c:pt idx="6899">
                  <c:v>-2.26890756302521E-2</c:v>
                </c:pt>
                <c:pt idx="6900">
                  <c:v>-2.26890756302521E-2</c:v>
                </c:pt>
                <c:pt idx="6901">
                  <c:v>-2.26890756302521E-2</c:v>
                </c:pt>
                <c:pt idx="6902">
                  <c:v>-2.26890756302521E-2</c:v>
                </c:pt>
                <c:pt idx="6903">
                  <c:v>-2.26890756302521E-2</c:v>
                </c:pt>
                <c:pt idx="6904">
                  <c:v>-2.26890756302521E-2</c:v>
                </c:pt>
                <c:pt idx="6905">
                  <c:v>-2.26890756302521E-2</c:v>
                </c:pt>
                <c:pt idx="6906">
                  <c:v>-2.26890756302521E-2</c:v>
                </c:pt>
                <c:pt idx="6907">
                  <c:v>-2.1848739495798301E-2</c:v>
                </c:pt>
                <c:pt idx="6908">
                  <c:v>-2.1848739495798301E-2</c:v>
                </c:pt>
                <c:pt idx="6909">
                  <c:v>-2.1848739495798301E-2</c:v>
                </c:pt>
                <c:pt idx="6910">
                  <c:v>-2.1848739495798301E-2</c:v>
                </c:pt>
                <c:pt idx="6911">
                  <c:v>-2.1848739495798301E-2</c:v>
                </c:pt>
                <c:pt idx="6912">
                  <c:v>-2.1848739495798301E-2</c:v>
                </c:pt>
                <c:pt idx="6913">
                  <c:v>-2.1848739495798301E-2</c:v>
                </c:pt>
                <c:pt idx="6914">
                  <c:v>-2.1848739495798301E-2</c:v>
                </c:pt>
                <c:pt idx="6915">
                  <c:v>-2.1848739495798301E-2</c:v>
                </c:pt>
                <c:pt idx="6916">
                  <c:v>-2.1848739495798301E-2</c:v>
                </c:pt>
                <c:pt idx="6917">
                  <c:v>-2.26890756302521E-2</c:v>
                </c:pt>
                <c:pt idx="6918">
                  <c:v>-2.26890756302521E-2</c:v>
                </c:pt>
                <c:pt idx="6919">
                  <c:v>-2.26890756302521E-2</c:v>
                </c:pt>
                <c:pt idx="6920">
                  <c:v>-2.26890756302521E-2</c:v>
                </c:pt>
                <c:pt idx="6921">
                  <c:v>-2.26890756302521E-2</c:v>
                </c:pt>
                <c:pt idx="6922">
                  <c:v>-2.26890756302521E-2</c:v>
                </c:pt>
                <c:pt idx="6923">
                  <c:v>-2.26890756302521E-2</c:v>
                </c:pt>
                <c:pt idx="6924">
                  <c:v>-2.26890756302521E-2</c:v>
                </c:pt>
                <c:pt idx="6925">
                  <c:v>-2.26890756302521E-2</c:v>
                </c:pt>
                <c:pt idx="6926">
                  <c:v>-2.1848739495798301E-2</c:v>
                </c:pt>
                <c:pt idx="6927">
                  <c:v>-2.1848739495798301E-2</c:v>
                </c:pt>
                <c:pt idx="6928">
                  <c:v>-2.1848739495798301E-2</c:v>
                </c:pt>
                <c:pt idx="6929">
                  <c:v>-2.1848739495798301E-2</c:v>
                </c:pt>
                <c:pt idx="6930">
                  <c:v>-2.1848739495798301E-2</c:v>
                </c:pt>
                <c:pt idx="6931">
                  <c:v>-2.1848739495798301E-2</c:v>
                </c:pt>
                <c:pt idx="6932">
                  <c:v>-2.1848739495798301E-2</c:v>
                </c:pt>
                <c:pt idx="6933">
                  <c:v>-2.1848739495798301E-2</c:v>
                </c:pt>
                <c:pt idx="6934">
                  <c:v>-2.1848739495798301E-2</c:v>
                </c:pt>
                <c:pt idx="6935">
                  <c:v>-2.1848739495798301E-2</c:v>
                </c:pt>
                <c:pt idx="6936">
                  <c:v>-2.1848739495798301E-2</c:v>
                </c:pt>
                <c:pt idx="6937">
                  <c:v>-2.1848739495798301E-2</c:v>
                </c:pt>
                <c:pt idx="6938">
                  <c:v>-2.1848739495798301E-2</c:v>
                </c:pt>
                <c:pt idx="6939">
                  <c:v>-2.1848739495798301E-2</c:v>
                </c:pt>
                <c:pt idx="6940">
                  <c:v>-2.1848739495798301E-2</c:v>
                </c:pt>
                <c:pt idx="6941">
                  <c:v>-2.1848739495798301E-2</c:v>
                </c:pt>
                <c:pt idx="6942">
                  <c:v>-2.1848739495798301E-2</c:v>
                </c:pt>
                <c:pt idx="6943">
                  <c:v>-2.1848739495798301E-2</c:v>
                </c:pt>
                <c:pt idx="6944">
                  <c:v>-2.1848739495798301E-2</c:v>
                </c:pt>
                <c:pt idx="6945">
                  <c:v>-2.1848739495798301E-2</c:v>
                </c:pt>
                <c:pt idx="6946">
                  <c:v>-2.1848739495798301E-2</c:v>
                </c:pt>
                <c:pt idx="6947">
                  <c:v>-2.1848739495798301E-2</c:v>
                </c:pt>
                <c:pt idx="6948">
                  <c:v>-2.1848739495798301E-2</c:v>
                </c:pt>
                <c:pt idx="6949">
                  <c:v>-2.1848739495798301E-2</c:v>
                </c:pt>
                <c:pt idx="6950">
                  <c:v>-2.1848739495798301E-2</c:v>
                </c:pt>
                <c:pt idx="6951">
                  <c:v>-2.1008403361344501E-2</c:v>
                </c:pt>
                <c:pt idx="6952">
                  <c:v>-2.1008403361344501E-2</c:v>
                </c:pt>
                <c:pt idx="6953">
                  <c:v>-2.1008403361344501E-2</c:v>
                </c:pt>
                <c:pt idx="6954">
                  <c:v>-2.1008403361344501E-2</c:v>
                </c:pt>
                <c:pt idx="6955">
                  <c:v>-2.1008403361344501E-2</c:v>
                </c:pt>
                <c:pt idx="6956">
                  <c:v>-2.1008403361344501E-2</c:v>
                </c:pt>
                <c:pt idx="6957">
                  <c:v>-2.1008403361344501E-2</c:v>
                </c:pt>
                <c:pt idx="6958">
                  <c:v>-2.1008403361344501E-2</c:v>
                </c:pt>
                <c:pt idx="6959">
                  <c:v>-2.1008403361344501E-2</c:v>
                </c:pt>
                <c:pt idx="6960">
                  <c:v>-2.1008403361344501E-2</c:v>
                </c:pt>
                <c:pt idx="6961">
                  <c:v>-2.1008403361344501E-2</c:v>
                </c:pt>
                <c:pt idx="6962">
                  <c:v>-2.1008403361344501E-2</c:v>
                </c:pt>
                <c:pt idx="6963">
                  <c:v>-2.1008403361344501E-2</c:v>
                </c:pt>
                <c:pt idx="6964">
                  <c:v>-2.1008403361344501E-2</c:v>
                </c:pt>
                <c:pt idx="6965">
                  <c:v>-2.1008403361344501E-2</c:v>
                </c:pt>
                <c:pt idx="6966">
                  <c:v>-2.1008403361344501E-2</c:v>
                </c:pt>
                <c:pt idx="6967">
                  <c:v>-2.1008403361344501E-2</c:v>
                </c:pt>
                <c:pt idx="6968">
                  <c:v>-2.1008403361344501E-2</c:v>
                </c:pt>
                <c:pt idx="6969">
                  <c:v>-2.1008403361344501E-2</c:v>
                </c:pt>
                <c:pt idx="6970">
                  <c:v>-2.1008403361344501E-2</c:v>
                </c:pt>
                <c:pt idx="6971">
                  <c:v>-2.1008403361344501E-2</c:v>
                </c:pt>
                <c:pt idx="6972">
                  <c:v>-2.1008403361344501E-2</c:v>
                </c:pt>
                <c:pt idx="6973">
                  <c:v>-2.1848739495798301E-2</c:v>
                </c:pt>
                <c:pt idx="6974">
                  <c:v>-2.1848739495798301E-2</c:v>
                </c:pt>
                <c:pt idx="6975">
                  <c:v>-2.1848739495798301E-2</c:v>
                </c:pt>
                <c:pt idx="6976">
                  <c:v>-2.1848739495798301E-2</c:v>
                </c:pt>
                <c:pt idx="6977">
                  <c:v>-2.1848739495798301E-2</c:v>
                </c:pt>
                <c:pt idx="6978">
                  <c:v>-2.1848739495798301E-2</c:v>
                </c:pt>
                <c:pt idx="6979">
                  <c:v>-2.26890756302521E-2</c:v>
                </c:pt>
                <c:pt idx="6980">
                  <c:v>-2.26890756302521E-2</c:v>
                </c:pt>
                <c:pt idx="6981">
                  <c:v>-2.26890756302521E-2</c:v>
                </c:pt>
                <c:pt idx="6982">
                  <c:v>-2.26890756302521E-2</c:v>
                </c:pt>
                <c:pt idx="6983">
                  <c:v>-2.26890756302521E-2</c:v>
                </c:pt>
                <c:pt idx="6984">
                  <c:v>-2.26890756302521E-2</c:v>
                </c:pt>
                <c:pt idx="6985">
                  <c:v>-2.26890756302521E-2</c:v>
                </c:pt>
                <c:pt idx="6986">
                  <c:v>-2.26890756302521E-2</c:v>
                </c:pt>
                <c:pt idx="6987">
                  <c:v>-2.26890756302521E-2</c:v>
                </c:pt>
                <c:pt idx="6988">
                  <c:v>-2.26890756302521E-2</c:v>
                </c:pt>
                <c:pt idx="6989">
                  <c:v>-2.18487394957982E-2</c:v>
                </c:pt>
                <c:pt idx="6990">
                  <c:v>-2.18487394957982E-2</c:v>
                </c:pt>
                <c:pt idx="6991">
                  <c:v>-2.18487394957982E-2</c:v>
                </c:pt>
                <c:pt idx="6992">
                  <c:v>-2.18487394957982E-2</c:v>
                </c:pt>
                <c:pt idx="6993">
                  <c:v>-2.18487394957982E-2</c:v>
                </c:pt>
                <c:pt idx="6994">
                  <c:v>-2.18487394957982E-2</c:v>
                </c:pt>
                <c:pt idx="6995">
                  <c:v>-2.18487394957982E-2</c:v>
                </c:pt>
                <c:pt idx="6996">
                  <c:v>-2.18487394957982E-2</c:v>
                </c:pt>
                <c:pt idx="6997">
                  <c:v>-2.18487394957982E-2</c:v>
                </c:pt>
                <c:pt idx="6998">
                  <c:v>-2.18487394957982E-2</c:v>
                </c:pt>
                <c:pt idx="6999">
                  <c:v>-2.18487394957982E-2</c:v>
                </c:pt>
                <c:pt idx="7000">
                  <c:v>-2.18487394957982E-2</c:v>
                </c:pt>
                <c:pt idx="7001">
                  <c:v>-2.18487394957982E-2</c:v>
                </c:pt>
                <c:pt idx="7002">
                  <c:v>-2.18487394957982E-2</c:v>
                </c:pt>
                <c:pt idx="7003">
                  <c:v>-2.18487394957982E-2</c:v>
                </c:pt>
                <c:pt idx="7004">
                  <c:v>-2.18487394957982E-2</c:v>
                </c:pt>
                <c:pt idx="7005">
                  <c:v>-2.18487394957982E-2</c:v>
                </c:pt>
                <c:pt idx="7006">
                  <c:v>-2.18487394957982E-2</c:v>
                </c:pt>
                <c:pt idx="7007">
                  <c:v>-2.18487394957982E-2</c:v>
                </c:pt>
                <c:pt idx="7008">
                  <c:v>-2.18487394957982E-2</c:v>
                </c:pt>
                <c:pt idx="7009">
                  <c:v>-2.18487394957982E-2</c:v>
                </c:pt>
                <c:pt idx="7010">
                  <c:v>-2.18487394957982E-2</c:v>
                </c:pt>
                <c:pt idx="7011">
                  <c:v>-2.18487394957982E-2</c:v>
                </c:pt>
                <c:pt idx="7012">
                  <c:v>-2.18487394957982E-2</c:v>
                </c:pt>
                <c:pt idx="7013">
                  <c:v>-2.18487394957982E-2</c:v>
                </c:pt>
                <c:pt idx="7014">
                  <c:v>-2.18487394957982E-2</c:v>
                </c:pt>
                <c:pt idx="7015">
                  <c:v>-2.18487394957982E-2</c:v>
                </c:pt>
                <c:pt idx="7016">
                  <c:v>-2.18487394957982E-2</c:v>
                </c:pt>
                <c:pt idx="7017">
                  <c:v>-2.18487394957982E-2</c:v>
                </c:pt>
                <c:pt idx="7018">
                  <c:v>-2.18487394957982E-2</c:v>
                </c:pt>
                <c:pt idx="7019">
                  <c:v>-2.18487394957982E-2</c:v>
                </c:pt>
                <c:pt idx="7020">
                  <c:v>-2.18487394957982E-2</c:v>
                </c:pt>
                <c:pt idx="7021">
                  <c:v>-2.18487394957982E-2</c:v>
                </c:pt>
                <c:pt idx="7022">
                  <c:v>-2.18487394957982E-2</c:v>
                </c:pt>
                <c:pt idx="7023">
                  <c:v>-2.18487394957982E-2</c:v>
                </c:pt>
                <c:pt idx="7024">
                  <c:v>-2.18487394957982E-2</c:v>
                </c:pt>
                <c:pt idx="7025">
                  <c:v>-2.18487394957982E-2</c:v>
                </c:pt>
                <c:pt idx="7026">
                  <c:v>-2.18487394957982E-2</c:v>
                </c:pt>
                <c:pt idx="7027">
                  <c:v>-2.18487394957982E-2</c:v>
                </c:pt>
                <c:pt idx="7028">
                  <c:v>-2.18487394957982E-2</c:v>
                </c:pt>
                <c:pt idx="7029">
                  <c:v>-2.18487394957982E-2</c:v>
                </c:pt>
                <c:pt idx="7030">
                  <c:v>-2.18487394957982E-2</c:v>
                </c:pt>
                <c:pt idx="7031">
                  <c:v>-2.18487394957982E-2</c:v>
                </c:pt>
                <c:pt idx="7032">
                  <c:v>-2.18487394957982E-2</c:v>
                </c:pt>
                <c:pt idx="7033">
                  <c:v>-2.18487394957982E-2</c:v>
                </c:pt>
                <c:pt idx="7034">
                  <c:v>-2.18487394957982E-2</c:v>
                </c:pt>
                <c:pt idx="7035">
                  <c:v>-2.18487394957982E-2</c:v>
                </c:pt>
                <c:pt idx="7036">
                  <c:v>-2.18487394957982E-2</c:v>
                </c:pt>
                <c:pt idx="7037">
                  <c:v>-2.18487394957982E-2</c:v>
                </c:pt>
                <c:pt idx="7038">
                  <c:v>-2.18487394957982E-2</c:v>
                </c:pt>
                <c:pt idx="7039">
                  <c:v>-2.18487394957982E-2</c:v>
                </c:pt>
                <c:pt idx="7040">
                  <c:v>-2.1008403361344501E-2</c:v>
                </c:pt>
                <c:pt idx="7041">
                  <c:v>-2.1008403361344501E-2</c:v>
                </c:pt>
                <c:pt idx="7042">
                  <c:v>-2.1008403361344501E-2</c:v>
                </c:pt>
                <c:pt idx="7043">
                  <c:v>-2.1008403361344501E-2</c:v>
                </c:pt>
                <c:pt idx="7044">
                  <c:v>-2.1008403361344501E-2</c:v>
                </c:pt>
                <c:pt idx="7045">
                  <c:v>-2.1008403361344501E-2</c:v>
                </c:pt>
                <c:pt idx="7046">
                  <c:v>-2.1008403361344501E-2</c:v>
                </c:pt>
                <c:pt idx="7047">
                  <c:v>-2.1008403361344501E-2</c:v>
                </c:pt>
                <c:pt idx="7048">
                  <c:v>-2.1008403361344501E-2</c:v>
                </c:pt>
                <c:pt idx="7049">
                  <c:v>-2.1008403361344501E-2</c:v>
                </c:pt>
                <c:pt idx="7050">
                  <c:v>-2.1008403361344501E-2</c:v>
                </c:pt>
                <c:pt idx="7051">
                  <c:v>-2.1008403361344501E-2</c:v>
                </c:pt>
                <c:pt idx="7052">
                  <c:v>-2.1008403361344501E-2</c:v>
                </c:pt>
                <c:pt idx="7053">
                  <c:v>-2.1008403361344501E-2</c:v>
                </c:pt>
                <c:pt idx="7054">
                  <c:v>-2.1008403361344501E-2</c:v>
                </c:pt>
                <c:pt idx="7055">
                  <c:v>-2.1008403361344501E-2</c:v>
                </c:pt>
                <c:pt idx="7056">
                  <c:v>-2.1008403361344501E-2</c:v>
                </c:pt>
                <c:pt idx="7057">
                  <c:v>-2.18487394957982E-2</c:v>
                </c:pt>
                <c:pt idx="7058">
                  <c:v>-2.18487394957982E-2</c:v>
                </c:pt>
                <c:pt idx="7059">
                  <c:v>-2.18487394957982E-2</c:v>
                </c:pt>
                <c:pt idx="7060">
                  <c:v>-2.18487394957982E-2</c:v>
                </c:pt>
                <c:pt idx="7061">
                  <c:v>-2.18487394957982E-2</c:v>
                </c:pt>
                <c:pt idx="7062">
                  <c:v>-2.18487394957982E-2</c:v>
                </c:pt>
                <c:pt idx="7063">
                  <c:v>-2.18487394957982E-2</c:v>
                </c:pt>
                <c:pt idx="7064">
                  <c:v>-2.18487394957982E-2</c:v>
                </c:pt>
                <c:pt idx="7065">
                  <c:v>-2.18487394957982E-2</c:v>
                </c:pt>
                <c:pt idx="7066">
                  <c:v>-2.18487394957982E-2</c:v>
                </c:pt>
                <c:pt idx="7067">
                  <c:v>-2.18487394957982E-2</c:v>
                </c:pt>
                <c:pt idx="7068">
                  <c:v>-2.18487394957982E-2</c:v>
                </c:pt>
                <c:pt idx="7069">
                  <c:v>-2.18487394957982E-2</c:v>
                </c:pt>
                <c:pt idx="7070">
                  <c:v>-2.18487394957982E-2</c:v>
                </c:pt>
                <c:pt idx="7071">
                  <c:v>-2.18487394957982E-2</c:v>
                </c:pt>
                <c:pt idx="7072">
                  <c:v>-2.18487394957982E-2</c:v>
                </c:pt>
                <c:pt idx="7073">
                  <c:v>-2.18487394957982E-2</c:v>
                </c:pt>
                <c:pt idx="7074">
                  <c:v>-2.18487394957982E-2</c:v>
                </c:pt>
                <c:pt idx="7075">
                  <c:v>-2.18487394957982E-2</c:v>
                </c:pt>
                <c:pt idx="7076">
                  <c:v>-2.18487394957982E-2</c:v>
                </c:pt>
                <c:pt idx="7077">
                  <c:v>-2.18487394957982E-2</c:v>
                </c:pt>
                <c:pt idx="7078">
                  <c:v>-2.18487394957982E-2</c:v>
                </c:pt>
                <c:pt idx="7079">
                  <c:v>-2.18487394957982E-2</c:v>
                </c:pt>
                <c:pt idx="7080">
                  <c:v>-2.18487394957982E-2</c:v>
                </c:pt>
                <c:pt idx="7081">
                  <c:v>-2.18487394957982E-2</c:v>
                </c:pt>
                <c:pt idx="7082">
                  <c:v>-2.18487394957982E-2</c:v>
                </c:pt>
                <c:pt idx="7083">
                  <c:v>-2.18487394957982E-2</c:v>
                </c:pt>
                <c:pt idx="7084">
                  <c:v>-2.18487394957982E-2</c:v>
                </c:pt>
                <c:pt idx="7085">
                  <c:v>-2.18487394957982E-2</c:v>
                </c:pt>
                <c:pt idx="7086">
                  <c:v>-2.18487394957982E-2</c:v>
                </c:pt>
                <c:pt idx="7087">
                  <c:v>-2.1008403361344501E-2</c:v>
                </c:pt>
                <c:pt idx="7088">
                  <c:v>-2.1008403361344501E-2</c:v>
                </c:pt>
                <c:pt idx="7089">
                  <c:v>-2.1008403361344501E-2</c:v>
                </c:pt>
                <c:pt idx="7090">
                  <c:v>-2.1008403361344501E-2</c:v>
                </c:pt>
                <c:pt idx="7091">
                  <c:v>-2.1008403361344501E-2</c:v>
                </c:pt>
                <c:pt idx="7092">
                  <c:v>-2.1008403361344501E-2</c:v>
                </c:pt>
                <c:pt idx="7093">
                  <c:v>-2.1008403361344501E-2</c:v>
                </c:pt>
                <c:pt idx="7094">
                  <c:v>-2.1008403361344501E-2</c:v>
                </c:pt>
                <c:pt idx="7095">
                  <c:v>-2.1008403361344501E-2</c:v>
                </c:pt>
                <c:pt idx="7096">
                  <c:v>-2.1008403361344501E-2</c:v>
                </c:pt>
                <c:pt idx="7097">
                  <c:v>-2.1008403361344501E-2</c:v>
                </c:pt>
                <c:pt idx="7098">
                  <c:v>-2.1008403361344501E-2</c:v>
                </c:pt>
                <c:pt idx="7099">
                  <c:v>-2.1008403361344501E-2</c:v>
                </c:pt>
                <c:pt idx="7100">
                  <c:v>-2.1008403361344501E-2</c:v>
                </c:pt>
                <c:pt idx="7101">
                  <c:v>-2.1008403361344501E-2</c:v>
                </c:pt>
                <c:pt idx="7102">
                  <c:v>-2.1008403361344501E-2</c:v>
                </c:pt>
                <c:pt idx="7103">
                  <c:v>-2.1008403361344501E-2</c:v>
                </c:pt>
                <c:pt idx="7104">
                  <c:v>-2.0168067226890699E-2</c:v>
                </c:pt>
                <c:pt idx="7105">
                  <c:v>-2.0168067226890699E-2</c:v>
                </c:pt>
                <c:pt idx="7106">
                  <c:v>-2.0168067226890699E-2</c:v>
                </c:pt>
                <c:pt idx="7107">
                  <c:v>-2.0168067226890699E-2</c:v>
                </c:pt>
                <c:pt idx="7108">
                  <c:v>-2.0168067226890699E-2</c:v>
                </c:pt>
                <c:pt idx="7109">
                  <c:v>-2.0168067226890699E-2</c:v>
                </c:pt>
                <c:pt idx="7110">
                  <c:v>-2.0168067226890699E-2</c:v>
                </c:pt>
                <c:pt idx="7111">
                  <c:v>-2.0168067226890699E-2</c:v>
                </c:pt>
                <c:pt idx="7112">
                  <c:v>-2.1008403361344501E-2</c:v>
                </c:pt>
                <c:pt idx="7113">
                  <c:v>-2.0168067226890699E-2</c:v>
                </c:pt>
                <c:pt idx="7114">
                  <c:v>-2.0168067226890699E-2</c:v>
                </c:pt>
                <c:pt idx="7115">
                  <c:v>-2.0168067226890699E-2</c:v>
                </c:pt>
                <c:pt idx="7116">
                  <c:v>-2.0168067226890699E-2</c:v>
                </c:pt>
                <c:pt idx="7117">
                  <c:v>-2.0168067226890699E-2</c:v>
                </c:pt>
                <c:pt idx="7118">
                  <c:v>-2.1008403361344501E-2</c:v>
                </c:pt>
                <c:pt idx="7119">
                  <c:v>-2.1008403361344501E-2</c:v>
                </c:pt>
                <c:pt idx="7120">
                  <c:v>-2.1008403361344501E-2</c:v>
                </c:pt>
                <c:pt idx="7121">
                  <c:v>-2.1008403361344501E-2</c:v>
                </c:pt>
                <c:pt idx="7122">
                  <c:v>-2.1008403361344501E-2</c:v>
                </c:pt>
                <c:pt idx="7123">
                  <c:v>-2.1008403361344501E-2</c:v>
                </c:pt>
                <c:pt idx="7124">
                  <c:v>-2.1008403361344501E-2</c:v>
                </c:pt>
                <c:pt idx="7125">
                  <c:v>-2.1008403361344501E-2</c:v>
                </c:pt>
                <c:pt idx="7126">
                  <c:v>-2.18487394957982E-2</c:v>
                </c:pt>
                <c:pt idx="7127">
                  <c:v>-2.18487394957982E-2</c:v>
                </c:pt>
                <c:pt idx="7128">
                  <c:v>-2.18487394957982E-2</c:v>
                </c:pt>
                <c:pt idx="7129">
                  <c:v>-2.18487394957982E-2</c:v>
                </c:pt>
                <c:pt idx="7130">
                  <c:v>-2.18487394957982E-2</c:v>
                </c:pt>
                <c:pt idx="7131">
                  <c:v>-2.18487394957982E-2</c:v>
                </c:pt>
                <c:pt idx="7132">
                  <c:v>-2.18487394957982E-2</c:v>
                </c:pt>
                <c:pt idx="7133">
                  <c:v>-2.18487394957982E-2</c:v>
                </c:pt>
                <c:pt idx="7134">
                  <c:v>-2.18487394957982E-2</c:v>
                </c:pt>
                <c:pt idx="7135">
                  <c:v>-2.18487394957982E-2</c:v>
                </c:pt>
                <c:pt idx="7136">
                  <c:v>-2.1008403361344501E-2</c:v>
                </c:pt>
                <c:pt idx="7137">
                  <c:v>-2.1008403361344501E-2</c:v>
                </c:pt>
                <c:pt idx="7138">
                  <c:v>-2.1008403361344501E-2</c:v>
                </c:pt>
                <c:pt idx="7139">
                  <c:v>-2.1008403361344501E-2</c:v>
                </c:pt>
                <c:pt idx="7140">
                  <c:v>-2.1008403361344501E-2</c:v>
                </c:pt>
                <c:pt idx="7141">
                  <c:v>-2.1008403361344501E-2</c:v>
                </c:pt>
                <c:pt idx="7142">
                  <c:v>-2.1008403361344501E-2</c:v>
                </c:pt>
                <c:pt idx="7143">
                  <c:v>-2.1008403361344501E-2</c:v>
                </c:pt>
                <c:pt idx="7144">
                  <c:v>-2.1008403361344501E-2</c:v>
                </c:pt>
                <c:pt idx="7145">
                  <c:v>-2.1008403361344501E-2</c:v>
                </c:pt>
                <c:pt idx="7146">
                  <c:v>-2.1008403361344501E-2</c:v>
                </c:pt>
                <c:pt idx="7147">
                  <c:v>-2.1008403361344501E-2</c:v>
                </c:pt>
                <c:pt idx="7148">
                  <c:v>-2.1008403361344501E-2</c:v>
                </c:pt>
                <c:pt idx="7149">
                  <c:v>-2.1008403361344501E-2</c:v>
                </c:pt>
                <c:pt idx="7150">
                  <c:v>-2.1008403361344501E-2</c:v>
                </c:pt>
                <c:pt idx="7151">
                  <c:v>-2.1008403361344501E-2</c:v>
                </c:pt>
                <c:pt idx="7152">
                  <c:v>-2.1008403361344501E-2</c:v>
                </c:pt>
                <c:pt idx="7153">
                  <c:v>-2.1008403361344501E-2</c:v>
                </c:pt>
                <c:pt idx="7154">
                  <c:v>-2.1008403361344501E-2</c:v>
                </c:pt>
                <c:pt idx="7155">
                  <c:v>-2.1008403361344501E-2</c:v>
                </c:pt>
                <c:pt idx="7156">
                  <c:v>-2.1008403361344501E-2</c:v>
                </c:pt>
                <c:pt idx="7157">
                  <c:v>-2.1008403361344501E-2</c:v>
                </c:pt>
                <c:pt idx="7158">
                  <c:v>-2.1008403361344501E-2</c:v>
                </c:pt>
                <c:pt idx="7159">
                  <c:v>-2.1008403361344501E-2</c:v>
                </c:pt>
                <c:pt idx="7160">
                  <c:v>-2.0168067226890699E-2</c:v>
                </c:pt>
                <c:pt idx="7161">
                  <c:v>-2.0168067226890699E-2</c:v>
                </c:pt>
                <c:pt idx="7162">
                  <c:v>-1.9327731092436899E-2</c:v>
                </c:pt>
                <c:pt idx="7163">
                  <c:v>-2.0168067226890699E-2</c:v>
                </c:pt>
                <c:pt idx="7164">
                  <c:v>-2.0168067226890699E-2</c:v>
                </c:pt>
                <c:pt idx="7165">
                  <c:v>-2.0168067226890699E-2</c:v>
                </c:pt>
                <c:pt idx="7166">
                  <c:v>-2.0168067226890699E-2</c:v>
                </c:pt>
                <c:pt idx="7167">
                  <c:v>-2.0168067226890699E-2</c:v>
                </c:pt>
                <c:pt idx="7168">
                  <c:v>-2.0168067226890699E-2</c:v>
                </c:pt>
                <c:pt idx="7169">
                  <c:v>-2.0168067226890699E-2</c:v>
                </c:pt>
                <c:pt idx="7170">
                  <c:v>-2.0168067226890699E-2</c:v>
                </c:pt>
                <c:pt idx="7171">
                  <c:v>-2.0168067226890699E-2</c:v>
                </c:pt>
                <c:pt idx="7172">
                  <c:v>-2.0168067226890699E-2</c:v>
                </c:pt>
                <c:pt idx="7173">
                  <c:v>-2.0168067226890699E-2</c:v>
                </c:pt>
                <c:pt idx="7174">
                  <c:v>-2.0168067226890699E-2</c:v>
                </c:pt>
                <c:pt idx="7175">
                  <c:v>-2.0168067226890699E-2</c:v>
                </c:pt>
                <c:pt idx="7176">
                  <c:v>-2.0168067226890699E-2</c:v>
                </c:pt>
                <c:pt idx="7177">
                  <c:v>-2.0168067226890699E-2</c:v>
                </c:pt>
                <c:pt idx="7178">
                  <c:v>-2.0168067226890699E-2</c:v>
                </c:pt>
                <c:pt idx="7179">
                  <c:v>-2.0168067226890699E-2</c:v>
                </c:pt>
                <c:pt idx="7180">
                  <c:v>-2.0168067226890699E-2</c:v>
                </c:pt>
                <c:pt idx="7181">
                  <c:v>-2.0168067226890699E-2</c:v>
                </c:pt>
                <c:pt idx="7182">
                  <c:v>-2.0168067226890699E-2</c:v>
                </c:pt>
                <c:pt idx="7183">
                  <c:v>-2.0168067226890699E-2</c:v>
                </c:pt>
                <c:pt idx="7184">
                  <c:v>-2.0168067226890699E-2</c:v>
                </c:pt>
                <c:pt idx="7185">
                  <c:v>-2.0168067226890699E-2</c:v>
                </c:pt>
                <c:pt idx="7186">
                  <c:v>-2.0168067226890699E-2</c:v>
                </c:pt>
                <c:pt idx="7187">
                  <c:v>-2.0168067226890699E-2</c:v>
                </c:pt>
                <c:pt idx="7188">
                  <c:v>-2.1008403361344501E-2</c:v>
                </c:pt>
                <c:pt idx="7189">
                  <c:v>-2.1008403361344501E-2</c:v>
                </c:pt>
                <c:pt idx="7190">
                  <c:v>-2.1008403361344501E-2</c:v>
                </c:pt>
                <c:pt idx="7191">
                  <c:v>-2.1008403361344501E-2</c:v>
                </c:pt>
                <c:pt idx="7192">
                  <c:v>-2.1008403361344501E-2</c:v>
                </c:pt>
                <c:pt idx="7193">
                  <c:v>-2.1008403361344501E-2</c:v>
                </c:pt>
                <c:pt idx="7194">
                  <c:v>-2.18487394957982E-2</c:v>
                </c:pt>
                <c:pt idx="7195">
                  <c:v>-2.18487394957982E-2</c:v>
                </c:pt>
                <c:pt idx="7196">
                  <c:v>-2.18487394957982E-2</c:v>
                </c:pt>
                <c:pt idx="7197">
                  <c:v>-2.18487394957982E-2</c:v>
                </c:pt>
                <c:pt idx="7198">
                  <c:v>-2.18487394957982E-2</c:v>
                </c:pt>
                <c:pt idx="7199">
                  <c:v>-2.18487394957982E-2</c:v>
                </c:pt>
                <c:pt idx="7200">
                  <c:v>-2.18487394957982E-2</c:v>
                </c:pt>
                <c:pt idx="7201">
                  <c:v>-2.18487394957982E-2</c:v>
                </c:pt>
                <c:pt idx="7202">
                  <c:v>-2.18487394957982E-2</c:v>
                </c:pt>
                <c:pt idx="7203">
                  <c:v>-2.18487394957982E-2</c:v>
                </c:pt>
                <c:pt idx="7204">
                  <c:v>-2.18487394957982E-2</c:v>
                </c:pt>
                <c:pt idx="7205">
                  <c:v>-2.18487394957982E-2</c:v>
                </c:pt>
                <c:pt idx="7206">
                  <c:v>-2.18487394957982E-2</c:v>
                </c:pt>
                <c:pt idx="7207">
                  <c:v>-2.18487394957982E-2</c:v>
                </c:pt>
                <c:pt idx="7208">
                  <c:v>-2.18487394957982E-2</c:v>
                </c:pt>
                <c:pt idx="7209">
                  <c:v>-2.18487394957982E-2</c:v>
                </c:pt>
                <c:pt idx="7210">
                  <c:v>-2.18487394957982E-2</c:v>
                </c:pt>
                <c:pt idx="7211">
                  <c:v>-2.18487394957982E-2</c:v>
                </c:pt>
                <c:pt idx="7212">
                  <c:v>-2.18487394957982E-2</c:v>
                </c:pt>
                <c:pt idx="7213">
                  <c:v>-2.18487394957982E-2</c:v>
                </c:pt>
                <c:pt idx="7214">
                  <c:v>-2.18487394957982E-2</c:v>
                </c:pt>
                <c:pt idx="7215">
                  <c:v>-2.18487394957982E-2</c:v>
                </c:pt>
                <c:pt idx="7216">
                  <c:v>-2.18487394957982E-2</c:v>
                </c:pt>
                <c:pt idx="7217">
                  <c:v>-2.18487394957982E-2</c:v>
                </c:pt>
                <c:pt idx="7218">
                  <c:v>-2.18487394957982E-2</c:v>
                </c:pt>
                <c:pt idx="7219">
                  <c:v>-2.18487394957982E-2</c:v>
                </c:pt>
                <c:pt idx="7220">
                  <c:v>-2.18487394957982E-2</c:v>
                </c:pt>
                <c:pt idx="7221">
                  <c:v>-2.18487394957982E-2</c:v>
                </c:pt>
                <c:pt idx="7222">
                  <c:v>-2.18487394957982E-2</c:v>
                </c:pt>
                <c:pt idx="7223">
                  <c:v>-2.18487394957982E-2</c:v>
                </c:pt>
                <c:pt idx="7224">
                  <c:v>-2.18487394957982E-2</c:v>
                </c:pt>
                <c:pt idx="7225">
                  <c:v>-2.18487394957982E-2</c:v>
                </c:pt>
                <c:pt idx="7226">
                  <c:v>-2.18487394957982E-2</c:v>
                </c:pt>
                <c:pt idx="7227">
                  <c:v>-2.18487394957982E-2</c:v>
                </c:pt>
                <c:pt idx="7228">
                  <c:v>-2.1008403361344501E-2</c:v>
                </c:pt>
                <c:pt idx="7229">
                  <c:v>-2.1008403361344501E-2</c:v>
                </c:pt>
                <c:pt idx="7230">
                  <c:v>-2.1008403361344501E-2</c:v>
                </c:pt>
                <c:pt idx="7231">
                  <c:v>-2.1008403361344501E-2</c:v>
                </c:pt>
                <c:pt idx="7232">
                  <c:v>-2.1008403361344501E-2</c:v>
                </c:pt>
                <c:pt idx="7233">
                  <c:v>-2.1008403361344501E-2</c:v>
                </c:pt>
                <c:pt idx="7234">
                  <c:v>-2.1008403361344501E-2</c:v>
                </c:pt>
                <c:pt idx="7235">
                  <c:v>-2.1008403361344501E-2</c:v>
                </c:pt>
                <c:pt idx="7236">
                  <c:v>-2.1008403361344501E-2</c:v>
                </c:pt>
                <c:pt idx="7237">
                  <c:v>-2.1008403361344501E-2</c:v>
                </c:pt>
                <c:pt idx="7238">
                  <c:v>-2.18487394957982E-2</c:v>
                </c:pt>
                <c:pt idx="7239">
                  <c:v>-2.18487394957982E-2</c:v>
                </c:pt>
                <c:pt idx="7240">
                  <c:v>-2.18487394957982E-2</c:v>
                </c:pt>
                <c:pt idx="7241">
                  <c:v>-2.18487394957982E-2</c:v>
                </c:pt>
                <c:pt idx="7242">
                  <c:v>-2.18487394957982E-2</c:v>
                </c:pt>
                <c:pt idx="7243">
                  <c:v>-2.2689075630251999E-2</c:v>
                </c:pt>
                <c:pt idx="7244">
                  <c:v>-2.2689075630251999E-2</c:v>
                </c:pt>
                <c:pt idx="7245">
                  <c:v>-2.2689075630251999E-2</c:v>
                </c:pt>
                <c:pt idx="7246">
                  <c:v>-2.2689075630251999E-2</c:v>
                </c:pt>
                <c:pt idx="7247">
                  <c:v>-2.2689075630251999E-2</c:v>
                </c:pt>
                <c:pt idx="7248">
                  <c:v>-2.2689075630251999E-2</c:v>
                </c:pt>
                <c:pt idx="7249">
                  <c:v>-2.2689075630251999E-2</c:v>
                </c:pt>
                <c:pt idx="7250">
                  <c:v>-2.2689075630251999E-2</c:v>
                </c:pt>
                <c:pt idx="7251">
                  <c:v>-2.2689075630251999E-2</c:v>
                </c:pt>
                <c:pt idx="7252">
                  <c:v>-2.2689075630251999E-2</c:v>
                </c:pt>
                <c:pt idx="7253">
                  <c:v>-2.2689075630251999E-2</c:v>
                </c:pt>
                <c:pt idx="7254">
                  <c:v>-2.18487394957982E-2</c:v>
                </c:pt>
                <c:pt idx="7255">
                  <c:v>-2.18487394957982E-2</c:v>
                </c:pt>
                <c:pt idx="7256">
                  <c:v>-2.18487394957982E-2</c:v>
                </c:pt>
                <c:pt idx="7257">
                  <c:v>-2.18487394957982E-2</c:v>
                </c:pt>
                <c:pt idx="7258">
                  <c:v>-2.18487394957982E-2</c:v>
                </c:pt>
                <c:pt idx="7259">
                  <c:v>-2.18487394957982E-2</c:v>
                </c:pt>
                <c:pt idx="7260">
                  <c:v>-2.18487394957982E-2</c:v>
                </c:pt>
                <c:pt idx="7261">
                  <c:v>-2.18487394957982E-2</c:v>
                </c:pt>
                <c:pt idx="7262">
                  <c:v>-2.18487394957982E-2</c:v>
                </c:pt>
                <c:pt idx="7263">
                  <c:v>-2.18487394957982E-2</c:v>
                </c:pt>
                <c:pt idx="7264">
                  <c:v>-2.18487394957982E-2</c:v>
                </c:pt>
                <c:pt idx="7265">
                  <c:v>-2.18487394957982E-2</c:v>
                </c:pt>
                <c:pt idx="7266">
                  <c:v>-2.18487394957982E-2</c:v>
                </c:pt>
                <c:pt idx="7267">
                  <c:v>-2.18487394957982E-2</c:v>
                </c:pt>
                <c:pt idx="7268">
                  <c:v>-2.18487394957982E-2</c:v>
                </c:pt>
                <c:pt idx="7269">
                  <c:v>-2.18487394957982E-2</c:v>
                </c:pt>
                <c:pt idx="7270">
                  <c:v>-2.18487394957982E-2</c:v>
                </c:pt>
                <c:pt idx="7271">
                  <c:v>-2.18487394957982E-2</c:v>
                </c:pt>
                <c:pt idx="7272">
                  <c:v>-2.18487394957982E-2</c:v>
                </c:pt>
                <c:pt idx="7273">
                  <c:v>-2.18487394957982E-2</c:v>
                </c:pt>
                <c:pt idx="7274">
                  <c:v>-2.18487394957982E-2</c:v>
                </c:pt>
                <c:pt idx="7275">
                  <c:v>-2.18487394957982E-2</c:v>
                </c:pt>
                <c:pt idx="7276">
                  <c:v>-2.18487394957982E-2</c:v>
                </c:pt>
                <c:pt idx="7277">
                  <c:v>-2.18487394957982E-2</c:v>
                </c:pt>
                <c:pt idx="7278">
                  <c:v>-2.18487394957982E-2</c:v>
                </c:pt>
                <c:pt idx="7279">
                  <c:v>-2.18487394957982E-2</c:v>
                </c:pt>
                <c:pt idx="7280">
                  <c:v>-2.18487394957982E-2</c:v>
                </c:pt>
                <c:pt idx="7281">
                  <c:v>-2.18487394957982E-2</c:v>
                </c:pt>
                <c:pt idx="7282">
                  <c:v>-2.18487394957982E-2</c:v>
                </c:pt>
                <c:pt idx="7283">
                  <c:v>-2.18487394957982E-2</c:v>
                </c:pt>
                <c:pt idx="7284">
                  <c:v>-2.18487394957982E-2</c:v>
                </c:pt>
                <c:pt idx="7285">
                  <c:v>-2.18487394957982E-2</c:v>
                </c:pt>
                <c:pt idx="7286">
                  <c:v>-2.18487394957982E-2</c:v>
                </c:pt>
                <c:pt idx="7287">
                  <c:v>-2.18487394957982E-2</c:v>
                </c:pt>
                <c:pt idx="7288">
                  <c:v>-2.18487394957982E-2</c:v>
                </c:pt>
                <c:pt idx="7289">
                  <c:v>-2.18487394957982E-2</c:v>
                </c:pt>
                <c:pt idx="7290">
                  <c:v>-2.2689075630251999E-2</c:v>
                </c:pt>
                <c:pt idx="7291">
                  <c:v>-2.2689075630251999E-2</c:v>
                </c:pt>
                <c:pt idx="7292">
                  <c:v>-2.2689075630251999E-2</c:v>
                </c:pt>
                <c:pt idx="7293">
                  <c:v>-2.2689075630251999E-2</c:v>
                </c:pt>
                <c:pt idx="7294">
                  <c:v>-2.2689075630251999E-2</c:v>
                </c:pt>
                <c:pt idx="7295">
                  <c:v>-2.2689075630251999E-2</c:v>
                </c:pt>
                <c:pt idx="7296">
                  <c:v>-2.2689075630251999E-2</c:v>
                </c:pt>
                <c:pt idx="7297">
                  <c:v>-2.2689075630251999E-2</c:v>
                </c:pt>
                <c:pt idx="7298">
                  <c:v>-2.18487394957982E-2</c:v>
                </c:pt>
                <c:pt idx="7299">
                  <c:v>-2.18487394957982E-2</c:v>
                </c:pt>
                <c:pt idx="7300">
                  <c:v>-2.18487394957982E-2</c:v>
                </c:pt>
                <c:pt idx="7301">
                  <c:v>-2.18487394957982E-2</c:v>
                </c:pt>
                <c:pt idx="7302">
                  <c:v>-2.18487394957982E-2</c:v>
                </c:pt>
                <c:pt idx="7303">
                  <c:v>-2.18487394957982E-2</c:v>
                </c:pt>
                <c:pt idx="7304">
                  <c:v>-2.18487394957982E-2</c:v>
                </c:pt>
                <c:pt idx="7305">
                  <c:v>-2.18487394957982E-2</c:v>
                </c:pt>
                <c:pt idx="7306">
                  <c:v>-2.18487394957982E-2</c:v>
                </c:pt>
                <c:pt idx="7307">
                  <c:v>-2.18487394957982E-2</c:v>
                </c:pt>
                <c:pt idx="7308">
                  <c:v>-2.18487394957982E-2</c:v>
                </c:pt>
                <c:pt idx="7309">
                  <c:v>-2.18487394957982E-2</c:v>
                </c:pt>
                <c:pt idx="7310">
                  <c:v>-2.18487394957982E-2</c:v>
                </c:pt>
                <c:pt idx="7311">
                  <c:v>-2.18487394957982E-2</c:v>
                </c:pt>
                <c:pt idx="7312">
                  <c:v>-2.18487394957982E-2</c:v>
                </c:pt>
                <c:pt idx="7313">
                  <c:v>-2.18487394957982E-2</c:v>
                </c:pt>
                <c:pt idx="7314">
                  <c:v>-2.18487394957982E-2</c:v>
                </c:pt>
                <c:pt idx="7315">
                  <c:v>-2.18487394957982E-2</c:v>
                </c:pt>
                <c:pt idx="7316">
                  <c:v>-2.18487394957982E-2</c:v>
                </c:pt>
                <c:pt idx="7317">
                  <c:v>-2.18487394957982E-2</c:v>
                </c:pt>
                <c:pt idx="7318">
                  <c:v>-2.18487394957982E-2</c:v>
                </c:pt>
                <c:pt idx="7319">
                  <c:v>-2.18487394957982E-2</c:v>
                </c:pt>
                <c:pt idx="7320">
                  <c:v>-2.18487394957982E-2</c:v>
                </c:pt>
                <c:pt idx="7321">
                  <c:v>-2.18487394957982E-2</c:v>
                </c:pt>
                <c:pt idx="7322">
                  <c:v>-2.18487394957982E-2</c:v>
                </c:pt>
                <c:pt idx="7323">
                  <c:v>-2.18487394957982E-2</c:v>
                </c:pt>
                <c:pt idx="7324">
                  <c:v>-2.18487394957982E-2</c:v>
                </c:pt>
                <c:pt idx="7325">
                  <c:v>-2.18487394957982E-2</c:v>
                </c:pt>
                <c:pt idx="7326">
                  <c:v>-2.18487394957982E-2</c:v>
                </c:pt>
                <c:pt idx="7327">
                  <c:v>-2.18487394957982E-2</c:v>
                </c:pt>
                <c:pt idx="7328">
                  <c:v>-2.18487394957982E-2</c:v>
                </c:pt>
                <c:pt idx="7329">
                  <c:v>-2.18487394957982E-2</c:v>
                </c:pt>
                <c:pt idx="7330">
                  <c:v>-2.18487394957982E-2</c:v>
                </c:pt>
                <c:pt idx="7331">
                  <c:v>-2.18487394957982E-2</c:v>
                </c:pt>
                <c:pt idx="7332">
                  <c:v>-2.18487394957982E-2</c:v>
                </c:pt>
                <c:pt idx="7333">
                  <c:v>-2.1008403361344501E-2</c:v>
                </c:pt>
                <c:pt idx="7334">
                  <c:v>-2.1008403361344501E-2</c:v>
                </c:pt>
                <c:pt idx="7335">
                  <c:v>-2.1008403361344501E-2</c:v>
                </c:pt>
                <c:pt idx="7336">
                  <c:v>-2.1008403361344501E-2</c:v>
                </c:pt>
                <c:pt idx="7337">
                  <c:v>-2.1008403361344501E-2</c:v>
                </c:pt>
                <c:pt idx="7338">
                  <c:v>-2.1008403361344501E-2</c:v>
                </c:pt>
                <c:pt idx="7339">
                  <c:v>-2.1008403361344501E-2</c:v>
                </c:pt>
                <c:pt idx="7340">
                  <c:v>-2.1008403361344501E-2</c:v>
                </c:pt>
                <c:pt idx="7341">
                  <c:v>-2.1008403361344501E-2</c:v>
                </c:pt>
                <c:pt idx="7342">
                  <c:v>-2.1848739495798301E-2</c:v>
                </c:pt>
                <c:pt idx="7343">
                  <c:v>-2.1848739495798301E-2</c:v>
                </c:pt>
                <c:pt idx="7344">
                  <c:v>-2.26890756302521E-2</c:v>
                </c:pt>
                <c:pt idx="7345">
                  <c:v>-2.26890756302521E-2</c:v>
                </c:pt>
                <c:pt idx="7346">
                  <c:v>-2.26890756302521E-2</c:v>
                </c:pt>
                <c:pt idx="7347">
                  <c:v>-2.26890756302521E-2</c:v>
                </c:pt>
                <c:pt idx="7348">
                  <c:v>-2.26890756302521E-2</c:v>
                </c:pt>
                <c:pt idx="7349">
                  <c:v>-2.26890756302521E-2</c:v>
                </c:pt>
                <c:pt idx="7350">
                  <c:v>-2.26890756302521E-2</c:v>
                </c:pt>
                <c:pt idx="7351">
                  <c:v>-2.26890756302521E-2</c:v>
                </c:pt>
                <c:pt idx="7352">
                  <c:v>-2.26890756302521E-2</c:v>
                </c:pt>
                <c:pt idx="7353">
                  <c:v>-2.26890756302521E-2</c:v>
                </c:pt>
                <c:pt idx="7354">
                  <c:v>-2.26890756302521E-2</c:v>
                </c:pt>
                <c:pt idx="7355">
                  <c:v>-2.26890756302521E-2</c:v>
                </c:pt>
                <c:pt idx="7356">
                  <c:v>-2.26890756302521E-2</c:v>
                </c:pt>
                <c:pt idx="7357">
                  <c:v>-2.26890756302521E-2</c:v>
                </c:pt>
                <c:pt idx="7358">
                  <c:v>-2.26890756302521E-2</c:v>
                </c:pt>
                <c:pt idx="7359">
                  <c:v>-2.26890756302521E-2</c:v>
                </c:pt>
                <c:pt idx="7360">
                  <c:v>-2.26890756302521E-2</c:v>
                </c:pt>
                <c:pt idx="7361">
                  <c:v>-2.26890756302521E-2</c:v>
                </c:pt>
                <c:pt idx="7362">
                  <c:v>-2.26890756302521E-2</c:v>
                </c:pt>
                <c:pt idx="7363">
                  <c:v>-2.26890756302521E-2</c:v>
                </c:pt>
                <c:pt idx="7364">
                  <c:v>-2.26890756302521E-2</c:v>
                </c:pt>
                <c:pt idx="7365">
                  <c:v>-2.26890756302521E-2</c:v>
                </c:pt>
                <c:pt idx="7366">
                  <c:v>-2.26890756302521E-2</c:v>
                </c:pt>
                <c:pt idx="7367">
                  <c:v>-2.26890756302521E-2</c:v>
                </c:pt>
                <c:pt idx="7368">
                  <c:v>-2.26890756302521E-2</c:v>
                </c:pt>
                <c:pt idx="7369">
                  <c:v>-2.26890756302521E-2</c:v>
                </c:pt>
                <c:pt idx="7370">
                  <c:v>-2.26890756302521E-2</c:v>
                </c:pt>
                <c:pt idx="7371">
                  <c:v>-2.26890756302521E-2</c:v>
                </c:pt>
                <c:pt idx="7372">
                  <c:v>-2.26890756302521E-2</c:v>
                </c:pt>
                <c:pt idx="7373">
                  <c:v>-2.26890756302521E-2</c:v>
                </c:pt>
                <c:pt idx="7374">
                  <c:v>-2.26890756302521E-2</c:v>
                </c:pt>
                <c:pt idx="7375">
                  <c:v>-2.26890756302521E-2</c:v>
                </c:pt>
                <c:pt idx="7376">
                  <c:v>-2.26890756302521E-2</c:v>
                </c:pt>
                <c:pt idx="7377">
                  <c:v>-2.26890756302521E-2</c:v>
                </c:pt>
                <c:pt idx="7378">
                  <c:v>-2.26890756302521E-2</c:v>
                </c:pt>
                <c:pt idx="7379">
                  <c:v>-2.26890756302521E-2</c:v>
                </c:pt>
                <c:pt idx="7380">
                  <c:v>-2.26890756302521E-2</c:v>
                </c:pt>
                <c:pt idx="7381">
                  <c:v>-2.26890756302521E-2</c:v>
                </c:pt>
                <c:pt idx="7382">
                  <c:v>-2.26890756302521E-2</c:v>
                </c:pt>
                <c:pt idx="7383">
                  <c:v>-2.26890756302521E-2</c:v>
                </c:pt>
                <c:pt idx="7384">
                  <c:v>-2.26890756302521E-2</c:v>
                </c:pt>
                <c:pt idx="7385">
                  <c:v>-2.26890756302521E-2</c:v>
                </c:pt>
                <c:pt idx="7386">
                  <c:v>-2.26890756302521E-2</c:v>
                </c:pt>
                <c:pt idx="7387">
                  <c:v>-2.26890756302521E-2</c:v>
                </c:pt>
                <c:pt idx="7388">
                  <c:v>-2.26890756302521E-2</c:v>
                </c:pt>
                <c:pt idx="7389">
                  <c:v>-2.3529411764705899E-2</c:v>
                </c:pt>
                <c:pt idx="7390">
                  <c:v>-2.3529411764705899E-2</c:v>
                </c:pt>
                <c:pt idx="7391">
                  <c:v>-2.3529411764705899E-2</c:v>
                </c:pt>
                <c:pt idx="7392">
                  <c:v>-2.3529411764705899E-2</c:v>
                </c:pt>
                <c:pt idx="7393">
                  <c:v>-2.3529411764705899E-2</c:v>
                </c:pt>
                <c:pt idx="7394">
                  <c:v>-2.3529411764705899E-2</c:v>
                </c:pt>
                <c:pt idx="7395">
                  <c:v>-2.3529411764705899E-2</c:v>
                </c:pt>
                <c:pt idx="7396">
                  <c:v>-2.3529411764705899E-2</c:v>
                </c:pt>
                <c:pt idx="7397">
                  <c:v>-2.3529411764705899E-2</c:v>
                </c:pt>
                <c:pt idx="7398">
                  <c:v>-2.4369747899159602E-2</c:v>
                </c:pt>
                <c:pt idx="7399">
                  <c:v>-2.4369747899159602E-2</c:v>
                </c:pt>
                <c:pt idx="7400">
                  <c:v>-2.4369747899159602E-2</c:v>
                </c:pt>
                <c:pt idx="7401">
                  <c:v>-2.4369747899159602E-2</c:v>
                </c:pt>
                <c:pt idx="7402">
                  <c:v>-2.4369747899159602E-2</c:v>
                </c:pt>
                <c:pt idx="7403">
                  <c:v>-2.4369747899159602E-2</c:v>
                </c:pt>
                <c:pt idx="7404">
                  <c:v>-2.4369747899159602E-2</c:v>
                </c:pt>
                <c:pt idx="7405">
                  <c:v>-2.4369747899159602E-2</c:v>
                </c:pt>
                <c:pt idx="7406">
                  <c:v>-2.4369747899159602E-2</c:v>
                </c:pt>
                <c:pt idx="7407">
                  <c:v>-2.4369747899159602E-2</c:v>
                </c:pt>
                <c:pt idx="7408">
                  <c:v>-2.4369747899159602E-2</c:v>
                </c:pt>
                <c:pt idx="7409">
                  <c:v>-2.4369747899159602E-2</c:v>
                </c:pt>
                <c:pt idx="7410">
                  <c:v>-2.4369747899159602E-2</c:v>
                </c:pt>
                <c:pt idx="7411">
                  <c:v>-2.4369747899159602E-2</c:v>
                </c:pt>
                <c:pt idx="7412">
                  <c:v>-2.4369747899159602E-2</c:v>
                </c:pt>
                <c:pt idx="7413">
                  <c:v>-2.4369747899159602E-2</c:v>
                </c:pt>
                <c:pt idx="7414">
                  <c:v>-2.4369747899159602E-2</c:v>
                </c:pt>
                <c:pt idx="7415">
                  <c:v>-2.3529411764705899E-2</c:v>
                </c:pt>
                <c:pt idx="7416">
                  <c:v>-2.3529411764705899E-2</c:v>
                </c:pt>
                <c:pt idx="7417">
                  <c:v>-2.3529411764705899E-2</c:v>
                </c:pt>
                <c:pt idx="7418">
                  <c:v>-2.3529411764705899E-2</c:v>
                </c:pt>
                <c:pt idx="7419">
                  <c:v>-2.3529411764705899E-2</c:v>
                </c:pt>
                <c:pt idx="7420">
                  <c:v>-2.3529411764705899E-2</c:v>
                </c:pt>
                <c:pt idx="7421">
                  <c:v>-2.3529411764705899E-2</c:v>
                </c:pt>
                <c:pt idx="7422">
                  <c:v>-2.3529411764705899E-2</c:v>
                </c:pt>
                <c:pt idx="7423">
                  <c:v>-2.26890756302521E-2</c:v>
                </c:pt>
                <c:pt idx="7424">
                  <c:v>-2.26890756302521E-2</c:v>
                </c:pt>
                <c:pt idx="7425">
                  <c:v>-2.26890756302521E-2</c:v>
                </c:pt>
                <c:pt idx="7426">
                  <c:v>-2.26890756302521E-2</c:v>
                </c:pt>
                <c:pt idx="7427">
                  <c:v>-2.26890756302521E-2</c:v>
                </c:pt>
                <c:pt idx="7428">
                  <c:v>-2.26890756302521E-2</c:v>
                </c:pt>
                <c:pt idx="7429">
                  <c:v>-2.26890756302521E-2</c:v>
                </c:pt>
                <c:pt idx="7430">
                  <c:v>-2.3529411764705899E-2</c:v>
                </c:pt>
                <c:pt idx="7431">
                  <c:v>-2.3529411764705899E-2</c:v>
                </c:pt>
                <c:pt idx="7432">
                  <c:v>-2.3529411764705899E-2</c:v>
                </c:pt>
                <c:pt idx="7433">
                  <c:v>-2.3529411764705899E-2</c:v>
                </c:pt>
                <c:pt idx="7434">
                  <c:v>-2.3529411764705899E-2</c:v>
                </c:pt>
                <c:pt idx="7435">
                  <c:v>-2.3529411764705899E-2</c:v>
                </c:pt>
                <c:pt idx="7436">
                  <c:v>-2.3529411764705899E-2</c:v>
                </c:pt>
                <c:pt idx="7437">
                  <c:v>-2.3529411764705899E-2</c:v>
                </c:pt>
                <c:pt idx="7438">
                  <c:v>-2.3529411764705899E-2</c:v>
                </c:pt>
                <c:pt idx="7439">
                  <c:v>-2.3529411764705899E-2</c:v>
                </c:pt>
                <c:pt idx="7440">
                  <c:v>-2.4369747899159602E-2</c:v>
                </c:pt>
                <c:pt idx="7441">
                  <c:v>-2.4369747899159602E-2</c:v>
                </c:pt>
                <c:pt idx="7442">
                  <c:v>-2.4369747899159602E-2</c:v>
                </c:pt>
                <c:pt idx="7443">
                  <c:v>-2.4369747899159602E-2</c:v>
                </c:pt>
                <c:pt idx="7444">
                  <c:v>-2.4369747899159602E-2</c:v>
                </c:pt>
                <c:pt idx="7445">
                  <c:v>-2.4369747899159602E-2</c:v>
                </c:pt>
                <c:pt idx="7446">
                  <c:v>-2.4369747899159602E-2</c:v>
                </c:pt>
                <c:pt idx="7447">
                  <c:v>-2.4369747899159602E-2</c:v>
                </c:pt>
                <c:pt idx="7448">
                  <c:v>-2.4369747899159602E-2</c:v>
                </c:pt>
                <c:pt idx="7449">
                  <c:v>-2.4369747899159602E-2</c:v>
                </c:pt>
                <c:pt idx="7450">
                  <c:v>-2.5210084033613401E-2</c:v>
                </c:pt>
                <c:pt idx="7451">
                  <c:v>-2.5210084033613401E-2</c:v>
                </c:pt>
                <c:pt idx="7452">
                  <c:v>-2.4369747899159602E-2</c:v>
                </c:pt>
                <c:pt idx="7453">
                  <c:v>-2.4369747899159602E-2</c:v>
                </c:pt>
                <c:pt idx="7454">
                  <c:v>-2.4369747899159602E-2</c:v>
                </c:pt>
                <c:pt idx="7455">
                  <c:v>-2.4369747899159602E-2</c:v>
                </c:pt>
                <c:pt idx="7456">
                  <c:v>-2.4369747899159602E-2</c:v>
                </c:pt>
                <c:pt idx="7457">
                  <c:v>-2.4369747899159602E-2</c:v>
                </c:pt>
                <c:pt idx="7458">
                  <c:v>-2.4369747899159602E-2</c:v>
                </c:pt>
                <c:pt idx="7459">
                  <c:v>-2.4369747899159602E-2</c:v>
                </c:pt>
                <c:pt idx="7460">
                  <c:v>-2.4369747899159602E-2</c:v>
                </c:pt>
                <c:pt idx="7461">
                  <c:v>-2.4369747899159602E-2</c:v>
                </c:pt>
                <c:pt idx="7462">
                  <c:v>-2.4369747899159602E-2</c:v>
                </c:pt>
                <c:pt idx="7463">
                  <c:v>-2.4369747899159602E-2</c:v>
                </c:pt>
                <c:pt idx="7464">
                  <c:v>-2.4369747899159602E-2</c:v>
                </c:pt>
                <c:pt idx="7465">
                  <c:v>-2.4369747899159602E-2</c:v>
                </c:pt>
                <c:pt idx="7466">
                  <c:v>-2.4369747899159602E-2</c:v>
                </c:pt>
                <c:pt idx="7467">
                  <c:v>-2.4369747899159602E-2</c:v>
                </c:pt>
                <c:pt idx="7468">
                  <c:v>-2.4369747899159602E-2</c:v>
                </c:pt>
                <c:pt idx="7469">
                  <c:v>-2.4369747899159602E-2</c:v>
                </c:pt>
                <c:pt idx="7470">
                  <c:v>-2.4369747899159602E-2</c:v>
                </c:pt>
                <c:pt idx="7471">
                  <c:v>-2.4369747899159602E-2</c:v>
                </c:pt>
                <c:pt idx="7472">
                  <c:v>-2.4369747899159602E-2</c:v>
                </c:pt>
                <c:pt idx="7473">
                  <c:v>-2.4369747899159602E-2</c:v>
                </c:pt>
                <c:pt idx="7474">
                  <c:v>-2.4369747899159602E-2</c:v>
                </c:pt>
                <c:pt idx="7475">
                  <c:v>-2.4369747899159602E-2</c:v>
                </c:pt>
                <c:pt idx="7476">
                  <c:v>-2.4369747899159602E-2</c:v>
                </c:pt>
                <c:pt idx="7477">
                  <c:v>-2.4369747899159602E-2</c:v>
                </c:pt>
                <c:pt idx="7478">
                  <c:v>-2.4369747899159602E-2</c:v>
                </c:pt>
                <c:pt idx="7479">
                  <c:v>-2.4369747899159602E-2</c:v>
                </c:pt>
                <c:pt idx="7480">
                  <c:v>-2.4369747899159602E-2</c:v>
                </c:pt>
                <c:pt idx="7481">
                  <c:v>-2.4369747899159602E-2</c:v>
                </c:pt>
                <c:pt idx="7482">
                  <c:v>-2.4369747899159602E-2</c:v>
                </c:pt>
                <c:pt idx="7483">
                  <c:v>-2.4369747899159602E-2</c:v>
                </c:pt>
                <c:pt idx="7484">
                  <c:v>-2.4369747899159602E-2</c:v>
                </c:pt>
                <c:pt idx="7485">
                  <c:v>-2.4369747899159602E-2</c:v>
                </c:pt>
                <c:pt idx="7486">
                  <c:v>-2.4369747899159602E-2</c:v>
                </c:pt>
                <c:pt idx="7487">
                  <c:v>-2.4369747899159602E-2</c:v>
                </c:pt>
                <c:pt idx="7488">
                  <c:v>-2.4369747899159602E-2</c:v>
                </c:pt>
                <c:pt idx="7489">
                  <c:v>-2.3529411764705899E-2</c:v>
                </c:pt>
                <c:pt idx="7490">
                  <c:v>-2.3529411764705899E-2</c:v>
                </c:pt>
                <c:pt idx="7491">
                  <c:v>-2.3529411764705899E-2</c:v>
                </c:pt>
                <c:pt idx="7492">
                  <c:v>-2.3529411764705899E-2</c:v>
                </c:pt>
                <c:pt idx="7493">
                  <c:v>-2.3529411764705899E-2</c:v>
                </c:pt>
                <c:pt idx="7494">
                  <c:v>-2.3529411764705899E-2</c:v>
                </c:pt>
                <c:pt idx="7495">
                  <c:v>-2.3529411764705899E-2</c:v>
                </c:pt>
                <c:pt idx="7496">
                  <c:v>-2.3529411764705899E-2</c:v>
                </c:pt>
                <c:pt idx="7497">
                  <c:v>-2.3529411764705899E-2</c:v>
                </c:pt>
                <c:pt idx="7498">
                  <c:v>-2.3529411764705899E-2</c:v>
                </c:pt>
                <c:pt idx="7499">
                  <c:v>-2.3529411764705899E-2</c:v>
                </c:pt>
                <c:pt idx="7500">
                  <c:v>-2.3529411764705899E-2</c:v>
                </c:pt>
                <c:pt idx="7501">
                  <c:v>-2.3529411764705899E-2</c:v>
                </c:pt>
                <c:pt idx="7502">
                  <c:v>-2.3529411764705899E-2</c:v>
                </c:pt>
                <c:pt idx="7503">
                  <c:v>-2.3529411764705899E-2</c:v>
                </c:pt>
                <c:pt idx="7504">
                  <c:v>-2.3529411764705899E-2</c:v>
                </c:pt>
                <c:pt idx="7505">
                  <c:v>-2.3529411764705899E-2</c:v>
                </c:pt>
                <c:pt idx="7506">
                  <c:v>-2.3529411764705899E-2</c:v>
                </c:pt>
                <c:pt idx="7507">
                  <c:v>-2.3529411764705899E-2</c:v>
                </c:pt>
                <c:pt idx="7508">
                  <c:v>-2.3529411764705899E-2</c:v>
                </c:pt>
                <c:pt idx="7509">
                  <c:v>-2.3529411764705899E-2</c:v>
                </c:pt>
                <c:pt idx="7510">
                  <c:v>-2.3529411764705899E-2</c:v>
                </c:pt>
                <c:pt idx="7511">
                  <c:v>-2.3529411764705899E-2</c:v>
                </c:pt>
                <c:pt idx="7512">
                  <c:v>-2.3529411764705899E-2</c:v>
                </c:pt>
                <c:pt idx="7513">
                  <c:v>-2.3529411764705899E-2</c:v>
                </c:pt>
                <c:pt idx="7514">
                  <c:v>-2.3529411764705899E-2</c:v>
                </c:pt>
                <c:pt idx="7515">
                  <c:v>-2.3529411764705899E-2</c:v>
                </c:pt>
                <c:pt idx="7516">
                  <c:v>-2.3529411764705899E-2</c:v>
                </c:pt>
                <c:pt idx="7517">
                  <c:v>-2.3529411764705899E-2</c:v>
                </c:pt>
                <c:pt idx="7518">
                  <c:v>-2.3529411764705899E-2</c:v>
                </c:pt>
                <c:pt idx="7519">
                  <c:v>-2.3529411764705899E-2</c:v>
                </c:pt>
                <c:pt idx="7520">
                  <c:v>-2.3529411764705899E-2</c:v>
                </c:pt>
                <c:pt idx="7521">
                  <c:v>-2.3529411764705899E-2</c:v>
                </c:pt>
                <c:pt idx="7522">
                  <c:v>-2.3529411764705899E-2</c:v>
                </c:pt>
                <c:pt idx="7523">
                  <c:v>-2.3529411764705899E-2</c:v>
                </c:pt>
                <c:pt idx="7524">
                  <c:v>-2.3529411764705899E-2</c:v>
                </c:pt>
                <c:pt idx="7525">
                  <c:v>-2.3529411764705899E-2</c:v>
                </c:pt>
                <c:pt idx="7526">
                  <c:v>-2.3529411764705899E-2</c:v>
                </c:pt>
                <c:pt idx="7527">
                  <c:v>-2.3529411764705899E-2</c:v>
                </c:pt>
                <c:pt idx="7528">
                  <c:v>-2.3529411764705899E-2</c:v>
                </c:pt>
                <c:pt idx="7529">
                  <c:v>-2.3529411764705899E-2</c:v>
                </c:pt>
                <c:pt idx="7530">
                  <c:v>-2.3529411764705899E-2</c:v>
                </c:pt>
                <c:pt idx="7531">
                  <c:v>-2.3529411764705899E-2</c:v>
                </c:pt>
                <c:pt idx="7532">
                  <c:v>-2.3529411764705899E-2</c:v>
                </c:pt>
                <c:pt idx="7533">
                  <c:v>-2.3529411764705899E-2</c:v>
                </c:pt>
                <c:pt idx="7534">
                  <c:v>-2.3529411764705899E-2</c:v>
                </c:pt>
                <c:pt idx="7535">
                  <c:v>-2.3529411764705899E-2</c:v>
                </c:pt>
                <c:pt idx="7536">
                  <c:v>-2.3529411764705899E-2</c:v>
                </c:pt>
                <c:pt idx="7537">
                  <c:v>-2.3529411764705899E-2</c:v>
                </c:pt>
                <c:pt idx="7538">
                  <c:v>-2.3529411764705899E-2</c:v>
                </c:pt>
                <c:pt idx="7539">
                  <c:v>-2.3529411764705899E-2</c:v>
                </c:pt>
                <c:pt idx="7540">
                  <c:v>-2.3529411764705899E-2</c:v>
                </c:pt>
                <c:pt idx="7541">
                  <c:v>-2.3529411764705899E-2</c:v>
                </c:pt>
                <c:pt idx="7542">
                  <c:v>-2.3529411764705899E-2</c:v>
                </c:pt>
                <c:pt idx="7543">
                  <c:v>-2.3529411764705899E-2</c:v>
                </c:pt>
                <c:pt idx="7544">
                  <c:v>-2.3529411764705899E-2</c:v>
                </c:pt>
                <c:pt idx="7545">
                  <c:v>-2.3529411764705899E-2</c:v>
                </c:pt>
                <c:pt idx="7546">
                  <c:v>-2.3529411764705899E-2</c:v>
                </c:pt>
                <c:pt idx="7547">
                  <c:v>-2.4369747899159602E-2</c:v>
                </c:pt>
                <c:pt idx="7548">
                  <c:v>-2.4369747899159602E-2</c:v>
                </c:pt>
                <c:pt idx="7549">
                  <c:v>-2.4369747899159602E-2</c:v>
                </c:pt>
                <c:pt idx="7550">
                  <c:v>-2.4369747899159602E-2</c:v>
                </c:pt>
                <c:pt idx="7551">
                  <c:v>-2.4369747899159602E-2</c:v>
                </c:pt>
                <c:pt idx="7552">
                  <c:v>-2.4369747899159602E-2</c:v>
                </c:pt>
                <c:pt idx="7553">
                  <c:v>-2.4369747899159602E-2</c:v>
                </c:pt>
                <c:pt idx="7554">
                  <c:v>-2.3529411764705899E-2</c:v>
                </c:pt>
                <c:pt idx="7555">
                  <c:v>-2.26890756302521E-2</c:v>
                </c:pt>
                <c:pt idx="7556">
                  <c:v>-2.26890756302521E-2</c:v>
                </c:pt>
                <c:pt idx="7557">
                  <c:v>-2.26890756302521E-2</c:v>
                </c:pt>
                <c:pt idx="7558">
                  <c:v>-2.26890756302521E-2</c:v>
                </c:pt>
                <c:pt idx="7559">
                  <c:v>-2.26890756302521E-2</c:v>
                </c:pt>
                <c:pt idx="7560">
                  <c:v>-2.26890756302521E-2</c:v>
                </c:pt>
                <c:pt idx="7561">
                  <c:v>-2.26890756302521E-2</c:v>
                </c:pt>
                <c:pt idx="7562">
                  <c:v>-2.26890756302521E-2</c:v>
                </c:pt>
                <c:pt idx="7563">
                  <c:v>-2.26890756302521E-2</c:v>
                </c:pt>
                <c:pt idx="7564">
                  <c:v>-2.1848739495798301E-2</c:v>
                </c:pt>
                <c:pt idx="7565">
                  <c:v>-2.1848739495798301E-2</c:v>
                </c:pt>
                <c:pt idx="7566">
                  <c:v>-2.1848739495798301E-2</c:v>
                </c:pt>
                <c:pt idx="7567">
                  <c:v>-2.1848739495798301E-2</c:v>
                </c:pt>
                <c:pt idx="7568">
                  <c:v>-2.1848739495798301E-2</c:v>
                </c:pt>
                <c:pt idx="7569">
                  <c:v>-2.1848739495798301E-2</c:v>
                </c:pt>
                <c:pt idx="7570">
                  <c:v>-2.1848739495798301E-2</c:v>
                </c:pt>
                <c:pt idx="7571">
                  <c:v>-2.1848739495798301E-2</c:v>
                </c:pt>
                <c:pt idx="7572">
                  <c:v>-2.1848739495798301E-2</c:v>
                </c:pt>
                <c:pt idx="7573">
                  <c:v>-2.1848739495798301E-2</c:v>
                </c:pt>
                <c:pt idx="7574">
                  <c:v>-2.1848739495798301E-2</c:v>
                </c:pt>
                <c:pt idx="7575">
                  <c:v>-2.1848739495798301E-2</c:v>
                </c:pt>
                <c:pt idx="7576">
                  <c:v>-2.1848739495798301E-2</c:v>
                </c:pt>
                <c:pt idx="7577">
                  <c:v>-2.26890756302521E-2</c:v>
                </c:pt>
                <c:pt idx="7578">
                  <c:v>-2.26890756302521E-2</c:v>
                </c:pt>
                <c:pt idx="7579">
                  <c:v>-2.26890756302521E-2</c:v>
                </c:pt>
                <c:pt idx="7580">
                  <c:v>-2.26890756302521E-2</c:v>
                </c:pt>
                <c:pt idx="7581">
                  <c:v>-2.26890756302521E-2</c:v>
                </c:pt>
                <c:pt idx="7582">
                  <c:v>-2.26890756302521E-2</c:v>
                </c:pt>
                <c:pt idx="7583">
                  <c:v>-2.26890756302521E-2</c:v>
                </c:pt>
                <c:pt idx="7584">
                  <c:v>-2.3529411764705899E-2</c:v>
                </c:pt>
                <c:pt idx="7585">
                  <c:v>-2.3529411764705899E-2</c:v>
                </c:pt>
                <c:pt idx="7586">
                  <c:v>-2.3529411764705899E-2</c:v>
                </c:pt>
                <c:pt idx="7587">
                  <c:v>-2.3529411764705899E-2</c:v>
                </c:pt>
                <c:pt idx="7588">
                  <c:v>-2.3529411764705899E-2</c:v>
                </c:pt>
                <c:pt idx="7589">
                  <c:v>-2.3529411764705899E-2</c:v>
                </c:pt>
                <c:pt idx="7590">
                  <c:v>-2.3529411764705899E-2</c:v>
                </c:pt>
                <c:pt idx="7591">
                  <c:v>-2.3529411764705899E-2</c:v>
                </c:pt>
                <c:pt idx="7592">
                  <c:v>-2.3529411764705899E-2</c:v>
                </c:pt>
                <c:pt idx="7593">
                  <c:v>-2.3529411764705899E-2</c:v>
                </c:pt>
                <c:pt idx="7594">
                  <c:v>-2.4369747899159602E-2</c:v>
                </c:pt>
                <c:pt idx="7595">
                  <c:v>-2.4369747899159602E-2</c:v>
                </c:pt>
                <c:pt idx="7596">
                  <c:v>-2.4369747899159602E-2</c:v>
                </c:pt>
                <c:pt idx="7597">
                  <c:v>-2.4369747899159602E-2</c:v>
                </c:pt>
                <c:pt idx="7598">
                  <c:v>-2.4369747899159602E-2</c:v>
                </c:pt>
                <c:pt idx="7599">
                  <c:v>-2.4369747899159602E-2</c:v>
                </c:pt>
                <c:pt idx="7600">
                  <c:v>-2.4369747899159602E-2</c:v>
                </c:pt>
                <c:pt idx="7601">
                  <c:v>-2.5210084033613401E-2</c:v>
                </c:pt>
                <c:pt idx="7602">
                  <c:v>-2.5210084033613401E-2</c:v>
                </c:pt>
                <c:pt idx="7603">
                  <c:v>-2.5210084033613401E-2</c:v>
                </c:pt>
                <c:pt idx="7604">
                  <c:v>-2.5210084033613401E-2</c:v>
                </c:pt>
                <c:pt idx="7605">
                  <c:v>-2.5210084033613401E-2</c:v>
                </c:pt>
                <c:pt idx="7606">
                  <c:v>-2.5210084033613401E-2</c:v>
                </c:pt>
                <c:pt idx="7607">
                  <c:v>-2.5210084033613401E-2</c:v>
                </c:pt>
                <c:pt idx="7608">
                  <c:v>-2.5210084033613401E-2</c:v>
                </c:pt>
                <c:pt idx="7609">
                  <c:v>-2.5210084033613401E-2</c:v>
                </c:pt>
                <c:pt idx="7610">
                  <c:v>-2.5210084033613401E-2</c:v>
                </c:pt>
                <c:pt idx="7611">
                  <c:v>-2.5210084033613401E-2</c:v>
                </c:pt>
                <c:pt idx="7612">
                  <c:v>-2.5210084033613401E-2</c:v>
                </c:pt>
                <c:pt idx="7613">
                  <c:v>-2.5210084033613401E-2</c:v>
                </c:pt>
                <c:pt idx="7614">
                  <c:v>-2.5210084033613401E-2</c:v>
                </c:pt>
                <c:pt idx="7615">
                  <c:v>-2.5210084033613401E-2</c:v>
                </c:pt>
                <c:pt idx="7616">
                  <c:v>-2.5210084033613401E-2</c:v>
                </c:pt>
                <c:pt idx="7617">
                  <c:v>-2.5210084033613401E-2</c:v>
                </c:pt>
                <c:pt idx="7618">
                  <c:v>-2.5210084033613401E-2</c:v>
                </c:pt>
                <c:pt idx="7619">
                  <c:v>-2.5210084033613401E-2</c:v>
                </c:pt>
                <c:pt idx="7620">
                  <c:v>-2.5210084033613401E-2</c:v>
                </c:pt>
                <c:pt idx="7621">
                  <c:v>-2.5210084033613401E-2</c:v>
                </c:pt>
                <c:pt idx="7622">
                  <c:v>-2.5210084033613401E-2</c:v>
                </c:pt>
                <c:pt idx="7623">
                  <c:v>-2.5210084033613401E-2</c:v>
                </c:pt>
                <c:pt idx="7624">
                  <c:v>-2.5210084033613401E-2</c:v>
                </c:pt>
                <c:pt idx="7625">
                  <c:v>-2.5210084033613401E-2</c:v>
                </c:pt>
                <c:pt idx="7626">
                  <c:v>-2.5210084033613401E-2</c:v>
                </c:pt>
                <c:pt idx="7627">
                  <c:v>-2.5210084033613401E-2</c:v>
                </c:pt>
                <c:pt idx="7628">
                  <c:v>-2.5210084033613401E-2</c:v>
                </c:pt>
                <c:pt idx="7629">
                  <c:v>-2.4369747899159602E-2</c:v>
                </c:pt>
                <c:pt idx="7630">
                  <c:v>-2.4369747899159602E-2</c:v>
                </c:pt>
                <c:pt idx="7631">
                  <c:v>-2.4369747899159602E-2</c:v>
                </c:pt>
                <c:pt idx="7632">
                  <c:v>-2.4369747899159602E-2</c:v>
                </c:pt>
                <c:pt idx="7633">
                  <c:v>-2.4369747899159602E-2</c:v>
                </c:pt>
                <c:pt idx="7634">
                  <c:v>-2.4369747899159602E-2</c:v>
                </c:pt>
                <c:pt idx="7635">
                  <c:v>-2.4369747899159602E-2</c:v>
                </c:pt>
                <c:pt idx="7636">
                  <c:v>-2.4369747899159602E-2</c:v>
                </c:pt>
                <c:pt idx="7637">
                  <c:v>-2.4369747899159602E-2</c:v>
                </c:pt>
                <c:pt idx="7638">
                  <c:v>-2.4369747899159602E-2</c:v>
                </c:pt>
                <c:pt idx="7639">
                  <c:v>-2.4369747899159602E-2</c:v>
                </c:pt>
                <c:pt idx="7640">
                  <c:v>-2.4369747899159602E-2</c:v>
                </c:pt>
                <c:pt idx="7641">
                  <c:v>-2.5210084033613401E-2</c:v>
                </c:pt>
                <c:pt idx="7642">
                  <c:v>-2.5210084033613401E-2</c:v>
                </c:pt>
                <c:pt idx="7643">
                  <c:v>-2.5210084033613401E-2</c:v>
                </c:pt>
                <c:pt idx="7644">
                  <c:v>-2.5210084033613401E-2</c:v>
                </c:pt>
                <c:pt idx="7645">
                  <c:v>-2.4369747899159602E-2</c:v>
                </c:pt>
                <c:pt idx="7646">
                  <c:v>-2.4369747899159602E-2</c:v>
                </c:pt>
                <c:pt idx="7647">
                  <c:v>-2.4369747899159602E-2</c:v>
                </c:pt>
                <c:pt idx="7648">
                  <c:v>-2.4369747899159602E-2</c:v>
                </c:pt>
                <c:pt idx="7649">
                  <c:v>-2.4369747899159602E-2</c:v>
                </c:pt>
                <c:pt idx="7650">
                  <c:v>-2.4369747899159602E-2</c:v>
                </c:pt>
                <c:pt idx="7651">
                  <c:v>-2.4369747899159602E-2</c:v>
                </c:pt>
                <c:pt idx="7652">
                  <c:v>-2.4369747899159602E-2</c:v>
                </c:pt>
                <c:pt idx="7653">
                  <c:v>-2.4369747899159602E-2</c:v>
                </c:pt>
                <c:pt idx="7654">
                  <c:v>-2.4369747899159602E-2</c:v>
                </c:pt>
                <c:pt idx="7655">
                  <c:v>-2.4369747899159602E-2</c:v>
                </c:pt>
                <c:pt idx="7656">
                  <c:v>-2.4369747899159602E-2</c:v>
                </c:pt>
                <c:pt idx="7657">
                  <c:v>-2.4369747899159602E-2</c:v>
                </c:pt>
                <c:pt idx="7658">
                  <c:v>-2.4369747899159602E-2</c:v>
                </c:pt>
                <c:pt idx="7659">
                  <c:v>-2.4369747899159602E-2</c:v>
                </c:pt>
                <c:pt idx="7660">
                  <c:v>-2.4369747899159602E-2</c:v>
                </c:pt>
                <c:pt idx="7661">
                  <c:v>-2.4369747899159602E-2</c:v>
                </c:pt>
                <c:pt idx="7662">
                  <c:v>-2.4369747899159602E-2</c:v>
                </c:pt>
                <c:pt idx="7663">
                  <c:v>-2.4369747899159602E-2</c:v>
                </c:pt>
                <c:pt idx="7664">
                  <c:v>-2.4369747899159602E-2</c:v>
                </c:pt>
                <c:pt idx="7665">
                  <c:v>-2.5210084033613401E-2</c:v>
                </c:pt>
                <c:pt idx="7666">
                  <c:v>-2.5210084033613401E-2</c:v>
                </c:pt>
                <c:pt idx="7667">
                  <c:v>-2.5210084033613401E-2</c:v>
                </c:pt>
                <c:pt idx="7668">
                  <c:v>-2.5210084033613401E-2</c:v>
                </c:pt>
                <c:pt idx="7669">
                  <c:v>-2.5210084033613401E-2</c:v>
                </c:pt>
                <c:pt idx="7670">
                  <c:v>-2.60504201680671E-2</c:v>
                </c:pt>
                <c:pt idx="7671">
                  <c:v>-2.60504201680671E-2</c:v>
                </c:pt>
                <c:pt idx="7672">
                  <c:v>-2.60504201680671E-2</c:v>
                </c:pt>
                <c:pt idx="7673">
                  <c:v>-2.60504201680671E-2</c:v>
                </c:pt>
                <c:pt idx="7674">
                  <c:v>-2.60504201680671E-2</c:v>
                </c:pt>
                <c:pt idx="7675">
                  <c:v>-2.60504201680671E-2</c:v>
                </c:pt>
                <c:pt idx="7676">
                  <c:v>-2.60504201680671E-2</c:v>
                </c:pt>
                <c:pt idx="7677">
                  <c:v>-2.60504201680671E-2</c:v>
                </c:pt>
                <c:pt idx="7678">
                  <c:v>-2.60504201680671E-2</c:v>
                </c:pt>
                <c:pt idx="7679">
                  <c:v>-2.60504201680671E-2</c:v>
                </c:pt>
                <c:pt idx="7680">
                  <c:v>-2.60504201680671E-2</c:v>
                </c:pt>
                <c:pt idx="7681">
                  <c:v>-2.60504201680671E-2</c:v>
                </c:pt>
                <c:pt idx="7682">
                  <c:v>-2.60504201680671E-2</c:v>
                </c:pt>
                <c:pt idx="7683">
                  <c:v>-2.60504201680671E-2</c:v>
                </c:pt>
                <c:pt idx="7684">
                  <c:v>-2.60504201680671E-2</c:v>
                </c:pt>
                <c:pt idx="7685">
                  <c:v>-2.60504201680671E-2</c:v>
                </c:pt>
                <c:pt idx="7686">
                  <c:v>-2.60504201680671E-2</c:v>
                </c:pt>
                <c:pt idx="7687">
                  <c:v>-2.60504201680671E-2</c:v>
                </c:pt>
                <c:pt idx="7688">
                  <c:v>-2.60504201680671E-2</c:v>
                </c:pt>
                <c:pt idx="7689">
                  <c:v>-2.60504201680671E-2</c:v>
                </c:pt>
                <c:pt idx="7690">
                  <c:v>-2.60504201680671E-2</c:v>
                </c:pt>
                <c:pt idx="7691">
                  <c:v>-2.60504201680671E-2</c:v>
                </c:pt>
                <c:pt idx="7692">
                  <c:v>-2.60504201680671E-2</c:v>
                </c:pt>
                <c:pt idx="7693">
                  <c:v>-2.60504201680671E-2</c:v>
                </c:pt>
                <c:pt idx="7694">
                  <c:v>-2.60504201680671E-2</c:v>
                </c:pt>
                <c:pt idx="7695">
                  <c:v>-2.60504201680671E-2</c:v>
                </c:pt>
                <c:pt idx="7696">
                  <c:v>-2.60504201680671E-2</c:v>
                </c:pt>
                <c:pt idx="7697">
                  <c:v>-2.60504201680671E-2</c:v>
                </c:pt>
                <c:pt idx="7698">
                  <c:v>-2.60504201680671E-2</c:v>
                </c:pt>
                <c:pt idx="7699">
                  <c:v>-2.60504201680671E-2</c:v>
                </c:pt>
                <c:pt idx="7700">
                  <c:v>-2.60504201680671E-2</c:v>
                </c:pt>
                <c:pt idx="7701">
                  <c:v>-2.60504201680671E-2</c:v>
                </c:pt>
                <c:pt idx="7702">
                  <c:v>-2.60504201680671E-2</c:v>
                </c:pt>
                <c:pt idx="7703">
                  <c:v>-2.60504201680671E-2</c:v>
                </c:pt>
                <c:pt idx="7704">
                  <c:v>-2.5210084033613401E-2</c:v>
                </c:pt>
                <c:pt idx="7705">
                  <c:v>-2.5210084033613401E-2</c:v>
                </c:pt>
                <c:pt idx="7706">
                  <c:v>-2.5210084033613401E-2</c:v>
                </c:pt>
                <c:pt idx="7707">
                  <c:v>-2.60504201680671E-2</c:v>
                </c:pt>
                <c:pt idx="7708">
                  <c:v>-2.60504201680671E-2</c:v>
                </c:pt>
                <c:pt idx="7709">
                  <c:v>-2.60504201680671E-2</c:v>
                </c:pt>
                <c:pt idx="7710">
                  <c:v>-2.60504201680671E-2</c:v>
                </c:pt>
                <c:pt idx="7711">
                  <c:v>-2.60504201680671E-2</c:v>
                </c:pt>
                <c:pt idx="7712">
                  <c:v>-2.60504201680671E-2</c:v>
                </c:pt>
                <c:pt idx="7713">
                  <c:v>-2.60504201680671E-2</c:v>
                </c:pt>
                <c:pt idx="7714">
                  <c:v>-2.60504201680671E-2</c:v>
                </c:pt>
                <c:pt idx="7715">
                  <c:v>-2.60504201680671E-2</c:v>
                </c:pt>
                <c:pt idx="7716">
                  <c:v>-2.60504201680671E-2</c:v>
                </c:pt>
                <c:pt idx="7717">
                  <c:v>-2.60504201680671E-2</c:v>
                </c:pt>
                <c:pt idx="7718">
                  <c:v>-2.5210084033613401E-2</c:v>
                </c:pt>
                <c:pt idx="7719">
                  <c:v>-2.5210084033613401E-2</c:v>
                </c:pt>
                <c:pt idx="7720">
                  <c:v>-2.5210084033613401E-2</c:v>
                </c:pt>
                <c:pt idx="7721">
                  <c:v>-2.5210084033613401E-2</c:v>
                </c:pt>
                <c:pt idx="7722">
                  <c:v>-2.5210084033613401E-2</c:v>
                </c:pt>
                <c:pt idx="7723">
                  <c:v>-2.5210084033613401E-2</c:v>
                </c:pt>
                <c:pt idx="7724">
                  <c:v>-2.5210084033613401E-2</c:v>
                </c:pt>
                <c:pt idx="7725">
                  <c:v>-2.5210084033613401E-2</c:v>
                </c:pt>
                <c:pt idx="7726">
                  <c:v>-2.5210084033613401E-2</c:v>
                </c:pt>
                <c:pt idx="7727">
                  <c:v>-2.5210084033613401E-2</c:v>
                </c:pt>
                <c:pt idx="7728">
                  <c:v>-2.5210084033613401E-2</c:v>
                </c:pt>
                <c:pt idx="7729">
                  <c:v>-2.5210084033613401E-2</c:v>
                </c:pt>
                <c:pt idx="7730">
                  <c:v>-2.5210084033613401E-2</c:v>
                </c:pt>
                <c:pt idx="7731">
                  <c:v>-2.5210084033613401E-2</c:v>
                </c:pt>
                <c:pt idx="7732">
                  <c:v>-2.5210084033613401E-2</c:v>
                </c:pt>
                <c:pt idx="7733">
                  <c:v>-2.5210084033613401E-2</c:v>
                </c:pt>
                <c:pt idx="7734">
                  <c:v>-2.5210084033613401E-2</c:v>
                </c:pt>
                <c:pt idx="7735">
                  <c:v>-2.5210084033613401E-2</c:v>
                </c:pt>
                <c:pt idx="7736">
                  <c:v>-2.5210084033613401E-2</c:v>
                </c:pt>
                <c:pt idx="7737">
                  <c:v>-2.5210084033613401E-2</c:v>
                </c:pt>
                <c:pt idx="7738">
                  <c:v>-2.4369747899159602E-2</c:v>
                </c:pt>
                <c:pt idx="7739">
                  <c:v>-2.4369747899159602E-2</c:v>
                </c:pt>
                <c:pt idx="7740">
                  <c:v>-2.4369747899159602E-2</c:v>
                </c:pt>
                <c:pt idx="7741">
                  <c:v>-2.4369747899159602E-2</c:v>
                </c:pt>
                <c:pt idx="7742">
                  <c:v>-2.4369747899159602E-2</c:v>
                </c:pt>
                <c:pt idx="7743">
                  <c:v>-2.4369747899159602E-2</c:v>
                </c:pt>
                <c:pt idx="7744">
                  <c:v>-2.4369747899159602E-2</c:v>
                </c:pt>
                <c:pt idx="7745">
                  <c:v>-2.4369747899159602E-2</c:v>
                </c:pt>
                <c:pt idx="7746">
                  <c:v>-2.4369747899159602E-2</c:v>
                </c:pt>
                <c:pt idx="7747">
                  <c:v>-2.4369747899159602E-2</c:v>
                </c:pt>
                <c:pt idx="7748">
                  <c:v>-2.4369747899159602E-2</c:v>
                </c:pt>
                <c:pt idx="7749">
                  <c:v>-2.4369747899159602E-2</c:v>
                </c:pt>
                <c:pt idx="7750">
                  <c:v>-2.4369747899159602E-2</c:v>
                </c:pt>
                <c:pt idx="7751">
                  <c:v>-2.4369747899159602E-2</c:v>
                </c:pt>
                <c:pt idx="7752">
                  <c:v>-2.4369747899159602E-2</c:v>
                </c:pt>
                <c:pt idx="7753">
                  <c:v>-2.4369747899159602E-2</c:v>
                </c:pt>
                <c:pt idx="7754">
                  <c:v>-2.4369747899159602E-2</c:v>
                </c:pt>
                <c:pt idx="7755">
                  <c:v>-2.4369747899159602E-2</c:v>
                </c:pt>
                <c:pt idx="7756">
                  <c:v>-2.4369747899159602E-2</c:v>
                </c:pt>
                <c:pt idx="7757">
                  <c:v>-2.4369747899159602E-2</c:v>
                </c:pt>
                <c:pt idx="7758">
                  <c:v>-2.4369747899159602E-2</c:v>
                </c:pt>
                <c:pt idx="7759">
                  <c:v>-2.4369747899159602E-2</c:v>
                </c:pt>
                <c:pt idx="7760">
                  <c:v>-2.4369747899159602E-2</c:v>
                </c:pt>
                <c:pt idx="7761">
                  <c:v>-2.4369747899159602E-2</c:v>
                </c:pt>
                <c:pt idx="7762">
                  <c:v>-2.4369747899159602E-2</c:v>
                </c:pt>
                <c:pt idx="7763">
                  <c:v>-2.4369747899159602E-2</c:v>
                </c:pt>
                <c:pt idx="7764">
                  <c:v>-2.4369747899159602E-2</c:v>
                </c:pt>
                <c:pt idx="7765">
                  <c:v>-2.4369747899159602E-2</c:v>
                </c:pt>
                <c:pt idx="7766">
                  <c:v>-2.5210084033613401E-2</c:v>
                </c:pt>
                <c:pt idx="7767">
                  <c:v>-2.5210084033613401E-2</c:v>
                </c:pt>
                <c:pt idx="7768">
                  <c:v>-2.5210084033613401E-2</c:v>
                </c:pt>
                <c:pt idx="7769">
                  <c:v>-2.5210084033613401E-2</c:v>
                </c:pt>
                <c:pt idx="7770">
                  <c:v>-2.5210084033613401E-2</c:v>
                </c:pt>
                <c:pt idx="7771">
                  <c:v>-2.5210084033613401E-2</c:v>
                </c:pt>
                <c:pt idx="7772">
                  <c:v>-2.5210084033613401E-2</c:v>
                </c:pt>
                <c:pt idx="7773">
                  <c:v>-2.5210084033613401E-2</c:v>
                </c:pt>
                <c:pt idx="7774">
                  <c:v>-2.5210084033613401E-2</c:v>
                </c:pt>
                <c:pt idx="7775">
                  <c:v>-2.5210084033613401E-2</c:v>
                </c:pt>
                <c:pt idx="7776">
                  <c:v>-2.5210084033613401E-2</c:v>
                </c:pt>
                <c:pt idx="7777">
                  <c:v>-2.5210084033613401E-2</c:v>
                </c:pt>
                <c:pt idx="7778">
                  <c:v>-2.5210084033613401E-2</c:v>
                </c:pt>
                <c:pt idx="7779">
                  <c:v>-2.5210084033613401E-2</c:v>
                </c:pt>
                <c:pt idx="7780">
                  <c:v>-2.60504201680671E-2</c:v>
                </c:pt>
                <c:pt idx="7781">
                  <c:v>-2.60504201680671E-2</c:v>
                </c:pt>
                <c:pt idx="7782">
                  <c:v>-2.60504201680671E-2</c:v>
                </c:pt>
                <c:pt idx="7783">
                  <c:v>-2.60504201680671E-2</c:v>
                </c:pt>
                <c:pt idx="7784">
                  <c:v>-2.60504201680671E-2</c:v>
                </c:pt>
                <c:pt idx="7785">
                  <c:v>-2.60504201680671E-2</c:v>
                </c:pt>
                <c:pt idx="7786">
                  <c:v>-2.60504201680671E-2</c:v>
                </c:pt>
                <c:pt idx="7787">
                  <c:v>-2.60504201680671E-2</c:v>
                </c:pt>
                <c:pt idx="7788">
                  <c:v>-2.60504201680671E-2</c:v>
                </c:pt>
                <c:pt idx="7789">
                  <c:v>-2.60504201680671E-2</c:v>
                </c:pt>
                <c:pt idx="7790">
                  <c:v>-2.60504201680671E-2</c:v>
                </c:pt>
                <c:pt idx="7791">
                  <c:v>-2.60504201680671E-2</c:v>
                </c:pt>
                <c:pt idx="7792">
                  <c:v>-2.60504201680671E-2</c:v>
                </c:pt>
                <c:pt idx="7793">
                  <c:v>-2.60504201680671E-2</c:v>
                </c:pt>
                <c:pt idx="7794">
                  <c:v>-2.60504201680671E-2</c:v>
                </c:pt>
                <c:pt idx="7795">
                  <c:v>-2.60504201680671E-2</c:v>
                </c:pt>
                <c:pt idx="7796">
                  <c:v>-2.60504201680671E-2</c:v>
                </c:pt>
                <c:pt idx="7797">
                  <c:v>-2.60504201680671E-2</c:v>
                </c:pt>
                <c:pt idx="7798">
                  <c:v>-2.6890756302521E-2</c:v>
                </c:pt>
                <c:pt idx="7799">
                  <c:v>-2.6890756302521E-2</c:v>
                </c:pt>
                <c:pt idx="7800">
                  <c:v>-2.6890756302521E-2</c:v>
                </c:pt>
                <c:pt idx="7801">
                  <c:v>-2.60504201680672E-2</c:v>
                </c:pt>
                <c:pt idx="7802">
                  <c:v>-2.60504201680672E-2</c:v>
                </c:pt>
                <c:pt idx="7803">
                  <c:v>-2.60504201680672E-2</c:v>
                </c:pt>
                <c:pt idx="7804">
                  <c:v>-2.60504201680672E-2</c:v>
                </c:pt>
                <c:pt idx="7805">
                  <c:v>-2.60504201680672E-2</c:v>
                </c:pt>
                <c:pt idx="7806">
                  <c:v>-2.60504201680672E-2</c:v>
                </c:pt>
                <c:pt idx="7807">
                  <c:v>-2.60504201680672E-2</c:v>
                </c:pt>
                <c:pt idx="7808">
                  <c:v>-2.60504201680672E-2</c:v>
                </c:pt>
                <c:pt idx="7809">
                  <c:v>-2.60504201680672E-2</c:v>
                </c:pt>
                <c:pt idx="7810">
                  <c:v>-2.60504201680672E-2</c:v>
                </c:pt>
                <c:pt idx="7811">
                  <c:v>-2.60504201680672E-2</c:v>
                </c:pt>
                <c:pt idx="7812">
                  <c:v>-2.60504201680672E-2</c:v>
                </c:pt>
                <c:pt idx="7813">
                  <c:v>-2.60504201680672E-2</c:v>
                </c:pt>
                <c:pt idx="7814">
                  <c:v>-2.60504201680672E-2</c:v>
                </c:pt>
                <c:pt idx="7815">
                  <c:v>-2.60504201680672E-2</c:v>
                </c:pt>
                <c:pt idx="7816">
                  <c:v>-2.60504201680672E-2</c:v>
                </c:pt>
                <c:pt idx="7817">
                  <c:v>-2.60504201680672E-2</c:v>
                </c:pt>
                <c:pt idx="7818">
                  <c:v>-2.60504201680672E-2</c:v>
                </c:pt>
                <c:pt idx="7819">
                  <c:v>-2.60504201680672E-2</c:v>
                </c:pt>
                <c:pt idx="7820">
                  <c:v>-2.60504201680672E-2</c:v>
                </c:pt>
                <c:pt idx="7821">
                  <c:v>-2.60504201680672E-2</c:v>
                </c:pt>
                <c:pt idx="7822">
                  <c:v>-2.60504201680672E-2</c:v>
                </c:pt>
                <c:pt idx="7823">
                  <c:v>-2.60504201680672E-2</c:v>
                </c:pt>
                <c:pt idx="7824">
                  <c:v>-2.60504201680672E-2</c:v>
                </c:pt>
                <c:pt idx="7825">
                  <c:v>-2.60504201680672E-2</c:v>
                </c:pt>
                <c:pt idx="7826">
                  <c:v>-2.60504201680672E-2</c:v>
                </c:pt>
                <c:pt idx="7827">
                  <c:v>-2.6890756302521E-2</c:v>
                </c:pt>
                <c:pt idx="7828">
                  <c:v>-2.6890756302521E-2</c:v>
                </c:pt>
                <c:pt idx="7829">
                  <c:v>-2.6890756302521E-2</c:v>
                </c:pt>
                <c:pt idx="7830">
                  <c:v>-2.6890756302521E-2</c:v>
                </c:pt>
                <c:pt idx="7831">
                  <c:v>-2.6890756302521E-2</c:v>
                </c:pt>
                <c:pt idx="7832">
                  <c:v>-2.6890756302521E-2</c:v>
                </c:pt>
                <c:pt idx="7833">
                  <c:v>-2.6890756302521E-2</c:v>
                </c:pt>
                <c:pt idx="7834">
                  <c:v>-2.6890756302521E-2</c:v>
                </c:pt>
                <c:pt idx="7835">
                  <c:v>-2.6890756302521E-2</c:v>
                </c:pt>
                <c:pt idx="7836">
                  <c:v>-2.6890756302521E-2</c:v>
                </c:pt>
                <c:pt idx="7837">
                  <c:v>-2.6890756302521E-2</c:v>
                </c:pt>
                <c:pt idx="7838">
                  <c:v>-2.6890756302521E-2</c:v>
                </c:pt>
                <c:pt idx="7839">
                  <c:v>-2.6890756302521E-2</c:v>
                </c:pt>
                <c:pt idx="7840">
                  <c:v>-2.6890756302521E-2</c:v>
                </c:pt>
                <c:pt idx="7841">
                  <c:v>-2.6890756302521E-2</c:v>
                </c:pt>
                <c:pt idx="7842">
                  <c:v>-2.6890756302521E-2</c:v>
                </c:pt>
                <c:pt idx="7843">
                  <c:v>-2.6890756302521E-2</c:v>
                </c:pt>
                <c:pt idx="7844">
                  <c:v>-2.6890756302521E-2</c:v>
                </c:pt>
                <c:pt idx="7845">
                  <c:v>-2.6890756302521E-2</c:v>
                </c:pt>
                <c:pt idx="7846">
                  <c:v>-2.6890756302521E-2</c:v>
                </c:pt>
                <c:pt idx="7847">
                  <c:v>-2.6890756302521E-2</c:v>
                </c:pt>
                <c:pt idx="7848">
                  <c:v>-2.6890756302521E-2</c:v>
                </c:pt>
                <c:pt idx="7849">
                  <c:v>-2.6890756302521E-2</c:v>
                </c:pt>
                <c:pt idx="7850">
                  <c:v>-2.60504201680672E-2</c:v>
                </c:pt>
                <c:pt idx="7851">
                  <c:v>-2.60504201680672E-2</c:v>
                </c:pt>
                <c:pt idx="7852">
                  <c:v>-2.60504201680672E-2</c:v>
                </c:pt>
                <c:pt idx="7853">
                  <c:v>-2.60504201680672E-2</c:v>
                </c:pt>
                <c:pt idx="7854">
                  <c:v>-2.60504201680672E-2</c:v>
                </c:pt>
                <c:pt idx="7855">
                  <c:v>-2.60504201680672E-2</c:v>
                </c:pt>
                <c:pt idx="7856">
                  <c:v>-2.60504201680672E-2</c:v>
                </c:pt>
                <c:pt idx="7857">
                  <c:v>-2.60504201680672E-2</c:v>
                </c:pt>
                <c:pt idx="7858">
                  <c:v>-2.60504201680672E-2</c:v>
                </c:pt>
                <c:pt idx="7859">
                  <c:v>-2.60504201680672E-2</c:v>
                </c:pt>
                <c:pt idx="7860">
                  <c:v>-2.60504201680672E-2</c:v>
                </c:pt>
                <c:pt idx="7861">
                  <c:v>-2.60504201680672E-2</c:v>
                </c:pt>
                <c:pt idx="7862">
                  <c:v>-2.60504201680672E-2</c:v>
                </c:pt>
                <c:pt idx="7863">
                  <c:v>-2.60504201680672E-2</c:v>
                </c:pt>
                <c:pt idx="7864">
                  <c:v>-2.6890756302521E-2</c:v>
                </c:pt>
                <c:pt idx="7865">
                  <c:v>-2.6890756302521E-2</c:v>
                </c:pt>
                <c:pt idx="7866">
                  <c:v>-2.6890756302521E-2</c:v>
                </c:pt>
                <c:pt idx="7867">
                  <c:v>-2.6890756302521E-2</c:v>
                </c:pt>
                <c:pt idx="7868">
                  <c:v>-2.6890756302521E-2</c:v>
                </c:pt>
                <c:pt idx="7869">
                  <c:v>-2.6890756302521E-2</c:v>
                </c:pt>
                <c:pt idx="7870">
                  <c:v>-2.7731092436974799E-2</c:v>
                </c:pt>
                <c:pt idx="7871">
                  <c:v>-2.7731092436974799E-2</c:v>
                </c:pt>
                <c:pt idx="7872">
                  <c:v>-2.7731092436974799E-2</c:v>
                </c:pt>
                <c:pt idx="7873">
                  <c:v>-2.7731092436974799E-2</c:v>
                </c:pt>
                <c:pt idx="7874">
                  <c:v>-2.7731092436974799E-2</c:v>
                </c:pt>
                <c:pt idx="7875">
                  <c:v>-2.7731092436974799E-2</c:v>
                </c:pt>
                <c:pt idx="7876">
                  <c:v>-2.7731092436974799E-2</c:v>
                </c:pt>
                <c:pt idx="7877">
                  <c:v>-2.7731092436974799E-2</c:v>
                </c:pt>
                <c:pt idx="7878">
                  <c:v>-2.7731092436974799E-2</c:v>
                </c:pt>
                <c:pt idx="7879">
                  <c:v>-2.7731092436974799E-2</c:v>
                </c:pt>
                <c:pt idx="7880">
                  <c:v>-2.6890756302521E-2</c:v>
                </c:pt>
                <c:pt idx="7881">
                  <c:v>-2.6890756302521E-2</c:v>
                </c:pt>
                <c:pt idx="7882">
                  <c:v>-2.6890756302521E-2</c:v>
                </c:pt>
                <c:pt idx="7883">
                  <c:v>-2.6890756302521E-2</c:v>
                </c:pt>
                <c:pt idx="7884">
                  <c:v>-2.6890756302521E-2</c:v>
                </c:pt>
                <c:pt idx="7885">
                  <c:v>-2.6890756302521E-2</c:v>
                </c:pt>
                <c:pt idx="7886">
                  <c:v>-2.6890756302521E-2</c:v>
                </c:pt>
                <c:pt idx="7887">
                  <c:v>-2.7731092436974799E-2</c:v>
                </c:pt>
                <c:pt idx="7888">
                  <c:v>-2.7731092436974799E-2</c:v>
                </c:pt>
                <c:pt idx="7889">
                  <c:v>-2.8571428571428501E-2</c:v>
                </c:pt>
                <c:pt idx="7890">
                  <c:v>-2.7731092436974799E-2</c:v>
                </c:pt>
                <c:pt idx="7891">
                  <c:v>-2.7731092436974799E-2</c:v>
                </c:pt>
                <c:pt idx="7892">
                  <c:v>-2.7731092436974799E-2</c:v>
                </c:pt>
                <c:pt idx="7893">
                  <c:v>-2.7731092436974799E-2</c:v>
                </c:pt>
                <c:pt idx="7894">
                  <c:v>-2.7731092436974799E-2</c:v>
                </c:pt>
                <c:pt idx="7895">
                  <c:v>-2.7731092436974799E-2</c:v>
                </c:pt>
                <c:pt idx="7896">
                  <c:v>-2.7731092436974799E-2</c:v>
                </c:pt>
                <c:pt idx="7897">
                  <c:v>-2.7731092436974799E-2</c:v>
                </c:pt>
                <c:pt idx="7898">
                  <c:v>-2.7731092436974799E-2</c:v>
                </c:pt>
                <c:pt idx="7899">
                  <c:v>-2.7731092436974799E-2</c:v>
                </c:pt>
                <c:pt idx="7900">
                  <c:v>-2.7731092436974799E-2</c:v>
                </c:pt>
                <c:pt idx="7901">
                  <c:v>-2.7731092436974799E-2</c:v>
                </c:pt>
                <c:pt idx="7902">
                  <c:v>-2.7731092436974799E-2</c:v>
                </c:pt>
                <c:pt idx="7903">
                  <c:v>-2.7731092436974799E-2</c:v>
                </c:pt>
                <c:pt idx="7904">
                  <c:v>-2.7731092436974799E-2</c:v>
                </c:pt>
                <c:pt idx="7905">
                  <c:v>-2.6890756302521E-2</c:v>
                </c:pt>
                <c:pt idx="7906">
                  <c:v>-2.6890756302521E-2</c:v>
                </c:pt>
                <c:pt idx="7907">
                  <c:v>-2.7731092436974799E-2</c:v>
                </c:pt>
                <c:pt idx="7908">
                  <c:v>-2.7731092436974799E-2</c:v>
                </c:pt>
                <c:pt idx="7909">
                  <c:v>-2.7731092436974799E-2</c:v>
                </c:pt>
                <c:pt idx="7910">
                  <c:v>-2.7731092436974799E-2</c:v>
                </c:pt>
                <c:pt idx="7911">
                  <c:v>-2.7731092436974799E-2</c:v>
                </c:pt>
                <c:pt idx="7912">
                  <c:v>-2.7731092436974799E-2</c:v>
                </c:pt>
                <c:pt idx="7913">
                  <c:v>-2.7731092436974799E-2</c:v>
                </c:pt>
                <c:pt idx="7914">
                  <c:v>-2.7731092436974799E-2</c:v>
                </c:pt>
                <c:pt idx="7915">
                  <c:v>-2.7731092436974799E-2</c:v>
                </c:pt>
                <c:pt idx="7916">
                  <c:v>-2.7731092436974799E-2</c:v>
                </c:pt>
                <c:pt idx="7917">
                  <c:v>-2.7731092436974799E-2</c:v>
                </c:pt>
                <c:pt idx="7918">
                  <c:v>-2.7731092436974799E-2</c:v>
                </c:pt>
                <c:pt idx="7919">
                  <c:v>-2.7731092436974799E-2</c:v>
                </c:pt>
                <c:pt idx="7920">
                  <c:v>-2.7731092436974799E-2</c:v>
                </c:pt>
                <c:pt idx="7921">
                  <c:v>-2.7731092436974799E-2</c:v>
                </c:pt>
                <c:pt idx="7922">
                  <c:v>-2.7731092436974799E-2</c:v>
                </c:pt>
                <c:pt idx="7923">
                  <c:v>-2.7731092436974799E-2</c:v>
                </c:pt>
                <c:pt idx="7924">
                  <c:v>-2.7731092436974799E-2</c:v>
                </c:pt>
                <c:pt idx="7925">
                  <c:v>-2.7731092436974799E-2</c:v>
                </c:pt>
                <c:pt idx="7926">
                  <c:v>-2.7731092436974799E-2</c:v>
                </c:pt>
                <c:pt idx="7927">
                  <c:v>-2.7731092436974799E-2</c:v>
                </c:pt>
                <c:pt idx="7928">
                  <c:v>-2.7731092436974799E-2</c:v>
                </c:pt>
                <c:pt idx="7929">
                  <c:v>-2.6890756302521E-2</c:v>
                </c:pt>
                <c:pt idx="7930">
                  <c:v>-2.60504201680672E-2</c:v>
                </c:pt>
                <c:pt idx="7931">
                  <c:v>-2.60504201680672E-2</c:v>
                </c:pt>
                <c:pt idx="7932">
                  <c:v>-2.60504201680672E-2</c:v>
                </c:pt>
                <c:pt idx="7933">
                  <c:v>-2.60504201680672E-2</c:v>
                </c:pt>
                <c:pt idx="7934">
                  <c:v>-2.60504201680672E-2</c:v>
                </c:pt>
                <c:pt idx="7935">
                  <c:v>-2.60504201680672E-2</c:v>
                </c:pt>
                <c:pt idx="7936">
                  <c:v>-2.60504201680672E-2</c:v>
                </c:pt>
                <c:pt idx="7937">
                  <c:v>-2.5210084033613401E-2</c:v>
                </c:pt>
                <c:pt idx="7938">
                  <c:v>-2.5210084033613401E-2</c:v>
                </c:pt>
                <c:pt idx="7939">
                  <c:v>-2.5210084033613401E-2</c:v>
                </c:pt>
                <c:pt idx="7940">
                  <c:v>-2.5210084033613401E-2</c:v>
                </c:pt>
                <c:pt idx="7941">
                  <c:v>-2.5210084033613401E-2</c:v>
                </c:pt>
                <c:pt idx="7942">
                  <c:v>-2.5210084033613401E-2</c:v>
                </c:pt>
                <c:pt idx="7943">
                  <c:v>-2.5210084033613401E-2</c:v>
                </c:pt>
                <c:pt idx="7944">
                  <c:v>-2.5210084033613401E-2</c:v>
                </c:pt>
                <c:pt idx="7945">
                  <c:v>-2.4369747899159602E-2</c:v>
                </c:pt>
                <c:pt idx="7946">
                  <c:v>-2.4369747899159602E-2</c:v>
                </c:pt>
                <c:pt idx="7947">
                  <c:v>-2.4369747899159602E-2</c:v>
                </c:pt>
                <c:pt idx="7948">
                  <c:v>-2.4369747899159602E-2</c:v>
                </c:pt>
                <c:pt idx="7949">
                  <c:v>-2.4369747899159602E-2</c:v>
                </c:pt>
                <c:pt idx="7950">
                  <c:v>-2.4369747899159602E-2</c:v>
                </c:pt>
                <c:pt idx="7951">
                  <c:v>-2.4369747899159602E-2</c:v>
                </c:pt>
                <c:pt idx="7952">
                  <c:v>-2.4369747899159602E-2</c:v>
                </c:pt>
                <c:pt idx="7953">
                  <c:v>-2.4369747899159602E-2</c:v>
                </c:pt>
                <c:pt idx="7954">
                  <c:v>-2.4369747899159602E-2</c:v>
                </c:pt>
                <c:pt idx="7955">
                  <c:v>-2.4369747899159602E-2</c:v>
                </c:pt>
                <c:pt idx="7956">
                  <c:v>-2.4369747899159602E-2</c:v>
                </c:pt>
                <c:pt idx="7957">
                  <c:v>-2.4369747899159602E-2</c:v>
                </c:pt>
                <c:pt idx="7958">
                  <c:v>-2.4369747899159602E-2</c:v>
                </c:pt>
                <c:pt idx="7959">
                  <c:v>-2.4369747899159602E-2</c:v>
                </c:pt>
                <c:pt idx="7960">
                  <c:v>-2.3529411764705899E-2</c:v>
                </c:pt>
                <c:pt idx="7961">
                  <c:v>-2.4369747899159602E-2</c:v>
                </c:pt>
                <c:pt idx="7962">
                  <c:v>-2.4369747899159602E-2</c:v>
                </c:pt>
                <c:pt idx="7963">
                  <c:v>-2.4369747899159602E-2</c:v>
                </c:pt>
                <c:pt idx="7964">
                  <c:v>-2.4369747899159602E-2</c:v>
                </c:pt>
                <c:pt idx="7965">
                  <c:v>-2.4369747899159602E-2</c:v>
                </c:pt>
                <c:pt idx="7966">
                  <c:v>-2.4369747899159602E-2</c:v>
                </c:pt>
                <c:pt idx="7967">
                  <c:v>-2.4369747899159602E-2</c:v>
                </c:pt>
                <c:pt idx="7968">
                  <c:v>-2.4369747899159602E-2</c:v>
                </c:pt>
                <c:pt idx="7969">
                  <c:v>-2.4369747899159602E-2</c:v>
                </c:pt>
                <c:pt idx="7970">
                  <c:v>-2.4369747899159602E-2</c:v>
                </c:pt>
                <c:pt idx="7971">
                  <c:v>-2.4369747899159602E-2</c:v>
                </c:pt>
                <c:pt idx="7972">
                  <c:v>-2.4369747899159602E-2</c:v>
                </c:pt>
                <c:pt idx="7973">
                  <c:v>-2.4369747899159602E-2</c:v>
                </c:pt>
                <c:pt idx="7974">
                  <c:v>-2.4369747899159602E-2</c:v>
                </c:pt>
                <c:pt idx="7975">
                  <c:v>-2.4369747899159602E-2</c:v>
                </c:pt>
                <c:pt idx="7976">
                  <c:v>-2.4369747899159602E-2</c:v>
                </c:pt>
                <c:pt idx="7977">
                  <c:v>-2.4369747899159602E-2</c:v>
                </c:pt>
                <c:pt idx="7978">
                  <c:v>-2.4369747899159602E-2</c:v>
                </c:pt>
                <c:pt idx="7979">
                  <c:v>-2.4369747899159602E-2</c:v>
                </c:pt>
                <c:pt idx="7980">
                  <c:v>-2.4369747899159602E-2</c:v>
                </c:pt>
                <c:pt idx="7981">
                  <c:v>-2.4369747899159602E-2</c:v>
                </c:pt>
                <c:pt idx="7982">
                  <c:v>-2.4369747899159602E-2</c:v>
                </c:pt>
                <c:pt idx="7983">
                  <c:v>-2.4369747899159602E-2</c:v>
                </c:pt>
                <c:pt idx="7984">
                  <c:v>-2.4369747899159602E-2</c:v>
                </c:pt>
                <c:pt idx="7985">
                  <c:v>-2.4369747899159602E-2</c:v>
                </c:pt>
                <c:pt idx="7986">
                  <c:v>-2.4369747899159602E-2</c:v>
                </c:pt>
                <c:pt idx="7987">
                  <c:v>-2.4369747899159602E-2</c:v>
                </c:pt>
                <c:pt idx="7988">
                  <c:v>-2.4369747899159602E-2</c:v>
                </c:pt>
                <c:pt idx="7989">
                  <c:v>-2.4369747899159602E-2</c:v>
                </c:pt>
                <c:pt idx="7990">
                  <c:v>-2.4369747899159602E-2</c:v>
                </c:pt>
                <c:pt idx="7991">
                  <c:v>-2.4369747899159602E-2</c:v>
                </c:pt>
                <c:pt idx="7992">
                  <c:v>-2.4369747899159602E-2</c:v>
                </c:pt>
                <c:pt idx="7993">
                  <c:v>-2.4369747899159602E-2</c:v>
                </c:pt>
                <c:pt idx="7994">
                  <c:v>-2.4369747899159602E-2</c:v>
                </c:pt>
                <c:pt idx="7995">
                  <c:v>-2.4369747899159602E-2</c:v>
                </c:pt>
                <c:pt idx="7996">
                  <c:v>-2.4369747899159602E-2</c:v>
                </c:pt>
                <c:pt idx="7997">
                  <c:v>-2.4369747899159602E-2</c:v>
                </c:pt>
                <c:pt idx="7998">
                  <c:v>-2.4369747899159602E-2</c:v>
                </c:pt>
                <c:pt idx="7999">
                  <c:v>-2.4369747899159602E-2</c:v>
                </c:pt>
                <c:pt idx="8000">
                  <c:v>-2.4369747899159602E-2</c:v>
                </c:pt>
                <c:pt idx="8001">
                  <c:v>-2.5210084033613401E-2</c:v>
                </c:pt>
                <c:pt idx="8002">
                  <c:v>-2.5210084033613401E-2</c:v>
                </c:pt>
                <c:pt idx="8003">
                  <c:v>-2.5210084033613401E-2</c:v>
                </c:pt>
                <c:pt idx="8004">
                  <c:v>-2.5210084033613401E-2</c:v>
                </c:pt>
                <c:pt idx="8005">
                  <c:v>-2.5210084033613401E-2</c:v>
                </c:pt>
                <c:pt idx="8006">
                  <c:v>-2.5210084033613401E-2</c:v>
                </c:pt>
                <c:pt idx="8007">
                  <c:v>-2.5210084033613401E-2</c:v>
                </c:pt>
                <c:pt idx="8008">
                  <c:v>-2.5210084033613401E-2</c:v>
                </c:pt>
                <c:pt idx="8009">
                  <c:v>-2.5210084033613401E-2</c:v>
                </c:pt>
                <c:pt idx="8010">
                  <c:v>-2.5210084033613401E-2</c:v>
                </c:pt>
                <c:pt idx="8011">
                  <c:v>-2.5210084033613401E-2</c:v>
                </c:pt>
                <c:pt idx="8012">
                  <c:v>-2.5210084033613401E-2</c:v>
                </c:pt>
                <c:pt idx="8013">
                  <c:v>-2.5210084033613401E-2</c:v>
                </c:pt>
                <c:pt idx="8014">
                  <c:v>-2.5210084033613401E-2</c:v>
                </c:pt>
                <c:pt idx="8015">
                  <c:v>-2.5210084033613401E-2</c:v>
                </c:pt>
                <c:pt idx="8016">
                  <c:v>-2.5210084033613401E-2</c:v>
                </c:pt>
                <c:pt idx="8017">
                  <c:v>-2.5210084033613401E-2</c:v>
                </c:pt>
                <c:pt idx="8018">
                  <c:v>-2.5210084033613401E-2</c:v>
                </c:pt>
                <c:pt idx="8019">
                  <c:v>-2.5210084033613401E-2</c:v>
                </c:pt>
                <c:pt idx="8020">
                  <c:v>-2.5210084033613401E-2</c:v>
                </c:pt>
                <c:pt idx="8021">
                  <c:v>-2.5210084033613401E-2</c:v>
                </c:pt>
                <c:pt idx="8022">
                  <c:v>-2.5210084033613401E-2</c:v>
                </c:pt>
                <c:pt idx="8023">
                  <c:v>-2.5210084033613401E-2</c:v>
                </c:pt>
                <c:pt idx="8024">
                  <c:v>-2.5210084033613401E-2</c:v>
                </c:pt>
                <c:pt idx="8025">
                  <c:v>-2.5210084033613401E-2</c:v>
                </c:pt>
                <c:pt idx="8026">
                  <c:v>-2.5210084033613401E-2</c:v>
                </c:pt>
                <c:pt idx="8027">
                  <c:v>-2.60504201680672E-2</c:v>
                </c:pt>
                <c:pt idx="8028">
                  <c:v>-2.60504201680672E-2</c:v>
                </c:pt>
                <c:pt idx="8029">
                  <c:v>-2.5210084033613401E-2</c:v>
                </c:pt>
                <c:pt idx="8030">
                  <c:v>-2.5210084033613401E-2</c:v>
                </c:pt>
                <c:pt idx="8031">
                  <c:v>-2.5210084033613401E-2</c:v>
                </c:pt>
                <c:pt idx="8032">
                  <c:v>-2.5210084033613401E-2</c:v>
                </c:pt>
                <c:pt idx="8033">
                  <c:v>-2.5210084033613401E-2</c:v>
                </c:pt>
                <c:pt idx="8034">
                  <c:v>-2.4369747899159602E-2</c:v>
                </c:pt>
                <c:pt idx="8035">
                  <c:v>-2.4369747899159602E-2</c:v>
                </c:pt>
                <c:pt idx="8036">
                  <c:v>-2.4369747899159602E-2</c:v>
                </c:pt>
                <c:pt idx="8037">
                  <c:v>-2.4369747899159602E-2</c:v>
                </c:pt>
                <c:pt idx="8038">
                  <c:v>-2.4369747899159602E-2</c:v>
                </c:pt>
                <c:pt idx="8039">
                  <c:v>-2.4369747899159602E-2</c:v>
                </c:pt>
                <c:pt idx="8040">
                  <c:v>-2.4369747899159602E-2</c:v>
                </c:pt>
                <c:pt idx="8041">
                  <c:v>-2.4369747899159602E-2</c:v>
                </c:pt>
                <c:pt idx="8042">
                  <c:v>-2.4369747899159602E-2</c:v>
                </c:pt>
                <c:pt idx="8043">
                  <c:v>-2.4369747899159602E-2</c:v>
                </c:pt>
                <c:pt idx="8044">
                  <c:v>-2.4369747899159602E-2</c:v>
                </c:pt>
                <c:pt idx="8045">
                  <c:v>-2.4369747899159602E-2</c:v>
                </c:pt>
                <c:pt idx="8046">
                  <c:v>-2.5210084033613401E-2</c:v>
                </c:pt>
                <c:pt idx="8047">
                  <c:v>-2.5210084033613401E-2</c:v>
                </c:pt>
                <c:pt idx="8048">
                  <c:v>-2.5210084033613401E-2</c:v>
                </c:pt>
                <c:pt idx="8049">
                  <c:v>-2.4369747899159602E-2</c:v>
                </c:pt>
                <c:pt idx="8050">
                  <c:v>-2.4369747899159602E-2</c:v>
                </c:pt>
                <c:pt idx="8051">
                  <c:v>-2.4369747899159602E-2</c:v>
                </c:pt>
                <c:pt idx="8052">
                  <c:v>-2.4369747899159602E-2</c:v>
                </c:pt>
                <c:pt idx="8053">
                  <c:v>-2.4369747899159602E-2</c:v>
                </c:pt>
                <c:pt idx="8054">
                  <c:v>-2.4369747899159602E-2</c:v>
                </c:pt>
                <c:pt idx="8055">
                  <c:v>-2.4369747899159602E-2</c:v>
                </c:pt>
                <c:pt idx="8056">
                  <c:v>-2.4369747899159602E-2</c:v>
                </c:pt>
                <c:pt idx="8057">
                  <c:v>-2.4369747899159602E-2</c:v>
                </c:pt>
                <c:pt idx="8058">
                  <c:v>-2.4369747899159602E-2</c:v>
                </c:pt>
                <c:pt idx="8059">
                  <c:v>-2.4369747899159602E-2</c:v>
                </c:pt>
                <c:pt idx="8060">
                  <c:v>-2.4369747899159602E-2</c:v>
                </c:pt>
                <c:pt idx="8061">
                  <c:v>-2.4369747899159602E-2</c:v>
                </c:pt>
                <c:pt idx="8062">
                  <c:v>-2.4369747899159602E-2</c:v>
                </c:pt>
                <c:pt idx="8063">
                  <c:v>-2.4369747899159602E-2</c:v>
                </c:pt>
                <c:pt idx="8064">
                  <c:v>-2.4369747899159602E-2</c:v>
                </c:pt>
                <c:pt idx="8065">
                  <c:v>-2.4369747899159602E-2</c:v>
                </c:pt>
                <c:pt idx="8066">
                  <c:v>-2.4369747899159602E-2</c:v>
                </c:pt>
                <c:pt idx="8067">
                  <c:v>-2.4369747899159602E-2</c:v>
                </c:pt>
                <c:pt idx="8068">
                  <c:v>-2.4369747899159602E-2</c:v>
                </c:pt>
                <c:pt idx="8069">
                  <c:v>-2.4369747899159602E-2</c:v>
                </c:pt>
                <c:pt idx="8070">
                  <c:v>-2.5210084033613401E-2</c:v>
                </c:pt>
                <c:pt idx="8071">
                  <c:v>-2.5210084033613401E-2</c:v>
                </c:pt>
                <c:pt idx="8072">
                  <c:v>-2.5210084033613401E-2</c:v>
                </c:pt>
                <c:pt idx="8073">
                  <c:v>-2.5210084033613401E-2</c:v>
                </c:pt>
                <c:pt idx="8074">
                  <c:v>-2.5210084033613401E-2</c:v>
                </c:pt>
                <c:pt idx="8075">
                  <c:v>-2.5210084033613401E-2</c:v>
                </c:pt>
                <c:pt idx="8076">
                  <c:v>-2.5210084033613401E-2</c:v>
                </c:pt>
                <c:pt idx="8077">
                  <c:v>-2.5210084033613401E-2</c:v>
                </c:pt>
                <c:pt idx="8078">
                  <c:v>-2.5210084033613401E-2</c:v>
                </c:pt>
                <c:pt idx="8079">
                  <c:v>-2.5210084033613401E-2</c:v>
                </c:pt>
                <c:pt idx="8080">
                  <c:v>-2.5210084033613401E-2</c:v>
                </c:pt>
                <c:pt idx="8081">
                  <c:v>-2.5210084033613401E-2</c:v>
                </c:pt>
                <c:pt idx="8082">
                  <c:v>-2.5210084033613401E-2</c:v>
                </c:pt>
                <c:pt idx="8083">
                  <c:v>-2.5210084033613401E-2</c:v>
                </c:pt>
                <c:pt idx="8084">
                  <c:v>-2.5210084033613401E-2</c:v>
                </c:pt>
                <c:pt idx="8085">
                  <c:v>-2.5210084033613401E-2</c:v>
                </c:pt>
                <c:pt idx="8086">
                  <c:v>-2.5210084033613401E-2</c:v>
                </c:pt>
                <c:pt idx="8087">
                  <c:v>-2.5210084033613401E-2</c:v>
                </c:pt>
                <c:pt idx="8088">
                  <c:v>-2.5210084033613401E-2</c:v>
                </c:pt>
                <c:pt idx="8089">
                  <c:v>-2.5210084033613401E-2</c:v>
                </c:pt>
                <c:pt idx="8090">
                  <c:v>-2.5210084033613401E-2</c:v>
                </c:pt>
                <c:pt idx="8091">
                  <c:v>-2.5210084033613401E-2</c:v>
                </c:pt>
                <c:pt idx="8092">
                  <c:v>-2.5210084033613401E-2</c:v>
                </c:pt>
                <c:pt idx="8093">
                  <c:v>-2.5210084033613401E-2</c:v>
                </c:pt>
                <c:pt idx="8094">
                  <c:v>-2.5210084033613401E-2</c:v>
                </c:pt>
                <c:pt idx="8095">
                  <c:v>-2.5210084033613401E-2</c:v>
                </c:pt>
                <c:pt idx="8096">
                  <c:v>-2.5210084033613401E-2</c:v>
                </c:pt>
                <c:pt idx="8097">
                  <c:v>-2.5210084033613401E-2</c:v>
                </c:pt>
                <c:pt idx="8098">
                  <c:v>-2.5210084033613401E-2</c:v>
                </c:pt>
                <c:pt idx="8099">
                  <c:v>-2.5210084033613401E-2</c:v>
                </c:pt>
                <c:pt idx="8100">
                  <c:v>-2.5210084033613401E-2</c:v>
                </c:pt>
                <c:pt idx="8101">
                  <c:v>-2.5210084033613401E-2</c:v>
                </c:pt>
                <c:pt idx="8102">
                  <c:v>-2.5210084033613401E-2</c:v>
                </c:pt>
                <c:pt idx="8103">
                  <c:v>-2.5210084033613401E-2</c:v>
                </c:pt>
                <c:pt idx="8104">
                  <c:v>-2.5210084033613401E-2</c:v>
                </c:pt>
                <c:pt idx="8105">
                  <c:v>-2.5210084033613401E-2</c:v>
                </c:pt>
                <c:pt idx="8106">
                  <c:v>-2.5210084033613401E-2</c:v>
                </c:pt>
                <c:pt idx="8107">
                  <c:v>-2.5210084033613401E-2</c:v>
                </c:pt>
                <c:pt idx="8108">
                  <c:v>-2.5210084033613401E-2</c:v>
                </c:pt>
                <c:pt idx="8109">
                  <c:v>-2.5210084033613401E-2</c:v>
                </c:pt>
                <c:pt idx="8110">
                  <c:v>-2.5210084033613401E-2</c:v>
                </c:pt>
                <c:pt idx="8111">
                  <c:v>-2.5210084033613401E-2</c:v>
                </c:pt>
                <c:pt idx="8112">
                  <c:v>-2.5210084033613401E-2</c:v>
                </c:pt>
                <c:pt idx="8113">
                  <c:v>-2.5210084033613401E-2</c:v>
                </c:pt>
                <c:pt idx="8114">
                  <c:v>-2.5210084033613401E-2</c:v>
                </c:pt>
                <c:pt idx="8115">
                  <c:v>-2.5210084033613401E-2</c:v>
                </c:pt>
                <c:pt idx="8116">
                  <c:v>-2.5210084033613401E-2</c:v>
                </c:pt>
                <c:pt idx="8117">
                  <c:v>-2.5210084033613401E-2</c:v>
                </c:pt>
                <c:pt idx="8118">
                  <c:v>-2.5210084033613401E-2</c:v>
                </c:pt>
                <c:pt idx="8119">
                  <c:v>-2.5210084033613401E-2</c:v>
                </c:pt>
                <c:pt idx="8120">
                  <c:v>-2.5210084033613401E-2</c:v>
                </c:pt>
                <c:pt idx="8121">
                  <c:v>-2.5210084033613401E-2</c:v>
                </c:pt>
                <c:pt idx="8122">
                  <c:v>-2.5210084033613401E-2</c:v>
                </c:pt>
                <c:pt idx="8123">
                  <c:v>-2.5210084033613401E-2</c:v>
                </c:pt>
                <c:pt idx="8124">
                  <c:v>-2.5210084033613401E-2</c:v>
                </c:pt>
                <c:pt idx="8125">
                  <c:v>-2.5210084033613401E-2</c:v>
                </c:pt>
                <c:pt idx="8126">
                  <c:v>-2.5210084033613401E-2</c:v>
                </c:pt>
                <c:pt idx="8127">
                  <c:v>-2.5210084033613401E-2</c:v>
                </c:pt>
                <c:pt idx="8128">
                  <c:v>-2.5210084033613401E-2</c:v>
                </c:pt>
                <c:pt idx="8129">
                  <c:v>-2.5210084033613401E-2</c:v>
                </c:pt>
                <c:pt idx="8130">
                  <c:v>-2.5210084033613401E-2</c:v>
                </c:pt>
                <c:pt idx="8131">
                  <c:v>-2.4369747899159602E-2</c:v>
                </c:pt>
                <c:pt idx="8132">
                  <c:v>-2.4369747899159602E-2</c:v>
                </c:pt>
                <c:pt idx="8133">
                  <c:v>-2.5210084033613401E-2</c:v>
                </c:pt>
                <c:pt idx="8134">
                  <c:v>-2.5210084033613401E-2</c:v>
                </c:pt>
                <c:pt idx="8135">
                  <c:v>-2.5210084033613401E-2</c:v>
                </c:pt>
                <c:pt idx="8136">
                  <c:v>-2.5210084033613401E-2</c:v>
                </c:pt>
                <c:pt idx="8137">
                  <c:v>-2.5210084033613401E-2</c:v>
                </c:pt>
                <c:pt idx="8138">
                  <c:v>-2.5210084033613401E-2</c:v>
                </c:pt>
                <c:pt idx="8139">
                  <c:v>-2.5210084033613401E-2</c:v>
                </c:pt>
                <c:pt idx="8140">
                  <c:v>-2.5210084033613401E-2</c:v>
                </c:pt>
                <c:pt idx="8141">
                  <c:v>-2.5210084033613401E-2</c:v>
                </c:pt>
                <c:pt idx="8142">
                  <c:v>-2.5210084033613401E-2</c:v>
                </c:pt>
                <c:pt idx="8143">
                  <c:v>-2.5210084033613401E-2</c:v>
                </c:pt>
                <c:pt idx="8144">
                  <c:v>-2.5210084033613401E-2</c:v>
                </c:pt>
                <c:pt idx="8145">
                  <c:v>-2.5210084033613401E-2</c:v>
                </c:pt>
                <c:pt idx="8146">
                  <c:v>-2.5210084033613401E-2</c:v>
                </c:pt>
                <c:pt idx="8147">
                  <c:v>-2.5210084033613401E-2</c:v>
                </c:pt>
                <c:pt idx="8148">
                  <c:v>-2.5210084033613401E-2</c:v>
                </c:pt>
                <c:pt idx="8149">
                  <c:v>-2.5210084033613401E-2</c:v>
                </c:pt>
                <c:pt idx="8150">
                  <c:v>-2.5210084033613401E-2</c:v>
                </c:pt>
                <c:pt idx="8151">
                  <c:v>-2.5210084033613401E-2</c:v>
                </c:pt>
                <c:pt idx="8152">
                  <c:v>-2.5210084033613401E-2</c:v>
                </c:pt>
                <c:pt idx="8153">
                  <c:v>-2.5210084033613401E-2</c:v>
                </c:pt>
                <c:pt idx="8154">
                  <c:v>-2.5210084033613401E-2</c:v>
                </c:pt>
                <c:pt idx="8155">
                  <c:v>-2.4369747899159602E-2</c:v>
                </c:pt>
                <c:pt idx="8156">
                  <c:v>-2.4369747899159602E-2</c:v>
                </c:pt>
                <c:pt idx="8157">
                  <c:v>-2.4369747899159602E-2</c:v>
                </c:pt>
                <c:pt idx="8158">
                  <c:v>-2.4369747899159602E-2</c:v>
                </c:pt>
                <c:pt idx="8159">
                  <c:v>-2.4369747899159602E-2</c:v>
                </c:pt>
                <c:pt idx="8160">
                  <c:v>-2.4369747899159602E-2</c:v>
                </c:pt>
                <c:pt idx="8161">
                  <c:v>-2.4369747899159602E-2</c:v>
                </c:pt>
                <c:pt idx="8162">
                  <c:v>-2.4369747899159602E-2</c:v>
                </c:pt>
                <c:pt idx="8163">
                  <c:v>-2.4369747899159602E-2</c:v>
                </c:pt>
                <c:pt idx="8164">
                  <c:v>-2.4369747899159602E-2</c:v>
                </c:pt>
                <c:pt idx="8165">
                  <c:v>-2.4369747899159602E-2</c:v>
                </c:pt>
                <c:pt idx="8166">
                  <c:v>-2.4369747899159602E-2</c:v>
                </c:pt>
                <c:pt idx="8167">
                  <c:v>-2.4369747899159602E-2</c:v>
                </c:pt>
                <c:pt idx="8168">
                  <c:v>-2.4369747899159602E-2</c:v>
                </c:pt>
                <c:pt idx="8169">
                  <c:v>-2.4369747899159602E-2</c:v>
                </c:pt>
                <c:pt idx="8170">
                  <c:v>-2.4369747899159602E-2</c:v>
                </c:pt>
                <c:pt idx="8171">
                  <c:v>-2.4369747899159602E-2</c:v>
                </c:pt>
                <c:pt idx="8172">
                  <c:v>-2.4369747899159602E-2</c:v>
                </c:pt>
                <c:pt idx="8173">
                  <c:v>-2.4369747899159602E-2</c:v>
                </c:pt>
                <c:pt idx="8174">
                  <c:v>-2.4369747899159602E-2</c:v>
                </c:pt>
                <c:pt idx="8175">
                  <c:v>-2.4369747899159602E-2</c:v>
                </c:pt>
                <c:pt idx="8176">
                  <c:v>-2.4369747899159602E-2</c:v>
                </c:pt>
                <c:pt idx="8177">
                  <c:v>-2.4369747899159602E-2</c:v>
                </c:pt>
                <c:pt idx="8178">
                  <c:v>-2.4369747899159602E-2</c:v>
                </c:pt>
                <c:pt idx="8179">
                  <c:v>-2.4369747899159602E-2</c:v>
                </c:pt>
                <c:pt idx="8180">
                  <c:v>-2.4369747899159602E-2</c:v>
                </c:pt>
                <c:pt idx="8181">
                  <c:v>-2.4369747899159602E-2</c:v>
                </c:pt>
                <c:pt idx="8182">
                  <c:v>-2.4369747899159602E-2</c:v>
                </c:pt>
                <c:pt idx="8183">
                  <c:v>-2.4369747899159602E-2</c:v>
                </c:pt>
                <c:pt idx="8184">
                  <c:v>-2.3529411764705799E-2</c:v>
                </c:pt>
                <c:pt idx="8185">
                  <c:v>-2.3529411764705799E-2</c:v>
                </c:pt>
                <c:pt idx="8186">
                  <c:v>-2.3529411764705799E-2</c:v>
                </c:pt>
                <c:pt idx="8187">
                  <c:v>-2.3529411764705799E-2</c:v>
                </c:pt>
                <c:pt idx="8188">
                  <c:v>-2.3529411764705799E-2</c:v>
                </c:pt>
                <c:pt idx="8189">
                  <c:v>-2.3529411764705799E-2</c:v>
                </c:pt>
                <c:pt idx="8190">
                  <c:v>-2.3529411764705799E-2</c:v>
                </c:pt>
                <c:pt idx="8191">
                  <c:v>-2.3529411764705799E-2</c:v>
                </c:pt>
                <c:pt idx="8192">
                  <c:v>-2.3529411764705799E-2</c:v>
                </c:pt>
                <c:pt idx="8193">
                  <c:v>-2.3529411764705799E-2</c:v>
                </c:pt>
                <c:pt idx="8194">
                  <c:v>-2.3529411764705799E-2</c:v>
                </c:pt>
                <c:pt idx="8195">
                  <c:v>-2.3529411764705799E-2</c:v>
                </c:pt>
                <c:pt idx="8196">
                  <c:v>-2.3529411764705799E-2</c:v>
                </c:pt>
                <c:pt idx="8197">
                  <c:v>-2.3529411764705799E-2</c:v>
                </c:pt>
                <c:pt idx="8198">
                  <c:v>-2.3529411764705799E-2</c:v>
                </c:pt>
                <c:pt idx="8199">
                  <c:v>-2.3529411764705799E-2</c:v>
                </c:pt>
                <c:pt idx="8200">
                  <c:v>-2.3529411764705799E-2</c:v>
                </c:pt>
                <c:pt idx="8201">
                  <c:v>-2.3529411764705799E-2</c:v>
                </c:pt>
                <c:pt idx="8202">
                  <c:v>-2.4369747899159602E-2</c:v>
                </c:pt>
                <c:pt idx="8203">
                  <c:v>-2.4369747899159602E-2</c:v>
                </c:pt>
                <c:pt idx="8204">
                  <c:v>-2.4369747899159602E-2</c:v>
                </c:pt>
                <c:pt idx="8205">
                  <c:v>-2.4369747899159602E-2</c:v>
                </c:pt>
                <c:pt idx="8206">
                  <c:v>-2.4369747899159602E-2</c:v>
                </c:pt>
                <c:pt idx="8207">
                  <c:v>-2.4369747899159602E-2</c:v>
                </c:pt>
                <c:pt idx="8208">
                  <c:v>-2.4369747899159602E-2</c:v>
                </c:pt>
                <c:pt idx="8209">
                  <c:v>-2.4369747899159602E-2</c:v>
                </c:pt>
                <c:pt idx="8210">
                  <c:v>-2.4369747899159602E-2</c:v>
                </c:pt>
                <c:pt idx="8211">
                  <c:v>-2.4369747899159602E-2</c:v>
                </c:pt>
                <c:pt idx="8212">
                  <c:v>-2.4369747899159602E-2</c:v>
                </c:pt>
                <c:pt idx="8213">
                  <c:v>-2.4369747899159602E-2</c:v>
                </c:pt>
                <c:pt idx="8214">
                  <c:v>-2.4369747899159602E-2</c:v>
                </c:pt>
                <c:pt idx="8215">
                  <c:v>-2.4369747899159602E-2</c:v>
                </c:pt>
                <c:pt idx="8216">
                  <c:v>-2.4369747899159602E-2</c:v>
                </c:pt>
                <c:pt idx="8217">
                  <c:v>-2.4369747899159602E-2</c:v>
                </c:pt>
                <c:pt idx="8218">
                  <c:v>-2.4369747899159602E-2</c:v>
                </c:pt>
                <c:pt idx="8219">
                  <c:v>-2.4369747899159602E-2</c:v>
                </c:pt>
                <c:pt idx="8220">
                  <c:v>-2.4369747899159602E-2</c:v>
                </c:pt>
                <c:pt idx="8221">
                  <c:v>-2.4369747899159602E-2</c:v>
                </c:pt>
                <c:pt idx="8222">
                  <c:v>-2.4369747899159602E-2</c:v>
                </c:pt>
                <c:pt idx="8223">
                  <c:v>-2.4369747899159602E-2</c:v>
                </c:pt>
                <c:pt idx="8224">
                  <c:v>-2.4369747899159602E-2</c:v>
                </c:pt>
                <c:pt idx="8225">
                  <c:v>-2.4369747899159602E-2</c:v>
                </c:pt>
                <c:pt idx="8226">
                  <c:v>-2.4369747899159602E-2</c:v>
                </c:pt>
                <c:pt idx="8227">
                  <c:v>-2.4369747899159602E-2</c:v>
                </c:pt>
                <c:pt idx="8228">
                  <c:v>-2.4369747899159602E-2</c:v>
                </c:pt>
                <c:pt idx="8229">
                  <c:v>-2.4369747899159602E-2</c:v>
                </c:pt>
                <c:pt idx="8230">
                  <c:v>-2.4369747899159602E-2</c:v>
                </c:pt>
                <c:pt idx="8231">
                  <c:v>-2.4369747899159602E-2</c:v>
                </c:pt>
                <c:pt idx="8232">
                  <c:v>-2.5210084033613401E-2</c:v>
                </c:pt>
                <c:pt idx="8233">
                  <c:v>-2.5210084033613401E-2</c:v>
                </c:pt>
                <c:pt idx="8234">
                  <c:v>-2.5210084033613401E-2</c:v>
                </c:pt>
                <c:pt idx="8235">
                  <c:v>-2.5210084033613401E-2</c:v>
                </c:pt>
                <c:pt idx="8236">
                  <c:v>-2.5210084033613401E-2</c:v>
                </c:pt>
                <c:pt idx="8237">
                  <c:v>-2.5210084033613401E-2</c:v>
                </c:pt>
                <c:pt idx="8238">
                  <c:v>-2.5210084033613401E-2</c:v>
                </c:pt>
                <c:pt idx="8239">
                  <c:v>-2.5210084033613401E-2</c:v>
                </c:pt>
                <c:pt idx="8240">
                  <c:v>-2.5210084033613401E-2</c:v>
                </c:pt>
                <c:pt idx="8241">
                  <c:v>-2.5210084033613401E-2</c:v>
                </c:pt>
                <c:pt idx="8242">
                  <c:v>-2.5210084033613401E-2</c:v>
                </c:pt>
                <c:pt idx="8243">
                  <c:v>-2.5210084033613401E-2</c:v>
                </c:pt>
                <c:pt idx="8244">
                  <c:v>-2.5210084033613401E-2</c:v>
                </c:pt>
                <c:pt idx="8245">
                  <c:v>-2.5210084033613401E-2</c:v>
                </c:pt>
                <c:pt idx="8246">
                  <c:v>-2.5210084033613401E-2</c:v>
                </c:pt>
                <c:pt idx="8247">
                  <c:v>-2.5210084033613401E-2</c:v>
                </c:pt>
                <c:pt idx="8248">
                  <c:v>-2.5210084033613401E-2</c:v>
                </c:pt>
                <c:pt idx="8249">
                  <c:v>-2.5210084033613401E-2</c:v>
                </c:pt>
                <c:pt idx="8250">
                  <c:v>-2.5210084033613401E-2</c:v>
                </c:pt>
                <c:pt idx="8251">
                  <c:v>-2.4369747899159602E-2</c:v>
                </c:pt>
                <c:pt idx="8252">
                  <c:v>-2.4369747899159602E-2</c:v>
                </c:pt>
                <c:pt idx="8253">
                  <c:v>-2.4369747899159602E-2</c:v>
                </c:pt>
                <c:pt idx="8254">
                  <c:v>-2.4369747899159602E-2</c:v>
                </c:pt>
                <c:pt idx="8255">
                  <c:v>-2.4369747899159602E-2</c:v>
                </c:pt>
                <c:pt idx="8256">
                  <c:v>-2.4369747899159602E-2</c:v>
                </c:pt>
                <c:pt idx="8257">
                  <c:v>-2.4369747899159602E-2</c:v>
                </c:pt>
                <c:pt idx="8258">
                  <c:v>-2.4369747899159602E-2</c:v>
                </c:pt>
                <c:pt idx="8259">
                  <c:v>-2.4369747899159602E-2</c:v>
                </c:pt>
                <c:pt idx="8260">
                  <c:v>-2.4369747899159602E-2</c:v>
                </c:pt>
                <c:pt idx="8261">
                  <c:v>-2.3529411764705799E-2</c:v>
                </c:pt>
                <c:pt idx="8262">
                  <c:v>-2.3529411764705799E-2</c:v>
                </c:pt>
                <c:pt idx="8263">
                  <c:v>-2.3529411764705799E-2</c:v>
                </c:pt>
                <c:pt idx="8264">
                  <c:v>-2.3529411764705799E-2</c:v>
                </c:pt>
                <c:pt idx="8265">
                  <c:v>-2.3529411764705799E-2</c:v>
                </c:pt>
                <c:pt idx="8266">
                  <c:v>-2.3529411764705799E-2</c:v>
                </c:pt>
                <c:pt idx="8267">
                  <c:v>-2.3529411764705799E-2</c:v>
                </c:pt>
                <c:pt idx="8268">
                  <c:v>-2.3529411764705799E-2</c:v>
                </c:pt>
                <c:pt idx="8269">
                  <c:v>-2.3529411764705799E-2</c:v>
                </c:pt>
                <c:pt idx="8270">
                  <c:v>-2.3529411764705799E-2</c:v>
                </c:pt>
                <c:pt idx="8271">
                  <c:v>-2.3529411764705799E-2</c:v>
                </c:pt>
                <c:pt idx="8272">
                  <c:v>-2.3529411764705799E-2</c:v>
                </c:pt>
                <c:pt idx="8273">
                  <c:v>-2.3529411764705799E-2</c:v>
                </c:pt>
                <c:pt idx="8274">
                  <c:v>-2.3529411764705799E-2</c:v>
                </c:pt>
                <c:pt idx="8275">
                  <c:v>-2.3529411764705799E-2</c:v>
                </c:pt>
                <c:pt idx="8276">
                  <c:v>-2.3529411764705799E-2</c:v>
                </c:pt>
                <c:pt idx="8277">
                  <c:v>-2.3529411764705799E-2</c:v>
                </c:pt>
                <c:pt idx="8278">
                  <c:v>-2.3529411764705799E-2</c:v>
                </c:pt>
                <c:pt idx="8279">
                  <c:v>-2.2689075630251999E-2</c:v>
                </c:pt>
                <c:pt idx="8280">
                  <c:v>-2.2689075630251999E-2</c:v>
                </c:pt>
                <c:pt idx="8281">
                  <c:v>-2.2689075630251999E-2</c:v>
                </c:pt>
                <c:pt idx="8282">
                  <c:v>-2.2689075630251999E-2</c:v>
                </c:pt>
                <c:pt idx="8283">
                  <c:v>-2.2689075630251999E-2</c:v>
                </c:pt>
                <c:pt idx="8284">
                  <c:v>-2.2689075630251999E-2</c:v>
                </c:pt>
                <c:pt idx="8285">
                  <c:v>-2.2689075630251999E-2</c:v>
                </c:pt>
                <c:pt idx="8286">
                  <c:v>-2.2689075630251999E-2</c:v>
                </c:pt>
                <c:pt idx="8287">
                  <c:v>-2.2689075630251999E-2</c:v>
                </c:pt>
                <c:pt idx="8288">
                  <c:v>-2.2689075630251999E-2</c:v>
                </c:pt>
                <c:pt idx="8289">
                  <c:v>-2.2689075630251999E-2</c:v>
                </c:pt>
                <c:pt idx="8290">
                  <c:v>-2.2689075630251999E-2</c:v>
                </c:pt>
                <c:pt idx="8291">
                  <c:v>-2.3529411764705799E-2</c:v>
                </c:pt>
                <c:pt idx="8292">
                  <c:v>-2.3529411764705799E-2</c:v>
                </c:pt>
                <c:pt idx="8293">
                  <c:v>-2.3529411764705799E-2</c:v>
                </c:pt>
                <c:pt idx="8294">
                  <c:v>-2.3529411764705799E-2</c:v>
                </c:pt>
                <c:pt idx="8295">
                  <c:v>-2.3529411764705799E-2</c:v>
                </c:pt>
                <c:pt idx="8296">
                  <c:v>-2.3529411764705799E-2</c:v>
                </c:pt>
                <c:pt idx="8297">
                  <c:v>-2.2689075630251999E-2</c:v>
                </c:pt>
                <c:pt idx="8298">
                  <c:v>-2.2689075630251999E-2</c:v>
                </c:pt>
                <c:pt idx="8299">
                  <c:v>-2.3529411764705799E-2</c:v>
                </c:pt>
                <c:pt idx="8300">
                  <c:v>-2.3529411764705799E-2</c:v>
                </c:pt>
                <c:pt idx="8301">
                  <c:v>-2.3529411764705799E-2</c:v>
                </c:pt>
                <c:pt idx="8302">
                  <c:v>-2.3529411764705799E-2</c:v>
                </c:pt>
                <c:pt idx="8303">
                  <c:v>-2.3529411764705799E-2</c:v>
                </c:pt>
                <c:pt idx="8304">
                  <c:v>-2.3529411764705799E-2</c:v>
                </c:pt>
                <c:pt idx="8305">
                  <c:v>-2.3529411764705799E-2</c:v>
                </c:pt>
                <c:pt idx="8306">
                  <c:v>-2.3529411764705799E-2</c:v>
                </c:pt>
                <c:pt idx="8307">
                  <c:v>-2.3529411764705799E-2</c:v>
                </c:pt>
                <c:pt idx="8308">
                  <c:v>-2.3529411764705799E-2</c:v>
                </c:pt>
                <c:pt idx="8309">
                  <c:v>-2.3529411764705799E-2</c:v>
                </c:pt>
                <c:pt idx="8310">
                  <c:v>-2.3529411764705799E-2</c:v>
                </c:pt>
                <c:pt idx="8311">
                  <c:v>-2.3529411764705799E-2</c:v>
                </c:pt>
                <c:pt idx="8312">
                  <c:v>-2.3529411764705799E-2</c:v>
                </c:pt>
                <c:pt idx="8313">
                  <c:v>-2.3529411764705799E-2</c:v>
                </c:pt>
                <c:pt idx="8314">
                  <c:v>-2.3529411764705799E-2</c:v>
                </c:pt>
                <c:pt idx="8315">
                  <c:v>-2.3529411764705799E-2</c:v>
                </c:pt>
                <c:pt idx="8316">
                  <c:v>-2.3529411764705799E-2</c:v>
                </c:pt>
                <c:pt idx="8317">
                  <c:v>-2.3529411764705799E-2</c:v>
                </c:pt>
                <c:pt idx="8318">
                  <c:v>-2.3529411764705799E-2</c:v>
                </c:pt>
                <c:pt idx="8319">
                  <c:v>-2.3529411764705799E-2</c:v>
                </c:pt>
                <c:pt idx="8320">
                  <c:v>-2.3529411764705799E-2</c:v>
                </c:pt>
                <c:pt idx="8321">
                  <c:v>-2.3529411764705799E-2</c:v>
                </c:pt>
                <c:pt idx="8322">
                  <c:v>-2.4369747899159602E-2</c:v>
                </c:pt>
                <c:pt idx="8323">
                  <c:v>-2.4369747899159602E-2</c:v>
                </c:pt>
                <c:pt idx="8324">
                  <c:v>-2.4369747899159602E-2</c:v>
                </c:pt>
                <c:pt idx="8325">
                  <c:v>-2.4369747899159602E-2</c:v>
                </c:pt>
                <c:pt idx="8326">
                  <c:v>-2.4369747899159602E-2</c:v>
                </c:pt>
                <c:pt idx="8327">
                  <c:v>-2.4369747899159602E-2</c:v>
                </c:pt>
                <c:pt idx="8328">
                  <c:v>-2.4369747899159602E-2</c:v>
                </c:pt>
                <c:pt idx="8329">
                  <c:v>-2.4369747899159602E-2</c:v>
                </c:pt>
                <c:pt idx="8330">
                  <c:v>-2.4369747899159602E-2</c:v>
                </c:pt>
                <c:pt idx="8331">
                  <c:v>-2.4369747899159602E-2</c:v>
                </c:pt>
                <c:pt idx="8332">
                  <c:v>-2.4369747899159602E-2</c:v>
                </c:pt>
                <c:pt idx="8333">
                  <c:v>-2.4369747899159602E-2</c:v>
                </c:pt>
                <c:pt idx="8334">
                  <c:v>-2.4369747899159602E-2</c:v>
                </c:pt>
                <c:pt idx="8335">
                  <c:v>-2.4369747899159602E-2</c:v>
                </c:pt>
                <c:pt idx="8336">
                  <c:v>-2.5210084033613401E-2</c:v>
                </c:pt>
                <c:pt idx="8337">
                  <c:v>-2.5210084033613401E-2</c:v>
                </c:pt>
                <c:pt idx="8338">
                  <c:v>-2.5210084033613401E-2</c:v>
                </c:pt>
                <c:pt idx="8339">
                  <c:v>-2.5210084033613401E-2</c:v>
                </c:pt>
                <c:pt idx="8340">
                  <c:v>-2.5210084033613401E-2</c:v>
                </c:pt>
                <c:pt idx="8341">
                  <c:v>-2.5210084033613401E-2</c:v>
                </c:pt>
                <c:pt idx="8342">
                  <c:v>-2.5210084033613401E-2</c:v>
                </c:pt>
                <c:pt idx="8343">
                  <c:v>-2.5210084033613401E-2</c:v>
                </c:pt>
                <c:pt idx="8344">
                  <c:v>-2.5210084033613401E-2</c:v>
                </c:pt>
                <c:pt idx="8345">
                  <c:v>-2.5210084033613401E-2</c:v>
                </c:pt>
                <c:pt idx="8346">
                  <c:v>-2.5210084033613401E-2</c:v>
                </c:pt>
                <c:pt idx="8347">
                  <c:v>-2.5210084033613401E-2</c:v>
                </c:pt>
                <c:pt idx="8348">
                  <c:v>-2.5210084033613401E-2</c:v>
                </c:pt>
                <c:pt idx="8349">
                  <c:v>-2.5210084033613401E-2</c:v>
                </c:pt>
                <c:pt idx="8350">
                  <c:v>-2.5210084033613401E-2</c:v>
                </c:pt>
                <c:pt idx="8351">
                  <c:v>-2.5210084033613401E-2</c:v>
                </c:pt>
                <c:pt idx="8352">
                  <c:v>-2.5210084033613401E-2</c:v>
                </c:pt>
                <c:pt idx="8353">
                  <c:v>-2.5210084033613401E-2</c:v>
                </c:pt>
                <c:pt idx="8354">
                  <c:v>-2.5210084033613401E-2</c:v>
                </c:pt>
                <c:pt idx="8355">
                  <c:v>-2.5210084033613401E-2</c:v>
                </c:pt>
                <c:pt idx="8356">
                  <c:v>-2.5210084033613401E-2</c:v>
                </c:pt>
                <c:pt idx="8357">
                  <c:v>-2.5210084033613401E-2</c:v>
                </c:pt>
                <c:pt idx="8358">
                  <c:v>-2.5210084033613401E-2</c:v>
                </c:pt>
                <c:pt idx="8359">
                  <c:v>-2.5210084033613401E-2</c:v>
                </c:pt>
                <c:pt idx="8360">
                  <c:v>-2.5210084033613401E-2</c:v>
                </c:pt>
                <c:pt idx="8361">
                  <c:v>-2.5210084033613401E-2</c:v>
                </c:pt>
                <c:pt idx="8362">
                  <c:v>-2.5210084033613401E-2</c:v>
                </c:pt>
                <c:pt idx="8363">
                  <c:v>-2.4369747899159602E-2</c:v>
                </c:pt>
                <c:pt idx="8364">
                  <c:v>-2.3529411764705799E-2</c:v>
                </c:pt>
                <c:pt idx="8365">
                  <c:v>-2.4369747899159602E-2</c:v>
                </c:pt>
                <c:pt idx="8366">
                  <c:v>-2.4369747899159602E-2</c:v>
                </c:pt>
                <c:pt idx="8367">
                  <c:v>-2.4369747899159602E-2</c:v>
                </c:pt>
                <c:pt idx="8368">
                  <c:v>-2.4369747899159602E-2</c:v>
                </c:pt>
                <c:pt idx="8369">
                  <c:v>-2.4369747899159602E-2</c:v>
                </c:pt>
                <c:pt idx="8370">
                  <c:v>-2.3529411764705899E-2</c:v>
                </c:pt>
                <c:pt idx="8371">
                  <c:v>-2.3529411764705899E-2</c:v>
                </c:pt>
                <c:pt idx="8372">
                  <c:v>-2.3529411764705899E-2</c:v>
                </c:pt>
                <c:pt idx="8373">
                  <c:v>-2.3529411764705899E-2</c:v>
                </c:pt>
                <c:pt idx="8374">
                  <c:v>-2.3529411764705899E-2</c:v>
                </c:pt>
                <c:pt idx="8375">
                  <c:v>-2.3529411764705899E-2</c:v>
                </c:pt>
                <c:pt idx="8376">
                  <c:v>-2.3529411764705899E-2</c:v>
                </c:pt>
                <c:pt idx="8377">
                  <c:v>-2.3529411764705899E-2</c:v>
                </c:pt>
                <c:pt idx="8378">
                  <c:v>-2.3529411764705899E-2</c:v>
                </c:pt>
                <c:pt idx="8379">
                  <c:v>-2.3529411764705899E-2</c:v>
                </c:pt>
                <c:pt idx="8380">
                  <c:v>-2.3529411764705899E-2</c:v>
                </c:pt>
                <c:pt idx="8381">
                  <c:v>-2.3529411764705899E-2</c:v>
                </c:pt>
                <c:pt idx="8382">
                  <c:v>-2.3529411764705899E-2</c:v>
                </c:pt>
                <c:pt idx="8383">
                  <c:v>-2.3529411764705899E-2</c:v>
                </c:pt>
                <c:pt idx="8384">
                  <c:v>-2.3529411764705899E-2</c:v>
                </c:pt>
                <c:pt idx="8385">
                  <c:v>-2.3529411764705899E-2</c:v>
                </c:pt>
                <c:pt idx="8386">
                  <c:v>-2.3529411764705899E-2</c:v>
                </c:pt>
                <c:pt idx="8387">
                  <c:v>-2.3529411764705899E-2</c:v>
                </c:pt>
                <c:pt idx="8388">
                  <c:v>-2.3529411764705899E-2</c:v>
                </c:pt>
                <c:pt idx="8389">
                  <c:v>-2.3529411764705899E-2</c:v>
                </c:pt>
                <c:pt idx="8390">
                  <c:v>-2.3529411764705899E-2</c:v>
                </c:pt>
                <c:pt idx="8391">
                  <c:v>-2.3529411764705899E-2</c:v>
                </c:pt>
                <c:pt idx="8392">
                  <c:v>-2.3529411764705899E-2</c:v>
                </c:pt>
                <c:pt idx="8393">
                  <c:v>-2.3529411764705899E-2</c:v>
                </c:pt>
                <c:pt idx="8394">
                  <c:v>-2.3529411764705899E-2</c:v>
                </c:pt>
                <c:pt idx="8395">
                  <c:v>-2.3529411764705899E-2</c:v>
                </c:pt>
                <c:pt idx="8396">
                  <c:v>-2.3529411764705899E-2</c:v>
                </c:pt>
                <c:pt idx="8397">
                  <c:v>-2.3529411764705899E-2</c:v>
                </c:pt>
                <c:pt idx="8398">
                  <c:v>-2.3529411764705899E-2</c:v>
                </c:pt>
                <c:pt idx="8399">
                  <c:v>-2.3529411764705899E-2</c:v>
                </c:pt>
                <c:pt idx="8400">
                  <c:v>-2.3529411764705899E-2</c:v>
                </c:pt>
                <c:pt idx="8401">
                  <c:v>-2.26890756302521E-2</c:v>
                </c:pt>
                <c:pt idx="8402">
                  <c:v>-2.26890756302521E-2</c:v>
                </c:pt>
                <c:pt idx="8403">
                  <c:v>-2.26890756302521E-2</c:v>
                </c:pt>
                <c:pt idx="8404">
                  <c:v>-2.26890756302521E-2</c:v>
                </c:pt>
                <c:pt idx="8405">
                  <c:v>-2.26890756302521E-2</c:v>
                </c:pt>
                <c:pt idx="8406">
                  <c:v>-2.26890756302521E-2</c:v>
                </c:pt>
                <c:pt idx="8407">
                  <c:v>-2.26890756302521E-2</c:v>
                </c:pt>
                <c:pt idx="8408">
                  <c:v>-2.26890756302521E-2</c:v>
                </c:pt>
                <c:pt idx="8409">
                  <c:v>-2.26890756302521E-2</c:v>
                </c:pt>
                <c:pt idx="8410">
                  <c:v>-2.26890756302521E-2</c:v>
                </c:pt>
                <c:pt idx="8411">
                  <c:v>-2.26890756302521E-2</c:v>
                </c:pt>
                <c:pt idx="8412">
                  <c:v>-2.26890756302521E-2</c:v>
                </c:pt>
                <c:pt idx="8413">
                  <c:v>-2.26890756302521E-2</c:v>
                </c:pt>
                <c:pt idx="8414">
                  <c:v>-2.26890756302521E-2</c:v>
                </c:pt>
                <c:pt idx="8415">
                  <c:v>-2.26890756302521E-2</c:v>
                </c:pt>
                <c:pt idx="8416">
                  <c:v>-2.26890756302521E-2</c:v>
                </c:pt>
                <c:pt idx="8417">
                  <c:v>-2.26890756302521E-2</c:v>
                </c:pt>
                <c:pt idx="8418">
                  <c:v>-2.26890756302521E-2</c:v>
                </c:pt>
                <c:pt idx="8419">
                  <c:v>-2.26890756302521E-2</c:v>
                </c:pt>
                <c:pt idx="8420">
                  <c:v>-2.3529411764705899E-2</c:v>
                </c:pt>
                <c:pt idx="8421">
                  <c:v>-2.3529411764705899E-2</c:v>
                </c:pt>
                <c:pt idx="8422">
                  <c:v>-2.4369747899159602E-2</c:v>
                </c:pt>
                <c:pt idx="8423">
                  <c:v>-2.4369747899159602E-2</c:v>
                </c:pt>
                <c:pt idx="8424">
                  <c:v>-2.4369747899159602E-2</c:v>
                </c:pt>
                <c:pt idx="8425">
                  <c:v>-2.4369747899159602E-2</c:v>
                </c:pt>
                <c:pt idx="8426">
                  <c:v>-2.4369747899159602E-2</c:v>
                </c:pt>
                <c:pt idx="8427">
                  <c:v>-2.4369747899159602E-2</c:v>
                </c:pt>
                <c:pt idx="8428">
                  <c:v>-2.4369747899159602E-2</c:v>
                </c:pt>
                <c:pt idx="8429">
                  <c:v>-2.4369747899159602E-2</c:v>
                </c:pt>
                <c:pt idx="8430">
                  <c:v>-2.3529411764705899E-2</c:v>
                </c:pt>
                <c:pt idx="8431">
                  <c:v>-2.3529411764705899E-2</c:v>
                </c:pt>
                <c:pt idx="8432">
                  <c:v>-2.3529411764705899E-2</c:v>
                </c:pt>
                <c:pt idx="8433">
                  <c:v>-2.3529411764705899E-2</c:v>
                </c:pt>
                <c:pt idx="8434">
                  <c:v>-2.3529411764705899E-2</c:v>
                </c:pt>
                <c:pt idx="8435">
                  <c:v>-2.3529411764705899E-2</c:v>
                </c:pt>
                <c:pt idx="8436">
                  <c:v>-2.3529411764705899E-2</c:v>
                </c:pt>
                <c:pt idx="8437">
                  <c:v>-2.3529411764705899E-2</c:v>
                </c:pt>
                <c:pt idx="8438">
                  <c:v>-2.3529411764705899E-2</c:v>
                </c:pt>
                <c:pt idx="8439">
                  <c:v>-2.3529411764705899E-2</c:v>
                </c:pt>
                <c:pt idx="8440">
                  <c:v>-2.26890756302521E-2</c:v>
                </c:pt>
                <c:pt idx="8441">
                  <c:v>-2.26890756302521E-2</c:v>
                </c:pt>
                <c:pt idx="8442">
                  <c:v>-2.26890756302521E-2</c:v>
                </c:pt>
                <c:pt idx="8443">
                  <c:v>-2.26890756302521E-2</c:v>
                </c:pt>
                <c:pt idx="8444">
                  <c:v>-2.26890756302521E-2</c:v>
                </c:pt>
                <c:pt idx="8445">
                  <c:v>-2.26890756302521E-2</c:v>
                </c:pt>
                <c:pt idx="8446">
                  <c:v>-2.26890756302521E-2</c:v>
                </c:pt>
                <c:pt idx="8447">
                  <c:v>-2.26890756302521E-2</c:v>
                </c:pt>
                <c:pt idx="8448">
                  <c:v>-2.26890756302521E-2</c:v>
                </c:pt>
                <c:pt idx="8449">
                  <c:v>-2.26890756302521E-2</c:v>
                </c:pt>
                <c:pt idx="8450">
                  <c:v>-2.26890756302521E-2</c:v>
                </c:pt>
                <c:pt idx="8451">
                  <c:v>-2.26890756302521E-2</c:v>
                </c:pt>
                <c:pt idx="8452">
                  <c:v>-2.26890756302521E-2</c:v>
                </c:pt>
                <c:pt idx="8453">
                  <c:v>-2.3529411764705899E-2</c:v>
                </c:pt>
                <c:pt idx="8454">
                  <c:v>-2.3529411764705899E-2</c:v>
                </c:pt>
                <c:pt idx="8455">
                  <c:v>-2.3529411764705899E-2</c:v>
                </c:pt>
                <c:pt idx="8456">
                  <c:v>-2.3529411764705899E-2</c:v>
                </c:pt>
                <c:pt idx="8457">
                  <c:v>-2.3529411764705899E-2</c:v>
                </c:pt>
                <c:pt idx="8458">
                  <c:v>-2.3529411764705899E-2</c:v>
                </c:pt>
                <c:pt idx="8459">
                  <c:v>-2.3529411764705899E-2</c:v>
                </c:pt>
                <c:pt idx="8460">
                  <c:v>-2.3529411764705899E-2</c:v>
                </c:pt>
                <c:pt idx="8461">
                  <c:v>-2.3529411764705899E-2</c:v>
                </c:pt>
                <c:pt idx="8462">
                  <c:v>-2.3529411764705899E-2</c:v>
                </c:pt>
                <c:pt idx="8463">
                  <c:v>-2.3529411764705899E-2</c:v>
                </c:pt>
                <c:pt idx="8464">
                  <c:v>-2.3529411764705899E-2</c:v>
                </c:pt>
                <c:pt idx="8465">
                  <c:v>-2.26890756302521E-2</c:v>
                </c:pt>
                <c:pt idx="8466">
                  <c:v>-2.26890756302521E-2</c:v>
                </c:pt>
                <c:pt idx="8467">
                  <c:v>-2.26890756302521E-2</c:v>
                </c:pt>
                <c:pt idx="8468">
                  <c:v>-2.26890756302521E-2</c:v>
                </c:pt>
                <c:pt idx="8469">
                  <c:v>-2.26890756302521E-2</c:v>
                </c:pt>
                <c:pt idx="8470">
                  <c:v>-2.26890756302521E-2</c:v>
                </c:pt>
                <c:pt idx="8471">
                  <c:v>-2.26890756302521E-2</c:v>
                </c:pt>
                <c:pt idx="8472">
                  <c:v>-2.26890756302521E-2</c:v>
                </c:pt>
                <c:pt idx="8473">
                  <c:v>-2.26890756302521E-2</c:v>
                </c:pt>
                <c:pt idx="8474">
                  <c:v>-2.26890756302521E-2</c:v>
                </c:pt>
                <c:pt idx="8475">
                  <c:v>-2.26890756302521E-2</c:v>
                </c:pt>
                <c:pt idx="8476">
                  <c:v>-2.26890756302521E-2</c:v>
                </c:pt>
                <c:pt idx="8477">
                  <c:v>-2.26890756302521E-2</c:v>
                </c:pt>
                <c:pt idx="8478">
                  <c:v>-2.26890756302521E-2</c:v>
                </c:pt>
                <c:pt idx="8479">
                  <c:v>-2.26890756302521E-2</c:v>
                </c:pt>
                <c:pt idx="8480">
                  <c:v>-2.26890756302521E-2</c:v>
                </c:pt>
                <c:pt idx="8481">
                  <c:v>-2.26890756302521E-2</c:v>
                </c:pt>
                <c:pt idx="8482">
                  <c:v>-2.3529411764705899E-2</c:v>
                </c:pt>
                <c:pt idx="8483">
                  <c:v>-2.3529411764705899E-2</c:v>
                </c:pt>
                <c:pt idx="8484">
                  <c:v>-2.3529411764705899E-2</c:v>
                </c:pt>
                <c:pt idx="8485">
                  <c:v>-2.3529411764705899E-2</c:v>
                </c:pt>
                <c:pt idx="8486">
                  <c:v>-2.3529411764705899E-2</c:v>
                </c:pt>
                <c:pt idx="8487">
                  <c:v>-2.3529411764705899E-2</c:v>
                </c:pt>
                <c:pt idx="8488">
                  <c:v>-2.3529411764705899E-2</c:v>
                </c:pt>
                <c:pt idx="8489">
                  <c:v>-2.3529411764705899E-2</c:v>
                </c:pt>
                <c:pt idx="8490">
                  <c:v>-2.3529411764705899E-2</c:v>
                </c:pt>
                <c:pt idx="8491">
                  <c:v>-2.3529411764705899E-2</c:v>
                </c:pt>
                <c:pt idx="8492">
                  <c:v>-2.26890756302521E-2</c:v>
                </c:pt>
                <c:pt idx="8493">
                  <c:v>-2.26890756302521E-2</c:v>
                </c:pt>
                <c:pt idx="8494">
                  <c:v>-2.26890756302521E-2</c:v>
                </c:pt>
                <c:pt idx="8495">
                  <c:v>-2.26890756302521E-2</c:v>
                </c:pt>
                <c:pt idx="8496">
                  <c:v>-2.26890756302521E-2</c:v>
                </c:pt>
                <c:pt idx="8497">
                  <c:v>-2.26890756302521E-2</c:v>
                </c:pt>
                <c:pt idx="8498">
                  <c:v>-2.26890756302521E-2</c:v>
                </c:pt>
                <c:pt idx="8499">
                  <c:v>-2.26890756302521E-2</c:v>
                </c:pt>
                <c:pt idx="8500">
                  <c:v>-2.26890756302521E-2</c:v>
                </c:pt>
                <c:pt idx="8501">
                  <c:v>-2.26890756302521E-2</c:v>
                </c:pt>
                <c:pt idx="8502">
                  <c:v>-2.26890756302521E-2</c:v>
                </c:pt>
                <c:pt idx="8503">
                  <c:v>-2.26890756302521E-2</c:v>
                </c:pt>
                <c:pt idx="8504">
                  <c:v>-2.26890756302521E-2</c:v>
                </c:pt>
                <c:pt idx="8505">
                  <c:v>-2.26890756302521E-2</c:v>
                </c:pt>
                <c:pt idx="8506">
                  <c:v>-2.26890756302521E-2</c:v>
                </c:pt>
                <c:pt idx="8507">
                  <c:v>-2.26890756302521E-2</c:v>
                </c:pt>
                <c:pt idx="8508">
                  <c:v>-2.26890756302521E-2</c:v>
                </c:pt>
                <c:pt idx="8509">
                  <c:v>-2.26890756302521E-2</c:v>
                </c:pt>
                <c:pt idx="8510">
                  <c:v>-2.26890756302521E-2</c:v>
                </c:pt>
                <c:pt idx="8511">
                  <c:v>-2.26890756302521E-2</c:v>
                </c:pt>
                <c:pt idx="8512">
                  <c:v>-2.26890756302521E-2</c:v>
                </c:pt>
                <c:pt idx="8513">
                  <c:v>-2.26890756302521E-2</c:v>
                </c:pt>
                <c:pt idx="8514">
                  <c:v>-2.26890756302521E-2</c:v>
                </c:pt>
                <c:pt idx="8515">
                  <c:v>-2.26890756302521E-2</c:v>
                </c:pt>
                <c:pt idx="8516">
                  <c:v>-2.26890756302521E-2</c:v>
                </c:pt>
                <c:pt idx="8517">
                  <c:v>-2.26890756302521E-2</c:v>
                </c:pt>
                <c:pt idx="8518">
                  <c:v>-2.26890756302521E-2</c:v>
                </c:pt>
                <c:pt idx="8519">
                  <c:v>-2.26890756302521E-2</c:v>
                </c:pt>
                <c:pt idx="8520">
                  <c:v>-2.26890756302521E-2</c:v>
                </c:pt>
                <c:pt idx="8521">
                  <c:v>-2.26890756302521E-2</c:v>
                </c:pt>
                <c:pt idx="8522">
                  <c:v>-2.26890756302521E-2</c:v>
                </c:pt>
                <c:pt idx="8523">
                  <c:v>-2.26890756302521E-2</c:v>
                </c:pt>
                <c:pt idx="8524">
                  <c:v>-2.26890756302521E-2</c:v>
                </c:pt>
                <c:pt idx="8525">
                  <c:v>-2.26890756302521E-2</c:v>
                </c:pt>
                <c:pt idx="8526">
                  <c:v>-2.26890756302521E-2</c:v>
                </c:pt>
                <c:pt idx="8527">
                  <c:v>-2.26890756302521E-2</c:v>
                </c:pt>
                <c:pt idx="8528">
                  <c:v>-2.26890756302521E-2</c:v>
                </c:pt>
                <c:pt idx="8529">
                  <c:v>-2.26890756302521E-2</c:v>
                </c:pt>
                <c:pt idx="8530">
                  <c:v>-2.26890756302521E-2</c:v>
                </c:pt>
                <c:pt idx="8531">
                  <c:v>-2.26890756302521E-2</c:v>
                </c:pt>
                <c:pt idx="8532">
                  <c:v>-2.26890756302521E-2</c:v>
                </c:pt>
                <c:pt idx="8533">
                  <c:v>-2.26890756302521E-2</c:v>
                </c:pt>
                <c:pt idx="8534">
                  <c:v>-2.26890756302521E-2</c:v>
                </c:pt>
                <c:pt idx="8535">
                  <c:v>-2.26890756302521E-2</c:v>
                </c:pt>
                <c:pt idx="8536">
                  <c:v>-2.26890756302521E-2</c:v>
                </c:pt>
                <c:pt idx="8537">
                  <c:v>-2.26890756302521E-2</c:v>
                </c:pt>
                <c:pt idx="8538">
                  <c:v>-2.26890756302521E-2</c:v>
                </c:pt>
                <c:pt idx="8539">
                  <c:v>-2.3529411764705899E-2</c:v>
                </c:pt>
                <c:pt idx="8540">
                  <c:v>-2.3529411764705899E-2</c:v>
                </c:pt>
                <c:pt idx="8541">
                  <c:v>-2.3529411764705899E-2</c:v>
                </c:pt>
                <c:pt idx="8542">
                  <c:v>-2.3529411764705899E-2</c:v>
                </c:pt>
                <c:pt idx="8543">
                  <c:v>-2.3529411764705899E-2</c:v>
                </c:pt>
                <c:pt idx="8544">
                  <c:v>-2.3529411764705899E-2</c:v>
                </c:pt>
                <c:pt idx="8545">
                  <c:v>-2.3529411764705899E-2</c:v>
                </c:pt>
                <c:pt idx="8546">
                  <c:v>-2.3529411764705899E-2</c:v>
                </c:pt>
                <c:pt idx="8547">
                  <c:v>-2.3529411764705899E-2</c:v>
                </c:pt>
                <c:pt idx="8548">
                  <c:v>-2.3529411764705899E-2</c:v>
                </c:pt>
                <c:pt idx="8549">
                  <c:v>-2.3529411764705899E-2</c:v>
                </c:pt>
                <c:pt idx="8550">
                  <c:v>-2.3529411764705899E-2</c:v>
                </c:pt>
                <c:pt idx="8551">
                  <c:v>-2.3529411764705899E-2</c:v>
                </c:pt>
                <c:pt idx="8552">
                  <c:v>-2.3529411764705899E-2</c:v>
                </c:pt>
                <c:pt idx="8553">
                  <c:v>-2.3529411764705899E-2</c:v>
                </c:pt>
                <c:pt idx="8554">
                  <c:v>-2.3529411764705899E-2</c:v>
                </c:pt>
                <c:pt idx="8555">
                  <c:v>-2.3529411764705899E-2</c:v>
                </c:pt>
                <c:pt idx="8556">
                  <c:v>-2.3529411764705899E-2</c:v>
                </c:pt>
                <c:pt idx="8557">
                  <c:v>-2.26890756302521E-2</c:v>
                </c:pt>
                <c:pt idx="8558">
                  <c:v>-2.26890756302521E-2</c:v>
                </c:pt>
                <c:pt idx="8559">
                  <c:v>-2.26890756302521E-2</c:v>
                </c:pt>
                <c:pt idx="8560">
                  <c:v>-2.26890756302521E-2</c:v>
                </c:pt>
                <c:pt idx="8561">
                  <c:v>-2.26890756302521E-2</c:v>
                </c:pt>
                <c:pt idx="8562">
                  <c:v>-2.26890756302521E-2</c:v>
                </c:pt>
                <c:pt idx="8563">
                  <c:v>-2.26890756302521E-2</c:v>
                </c:pt>
                <c:pt idx="8564">
                  <c:v>-2.26890756302521E-2</c:v>
                </c:pt>
                <c:pt idx="8565">
                  <c:v>-2.26890756302521E-2</c:v>
                </c:pt>
                <c:pt idx="8566">
                  <c:v>-2.26890756302521E-2</c:v>
                </c:pt>
                <c:pt idx="8567">
                  <c:v>-2.26890756302521E-2</c:v>
                </c:pt>
                <c:pt idx="8568">
                  <c:v>-2.26890756302521E-2</c:v>
                </c:pt>
                <c:pt idx="8569">
                  <c:v>-2.26890756302521E-2</c:v>
                </c:pt>
                <c:pt idx="8570">
                  <c:v>-2.26890756302521E-2</c:v>
                </c:pt>
                <c:pt idx="8571">
                  <c:v>-2.26890756302521E-2</c:v>
                </c:pt>
                <c:pt idx="8572">
                  <c:v>-2.26890756302521E-2</c:v>
                </c:pt>
                <c:pt idx="8573">
                  <c:v>-2.26890756302521E-2</c:v>
                </c:pt>
                <c:pt idx="8574">
                  <c:v>-2.26890756302521E-2</c:v>
                </c:pt>
                <c:pt idx="8575">
                  <c:v>-2.26890756302521E-2</c:v>
                </c:pt>
                <c:pt idx="8576">
                  <c:v>-2.26890756302521E-2</c:v>
                </c:pt>
                <c:pt idx="8577">
                  <c:v>-2.26890756302521E-2</c:v>
                </c:pt>
                <c:pt idx="8578">
                  <c:v>-2.26890756302521E-2</c:v>
                </c:pt>
                <c:pt idx="8579">
                  <c:v>-2.26890756302521E-2</c:v>
                </c:pt>
                <c:pt idx="8580">
                  <c:v>-2.26890756302521E-2</c:v>
                </c:pt>
                <c:pt idx="8581">
                  <c:v>-2.26890756302521E-2</c:v>
                </c:pt>
                <c:pt idx="8582">
                  <c:v>-2.26890756302521E-2</c:v>
                </c:pt>
                <c:pt idx="8583">
                  <c:v>-2.26890756302521E-2</c:v>
                </c:pt>
                <c:pt idx="8584">
                  <c:v>-2.26890756302521E-2</c:v>
                </c:pt>
                <c:pt idx="8585">
                  <c:v>-2.26890756302521E-2</c:v>
                </c:pt>
                <c:pt idx="8586">
                  <c:v>-2.26890756302521E-2</c:v>
                </c:pt>
                <c:pt idx="8587">
                  <c:v>-2.26890756302521E-2</c:v>
                </c:pt>
                <c:pt idx="8588">
                  <c:v>-2.26890756302521E-2</c:v>
                </c:pt>
                <c:pt idx="8589">
                  <c:v>-2.26890756302521E-2</c:v>
                </c:pt>
                <c:pt idx="8590">
                  <c:v>-2.26890756302521E-2</c:v>
                </c:pt>
                <c:pt idx="8591">
                  <c:v>-2.3529411764705899E-2</c:v>
                </c:pt>
                <c:pt idx="8592">
                  <c:v>-2.3529411764705899E-2</c:v>
                </c:pt>
                <c:pt idx="8593">
                  <c:v>-2.3529411764705899E-2</c:v>
                </c:pt>
                <c:pt idx="8594">
                  <c:v>-2.3529411764705899E-2</c:v>
                </c:pt>
                <c:pt idx="8595">
                  <c:v>-2.3529411764705899E-2</c:v>
                </c:pt>
                <c:pt idx="8596">
                  <c:v>-2.3529411764705899E-2</c:v>
                </c:pt>
                <c:pt idx="8597">
                  <c:v>-2.3529411764705899E-2</c:v>
                </c:pt>
                <c:pt idx="8598">
                  <c:v>-2.3529411764705899E-2</c:v>
                </c:pt>
                <c:pt idx="8599">
                  <c:v>-2.3529411764705899E-2</c:v>
                </c:pt>
                <c:pt idx="8600">
                  <c:v>-2.3529411764705899E-2</c:v>
                </c:pt>
                <c:pt idx="8601">
                  <c:v>-2.3529411764705899E-2</c:v>
                </c:pt>
                <c:pt idx="8602">
                  <c:v>-2.3529411764705899E-2</c:v>
                </c:pt>
                <c:pt idx="8603">
                  <c:v>-2.3529411764705899E-2</c:v>
                </c:pt>
                <c:pt idx="8604">
                  <c:v>-2.3529411764705899E-2</c:v>
                </c:pt>
                <c:pt idx="8605">
                  <c:v>-2.3529411764705899E-2</c:v>
                </c:pt>
                <c:pt idx="8606">
                  <c:v>-2.3529411764705899E-2</c:v>
                </c:pt>
                <c:pt idx="8607">
                  <c:v>-2.3529411764705899E-2</c:v>
                </c:pt>
                <c:pt idx="8608">
                  <c:v>-2.26890756302521E-2</c:v>
                </c:pt>
                <c:pt idx="8609">
                  <c:v>-2.26890756302521E-2</c:v>
                </c:pt>
                <c:pt idx="8610">
                  <c:v>-2.26890756302521E-2</c:v>
                </c:pt>
                <c:pt idx="8611">
                  <c:v>-2.26890756302521E-2</c:v>
                </c:pt>
                <c:pt idx="8612">
                  <c:v>-2.26890756302521E-2</c:v>
                </c:pt>
                <c:pt idx="8613">
                  <c:v>-2.26890756302521E-2</c:v>
                </c:pt>
                <c:pt idx="8614">
                  <c:v>-2.26890756302521E-2</c:v>
                </c:pt>
                <c:pt idx="8615">
                  <c:v>-2.26890756302521E-2</c:v>
                </c:pt>
                <c:pt idx="8616">
                  <c:v>-2.26890756302521E-2</c:v>
                </c:pt>
                <c:pt idx="8617">
                  <c:v>-2.26890756302521E-2</c:v>
                </c:pt>
                <c:pt idx="8618">
                  <c:v>-2.26890756302521E-2</c:v>
                </c:pt>
                <c:pt idx="8619">
                  <c:v>-2.26890756302521E-2</c:v>
                </c:pt>
                <c:pt idx="8620">
                  <c:v>-2.26890756302521E-2</c:v>
                </c:pt>
                <c:pt idx="8621">
                  <c:v>-2.26890756302521E-2</c:v>
                </c:pt>
                <c:pt idx="8622">
                  <c:v>-2.26890756302521E-2</c:v>
                </c:pt>
                <c:pt idx="8623">
                  <c:v>-2.26890756302521E-2</c:v>
                </c:pt>
                <c:pt idx="8624">
                  <c:v>-2.26890756302521E-2</c:v>
                </c:pt>
                <c:pt idx="8625">
                  <c:v>-2.26890756302521E-2</c:v>
                </c:pt>
                <c:pt idx="8626">
                  <c:v>-2.26890756302521E-2</c:v>
                </c:pt>
                <c:pt idx="8627">
                  <c:v>-2.26890756302521E-2</c:v>
                </c:pt>
                <c:pt idx="8628">
                  <c:v>-2.26890756302521E-2</c:v>
                </c:pt>
                <c:pt idx="8629">
                  <c:v>-2.26890756302521E-2</c:v>
                </c:pt>
                <c:pt idx="8630">
                  <c:v>-2.26890756302521E-2</c:v>
                </c:pt>
                <c:pt idx="8631">
                  <c:v>-2.26890756302521E-2</c:v>
                </c:pt>
                <c:pt idx="8632">
                  <c:v>-2.26890756302521E-2</c:v>
                </c:pt>
                <c:pt idx="8633">
                  <c:v>-2.26890756302521E-2</c:v>
                </c:pt>
                <c:pt idx="8634">
                  <c:v>-2.26890756302521E-2</c:v>
                </c:pt>
                <c:pt idx="8635">
                  <c:v>-2.26890756302521E-2</c:v>
                </c:pt>
                <c:pt idx="8636">
                  <c:v>-2.26890756302521E-2</c:v>
                </c:pt>
                <c:pt idx="8637">
                  <c:v>-2.26890756302521E-2</c:v>
                </c:pt>
                <c:pt idx="8638">
                  <c:v>-2.26890756302521E-2</c:v>
                </c:pt>
                <c:pt idx="8639">
                  <c:v>-2.26890756302521E-2</c:v>
                </c:pt>
                <c:pt idx="8640">
                  <c:v>-2.26890756302521E-2</c:v>
                </c:pt>
                <c:pt idx="8641">
                  <c:v>-2.26890756302521E-2</c:v>
                </c:pt>
                <c:pt idx="8642">
                  <c:v>-2.26890756302521E-2</c:v>
                </c:pt>
                <c:pt idx="8643">
                  <c:v>-2.26890756302521E-2</c:v>
                </c:pt>
                <c:pt idx="8644">
                  <c:v>-2.26890756302521E-2</c:v>
                </c:pt>
                <c:pt idx="8645">
                  <c:v>-2.18487394957982E-2</c:v>
                </c:pt>
                <c:pt idx="8646">
                  <c:v>-2.18487394957982E-2</c:v>
                </c:pt>
                <c:pt idx="8647">
                  <c:v>-2.18487394957982E-2</c:v>
                </c:pt>
                <c:pt idx="8648">
                  <c:v>-2.18487394957982E-2</c:v>
                </c:pt>
                <c:pt idx="8649">
                  <c:v>-2.18487394957982E-2</c:v>
                </c:pt>
                <c:pt idx="8650">
                  <c:v>-2.18487394957982E-2</c:v>
                </c:pt>
                <c:pt idx="8651">
                  <c:v>-2.18487394957982E-2</c:v>
                </c:pt>
                <c:pt idx="8652">
                  <c:v>-2.18487394957982E-2</c:v>
                </c:pt>
                <c:pt idx="8653">
                  <c:v>-2.18487394957982E-2</c:v>
                </c:pt>
                <c:pt idx="8654">
                  <c:v>-2.18487394957982E-2</c:v>
                </c:pt>
                <c:pt idx="8655">
                  <c:v>-2.18487394957982E-2</c:v>
                </c:pt>
                <c:pt idx="8656">
                  <c:v>-2.18487394957982E-2</c:v>
                </c:pt>
                <c:pt idx="8657">
                  <c:v>-2.1008403361344501E-2</c:v>
                </c:pt>
                <c:pt idx="8658">
                  <c:v>-2.1008403361344501E-2</c:v>
                </c:pt>
                <c:pt idx="8659">
                  <c:v>-2.0168067226890699E-2</c:v>
                </c:pt>
                <c:pt idx="8660">
                  <c:v>-2.0168067226890699E-2</c:v>
                </c:pt>
                <c:pt idx="8661">
                  <c:v>-1.9327731092436899E-2</c:v>
                </c:pt>
                <c:pt idx="8662">
                  <c:v>-1.9327731092436899E-2</c:v>
                </c:pt>
                <c:pt idx="8663">
                  <c:v>-1.9327731092436899E-2</c:v>
                </c:pt>
                <c:pt idx="8664">
                  <c:v>-1.9327731092436899E-2</c:v>
                </c:pt>
                <c:pt idx="8665">
                  <c:v>-1.9327731092436899E-2</c:v>
                </c:pt>
                <c:pt idx="8666">
                  <c:v>-1.9327731092436899E-2</c:v>
                </c:pt>
                <c:pt idx="8667">
                  <c:v>-1.9327731092436899E-2</c:v>
                </c:pt>
                <c:pt idx="8668">
                  <c:v>-1.9327731092436899E-2</c:v>
                </c:pt>
                <c:pt idx="8669">
                  <c:v>-1.9327731092436899E-2</c:v>
                </c:pt>
                <c:pt idx="8670">
                  <c:v>-1.9327731092436899E-2</c:v>
                </c:pt>
                <c:pt idx="8671">
                  <c:v>-1.9327731092436899E-2</c:v>
                </c:pt>
                <c:pt idx="8672">
                  <c:v>-2.0168067226890699E-2</c:v>
                </c:pt>
                <c:pt idx="8673">
                  <c:v>-2.0168067226890699E-2</c:v>
                </c:pt>
                <c:pt idx="8674">
                  <c:v>-2.0168067226890699E-2</c:v>
                </c:pt>
                <c:pt idx="8675">
                  <c:v>-1.9327731092436899E-2</c:v>
                </c:pt>
                <c:pt idx="8676">
                  <c:v>-1.9327731092436899E-2</c:v>
                </c:pt>
                <c:pt idx="8677">
                  <c:v>-1.9327731092436899E-2</c:v>
                </c:pt>
                <c:pt idx="8678">
                  <c:v>-1.9327731092436899E-2</c:v>
                </c:pt>
                <c:pt idx="8679">
                  <c:v>-1.9327731092436899E-2</c:v>
                </c:pt>
                <c:pt idx="8680">
                  <c:v>-1.9327731092436899E-2</c:v>
                </c:pt>
                <c:pt idx="8681">
                  <c:v>-1.9327731092436899E-2</c:v>
                </c:pt>
                <c:pt idx="8682">
                  <c:v>-1.9327731092436899E-2</c:v>
                </c:pt>
                <c:pt idx="8683">
                  <c:v>-1.9327731092436899E-2</c:v>
                </c:pt>
                <c:pt idx="8684">
                  <c:v>-1.9327731092436899E-2</c:v>
                </c:pt>
                <c:pt idx="8685">
                  <c:v>-1.9327731092436899E-2</c:v>
                </c:pt>
                <c:pt idx="8686">
                  <c:v>-1.9327731092436899E-2</c:v>
                </c:pt>
                <c:pt idx="8687">
                  <c:v>-1.9327731092436899E-2</c:v>
                </c:pt>
                <c:pt idx="8688">
                  <c:v>-1.9327731092436899E-2</c:v>
                </c:pt>
                <c:pt idx="8689">
                  <c:v>-1.9327731092436899E-2</c:v>
                </c:pt>
                <c:pt idx="8690">
                  <c:v>-1.9327731092436899E-2</c:v>
                </c:pt>
                <c:pt idx="8691">
                  <c:v>-1.9327731092436899E-2</c:v>
                </c:pt>
                <c:pt idx="8692">
                  <c:v>-1.9327731092436899E-2</c:v>
                </c:pt>
                <c:pt idx="8693">
                  <c:v>-1.9327731092436899E-2</c:v>
                </c:pt>
                <c:pt idx="8694">
                  <c:v>-1.9327731092436899E-2</c:v>
                </c:pt>
                <c:pt idx="8695">
                  <c:v>-1.9327731092436899E-2</c:v>
                </c:pt>
                <c:pt idx="8696">
                  <c:v>-1.9327731092436899E-2</c:v>
                </c:pt>
                <c:pt idx="8697">
                  <c:v>-1.9327731092436899E-2</c:v>
                </c:pt>
                <c:pt idx="8698">
                  <c:v>-1.9327731092436899E-2</c:v>
                </c:pt>
                <c:pt idx="8699">
                  <c:v>-1.9327731092436899E-2</c:v>
                </c:pt>
                <c:pt idx="8700">
                  <c:v>-1.9327731092436899E-2</c:v>
                </c:pt>
                <c:pt idx="8701">
                  <c:v>-1.9327731092436899E-2</c:v>
                </c:pt>
                <c:pt idx="8702">
                  <c:v>-1.9327731092436899E-2</c:v>
                </c:pt>
                <c:pt idx="8703">
                  <c:v>-1.9327731092436899E-2</c:v>
                </c:pt>
                <c:pt idx="8704">
                  <c:v>-1.9327731092436899E-2</c:v>
                </c:pt>
                <c:pt idx="8705">
                  <c:v>-1.9327731092436899E-2</c:v>
                </c:pt>
                <c:pt idx="8706">
                  <c:v>-1.9327731092436899E-2</c:v>
                </c:pt>
                <c:pt idx="8707">
                  <c:v>-1.9327731092436899E-2</c:v>
                </c:pt>
                <c:pt idx="8708">
                  <c:v>-1.9327731092436899E-2</c:v>
                </c:pt>
                <c:pt idx="8709">
                  <c:v>-1.9327731092436899E-2</c:v>
                </c:pt>
                <c:pt idx="8710">
                  <c:v>-1.9327731092436899E-2</c:v>
                </c:pt>
                <c:pt idx="8711">
                  <c:v>-1.9327731092436899E-2</c:v>
                </c:pt>
                <c:pt idx="8712">
                  <c:v>-1.9327731092436899E-2</c:v>
                </c:pt>
                <c:pt idx="8713">
                  <c:v>-1.9327731092436899E-2</c:v>
                </c:pt>
                <c:pt idx="8714">
                  <c:v>-1.9327731092436899E-2</c:v>
                </c:pt>
                <c:pt idx="8715">
                  <c:v>-1.9327731092436899E-2</c:v>
                </c:pt>
                <c:pt idx="8716">
                  <c:v>-1.9327731092436899E-2</c:v>
                </c:pt>
                <c:pt idx="8717">
                  <c:v>-1.9327731092436899E-2</c:v>
                </c:pt>
                <c:pt idx="8718">
                  <c:v>-1.9327731092436899E-2</c:v>
                </c:pt>
                <c:pt idx="8719">
                  <c:v>-1.9327731092436899E-2</c:v>
                </c:pt>
                <c:pt idx="8720">
                  <c:v>-1.9327731092436899E-2</c:v>
                </c:pt>
                <c:pt idx="8721">
                  <c:v>-1.9327731092436899E-2</c:v>
                </c:pt>
                <c:pt idx="8722">
                  <c:v>-1.9327731092436899E-2</c:v>
                </c:pt>
                <c:pt idx="8723">
                  <c:v>-1.9327731092436899E-2</c:v>
                </c:pt>
                <c:pt idx="8724">
                  <c:v>-1.84873949579831E-2</c:v>
                </c:pt>
                <c:pt idx="8725">
                  <c:v>-1.84873949579831E-2</c:v>
                </c:pt>
                <c:pt idx="8726">
                  <c:v>-1.84873949579831E-2</c:v>
                </c:pt>
                <c:pt idx="8727">
                  <c:v>-1.84873949579831E-2</c:v>
                </c:pt>
                <c:pt idx="8728">
                  <c:v>-1.84873949579831E-2</c:v>
                </c:pt>
                <c:pt idx="8729">
                  <c:v>-1.84873949579831E-2</c:v>
                </c:pt>
                <c:pt idx="8730">
                  <c:v>-1.84873949579831E-2</c:v>
                </c:pt>
                <c:pt idx="8731">
                  <c:v>-1.84873949579831E-2</c:v>
                </c:pt>
                <c:pt idx="8732">
                  <c:v>-1.9327731092436899E-2</c:v>
                </c:pt>
                <c:pt idx="8733">
                  <c:v>-1.9327731092436899E-2</c:v>
                </c:pt>
                <c:pt idx="8734">
                  <c:v>-1.9327731092436899E-2</c:v>
                </c:pt>
                <c:pt idx="8735">
                  <c:v>-1.9327731092436899E-2</c:v>
                </c:pt>
                <c:pt idx="8736">
                  <c:v>-1.9327731092436899E-2</c:v>
                </c:pt>
                <c:pt idx="8737">
                  <c:v>-1.9327731092436899E-2</c:v>
                </c:pt>
                <c:pt idx="8738">
                  <c:v>-1.9327731092436899E-2</c:v>
                </c:pt>
                <c:pt idx="8739">
                  <c:v>-1.9327731092436899E-2</c:v>
                </c:pt>
                <c:pt idx="8740">
                  <c:v>-1.9327731092436899E-2</c:v>
                </c:pt>
                <c:pt idx="8741">
                  <c:v>-1.9327731092436899E-2</c:v>
                </c:pt>
                <c:pt idx="8742">
                  <c:v>-1.9327731092436899E-2</c:v>
                </c:pt>
                <c:pt idx="8743">
                  <c:v>-1.9327731092436899E-2</c:v>
                </c:pt>
                <c:pt idx="8744">
                  <c:v>-1.9327731092436899E-2</c:v>
                </c:pt>
                <c:pt idx="8745">
                  <c:v>-1.9327731092436899E-2</c:v>
                </c:pt>
                <c:pt idx="8746">
                  <c:v>-1.9327731092436899E-2</c:v>
                </c:pt>
                <c:pt idx="8747">
                  <c:v>-1.9327731092436899E-2</c:v>
                </c:pt>
                <c:pt idx="8748">
                  <c:v>-1.9327731092436899E-2</c:v>
                </c:pt>
                <c:pt idx="8749">
                  <c:v>-1.9327731092436899E-2</c:v>
                </c:pt>
                <c:pt idx="8750">
                  <c:v>-1.9327731092436899E-2</c:v>
                </c:pt>
                <c:pt idx="8751">
                  <c:v>-1.9327731092436899E-2</c:v>
                </c:pt>
                <c:pt idx="8752">
                  <c:v>-1.9327731092436899E-2</c:v>
                </c:pt>
                <c:pt idx="8753">
                  <c:v>-1.9327731092436899E-2</c:v>
                </c:pt>
                <c:pt idx="8754">
                  <c:v>-1.9327731092436899E-2</c:v>
                </c:pt>
                <c:pt idx="8755">
                  <c:v>-1.9327731092436899E-2</c:v>
                </c:pt>
                <c:pt idx="8756">
                  <c:v>-1.9327731092436899E-2</c:v>
                </c:pt>
                <c:pt idx="8757">
                  <c:v>-1.9327731092436899E-2</c:v>
                </c:pt>
                <c:pt idx="8758">
                  <c:v>-1.84873949579831E-2</c:v>
                </c:pt>
                <c:pt idx="8759">
                  <c:v>-1.84873949579831E-2</c:v>
                </c:pt>
                <c:pt idx="8760">
                  <c:v>-1.84873949579831E-2</c:v>
                </c:pt>
                <c:pt idx="8761">
                  <c:v>-1.84873949579831E-2</c:v>
                </c:pt>
                <c:pt idx="8762">
                  <c:v>-1.84873949579831E-2</c:v>
                </c:pt>
                <c:pt idx="8763">
                  <c:v>-1.84873949579831E-2</c:v>
                </c:pt>
                <c:pt idx="8764">
                  <c:v>-1.84873949579831E-2</c:v>
                </c:pt>
                <c:pt idx="8765">
                  <c:v>-1.84873949579831E-2</c:v>
                </c:pt>
                <c:pt idx="8766">
                  <c:v>-1.84873949579831E-2</c:v>
                </c:pt>
                <c:pt idx="8767">
                  <c:v>-1.7647058823529401E-2</c:v>
                </c:pt>
                <c:pt idx="8768">
                  <c:v>-1.7647058823529401E-2</c:v>
                </c:pt>
                <c:pt idx="8769">
                  <c:v>-1.7647058823529401E-2</c:v>
                </c:pt>
                <c:pt idx="8770">
                  <c:v>-1.7647058823529401E-2</c:v>
                </c:pt>
                <c:pt idx="8771">
                  <c:v>-1.7647058823529401E-2</c:v>
                </c:pt>
                <c:pt idx="8772">
                  <c:v>-1.7647058823529401E-2</c:v>
                </c:pt>
                <c:pt idx="8773">
                  <c:v>-1.7647058823529401E-2</c:v>
                </c:pt>
                <c:pt idx="8774">
                  <c:v>-1.7647058823529401E-2</c:v>
                </c:pt>
                <c:pt idx="8775">
                  <c:v>-1.7647058823529401E-2</c:v>
                </c:pt>
                <c:pt idx="8776">
                  <c:v>-1.7647058823529401E-2</c:v>
                </c:pt>
                <c:pt idx="8777">
                  <c:v>-1.7647058823529401E-2</c:v>
                </c:pt>
                <c:pt idx="8778">
                  <c:v>-1.7647058823529401E-2</c:v>
                </c:pt>
                <c:pt idx="8779">
                  <c:v>-1.7647058823529401E-2</c:v>
                </c:pt>
                <c:pt idx="8780">
                  <c:v>-1.7647058823529401E-2</c:v>
                </c:pt>
                <c:pt idx="8781">
                  <c:v>-1.7647058823529401E-2</c:v>
                </c:pt>
                <c:pt idx="8782">
                  <c:v>-1.7647058823529401E-2</c:v>
                </c:pt>
                <c:pt idx="8783">
                  <c:v>-1.7647058823529401E-2</c:v>
                </c:pt>
                <c:pt idx="8784">
                  <c:v>-1.7647058823529401E-2</c:v>
                </c:pt>
                <c:pt idx="8785">
                  <c:v>-1.7647058823529401E-2</c:v>
                </c:pt>
                <c:pt idx="8786">
                  <c:v>-1.7647058823529401E-2</c:v>
                </c:pt>
                <c:pt idx="8787">
                  <c:v>-1.7647058823529401E-2</c:v>
                </c:pt>
                <c:pt idx="8788">
                  <c:v>-1.7647058823529401E-2</c:v>
                </c:pt>
                <c:pt idx="8789">
                  <c:v>-1.7647058823529401E-2</c:v>
                </c:pt>
                <c:pt idx="8790">
                  <c:v>-1.6806722689075598E-2</c:v>
                </c:pt>
                <c:pt idx="8791">
                  <c:v>-1.6806722689075598E-2</c:v>
                </c:pt>
                <c:pt idx="8792">
                  <c:v>-1.6806722689075598E-2</c:v>
                </c:pt>
                <c:pt idx="8793">
                  <c:v>-1.6806722689075598E-2</c:v>
                </c:pt>
                <c:pt idx="8794">
                  <c:v>-1.6806722689075598E-2</c:v>
                </c:pt>
                <c:pt idx="8795">
                  <c:v>-1.6806722689075598E-2</c:v>
                </c:pt>
                <c:pt idx="8796">
                  <c:v>-1.6806722689075598E-2</c:v>
                </c:pt>
                <c:pt idx="8797">
                  <c:v>-1.6806722689075598E-2</c:v>
                </c:pt>
                <c:pt idx="8798">
                  <c:v>-1.6806722689075598E-2</c:v>
                </c:pt>
                <c:pt idx="8799">
                  <c:v>-1.6806722689075598E-2</c:v>
                </c:pt>
                <c:pt idx="8800">
                  <c:v>-1.6806722689075598E-2</c:v>
                </c:pt>
                <c:pt idx="8801">
                  <c:v>-1.6806722689075598E-2</c:v>
                </c:pt>
                <c:pt idx="8802">
                  <c:v>-1.7647058823529401E-2</c:v>
                </c:pt>
                <c:pt idx="8803">
                  <c:v>-1.7647058823529401E-2</c:v>
                </c:pt>
                <c:pt idx="8804">
                  <c:v>-1.84873949579831E-2</c:v>
                </c:pt>
                <c:pt idx="8805">
                  <c:v>-1.84873949579831E-2</c:v>
                </c:pt>
                <c:pt idx="8806">
                  <c:v>-1.84873949579831E-2</c:v>
                </c:pt>
                <c:pt idx="8807">
                  <c:v>-1.84873949579831E-2</c:v>
                </c:pt>
                <c:pt idx="8808">
                  <c:v>-1.84873949579831E-2</c:v>
                </c:pt>
                <c:pt idx="8809">
                  <c:v>-1.84873949579831E-2</c:v>
                </c:pt>
                <c:pt idx="8810">
                  <c:v>-1.84873949579831E-2</c:v>
                </c:pt>
                <c:pt idx="8811">
                  <c:v>-1.84873949579831E-2</c:v>
                </c:pt>
                <c:pt idx="8812">
                  <c:v>-1.84873949579831E-2</c:v>
                </c:pt>
                <c:pt idx="8813">
                  <c:v>-1.84873949579831E-2</c:v>
                </c:pt>
                <c:pt idx="8814">
                  <c:v>-1.84873949579831E-2</c:v>
                </c:pt>
                <c:pt idx="8815">
                  <c:v>-1.7647058823529401E-2</c:v>
                </c:pt>
                <c:pt idx="8816">
                  <c:v>-1.7647058823529401E-2</c:v>
                </c:pt>
                <c:pt idx="8817">
                  <c:v>-1.7647058823529401E-2</c:v>
                </c:pt>
                <c:pt idx="8818">
                  <c:v>-1.7647058823529401E-2</c:v>
                </c:pt>
                <c:pt idx="8819">
                  <c:v>-1.7647058823529401E-2</c:v>
                </c:pt>
                <c:pt idx="8820">
                  <c:v>-1.7647058823529401E-2</c:v>
                </c:pt>
                <c:pt idx="8821">
                  <c:v>-1.7647058823529401E-2</c:v>
                </c:pt>
                <c:pt idx="8822">
                  <c:v>-1.7647058823529401E-2</c:v>
                </c:pt>
                <c:pt idx="8823">
                  <c:v>-1.7647058823529401E-2</c:v>
                </c:pt>
                <c:pt idx="8824">
                  <c:v>-1.7647058823529401E-2</c:v>
                </c:pt>
                <c:pt idx="8825">
                  <c:v>-1.7647058823529401E-2</c:v>
                </c:pt>
                <c:pt idx="8826">
                  <c:v>-1.7647058823529401E-2</c:v>
                </c:pt>
                <c:pt idx="8827">
                  <c:v>-1.7647058823529401E-2</c:v>
                </c:pt>
                <c:pt idx="8828">
                  <c:v>-1.7647058823529401E-2</c:v>
                </c:pt>
                <c:pt idx="8829">
                  <c:v>-1.7647058823529401E-2</c:v>
                </c:pt>
                <c:pt idx="8830">
                  <c:v>-1.7647058823529401E-2</c:v>
                </c:pt>
                <c:pt idx="8831">
                  <c:v>-1.7647058823529401E-2</c:v>
                </c:pt>
                <c:pt idx="8832">
                  <c:v>-1.7647058823529401E-2</c:v>
                </c:pt>
                <c:pt idx="8833">
                  <c:v>-1.7647058823529401E-2</c:v>
                </c:pt>
                <c:pt idx="8834">
                  <c:v>-1.7647058823529401E-2</c:v>
                </c:pt>
                <c:pt idx="8835">
                  <c:v>-1.7647058823529401E-2</c:v>
                </c:pt>
                <c:pt idx="8836">
                  <c:v>-1.7647058823529401E-2</c:v>
                </c:pt>
                <c:pt idx="8837">
                  <c:v>-1.7647058823529401E-2</c:v>
                </c:pt>
                <c:pt idx="8838">
                  <c:v>-1.7647058823529401E-2</c:v>
                </c:pt>
                <c:pt idx="8839">
                  <c:v>-1.7647058823529401E-2</c:v>
                </c:pt>
                <c:pt idx="8840">
                  <c:v>-1.7647058823529401E-2</c:v>
                </c:pt>
                <c:pt idx="8841">
                  <c:v>-1.7647058823529401E-2</c:v>
                </c:pt>
                <c:pt idx="8842">
                  <c:v>-1.7647058823529401E-2</c:v>
                </c:pt>
                <c:pt idx="8843">
                  <c:v>-1.7647058823529401E-2</c:v>
                </c:pt>
                <c:pt idx="8844">
                  <c:v>-1.7647058823529401E-2</c:v>
                </c:pt>
                <c:pt idx="8845">
                  <c:v>-1.84873949579831E-2</c:v>
                </c:pt>
                <c:pt idx="8846">
                  <c:v>-1.84873949579831E-2</c:v>
                </c:pt>
                <c:pt idx="8847">
                  <c:v>-1.84873949579831E-2</c:v>
                </c:pt>
                <c:pt idx="8848">
                  <c:v>-1.84873949579831E-2</c:v>
                </c:pt>
                <c:pt idx="8849">
                  <c:v>-1.84873949579831E-2</c:v>
                </c:pt>
                <c:pt idx="8850">
                  <c:v>-1.84873949579831E-2</c:v>
                </c:pt>
                <c:pt idx="8851">
                  <c:v>-1.84873949579831E-2</c:v>
                </c:pt>
                <c:pt idx="8852">
                  <c:v>-1.84873949579831E-2</c:v>
                </c:pt>
                <c:pt idx="8853">
                  <c:v>-1.84873949579831E-2</c:v>
                </c:pt>
                <c:pt idx="8854">
                  <c:v>-1.84873949579831E-2</c:v>
                </c:pt>
                <c:pt idx="8855">
                  <c:v>-1.84873949579831E-2</c:v>
                </c:pt>
                <c:pt idx="8856">
                  <c:v>-1.84873949579831E-2</c:v>
                </c:pt>
                <c:pt idx="8857">
                  <c:v>-1.84873949579831E-2</c:v>
                </c:pt>
                <c:pt idx="8858">
                  <c:v>-1.84873949579831E-2</c:v>
                </c:pt>
                <c:pt idx="8859">
                  <c:v>-1.84873949579831E-2</c:v>
                </c:pt>
                <c:pt idx="8860">
                  <c:v>-1.84873949579831E-2</c:v>
                </c:pt>
                <c:pt idx="8861">
                  <c:v>-1.84873949579831E-2</c:v>
                </c:pt>
                <c:pt idx="8862">
                  <c:v>-1.84873949579831E-2</c:v>
                </c:pt>
                <c:pt idx="8863">
                  <c:v>-1.84873949579831E-2</c:v>
                </c:pt>
                <c:pt idx="8864">
                  <c:v>-1.84873949579831E-2</c:v>
                </c:pt>
                <c:pt idx="8865">
                  <c:v>-1.84873949579831E-2</c:v>
                </c:pt>
                <c:pt idx="8866">
                  <c:v>-1.84873949579831E-2</c:v>
                </c:pt>
                <c:pt idx="8867">
                  <c:v>-1.84873949579831E-2</c:v>
                </c:pt>
                <c:pt idx="8868">
                  <c:v>-1.84873949579831E-2</c:v>
                </c:pt>
                <c:pt idx="8869">
                  <c:v>-1.84873949579831E-2</c:v>
                </c:pt>
                <c:pt idx="8870">
                  <c:v>-1.84873949579831E-2</c:v>
                </c:pt>
                <c:pt idx="8871">
                  <c:v>-1.84873949579831E-2</c:v>
                </c:pt>
                <c:pt idx="8872">
                  <c:v>-1.84873949579831E-2</c:v>
                </c:pt>
                <c:pt idx="8873">
                  <c:v>-1.84873949579831E-2</c:v>
                </c:pt>
                <c:pt idx="8874">
                  <c:v>-1.84873949579831E-2</c:v>
                </c:pt>
                <c:pt idx="8875">
                  <c:v>-1.84873949579831E-2</c:v>
                </c:pt>
                <c:pt idx="8876">
                  <c:v>-1.9327731092436899E-2</c:v>
                </c:pt>
                <c:pt idx="8877">
                  <c:v>-1.9327731092436899E-2</c:v>
                </c:pt>
                <c:pt idx="8878">
                  <c:v>-1.9327731092436899E-2</c:v>
                </c:pt>
                <c:pt idx="8879">
                  <c:v>-1.9327731092436899E-2</c:v>
                </c:pt>
                <c:pt idx="8880">
                  <c:v>-2.0168067226890699E-2</c:v>
                </c:pt>
                <c:pt idx="8881">
                  <c:v>-2.0168067226890699E-2</c:v>
                </c:pt>
                <c:pt idx="8882">
                  <c:v>-2.0168067226890699E-2</c:v>
                </c:pt>
                <c:pt idx="8883">
                  <c:v>-2.0168067226890699E-2</c:v>
                </c:pt>
                <c:pt idx="8884">
                  <c:v>-2.0168067226890699E-2</c:v>
                </c:pt>
                <c:pt idx="8885">
                  <c:v>-2.0168067226890699E-2</c:v>
                </c:pt>
                <c:pt idx="8886">
                  <c:v>-2.0168067226890699E-2</c:v>
                </c:pt>
                <c:pt idx="8887">
                  <c:v>-2.0168067226890699E-2</c:v>
                </c:pt>
                <c:pt idx="8888">
                  <c:v>-2.0168067226890699E-2</c:v>
                </c:pt>
                <c:pt idx="8889">
                  <c:v>-2.1008403361344501E-2</c:v>
                </c:pt>
                <c:pt idx="8890">
                  <c:v>-2.1008403361344501E-2</c:v>
                </c:pt>
                <c:pt idx="8891">
                  <c:v>-2.1008403361344501E-2</c:v>
                </c:pt>
                <c:pt idx="8892">
                  <c:v>-2.1008403361344501E-2</c:v>
                </c:pt>
                <c:pt idx="8893">
                  <c:v>-2.1008403361344501E-2</c:v>
                </c:pt>
                <c:pt idx="8894">
                  <c:v>-2.1008403361344501E-2</c:v>
                </c:pt>
                <c:pt idx="8895">
                  <c:v>-2.1008403361344501E-2</c:v>
                </c:pt>
                <c:pt idx="8896">
                  <c:v>-2.1008403361344501E-2</c:v>
                </c:pt>
                <c:pt idx="8897">
                  <c:v>-2.1008403361344501E-2</c:v>
                </c:pt>
                <c:pt idx="8898">
                  <c:v>-2.1008403361344501E-2</c:v>
                </c:pt>
                <c:pt idx="8899">
                  <c:v>-2.1008403361344501E-2</c:v>
                </c:pt>
                <c:pt idx="8900">
                  <c:v>-2.1008403361344501E-2</c:v>
                </c:pt>
                <c:pt idx="8901">
                  <c:v>-2.1008403361344501E-2</c:v>
                </c:pt>
                <c:pt idx="8902">
                  <c:v>-2.1008403361344501E-2</c:v>
                </c:pt>
                <c:pt idx="8903">
                  <c:v>-2.1008403361344501E-2</c:v>
                </c:pt>
                <c:pt idx="8904">
                  <c:v>-2.1008403361344501E-2</c:v>
                </c:pt>
                <c:pt idx="8905">
                  <c:v>-2.0168067226890699E-2</c:v>
                </c:pt>
                <c:pt idx="8906">
                  <c:v>-2.0168067226890699E-2</c:v>
                </c:pt>
                <c:pt idx="8907">
                  <c:v>-2.0168067226890699E-2</c:v>
                </c:pt>
                <c:pt idx="8908">
                  <c:v>-2.0168067226890699E-2</c:v>
                </c:pt>
                <c:pt idx="8909">
                  <c:v>-2.0168067226890699E-2</c:v>
                </c:pt>
                <c:pt idx="8910">
                  <c:v>-2.0168067226890699E-2</c:v>
                </c:pt>
                <c:pt idx="8911">
                  <c:v>-2.0168067226890699E-2</c:v>
                </c:pt>
                <c:pt idx="8912">
                  <c:v>-1.9327731092436899E-2</c:v>
                </c:pt>
                <c:pt idx="8913">
                  <c:v>-1.9327731092436899E-2</c:v>
                </c:pt>
                <c:pt idx="8914">
                  <c:v>-1.9327731092436899E-2</c:v>
                </c:pt>
                <c:pt idx="8915">
                  <c:v>-1.84873949579831E-2</c:v>
                </c:pt>
                <c:pt idx="8916">
                  <c:v>-1.84873949579831E-2</c:v>
                </c:pt>
                <c:pt idx="8917">
                  <c:v>-1.84873949579831E-2</c:v>
                </c:pt>
                <c:pt idx="8918">
                  <c:v>-1.84873949579831E-2</c:v>
                </c:pt>
                <c:pt idx="8919">
                  <c:v>-1.84873949579831E-2</c:v>
                </c:pt>
                <c:pt idx="8920">
                  <c:v>-1.9327731092436899E-2</c:v>
                </c:pt>
                <c:pt idx="8921">
                  <c:v>-1.9327731092436899E-2</c:v>
                </c:pt>
                <c:pt idx="8922">
                  <c:v>-1.9327731092436899E-2</c:v>
                </c:pt>
                <c:pt idx="8923">
                  <c:v>-1.9327731092436899E-2</c:v>
                </c:pt>
                <c:pt idx="8924">
                  <c:v>-1.9327731092436899E-2</c:v>
                </c:pt>
                <c:pt idx="8925">
                  <c:v>-1.9327731092436899E-2</c:v>
                </c:pt>
                <c:pt idx="8926">
                  <c:v>-1.9327731092436899E-2</c:v>
                </c:pt>
                <c:pt idx="8927">
                  <c:v>-2.0168067226890699E-2</c:v>
                </c:pt>
                <c:pt idx="8928">
                  <c:v>-2.0168067226890699E-2</c:v>
                </c:pt>
                <c:pt idx="8929">
                  <c:v>-2.0168067226890699E-2</c:v>
                </c:pt>
                <c:pt idx="8930">
                  <c:v>-2.0168067226890699E-2</c:v>
                </c:pt>
                <c:pt idx="8931">
                  <c:v>-2.0168067226890699E-2</c:v>
                </c:pt>
                <c:pt idx="8932">
                  <c:v>-2.0168067226890699E-2</c:v>
                </c:pt>
                <c:pt idx="8933">
                  <c:v>-2.0168067226890699E-2</c:v>
                </c:pt>
                <c:pt idx="8934">
                  <c:v>-2.0168067226890699E-2</c:v>
                </c:pt>
                <c:pt idx="8935">
                  <c:v>-2.0168067226890699E-2</c:v>
                </c:pt>
                <c:pt idx="8936">
                  <c:v>-2.0168067226890699E-2</c:v>
                </c:pt>
                <c:pt idx="8937">
                  <c:v>-2.0168067226890699E-2</c:v>
                </c:pt>
                <c:pt idx="8938">
                  <c:v>-2.0168067226890699E-2</c:v>
                </c:pt>
                <c:pt idx="8939">
                  <c:v>-2.0168067226890699E-2</c:v>
                </c:pt>
                <c:pt idx="8940">
                  <c:v>-2.1008403361344501E-2</c:v>
                </c:pt>
                <c:pt idx="8941">
                  <c:v>-2.1008403361344501E-2</c:v>
                </c:pt>
                <c:pt idx="8942">
                  <c:v>-2.1008403361344501E-2</c:v>
                </c:pt>
                <c:pt idx="8943">
                  <c:v>-2.1008403361344501E-2</c:v>
                </c:pt>
                <c:pt idx="8944">
                  <c:v>-2.1008403361344501E-2</c:v>
                </c:pt>
                <c:pt idx="8945">
                  <c:v>-2.1008403361344501E-2</c:v>
                </c:pt>
                <c:pt idx="8946">
                  <c:v>-2.1008403361344501E-2</c:v>
                </c:pt>
                <c:pt idx="8947">
                  <c:v>-2.1008403361344501E-2</c:v>
                </c:pt>
                <c:pt idx="8948">
                  <c:v>-2.0168067226890699E-2</c:v>
                </c:pt>
                <c:pt idx="8949">
                  <c:v>-2.0168067226890699E-2</c:v>
                </c:pt>
                <c:pt idx="8950">
                  <c:v>-2.0168067226890699E-2</c:v>
                </c:pt>
                <c:pt idx="8951">
                  <c:v>-2.0168067226890699E-2</c:v>
                </c:pt>
                <c:pt idx="8952">
                  <c:v>-2.0168067226890699E-2</c:v>
                </c:pt>
                <c:pt idx="8953">
                  <c:v>-2.0168067226890699E-2</c:v>
                </c:pt>
                <c:pt idx="8954">
                  <c:v>-2.0168067226890699E-2</c:v>
                </c:pt>
                <c:pt idx="8955">
                  <c:v>-2.0168067226890699E-2</c:v>
                </c:pt>
                <c:pt idx="8956">
                  <c:v>-2.0168067226890699E-2</c:v>
                </c:pt>
                <c:pt idx="8957">
                  <c:v>-2.0168067226890699E-2</c:v>
                </c:pt>
                <c:pt idx="8958">
                  <c:v>-2.0168067226890699E-2</c:v>
                </c:pt>
                <c:pt idx="8959">
                  <c:v>-2.0168067226890699E-2</c:v>
                </c:pt>
                <c:pt idx="8960">
                  <c:v>-2.0168067226890699E-2</c:v>
                </c:pt>
                <c:pt idx="8961">
                  <c:v>-2.0168067226890699E-2</c:v>
                </c:pt>
                <c:pt idx="8962">
                  <c:v>-2.1008403361344501E-2</c:v>
                </c:pt>
                <c:pt idx="8963">
                  <c:v>-2.1008403361344501E-2</c:v>
                </c:pt>
                <c:pt idx="8964">
                  <c:v>-2.1008403361344501E-2</c:v>
                </c:pt>
                <c:pt idx="8965">
                  <c:v>-2.1008403361344501E-2</c:v>
                </c:pt>
                <c:pt idx="8966">
                  <c:v>-2.1008403361344501E-2</c:v>
                </c:pt>
                <c:pt idx="8967">
                  <c:v>-2.1008403361344501E-2</c:v>
                </c:pt>
                <c:pt idx="8968">
                  <c:v>-2.1008403361344501E-2</c:v>
                </c:pt>
                <c:pt idx="8969">
                  <c:v>-2.1008403361344501E-2</c:v>
                </c:pt>
                <c:pt idx="8970">
                  <c:v>-2.0168067226890699E-2</c:v>
                </c:pt>
                <c:pt idx="8971">
                  <c:v>-2.0168067226890699E-2</c:v>
                </c:pt>
                <c:pt idx="8972">
                  <c:v>-2.0168067226890699E-2</c:v>
                </c:pt>
                <c:pt idx="8973">
                  <c:v>-2.0168067226890699E-2</c:v>
                </c:pt>
                <c:pt idx="8974">
                  <c:v>-2.0168067226890699E-2</c:v>
                </c:pt>
                <c:pt idx="8975">
                  <c:v>-2.0168067226890699E-2</c:v>
                </c:pt>
                <c:pt idx="8976">
                  <c:v>-2.0168067226890699E-2</c:v>
                </c:pt>
                <c:pt idx="8977">
                  <c:v>-2.0168067226890699E-2</c:v>
                </c:pt>
                <c:pt idx="8978">
                  <c:v>-2.0168067226890699E-2</c:v>
                </c:pt>
                <c:pt idx="8979">
                  <c:v>-2.0168067226890699E-2</c:v>
                </c:pt>
                <c:pt idx="8980">
                  <c:v>-2.0168067226890699E-2</c:v>
                </c:pt>
                <c:pt idx="8981">
                  <c:v>-2.0168067226890699E-2</c:v>
                </c:pt>
                <c:pt idx="8982">
                  <c:v>-2.0168067226890699E-2</c:v>
                </c:pt>
                <c:pt idx="8983">
                  <c:v>-2.0168067226890699E-2</c:v>
                </c:pt>
                <c:pt idx="8984">
                  <c:v>-1.9327731092437E-2</c:v>
                </c:pt>
                <c:pt idx="8985">
                  <c:v>-1.9327731092437E-2</c:v>
                </c:pt>
                <c:pt idx="8986">
                  <c:v>-1.9327731092437E-2</c:v>
                </c:pt>
                <c:pt idx="8987">
                  <c:v>-1.9327731092437E-2</c:v>
                </c:pt>
                <c:pt idx="8988">
                  <c:v>-1.9327731092437E-2</c:v>
                </c:pt>
                <c:pt idx="8989">
                  <c:v>-1.9327731092437E-2</c:v>
                </c:pt>
                <c:pt idx="8990">
                  <c:v>-1.9327731092437E-2</c:v>
                </c:pt>
                <c:pt idx="8991">
                  <c:v>-1.9327731092437E-2</c:v>
                </c:pt>
                <c:pt idx="8992">
                  <c:v>-1.9327731092437E-2</c:v>
                </c:pt>
                <c:pt idx="8993">
                  <c:v>-1.9327731092437E-2</c:v>
                </c:pt>
                <c:pt idx="8994">
                  <c:v>-1.9327731092437E-2</c:v>
                </c:pt>
                <c:pt idx="8995">
                  <c:v>-1.9327731092437E-2</c:v>
                </c:pt>
                <c:pt idx="8996">
                  <c:v>-1.9327731092437E-2</c:v>
                </c:pt>
                <c:pt idx="8997">
                  <c:v>-1.9327731092437E-2</c:v>
                </c:pt>
                <c:pt idx="8998">
                  <c:v>-1.9327731092437E-2</c:v>
                </c:pt>
                <c:pt idx="8999">
                  <c:v>-1.9327731092437E-2</c:v>
                </c:pt>
                <c:pt idx="9000">
                  <c:v>-1.9327731092437E-2</c:v>
                </c:pt>
                <c:pt idx="9001">
                  <c:v>-1.9327731092437E-2</c:v>
                </c:pt>
                <c:pt idx="9002">
                  <c:v>-1.9327731092437E-2</c:v>
                </c:pt>
                <c:pt idx="9003">
                  <c:v>-1.9327731092437E-2</c:v>
                </c:pt>
                <c:pt idx="9004">
                  <c:v>-1.9327731092437E-2</c:v>
                </c:pt>
                <c:pt idx="9005">
                  <c:v>-1.9327731092437E-2</c:v>
                </c:pt>
                <c:pt idx="9006">
                  <c:v>-1.9327731092437E-2</c:v>
                </c:pt>
                <c:pt idx="9007">
                  <c:v>-1.9327731092437E-2</c:v>
                </c:pt>
                <c:pt idx="9008">
                  <c:v>-1.9327731092437E-2</c:v>
                </c:pt>
                <c:pt idx="9009">
                  <c:v>-1.9327731092437E-2</c:v>
                </c:pt>
                <c:pt idx="9010">
                  <c:v>-1.9327731092437E-2</c:v>
                </c:pt>
                <c:pt idx="9011">
                  <c:v>-1.9327731092437E-2</c:v>
                </c:pt>
                <c:pt idx="9012">
                  <c:v>-1.9327731092437E-2</c:v>
                </c:pt>
                <c:pt idx="9013">
                  <c:v>-1.9327731092437E-2</c:v>
                </c:pt>
                <c:pt idx="9014">
                  <c:v>-1.9327731092437E-2</c:v>
                </c:pt>
                <c:pt idx="9015">
                  <c:v>-1.9327731092437E-2</c:v>
                </c:pt>
                <c:pt idx="9016">
                  <c:v>-1.9327731092437E-2</c:v>
                </c:pt>
                <c:pt idx="9017">
                  <c:v>-1.9327731092437E-2</c:v>
                </c:pt>
                <c:pt idx="9018">
                  <c:v>-2.0168067226890699E-2</c:v>
                </c:pt>
                <c:pt idx="9019">
                  <c:v>-2.0168067226890699E-2</c:v>
                </c:pt>
                <c:pt idx="9020">
                  <c:v>-2.0168067226890699E-2</c:v>
                </c:pt>
                <c:pt idx="9021">
                  <c:v>-2.0168067226890699E-2</c:v>
                </c:pt>
                <c:pt idx="9022">
                  <c:v>-2.0168067226890699E-2</c:v>
                </c:pt>
                <c:pt idx="9023">
                  <c:v>-2.0168067226890699E-2</c:v>
                </c:pt>
                <c:pt idx="9024">
                  <c:v>-2.0168067226890699E-2</c:v>
                </c:pt>
                <c:pt idx="9025">
                  <c:v>-2.0168067226890699E-2</c:v>
                </c:pt>
                <c:pt idx="9026">
                  <c:v>-2.0168067226890699E-2</c:v>
                </c:pt>
                <c:pt idx="9027">
                  <c:v>-2.0168067226890699E-2</c:v>
                </c:pt>
                <c:pt idx="9028">
                  <c:v>-2.0168067226890699E-2</c:v>
                </c:pt>
                <c:pt idx="9029">
                  <c:v>-2.0168067226890699E-2</c:v>
                </c:pt>
                <c:pt idx="9030">
                  <c:v>-2.0168067226890699E-2</c:v>
                </c:pt>
                <c:pt idx="9031">
                  <c:v>-2.0168067226890699E-2</c:v>
                </c:pt>
                <c:pt idx="9032">
                  <c:v>-2.0168067226890699E-2</c:v>
                </c:pt>
                <c:pt idx="9033">
                  <c:v>-2.0168067226890699E-2</c:v>
                </c:pt>
                <c:pt idx="9034">
                  <c:v>-2.0168067226890699E-2</c:v>
                </c:pt>
                <c:pt idx="9035">
                  <c:v>-2.0168067226890699E-2</c:v>
                </c:pt>
                <c:pt idx="9036">
                  <c:v>-2.0168067226890699E-2</c:v>
                </c:pt>
                <c:pt idx="9037">
                  <c:v>-2.0168067226890699E-2</c:v>
                </c:pt>
                <c:pt idx="9038">
                  <c:v>-2.0168067226890699E-2</c:v>
                </c:pt>
                <c:pt idx="9039">
                  <c:v>-2.0168067226890699E-2</c:v>
                </c:pt>
                <c:pt idx="9040">
                  <c:v>-2.0168067226890699E-2</c:v>
                </c:pt>
                <c:pt idx="9041">
                  <c:v>-2.0168067226890699E-2</c:v>
                </c:pt>
                <c:pt idx="9042">
                  <c:v>-2.0168067226890699E-2</c:v>
                </c:pt>
                <c:pt idx="9043">
                  <c:v>-2.0168067226890699E-2</c:v>
                </c:pt>
                <c:pt idx="9044">
                  <c:v>-2.0168067226890699E-2</c:v>
                </c:pt>
                <c:pt idx="9045">
                  <c:v>-2.0168067226890699E-2</c:v>
                </c:pt>
                <c:pt idx="9046">
                  <c:v>-2.0168067226890699E-2</c:v>
                </c:pt>
                <c:pt idx="9047">
                  <c:v>-2.0168067226890699E-2</c:v>
                </c:pt>
                <c:pt idx="9048">
                  <c:v>-2.0168067226890699E-2</c:v>
                </c:pt>
                <c:pt idx="9049">
                  <c:v>-2.0168067226890699E-2</c:v>
                </c:pt>
                <c:pt idx="9050">
                  <c:v>-2.0168067226890699E-2</c:v>
                </c:pt>
                <c:pt idx="9051">
                  <c:v>-2.0168067226890699E-2</c:v>
                </c:pt>
                <c:pt idx="9052">
                  <c:v>-2.0168067226890699E-2</c:v>
                </c:pt>
                <c:pt idx="9053">
                  <c:v>-1.9327731092437E-2</c:v>
                </c:pt>
                <c:pt idx="9054">
                  <c:v>-1.9327731092437E-2</c:v>
                </c:pt>
                <c:pt idx="9055">
                  <c:v>-1.9327731092437E-2</c:v>
                </c:pt>
                <c:pt idx="9056">
                  <c:v>-1.9327731092437E-2</c:v>
                </c:pt>
                <c:pt idx="9057">
                  <c:v>-1.9327731092437E-2</c:v>
                </c:pt>
                <c:pt idx="9058">
                  <c:v>-1.9327731092437E-2</c:v>
                </c:pt>
                <c:pt idx="9059">
                  <c:v>-1.9327731092437E-2</c:v>
                </c:pt>
                <c:pt idx="9060">
                  <c:v>-1.9327731092437E-2</c:v>
                </c:pt>
                <c:pt idx="9061">
                  <c:v>-1.9327731092437E-2</c:v>
                </c:pt>
                <c:pt idx="9062">
                  <c:v>-1.9327731092437E-2</c:v>
                </c:pt>
                <c:pt idx="9063">
                  <c:v>-1.9327731092437E-2</c:v>
                </c:pt>
                <c:pt idx="9064">
                  <c:v>-1.9327731092437E-2</c:v>
                </c:pt>
                <c:pt idx="9065">
                  <c:v>-1.9327731092437E-2</c:v>
                </c:pt>
                <c:pt idx="9066">
                  <c:v>-1.9327731092437E-2</c:v>
                </c:pt>
                <c:pt idx="9067">
                  <c:v>-1.9327731092437E-2</c:v>
                </c:pt>
                <c:pt idx="9068">
                  <c:v>-1.9327731092437E-2</c:v>
                </c:pt>
                <c:pt idx="9069">
                  <c:v>-1.9327731092437E-2</c:v>
                </c:pt>
                <c:pt idx="9070">
                  <c:v>-1.9327731092437E-2</c:v>
                </c:pt>
                <c:pt idx="9071">
                  <c:v>-1.9327731092437E-2</c:v>
                </c:pt>
                <c:pt idx="9072">
                  <c:v>-1.9327731092437E-2</c:v>
                </c:pt>
                <c:pt idx="9073">
                  <c:v>-1.9327731092437E-2</c:v>
                </c:pt>
                <c:pt idx="9074">
                  <c:v>-1.9327731092437E-2</c:v>
                </c:pt>
                <c:pt idx="9075">
                  <c:v>-1.9327731092437E-2</c:v>
                </c:pt>
                <c:pt idx="9076">
                  <c:v>-1.9327731092437E-2</c:v>
                </c:pt>
                <c:pt idx="9077">
                  <c:v>-1.9327731092437E-2</c:v>
                </c:pt>
                <c:pt idx="9078">
                  <c:v>-1.9327731092437E-2</c:v>
                </c:pt>
                <c:pt idx="9079">
                  <c:v>-1.9327731092437E-2</c:v>
                </c:pt>
                <c:pt idx="9080">
                  <c:v>-1.9327731092437E-2</c:v>
                </c:pt>
                <c:pt idx="9081">
                  <c:v>-1.9327731092437E-2</c:v>
                </c:pt>
                <c:pt idx="9082">
                  <c:v>-1.9327731092437E-2</c:v>
                </c:pt>
                <c:pt idx="9083">
                  <c:v>-1.9327731092437E-2</c:v>
                </c:pt>
                <c:pt idx="9084">
                  <c:v>-1.9327731092437E-2</c:v>
                </c:pt>
                <c:pt idx="9085">
                  <c:v>-1.9327731092437E-2</c:v>
                </c:pt>
                <c:pt idx="9086">
                  <c:v>-1.9327731092437E-2</c:v>
                </c:pt>
                <c:pt idx="9087">
                  <c:v>-1.9327731092437E-2</c:v>
                </c:pt>
                <c:pt idx="9088">
                  <c:v>-1.9327731092437E-2</c:v>
                </c:pt>
                <c:pt idx="9089">
                  <c:v>-1.9327731092437E-2</c:v>
                </c:pt>
                <c:pt idx="9090">
                  <c:v>-1.9327731092437E-2</c:v>
                </c:pt>
                <c:pt idx="9091">
                  <c:v>-1.9327731092437E-2</c:v>
                </c:pt>
                <c:pt idx="9092">
                  <c:v>-1.9327731092437E-2</c:v>
                </c:pt>
                <c:pt idx="9093">
                  <c:v>-1.9327731092437E-2</c:v>
                </c:pt>
                <c:pt idx="9094">
                  <c:v>-1.9327731092437E-2</c:v>
                </c:pt>
                <c:pt idx="9095">
                  <c:v>-1.9327731092437E-2</c:v>
                </c:pt>
                <c:pt idx="9096">
                  <c:v>-1.9327731092437E-2</c:v>
                </c:pt>
                <c:pt idx="9097">
                  <c:v>-1.9327731092437E-2</c:v>
                </c:pt>
                <c:pt idx="9098">
                  <c:v>-1.9327731092437E-2</c:v>
                </c:pt>
                <c:pt idx="9099">
                  <c:v>-1.9327731092437E-2</c:v>
                </c:pt>
                <c:pt idx="9100">
                  <c:v>-1.9327731092437E-2</c:v>
                </c:pt>
                <c:pt idx="9101">
                  <c:v>-1.9327731092437E-2</c:v>
                </c:pt>
                <c:pt idx="9102">
                  <c:v>-1.84873949579832E-2</c:v>
                </c:pt>
                <c:pt idx="9103">
                  <c:v>-1.84873949579832E-2</c:v>
                </c:pt>
                <c:pt idx="9104">
                  <c:v>-1.9327731092437E-2</c:v>
                </c:pt>
                <c:pt idx="9105">
                  <c:v>-1.9327731092437E-2</c:v>
                </c:pt>
                <c:pt idx="9106">
                  <c:v>-1.9327731092437E-2</c:v>
                </c:pt>
                <c:pt idx="9107">
                  <c:v>-1.9327731092437E-2</c:v>
                </c:pt>
                <c:pt idx="9108">
                  <c:v>-1.9327731092437E-2</c:v>
                </c:pt>
                <c:pt idx="9109">
                  <c:v>-1.9327731092437E-2</c:v>
                </c:pt>
                <c:pt idx="9110">
                  <c:v>-1.9327731092437E-2</c:v>
                </c:pt>
                <c:pt idx="9111">
                  <c:v>-1.9327731092437E-2</c:v>
                </c:pt>
                <c:pt idx="9112">
                  <c:v>-1.9327731092437E-2</c:v>
                </c:pt>
                <c:pt idx="9113">
                  <c:v>-1.9327731092437E-2</c:v>
                </c:pt>
                <c:pt idx="9114">
                  <c:v>-1.9327731092437E-2</c:v>
                </c:pt>
                <c:pt idx="9115">
                  <c:v>-1.9327731092437E-2</c:v>
                </c:pt>
                <c:pt idx="9116">
                  <c:v>-1.9327731092437E-2</c:v>
                </c:pt>
                <c:pt idx="9117">
                  <c:v>-1.9327731092437E-2</c:v>
                </c:pt>
                <c:pt idx="9118">
                  <c:v>-1.9327731092437E-2</c:v>
                </c:pt>
                <c:pt idx="9119">
                  <c:v>-1.9327731092437E-2</c:v>
                </c:pt>
                <c:pt idx="9120">
                  <c:v>-1.9327731092437E-2</c:v>
                </c:pt>
                <c:pt idx="9121">
                  <c:v>-1.9327731092437E-2</c:v>
                </c:pt>
                <c:pt idx="9122">
                  <c:v>-1.9327731092437E-2</c:v>
                </c:pt>
                <c:pt idx="9123">
                  <c:v>-1.9327731092437E-2</c:v>
                </c:pt>
                <c:pt idx="9124">
                  <c:v>-1.9327731092437E-2</c:v>
                </c:pt>
                <c:pt idx="9125">
                  <c:v>-1.9327731092437E-2</c:v>
                </c:pt>
                <c:pt idx="9126">
                  <c:v>-1.9327731092437E-2</c:v>
                </c:pt>
                <c:pt idx="9127">
                  <c:v>-1.9327731092437E-2</c:v>
                </c:pt>
                <c:pt idx="9128">
                  <c:v>-1.9327731092437E-2</c:v>
                </c:pt>
                <c:pt idx="9129">
                  <c:v>-1.9327731092437E-2</c:v>
                </c:pt>
                <c:pt idx="9130">
                  <c:v>-1.9327731092437E-2</c:v>
                </c:pt>
                <c:pt idx="9131">
                  <c:v>-1.9327731092437E-2</c:v>
                </c:pt>
                <c:pt idx="9132">
                  <c:v>-1.9327731092437E-2</c:v>
                </c:pt>
                <c:pt idx="9133">
                  <c:v>-1.9327731092437E-2</c:v>
                </c:pt>
                <c:pt idx="9134">
                  <c:v>-1.9327731092437E-2</c:v>
                </c:pt>
                <c:pt idx="9135">
                  <c:v>-1.9327731092437E-2</c:v>
                </c:pt>
                <c:pt idx="9136">
                  <c:v>-1.9327731092437E-2</c:v>
                </c:pt>
                <c:pt idx="9137">
                  <c:v>-1.9327731092437E-2</c:v>
                </c:pt>
                <c:pt idx="9138">
                  <c:v>-1.9327731092437E-2</c:v>
                </c:pt>
                <c:pt idx="9139">
                  <c:v>-1.9327731092437E-2</c:v>
                </c:pt>
                <c:pt idx="9140">
                  <c:v>-1.9327731092437E-2</c:v>
                </c:pt>
                <c:pt idx="9141">
                  <c:v>-1.9327731092437E-2</c:v>
                </c:pt>
                <c:pt idx="9142">
                  <c:v>-1.9327731092437E-2</c:v>
                </c:pt>
                <c:pt idx="9143">
                  <c:v>-1.9327731092437E-2</c:v>
                </c:pt>
                <c:pt idx="9144">
                  <c:v>-1.9327731092437E-2</c:v>
                </c:pt>
                <c:pt idx="9145">
                  <c:v>-1.9327731092437E-2</c:v>
                </c:pt>
                <c:pt idx="9146">
                  <c:v>-1.9327731092437E-2</c:v>
                </c:pt>
                <c:pt idx="9147">
                  <c:v>-1.9327731092437E-2</c:v>
                </c:pt>
                <c:pt idx="9148">
                  <c:v>-1.9327731092437E-2</c:v>
                </c:pt>
                <c:pt idx="9149">
                  <c:v>-1.9327731092437E-2</c:v>
                </c:pt>
                <c:pt idx="9150">
                  <c:v>-1.9327731092437E-2</c:v>
                </c:pt>
                <c:pt idx="9151">
                  <c:v>-1.9327731092437E-2</c:v>
                </c:pt>
                <c:pt idx="9152">
                  <c:v>-1.84873949579832E-2</c:v>
                </c:pt>
                <c:pt idx="9153">
                  <c:v>-1.84873949579832E-2</c:v>
                </c:pt>
                <c:pt idx="9154">
                  <c:v>-1.84873949579832E-2</c:v>
                </c:pt>
                <c:pt idx="9155">
                  <c:v>-1.9327731092437E-2</c:v>
                </c:pt>
                <c:pt idx="9156">
                  <c:v>-1.9327731092437E-2</c:v>
                </c:pt>
                <c:pt idx="9157">
                  <c:v>-1.9327731092437E-2</c:v>
                </c:pt>
                <c:pt idx="9158">
                  <c:v>-2.0168067226890699E-2</c:v>
                </c:pt>
                <c:pt idx="9159">
                  <c:v>-2.0168067226890699E-2</c:v>
                </c:pt>
                <c:pt idx="9160">
                  <c:v>-2.0168067226890699E-2</c:v>
                </c:pt>
                <c:pt idx="9161">
                  <c:v>-2.0168067226890699E-2</c:v>
                </c:pt>
                <c:pt idx="9162">
                  <c:v>-2.0168067226890699E-2</c:v>
                </c:pt>
                <c:pt idx="9163">
                  <c:v>-2.0168067226890699E-2</c:v>
                </c:pt>
                <c:pt idx="9164">
                  <c:v>-2.0168067226890699E-2</c:v>
                </c:pt>
                <c:pt idx="9165">
                  <c:v>-2.0168067226890699E-2</c:v>
                </c:pt>
                <c:pt idx="9166">
                  <c:v>-2.0168067226890699E-2</c:v>
                </c:pt>
                <c:pt idx="9167">
                  <c:v>-2.0168067226890699E-2</c:v>
                </c:pt>
                <c:pt idx="9168">
                  <c:v>-2.0168067226890699E-2</c:v>
                </c:pt>
                <c:pt idx="9169">
                  <c:v>-2.0168067226890699E-2</c:v>
                </c:pt>
                <c:pt idx="9170">
                  <c:v>-2.0168067226890699E-2</c:v>
                </c:pt>
                <c:pt idx="9171">
                  <c:v>-2.0168067226890699E-2</c:v>
                </c:pt>
                <c:pt idx="9172">
                  <c:v>-2.0168067226890699E-2</c:v>
                </c:pt>
                <c:pt idx="9173">
                  <c:v>-2.1008403361344501E-2</c:v>
                </c:pt>
                <c:pt idx="9174">
                  <c:v>-2.1008403361344501E-2</c:v>
                </c:pt>
                <c:pt idx="9175">
                  <c:v>-2.1008403361344501E-2</c:v>
                </c:pt>
                <c:pt idx="9176">
                  <c:v>-2.1008403361344501E-2</c:v>
                </c:pt>
                <c:pt idx="9177">
                  <c:v>-2.1008403361344501E-2</c:v>
                </c:pt>
                <c:pt idx="9178">
                  <c:v>-2.1008403361344501E-2</c:v>
                </c:pt>
                <c:pt idx="9179">
                  <c:v>-2.1008403361344501E-2</c:v>
                </c:pt>
                <c:pt idx="9180">
                  <c:v>-2.1008403361344501E-2</c:v>
                </c:pt>
                <c:pt idx="9181">
                  <c:v>-2.1008403361344501E-2</c:v>
                </c:pt>
                <c:pt idx="9182">
                  <c:v>-2.1008403361344501E-2</c:v>
                </c:pt>
                <c:pt idx="9183">
                  <c:v>-2.1008403361344501E-2</c:v>
                </c:pt>
                <c:pt idx="9184">
                  <c:v>-2.1008403361344501E-2</c:v>
                </c:pt>
                <c:pt idx="9185">
                  <c:v>-2.1008403361344501E-2</c:v>
                </c:pt>
                <c:pt idx="9186">
                  <c:v>-2.1008403361344501E-2</c:v>
                </c:pt>
                <c:pt idx="9187">
                  <c:v>-2.1008403361344501E-2</c:v>
                </c:pt>
                <c:pt idx="9188">
                  <c:v>-2.1008403361344501E-2</c:v>
                </c:pt>
                <c:pt idx="9189">
                  <c:v>-2.1008403361344501E-2</c:v>
                </c:pt>
                <c:pt idx="9190">
                  <c:v>-2.1008403361344501E-2</c:v>
                </c:pt>
                <c:pt idx="9191">
                  <c:v>-2.1008403361344501E-2</c:v>
                </c:pt>
                <c:pt idx="9192">
                  <c:v>-2.1008403361344501E-2</c:v>
                </c:pt>
                <c:pt idx="9193">
                  <c:v>-2.1008403361344501E-2</c:v>
                </c:pt>
                <c:pt idx="9194">
                  <c:v>-2.1008403361344501E-2</c:v>
                </c:pt>
                <c:pt idx="9195">
                  <c:v>-2.1008403361344501E-2</c:v>
                </c:pt>
                <c:pt idx="9196">
                  <c:v>-2.1008403361344501E-2</c:v>
                </c:pt>
                <c:pt idx="9197">
                  <c:v>-2.1008403361344501E-2</c:v>
                </c:pt>
                <c:pt idx="9198">
                  <c:v>-2.0168067226890699E-2</c:v>
                </c:pt>
                <c:pt idx="9199">
                  <c:v>-2.0168067226890699E-2</c:v>
                </c:pt>
                <c:pt idx="9200">
                  <c:v>-2.0168067226890699E-2</c:v>
                </c:pt>
                <c:pt idx="9201">
                  <c:v>-2.0168067226890699E-2</c:v>
                </c:pt>
                <c:pt idx="9202">
                  <c:v>-2.0168067226890699E-2</c:v>
                </c:pt>
                <c:pt idx="9203">
                  <c:v>-2.0168067226890699E-2</c:v>
                </c:pt>
                <c:pt idx="9204">
                  <c:v>-2.0168067226890699E-2</c:v>
                </c:pt>
                <c:pt idx="9205">
                  <c:v>-2.0168067226890699E-2</c:v>
                </c:pt>
                <c:pt idx="9206">
                  <c:v>-2.0168067226890699E-2</c:v>
                </c:pt>
                <c:pt idx="9207">
                  <c:v>-2.0168067226890699E-2</c:v>
                </c:pt>
                <c:pt idx="9208">
                  <c:v>-2.0168067226890699E-2</c:v>
                </c:pt>
                <c:pt idx="9209">
                  <c:v>-1.9327731092436899E-2</c:v>
                </c:pt>
                <c:pt idx="9210">
                  <c:v>-1.9327731092436899E-2</c:v>
                </c:pt>
                <c:pt idx="9211">
                  <c:v>-1.9327731092436899E-2</c:v>
                </c:pt>
                <c:pt idx="9212">
                  <c:v>-1.9327731092436899E-2</c:v>
                </c:pt>
                <c:pt idx="9213">
                  <c:v>-1.9327731092436899E-2</c:v>
                </c:pt>
                <c:pt idx="9214">
                  <c:v>-1.9327731092436899E-2</c:v>
                </c:pt>
                <c:pt idx="9215">
                  <c:v>-1.9327731092436899E-2</c:v>
                </c:pt>
                <c:pt idx="9216">
                  <c:v>-1.9327731092436899E-2</c:v>
                </c:pt>
                <c:pt idx="9217">
                  <c:v>-1.9327731092436899E-2</c:v>
                </c:pt>
                <c:pt idx="9218">
                  <c:v>-1.9327731092436899E-2</c:v>
                </c:pt>
                <c:pt idx="9219">
                  <c:v>-1.9327731092436899E-2</c:v>
                </c:pt>
                <c:pt idx="9220">
                  <c:v>-1.9327731092436899E-2</c:v>
                </c:pt>
                <c:pt idx="9221">
                  <c:v>-1.9327731092436899E-2</c:v>
                </c:pt>
                <c:pt idx="9222">
                  <c:v>-1.9327731092436899E-2</c:v>
                </c:pt>
                <c:pt idx="9223">
                  <c:v>-1.9327731092436899E-2</c:v>
                </c:pt>
                <c:pt idx="9224">
                  <c:v>-1.9327731092436899E-2</c:v>
                </c:pt>
                <c:pt idx="9225">
                  <c:v>-1.9327731092436899E-2</c:v>
                </c:pt>
                <c:pt idx="9226">
                  <c:v>-1.9327731092436899E-2</c:v>
                </c:pt>
                <c:pt idx="9227">
                  <c:v>-1.9327731092436899E-2</c:v>
                </c:pt>
                <c:pt idx="9228">
                  <c:v>-1.9327731092436899E-2</c:v>
                </c:pt>
                <c:pt idx="9229">
                  <c:v>-1.9327731092436899E-2</c:v>
                </c:pt>
                <c:pt idx="9230">
                  <c:v>-1.9327731092436899E-2</c:v>
                </c:pt>
                <c:pt idx="9231">
                  <c:v>-1.9327731092436899E-2</c:v>
                </c:pt>
                <c:pt idx="9232">
                  <c:v>-1.9327731092436899E-2</c:v>
                </c:pt>
                <c:pt idx="9233">
                  <c:v>-1.9327731092436899E-2</c:v>
                </c:pt>
                <c:pt idx="9234">
                  <c:v>-1.9327731092436899E-2</c:v>
                </c:pt>
                <c:pt idx="9235">
                  <c:v>-1.9327731092436899E-2</c:v>
                </c:pt>
                <c:pt idx="9236">
                  <c:v>-1.9327731092436899E-2</c:v>
                </c:pt>
                <c:pt idx="9237">
                  <c:v>-1.9327731092436899E-2</c:v>
                </c:pt>
                <c:pt idx="9238">
                  <c:v>-1.9327731092436899E-2</c:v>
                </c:pt>
                <c:pt idx="9239">
                  <c:v>-1.9327731092436899E-2</c:v>
                </c:pt>
                <c:pt idx="9240">
                  <c:v>-1.9327731092436899E-2</c:v>
                </c:pt>
                <c:pt idx="9241">
                  <c:v>-1.9327731092436899E-2</c:v>
                </c:pt>
                <c:pt idx="9242">
                  <c:v>-1.9327731092436899E-2</c:v>
                </c:pt>
                <c:pt idx="9243">
                  <c:v>-1.9327731092436899E-2</c:v>
                </c:pt>
                <c:pt idx="9244">
                  <c:v>-1.9327731092436899E-2</c:v>
                </c:pt>
                <c:pt idx="9245">
                  <c:v>-1.9327731092436899E-2</c:v>
                </c:pt>
                <c:pt idx="9246">
                  <c:v>-1.9327731092436899E-2</c:v>
                </c:pt>
                <c:pt idx="9247">
                  <c:v>-1.9327731092436899E-2</c:v>
                </c:pt>
                <c:pt idx="9248">
                  <c:v>-1.9327731092436899E-2</c:v>
                </c:pt>
                <c:pt idx="9249">
                  <c:v>-1.9327731092436899E-2</c:v>
                </c:pt>
                <c:pt idx="9250">
                  <c:v>-1.9327731092436899E-2</c:v>
                </c:pt>
                <c:pt idx="9251">
                  <c:v>-1.9327731092436899E-2</c:v>
                </c:pt>
                <c:pt idx="9252">
                  <c:v>-1.9327731092436899E-2</c:v>
                </c:pt>
                <c:pt idx="9253">
                  <c:v>-1.9327731092436899E-2</c:v>
                </c:pt>
                <c:pt idx="9254">
                  <c:v>-1.9327731092436899E-2</c:v>
                </c:pt>
                <c:pt idx="9255">
                  <c:v>-1.9327731092436899E-2</c:v>
                </c:pt>
                <c:pt idx="9256">
                  <c:v>-1.9327731092436899E-2</c:v>
                </c:pt>
                <c:pt idx="9257">
                  <c:v>-1.84873949579831E-2</c:v>
                </c:pt>
                <c:pt idx="9258">
                  <c:v>-1.84873949579831E-2</c:v>
                </c:pt>
                <c:pt idx="9259">
                  <c:v>-1.84873949579831E-2</c:v>
                </c:pt>
                <c:pt idx="9260">
                  <c:v>-1.84873949579831E-2</c:v>
                </c:pt>
                <c:pt idx="9261">
                  <c:v>-1.84873949579831E-2</c:v>
                </c:pt>
                <c:pt idx="9262">
                  <c:v>-1.84873949579831E-2</c:v>
                </c:pt>
                <c:pt idx="9263">
                  <c:v>-1.84873949579831E-2</c:v>
                </c:pt>
                <c:pt idx="9264">
                  <c:v>-1.84873949579831E-2</c:v>
                </c:pt>
                <c:pt idx="9265">
                  <c:v>-1.84873949579831E-2</c:v>
                </c:pt>
                <c:pt idx="9266">
                  <c:v>-1.84873949579831E-2</c:v>
                </c:pt>
                <c:pt idx="9267">
                  <c:v>-1.84873949579831E-2</c:v>
                </c:pt>
                <c:pt idx="9268">
                  <c:v>-1.84873949579831E-2</c:v>
                </c:pt>
                <c:pt idx="9269">
                  <c:v>-1.84873949579831E-2</c:v>
                </c:pt>
                <c:pt idx="9270">
                  <c:v>-1.84873949579831E-2</c:v>
                </c:pt>
                <c:pt idx="9271">
                  <c:v>-1.84873949579831E-2</c:v>
                </c:pt>
                <c:pt idx="9272">
                  <c:v>-1.84873949579831E-2</c:v>
                </c:pt>
                <c:pt idx="9273">
                  <c:v>-1.84873949579831E-2</c:v>
                </c:pt>
                <c:pt idx="9274">
                  <c:v>-1.84873949579831E-2</c:v>
                </c:pt>
                <c:pt idx="9275">
                  <c:v>-1.84873949579831E-2</c:v>
                </c:pt>
                <c:pt idx="9276">
                  <c:v>-1.84873949579831E-2</c:v>
                </c:pt>
                <c:pt idx="9277">
                  <c:v>-1.84873949579831E-2</c:v>
                </c:pt>
                <c:pt idx="9278">
                  <c:v>-1.9327731092436899E-2</c:v>
                </c:pt>
                <c:pt idx="9279">
                  <c:v>-1.9327731092436899E-2</c:v>
                </c:pt>
                <c:pt idx="9280">
                  <c:v>-1.9327731092436899E-2</c:v>
                </c:pt>
                <c:pt idx="9281">
                  <c:v>-1.9327731092436899E-2</c:v>
                </c:pt>
                <c:pt idx="9282">
                  <c:v>-1.9327731092436899E-2</c:v>
                </c:pt>
                <c:pt idx="9283">
                  <c:v>-1.9327731092436899E-2</c:v>
                </c:pt>
                <c:pt idx="9284">
                  <c:v>-1.9327731092436899E-2</c:v>
                </c:pt>
                <c:pt idx="9285">
                  <c:v>-1.9327731092436899E-2</c:v>
                </c:pt>
                <c:pt idx="9286">
                  <c:v>-1.9327731092436899E-2</c:v>
                </c:pt>
                <c:pt idx="9287">
                  <c:v>-1.9327731092436899E-2</c:v>
                </c:pt>
                <c:pt idx="9288">
                  <c:v>-1.9327731092436899E-2</c:v>
                </c:pt>
                <c:pt idx="9289">
                  <c:v>-1.9327731092436899E-2</c:v>
                </c:pt>
                <c:pt idx="9290">
                  <c:v>-1.9327731092436899E-2</c:v>
                </c:pt>
                <c:pt idx="9291">
                  <c:v>-1.9327731092436899E-2</c:v>
                </c:pt>
                <c:pt idx="9292">
                  <c:v>-1.9327731092436899E-2</c:v>
                </c:pt>
                <c:pt idx="9293">
                  <c:v>-1.9327731092436899E-2</c:v>
                </c:pt>
                <c:pt idx="9294">
                  <c:v>-1.9327731092436899E-2</c:v>
                </c:pt>
                <c:pt idx="9295">
                  <c:v>-1.9327731092436899E-2</c:v>
                </c:pt>
                <c:pt idx="9296">
                  <c:v>-1.9327731092436899E-2</c:v>
                </c:pt>
                <c:pt idx="9297">
                  <c:v>-1.9327731092436899E-2</c:v>
                </c:pt>
                <c:pt idx="9298">
                  <c:v>-1.9327731092436899E-2</c:v>
                </c:pt>
                <c:pt idx="9299">
                  <c:v>-1.9327731092436899E-2</c:v>
                </c:pt>
                <c:pt idx="9300">
                  <c:v>-2.0168067226890699E-2</c:v>
                </c:pt>
                <c:pt idx="9301">
                  <c:v>-2.0168067226890699E-2</c:v>
                </c:pt>
                <c:pt idx="9302">
                  <c:v>-2.0168067226890699E-2</c:v>
                </c:pt>
                <c:pt idx="9303">
                  <c:v>-2.0168067226890699E-2</c:v>
                </c:pt>
                <c:pt idx="9304">
                  <c:v>-2.0168067226890699E-2</c:v>
                </c:pt>
                <c:pt idx="9305">
                  <c:v>-2.0168067226890699E-2</c:v>
                </c:pt>
                <c:pt idx="9306">
                  <c:v>-2.0168067226890699E-2</c:v>
                </c:pt>
                <c:pt idx="9307">
                  <c:v>-2.0168067226890699E-2</c:v>
                </c:pt>
                <c:pt idx="9308">
                  <c:v>-2.0168067226890699E-2</c:v>
                </c:pt>
                <c:pt idx="9309">
                  <c:v>-2.0168067226890699E-2</c:v>
                </c:pt>
                <c:pt idx="9310">
                  <c:v>-2.0168067226890699E-2</c:v>
                </c:pt>
                <c:pt idx="9311">
                  <c:v>-1.9327731092436899E-2</c:v>
                </c:pt>
                <c:pt idx="9312">
                  <c:v>-1.9327731092436899E-2</c:v>
                </c:pt>
                <c:pt idx="9313">
                  <c:v>-1.9327731092436899E-2</c:v>
                </c:pt>
                <c:pt idx="9314">
                  <c:v>-1.9327731092436899E-2</c:v>
                </c:pt>
                <c:pt idx="9315">
                  <c:v>-1.9327731092436899E-2</c:v>
                </c:pt>
                <c:pt idx="9316">
                  <c:v>-1.9327731092436899E-2</c:v>
                </c:pt>
                <c:pt idx="9317">
                  <c:v>-1.9327731092436899E-2</c:v>
                </c:pt>
                <c:pt idx="9318">
                  <c:v>-1.9327731092436899E-2</c:v>
                </c:pt>
                <c:pt idx="9319">
                  <c:v>-1.9327731092436899E-2</c:v>
                </c:pt>
                <c:pt idx="9320">
                  <c:v>-1.9327731092436899E-2</c:v>
                </c:pt>
                <c:pt idx="9321">
                  <c:v>-1.9327731092436899E-2</c:v>
                </c:pt>
                <c:pt idx="9322">
                  <c:v>-1.9327731092436899E-2</c:v>
                </c:pt>
                <c:pt idx="9323">
                  <c:v>-1.9327731092436899E-2</c:v>
                </c:pt>
                <c:pt idx="9324">
                  <c:v>-1.9327731092436899E-2</c:v>
                </c:pt>
                <c:pt idx="9325">
                  <c:v>-1.9327731092436899E-2</c:v>
                </c:pt>
                <c:pt idx="9326">
                  <c:v>-1.84873949579831E-2</c:v>
                </c:pt>
                <c:pt idx="9327">
                  <c:v>-1.84873949579831E-2</c:v>
                </c:pt>
                <c:pt idx="9328">
                  <c:v>-1.9327731092436899E-2</c:v>
                </c:pt>
                <c:pt idx="9329">
                  <c:v>-1.9327731092436899E-2</c:v>
                </c:pt>
                <c:pt idx="9330">
                  <c:v>-1.9327731092436899E-2</c:v>
                </c:pt>
                <c:pt idx="9331">
                  <c:v>-1.9327731092436899E-2</c:v>
                </c:pt>
                <c:pt idx="9332">
                  <c:v>-1.9327731092436899E-2</c:v>
                </c:pt>
                <c:pt idx="9333">
                  <c:v>-1.9327731092436899E-2</c:v>
                </c:pt>
                <c:pt idx="9334">
                  <c:v>-1.9327731092436899E-2</c:v>
                </c:pt>
                <c:pt idx="9335">
                  <c:v>-1.9327731092436899E-2</c:v>
                </c:pt>
                <c:pt idx="9336">
                  <c:v>-1.9327731092436899E-2</c:v>
                </c:pt>
                <c:pt idx="9337">
                  <c:v>-1.9327731092436899E-2</c:v>
                </c:pt>
                <c:pt idx="9338">
                  <c:v>-1.9327731092436899E-2</c:v>
                </c:pt>
                <c:pt idx="9339">
                  <c:v>-1.9327731092436899E-2</c:v>
                </c:pt>
                <c:pt idx="9340">
                  <c:v>-1.9327731092436899E-2</c:v>
                </c:pt>
                <c:pt idx="9341">
                  <c:v>-1.9327731092436899E-2</c:v>
                </c:pt>
                <c:pt idx="9342">
                  <c:v>-1.9327731092436899E-2</c:v>
                </c:pt>
                <c:pt idx="9343">
                  <c:v>-1.9327731092436899E-2</c:v>
                </c:pt>
                <c:pt idx="9344">
                  <c:v>-1.84873949579831E-2</c:v>
                </c:pt>
                <c:pt idx="9345">
                  <c:v>-1.84873949579831E-2</c:v>
                </c:pt>
                <c:pt idx="9346">
                  <c:v>-1.84873949579831E-2</c:v>
                </c:pt>
                <c:pt idx="9347">
                  <c:v>-1.84873949579831E-2</c:v>
                </c:pt>
                <c:pt idx="9348">
                  <c:v>-1.84873949579831E-2</c:v>
                </c:pt>
                <c:pt idx="9349">
                  <c:v>-1.84873949579831E-2</c:v>
                </c:pt>
                <c:pt idx="9350">
                  <c:v>-1.84873949579831E-2</c:v>
                </c:pt>
                <c:pt idx="9351">
                  <c:v>-1.84873949579831E-2</c:v>
                </c:pt>
                <c:pt idx="9352">
                  <c:v>-1.84873949579831E-2</c:v>
                </c:pt>
                <c:pt idx="9353">
                  <c:v>-1.84873949579831E-2</c:v>
                </c:pt>
                <c:pt idx="9354">
                  <c:v>-1.84873949579831E-2</c:v>
                </c:pt>
                <c:pt idx="9355">
                  <c:v>-1.84873949579831E-2</c:v>
                </c:pt>
                <c:pt idx="9356">
                  <c:v>-1.9327731092436899E-2</c:v>
                </c:pt>
                <c:pt idx="9357">
                  <c:v>-1.9327731092436899E-2</c:v>
                </c:pt>
                <c:pt idx="9358">
                  <c:v>-1.9327731092436899E-2</c:v>
                </c:pt>
                <c:pt idx="9359">
                  <c:v>-1.9327731092436899E-2</c:v>
                </c:pt>
                <c:pt idx="9360">
                  <c:v>-1.9327731092436899E-2</c:v>
                </c:pt>
                <c:pt idx="9361">
                  <c:v>-1.9327731092436899E-2</c:v>
                </c:pt>
                <c:pt idx="9362">
                  <c:v>-1.9327731092436899E-2</c:v>
                </c:pt>
                <c:pt idx="9363">
                  <c:v>-2.0168067226890699E-2</c:v>
                </c:pt>
                <c:pt idx="9364">
                  <c:v>-2.0168067226890699E-2</c:v>
                </c:pt>
                <c:pt idx="9365">
                  <c:v>-2.0168067226890699E-2</c:v>
                </c:pt>
                <c:pt idx="9366">
                  <c:v>-2.0168067226890699E-2</c:v>
                </c:pt>
                <c:pt idx="9367">
                  <c:v>-2.0168067226890699E-2</c:v>
                </c:pt>
                <c:pt idx="9368">
                  <c:v>-2.0168067226890699E-2</c:v>
                </c:pt>
                <c:pt idx="9369">
                  <c:v>-2.0168067226890699E-2</c:v>
                </c:pt>
                <c:pt idx="9370">
                  <c:v>-2.0168067226890699E-2</c:v>
                </c:pt>
                <c:pt idx="9371">
                  <c:v>-2.0168067226890699E-2</c:v>
                </c:pt>
                <c:pt idx="9372">
                  <c:v>-2.0168067226890699E-2</c:v>
                </c:pt>
                <c:pt idx="9373">
                  <c:v>-2.0168067226890699E-2</c:v>
                </c:pt>
                <c:pt idx="9374">
                  <c:v>-2.0168067226890699E-2</c:v>
                </c:pt>
                <c:pt idx="9375">
                  <c:v>-2.0168067226890699E-2</c:v>
                </c:pt>
                <c:pt idx="9376">
                  <c:v>-2.0168067226890699E-2</c:v>
                </c:pt>
                <c:pt idx="9377">
                  <c:v>-2.0168067226890699E-2</c:v>
                </c:pt>
                <c:pt idx="9378">
                  <c:v>-2.0168067226890699E-2</c:v>
                </c:pt>
                <c:pt idx="9379">
                  <c:v>-2.0168067226890699E-2</c:v>
                </c:pt>
                <c:pt idx="9380">
                  <c:v>-2.0168067226890699E-2</c:v>
                </c:pt>
                <c:pt idx="9381">
                  <c:v>-1.9327731092436899E-2</c:v>
                </c:pt>
                <c:pt idx="9382">
                  <c:v>-1.9327731092436899E-2</c:v>
                </c:pt>
                <c:pt idx="9383">
                  <c:v>-1.9327731092436899E-2</c:v>
                </c:pt>
                <c:pt idx="9384">
                  <c:v>-1.9327731092436899E-2</c:v>
                </c:pt>
                <c:pt idx="9385">
                  <c:v>-1.9327731092436899E-2</c:v>
                </c:pt>
                <c:pt idx="9386">
                  <c:v>-1.9327731092436899E-2</c:v>
                </c:pt>
                <c:pt idx="9387">
                  <c:v>-1.9327731092436899E-2</c:v>
                </c:pt>
                <c:pt idx="9388">
                  <c:v>-1.9327731092436899E-2</c:v>
                </c:pt>
                <c:pt idx="9389">
                  <c:v>-1.9327731092436899E-2</c:v>
                </c:pt>
                <c:pt idx="9390">
                  <c:v>-1.9327731092436899E-2</c:v>
                </c:pt>
                <c:pt idx="9391">
                  <c:v>-1.9327731092436899E-2</c:v>
                </c:pt>
                <c:pt idx="9392">
                  <c:v>-1.9327731092436899E-2</c:v>
                </c:pt>
                <c:pt idx="9393">
                  <c:v>-1.9327731092436899E-2</c:v>
                </c:pt>
                <c:pt idx="9394">
                  <c:v>-1.9327731092436899E-2</c:v>
                </c:pt>
                <c:pt idx="9395">
                  <c:v>-1.9327731092436899E-2</c:v>
                </c:pt>
                <c:pt idx="9396">
                  <c:v>-1.9327731092436899E-2</c:v>
                </c:pt>
                <c:pt idx="9397">
                  <c:v>-1.9327731092436899E-2</c:v>
                </c:pt>
                <c:pt idx="9398">
                  <c:v>-1.9327731092436899E-2</c:v>
                </c:pt>
                <c:pt idx="9399">
                  <c:v>-1.9327731092436899E-2</c:v>
                </c:pt>
                <c:pt idx="9400">
                  <c:v>-1.9327731092436899E-2</c:v>
                </c:pt>
                <c:pt idx="9401">
                  <c:v>-1.9327731092436899E-2</c:v>
                </c:pt>
                <c:pt idx="9402">
                  <c:v>-1.9327731092436899E-2</c:v>
                </c:pt>
                <c:pt idx="9403">
                  <c:v>-1.9327731092436899E-2</c:v>
                </c:pt>
                <c:pt idx="9404">
                  <c:v>-1.9327731092436899E-2</c:v>
                </c:pt>
                <c:pt idx="9405">
                  <c:v>-1.9327731092436899E-2</c:v>
                </c:pt>
                <c:pt idx="9406">
                  <c:v>-1.9327731092436899E-2</c:v>
                </c:pt>
                <c:pt idx="9407">
                  <c:v>-1.9327731092436899E-2</c:v>
                </c:pt>
                <c:pt idx="9408">
                  <c:v>-1.9327731092436899E-2</c:v>
                </c:pt>
                <c:pt idx="9409">
                  <c:v>-1.9327731092436899E-2</c:v>
                </c:pt>
                <c:pt idx="9410">
                  <c:v>-1.9327731092436899E-2</c:v>
                </c:pt>
                <c:pt idx="9411">
                  <c:v>-1.9327731092436899E-2</c:v>
                </c:pt>
                <c:pt idx="9412">
                  <c:v>-1.9327731092436899E-2</c:v>
                </c:pt>
                <c:pt idx="9413">
                  <c:v>-1.9327731092436899E-2</c:v>
                </c:pt>
                <c:pt idx="9414">
                  <c:v>-1.84873949579831E-2</c:v>
                </c:pt>
                <c:pt idx="9415">
                  <c:v>-1.84873949579831E-2</c:v>
                </c:pt>
                <c:pt idx="9416">
                  <c:v>-1.84873949579831E-2</c:v>
                </c:pt>
                <c:pt idx="9417">
                  <c:v>-1.84873949579831E-2</c:v>
                </c:pt>
                <c:pt idx="9418">
                  <c:v>-1.84873949579831E-2</c:v>
                </c:pt>
                <c:pt idx="9419">
                  <c:v>-1.84873949579831E-2</c:v>
                </c:pt>
                <c:pt idx="9420">
                  <c:v>-1.84873949579831E-2</c:v>
                </c:pt>
                <c:pt idx="9421">
                  <c:v>-1.84873949579831E-2</c:v>
                </c:pt>
                <c:pt idx="9422">
                  <c:v>-1.84873949579831E-2</c:v>
                </c:pt>
                <c:pt idx="9423">
                  <c:v>-1.84873949579831E-2</c:v>
                </c:pt>
                <c:pt idx="9424">
                  <c:v>-1.84873949579831E-2</c:v>
                </c:pt>
                <c:pt idx="9425">
                  <c:v>-1.84873949579831E-2</c:v>
                </c:pt>
                <c:pt idx="9426">
                  <c:v>-1.84873949579831E-2</c:v>
                </c:pt>
                <c:pt idx="9427">
                  <c:v>-1.84873949579831E-2</c:v>
                </c:pt>
                <c:pt idx="9428">
                  <c:v>-1.84873949579831E-2</c:v>
                </c:pt>
                <c:pt idx="9429">
                  <c:v>-1.9327731092436899E-2</c:v>
                </c:pt>
                <c:pt idx="9430">
                  <c:v>-1.9327731092436899E-2</c:v>
                </c:pt>
                <c:pt idx="9431">
                  <c:v>-1.9327731092436899E-2</c:v>
                </c:pt>
                <c:pt idx="9432">
                  <c:v>-1.9327731092436899E-2</c:v>
                </c:pt>
                <c:pt idx="9433">
                  <c:v>-1.9327731092436899E-2</c:v>
                </c:pt>
                <c:pt idx="9434">
                  <c:v>-1.9327731092436899E-2</c:v>
                </c:pt>
                <c:pt idx="9435">
                  <c:v>-1.9327731092436899E-2</c:v>
                </c:pt>
                <c:pt idx="9436">
                  <c:v>-1.9327731092436899E-2</c:v>
                </c:pt>
                <c:pt idx="9437">
                  <c:v>-1.9327731092436899E-2</c:v>
                </c:pt>
                <c:pt idx="9438">
                  <c:v>-1.9327731092436899E-2</c:v>
                </c:pt>
                <c:pt idx="9439">
                  <c:v>-1.9327731092436899E-2</c:v>
                </c:pt>
                <c:pt idx="9440">
                  <c:v>-1.9327731092436899E-2</c:v>
                </c:pt>
                <c:pt idx="9441">
                  <c:v>-1.9327731092436899E-2</c:v>
                </c:pt>
                <c:pt idx="9442">
                  <c:v>-1.9327731092436899E-2</c:v>
                </c:pt>
                <c:pt idx="9443">
                  <c:v>-1.9327731092436899E-2</c:v>
                </c:pt>
                <c:pt idx="9444">
                  <c:v>-2.0168067226890699E-2</c:v>
                </c:pt>
                <c:pt idx="9445">
                  <c:v>-2.0168067226890699E-2</c:v>
                </c:pt>
                <c:pt idx="9446">
                  <c:v>-2.0168067226890699E-2</c:v>
                </c:pt>
                <c:pt idx="9447">
                  <c:v>-2.0168067226890699E-2</c:v>
                </c:pt>
                <c:pt idx="9448">
                  <c:v>-2.0168067226890699E-2</c:v>
                </c:pt>
                <c:pt idx="9449">
                  <c:v>-2.0168067226890699E-2</c:v>
                </c:pt>
                <c:pt idx="9450">
                  <c:v>-2.0168067226890699E-2</c:v>
                </c:pt>
                <c:pt idx="9451">
                  <c:v>-2.0168067226890699E-2</c:v>
                </c:pt>
                <c:pt idx="9452">
                  <c:v>-2.0168067226890699E-2</c:v>
                </c:pt>
                <c:pt idx="9453">
                  <c:v>-2.0168067226890699E-2</c:v>
                </c:pt>
                <c:pt idx="9454">
                  <c:v>-2.0168067226890699E-2</c:v>
                </c:pt>
                <c:pt idx="9455">
                  <c:v>-2.0168067226890699E-2</c:v>
                </c:pt>
                <c:pt idx="9456">
                  <c:v>-2.0168067226890699E-2</c:v>
                </c:pt>
                <c:pt idx="9457">
                  <c:v>-2.0168067226890699E-2</c:v>
                </c:pt>
                <c:pt idx="9458">
                  <c:v>-2.0168067226890699E-2</c:v>
                </c:pt>
                <c:pt idx="9459">
                  <c:v>-2.0168067226890699E-2</c:v>
                </c:pt>
                <c:pt idx="9460">
                  <c:v>-2.0168067226890699E-2</c:v>
                </c:pt>
                <c:pt idx="9461">
                  <c:v>-2.0168067226890699E-2</c:v>
                </c:pt>
                <c:pt idx="9462">
                  <c:v>-2.0168067226890699E-2</c:v>
                </c:pt>
                <c:pt idx="9463">
                  <c:v>-2.0168067226890699E-2</c:v>
                </c:pt>
                <c:pt idx="9464">
                  <c:v>-2.0168067226890699E-2</c:v>
                </c:pt>
                <c:pt idx="9465">
                  <c:v>-2.0168067226890699E-2</c:v>
                </c:pt>
                <c:pt idx="9466">
                  <c:v>-2.0168067226890699E-2</c:v>
                </c:pt>
                <c:pt idx="9467">
                  <c:v>-2.0168067226890699E-2</c:v>
                </c:pt>
                <c:pt idx="9468">
                  <c:v>-2.0168067226890699E-2</c:v>
                </c:pt>
                <c:pt idx="9469">
                  <c:v>-2.0168067226890699E-2</c:v>
                </c:pt>
                <c:pt idx="9470">
                  <c:v>-2.0168067226890699E-2</c:v>
                </c:pt>
                <c:pt idx="9471">
                  <c:v>-2.0168067226890699E-2</c:v>
                </c:pt>
                <c:pt idx="9472">
                  <c:v>-2.0168067226890699E-2</c:v>
                </c:pt>
                <c:pt idx="9473">
                  <c:v>-2.0168067226890699E-2</c:v>
                </c:pt>
                <c:pt idx="9474">
                  <c:v>-2.0168067226890699E-2</c:v>
                </c:pt>
                <c:pt idx="9475">
                  <c:v>-2.0168067226890699E-2</c:v>
                </c:pt>
                <c:pt idx="9476">
                  <c:v>-2.0168067226890699E-2</c:v>
                </c:pt>
                <c:pt idx="9477">
                  <c:v>-2.0168067226890699E-2</c:v>
                </c:pt>
                <c:pt idx="9478">
                  <c:v>-2.0168067226890699E-2</c:v>
                </c:pt>
                <c:pt idx="9479">
                  <c:v>-2.0168067226890699E-2</c:v>
                </c:pt>
                <c:pt idx="9480">
                  <c:v>-2.0168067226890699E-2</c:v>
                </c:pt>
                <c:pt idx="9481">
                  <c:v>-2.0168067226890699E-2</c:v>
                </c:pt>
                <c:pt idx="9482">
                  <c:v>-2.0168067226890699E-2</c:v>
                </c:pt>
                <c:pt idx="9483">
                  <c:v>-2.0168067226890699E-2</c:v>
                </c:pt>
                <c:pt idx="9484">
                  <c:v>-2.0168067226890699E-2</c:v>
                </c:pt>
                <c:pt idx="9485">
                  <c:v>-2.0168067226890699E-2</c:v>
                </c:pt>
                <c:pt idx="9486">
                  <c:v>-2.0168067226890699E-2</c:v>
                </c:pt>
                <c:pt idx="9487">
                  <c:v>-2.0168067226890699E-2</c:v>
                </c:pt>
                <c:pt idx="9488">
                  <c:v>-2.0168067226890699E-2</c:v>
                </c:pt>
                <c:pt idx="9489">
                  <c:v>-2.1008403361344501E-2</c:v>
                </c:pt>
                <c:pt idx="9490">
                  <c:v>-2.1008403361344501E-2</c:v>
                </c:pt>
                <c:pt idx="9491">
                  <c:v>-2.1008403361344501E-2</c:v>
                </c:pt>
                <c:pt idx="9492">
                  <c:v>-2.1008403361344501E-2</c:v>
                </c:pt>
                <c:pt idx="9493">
                  <c:v>-2.18487394957982E-2</c:v>
                </c:pt>
                <c:pt idx="9494">
                  <c:v>-2.18487394957982E-2</c:v>
                </c:pt>
                <c:pt idx="9495">
                  <c:v>-2.18487394957982E-2</c:v>
                </c:pt>
                <c:pt idx="9496">
                  <c:v>-2.18487394957982E-2</c:v>
                </c:pt>
                <c:pt idx="9497">
                  <c:v>-2.18487394957982E-2</c:v>
                </c:pt>
                <c:pt idx="9498">
                  <c:v>-2.18487394957982E-2</c:v>
                </c:pt>
                <c:pt idx="9499">
                  <c:v>-2.18487394957982E-2</c:v>
                </c:pt>
                <c:pt idx="9500">
                  <c:v>-2.18487394957982E-2</c:v>
                </c:pt>
                <c:pt idx="9501">
                  <c:v>-2.18487394957982E-2</c:v>
                </c:pt>
                <c:pt idx="9502">
                  <c:v>-2.18487394957982E-2</c:v>
                </c:pt>
                <c:pt idx="9503">
                  <c:v>-2.18487394957982E-2</c:v>
                </c:pt>
                <c:pt idx="9504">
                  <c:v>-2.18487394957982E-2</c:v>
                </c:pt>
                <c:pt idx="9505">
                  <c:v>-2.18487394957982E-2</c:v>
                </c:pt>
                <c:pt idx="9506">
                  <c:v>-2.18487394957982E-2</c:v>
                </c:pt>
                <c:pt idx="9507">
                  <c:v>-2.18487394957982E-2</c:v>
                </c:pt>
                <c:pt idx="9508">
                  <c:v>-2.18487394957982E-2</c:v>
                </c:pt>
                <c:pt idx="9509">
                  <c:v>-2.18487394957982E-2</c:v>
                </c:pt>
                <c:pt idx="9510">
                  <c:v>-2.18487394957982E-2</c:v>
                </c:pt>
                <c:pt idx="9511">
                  <c:v>-2.18487394957982E-2</c:v>
                </c:pt>
                <c:pt idx="9512">
                  <c:v>-2.18487394957982E-2</c:v>
                </c:pt>
                <c:pt idx="9513">
                  <c:v>-2.18487394957982E-2</c:v>
                </c:pt>
                <c:pt idx="9514">
                  <c:v>-2.18487394957982E-2</c:v>
                </c:pt>
                <c:pt idx="9515">
                  <c:v>-2.18487394957982E-2</c:v>
                </c:pt>
                <c:pt idx="9516">
                  <c:v>-2.2689075630251999E-2</c:v>
                </c:pt>
                <c:pt idx="9517">
                  <c:v>-2.2689075630251999E-2</c:v>
                </c:pt>
                <c:pt idx="9518">
                  <c:v>-2.2689075630251999E-2</c:v>
                </c:pt>
                <c:pt idx="9519">
                  <c:v>-2.2689075630251999E-2</c:v>
                </c:pt>
                <c:pt idx="9520">
                  <c:v>-2.2689075630251999E-2</c:v>
                </c:pt>
                <c:pt idx="9521">
                  <c:v>-2.2689075630251999E-2</c:v>
                </c:pt>
                <c:pt idx="9522">
                  <c:v>-2.2689075630251999E-2</c:v>
                </c:pt>
                <c:pt idx="9523">
                  <c:v>-2.2689075630251999E-2</c:v>
                </c:pt>
                <c:pt idx="9524">
                  <c:v>-2.2689075630251999E-2</c:v>
                </c:pt>
                <c:pt idx="9525">
                  <c:v>-2.2689075630251999E-2</c:v>
                </c:pt>
                <c:pt idx="9526">
                  <c:v>-2.18487394957982E-2</c:v>
                </c:pt>
                <c:pt idx="9527">
                  <c:v>-2.18487394957982E-2</c:v>
                </c:pt>
                <c:pt idx="9528">
                  <c:v>-2.18487394957982E-2</c:v>
                </c:pt>
                <c:pt idx="9529">
                  <c:v>-2.18487394957982E-2</c:v>
                </c:pt>
                <c:pt idx="9530">
                  <c:v>-2.18487394957982E-2</c:v>
                </c:pt>
                <c:pt idx="9531">
                  <c:v>-2.18487394957982E-2</c:v>
                </c:pt>
                <c:pt idx="9532">
                  <c:v>-2.18487394957982E-2</c:v>
                </c:pt>
                <c:pt idx="9533">
                  <c:v>-2.18487394957982E-2</c:v>
                </c:pt>
                <c:pt idx="9534">
                  <c:v>-2.18487394957982E-2</c:v>
                </c:pt>
                <c:pt idx="9535">
                  <c:v>-2.18487394957982E-2</c:v>
                </c:pt>
                <c:pt idx="9536">
                  <c:v>-2.18487394957982E-2</c:v>
                </c:pt>
                <c:pt idx="9537">
                  <c:v>-2.18487394957982E-2</c:v>
                </c:pt>
                <c:pt idx="9538">
                  <c:v>-2.18487394957982E-2</c:v>
                </c:pt>
                <c:pt idx="9539">
                  <c:v>-2.18487394957982E-2</c:v>
                </c:pt>
                <c:pt idx="9540">
                  <c:v>-2.18487394957982E-2</c:v>
                </c:pt>
                <c:pt idx="9541">
                  <c:v>-2.18487394957982E-2</c:v>
                </c:pt>
                <c:pt idx="9542">
                  <c:v>-2.18487394957982E-2</c:v>
                </c:pt>
                <c:pt idx="9543">
                  <c:v>-2.18487394957982E-2</c:v>
                </c:pt>
                <c:pt idx="9544">
                  <c:v>-2.18487394957982E-2</c:v>
                </c:pt>
                <c:pt idx="9545">
                  <c:v>-2.18487394957982E-2</c:v>
                </c:pt>
                <c:pt idx="9546">
                  <c:v>-2.18487394957982E-2</c:v>
                </c:pt>
                <c:pt idx="9547">
                  <c:v>-2.18487394957982E-2</c:v>
                </c:pt>
                <c:pt idx="9548">
                  <c:v>-2.18487394957982E-2</c:v>
                </c:pt>
                <c:pt idx="9549">
                  <c:v>-2.18487394957982E-2</c:v>
                </c:pt>
                <c:pt idx="9550">
                  <c:v>-2.18487394957982E-2</c:v>
                </c:pt>
                <c:pt idx="9551">
                  <c:v>-2.18487394957982E-2</c:v>
                </c:pt>
                <c:pt idx="9552">
                  <c:v>-2.18487394957982E-2</c:v>
                </c:pt>
                <c:pt idx="9553">
                  <c:v>-2.18487394957982E-2</c:v>
                </c:pt>
                <c:pt idx="9554">
                  <c:v>-2.18487394957982E-2</c:v>
                </c:pt>
                <c:pt idx="9555">
                  <c:v>-2.18487394957982E-2</c:v>
                </c:pt>
                <c:pt idx="9556">
                  <c:v>-2.18487394957982E-2</c:v>
                </c:pt>
                <c:pt idx="9557">
                  <c:v>-2.18487394957982E-2</c:v>
                </c:pt>
                <c:pt idx="9558">
                  <c:v>-2.18487394957982E-2</c:v>
                </c:pt>
                <c:pt idx="9559">
                  <c:v>-2.18487394957982E-2</c:v>
                </c:pt>
                <c:pt idx="9560">
                  <c:v>-2.18487394957982E-2</c:v>
                </c:pt>
                <c:pt idx="9561">
                  <c:v>-2.18487394957982E-2</c:v>
                </c:pt>
                <c:pt idx="9562">
                  <c:v>-2.18487394957982E-2</c:v>
                </c:pt>
                <c:pt idx="9563">
                  <c:v>-2.18487394957982E-2</c:v>
                </c:pt>
                <c:pt idx="9564">
                  <c:v>-2.18487394957982E-2</c:v>
                </c:pt>
                <c:pt idx="9565">
                  <c:v>-2.18487394957982E-2</c:v>
                </c:pt>
                <c:pt idx="9566">
                  <c:v>-2.18487394957982E-2</c:v>
                </c:pt>
                <c:pt idx="9567">
                  <c:v>-2.1008403361344501E-2</c:v>
                </c:pt>
                <c:pt idx="9568">
                  <c:v>-2.1008403361344501E-2</c:v>
                </c:pt>
                <c:pt idx="9569">
                  <c:v>-2.1008403361344501E-2</c:v>
                </c:pt>
                <c:pt idx="9570">
                  <c:v>-2.0168067226890699E-2</c:v>
                </c:pt>
                <c:pt idx="9571">
                  <c:v>-2.0168067226890699E-2</c:v>
                </c:pt>
                <c:pt idx="9572">
                  <c:v>-2.1008403361344501E-2</c:v>
                </c:pt>
                <c:pt idx="9573">
                  <c:v>-2.1008403361344501E-2</c:v>
                </c:pt>
                <c:pt idx="9574">
                  <c:v>-2.1008403361344501E-2</c:v>
                </c:pt>
                <c:pt idx="9575">
                  <c:v>-2.1008403361344501E-2</c:v>
                </c:pt>
                <c:pt idx="9576">
                  <c:v>-2.1008403361344501E-2</c:v>
                </c:pt>
                <c:pt idx="9577">
                  <c:v>-2.1008403361344501E-2</c:v>
                </c:pt>
                <c:pt idx="9578">
                  <c:v>-2.1008403361344501E-2</c:v>
                </c:pt>
                <c:pt idx="9579">
                  <c:v>-2.1008403361344501E-2</c:v>
                </c:pt>
                <c:pt idx="9580">
                  <c:v>-2.1008403361344501E-2</c:v>
                </c:pt>
                <c:pt idx="9581">
                  <c:v>-2.1008403361344501E-2</c:v>
                </c:pt>
                <c:pt idx="9582">
                  <c:v>-2.1008403361344501E-2</c:v>
                </c:pt>
                <c:pt idx="9583">
                  <c:v>-2.1008403361344501E-2</c:v>
                </c:pt>
                <c:pt idx="9584">
                  <c:v>-2.1008403361344501E-2</c:v>
                </c:pt>
                <c:pt idx="9585">
                  <c:v>-2.1008403361344501E-2</c:v>
                </c:pt>
                <c:pt idx="9586">
                  <c:v>-2.1008403361344501E-2</c:v>
                </c:pt>
                <c:pt idx="9587">
                  <c:v>-2.1008403361344501E-2</c:v>
                </c:pt>
                <c:pt idx="9588">
                  <c:v>-2.1008403361344501E-2</c:v>
                </c:pt>
                <c:pt idx="9589">
                  <c:v>-2.1008403361344501E-2</c:v>
                </c:pt>
                <c:pt idx="9590">
                  <c:v>-2.1008403361344501E-2</c:v>
                </c:pt>
                <c:pt idx="9591">
                  <c:v>-2.1008403361344501E-2</c:v>
                </c:pt>
                <c:pt idx="9592">
                  <c:v>-2.1008403361344501E-2</c:v>
                </c:pt>
                <c:pt idx="9593">
                  <c:v>-2.0168067226890699E-2</c:v>
                </c:pt>
                <c:pt idx="9594">
                  <c:v>-2.0168067226890699E-2</c:v>
                </c:pt>
                <c:pt idx="9595">
                  <c:v>-2.0168067226890699E-2</c:v>
                </c:pt>
                <c:pt idx="9596">
                  <c:v>-2.0168067226890699E-2</c:v>
                </c:pt>
                <c:pt idx="9597">
                  <c:v>-2.0168067226890699E-2</c:v>
                </c:pt>
                <c:pt idx="9598">
                  <c:v>-2.0168067226890699E-2</c:v>
                </c:pt>
                <c:pt idx="9599">
                  <c:v>-2.0168067226890699E-2</c:v>
                </c:pt>
                <c:pt idx="9600">
                  <c:v>-2.0168067226890699E-2</c:v>
                </c:pt>
                <c:pt idx="9601">
                  <c:v>-2.0168067226890699E-2</c:v>
                </c:pt>
                <c:pt idx="9602">
                  <c:v>-2.0168067226890699E-2</c:v>
                </c:pt>
                <c:pt idx="9603">
                  <c:v>-2.0168067226890699E-2</c:v>
                </c:pt>
                <c:pt idx="9604">
                  <c:v>-2.1008403361344501E-2</c:v>
                </c:pt>
                <c:pt idx="9605">
                  <c:v>-2.1008403361344501E-2</c:v>
                </c:pt>
                <c:pt idx="9606">
                  <c:v>-2.1008403361344501E-2</c:v>
                </c:pt>
                <c:pt idx="9607">
                  <c:v>-2.1008403361344501E-2</c:v>
                </c:pt>
                <c:pt idx="9608">
                  <c:v>-2.1008403361344501E-2</c:v>
                </c:pt>
                <c:pt idx="9609">
                  <c:v>-2.1008403361344501E-2</c:v>
                </c:pt>
                <c:pt idx="9610">
                  <c:v>-2.1008403361344501E-2</c:v>
                </c:pt>
                <c:pt idx="9611">
                  <c:v>-2.1008403361344501E-2</c:v>
                </c:pt>
                <c:pt idx="9612">
                  <c:v>-2.1008403361344501E-2</c:v>
                </c:pt>
                <c:pt idx="9613">
                  <c:v>-2.1008403361344501E-2</c:v>
                </c:pt>
                <c:pt idx="9614">
                  <c:v>-2.1848739495798301E-2</c:v>
                </c:pt>
                <c:pt idx="9615">
                  <c:v>-2.1848739495798301E-2</c:v>
                </c:pt>
                <c:pt idx="9616">
                  <c:v>-2.26890756302521E-2</c:v>
                </c:pt>
                <c:pt idx="9617">
                  <c:v>-2.26890756302521E-2</c:v>
                </c:pt>
                <c:pt idx="9618">
                  <c:v>-2.26890756302521E-2</c:v>
                </c:pt>
                <c:pt idx="9619">
                  <c:v>-2.26890756302521E-2</c:v>
                </c:pt>
                <c:pt idx="9620">
                  <c:v>-2.26890756302521E-2</c:v>
                </c:pt>
                <c:pt idx="9621">
                  <c:v>-2.26890756302521E-2</c:v>
                </c:pt>
                <c:pt idx="9622">
                  <c:v>-2.26890756302521E-2</c:v>
                </c:pt>
                <c:pt idx="9623">
                  <c:v>-2.26890756302521E-2</c:v>
                </c:pt>
                <c:pt idx="9624">
                  <c:v>-2.26890756302521E-2</c:v>
                </c:pt>
                <c:pt idx="9625">
                  <c:v>-2.26890756302521E-2</c:v>
                </c:pt>
                <c:pt idx="9626">
                  <c:v>-2.26890756302521E-2</c:v>
                </c:pt>
                <c:pt idx="9627">
                  <c:v>-2.26890756302521E-2</c:v>
                </c:pt>
                <c:pt idx="9628">
                  <c:v>-2.26890756302521E-2</c:v>
                </c:pt>
                <c:pt idx="9629">
                  <c:v>-2.26890756302521E-2</c:v>
                </c:pt>
                <c:pt idx="9630">
                  <c:v>-2.26890756302521E-2</c:v>
                </c:pt>
                <c:pt idx="9631">
                  <c:v>-2.26890756302521E-2</c:v>
                </c:pt>
                <c:pt idx="9632">
                  <c:v>-2.26890756302521E-2</c:v>
                </c:pt>
                <c:pt idx="9633">
                  <c:v>-2.26890756302521E-2</c:v>
                </c:pt>
                <c:pt idx="9634">
                  <c:v>-2.26890756302521E-2</c:v>
                </c:pt>
                <c:pt idx="9635">
                  <c:v>-2.26890756302521E-2</c:v>
                </c:pt>
                <c:pt idx="9636">
                  <c:v>-2.26890756302521E-2</c:v>
                </c:pt>
                <c:pt idx="9637">
                  <c:v>-2.26890756302521E-2</c:v>
                </c:pt>
                <c:pt idx="9638">
                  <c:v>-2.26890756302521E-2</c:v>
                </c:pt>
                <c:pt idx="9639">
                  <c:v>-2.26890756302521E-2</c:v>
                </c:pt>
                <c:pt idx="9640">
                  <c:v>-2.26890756302521E-2</c:v>
                </c:pt>
                <c:pt idx="9641">
                  <c:v>-2.26890756302521E-2</c:v>
                </c:pt>
                <c:pt idx="9642">
                  <c:v>-2.26890756302521E-2</c:v>
                </c:pt>
                <c:pt idx="9643">
                  <c:v>-2.26890756302521E-2</c:v>
                </c:pt>
                <c:pt idx="9644">
                  <c:v>-2.26890756302521E-2</c:v>
                </c:pt>
                <c:pt idx="9645">
                  <c:v>-2.26890756302521E-2</c:v>
                </c:pt>
                <c:pt idx="9646">
                  <c:v>-2.26890756302521E-2</c:v>
                </c:pt>
                <c:pt idx="9647">
                  <c:v>-2.26890756302521E-2</c:v>
                </c:pt>
                <c:pt idx="9648">
                  <c:v>-2.26890756302521E-2</c:v>
                </c:pt>
                <c:pt idx="9649">
                  <c:v>-2.26890756302521E-2</c:v>
                </c:pt>
                <c:pt idx="9650">
                  <c:v>-2.26890756302521E-2</c:v>
                </c:pt>
                <c:pt idx="9651">
                  <c:v>-2.26890756302521E-2</c:v>
                </c:pt>
                <c:pt idx="9652">
                  <c:v>-2.26890756302521E-2</c:v>
                </c:pt>
                <c:pt idx="9653">
                  <c:v>-2.26890756302521E-2</c:v>
                </c:pt>
                <c:pt idx="9654">
                  <c:v>-2.26890756302521E-2</c:v>
                </c:pt>
                <c:pt idx="9655">
                  <c:v>-2.26890756302521E-2</c:v>
                </c:pt>
                <c:pt idx="9656">
                  <c:v>-2.26890756302521E-2</c:v>
                </c:pt>
                <c:pt idx="9657">
                  <c:v>-2.26890756302521E-2</c:v>
                </c:pt>
                <c:pt idx="9658">
                  <c:v>-2.1848739495798301E-2</c:v>
                </c:pt>
                <c:pt idx="9659">
                  <c:v>-2.1848739495798301E-2</c:v>
                </c:pt>
                <c:pt idx="9660">
                  <c:v>-2.1848739495798301E-2</c:v>
                </c:pt>
                <c:pt idx="9661">
                  <c:v>-2.1848739495798301E-2</c:v>
                </c:pt>
                <c:pt idx="9662">
                  <c:v>-2.1848739495798301E-2</c:v>
                </c:pt>
                <c:pt idx="9663">
                  <c:v>-2.1848739495798301E-2</c:v>
                </c:pt>
                <c:pt idx="9664">
                  <c:v>-2.1848739495798301E-2</c:v>
                </c:pt>
                <c:pt idx="9665">
                  <c:v>-2.1848739495798301E-2</c:v>
                </c:pt>
                <c:pt idx="9666">
                  <c:v>-2.1848739495798301E-2</c:v>
                </c:pt>
                <c:pt idx="9667">
                  <c:v>-2.1848739495798301E-2</c:v>
                </c:pt>
                <c:pt idx="9668">
                  <c:v>-2.1848739495798301E-2</c:v>
                </c:pt>
                <c:pt idx="9669">
                  <c:v>-2.1848739495798301E-2</c:v>
                </c:pt>
                <c:pt idx="9670">
                  <c:v>-2.1848739495798301E-2</c:v>
                </c:pt>
                <c:pt idx="9671">
                  <c:v>-2.1848739495798301E-2</c:v>
                </c:pt>
                <c:pt idx="9672">
                  <c:v>-2.1008403361344501E-2</c:v>
                </c:pt>
                <c:pt idx="9673">
                  <c:v>-2.1008403361344501E-2</c:v>
                </c:pt>
                <c:pt idx="9674">
                  <c:v>-2.1008403361344501E-2</c:v>
                </c:pt>
                <c:pt idx="9675">
                  <c:v>-2.0168067226890699E-2</c:v>
                </c:pt>
                <c:pt idx="9676">
                  <c:v>-2.0168067226890699E-2</c:v>
                </c:pt>
                <c:pt idx="9677">
                  <c:v>-2.0168067226890699E-2</c:v>
                </c:pt>
                <c:pt idx="9678">
                  <c:v>-2.0168067226890699E-2</c:v>
                </c:pt>
                <c:pt idx="9679">
                  <c:v>-2.0168067226890699E-2</c:v>
                </c:pt>
                <c:pt idx="9680">
                  <c:v>-2.0168067226890699E-2</c:v>
                </c:pt>
                <c:pt idx="9681">
                  <c:v>-2.0168067226890699E-2</c:v>
                </c:pt>
                <c:pt idx="9682">
                  <c:v>-2.0168067226890699E-2</c:v>
                </c:pt>
                <c:pt idx="9683">
                  <c:v>-2.0168067226890699E-2</c:v>
                </c:pt>
                <c:pt idx="9684">
                  <c:v>-2.0168067226890699E-2</c:v>
                </c:pt>
                <c:pt idx="9685">
                  <c:v>-2.0168067226890699E-2</c:v>
                </c:pt>
                <c:pt idx="9686">
                  <c:v>-2.0168067226890699E-2</c:v>
                </c:pt>
                <c:pt idx="9687">
                  <c:v>-2.0168067226890699E-2</c:v>
                </c:pt>
                <c:pt idx="9688">
                  <c:v>-2.0168067226890699E-2</c:v>
                </c:pt>
                <c:pt idx="9689">
                  <c:v>-2.0168067226890699E-2</c:v>
                </c:pt>
                <c:pt idx="9690">
                  <c:v>-2.0168067226890699E-2</c:v>
                </c:pt>
                <c:pt idx="9691">
                  <c:v>-2.0168067226890699E-2</c:v>
                </c:pt>
                <c:pt idx="9692">
                  <c:v>-2.0168067226890699E-2</c:v>
                </c:pt>
                <c:pt idx="9693">
                  <c:v>-2.0168067226890699E-2</c:v>
                </c:pt>
                <c:pt idx="9694">
                  <c:v>-2.1008403361344501E-2</c:v>
                </c:pt>
                <c:pt idx="9695">
                  <c:v>-2.1008403361344501E-2</c:v>
                </c:pt>
                <c:pt idx="9696">
                  <c:v>-2.1008403361344501E-2</c:v>
                </c:pt>
                <c:pt idx="9697">
                  <c:v>-2.1008403361344501E-2</c:v>
                </c:pt>
                <c:pt idx="9698">
                  <c:v>-2.1008403361344501E-2</c:v>
                </c:pt>
                <c:pt idx="9699">
                  <c:v>-2.1008403361344501E-2</c:v>
                </c:pt>
                <c:pt idx="9700">
                  <c:v>-2.1008403361344501E-2</c:v>
                </c:pt>
                <c:pt idx="9701">
                  <c:v>-2.1008403361344501E-2</c:v>
                </c:pt>
                <c:pt idx="9702">
                  <c:v>-2.1008403361344501E-2</c:v>
                </c:pt>
                <c:pt idx="9703">
                  <c:v>-2.1008403361344501E-2</c:v>
                </c:pt>
                <c:pt idx="9704">
                  <c:v>-2.1008403361344501E-2</c:v>
                </c:pt>
                <c:pt idx="9705">
                  <c:v>-2.1008403361344501E-2</c:v>
                </c:pt>
                <c:pt idx="9706">
                  <c:v>-2.1008403361344501E-2</c:v>
                </c:pt>
                <c:pt idx="9707">
                  <c:v>-2.1008403361344501E-2</c:v>
                </c:pt>
                <c:pt idx="9708">
                  <c:v>-2.1008403361344501E-2</c:v>
                </c:pt>
                <c:pt idx="9709">
                  <c:v>-2.1008403361344501E-2</c:v>
                </c:pt>
                <c:pt idx="9710">
                  <c:v>-2.1008403361344501E-2</c:v>
                </c:pt>
                <c:pt idx="9711">
                  <c:v>-2.1008403361344501E-2</c:v>
                </c:pt>
                <c:pt idx="9712">
                  <c:v>-2.1008403361344501E-2</c:v>
                </c:pt>
                <c:pt idx="9713">
                  <c:v>-2.1008403361344501E-2</c:v>
                </c:pt>
                <c:pt idx="9714">
                  <c:v>-2.1008403361344501E-2</c:v>
                </c:pt>
                <c:pt idx="9715">
                  <c:v>-2.1008403361344501E-2</c:v>
                </c:pt>
                <c:pt idx="9716">
                  <c:v>-2.1008403361344501E-2</c:v>
                </c:pt>
                <c:pt idx="9717">
                  <c:v>-2.1008403361344501E-2</c:v>
                </c:pt>
                <c:pt idx="9718">
                  <c:v>-2.1008403361344501E-2</c:v>
                </c:pt>
                <c:pt idx="9719">
                  <c:v>-2.1008403361344501E-2</c:v>
                </c:pt>
                <c:pt idx="9720">
                  <c:v>-2.1008403361344501E-2</c:v>
                </c:pt>
                <c:pt idx="9721">
                  <c:v>-2.1008403361344501E-2</c:v>
                </c:pt>
                <c:pt idx="9722">
                  <c:v>-2.1008403361344501E-2</c:v>
                </c:pt>
                <c:pt idx="9723">
                  <c:v>-2.1008403361344501E-2</c:v>
                </c:pt>
                <c:pt idx="9724">
                  <c:v>-2.1008403361344501E-2</c:v>
                </c:pt>
                <c:pt idx="9725">
                  <c:v>-2.1008403361344501E-2</c:v>
                </c:pt>
                <c:pt idx="9726">
                  <c:v>-2.1008403361344501E-2</c:v>
                </c:pt>
                <c:pt idx="9727">
                  <c:v>-2.1008403361344501E-2</c:v>
                </c:pt>
                <c:pt idx="9728">
                  <c:v>-2.1008403361344501E-2</c:v>
                </c:pt>
                <c:pt idx="9729">
                  <c:v>-2.1008403361344501E-2</c:v>
                </c:pt>
                <c:pt idx="9730">
                  <c:v>-2.0168067226890699E-2</c:v>
                </c:pt>
                <c:pt idx="9731">
                  <c:v>-2.0168067226890699E-2</c:v>
                </c:pt>
                <c:pt idx="9732">
                  <c:v>-2.0168067226890699E-2</c:v>
                </c:pt>
                <c:pt idx="9733">
                  <c:v>-2.0168067226890699E-2</c:v>
                </c:pt>
                <c:pt idx="9734">
                  <c:v>-2.0168067226890699E-2</c:v>
                </c:pt>
                <c:pt idx="9735">
                  <c:v>-2.0168067226890699E-2</c:v>
                </c:pt>
                <c:pt idx="9736">
                  <c:v>-2.0168067226890699E-2</c:v>
                </c:pt>
                <c:pt idx="9737">
                  <c:v>-2.0168067226890699E-2</c:v>
                </c:pt>
                <c:pt idx="9738">
                  <c:v>-2.0168067226890699E-2</c:v>
                </c:pt>
                <c:pt idx="9739">
                  <c:v>-2.0168067226890699E-2</c:v>
                </c:pt>
                <c:pt idx="9740">
                  <c:v>-2.0168067226890699E-2</c:v>
                </c:pt>
                <c:pt idx="9741">
                  <c:v>-2.0168067226890699E-2</c:v>
                </c:pt>
                <c:pt idx="9742">
                  <c:v>-2.0168067226890699E-2</c:v>
                </c:pt>
                <c:pt idx="9743">
                  <c:v>-2.0168067226890699E-2</c:v>
                </c:pt>
                <c:pt idx="9744">
                  <c:v>-2.0168067226890699E-2</c:v>
                </c:pt>
                <c:pt idx="9745">
                  <c:v>-2.0168067226890699E-2</c:v>
                </c:pt>
                <c:pt idx="9746">
                  <c:v>-2.0168067226890699E-2</c:v>
                </c:pt>
                <c:pt idx="9747">
                  <c:v>-2.0168067226890699E-2</c:v>
                </c:pt>
                <c:pt idx="9748">
                  <c:v>-2.0168067226890699E-2</c:v>
                </c:pt>
                <c:pt idx="9749">
                  <c:v>-2.0168067226890699E-2</c:v>
                </c:pt>
                <c:pt idx="9750">
                  <c:v>-2.0168067226890699E-2</c:v>
                </c:pt>
                <c:pt idx="9751">
                  <c:v>-2.0168067226890699E-2</c:v>
                </c:pt>
                <c:pt idx="9752">
                  <c:v>-2.0168067226890699E-2</c:v>
                </c:pt>
                <c:pt idx="9753">
                  <c:v>-2.0168067226890699E-2</c:v>
                </c:pt>
                <c:pt idx="9754">
                  <c:v>-2.0168067226890699E-2</c:v>
                </c:pt>
                <c:pt idx="9755">
                  <c:v>-2.0168067226890699E-2</c:v>
                </c:pt>
                <c:pt idx="9756">
                  <c:v>-1.9327731092436899E-2</c:v>
                </c:pt>
                <c:pt idx="9757">
                  <c:v>-2.0168067226890699E-2</c:v>
                </c:pt>
                <c:pt idx="9758">
                  <c:v>-2.0168067226890699E-2</c:v>
                </c:pt>
                <c:pt idx="9759">
                  <c:v>-2.0168067226890699E-2</c:v>
                </c:pt>
                <c:pt idx="9760">
                  <c:v>-2.0168067226890699E-2</c:v>
                </c:pt>
                <c:pt idx="9761">
                  <c:v>-2.0168067226890699E-2</c:v>
                </c:pt>
                <c:pt idx="9762">
                  <c:v>-2.0168067226890699E-2</c:v>
                </c:pt>
                <c:pt idx="9763">
                  <c:v>-2.0168067226890699E-2</c:v>
                </c:pt>
                <c:pt idx="9764">
                  <c:v>-2.0168067226890699E-2</c:v>
                </c:pt>
                <c:pt idx="9765">
                  <c:v>-2.0168067226890699E-2</c:v>
                </c:pt>
                <c:pt idx="9766">
                  <c:v>-2.0168067226890699E-2</c:v>
                </c:pt>
                <c:pt idx="9767">
                  <c:v>-2.0168067226890699E-2</c:v>
                </c:pt>
                <c:pt idx="9768">
                  <c:v>-2.0168067226890699E-2</c:v>
                </c:pt>
                <c:pt idx="9769">
                  <c:v>-2.0168067226890699E-2</c:v>
                </c:pt>
                <c:pt idx="9770">
                  <c:v>-2.0168067226890699E-2</c:v>
                </c:pt>
                <c:pt idx="9771">
                  <c:v>-2.0168067226890699E-2</c:v>
                </c:pt>
                <c:pt idx="9772">
                  <c:v>-2.0168067226890699E-2</c:v>
                </c:pt>
                <c:pt idx="9773">
                  <c:v>-2.0168067226890699E-2</c:v>
                </c:pt>
                <c:pt idx="9774">
                  <c:v>-2.0168067226890699E-2</c:v>
                </c:pt>
                <c:pt idx="9775">
                  <c:v>-2.0168067226890699E-2</c:v>
                </c:pt>
                <c:pt idx="9776">
                  <c:v>-2.0168067226890699E-2</c:v>
                </c:pt>
                <c:pt idx="9777">
                  <c:v>-2.0168067226890699E-2</c:v>
                </c:pt>
                <c:pt idx="9778">
                  <c:v>-2.0168067226890699E-2</c:v>
                </c:pt>
                <c:pt idx="9779">
                  <c:v>-2.0168067226890699E-2</c:v>
                </c:pt>
                <c:pt idx="9780">
                  <c:v>-2.0168067226890699E-2</c:v>
                </c:pt>
                <c:pt idx="9781">
                  <c:v>-2.0168067226890699E-2</c:v>
                </c:pt>
                <c:pt idx="9782">
                  <c:v>-2.0168067226890699E-2</c:v>
                </c:pt>
                <c:pt idx="9783">
                  <c:v>-2.0168067226890699E-2</c:v>
                </c:pt>
                <c:pt idx="9784">
                  <c:v>-2.0168067226890699E-2</c:v>
                </c:pt>
                <c:pt idx="9785">
                  <c:v>-2.0168067226890699E-2</c:v>
                </c:pt>
                <c:pt idx="9786">
                  <c:v>-2.0168067226890699E-2</c:v>
                </c:pt>
                <c:pt idx="9787">
                  <c:v>-2.0168067226890699E-2</c:v>
                </c:pt>
                <c:pt idx="9788">
                  <c:v>-2.0168067226890699E-2</c:v>
                </c:pt>
                <c:pt idx="9789">
                  <c:v>-2.0168067226890699E-2</c:v>
                </c:pt>
                <c:pt idx="9790">
                  <c:v>-2.0168067226890699E-2</c:v>
                </c:pt>
                <c:pt idx="9791">
                  <c:v>-2.0168067226890699E-2</c:v>
                </c:pt>
                <c:pt idx="9792">
                  <c:v>-2.0168067226890699E-2</c:v>
                </c:pt>
                <c:pt idx="9793">
                  <c:v>-2.0168067226890699E-2</c:v>
                </c:pt>
                <c:pt idx="9794">
                  <c:v>-2.0168067226890699E-2</c:v>
                </c:pt>
                <c:pt idx="9795">
                  <c:v>-2.0168067226890699E-2</c:v>
                </c:pt>
                <c:pt idx="9796">
                  <c:v>-1.9327731092436899E-2</c:v>
                </c:pt>
                <c:pt idx="9797">
                  <c:v>-1.9327731092436899E-2</c:v>
                </c:pt>
                <c:pt idx="9798">
                  <c:v>-1.9327731092436899E-2</c:v>
                </c:pt>
                <c:pt idx="9799">
                  <c:v>-1.9327731092436899E-2</c:v>
                </c:pt>
                <c:pt idx="9800">
                  <c:v>-1.9327731092436899E-2</c:v>
                </c:pt>
                <c:pt idx="9801">
                  <c:v>-2.0168067226890699E-2</c:v>
                </c:pt>
                <c:pt idx="9802">
                  <c:v>-2.0168067226890699E-2</c:v>
                </c:pt>
                <c:pt idx="9803">
                  <c:v>-2.0168067226890699E-2</c:v>
                </c:pt>
                <c:pt idx="9804">
                  <c:v>-2.0168067226890699E-2</c:v>
                </c:pt>
                <c:pt idx="9805">
                  <c:v>-2.0168067226890699E-2</c:v>
                </c:pt>
                <c:pt idx="9806">
                  <c:v>-2.0168067226890699E-2</c:v>
                </c:pt>
                <c:pt idx="9807">
                  <c:v>-2.0168067226890699E-2</c:v>
                </c:pt>
                <c:pt idx="9808">
                  <c:v>-2.0168067226890699E-2</c:v>
                </c:pt>
                <c:pt idx="9809">
                  <c:v>-2.0168067226890699E-2</c:v>
                </c:pt>
                <c:pt idx="9810">
                  <c:v>-2.0168067226890699E-2</c:v>
                </c:pt>
                <c:pt idx="9811">
                  <c:v>-2.0168067226890699E-2</c:v>
                </c:pt>
                <c:pt idx="9812">
                  <c:v>-2.0168067226890699E-2</c:v>
                </c:pt>
                <c:pt idx="9813">
                  <c:v>-2.0168067226890699E-2</c:v>
                </c:pt>
                <c:pt idx="9814">
                  <c:v>-2.0168067226890699E-2</c:v>
                </c:pt>
                <c:pt idx="9815">
                  <c:v>-2.0168067226890699E-2</c:v>
                </c:pt>
                <c:pt idx="9816">
                  <c:v>-2.0168067226890699E-2</c:v>
                </c:pt>
                <c:pt idx="9817">
                  <c:v>-2.0168067226890699E-2</c:v>
                </c:pt>
                <c:pt idx="9818">
                  <c:v>-2.0168067226890699E-2</c:v>
                </c:pt>
                <c:pt idx="9819">
                  <c:v>-2.0168067226890699E-2</c:v>
                </c:pt>
                <c:pt idx="9820">
                  <c:v>-2.0168067226890699E-2</c:v>
                </c:pt>
                <c:pt idx="9821">
                  <c:v>-2.0168067226890699E-2</c:v>
                </c:pt>
                <c:pt idx="9822">
                  <c:v>-2.0168067226890699E-2</c:v>
                </c:pt>
                <c:pt idx="9823">
                  <c:v>-2.0168067226890699E-2</c:v>
                </c:pt>
                <c:pt idx="9824">
                  <c:v>-2.0168067226890699E-2</c:v>
                </c:pt>
                <c:pt idx="9825">
                  <c:v>-2.0168067226890699E-2</c:v>
                </c:pt>
                <c:pt idx="9826">
                  <c:v>-2.0168067226890699E-2</c:v>
                </c:pt>
                <c:pt idx="9827">
                  <c:v>-2.0168067226890699E-2</c:v>
                </c:pt>
                <c:pt idx="9828">
                  <c:v>-2.0168067226890699E-2</c:v>
                </c:pt>
                <c:pt idx="9829">
                  <c:v>-2.0168067226890699E-2</c:v>
                </c:pt>
                <c:pt idx="9830">
                  <c:v>-2.0168067226890699E-2</c:v>
                </c:pt>
                <c:pt idx="9831">
                  <c:v>-2.0168067226890699E-2</c:v>
                </c:pt>
                <c:pt idx="9832">
                  <c:v>-2.1008403361344501E-2</c:v>
                </c:pt>
                <c:pt idx="9833">
                  <c:v>-2.1008403361344501E-2</c:v>
                </c:pt>
                <c:pt idx="9834">
                  <c:v>-2.1008403361344501E-2</c:v>
                </c:pt>
                <c:pt idx="9835">
                  <c:v>-2.1008403361344501E-2</c:v>
                </c:pt>
                <c:pt idx="9836">
                  <c:v>-2.1008403361344501E-2</c:v>
                </c:pt>
                <c:pt idx="9837">
                  <c:v>-2.1008403361344501E-2</c:v>
                </c:pt>
                <c:pt idx="9838">
                  <c:v>-2.1008403361344501E-2</c:v>
                </c:pt>
                <c:pt idx="9839">
                  <c:v>-2.1008403361344501E-2</c:v>
                </c:pt>
                <c:pt idx="9840">
                  <c:v>-2.1008403361344501E-2</c:v>
                </c:pt>
                <c:pt idx="9841">
                  <c:v>-2.1008403361344501E-2</c:v>
                </c:pt>
                <c:pt idx="9842">
                  <c:v>-2.1008403361344501E-2</c:v>
                </c:pt>
                <c:pt idx="9843">
                  <c:v>-2.1008403361344501E-2</c:v>
                </c:pt>
                <c:pt idx="9844">
                  <c:v>-2.1008403361344501E-2</c:v>
                </c:pt>
                <c:pt idx="9845">
                  <c:v>-2.1008403361344501E-2</c:v>
                </c:pt>
                <c:pt idx="9846">
                  <c:v>-2.1008403361344501E-2</c:v>
                </c:pt>
                <c:pt idx="9847">
                  <c:v>-2.1008403361344501E-2</c:v>
                </c:pt>
                <c:pt idx="9848">
                  <c:v>-2.1008403361344501E-2</c:v>
                </c:pt>
                <c:pt idx="9849">
                  <c:v>-2.1008403361344501E-2</c:v>
                </c:pt>
                <c:pt idx="9850">
                  <c:v>-2.1008403361344501E-2</c:v>
                </c:pt>
                <c:pt idx="9851">
                  <c:v>-2.1008403361344501E-2</c:v>
                </c:pt>
                <c:pt idx="9852">
                  <c:v>-2.1008403361344501E-2</c:v>
                </c:pt>
                <c:pt idx="9853">
                  <c:v>-2.1008403361344501E-2</c:v>
                </c:pt>
                <c:pt idx="9854">
                  <c:v>-2.1008403361344501E-2</c:v>
                </c:pt>
                <c:pt idx="9855">
                  <c:v>-2.1008403361344501E-2</c:v>
                </c:pt>
                <c:pt idx="9856">
                  <c:v>-2.1008403361344501E-2</c:v>
                </c:pt>
                <c:pt idx="9857">
                  <c:v>-2.1008403361344501E-2</c:v>
                </c:pt>
                <c:pt idx="9858">
                  <c:v>-2.1008403361344501E-2</c:v>
                </c:pt>
                <c:pt idx="9859">
                  <c:v>-2.1008403361344501E-2</c:v>
                </c:pt>
                <c:pt idx="9860">
                  <c:v>-2.0168067226890699E-2</c:v>
                </c:pt>
                <c:pt idx="9861">
                  <c:v>-2.0168067226890699E-2</c:v>
                </c:pt>
                <c:pt idx="9862">
                  <c:v>-2.1008403361344501E-2</c:v>
                </c:pt>
                <c:pt idx="9863">
                  <c:v>-2.1008403361344501E-2</c:v>
                </c:pt>
                <c:pt idx="9864">
                  <c:v>-2.1008403361344501E-2</c:v>
                </c:pt>
                <c:pt idx="9865">
                  <c:v>-2.1008403361344501E-2</c:v>
                </c:pt>
                <c:pt idx="9866">
                  <c:v>-2.1008403361344501E-2</c:v>
                </c:pt>
                <c:pt idx="9867">
                  <c:v>-2.1008403361344501E-2</c:v>
                </c:pt>
                <c:pt idx="9868">
                  <c:v>-2.1008403361344501E-2</c:v>
                </c:pt>
                <c:pt idx="9869">
                  <c:v>-2.1008403361344501E-2</c:v>
                </c:pt>
                <c:pt idx="9870">
                  <c:v>-2.1008403361344501E-2</c:v>
                </c:pt>
                <c:pt idx="9871">
                  <c:v>-2.1008403361344501E-2</c:v>
                </c:pt>
                <c:pt idx="9872">
                  <c:v>-2.1008403361344501E-2</c:v>
                </c:pt>
                <c:pt idx="9873">
                  <c:v>-2.1008403361344501E-2</c:v>
                </c:pt>
                <c:pt idx="9874">
                  <c:v>-2.1008403361344501E-2</c:v>
                </c:pt>
                <c:pt idx="9875">
                  <c:v>-2.1008403361344501E-2</c:v>
                </c:pt>
                <c:pt idx="9876">
                  <c:v>-2.18487394957982E-2</c:v>
                </c:pt>
                <c:pt idx="9877">
                  <c:v>-2.18487394957982E-2</c:v>
                </c:pt>
                <c:pt idx="9878">
                  <c:v>-2.18487394957982E-2</c:v>
                </c:pt>
                <c:pt idx="9879">
                  <c:v>-2.18487394957982E-2</c:v>
                </c:pt>
                <c:pt idx="9880">
                  <c:v>-2.18487394957982E-2</c:v>
                </c:pt>
                <c:pt idx="9881">
                  <c:v>-2.18487394957982E-2</c:v>
                </c:pt>
                <c:pt idx="9882">
                  <c:v>-2.18487394957982E-2</c:v>
                </c:pt>
                <c:pt idx="9883">
                  <c:v>-2.18487394957982E-2</c:v>
                </c:pt>
                <c:pt idx="9884">
                  <c:v>-2.18487394957982E-2</c:v>
                </c:pt>
                <c:pt idx="9885">
                  <c:v>-2.18487394957982E-2</c:v>
                </c:pt>
                <c:pt idx="9886">
                  <c:v>-2.18487394957982E-2</c:v>
                </c:pt>
                <c:pt idx="9887">
                  <c:v>-2.18487394957982E-2</c:v>
                </c:pt>
                <c:pt idx="9888">
                  <c:v>-2.18487394957982E-2</c:v>
                </c:pt>
                <c:pt idx="9889">
                  <c:v>-2.18487394957982E-2</c:v>
                </c:pt>
                <c:pt idx="9890">
                  <c:v>-2.18487394957982E-2</c:v>
                </c:pt>
                <c:pt idx="9891">
                  <c:v>-2.18487394957982E-2</c:v>
                </c:pt>
                <c:pt idx="9892">
                  <c:v>-2.18487394957982E-2</c:v>
                </c:pt>
                <c:pt idx="9893">
                  <c:v>-2.18487394957982E-2</c:v>
                </c:pt>
                <c:pt idx="9894">
                  <c:v>-2.18487394957982E-2</c:v>
                </c:pt>
                <c:pt idx="9895">
                  <c:v>-2.18487394957982E-2</c:v>
                </c:pt>
                <c:pt idx="9896">
                  <c:v>-2.18487394957982E-2</c:v>
                </c:pt>
                <c:pt idx="9897">
                  <c:v>-2.18487394957982E-2</c:v>
                </c:pt>
                <c:pt idx="9898">
                  <c:v>-2.18487394957982E-2</c:v>
                </c:pt>
                <c:pt idx="9899">
                  <c:v>-2.18487394957982E-2</c:v>
                </c:pt>
                <c:pt idx="9900">
                  <c:v>-2.18487394957982E-2</c:v>
                </c:pt>
                <c:pt idx="9901">
                  <c:v>-2.18487394957982E-2</c:v>
                </c:pt>
                <c:pt idx="9902">
                  <c:v>-2.18487394957982E-2</c:v>
                </c:pt>
                <c:pt idx="9903">
                  <c:v>-2.18487394957982E-2</c:v>
                </c:pt>
                <c:pt idx="9904">
                  <c:v>-2.18487394957982E-2</c:v>
                </c:pt>
                <c:pt idx="9905">
                  <c:v>-2.18487394957982E-2</c:v>
                </c:pt>
                <c:pt idx="9906">
                  <c:v>-2.18487394957982E-2</c:v>
                </c:pt>
                <c:pt idx="9907">
                  <c:v>-2.18487394957982E-2</c:v>
                </c:pt>
                <c:pt idx="9908">
                  <c:v>-2.18487394957982E-2</c:v>
                </c:pt>
                <c:pt idx="9909">
                  <c:v>-2.18487394957982E-2</c:v>
                </c:pt>
                <c:pt idx="9910">
                  <c:v>-2.18487394957982E-2</c:v>
                </c:pt>
                <c:pt idx="9911">
                  <c:v>-2.18487394957982E-2</c:v>
                </c:pt>
                <c:pt idx="9912">
                  <c:v>-2.18487394957982E-2</c:v>
                </c:pt>
                <c:pt idx="9913">
                  <c:v>-2.18487394957982E-2</c:v>
                </c:pt>
                <c:pt idx="9914">
                  <c:v>-2.18487394957982E-2</c:v>
                </c:pt>
                <c:pt idx="9915">
                  <c:v>-2.18487394957982E-2</c:v>
                </c:pt>
                <c:pt idx="9916">
                  <c:v>-2.2689075630251999E-2</c:v>
                </c:pt>
                <c:pt idx="9917">
                  <c:v>-2.2689075630251999E-2</c:v>
                </c:pt>
                <c:pt idx="9918">
                  <c:v>-2.2689075630251999E-2</c:v>
                </c:pt>
                <c:pt idx="9919">
                  <c:v>-2.2689075630251999E-2</c:v>
                </c:pt>
                <c:pt idx="9920">
                  <c:v>-2.2689075630251999E-2</c:v>
                </c:pt>
                <c:pt idx="9921">
                  <c:v>-2.2689075630251999E-2</c:v>
                </c:pt>
                <c:pt idx="9922">
                  <c:v>-2.2689075630251999E-2</c:v>
                </c:pt>
                <c:pt idx="9923">
                  <c:v>-2.2689075630251999E-2</c:v>
                </c:pt>
                <c:pt idx="9924">
                  <c:v>-2.2689075630251999E-2</c:v>
                </c:pt>
                <c:pt idx="9925">
                  <c:v>-2.2689075630251999E-2</c:v>
                </c:pt>
                <c:pt idx="9926">
                  <c:v>-2.2689075630251999E-2</c:v>
                </c:pt>
                <c:pt idx="9927">
                  <c:v>-2.2689075630251999E-2</c:v>
                </c:pt>
                <c:pt idx="9928">
                  <c:v>-2.2689075630251999E-2</c:v>
                </c:pt>
                <c:pt idx="9929">
                  <c:v>-2.2689075630251999E-2</c:v>
                </c:pt>
                <c:pt idx="9930">
                  <c:v>-2.2689075630251999E-2</c:v>
                </c:pt>
                <c:pt idx="9931">
                  <c:v>-2.2689075630251999E-2</c:v>
                </c:pt>
                <c:pt idx="9932">
                  <c:v>-2.2689075630251999E-2</c:v>
                </c:pt>
                <c:pt idx="9933">
                  <c:v>-2.2689075630251999E-2</c:v>
                </c:pt>
                <c:pt idx="9934">
                  <c:v>-2.2689075630251999E-2</c:v>
                </c:pt>
                <c:pt idx="9935">
                  <c:v>-2.2689075630251999E-2</c:v>
                </c:pt>
                <c:pt idx="9936">
                  <c:v>-2.2689075630251999E-2</c:v>
                </c:pt>
                <c:pt idx="9937">
                  <c:v>-2.2689075630251999E-2</c:v>
                </c:pt>
                <c:pt idx="9938">
                  <c:v>-2.2689075630251999E-2</c:v>
                </c:pt>
                <c:pt idx="9939">
                  <c:v>-2.2689075630251999E-2</c:v>
                </c:pt>
                <c:pt idx="9940">
                  <c:v>-2.2689075630251999E-2</c:v>
                </c:pt>
                <c:pt idx="9941">
                  <c:v>-2.2689075630251999E-2</c:v>
                </c:pt>
                <c:pt idx="9942">
                  <c:v>-2.2689075630251999E-2</c:v>
                </c:pt>
                <c:pt idx="9943">
                  <c:v>-2.18487394957982E-2</c:v>
                </c:pt>
                <c:pt idx="9944">
                  <c:v>-2.18487394957982E-2</c:v>
                </c:pt>
                <c:pt idx="9945">
                  <c:v>-2.18487394957982E-2</c:v>
                </c:pt>
                <c:pt idx="9946">
                  <c:v>-2.18487394957982E-2</c:v>
                </c:pt>
                <c:pt idx="9947">
                  <c:v>-2.18487394957982E-2</c:v>
                </c:pt>
                <c:pt idx="9948">
                  <c:v>-2.18487394957982E-2</c:v>
                </c:pt>
                <c:pt idx="9949">
                  <c:v>-2.18487394957982E-2</c:v>
                </c:pt>
                <c:pt idx="9950">
                  <c:v>-2.18487394957982E-2</c:v>
                </c:pt>
                <c:pt idx="9951">
                  <c:v>-2.18487394957982E-2</c:v>
                </c:pt>
                <c:pt idx="9952">
                  <c:v>-2.18487394957982E-2</c:v>
                </c:pt>
                <c:pt idx="9953">
                  <c:v>-2.2689075630251999E-2</c:v>
                </c:pt>
                <c:pt idx="9954">
                  <c:v>-2.2689075630251999E-2</c:v>
                </c:pt>
                <c:pt idx="9955">
                  <c:v>-2.2689075630251999E-2</c:v>
                </c:pt>
                <c:pt idx="9956">
                  <c:v>-2.2689075630251999E-2</c:v>
                </c:pt>
                <c:pt idx="9957">
                  <c:v>-2.2689075630251999E-2</c:v>
                </c:pt>
                <c:pt idx="9958">
                  <c:v>-2.2689075630251999E-2</c:v>
                </c:pt>
                <c:pt idx="9959">
                  <c:v>-2.2689075630251999E-2</c:v>
                </c:pt>
                <c:pt idx="9960">
                  <c:v>-2.3529411764705799E-2</c:v>
                </c:pt>
                <c:pt idx="9961">
                  <c:v>-2.3529411764705799E-2</c:v>
                </c:pt>
                <c:pt idx="9962">
                  <c:v>-2.3529411764705799E-2</c:v>
                </c:pt>
                <c:pt idx="9963">
                  <c:v>-2.2689075630251999E-2</c:v>
                </c:pt>
                <c:pt idx="9964">
                  <c:v>-2.2689075630251999E-2</c:v>
                </c:pt>
                <c:pt idx="9965">
                  <c:v>-2.2689075630251999E-2</c:v>
                </c:pt>
                <c:pt idx="9966">
                  <c:v>-2.3529411764705799E-2</c:v>
                </c:pt>
                <c:pt idx="9967">
                  <c:v>-2.3529411764705799E-2</c:v>
                </c:pt>
                <c:pt idx="9968">
                  <c:v>-2.3529411764705799E-2</c:v>
                </c:pt>
                <c:pt idx="9969">
                  <c:v>-2.3529411764705799E-2</c:v>
                </c:pt>
                <c:pt idx="9970">
                  <c:v>-2.3529411764705799E-2</c:v>
                </c:pt>
                <c:pt idx="9971">
                  <c:v>-2.3529411764705799E-2</c:v>
                </c:pt>
                <c:pt idx="9972">
                  <c:v>-2.3529411764705799E-2</c:v>
                </c:pt>
                <c:pt idx="9973">
                  <c:v>-2.3529411764705799E-2</c:v>
                </c:pt>
                <c:pt idx="9974">
                  <c:v>-2.2689075630251999E-2</c:v>
                </c:pt>
                <c:pt idx="9975">
                  <c:v>-2.2689075630251999E-2</c:v>
                </c:pt>
                <c:pt idx="9976">
                  <c:v>-2.2689075630251999E-2</c:v>
                </c:pt>
                <c:pt idx="9977">
                  <c:v>-2.2689075630251999E-2</c:v>
                </c:pt>
                <c:pt idx="9978">
                  <c:v>-2.2689075630251999E-2</c:v>
                </c:pt>
                <c:pt idx="9979">
                  <c:v>-2.2689075630251999E-2</c:v>
                </c:pt>
                <c:pt idx="9980">
                  <c:v>-2.2689075630251999E-2</c:v>
                </c:pt>
                <c:pt idx="9981">
                  <c:v>-2.2689075630251999E-2</c:v>
                </c:pt>
                <c:pt idx="9982">
                  <c:v>-2.2689075630251999E-2</c:v>
                </c:pt>
                <c:pt idx="9983">
                  <c:v>-2.2689075630251999E-2</c:v>
                </c:pt>
                <c:pt idx="9984">
                  <c:v>-2.2689075630251999E-2</c:v>
                </c:pt>
                <c:pt idx="9985">
                  <c:v>-2.2689075630251999E-2</c:v>
                </c:pt>
                <c:pt idx="9986">
                  <c:v>-2.3529411764705799E-2</c:v>
                </c:pt>
                <c:pt idx="9987">
                  <c:v>-2.3529411764705799E-2</c:v>
                </c:pt>
                <c:pt idx="9988">
                  <c:v>-2.3529411764705799E-2</c:v>
                </c:pt>
                <c:pt idx="9989">
                  <c:v>-2.3529411764705799E-2</c:v>
                </c:pt>
                <c:pt idx="9990">
                  <c:v>-2.3529411764705799E-2</c:v>
                </c:pt>
                <c:pt idx="9991">
                  <c:v>-2.3529411764705799E-2</c:v>
                </c:pt>
                <c:pt idx="9992">
                  <c:v>-2.3529411764705799E-2</c:v>
                </c:pt>
                <c:pt idx="9993">
                  <c:v>-2.3529411764705799E-2</c:v>
                </c:pt>
                <c:pt idx="9994">
                  <c:v>-2.3529411764705799E-2</c:v>
                </c:pt>
                <c:pt idx="9995">
                  <c:v>-2.3529411764705799E-2</c:v>
                </c:pt>
                <c:pt idx="9996">
                  <c:v>-2.3529411764705799E-2</c:v>
                </c:pt>
                <c:pt idx="9997">
                  <c:v>-2.3529411764705799E-2</c:v>
                </c:pt>
                <c:pt idx="9998">
                  <c:v>-2.3529411764705799E-2</c:v>
                </c:pt>
                <c:pt idx="9999">
                  <c:v>-2.3529411764705799E-2</c:v>
                </c:pt>
                <c:pt idx="10000">
                  <c:v>-2.3529411764705799E-2</c:v>
                </c:pt>
                <c:pt idx="10001">
                  <c:v>-2.3529411764705799E-2</c:v>
                </c:pt>
                <c:pt idx="10002">
                  <c:v>-2.3529411764705799E-2</c:v>
                </c:pt>
                <c:pt idx="10003">
                  <c:v>-2.4369747899159602E-2</c:v>
                </c:pt>
                <c:pt idx="10004">
                  <c:v>-2.4369747899159602E-2</c:v>
                </c:pt>
                <c:pt idx="10005">
                  <c:v>-2.4369747899159602E-2</c:v>
                </c:pt>
                <c:pt idx="10006">
                  <c:v>-2.4369747899159602E-2</c:v>
                </c:pt>
                <c:pt idx="10007">
                  <c:v>-2.4369747899159602E-2</c:v>
                </c:pt>
                <c:pt idx="10008">
                  <c:v>-2.4369747899159602E-2</c:v>
                </c:pt>
                <c:pt idx="10009">
                  <c:v>-2.4369747899159602E-2</c:v>
                </c:pt>
                <c:pt idx="10010">
                  <c:v>-2.4369747899159602E-2</c:v>
                </c:pt>
                <c:pt idx="10011">
                  <c:v>-2.4369747899159602E-2</c:v>
                </c:pt>
                <c:pt idx="10012">
                  <c:v>-2.4369747899159602E-2</c:v>
                </c:pt>
                <c:pt idx="10013">
                  <c:v>-2.4369747899159602E-2</c:v>
                </c:pt>
                <c:pt idx="10014">
                  <c:v>-2.4369747899159602E-2</c:v>
                </c:pt>
                <c:pt idx="10015">
                  <c:v>-2.4369747899159602E-2</c:v>
                </c:pt>
                <c:pt idx="10016">
                  <c:v>-2.4369747899159602E-2</c:v>
                </c:pt>
                <c:pt idx="10017">
                  <c:v>-2.4369747899159602E-2</c:v>
                </c:pt>
                <c:pt idx="10018">
                  <c:v>-2.4369747899159602E-2</c:v>
                </c:pt>
                <c:pt idx="10019">
                  <c:v>-2.4369747899159602E-2</c:v>
                </c:pt>
                <c:pt idx="10020">
                  <c:v>-2.4369747899159602E-2</c:v>
                </c:pt>
                <c:pt idx="10021">
                  <c:v>-2.4369747899159602E-2</c:v>
                </c:pt>
                <c:pt idx="10022">
                  <c:v>-2.4369747899159602E-2</c:v>
                </c:pt>
                <c:pt idx="10023">
                  <c:v>-2.4369747899159602E-2</c:v>
                </c:pt>
                <c:pt idx="10024">
                  <c:v>-2.4369747899159602E-2</c:v>
                </c:pt>
                <c:pt idx="10025">
                  <c:v>-2.4369747899159602E-2</c:v>
                </c:pt>
                <c:pt idx="10026">
                  <c:v>-2.4369747899159602E-2</c:v>
                </c:pt>
                <c:pt idx="10027">
                  <c:v>-2.4369747899159602E-2</c:v>
                </c:pt>
                <c:pt idx="10028">
                  <c:v>-2.5210084033613401E-2</c:v>
                </c:pt>
                <c:pt idx="10029">
                  <c:v>-2.4369747899159602E-2</c:v>
                </c:pt>
                <c:pt idx="10030">
                  <c:v>-2.4369747899159602E-2</c:v>
                </c:pt>
                <c:pt idx="10031">
                  <c:v>-2.4369747899159602E-2</c:v>
                </c:pt>
                <c:pt idx="10032">
                  <c:v>-2.4369747899159602E-2</c:v>
                </c:pt>
                <c:pt idx="10033">
                  <c:v>-2.4369747899159602E-2</c:v>
                </c:pt>
                <c:pt idx="10034">
                  <c:v>-2.4369747899159602E-2</c:v>
                </c:pt>
                <c:pt idx="10035">
                  <c:v>-2.4369747899159602E-2</c:v>
                </c:pt>
                <c:pt idx="10036">
                  <c:v>-2.4369747899159602E-2</c:v>
                </c:pt>
                <c:pt idx="10037">
                  <c:v>-2.4369747899159602E-2</c:v>
                </c:pt>
                <c:pt idx="10038">
                  <c:v>-2.4369747899159602E-2</c:v>
                </c:pt>
                <c:pt idx="10039">
                  <c:v>-2.4369747899159602E-2</c:v>
                </c:pt>
                <c:pt idx="10040">
                  <c:v>-2.4369747899159602E-2</c:v>
                </c:pt>
                <c:pt idx="10041">
                  <c:v>-2.4369747899159602E-2</c:v>
                </c:pt>
                <c:pt idx="10042">
                  <c:v>-2.4369747899159602E-2</c:v>
                </c:pt>
                <c:pt idx="10043">
                  <c:v>-2.4369747899159602E-2</c:v>
                </c:pt>
                <c:pt idx="10044">
                  <c:v>-2.4369747899159602E-2</c:v>
                </c:pt>
                <c:pt idx="10045">
                  <c:v>-2.4369747899159602E-2</c:v>
                </c:pt>
                <c:pt idx="10046">
                  <c:v>-2.4369747899159602E-2</c:v>
                </c:pt>
                <c:pt idx="10047">
                  <c:v>-2.4369747899159602E-2</c:v>
                </c:pt>
                <c:pt idx="10048">
                  <c:v>-2.4369747899159602E-2</c:v>
                </c:pt>
                <c:pt idx="10049">
                  <c:v>-2.4369747899159602E-2</c:v>
                </c:pt>
                <c:pt idx="10050">
                  <c:v>-2.4369747899159602E-2</c:v>
                </c:pt>
                <c:pt idx="10051">
                  <c:v>-2.4369747899159602E-2</c:v>
                </c:pt>
                <c:pt idx="10052">
                  <c:v>-2.4369747899159602E-2</c:v>
                </c:pt>
                <c:pt idx="10053">
                  <c:v>-2.4369747899159602E-2</c:v>
                </c:pt>
                <c:pt idx="10054">
                  <c:v>-2.4369747899159602E-2</c:v>
                </c:pt>
                <c:pt idx="10055">
                  <c:v>-2.5210084033613401E-2</c:v>
                </c:pt>
                <c:pt idx="10056">
                  <c:v>-2.5210084033613401E-2</c:v>
                </c:pt>
                <c:pt idx="10057">
                  <c:v>-2.5210084033613401E-2</c:v>
                </c:pt>
                <c:pt idx="10058">
                  <c:v>-2.5210084033613401E-2</c:v>
                </c:pt>
                <c:pt idx="10059">
                  <c:v>-2.5210084033613401E-2</c:v>
                </c:pt>
                <c:pt idx="10060">
                  <c:v>-2.5210084033613401E-2</c:v>
                </c:pt>
                <c:pt idx="10061">
                  <c:v>-2.5210084033613401E-2</c:v>
                </c:pt>
                <c:pt idx="10062">
                  <c:v>-2.5210084033613401E-2</c:v>
                </c:pt>
                <c:pt idx="10063">
                  <c:v>-2.5210084033613401E-2</c:v>
                </c:pt>
                <c:pt idx="10064">
                  <c:v>-2.5210084033613401E-2</c:v>
                </c:pt>
                <c:pt idx="10065">
                  <c:v>-2.5210084033613401E-2</c:v>
                </c:pt>
                <c:pt idx="10066">
                  <c:v>-2.5210084033613401E-2</c:v>
                </c:pt>
                <c:pt idx="10067">
                  <c:v>-2.5210084033613401E-2</c:v>
                </c:pt>
                <c:pt idx="10068">
                  <c:v>-2.5210084033613401E-2</c:v>
                </c:pt>
                <c:pt idx="10069">
                  <c:v>-2.5210084033613401E-2</c:v>
                </c:pt>
                <c:pt idx="10070">
                  <c:v>-2.5210084033613401E-2</c:v>
                </c:pt>
                <c:pt idx="10071">
                  <c:v>-2.5210084033613401E-2</c:v>
                </c:pt>
                <c:pt idx="10072">
                  <c:v>-2.5210084033613401E-2</c:v>
                </c:pt>
                <c:pt idx="10073">
                  <c:v>-2.5210084033613401E-2</c:v>
                </c:pt>
                <c:pt idx="10074">
                  <c:v>-2.5210084033613401E-2</c:v>
                </c:pt>
                <c:pt idx="10075">
                  <c:v>-2.5210084033613401E-2</c:v>
                </c:pt>
                <c:pt idx="10076">
                  <c:v>-2.5210084033613401E-2</c:v>
                </c:pt>
                <c:pt idx="10077">
                  <c:v>-2.5210084033613401E-2</c:v>
                </c:pt>
                <c:pt idx="10078">
                  <c:v>-2.5210084033613401E-2</c:v>
                </c:pt>
                <c:pt idx="10079">
                  <c:v>-2.5210084033613401E-2</c:v>
                </c:pt>
                <c:pt idx="10080">
                  <c:v>-2.5210084033613401E-2</c:v>
                </c:pt>
                <c:pt idx="10081">
                  <c:v>-2.5210084033613401E-2</c:v>
                </c:pt>
                <c:pt idx="10082">
                  <c:v>-2.5210084033613401E-2</c:v>
                </c:pt>
                <c:pt idx="10083">
                  <c:v>-2.5210084033613401E-2</c:v>
                </c:pt>
                <c:pt idx="10084">
                  <c:v>-2.5210084033613401E-2</c:v>
                </c:pt>
                <c:pt idx="10085">
                  <c:v>-2.5210084033613401E-2</c:v>
                </c:pt>
                <c:pt idx="10086">
                  <c:v>-2.4369747899159602E-2</c:v>
                </c:pt>
                <c:pt idx="10087">
                  <c:v>-2.4369747899159602E-2</c:v>
                </c:pt>
                <c:pt idx="10088">
                  <c:v>-2.4369747899159602E-2</c:v>
                </c:pt>
                <c:pt idx="10089">
                  <c:v>-2.4369747899159602E-2</c:v>
                </c:pt>
                <c:pt idx="10090">
                  <c:v>-2.4369747899159602E-2</c:v>
                </c:pt>
                <c:pt idx="10091">
                  <c:v>-2.4369747899159602E-2</c:v>
                </c:pt>
                <c:pt idx="10092">
                  <c:v>-2.4369747899159602E-2</c:v>
                </c:pt>
                <c:pt idx="10093">
                  <c:v>-2.4369747899159602E-2</c:v>
                </c:pt>
                <c:pt idx="10094">
                  <c:v>-2.5210084033613401E-2</c:v>
                </c:pt>
                <c:pt idx="10095">
                  <c:v>-2.5210084033613401E-2</c:v>
                </c:pt>
                <c:pt idx="10096">
                  <c:v>-2.5210084033613401E-2</c:v>
                </c:pt>
                <c:pt idx="10097">
                  <c:v>-2.5210084033613401E-2</c:v>
                </c:pt>
                <c:pt idx="10098">
                  <c:v>-2.5210084033613401E-2</c:v>
                </c:pt>
                <c:pt idx="10099">
                  <c:v>-2.5210084033613401E-2</c:v>
                </c:pt>
                <c:pt idx="10100">
                  <c:v>-2.5210084033613401E-2</c:v>
                </c:pt>
                <c:pt idx="10101">
                  <c:v>-2.5210084033613401E-2</c:v>
                </c:pt>
                <c:pt idx="10102">
                  <c:v>-2.5210084033613401E-2</c:v>
                </c:pt>
                <c:pt idx="10103">
                  <c:v>-2.5210084033613401E-2</c:v>
                </c:pt>
                <c:pt idx="10104">
                  <c:v>-2.5210084033613401E-2</c:v>
                </c:pt>
                <c:pt idx="10105">
                  <c:v>-2.5210084033613401E-2</c:v>
                </c:pt>
                <c:pt idx="10106">
                  <c:v>-2.5210084033613401E-2</c:v>
                </c:pt>
                <c:pt idx="10107">
                  <c:v>-2.5210084033613401E-2</c:v>
                </c:pt>
                <c:pt idx="10108">
                  <c:v>-2.5210084033613401E-2</c:v>
                </c:pt>
                <c:pt idx="10109">
                  <c:v>-2.5210084033613401E-2</c:v>
                </c:pt>
                <c:pt idx="10110">
                  <c:v>-2.5210084033613401E-2</c:v>
                </c:pt>
                <c:pt idx="10111">
                  <c:v>-2.5210084033613401E-2</c:v>
                </c:pt>
                <c:pt idx="10112">
                  <c:v>-2.5210084033613401E-2</c:v>
                </c:pt>
                <c:pt idx="10113">
                  <c:v>-2.5210084033613401E-2</c:v>
                </c:pt>
                <c:pt idx="10114">
                  <c:v>-2.5210084033613401E-2</c:v>
                </c:pt>
                <c:pt idx="10115">
                  <c:v>-2.5210084033613401E-2</c:v>
                </c:pt>
                <c:pt idx="10116">
                  <c:v>-2.5210084033613401E-2</c:v>
                </c:pt>
                <c:pt idx="10117">
                  <c:v>-2.5210084033613401E-2</c:v>
                </c:pt>
                <c:pt idx="10118">
                  <c:v>-2.5210084033613401E-2</c:v>
                </c:pt>
                <c:pt idx="10119">
                  <c:v>-2.5210084033613401E-2</c:v>
                </c:pt>
                <c:pt idx="10120">
                  <c:v>-2.5210084033613401E-2</c:v>
                </c:pt>
                <c:pt idx="10121">
                  <c:v>-2.5210084033613401E-2</c:v>
                </c:pt>
                <c:pt idx="10122">
                  <c:v>-2.5210084033613401E-2</c:v>
                </c:pt>
                <c:pt idx="10123">
                  <c:v>-2.5210084033613401E-2</c:v>
                </c:pt>
                <c:pt idx="10124">
                  <c:v>-2.5210084033613401E-2</c:v>
                </c:pt>
                <c:pt idx="10125">
                  <c:v>-2.5210084033613401E-2</c:v>
                </c:pt>
                <c:pt idx="10126">
                  <c:v>-2.4369747899159602E-2</c:v>
                </c:pt>
                <c:pt idx="10127">
                  <c:v>-2.4369747899159602E-2</c:v>
                </c:pt>
                <c:pt idx="10128">
                  <c:v>-2.4369747899159602E-2</c:v>
                </c:pt>
                <c:pt idx="10129">
                  <c:v>-2.4369747899159602E-2</c:v>
                </c:pt>
                <c:pt idx="10130">
                  <c:v>-2.4369747899159602E-2</c:v>
                </c:pt>
                <c:pt idx="10131">
                  <c:v>-2.4369747899159602E-2</c:v>
                </c:pt>
                <c:pt idx="10132">
                  <c:v>-2.4369747899159602E-2</c:v>
                </c:pt>
                <c:pt idx="10133">
                  <c:v>-2.4369747899159602E-2</c:v>
                </c:pt>
                <c:pt idx="10134">
                  <c:v>-2.4369747899159602E-2</c:v>
                </c:pt>
                <c:pt idx="10135">
                  <c:v>-2.4369747899159602E-2</c:v>
                </c:pt>
                <c:pt idx="10136">
                  <c:v>-2.4369747899159602E-2</c:v>
                </c:pt>
                <c:pt idx="10137">
                  <c:v>-2.4369747899159602E-2</c:v>
                </c:pt>
                <c:pt idx="10138">
                  <c:v>-2.5210084033613401E-2</c:v>
                </c:pt>
                <c:pt idx="10139">
                  <c:v>-2.5210084033613401E-2</c:v>
                </c:pt>
                <c:pt idx="10140">
                  <c:v>-2.5210084033613401E-2</c:v>
                </c:pt>
                <c:pt idx="10141">
                  <c:v>-2.5210084033613401E-2</c:v>
                </c:pt>
                <c:pt idx="10142">
                  <c:v>-2.5210084033613401E-2</c:v>
                </c:pt>
                <c:pt idx="10143">
                  <c:v>-2.5210084033613401E-2</c:v>
                </c:pt>
                <c:pt idx="10144">
                  <c:v>-2.5210084033613401E-2</c:v>
                </c:pt>
                <c:pt idx="10145">
                  <c:v>-2.5210084033613401E-2</c:v>
                </c:pt>
                <c:pt idx="10146">
                  <c:v>-2.5210084033613401E-2</c:v>
                </c:pt>
                <c:pt idx="10147">
                  <c:v>-2.5210084033613401E-2</c:v>
                </c:pt>
                <c:pt idx="10148">
                  <c:v>-2.5210084033613401E-2</c:v>
                </c:pt>
                <c:pt idx="10149">
                  <c:v>-2.5210084033613401E-2</c:v>
                </c:pt>
                <c:pt idx="10150">
                  <c:v>-2.5210084033613401E-2</c:v>
                </c:pt>
                <c:pt idx="10151">
                  <c:v>-2.5210084033613401E-2</c:v>
                </c:pt>
                <c:pt idx="10152">
                  <c:v>-2.5210084033613401E-2</c:v>
                </c:pt>
                <c:pt idx="10153">
                  <c:v>-2.5210084033613401E-2</c:v>
                </c:pt>
                <c:pt idx="10154">
                  <c:v>-2.5210084033613401E-2</c:v>
                </c:pt>
                <c:pt idx="10155">
                  <c:v>-2.5210084033613401E-2</c:v>
                </c:pt>
                <c:pt idx="10156">
                  <c:v>-2.5210084033613401E-2</c:v>
                </c:pt>
                <c:pt idx="10157">
                  <c:v>-2.5210084033613401E-2</c:v>
                </c:pt>
                <c:pt idx="10158">
                  <c:v>-2.5210084033613401E-2</c:v>
                </c:pt>
                <c:pt idx="10159">
                  <c:v>-2.5210084033613401E-2</c:v>
                </c:pt>
                <c:pt idx="10160">
                  <c:v>-2.5210084033613401E-2</c:v>
                </c:pt>
                <c:pt idx="10161">
                  <c:v>-2.5210084033613401E-2</c:v>
                </c:pt>
                <c:pt idx="10162">
                  <c:v>-2.5210084033613401E-2</c:v>
                </c:pt>
                <c:pt idx="10163">
                  <c:v>-2.5210084033613401E-2</c:v>
                </c:pt>
                <c:pt idx="10164">
                  <c:v>-2.5210084033613401E-2</c:v>
                </c:pt>
                <c:pt idx="10165">
                  <c:v>-2.5210084033613401E-2</c:v>
                </c:pt>
                <c:pt idx="10166">
                  <c:v>-2.5210084033613401E-2</c:v>
                </c:pt>
                <c:pt idx="10167">
                  <c:v>-2.5210084033613401E-2</c:v>
                </c:pt>
                <c:pt idx="10168">
                  <c:v>-2.60504201680672E-2</c:v>
                </c:pt>
                <c:pt idx="10169">
                  <c:v>-2.60504201680672E-2</c:v>
                </c:pt>
                <c:pt idx="10170">
                  <c:v>-2.60504201680672E-2</c:v>
                </c:pt>
                <c:pt idx="10171">
                  <c:v>-2.60504201680672E-2</c:v>
                </c:pt>
                <c:pt idx="10172">
                  <c:v>-2.60504201680672E-2</c:v>
                </c:pt>
                <c:pt idx="10173">
                  <c:v>-2.60504201680672E-2</c:v>
                </c:pt>
                <c:pt idx="10174">
                  <c:v>-2.60504201680672E-2</c:v>
                </c:pt>
                <c:pt idx="10175">
                  <c:v>-2.60504201680672E-2</c:v>
                </c:pt>
                <c:pt idx="10176">
                  <c:v>-2.60504201680672E-2</c:v>
                </c:pt>
                <c:pt idx="10177">
                  <c:v>-2.60504201680672E-2</c:v>
                </c:pt>
                <c:pt idx="10178">
                  <c:v>-2.6890756302521E-2</c:v>
                </c:pt>
                <c:pt idx="10179">
                  <c:v>-2.6890756302521E-2</c:v>
                </c:pt>
                <c:pt idx="10180">
                  <c:v>-2.6890756302521E-2</c:v>
                </c:pt>
                <c:pt idx="10181">
                  <c:v>-2.6890756302521E-2</c:v>
                </c:pt>
                <c:pt idx="10182">
                  <c:v>-2.6890756302521E-2</c:v>
                </c:pt>
                <c:pt idx="10183">
                  <c:v>-2.6890756302521E-2</c:v>
                </c:pt>
                <c:pt idx="10184">
                  <c:v>-2.6890756302521E-2</c:v>
                </c:pt>
                <c:pt idx="10185">
                  <c:v>-2.6890756302521E-2</c:v>
                </c:pt>
                <c:pt idx="10186">
                  <c:v>-2.6890756302521E-2</c:v>
                </c:pt>
                <c:pt idx="10187">
                  <c:v>-2.60504201680672E-2</c:v>
                </c:pt>
                <c:pt idx="10188">
                  <c:v>-2.60504201680672E-2</c:v>
                </c:pt>
                <c:pt idx="10189">
                  <c:v>-2.60504201680672E-2</c:v>
                </c:pt>
                <c:pt idx="10190">
                  <c:v>-2.60504201680672E-2</c:v>
                </c:pt>
                <c:pt idx="10191">
                  <c:v>-2.60504201680672E-2</c:v>
                </c:pt>
                <c:pt idx="10192">
                  <c:v>-2.60504201680672E-2</c:v>
                </c:pt>
                <c:pt idx="10193">
                  <c:v>-2.60504201680672E-2</c:v>
                </c:pt>
                <c:pt idx="10194">
                  <c:v>-2.60504201680672E-2</c:v>
                </c:pt>
                <c:pt idx="10195">
                  <c:v>-2.60504201680672E-2</c:v>
                </c:pt>
                <c:pt idx="10196">
                  <c:v>-2.60504201680672E-2</c:v>
                </c:pt>
                <c:pt idx="10197">
                  <c:v>-2.60504201680672E-2</c:v>
                </c:pt>
                <c:pt idx="10198">
                  <c:v>-2.60504201680672E-2</c:v>
                </c:pt>
                <c:pt idx="10199">
                  <c:v>-2.60504201680672E-2</c:v>
                </c:pt>
                <c:pt idx="10200">
                  <c:v>-2.5210084033613401E-2</c:v>
                </c:pt>
                <c:pt idx="10201">
                  <c:v>-2.5210084033613401E-2</c:v>
                </c:pt>
                <c:pt idx="10202">
                  <c:v>-2.5210084033613401E-2</c:v>
                </c:pt>
                <c:pt idx="10203">
                  <c:v>-2.5210084033613401E-2</c:v>
                </c:pt>
                <c:pt idx="10204">
                  <c:v>-2.5210084033613401E-2</c:v>
                </c:pt>
                <c:pt idx="10205">
                  <c:v>-2.5210084033613401E-2</c:v>
                </c:pt>
                <c:pt idx="10206">
                  <c:v>-2.5210084033613401E-2</c:v>
                </c:pt>
                <c:pt idx="10207">
                  <c:v>-2.5210084033613401E-2</c:v>
                </c:pt>
                <c:pt idx="10208">
                  <c:v>-2.5210084033613401E-2</c:v>
                </c:pt>
                <c:pt idx="10209">
                  <c:v>-2.5210084033613401E-2</c:v>
                </c:pt>
                <c:pt idx="10210">
                  <c:v>-2.5210084033613401E-2</c:v>
                </c:pt>
                <c:pt idx="10211">
                  <c:v>-2.5210084033613401E-2</c:v>
                </c:pt>
                <c:pt idx="10212">
                  <c:v>-2.5210084033613401E-2</c:v>
                </c:pt>
                <c:pt idx="10213">
                  <c:v>-2.5210084033613401E-2</c:v>
                </c:pt>
                <c:pt idx="10214">
                  <c:v>-2.5210084033613401E-2</c:v>
                </c:pt>
                <c:pt idx="10215">
                  <c:v>-2.5210084033613401E-2</c:v>
                </c:pt>
                <c:pt idx="10216">
                  <c:v>-2.60504201680672E-2</c:v>
                </c:pt>
                <c:pt idx="10217">
                  <c:v>-2.60504201680672E-2</c:v>
                </c:pt>
                <c:pt idx="10218">
                  <c:v>-2.60504201680672E-2</c:v>
                </c:pt>
                <c:pt idx="10219">
                  <c:v>-2.60504201680672E-2</c:v>
                </c:pt>
                <c:pt idx="10220">
                  <c:v>-2.60504201680672E-2</c:v>
                </c:pt>
                <c:pt idx="10221">
                  <c:v>-2.60504201680672E-2</c:v>
                </c:pt>
                <c:pt idx="10222">
                  <c:v>-2.60504201680672E-2</c:v>
                </c:pt>
                <c:pt idx="10223">
                  <c:v>-2.60504201680672E-2</c:v>
                </c:pt>
                <c:pt idx="10224">
                  <c:v>-2.6890756302521E-2</c:v>
                </c:pt>
                <c:pt idx="10225">
                  <c:v>-2.6890756302521E-2</c:v>
                </c:pt>
                <c:pt idx="10226">
                  <c:v>-2.6890756302521E-2</c:v>
                </c:pt>
                <c:pt idx="10227">
                  <c:v>-2.6890756302521E-2</c:v>
                </c:pt>
                <c:pt idx="10228">
                  <c:v>-2.6890756302521E-2</c:v>
                </c:pt>
                <c:pt idx="10229">
                  <c:v>-2.6890756302521E-2</c:v>
                </c:pt>
                <c:pt idx="10230">
                  <c:v>-2.6890756302521E-2</c:v>
                </c:pt>
                <c:pt idx="10231">
                  <c:v>-2.6890756302521E-2</c:v>
                </c:pt>
                <c:pt idx="10232">
                  <c:v>-2.6890756302521E-2</c:v>
                </c:pt>
                <c:pt idx="10233">
                  <c:v>-2.6890756302521E-2</c:v>
                </c:pt>
                <c:pt idx="10234">
                  <c:v>-2.6890756302521E-2</c:v>
                </c:pt>
                <c:pt idx="10235">
                  <c:v>-2.6890756302521E-2</c:v>
                </c:pt>
                <c:pt idx="10236">
                  <c:v>-2.6890756302521E-2</c:v>
                </c:pt>
                <c:pt idx="10237">
                  <c:v>-2.6890756302521E-2</c:v>
                </c:pt>
                <c:pt idx="10238">
                  <c:v>-2.6890756302521E-2</c:v>
                </c:pt>
                <c:pt idx="10239">
                  <c:v>-2.60504201680672E-2</c:v>
                </c:pt>
                <c:pt idx="10240">
                  <c:v>-2.60504201680672E-2</c:v>
                </c:pt>
                <c:pt idx="10241">
                  <c:v>-2.60504201680672E-2</c:v>
                </c:pt>
                <c:pt idx="10242">
                  <c:v>-2.60504201680672E-2</c:v>
                </c:pt>
                <c:pt idx="10243">
                  <c:v>-2.60504201680672E-2</c:v>
                </c:pt>
                <c:pt idx="10244">
                  <c:v>-2.60504201680672E-2</c:v>
                </c:pt>
                <c:pt idx="10245">
                  <c:v>-2.60504201680672E-2</c:v>
                </c:pt>
                <c:pt idx="10246">
                  <c:v>-2.60504201680672E-2</c:v>
                </c:pt>
                <c:pt idx="10247">
                  <c:v>-2.60504201680672E-2</c:v>
                </c:pt>
                <c:pt idx="10248">
                  <c:v>-2.60504201680672E-2</c:v>
                </c:pt>
                <c:pt idx="10249">
                  <c:v>-2.60504201680672E-2</c:v>
                </c:pt>
                <c:pt idx="10250">
                  <c:v>-2.60504201680672E-2</c:v>
                </c:pt>
                <c:pt idx="10251">
                  <c:v>-2.60504201680672E-2</c:v>
                </c:pt>
                <c:pt idx="10252">
                  <c:v>-2.60504201680672E-2</c:v>
                </c:pt>
                <c:pt idx="10253">
                  <c:v>-2.60504201680672E-2</c:v>
                </c:pt>
                <c:pt idx="10254">
                  <c:v>-2.60504201680672E-2</c:v>
                </c:pt>
                <c:pt idx="10255">
                  <c:v>-2.6890756302521E-2</c:v>
                </c:pt>
                <c:pt idx="10256">
                  <c:v>-2.6890756302521E-2</c:v>
                </c:pt>
                <c:pt idx="10257">
                  <c:v>-2.6890756302521E-2</c:v>
                </c:pt>
                <c:pt idx="10258">
                  <c:v>-2.6890756302521E-2</c:v>
                </c:pt>
                <c:pt idx="10259">
                  <c:v>-2.6890756302521E-2</c:v>
                </c:pt>
                <c:pt idx="10260">
                  <c:v>-2.6890756302521E-2</c:v>
                </c:pt>
                <c:pt idx="10261">
                  <c:v>-2.6890756302521E-2</c:v>
                </c:pt>
                <c:pt idx="10262">
                  <c:v>-2.6890756302521E-2</c:v>
                </c:pt>
                <c:pt idx="10263">
                  <c:v>-2.6890756302521E-2</c:v>
                </c:pt>
                <c:pt idx="10264">
                  <c:v>-2.60504201680672E-2</c:v>
                </c:pt>
                <c:pt idx="10265">
                  <c:v>-2.60504201680672E-2</c:v>
                </c:pt>
                <c:pt idx="10266">
                  <c:v>-2.60504201680672E-2</c:v>
                </c:pt>
                <c:pt idx="10267">
                  <c:v>-2.60504201680672E-2</c:v>
                </c:pt>
                <c:pt idx="10268">
                  <c:v>-2.60504201680672E-2</c:v>
                </c:pt>
                <c:pt idx="10269">
                  <c:v>-2.60504201680672E-2</c:v>
                </c:pt>
                <c:pt idx="10270">
                  <c:v>-2.60504201680672E-2</c:v>
                </c:pt>
                <c:pt idx="10271">
                  <c:v>-2.60504201680672E-2</c:v>
                </c:pt>
                <c:pt idx="10272">
                  <c:v>-2.60504201680672E-2</c:v>
                </c:pt>
                <c:pt idx="10273">
                  <c:v>-2.60504201680672E-2</c:v>
                </c:pt>
                <c:pt idx="10274">
                  <c:v>-2.60504201680672E-2</c:v>
                </c:pt>
                <c:pt idx="10275">
                  <c:v>-2.60504201680672E-2</c:v>
                </c:pt>
                <c:pt idx="10276">
                  <c:v>-2.60504201680672E-2</c:v>
                </c:pt>
                <c:pt idx="10277">
                  <c:v>-2.60504201680672E-2</c:v>
                </c:pt>
                <c:pt idx="10278">
                  <c:v>-2.60504201680672E-2</c:v>
                </c:pt>
                <c:pt idx="10279">
                  <c:v>-2.60504201680672E-2</c:v>
                </c:pt>
                <c:pt idx="10280">
                  <c:v>-2.60504201680672E-2</c:v>
                </c:pt>
                <c:pt idx="10281">
                  <c:v>-2.60504201680672E-2</c:v>
                </c:pt>
                <c:pt idx="10282">
                  <c:v>-2.5210084033613401E-2</c:v>
                </c:pt>
                <c:pt idx="10283">
                  <c:v>-2.5210084033613401E-2</c:v>
                </c:pt>
                <c:pt idx="10284">
                  <c:v>-2.5210084033613401E-2</c:v>
                </c:pt>
                <c:pt idx="10285">
                  <c:v>-2.5210084033613401E-2</c:v>
                </c:pt>
                <c:pt idx="10286">
                  <c:v>-2.5210084033613401E-2</c:v>
                </c:pt>
                <c:pt idx="10287">
                  <c:v>-2.5210084033613401E-2</c:v>
                </c:pt>
                <c:pt idx="10288">
                  <c:v>-2.5210084033613401E-2</c:v>
                </c:pt>
                <c:pt idx="10289">
                  <c:v>-2.5210084033613401E-2</c:v>
                </c:pt>
                <c:pt idx="10290">
                  <c:v>-2.4369747899159602E-2</c:v>
                </c:pt>
                <c:pt idx="10291">
                  <c:v>-2.4369747899159602E-2</c:v>
                </c:pt>
                <c:pt idx="10292">
                  <c:v>-2.3529411764705899E-2</c:v>
                </c:pt>
                <c:pt idx="10293">
                  <c:v>-2.3529411764705899E-2</c:v>
                </c:pt>
                <c:pt idx="10294">
                  <c:v>-2.3529411764705899E-2</c:v>
                </c:pt>
                <c:pt idx="10295">
                  <c:v>-2.3529411764705899E-2</c:v>
                </c:pt>
                <c:pt idx="10296">
                  <c:v>-2.3529411764705899E-2</c:v>
                </c:pt>
                <c:pt idx="10297">
                  <c:v>-2.3529411764705899E-2</c:v>
                </c:pt>
                <c:pt idx="10298">
                  <c:v>-2.3529411764705899E-2</c:v>
                </c:pt>
                <c:pt idx="10299">
                  <c:v>-2.3529411764705899E-2</c:v>
                </c:pt>
                <c:pt idx="10300">
                  <c:v>-2.3529411764705899E-2</c:v>
                </c:pt>
                <c:pt idx="10301">
                  <c:v>-2.3529411764705899E-2</c:v>
                </c:pt>
                <c:pt idx="10302">
                  <c:v>-2.3529411764705899E-2</c:v>
                </c:pt>
                <c:pt idx="10303">
                  <c:v>-2.3529411764705899E-2</c:v>
                </c:pt>
                <c:pt idx="10304">
                  <c:v>-2.3529411764705899E-2</c:v>
                </c:pt>
                <c:pt idx="10305">
                  <c:v>-2.3529411764705899E-2</c:v>
                </c:pt>
                <c:pt idx="10306">
                  <c:v>-2.3529411764705899E-2</c:v>
                </c:pt>
                <c:pt idx="10307">
                  <c:v>-2.3529411764705899E-2</c:v>
                </c:pt>
                <c:pt idx="10308">
                  <c:v>-2.4369747899159602E-2</c:v>
                </c:pt>
                <c:pt idx="10309">
                  <c:v>-2.4369747899159602E-2</c:v>
                </c:pt>
                <c:pt idx="10310">
                  <c:v>-2.4369747899159602E-2</c:v>
                </c:pt>
                <c:pt idx="10311">
                  <c:v>-2.5210084033613401E-2</c:v>
                </c:pt>
                <c:pt idx="10312">
                  <c:v>-2.5210084033613401E-2</c:v>
                </c:pt>
                <c:pt idx="10313">
                  <c:v>-2.5210084033613401E-2</c:v>
                </c:pt>
                <c:pt idx="10314">
                  <c:v>-2.5210084033613401E-2</c:v>
                </c:pt>
                <c:pt idx="10315">
                  <c:v>-2.5210084033613401E-2</c:v>
                </c:pt>
                <c:pt idx="10316">
                  <c:v>-2.5210084033613401E-2</c:v>
                </c:pt>
                <c:pt idx="10317">
                  <c:v>-2.5210084033613401E-2</c:v>
                </c:pt>
                <c:pt idx="10318">
                  <c:v>-2.5210084033613401E-2</c:v>
                </c:pt>
                <c:pt idx="10319">
                  <c:v>-2.5210084033613401E-2</c:v>
                </c:pt>
                <c:pt idx="10320">
                  <c:v>-2.5210084033613401E-2</c:v>
                </c:pt>
                <c:pt idx="10321">
                  <c:v>-2.5210084033613401E-2</c:v>
                </c:pt>
                <c:pt idx="10322">
                  <c:v>-2.5210084033613401E-2</c:v>
                </c:pt>
                <c:pt idx="10323">
                  <c:v>-2.5210084033613401E-2</c:v>
                </c:pt>
                <c:pt idx="10324">
                  <c:v>-2.5210084033613401E-2</c:v>
                </c:pt>
                <c:pt idx="10325">
                  <c:v>-2.5210084033613401E-2</c:v>
                </c:pt>
                <c:pt idx="10326">
                  <c:v>-2.5210084033613401E-2</c:v>
                </c:pt>
                <c:pt idx="10327">
                  <c:v>-2.5210084033613401E-2</c:v>
                </c:pt>
                <c:pt idx="10328">
                  <c:v>-2.5210084033613401E-2</c:v>
                </c:pt>
                <c:pt idx="10329">
                  <c:v>-2.5210084033613401E-2</c:v>
                </c:pt>
                <c:pt idx="10330">
                  <c:v>-2.5210084033613401E-2</c:v>
                </c:pt>
                <c:pt idx="10331">
                  <c:v>-2.4369747899159602E-2</c:v>
                </c:pt>
                <c:pt idx="10332">
                  <c:v>-2.4369747899159602E-2</c:v>
                </c:pt>
                <c:pt idx="10333">
                  <c:v>-2.5210084033613401E-2</c:v>
                </c:pt>
                <c:pt idx="10334">
                  <c:v>-2.5210084033613401E-2</c:v>
                </c:pt>
                <c:pt idx="10335">
                  <c:v>-2.5210084033613401E-2</c:v>
                </c:pt>
                <c:pt idx="10336">
                  <c:v>-2.5210084033613401E-2</c:v>
                </c:pt>
                <c:pt idx="10337">
                  <c:v>-2.5210084033613401E-2</c:v>
                </c:pt>
                <c:pt idx="10338">
                  <c:v>-2.5210084033613401E-2</c:v>
                </c:pt>
                <c:pt idx="10339">
                  <c:v>-2.5210084033613401E-2</c:v>
                </c:pt>
                <c:pt idx="10340">
                  <c:v>-2.5210084033613401E-2</c:v>
                </c:pt>
                <c:pt idx="10341">
                  <c:v>-2.5210084033613401E-2</c:v>
                </c:pt>
                <c:pt idx="10342">
                  <c:v>-2.5210084033613401E-2</c:v>
                </c:pt>
                <c:pt idx="10343">
                  <c:v>-2.5210084033613401E-2</c:v>
                </c:pt>
                <c:pt idx="10344">
                  <c:v>-2.5210084033613401E-2</c:v>
                </c:pt>
                <c:pt idx="10345">
                  <c:v>-2.5210084033613401E-2</c:v>
                </c:pt>
                <c:pt idx="10346">
                  <c:v>-2.5210084033613401E-2</c:v>
                </c:pt>
                <c:pt idx="10347">
                  <c:v>-2.5210084033613401E-2</c:v>
                </c:pt>
                <c:pt idx="10348">
                  <c:v>-2.5210084033613401E-2</c:v>
                </c:pt>
                <c:pt idx="10349">
                  <c:v>-2.4369747899159602E-2</c:v>
                </c:pt>
                <c:pt idx="10350">
                  <c:v>-2.4369747899159602E-2</c:v>
                </c:pt>
                <c:pt idx="10351">
                  <c:v>-2.4369747899159602E-2</c:v>
                </c:pt>
                <c:pt idx="10352">
                  <c:v>-2.4369747899159602E-2</c:v>
                </c:pt>
                <c:pt idx="10353">
                  <c:v>-2.4369747899159602E-2</c:v>
                </c:pt>
                <c:pt idx="10354">
                  <c:v>-2.4369747899159602E-2</c:v>
                </c:pt>
                <c:pt idx="10355">
                  <c:v>-2.4369747899159602E-2</c:v>
                </c:pt>
                <c:pt idx="10356">
                  <c:v>-2.4369747899159602E-2</c:v>
                </c:pt>
                <c:pt idx="10357">
                  <c:v>-2.4369747899159602E-2</c:v>
                </c:pt>
                <c:pt idx="10358">
                  <c:v>-2.4369747899159602E-2</c:v>
                </c:pt>
                <c:pt idx="10359">
                  <c:v>-2.4369747899159602E-2</c:v>
                </c:pt>
                <c:pt idx="10360">
                  <c:v>-2.4369747899159602E-2</c:v>
                </c:pt>
                <c:pt idx="10361">
                  <c:v>-2.4369747899159602E-2</c:v>
                </c:pt>
                <c:pt idx="10362">
                  <c:v>-2.4369747899159602E-2</c:v>
                </c:pt>
                <c:pt idx="10363">
                  <c:v>-2.4369747899159602E-2</c:v>
                </c:pt>
                <c:pt idx="10364">
                  <c:v>-2.4369747899159602E-2</c:v>
                </c:pt>
                <c:pt idx="10365">
                  <c:v>-2.4369747899159602E-2</c:v>
                </c:pt>
                <c:pt idx="10366">
                  <c:v>-2.4369747899159602E-2</c:v>
                </c:pt>
                <c:pt idx="10367">
                  <c:v>-2.4369747899159602E-2</c:v>
                </c:pt>
                <c:pt idx="10368">
                  <c:v>-2.4369747899159602E-2</c:v>
                </c:pt>
                <c:pt idx="10369">
                  <c:v>-2.4369747899159602E-2</c:v>
                </c:pt>
                <c:pt idx="10370">
                  <c:v>-2.4369747899159602E-2</c:v>
                </c:pt>
                <c:pt idx="10371">
                  <c:v>-2.4369747899159602E-2</c:v>
                </c:pt>
                <c:pt idx="10372">
                  <c:v>-2.4369747899159602E-2</c:v>
                </c:pt>
                <c:pt idx="10373">
                  <c:v>-2.4369747899159602E-2</c:v>
                </c:pt>
                <c:pt idx="10374">
                  <c:v>-2.4369747899159602E-2</c:v>
                </c:pt>
                <c:pt idx="10375">
                  <c:v>-2.4369747899159602E-2</c:v>
                </c:pt>
                <c:pt idx="10376">
                  <c:v>-2.4369747899159602E-2</c:v>
                </c:pt>
                <c:pt idx="10377">
                  <c:v>-2.4369747899159602E-2</c:v>
                </c:pt>
                <c:pt idx="10378">
                  <c:v>-2.4369747899159602E-2</c:v>
                </c:pt>
                <c:pt idx="10379">
                  <c:v>-2.4369747899159602E-2</c:v>
                </c:pt>
                <c:pt idx="10380">
                  <c:v>-2.4369747899159602E-2</c:v>
                </c:pt>
                <c:pt idx="10381">
                  <c:v>-2.4369747899159602E-2</c:v>
                </c:pt>
                <c:pt idx="10382">
                  <c:v>-2.4369747899159602E-2</c:v>
                </c:pt>
                <c:pt idx="10383">
                  <c:v>-2.4369747899159602E-2</c:v>
                </c:pt>
                <c:pt idx="10384">
                  <c:v>-2.4369747899159602E-2</c:v>
                </c:pt>
                <c:pt idx="10385">
                  <c:v>-2.4369747899159602E-2</c:v>
                </c:pt>
                <c:pt idx="10386">
                  <c:v>-2.4369747899159602E-2</c:v>
                </c:pt>
                <c:pt idx="10387">
                  <c:v>-2.4369747899159602E-2</c:v>
                </c:pt>
                <c:pt idx="10388">
                  <c:v>-2.4369747899159602E-2</c:v>
                </c:pt>
                <c:pt idx="10389">
                  <c:v>-2.4369747899159602E-2</c:v>
                </c:pt>
                <c:pt idx="10390">
                  <c:v>-2.4369747899159602E-2</c:v>
                </c:pt>
                <c:pt idx="10391">
                  <c:v>-2.4369747899159602E-2</c:v>
                </c:pt>
                <c:pt idx="10392">
                  <c:v>-2.4369747899159602E-2</c:v>
                </c:pt>
                <c:pt idx="10393">
                  <c:v>-2.4369747899159602E-2</c:v>
                </c:pt>
                <c:pt idx="10394">
                  <c:v>-2.4369747899159602E-2</c:v>
                </c:pt>
                <c:pt idx="10395">
                  <c:v>-2.4369747899159602E-2</c:v>
                </c:pt>
                <c:pt idx="10396">
                  <c:v>-2.4369747899159602E-2</c:v>
                </c:pt>
                <c:pt idx="10397">
                  <c:v>-2.4369747899159602E-2</c:v>
                </c:pt>
                <c:pt idx="10398">
                  <c:v>-2.4369747899159602E-2</c:v>
                </c:pt>
                <c:pt idx="10399">
                  <c:v>-2.4369747899159602E-2</c:v>
                </c:pt>
                <c:pt idx="10400">
                  <c:v>-2.4369747899159602E-2</c:v>
                </c:pt>
                <c:pt idx="10401">
                  <c:v>-2.4369747899159602E-2</c:v>
                </c:pt>
                <c:pt idx="10402">
                  <c:v>-2.3529411764705799E-2</c:v>
                </c:pt>
                <c:pt idx="10403">
                  <c:v>-2.3529411764705799E-2</c:v>
                </c:pt>
                <c:pt idx="10404">
                  <c:v>-2.3529411764705799E-2</c:v>
                </c:pt>
                <c:pt idx="10405">
                  <c:v>-2.3529411764705799E-2</c:v>
                </c:pt>
                <c:pt idx="10406">
                  <c:v>-2.3529411764705799E-2</c:v>
                </c:pt>
                <c:pt idx="10407">
                  <c:v>-2.3529411764705799E-2</c:v>
                </c:pt>
                <c:pt idx="10408">
                  <c:v>-2.3529411764705799E-2</c:v>
                </c:pt>
                <c:pt idx="10409">
                  <c:v>-2.3529411764705799E-2</c:v>
                </c:pt>
                <c:pt idx="10410">
                  <c:v>-2.3529411764705799E-2</c:v>
                </c:pt>
                <c:pt idx="10411">
                  <c:v>-2.3529411764705799E-2</c:v>
                </c:pt>
                <c:pt idx="10412">
                  <c:v>-2.3529411764705799E-2</c:v>
                </c:pt>
                <c:pt idx="10413">
                  <c:v>-2.3529411764705799E-2</c:v>
                </c:pt>
                <c:pt idx="10414">
                  <c:v>-2.3529411764705799E-2</c:v>
                </c:pt>
                <c:pt idx="10415">
                  <c:v>-2.3529411764705799E-2</c:v>
                </c:pt>
                <c:pt idx="10416">
                  <c:v>-2.3529411764705799E-2</c:v>
                </c:pt>
                <c:pt idx="10417">
                  <c:v>-2.3529411764705799E-2</c:v>
                </c:pt>
                <c:pt idx="10418">
                  <c:v>-2.2689075630251999E-2</c:v>
                </c:pt>
                <c:pt idx="10419">
                  <c:v>-2.2689075630251999E-2</c:v>
                </c:pt>
                <c:pt idx="10420">
                  <c:v>-2.2689075630251999E-2</c:v>
                </c:pt>
                <c:pt idx="10421">
                  <c:v>-2.2689075630251999E-2</c:v>
                </c:pt>
                <c:pt idx="10422">
                  <c:v>-2.2689075630251999E-2</c:v>
                </c:pt>
                <c:pt idx="10423">
                  <c:v>-2.18487394957982E-2</c:v>
                </c:pt>
                <c:pt idx="10424">
                  <c:v>-2.18487394957982E-2</c:v>
                </c:pt>
                <c:pt idx="10425">
                  <c:v>-2.18487394957982E-2</c:v>
                </c:pt>
                <c:pt idx="10426">
                  <c:v>-2.18487394957982E-2</c:v>
                </c:pt>
                <c:pt idx="10427">
                  <c:v>-2.18487394957982E-2</c:v>
                </c:pt>
                <c:pt idx="10428">
                  <c:v>-2.18487394957982E-2</c:v>
                </c:pt>
                <c:pt idx="10429">
                  <c:v>-2.1008403361344501E-2</c:v>
                </c:pt>
                <c:pt idx="10430">
                  <c:v>-2.18487394957982E-2</c:v>
                </c:pt>
                <c:pt idx="10431">
                  <c:v>-2.18487394957982E-2</c:v>
                </c:pt>
                <c:pt idx="10432">
                  <c:v>-2.18487394957982E-2</c:v>
                </c:pt>
                <c:pt idx="10433">
                  <c:v>-2.18487394957982E-2</c:v>
                </c:pt>
                <c:pt idx="10434">
                  <c:v>-2.18487394957982E-2</c:v>
                </c:pt>
                <c:pt idx="10435">
                  <c:v>-2.18487394957982E-2</c:v>
                </c:pt>
                <c:pt idx="10436">
                  <c:v>-2.18487394957982E-2</c:v>
                </c:pt>
                <c:pt idx="10437">
                  <c:v>-2.18487394957982E-2</c:v>
                </c:pt>
                <c:pt idx="10438">
                  <c:v>-2.18487394957982E-2</c:v>
                </c:pt>
                <c:pt idx="10439">
                  <c:v>-2.18487394957982E-2</c:v>
                </c:pt>
                <c:pt idx="10440">
                  <c:v>-2.18487394957982E-2</c:v>
                </c:pt>
                <c:pt idx="10441">
                  <c:v>-2.18487394957982E-2</c:v>
                </c:pt>
                <c:pt idx="10442">
                  <c:v>-2.18487394957982E-2</c:v>
                </c:pt>
                <c:pt idx="10443">
                  <c:v>-2.18487394957982E-2</c:v>
                </c:pt>
                <c:pt idx="10444">
                  <c:v>-2.18487394957982E-2</c:v>
                </c:pt>
                <c:pt idx="10445">
                  <c:v>-2.18487394957982E-2</c:v>
                </c:pt>
                <c:pt idx="10446">
                  <c:v>-2.18487394957982E-2</c:v>
                </c:pt>
                <c:pt idx="10447">
                  <c:v>-2.18487394957982E-2</c:v>
                </c:pt>
                <c:pt idx="10448">
                  <c:v>-2.1008403361344501E-2</c:v>
                </c:pt>
                <c:pt idx="10449">
                  <c:v>-2.0168067226890699E-2</c:v>
                </c:pt>
                <c:pt idx="10450">
                  <c:v>-2.0168067226890699E-2</c:v>
                </c:pt>
                <c:pt idx="10451">
                  <c:v>-1.9327731092436899E-2</c:v>
                </c:pt>
                <c:pt idx="10452">
                  <c:v>-1.9327731092436899E-2</c:v>
                </c:pt>
                <c:pt idx="10453">
                  <c:v>-1.9327731092436899E-2</c:v>
                </c:pt>
                <c:pt idx="10454">
                  <c:v>-1.9327731092436899E-2</c:v>
                </c:pt>
                <c:pt idx="10455">
                  <c:v>-1.9327731092436899E-2</c:v>
                </c:pt>
                <c:pt idx="10456">
                  <c:v>-1.9327731092436899E-2</c:v>
                </c:pt>
                <c:pt idx="10457">
                  <c:v>-1.9327731092436899E-2</c:v>
                </c:pt>
                <c:pt idx="10458">
                  <c:v>-2.0168067226890699E-2</c:v>
                </c:pt>
                <c:pt idx="10459">
                  <c:v>-2.0168067226890699E-2</c:v>
                </c:pt>
                <c:pt idx="10460">
                  <c:v>-2.0168067226890699E-2</c:v>
                </c:pt>
                <c:pt idx="10461">
                  <c:v>-2.0168067226890699E-2</c:v>
                </c:pt>
                <c:pt idx="10462">
                  <c:v>-2.0168067226890699E-2</c:v>
                </c:pt>
                <c:pt idx="10463">
                  <c:v>-2.0168067226890699E-2</c:v>
                </c:pt>
                <c:pt idx="10464">
                  <c:v>-2.0168067226890699E-2</c:v>
                </c:pt>
                <c:pt idx="10465">
                  <c:v>-2.0168067226890699E-2</c:v>
                </c:pt>
                <c:pt idx="10466">
                  <c:v>-2.0168067226890699E-2</c:v>
                </c:pt>
                <c:pt idx="10467">
                  <c:v>-2.0168067226890699E-2</c:v>
                </c:pt>
                <c:pt idx="10468">
                  <c:v>-2.0168067226890699E-2</c:v>
                </c:pt>
                <c:pt idx="10469">
                  <c:v>-2.1008403361344501E-2</c:v>
                </c:pt>
                <c:pt idx="10470">
                  <c:v>-2.1008403361344501E-2</c:v>
                </c:pt>
                <c:pt idx="10471">
                  <c:v>-2.1008403361344501E-2</c:v>
                </c:pt>
                <c:pt idx="10472">
                  <c:v>-2.1008403361344501E-2</c:v>
                </c:pt>
                <c:pt idx="10473">
                  <c:v>-2.1008403361344501E-2</c:v>
                </c:pt>
                <c:pt idx="10474">
                  <c:v>-2.1008403361344501E-2</c:v>
                </c:pt>
                <c:pt idx="10475">
                  <c:v>-2.1008403361344501E-2</c:v>
                </c:pt>
                <c:pt idx="10476">
                  <c:v>-2.1008403361344501E-2</c:v>
                </c:pt>
                <c:pt idx="10477">
                  <c:v>-2.1008403361344501E-2</c:v>
                </c:pt>
                <c:pt idx="10478">
                  <c:v>-2.1008403361344501E-2</c:v>
                </c:pt>
                <c:pt idx="10479">
                  <c:v>-2.1008403361344501E-2</c:v>
                </c:pt>
                <c:pt idx="10480">
                  <c:v>-2.1008403361344501E-2</c:v>
                </c:pt>
                <c:pt idx="10481">
                  <c:v>-2.1008403361344501E-2</c:v>
                </c:pt>
                <c:pt idx="10482">
                  <c:v>-2.1008403361344501E-2</c:v>
                </c:pt>
                <c:pt idx="10483">
                  <c:v>-2.1008403361344501E-2</c:v>
                </c:pt>
                <c:pt idx="10484">
                  <c:v>-2.1008403361344501E-2</c:v>
                </c:pt>
                <c:pt idx="10485">
                  <c:v>-2.1008403361344501E-2</c:v>
                </c:pt>
                <c:pt idx="10486">
                  <c:v>-2.1008403361344501E-2</c:v>
                </c:pt>
                <c:pt idx="10487">
                  <c:v>-2.1008403361344501E-2</c:v>
                </c:pt>
                <c:pt idx="10488">
                  <c:v>-2.1008403361344501E-2</c:v>
                </c:pt>
                <c:pt idx="10489">
                  <c:v>-2.1008403361344501E-2</c:v>
                </c:pt>
                <c:pt idx="10490">
                  <c:v>-2.1008403361344501E-2</c:v>
                </c:pt>
                <c:pt idx="10491">
                  <c:v>-2.1008403361344501E-2</c:v>
                </c:pt>
                <c:pt idx="10492">
                  <c:v>-2.1008403361344501E-2</c:v>
                </c:pt>
                <c:pt idx="10493">
                  <c:v>-2.1008403361344501E-2</c:v>
                </c:pt>
                <c:pt idx="10494">
                  <c:v>-2.1008403361344501E-2</c:v>
                </c:pt>
                <c:pt idx="10495">
                  <c:v>-2.1008403361344501E-2</c:v>
                </c:pt>
                <c:pt idx="10496">
                  <c:v>-2.1008403361344501E-2</c:v>
                </c:pt>
                <c:pt idx="10497">
                  <c:v>-2.1008403361344501E-2</c:v>
                </c:pt>
                <c:pt idx="10498">
                  <c:v>-2.1008403361344501E-2</c:v>
                </c:pt>
                <c:pt idx="10499">
                  <c:v>-2.1008403361344501E-2</c:v>
                </c:pt>
                <c:pt idx="10500">
                  <c:v>-2.1008403361344501E-2</c:v>
                </c:pt>
                <c:pt idx="10501">
                  <c:v>-2.1008403361344501E-2</c:v>
                </c:pt>
                <c:pt idx="10502">
                  <c:v>-2.1008403361344501E-2</c:v>
                </c:pt>
                <c:pt idx="10503">
                  <c:v>-2.1008403361344501E-2</c:v>
                </c:pt>
                <c:pt idx="10504">
                  <c:v>-2.1008403361344501E-2</c:v>
                </c:pt>
                <c:pt idx="10505">
                  <c:v>-2.1008403361344501E-2</c:v>
                </c:pt>
                <c:pt idx="10506">
                  <c:v>-2.0168067226890699E-2</c:v>
                </c:pt>
                <c:pt idx="10507">
                  <c:v>-2.0168067226890699E-2</c:v>
                </c:pt>
                <c:pt idx="10508">
                  <c:v>-2.0168067226890699E-2</c:v>
                </c:pt>
                <c:pt idx="10509">
                  <c:v>-2.0168067226890699E-2</c:v>
                </c:pt>
                <c:pt idx="10510">
                  <c:v>-2.0168067226890699E-2</c:v>
                </c:pt>
                <c:pt idx="10511">
                  <c:v>-2.0168067226890699E-2</c:v>
                </c:pt>
                <c:pt idx="10512">
                  <c:v>-2.0168067226890699E-2</c:v>
                </c:pt>
                <c:pt idx="10513">
                  <c:v>-2.0168067226890699E-2</c:v>
                </c:pt>
                <c:pt idx="10514">
                  <c:v>-2.0168067226890699E-2</c:v>
                </c:pt>
                <c:pt idx="10515">
                  <c:v>-2.0168067226890699E-2</c:v>
                </c:pt>
                <c:pt idx="10516">
                  <c:v>-2.0168067226890699E-2</c:v>
                </c:pt>
                <c:pt idx="10517">
                  <c:v>-2.0168067226890699E-2</c:v>
                </c:pt>
                <c:pt idx="10518">
                  <c:v>-2.0168067226890699E-2</c:v>
                </c:pt>
                <c:pt idx="10519">
                  <c:v>-2.0168067226890699E-2</c:v>
                </c:pt>
                <c:pt idx="10520">
                  <c:v>-2.0168067226890699E-2</c:v>
                </c:pt>
                <c:pt idx="10521">
                  <c:v>-2.0168067226890699E-2</c:v>
                </c:pt>
                <c:pt idx="10522">
                  <c:v>-2.0168067226890699E-2</c:v>
                </c:pt>
                <c:pt idx="10523">
                  <c:v>-2.0168067226890699E-2</c:v>
                </c:pt>
                <c:pt idx="10524">
                  <c:v>-2.0168067226890699E-2</c:v>
                </c:pt>
                <c:pt idx="10525">
                  <c:v>-2.0168067226890699E-2</c:v>
                </c:pt>
                <c:pt idx="10526">
                  <c:v>-2.0168067226890699E-2</c:v>
                </c:pt>
                <c:pt idx="10527">
                  <c:v>-2.0168067226890699E-2</c:v>
                </c:pt>
                <c:pt idx="10528">
                  <c:v>-2.0168067226890699E-2</c:v>
                </c:pt>
                <c:pt idx="10529">
                  <c:v>-2.0168067226890699E-2</c:v>
                </c:pt>
                <c:pt idx="10530">
                  <c:v>-2.0168067226890699E-2</c:v>
                </c:pt>
                <c:pt idx="10531">
                  <c:v>-2.0168067226890699E-2</c:v>
                </c:pt>
                <c:pt idx="10532">
                  <c:v>-2.0168067226890699E-2</c:v>
                </c:pt>
                <c:pt idx="10533">
                  <c:v>-2.0168067226890699E-2</c:v>
                </c:pt>
                <c:pt idx="10534">
                  <c:v>-2.0168067226890699E-2</c:v>
                </c:pt>
                <c:pt idx="10535">
                  <c:v>-2.0168067226890699E-2</c:v>
                </c:pt>
                <c:pt idx="10536">
                  <c:v>-2.0168067226890699E-2</c:v>
                </c:pt>
                <c:pt idx="10537">
                  <c:v>-2.0168067226890699E-2</c:v>
                </c:pt>
                <c:pt idx="10538">
                  <c:v>-2.0168067226890699E-2</c:v>
                </c:pt>
                <c:pt idx="10539">
                  <c:v>-2.0168067226890699E-2</c:v>
                </c:pt>
                <c:pt idx="10540">
                  <c:v>-2.0168067226890699E-2</c:v>
                </c:pt>
                <c:pt idx="10541">
                  <c:v>-2.0168067226890699E-2</c:v>
                </c:pt>
                <c:pt idx="10542">
                  <c:v>-2.0168067226890699E-2</c:v>
                </c:pt>
                <c:pt idx="10543">
                  <c:v>-2.0168067226890699E-2</c:v>
                </c:pt>
                <c:pt idx="10544">
                  <c:v>-2.0168067226890699E-2</c:v>
                </c:pt>
                <c:pt idx="10545">
                  <c:v>-2.0168067226890699E-2</c:v>
                </c:pt>
                <c:pt idx="10546">
                  <c:v>-2.1008403361344501E-2</c:v>
                </c:pt>
                <c:pt idx="10547">
                  <c:v>-2.1008403361344501E-2</c:v>
                </c:pt>
                <c:pt idx="10548">
                  <c:v>-2.1008403361344501E-2</c:v>
                </c:pt>
                <c:pt idx="10549">
                  <c:v>-2.1008403361344501E-2</c:v>
                </c:pt>
                <c:pt idx="10550">
                  <c:v>-2.1008403361344501E-2</c:v>
                </c:pt>
                <c:pt idx="10551">
                  <c:v>-2.1008403361344501E-2</c:v>
                </c:pt>
                <c:pt idx="10552">
                  <c:v>-2.1008403361344501E-2</c:v>
                </c:pt>
                <c:pt idx="10553">
                  <c:v>-2.1008403361344501E-2</c:v>
                </c:pt>
                <c:pt idx="10554">
                  <c:v>-2.18487394957982E-2</c:v>
                </c:pt>
                <c:pt idx="10555">
                  <c:v>-2.18487394957982E-2</c:v>
                </c:pt>
                <c:pt idx="10556">
                  <c:v>-2.18487394957982E-2</c:v>
                </c:pt>
                <c:pt idx="10557">
                  <c:v>-2.18487394957982E-2</c:v>
                </c:pt>
                <c:pt idx="10558">
                  <c:v>-2.18487394957982E-2</c:v>
                </c:pt>
                <c:pt idx="10559">
                  <c:v>-2.18487394957982E-2</c:v>
                </c:pt>
                <c:pt idx="10560">
                  <c:v>-2.18487394957982E-2</c:v>
                </c:pt>
                <c:pt idx="10561">
                  <c:v>-2.18487394957982E-2</c:v>
                </c:pt>
                <c:pt idx="10562">
                  <c:v>-2.18487394957982E-2</c:v>
                </c:pt>
                <c:pt idx="10563">
                  <c:v>-2.18487394957982E-2</c:v>
                </c:pt>
                <c:pt idx="10564">
                  <c:v>-2.18487394957982E-2</c:v>
                </c:pt>
                <c:pt idx="10565">
                  <c:v>-2.18487394957982E-2</c:v>
                </c:pt>
                <c:pt idx="10566">
                  <c:v>-2.18487394957982E-2</c:v>
                </c:pt>
                <c:pt idx="10567">
                  <c:v>-2.18487394957982E-2</c:v>
                </c:pt>
                <c:pt idx="10568">
                  <c:v>-2.18487394957982E-2</c:v>
                </c:pt>
                <c:pt idx="10569">
                  <c:v>-2.18487394957982E-2</c:v>
                </c:pt>
                <c:pt idx="10570">
                  <c:v>-2.18487394957982E-2</c:v>
                </c:pt>
                <c:pt idx="10571">
                  <c:v>-2.18487394957982E-2</c:v>
                </c:pt>
                <c:pt idx="10572">
                  <c:v>-2.18487394957982E-2</c:v>
                </c:pt>
                <c:pt idx="10573">
                  <c:v>-2.18487394957982E-2</c:v>
                </c:pt>
                <c:pt idx="10574">
                  <c:v>-2.18487394957982E-2</c:v>
                </c:pt>
                <c:pt idx="10575">
                  <c:v>-2.18487394957982E-2</c:v>
                </c:pt>
                <c:pt idx="10576">
                  <c:v>-2.18487394957982E-2</c:v>
                </c:pt>
                <c:pt idx="10577">
                  <c:v>-2.18487394957982E-2</c:v>
                </c:pt>
                <c:pt idx="10578">
                  <c:v>-2.18487394957982E-2</c:v>
                </c:pt>
                <c:pt idx="10579">
                  <c:v>-2.18487394957982E-2</c:v>
                </c:pt>
                <c:pt idx="10580">
                  <c:v>-2.18487394957982E-2</c:v>
                </c:pt>
                <c:pt idx="10581">
                  <c:v>-2.18487394957982E-2</c:v>
                </c:pt>
                <c:pt idx="10582">
                  <c:v>-2.18487394957982E-2</c:v>
                </c:pt>
                <c:pt idx="10583">
                  <c:v>-2.18487394957982E-2</c:v>
                </c:pt>
                <c:pt idx="10584">
                  <c:v>-2.18487394957982E-2</c:v>
                </c:pt>
                <c:pt idx="10585">
                  <c:v>-2.18487394957982E-2</c:v>
                </c:pt>
                <c:pt idx="10586">
                  <c:v>-2.18487394957982E-2</c:v>
                </c:pt>
                <c:pt idx="10587">
                  <c:v>-2.18487394957982E-2</c:v>
                </c:pt>
                <c:pt idx="10588">
                  <c:v>-2.18487394957982E-2</c:v>
                </c:pt>
                <c:pt idx="10589">
                  <c:v>-2.18487394957982E-2</c:v>
                </c:pt>
                <c:pt idx="10590">
                  <c:v>-2.18487394957982E-2</c:v>
                </c:pt>
                <c:pt idx="10591">
                  <c:v>-2.18487394957982E-2</c:v>
                </c:pt>
                <c:pt idx="10592">
                  <c:v>-2.18487394957982E-2</c:v>
                </c:pt>
                <c:pt idx="10593">
                  <c:v>-2.2689075630251999E-2</c:v>
                </c:pt>
                <c:pt idx="10594">
                  <c:v>-2.2689075630251999E-2</c:v>
                </c:pt>
                <c:pt idx="10595">
                  <c:v>-2.2689075630251999E-2</c:v>
                </c:pt>
                <c:pt idx="10596">
                  <c:v>-2.2689075630251999E-2</c:v>
                </c:pt>
                <c:pt idx="10597">
                  <c:v>-2.3529411764705799E-2</c:v>
                </c:pt>
                <c:pt idx="10598">
                  <c:v>-2.3529411764705799E-2</c:v>
                </c:pt>
                <c:pt idx="10599">
                  <c:v>-2.3529411764705799E-2</c:v>
                </c:pt>
                <c:pt idx="10600">
                  <c:v>-2.3529411764705799E-2</c:v>
                </c:pt>
                <c:pt idx="10601">
                  <c:v>-2.3529411764705799E-2</c:v>
                </c:pt>
                <c:pt idx="10602">
                  <c:v>-2.3529411764705799E-2</c:v>
                </c:pt>
                <c:pt idx="10603">
                  <c:v>-2.3529411764705799E-2</c:v>
                </c:pt>
                <c:pt idx="10604">
                  <c:v>-2.3529411764705799E-2</c:v>
                </c:pt>
                <c:pt idx="10605">
                  <c:v>-2.3529411764705799E-2</c:v>
                </c:pt>
                <c:pt idx="10606">
                  <c:v>-2.3529411764705799E-2</c:v>
                </c:pt>
                <c:pt idx="10607">
                  <c:v>-2.3529411764705799E-2</c:v>
                </c:pt>
                <c:pt idx="10608">
                  <c:v>-2.3529411764705799E-2</c:v>
                </c:pt>
                <c:pt idx="10609">
                  <c:v>-2.3529411764705799E-2</c:v>
                </c:pt>
                <c:pt idx="10610">
                  <c:v>-2.3529411764705799E-2</c:v>
                </c:pt>
                <c:pt idx="10611">
                  <c:v>-2.3529411764705799E-2</c:v>
                </c:pt>
                <c:pt idx="10612">
                  <c:v>-2.3529411764705799E-2</c:v>
                </c:pt>
                <c:pt idx="10613">
                  <c:v>-2.3529411764705799E-2</c:v>
                </c:pt>
                <c:pt idx="10614">
                  <c:v>-2.3529411764705799E-2</c:v>
                </c:pt>
                <c:pt idx="10615">
                  <c:v>-2.3529411764705799E-2</c:v>
                </c:pt>
                <c:pt idx="10616">
                  <c:v>-2.3529411764705799E-2</c:v>
                </c:pt>
                <c:pt idx="10617">
                  <c:v>-2.3529411764705799E-2</c:v>
                </c:pt>
                <c:pt idx="10618">
                  <c:v>-2.3529411764705799E-2</c:v>
                </c:pt>
                <c:pt idx="10619">
                  <c:v>-2.3529411764705799E-2</c:v>
                </c:pt>
                <c:pt idx="10620">
                  <c:v>-2.3529411764705799E-2</c:v>
                </c:pt>
                <c:pt idx="10621">
                  <c:v>-2.3529411764705799E-2</c:v>
                </c:pt>
                <c:pt idx="10622">
                  <c:v>-2.3529411764705799E-2</c:v>
                </c:pt>
                <c:pt idx="10623">
                  <c:v>-2.3529411764705799E-2</c:v>
                </c:pt>
                <c:pt idx="10624">
                  <c:v>-2.3529411764705799E-2</c:v>
                </c:pt>
                <c:pt idx="10625">
                  <c:v>-2.3529411764705799E-2</c:v>
                </c:pt>
                <c:pt idx="10626">
                  <c:v>-2.3529411764705799E-2</c:v>
                </c:pt>
                <c:pt idx="10627">
                  <c:v>-2.3529411764705799E-2</c:v>
                </c:pt>
                <c:pt idx="10628">
                  <c:v>-2.3529411764705799E-2</c:v>
                </c:pt>
                <c:pt idx="10629">
                  <c:v>-2.3529411764705799E-2</c:v>
                </c:pt>
                <c:pt idx="10630">
                  <c:v>-2.3529411764705799E-2</c:v>
                </c:pt>
                <c:pt idx="10631">
                  <c:v>-2.3529411764705799E-2</c:v>
                </c:pt>
                <c:pt idx="10632">
                  <c:v>-2.3529411764705799E-2</c:v>
                </c:pt>
                <c:pt idx="10633">
                  <c:v>-2.3529411764705799E-2</c:v>
                </c:pt>
                <c:pt idx="10634">
                  <c:v>-2.3529411764705799E-2</c:v>
                </c:pt>
                <c:pt idx="10635">
                  <c:v>-2.3529411764705799E-2</c:v>
                </c:pt>
                <c:pt idx="10636">
                  <c:v>-2.3529411764705799E-2</c:v>
                </c:pt>
                <c:pt idx="10637">
                  <c:v>-2.3529411764705799E-2</c:v>
                </c:pt>
                <c:pt idx="10638">
                  <c:v>-2.3529411764705799E-2</c:v>
                </c:pt>
                <c:pt idx="10639">
                  <c:v>-2.3529411764705799E-2</c:v>
                </c:pt>
                <c:pt idx="10640">
                  <c:v>-2.3529411764705799E-2</c:v>
                </c:pt>
                <c:pt idx="10641">
                  <c:v>-2.3529411764705799E-2</c:v>
                </c:pt>
                <c:pt idx="10642">
                  <c:v>-2.3529411764705799E-2</c:v>
                </c:pt>
                <c:pt idx="10643">
                  <c:v>-2.3529411764705799E-2</c:v>
                </c:pt>
                <c:pt idx="10644">
                  <c:v>-2.3529411764705799E-2</c:v>
                </c:pt>
                <c:pt idx="10645">
                  <c:v>-2.3529411764705799E-2</c:v>
                </c:pt>
                <c:pt idx="10646">
                  <c:v>-2.3529411764705799E-2</c:v>
                </c:pt>
                <c:pt idx="10647">
                  <c:v>-2.3529411764705799E-2</c:v>
                </c:pt>
                <c:pt idx="10648">
                  <c:v>-2.3529411764705799E-2</c:v>
                </c:pt>
                <c:pt idx="10649">
                  <c:v>-2.3529411764705799E-2</c:v>
                </c:pt>
                <c:pt idx="10650">
                  <c:v>-2.3529411764705799E-2</c:v>
                </c:pt>
                <c:pt idx="10651">
                  <c:v>-2.3529411764705799E-2</c:v>
                </c:pt>
                <c:pt idx="10652">
                  <c:v>-2.3529411764705799E-2</c:v>
                </c:pt>
                <c:pt idx="10653">
                  <c:v>-2.3529411764705799E-2</c:v>
                </c:pt>
                <c:pt idx="10654">
                  <c:v>-2.3529411764705799E-2</c:v>
                </c:pt>
                <c:pt idx="10655">
                  <c:v>-2.3529411764705799E-2</c:v>
                </c:pt>
                <c:pt idx="10656">
                  <c:v>-2.3529411764705799E-2</c:v>
                </c:pt>
                <c:pt idx="10657">
                  <c:v>-2.3529411764705799E-2</c:v>
                </c:pt>
                <c:pt idx="10658">
                  <c:v>-2.3529411764705799E-2</c:v>
                </c:pt>
                <c:pt idx="10659">
                  <c:v>-2.3529411764705799E-2</c:v>
                </c:pt>
                <c:pt idx="10660">
                  <c:v>-2.3529411764705799E-2</c:v>
                </c:pt>
                <c:pt idx="10661">
                  <c:v>-2.3529411764705799E-2</c:v>
                </c:pt>
                <c:pt idx="10662">
                  <c:v>-2.3529411764705799E-2</c:v>
                </c:pt>
                <c:pt idx="10663">
                  <c:v>-2.3529411764705799E-2</c:v>
                </c:pt>
                <c:pt idx="10664">
                  <c:v>-2.3529411764705799E-2</c:v>
                </c:pt>
                <c:pt idx="10665">
                  <c:v>-2.3529411764705799E-2</c:v>
                </c:pt>
                <c:pt idx="10666">
                  <c:v>-2.3529411764705799E-2</c:v>
                </c:pt>
                <c:pt idx="10667">
                  <c:v>-2.3529411764705799E-2</c:v>
                </c:pt>
                <c:pt idx="10668">
                  <c:v>-2.3529411764705799E-2</c:v>
                </c:pt>
                <c:pt idx="10669">
                  <c:v>-2.3529411764705799E-2</c:v>
                </c:pt>
                <c:pt idx="10670">
                  <c:v>-2.3529411764705799E-2</c:v>
                </c:pt>
                <c:pt idx="10671">
                  <c:v>-2.3529411764705799E-2</c:v>
                </c:pt>
                <c:pt idx="10672">
                  <c:v>-2.3529411764705799E-2</c:v>
                </c:pt>
                <c:pt idx="10673">
                  <c:v>-2.3529411764705799E-2</c:v>
                </c:pt>
                <c:pt idx="10674">
                  <c:v>-2.3529411764705799E-2</c:v>
                </c:pt>
                <c:pt idx="10675">
                  <c:v>-2.3529411764705799E-2</c:v>
                </c:pt>
                <c:pt idx="10676">
                  <c:v>-2.3529411764705799E-2</c:v>
                </c:pt>
                <c:pt idx="10677">
                  <c:v>-2.3529411764705799E-2</c:v>
                </c:pt>
                <c:pt idx="10678">
                  <c:v>-2.3529411764705799E-2</c:v>
                </c:pt>
                <c:pt idx="10679">
                  <c:v>-2.3529411764705799E-2</c:v>
                </c:pt>
                <c:pt idx="10680">
                  <c:v>-2.3529411764705799E-2</c:v>
                </c:pt>
                <c:pt idx="10681">
                  <c:v>-2.3529411764705799E-2</c:v>
                </c:pt>
                <c:pt idx="10682">
                  <c:v>-2.3529411764705799E-2</c:v>
                </c:pt>
                <c:pt idx="10683">
                  <c:v>-2.3529411764705799E-2</c:v>
                </c:pt>
                <c:pt idx="10684">
                  <c:v>-2.3529411764705799E-2</c:v>
                </c:pt>
                <c:pt idx="10685">
                  <c:v>-2.3529411764705799E-2</c:v>
                </c:pt>
                <c:pt idx="10686">
                  <c:v>-2.3529411764705799E-2</c:v>
                </c:pt>
                <c:pt idx="10687">
                  <c:v>-2.3529411764705799E-2</c:v>
                </c:pt>
                <c:pt idx="10688">
                  <c:v>-2.3529411764705799E-2</c:v>
                </c:pt>
                <c:pt idx="10689">
                  <c:v>-2.3529411764705799E-2</c:v>
                </c:pt>
                <c:pt idx="10690">
                  <c:v>-2.3529411764705799E-2</c:v>
                </c:pt>
                <c:pt idx="10691">
                  <c:v>-2.3529411764705799E-2</c:v>
                </c:pt>
                <c:pt idx="10692">
                  <c:v>-2.3529411764705799E-2</c:v>
                </c:pt>
                <c:pt idx="10693">
                  <c:v>-2.3529411764705799E-2</c:v>
                </c:pt>
                <c:pt idx="10694">
                  <c:v>-2.3529411764705799E-2</c:v>
                </c:pt>
                <c:pt idx="10695">
                  <c:v>-2.3529411764705799E-2</c:v>
                </c:pt>
                <c:pt idx="10696">
                  <c:v>-2.3529411764705799E-2</c:v>
                </c:pt>
                <c:pt idx="10697">
                  <c:v>-2.3529411764705799E-2</c:v>
                </c:pt>
                <c:pt idx="10698">
                  <c:v>-2.3529411764705799E-2</c:v>
                </c:pt>
                <c:pt idx="10699">
                  <c:v>-2.3529411764705799E-2</c:v>
                </c:pt>
                <c:pt idx="10700">
                  <c:v>-2.3529411764705799E-2</c:v>
                </c:pt>
                <c:pt idx="10701">
                  <c:v>-2.3529411764705799E-2</c:v>
                </c:pt>
                <c:pt idx="10702">
                  <c:v>-2.3529411764705799E-2</c:v>
                </c:pt>
                <c:pt idx="10703">
                  <c:v>-2.3529411764705799E-2</c:v>
                </c:pt>
                <c:pt idx="10704">
                  <c:v>-2.3529411764705799E-2</c:v>
                </c:pt>
                <c:pt idx="10705">
                  <c:v>-2.3529411764705799E-2</c:v>
                </c:pt>
                <c:pt idx="10706">
                  <c:v>-2.3529411764705799E-2</c:v>
                </c:pt>
                <c:pt idx="10707">
                  <c:v>-2.3529411764705799E-2</c:v>
                </c:pt>
                <c:pt idx="10708">
                  <c:v>-2.3529411764705799E-2</c:v>
                </c:pt>
                <c:pt idx="10709">
                  <c:v>-2.3529411764705799E-2</c:v>
                </c:pt>
                <c:pt idx="10710">
                  <c:v>-2.3529411764705799E-2</c:v>
                </c:pt>
                <c:pt idx="10711">
                  <c:v>-2.3529411764705799E-2</c:v>
                </c:pt>
                <c:pt idx="10712">
                  <c:v>-2.3529411764705799E-2</c:v>
                </c:pt>
                <c:pt idx="10713">
                  <c:v>-2.3529411764705799E-2</c:v>
                </c:pt>
                <c:pt idx="10714">
                  <c:v>-2.3529411764705799E-2</c:v>
                </c:pt>
                <c:pt idx="10715">
                  <c:v>-2.3529411764705799E-2</c:v>
                </c:pt>
                <c:pt idx="10716">
                  <c:v>-2.3529411764705799E-2</c:v>
                </c:pt>
                <c:pt idx="10717">
                  <c:v>-2.3529411764705799E-2</c:v>
                </c:pt>
                <c:pt idx="10718">
                  <c:v>-2.3529411764705799E-2</c:v>
                </c:pt>
                <c:pt idx="10719">
                  <c:v>-2.3529411764705799E-2</c:v>
                </c:pt>
                <c:pt idx="10720">
                  <c:v>-2.3529411764705799E-2</c:v>
                </c:pt>
                <c:pt idx="10721">
                  <c:v>-2.3529411764705799E-2</c:v>
                </c:pt>
                <c:pt idx="10722">
                  <c:v>-2.3529411764705799E-2</c:v>
                </c:pt>
                <c:pt idx="10723">
                  <c:v>-2.3529411764705799E-2</c:v>
                </c:pt>
                <c:pt idx="10724">
                  <c:v>-2.3529411764705799E-2</c:v>
                </c:pt>
                <c:pt idx="10725">
                  <c:v>-2.3529411764705799E-2</c:v>
                </c:pt>
                <c:pt idx="10726">
                  <c:v>-2.3529411764705799E-2</c:v>
                </c:pt>
                <c:pt idx="10727">
                  <c:v>-2.3529411764705799E-2</c:v>
                </c:pt>
                <c:pt idx="10728">
                  <c:v>-2.3529411764705799E-2</c:v>
                </c:pt>
                <c:pt idx="10729">
                  <c:v>-2.3529411764705799E-2</c:v>
                </c:pt>
                <c:pt idx="10730">
                  <c:v>-2.3529411764705799E-2</c:v>
                </c:pt>
                <c:pt idx="10731">
                  <c:v>-2.3529411764705799E-2</c:v>
                </c:pt>
                <c:pt idx="10732">
                  <c:v>-2.3529411764705799E-2</c:v>
                </c:pt>
                <c:pt idx="10733">
                  <c:v>-2.3529411764705799E-2</c:v>
                </c:pt>
                <c:pt idx="10734">
                  <c:v>-2.3529411764705799E-2</c:v>
                </c:pt>
                <c:pt idx="10735">
                  <c:v>-2.3529411764705799E-2</c:v>
                </c:pt>
                <c:pt idx="10736">
                  <c:v>-2.3529411764705799E-2</c:v>
                </c:pt>
                <c:pt idx="10737">
                  <c:v>-2.3529411764705799E-2</c:v>
                </c:pt>
                <c:pt idx="10738">
                  <c:v>-2.3529411764705799E-2</c:v>
                </c:pt>
                <c:pt idx="10739">
                  <c:v>-2.3529411764705799E-2</c:v>
                </c:pt>
                <c:pt idx="10740">
                  <c:v>-2.3529411764705799E-2</c:v>
                </c:pt>
                <c:pt idx="10741">
                  <c:v>-2.3529411764705799E-2</c:v>
                </c:pt>
                <c:pt idx="10742">
                  <c:v>-2.3529411764705799E-2</c:v>
                </c:pt>
                <c:pt idx="10743">
                  <c:v>-2.3529411764705799E-2</c:v>
                </c:pt>
                <c:pt idx="10744">
                  <c:v>-2.3529411764705799E-2</c:v>
                </c:pt>
                <c:pt idx="10745">
                  <c:v>-2.3529411764705799E-2</c:v>
                </c:pt>
                <c:pt idx="10746">
                  <c:v>-2.3529411764705799E-2</c:v>
                </c:pt>
                <c:pt idx="10747">
                  <c:v>-2.3529411764705799E-2</c:v>
                </c:pt>
                <c:pt idx="10748">
                  <c:v>-2.3529411764705799E-2</c:v>
                </c:pt>
                <c:pt idx="10749">
                  <c:v>-2.3529411764705799E-2</c:v>
                </c:pt>
                <c:pt idx="10750">
                  <c:v>-2.3529411764705799E-2</c:v>
                </c:pt>
                <c:pt idx="10751">
                  <c:v>-2.3529411764705799E-2</c:v>
                </c:pt>
                <c:pt idx="10752">
                  <c:v>-2.3529411764705799E-2</c:v>
                </c:pt>
                <c:pt idx="10753">
                  <c:v>-2.3529411764705799E-2</c:v>
                </c:pt>
                <c:pt idx="10754">
                  <c:v>-2.3529411764705799E-2</c:v>
                </c:pt>
                <c:pt idx="10755">
                  <c:v>-2.3529411764705799E-2</c:v>
                </c:pt>
                <c:pt idx="10756">
                  <c:v>-2.3529411764705799E-2</c:v>
                </c:pt>
                <c:pt idx="10757">
                  <c:v>-2.3529411764705799E-2</c:v>
                </c:pt>
                <c:pt idx="10758">
                  <c:v>-2.3529411764705799E-2</c:v>
                </c:pt>
                <c:pt idx="10759">
                  <c:v>-2.3529411764705799E-2</c:v>
                </c:pt>
                <c:pt idx="10760">
                  <c:v>-2.3529411764705799E-2</c:v>
                </c:pt>
                <c:pt idx="10761">
                  <c:v>-2.3529411764705799E-2</c:v>
                </c:pt>
                <c:pt idx="10762">
                  <c:v>-2.3529411764705799E-2</c:v>
                </c:pt>
                <c:pt idx="10763">
                  <c:v>-2.4369747899159602E-2</c:v>
                </c:pt>
                <c:pt idx="10764">
                  <c:v>-2.3529411764705899E-2</c:v>
                </c:pt>
                <c:pt idx="10765">
                  <c:v>-2.3529411764705899E-2</c:v>
                </c:pt>
                <c:pt idx="10766">
                  <c:v>-2.3529411764705899E-2</c:v>
                </c:pt>
                <c:pt idx="10767">
                  <c:v>-2.3529411764705899E-2</c:v>
                </c:pt>
                <c:pt idx="10768">
                  <c:v>-2.3529411764705899E-2</c:v>
                </c:pt>
                <c:pt idx="10769">
                  <c:v>-2.3529411764705899E-2</c:v>
                </c:pt>
                <c:pt idx="10770">
                  <c:v>-2.3529411764705899E-2</c:v>
                </c:pt>
                <c:pt idx="10771">
                  <c:v>-2.26890756302521E-2</c:v>
                </c:pt>
                <c:pt idx="10772">
                  <c:v>-2.26890756302521E-2</c:v>
                </c:pt>
                <c:pt idx="10773">
                  <c:v>-2.26890756302521E-2</c:v>
                </c:pt>
                <c:pt idx="10774">
                  <c:v>-2.26890756302521E-2</c:v>
                </c:pt>
                <c:pt idx="10775">
                  <c:v>-2.26890756302521E-2</c:v>
                </c:pt>
                <c:pt idx="10776">
                  <c:v>-2.26890756302521E-2</c:v>
                </c:pt>
                <c:pt idx="10777">
                  <c:v>-2.26890756302521E-2</c:v>
                </c:pt>
                <c:pt idx="10778">
                  <c:v>-2.26890756302521E-2</c:v>
                </c:pt>
                <c:pt idx="10779">
                  <c:v>-2.26890756302521E-2</c:v>
                </c:pt>
                <c:pt idx="10780">
                  <c:v>-2.26890756302521E-2</c:v>
                </c:pt>
                <c:pt idx="10781">
                  <c:v>-2.26890756302521E-2</c:v>
                </c:pt>
                <c:pt idx="10782">
                  <c:v>-2.1848739495798301E-2</c:v>
                </c:pt>
                <c:pt idx="10783">
                  <c:v>-2.1848739495798301E-2</c:v>
                </c:pt>
                <c:pt idx="10784">
                  <c:v>-2.1848739495798301E-2</c:v>
                </c:pt>
                <c:pt idx="10785">
                  <c:v>-2.1848739495798301E-2</c:v>
                </c:pt>
                <c:pt idx="10786">
                  <c:v>-2.1848739495798301E-2</c:v>
                </c:pt>
                <c:pt idx="10787">
                  <c:v>-2.1848739495798301E-2</c:v>
                </c:pt>
                <c:pt idx="10788">
                  <c:v>-2.1848739495798301E-2</c:v>
                </c:pt>
                <c:pt idx="10789">
                  <c:v>-2.1848739495798301E-2</c:v>
                </c:pt>
                <c:pt idx="10790">
                  <c:v>-2.1848739495798301E-2</c:v>
                </c:pt>
                <c:pt idx="10791">
                  <c:v>-2.1848739495798301E-2</c:v>
                </c:pt>
                <c:pt idx="10792">
                  <c:v>-2.1008403361344501E-2</c:v>
                </c:pt>
                <c:pt idx="10793">
                  <c:v>-2.1008403361344501E-2</c:v>
                </c:pt>
                <c:pt idx="10794">
                  <c:v>-2.1008403361344501E-2</c:v>
                </c:pt>
                <c:pt idx="10795">
                  <c:v>-2.1008403361344501E-2</c:v>
                </c:pt>
                <c:pt idx="10796">
                  <c:v>-2.1008403361344501E-2</c:v>
                </c:pt>
                <c:pt idx="10797">
                  <c:v>-2.1008403361344501E-2</c:v>
                </c:pt>
                <c:pt idx="10798">
                  <c:v>-2.1008403361344501E-2</c:v>
                </c:pt>
                <c:pt idx="10799">
                  <c:v>-2.1008403361344501E-2</c:v>
                </c:pt>
                <c:pt idx="10800">
                  <c:v>-2.1008403361344501E-2</c:v>
                </c:pt>
                <c:pt idx="10801">
                  <c:v>-2.1008403361344501E-2</c:v>
                </c:pt>
                <c:pt idx="10802">
                  <c:v>-2.0168067226890699E-2</c:v>
                </c:pt>
                <c:pt idx="10803">
                  <c:v>-2.0168067226890699E-2</c:v>
                </c:pt>
                <c:pt idx="10804">
                  <c:v>-2.0168067226890699E-2</c:v>
                </c:pt>
                <c:pt idx="10805">
                  <c:v>-2.0168067226890699E-2</c:v>
                </c:pt>
                <c:pt idx="10806">
                  <c:v>-2.0168067226890699E-2</c:v>
                </c:pt>
                <c:pt idx="10807">
                  <c:v>-2.0168067226890699E-2</c:v>
                </c:pt>
                <c:pt idx="10808">
                  <c:v>-2.0168067226890699E-2</c:v>
                </c:pt>
                <c:pt idx="10809">
                  <c:v>-2.0168067226890699E-2</c:v>
                </c:pt>
                <c:pt idx="10810">
                  <c:v>-2.0168067226890699E-2</c:v>
                </c:pt>
                <c:pt idx="10811">
                  <c:v>-2.0168067226890699E-2</c:v>
                </c:pt>
                <c:pt idx="10812">
                  <c:v>-2.0168067226890699E-2</c:v>
                </c:pt>
                <c:pt idx="10813">
                  <c:v>-2.0168067226890699E-2</c:v>
                </c:pt>
                <c:pt idx="10814">
                  <c:v>-2.0168067226890699E-2</c:v>
                </c:pt>
                <c:pt idx="10815">
                  <c:v>-2.0168067226890699E-2</c:v>
                </c:pt>
                <c:pt idx="10816">
                  <c:v>-2.0168067226890699E-2</c:v>
                </c:pt>
                <c:pt idx="10817">
                  <c:v>-2.0168067226890699E-2</c:v>
                </c:pt>
                <c:pt idx="10818">
                  <c:v>-2.0168067226890699E-2</c:v>
                </c:pt>
                <c:pt idx="10819">
                  <c:v>-2.0168067226890699E-2</c:v>
                </c:pt>
                <c:pt idx="10820">
                  <c:v>-2.0168067226890699E-2</c:v>
                </c:pt>
                <c:pt idx="10821">
                  <c:v>-2.0168067226890699E-2</c:v>
                </c:pt>
                <c:pt idx="10822">
                  <c:v>-2.0168067226890699E-2</c:v>
                </c:pt>
                <c:pt idx="10823">
                  <c:v>-2.0168067226890699E-2</c:v>
                </c:pt>
                <c:pt idx="10824">
                  <c:v>-2.0168067226890699E-2</c:v>
                </c:pt>
                <c:pt idx="10825">
                  <c:v>-2.0168067226890699E-2</c:v>
                </c:pt>
                <c:pt idx="10826">
                  <c:v>-2.0168067226890699E-2</c:v>
                </c:pt>
                <c:pt idx="10827">
                  <c:v>-2.1008403361344501E-2</c:v>
                </c:pt>
                <c:pt idx="10828">
                  <c:v>-2.1008403361344501E-2</c:v>
                </c:pt>
                <c:pt idx="10829">
                  <c:v>-2.1008403361344501E-2</c:v>
                </c:pt>
                <c:pt idx="10830">
                  <c:v>-2.1008403361344501E-2</c:v>
                </c:pt>
                <c:pt idx="10831">
                  <c:v>-2.1008403361344501E-2</c:v>
                </c:pt>
                <c:pt idx="10832">
                  <c:v>-2.1008403361344501E-2</c:v>
                </c:pt>
                <c:pt idx="10833">
                  <c:v>-2.1008403361344501E-2</c:v>
                </c:pt>
                <c:pt idx="10834">
                  <c:v>-2.1008403361344501E-2</c:v>
                </c:pt>
                <c:pt idx="10835">
                  <c:v>-2.1008403361344501E-2</c:v>
                </c:pt>
                <c:pt idx="10836">
                  <c:v>-2.1008403361344501E-2</c:v>
                </c:pt>
                <c:pt idx="10837">
                  <c:v>-2.1008403361344501E-2</c:v>
                </c:pt>
                <c:pt idx="10838">
                  <c:v>-2.1008403361344501E-2</c:v>
                </c:pt>
                <c:pt idx="10839">
                  <c:v>-2.1008403361344501E-2</c:v>
                </c:pt>
                <c:pt idx="10840">
                  <c:v>-2.1008403361344501E-2</c:v>
                </c:pt>
                <c:pt idx="10841">
                  <c:v>-2.1008403361344501E-2</c:v>
                </c:pt>
                <c:pt idx="10842">
                  <c:v>-2.1008403361344501E-2</c:v>
                </c:pt>
                <c:pt idx="10843">
                  <c:v>-2.1008403361344501E-2</c:v>
                </c:pt>
                <c:pt idx="10844">
                  <c:v>-2.0168067226890699E-2</c:v>
                </c:pt>
                <c:pt idx="10845">
                  <c:v>-2.0168067226890699E-2</c:v>
                </c:pt>
                <c:pt idx="10846">
                  <c:v>-2.0168067226890699E-2</c:v>
                </c:pt>
                <c:pt idx="10847">
                  <c:v>-2.0168067226890699E-2</c:v>
                </c:pt>
                <c:pt idx="10848">
                  <c:v>-2.0168067226890699E-2</c:v>
                </c:pt>
                <c:pt idx="10849">
                  <c:v>-2.0168067226890699E-2</c:v>
                </c:pt>
                <c:pt idx="10850">
                  <c:v>-2.0168067226890699E-2</c:v>
                </c:pt>
                <c:pt idx="10851">
                  <c:v>-2.0168067226890699E-2</c:v>
                </c:pt>
                <c:pt idx="10852">
                  <c:v>-2.0168067226890699E-2</c:v>
                </c:pt>
                <c:pt idx="10853">
                  <c:v>-2.0168067226890699E-2</c:v>
                </c:pt>
                <c:pt idx="10854">
                  <c:v>-2.0168067226890699E-2</c:v>
                </c:pt>
                <c:pt idx="10855">
                  <c:v>-2.0168067226890699E-2</c:v>
                </c:pt>
                <c:pt idx="10856">
                  <c:v>-2.0168067226890699E-2</c:v>
                </c:pt>
                <c:pt idx="10857">
                  <c:v>-2.0168067226890699E-2</c:v>
                </c:pt>
                <c:pt idx="10858">
                  <c:v>-2.0168067226890699E-2</c:v>
                </c:pt>
                <c:pt idx="10859">
                  <c:v>-2.0168067226890699E-2</c:v>
                </c:pt>
                <c:pt idx="10860">
                  <c:v>-2.0168067226890699E-2</c:v>
                </c:pt>
                <c:pt idx="10861">
                  <c:v>-2.0168067226890699E-2</c:v>
                </c:pt>
                <c:pt idx="10862">
                  <c:v>-2.0168067226890699E-2</c:v>
                </c:pt>
                <c:pt idx="10863">
                  <c:v>-2.0168067226890699E-2</c:v>
                </c:pt>
                <c:pt idx="10864">
                  <c:v>-1.9327731092437E-2</c:v>
                </c:pt>
                <c:pt idx="10865">
                  <c:v>-1.9327731092437E-2</c:v>
                </c:pt>
                <c:pt idx="10866">
                  <c:v>-1.9327731092437E-2</c:v>
                </c:pt>
                <c:pt idx="10867">
                  <c:v>-1.9327731092437E-2</c:v>
                </c:pt>
                <c:pt idx="10868">
                  <c:v>-1.9327731092437E-2</c:v>
                </c:pt>
                <c:pt idx="10869">
                  <c:v>-1.9327731092437E-2</c:v>
                </c:pt>
                <c:pt idx="10870">
                  <c:v>-1.9327731092437E-2</c:v>
                </c:pt>
                <c:pt idx="10871">
                  <c:v>-1.9327731092437E-2</c:v>
                </c:pt>
                <c:pt idx="10872">
                  <c:v>-1.9327731092437E-2</c:v>
                </c:pt>
                <c:pt idx="10873">
                  <c:v>-1.9327731092437E-2</c:v>
                </c:pt>
                <c:pt idx="10874">
                  <c:v>-2.0168067226890699E-2</c:v>
                </c:pt>
                <c:pt idx="10875">
                  <c:v>-2.0168067226890699E-2</c:v>
                </c:pt>
                <c:pt idx="10876">
                  <c:v>-1.9327731092437E-2</c:v>
                </c:pt>
                <c:pt idx="10877">
                  <c:v>-1.9327731092437E-2</c:v>
                </c:pt>
                <c:pt idx="10878">
                  <c:v>-1.9327731092437E-2</c:v>
                </c:pt>
                <c:pt idx="10879">
                  <c:v>-1.9327731092437E-2</c:v>
                </c:pt>
                <c:pt idx="10880">
                  <c:v>-1.9327731092437E-2</c:v>
                </c:pt>
                <c:pt idx="10881">
                  <c:v>-1.9327731092437E-2</c:v>
                </c:pt>
                <c:pt idx="10882">
                  <c:v>-1.9327731092437E-2</c:v>
                </c:pt>
                <c:pt idx="10883">
                  <c:v>-1.9327731092437E-2</c:v>
                </c:pt>
                <c:pt idx="10884">
                  <c:v>-1.9327731092437E-2</c:v>
                </c:pt>
                <c:pt idx="10885">
                  <c:v>-1.9327731092437E-2</c:v>
                </c:pt>
                <c:pt idx="10886">
                  <c:v>-1.9327731092437E-2</c:v>
                </c:pt>
                <c:pt idx="10887">
                  <c:v>-1.9327731092437E-2</c:v>
                </c:pt>
                <c:pt idx="10888">
                  <c:v>-1.9327731092437E-2</c:v>
                </c:pt>
                <c:pt idx="10889">
                  <c:v>-1.9327731092437E-2</c:v>
                </c:pt>
                <c:pt idx="10890">
                  <c:v>-1.9327731092437E-2</c:v>
                </c:pt>
                <c:pt idx="10891">
                  <c:v>-1.9327731092437E-2</c:v>
                </c:pt>
                <c:pt idx="10892">
                  <c:v>-1.9327731092437E-2</c:v>
                </c:pt>
                <c:pt idx="10893">
                  <c:v>-1.9327731092437E-2</c:v>
                </c:pt>
                <c:pt idx="10894">
                  <c:v>-1.9327731092437E-2</c:v>
                </c:pt>
                <c:pt idx="10895">
                  <c:v>-1.9327731092437E-2</c:v>
                </c:pt>
                <c:pt idx="10896">
                  <c:v>-1.9327731092437E-2</c:v>
                </c:pt>
                <c:pt idx="10897">
                  <c:v>-1.9327731092437E-2</c:v>
                </c:pt>
                <c:pt idx="10898">
                  <c:v>-1.9327731092437E-2</c:v>
                </c:pt>
                <c:pt idx="10899">
                  <c:v>-1.9327731092437E-2</c:v>
                </c:pt>
                <c:pt idx="10900">
                  <c:v>-1.9327731092437E-2</c:v>
                </c:pt>
                <c:pt idx="10901">
                  <c:v>-1.9327731092437E-2</c:v>
                </c:pt>
                <c:pt idx="10902">
                  <c:v>-1.9327731092437E-2</c:v>
                </c:pt>
                <c:pt idx="10903">
                  <c:v>-1.9327731092437E-2</c:v>
                </c:pt>
                <c:pt idx="10904">
                  <c:v>-1.9327731092437E-2</c:v>
                </c:pt>
                <c:pt idx="10905">
                  <c:v>-1.9327731092437E-2</c:v>
                </c:pt>
                <c:pt idx="10906">
                  <c:v>-1.9327731092437E-2</c:v>
                </c:pt>
                <c:pt idx="10907">
                  <c:v>-1.9327731092437E-2</c:v>
                </c:pt>
                <c:pt idx="10908">
                  <c:v>-1.9327731092437E-2</c:v>
                </c:pt>
                <c:pt idx="10909">
                  <c:v>-1.9327731092437E-2</c:v>
                </c:pt>
                <c:pt idx="10910">
                  <c:v>-1.9327731092437E-2</c:v>
                </c:pt>
                <c:pt idx="10911">
                  <c:v>-1.9327731092437E-2</c:v>
                </c:pt>
                <c:pt idx="10912">
                  <c:v>-1.9327731092437E-2</c:v>
                </c:pt>
                <c:pt idx="10913">
                  <c:v>-1.9327731092437E-2</c:v>
                </c:pt>
                <c:pt idx="10914">
                  <c:v>-1.9327731092437E-2</c:v>
                </c:pt>
                <c:pt idx="10915">
                  <c:v>-2.0168067226890699E-2</c:v>
                </c:pt>
                <c:pt idx="10916">
                  <c:v>-2.0168067226890699E-2</c:v>
                </c:pt>
                <c:pt idx="10917">
                  <c:v>-2.0168067226890699E-2</c:v>
                </c:pt>
                <c:pt idx="10918">
                  <c:v>-1.9327731092437E-2</c:v>
                </c:pt>
                <c:pt idx="10919">
                  <c:v>-1.84873949579831E-2</c:v>
                </c:pt>
                <c:pt idx="10920">
                  <c:v>-1.84873949579831E-2</c:v>
                </c:pt>
                <c:pt idx="10921">
                  <c:v>-1.84873949579831E-2</c:v>
                </c:pt>
                <c:pt idx="10922">
                  <c:v>-1.84873949579831E-2</c:v>
                </c:pt>
                <c:pt idx="10923">
                  <c:v>-1.84873949579831E-2</c:v>
                </c:pt>
                <c:pt idx="10924">
                  <c:v>-1.84873949579831E-2</c:v>
                </c:pt>
                <c:pt idx="10925">
                  <c:v>-1.84873949579831E-2</c:v>
                </c:pt>
                <c:pt idx="10926">
                  <c:v>-1.84873949579831E-2</c:v>
                </c:pt>
                <c:pt idx="10927">
                  <c:v>-1.84873949579831E-2</c:v>
                </c:pt>
                <c:pt idx="10928">
                  <c:v>-1.84873949579831E-2</c:v>
                </c:pt>
                <c:pt idx="10929">
                  <c:v>-1.84873949579831E-2</c:v>
                </c:pt>
                <c:pt idx="10930">
                  <c:v>-1.84873949579831E-2</c:v>
                </c:pt>
                <c:pt idx="10931">
                  <c:v>-1.84873949579831E-2</c:v>
                </c:pt>
                <c:pt idx="10932">
                  <c:v>-1.84873949579831E-2</c:v>
                </c:pt>
                <c:pt idx="10933">
                  <c:v>-1.84873949579831E-2</c:v>
                </c:pt>
                <c:pt idx="10934">
                  <c:v>-1.84873949579831E-2</c:v>
                </c:pt>
                <c:pt idx="10935">
                  <c:v>-1.84873949579831E-2</c:v>
                </c:pt>
                <c:pt idx="10936">
                  <c:v>-1.84873949579831E-2</c:v>
                </c:pt>
                <c:pt idx="10937">
                  <c:v>-1.84873949579831E-2</c:v>
                </c:pt>
                <c:pt idx="10938">
                  <c:v>-1.84873949579831E-2</c:v>
                </c:pt>
                <c:pt idx="10939">
                  <c:v>-1.84873949579831E-2</c:v>
                </c:pt>
                <c:pt idx="10940">
                  <c:v>-1.84873949579831E-2</c:v>
                </c:pt>
                <c:pt idx="10941">
                  <c:v>-1.84873949579831E-2</c:v>
                </c:pt>
                <c:pt idx="10942">
                  <c:v>-1.84873949579831E-2</c:v>
                </c:pt>
                <c:pt idx="10943">
                  <c:v>-1.84873949579831E-2</c:v>
                </c:pt>
                <c:pt idx="10944">
                  <c:v>-1.84873949579831E-2</c:v>
                </c:pt>
                <c:pt idx="10945">
                  <c:v>-1.84873949579831E-2</c:v>
                </c:pt>
                <c:pt idx="10946">
                  <c:v>-1.84873949579831E-2</c:v>
                </c:pt>
                <c:pt idx="10947">
                  <c:v>-1.84873949579831E-2</c:v>
                </c:pt>
                <c:pt idx="10948">
                  <c:v>-1.84873949579831E-2</c:v>
                </c:pt>
                <c:pt idx="10949">
                  <c:v>-1.84873949579831E-2</c:v>
                </c:pt>
                <c:pt idx="10950">
                  <c:v>-1.84873949579831E-2</c:v>
                </c:pt>
                <c:pt idx="10951">
                  <c:v>-1.84873949579831E-2</c:v>
                </c:pt>
                <c:pt idx="10952">
                  <c:v>-1.84873949579831E-2</c:v>
                </c:pt>
                <c:pt idx="10953">
                  <c:v>-1.84873949579831E-2</c:v>
                </c:pt>
                <c:pt idx="10954">
                  <c:v>-1.84873949579831E-2</c:v>
                </c:pt>
                <c:pt idx="10955">
                  <c:v>-1.84873949579831E-2</c:v>
                </c:pt>
                <c:pt idx="10956">
                  <c:v>-1.84873949579831E-2</c:v>
                </c:pt>
                <c:pt idx="10957">
                  <c:v>-1.84873949579831E-2</c:v>
                </c:pt>
                <c:pt idx="10958">
                  <c:v>-1.84873949579831E-2</c:v>
                </c:pt>
                <c:pt idx="10959">
                  <c:v>-1.84873949579831E-2</c:v>
                </c:pt>
                <c:pt idx="10960">
                  <c:v>-1.84873949579831E-2</c:v>
                </c:pt>
                <c:pt idx="10961">
                  <c:v>-1.84873949579831E-2</c:v>
                </c:pt>
                <c:pt idx="10962">
                  <c:v>-1.84873949579831E-2</c:v>
                </c:pt>
                <c:pt idx="10963">
                  <c:v>-1.84873949579831E-2</c:v>
                </c:pt>
                <c:pt idx="10964">
                  <c:v>-1.84873949579831E-2</c:v>
                </c:pt>
                <c:pt idx="10965">
                  <c:v>-1.9327731092436899E-2</c:v>
                </c:pt>
                <c:pt idx="10966">
                  <c:v>-1.9327731092436899E-2</c:v>
                </c:pt>
                <c:pt idx="10967">
                  <c:v>-1.9327731092436899E-2</c:v>
                </c:pt>
                <c:pt idx="10968">
                  <c:v>-1.9327731092436899E-2</c:v>
                </c:pt>
                <c:pt idx="10969">
                  <c:v>-1.9327731092436899E-2</c:v>
                </c:pt>
                <c:pt idx="10970">
                  <c:v>-1.9327731092436899E-2</c:v>
                </c:pt>
                <c:pt idx="10971">
                  <c:v>-1.9327731092436899E-2</c:v>
                </c:pt>
                <c:pt idx="10972">
                  <c:v>-2.0168067226890699E-2</c:v>
                </c:pt>
                <c:pt idx="10973">
                  <c:v>-2.0168067226890699E-2</c:v>
                </c:pt>
                <c:pt idx="10974">
                  <c:v>-2.0168067226890699E-2</c:v>
                </c:pt>
                <c:pt idx="10975">
                  <c:v>-2.0168067226890699E-2</c:v>
                </c:pt>
                <c:pt idx="10976">
                  <c:v>-2.0168067226890699E-2</c:v>
                </c:pt>
                <c:pt idx="10977">
                  <c:v>-2.0168067226890699E-2</c:v>
                </c:pt>
                <c:pt idx="10978">
                  <c:v>-2.0168067226890699E-2</c:v>
                </c:pt>
                <c:pt idx="10979">
                  <c:v>-2.0168067226890699E-2</c:v>
                </c:pt>
                <c:pt idx="10980">
                  <c:v>-2.0168067226890699E-2</c:v>
                </c:pt>
                <c:pt idx="10981">
                  <c:v>-2.0168067226890699E-2</c:v>
                </c:pt>
                <c:pt idx="10982">
                  <c:v>-2.0168067226890699E-2</c:v>
                </c:pt>
                <c:pt idx="10983">
                  <c:v>-2.0168067226890699E-2</c:v>
                </c:pt>
                <c:pt idx="10984">
                  <c:v>-2.0168067226890699E-2</c:v>
                </c:pt>
                <c:pt idx="10985">
                  <c:v>-2.0168067226890699E-2</c:v>
                </c:pt>
                <c:pt idx="10986">
                  <c:v>-2.1008403361344501E-2</c:v>
                </c:pt>
                <c:pt idx="10987">
                  <c:v>-2.1008403361344501E-2</c:v>
                </c:pt>
                <c:pt idx="10988">
                  <c:v>-2.1008403361344501E-2</c:v>
                </c:pt>
                <c:pt idx="10989">
                  <c:v>-2.1008403361344501E-2</c:v>
                </c:pt>
                <c:pt idx="10990">
                  <c:v>-2.1008403361344501E-2</c:v>
                </c:pt>
                <c:pt idx="10991">
                  <c:v>-2.1008403361344501E-2</c:v>
                </c:pt>
                <c:pt idx="10992">
                  <c:v>-2.1008403361344501E-2</c:v>
                </c:pt>
                <c:pt idx="10993">
                  <c:v>-2.1008403361344501E-2</c:v>
                </c:pt>
                <c:pt idx="10994">
                  <c:v>-2.1008403361344501E-2</c:v>
                </c:pt>
                <c:pt idx="10995">
                  <c:v>-2.1008403361344501E-2</c:v>
                </c:pt>
                <c:pt idx="10996">
                  <c:v>-2.1008403361344501E-2</c:v>
                </c:pt>
                <c:pt idx="10997">
                  <c:v>-2.1008403361344501E-2</c:v>
                </c:pt>
                <c:pt idx="10998">
                  <c:v>-2.1008403361344501E-2</c:v>
                </c:pt>
                <c:pt idx="10999">
                  <c:v>-2.1008403361344501E-2</c:v>
                </c:pt>
                <c:pt idx="11000">
                  <c:v>-2.1008403361344501E-2</c:v>
                </c:pt>
                <c:pt idx="11001">
                  <c:v>-2.1008403361344501E-2</c:v>
                </c:pt>
                <c:pt idx="11002">
                  <c:v>-2.1008403361344501E-2</c:v>
                </c:pt>
                <c:pt idx="11003">
                  <c:v>-2.1008403361344501E-2</c:v>
                </c:pt>
                <c:pt idx="11004">
                  <c:v>-2.1008403361344501E-2</c:v>
                </c:pt>
                <c:pt idx="11005">
                  <c:v>-2.1008403361344501E-2</c:v>
                </c:pt>
                <c:pt idx="11006">
                  <c:v>-2.1008403361344501E-2</c:v>
                </c:pt>
                <c:pt idx="11007">
                  <c:v>-2.1008403361344501E-2</c:v>
                </c:pt>
                <c:pt idx="11008">
                  <c:v>-2.1008403361344501E-2</c:v>
                </c:pt>
                <c:pt idx="11009">
                  <c:v>-2.1008403361344501E-2</c:v>
                </c:pt>
                <c:pt idx="11010">
                  <c:v>-2.1008403361344501E-2</c:v>
                </c:pt>
                <c:pt idx="11011">
                  <c:v>-2.1008403361344501E-2</c:v>
                </c:pt>
                <c:pt idx="11012">
                  <c:v>-2.1008403361344501E-2</c:v>
                </c:pt>
                <c:pt idx="11013">
                  <c:v>-2.1008403361344501E-2</c:v>
                </c:pt>
                <c:pt idx="11014">
                  <c:v>-2.1008403361344501E-2</c:v>
                </c:pt>
                <c:pt idx="11015">
                  <c:v>-2.1008403361344501E-2</c:v>
                </c:pt>
                <c:pt idx="11016">
                  <c:v>-2.18487394957982E-2</c:v>
                </c:pt>
                <c:pt idx="11017">
                  <c:v>-2.18487394957982E-2</c:v>
                </c:pt>
                <c:pt idx="11018">
                  <c:v>-2.18487394957982E-2</c:v>
                </c:pt>
                <c:pt idx="11019">
                  <c:v>-2.18487394957982E-2</c:v>
                </c:pt>
                <c:pt idx="11020">
                  <c:v>-2.18487394957982E-2</c:v>
                </c:pt>
                <c:pt idx="11021">
                  <c:v>-2.18487394957982E-2</c:v>
                </c:pt>
                <c:pt idx="11022">
                  <c:v>-2.18487394957982E-2</c:v>
                </c:pt>
                <c:pt idx="11023">
                  <c:v>-2.18487394957982E-2</c:v>
                </c:pt>
                <c:pt idx="11024">
                  <c:v>-2.18487394957982E-2</c:v>
                </c:pt>
                <c:pt idx="11025">
                  <c:v>-2.18487394957982E-2</c:v>
                </c:pt>
                <c:pt idx="11026">
                  <c:v>-2.18487394957982E-2</c:v>
                </c:pt>
                <c:pt idx="11027">
                  <c:v>-2.18487394957982E-2</c:v>
                </c:pt>
                <c:pt idx="11028">
                  <c:v>-2.18487394957982E-2</c:v>
                </c:pt>
                <c:pt idx="11029">
                  <c:v>-2.18487394957982E-2</c:v>
                </c:pt>
                <c:pt idx="11030">
                  <c:v>-2.18487394957982E-2</c:v>
                </c:pt>
                <c:pt idx="11031">
                  <c:v>-2.18487394957982E-2</c:v>
                </c:pt>
                <c:pt idx="11032">
                  <c:v>-2.18487394957982E-2</c:v>
                </c:pt>
                <c:pt idx="11033">
                  <c:v>-2.18487394957982E-2</c:v>
                </c:pt>
                <c:pt idx="11034">
                  <c:v>-2.18487394957982E-2</c:v>
                </c:pt>
                <c:pt idx="11035">
                  <c:v>-2.18487394957982E-2</c:v>
                </c:pt>
                <c:pt idx="11036">
                  <c:v>-2.18487394957982E-2</c:v>
                </c:pt>
                <c:pt idx="11037">
                  <c:v>-2.18487394957982E-2</c:v>
                </c:pt>
                <c:pt idx="11038">
                  <c:v>-2.1008403361344501E-2</c:v>
                </c:pt>
                <c:pt idx="11039">
                  <c:v>-2.1008403361344501E-2</c:v>
                </c:pt>
                <c:pt idx="11040">
                  <c:v>-2.1008403361344501E-2</c:v>
                </c:pt>
                <c:pt idx="11041">
                  <c:v>-2.1008403361344501E-2</c:v>
                </c:pt>
                <c:pt idx="11042">
                  <c:v>-2.1008403361344501E-2</c:v>
                </c:pt>
                <c:pt idx="11043">
                  <c:v>-2.1008403361344501E-2</c:v>
                </c:pt>
                <c:pt idx="11044">
                  <c:v>-2.1008403361344501E-2</c:v>
                </c:pt>
                <c:pt idx="11045">
                  <c:v>-2.1008403361344501E-2</c:v>
                </c:pt>
                <c:pt idx="11046">
                  <c:v>-2.0168067226890699E-2</c:v>
                </c:pt>
                <c:pt idx="11047">
                  <c:v>-2.0168067226890699E-2</c:v>
                </c:pt>
                <c:pt idx="11048">
                  <c:v>-2.0168067226890699E-2</c:v>
                </c:pt>
                <c:pt idx="11049">
                  <c:v>-2.0168067226890699E-2</c:v>
                </c:pt>
                <c:pt idx="11050">
                  <c:v>-2.0168067226890699E-2</c:v>
                </c:pt>
                <c:pt idx="11051">
                  <c:v>-2.0168067226890699E-2</c:v>
                </c:pt>
                <c:pt idx="11052">
                  <c:v>-2.0168067226890699E-2</c:v>
                </c:pt>
                <c:pt idx="11053">
                  <c:v>-2.0168067226890699E-2</c:v>
                </c:pt>
                <c:pt idx="11054">
                  <c:v>-2.0168067226890699E-2</c:v>
                </c:pt>
                <c:pt idx="11055">
                  <c:v>-2.0168067226890699E-2</c:v>
                </c:pt>
                <c:pt idx="11056">
                  <c:v>-2.0168067226890699E-2</c:v>
                </c:pt>
                <c:pt idx="11057">
                  <c:v>-2.0168067226890699E-2</c:v>
                </c:pt>
                <c:pt idx="11058">
                  <c:v>-2.0168067226890699E-2</c:v>
                </c:pt>
                <c:pt idx="11059">
                  <c:v>-2.0168067226890699E-2</c:v>
                </c:pt>
                <c:pt idx="11060">
                  <c:v>-2.0168067226890699E-2</c:v>
                </c:pt>
                <c:pt idx="11061">
                  <c:v>-2.0168067226890699E-2</c:v>
                </c:pt>
                <c:pt idx="11062">
                  <c:v>-2.0168067226890699E-2</c:v>
                </c:pt>
                <c:pt idx="11063">
                  <c:v>-2.0168067226890699E-2</c:v>
                </c:pt>
                <c:pt idx="11064">
                  <c:v>-2.0168067226890699E-2</c:v>
                </c:pt>
                <c:pt idx="11065">
                  <c:v>-2.0168067226890699E-2</c:v>
                </c:pt>
                <c:pt idx="11066">
                  <c:v>-2.0168067226890699E-2</c:v>
                </c:pt>
                <c:pt idx="11067">
                  <c:v>-2.0168067226890699E-2</c:v>
                </c:pt>
                <c:pt idx="11068">
                  <c:v>-2.0168067226890699E-2</c:v>
                </c:pt>
                <c:pt idx="11069">
                  <c:v>-2.0168067226890699E-2</c:v>
                </c:pt>
                <c:pt idx="11070">
                  <c:v>-2.0168067226890699E-2</c:v>
                </c:pt>
                <c:pt idx="11071">
                  <c:v>-2.0168067226890699E-2</c:v>
                </c:pt>
                <c:pt idx="11072">
                  <c:v>-2.0168067226890699E-2</c:v>
                </c:pt>
                <c:pt idx="11073">
                  <c:v>-2.0168067226890699E-2</c:v>
                </c:pt>
                <c:pt idx="11074">
                  <c:v>-2.0168067226890699E-2</c:v>
                </c:pt>
                <c:pt idx="11075">
                  <c:v>-2.0168067226890699E-2</c:v>
                </c:pt>
                <c:pt idx="11076">
                  <c:v>-2.0168067226890699E-2</c:v>
                </c:pt>
                <c:pt idx="11077">
                  <c:v>-2.0168067226890699E-2</c:v>
                </c:pt>
                <c:pt idx="11078">
                  <c:v>-2.1008403361344501E-2</c:v>
                </c:pt>
                <c:pt idx="11079">
                  <c:v>-2.1008403361344501E-2</c:v>
                </c:pt>
                <c:pt idx="11080">
                  <c:v>-2.1008403361344501E-2</c:v>
                </c:pt>
                <c:pt idx="11081">
                  <c:v>-2.1008403361344501E-2</c:v>
                </c:pt>
                <c:pt idx="11082">
                  <c:v>-2.1008403361344501E-2</c:v>
                </c:pt>
                <c:pt idx="11083">
                  <c:v>-2.1008403361344501E-2</c:v>
                </c:pt>
                <c:pt idx="11084">
                  <c:v>-2.1008403361344501E-2</c:v>
                </c:pt>
                <c:pt idx="11085">
                  <c:v>-2.1008403361344501E-2</c:v>
                </c:pt>
                <c:pt idx="11086">
                  <c:v>-2.1008403361344501E-2</c:v>
                </c:pt>
                <c:pt idx="11087">
                  <c:v>-2.1008403361344501E-2</c:v>
                </c:pt>
                <c:pt idx="11088">
                  <c:v>-2.1008403361344501E-2</c:v>
                </c:pt>
                <c:pt idx="11089">
                  <c:v>-2.1008403361344501E-2</c:v>
                </c:pt>
                <c:pt idx="11090">
                  <c:v>-2.1008403361344501E-2</c:v>
                </c:pt>
                <c:pt idx="11091">
                  <c:v>-2.1008403361344501E-2</c:v>
                </c:pt>
                <c:pt idx="11092">
                  <c:v>-2.1008403361344501E-2</c:v>
                </c:pt>
                <c:pt idx="11093">
                  <c:v>-2.1008403361344501E-2</c:v>
                </c:pt>
                <c:pt idx="11094">
                  <c:v>-2.1008403361344501E-2</c:v>
                </c:pt>
                <c:pt idx="11095">
                  <c:v>-2.1008403361344501E-2</c:v>
                </c:pt>
                <c:pt idx="11096">
                  <c:v>-2.1008403361344501E-2</c:v>
                </c:pt>
                <c:pt idx="11097">
                  <c:v>-2.1008403361344501E-2</c:v>
                </c:pt>
                <c:pt idx="11098">
                  <c:v>-2.1008403361344501E-2</c:v>
                </c:pt>
                <c:pt idx="11099">
                  <c:v>-2.1008403361344501E-2</c:v>
                </c:pt>
                <c:pt idx="11100">
                  <c:v>-2.1008403361344501E-2</c:v>
                </c:pt>
                <c:pt idx="11101">
                  <c:v>-2.1008403361344501E-2</c:v>
                </c:pt>
                <c:pt idx="11102">
                  <c:v>-2.1008403361344501E-2</c:v>
                </c:pt>
                <c:pt idx="11103">
                  <c:v>-2.1008403361344501E-2</c:v>
                </c:pt>
                <c:pt idx="11104">
                  <c:v>-2.1008403361344501E-2</c:v>
                </c:pt>
                <c:pt idx="11105">
                  <c:v>-2.1008403361344501E-2</c:v>
                </c:pt>
                <c:pt idx="11106">
                  <c:v>-2.1008403361344501E-2</c:v>
                </c:pt>
                <c:pt idx="11107">
                  <c:v>-2.0168067226890699E-2</c:v>
                </c:pt>
                <c:pt idx="11108">
                  <c:v>-2.0168067226890699E-2</c:v>
                </c:pt>
                <c:pt idx="11109">
                  <c:v>-2.0168067226890699E-2</c:v>
                </c:pt>
                <c:pt idx="11110">
                  <c:v>-2.0168067226890699E-2</c:v>
                </c:pt>
                <c:pt idx="11111">
                  <c:v>-2.0168067226890699E-2</c:v>
                </c:pt>
                <c:pt idx="11112">
                  <c:v>-2.0168067226890699E-2</c:v>
                </c:pt>
                <c:pt idx="11113">
                  <c:v>-2.0168067226890699E-2</c:v>
                </c:pt>
                <c:pt idx="11114">
                  <c:v>-2.0168067226890699E-2</c:v>
                </c:pt>
                <c:pt idx="11115">
                  <c:v>-2.1008403361344501E-2</c:v>
                </c:pt>
                <c:pt idx="11116">
                  <c:v>-2.1008403361344501E-2</c:v>
                </c:pt>
                <c:pt idx="11117">
                  <c:v>-2.1008403361344501E-2</c:v>
                </c:pt>
                <c:pt idx="11118">
                  <c:v>-2.1008403361344501E-2</c:v>
                </c:pt>
                <c:pt idx="11119">
                  <c:v>-2.1008403361344501E-2</c:v>
                </c:pt>
                <c:pt idx="11120">
                  <c:v>-2.1008403361344501E-2</c:v>
                </c:pt>
                <c:pt idx="11121">
                  <c:v>-2.1008403361344501E-2</c:v>
                </c:pt>
                <c:pt idx="11122">
                  <c:v>-2.1008403361344501E-2</c:v>
                </c:pt>
                <c:pt idx="11123">
                  <c:v>-2.1008403361344501E-2</c:v>
                </c:pt>
                <c:pt idx="11124">
                  <c:v>-2.1008403361344501E-2</c:v>
                </c:pt>
                <c:pt idx="11125">
                  <c:v>-2.1008403361344501E-2</c:v>
                </c:pt>
                <c:pt idx="11126">
                  <c:v>-2.1008403361344501E-2</c:v>
                </c:pt>
                <c:pt idx="11127">
                  <c:v>-2.1008403361344501E-2</c:v>
                </c:pt>
                <c:pt idx="11128">
                  <c:v>-2.1008403361344501E-2</c:v>
                </c:pt>
                <c:pt idx="11129">
                  <c:v>-2.1008403361344501E-2</c:v>
                </c:pt>
                <c:pt idx="11130">
                  <c:v>-2.1008403361344501E-2</c:v>
                </c:pt>
                <c:pt idx="11131">
                  <c:v>-2.1008403361344501E-2</c:v>
                </c:pt>
                <c:pt idx="11132">
                  <c:v>-2.1008403361344501E-2</c:v>
                </c:pt>
                <c:pt idx="11133">
                  <c:v>-2.1008403361344501E-2</c:v>
                </c:pt>
                <c:pt idx="11134">
                  <c:v>-2.1008403361344501E-2</c:v>
                </c:pt>
                <c:pt idx="11135">
                  <c:v>-2.0168067226890699E-2</c:v>
                </c:pt>
                <c:pt idx="11136">
                  <c:v>-2.0168067226890699E-2</c:v>
                </c:pt>
                <c:pt idx="11137">
                  <c:v>-2.0168067226890699E-2</c:v>
                </c:pt>
                <c:pt idx="11138">
                  <c:v>-2.0168067226890699E-2</c:v>
                </c:pt>
                <c:pt idx="11139">
                  <c:v>-2.0168067226890699E-2</c:v>
                </c:pt>
                <c:pt idx="11140">
                  <c:v>-2.0168067226890699E-2</c:v>
                </c:pt>
                <c:pt idx="11141">
                  <c:v>-2.0168067226890699E-2</c:v>
                </c:pt>
                <c:pt idx="11142">
                  <c:v>-2.0168067226890699E-2</c:v>
                </c:pt>
                <c:pt idx="11143">
                  <c:v>-2.0168067226890699E-2</c:v>
                </c:pt>
                <c:pt idx="11144">
                  <c:v>-2.0168067226890699E-2</c:v>
                </c:pt>
                <c:pt idx="11145">
                  <c:v>-2.0168067226890699E-2</c:v>
                </c:pt>
                <c:pt idx="11146">
                  <c:v>-2.0168067226890699E-2</c:v>
                </c:pt>
                <c:pt idx="11147">
                  <c:v>-2.0168067226890699E-2</c:v>
                </c:pt>
                <c:pt idx="11148">
                  <c:v>-2.0168067226890699E-2</c:v>
                </c:pt>
                <c:pt idx="11149">
                  <c:v>-2.0168067226890699E-2</c:v>
                </c:pt>
                <c:pt idx="11150">
                  <c:v>-2.0168067226890699E-2</c:v>
                </c:pt>
                <c:pt idx="11151">
                  <c:v>-2.0168067226890699E-2</c:v>
                </c:pt>
                <c:pt idx="11152">
                  <c:v>-2.0168067226890699E-2</c:v>
                </c:pt>
                <c:pt idx="11153">
                  <c:v>-2.0168067226890699E-2</c:v>
                </c:pt>
                <c:pt idx="11154">
                  <c:v>-2.0168067226890699E-2</c:v>
                </c:pt>
                <c:pt idx="11155">
                  <c:v>-2.0168067226890699E-2</c:v>
                </c:pt>
                <c:pt idx="11156">
                  <c:v>-2.0168067226890699E-2</c:v>
                </c:pt>
                <c:pt idx="11157">
                  <c:v>-2.0168067226890699E-2</c:v>
                </c:pt>
                <c:pt idx="11158">
                  <c:v>-2.1008403361344501E-2</c:v>
                </c:pt>
                <c:pt idx="11159">
                  <c:v>-2.1008403361344501E-2</c:v>
                </c:pt>
                <c:pt idx="11160">
                  <c:v>-2.1008403361344501E-2</c:v>
                </c:pt>
                <c:pt idx="11161">
                  <c:v>-2.1008403361344501E-2</c:v>
                </c:pt>
                <c:pt idx="11162">
                  <c:v>-2.1008403361344501E-2</c:v>
                </c:pt>
                <c:pt idx="11163">
                  <c:v>-2.1008403361344501E-2</c:v>
                </c:pt>
                <c:pt idx="11164">
                  <c:v>-2.1008403361344501E-2</c:v>
                </c:pt>
                <c:pt idx="11165">
                  <c:v>-2.1008403361344501E-2</c:v>
                </c:pt>
                <c:pt idx="11166">
                  <c:v>-2.1008403361344501E-2</c:v>
                </c:pt>
                <c:pt idx="11167">
                  <c:v>-2.18487394957982E-2</c:v>
                </c:pt>
                <c:pt idx="11168">
                  <c:v>-2.18487394957982E-2</c:v>
                </c:pt>
                <c:pt idx="11169">
                  <c:v>-2.18487394957982E-2</c:v>
                </c:pt>
                <c:pt idx="11170">
                  <c:v>-2.18487394957982E-2</c:v>
                </c:pt>
                <c:pt idx="11171">
                  <c:v>-2.18487394957982E-2</c:v>
                </c:pt>
                <c:pt idx="11172">
                  <c:v>-2.2689075630251999E-2</c:v>
                </c:pt>
                <c:pt idx="11173">
                  <c:v>-2.2689075630251999E-2</c:v>
                </c:pt>
                <c:pt idx="11174">
                  <c:v>-2.2689075630251999E-2</c:v>
                </c:pt>
                <c:pt idx="11175">
                  <c:v>-2.2689075630251999E-2</c:v>
                </c:pt>
                <c:pt idx="11176">
                  <c:v>-2.2689075630251999E-2</c:v>
                </c:pt>
                <c:pt idx="11177">
                  <c:v>-2.2689075630251999E-2</c:v>
                </c:pt>
                <c:pt idx="11178">
                  <c:v>-2.2689075630251999E-2</c:v>
                </c:pt>
                <c:pt idx="11179">
                  <c:v>-2.2689075630251999E-2</c:v>
                </c:pt>
                <c:pt idx="11180">
                  <c:v>-2.2689075630251999E-2</c:v>
                </c:pt>
                <c:pt idx="11181">
                  <c:v>-2.2689075630251999E-2</c:v>
                </c:pt>
                <c:pt idx="11182">
                  <c:v>-2.2689075630251999E-2</c:v>
                </c:pt>
                <c:pt idx="11183">
                  <c:v>-2.2689075630251999E-2</c:v>
                </c:pt>
                <c:pt idx="11184">
                  <c:v>-2.2689075630251999E-2</c:v>
                </c:pt>
                <c:pt idx="11185">
                  <c:v>-2.2689075630251999E-2</c:v>
                </c:pt>
                <c:pt idx="11186">
                  <c:v>-2.2689075630251999E-2</c:v>
                </c:pt>
                <c:pt idx="11187">
                  <c:v>-2.2689075630251999E-2</c:v>
                </c:pt>
                <c:pt idx="11188">
                  <c:v>-2.2689075630251999E-2</c:v>
                </c:pt>
                <c:pt idx="11189">
                  <c:v>-2.2689075630251999E-2</c:v>
                </c:pt>
                <c:pt idx="11190">
                  <c:v>-2.2689075630251999E-2</c:v>
                </c:pt>
                <c:pt idx="11191">
                  <c:v>-2.2689075630251999E-2</c:v>
                </c:pt>
                <c:pt idx="11192">
                  <c:v>-2.2689075630251999E-2</c:v>
                </c:pt>
                <c:pt idx="11193">
                  <c:v>-2.2689075630251999E-2</c:v>
                </c:pt>
                <c:pt idx="11194">
                  <c:v>-2.2689075630251999E-2</c:v>
                </c:pt>
                <c:pt idx="11195">
                  <c:v>-2.2689075630251999E-2</c:v>
                </c:pt>
                <c:pt idx="11196">
                  <c:v>-2.2689075630251999E-2</c:v>
                </c:pt>
                <c:pt idx="11197">
                  <c:v>-2.2689075630251999E-2</c:v>
                </c:pt>
                <c:pt idx="11198">
                  <c:v>-2.2689075630251999E-2</c:v>
                </c:pt>
                <c:pt idx="11199">
                  <c:v>-2.2689075630251999E-2</c:v>
                </c:pt>
                <c:pt idx="11200">
                  <c:v>-2.2689075630251999E-2</c:v>
                </c:pt>
                <c:pt idx="11201">
                  <c:v>-2.2689075630251999E-2</c:v>
                </c:pt>
                <c:pt idx="11202">
                  <c:v>-2.2689075630251999E-2</c:v>
                </c:pt>
                <c:pt idx="11203">
                  <c:v>-2.2689075630251999E-2</c:v>
                </c:pt>
                <c:pt idx="11204">
                  <c:v>-2.2689075630251999E-2</c:v>
                </c:pt>
                <c:pt idx="11205">
                  <c:v>-2.18487394957982E-2</c:v>
                </c:pt>
                <c:pt idx="11206">
                  <c:v>-2.18487394957982E-2</c:v>
                </c:pt>
                <c:pt idx="11207">
                  <c:v>-2.18487394957982E-2</c:v>
                </c:pt>
                <c:pt idx="11208">
                  <c:v>-2.18487394957982E-2</c:v>
                </c:pt>
                <c:pt idx="11209">
                  <c:v>-2.18487394957982E-2</c:v>
                </c:pt>
                <c:pt idx="11210">
                  <c:v>-2.18487394957982E-2</c:v>
                </c:pt>
                <c:pt idx="11211">
                  <c:v>-2.18487394957982E-2</c:v>
                </c:pt>
                <c:pt idx="11212">
                  <c:v>-2.18487394957982E-2</c:v>
                </c:pt>
                <c:pt idx="11213">
                  <c:v>-2.18487394957982E-2</c:v>
                </c:pt>
                <c:pt idx="11214">
                  <c:v>-2.18487394957982E-2</c:v>
                </c:pt>
                <c:pt idx="11215">
                  <c:v>-2.18487394957982E-2</c:v>
                </c:pt>
                <c:pt idx="11216">
                  <c:v>-2.18487394957982E-2</c:v>
                </c:pt>
                <c:pt idx="11217">
                  <c:v>-2.18487394957982E-2</c:v>
                </c:pt>
                <c:pt idx="11218">
                  <c:v>-2.1008403361344501E-2</c:v>
                </c:pt>
                <c:pt idx="11219">
                  <c:v>-2.1008403361344501E-2</c:v>
                </c:pt>
                <c:pt idx="11220">
                  <c:v>-2.18487394957982E-2</c:v>
                </c:pt>
                <c:pt idx="11221">
                  <c:v>-2.18487394957982E-2</c:v>
                </c:pt>
                <c:pt idx="11222">
                  <c:v>-2.18487394957982E-2</c:v>
                </c:pt>
                <c:pt idx="11223">
                  <c:v>-2.18487394957982E-2</c:v>
                </c:pt>
                <c:pt idx="11224">
                  <c:v>-2.18487394957982E-2</c:v>
                </c:pt>
                <c:pt idx="11225">
                  <c:v>-2.1008403361344501E-2</c:v>
                </c:pt>
                <c:pt idx="11226">
                  <c:v>-2.1008403361344501E-2</c:v>
                </c:pt>
                <c:pt idx="11227">
                  <c:v>-2.1008403361344501E-2</c:v>
                </c:pt>
                <c:pt idx="11228">
                  <c:v>-2.1008403361344501E-2</c:v>
                </c:pt>
                <c:pt idx="11229">
                  <c:v>-2.1008403361344501E-2</c:v>
                </c:pt>
                <c:pt idx="11230">
                  <c:v>-2.1008403361344501E-2</c:v>
                </c:pt>
                <c:pt idx="11231">
                  <c:v>-2.1008403361344501E-2</c:v>
                </c:pt>
                <c:pt idx="11232">
                  <c:v>-2.1008403361344501E-2</c:v>
                </c:pt>
                <c:pt idx="11233">
                  <c:v>-2.1008403361344501E-2</c:v>
                </c:pt>
                <c:pt idx="11234">
                  <c:v>-2.1008403361344501E-2</c:v>
                </c:pt>
                <c:pt idx="11235">
                  <c:v>-2.1008403361344501E-2</c:v>
                </c:pt>
                <c:pt idx="11236">
                  <c:v>-2.18487394957982E-2</c:v>
                </c:pt>
                <c:pt idx="11237">
                  <c:v>-2.18487394957982E-2</c:v>
                </c:pt>
                <c:pt idx="11238">
                  <c:v>-2.1008403361344501E-2</c:v>
                </c:pt>
                <c:pt idx="11239">
                  <c:v>-2.1008403361344501E-2</c:v>
                </c:pt>
                <c:pt idx="11240">
                  <c:v>-2.1008403361344501E-2</c:v>
                </c:pt>
                <c:pt idx="11241">
                  <c:v>-2.1008403361344501E-2</c:v>
                </c:pt>
                <c:pt idx="11242">
                  <c:v>-2.1008403361344501E-2</c:v>
                </c:pt>
                <c:pt idx="11243">
                  <c:v>-2.1008403361344501E-2</c:v>
                </c:pt>
                <c:pt idx="11244">
                  <c:v>-2.1008403361344501E-2</c:v>
                </c:pt>
                <c:pt idx="11245">
                  <c:v>-2.1008403361344501E-2</c:v>
                </c:pt>
                <c:pt idx="11246">
                  <c:v>-2.1008403361344501E-2</c:v>
                </c:pt>
                <c:pt idx="11247">
                  <c:v>-2.1008403361344501E-2</c:v>
                </c:pt>
                <c:pt idx="11248">
                  <c:v>-2.1008403361344501E-2</c:v>
                </c:pt>
                <c:pt idx="11249">
                  <c:v>-2.1008403361344501E-2</c:v>
                </c:pt>
                <c:pt idx="11250">
                  <c:v>-2.1008403361344501E-2</c:v>
                </c:pt>
                <c:pt idx="11251">
                  <c:v>-2.1008403361344501E-2</c:v>
                </c:pt>
                <c:pt idx="11252">
                  <c:v>-2.1008403361344501E-2</c:v>
                </c:pt>
                <c:pt idx="11253">
                  <c:v>-2.1008403361344501E-2</c:v>
                </c:pt>
                <c:pt idx="11254">
                  <c:v>-2.1008403361344501E-2</c:v>
                </c:pt>
                <c:pt idx="11255">
                  <c:v>-2.1008403361344501E-2</c:v>
                </c:pt>
                <c:pt idx="11256">
                  <c:v>-2.1008403361344501E-2</c:v>
                </c:pt>
                <c:pt idx="11257">
                  <c:v>-2.1008403361344501E-2</c:v>
                </c:pt>
                <c:pt idx="11258">
                  <c:v>-2.1008403361344501E-2</c:v>
                </c:pt>
                <c:pt idx="11259">
                  <c:v>-2.1008403361344501E-2</c:v>
                </c:pt>
                <c:pt idx="11260">
                  <c:v>-2.1008403361344501E-2</c:v>
                </c:pt>
                <c:pt idx="11261">
                  <c:v>-2.1008403361344501E-2</c:v>
                </c:pt>
                <c:pt idx="11262">
                  <c:v>-2.1008403361344501E-2</c:v>
                </c:pt>
                <c:pt idx="11263">
                  <c:v>-2.1008403361344501E-2</c:v>
                </c:pt>
                <c:pt idx="11264">
                  <c:v>-2.1008403361344501E-2</c:v>
                </c:pt>
                <c:pt idx="11265">
                  <c:v>-2.1008403361344501E-2</c:v>
                </c:pt>
                <c:pt idx="11266">
                  <c:v>-2.1008403361344501E-2</c:v>
                </c:pt>
                <c:pt idx="11267">
                  <c:v>-2.1008403361344501E-2</c:v>
                </c:pt>
                <c:pt idx="11268">
                  <c:v>-2.1008403361344501E-2</c:v>
                </c:pt>
                <c:pt idx="11269">
                  <c:v>-2.1008403361344501E-2</c:v>
                </c:pt>
                <c:pt idx="11270">
                  <c:v>-2.1008403361344501E-2</c:v>
                </c:pt>
                <c:pt idx="11271">
                  <c:v>-2.1008403361344501E-2</c:v>
                </c:pt>
                <c:pt idx="11272">
                  <c:v>-2.1008403361344501E-2</c:v>
                </c:pt>
                <c:pt idx="11273">
                  <c:v>-2.1008403361344501E-2</c:v>
                </c:pt>
                <c:pt idx="11274">
                  <c:v>-2.1008403361344501E-2</c:v>
                </c:pt>
                <c:pt idx="11275">
                  <c:v>-2.1008403361344501E-2</c:v>
                </c:pt>
                <c:pt idx="11276">
                  <c:v>-2.1008403361344501E-2</c:v>
                </c:pt>
                <c:pt idx="11277">
                  <c:v>-2.1008403361344501E-2</c:v>
                </c:pt>
                <c:pt idx="11278">
                  <c:v>-2.1008403361344501E-2</c:v>
                </c:pt>
                <c:pt idx="11279">
                  <c:v>-2.1008403361344501E-2</c:v>
                </c:pt>
                <c:pt idx="11280">
                  <c:v>-2.1008403361344501E-2</c:v>
                </c:pt>
                <c:pt idx="11281">
                  <c:v>-2.1008403361344501E-2</c:v>
                </c:pt>
                <c:pt idx="11282">
                  <c:v>-2.1008403361344501E-2</c:v>
                </c:pt>
                <c:pt idx="11283">
                  <c:v>-2.1008403361344501E-2</c:v>
                </c:pt>
                <c:pt idx="11284">
                  <c:v>-2.1008403361344501E-2</c:v>
                </c:pt>
                <c:pt idx="11285">
                  <c:v>-2.1008403361344501E-2</c:v>
                </c:pt>
                <c:pt idx="11286">
                  <c:v>-2.1008403361344501E-2</c:v>
                </c:pt>
                <c:pt idx="11287">
                  <c:v>-2.1008403361344501E-2</c:v>
                </c:pt>
                <c:pt idx="11288">
                  <c:v>-2.1008403361344501E-2</c:v>
                </c:pt>
                <c:pt idx="11289">
                  <c:v>-2.1008403361344501E-2</c:v>
                </c:pt>
                <c:pt idx="11290">
                  <c:v>-2.1008403361344501E-2</c:v>
                </c:pt>
                <c:pt idx="11291">
                  <c:v>-2.1008403361344501E-2</c:v>
                </c:pt>
                <c:pt idx="11292">
                  <c:v>-2.1008403361344501E-2</c:v>
                </c:pt>
                <c:pt idx="11293">
                  <c:v>-2.0168067226890699E-2</c:v>
                </c:pt>
                <c:pt idx="11294">
                  <c:v>-2.0168067226890699E-2</c:v>
                </c:pt>
                <c:pt idx="11295">
                  <c:v>-2.0168067226890699E-2</c:v>
                </c:pt>
                <c:pt idx="11296">
                  <c:v>-2.0168067226890699E-2</c:v>
                </c:pt>
                <c:pt idx="11297">
                  <c:v>-2.0168067226890699E-2</c:v>
                </c:pt>
                <c:pt idx="11298">
                  <c:v>-2.0168067226890699E-2</c:v>
                </c:pt>
                <c:pt idx="11299">
                  <c:v>-2.0168067226890699E-2</c:v>
                </c:pt>
                <c:pt idx="11300">
                  <c:v>-2.0168067226890699E-2</c:v>
                </c:pt>
                <c:pt idx="11301">
                  <c:v>-2.0168067226890699E-2</c:v>
                </c:pt>
                <c:pt idx="11302">
                  <c:v>-2.0168067226890699E-2</c:v>
                </c:pt>
                <c:pt idx="11303">
                  <c:v>-2.0168067226890699E-2</c:v>
                </c:pt>
                <c:pt idx="11304">
                  <c:v>-2.0168067226890699E-2</c:v>
                </c:pt>
                <c:pt idx="11305">
                  <c:v>-2.0168067226890699E-2</c:v>
                </c:pt>
                <c:pt idx="11306">
                  <c:v>-2.0168067226890699E-2</c:v>
                </c:pt>
                <c:pt idx="11307">
                  <c:v>-2.0168067226890699E-2</c:v>
                </c:pt>
                <c:pt idx="11308">
                  <c:v>-2.0168067226890699E-2</c:v>
                </c:pt>
                <c:pt idx="11309">
                  <c:v>-2.0168067226890699E-2</c:v>
                </c:pt>
                <c:pt idx="11310">
                  <c:v>-2.1008403361344501E-2</c:v>
                </c:pt>
                <c:pt idx="11311">
                  <c:v>-2.1008403361344501E-2</c:v>
                </c:pt>
                <c:pt idx="11312">
                  <c:v>-2.0168067226890699E-2</c:v>
                </c:pt>
                <c:pt idx="11313">
                  <c:v>-2.0168067226890699E-2</c:v>
                </c:pt>
                <c:pt idx="11314">
                  <c:v>-2.0168067226890699E-2</c:v>
                </c:pt>
                <c:pt idx="11315">
                  <c:v>-2.1008403361344501E-2</c:v>
                </c:pt>
                <c:pt idx="11316">
                  <c:v>-2.1008403361344501E-2</c:v>
                </c:pt>
                <c:pt idx="11317">
                  <c:v>-2.1008403361344501E-2</c:v>
                </c:pt>
                <c:pt idx="11318">
                  <c:v>-2.1008403361344501E-2</c:v>
                </c:pt>
                <c:pt idx="11319">
                  <c:v>-2.1008403361344501E-2</c:v>
                </c:pt>
                <c:pt idx="11320">
                  <c:v>-2.1008403361344501E-2</c:v>
                </c:pt>
                <c:pt idx="11321">
                  <c:v>-2.1008403361344501E-2</c:v>
                </c:pt>
                <c:pt idx="11322">
                  <c:v>-2.1008403361344501E-2</c:v>
                </c:pt>
                <c:pt idx="11323">
                  <c:v>-2.1008403361344501E-2</c:v>
                </c:pt>
                <c:pt idx="11324">
                  <c:v>-2.0168067226890699E-2</c:v>
                </c:pt>
                <c:pt idx="11325">
                  <c:v>-2.0168067226890699E-2</c:v>
                </c:pt>
                <c:pt idx="11326">
                  <c:v>-1.9327731092436899E-2</c:v>
                </c:pt>
                <c:pt idx="11327">
                  <c:v>-1.9327731092436899E-2</c:v>
                </c:pt>
                <c:pt idx="11328">
                  <c:v>-1.9327731092436899E-2</c:v>
                </c:pt>
                <c:pt idx="11329">
                  <c:v>-1.9327731092436899E-2</c:v>
                </c:pt>
                <c:pt idx="11330">
                  <c:v>-1.9327731092436899E-2</c:v>
                </c:pt>
                <c:pt idx="11331">
                  <c:v>-1.9327731092436899E-2</c:v>
                </c:pt>
                <c:pt idx="11332">
                  <c:v>-1.9327731092436899E-2</c:v>
                </c:pt>
                <c:pt idx="11333">
                  <c:v>-1.9327731092436899E-2</c:v>
                </c:pt>
                <c:pt idx="11334">
                  <c:v>-1.9327731092436899E-2</c:v>
                </c:pt>
                <c:pt idx="11335">
                  <c:v>-1.9327731092436899E-2</c:v>
                </c:pt>
                <c:pt idx="11336">
                  <c:v>-1.9327731092436899E-2</c:v>
                </c:pt>
                <c:pt idx="11337">
                  <c:v>-1.9327731092436899E-2</c:v>
                </c:pt>
                <c:pt idx="11338">
                  <c:v>-1.9327731092436899E-2</c:v>
                </c:pt>
                <c:pt idx="11339">
                  <c:v>-1.9327731092436899E-2</c:v>
                </c:pt>
                <c:pt idx="11340">
                  <c:v>-1.9327731092436899E-2</c:v>
                </c:pt>
                <c:pt idx="11341">
                  <c:v>-1.9327731092436899E-2</c:v>
                </c:pt>
                <c:pt idx="11342">
                  <c:v>-1.9327731092436899E-2</c:v>
                </c:pt>
                <c:pt idx="11343">
                  <c:v>-1.9327731092436899E-2</c:v>
                </c:pt>
                <c:pt idx="11344">
                  <c:v>-1.9327731092436899E-2</c:v>
                </c:pt>
                <c:pt idx="11345">
                  <c:v>-1.9327731092436899E-2</c:v>
                </c:pt>
                <c:pt idx="11346">
                  <c:v>-1.9327731092436899E-2</c:v>
                </c:pt>
                <c:pt idx="11347">
                  <c:v>-1.9327731092436899E-2</c:v>
                </c:pt>
                <c:pt idx="11348">
                  <c:v>-1.9327731092436899E-2</c:v>
                </c:pt>
                <c:pt idx="11349">
                  <c:v>-1.9327731092436899E-2</c:v>
                </c:pt>
                <c:pt idx="11350">
                  <c:v>-1.9327731092436899E-2</c:v>
                </c:pt>
                <c:pt idx="11351">
                  <c:v>-1.9327731092436899E-2</c:v>
                </c:pt>
                <c:pt idx="11352">
                  <c:v>-1.9327731092436899E-2</c:v>
                </c:pt>
                <c:pt idx="11353">
                  <c:v>-1.9327731092436899E-2</c:v>
                </c:pt>
                <c:pt idx="11354">
                  <c:v>-1.9327731092436899E-2</c:v>
                </c:pt>
                <c:pt idx="11355">
                  <c:v>-1.9327731092436899E-2</c:v>
                </c:pt>
                <c:pt idx="11356">
                  <c:v>-1.9327731092436899E-2</c:v>
                </c:pt>
                <c:pt idx="11357">
                  <c:v>-1.9327731092436899E-2</c:v>
                </c:pt>
                <c:pt idx="11358">
                  <c:v>-1.9327731092436899E-2</c:v>
                </c:pt>
                <c:pt idx="11359">
                  <c:v>-1.84873949579831E-2</c:v>
                </c:pt>
                <c:pt idx="11360">
                  <c:v>-1.84873949579831E-2</c:v>
                </c:pt>
                <c:pt idx="11361">
                  <c:v>-1.84873949579831E-2</c:v>
                </c:pt>
                <c:pt idx="11362">
                  <c:v>-1.84873949579831E-2</c:v>
                </c:pt>
                <c:pt idx="11363">
                  <c:v>-1.84873949579831E-2</c:v>
                </c:pt>
                <c:pt idx="11364">
                  <c:v>-1.84873949579831E-2</c:v>
                </c:pt>
                <c:pt idx="11365">
                  <c:v>-1.84873949579831E-2</c:v>
                </c:pt>
                <c:pt idx="11366">
                  <c:v>-1.84873949579831E-2</c:v>
                </c:pt>
                <c:pt idx="11367">
                  <c:v>-1.84873949579831E-2</c:v>
                </c:pt>
                <c:pt idx="11368">
                  <c:v>-1.84873949579831E-2</c:v>
                </c:pt>
                <c:pt idx="11369">
                  <c:v>-1.84873949579831E-2</c:v>
                </c:pt>
                <c:pt idx="11370">
                  <c:v>-1.84873949579831E-2</c:v>
                </c:pt>
                <c:pt idx="11371">
                  <c:v>-1.84873949579831E-2</c:v>
                </c:pt>
                <c:pt idx="11372">
                  <c:v>-1.84873949579831E-2</c:v>
                </c:pt>
                <c:pt idx="11373">
                  <c:v>-1.84873949579831E-2</c:v>
                </c:pt>
                <c:pt idx="11374">
                  <c:v>-1.84873949579831E-2</c:v>
                </c:pt>
                <c:pt idx="11375">
                  <c:v>-1.84873949579831E-2</c:v>
                </c:pt>
                <c:pt idx="11376">
                  <c:v>-1.84873949579831E-2</c:v>
                </c:pt>
                <c:pt idx="11377">
                  <c:v>-1.84873949579831E-2</c:v>
                </c:pt>
                <c:pt idx="11378">
                  <c:v>-1.84873949579831E-2</c:v>
                </c:pt>
                <c:pt idx="11379">
                  <c:v>-1.84873949579831E-2</c:v>
                </c:pt>
                <c:pt idx="11380">
                  <c:v>-1.84873949579831E-2</c:v>
                </c:pt>
                <c:pt idx="11381">
                  <c:v>-1.84873949579831E-2</c:v>
                </c:pt>
                <c:pt idx="11382">
                  <c:v>-1.84873949579831E-2</c:v>
                </c:pt>
                <c:pt idx="11383">
                  <c:v>-1.84873949579831E-2</c:v>
                </c:pt>
                <c:pt idx="11384">
                  <c:v>-1.84873949579831E-2</c:v>
                </c:pt>
                <c:pt idx="11385">
                  <c:v>-1.84873949579831E-2</c:v>
                </c:pt>
                <c:pt idx="11386">
                  <c:v>-1.84873949579831E-2</c:v>
                </c:pt>
                <c:pt idx="11387">
                  <c:v>-1.84873949579831E-2</c:v>
                </c:pt>
                <c:pt idx="11388">
                  <c:v>-1.84873949579831E-2</c:v>
                </c:pt>
                <c:pt idx="11389">
                  <c:v>-1.84873949579831E-2</c:v>
                </c:pt>
                <c:pt idx="11390">
                  <c:v>-1.84873949579831E-2</c:v>
                </c:pt>
                <c:pt idx="11391">
                  <c:v>-1.84873949579831E-2</c:v>
                </c:pt>
                <c:pt idx="11392">
                  <c:v>-1.84873949579831E-2</c:v>
                </c:pt>
                <c:pt idx="11393">
                  <c:v>-1.84873949579831E-2</c:v>
                </c:pt>
                <c:pt idx="11394">
                  <c:v>-1.84873949579831E-2</c:v>
                </c:pt>
                <c:pt idx="11395">
                  <c:v>-1.84873949579831E-2</c:v>
                </c:pt>
                <c:pt idx="11396">
                  <c:v>-1.84873949579831E-2</c:v>
                </c:pt>
                <c:pt idx="11397">
                  <c:v>-1.84873949579831E-2</c:v>
                </c:pt>
                <c:pt idx="11398">
                  <c:v>-1.84873949579831E-2</c:v>
                </c:pt>
                <c:pt idx="11399">
                  <c:v>-1.84873949579831E-2</c:v>
                </c:pt>
                <c:pt idx="11400">
                  <c:v>-1.84873949579831E-2</c:v>
                </c:pt>
                <c:pt idx="11401">
                  <c:v>-1.84873949579831E-2</c:v>
                </c:pt>
                <c:pt idx="11402">
                  <c:v>-1.84873949579831E-2</c:v>
                </c:pt>
                <c:pt idx="11403">
                  <c:v>-1.84873949579831E-2</c:v>
                </c:pt>
                <c:pt idx="11404">
                  <c:v>-1.84873949579831E-2</c:v>
                </c:pt>
                <c:pt idx="11405">
                  <c:v>-1.84873949579831E-2</c:v>
                </c:pt>
                <c:pt idx="11406">
                  <c:v>-1.84873949579831E-2</c:v>
                </c:pt>
                <c:pt idx="11407">
                  <c:v>-1.84873949579831E-2</c:v>
                </c:pt>
                <c:pt idx="11408">
                  <c:v>-1.84873949579831E-2</c:v>
                </c:pt>
                <c:pt idx="11409">
                  <c:v>-1.84873949579831E-2</c:v>
                </c:pt>
                <c:pt idx="11410">
                  <c:v>-1.84873949579831E-2</c:v>
                </c:pt>
                <c:pt idx="11411">
                  <c:v>-1.84873949579831E-2</c:v>
                </c:pt>
                <c:pt idx="11412">
                  <c:v>-1.84873949579831E-2</c:v>
                </c:pt>
                <c:pt idx="11413">
                  <c:v>-1.84873949579831E-2</c:v>
                </c:pt>
                <c:pt idx="11414">
                  <c:v>-1.84873949579831E-2</c:v>
                </c:pt>
                <c:pt idx="11415">
                  <c:v>-1.84873949579831E-2</c:v>
                </c:pt>
                <c:pt idx="11416">
                  <c:v>-1.84873949579831E-2</c:v>
                </c:pt>
                <c:pt idx="11417">
                  <c:v>-1.84873949579831E-2</c:v>
                </c:pt>
                <c:pt idx="11418">
                  <c:v>-1.84873949579831E-2</c:v>
                </c:pt>
                <c:pt idx="11419">
                  <c:v>-1.84873949579831E-2</c:v>
                </c:pt>
                <c:pt idx="11420">
                  <c:v>-1.84873949579831E-2</c:v>
                </c:pt>
                <c:pt idx="11421">
                  <c:v>-1.84873949579831E-2</c:v>
                </c:pt>
                <c:pt idx="11422">
                  <c:v>-1.84873949579831E-2</c:v>
                </c:pt>
                <c:pt idx="11423">
                  <c:v>-1.84873949579831E-2</c:v>
                </c:pt>
                <c:pt idx="11424">
                  <c:v>-1.84873949579831E-2</c:v>
                </c:pt>
                <c:pt idx="11425">
                  <c:v>-1.84873949579831E-2</c:v>
                </c:pt>
                <c:pt idx="11426">
                  <c:v>-1.84873949579831E-2</c:v>
                </c:pt>
                <c:pt idx="11427">
                  <c:v>-1.84873949579831E-2</c:v>
                </c:pt>
                <c:pt idx="11428">
                  <c:v>-1.84873949579831E-2</c:v>
                </c:pt>
                <c:pt idx="11429">
                  <c:v>-1.84873949579831E-2</c:v>
                </c:pt>
                <c:pt idx="11430">
                  <c:v>-1.84873949579831E-2</c:v>
                </c:pt>
                <c:pt idx="11431">
                  <c:v>-1.84873949579831E-2</c:v>
                </c:pt>
                <c:pt idx="11432">
                  <c:v>-1.9327731092436899E-2</c:v>
                </c:pt>
                <c:pt idx="11433">
                  <c:v>-1.9327731092436899E-2</c:v>
                </c:pt>
                <c:pt idx="11434">
                  <c:v>-1.9327731092436899E-2</c:v>
                </c:pt>
                <c:pt idx="11435">
                  <c:v>-1.9327731092436899E-2</c:v>
                </c:pt>
                <c:pt idx="11436">
                  <c:v>-1.9327731092436899E-2</c:v>
                </c:pt>
                <c:pt idx="11437">
                  <c:v>-1.9327731092436899E-2</c:v>
                </c:pt>
                <c:pt idx="11438">
                  <c:v>-1.9327731092436899E-2</c:v>
                </c:pt>
                <c:pt idx="11439">
                  <c:v>-1.9327731092436899E-2</c:v>
                </c:pt>
                <c:pt idx="11440">
                  <c:v>-1.9327731092436899E-2</c:v>
                </c:pt>
                <c:pt idx="11441">
                  <c:v>-1.9327731092436899E-2</c:v>
                </c:pt>
                <c:pt idx="11442">
                  <c:v>-1.9327731092436899E-2</c:v>
                </c:pt>
                <c:pt idx="11443">
                  <c:v>-1.9327731092436899E-2</c:v>
                </c:pt>
                <c:pt idx="11444">
                  <c:v>-1.9327731092436899E-2</c:v>
                </c:pt>
                <c:pt idx="11445">
                  <c:v>-1.9327731092436899E-2</c:v>
                </c:pt>
                <c:pt idx="11446">
                  <c:v>-1.9327731092436899E-2</c:v>
                </c:pt>
                <c:pt idx="11447">
                  <c:v>-1.9327731092436899E-2</c:v>
                </c:pt>
                <c:pt idx="11448">
                  <c:v>-1.9327731092436899E-2</c:v>
                </c:pt>
                <c:pt idx="11449">
                  <c:v>-1.9327731092436899E-2</c:v>
                </c:pt>
                <c:pt idx="11450">
                  <c:v>-1.9327731092436899E-2</c:v>
                </c:pt>
                <c:pt idx="11451">
                  <c:v>-1.9327731092436899E-2</c:v>
                </c:pt>
                <c:pt idx="11452">
                  <c:v>-1.9327731092436899E-2</c:v>
                </c:pt>
                <c:pt idx="11453">
                  <c:v>-1.9327731092436899E-2</c:v>
                </c:pt>
                <c:pt idx="11454">
                  <c:v>-1.9327731092436899E-2</c:v>
                </c:pt>
                <c:pt idx="11455">
                  <c:v>-1.9327731092436899E-2</c:v>
                </c:pt>
                <c:pt idx="11456">
                  <c:v>-1.9327731092436899E-2</c:v>
                </c:pt>
                <c:pt idx="11457">
                  <c:v>-1.9327731092436899E-2</c:v>
                </c:pt>
                <c:pt idx="11458">
                  <c:v>-1.9327731092436899E-2</c:v>
                </c:pt>
                <c:pt idx="11459">
                  <c:v>-1.9327731092436899E-2</c:v>
                </c:pt>
                <c:pt idx="11460">
                  <c:v>-1.9327731092436899E-2</c:v>
                </c:pt>
                <c:pt idx="11461">
                  <c:v>-1.9327731092436899E-2</c:v>
                </c:pt>
                <c:pt idx="11462">
                  <c:v>-1.9327731092436899E-2</c:v>
                </c:pt>
                <c:pt idx="11463">
                  <c:v>-1.9327731092436899E-2</c:v>
                </c:pt>
                <c:pt idx="11464">
                  <c:v>-1.9327731092436899E-2</c:v>
                </c:pt>
                <c:pt idx="11465">
                  <c:v>-1.9327731092436899E-2</c:v>
                </c:pt>
                <c:pt idx="11466">
                  <c:v>-1.9327731092436899E-2</c:v>
                </c:pt>
                <c:pt idx="11467">
                  <c:v>-2.0168067226890699E-2</c:v>
                </c:pt>
                <c:pt idx="11468">
                  <c:v>-2.0168067226890699E-2</c:v>
                </c:pt>
                <c:pt idx="11469">
                  <c:v>-2.0168067226890699E-2</c:v>
                </c:pt>
                <c:pt idx="11470">
                  <c:v>-2.0168067226890699E-2</c:v>
                </c:pt>
                <c:pt idx="11471">
                  <c:v>-2.1008403361344501E-2</c:v>
                </c:pt>
                <c:pt idx="11472">
                  <c:v>-2.1008403361344501E-2</c:v>
                </c:pt>
                <c:pt idx="11473">
                  <c:v>-2.1008403361344501E-2</c:v>
                </c:pt>
                <c:pt idx="11474">
                  <c:v>-2.1008403361344501E-2</c:v>
                </c:pt>
                <c:pt idx="11475">
                  <c:v>-2.1008403361344501E-2</c:v>
                </c:pt>
                <c:pt idx="11476">
                  <c:v>-2.1008403361344501E-2</c:v>
                </c:pt>
                <c:pt idx="11477">
                  <c:v>-2.1008403361344501E-2</c:v>
                </c:pt>
                <c:pt idx="11478">
                  <c:v>-2.1008403361344501E-2</c:v>
                </c:pt>
                <c:pt idx="11479">
                  <c:v>-2.1008403361344501E-2</c:v>
                </c:pt>
                <c:pt idx="11480">
                  <c:v>-2.1008403361344501E-2</c:v>
                </c:pt>
                <c:pt idx="11481">
                  <c:v>-2.0168067226890699E-2</c:v>
                </c:pt>
                <c:pt idx="11482">
                  <c:v>-2.0168067226890699E-2</c:v>
                </c:pt>
                <c:pt idx="11483">
                  <c:v>-2.0168067226890699E-2</c:v>
                </c:pt>
                <c:pt idx="11484">
                  <c:v>-2.0168067226890699E-2</c:v>
                </c:pt>
                <c:pt idx="11485">
                  <c:v>-2.0168067226890699E-2</c:v>
                </c:pt>
                <c:pt idx="11486">
                  <c:v>-2.0168067226890699E-2</c:v>
                </c:pt>
                <c:pt idx="11487">
                  <c:v>-2.1008403361344501E-2</c:v>
                </c:pt>
                <c:pt idx="11488">
                  <c:v>-2.1008403361344501E-2</c:v>
                </c:pt>
                <c:pt idx="11489">
                  <c:v>-2.0168067226890699E-2</c:v>
                </c:pt>
                <c:pt idx="11490">
                  <c:v>-2.0168067226890699E-2</c:v>
                </c:pt>
                <c:pt idx="11491">
                  <c:v>-2.0168067226890699E-2</c:v>
                </c:pt>
                <c:pt idx="11492">
                  <c:v>-2.0168067226890699E-2</c:v>
                </c:pt>
                <c:pt idx="11493">
                  <c:v>-2.0168067226890699E-2</c:v>
                </c:pt>
                <c:pt idx="11494">
                  <c:v>-2.0168067226890699E-2</c:v>
                </c:pt>
                <c:pt idx="11495">
                  <c:v>-2.0168067226890699E-2</c:v>
                </c:pt>
                <c:pt idx="11496">
                  <c:v>-2.0168067226890699E-2</c:v>
                </c:pt>
                <c:pt idx="11497">
                  <c:v>-2.0168067226890699E-2</c:v>
                </c:pt>
                <c:pt idx="11498">
                  <c:v>-2.0168067226890699E-2</c:v>
                </c:pt>
                <c:pt idx="11499">
                  <c:v>-2.0168067226890699E-2</c:v>
                </c:pt>
                <c:pt idx="11500">
                  <c:v>-2.0168067226890699E-2</c:v>
                </c:pt>
                <c:pt idx="11501">
                  <c:v>-1.9327731092437E-2</c:v>
                </c:pt>
                <c:pt idx="11502">
                  <c:v>-1.9327731092437E-2</c:v>
                </c:pt>
                <c:pt idx="11503">
                  <c:v>-1.9327731092437E-2</c:v>
                </c:pt>
                <c:pt idx="11504">
                  <c:v>-1.9327731092437E-2</c:v>
                </c:pt>
                <c:pt idx="11505">
                  <c:v>-1.9327731092437E-2</c:v>
                </c:pt>
                <c:pt idx="11506">
                  <c:v>-1.9327731092437E-2</c:v>
                </c:pt>
                <c:pt idx="11507">
                  <c:v>-1.9327731092437E-2</c:v>
                </c:pt>
                <c:pt idx="11508">
                  <c:v>-1.9327731092437E-2</c:v>
                </c:pt>
                <c:pt idx="11509">
                  <c:v>-1.9327731092437E-2</c:v>
                </c:pt>
                <c:pt idx="11510">
                  <c:v>-1.9327731092437E-2</c:v>
                </c:pt>
                <c:pt idx="11511">
                  <c:v>-1.9327731092437E-2</c:v>
                </c:pt>
                <c:pt idx="11512">
                  <c:v>-1.9327731092437E-2</c:v>
                </c:pt>
                <c:pt idx="11513">
                  <c:v>-1.9327731092437E-2</c:v>
                </c:pt>
                <c:pt idx="11514">
                  <c:v>-1.9327731092437E-2</c:v>
                </c:pt>
                <c:pt idx="11515">
                  <c:v>-1.9327731092437E-2</c:v>
                </c:pt>
                <c:pt idx="11516">
                  <c:v>-1.9327731092437E-2</c:v>
                </c:pt>
                <c:pt idx="11517">
                  <c:v>-1.9327731092437E-2</c:v>
                </c:pt>
                <c:pt idx="11518">
                  <c:v>-2.0168067226890699E-2</c:v>
                </c:pt>
                <c:pt idx="11519">
                  <c:v>-2.0168067226890699E-2</c:v>
                </c:pt>
                <c:pt idx="11520">
                  <c:v>-2.0168067226890699E-2</c:v>
                </c:pt>
                <c:pt idx="11521">
                  <c:v>-2.0168067226890699E-2</c:v>
                </c:pt>
                <c:pt idx="11522">
                  <c:v>-2.0168067226890699E-2</c:v>
                </c:pt>
                <c:pt idx="11523">
                  <c:v>-2.0168067226890699E-2</c:v>
                </c:pt>
                <c:pt idx="11524">
                  <c:v>-2.0168067226890699E-2</c:v>
                </c:pt>
                <c:pt idx="11525">
                  <c:v>-2.0168067226890699E-2</c:v>
                </c:pt>
                <c:pt idx="11526">
                  <c:v>-1.9327731092437E-2</c:v>
                </c:pt>
                <c:pt idx="11527">
                  <c:v>-1.9327731092437E-2</c:v>
                </c:pt>
                <c:pt idx="11528">
                  <c:v>-1.9327731092437E-2</c:v>
                </c:pt>
                <c:pt idx="11529">
                  <c:v>-1.9327731092437E-2</c:v>
                </c:pt>
                <c:pt idx="11530">
                  <c:v>-1.9327731092437E-2</c:v>
                </c:pt>
                <c:pt idx="11531">
                  <c:v>-1.9327731092437E-2</c:v>
                </c:pt>
                <c:pt idx="11532">
                  <c:v>-2.0168067226890699E-2</c:v>
                </c:pt>
                <c:pt idx="11533">
                  <c:v>-2.0168067226890699E-2</c:v>
                </c:pt>
                <c:pt idx="11534">
                  <c:v>-2.0168067226890699E-2</c:v>
                </c:pt>
                <c:pt idx="11535">
                  <c:v>-2.0168067226890699E-2</c:v>
                </c:pt>
                <c:pt idx="11536">
                  <c:v>-2.0168067226890699E-2</c:v>
                </c:pt>
                <c:pt idx="11537">
                  <c:v>-2.0168067226890699E-2</c:v>
                </c:pt>
                <c:pt idx="11538">
                  <c:v>-2.0168067226890699E-2</c:v>
                </c:pt>
                <c:pt idx="11539">
                  <c:v>-2.0168067226890699E-2</c:v>
                </c:pt>
                <c:pt idx="11540">
                  <c:v>-2.0168067226890699E-2</c:v>
                </c:pt>
                <c:pt idx="11541">
                  <c:v>-2.0168067226890699E-2</c:v>
                </c:pt>
                <c:pt idx="11542">
                  <c:v>-2.0168067226890699E-2</c:v>
                </c:pt>
                <c:pt idx="11543">
                  <c:v>-2.0168067226890699E-2</c:v>
                </c:pt>
                <c:pt idx="11544">
                  <c:v>-2.0168067226890699E-2</c:v>
                </c:pt>
                <c:pt idx="11545">
                  <c:v>-2.0168067226890699E-2</c:v>
                </c:pt>
                <c:pt idx="11546">
                  <c:v>-2.0168067226890699E-2</c:v>
                </c:pt>
                <c:pt idx="11547">
                  <c:v>-2.0168067226890699E-2</c:v>
                </c:pt>
                <c:pt idx="11548">
                  <c:v>-2.1008403361344501E-2</c:v>
                </c:pt>
                <c:pt idx="11549">
                  <c:v>-2.1008403361344501E-2</c:v>
                </c:pt>
                <c:pt idx="11550">
                  <c:v>-2.1008403361344501E-2</c:v>
                </c:pt>
                <c:pt idx="11551">
                  <c:v>-2.1008403361344501E-2</c:v>
                </c:pt>
                <c:pt idx="11552">
                  <c:v>-2.1008403361344501E-2</c:v>
                </c:pt>
                <c:pt idx="11553">
                  <c:v>-2.1008403361344501E-2</c:v>
                </c:pt>
                <c:pt idx="11554">
                  <c:v>-2.1008403361344501E-2</c:v>
                </c:pt>
                <c:pt idx="11555">
                  <c:v>-2.1008403361344501E-2</c:v>
                </c:pt>
                <c:pt idx="11556">
                  <c:v>-2.1008403361344501E-2</c:v>
                </c:pt>
                <c:pt idx="11557">
                  <c:v>-2.1008403361344501E-2</c:v>
                </c:pt>
                <c:pt idx="11558">
                  <c:v>-2.1008403361344501E-2</c:v>
                </c:pt>
                <c:pt idx="11559">
                  <c:v>-2.1008403361344501E-2</c:v>
                </c:pt>
                <c:pt idx="11560">
                  <c:v>-2.1008403361344501E-2</c:v>
                </c:pt>
                <c:pt idx="11561">
                  <c:v>-2.1008403361344501E-2</c:v>
                </c:pt>
                <c:pt idx="11562">
                  <c:v>-2.1008403361344501E-2</c:v>
                </c:pt>
                <c:pt idx="11563">
                  <c:v>-2.1008403361344501E-2</c:v>
                </c:pt>
                <c:pt idx="11564">
                  <c:v>-2.1008403361344501E-2</c:v>
                </c:pt>
                <c:pt idx="11565">
                  <c:v>-2.1008403361344501E-2</c:v>
                </c:pt>
                <c:pt idx="11566">
                  <c:v>-2.1008403361344501E-2</c:v>
                </c:pt>
                <c:pt idx="11567">
                  <c:v>-2.1008403361344501E-2</c:v>
                </c:pt>
                <c:pt idx="11568">
                  <c:v>-2.1008403361344501E-2</c:v>
                </c:pt>
                <c:pt idx="11569">
                  <c:v>-2.1008403361344501E-2</c:v>
                </c:pt>
                <c:pt idx="11570">
                  <c:v>-2.1008403361344501E-2</c:v>
                </c:pt>
                <c:pt idx="11571">
                  <c:v>-2.1008403361344501E-2</c:v>
                </c:pt>
                <c:pt idx="11572">
                  <c:v>-2.1008403361344501E-2</c:v>
                </c:pt>
                <c:pt idx="11573">
                  <c:v>-2.1008403361344501E-2</c:v>
                </c:pt>
                <c:pt idx="11574">
                  <c:v>-2.1008403361344501E-2</c:v>
                </c:pt>
                <c:pt idx="11575">
                  <c:v>-2.1848739495798301E-2</c:v>
                </c:pt>
                <c:pt idx="11576">
                  <c:v>-2.1848739495798301E-2</c:v>
                </c:pt>
                <c:pt idx="11577">
                  <c:v>-2.1848739495798301E-2</c:v>
                </c:pt>
                <c:pt idx="11578">
                  <c:v>-2.1848739495798301E-2</c:v>
                </c:pt>
                <c:pt idx="11579">
                  <c:v>-2.1848739495798301E-2</c:v>
                </c:pt>
                <c:pt idx="11580">
                  <c:v>-2.1848739495798301E-2</c:v>
                </c:pt>
                <c:pt idx="11581">
                  <c:v>-2.1848739495798301E-2</c:v>
                </c:pt>
                <c:pt idx="11582">
                  <c:v>-2.1848739495798301E-2</c:v>
                </c:pt>
                <c:pt idx="11583">
                  <c:v>-2.1848739495798301E-2</c:v>
                </c:pt>
                <c:pt idx="11584">
                  <c:v>-2.1848739495798301E-2</c:v>
                </c:pt>
                <c:pt idx="11585">
                  <c:v>-2.1848739495798301E-2</c:v>
                </c:pt>
                <c:pt idx="11586">
                  <c:v>-2.1848739495798301E-2</c:v>
                </c:pt>
                <c:pt idx="11587">
                  <c:v>-2.1848739495798301E-2</c:v>
                </c:pt>
                <c:pt idx="11588">
                  <c:v>-2.26890756302521E-2</c:v>
                </c:pt>
                <c:pt idx="11589">
                  <c:v>-2.26890756302521E-2</c:v>
                </c:pt>
                <c:pt idx="11590">
                  <c:v>-2.26890756302521E-2</c:v>
                </c:pt>
                <c:pt idx="11591">
                  <c:v>-2.26890756302521E-2</c:v>
                </c:pt>
                <c:pt idx="11592">
                  <c:v>-2.26890756302521E-2</c:v>
                </c:pt>
                <c:pt idx="11593">
                  <c:v>-2.26890756302521E-2</c:v>
                </c:pt>
                <c:pt idx="11594">
                  <c:v>-2.26890756302521E-2</c:v>
                </c:pt>
                <c:pt idx="11595">
                  <c:v>-2.26890756302521E-2</c:v>
                </c:pt>
                <c:pt idx="11596">
                  <c:v>-2.26890756302521E-2</c:v>
                </c:pt>
                <c:pt idx="11597">
                  <c:v>-2.26890756302521E-2</c:v>
                </c:pt>
                <c:pt idx="11598">
                  <c:v>-2.26890756302521E-2</c:v>
                </c:pt>
                <c:pt idx="11599">
                  <c:v>-2.26890756302521E-2</c:v>
                </c:pt>
                <c:pt idx="11600">
                  <c:v>-2.26890756302521E-2</c:v>
                </c:pt>
                <c:pt idx="11601">
                  <c:v>-2.26890756302521E-2</c:v>
                </c:pt>
                <c:pt idx="11602">
                  <c:v>-2.26890756302521E-2</c:v>
                </c:pt>
                <c:pt idx="11603">
                  <c:v>-2.26890756302521E-2</c:v>
                </c:pt>
                <c:pt idx="11604">
                  <c:v>-2.26890756302521E-2</c:v>
                </c:pt>
                <c:pt idx="11605">
                  <c:v>-2.26890756302521E-2</c:v>
                </c:pt>
                <c:pt idx="11606">
                  <c:v>-2.26890756302521E-2</c:v>
                </c:pt>
                <c:pt idx="11607">
                  <c:v>-2.1848739495798301E-2</c:v>
                </c:pt>
                <c:pt idx="11608">
                  <c:v>-2.1848739495798301E-2</c:v>
                </c:pt>
                <c:pt idx="11609">
                  <c:v>-2.1008403361344501E-2</c:v>
                </c:pt>
                <c:pt idx="11610">
                  <c:v>-2.1008403361344501E-2</c:v>
                </c:pt>
                <c:pt idx="11611">
                  <c:v>-2.1008403361344501E-2</c:v>
                </c:pt>
                <c:pt idx="11612">
                  <c:v>-2.1008403361344501E-2</c:v>
                </c:pt>
                <c:pt idx="11613">
                  <c:v>-2.1008403361344501E-2</c:v>
                </c:pt>
                <c:pt idx="11614">
                  <c:v>-2.1008403361344501E-2</c:v>
                </c:pt>
                <c:pt idx="11615">
                  <c:v>-2.1008403361344501E-2</c:v>
                </c:pt>
                <c:pt idx="11616">
                  <c:v>-2.1008403361344501E-2</c:v>
                </c:pt>
                <c:pt idx="11617">
                  <c:v>-2.1008403361344501E-2</c:v>
                </c:pt>
                <c:pt idx="11618">
                  <c:v>-2.1008403361344501E-2</c:v>
                </c:pt>
                <c:pt idx="11619">
                  <c:v>-2.1008403361344501E-2</c:v>
                </c:pt>
                <c:pt idx="11620">
                  <c:v>-2.1008403361344501E-2</c:v>
                </c:pt>
                <c:pt idx="11621">
                  <c:v>-2.1008403361344501E-2</c:v>
                </c:pt>
                <c:pt idx="11622">
                  <c:v>-2.1008403361344501E-2</c:v>
                </c:pt>
                <c:pt idx="11623">
                  <c:v>-2.1008403361344501E-2</c:v>
                </c:pt>
                <c:pt idx="11624">
                  <c:v>-2.1008403361344501E-2</c:v>
                </c:pt>
                <c:pt idx="11625">
                  <c:v>-2.1008403361344501E-2</c:v>
                </c:pt>
                <c:pt idx="11626">
                  <c:v>-2.1008403361344501E-2</c:v>
                </c:pt>
                <c:pt idx="11627">
                  <c:v>-2.1008403361344501E-2</c:v>
                </c:pt>
                <c:pt idx="11628">
                  <c:v>-2.1008403361344501E-2</c:v>
                </c:pt>
                <c:pt idx="11629">
                  <c:v>-2.0168067226890699E-2</c:v>
                </c:pt>
                <c:pt idx="11630">
                  <c:v>-2.0168067226890699E-2</c:v>
                </c:pt>
                <c:pt idx="11631">
                  <c:v>-2.0168067226890699E-2</c:v>
                </c:pt>
                <c:pt idx="11632">
                  <c:v>-2.0168067226890699E-2</c:v>
                </c:pt>
                <c:pt idx="11633">
                  <c:v>-2.0168067226890699E-2</c:v>
                </c:pt>
                <c:pt idx="11634">
                  <c:v>-2.0168067226890699E-2</c:v>
                </c:pt>
                <c:pt idx="11635">
                  <c:v>-2.0168067226890699E-2</c:v>
                </c:pt>
                <c:pt idx="11636">
                  <c:v>-2.0168067226890699E-2</c:v>
                </c:pt>
                <c:pt idx="11637">
                  <c:v>-2.0168067226890699E-2</c:v>
                </c:pt>
                <c:pt idx="11638">
                  <c:v>-2.1008403361344501E-2</c:v>
                </c:pt>
                <c:pt idx="11639">
                  <c:v>-2.1008403361344501E-2</c:v>
                </c:pt>
                <c:pt idx="11640">
                  <c:v>-2.0168067226890699E-2</c:v>
                </c:pt>
                <c:pt idx="11641">
                  <c:v>-2.0168067226890699E-2</c:v>
                </c:pt>
                <c:pt idx="11642">
                  <c:v>-2.0168067226890699E-2</c:v>
                </c:pt>
                <c:pt idx="11643">
                  <c:v>-2.0168067226890699E-2</c:v>
                </c:pt>
                <c:pt idx="11644">
                  <c:v>-2.1008403361344501E-2</c:v>
                </c:pt>
                <c:pt idx="11645">
                  <c:v>-2.1008403361344501E-2</c:v>
                </c:pt>
                <c:pt idx="11646">
                  <c:v>-2.1008403361344501E-2</c:v>
                </c:pt>
                <c:pt idx="11647">
                  <c:v>-2.1008403361344501E-2</c:v>
                </c:pt>
                <c:pt idx="11648">
                  <c:v>-2.1008403361344501E-2</c:v>
                </c:pt>
                <c:pt idx="11649">
                  <c:v>-2.1008403361344501E-2</c:v>
                </c:pt>
                <c:pt idx="11650">
                  <c:v>-2.1008403361344501E-2</c:v>
                </c:pt>
                <c:pt idx="11651">
                  <c:v>-2.1008403361344501E-2</c:v>
                </c:pt>
                <c:pt idx="11652">
                  <c:v>-2.1008403361344501E-2</c:v>
                </c:pt>
                <c:pt idx="11653">
                  <c:v>-2.0168067226890699E-2</c:v>
                </c:pt>
                <c:pt idx="11654">
                  <c:v>-2.0168067226890699E-2</c:v>
                </c:pt>
                <c:pt idx="11655">
                  <c:v>-2.0168067226890699E-2</c:v>
                </c:pt>
                <c:pt idx="11656">
                  <c:v>-2.0168067226890699E-2</c:v>
                </c:pt>
                <c:pt idx="11657">
                  <c:v>-2.0168067226890699E-2</c:v>
                </c:pt>
                <c:pt idx="11658">
                  <c:v>-2.0168067226890699E-2</c:v>
                </c:pt>
                <c:pt idx="11659">
                  <c:v>-1.9327731092436899E-2</c:v>
                </c:pt>
                <c:pt idx="11660">
                  <c:v>-1.9327731092436899E-2</c:v>
                </c:pt>
                <c:pt idx="11661">
                  <c:v>-1.9327731092436899E-2</c:v>
                </c:pt>
                <c:pt idx="11662">
                  <c:v>-1.9327731092436899E-2</c:v>
                </c:pt>
                <c:pt idx="11663">
                  <c:v>-1.9327731092436899E-2</c:v>
                </c:pt>
                <c:pt idx="11664">
                  <c:v>-1.9327731092436899E-2</c:v>
                </c:pt>
                <c:pt idx="11665">
                  <c:v>-1.9327731092436899E-2</c:v>
                </c:pt>
                <c:pt idx="11666">
                  <c:v>-1.9327731092436899E-2</c:v>
                </c:pt>
                <c:pt idx="11667">
                  <c:v>-1.9327731092436899E-2</c:v>
                </c:pt>
                <c:pt idx="11668">
                  <c:v>-1.9327731092436899E-2</c:v>
                </c:pt>
                <c:pt idx="11669">
                  <c:v>-1.9327731092436899E-2</c:v>
                </c:pt>
                <c:pt idx="11670">
                  <c:v>-1.9327731092436899E-2</c:v>
                </c:pt>
                <c:pt idx="11671">
                  <c:v>-1.9327731092436899E-2</c:v>
                </c:pt>
                <c:pt idx="11672">
                  <c:v>-1.9327731092436899E-2</c:v>
                </c:pt>
                <c:pt idx="11673">
                  <c:v>-1.9327731092436899E-2</c:v>
                </c:pt>
                <c:pt idx="11674">
                  <c:v>-1.9327731092436899E-2</c:v>
                </c:pt>
                <c:pt idx="11675">
                  <c:v>-1.9327731092436899E-2</c:v>
                </c:pt>
                <c:pt idx="11676">
                  <c:v>-1.9327731092436899E-2</c:v>
                </c:pt>
                <c:pt idx="11677">
                  <c:v>-1.9327731092436899E-2</c:v>
                </c:pt>
                <c:pt idx="11678">
                  <c:v>-1.9327731092436899E-2</c:v>
                </c:pt>
                <c:pt idx="11679">
                  <c:v>-1.9327731092436899E-2</c:v>
                </c:pt>
                <c:pt idx="11680">
                  <c:v>-1.9327731092436899E-2</c:v>
                </c:pt>
                <c:pt idx="11681">
                  <c:v>-1.9327731092436899E-2</c:v>
                </c:pt>
                <c:pt idx="11682">
                  <c:v>-1.9327731092436899E-2</c:v>
                </c:pt>
                <c:pt idx="11683">
                  <c:v>-1.9327731092436899E-2</c:v>
                </c:pt>
                <c:pt idx="11684">
                  <c:v>-1.9327731092436899E-2</c:v>
                </c:pt>
                <c:pt idx="11685">
                  <c:v>-1.9327731092436899E-2</c:v>
                </c:pt>
                <c:pt idx="11686">
                  <c:v>-1.9327731092436899E-2</c:v>
                </c:pt>
                <c:pt idx="11687">
                  <c:v>-1.9327731092436899E-2</c:v>
                </c:pt>
                <c:pt idx="11688">
                  <c:v>-1.9327731092436899E-2</c:v>
                </c:pt>
                <c:pt idx="11689">
                  <c:v>-1.9327731092436899E-2</c:v>
                </c:pt>
                <c:pt idx="11690">
                  <c:v>-2.0168067226890699E-2</c:v>
                </c:pt>
                <c:pt idx="11691">
                  <c:v>-2.0168067226890699E-2</c:v>
                </c:pt>
                <c:pt idx="11692">
                  <c:v>-2.0168067226890699E-2</c:v>
                </c:pt>
                <c:pt idx="11693">
                  <c:v>-2.0168067226890699E-2</c:v>
                </c:pt>
                <c:pt idx="11694">
                  <c:v>-2.0168067226890699E-2</c:v>
                </c:pt>
                <c:pt idx="11695">
                  <c:v>-2.0168067226890699E-2</c:v>
                </c:pt>
                <c:pt idx="11696">
                  <c:v>-2.0168067226890699E-2</c:v>
                </c:pt>
                <c:pt idx="11697">
                  <c:v>-2.0168067226890699E-2</c:v>
                </c:pt>
                <c:pt idx="11698">
                  <c:v>-2.0168067226890699E-2</c:v>
                </c:pt>
                <c:pt idx="11699">
                  <c:v>-2.0168067226890699E-2</c:v>
                </c:pt>
                <c:pt idx="11700">
                  <c:v>-2.0168067226890699E-2</c:v>
                </c:pt>
                <c:pt idx="11701">
                  <c:v>-2.0168067226890699E-2</c:v>
                </c:pt>
                <c:pt idx="11702">
                  <c:v>-2.0168067226890699E-2</c:v>
                </c:pt>
                <c:pt idx="11703">
                  <c:v>-2.0168067226890699E-2</c:v>
                </c:pt>
                <c:pt idx="11704">
                  <c:v>-2.0168067226890699E-2</c:v>
                </c:pt>
                <c:pt idx="11705">
                  <c:v>-2.0168067226890699E-2</c:v>
                </c:pt>
                <c:pt idx="11706">
                  <c:v>-2.0168067226890699E-2</c:v>
                </c:pt>
                <c:pt idx="11707">
                  <c:v>-2.0168067226890699E-2</c:v>
                </c:pt>
                <c:pt idx="11708">
                  <c:v>-2.0168067226890699E-2</c:v>
                </c:pt>
                <c:pt idx="11709">
                  <c:v>-2.0168067226890699E-2</c:v>
                </c:pt>
                <c:pt idx="11710">
                  <c:v>-2.0168067226890699E-2</c:v>
                </c:pt>
                <c:pt idx="11711">
                  <c:v>-2.0168067226890699E-2</c:v>
                </c:pt>
                <c:pt idx="11712">
                  <c:v>-2.0168067226890699E-2</c:v>
                </c:pt>
                <c:pt idx="11713">
                  <c:v>-2.0168067226890699E-2</c:v>
                </c:pt>
                <c:pt idx="11714">
                  <c:v>-2.0168067226890699E-2</c:v>
                </c:pt>
                <c:pt idx="11715">
                  <c:v>-2.0168067226890699E-2</c:v>
                </c:pt>
                <c:pt idx="11716">
                  <c:v>-2.0168067226890699E-2</c:v>
                </c:pt>
                <c:pt idx="11717">
                  <c:v>-2.0168067226890699E-2</c:v>
                </c:pt>
                <c:pt idx="11718">
                  <c:v>-2.0168067226890699E-2</c:v>
                </c:pt>
                <c:pt idx="11719">
                  <c:v>-2.0168067226890699E-2</c:v>
                </c:pt>
                <c:pt idx="11720">
                  <c:v>-2.0168067226890699E-2</c:v>
                </c:pt>
                <c:pt idx="11721">
                  <c:v>-2.0168067226890699E-2</c:v>
                </c:pt>
                <c:pt idx="11722">
                  <c:v>-2.0168067226890699E-2</c:v>
                </c:pt>
                <c:pt idx="11723">
                  <c:v>-2.0168067226890699E-2</c:v>
                </c:pt>
                <c:pt idx="11724">
                  <c:v>-2.0168067226890699E-2</c:v>
                </c:pt>
                <c:pt idx="11725">
                  <c:v>-2.0168067226890699E-2</c:v>
                </c:pt>
                <c:pt idx="11726">
                  <c:v>-2.0168067226890699E-2</c:v>
                </c:pt>
                <c:pt idx="11727">
                  <c:v>-2.0168067226890699E-2</c:v>
                </c:pt>
                <c:pt idx="11728">
                  <c:v>-1.9327731092436899E-2</c:v>
                </c:pt>
                <c:pt idx="11729">
                  <c:v>-1.9327731092436899E-2</c:v>
                </c:pt>
                <c:pt idx="11730">
                  <c:v>-1.9327731092436899E-2</c:v>
                </c:pt>
                <c:pt idx="11731">
                  <c:v>-1.9327731092436899E-2</c:v>
                </c:pt>
                <c:pt idx="11732">
                  <c:v>-1.9327731092436899E-2</c:v>
                </c:pt>
                <c:pt idx="11733">
                  <c:v>-1.9327731092436899E-2</c:v>
                </c:pt>
                <c:pt idx="11734">
                  <c:v>-1.9327731092436899E-2</c:v>
                </c:pt>
                <c:pt idx="11735">
                  <c:v>-1.9327731092436899E-2</c:v>
                </c:pt>
                <c:pt idx="11736">
                  <c:v>-1.9327731092436899E-2</c:v>
                </c:pt>
                <c:pt idx="11737">
                  <c:v>-1.9327731092436899E-2</c:v>
                </c:pt>
                <c:pt idx="11738">
                  <c:v>-1.9327731092436899E-2</c:v>
                </c:pt>
                <c:pt idx="11739">
                  <c:v>-1.9327731092436899E-2</c:v>
                </c:pt>
                <c:pt idx="11740">
                  <c:v>-1.9327731092436899E-2</c:v>
                </c:pt>
                <c:pt idx="11741">
                  <c:v>-1.9327731092436899E-2</c:v>
                </c:pt>
                <c:pt idx="11742">
                  <c:v>-1.9327731092436899E-2</c:v>
                </c:pt>
                <c:pt idx="11743">
                  <c:v>-1.9327731092436899E-2</c:v>
                </c:pt>
                <c:pt idx="11744">
                  <c:v>-1.9327731092436899E-2</c:v>
                </c:pt>
                <c:pt idx="11745">
                  <c:v>-1.9327731092436899E-2</c:v>
                </c:pt>
                <c:pt idx="11746">
                  <c:v>-1.9327731092436899E-2</c:v>
                </c:pt>
                <c:pt idx="11747">
                  <c:v>-1.9327731092436899E-2</c:v>
                </c:pt>
                <c:pt idx="11748">
                  <c:v>-1.9327731092436899E-2</c:v>
                </c:pt>
                <c:pt idx="11749">
                  <c:v>-1.9327731092436899E-2</c:v>
                </c:pt>
                <c:pt idx="11750">
                  <c:v>-1.9327731092436899E-2</c:v>
                </c:pt>
                <c:pt idx="11751">
                  <c:v>-1.9327731092436899E-2</c:v>
                </c:pt>
                <c:pt idx="11752">
                  <c:v>-1.9327731092436899E-2</c:v>
                </c:pt>
                <c:pt idx="11753">
                  <c:v>-1.9327731092436899E-2</c:v>
                </c:pt>
                <c:pt idx="11754">
                  <c:v>-1.9327731092436899E-2</c:v>
                </c:pt>
                <c:pt idx="11755">
                  <c:v>-2.0168067226890699E-2</c:v>
                </c:pt>
                <c:pt idx="11756">
                  <c:v>-2.0168067226890699E-2</c:v>
                </c:pt>
                <c:pt idx="11757">
                  <c:v>-2.0168067226890699E-2</c:v>
                </c:pt>
                <c:pt idx="11758">
                  <c:v>-2.1008403361344501E-2</c:v>
                </c:pt>
                <c:pt idx="11759">
                  <c:v>-2.1008403361344501E-2</c:v>
                </c:pt>
                <c:pt idx="11760">
                  <c:v>-2.1008403361344501E-2</c:v>
                </c:pt>
                <c:pt idx="11761">
                  <c:v>-2.1008403361344501E-2</c:v>
                </c:pt>
                <c:pt idx="11762">
                  <c:v>-2.1008403361344501E-2</c:v>
                </c:pt>
                <c:pt idx="11763">
                  <c:v>-2.1008403361344501E-2</c:v>
                </c:pt>
                <c:pt idx="11764">
                  <c:v>-2.1008403361344501E-2</c:v>
                </c:pt>
                <c:pt idx="11765">
                  <c:v>-2.1008403361344501E-2</c:v>
                </c:pt>
                <c:pt idx="11766">
                  <c:v>-2.1008403361344501E-2</c:v>
                </c:pt>
                <c:pt idx="11767">
                  <c:v>-2.1008403361344501E-2</c:v>
                </c:pt>
                <c:pt idx="11768">
                  <c:v>-2.1008403361344501E-2</c:v>
                </c:pt>
                <c:pt idx="11769">
                  <c:v>-2.1008403361344501E-2</c:v>
                </c:pt>
                <c:pt idx="11770">
                  <c:v>-2.1008403361344501E-2</c:v>
                </c:pt>
                <c:pt idx="11771">
                  <c:v>-2.1008403361344501E-2</c:v>
                </c:pt>
                <c:pt idx="11772">
                  <c:v>-2.1008403361344501E-2</c:v>
                </c:pt>
                <c:pt idx="11773">
                  <c:v>-2.1008403361344501E-2</c:v>
                </c:pt>
                <c:pt idx="11774">
                  <c:v>-2.1008403361344501E-2</c:v>
                </c:pt>
                <c:pt idx="11775">
                  <c:v>-2.1008403361344501E-2</c:v>
                </c:pt>
                <c:pt idx="11776">
                  <c:v>-2.1008403361344501E-2</c:v>
                </c:pt>
                <c:pt idx="11777">
                  <c:v>-2.1008403361344501E-2</c:v>
                </c:pt>
                <c:pt idx="11778">
                  <c:v>-2.1008403361344501E-2</c:v>
                </c:pt>
                <c:pt idx="11779">
                  <c:v>-2.18487394957982E-2</c:v>
                </c:pt>
                <c:pt idx="11780">
                  <c:v>-2.18487394957982E-2</c:v>
                </c:pt>
                <c:pt idx="11781">
                  <c:v>-2.18487394957982E-2</c:v>
                </c:pt>
                <c:pt idx="11782">
                  <c:v>-2.18487394957982E-2</c:v>
                </c:pt>
                <c:pt idx="11783">
                  <c:v>-2.1008403361344501E-2</c:v>
                </c:pt>
                <c:pt idx="11784">
                  <c:v>-2.1008403361344501E-2</c:v>
                </c:pt>
                <c:pt idx="11785">
                  <c:v>-2.1008403361344501E-2</c:v>
                </c:pt>
                <c:pt idx="11786">
                  <c:v>-2.1008403361344501E-2</c:v>
                </c:pt>
                <c:pt idx="11787">
                  <c:v>-2.1008403361344501E-2</c:v>
                </c:pt>
                <c:pt idx="11788">
                  <c:v>-2.1008403361344501E-2</c:v>
                </c:pt>
                <c:pt idx="11789">
                  <c:v>-2.1008403361344501E-2</c:v>
                </c:pt>
                <c:pt idx="11790">
                  <c:v>-2.1008403361344501E-2</c:v>
                </c:pt>
                <c:pt idx="11791">
                  <c:v>-2.1008403361344501E-2</c:v>
                </c:pt>
                <c:pt idx="11792">
                  <c:v>-2.1008403361344501E-2</c:v>
                </c:pt>
                <c:pt idx="11793">
                  <c:v>-2.1008403361344501E-2</c:v>
                </c:pt>
                <c:pt idx="11794">
                  <c:v>-2.1008403361344501E-2</c:v>
                </c:pt>
                <c:pt idx="11795">
                  <c:v>-2.1008403361344501E-2</c:v>
                </c:pt>
                <c:pt idx="11796">
                  <c:v>-2.1008403361344501E-2</c:v>
                </c:pt>
                <c:pt idx="11797">
                  <c:v>-2.1008403361344501E-2</c:v>
                </c:pt>
                <c:pt idx="11798">
                  <c:v>-2.1008403361344501E-2</c:v>
                </c:pt>
                <c:pt idx="11799">
                  <c:v>-2.1008403361344501E-2</c:v>
                </c:pt>
                <c:pt idx="11800">
                  <c:v>-2.1008403361344501E-2</c:v>
                </c:pt>
                <c:pt idx="11801">
                  <c:v>-2.1008403361344501E-2</c:v>
                </c:pt>
                <c:pt idx="11802">
                  <c:v>-2.1008403361344501E-2</c:v>
                </c:pt>
                <c:pt idx="11803">
                  <c:v>-2.1008403361344501E-2</c:v>
                </c:pt>
                <c:pt idx="11804">
                  <c:v>-2.1008403361344501E-2</c:v>
                </c:pt>
                <c:pt idx="11805">
                  <c:v>-2.1008403361344501E-2</c:v>
                </c:pt>
                <c:pt idx="11806">
                  <c:v>-2.1008403361344501E-2</c:v>
                </c:pt>
                <c:pt idx="11807">
                  <c:v>-2.1008403361344501E-2</c:v>
                </c:pt>
                <c:pt idx="11808">
                  <c:v>-2.1008403361344501E-2</c:v>
                </c:pt>
                <c:pt idx="11809">
                  <c:v>-2.1008403361344501E-2</c:v>
                </c:pt>
                <c:pt idx="11810">
                  <c:v>-2.1008403361344501E-2</c:v>
                </c:pt>
                <c:pt idx="11811">
                  <c:v>-2.1008403361344501E-2</c:v>
                </c:pt>
                <c:pt idx="11812">
                  <c:v>-2.1008403361344501E-2</c:v>
                </c:pt>
                <c:pt idx="11813">
                  <c:v>-2.1008403361344501E-2</c:v>
                </c:pt>
                <c:pt idx="11814">
                  <c:v>-2.1008403361344501E-2</c:v>
                </c:pt>
                <c:pt idx="11815">
                  <c:v>-2.1008403361344501E-2</c:v>
                </c:pt>
                <c:pt idx="11816">
                  <c:v>-2.1008403361344501E-2</c:v>
                </c:pt>
                <c:pt idx="11817">
                  <c:v>-2.1008403361344501E-2</c:v>
                </c:pt>
                <c:pt idx="11818">
                  <c:v>-2.1008403361344501E-2</c:v>
                </c:pt>
                <c:pt idx="11819">
                  <c:v>-2.1008403361344501E-2</c:v>
                </c:pt>
                <c:pt idx="11820">
                  <c:v>-2.1008403361344501E-2</c:v>
                </c:pt>
                <c:pt idx="11821">
                  <c:v>-2.1008403361344501E-2</c:v>
                </c:pt>
                <c:pt idx="11822">
                  <c:v>-2.1008403361344501E-2</c:v>
                </c:pt>
                <c:pt idx="11823">
                  <c:v>-2.1008403361344501E-2</c:v>
                </c:pt>
                <c:pt idx="11824">
                  <c:v>-2.1008403361344501E-2</c:v>
                </c:pt>
                <c:pt idx="11825">
                  <c:v>-2.1008403361344501E-2</c:v>
                </c:pt>
                <c:pt idx="11826">
                  <c:v>-2.1008403361344501E-2</c:v>
                </c:pt>
                <c:pt idx="11827">
                  <c:v>-2.1008403361344501E-2</c:v>
                </c:pt>
                <c:pt idx="11828">
                  <c:v>-2.1008403361344501E-2</c:v>
                </c:pt>
                <c:pt idx="11829">
                  <c:v>-2.1008403361344501E-2</c:v>
                </c:pt>
                <c:pt idx="11830">
                  <c:v>-2.1008403361344501E-2</c:v>
                </c:pt>
                <c:pt idx="11831">
                  <c:v>-2.1008403361344501E-2</c:v>
                </c:pt>
                <c:pt idx="11832">
                  <c:v>-2.1008403361344501E-2</c:v>
                </c:pt>
                <c:pt idx="11833">
                  <c:v>-2.1008403361344501E-2</c:v>
                </c:pt>
                <c:pt idx="11834">
                  <c:v>-2.1008403361344501E-2</c:v>
                </c:pt>
                <c:pt idx="11835">
                  <c:v>-2.1008403361344501E-2</c:v>
                </c:pt>
                <c:pt idx="11836">
                  <c:v>-2.1008403361344501E-2</c:v>
                </c:pt>
                <c:pt idx="11837">
                  <c:v>-2.1008403361344501E-2</c:v>
                </c:pt>
                <c:pt idx="11838">
                  <c:v>-2.1008403361344501E-2</c:v>
                </c:pt>
                <c:pt idx="11839">
                  <c:v>-2.1008403361344501E-2</c:v>
                </c:pt>
                <c:pt idx="11840">
                  <c:v>-2.1008403361344501E-2</c:v>
                </c:pt>
                <c:pt idx="11841">
                  <c:v>-2.1008403361344501E-2</c:v>
                </c:pt>
                <c:pt idx="11842">
                  <c:v>-2.1008403361344501E-2</c:v>
                </c:pt>
                <c:pt idx="11843">
                  <c:v>-2.1008403361344501E-2</c:v>
                </c:pt>
                <c:pt idx="11844">
                  <c:v>-2.1008403361344501E-2</c:v>
                </c:pt>
                <c:pt idx="11845">
                  <c:v>-2.1008403361344501E-2</c:v>
                </c:pt>
                <c:pt idx="11846">
                  <c:v>-2.1008403361344501E-2</c:v>
                </c:pt>
                <c:pt idx="11847">
                  <c:v>-2.1008403361344501E-2</c:v>
                </c:pt>
                <c:pt idx="11848">
                  <c:v>-2.1008403361344501E-2</c:v>
                </c:pt>
                <c:pt idx="11849">
                  <c:v>-2.1008403361344501E-2</c:v>
                </c:pt>
                <c:pt idx="11850">
                  <c:v>-2.1008403361344501E-2</c:v>
                </c:pt>
                <c:pt idx="11851">
                  <c:v>-2.1008403361344501E-2</c:v>
                </c:pt>
                <c:pt idx="11852">
                  <c:v>-2.1008403361344501E-2</c:v>
                </c:pt>
                <c:pt idx="11853">
                  <c:v>-2.1008403361344501E-2</c:v>
                </c:pt>
                <c:pt idx="11854">
                  <c:v>-2.1008403361344501E-2</c:v>
                </c:pt>
                <c:pt idx="11855">
                  <c:v>-2.1008403361344501E-2</c:v>
                </c:pt>
                <c:pt idx="11856">
                  <c:v>-2.1008403361344501E-2</c:v>
                </c:pt>
                <c:pt idx="11857">
                  <c:v>-2.1008403361344501E-2</c:v>
                </c:pt>
                <c:pt idx="11858">
                  <c:v>-2.1008403361344501E-2</c:v>
                </c:pt>
                <c:pt idx="11859">
                  <c:v>-2.1008403361344501E-2</c:v>
                </c:pt>
                <c:pt idx="11860">
                  <c:v>-2.18487394957982E-2</c:v>
                </c:pt>
                <c:pt idx="11861">
                  <c:v>-2.18487394957982E-2</c:v>
                </c:pt>
                <c:pt idx="11862">
                  <c:v>-2.18487394957982E-2</c:v>
                </c:pt>
                <c:pt idx="11863">
                  <c:v>-2.18487394957982E-2</c:v>
                </c:pt>
                <c:pt idx="11864">
                  <c:v>-2.18487394957982E-2</c:v>
                </c:pt>
                <c:pt idx="11865">
                  <c:v>-2.18487394957982E-2</c:v>
                </c:pt>
                <c:pt idx="11866">
                  <c:v>-2.18487394957982E-2</c:v>
                </c:pt>
                <c:pt idx="11867">
                  <c:v>-2.18487394957982E-2</c:v>
                </c:pt>
                <c:pt idx="11868">
                  <c:v>-2.18487394957982E-2</c:v>
                </c:pt>
                <c:pt idx="11869">
                  <c:v>-2.18487394957982E-2</c:v>
                </c:pt>
                <c:pt idx="11870">
                  <c:v>-2.18487394957982E-2</c:v>
                </c:pt>
                <c:pt idx="11871">
                  <c:v>-2.18487394957982E-2</c:v>
                </c:pt>
                <c:pt idx="11872">
                  <c:v>-2.18487394957982E-2</c:v>
                </c:pt>
                <c:pt idx="11873">
                  <c:v>-2.18487394957982E-2</c:v>
                </c:pt>
                <c:pt idx="11874">
                  <c:v>-2.18487394957982E-2</c:v>
                </c:pt>
                <c:pt idx="11875">
                  <c:v>-2.18487394957982E-2</c:v>
                </c:pt>
                <c:pt idx="11876">
                  <c:v>-2.18487394957982E-2</c:v>
                </c:pt>
                <c:pt idx="11877">
                  <c:v>-2.18487394957982E-2</c:v>
                </c:pt>
                <c:pt idx="11878">
                  <c:v>-2.18487394957982E-2</c:v>
                </c:pt>
                <c:pt idx="11879">
                  <c:v>-2.18487394957982E-2</c:v>
                </c:pt>
                <c:pt idx="11880">
                  <c:v>-2.18487394957982E-2</c:v>
                </c:pt>
                <c:pt idx="11881">
                  <c:v>-2.18487394957982E-2</c:v>
                </c:pt>
                <c:pt idx="11882">
                  <c:v>-2.18487394957982E-2</c:v>
                </c:pt>
                <c:pt idx="11883">
                  <c:v>-2.18487394957982E-2</c:v>
                </c:pt>
                <c:pt idx="11884">
                  <c:v>-2.18487394957982E-2</c:v>
                </c:pt>
                <c:pt idx="11885">
                  <c:v>-2.18487394957982E-2</c:v>
                </c:pt>
                <c:pt idx="11886">
                  <c:v>-2.18487394957982E-2</c:v>
                </c:pt>
                <c:pt idx="11887">
                  <c:v>-2.18487394957982E-2</c:v>
                </c:pt>
                <c:pt idx="11888">
                  <c:v>-2.18487394957982E-2</c:v>
                </c:pt>
                <c:pt idx="11889">
                  <c:v>-2.18487394957982E-2</c:v>
                </c:pt>
                <c:pt idx="11890">
                  <c:v>-2.18487394957982E-2</c:v>
                </c:pt>
                <c:pt idx="11891">
                  <c:v>-2.18487394957982E-2</c:v>
                </c:pt>
                <c:pt idx="11892">
                  <c:v>-2.18487394957982E-2</c:v>
                </c:pt>
                <c:pt idx="11893">
                  <c:v>-2.18487394957982E-2</c:v>
                </c:pt>
                <c:pt idx="11894">
                  <c:v>-2.18487394957982E-2</c:v>
                </c:pt>
                <c:pt idx="11895">
                  <c:v>-2.18487394957982E-2</c:v>
                </c:pt>
                <c:pt idx="11896">
                  <c:v>-2.18487394957982E-2</c:v>
                </c:pt>
                <c:pt idx="11897">
                  <c:v>-2.18487394957982E-2</c:v>
                </c:pt>
                <c:pt idx="11898">
                  <c:v>-2.18487394957982E-2</c:v>
                </c:pt>
                <c:pt idx="11899">
                  <c:v>-2.18487394957982E-2</c:v>
                </c:pt>
                <c:pt idx="11900">
                  <c:v>-2.18487394957982E-2</c:v>
                </c:pt>
                <c:pt idx="11901">
                  <c:v>-2.18487394957982E-2</c:v>
                </c:pt>
                <c:pt idx="11902">
                  <c:v>-2.18487394957982E-2</c:v>
                </c:pt>
                <c:pt idx="11903">
                  <c:v>-2.18487394957982E-2</c:v>
                </c:pt>
                <c:pt idx="11904">
                  <c:v>-2.18487394957982E-2</c:v>
                </c:pt>
                <c:pt idx="11905">
                  <c:v>-2.18487394957982E-2</c:v>
                </c:pt>
                <c:pt idx="11906">
                  <c:v>-2.18487394957982E-2</c:v>
                </c:pt>
                <c:pt idx="11907">
                  <c:v>-2.18487394957982E-2</c:v>
                </c:pt>
                <c:pt idx="11908">
                  <c:v>-2.18487394957982E-2</c:v>
                </c:pt>
                <c:pt idx="11909">
                  <c:v>-2.18487394957982E-2</c:v>
                </c:pt>
                <c:pt idx="11910">
                  <c:v>-2.18487394957982E-2</c:v>
                </c:pt>
                <c:pt idx="11911">
                  <c:v>-2.18487394957982E-2</c:v>
                </c:pt>
                <c:pt idx="11912">
                  <c:v>-2.18487394957982E-2</c:v>
                </c:pt>
                <c:pt idx="11913">
                  <c:v>-2.18487394957982E-2</c:v>
                </c:pt>
                <c:pt idx="11914">
                  <c:v>-2.18487394957982E-2</c:v>
                </c:pt>
                <c:pt idx="11915">
                  <c:v>-2.18487394957982E-2</c:v>
                </c:pt>
                <c:pt idx="11916">
                  <c:v>-2.18487394957982E-2</c:v>
                </c:pt>
                <c:pt idx="11917">
                  <c:v>-2.18487394957982E-2</c:v>
                </c:pt>
                <c:pt idx="11918">
                  <c:v>-2.18487394957982E-2</c:v>
                </c:pt>
                <c:pt idx="11919">
                  <c:v>-2.18487394957982E-2</c:v>
                </c:pt>
                <c:pt idx="11920">
                  <c:v>-2.2689075630251999E-2</c:v>
                </c:pt>
                <c:pt idx="11921">
                  <c:v>-2.2689075630251999E-2</c:v>
                </c:pt>
                <c:pt idx="11922">
                  <c:v>-2.2689075630251999E-2</c:v>
                </c:pt>
                <c:pt idx="11923">
                  <c:v>-2.2689075630251999E-2</c:v>
                </c:pt>
                <c:pt idx="11924">
                  <c:v>-2.2689075630251999E-2</c:v>
                </c:pt>
                <c:pt idx="11925">
                  <c:v>-2.2689075630251999E-2</c:v>
                </c:pt>
                <c:pt idx="11926">
                  <c:v>-2.2689075630251999E-2</c:v>
                </c:pt>
                <c:pt idx="11927">
                  <c:v>-2.2689075630251999E-2</c:v>
                </c:pt>
                <c:pt idx="11928">
                  <c:v>-2.3529411764705799E-2</c:v>
                </c:pt>
                <c:pt idx="11929">
                  <c:v>-2.3529411764705799E-2</c:v>
                </c:pt>
                <c:pt idx="11930">
                  <c:v>-2.3529411764705799E-2</c:v>
                </c:pt>
                <c:pt idx="11931">
                  <c:v>-2.3529411764705799E-2</c:v>
                </c:pt>
                <c:pt idx="11932">
                  <c:v>-2.3529411764705799E-2</c:v>
                </c:pt>
                <c:pt idx="11933">
                  <c:v>-2.3529411764705799E-2</c:v>
                </c:pt>
                <c:pt idx="11934">
                  <c:v>-2.3529411764705799E-2</c:v>
                </c:pt>
                <c:pt idx="11935">
                  <c:v>-2.3529411764705799E-2</c:v>
                </c:pt>
                <c:pt idx="11936">
                  <c:v>-2.3529411764705799E-2</c:v>
                </c:pt>
                <c:pt idx="11937">
                  <c:v>-2.3529411764705799E-2</c:v>
                </c:pt>
                <c:pt idx="11938">
                  <c:v>-2.3529411764705799E-2</c:v>
                </c:pt>
                <c:pt idx="11939">
                  <c:v>-2.3529411764705799E-2</c:v>
                </c:pt>
                <c:pt idx="11940">
                  <c:v>-2.3529411764705799E-2</c:v>
                </c:pt>
                <c:pt idx="11941">
                  <c:v>-2.3529411764705799E-2</c:v>
                </c:pt>
                <c:pt idx="11942">
                  <c:v>-2.3529411764705799E-2</c:v>
                </c:pt>
                <c:pt idx="11943">
                  <c:v>-2.3529411764705799E-2</c:v>
                </c:pt>
                <c:pt idx="11944">
                  <c:v>-2.3529411764705799E-2</c:v>
                </c:pt>
                <c:pt idx="11945">
                  <c:v>-2.3529411764705799E-2</c:v>
                </c:pt>
                <c:pt idx="11946">
                  <c:v>-2.3529411764705799E-2</c:v>
                </c:pt>
                <c:pt idx="11947">
                  <c:v>-2.3529411764705799E-2</c:v>
                </c:pt>
                <c:pt idx="11948">
                  <c:v>-2.3529411764705799E-2</c:v>
                </c:pt>
                <c:pt idx="11949">
                  <c:v>-2.3529411764705799E-2</c:v>
                </c:pt>
                <c:pt idx="11950">
                  <c:v>-2.3529411764705799E-2</c:v>
                </c:pt>
                <c:pt idx="11951">
                  <c:v>-2.3529411764705799E-2</c:v>
                </c:pt>
                <c:pt idx="11952">
                  <c:v>-2.3529411764705799E-2</c:v>
                </c:pt>
                <c:pt idx="11953">
                  <c:v>-2.3529411764705799E-2</c:v>
                </c:pt>
                <c:pt idx="11954">
                  <c:v>-2.3529411764705799E-2</c:v>
                </c:pt>
                <c:pt idx="11955">
                  <c:v>-2.3529411764705799E-2</c:v>
                </c:pt>
                <c:pt idx="11956">
                  <c:v>-2.3529411764705799E-2</c:v>
                </c:pt>
                <c:pt idx="11957">
                  <c:v>-2.4369747899159602E-2</c:v>
                </c:pt>
                <c:pt idx="11958">
                  <c:v>-2.4369747899159602E-2</c:v>
                </c:pt>
                <c:pt idx="11959">
                  <c:v>-2.4369747899159602E-2</c:v>
                </c:pt>
                <c:pt idx="11960">
                  <c:v>-2.4369747899159602E-2</c:v>
                </c:pt>
                <c:pt idx="11961">
                  <c:v>-2.4369747899159602E-2</c:v>
                </c:pt>
                <c:pt idx="11962">
                  <c:v>-2.4369747899159602E-2</c:v>
                </c:pt>
                <c:pt idx="11963">
                  <c:v>-2.4369747899159602E-2</c:v>
                </c:pt>
                <c:pt idx="11964">
                  <c:v>-2.4369747899159602E-2</c:v>
                </c:pt>
                <c:pt idx="11965">
                  <c:v>-2.4369747899159602E-2</c:v>
                </c:pt>
                <c:pt idx="11966">
                  <c:v>-2.4369747899159602E-2</c:v>
                </c:pt>
                <c:pt idx="11967">
                  <c:v>-2.4369747899159602E-2</c:v>
                </c:pt>
                <c:pt idx="11968">
                  <c:v>-2.4369747899159602E-2</c:v>
                </c:pt>
                <c:pt idx="11969">
                  <c:v>-2.4369747899159602E-2</c:v>
                </c:pt>
                <c:pt idx="11970">
                  <c:v>-2.5210084033613401E-2</c:v>
                </c:pt>
                <c:pt idx="11971">
                  <c:v>-2.5210084033613401E-2</c:v>
                </c:pt>
                <c:pt idx="11972">
                  <c:v>-2.5210084033613401E-2</c:v>
                </c:pt>
                <c:pt idx="11973">
                  <c:v>-2.5210084033613401E-2</c:v>
                </c:pt>
                <c:pt idx="11974">
                  <c:v>-2.5210084033613401E-2</c:v>
                </c:pt>
                <c:pt idx="11975">
                  <c:v>-2.5210084033613401E-2</c:v>
                </c:pt>
                <c:pt idx="11976">
                  <c:v>-2.5210084033613401E-2</c:v>
                </c:pt>
                <c:pt idx="11977">
                  <c:v>-2.5210084033613401E-2</c:v>
                </c:pt>
                <c:pt idx="11978">
                  <c:v>-2.5210084033613401E-2</c:v>
                </c:pt>
                <c:pt idx="11979">
                  <c:v>-2.5210084033613401E-2</c:v>
                </c:pt>
                <c:pt idx="11980">
                  <c:v>-2.5210084033613401E-2</c:v>
                </c:pt>
                <c:pt idx="11981">
                  <c:v>-2.5210084033613401E-2</c:v>
                </c:pt>
                <c:pt idx="11982">
                  <c:v>-2.5210084033613401E-2</c:v>
                </c:pt>
                <c:pt idx="11983">
                  <c:v>-2.5210084033613401E-2</c:v>
                </c:pt>
                <c:pt idx="11984">
                  <c:v>-2.5210084033613401E-2</c:v>
                </c:pt>
                <c:pt idx="11985">
                  <c:v>-2.5210084033613401E-2</c:v>
                </c:pt>
                <c:pt idx="11986">
                  <c:v>-2.5210084033613401E-2</c:v>
                </c:pt>
                <c:pt idx="11987">
                  <c:v>-2.5210084033613401E-2</c:v>
                </c:pt>
                <c:pt idx="11988">
                  <c:v>-2.5210084033613401E-2</c:v>
                </c:pt>
                <c:pt idx="11989">
                  <c:v>-2.5210084033613401E-2</c:v>
                </c:pt>
                <c:pt idx="11990">
                  <c:v>-2.5210084033613401E-2</c:v>
                </c:pt>
                <c:pt idx="11991">
                  <c:v>-2.5210084033613401E-2</c:v>
                </c:pt>
                <c:pt idx="11992">
                  <c:v>-2.5210084033613401E-2</c:v>
                </c:pt>
                <c:pt idx="11993">
                  <c:v>-2.60504201680672E-2</c:v>
                </c:pt>
                <c:pt idx="11994">
                  <c:v>-2.60504201680672E-2</c:v>
                </c:pt>
                <c:pt idx="11995">
                  <c:v>-2.60504201680672E-2</c:v>
                </c:pt>
                <c:pt idx="11996">
                  <c:v>-2.60504201680672E-2</c:v>
                </c:pt>
                <c:pt idx="11997">
                  <c:v>-2.60504201680672E-2</c:v>
                </c:pt>
                <c:pt idx="11998">
                  <c:v>-2.60504201680672E-2</c:v>
                </c:pt>
                <c:pt idx="11999">
                  <c:v>-2.60504201680672E-2</c:v>
                </c:pt>
                <c:pt idx="12000">
                  <c:v>-2.60504201680672E-2</c:v>
                </c:pt>
                <c:pt idx="12001">
                  <c:v>-2.60504201680672E-2</c:v>
                </c:pt>
                <c:pt idx="12002">
                  <c:v>-2.60504201680672E-2</c:v>
                </c:pt>
                <c:pt idx="12003">
                  <c:v>-2.60504201680672E-2</c:v>
                </c:pt>
                <c:pt idx="12004">
                  <c:v>-2.60504201680672E-2</c:v>
                </c:pt>
                <c:pt idx="12005">
                  <c:v>-2.60504201680672E-2</c:v>
                </c:pt>
                <c:pt idx="12006">
                  <c:v>-2.60504201680672E-2</c:v>
                </c:pt>
                <c:pt idx="12007">
                  <c:v>-2.60504201680672E-2</c:v>
                </c:pt>
                <c:pt idx="12008">
                  <c:v>-2.60504201680672E-2</c:v>
                </c:pt>
                <c:pt idx="12009">
                  <c:v>-2.60504201680672E-2</c:v>
                </c:pt>
                <c:pt idx="12010">
                  <c:v>-2.60504201680672E-2</c:v>
                </c:pt>
                <c:pt idx="12011">
                  <c:v>-2.60504201680672E-2</c:v>
                </c:pt>
                <c:pt idx="12012">
                  <c:v>-2.5210084033613401E-2</c:v>
                </c:pt>
                <c:pt idx="12013">
                  <c:v>-2.5210084033613401E-2</c:v>
                </c:pt>
                <c:pt idx="12014">
                  <c:v>-2.5210084033613401E-2</c:v>
                </c:pt>
                <c:pt idx="12015">
                  <c:v>-2.5210084033613401E-2</c:v>
                </c:pt>
                <c:pt idx="12016">
                  <c:v>-2.5210084033613401E-2</c:v>
                </c:pt>
                <c:pt idx="12017">
                  <c:v>-2.5210084033613401E-2</c:v>
                </c:pt>
                <c:pt idx="12018">
                  <c:v>-2.5210084033613401E-2</c:v>
                </c:pt>
                <c:pt idx="12019">
                  <c:v>-2.5210084033613401E-2</c:v>
                </c:pt>
                <c:pt idx="12020">
                  <c:v>-2.5210084033613401E-2</c:v>
                </c:pt>
                <c:pt idx="12021">
                  <c:v>-2.5210084033613401E-2</c:v>
                </c:pt>
                <c:pt idx="12022">
                  <c:v>-2.5210084033613401E-2</c:v>
                </c:pt>
                <c:pt idx="12023">
                  <c:v>-2.5210084033613401E-2</c:v>
                </c:pt>
                <c:pt idx="12024">
                  <c:v>-2.5210084033613401E-2</c:v>
                </c:pt>
                <c:pt idx="12025">
                  <c:v>-2.5210084033613401E-2</c:v>
                </c:pt>
                <c:pt idx="12026">
                  <c:v>-2.5210084033613401E-2</c:v>
                </c:pt>
                <c:pt idx="12027">
                  <c:v>-2.5210084033613401E-2</c:v>
                </c:pt>
                <c:pt idx="12028">
                  <c:v>-2.5210084033613401E-2</c:v>
                </c:pt>
                <c:pt idx="12029">
                  <c:v>-2.5210084033613401E-2</c:v>
                </c:pt>
                <c:pt idx="12030">
                  <c:v>-2.5210084033613401E-2</c:v>
                </c:pt>
                <c:pt idx="12031">
                  <c:v>-2.5210084033613401E-2</c:v>
                </c:pt>
                <c:pt idx="12032">
                  <c:v>-2.5210084033613401E-2</c:v>
                </c:pt>
                <c:pt idx="12033">
                  <c:v>-2.5210084033613401E-2</c:v>
                </c:pt>
                <c:pt idx="12034">
                  <c:v>-2.5210084033613401E-2</c:v>
                </c:pt>
                <c:pt idx="12035">
                  <c:v>-2.5210084033613401E-2</c:v>
                </c:pt>
                <c:pt idx="12036">
                  <c:v>-2.5210084033613401E-2</c:v>
                </c:pt>
                <c:pt idx="12037">
                  <c:v>-2.5210084033613401E-2</c:v>
                </c:pt>
                <c:pt idx="12038">
                  <c:v>-2.5210084033613401E-2</c:v>
                </c:pt>
                <c:pt idx="12039">
                  <c:v>-2.5210084033613401E-2</c:v>
                </c:pt>
                <c:pt idx="12040">
                  <c:v>-2.5210084033613401E-2</c:v>
                </c:pt>
                <c:pt idx="12041">
                  <c:v>-2.5210084033613401E-2</c:v>
                </c:pt>
                <c:pt idx="12042">
                  <c:v>-2.5210084033613401E-2</c:v>
                </c:pt>
                <c:pt idx="12043">
                  <c:v>-2.5210084033613401E-2</c:v>
                </c:pt>
                <c:pt idx="12044">
                  <c:v>-2.5210084033613401E-2</c:v>
                </c:pt>
                <c:pt idx="12045">
                  <c:v>-2.5210084033613401E-2</c:v>
                </c:pt>
                <c:pt idx="12046">
                  <c:v>-2.5210084033613401E-2</c:v>
                </c:pt>
                <c:pt idx="12047">
                  <c:v>-2.5210084033613401E-2</c:v>
                </c:pt>
                <c:pt idx="12048">
                  <c:v>-2.5210084033613401E-2</c:v>
                </c:pt>
                <c:pt idx="12049">
                  <c:v>-2.5210084033613401E-2</c:v>
                </c:pt>
                <c:pt idx="12050">
                  <c:v>-2.5210084033613401E-2</c:v>
                </c:pt>
                <c:pt idx="12051">
                  <c:v>-2.4369747899159602E-2</c:v>
                </c:pt>
                <c:pt idx="12052">
                  <c:v>-2.4369747899159602E-2</c:v>
                </c:pt>
                <c:pt idx="12053">
                  <c:v>-2.4369747899159602E-2</c:v>
                </c:pt>
                <c:pt idx="12054">
                  <c:v>-2.4369747899159602E-2</c:v>
                </c:pt>
                <c:pt idx="12055">
                  <c:v>-2.4369747899159602E-2</c:v>
                </c:pt>
                <c:pt idx="12056">
                  <c:v>-2.4369747899159602E-2</c:v>
                </c:pt>
                <c:pt idx="12057">
                  <c:v>-2.4369747899159602E-2</c:v>
                </c:pt>
                <c:pt idx="12058">
                  <c:v>-2.4369747899159602E-2</c:v>
                </c:pt>
                <c:pt idx="12059">
                  <c:v>-2.4369747899159602E-2</c:v>
                </c:pt>
                <c:pt idx="12060">
                  <c:v>-2.4369747899159602E-2</c:v>
                </c:pt>
                <c:pt idx="12061">
                  <c:v>-2.4369747899159602E-2</c:v>
                </c:pt>
                <c:pt idx="12062">
                  <c:v>-2.4369747899159602E-2</c:v>
                </c:pt>
                <c:pt idx="12063">
                  <c:v>-2.4369747899159602E-2</c:v>
                </c:pt>
                <c:pt idx="12064">
                  <c:v>-2.4369747899159602E-2</c:v>
                </c:pt>
                <c:pt idx="12065">
                  <c:v>-2.4369747899159602E-2</c:v>
                </c:pt>
                <c:pt idx="12066">
                  <c:v>-2.4369747899159602E-2</c:v>
                </c:pt>
                <c:pt idx="12067">
                  <c:v>-2.4369747899159602E-2</c:v>
                </c:pt>
                <c:pt idx="12068">
                  <c:v>-2.4369747899159602E-2</c:v>
                </c:pt>
                <c:pt idx="12069">
                  <c:v>-2.4369747899159602E-2</c:v>
                </c:pt>
                <c:pt idx="12070">
                  <c:v>-2.4369747899159602E-2</c:v>
                </c:pt>
                <c:pt idx="12071">
                  <c:v>-2.3529411764705899E-2</c:v>
                </c:pt>
                <c:pt idx="12072">
                  <c:v>-2.3529411764705899E-2</c:v>
                </c:pt>
                <c:pt idx="12073">
                  <c:v>-2.3529411764705899E-2</c:v>
                </c:pt>
                <c:pt idx="12074">
                  <c:v>-2.3529411764705899E-2</c:v>
                </c:pt>
                <c:pt idx="12075">
                  <c:v>-2.4369747899159602E-2</c:v>
                </c:pt>
                <c:pt idx="12076">
                  <c:v>-2.4369747899159602E-2</c:v>
                </c:pt>
                <c:pt idx="12077">
                  <c:v>-2.4369747899159602E-2</c:v>
                </c:pt>
                <c:pt idx="12078">
                  <c:v>-2.4369747899159602E-2</c:v>
                </c:pt>
                <c:pt idx="12079">
                  <c:v>-2.4369747899159602E-2</c:v>
                </c:pt>
                <c:pt idx="12080">
                  <c:v>-2.4369747899159602E-2</c:v>
                </c:pt>
                <c:pt idx="12081">
                  <c:v>-2.4369747899159602E-2</c:v>
                </c:pt>
                <c:pt idx="12082">
                  <c:v>-2.4369747899159602E-2</c:v>
                </c:pt>
                <c:pt idx="12083">
                  <c:v>-2.4369747899159602E-2</c:v>
                </c:pt>
                <c:pt idx="12084">
                  <c:v>-2.4369747899159602E-2</c:v>
                </c:pt>
                <c:pt idx="12085">
                  <c:v>-2.4369747899159602E-2</c:v>
                </c:pt>
                <c:pt idx="12086">
                  <c:v>-2.4369747899159602E-2</c:v>
                </c:pt>
                <c:pt idx="12087">
                  <c:v>-2.4369747899159602E-2</c:v>
                </c:pt>
                <c:pt idx="12088">
                  <c:v>-2.4369747899159602E-2</c:v>
                </c:pt>
                <c:pt idx="12089">
                  <c:v>-2.4369747899159602E-2</c:v>
                </c:pt>
                <c:pt idx="12090">
                  <c:v>-2.4369747899159602E-2</c:v>
                </c:pt>
                <c:pt idx="12091">
                  <c:v>-2.4369747899159602E-2</c:v>
                </c:pt>
                <c:pt idx="12092">
                  <c:v>-2.4369747899159602E-2</c:v>
                </c:pt>
                <c:pt idx="12093">
                  <c:v>-2.4369747899159602E-2</c:v>
                </c:pt>
                <c:pt idx="12094">
                  <c:v>-2.4369747899159602E-2</c:v>
                </c:pt>
                <c:pt idx="12095">
                  <c:v>-2.4369747899159602E-2</c:v>
                </c:pt>
                <c:pt idx="12096">
                  <c:v>-2.4369747899159602E-2</c:v>
                </c:pt>
                <c:pt idx="12097">
                  <c:v>-2.4369747899159602E-2</c:v>
                </c:pt>
                <c:pt idx="12098">
                  <c:v>-2.4369747899159602E-2</c:v>
                </c:pt>
                <c:pt idx="12099">
                  <c:v>-2.4369747899159602E-2</c:v>
                </c:pt>
                <c:pt idx="12100">
                  <c:v>-2.4369747899159602E-2</c:v>
                </c:pt>
                <c:pt idx="12101">
                  <c:v>-2.4369747899159602E-2</c:v>
                </c:pt>
                <c:pt idx="12102">
                  <c:v>-2.3529411764705899E-2</c:v>
                </c:pt>
                <c:pt idx="12103">
                  <c:v>-2.3529411764705899E-2</c:v>
                </c:pt>
                <c:pt idx="12104">
                  <c:v>-2.3529411764705899E-2</c:v>
                </c:pt>
                <c:pt idx="12105">
                  <c:v>-2.3529411764705899E-2</c:v>
                </c:pt>
                <c:pt idx="12106">
                  <c:v>-2.3529411764705899E-2</c:v>
                </c:pt>
                <c:pt idx="12107">
                  <c:v>-2.3529411764705899E-2</c:v>
                </c:pt>
                <c:pt idx="12108">
                  <c:v>-2.3529411764705899E-2</c:v>
                </c:pt>
                <c:pt idx="12109">
                  <c:v>-2.3529411764705899E-2</c:v>
                </c:pt>
                <c:pt idx="12110">
                  <c:v>-2.3529411764705899E-2</c:v>
                </c:pt>
                <c:pt idx="12111">
                  <c:v>-2.3529411764705899E-2</c:v>
                </c:pt>
                <c:pt idx="12112">
                  <c:v>-2.3529411764705899E-2</c:v>
                </c:pt>
                <c:pt idx="12113">
                  <c:v>-2.3529411764705899E-2</c:v>
                </c:pt>
                <c:pt idx="12114">
                  <c:v>-2.3529411764705899E-2</c:v>
                </c:pt>
                <c:pt idx="12115">
                  <c:v>-2.3529411764705899E-2</c:v>
                </c:pt>
                <c:pt idx="12116">
                  <c:v>-2.3529411764705899E-2</c:v>
                </c:pt>
                <c:pt idx="12117">
                  <c:v>-2.3529411764705899E-2</c:v>
                </c:pt>
                <c:pt idx="12118">
                  <c:v>-2.3529411764705899E-2</c:v>
                </c:pt>
                <c:pt idx="12119">
                  <c:v>-2.3529411764705899E-2</c:v>
                </c:pt>
                <c:pt idx="12120">
                  <c:v>-2.3529411764705899E-2</c:v>
                </c:pt>
                <c:pt idx="12121">
                  <c:v>-2.3529411764705899E-2</c:v>
                </c:pt>
                <c:pt idx="12122">
                  <c:v>-2.3529411764705899E-2</c:v>
                </c:pt>
                <c:pt idx="12123">
                  <c:v>-2.3529411764705899E-2</c:v>
                </c:pt>
                <c:pt idx="12124">
                  <c:v>-2.3529411764705899E-2</c:v>
                </c:pt>
                <c:pt idx="12125">
                  <c:v>-2.3529411764705899E-2</c:v>
                </c:pt>
                <c:pt idx="12126">
                  <c:v>-2.3529411764705899E-2</c:v>
                </c:pt>
                <c:pt idx="12127">
                  <c:v>-2.3529411764705899E-2</c:v>
                </c:pt>
                <c:pt idx="12128">
                  <c:v>-2.3529411764705899E-2</c:v>
                </c:pt>
                <c:pt idx="12129">
                  <c:v>-2.3529411764705899E-2</c:v>
                </c:pt>
                <c:pt idx="12130">
                  <c:v>-2.26890756302521E-2</c:v>
                </c:pt>
                <c:pt idx="12131">
                  <c:v>-2.26890756302521E-2</c:v>
                </c:pt>
                <c:pt idx="12132">
                  <c:v>-2.26890756302521E-2</c:v>
                </c:pt>
                <c:pt idx="12133">
                  <c:v>-2.3529411764705899E-2</c:v>
                </c:pt>
                <c:pt idx="12134">
                  <c:v>-2.3529411764705899E-2</c:v>
                </c:pt>
                <c:pt idx="12135">
                  <c:v>-2.3529411764705899E-2</c:v>
                </c:pt>
                <c:pt idx="12136">
                  <c:v>-2.3529411764705899E-2</c:v>
                </c:pt>
                <c:pt idx="12137">
                  <c:v>-2.3529411764705899E-2</c:v>
                </c:pt>
                <c:pt idx="12138">
                  <c:v>-2.3529411764705899E-2</c:v>
                </c:pt>
                <c:pt idx="12139">
                  <c:v>-2.3529411764705899E-2</c:v>
                </c:pt>
                <c:pt idx="12140">
                  <c:v>-2.3529411764705899E-2</c:v>
                </c:pt>
                <c:pt idx="12141">
                  <c:v>-2.3529411764705899E-2</c:v>
                </c:pt>
                <c:pt idx="12142">
                  <c:v>-2.3529411764705899E-2</c:v>
                </c:pt>
                <c:pt idx="12143">
                  <c:v>-2.3529411764705899E-2</c:v>
                </c:pt>
                <c:pt idx="12144">
                  <c:v>-2.3529411764705899E-2</c:v>
                </c:pt>
                <c:pt idx="12145">
                  <c:v>-2.3529411764705899E-2</c:v>
                </c:pt>
                <c:pt idx="12146">
                  <c:v>-2.3529411764705899E-2</c:v>
                </c:pt>
                <c:pt idx="12147">
                  <c:v>-2.3529411764705899E-2</c:v>
                </c:pt>
                <c:pt idx="12148">
                  <c:v>-2.3529411764705899E-2</c:v>
                </c:pt>
                <c:pt idx="12149">
                  <c:v>-2.3529411764705899E-2</c:v>
                </c:pt>
                <c:pt idx="12150">
                  <c:v>-2.3529411764705899E-2</c:v>
                </c:pt>
                <c:pt idx="12151">
                  <c:v>-2.3529411764705899E-2</c:v>
                </c:pt>
                <c:pt idx="12152">
                  <c:v>-2.4369747899159602E-2</c:v>
                </c:pt>
                <c:pt idx="12153">
                  <c:v>-2.4369747899159602E-2</c:v>
                </c:pt>
                <c:pt idx="12154">
                  <c:v>-2.4369747899159602E-2</c:v>
                </c:pt>
                <c:pt idx="12155">
                  <c:v>-2.5210084033613401E-2</c:v>
                </c:pt>
                <c:pt idx="12156">
                  <c:v>-2.5210084033613401E-2</c:v>
                </c:pt>
                <c:pt idx="12157">
                  <c:v>-2.5210084033613401E-2</c:v>
                </c:pt>
                <c:pt idx="12158">
                  <c:v>-2.5210084033613401E-2</c:v>
                </c:pt>
                <c:pt idx="12159">
                  <c:v>-2.5210084033613401E-2</c:v>
                </c:pt>
                <c:pt idx="12160">
                  <c:v>-2.5210084033613401E-2</c:v>
                </c:pt>
                <c:pt idx="12161">
                  <c:v>-2.5210084033613401E-2</c:v>
                </c:pt>
                <c:pt idx="12162">
                  <c:v>-2.5210084033613401E-2</c:v>
                </c:pt>
                <c:pt idx="12163">
                  <c:v>-2.5210084033613401E-2</c:v>
                </c:pt>
                <c:pt idx="12164">
                  <c:v>-2.5210084033613401E-2</c:v>
                </c:pt>
                <c:pt idx="12165">
                  <c:v>-2.5210084033613401E-2</c:v>
                </c:pt>
                <c:pt idx="12166">
                  <c:v>-2.5210084033613401E-2</c:v>
                </c:pt>
                <c:pt idx="12167">
                  <c:v>-2.5210084033613401E-2</c:v>
                </c:pt>
                <c:pt idx="12168">
                  <c:v>-2.5210084033613401E-2</c:v>
                </c:pt>
                <c:pt idx="12169">
                  <c:v>-2.5210084033613401E-2</c:v>
                </c:pt>
                <c:pt idx="12170">
                  <c:v>-2.5210084033613401E-2</c:v>
                </c:pt>
                <c:pt idx="12171">
                  <c:v>-2.4369747899159602E-2</c:v>
                </c:pt>
                <c:pt idx="12172">
                  <c:v>-2.4369747899159602E-2</c:v>
                </c:pt>
                <c:pt idx="12173">
                  <c:v>-2.4369747899159602E-2</c:v>
                </c:pt>
                <c:pt idx="12174">
                  <c:v>-2.4369747899159602E-2</c:v>
                </c:pt>
                <c:pt idx="12175">
                  <c:v>-2.3529411764705899E-2</c:v>
                </c:pt>
                <c:pt idx="12176">
                  <c:v>-2.3529411764705899E-2</c:v>
                </c:pt>
                <c:pt idx="12177">
                  <c:v>-2.3529411764705899E-2</c:v>
                </c:pt>
                <c:pt idx="12178">
                  <c:v>-2.3529411764705899E-2</c:v>
                </c:pt>
                <c:pt idx="12179">
                  <c:v>-2.3529411764705899E-2</c:v>
                </c:pt>
                <c:pt idx="12180">
                  <c:v>-2.3529411764705899E-2</c:v>
                </c:pt>
                <c:pt idx="12181">
                  <c:v>-2.3529411764705899E-2</c:v>
                </c:pt>
                <c:pt idx="12182">
                  <c:v>-2.3529411764705899E-2</c:v>
                </c:pt>
                <c:pt idx="12183">
                  <c:v>-2.3529411764705899E-2</c:v>
                </c:pt>
                <c:pt idx="12184">
                  <c:v>-2.3529411764705899E-2</c:v>
                </c:pt>
                <c:pt idx="12185">
                  <c:v>-2.26890756302521E-2</c:v>
                </c:pt>
                <c:pt idx="12186">
                  <c:v>-2.26890756302521E-2</c:v>
                </c:pt>
                <c:pt idx="12187">
                  <c:v>-2.26890756302521E-2</c:v>
                </c:pt>
                <c:pt idx="12188">
                  <c:v>-2.26890756302521E-2</c:v>
                </c:pt>
                <c:pt idx="12189">
                  <c:v>-2.1848739495798301E-2</c:v>
                </c:pt>
                <c:pt idx="12190">
                  <c:v>-2.1848739495798301E-2</c:v>
                </c:pt>
                <c:pt idx="12191">
                  <c:v>-2.1848739495798301E-2</c:v>
                </c:pt>
                <c:pt idx="12192">
                  <c:v>-2.1848739495798301E-2</c:v>
                </c:pt>
                <c:pt idx="12193">
                  <c:v>-2.1848739495798301E-2</c:v>
                </c:pt>
                <c:pt idx="12194">
                  <c:v>-2.1848739495798301E-2</c:v>
                </c:pt>
                <c:pt idx="12195">
                  <c:v>-2.1848739495798301E-2</c:v>
                </c:pt>
                <c:pt idx="12196">
                  <c:v>-2.1848739495798301E-2</c:v>
                </c:pt>
                <c:pt idx="12197">
                  <c:v>-2.1848739495798301E-2</c:v>
                </c:pt>
                <c:pt idx="12198">
                  <c:v>-2.1848739495798301E-2</c:v>
                </c:pt>
                <c:pt idx="12199">
                  <c:v>-2.1008403361344501E-2</c:v>
                </c:pt>
                <c:pt idx="12200">
                  <c:v>-2.1008403361344501E-2</c:v>
                </c:pt>
                <c:pt idx="12201">
                  <c:v>-2.1008403361344501E-2</c:v>
                </c:pt>
                <c:pt idx="12202">
                  <c:v>-2.1008403361344501E-2</c:v>
                </c:pt>
                <c:pt idx="12203">
                  <c:v>-2.1008403361344501E-2</c:v>
                </c:pt>
                <c:pt idx="12204">
                  <c:v>-2.1008403361344501E-2</c:v>
                </c:pt>
                <c:pt idx="12205">
                  <c:v>-2.1008403361344501E-2</c:v>
                </c:pt>
                <c:pt idx="12206">
                  <c:v>-2.1008403361344501E-2</c:v>
                </c:pt>
                <c:pt idx="12207">
                  <c:v>-2.1008403361344501E-2</c:v>
                </c:pt>
                <c:pt idx="12208">
                  <c:v>-2.1008403361344501E-2</c:v>
                </c:pt>
                <c:pt idx="12209">
                  <c:v>-2.1008403361344501E-2</c:v>
                </c:pt>
                <c:pt idx="12210">
                  <c:v>-2.1008403361344501E-2</c:v>
                </c:pt>
                <c:pt idx="12211">
                  <c:v>-2.1008403361344501E-2</c:v>
                </c:pt>
                <c:pt idx="12212">
                  <c:v>-2.1008403361344501E-2</c:v>
                </c:pt>
                <c:pt idx="12213">
                  <c:v>-2.1008403361344501E-2</c:v>
                </c:pt>
                <c:pt idx="12214">
                  <c:v>-2.1008403361344501E-2</c:v>
                </c:pt>
                <c:pt idx="12215">
                  <c:v>-2.1008403361344501E-2</c:v>
                </c:pt>
                <c:pt idx="12216">
                  <c:v>-2.1008403361344501E-2</c:v>
                </c:pt>
                <c:pt idx="12217">
                  <c:v>-2.0168067226890699E-2</c:v>
                </c:pt>
                <c:pt idx="12218">
                  <c:v>-2.0168067226890699E-2</c:v>
                </c:pt>
                <c:pt idx="12219">
                  <c:v>-2.0168067226890699E-2</c:v>
                </c:pt>
                <c:pt idx="12220">
                  <c:v>-2.0168067226890699E-2</c:v>
                </c:pt>
                <c:pt idx="12221">
                  <c:v>-2.0168067226890699E-2</c:v>
                </c:pt>
                <c:pt idx="12222">
                  <c:v>-2.0168067226890699E-2</c:v>
                </c:pt>
                <c:pt idx="12223">
                  <c:v>-2.0168067226890699E-2</c:v>
                </c:pt>
                <c:pt idx="12224">
                  <c:v>-2.0168067226890699E-2</c:v>
                </c:pt>
                <c:pt idx="12225">
                  <c:v>-2.1008403361344501E-2</c:v>
                </c:pt>
                <c:pt idx="12226">
                  <c:v>-2.1008403361344501E-2</c:v>
                </c:pt>
                <c:pt idx="12227">
                  <c:v>-2.1008403361344501E-2</c:v>
                </c:pt>
                <c:pt idx="12228">
                  <c:v>-2.1008403361344501E-2</c:v>
                </c:pt>
                <c:pt idx="12229">
                  <c:v>-2.1008403361344501E-2</c:v>
                </c:pt>
                <c:pt idx="12230">
                  <c:v>-2.1008403361344501E-2</c:v>
                </c:pt>
                <c:pt idx="12231">
                  <c:v>-2.1008403361344501E-2</c:v>
                </c:pt>
                <c:pt idx="12232">
                  <c:v>-2.1008403361344501E-2</c:v>
                </c:pt>
                <c:pt idx="12233">
                  <c:v>-2.1008403361344501E-2</c:v>
                </c:pt>
                <c:pt idx="12234">
                  <c:v>-2.1008403361344501E-2</c:v>
                </c:pt>
                <c:pt idx="12235">
                  <c:v>-2.1008403361344501E-2</c:v>
                </c:pt>
                <c:pt idx="12236">
                  <c:v>-2.1008403361344501E-2</c:v>
                </c:pt>
                <c:pt idx="12237">
                  <c:v>-2.1008403361344501E-2</c:v>
                </c:pt>
                <c:pt idx="12238">
                  <c:v>-2.1008403361344501E-2</c:v>
                </c:pt>
                <c:pt idx="12239">
                  <c:v>-2.1008403361344501E-2</c:v>
                </c:pt>
                <c:pt idx="12240">
                  <c:v>-2.1008403361344501E-2</c:v>
                </c:pt>
                <c:pt idx="12241">
                  <c:v>-2.1008403361344501E-2</c:v>
                </c:pt>
                <c:pt idx="12242">
                  <c:v>-2.1008403361344501E-2</c:v>
                </c:pt>
                <c:pt idx="12243">
                  <c:v>-2.1008403361344501E-2</c:v>
                </c:pt>
                <c:pt idx="12244">
                  <c:v>-2.1008403361344501E-2</c:v>
                </c:pt>
                <c:pt idx="12245">
                  <c:v>-2.1008403361344501E-2</c:v>
                </c:pt>
                <c:pt idx="12246">
                  <c:v>-2.1008403361344501E-2</c:v>
                </c:pt>
                <c:pt idx="12247">
                  <c:v>-2.1008403361344501E-2</c:v>
                </c:pt>
                <c:pt idx="12248">
                  <c:v>-2.1008403361344501E-2</c:v>
                </c:pt>
                <c:pt idx="12249">
                  <c:v>-2.1008403361344501E-2</c:v>
                </c:pt>
                <c:pt idx="12250">
                  <c:v>-2.1008403361344501E-2</c:v>
                </c:pt>
                <c:pt idx="12251">
                  <c:v>-2.1008403361344501E-2</c:v>
                </c:pt>
                <c:pt idx="12252">
                  <c:v>-2.1008403361344501E-2</c:v>
                </c:pt>
                <c:pt idx="12253">
                  <c:v>-2.1008403361344501E-2</c:v>
                </c:pt>
                <c:pt idx="12254">
                  <c:v>-2.1008403361344501E-2</c:v>
                </c:pt>
                <c:pt idx="12255">
                  <c:v>-2.1008403361344501E-2</c:v>
                </c:pt>
                <c:pt idx="12256">
                  <c:v>-2.1008403361344501E-2</c:v>
                </c:pt>
                <c:pt idx="12257">
                  <c:v>-2.1008403361344501E-2</c:v>
                </c:pt>
                <c:pt idx="12258">
                  <c:v>-2.1008403361344501E-2</c:v>
                </c:pt>
                <c:pt idx="12259">
                  <c:v>-2.1008403361344501E-2</c:v>
                </c:pt>
                <c:pt idx="12260">
                  <c:v>-2.1008403361344501E-2</c:v>
                </c:pt>
                <c:pt idx="12261">
                  <c:v>-2.1008403361344501E-2</c:v>
                </c:pt>
                <c:pt idx="12262">
                  <c:v>-2.1008403361344501E-2</c:v>
                </c:pt>
                <c:pt idx="12263">
                  <c:v>-2.1008403361344501E-2</c:v>
                </c:pt>
                <c:pt idx="12264">
                  <c:v>-2.1008403361344501E-2</c:v>
                </c:pt>
                <c:pt idx="12265">
                  <c:v>-2.1008403361344501E-2</c:v>
                </c:pt>
                <c:pt idx="12266">
                  <c:v>-2.1008403361344501E-2</c:v>
                </c:pt>
                <c:pt idx="12267">
                  <c:v>-2.1008403361344501E-2</c:v>
                </c:pt>
                <c:pt idx="12268">
                  <c:v>-2.1008403361344501E-2</c:v>
                </c:pt>
                <c:pt idx="12269">
                  <c:v>-2.1008403361344501E-2</c:v>
                </c:pt>
                <c:pt idx="12270">
                  <c:v>-2.1008403361344501E-2</c:v>
                </c:pt>
                <c:pt idx="12271">
                  <c:v>-2.1008403361344501E-2</c:v>
                </c:pt>
                <c:pt idx="12272">
                  <c:v>-2.1008403361344501E-2</c:v>
                </c:pt>
                <c:pt idx="12273">
                  <c:v>-2.1008403361344501E-2</c:v>
                </c:pt>
                <c:pt idx="12274">
                  <c:v>-2.1008403361344501E-2</c:v>
                </c:pt>
                <c:pt idx="12275">
                  <c:v>-2.1008403361344501E-2</c:v>
                </c:pt>
                <c:pt idx="12276">
                  <c:v>-2.1008403361344501E-2</c:v>
                </c:pt>
                <c:pt idx="12277">
                  <c:v>-2.1008403361344501E-2</c:v>
                </c:pt>
                <c:pt idx="12278">
                  <c:v>-2.1008403361344501E-2</c:v>
                </c:pt>
                <c:pt idx="12279">
                  <c:v>-2.1008403361344501E-2</c:v>
                </c:pt>
                <c:pt idx="12280">
                  <c:v>-2.1008403361344501E-2</c:v>
                </c:pt>
                <c:pt idx="12281">
                  <c:v>-2.1008403361344501E-2</c:v>
                </c:pt>
                <c:pt idx="12282">
                  <c:v>-2.1008403361344501E-2</c:v>
                </c:pt>
                <c:pt idx="12283">
                  <c:v>-2.1008403361344501E-2</c:v>
                </c:pt>
                <c:pt idx="12284">
                  <c:v>-2.1008403361344501E-2</c:v>
                </c:pt>
                <c:pt idx="12285">
                  <c:v>-2.1008403361344501E-2</c:v>
                </c:pt>
                <c:pt idx="12286">
                  <c:v>-2.1008403361344501E-2</c:v>
                </c:pt>
                <c:pt idx="12287">
                  <c:v>-2.1008403361344501E-2</c:v>
                </c:pt>
                <c:pt idx="12288">
                  <c:v>-2.1008403361344501E-2</c:v>
                </c:pt>
                <c:pt idx="12289">
                  <c:v>-2.1008403361344501E-2</c:v>
                </c:pt>
                <c:pt idx="12290">
                  <c:v>-2.1008403361344501E-2</c:v>
                </c:pt>
                <c:pt idx="12291">
                  <c:v>-2.1008403361344501E-2</c:v>
                </c:pt>
                <c:pt idx="12292">
                  <c:v>-2.1008403361344501E-2</c:v>
                </c:pt>
                <c:pt idx="12293">
                  <c:v>-2.0168067226890699E-2</c:v>
                </c:pt>
                <c:pt idx="12294">
                  <c:v>-2.0168067226890699E-2</c:v>
                </c:pt>
                <c:pt idx="12295">
                  <c:v>-2.0168067226890699E-2</c:v>
                </c:pt>
                <c:pt idx="12296">
                  <c:v>-2.0168067226890699E-2</c:v>
                </c:pt>
                <c:pt idx="12297">
                  <c:v>-2.0168067226890699E-2</c:v>
                </c:pt>
                <c:pt idx="12298">
                  <c:v>-2.0168067226890699E-2</c:v>
                </c:pt>
                <c:pt idx="12299">
                  <c:v>-2.1008403361344501E-2</c:v>
                </c:pt>
                <c:pt idx="12300">
                  <c:v>-2.1008403361344501E-2</c:v>
                </c:pt>
                <c:pt idx="12301">
                  <c:v>-2.1008403361344501E-2</c:v>
                </c:pt>
                <c:pt idx="12302">
                  <c:v>-2.1008403361344501E-2</c:v>
                </c:pt>
                <c:pt idx="12303">
                  <c:v>-2.1008403361344501E-2</c:v>
                </c:pt>
                <c:pt idx="12304">
                  <c:v>-2.1008403361344501E-2</c:v>
                </c:pt>
                <c:pt idx="12305">
                  <c:v>-2.1008403361344501E-2</c:v>
                </c:pt>
                <c:pt idx="12306">
                  <c:v>-2.1008403361344501E-2</c:v>
                </c:pt>
                <c:pt idx="12307">
                  <c:v>-2.1008403361344501E-2</c:v>
                </c:pt>
                <c:pt idx="12308">
                  <c:v>-2.1008403361344501E-2</c:v>
                </c:pt>
                <c:pt idx="12309">
                  <c:v>-2.1008403361344501E-2</c:v>
                </c:pt>
                <c:pt idx="12310">
                  <c:v>-2.1008403361344501E-2</c:v>
                </c:pt>
                <c:pt idx="12311">
                  <c:v>-2.1008403361344501E-2</c:v>
                </c:pt>
                <c:pt idx="12312">
                  <c:v>-2.1008403361344501E-2</c:v>
                </c:pt>
                <c:pt idx="12313">
                  <c:v>-2.1008403361344501E-2</c:v>
                </c:pt>
                <c:pt idx="12314">
                  <c:v>-2.1008403361344501E-2</c:v>
                </c:pt>
                <c:pt idx="12315">
                  <c:v>-2.1008403361344501E-2</c:v>
                </c:pt>
                <c:pt idx="12316">
                  <c:v>-2.1008403361344501E-2</c:v>
                </c:pt>
                <c:pt idx="12317">
                  <c:v>-2.1008403361344501E-2</c:v>
                </c:pt>
                <c:pt idx="12318">
                  <c:v>-2.1008403361344501E-2</c:v>
                </c:pt>
                <c:pt idx="12319">
                  <c:v>-2.1008403361344501E-2</c:v>
                </c:pt>
                <c:pt idx="12320">
                  <c:v>-2.1008403361344501E-2</c:v>
                </c:pt>
                <c:pt idx="12321">
                  <c:v>-2.1008403361344501E-2</c:v>
                </c:pt>
                <c:pt idx="12322">
                  <c:v>-2.1008403361344501E-2</c:v>
                </c:pt>
                <c:pt idx="12323">
                  <c:v>-2.1008403361344501E-2</c:v>
                </c:pt>
                <c:pt idx="12324">
                  <c:v>-2.1008403361344501E-2</c:v>
                </c:pt>
                <c:pt idx="12325">
                  <c:v>-2.1008403361344501E-2</c:v>
                </c:pt>
                <c:pt idx="12326">
                  <c:v>-2.1008403361344501E-2</c:v>
                </c:pt>
                <c:pt idx="12327">
                  <c:v>-2.1008403361344501E-2</c:v>
                </c:pt>
                <c:pt idx="12328">
                  <c:v>-2.1008403361344501E-2</c:v>
                </c:pt>
                <c:pt idx="12329">
                  <c:v>-2.1008403361344501E-2</c:v>
                </c:pt>
                <c:pt idx="12330">
                  <c:v>-2.1008403361344501E-2</c:v>
                </c:pt>
                <c:pt idx="12331">
                  <c:v>-2.1008403361344501E-2</c:v>
                </c:pt>
                <c:pt idx="12332">
                  <c:v>-2.1008403361344501E-2</c:v>
                </c:pt>
                <c:pt idx="12333">
                  <c:v>-2.1008403361344501E-2</c:v>
                </c:pt>
                <c:pt idx="12334">
                  <c:v>-2.1008403361344501E-2</c:v>
                </c:pt>
                <c:pt idx="12335">
                  <c:v>-2.18487394957982E-2</c:v>
                </c:pt>
                <c:pt idx="12336">
                  <c:v>-2.18487394957982E-2</c:v>
                </c:pt>
                <c:pt idx="12337">
                  <c:v>-2.18487394957982E-2</c:v>
                </c:pt>
                <c:pt idx="12338">
                  <c:v>-2.18487394957982E-2</c:v>
                </c:pt>
                <c:pt idx="12339">
                  <c:v>-2.18487394957982E-2</c:v>
                </c:pt>
                <c:pt idx="12340">
                  <c:v>-2.18487394957982E-2</c:v>
                </c:pt>
                <c:pt idx="12341">
                  <c:v>-2.18487394957982E-2</c:v>
                </c:pt>
                <c:pt idx="12342">
                  <c:v>-2.18487394957982E-2</c:v>
                </c:pt>
                <c:pt idx="12343">
                  <c:v>-2.18487394957982E-2</c:v>
                </c:pt>
                <c:pt idx="12344">
                  <c:v>-2.18487394957982E-2</c:v>
                </c:pt>
                <c:pt idx="12345">
                  <c:v>-2.18487394957982E-2</c:v>
                </c:pt>
                <c:pt idx="12346">
                  <c:v>-2.18487394957982E-2</c:v>
                </c:pt>
                <c:pt idx="12347">
                  <c:v>-2.18487394957982E-2</c:v>
                </c:pt>
                <c:pt idx="12348">
                  <c:v>-2.18487394957982E-2</c:v>
                </c:pt>
                <c:pt idx="12349">
                  <c:v>-2.18487394957982E-2</c:v>
                </c:pt>
                <c:pt idx="12350">
                  <c:v>-2.18487394957982E-2</c:v>
                </c:pt>
                <c:pt idx="12351">
                  <c:v>-2.18487394957982E-2</c:v>
                </c:pt>
                <c:pt idx="12352">
                  <c:v>-2.18487394957982E-2</c:v>
                </c:pt>
                <c:pt idx="12353">
                  <c:v>-2.18487394957982E-2</c:v>
                </c:pt>
                <c:pt idx="12354">
                  <c:v>-2.18487394957982E-2</c:v>
                </c:pt>
                <c:pt idx="12355">
                  <c:v>-2.18487394957982E-2</c:v>
                </c:pt>
                <c:pt idx="12356">
                  <c:v>-2.18487394957982E-2</c:v>
                </c:pt>
                <c:pt idx="12357">
                  <c:v>-2.18487394957982E-2</c:v>
                </c:pt>
                <c:pt idx="12358">
                  <c:v>-2.18487394957982E-2</c:v>
                </c:pt>
                <c:pt idx="12359">
                  <c:v>-2.18487394957982E-2</c:v>
                </c:pt>
                <c:pt idx="12360">
                  <c:v>-2.18487394957982E-2</c:v>
                </c:pt>
                <c:pt idx="12361">
                  <c:v>-2.18487394957982E-2</c:v>
                </c:pt>
                <c:pt idx="12362">
                  <c:v>-2.18487394957982E-2</c:v>
                </c:pt>
                <c:pt idx="12363">
                  <c:v>-2.18487394957982E-2</c:v>
                </c:pt>
                <c:pt idx="12364">
                  <c:v>-2.18487394957982E-2</c:v>
                </c:pt>
                <c:pt idx="12365">
                  <c:v>-2.18487394957982E-2</c:v>
                </c:pt>
                <c:pt idx="12366">
                  <c:v>-2.18487394957982E-2</c:v>
                </c:pt>
                <c:pt idx="12367">
                  <c:v>-2.18487394957982E-2</c:v>
                </c:pt>
                <c:pt idx="12368">
                  <c:v>-2.18487394957982E-2</c:v>
                </c:pt>
                <c:pt idx="12369">
                  <c:v>-2.18487394957982E-2</c:v>
                </c:pt>
                <c:pt idx="12370">
                  <c:v>-2.18487394957982E-2</c:v>
                </c:pt>
                <c:pt idx="12371">
                  <c:v>-2.18487394957982E-2</c:v>
                </c:pt>
                <c:pt idx="12372">
                  <c:v>-2.18487394957982E-2</c:v>
                </c:pt>
                <c:pt idx="12373">
                  <c:v>-2.18487394957982E-2</c:v>
                </c:pt>
                <c:pt idx="12374">
                  <c:v>-2.18487394957982E-2</c:v>
                </c:pt>
                <c:pt idx="12375">
                  <c:v>-2.18487394957982E-2</c:v>
                </c:pt>
                <c:pt idx="12376">
                  <c:v>-2.18487394957982E-2</c:v>
                </c:pt>
                <c:pt idx="12377">
                  <c:v>-2.18487394957982E-2</c:v>
                </c:pt>
                <c:pt idx="12378">
                  <c:v>-2.18487394957982E-2</c:v>
                </c:pt>
                <c:pt idx="12379">
                  <c:v>-2.18487394957982E-2</c:v>
                </c:pt>
                <c:pt idx="12380">
                  <c:v>-2.18487394957982E-2</c:v>
                </c:pt>
                <c:pt idx="12381">
                  <c:v>-2.18487394957982E-2</c:v>
                </c:pt>
                <c:pt idx="12382">
                  <c:v>-2.18487394957982E-2</c:v>
                </c:pt>
                <c:pt idx="12383">
                  <c:v>-2.18487394957982E-2</c:v>
                </c:pt>
                <c:pt idx="12384">
                  <c:v>-2.18487394957982E-2</c:v>
                </c:pt>
                <c:pt idx="12385">
                  <c:v>-2.18487394957982E-2</c:v>
                </c:pt>
                <c:pt idx="12386">
                  <c:v>-2.18487394957982E-2</c:v>
                </c:pt>
                <c:pt idx="12387">
                  <c:v>-2.18487394957982E-2</c:v>
                </c:pt>
                <c:pt idx="12388">
                  <c:v>-2.18487394957982E-2</c:v>
                </c:pt>
                <c:pt idx="12389">
                  <c:v>-2.18487394957982E-2</c:v>
                </c:pt>
                <c:pt idx="12390">
                  <c:v>-2.18487394957982E-2</c:v>
                </c:pt>
                <c:pt idx="12391">
                  <c:v>-2.18487394957982E-2</c:v>
                </c:pt>
                <c:pt idx="12392">
                  <c:v>-2.18487394957982E-2</c:v>
                </c:pt>
                <c:pt idx="12393">
                  <c:v>-2.18487394957982E-2</c:v>
                </c:pt>
                <c:pt idx="12394">
                  <c:v>-2.18487394957982E-2</c:v>
                </c:pt>
                <c:pt idx="12395">
                  <c:v>-2.18487394957982E-2</c:v>
                </c:pt>
                <c:pt idx="12396">
                  <c:v>-2.18487394957982E-2</c:v>
                </c:pt>
                <c:pt idx="12397">
                  <c:v>-2.18487394957982E-2</c:v>
                </c:pt>
                <c:pt idx="12398">
                  <c:v>-2.2689075630251999E-2</c:v>
                </c:pt>
                <c:pt idx="12399">
                  <c:v>-2.2689075630251999E-2</c:v>
                </c:pt>
                <c:pt idx="12400">
                  <c:v>-2.2689075630251999E-2</c:v>
                </c:pt>
                <c:pt idx="12401">
                  <c:v>-2.2689075630251999E-2</c:v>
                </c:pt>
                <c:pt idx="12402">
                  <c:v>-2.2689075630251999E-2</c:v>
                </c:pt>
                <c:pt idx="12403">
                  <c:v>-2.2689075630251999E-2</c:v>
                </c:pt>
                <c:pt idx="12404">
                  <c:v>-2.2689075630251999E-2</c:v>
                </c:pt>
                <c:pt idx="12405">
                  <c:v>-2.2689075630251999E-2</c:v>
                </c:pt>
                <c:pt idx="12406">
                  <c:v>-2.2689075630251999E-2</c:v>
                </c:pt>
                <c:pt idx="12407">
                  <c:v>-2.2689075630251999E-2</c:v>
                </c:pt>
                <c:pt idx="12408">
                  <c:v>-2.2689075630251999E-2</c:v>
                </c:pt>
                <c:pt idx="12409">
                  <c:v>-2.2689075630251999E-2</c:v>
                </c:pt>
                <c:pt idx="12410">
                  <c:v>-2.2689075630251999E-2</c:v>
                </c:pt>
                <c:pt idx="12411">
                  <c:v>-2.2689075630251999E-2</c:v>
                </c:pt>
                <c:pt idx="12412">
                  <c:v>-2.2689075630251999E-2</c:v>
                </c:pt>
                <c:pt idx="12413">
                  <c:v>-2.2689075630251999E-2</c:v>
                </c:pt>
                <c:pt idx="12414">
                  <c:v>-2.2689075630251999E-2</c:v>
                </c:pt>
                <c:pt idx="12415">
                  <c:v>-2.2689075630251999E-2</c:v>
                </c:pt>
                <c:pt idx="12416">
                  <c:v>-2.2689075630251999E-2</c:v>
                </c:pt>
                <c:pt idx="12417">
                  <c:v>-2.2689075630251999E-2</c:v>
                </c:pt>
                <c:pt idx="12418">
                  <c:v>-2.3529411764705799E-2</c:v>
                </c:pt>
                <c:pt idx="12419">
                  <c:v>-2.3529411764705799E-2</c:v>
                </c:pt>
                <c:pt idx="12420">
                  <c:v>-2.3529411764705799E-2</c:v>
                </c:pt>
                <c:pt idx="12421">
                  <c:v>-2.3529411764705799E-2</c:v>
                </c:pt>
                <c:pt idx="12422">
                  <c:v>-2.4369747899159602E-2</c:v>
                </c:pt>
                <c:pt idx="12423">
                  <c:v>-2.4369747899159602E-2</c:v>
                </c:pt>
                <c:pt idx="12424">
                  <c:v>-2.4369747899159602E-2</c:v>
                </c:pt>
                <c:pt idx="12425">
                  <c:v>-2.4369747899159602E-2</c:v>
                </c:pt>
                <c:pt idx="12426">
                  <c:v>-2.4369747899159602E-2</c:v>
                </c:pt>
                <c:pt idx="12427">
                  <c:v>-2.4369747899159602E-2</c:v>
                </c:pt>
                <c:pt idx="12428">
                  <c:v>-2.4369747899159602E-2</c:v>
                </c:pt>
                <c:pt idx="12429">
                  <c:v>-2.4369747899159602E-2</c:v>
                </c:pt>
                <c:pt idx="12430">
                  <c:v>-2.4369747899159602E-2</c:v>
                </c:pt>
                <c:pt idx="12431">
                  <c:v>-2.3529411764705799E-2</c:v>
                </c:pt>
                <c:pt idx="12432">
                  <c:v>-2.3529411764705799E-2</c:v>
                </c:pt>
                <c:pt idx="12433">
                  <c:v>-2.3529411764705799E-2</c:v>
                </c:pt>
                <c:pt idx="12434">
                  <c:v>-2.2689075630251999E-2</c:v>
                </c:pt>
                <c:pt idx="12435">
                  <c:v>-2.2689075630251999E-2</c:v>
                </c:pt>
                <c:pt idx="12436">
                  <c:v>-2.2689075630251999E-2</c:v>
                </c:pt>
                <c:pt idx="12437">
                  <c:v>-2.2689075630251999E-2</c:v>
                </c:pt>
                <c:pt idx="12438">
                  <c:v>-2.2689075630251999E-2</c:v>
                </c:pt>
                <c:pt idx="12439">
                  <c:v>-2.2689075630251999E-2</c:v>
                </c:pt>
                <c:pt idx="12440">
                  <c:v>-2.2689075630251999E-2</c:v>
                </c:pt>
                <c:pt idx="12441">
                  <c:v>-2.2689075630251999E-2</c:v>
                </c:pt>
                <c:pt idx="12442">
                  <c:v>-2.2689075630251999E-2</c:v>
                </c:pt>
                <c:pt idx="12443">
                  <c:v>-2.2689075630251999E-2</c:v>
                </c:pt>
                <c:pt idx="12444">
                  <c:v>-2.2689075630251999E-2</c:v>
                </c:pt>
                <c:pt idx="12445">
                  <c:v>-2.2689075630251999E-2</c:v>
                </c:pt>
                <c:pt idx="12446">
                  <c:v>-2.2689075630251999E-2</c:v>
                </c:pt>
                <c:pt idx="12447">
                  <c:v>-2.2689075630251999E-2</c:v>
                </c:pt>
                <c:pt idx="12448">
                  <c:v>-2.2689075630251999E-2</c:v>
                </c:pt>
                <c:pt idx="12449">
                  <c:v>-2.2689075630251999E-2</c:v>
                </c:pt>
                <c:pt idx="12450">
                  <c:v>-2.2689075630251999E-2</c:v>
                </c:pt>
                <c:pt idx="12451">
                  <c:v>-2.2689075630251999E-2</c:v>
                </c:pt>
                <c:pt idx="12452">
                  <c:v>-2.2689075630251999E-2</c:v>
                </c:pt>
                <c:pt idx="12453">
                  <c:v>-2.2689075630251999E-2</c:v>
                </c:pt>
                <c:pt idx="12454">
                  <c:v>-2.2689075630251999E-2</c:v>
                </c:pt>
                <c:pt idx="12455">
                  <c:v>-2.2689075630251999E-2</c:v>
                </c:pt>
                <c:pt idx="12456">
                  <c:v>-2.2689075630251999E-2</c:v>
                </c:pt>
                <c:pt idx="12457">
                  <c:v>-2.3529411764705799E-2</c:v>
                </c:pt>
                <c:pt idx="12458">
                  <c:v>-2.3529411764705799E-2</c:v>
                </c:pt>
                <c:pt idx="12459">
                  <c:v>-2.3529411764705799E-2</c:v>
                </c:pt>
                <c:pt idx="12460">
                  <c:v>-2.3529411764705799E-2</c:v>
                </c:pt>
                <c:pt idx="12461">
                  <c:v>-2.3529411764705799E-2</c:v>
                </c:pt>
                <c:pt idx="12462">
                  <c:v>-2.3529411764705799E-2</c:v>
                </c:pt>
                <c:pt idx="12463">
                  <c:v>-2.3529411764705799E-2</c:v>
                </c:pt>
                <c:pt idx="12464">
                  <c:v>-2.3529411764705799E-2</c:v>
                </c:pt>
                <c:pt idx="12465">
                  <c:v>-2.3529411764705799E-2</c:v>
                </c:pt>
                <c:pt idx="12466">
                  <c:v>-2.3529411764705799E-2</c:v>
                </c:pt>
                <c:pt idx="12467">
                  <c:v>-2.3529411764705799E-2</c:v>
                </c:pt>
                <c:pt idx="12468">
                  <c:v>-2.3529411764705799E-2</c:v>
                </c:pt>
                <c:pt idx="12469">
                  <c:v>-2.3529411764705799E-2</c:v>
                </c:pt>
                <c:pt idx="12470">
                  <c:v>-2.2689075630251999E-2</c:v>
                </c:pt>
                <c:pt idx="12471">
                  <c:v>-2.2689075630251999E-2</c:v>
                </c:pt>
                <c:pt idx="12472">
                  <c:v>-2.3529411764705799E-2</c:v>
                </c:pt>
                <c:pt idx="12473">
                  <c:v>-2.3529411764705799E-2</c:v>
                </c:pt>
                <c:pt idx="12474">
                  <c:v>-2.3529411764705799E-2</c:v>
                </c:pt>
                <c:pt idx="12475">
                  <c:v>-2.3529411764705799E-2</c:v>
                </c:pt>
                <c:pt idx="12476">
                  <c:v>-2.3529411764705799E-2</c:v>
                </c:pt>
                <c:pt idx="12477">
                  <c:v>-2.3529411764705799E-2</c:v>
                </c:pt>
                <c:pt idx="12478">
                  <c:v>-2.3529411764705799E-2</c:v>
                </c:pt>
                <c:pt idx="12479">
                  <c:v>-2.3529411764705799E-2</c:v>
                </c:pt>
                <c:pt idx="12480">
                  <c:v>-2.3529411764705799E-2</c:v>
                </c:pt>
                <c:pt idx="12481">
                  <c:v>-2.3529411764705799E-2</c:v>
                </c:pt>
                <c:pt idx="12482">
                  <c:v>-2.3529411764705799E-2</c:v>
                </c:pt>
                <c:pt idx="12483">
                  <c:v>-2.3529411764705799E-2</c:v>
                </c:pt>
                <c:pt idx="12484">
                  <c:v>-2.3529411764705799E-2</c:v>
                </c:pt>
                <c:pt idx="12485">
                  <c:v>-2.3529411764705799E-2</c:v>
                </c:pt>
                <c:pt idx="12486">
                  <c:v>-2.3529411764705799E-2</c:v>
                </c:pt>
                <c:pt idx="12487">
                  <c:v>-2.3529411764705799E-2</c:v>
                </c:pt>
                <c:pt idx="12488">
                  <c:v>-2.3529411764705799E-2</c:v>
                </c:pt>
                <c:pt idx="12489">
                  <c:v>-2.3529411764705799E-2</c:v>
                </c:pt>
                <c:pt idx="12490">
                  <c:v>-2.3529411764705799E-2</c:v>
                </c:pt>
                <c:pt idx="12491">
                  <c:v>-2.3529411764705799E-2</c:v>
                </c:pt>
                <c:pt idx="12492">
                  <c:v>-2.3529411764705799E-2</c:v>
                </c:pt>
                <c:pt idx="12493">
                  <c:v>-2.3529411764705799E-2</c:v>
                </c:pt>
                <c:pt idx="12494">
                  <c:v>-2.3529411764705799E-2</c:v>
                </c:pt>
                <c:pt idx="12495">
                  <c:v>-2.3529411764705799E-2</c:v>
                </c:pt>
                <c:pt idx="12496">
                  <c:v>-2.3529411764705799E-2</c:v>
                </c:pt>
                <c:pt idx="12497">
                  <c:v>-2.3529411764705799E-2</c:v>
                </c:pt>
                <c:pt idx="12498">
                  <c:v>-2.3529411764705799E-2</c:v>
                </c:pt>
                <c:pt idx="12499">
                  <c:v>-2.3529411764705799E-2</c:v>
                </c:pt>
                <c:pt idx="12500">
                  <c:v>-2.3529411764705799E-2</c:v>
                </c:pt>
                <c:pt idx="12501">
                  <c:v>-2.3529411764705799E-2</c:v>
                </c:pt>
                <c:pt idx="12502">
                  <c:v>-2.3529411764705799E-2</c:v>
                </c:pt>
                <c:pt idx="12503">
                  <c:v>-2.3529411764705799E-2</c:v>
                </c:pt>
                <c:pt idx="12504">
                  <c:v>-2.3529411764705799E-2</c:v>
                </c:pt>
                <c:pt idx="12505">
                  <c:v>-2.3529411764705799E-2</c:v>
                </c:pt>
                <c:pt idx="12506">
                  <c:v>-2.3529411764705799E-2</c:v>
                </c:pt>
                <c:pt idx="12507">
                  <c:v>-2.3529411764705799E-2</c:v>
                </c:pt>
                <c:pt idx="12508">
                  <c:v>-2.3529411764705799E-2</c:v>
                </c:pt>
                <c:pt idx="12509">
                  <c:v>-2.3529411764705799E-2</c:v>
                </c:pt>
                <c:pt idx="12510">
                  <c:v>-2.2689075630251999E-2</c:v>
                </c:pt>
                <c:pt idx="12511">
                  <c:v>-2.2689075630251999E-2</c:v>
                </c:pt>
                <c:pt idx="12512">
                  <c:v>-2.2689075630251999E-2</c:v>
                </c:pt>
                <c:pt idx="12513">
                  <c:v>-2.2689075630251999E-2</c:v>
                </c:pt>
                <c:pt idx="12514">
                  <c:v>-2.2689075630251999E-2</c:v>
                </c:pt>
                <c:pt idx="12515">
                  <c:v>-2.2689075630251999E-2</c:v>
                </c:pt>
                <c:pt idx="12516">
                  <c:v>-2.2689075630251999E-2</c:v>
                </c:pt>
                <c:pt idx="12517">
                  <c:v>-2.2689075630251999E-2</c:v>
                </c:pt>
                <c:pt idx="12518">
                  <c:v>-2.2689075630251999E-2</c:v>
                </c:pt>
                <c:pt idx="12519">
                  <c:v>-2.2689075630251999E-2</c:v>
                </c:pt>
                <c:pt idx="12520">
                  <c:v>-2.2689075630251999E-2</c:v>
                </c:pt>
                <c:pt idx="12521">
                  <c:v>-2.2689075630251999E-2</c:v>
                </c:pt>
                <c:pt idx="12522">
                  <c:v>-2.2689075630251999E-2</c:v>
                </c:pt>
                <c:pt idx="12523">
                  <c:v>-2.2689075630251999E-2</c:v>
                </c:pt>
                <c:pt idx="12524">
                  <c:v>-2.2689075630251999E-2</c:v>
                </c:pt>
                <c:pt idx="12525">
                  <c:v>-2.2689075630251999E-2</c:v>
                </c:pt>
                <c:pt idx="12526">
                  <c:v>-2.2689075630251999E-2</c:v>
                </c:pt>
                <c:pt idx="12527">
                  <c:v>-2.2689075630251999E-2</c:v>
                </c:pt>
                <c:pt idx="12528">
                  <c:v>-2.2689075630251999E-2</c:v>
                </c:pt>
                <c:pt idx="12529">
                  <c:v>-2.2689075630251999E-2</c:v>
                </c:pt>
                <c:pt idx="12530">
                  <c:v>-2.2689075630251999E-2</c:v>
                </c:pt>
                <c:pt idx="12531">
                  <c:v>-2.2689075630251999E-2</c:v>
                </c:pt>
                <c:pt idx="12532">
                  <c:v>-2.2689075630251999E-2</c:v>
                </c:pt>
                <c:pt idx="12533">
                  <c:v>-2.2689075630251999E-2</c:v>
                </c:pt>
                <c:pt idx="12534">
                  <c:v>-2.2689075630251999E-2</c:v>
                </c:pt>
                <c:pt idx="12535">
                  <c:v>-2.2689075630251999E-2</c:v>
                </c:pt>
                <c:pt idx="12536">
                  <c:v>-2.2689075630251999E-2</c:v>
                </c:pt>
                <c:pt idx="12537">
                  <c:v>-2.2689075630251999E-2</c:v>
                </c:pt>
                <c:pt idx="12538">
                  <c:v>-2.2689075630251999E-2</c:v>
                </c:pt>
                <c:pt idx="12539">
                  <c:v>-2.2689075630251999E-2</c:v>
                </c:pt>
                <c:pt idx="12540">
                  <c:v>-2.2689075630251999E-2</c:v>
                </c:pt>
                <c:pt idx="12541">
                  <c:v>-2.2689075630251999E-2</c:v>
                </c:pt>
                <c:pt idx="12542">
                  <c:v>-2.2689075630251999E-2</c:v>
                </c:pt>
                <c:pt idx="12543">
                  <c:v>-2.2689075630251999E-2</c:v>
                </c:pt>
                <c:pt idx="12544">
                  <c:v>-2.2689075630251999E-2</c:v>
                </c:pt>
                <c:pt idx="12545">
                  <c:v>-2.2689075630251999E-2</c:v>
                </c:pt>
                <c:pt idx="12546">
                  <c:v>-2.2689075630251999E-2</c:v>
                </c:pt>
                <c:pt idx="12547">
                  <c:v>-2.2689075630251999E-2</c:v>
                </c:pt>
                <c:pt idx="12548">
                  <c:v>-2.2689075630251999E-2</c:v>
                </c:pt>
                <c:pt idx="12549">
                  <c:v>-2.2689075630251999E-2</c:v>
                </c:pt>
                <c:pt idx="12550">
                  <c:v>-2.2689075630251999E-2</c:v>
                </c:pt>
                <c:pt idx="12551">
                  <c:v>-2.2689075630251999E-2</c:v>
                </c:pt>
                <c:pt idx="12552">
                  <c:v>-2.2689075630251999E-2</c:v>
                </c:pt>
                <c:pt idx="12553">
                  <c:v>-2.2689075630251999E-2</c:v>
                </c:pt>
                <c:pt idx="12554">
                  <c:v>-2.2689075630251999E-2</c:v>
                </c:pt>
                <c:pt idx="12555">
                  <c:v>-2.2689075630251999E-2</c:v>
                </c:pt>
                <c:pt idx="12556">
                  <c:v>-2.2689075630251999E-2</c:v>
                </c:pt>
                <c:pt idx="12557">
                  <c:v>-2.2689075630251999E-2</c:v>
                </c:pt>
                <c:pt idx="12558">
                  <c:v>-2.2689075630251999E-2</c:v>
                </c:pt>
                <c:pt idx="12559">
                  <c:v>-2.2689075630251999E-2</c:v>
                </c:pt>
                <c:pt idx="12560">
                  <c:v>-2.2689075630251999E-2</c:v>
                </c:pt>
                <c:pt idx="12561">
                  <c:v>-2.2689075630251999E-2</c:v>
                </c:pt>
                <c:pt idx="12562">
                  <c:v>-2.2689075630251999E-2</c:v>
                </c:pt>
                <c:pt idx="12563">
                  <c:v>-2.2689075630251999E-2</c:v>
                </c:pt>
                <c:pt idx="12564">
                  <c:v>-2.2689075630251999E-2</c:v>
                </c:pt>
                <c:pt idx="12565">
                  <c:v>-2.2689075630251999E-2</c:v>
                </c:pt>
                <c:pt idx="12566">
                  <c:v>-2.18487394957982E-2</c:v>
                </c:pt>
                <c:pt idx="12567">
                  <c:v>-2.18487394957982E-2</c:v>
                </c:pt>
                <c:pt idx="12568">
                  <c:v>-2.18487394957982E-2</c:v>
                </c:pt>
                <c:pt idx="12569">
                  <c:v>-2.18487394957982E-2</c:v>
                </c:pt>
                <c:pt idx="12570">
                  <c:v>-2.18487394957982E-2</c:v>
                </c:pt>
                <c:pt idx="12571">
                  <c:v>-2.18487394957982E-2</c:v>
                </c:pt>
                <c:pt idx="12572">
                  <c:v>-2.18487394957982E-2</c:v>
                </c:pt>
                <c:pt idx="12573">
                  <c:v>-2.18487394957982E-2</c:v>
                </c:pt>
                <c:pt idx="12574">
                  <c:v>-2.18487394957982E-2</c:v>
                </c:pt>
                <c:pt idx="12575">
                  <c:v>-2.18487394957982E-2</c:v>
                </c:pt>
                <c:pt idx="12576">
                  <c:v>-2.18487394957982E-2</c:v>
                </c:pt>
                <c:pt idx="12577">
                  <c:v>-2.18487394957982E-2</c:v>
                </c:pt>
                <c:pt idx="12578">
                  <c:v>-2.18487394957982E-2</c:v>
                </c:pt>
                <c:pt idx="12579">
                  <c:v>-2.18487394957982E-2</c:v>
                </c:pt>
                <c:pt idx="12580">
                  <c:v>-2.18487394957982E-2</c:v>
                </c:pt>
                <c:pt idx="12581">
                  <c:v>-2.18487394957982E-2</c:v>
                </c:pt>
                <c:pt idx="12582">
                  <c:v>-2.18487394957982E-2</c:v>
                </c:pt>
                <c:pt idx="12583">
                  <c:v>-2.18487394957982E-2</c:v>
                </c:pt>
                <c:pt idx="12584">
                  <c:v>-2.18487394957982E-2</c:v>
                </c:pt>
                <c:pt idx="12585">
                  <c:v>-2.18487394957982E-2</c:v>
                </c:pt>
                <c:pt idx="12586">
                  <c:v>-2.18487394957982E-2</c:v>
                </c:pt>
                <c:pt idx="12587">
                  <c:v>-2.18487394957982E-2</c:v>
                </c:pt>
                <c:pt idx="12588">
                  <c:v>-2.18487394957982E-2</c:v>
                </c:pt>
                <c:pt idx="12589">
                  <c:v>-2.18487394957982E-2</c:v>
                </c:pt>
                <c:pt idx="12590">
                  <c:v>-2.18487394957982E-2</c:v>
                </c:pt>
                <c:pt idx="12591">
                  <c:v>-2.18487394957982E-2</c:v>
                </c:pt>
                <c:pt idx="12592">
                  <c:v>-2.18487394957982E-2</c:v>
                </c:pt>
                <c:pt idx="12593">
                  <c:v>-2.18487394957982E-2</c:v>
                </c:pt>
                <c:pt idx="12594">
                  <c:v>-2.18487394957982E-2</c:v>
                </c:pt>
                <c:pt idx="12595">
                  <c:v>-2.1008403361344501E-2</c:v>
                </c:pt>
                <c:pt idx="12596">
                  <c:v>-2.1008403361344501E-2</c:v>
                </c:pt>
                <c:pt idx="12597">
                  <c:v>-2.1008403361344501E-2</c:v>
                </c:pt>
                <c:pt idx="12598">
                  <c:v>-2.1008403361344501E-2</c:v>
                </c:pt>
                <c:pt idx="12599">
                  <c:v>-2.1008403361344501E-2</c:v>
                </c:pt>
                <c:pt idx="12600">
                  <c:v>-2.1008403361344501E-2</c:v>
                </c:pt>
                <c:pt idx="12601">
                  <c:v>-2.1008403361344501E-2</c:v>
                </c:pt>
                <c:pt idx="12602">
                  <c:v>-2.1008403361344501E-2</c:v>
                </c:pt>
                <c:pt idx="12603">
                  <c:v>-2.1008403361344501E-2</c:v>
                </c:pt>
                <c:pt idx="12604">
                  <c:v>-2.1008403361344501E-2</c:v>
                </c:pt>
                <c:pt idx="12605">
                  <c:v>-2.1008403361344501E-2</c:v>
                </c:pt>
                <c:pt idx="12606">
                  <c:v>-2.18487394957982E-2</c:v>
                </c:pt>
                <c:pt idx="12607">
                  <c:v>-2.18487394957982E-2</c:v>
                </c:pt>
                <c:pt idx="12608">
                  <c:v>-2.18487394957982E-2</c:v>
                </c:pt>
                <c:pt idx="12609">
                  <c:v>-2.18487394957982E-2</c:v>
                </c:pt>
                <c:pt idx="12610">
                  <c:v>-2.18487394957982E-2</c:v>
                </c:pt>
                <c:pt idx="12611">
                  <c:v>-2.18487394957982E-2</c:v>
                </c:pt>
                <c:pt idx="12612">
                  <c:v>-2.18487394957982E-2</c:v>
                </c:pt>
                <c:pt idx="12613">
                  <c:v>-2.18487394957982E-2</c:v>
                </c:pt>
                <c:pt idx="12614">
                  <c:v>-2.18487394957982E-2</c:v>
                </c:pt>
                <c:pt idx="12615">
                  <c:v>-2.18487394957982E-2</c:v>
                </c:pt>
                <c:pt idx="12616">
                  <c:v>-2.18487394957982E-2</c:v>
                </c:pt>
                <c:pt idx="12617">
                  <c:v>-2.18487394957982E-2</c:v>
                </c:pt>
                <c:pt idx="12618">
                  <c:v>-2.18487394957982E-2</c:v>
                </c:pt>
                <c:pt idx="12619">
                  <c:v>-2.18487394957982E-2</c:v>
                </c:pt>
                <c:pt idx="12620">
                  <c:v>-2.18487394957982E-2</c:v>
                </c:pt>
                <c:pt idx="12621">
                  <c:v>-2.18487394957982E-2</c:v>
                </c:pt>
                <c:pt idx="12622">
                  <c:v>-2.18487394957982E-2</c:v>
                </c:pt>
                <c:pt idx="12623">
                  <c:v>-2.18487394957982E-2</c:v>
                </c:pt>
                <c:pt idx="12624">
                  <c:v>-2.18487394957982E-2</c:v>
                </c:pt>
                <c:pt idx="12625">
                  <c:v>-2.18487394957982E-2</c:v>
                </c:pt>
                <c:pt idx="12626">
                  <c:v>-2.18487394957982E-2</c:v>
                </c:pt>
                <c:pt idx="12627">
                  <c:v>-2.18487394957982E-2</c:v>
                </c:pt>
                <c:pt idx="12628">
                  <c:v>-2.18487394957982E-2</c:v>
                </c:pt>
                <c:pt idx="12629">
                  <c:v>-2.18487394957982E-2</c:v>
                </c:pt>
                <c:pt idx="12630">
                  <c:v>-2.18487394957982E-2</c:v>
                </c:pt>
                <c:pt idx="12631">
                  <c:v>-2.18487394957982E-2</c:v>
                </c:pt>
                <c:pt idx="12632">
                  <c:v>-2.18487394957982E-2</c:v>
                </c:pt>
                <c:pt idx="12633">
                  <c:v>-2.18487394957982E-2</c:v>
                </c:pt>
                <c:pt idx="12634">
                  <c:v>-2.18487394957982E-2</c:v>
                </c:pt>
                <c:pt idx="12635">
                  <c:v>-2.18487394957982E-2</c:v>
                </c:pt>
                <c:pt idx="12636">
                  <c:v>-2.1008403361344501E-2</c:v>
                </c:pt>
                <c:pt idx="12637">
                  <c:v>-2.1008403361344501E-2</c:v>
                </c:pt>
                <c:pt idx="12638">
                  <c:v>-2.1008403361344501E-2</c:v>
                </c:pt>
                <c:pt idx="12639">
                  <c:v>-2.1008403361344501E-2</c:v>
                </c:pt>
                <c:pt idx="12640">
                  <c:v>-2.1008403361344501E-2</c:v>
                </c:pt>
                <c:pt idx="12641">
                  <c:v>-2.1008403361344501E-2</c:v>
                </c:pt>
                <c:pt idx="12642">
                  <c:v>-2.1008403361344501E-2</c:v>
                </c:pt>
                <c:pt idx="12643">
                  <c:v>-2.1008403361344501E-2</c:v>
                </c:pt>
                <c:pt idx="12644">
                  <c:v>-2.1008403361344501E-2</c:v>
                </c:pt>
                <c:pt idx="12645">
                  <c:v>-2.1008403361344501E-2</c:v>
                </c:pt>
                <c:pt idx="12646">
                  <c:v>-2.1008403361344501E-2</c:v>
                </c:pt>
                <c:pt idx="12647">
                  <c:v>-2.0168067226890699E-2</c:v>
                </c:pt>
                <c:pt idx="12648">
                  <c:v>-1.9327731092436899E-2</c:v>
                </c:pt>
                <c:pt idx="12649">
                  <c:v>-1.9327731092436899E-2</c:v>
                </c:pt>
                <c:pt idx="12650">
                  <c:v>-1.9327731092436899E-2</c:v>
                </c:pt>
                <c:pt idx="12651">
                  <c:v>-1.9327731092436899E-2</c:v>
                </c:pt>
                <c:pt idx="12652">
                  <c:v>-1.9327731092436899E-2</c:v>
                </c:pt>
                <c:pt idx="12653">
                  <c:v>-1.9327731092436899E-2</c:v>
                </c:pt>
                <c:pt idx="12654">
                  <c:v>-1.9327731092436899E-2</c:v>
                </c:pt>
                <c:pt idx="12655">
                  <c:v>-1.84873949579831E-2</c:v>
                </c:pt>
                <c:pt idx="12656">
                  <c:v>-1.84873949579831E-2</c:v>
                </c:pt>
                <c:pt idx="12657">
                  <c:v>-1.84873949579831E-2</c:v>
                </c:pt>
                <c:pt idx="12658">
                  <c:v>-1.84873949579831E-2</c:v>
                </c:pt>
                <c:pt idx="12659">
                  <c:v>-1.84873949579831E-2</c:v>
                </c:pt>
                <c:pt idx="12660">
                  <c:v>-1.84873949579831E-2</c:v>
                </c:pt>
                <c:pt idx="12661">
                  <c:v>-1.84873949579831E-2</c:v>
                </c:pt>
                <c:pt idx="12662">
                  <c:v>-1.84873949579831E-2</c:v>
                </c:pt>
                <c:pt idx="12663">
                  <c:v>-1.84873949579831E-2</c:v>
                </c:pt>
                <c:pt idx="12664">
                  <c:v>-1.84873949579831E-2</c:v>
                </c:pt>
                <c:pt idx="12665">
                  <c:v>-1.84873949579831E-2</c:v>
                </c:pt>
                <c:pt idx="12666">
                  <c:v>-1.84873949579831E-2</c:v>
                </c:pt>
                <c:pt idx="12667">
                  <c:v>-1.84873949579831E-2</c:v>
                </c:pt>
                <c:pt idx="12668">
                  <c:v>-1.84873949579831E-2</c:v>
                </c:pt>
                <c:pt idx="12669">
                  <c:v>-1.84873949579831E-2</c:v>
                </c:pt>
                <c:pt idx="12670">
                  <c:v>-1.84873949579831E-2</c:v>
                </c:pt>
                <c:pt idx="12671">
                  <c:v>-1.84873949579831E-2</c:v>
                </c:pt>
                <c:pt idx="12672">
                  <c:v>-1.84873949579831E-2</c:v>
                </c:pt>
                <c:pt idx="12673">
                  <c:v>-1.7647058823529401E-2</c:v>
                </c:pt>
                <c:pt idx="12674">
                  <c:v>-1.84873949579831E-2</c:v>
                </c:pt>
                <c:pt idx="12675">
                  <c:v>-1.84873949579831E-2</c:v>
                </c:pt>
                <c:pt idx="12676">
                  <c:v>-1.84873949579831E-2</c:v>
                </c:pt>
                <c:pt idx="12677">
                  <c:v>-1.84873949579831E-2</c:v>
                </c:pt>
                <c:pt idx="12678">
                  <c:v>-1.84873949579831E-2</c:v>
                </c:pt>
                <c:pt idx="12679">
                  <c:v>-1.84873949579831E-2</c:v>
                </c:pt>
                <c:pt idx="12680">
                  <c:v>-1.9327731092436899E-2</c:v>
                </c:pt>
                <c:pt idx="12681">
                  <c:v>-1.9327731092436899E-2</c:v>
                </c:pt>
                <c:pt idx="12682">
                  <c:v>-1.9327731092436899E-2</c:v>
                </c:pt>
                <c:pt idx="12683">
                  <c:v>-1.9327731092436899E-2</c:v>
                </c:pt>
                <c:pt idx="12684">
                  <c:v>-1.9327731092436899E-2</c:v>
                </c:pt>
                <c:pt idx="12685">
                  <c:v>-1.9327731092436899E-2</c:v>
                </c:pt>
                <c:pt idx="12686">
                  <c:v>-1.9327731092436899E-2</c:v>
                </c:pt>
                <c:pt idx="12687">
                  <c:v>-1.9327731092436899E-2</c:v>
                </c:pt>
                <c:pt idx="12688">
                  <c:v>-1.9327731092436899E-2</c:v>
                </c:pt>
                <c:pt idx="12689">
                  <c:v>-1.9327731092436899E-2</c:v>
                </c:pt>
                <c:pt idx="12690">
                  <c:v>-1.9327731092436899E-2</c:v>
                </c:pt>
                <c:pt idx="12691">
                  <c:v>-1.84873949579831E-2</c:v>
                </c:pt>
                <c:pt idx="12692">
                  <c:v>-1.84873949579831E-2</c:v>
                </c:pt>
                <c:pt idx="12693">
                  <c:v>-1.7647058823529401E-2</c:v>
                </c:pt>
                <c:pt idx="12694">
                  <c:v>-1.7647058823529401E-2</c:v>
                </c:pt>
                <c:pt idx="12695">
                  <c:v>-1.7647058823529401E-2</c:v>
                </c:pt>
                <c:pt idx="12696">
                  <c:v>-1.7647058823529401E-2</c:v>
                </c:pt>
                <c:pt idx="12697">
                  <c:v>-1.7647058823529401E-2</c:v>
                </c:pt>
                <c:pt idx="12698">
                  <c:v>-1.7647058823529401E-2</c:v>
                </c:pt>
                <c:pt idx="12699">
                  <c:v>-1.7647058823529401E-2</c:v>
                </c:pt>
                <c:pt idx="12700">
                  <c:v>-1.7647058823529401E-2</c:v>
                </c:pt>
                <c:pt idx="12701">
                  <c:v>-1.7647058823529401E-2</c:v>
                </c:pt>
                <c:pt idx="12702">
                  <c:v>-1.7647058823529401E-2</c:v>
                </c:pt>
                <c:pt idx="12703">
                  <c:v>-1.7647058823529401E-2</c:v>
                </c:pt>
                <c:pt idx="12704">
                  <c:v>-1.7647058823529401E-2</c:v>
                </c:pt>
                <c:pt idx="12705">
                  <c:v>-1.7647058823529401E-2</c:v>
                </c:pt>
                <c:pt idx="12706">
                  <c:v>-1.7647058823529401E-2</c:v>
                </c:pt>
                <c:pt idx="12707">
                  <c:v>-1.7647058823529401E-2</c:v>
                </c:pt>
                <c:pt idx="12708">
                  <c:v>-1.7647058823529401E-2</c:v>
                </c:pt>
                <c:pt idx="12709">
                  <c:v>-1.7647058823529401E-2</c:v>
                </c:pt>
                <c:pt idx="12710">
                  <c:v>-1.7647058823529401E-2</c:v>
                </c:pt>
                <c:pt idx="12711">
                  <c:v>-1.7647058823529401E-2</c:v>
                </c:pt>
                <c:pt idx="12712">
                  <c:v>-1.7647058823529401E-2</c:v>
                </c:pt>
                <c:pt idx="12713">
                  <c:v>-1.7647058823529401E-2</c:v>
                </c:pt>
                <c:pt idx="12714">
                  <c:v>-1.7647058823529401E-2</c:v>
                </c:pt>
                <c:pt idx="12715">
                  <c:v>-1.7647058823529401E-2</c:v>
                </c:pt>
                <c:pt idx="12716">
                  <c:v>-1.7647058823529401E-2</c:v>
                </c:pt>
                <c:pt idx="12717">
                  <c:v>-1.7647058823529401E-2</c:v>
                </c:pt>
                <c:pt idx="12718">
                  <c:v>-1.7647058823529401E-2</c:v>
                </c:pt>
                <c:pt idx="12719">
                  <c:v>-1.7647058823529401E-2</c:v>
                </c:pt>
                <c:pt idx="12720">
                  <c:v>-1.7647058823529401E-2</c:v>
                </c:pt>
                <c:pt idx="12721">
                  <c:v>-1.7647058823529401E-2</c:v>
                </c:pt>
                <c:pt idx="12722">
                  <c:v>-1.7647058823529401E-2</c:v>
                </c:pt>
                <c:pt idx="12723">
                  <c:v>-1.6806722689075598E-2</c:v>
                </c:pt>
                <c:pt idx="12724">
                  <c:v>-1.6806722689075598E-2</c:v>
                </c:pt>
                <c:pt idx="12725">
                  <c:v>-1.6806722689075598E-2</c:v>
                </c:pt>
                <c:pt idx="12726">
                  <c:v>-1.6806722689075598E-2</c:v>
                </c:pt>
                <c:pt idx="12727">
                  <c:v>-1.6806722689075598E-2</c:v>
                </c:pt>
                <c:pt idx="12728">
                  <c:v>-1.6806722689075598E-2</c:v>
                </c:pt>
                <c:pt idx="12729">
                  <c:v>-1.6806722689075598E-2</c:v>
                </c:pt>
                <c:pt idx="12730">
                  <c:v>-1.6806722689075598E-2</c:v>
                </c:pt>
                <c:pt idx="12731">
                  <c:v>-1.6806722689075598E-2</c:v>
                </c:pt>
                <c:pt idx="12732">
                  <c:v>-1.6806722689075598E-2</c:v>
                </c:pt>
                <c:pt idx="12733">
                  <c:v>-1.6806722689075598E-2</c:v>
                </c:pt>
                <c:pt idx="12734">
                  <c:v>-1.6806722689075598E-2</c:v>
                </c:pt>
                <c:pt idx="12735">
                  <c:v>-1.6806722689075598E-2</c:v>
                </c:pt>
                <c:pt idx="12736">
                  <c:v>-1.6806722689075598E-2</c:v>
                </c:pt>
                <c:pt idx="12737">
                  <c:v>-1.6806722689075598E-2</c:v>
                </c:pt>
                <c:pt idx="12738">
                  <c:v>-1.6806722689075598E-2</c:v>
                </c:pt>
                <c:pt idx="12739">
                  <c:v>-1.6806722689075598E-2</c:v>
                </c:pt>
                <c:pt idx="12740">
                  <c:v>-1.6806722689075598E-2</c:v>
                </c:pt>
                <c:pt idx="12741">
                  <c:v>-1.5966386554621799E-2</c:v>
                </c:pt>
                <c:pt idx="12742">
                  <c:v>-1.5966386554621799E-2</c:v>
                </c:pt>
                <c:pt idx="12743">
                  <c:v>-1.5966386554621799E-2</c:v>
                </c:pt>
                <c:pt idx="12744">
                  <c:v>-1.5966386554621799E-2</c:v>
                </c:pt>
                <c:pt idx="12745">
                  <c:v>-1.5966386554621799E-2</c:v>
                </c:pt>
                <c:pt idx="12746">
                  <c:v>-1.5966386554621799E-2</c:v>
                </c:pt>
                <c:pt idx="12747">
                  <c:v>-1.5966386554621799E-2</c:v>
                </c:pt>
                <c:pt idx="12748">
                  <c:v>-1.5966386554621799E-2</c:v>
                </c:pt>
                <c:pt idx="12749">
                  <c:v>-1.5966386554621799E-2</c:v>
                </c:pt>
                <c:pt idx="12750">
                  <c:v>-1.5966386554621799E-2</c:v>
                </c:pt>
                <c:pt idx="12751">
                  <c:v>-1.5966386554621799E-2</c:v>
                </c:pt>
                <c:pt idx="12752">
                  <c:v>-1.5966386554621799E-2</c:v>
                </c:pt>
                <c:pt idx="12753">
                  <c:v>-1.5966386554621799E-2</c:v>
                </c:pt>
                <c:pt idx="12754">
                  <c:v>-1.5966386554621799E-2</c:v>
                </c:pt>
                <c:pt idx="12755">
                  <c:v>-1.5966386554621799E-2</c:v>
                </c:pt>
                <c:pt idx="12756">
                  <c:v>-1.5966386554621799E-2</c:v>
                </c:pt>
                <c:pt idx="12757">
                  <c:v>-1.5966386554621799E-2</c:v>
                </c:pt>
                <c:pt idx="12758">
                  <c:v>-1.5966386554621799E-2</c:v>
                </c:pt>
                <c:pt idx="12759">
                  <c:v>-1.5966386554621799E-2</c:v>
                </c:pt>
                <c:pt idx="12760">
                  <c:v>-1.5966386554621799E-2</c:v>
                </c:pt>
                <c:pt idx="12761">
                  <c:v>-1.5966386554621799E-2</c:v>
                </c:pt>
                <c:pt idx="12762">
                  <c:v>-1.5966386554621799E-2</c:v>
                </c:pt>
                <c:pt idx="12763">
                  <c:v>-1.5966386554621799E-2</c:v>
                </c:pt>
                <c:pt idx="12764">
                  <c:v>-1.5966386554621799E-2</c:v>
                </c:pt>
                <c:pt idx="12765">
                  <c:v>-1.5966386554621799E-2</c:v>
                </c:pt>
                <c:pt idx="12766">
                  <c:v>-1.5966386554621799E-2</c:v>
                </c:pt>
                <c:pt idx="12767">
                  <c:v>-1.6806722689075598E-2</c:v>
                </c:pt>
                <c:pt idx="12768">
                  <c:v>-1.6806722689075598E-2</c:v>
                </c:pt>
                <c:pt idx="12769">
                  <c:v>-1.6806722689075598E-2</c:v>
                </c:pt>
                <c:pt idx="12770">
                  <c:v>-1.6806722689075598E-2</c:v>
                </c:pt>
                <c:pt idx="12771">
                  <c:v>-1.6806722689075598E-2</c:v>
                </c:pt>
                <c:pt idx="12772">
                  <c:v>-1.6806722689075598E-2</c:v>
                </c:pt>
                <c:pt idx="12773">
                  <c:v>-1.6806722689075598E-2</c:v>
                </c:pt>
                <c:pt idx="12774">
                  <c:v>-1.6806722689075598E-2</c:v>
                </c:pt>
                <c:pt idx="12775">
                  <c:v>-1.6806722689075598E-2</c:v>
                </c:pt>
                <c:pt idx="12776">
                  <c:v>-1.6806722689075598E-2</c:v>
                </c:pt>
                <c:pt idx="12777">
                  <c:v>-1.6806722689075598E-2</c:v>
                </c:pt>
                <c:pt idx="12778">
                  <c:v>-1.6806722689075598E-2</c:v>
                </c:pt>
                <c:pt idx="12779">
                  <c:v>-1.6806722689075598E-2</c:v>
                </c:pt>
                <c:pt idx="12780">
                  <c:v>-1.6806722689075598E-2</c:v>
                </c:pt>
                <c:pt idx="12781">
                  <c:v>-1.6806722689075598E-2</c:v>
                </c:pt>
                <c:pt idx="12782">
                  <c:v>-1.6806722689075598E-2</c:v>
                </c:pt>
                <c:pt idx="12783">
                  <c:v>-1.6806722689075598E-2</c:v>
                </c:pt>
                <c:pt idx="12784">
                  <c:v>-1.7647058823529401E-2</c:v>
                </c:pt>
                <c:pt idx="12785">
                  <c:v>-1.7647058823529401E-2</c:v>
                </c:pt>
                <c:pt idx="12786">
                  <c:v>-1.84873949579831E-2</c:v>
                </c:pt>
                <c:pt idx="12787">
                  <c:v>-1.84873949579831E-2</c:v>
                </c:pt>
                <c:pt idx="12788">
                  <c:v>-1.84873949579831E-2</c:v>
                </c:pt>
                <c:pt idx="12789">
                  <c:v>-1.84873949579831E-2</c:v>
                </c:pt>
                <c:pt idx="12790">
                  <c:v>-1.84873949579831E-2</c:v>
                </c:pt>
                <c:pt idx="12791">
                  <c:v>-1.84873949579831E-2</c:v>
                </c:pt>
                <c:pt idx="12792">
                  <c:v>-1.84873949579831E-2</c:v>
                </c:pt>
                <c:pt idx="12793">
                  <c:v>-1.84873949579831E-2</c:v>
                </c:pt>
                <c:pt idx="12794">
                  <c:v>-1.84873949579831E-2</c:v>
                </c:pt>
                <c:pt idx="12795">
                  <c:v>-1.9327731092436899E-2</c:v>
                </c:pt>
                <c:pt idx="12796">
                  <c:v>-1.9327731092436899E-2</c:v>
                </c:pt>
                <c:pt idx="12797">
                  <c:v>-1.84873949579831E-2</c:v>
                </c:pt>
                <c:pt idx="12798">
                  <c:v>-1.84873949579831E-2</c:v>
                </c:pt>
                <c:pt idx="12799">
                  <c:v>-1.84873949579831E-2</c:v>
                </c:pt>
                <c:pt idx="12800">
                  <c:v>-1.84873949579831E-2</c:v>
                </c:pt>
                <c:pt idx="12801">
                  <c:v>-1.84873949579831E-2</c:v>
                </c:pt>
                <c:pt idx="12802">
                  <c:v>-1.84873949579831E-2</c:v>
                </c:pt>
                <c:pt idx="12803">
                  <c:v>-1.84873949579831E-2</c:v>
                </c:pt>
                <c:pt idx="12804">
                  <c:v>-1.84873949579831E-2</c:v>
                </c:pt>
                <c:pt idx="12805">
                  <c:v>-1.84873949579831E-2</c:v>
                </c:pt>
                <c:pt idx="12806">
                  <c:v>-1.84873949579831E-2</c:v>
                </c:pt>
                <c:pt idx="12807">
                  <c:v>-1.84873949579831E-2</c:v>
                </c:pt>
                <c:pt idx="12808">
                  <c:v>-1.84873949579831E-2</c:v>
                </c:pt>
                <c:pt idx="12809">
                  <c:v>-1.84873949579831E-2</c:v>
                </c:pt>
                <c:pt idx="12810">
                  <c:v>-1.84873949579831E-2</c:v>
                </c:pt>
                <c:pt idx="12811">
                  <c:v>-1.84873949579831E-2</c:v>
                </c:pt>
                <c:pt idx="12812">
                  <c:v>-1.84873949579831E-2</c:v>
                </c:pt>
                <c:pt idx="12813">
                  <c:v>-1.84873949579831E-2</c:v>
                </c:pt>
                <c:pt idx="12814">
                  <c:v>-1.84873949579831E-2</c:v>
                </c:pt>
                <c:pt idx="12815">
                  <c:v>-1.84873949579831E-2</c:v>
                </c:pt>
                <c:pt idx="12816">
                  <c:v>-1.84873949579831E-2</c:v>
                </c:pt>
                <c:pt idx="12817">
                  <c:v>-1.84873949579831E-2</c:v>
                </c:pt>
                <c:pt idx="12818">
                  <c:v>-1.84873949579831E-2</c:v>
                </c:pt>
                <c:pt idx="12819">
                  <c:v>-1.84873949579831E-2</c:v>
                </c:pt>
                <c:pt idx="12820">
                  <c:v>-1.84873949579831E-2</c:v>
                </c:pt>
                <c:pt idx="12821">
                  <c:v>-1.84873949579831E-2</c:v>
                </c:pt>
                <c:pt idx="12822">
                  <c:v>-1.84873949579831E-2</c:v>
                </c:pt>
                <c:pt idx="12823">
                  <c:v>-1.84873949579831E-2</c:v>
                </c:pt>
                <c:pt idx="12824">
                  <c:v>-1.84873949579831E-2</c:v>
                </c:pt>
                <c:pt idx="12825">
                  <c:v>-1.84873949579831E-2</c:v>
                </c:pt>
                <c:pt idx="12826">
                  <c:v>-1.84873949579831E-2</c:v>
                </c:pt>
                <c:pt idx="12827">
                  <c:v>-1.9327731092436899E-2</c:v>
                </c:pt>
                <c:pt idx="12828">
                  <c:v>-1.9327731092436899E-2</c:v>
                </c:pt>
                <c:pt idx="12829">
                  <c:v>-1.9327731092436899E-2</c:v>
                </c:pt>
                <c:pt idx="12830">
                  <c:v>-1.9327731092436899E-2</c:v>
                </c:pt>
                <c:pt idx="12831">
                  <c:v>-2.0168067226890699E-2</c:v>
                </c:pt>
                <c:pt idx="12832">
                  <c:v>-2.0168067226890699E-2</c:v>
                </c:pt>
                <c:pt idx="12833">
                  <c:v>-2.0168067226890699E-2</c:v>
                </c:pt>
                <c:pt idx="12834">
                  <c:v>-2.0168067226890699E-2</c:v>
                </c:pt>
                <c:pt idx="12835">
                  <c:v>-2.0168067226890699E-2</c:v>
                </c:pt>
                <c:pt idx="12836">
                  <c:v>-2.0168067226890699E-2</c:v>
                </c:pt>
                <c:pt idx="12837">
                  <c:v>-2.0168067226890699E-2</c:v>
                </c:pt>
                <c:pt idx="12838">
                  <c:v>-2.0168067226890699E-2</c:v>
                </c:pt>
                <c:pt idx="12839">
                  <c:v>-2.1008403361344501E-2</c:v>
                </c:pt>
                <c:pt idx="12840">
                  <c:v>-2.1008403361344501E-2</c:v>
                </c:pt>
                <c:pt idx="12841">
                  <c:v>-2.1008403361344501E-2</c:v>
                </c:pt>
                <c:pt idx="12842">
                  <c:v>-2.1008403361344501E-2</c:v>
                </c:pt>
                <c:pt idx="12843">
                  <c:v>-2.1008403361344501E-2</c:v>
                </c:pt>
                <c:pt idx="12844">
                  <c:v>-2.1008403361344501E-2</c:v>
                </c:pt>
                <c:pt idx="12845">
                  <c:v>-2.1008403361344501E-2</c:v>
                </c:pt>
                <c:pt idx="12846">
                  <c:v>-2.1008403361344501E-2</c:v>
                </c:pt>
                <c:pt idx="12847">
                  <c:v>-2.1008403361344501E-2</c:v>
                </c:pt>
                <c:pt idx="12848">
                  <c:v>-2.1008403361344501E-2</c:v>
                </c:pt>
                <c:pt idx="12849">
                  <c:v>-2.1008403361344501E-2</c:v>
                </c:pt>
                <c:pt idx="12850">
                  <c:v>-2.1008403361344501E-2</c:v>
                </c:pt>
                <c:pt idx="12851">
                  <c:v>-2.1008403361344501E-2</c:v>
                </c:pt>
                <c:pt idx="12852">
                  <c:v>-2.1008403361344501E-2</c:v>
                </c:pt>
                <c:pt idx="12853">
                  <c:v>-2.1008403361344501E-2</c:v>
                </c:pt>
                <c:pt idx="12854">
                  <c:v>-2.1008403361344501E-2</c:v>
                </c:pt>
                <c:pt idx="12855">
                  <c:v>-2.1008403361344501E-2</c:v>
                </c:pt>
                <c:pt idx="12856">
                  <c:v>-2.1008403361344501E-2</c:v>
                </c:pt>
                <c:pt idx="12857">
                  <c:v>-2.1008403361344501E-2</c:v>
                </c:pt>
                <c:pt idx="12858">
                  <c:v>-2.1008403361344501E-2</c:v>
                </c:pt>
                <c:pt idx="12859">
                  <c:v>-2.18487394957982E-2</c:v>
                </c:pt>
                <c:pt idx="12860">
                  <c:v>-2.18487394957982E-2</c:v>
                </c:pt>
                <c:pt idx="12861">
                  <c:v>-2.18487394957982E-2</c:v>
                </c:pt>
                <c:pt idx="12862">
                  <c:v>-2.18487394957982E-2</c:v>
                </c:pt>
                <c:pt idx="12863">
                  <c:v>-2.18487394957982E-2</c:v>
                </c:pt>
                <c:pt idx="12864">
                  <c:v>-2.18487394957982E-2</c:v>
                </c:pt>
                <c:pt idx="12865">
                  <c:v>-2.18487394957982E-2</c:v>
                </c:pt>
                <c:pt idx="12866">
                  <c:v>-2.18487394957982E-2</c:v>
                </c:pt>
                <c:pt idx="12867">
                  <c:v>-2.18487394957982E-2</c:v>
                </c:pt>
                <c:pt idx="12868">
                  <c:v>-2.18487394957982E-2</c:v>
                </c:pt>
                <c:pt idx="12869">
                  <c:v>-2.18487394957982E-2</c:v>
                </c:pt>
                <c:pt idx="12870">
                  <c:v>-2.2689075630251999E-2</c:v>
                </c:pt>
                <c:pt idx="12871">
                  <c:v>-2.2689075630251999E-2</c:v>
                </c:pt>
                <c:pt idx="12872">
                  <c:v>-2.2689075630251999E-2</c:v>
                </c:pt>
                <c:pt idx="12873">
                  <c:v>-2.2689075630251999E-2</c:v>
                </c:pt>
                <c:pt idx="12874">
                  <c:v>-2.2689075630251999E-2</c:v>
                </c:pt>
                <c:pt idx="12875">
                  <c:v>-2.2689075630251999E-2</c:v>
                </c:pt>
                <c:pt idx="12876">
                  <c:v>-2.2689075630251999E-2</c:v>
                </c:pt>
                <c:pt idx="12877">
                  <c:v>-2.2689075630251999E-2</c:v>
                </c:pt>
                <c:pt idx="12878">
                  <c:v>-2.2689075630251999E-2</c:v>
                </c:pt>
                <c:pt idx="12879">
                  <c:v>-2.2689075630251999E-2</c:v>
                </c:pt>
                <c:pt idx="12880">
                  <c:v>-2.2689075630251999E-2</c:v>
                </c:pt>
                <c:pt idx="12881">
                  <c:v>-2.2689075630251999E-2</c:v>
                </c:pt>
                <c:pt idx="12882">
                  <c:v>-2.2689075630251999E-2</c:v>
                </c:pt>
                <c:pt idx="12883">
                  <c:v>-2.2689075630251999E-2</c:v>
                </c:pt>
                <c:pt idx="12884">
                  <c:v>-2.2689075630251999E-2</c:v>
                </c:pt>
                <c:pt idx="12885">
                  <c:v>-2.2689075630251999E-2</c:v>
                </c:pt>
                <c:pt idx="12886">
                  <c:v>-2.2689075630251999E-2</c:v>
                </c:pt>
                <c:pt idx="12887">
                  <c:v>-2.2689075630251999E-2</c:v>
                </c:pt>
                <c:pt idx="12888">
                  <c:v>-2.2689075630251999E-2</c:v>
                </c:pt>
                <c:pt idx="12889">
                  <c:v>-2.2689075630251999E-2</c:v>
                </c:pt>
                <c:pt idx="12890">
                  <c:v>-2.2689075630251999E-2</c:v>
                </c:pt>
                <c:pt idx="12891">
                  <c:v>-2.2689075630251999E-2</c:v>
                </c:pt>
                <c:pt idx="12892">
                  <c:v>-2.2689075630251999E-2</c:v>
                </c:pt>
                <c:pt idx="12893">
                  <c:v>-2.2689075630251999E-2</c:v>
                </c:pt>
                <c:pt idx="12894">
                  <c:v>-2.2689075630251999E-2</c:v>
                </c:pt>
                <c:pt idx="12895">
                  <c:v>-2.2689075630251999E-2</c:v>
                </c:pt>
                <c:pt idx="12896">
                  <c:v>-2.2689075630251999E-2</c:v>
                </c:pt>
                <c:pt idx="12897">
                  <c:v>-2.2689075630251999E-2</c:v>
                </c:pt>
                <c:pt idx="12898">
                  <c:v>-2.2689075630251999E-2</c:v>
                </c:pt>
                <c:pt idx="12899">
                  <c:v>-2.2689075630251999E-2</c:v>
                </c:pt>
                <c:pt idx="12900">
                  <c:v>-2.2689075630251999E-2</c:v>
                </c:pt>
                <c:pt idx="12901">
                  <c:v>-2.2689075630251999E-2</c:v>
                </c:pt>
                <c:pt idx="12902">
                  <c:v>-2.2689075630251999E-2</c:v>
                </c:pt>
                <c:pt idx="12903">
                  <c:v>-2.2689075630251999E-2</c:v>
                </c:pt>
                <c:pt idx="12904">
                  <c:v>-2.2689075630251999E-2</c:v>
                </c:pt>
                <c:pt idx="12905">
                  <c:v>-2.18487394957982E-2</c:v>
                </c:pt>
                <c:pt idx="12906">
                  <c:v>-2.18487394957982E-2</c:v>
                </c:pt>
                <c:pt idx="12907">
                  <c:v>-2.18487394957982E-2</c:v>
                </c:pt>
                <c:pt idx="12908">
                  <c:v>-2.2689075630251999E-2</c:v>
                </c:pt>
                <c:pt idx="12909">
                  <c:v>-2.2689075630251999E-2</c:v>
                </c:pt>
                <c:pt idx="12910">
                  <c:v>-2.2689075630251999E-2</c:v>
                </c:pt>
                <c:pt idx="12911">
                  <c:v>-2.2689075630251999E-2</c:v>
                </c:pt>
                <c:pt idx="12912">
                  <c:v>-2.2689075630251999E-2</c:v>
                </c:pt>
                <c:pt idx="12913">
                  <c:v>-2.2689075630251999E-2</c:v>
                </c:pt>
                <c:pt idx="12914">
                  <c:v>-2.2689075630251999E-2</c:v>
                </c:pt>
                <c:pt idx="12915">
                  <c:v>-2.2689075630251999E-2</c:v>
                </c:pt>
                <c:pt idx="12916">
                  <c:v>-2.2689075630251999E-2</c:v>
                </c:pt>
                <c:pt idx="12917">
                  <c:v>-2.2689075630251999E-2</c:v>
                </c:pt>
                <c:pt idx="12918">
                  <c:v>-2.2689075630251999E-2</c:v>
                </c:pt>
                <c:pt idx="12919">
                  <c:v>-2.2689075630251999E-2</c:v>
                </c:pt>
                <c:pt idx="12920">
                  <c:v>-2.2689075630251999E-2</c:v>
                </c:pt>
                <c:pt idx="12921">
                  <c:v>-2.2689075630251999E-2</c:v>
                </c:pt>
                <c:pt idx="12922">
                  <c:v>-2.2689075630251999E-2</c:v>
                </c:pt>
                <c:pt idx="12923">
                  <c:v>-2.2689075630251999E-2</c:v>
                </c:pt>
                <c:pt idx="12924">
                  <c:v>-2.2689075630251999E-2</c:v>
                </c:pt>
                <c:pt idx="12925">
                  <c:v>-2.2689075630251999E-2</c:v>
                </c:pt>
                <c:pt idx="12926">
                  <c:v>-2.2689075630251999E-2</c:v>
                </c:pt>
                <c:pt idx="12927">
                  <c:v>-2.2689075630251999E-2</c:v>
                </c:pt>
                <c:pt idx="12928">
                  <c:v>-2.2689075630251999E-2</c:v>
                </c:pt>
                <c:pt idx="12929">
                  <c:v>-2.2689075630251999E-2</c:v>
                </c:pt>
                <c:pt idx="12930">
                  <c:v>-2.2689075630251999E-2</c:v>
                </c:pt>
                <c:pt idx="12931">
                  <c:v>-2.2689075630251999E-2</c:v>
                </c:pt>
                <c:pt idx="12932">
                  <c:v>-2.2689075630251999E-2</c:v>
                </c:pt>
                <c:pt idx="12933">
                  <c:v>-2.2689075630251999E-2</c:v>
                </c:pt>
                <c:pt idx="12934">
                  <c:v>-2.18487394957982E-2</c:v>
                </c:pt>
                <c:pt idx="12935">
                  <c:v>-2.18487394957982E-2</c:v>
                </c:pt>
                <c:pt idx="12936">
                  <c:v>-2.18487394957982E-2</c:v>
                </c:pt>
                <c:pt idx="12937">
                  <c:v>-2.18487394957982E-2</c:v>
                </c:pt>
                <c:pt idx="12938">
                  <c:v>-2.1008403361344401E-2</c:v>
                </c:pt>
                <c:pt idx="12939">
                  <c:v>-2.1008403361344401E-2</c:v>
                </c:pt>
                <c:pt idx="12940">
                  <c:v>-2.1008403361344401E-2</c:v>
                </c:pt>
                <c:pt idx="12941">
                  <c:v>-2.1008403361344401E-2</c:v>
                </c:pt>
                <c:pt idx="12942">
                  <c:v>-2.1008403361344401E-2</c:v>
                </c:pt>
                <c:pt idx="12943">
                  <c:v>-2.1008403361344401E-2</c:v>
                </c:pt>
                <c:pt idx="12944">
                  <c:v>-2.0168067226890601E-2</c:v>
                </c:pt>
                <c:pt idx="12945">
                  <c:v>-2.0168067226890601E-2</c:v>
                </c:pt>
                <c:pt idx="12946">
                  <c:v>-2.0168067226890601E-2</c:v>
                </c:pt>
                <c:pt idx="12947">
                  <c:v>-2.0168067226890601E-2</c:v>
                </c:pt>
                <c:pt idx="12948">
                  <c:v>-2.0168067226890601E-2</c:v>
                </c:pt>
                <c:pt idx="12949">
                  <c:v>-2.0168067226890601E-2</c:v>
                </c:pt>
                <c:pt idx="12950">
                  <c:v>-2.0168067226890601E-2</c:v>
                </c:pt>
                <c:pt idx="12951">
                  <c:v>-1.9327731092436899E-2</c:v>
                </c:pt>
                <c:pt idx="12952">
                  <c:v>-1.9327731092436899E-2</c:v>
                </c:pt>
                <c:pt idx="12953">
                  <c:v>-1.9327731092436899E-2</c:v>
                </c:pt>
                <c:pt idx="12954">
                  <c:v>-1.9327731092436899E-2</c:v>
                </c:pt>
                <c:pt idx="12955">
                  <c:v>-1.9327731092436899E-2</c:v>
                </c:pt>
                <c:pt idx="12956">
                  <c:v>-1.9327731092436899E-2</c:v>
                </c:pt>
                <c:pt idx="12957">
                  <c:v>-1.9327731092436899E-2</c:v>
                </c:pt>
                <c:pt idx="12958">
                  <c:v>-1.9327731092436899E-2</c:v>
                </c:pt>
                <c:pt idx="12959">
                  <c:v>-1.9327731092436899E-2</c:v>
                </c:pt>
                <c:pt idx="12960">
                  <c:v>-1.9327731092436899E-2</c:v>
                </c:pt>
                <c:pt idx="12961">
                  <c:v>-1.9327731092436899E-2</c:v>
                </c:pt>
                <c:pt idx="12962">
                  <c:v>-1.9327731092436899E-2</c:v>
                </c:pt>
                <c:pt idx="12963">
                  <c:v>-1.9327731092436899E-2</c:v>
                </c:pt>
                <c:pt idx="12964">
                  <c:v>-1.9327731092436899E-2</c:v>
                </c:pt>
                <c:pt idx="12965">
                  <c:v>-1.9327731092436899E-2</c:v>
                </c:pt>
                <c:pt idx="12966">
                  <c:v>-1.9327731092436899E-2</c:v>
                </c:pt>
                <c:pt idx="12967">
                  <c:v>-1.9327731092436899E-2</c:v>
                </c:pt>
                <c:pt idx="12968">
                  <c:v>-1.9327731092436899E-2</c:v>
                </c:pt>
                <c:pt idx="12969">
                  <c:v>-1.9327731092436899E-2</c:v>
                </c:pt>
                <c:pt idx="12970">
                  <c:v>-1.9327731092436899E-2</c:v>
                </c:pt>
                <c:pt idx="12971">
                  <c:v>-1.84873949579831E-2</c:v>
                </c:pt>
                <c:pt idx="12972">
                  <c:v>-1.84873949579831E-2</c:v>
                </c:pt>
                <c:pt idx="12973">
                  <c:v>-1.84873949579831E-2</c:v>
                </c:pt>
                <c:pt idx="12974">
                  <c:v>-1.84873949579831E-2</c:v>
                </c:pt>
                <c:pt idx="12975">
                  <c:v>-1.84873949579831E-2</c:v>
                </c:pt>
                <c:pt idx="12976">
                  <c:v>-1.84873949579831E-2</c:v>
                </c:pt>
                <c:pt idx="12977">
                  <c:v>-1.84873949579831E-2</c:v>
                </c:pt>
                <c:pt idx="12978">
                  <c:v>-1.84873949579831E-2</c:v>
                </c:pt>
                <c:pt idx="12979">
                  <c:v>-1.84873949579831E-2</c:v>
                </c:pt>
                <c:pt idx="12980">
                  <c:v>-1.84873949579831E-2</c:v>
                </c:pt>
                <c:pt idx="12981">
                  <c:v>-1.84873949579831E-2</c:v>
                </c:pt>
                <c:pt idx="12982">
                  <c:v>-1.84873949579831E-2</c:v>
                </c:pt>
                <c:pt idx="12983">
                  <c:v>-1.84873949579831E-2</c:v>
                </c:pt>
                <c:pt idx="12984">
                  <c:v>-1.84873949579831E-2</c:v>
                </c:pt>
                <c:pt idx="12985">
                  <c:v>-1.84873949579831E-2</c:v>
                </c:pt>
                <c:pt idx="12986">
                  <c:v>-1.84873949579831E-2</c:v>
                </c:pt>
                <c:pt idx="12987">
                  <c:v>-1.76470588235293E-2</c:v>
                </c:pt>
                <c:pt idx="12988">
                  <c:v>-1.76470588235293E-2</c:v>
                </c:pt>
                <c:pt idx="12989">
                  <c:v>-1.76470588235293E-2</c:v>
                </c:pt>
                <c:pt idx="12990">
                  <c:v>-1.6806722689075501E-2</c:v>
                </c:pt>
                <c:pt idx="12991">
                  <c:v>-1.6806722689075501E-2</c:v>
                </c:pt>
                <c:pt idx="12992">
                  <c:v>-1.6806722689075501E-2</c:v>
                </c:pt>
                <c:pt idx="12993">
                  <c:v>-1.6806722689075501E-2</c:v>
                </c:pt>
                <c:pt idx="12994">
                  <c:v>-1.6806722689075501E-2</c:v>
                </c:pt>
                <c:pt idx="12995">
                  <c:v>-1.6806722689075501E-2</c:v>
                </c:pt>
                <c:pt idx="12996">
                  <c:v>-1.6806722689075501E-2</c:v>
                </c:pt>
                <c:pt idx="12997">
                  <c:v>-1.6806722689075501E-2</c:v>
                </c:pt>
                <c:pt idx="12998">
                  <c:v>-1.6806722689075501E-2</c:v>
                </c:pt>
                <c:pt idx="12999">
                  <c:v>-1.6806722689075501E-2</c:v>
                </c:pt>
                <c:pt idx="13000">
                  <c:v>-1.6806722689075501E-2</c:v>
                </c:pt>
                <c:pt idx="13001">
                  <c:v>-1.6806722689075501E-2</c:v>
                </c:pt>
                <c:pt idx="13002">
                  <c:v>-1.6806722689075501E-2</c:v>
                </c:pt>
                <c:pt idx="13003">
                  <c:v>-1.6806722689075501E-2</c:v>
                </c:pt>
                <c:pt idx="13004">
                  <c:v>-1.6806722689075501E-2</c:v>
                </c:pt>
                <c:pt idx="13005">
                  <c:v>-1.76470588235293E-2</c:v>
                </c:pt>
                <c:pt idx="13006">
                  <c:v>-1.76470588235293E-2</c:v>
                </c:pt>
                <c:pt idx="13007">
                  <c:v>-1.76470588235293E-2</c:v>
                </c:pt>
                <c:pt idx="13008">
                  <c:v>-1.76470588235293E-2</c:v>
                </c:pt>
                <c:pt idx="13009">
                  <c:v>-1.76470588235293E-2</c:v>
                </c:pt>
                <c:pt idx="13010">
                  <c:v>-1.76470588235293E-2</c:v>
                </c:pt>
                <c:pt idx="13011">
                  <c:v>-1.76470588235293E-2</c:v>
                </c:pt>
                <c:pt idx="13012">
                  <c:v>-1.76470588235293E-2</c:v>
                </c:pt>
                <c:pt idx="13013">
                  <c:v>-1.76470588235293E-2</c:v>
                </c:pt>
                <c:pt idx="13014">
                  <c:v>-1.76470588235293E-2</c:v>
                </c:pt>
                <c:pt idx="13015">
                  <c:v>-1.76470588235293E-2</c:v>
                </c:pt>
                <c:pt idx="13016">
                  <c:v>-1.76470588235293E-2</c:v>
                </c:pt>
                <c:pt idx="13017">
                  <c:v>-1.76470588235293E-2</c:v>
                </c:pt>
                <c:pt idx="13018">
                  <c:v>-1.76470588235293E-2</c:v>
                </c:pt>
                <c:pt idx="13019">
                  <c:v>-1.76470588235293E-2</c:v>
                </c:pt>
                <c:pt idx="13020">
                  <c:v>-1.6806722689075501E-2</c:v>
                </c:pt>
                <c:pt idx="13021">
                  <c:v>-1.7647058823529401E-2</c:v>
                </c:pt>
                <c:pt idx="13022">
                  <c:v>-1.84873949579832E-2</c:v>
                </c:pt>
                <c:pt idx="13023">
                  <c:v>-1.84873949579832E-2</c:v>
                </c:pt>
                <c:pt idx="13024">
                  <c:v>-1.84873949579832E-2</c:v>
                </c:pt>
                <c:pt idx="13025">
                  <c:v>-1.84873949579832E-2</c:v>
                </c:pt>
                <c:pt idx="13026">
                  <c:v>-1.84873949579832E-2</c:v>
                </c:pt>
                <c:pt idx="13027">
                  <c:v>-1.84873949579832E-2</c:v>
                </c:pt>
                <c:pt idx="13028">
                  <c:v>-1.84873949579832E-2</c:v>
                </c:pt>
                <c:pt idx="13029">
                  <c:v>-1.84873949579832E-2</c:v>
                </c:pt>
                <c:pt idx="13030">
                  <c:v>-1.84873949579832E-2</c:v>
                </c:pt>
                <c:pt idx="13031">
                  <c:v>-1.84873949579832E-2</c:v>
                </c:pt>
                <c:pt idx="13032">
                  <c:v>-1.84873949579832E-2</c:v>
                </c:pt>
                <c:pt idx="13033">
                  <c:v>-1.84873949579832E-2</c:v>
                </c:pt>
                <c:pt idx="13034">
                  <c:v>-1.84873949579832E-2</c:v>
                </c:pt>
                <c:pt idx="13035">
                  <c:v>-1.84873949579832E-2</c:v>
                </c:pt>
                <c:pt idx="13036">
                  <c:v>-1.84873949579832E-2</c:v>
                </c:pt>
                <c:pt idx="13037">
                  <c:v>-1.84873949579832E-2</c:v>
                </c:pt>
                <c:pt idx="13038">
                  <c:v>-1.84873949579832E-2</c:v>
                </c:pt>
                <c:pt idx="13039">
                  <c:v>-1.84873949579832E-2</c:v>
                </c:pt>
                <c:pt idx="13040">
                  <c:v>-1.84873949579832E-2</c:v>
                </c:pt>
                <c:pt idx="13041">
                  <c:v>-1.84873949579832E-2</c:v>
                </c:pt>
                <c:pt idx="13042">
                  <c:v>-1.84873949579832E-2</c:v>
                </c:pt>
                <c:pt idx="13043">
                  <c:v>-1.84873949579832E-2</c:v>
                </c:pt>
                <c:pt idx="13044">
                  <c:v>-1.84873949579832E-2</c:v>
                </c:pt>
                <c:pt idx="13045">
                  <c:v>-1.9327731092437E-2</c:v>
                </c:pt>
                <c:pt idx="13046">
                  <c:v>-1.9327731092437E-2</c:v>
                </c:pt>
                <c:pt idx="13047">
                  <c:v>-1.9327731092437E-2</c:v>
                </c:pt>
                <c:pt idx="13048">
                  <c:v>-1.9327731092437E-2</c:v>
                </c:pt>
                <c:pt idx="13049">
                  <c:v>-1.9327731092437E-2</c:v>
                </c:pt>
                <c:pt idx="13050">
                  <c:v>-1.9327731092437E-2</c:v>
                </c:pt>
                <c:pt idx="13051">
                  <c:v>-1.9327731092437E-2</c:v>
                </c:pt>
                <c:pt idx="13052">
                  <c:v>-1.9327731092437E-2</c:v>
                </c:pt>
                <c:pt idx="13053">
                  <c:v>-1.9327731092437E-2</c:v>
                </c:pt>
                <c:pt idx="13054">
                  <c:v>-1.9327731092437E-2</c:v>
                </c:pt>
                <c:pt idx="13055">
                  <c:v>-1.9327731092437E-2</c:v>
                </c:pt>
                <c:pt idx="13056">
                  <c:v>-2.0168067226890699E-2</c:v>
                </c:pt>
                <c:pt idx="13057">
                  <c:v>-2.0168067226890699E-2</c:v>
                </c:pt>
                <c:pt idx="13058">
                  <c:v>-2.0168067226890699E-2</c:v>
                </c:pt>
                <c:pt idx="13059">
                  <c:v>-2.0168067226890699E-2</c:v>
                </c:pt>
                <c:pt idx="13060">
                  <c:v>-2.0168067226890699E-2</c:v>
                </c:pt>
                <c:pt idx="13061">
                  <c:v>-2.0168067226890699E-2</c:v>
                </c:pt>
                <c:pt idx="13062">
                  <c:v>-2.0168067226890699E-2</c:v>
                </c:pt>
                <c:pt idx="13063">
                  <c:v>-2.0168067226890699E-2</c:v>
                </c:pt>
                <c:pt idx="13064">
                  <c:v>-2.0168067226890699E-2</c:v>
                </c:pt>
                <c:pt idx="13065">
                  <c:v>-2.0168067226890699E-2</c:v>
                </c:pt>
                <c:pt idx="13066">
                  <c:v>-2.0168067226890699E-2</c:v>
                </c:pt>
                <c:pt idx="13067">
                  <c:v>-2.0168067226890699E-2</c:v>
                </c:pt>
                <c:pt idx="13068">
                  <c:v>-2.0168067226890699E-2</c:v>
                </c:pt>
                <c:pt idx="13069">
                  <c:v>-2.0168067226890699E-2</c:v>
                </c:pt>
                <c:pt idx="13070">
                  <c:v>-2.0168067226890699E-2</c:v>
                </c:pt>
                <c:pt idx="13071">
                  <c:v>-2.0168067226890699E-2</c:v>
                </c:pt>
                <c:pt idx="13072">
                  <c:v>-2.0168067226890699E-2</c:v>
                </c:pt>
                <c:pt idx="13073">
                  <c:v>-2.0168067226890699E-2</c:v>
                </c:pt>
                <c:pt idx="13074">
                  <c:v>-2.0168067226890699E-2</c:v>
                </c:pt>
                <c:pt idx="13075">
                  <c:v>-2.0168067226890699E-2</c:v>
                </c:pt>
                <c:pt idx="13076">
                  <c:v>-2.0168067226890699E-2</c:v>
                </c:pt>
                <c:pt idx="13077">
                  <c:v>-2.0168067226890699E-2</c:v>
                </c:pt>
                <c:pt idx="13078">
                  <c:v>-2.0168067226890699E-2</c:v>
                </c:pt>
                <c:pt idx="13079">
                  <c:v>-2.0168067226890699E-2</c:v>
                </c:pt>
                <c:pt idx="13080">
                  <c:v>-2.1008403361344501E-2</c:v>
                </c:pt>
                <c:pt idx="13081">
                  <c:v>-2.1008403361344501E-2</c:v>
                </c:pt>
                <c:pt idx="13082">
                  <c:v>-2.1008403361344501E-2</c:v>
                </c:pt>
                <c:pt idx="13083">
                  <c:v>-2.1008403361344501E-2</c:v>
                </c:pt>
                <c:pt idx="13084">
                  <c:v>-2.1008403361344501E-2</c:v>
                </c:pt>
                <c:pt idx="13085">
                  <c:v>-2.1008403361344501E-2</c:v>
                </c:pt>
                <c:pt idx="13086">
                  <c:v>-2.1008403361344501E-2</c:v>
                </c:pt>
                <c:pt idx="13087">
                  <c:v>-2.1008403361344501E-2</c:v>
                </c:pt>
                <c:pt idx="13088">
                  <c:v>-2.1008403361344501E-2</c:v>
                </c:pt>
                <c:pt idx="13089">
                  <c:v>-2.1008403361344501E-2</c:v>
                </c:pt>
                <c:pt idx="13090">
                  <c:v>-2.1008403361344501E-2</c:v>
                </c:pt>
                <c:pt idx="13091">
                  <c:v>-2.1008403361344501E-2</c:v>
                </c:pt>
                <c:pt idx="13092">
                  <c:v>-2.1008403361344501E-2</c:v>
                </c:pt>
                <c:pt idx="13093">
                  <c:v>-2.1008403361344501E-2</c:v>
                </c:pt>
                <c:pt idx="13094">
                  <c:v>-2.1008403361344501E-2</c:v>
                </c:pt>
                <c:pt idx="13095">
                  <c:v>-2.1008403361344501E-2</c:v>
                </c:pt>
                <c:pt idx="13096">
                  <c:v>-2.1008403361344501E-2</c:v>
                </c:pt>
                <c:pt idx="13097">
                  <c:v>-2.1008403361344501E-2</c:v>
                </c:pt>
                <c:pt idx="13098">
                  <c:v>-2.1008403361344501E-2</c:v>
                </c:pt>
                <c:pt idx="13099">
                  <c:v>-2.1008403361344501E-2</c:v>
                </c:pt>
                <c:pt idx="13100">
                  <c:v>-2.1008403361344501E-2</c:v>
                </c:pt>
                <c:pt idx="13101">
                  <c:v>-2.1008403361344501E-2</c:v>
                </c:pt>
                <c:pt idx="13102">
                  <c:v>-2.1008403361344501E-2</c:v>
                </c:pt>
                <c:pt idx="13103">
                  <c:v>-2.1008403361344501E-2</c:v>
                </c:pt>
                <c:pt idx="13104">
                  <c:v>-2.1008403361344501E-2</c:v>
                </c:pt>
                <c:pt idx="13105">
                  <c:v>-2.1008403361344501E-2</c:v>
                </c:pt>
                <c:pt idx="13106">
                  <c:v>-2.1008403361344501E-2</c:v>
                </c:pt>
                <c:pt idx="13107">
                  <c:v>-2.1008403361344501E-2</c:v>
                </c:pt>
                <c:pt idx="13108">
                  <c:v>-2.1008403361344501E-2</c:v>
                </c:pt>
                <c:pt idx="13109">
                  <c:v>-2.1008403361344501E-2</c:v>
                </c:pt>
                <c:pt idx="13110">
                  <c:v>-2.1008403361344501E-2</c:v>
                </c:pt>
                <c:pt idx="13111">
                  <c:v>-2.1008403361344501E-2</c:v>
                </c:pt>
                <c:pt idx="13112">
                  <c:v>-2.1008403361344501E-2</c:v>
                </c:pt>
                <c:pt idx="13113">
                  <c:v>-2.1008403361344501E-2</c:v>
                </c:pt>
                <c:pt idx="13114">
                  <c:v>-2.1008403361344501E-2</c:v>
                </c:pt>
                <c:pt idx="13115">
                  <c:v>-2.1008403361344501E-2</c:v>
                </c:pt>
                <c:pt idx="13116">
                  <c:v>-2.1008403361344501E-2</c:v>
                </c:pt>
                <c:pt idx="13117">
                  <c:v>-2.1008403361344501E-2</c:v>
                </c:pt>
                <c:pt idx="13118">
                  <c:v>-2.1008403361344501E-2</c:v>
                </c:pt>
                <c:pt idx="13119">
                  <c:v>-2.1008403361344501E-2</c:v>
                </c:pt>
                <c:pt idx="13120">
                  <c:v>-2.1008403361344501E-2</c:v>
                </c:pt>
                <c:pt idx="13121">
                  <c:v>-2.1008403361344501E-2</c:v>
                </c:pt>
                <c:pt idx="13122">
                  <c:v>-2.1008403361344501E-2</c:v>
                </c:pt>
                <c:pt idx="13123">
                  <c:v>-2.1008403361344501E-2</c:v>
                </c:pt>
                <c:pt idx="13124">
                  <c:v>-2.1008403361344501E-2</c:v>
                </c:pt>
                <c:pt idx="13125">
                  <c:v>-2.1008403361344501E-2</c:v>
                </c:pt>
                <c:pt idx="13126">
                  <c:v>-2.1008403361344501E-2</c:v>
                </c:pt>
                <c:pt idx="13127">
                  <c:v>-2.0168067226890699E-2</c:v>
                </c:pt>
                <c:pt idx="13128">
                  <c:v>-2.0168067226890699E-2</c:v>
                </c:pt>
                <c:pt idx="13129">
                  <c:v>-2.0168067226890699E-2</c:v>
                </c:pt>
                <c:pt idx="13130">
                  <c:v>-2.0168067226890699E-2</c:v>
                </c:pt>
                <c:pt idx="13131">
                  <c:v>-2.0168067226890699E-2</c:v>
                </c:pt>
                <c:pt idx="13132">
                  <c:v>-2.0168067226890699E-2</c:v>
                </c:pt>
                <c:pt idx="13133">
                  <c:v>-2.0168067226890699E-2</c:v>
                </c:pt>
                <c:pt idx="13134">
                  <c:v>-2.0168067226890699E-2</c:v>
                </c:pt>
                <c:pt idx="13135">
                  <c:v>-2.0168067226890699E-2</c:v>
                </c:pt>
                <c:pt idx="13136">
                  <c:v>-2.0168067226890699E-2</c:v>
                </c:pt>
                <c:pt idx="13137">
                  <c:v>-2.0168067226890699E-2</c:v>
                </c:pt>
                <c:pt idx="13138">
                  <c:v>-2.0168067226890699E-2</c:v>
                </c:pt>
                <c:pt idx="13139">
                  <c:v>-2.0168067226890699E-2</c:v>
                </c:pt>
                <c:pt idx="13140">
                  <c:v>-2.0168067226890699E-2</c:v>
                </c:pt>
                <c:pt idx="13141">
                  <c:v>-2.0168067226890699E-2</c:v>
                </c:pt>
                <c:pt idx="13142">
                  <c:v>-2.0168067226890699E-2</c:v>
                </c:pt>
                <c:pt idx="13143">
                  <c:v>-2.1008403361344501E-2</c:v>
                </c:pt>
                <c:pt idx="13144">
                  <c:v>-2.1008403361344501E-2</c:v>
                </c:pt>
                <c:pt idx="13145">
                  <c:v>-2.1008403361344501E-2</c:v>
                </c:pt>
                <c:pt idx="13146">
                  <c:v>-2.1848739495798301E-2</c:v>
                </c:pt>
                <c:pt idx="13147">
                  <c:v>-2.1848739495798301E-2</c:v>
                </c:pt>
                <c:pt idx="13148">
                  <c:v>-2.1848739495798301E-2</c:v>
                </c:pt>
                <c:pt idx="13149">
                  <c:v>-2.1848739495798301E-2</c:v>
                </c:pt>
                <c:pt idx="13150">
                  <c:v>-2.1848739495798301E-2</c:v>
                </c:pt>
                <c:pt idx="13151">
                  <c:v>-2.1848739495798301E-2</c:v>
                </c:pt>
                <c:pt idx="13152">
                  <c:v>-2.1848739495798301E-2</c:v>
                </c:pt>
                <c:pt idx="13153">
                  <c:v>-2.1848739495798301E-2</c:v>
                </c:pt>
                <c:pt idx="13154">
                  <c:v>-2.1848739495798301E-2</c:v>
                </c:pt>
                <c:pt idx="13155">
                  <c:v>-2.1848739495798301E-2</c:v>
                </c:pt>
                <c:pt idx="13156">
                  <c:v>-2.1848739495798301E-2</c:v>
                </c:pt>
                <c:pt idx="13157">
                  <c:v>-2.1848739495798301E-2</c:v>
                </c:pt>
                <c:pt idx="13158">
                  <c:v>-2.1848739495798301E-2</c:v>
                </c:pt>
                <c:pt idx="13159">
                  <c:v>-2.1848739495798301E-2</c:v>
                </c:pt>
                <c:pt idx="13160">
                  <c:v>-2.1848739495798301E-2</c:v>
                </c:pt>
                <c:pt idx="13161">
                  <c:v>-2.1848739495798301E-2</c:v>
                </c:pt>
                <c:pt idx="13162">
                  <c:v>-2.1848739495798301E-2</c:v>
                </c:pt>
                <c:pt idx="13163">
                  <c:v>-2.1848739495798301E-2</c:v>
                </c:pt>
                <c:pt idx="13164">
                  <c:v>-2.1848739495798301E-2</c:v>
                </c:pt>
                <c:pt idx="13165">
                  <c:v>-2.1848739495798301E-2</c:v>
                </c:pt>
                <c:pt idx="13166">
                  <c:v>-2.1848739495798301E-2</c:v>
                </c:pt>
                <c:pt idx="13167">
                  <c:v>-2.1848739495798301E-2</c:v>
                </c:pt>
                <c:pt idx="13168">
                  <c:v>-2.1848739495798301E-2</c:v>
                </c:pt>
                <c:pt idx="13169">
                  <c:v>-2.1848739495798301E-2</c:v>
                </c:pt>
                <c:pt idx="13170">
                  <c:v>-2.1848739495798301E-2</c:v>
                </c:pt>
                <c:pt idx="13171">
                  <c:v>-2.1848739495798301E-2</c:v>
                </c:pt>
                <c:pt idx="13172">
                  <c:v>-2.1848739495798301E-2</c:v>
                </c:pt>
                <c:pt idx="13173">
                  <c:v>-2.1008403361344501E-2</c:v>
                </c:pt>
                <c:pt idx="13174">
                  <c:v>-2.1008403361344501E-2</c:v>
                </c:pt>
                <c:pt idx="13175">
                  <c:v>-2.1008403361344501E-2</c:v>
                </c:pt>
                <c:pt idx="13176">
                  <c:v>-2.1008403361344501E-2</c:v>
                </c:pt>
                <c:pt idx="13177">
                  <c:v>-2.1008403361344501E-2</c:v>
                </c:pt>
                <c:pt idx="13178">
                  <c:v>-2.1008403361344501E-2</c:v>
                </c:pt>
                <c:pt idx="13179">
                  <c:v>-2.1008403361344501E-2</c:v>
                </c:pt>
                <c:pt idx="13180">
                  <c:v>-2.1008403361344501E-2</c:v>
                </c:pt>
                <c:pt idx="13181">
                  <c:v>-2.1008403361344501E-2</c:v>
                </c:pt>
                <c:pt idx="13182">
                  <c:v>-2.1008403361344501E-2</c:v>
                </c:pt>
                <c:pt idx="13183">
                  <c:v>-2.1008403361344501E-2</c:v>
                </c:pt>
                <c:pt idx="13184">
                  <c:v>-2.1008403361344501E-2</c:v>
                </c:pt>
                <c:pt idx="13185">
                  <c:v>-2.1008403361344501E-2</c:v>
                </c:pt>
                <c:pt idx="13186">
                  <c:v>-2.1008403361344501E-2</c:v>
                </c:pt>
                <c:pt idx="13187">
                  <c:v>-2.1008403361344501E-2</c:v>
                </c:pt>
                <c:pt idx="13188">
                  <c:v>-2.1008403361344501E-2</c:v>
                </c:pt>
                <c:pt idx="13189">
                  <c:v>-2.1008403361344501E-2</c:v>
                </c:pt>
                <c:pt idx="13190">
                  <c:v>-2.1008403361344501E-2</c:v>
                </c:pt>
                <c:pt idx="13191">
                  <c:v>-2.1008403361344501E-2</c:v>
                </c:pt>
                <c:pt idx="13192">
                  <c:v>-2.1008403361344501E-2</c:v>
                </c:pt>
                <c:pt idx="13193">
                  <c:v>-2.1008403361344501E-2</c:v>
                </c:pt>
                <c:pt idx="13194">
                  <c:v>-2.1008403361344501E-2</c:v>
                </c:pt>
                <c:pt idx="13195">
                  <c:v>-2.1008403361344501E-2</c:v>
                </c:pt>
                <c:pt idx="13196">
                  <c:v>-2.1848739495798301E-2</c:v>
                </c:pt>
                <c:pt idx="13197">
                  <c:v>-2.1848739495798301E-2</c:v>
                </c:pt>
                <c:pt idx="13198">
                  <c:v>-2.1848739495798301E-2</c:v>
                </c:pt>
                <c:pt idx="13199">
                  <c:v>-2.26890756302521E-2</c:v>
                </c:pt>
                <c:pt idx="13200">
                  <c:v>-2.26890756302521E-2</c:v>
                </c:pt>
                <c:pt idx="13201">
                  <c:v>-2.26890756302521E-2</c:v>
                </c:pt>
                <c:pt idx="13202">
                  <c:v>-2.26890756302521E-2</c:v>
                </c:pt>
                <c:pt idx="13203">
                  <c:v>-2.26890756302521E-2</c:v>
                </c:pt>
                <c:pt idx="13204">
                  <c:v>-2.26890756302521E-2</c:v>
                </c:pt>
                <c:pt idx="13205">
                  <c:v>-2.26890756302521E-2</c:v>
                </c:pt>
                <c:pt idx="13206">
                  <c:v>-2.26890756302521E-2</c:v>
                </c:pt>
                <c:pt idx="13207">
                  <c:v>-2.26890756302521E-2</c:v>
                </c:pt>
                <c:pt idx="13208">
                  <c:v>-2.26890756302521E-2</c:v>
                </c:pt>
                <c:pt idx="13209">
                  <c:v>-2.26890756302521E-2</c:v>
                </c:pt>
                <c:pt idx="13210">
                  <c:v>-2.26890756302521E-2</c:v>
                </c:pt>
                <c:pt idx="13211">
                  <c:v>-2.26890756302521E-2</c:v>
                </c:pt>
                <c:pt idx="13212">
                  <c:v>-2.26890756302521E-2</c:v>
                </c:pt>
                <c:pt idx="13213">
                  <c:v>-2.26890756302521E-2</c:v>
                </c:pt>
                <c:pt idx="13214">
                  <c:v>-2.26890756302521E-2</c:v>
                </c:pt>
                <c:pt idx="13215">
                  <c:v>-2.26890756302521E-2</c:v>
                </c:pt>
                <c:pt idx="13216">
                  <c:v>-2.26890756302521E-2</c:v>
                </c:pt>
                <c:pt idx="13217">
                  <c:v>-2.26890756302521E-2</c:v>
                </c:pt>
                <c:pt idx="13218">
                  <c:v>-2.26890756302521E-2</c:v>
                </c:pt>
                <c:pt idx="13219">
                  <c:v>-2.26890756302521E-2</c:v>
                </c:pt>
                <c:pt idx="13220">
                  <c:v>-2.26890756302521E-2</c:v>
                </c:pt>
                <c:pt idx="13221">
                  <c:v>-2.26890756302521E-2</c:v>
                </c:pt>
                <c:pt idx="13222">
                  <c:v>-2.1848739495798301E-2</c:v>
                </c:pt>
                <c:pt idx="13223">
                  <c:v>-2.1848739495798301E-2</c:v>
                </c:pt>
                <c:pt idx="13224">
                  <c:v>-2.1848739495798301E-2</c:v>
                </c:pt>
                <c:pt idx="13225">
                  <c:v>-2.1848739495798301E-2</c:v>
                </c:pt>
                <c:pt idx="13226">
                  <c:v>-2.1848739495798301E-2</c:v>
                </c:pt>
                <c:pt idx="13227">
                  <c:v>-2.1848739495798301E-2</c:v>
                </c:pt>
                <c:pt idx="13228">
                  <c:v>-2.1848739495798301E-2</c:v>
                </c:pt>
                <c:pt idx="13229">
                  <c:v>-2.1848739495798301E-2</c:v>
                </c:pt>
                <c:pt idx="13230">
                  <c:v>-2.1848739495798301E-2</c:v>
                </c:pt>
                <c:pt idx="13231">
                  <c:v>-2.1848739495798301E-2</c:v>
                </c:pt>
                <c:pt idx="13232">
                  <c:v>-2.1848739495798301E-2</c:v>
                </c:pt>
                <c:pt idx="13233">
                  <c:v>-2.1848739495798301E-2</c:v>
                </c:pt>
                <c:pt idx="13234">
                  <c:v>-2.1848739495798301E-2</c:v>
                </c:pt>
                <c:pt idx="13235">
                  <c:v>-2.26890756302521E-2</c:v>
                </c:pt>
                <c:pt idx="13236">
                  <c:v>-2.26890756302521E-2</c:v>
                </c:pt>
                <c:pt idx="13237">
                  <c:v>-2.26890756302521E-2</c:v>
                </c:pt>
                <c:pt idx="13238">
                  <c:v>-2.26890756302521E-2</c:v>
                </c:pt>
                <c:pt idx="13239">
                  <c:v>-2.26890756302521E-2</c:v>
                </c:pt>
                <c:pt idx="13240">
                  <c:v>-2.1848739495798301E-2</c:v>
                </c:pt>
                <c:pt idx="13241">
                  <c:v>-2.1848739495798301E-2</c:v>
                </c:pt>
                <c:pt idx="13242">
                  <c:v>-2.1848739495798301E-2</c:v>
                </c:pt>
                <c:pt idx="13243">
                  <c:v>-2.1848739495798301E-2</c:v>
                </c:pt>
                <c:pt idx="13244">
                  <c:v>-2.1848739495798301E-2</c:v>
                </c:pt>
                <c:pt idx="13245">
                  <c:v>-2.1848739495798301E-2</c:v>
                </c:pt>
                <c:pt idx="13246">
                  <c:v>-2.1848739495798301E-2</c:v>
                </c:pt>
                <c:pt idx="13247">
                  <c:v>-2.1848739495798301E-2</c:v>
                </c:pt>
                <c:pt idx="13248">
                  <c:v>-2.1848739495798301E-2</c:v>
                </c:pt>
                <c:pt idx="13249">
                  <c:v>-2.1848739495798301E-2</c:v>
                </c:pt>
                <c:pt idx="13250">
                  <c:v>-2.1848739495798301E-2</c:v>
                </c:pt>
                <c:pt idx="13251">
                  <c:v>-2.26890756302521E-2</c:v>
                </c:pt>
                <c:pt idx="13252">
                  <c:v>-2.26890756302521E-2</c:v>
                </c:pt>
                <c:pt idx="13253">
                  <c:v>-2.26890756302521E-2</c:v>
                </c:pt>
                <c:pt idx="13254">
                  <c:v>-2.26890756302521E-2</c:v>
                </c:pt>
                <c:pt idx="13255">
                  <c:v>-2.26890756302521E-2</c:v>
                </c:pt>
                <c:pt idx="13256">
                  <c:v>-2.26890756302521E-2</c:v>
                </c:pt>
                <c:pt idx="13257">
                  <c:v>-2.26890756302521E-2</c:v>
                </c:pt>
                <c:pt idx="13258">
                  <c:v>-2.26890756302521E-2</c:v>
                </c:pt>
                <c:pt idx="13259">
                  <c:v>-2.26890756302521E-2</c:v>
                </c:pt>
                <c:pt idx="13260">
                  <c:v>-2.1848739495798301E-2</c:v>
                </c:pt>
                <c:pt idx="13261">
                  <c:v>-2.1848739495798301E-2</c:v>
                </c:pt>
                <c:pt idx="13262">
                  <c:v>-2.1848739495798301E-2</c:v>
                </c:pt>
                <c:pt idx="13263">
                  <c:v>-2.1848739495798301E-2</c:v>
                </c:pt>
                <c:pt idx="13264">
                  <c:v>-2.1848739495798301E-2</c:v>
                </c:pt>
                <c:pt idx="13265">
                  <c:v>-2.1848739495798301E-2</c:v>
                </c:pt>
                <c:pt idx="13266">
                  <c:v>-2.1848739495798301E-2</c:v>
                </c:pt>
                <c:pt idx="13267">
                  <c:v>-2.1848739495798301E-2</c:v>
                </c:pt>
                <c:pt idx="13268">
                  <c:v>-2.1848739495798301E-2</c:v>
                </c:pt>
                <c:pt idx="13269">
                  <c:v>-2.1848739495798301E-2</c:v>
                </c:pt>
                <c:pt idx="13270">
                  <c:v>-2.1848739495798301E-2</c:v>
                </c:pt>
                <c:pt idx="13271">
                  <c:v>-2.1848739495798301E-2</c:v>
                </c:pt>
                <c:pt idx="13272">
                  <c:v>-2.1848739495798301E-2</c:v>
                </c:pt>
                <c:pt idx="13273">
                  <c:v>-2.1848739495798301E-2</c:v>
                </c:pt>
                <c:pt idx="13274">
                  <c:v>-2.1848739495798301E-2</c:v>
                </c:pt>
                <c:pt idx="13275">
                  <c:v>-2.1848739495798301E-2</c:v>
                </c:pt>
                <c:pt idx="13276">
                  <c:v>-2.1848739495798301E-2</c:v>
                </c:pt>
                <c:pt idx="13277">
                  <c:v>-2.1848739495798301E-2</c:v>
                </c:pt>
                <c:pt idx="13278">
                  <c:v>-2.1848739495798301E-2</c:v>
                </c:pt>
                <c:pt idx="13279">
                  <c:v>-2.1848739495798301E-2</c:v>
                </c:pt>
                <c:pt idx="13280">
                  <c:v>-2.1848739495798301E-2</c:v>
                </c:pt>
                <c:pt idx="13281">
                  <c:v>-2.1848739495798301E-2</c:v>
                </c:pt>
                <c:pt idx="13282">
                  <c:v>-2.1848739495798301E-2</c:v>
                </c:pt>
                <c:pt idx="13283">
                  <c:v>-2.1848739495798301E-2</c:v>
                </c:pt>
                <c:pt idx="13284">
                  <c:v>-2.1848739495798301E-2</c:v>
                </c:pt>
                <c:pt idx="13285">
                  <c:v>-2.1848739495798301E-2</c:v>
                </c:pt>
                <c:pt idx="13286">
                  <c:v>-2.1848739495798301E-2</c:v>
                </c:pt>
                <c:pt idx="13287">
                  <c:v>-2.1848739495798301E-2</c:v>
                </c:pt>
                <c:pt idx="13288">
                  <c:v>-2.1848739495798301E-2</c:v>
                </c:pt>
                <c:pt idx="13289">
                  <c:v>-2.1848739495798301E-2</c:v>
                </c:pt>
                <c:pt idx="13290">
                  <c:v>-2.1848739495798301E-2</c:v>
                </c:pt>
                <c:pt idx="13291">
                  <c:v>-2.1848739495798301E-2</c:v>
                </c:pt>
                <c:pt idx="13292">
                  <c:v>-2.1848739495798301E-2</c:v>
                </c:pt>
                <c:pt idx="13293">
                  <c:v>-2.1848739495798301E-2</c:v>
                </c:pt>
                <c:pt idx="13294">
                  <c:v>-2.1848739495798301E-2</c:v>
                </c:pt>
                <c:pt idx="13295">
                  <c:v>-2.1848739495798301E-2</c:v>
                </c:pt>
                <c:pt idx="13296">
                  <c:v>-2.1848739495798301E-2</c:v>
                </c:pt>
                <c:pt idx="13297">
                  <c:v>-2.1848739495798301E-2</c:v>
                </c:pt>
                <c:pt idx="13298">
                  <c:v>-2.1848739495798301E-2</c:v>
                </c:pt>
                <c:pt idx="13299">
                  <c:v>-2.1848739495798301E-2</c:v>
                </c:pt>
                <c:pt idx="13300">
                  <c:v>-2.1848739495798301E-2</c:v>
                </c:pt>
                <c:pt idx="13301">
                  <c:v>-2.1848739495798301E-2</c:v>
                </c:pt>
                <c:pt idx="13302">
                  <c:v>-2.1848739495798301E-2</c:v>
                </c:pt>
                <c:pt idx="13303">
                  <c:v>-2.1848739495798301E-2</c:v>
                </c:pt>
                <c:pt idx="13304">
                  <c:v>-2.1848739495798301E-2</c:v>
                </c:pt>
                <c:pt idx="13305">
                  <c:v>-2.1008403361344501E-2</c:v>
                </c:pt>
                <c:pt idx="13306">
                  <c:v>-2.1848739495798301E-2</c:v>
                </c:pt>
                <c:pt idx="13307">
                  <c:v>-2.1848739495798301E-2</c:v>
                </c:pt>
                <c:pt idx="13308">
                  <c:v>-2.1848739495798301E-2</c:v>
                </c:pt>
                <c:pt idx="13309">
                  <c:v>-2.1848739495798301E-2</c:v>
                </c:pt>
                <c:pt idx="13310">
                  <c:v>-2.1848739495798301E-2</c:v>
                </c:pt>
                <c:pt idx="13311">
                  <c:v>-2.1008403361344501E-2</c:v>
                </c:pt>
                <c:pt idx="13312">
                  <c:v>-2.1008403361344501E-2</c:v>
                </c:pt>
                <c:pt idx="13313">
                  <c:v>-2.1008403361344501E-2</c:v>
                </c:pt>
                <c:pt idx="13314">
                  <c:v>-2.1008403361344501E-2</c:v>
                </c:pt>
                <c:pt idx="13315">
                  <c:v>-2.1008403361344501E-2</c:v>
                </c:pt>
                <c:pt idx="13316">
                  <c:v>-2.1008403361344501E-2</c:v>
                </c:pt>
                <c:pt idx="13317">
                  <c:v>-2.1008403361344501E-2</c:v>
                </c:pt>
                <c:pt idx="13318">
                  <c:v>-2.0168067226890699E-2</c:v>
                </c:pt>
                <c:pt idx="13319">
                  <c:v>-2.0168067226890699E-2</c:v>
                </c:pt>
                <c:pt idx="13320">
                  <c:v>-2.0168067226890699E-2</c:v>
                </c:pt>
                <c:pt idx="13321">
                  <c:v>-2.0168067226890699E-2</c:v>
                </c:pt>
                <c:pt idx="13322">
                  <c:v>-2.0168067226890699E-2</c:v>
                </c:pt>
                <c:pt idx="13323">
                  <c:v>-2.0168067226890699E-2</c:v>
                </c:pt>
                <c:pt idx="13324">
                  <c:v>-2.0168067226890699E-2</c:v>
                </c:pt>
                <c:pt idx="13325">
                  <c:v>-2.0168067226890699E-2</c:v>
                </c:pt>
                <c:pt idx="13326">
                  <c:v>-2.0168067226890699E-2</c:v>
                </c:pt>
                <c:pt idx="13327">
                  <c:v>-2.0168067226890699E-2</c:v>
                </c:pt>
                <c:pt idx="13328">
                  <c:v>-2.0168067226890699E-2</c:v>
                </c:pt>
                <c:pt idx="13329">
                  <c:v>-2.0168067226890699E-2</c:v>
                </c:pt>
                <c:pt idx="13330">
                  <c:v>-2.0168067226890699E-2</c:v>
                </c:pt>
                <c:pt idx="13331">
                  <c:v>-2.0168067226890699E-2</c:v>
                </c:pt>
                <c:pt idx="13332">
                  <c:v>-2.0168067226890699E-2</c:v>
                </c:pt>
                <c:pt idx="13333">
                  <c:v>-2.0168067226890699E-2</c:v>
                </c:pt>
                <c:pt idx="13334">
                  <c:v>-2.0168067226890699E-2</c:v>
                </c:pt>
                <c:pt idx="13335">
                  <c:v>-2.0168067226890699E-2</c:v>
                </c:pt>
                <c:pt idx="13336">
                  <c:v>-2.0168067226890699E-2</c:v>
                </c:pt>
                <c:pt idx="13337">
                  <c:v>-2.0168067226890699E-2</c:v>
                </c:pt>
                <c:pt idx="13338">
                  <c:v>-2.0168067226890699E-2</c:v>
                </c:pt>
                <c:pt idx="13339">
                  <c:v>-2.0168067226890699E-2</c:v>
                </c:pt>
                <c:pt idx="13340">
                  <c:v>-2.0168067226890699E-2</c:v>
                </c:pt>
                <c:pt idx="13341">
                  <c:v>-2.0168067226890699E-2</c:v>
                </c:pt>
                <c:pt idx="13342">
                  <c:v>-2.0168067226890699E-2</c:v>
                </c:pt>
                <c:pt idx="13343">
                  <c:v>-2.0168067226890699E-2</c:v>
                </c:pt>
                <c:pt idx="13344">
                  <c:v>-2.0168067226890699E-2</c:v>
                </c:pt>
                <c:pt idx="13345">
                  <c:v>-1.9327731092437E-2</c:v>
                </c:pt>
                <c:pt idx="13346">
                  <c:v>-1.9327731092437E-2</c:v>
                </c:pt>
                <c:pt idx="13347">
                  <c:v>-1.9327731092437E-2</c:v>
                </c:pt>
                <c:pt idx="13348">
                  <c:v>-1.9327731092437E-2</c:v>
                </c:pt>
                <c:pt idx="13349">
                  <c:v>-1.9327731092437E-2</c:v>
                </c:pt>
                <c:pt idx="13350">
                  <c:v>-1.9327731092437E-2</c:v>
                </c:pt>
                <c:pt idx="13351">
                  <c:v>-1.9327731092437E-2</c:v>
                </c:pt>
                <c:pt idx="13352">
                  <c:v>-1.9327731092437E-2</c:v>
                </c:pt>
                <c:pt idx="13353">
                  <c:v>-1.9327731092437E-2</c:v>
                </c:pt>
                <c:pt idx="13354">
                  <c:v>-1.9327731092437E-2</c:v>
                </c:pt>
                <c:pt idx="13355">
                  <c:v>-1.9327731092437E-2</c:v>
                </c:pt>
                <c:pt idx="13356">
                  <c:v>-1.9327731092437E-2</c:v>
                </c:pt>
                <c:pt idx="13357">
                  <c:v>-1.9327731092437E-2</c:v>
                </c:pt>
                <c:pt idx="13358">
                  <c:v>-1.9327731092437E-2</c:v>
                </c:pt>
                <c:pt idx="13359">
                  <c:v>-1.9327731092437E-2</c:v>
                </c:pt>
                <c:pt idx="13360">
                  <c:v>-1.9327731092437E-2</c:v>
                </c:pt>
                <c:pt idx="13361">
                  <c:v>-1.9327731092437E-2</c:v>
                </c:pt>
                <c:pt idx="13362">
                  <c:v>-1.9327731092437E-2</c:v>
                </c:pt>
                <c:pt idx="13363">
                  <c:v>-1.9327731092437E-2</c:v>
                </c:pt>
                <c:pt idx="13364">
                  <c:v>-1.9327731092437E-2</c:v>
                </c:pt>
                <c:pt idx="13365">
                  <c:v>-1.9327731092437E-2</c:v>
                </c:pt>
                <c:pt idx="13366">
                  <c:v>-1.9327731092437E-2</c:v>
                </c:pt>
                <c:pt idx="13367">
                  <c:v>-1.9327731092437E-2</c:v>
                </c:pt>
                <c:pt idx="13368">
                  <c:v>-1.9327731092437E-2</c:v>
                </c:pt>
                <c:pt idx="13369">
                  <c:v>-1.9327731092437E-2</c:v>
                </c:pt>
                <c:pt idx="13370">
                  <c:v>-1.9327731092437E-2</c:v>
                </c:pt>
                <c:pt idx="13371">
                  <c:v>-1.9327731092437E-2</c:v>
                </c:pt>
                <c:pt idx="13372">
                  <c:v>-1.9327731092437E-2</c:v>
                </c:pt>
                <c:pt idx="13373">
                  <c:v>-1.9327731092437E-2</c:v>
                </c:pt>
                <c:pt idx="13374">
                  <c:v>-1.9327731092437E-2</c:v>
                </c:pt>
                <c:pt idx="13375">
                  <c:v>-1.9327731092437E-2</c:v>
                </c:pt>
                <c:pt idx="13376">
                  <c:v>-1.9327731092437E-2</c:v>
                </c:pt>
                <c:pt idx="13377">
                  <c:v>-1.9327731092437E-2</c:v>
                </c:pt>
                <c:pt idx="13378">
                  <c:v>-2.0168067226890699E-2</c:v>
                </c:pt>
                <c:pt idx="13379">
                  <c:v>-1.9327731092437E-2</c:v>
                </c:pt>
                <c:pt idx="13380">
                  <c:v>-1.9327731092437E-2</c:v>
                </c:pt>
                <c:pt idx="13381">
                  <c:v>-1.9327731092437E-2</c:v>
                </c:pt>
                <c:pt idx="13382">
                  <c:v>-1.9327731092437E-2</c:v>
                </c:pt>
                <c:pt idx="13383">
                  <c:v>-1.9327731092437E-2</c:v>
                </c:pt>
                <c:pt idx="13384">
                  <c:v>-1.84873949579832E-2</c:v>
                </c:pt>
                <c:pt idx="13385">
                  <c:v>-1.84873949579832E-2</c:v>
                </c:pt>
                <c:pt idx="13386">
                  <c:v>-1.84873949579832E-2</c:v>
                </c:pt>
                <c:pt idx="13387">
                  <c:v>-1.84873949579832E-2</c:v>
                </c:pt>
                <c:pt idx="13388">
                  <c:v>-1.84873949579832E-2</c:v>
                </c:pt>
                <c:pt idx="13389">
                  <c:v>-1.84873949579832E-2</c:v>
                </c:pt>
                <c:pt idx="13390">
                  <c:v>-1.84873949579832E-2</c:v>
                </c:pt>
                <c:pt idx="13391">
                  <c:v>-1.84873949579832E-2</c:v>
                </c:pt>
                <c:pt idx="13392">
                  <c:v>-1.84873949579832E-2</c:v>
                </c:pt>
                <c:pt idx="13393">
                  <c:v>-1.84873949579832E-2</c:v>
                </c:pt>
                <c:pt idx="13394">
                  <c:v>-1.84873949579832E-2</c:v>
                </c:pt>
                <c:pt idx="13395">
                  <c:v>-1.84873949579832E-2</c:v>
                </c:pt>
                <c:pt idx="13396">
                  <c:v>-1.84873949579832E-2</c:v>
                </c:pt>
                <c:pt idx="13397">
                  <c:v>-1.84873949579832E-2</c:v>
                </c:pt>
                <c:pt idx="13398">
                  <c:v>-1.84873949579832E-2</c:v>
                </c:pt>
                <c:pt idx="13399">
                  <c:v>-1.84873949579832E-2</c:v>
                </c:pt>
                <c:pt idx="13400">
                  <c:v>-1.84873949579832E-2</c:v>
                </c:pt>
                <c:pt idx="13401">
                  <c:v>-1.84873949579832E-2</c:v>
                </c:pt>
                <c:pt idx="13402">
                  <c:v>-1.84873949579832E-2</c:v>
                </c:pt>
                <c:pt idx="13403">
                  <c:v>-1.84873949579832E-2</c:v>
                </c:pt>
                <c:pt idx="13404">
                  <c:v>-1.84873949579832E-2</c:v>
                </c:pt>
                <c:pt idx="13405">
                  <c:v>-1.84873949579832E-2</c:v>
                </c:pt>
                <c:pt idx="13406">
                  <c:v>-1.84873949579832E-2</c:v>
                </c:pt>
                <c:pt idx="13407">
                  <c:v>-1.84873949579832E-2</c:v>
                </c:pt>
                <c:pt idx="13408">
                  <c:v>-1.84873949579832E-2</c:v>
                </c:pt>
                <c:pt idx="13409">
                  <c:v>-1.84873949579832E-2</c:v>
                </c:pt>
                <c:pt idx="13410">
                  <c:v>-1.84873949579832E-2</c:v>
                </c:pt>
                <c:pt idx="13411">
                  <c:v>-1.84873949579832E-2</c:v>
                </c:pt>
                <c:pt idx="13412">
                  <c:v>-1.84873949579832E-2</c:v>
                </c:pt>
                <c:pt idx="13413">
                  <c:v>-1.84873949579832E-2</c:v>
                </c:pt>
                <c:pt idx="13414">
                  <c:v>-1.84873949579832E-2</c:v>
                </c:pt>
                <c:pt idx="13415">
                  <c:v>-1.84873949579832E-2</c:v>
                </c:pt>
                <c:pt idx="13416">
                  <c:v>-1.84873949579832E-2</c:v>
                </c:pt>
                <c:pt idx="13417">
                  <c:v>-1.84873949579832E-2</c:v>
                </c:pt>
                <c:pt idx="13418">
                  <c:v>-1.84873949579832E-2</c:v>
                </c:pt>
                <c:pt idx="13419">
                  <c:v>-1.84873949579832E-2</c:v>
                </c:pt>
                <c:pt idx="13420">
                  <c:v>-1.84873949579832E-2</c:v>
                </c:pt>
                <c:pt idx="13421">
                  <c:v>-1.84873949579832E-2</c:v>
                </c:pt>
                <c:pt idx="13422">
                  <c:v>-1.84873949579832E-2</c:v>
                </c:pt>
                <c:pt idx="13423">
                  <c:v>-1.84873949579832E-2</c:v>
                </c:pt>
                <c:pt idx="13424">
                  <c:v>-1.9327731092437E-2</c:v>
                </c:pt>
                <c:pt idx="13425">
                  <c:v>-1.9327731092437E-2</c:v>
                </c:pt>
                <c:pt idx="13426">
                  <c:v>-1.9327731092437E-2</c:v>
                </c:pt>
                <c:pt idx="13427">
                  <c:v>-1.9327731092437E-2</c:v>
                </c:pt>
                <c:pt idx="13428">
                  <c:v>-1.9327731092437E-2</c:v>
                </c:pt>
                <c:pt idx="13429">
                  <c:v>-1.84873949579832E-2</c:v>
                </c:pt>
                <c:pt idx="13430">
                  <c:v>-1.84873949579832E-2</c:v>
                </c:pt>
                <c:pt idx="13431">
                  <c:v>-1.84873949579832E-2</c:v>
                </c:pt>
                <c:pt idx="13432">
                  <c:v>-1.84873949579832E-2</c:v>
                </c:pt>
                <c:pt idx="13433">
                  <c:v>-1.84873949579832E-2</c:v>
                </c:pt>
                <c:pt idx="13434">
                  <c:v>-1.84873949579832E-2</c:v>
                </c:pt>
                <c:pt idx="13435">
                  <c:v>-1.84873949579832E-2</c:v>
                </c:pt>
                <c:pt idx="13436">
                  <c:v>-1.84873949579832E-2</c:v>
                </c:pt>
                <c:pt idx="13437">
                  <c:v>-1.84873949579832E-2</c:v>
                </c:pt>
                <c:pt idx="13438">
                  <c:v>-1.84873949579832E-2</c:v>
                </c:pt>
                <c:pt idx="13439">
                  <c:v>-1.7647058823529401E-2</c:v>
                </c:pt>
                <c:pt idx="13440">
                  <c:v>-1.7647058823529401E-2</c:v>
                </c:pt>
                <c:pt idx="13441">
                  <c:v>-1.7647058823529401E-2</c:v>
                </c:pt>
                <c:pt idx="13442">
                  <c:v>-1.7647058823529401E-2</c:v>
                </c:pt>
                <c:pt idx="13443">
                  <c:v>-1.7647058823529401E-2</c:v>
                </c:pt>
                <c:pt idx="13444">
                  <c:v>-1.7647058823529401E-2</c:v>
                </c:pt>
                <c:pt idx="13445">
                  <c:v>-1.7647058823529401E-2</c:v>
                </c:pt>
                <c:pt idx="13446">
                  <c:v>-1.7647058823529401E-2</c:v>
                </c:pt>
                <c:pt idx="13447">
                  <c:v>-1.7647058823529401E-2</c:v>
                </c:pt>
                <c:pt idx="13448">
                  <c:v>-1.7647058823529401E-2</c:v>
                </c:pt>
                <c:pt idx="13449">
                  <c:v>-1.7647058823529401E-2</c:v>
                </c:pt>
                <c:pt idx="13450">
                  <c:v>-1.7647058823529401E-2</c:v>
                </c:pt>
                <c:pt idx="13451">
                  <c:v>-1.7647058823529401E-2</c:v>
                </c:pt>
                <c:pt idx="13452">
                  <c:v>-1.84873949579832E-2</c:v>
                </c:pt>
                <c:pt idx="13453">
                  <c:v>-1.84873949579832E-2</c:v>
                </c:pt>
                <c:pt idx="13454">
                  <c:v>-1.84873949579832E-2</c:v>
                </c:pt>
                <c:pt idx="13455">
                  <c:v>-1.84873949579832E-2</c:v>
                </c:pt>
                <c:pt idx="13456">
                  <c:v>-1.84873949579832E-2</c:v>
                </c:pt>
                <c:pt idx="13457">
                  <c:v>-1.84873949579832E-2</c:v>
                </c:pt>
                <c:pt idx="13458">
                  <c:v>-1.84873949579832E-2</c:v>
                </c:pt>
                <c:pt idx="13459">
                  <c:v>-1.84873949579832E-2</c:v>
                </c:pt>
                <c:pt idx="13460">
                  <c:v>-1.7647058823529401E-2</c:v>
                </c:pt>
                <c:pt idx="13461">
                  <c:v>-1.7647058823529401E-2</c:v>
                </c:pt>
                <c:pt idx="13462">
                  <c:v>-1.7647058823529401E-2</c:v>
                </c:pt>
                <c:pt idx="13463">
                  <c:v>-1.7647058823529401E-2</c:v>
                </c:pt>
                <c:pt idx="13464">
                  <c:v>-1.7647058823529401E-2</c:v>
                </c:pt>
                <c:pt idx="13465">
                  <c:v>-1.7647058823529401E-2</c:v>
                </c:pt>
                <c:pt idx="13466">
                  <c:v>-1.7647058823529401E-2</c:v>
                </c:pt>
                <c:pt idx="13467">
                  <c:v>-1.7647058823529401E-2</c:v>
                </c:pt>
                <c:pt idx="13468">
                  <c:v>-1.7647058823529401E-2</c:v>
                </c:pt>
                <c:pt idx="13469">
                  <c:v>-1.7647058823529401E-2</c:v>
                </c:pt>
                <c:pt idx="13470">
                  <c:v>-1.7647058823529401E-2</c:v>
                </c:pt>
                <c:pt idx="13471">
                  <c:v>-1.7647058823529401E-2</c:v>
                </c:pt>
                <c:pt idx="13472">
                  <c:v>-1.7647058823529401E-2</c:v>
                </c:pt>
                <c:pt idx="13473">
                  <c:v>-1.7647058823529401E-2</c:v>
                </c:pt>
                <c:pt idx="13474">
                  <c:v>-1.7647058823529401E-2</c:v>
                </c:pt>
                <c:pt idx="13475">
                  <c:v>-1.7647058823529401E-2</c:v>
                </c:pt>
                <c:pt idx="13476">
                  <c:v>-1.7647058823529401E-2</c:v>
                </c:pt>
                <c:pt idx="13477">
                  <c:v>-1.7647058823529401E-2</c:v>
                </c:pt>
                <c:pt idx="13478">
                  <c:v>-1.7647058823529401E-2</c:v>
                </c:pt>
                <c:pt idx="13479">
                  <c:v>-1.7647058823529401E-2</c:v>
                </c:pt>
                <c:pt idx="13480">
                  <c:v>-1.7647058823529401E-2</c:v>
                </c:pt>
                <c:pt idx="13481">
                  <c:v>-1.7647058823529401E-2</c:v>
                </c:pt>
                <c:pt idx="13482">
                  <c:v>-1.7647058823529401E-2</c:v>
                </c:pt>
                <c:pt idx="13483">
                  <c:v>-1.7647058823529401E-2</c:v>
                </c:pt>
                <c:pt idx="13484">
                  <c:v>-1.7647058823529401E-2</c:v>
                </c:pt>
                <c:pt idx="13485">
                  <c:v>-1.7647058823529401E-2</c:v>
                </c:pt>
                <c:pt idx="13486">
                  <c:v>-1.7647058823529401E-2</c:v>
                </c:pt>
                <c:pt idx="13487">
                  <c:v>-1.7647058823529401E-2</c:v>
                </c:pt>
                <c:pt idx="13488">
                  <c:v>-1.7647058823529401E-2</c:v>
                </c:pt>
                <c:pt idx="13489">
                  <c:v>-1.7647058823529401E-2</c:v>
                </c:pt>
                <c:pt idx="13490">
                  <c:v>-1.7647058823529401E-2</c:v>
                </c:pt>
                <c:pt idx="13491">
                  <c:v>-1.7647058823529401E-2</c:v>
                </c:pt>
                <c:pt idx="13492">
                  <c:v>-1.6806722689075598E-2</c:v>
                </c:pt>
                <c:pt idx="13493">
                  <c:v>-1.6806722689075598E-2</c:v>
                </c:pt>
                <c:pt idx="13494">
                  <c:v>-1.6806722689075598E-2</c:v>
                </c:pt>
                <c:pt idx="13495">
                  <c:v>-1.6806722689075598E-2</c:v>
                </c:pt>
                <c:pt idx="13496">
                  <c:v>-1.6806722689075598E-2</c:v>
                </c:pt>
                <c:pt idx="13497">
                  <c:v>-1.6806722689075598E-2</c:v>
                </c:pt>
                <c:pt idx="13498">
                  <c:v>-1.6806722689075598E-2</c:v>
                </c:pt>
                <c:pt idx="13499">
                  <c:v>-1.6806722689075598E-2</c:v>
                </c:pt>
                <c:pt idx="13500">
                  <c:v>-1.6806722689075598E-2</c:v>
                </c:pt>
                <c:pt idx="13501">
                  <c:v>-1.6806722689075598E-2</c:v>
                </c:pt>
                <c:pt idx="13502">
                  <c:v>-1.6806722689075598E-2</c:v>
                </c:pt>
                <c:pt idx="13503">
                  <c:v>-1.6806722689075598E-2</c:v>
                </c:pt>
                <c:pt idx="13504">
                  <c:v>-1.6806722689075598E-2</c:v>
                </c:pt>
                <c:pt idx="13505">
                  <c:v>-1.6806722689075598E-2</c:v>
                </c:pt>
                <c:pt idx="13506">
                  <c:v>-1.59663865546219E-2</c:v>
                </c:pt>
                <c:pt idx="13507">
                  <c:v>-1.59663865546219E-2</c:v>
                </c:pt>
                <c:pt idx="13508">
                  <c:v>-1.59663865546219E-2</c:v>
                </c:pt>
                <c:pt idx="13509">
                  <c:v>-1.59663865546219E-2</c:v>
                </c:pt>
                <c:pt idx="13510">
                  <c:v>-1.59663865546219E-2</c:v>
                </c:pt>
                <c:pt idx="13511">
                  <c:v>-1.59663865546219E-2</c:v>
                </c:pt>
                <c:pt idx="13512">
                  <c:v>-1.59663865546219E-2</c:v>
                </c:pt>
                <c:pt idx="13513">
                  <c:v>-1.59663865546219E-2</c:v>
                </c:pt>
                <c:pt idx="13514">
                  <c:v>-1.59663865546219E-2</c:v>
                </c:pt>
                <c:pt idx="13515">
                  <c:v>-1.59663865546219E-2</c:v>
                </c:pt>
                <c:pt idx="13516">
                  <c:v>-1.59663865546219E-2</c:v>
                </c:pt>
                <c:pt idx="13517">
                  <c:v>-1.59663865546219E-2</c:v>
                </c:pt>
                <c:pt idx="13518">
                  <c:v>-1.59663865546219E-2</c:v>
                </c:pt>
                <c:pt idx="13519">
                  <c:v>-1.59663865546219E-2</c:v>
                </c:pt>
                <c:pt idx="13520">
                  <c:v>-1.59663865546219E-2</c:v>
                </c:pt>
                <c:pt idx="13521">
                  <c:v>-1.6806722689075598E-2</c:v>
                </c:pt>
                <c:pt idx="13522">
                  <c:v>-1.6806722689075598E-2</c:v>
                </c:pt>
                <c:pt idx="13523">
                  <c:v>-1.6806722689075598E-2</c:v>
                </c:pt>
                <c:pt idx="13524">
                  <c:v>-1.6806722689075598E-2</c:v>
                </c:pt>
                <c:pt idx="13525">
                  <c:v>-1.6806722689075598E-2</c:v>
                </c:pt>
                <c:pt idx="13526">
                  <c:v>-1.6806722689075598E-2</c:v>
                </c:pt>
                <c:pt idx="13527">
                  <c:v>-1.6806722689075598E-2</c:v>
                </c:pt>
                <c:pt idx="13528">
                  <c:v>-1.6806722689075598E-2</c:v>
                </c:pt>
                <c:pt idx="13529">
                  <c:v>-1.6806722689075598E-2</c:v>
                </c:pt>
                <c:pt idx="13530">
                  <c:v>-1.6806722689075598E-2</c:v>
                </c:pt>
                <c:pt idx="13531">
                  <c:v>-1.6806722689075598E-2</c:v>
                </c:pt>
                <c:pt idx="13532">
                  <c:v>-1.6806722689075598E-2</c:v>
                </c:pt>
                <c:pt idx="13533">
                  <c:v>-1.7647058823529401E-2</c:v>
                </c:pt>
                <c:pt idx="13534">
                  <c:v>-1.7647058823529401E-2</c:v>
                </c:pt>
                <c:pt idx="13535">
                  <c:v>-1.7647058823529401E-2</c:v>
                </c:pt>
                <c:pt idx="13536">
                  <c:v>-1.7647058823529401E-2</c:v>
                </c:pt>
                <c:pt idx="13537">
                  <c:v>-1.7647058823529401E-2</c:v>
                </c:pt>
                <c:pt idx="13538">
                  <c:v>-1.84873949579832E-2</c:v>
                </c:pt>
                <c:pt idx="13539">
                  <c:v>-1.84873949579832E-2</c:v>
                </c:pt>
                <c:pt idx="13540">
                  <c:v>-1.84873949579832E-2</c:v>
                </c:pt>
                <c:pt idx="13541">
                  <c:v>-1.84873949579832E-2</c:v>
                </c:pt>
                <c:pt idx="13542">
                  <c:v>-1.84873949579832E-2</c:v>
                </c:pt>
                <c:pt idx="13543">
                  <c:v>-1.84873949579832E-2</c:v>
                </c:pt>
                <c:pt idx="13544">
                  <c:v>-1.84873949579832E-2</c:v>
                </c:pt>
                <c:pt idx="13545">
                  <c:v>-1.84873949579832E-2</c:v>
                </c:pt>
                <c:pt idx="13546">
                  <c:v>-1.84873949579832E-2</c:v>
                </c:pt>
                <c:pt idx="13547">
                  <c:v>-1.84873949579832E-2</c:v>
                </c:pt>
                <c:pt idx="13548">
                  <c:v>-1.84873949579832E-2</c:v>
                </c:pt>
                <c:pt idx="13549">
                  <c:v>-1.84873949579832E-2</c:v>
                </c:pt>
                <c:pt idx="13550">
                  <c:v>-1.84873949579832E-2</c:v>
                </c:pt>
                <c:pt idx="13551">
                  <c:v>-1.84873949579832E-2</c:v>
                </c:pt>
                <c:pt idx="13552">
                  <c:v>-1.84873949579832E-2</c:v>
                </c:pt>
                <c:pt idx="13553">
                  <c:v>-1.84873949579832E-2</c:v>
                </c:pt>
                <c:pt idx="13554">
                  <c:v>-1.84873949579832E-2</c:v>
                </c:pt>
                <c:pt idx="13555">
                  <c:v>-1.84873949579832E-2</c:v>
                </c:pt>
                <c:pt idx="13556">
                  <c:v>-1.84873949579832E-2</c:v>
                </c:pt>
                <c:pt idx="13557">
                  <c:v>-1.84873949579832E-2</c:v>
                </c:pt>
                <c:pt idx="13558">
                  <c:v>-1.84873949579832E-2</c:v>
                </c:pt>
                <c:pt idx="13559">
                  <c:v>-1.84873949579832E-2</c:v>
                </c:pt>
                <c:pt idx="13560">
                  <c:v>-1.84873949579832E-2</c:v>
                </c:pt>
                <c:pt idx="13561">
                  <c:v>-1.84873949579832E-2</c:v>
                </c:pt>
                <c:pt idx="13562">
                  <c:v>-1.84873949579832E-2</c:v>
                </c:pt>
                <c:pt idx="13563">
                  <c:v>-1.84873949579832E-2</c:v>
                </c:pt>
                <c:pt idx="13564">
                  <c:v>-1.84873949579832E-2</c:v>
                </c:pt>
                <c:pt idx="13565">
                  <c:v>-1.84873949579832E-2</c:v>
                </c:pt>
                <c:pt idx="13566">
                  <c:v>-1.84873949579832E-2</c:v>
                </c:pt>
                <c:pt idx="13567">
                  <c:v>-1.84873949579832E-2</c:v>
                </c:pt>
                <c:pt idx="13568">
                  <c:v>-1.84873949579832E-2</c:v>
                </c:pt>
                <c:pt idx="13569">
                  <c:v>-1.84873949579832E-2</c:v>
                </c:pt>
                <c:pt idx="13570">
                  <c:v>-1.84873949579832E-2</c:v>
                </c:pt>
                <c:pt idx="13571">
                  <c:v>-1.84873949579832E-2</c:v>
                </c:pt>
                <c:pt idx="13572">
                  <c:v>-1.84873949579832E-2</c:v>
                </c:pt>
                <c:pt idx="13573">
                  <c:v>-1.84873949579832E-2</c:v>
                </c:pt>
                <c:pt idx="13574">
                  <c:v>-1.84873949579832E-2</c:v>
                </c:pt>
                <c:pt idx="13575">
                  <c:v>-1.84873949579832E-2</c:v>
                </c:pt>
                <c:pt idx="13576">
                  <c:v>-1.84873949579832E-2</c:v>
                </c:pt>
                <c:pt idx="13577">
                  <c:v>-1.84873949579832E-2</c:v>
                </c:pt>
                <c:pt idx="13578">
                  <c:v>-1.84873949579832E-2</c:v>
                </c:pt>
                <c:pt idx="13579">
                  <c:v>-1.84873949579832E-2</c:v>
                </c:pt>
                <c:pt idx="13580">
                  <c:v>-1.84873949579832E-2</c:v>
                </c:pt>
                <c:pt idx="13581">
                  <c:v>-1.84873949579832E-2</c:v>
                </c:pt>
                <c:pt idx="13582">
                  <c:v>-1.84873949579832E-2</c:v>
                </c:pt>
                <c:pt idx="13583">
                  <c:v>-1.84873949579832E-2</c:v>
                </c:pt>
                <c:pt idx="13584">
                  <c:v>-1.7647058823529401E-2</c:v>
                </c:pt>
                <c:pt idx="13585">
                  <c:v>-1.6806722689075598E-2</c:v>
                </c:pt>
                <c:pt idx="13586">
                  <c:v>-1.6806722689075598E-2</c:v>
                </c:pt>
                <c:pt idx="13587">
                  <c:v>-1.6806722689075598E-2</c:v>
                </c:pt>
                <c:pt idx="13588">
                  <c:v>-1.6806722689075598E-2</c:v>
                </c:pt>
                <c:pt idx="13589">
                  <c:v>-1.6806722689075598E-2</c:v>
                </c:pt>
                <c:pt idx="13590">
                  <c:v>-1.6806722689075598E-2</c:v>
                </c:pt>
                <c:pt idx="13591">
                  <c:v>-1.6806722689075598E-2</c:v>
                </c:pt>
                <c:pt idx="13592">
                  <c:v>-1.6806722689075598E-2</c:v>
                </c:pt>
                <c:pt idx="13593">
                  <c:v>-1.6806722689075598E-2</c:v>
                </c:pt>
                <c:pt idx="13594">
                  <c:v>-1.6806722689075598E-2</c:v>
                </c:pt>
                <c:pt idx="13595">
                  <c:v>-1.6806722689075598E-2</c:v>
                </c:pt>
                <c:pt idx="13596">
                  <c:v>-1.6806722689075598E-2</c:v>
                </c:pt>
                <c:pt idx="13597">
                  <c:v>-1.6806722689075598E-2</c:v>
                </c:pt>
                <c:pt idx="13598">
                  <c:v>-1.6806722689075598E-2</c:v>
                </c:pt>
                <c:pt idx="13599">
                  <c:v>-1.59663865546219E-2</c:v>
                </c:pt>
                <c:pt idx="13600">
                  <c:v>-1.59663865546219E-2</c:v>
                </c:pt>
                <c:pt idx="13601">
                  <c:v>-1.59663865546219E-2</c:v>
                </c:pt>
                <c:pt idx="13602">
                  <c:v>-1.59663865546219E-2</c:v>
                </c:pt>
                <c:pt idx="13603">
                  <c:v>-1.59663865546219E-2</c:v>
                </c:pt>
                <c:pt idx="13604">
                  <c:v>-1.59663865546219E-2</c:v>
                </c:pt>
                <c:pt idx="13605">
                  <c:v>-1.59663865546219E-2</c:v>
                </c:pt>
                <c:pt idx="13606">
                  <c:v>-1.59663865546219E-2</c:v>
                </c:pt>
                <c:pt idx="13607">
                  <c:v>-1.59663865546219E-2</c:v>
                </c:pt>
                <c:pt idx="13608">
                  <c:v>-1.59663865546219E-2</c:v>
                </c:pt>
                <c:pt idx="13609">
                  <c:v>-1.59663865546219E-2</c:v>
                </c:pt>
                <c:pt idx="13610">
                  <c:v>-1.59663865546219E-2</c:v>
                </c:pt>
                <c:pt idx="13611">
                  <c:v>-1.59663865546219E-2</c:v>
                </c:pt>
                <c:pt idx="13612">
                  <c:v>-1.59663865546219E-2</c:v>
                </c:pt>
                <c:pt idx="13613">
                  <c:v>-1.59663865546219E-2</c:v>
                </c:pt>
                <c:pt idx="13614">
                  <c:v>-1.59663865546219E-2</c:v>
                </c:pt>
                <c:pt idx="13615">
                  <c:v>-1.59663865546219E-2</c:v>
                </c:pt>
                <c:pt idx="13616">
                  <c:v>-1.59663865546219E-2</c:v>
                </c:pt>
                <c:pt idx="13617">
                  <c:v>-1.59663865546219E-2</c:v>
                </c:pt>
                <c:pt idx="13618">
                  <c:v>-1.59663865546219E-2</c:v>
                </c:pt>
                <c:pt idx="13619">
                  <c:v>-1.59663865546219E-2</c:v>
                </c:pt>
                <c:pt idx="13620">
                  <c:v>-1.59663865546219E-2</c:v>
                </c:pt>
                <c:pt idx="13621">
                  <c:v>-1.59663865546219E-2</c:v>
                </c:pt>
                <c:pt idx="13622">
                  <c:v>-1.59663865546219E-2</c:v>
                </c:pt>
                <c:pt idx="13623">
                  <c:v>-1.59663865546219E-2</c:v>
                </c:pt>
                <c:pt idx="13624">
                  <c:v>-1.59663865546219E-2</c:v>
                </c:pt>
                <c:pt idx="13625">
                  <c:v>-1.59663865546219E-2</c:v>
                </c:pt>
                <c:pt idx="13626">
                  <c:v>-1.59663865546219E-2</c:v>
                </c:pt>
                <c:pt idx="13627">
                  <c:v>-1.59663865546219E-2</c:v>
                </c:pt>
                <c:pt idx="13628">
                  <c:v>-1.59663865546219E-2</c:v>
                </c:pt>
                <c:pt idx="13629">
                  <c:v>-1.59663865546219E-2</c:v>
                </c:pt>
                <c:pt idx="13630">
                  <c:v>-1.59663865546219E-2</c:v>
                </c:pt>
                <c:pt idx="13631">
                  <c:v>-1.59663865546219E-2</c:v>
                </c:pt>
                <c:pt idx="13632">
                  <c:v>-1.59663865546219E-2</c:v>
                </c:pt>
                <c:pt idx="13633">
                  <c:v>-1.59663865546219E-2</c:v>
                </c:pt>
                <c:pt idx="13634">
                  <c:v>-1.59663865546219E-2</c:v>
                </c:pt>
                <c:pt idx="13635">
                  <c:v>-1.59663865546219E-2</c:v>
                </c:pt>
                <c:pt idx="13636">
                  <c:v>-1.59663865546219E-2</c:v>
                </c:pt>
                <c:pt idx="13637">
                  <c:v>-1.59663865546219E-2</c:v>
                </c:pt>
                <c:pt idx="13638">
                  <c:v>-1.59663865546219E-2</c:v>
                </c:pt>
                <c:pt idx="13639">
                  <c:v>-1.59663865546219E-2</c:v>
                </c:pt>
                <c:pt idx="13640">
                  <c:v>-1.51260504201681E-2</c:v>
                </c:pt>
                <c:pt idx="13641">
                  <c:v>-1.51260504201681E-2</c:v>
                </c:pt>
                <c:pt idx="13642">
                  <c:v>-1.51260504201681E-2</c:v>
                </c:pt>
                <c:pt idx="13643">
                  <c:v>-1.51260504201681E-2</c:v>
                </c:pt>
                <c:pt idx="13644">
                  <c:v>-1.59663865546219E-2</c:v>
                </c:pt>
                <c:pt idx="13645">
                  <c:v>-1.59663865546219E-2</c:v>
                </c:pt>
                <c:pt idx="13646">
                  <c:v>-1.59663865546219E-2</c:v>
                </c:pt>
                <c:pt idx="13647">
                  <c:v>-1.59663865546219E-2</c:v>
                </c:pt>
                <c:pt idx="13648">
                  <c:v>-1.59663865546219E-2</c:v>
                </c:pt>
                <c:pt idx="13649">
                  <c:v>-1.59663865546219E-2</c:v>
                </c:pt>
                <c:pt idx="13650">
                  <c:v>-1.5126050420168E-2</c:v>
                </c:pt>
                <c:pt idx="13651">
                  <c:v>-1.5126050420168E-2</c:v>
                </c:pt>
                <c:pt idx="13652">
                  <c:v>-1.5126050420168E-2</c:v>
                </c:pt>
                <c:pt idx="13653">
                  <c:v>-1.5126050420168E-2</c:v>
                </c:pt>
                <c:pt idx="13654">
                  <c:v>-1.5126050420168E-2</c:v>
                </c:pt>
                <c:pt idx="13655">
                  <c:v>-1.5126050420168E-2</c:v>
                </c:pt>
                <c:pt idx="13656">
                  <c:v>-1.5126050420168E-2</c:v>
                </c:pt>
                <c:pt idx="13657">
                  <c:v>-1.5126050420168E-2</c:v>
                </c:pt>
                <c:pt idx="13658">
                  <c:v>-1.5126050420168E-2</c:v>
                </c:pt>
                <c:pt idx="13659">
                  <c:v>-1.5126050420168E-2</c:v>
                </c:pt>
                <c:pt idx="13660">
                  <c:v>-1.5126050420168E-2</c:v>
                </c:pt>
                <c:pt idx="13661">
                  <c:v>-1.5126050420168E-2</c:v>
                </c:pt>
                <c:pt idx="13662">
                  <c:v>-1.5126050420168E-2</c:v>
                </c:pt>
                <c:pt idx="13663">
                  <c:v>-1.5126050420168E-2</c:v>
                </c:pt>
                <c:pt idx="13664">
                  <c:v>-1.5126050420168E-2</c:v>
                </c:pt>
                <c:pt idx="13665">
                  <c:v>-1.5126050420168E-2</c:v>
                </c:pt>
                <c:pt idx="13666">
                  <c:v>-1.5126050420168E-2</c:v>
                </c:pt>
                <c:pt idx="13667">
                  <c:v>-1.5126050420168E-2</c:v>
                </c:pt>
                <c:pt idx="13668">
                  <c:v>-1.5126050420168E-2</c:v>
                </c:pt>
                <c:pt idx="13669">
                  <c:v>-1.5126050420168E-2</c:v>
                </c:pt>
                <c:pt idx="13670">
                  <c:v>-1.5126050420168E-2</c:v>
                </c:pt>
                <c:pt idx="13671">
                  <c:v>-1.5126050420168E-2</c:v>
                </c:pt>
                <c:pt idx="13672">
                  <c:v>-1.5126050420168E-2</c:v>
                </c:pt>
                <c:pt idx="13673">
                  <c:v>-1.5126050420168E-2</c:v>
                </c:pt>
                <c:pt idx="13674">
                  <c:v>-1.5126050420168E-2</c:v>
                </c:pt>
                <c:pt idx="13675">
                  <c:v>-1.42857142857142E-2</c:v>
                </c:pt>
                <c:pt idx="13676">
                  <c:v>-1.42857142857142E-2</c:v>
                </c:pt>
                <c:pt idx="13677">
                  <c:v>-1.42857142857142E-2</c:v>
                </c:pt>
                <c:pt idx="13678">
                  <c:v>-1.42857142857142E-2</c:v>
                </c:pt>
                <c:pt idx="13679">
                  <c:v>-1.42857142857142E-2</c:v>
                </c:pt>
                <c:pt idx="13680">
                  <c:v>-1.42857142857142E-2</c:v>
                </c:pt>
                <c:pt idx="13681">
                  <c:v>-1.42857142857142E-2</c:v>
                </c:pt>
                <c:pt idx="13682">
                  <c:v>-1.42857142857142E-2</c:v>
                </c:pt>
                <c:pt idx="13683">
                  <c:v>-1.42857142857142E-2</c:v>
                </c:pt>
                <c:pt idx="13684">
                  <c:v>-1.42857142857142E-2</c:v>
                </c:pt>
                <c:pt idx="13685">
                  <c:v>-1.42857142857142E-2</c:v>
                </c:pt>
                <c:pt idx="13686">
                  <c:v>-1.42857142857142E-2</c:v>
                </c:pt>
                <c:pt idx="13687">
                  <c:v>-1.42857142857142E-2</c:v>
                </c:pt>
                <c:pt idx="13688">
                  <c:v>-1.3445378151260399E-2</c:v>
                </c:pt>
                <c:pt idx="13689">
                  <c:v>-1.3445378151260399E-2</c:v>
                </c:pt>
                <c:pt idx="13690">
                  <c:v>-1.3445378151260399E-2</c:v>
                </c:pt>
                <c:pt idx="13691">
                  <c:v>-1.3445378151260399E-2</c:v>
                </c:pt>
                <c:pt idx="13692">
                  <c:v>-1.3445378151260399E-2</c:v>
                </c:pt>
                <c:pt idx="13693">
                  <c:v>-1.3445378151260399E-2</c:v>
                </c:pt>
                <c:pt idx="13694">
                  <c:v>-1.3445378151260399E-2</c:v>
                </c:pt>
                <c:pt idx="13695">
                  <c:v>-1.3445378151260399E-2</c:v>
                </c:pt>
                <c:pt idx="13696">
                  <c:v>-1.3445378151260399E-2</c:v>
                </c:pt>
                <c:pt idx="13697">
                  <c:v>-1.3445378151260399E-2</c:v>
                </c:pt>
                <c:pt idx="13698">
                  <c:v>-1.3445378151260399E-2</c:v>
                </c:pt>
                <c:pt idx="13699">
                  <c:v>-1.3445378151260399E-2</c:v>
                </c:pt>
                <c:pt idx="13700">
                  <c:v>-1.3445378151260399E-2</c:v>
                </c:pt>
                <c:pt idx="13701">
                  <c:v>-1.3445378151260399E-2</c:v>
                </c:pt>
                <c:pt idx="13702">
                  <c:v>-1.3445378151260399E-2</c:v>
                </c:pt>
                <c:pt idx="13703">
                  <c:v>-1.3445378151260399E-2</c:v>
                </c:pt>
                <c:pt idx="13704">
                  <c:v>-1.3445378151260399E-2</c:v>
                </c:pt>
                <c:pt idx="13705">
                  <c:v>-1.3445378151260399E-2</c:v>
                </c:pt>
                <c:pt idx="13706">
                  <c:v>-1.3445378151260399E-2</c:v>
                </c:pt>
                <c:pt idx="13707">
                  <c:v>-1.3445378151260399E-2</c:v>
                </c:pt>
                <c:pt idx="13708">
                  <c:v>-1.3445378151260399E-2</c:v>
                </c:pt>
                <c:pt idx="13709">
                  <c:v>-1.3445378151260399E-2</c:v>
                </c:pt>
                <c:pt idx="13710">
                  <c:v>-1.3445378151260399E-2</c:v>
                </c:pt>
                <c:pt idx="13711">
                  <c:v>-1.3445378151260399E-2</c:v>
                </c:pt>
                <c:pt idx="13712">
                  <c:v>-1.3445378151260399E-2</c:v>
                </c:pt>
                <c:pt idx="13713">
                  <c:v>-1.3445378151260399E-2</c:v>
                </c:pt>
                <c:pt idx="13714">
                  <c:v>-1.3445378151260399E-2</c:v>
                </c:pt>
                <c:pt idx="13715">
                  <c:v>-1.3445378151260399E-2</c:v>
                </c:pt>
                <c:pt idx="13716">
                  <c:v>-1.3445378151260399E-2</c:v>
                </c:pt>
                <c:pt idx="13717">
                  <c:v>-1.3445378151260399E-2</c:v>
                </c:pt>
                <c:pt idx="13718">
                  <c:v>-1.3445378151260399E-2</c:v>
                </c:pt>
                <c:pt idx="13719">
                  <c:v>-1.3445378151260399E-2</c:v>
                </c:pt>
                <c:pt idx="13720">
                  <c:v>-1.3445378151260399E-2</c:v>
                </c:pt>
                <c:pt idx="13721">
                  <c:v>-1.3445378151260399E-2</c:v>
                </c:pt>
                <c:pt idx="13722">
                  <c:v>-1.3445378151260399E-2</c:v>
                </c:pt>
                <c:pt idx="13723">
                  <c:v>-1.3445378151260399E-2</c:v>
                </c:pt>
                <c:pt idx="13724">
                  <c:v>-1.3445378151260399E-2</c:v>
                </c:pt>
                <c:pt idx="13725">
                  <c:v>-1.3445378151260399E-2</c:v>
                </c:pt>
                <c:pt idx="13726">
                  <c:v>-1.3445378151260399E-2</c:v>
                </c:pt>
                <c:pt idx="13727">
                  <c:v>-1.3445378151260399E-2</c:v>
                </c:pt>
                <c:pt idx="13728">
                  <c:v>-1.3445378151260399E-2</c:v>
                </c:pt>
                <c:pt idx="13729">
                  <c:v>-1.3445378151260399E-2</c:v>
                </c:pt>
                <c:pt idx="13730">
                  <c:v>-1.3445378151260399E-2</c:v>
                </c:pt>
                <c:pt idx="13731">
                  <c:v>-1.3445378151260399E-2</c:v>
                </c:pt>
                <c:pt idx="13732">
                  <c:v>-1.3445378151260399E-2</c:v>
                </c:pt>
                <c:pt idx="13733">
                  <c:v>-1.3445378151260399E-2</c:v>
                </c:pt>
                <c:pt idx="13734">
                  <c:v>-1.3445378151260399E-2</c:v>
                </c:pt>
                <c:pt idx="13735">
                  <c:v>-1.3445378151260399E-2</c:v>
                </c:pt>
                <c:pt idx="13736">
                  <c:v>-1.42857142857142E-2</c:v>
                </c:pt>
                <c:pt idx="13737">
                  <c:v>-1.42857142857142E-2</c:v>
                </c:pt>
                <c:pt idx="13738">
                  <c:v>-1.42857142857142E-2</c:v>
                </c:pt>
                <c:pt idx="13739">
                  <c:v>-1.42857142857142E-2</c:v>
                </c:pt>
                <c:pt idx="13740">
                  <c:v>-1.42857142857142E-2</c:v>
                </c:pt>
                <c:pt idx="13741">
                  <c:v>-1.42857142857142E-2</c:v>
                </c:pt>
                <c:pt idx="13742">
                  <c:v>-1.42857142857142E-2</c:v>
                </c:pt>
                <c:pt idx="13743">
                  <c:v>-1.5126050420168E-2</c:v>
                </c:pt>
                <c:pt idx="13744">
                  <c:v>-1.42857142857142E-2</c:v>
                </c:pt>
                <c:pt idx="13745">
                  <c:v>-1.42857142857142E-2</c:v>
                </c:pt>
                <c:pt idx="13746">
                  <c:v>-1.42857142857142E-2</c:v>
                </c:pt>
                <c:pt idx="13747">
                  <c:v>-1.42857142857142E-2</c:v>
                </c:pt>
                <c:pt idx="13748">
                  <c:v>-1.42857142857142E-2</c:v>
                </c:pt>
                <c:pt idx="13749">
                  <c:v>-1.42857142857142E-2</c:v>
                </c:pt>
                <c:pt idx="13750">
                  <c:v>-1.42857142857142E-2</c:v>
                </c:pt>
                <c:pt idx="13751">
                  <c:v>-1.42857142857142E-2</c:v>
                </c:pt>
                <c:pt idx="13752">
                  <c:v>-1.42857142857142E-2</c:v>
                </c:pt>
                <c:pt idx="13753">
                  <c:v>-1.42857142857142E-2</c:v>
                </c:pt>
                <c:pt idx="13754">
                  <c:v>-1.42857142857142E-2</c:v>
                </c:pt>
                <c:pt idx="13755">
                  <c:v>-1.42857142857142E-2</c:v>
                </c:pt>
                <c:pt idx="13756">
                  <c:v>-1.42857142857142E-2</c:v>
                </c:pt>
                <c:pt idx="13757">
                  <c:v>-1.42857142857142E-2</c:v>
                </c:pt>
                <c:pt idx="13758">
                  <c:v>-1.42857142857142E-2</c:v>
                </c:pt>
                <c:pt idx="13759">
                  <c:v>-1.42857142857142E-2</c:v>
                </c:pt>
                <c:pt idx="13760">
                  <c:v>-1.42857142857142E-2</c:v>
                </c:pt>
                <c:pt idx="13761">
                  <c:v>-1.5126050420168E-2</c:v>
                </c:pt>
                <c:pt idx="13762">
                  <c:v>-1.5126050420168E-2</c:v>
                </c:pt>
                <c:pt idx="13763">
                  <c:v>-1.5126050420168E-2</c:v>
                </c:pt>
                <c:pt idx="13764">
                  <c:v>-1.5126050420168E-2</c:v>
                </c:pt>
                <c:pt idx="13765">
                  <c:v>-1.5126050420168E-2</c:v>
                </c:pt>
                <c:pt idx="13766">
                  <c:v>-1.5126050420168E-2</c:v>
                </c:pt>
                <c:pt idx="13767">
                  <c:v>-1.5126050420168E-2</c:v>
                </c:pt>
                <c:pt idx="13768">
                  <c:v>-1.5126050420168E-2</c:v>
                </c:pt>
                <c:pt idx="13769">
                  <c:v>-1.5126050420168E-2</c:v>
                </c:pt>
                <c:pt idx="13770">
                  <c:v>-1.5126050420168E-2</c:v>
                </c:pt>
                <c:pt idx="13771">
                  <c:v>-1.5126050420168E-2</c:v>
                </c:pt>
                <c:pt idx="13772">
                  <c:v>-1.5126050420168E-2</c:v>
                </c:pt>
                <c:pt idx="13773">
                  <c:v>-1.5126050420168E-2</c:v>
                </c:pt>
                <c:pt idx="13774">
                  <c:v>-1.5126050420168E-2</c:v>
                </c:pt>
                <c:pt idx="13775">
                  <c:v>-1.5126050420168E-2</c:v>
                </c:pt>
                <c:pt idx="13776">
                  <c:v>-1.5966386554621698E-2</c:v>
                </c:pt>
                <c:pt idx="13777">
                  <c:v>-1.5966386554621698E-2</c:v>
                </c:pt>
                <c:pt idx="13778">
                  <c:v>-1.5966386554621698E-2</c:v>
                </c:pt>
                <c:pt idx="13779">
                  <c:v>-1.5966386554621698E-2</c:v>
                </c:pt>
                <c:pt idx="13780">
                  <c:v>-1.5966386554621698E-2</c:v>
                </c:pt>
                <c:pt idx="13781">
                  <c:v>-1.5966386554621698E-2</c:v>
                </c:pt>
                <c:pt idx="13782">
                  <c:v>-1.5966386554621698E-2</c:v>
                </c:pt>
                <c:pt idx="13783">
                  <c:v>-1.5966386554621698E-2</c:v>
                </c:pt>
                <c:pt idx="13784">
                  <c:v>-1.5966386554621698E-2</c:v>
                </c:pt>
                <c:pt idx="13785">
                  <c:v>-1.5966386554621698E-2</c:v>
                </c:pt>
                <c:pt idx="13786">
                  <c:v>-1.5966386554621698E-2</c:v>
                </c:pt>
                <c:pt idx="13787">
                  <c:v>-1.5966386554621698E-2</c:v>
                </c:pt>
                <c:pt idx="13788">
                  <c:v>-1.6806722689075501E-2</c:v>
                </c:pt>
                <c:pt idx="13789">
                  <c:v>-1.6806722689075501E-2</c:v>
                </c:pt>
                <c:pt idx="13790">
                  <c:v>-1.6806722689075501E-2</c:v>
                </c:pt>
                <c:pt idx="13791">
                  <c:v>-1.6806722689075501E-2</c:v>
                </c:pt>
                <c:pt idx="13792">
                  <c:v>-1.6806722689075501E-2</c:v>
                </c:pt>
                <c:pt idx="13793">
                  <c:v>-1.6806722689075501E-2</c:v>
                </c:pt>
                <c:pt idx="13794">
                  <c:v>-1.6806722689075501E-2</c:v>
                </c:pt>
                <c:pt idx="13795">
                  <c:v>-1.6806722689075501E-2</c:v>
                </c:pt>
                <c:pt idx="13796">
                  <c:v>-1.6806722689075501E-2</c:v>
                </c:pt>
                <c:pt idx="13797">
                  <c:v>-1.6806722689075501E-2</c:v>
                </c:pt>
                <c:pt idx="13798">
                  <c:v>-1.6806722689075501E-2</c:v>
                </c:pt>
                <c:pt idx="13799">
                  <c:v>-1.5966386554621698E-2</c:v>
                </c:pt>
                <c:pt idx="13800">
                  <c:v>-1.5966386554621698E-2</c:v>
                </c:pt>
                <c:pt idx="13801">
                  <c:v>-1.5966386554621698E-2</c:v>
                </c:pt>
                <c:pt idx="13802">
                  <c:v>-1.5966386554621698E-2</c:v>
                </c:pt>
                <c:pt idx="13803">
                  <c:v>-1.5966386554621698E-2</c:v>
                </c:pt>
                <c:pt idx="13804">
                  <c:v>-1.5966386554621698E-2</c:v>
                </c:pt>
                <c:pt idx="13805">
                  <c:v>-1.5966386554621698E-2</c:v>
                </c:pt>
                <c:pt idx="13806">
                  <c:v>-1.5966386554621698E-2</c:v>
                </c:pt>
                <c:pt idx="13807">
                  <c:v>-1.5966386554621698E-2</c:v>
                </c:pt>
                <c:pt idx="13808">
                  <c:v>-1.5966386554621698E-2</c:v>
                </c:pt>
                <c:pt idx="13809">
                  <c:v>-1.5966386554621698E-2</c:v>
                </c:pt>
                <c:pt idx="13810">
                  <c:v>-1.5966386554621698E-2</c:v>
                </c:pt>
                <c:pt idx="13811">
                  <c:v>-1.5966386554621698E-2</c:v>
                </c:pt>
                <c:pt idx="13812">
                  <c:v>-1.5966386554621698E-2</c:v>
                </c:pt>
                <c:pt idx="13813">
                  <c:v>-1.5966386554621698E-2</c:v>
                </c:pt>
                <c:pt idx="13814">
                  <c:v>-1.5966386554621698E-2</c:v>
                </c:pt>
                <c:pt idx="13815">
                  <c:v>-1.5966386554621698E-2</c:v>
                </c:pt>
                <c:pt idx="13816">
                  <c:v>-1.5966386554621698E-2</c:v>
                </c:pt>
                <c:pt idx="13817">
                  <c:v>-1.5966386554621698E-2</c:v>
                </c:pt>
                <c:pt idx="13818">
                  <c:v>-1.5966386554621698E-2</c:v>
                </c:pt>
                <c:pt idx="13819">
                  <c:v>-1.5966386554621698E-2</c:v>
                </c:pt>
                <c:pt idx="13820">
                  <c:v>-1.5966386554621698E-2</c:v>
                </c:pt>
                <c:pt idx="13821">
                  <c:v>-1.5966386554621698E-2</c:v>
                </c:pt>
                <c:pt idx="13822">
                  <c:v>-1.5966386554621698E-2</c:v>
                </c:pt>
                <c:pt idx="13823">
                  <c:v>-1.5966386554621698E-2</c:v>
                </c:pt>
                <c:pt idx="13824">
                  <c:v>-1.5966386554621698E-2</c:v>
                </c:pt>
                <c:pt idx="13825">
                  <c:v>-1.5966386554621698E-2</c:v>
                </c:pt>
                <c:pt idx="13826">
                  <c:v>-1.5966386554621698E-2</c:v>
                </c:pt>
                <c:pt idx="13827">
                  <c:v>-1.5966386554621698E-2</c:v>
                </c:pt>
                <c:pt idx="13828">
                  <c:v>-1.5966386554621698E-2</c:v>
                </c:pt>
                <c:pt idx="13829">
                  <c:v>-1.5966386554621698E-2</c:v>
                </c:pt>
                <c:pt idx="13830">
                  <c:v>-1.5966386554621698E-2</c:v>
                </c:pt>
                <c:pt idx="13831">
                  <c:v>-1.5966386554621698E-2</c:v>
                </c:pt>
                <c:pt idx="13832">
                  <c:v>-1.5966386554621698E-2</c:v>
                </c:pt>
                <c:pt idx="13833">
                  <c:v>-1.5966386554621698E-2</c:v>
                </c:pt>
                <c:pt idx="13834">
                  <c:v>-1.5966386554621698E-2</c:v>
                </c:pt>
                <c:pt idx="13835">
                  <c:v>-1.5966386554621698E-2</c:v>
                </c:pt>
                <c:pt idx="13836">
                  <c:v>-1.5966386554621698E-2</c:v>
                </c:pt>
                <c:pt idx="13837">
                  <c:v>-1.5126050420168E-2</c:v>
                </c:pt>
                <c:pt idx="13838">
                  <c:v>-1.5126050420168E-2</c:v>
                </c:pt>
                <c:pt idx="13839">
                  <c:v>-1.5126050420168E-2</c:v>
                </c:pt>
                <c:pt idx="13840">
                  <c:v>-1.5126050420168E-2</c:v>
                </c:pt>
                <c:pt idx="13841">
                  <c:v>-1.5126050420168E-2</c:v>
                </c:pt>
                <c:pt idx="13842">
                  <c:v>-1.5126050420168E-2</c:v>
                </c:pt>
                <c:pt idx="13843">
                  <c:v>-1.5126050420168E-2</c:v>
                </c:pt>
                <c:pt idx="13844">
                  <c:v>-1.5126050420168E-2</c:v>
                </c:pt>
                <c:pt idx="13845">
                  <c:v>-1.5126050420168E-2</c:v>
                </c:pt>
                <c:pt idx="13846">
                  <c:v>-1.5126050420168E-2</c:v>
                </c:pt>
                <c:pt idx="13847">
                  <c:v>-1.5126050420168E-2</c:v>
                </c:pt>
                <c:pt idx="13848">
                  <c:v>-1.5126050420168E-2</c:v>
                </c:pt>
                <c:pt idx="13849">
                  <c:v>-1.5126050420168E-2</c:v>
                </c:pt>
                <c:pt idx="13850">
                  <c:v>-1.5966386554621698E-2</c:v>
                </c:pt>
                <c:pt idx="13851">
                  <c:v>-1.5966386554621698E-2</c:v>
                </c:pt>
                <c:pt idx="13852">
                  <c:v>-1.5966386554621698E-2</c:v>
                </c:pt>
                <c:pt idx="13853">
                  <c:v>-1.5966386554621698E-2</c:v>
                </c:pt>
                <c:pt idx="13854">
                  <c:v>-1.5966386554621698E-2</c:v>
                </c:pt>
                <c:pt idx="13855">
                  <c:v>-1.5966386554621698E-2</c:v>
                </c:pt>
                <c:pt idx="13856">
                  <c:v>-1.5966386554621698E-2</c:v>
                </c:pt>
                <c:pt idx="13857">
                  <c:v>-1.5126050420168E-2</c:v>
                </c:pt>
                <c:pt idx="13858">
                  <c:v>-1.5126050420168E-2</c:v>
                </c:pt>
                <c:pt idx="13859">
                  <c:v>-1.5126050420168E-2</c:v>
                </c:pt>
                <c:pt idx="13860">
                  <c:v>-1.5126050420168E-2</c:v>
                </c:pt>
                <c:pt idx="13861">
                  <c:v>-1.5126050420168E-2</c:v>
                </c:pt>
                <c:pt idx="13862">
                  <c:v>-1.5126050420168E-2</c:v>
                </c:pt>
                <c:pt idx="13863">
                  <c:v>-1.5126050420168E-2</c:v>
                </c:pt>
                <c:pt idx="13864">
                  <c:v>-1.5126050420168E-2</c:v>
                </c:pt>
                <c:pt idx="13865">
                  <c:v>-1.5126050420168E-2</c:v>
                </c:pt>
                <c:pt idx="13866">
                  <c:v>-1.5126050420168E-2</c:v>
                </c:pt>
                <c:pt idx="13867">
                  <c:v>-1.5126050420168E-2</c:v>
                </c:pt>
                <c:pt idx="13868">
                  <c:v>-1.5126050420168E-2</c:v>
                </c:pt>
                <c:pt idx="13869">
                  <c:v>-1.5126050420168E-2</c:v>
                </c:pt>
                <c:pt idx="13870">
                  <c:v>-1.5126050420168E-2</c:v>
                </c:pt>
                <c:pt idx="13871">
                  <c:v>-1.5126050420168E-2</c:v>
                </c:pt>
                <c:pt idx="13872">
                  <c:v>-1.5126050420168E-2</c:v>
                </c:pt>
                <c:pt idx="13873">
                  <c:v>-1.5966386554621698E-2</c:v>
                </c:pt>
                <c:pt idx="13874">
                  <c:v>-1.5966386554621698E-2</c:v>
                </c:pt>
                <c:pt idx="13875">
                  <c:v>-1.5966386554621698E-2</c:v>
                </c:pt>
                <c:pt idx="13876">
                  <c:v>-1.5966386554621698E-2</c:v>
                </c:pt>
                <c:pt idx="13877">
                  <c:v>-1.5966386554621698E-2</c:v>
                </c:pt>
                <c:pt idx="13878">
                  <c:v>-1.5966386554621698E-2</c:v>
                </c:pt>
                <c:pt idx="13879">
                  <c:v>-1.5966386554621698E-2</c:v>
                </c:pt>
                <c:pt idx="13880">
                  <c:v>-1.5966386554621698E-2</c:v>
                </c:pt>
                <c:pt idx="13881">
                  <c:v>-1.5966386554621698E-2</c:v>
                </c:pt>
                <c:pt idx="13882">
                  <c:v>-1.5966386554621698E-2</c:v>
                </c:pt>
                <c:pt idx="13883">
                  <c:v>-1.5966386554621698E-2</c:v>
                </c:pt>
                <c:pt idx="13884">
                  <c:v>-1.5966386554621698E-2</c:v>
                </c:pt>
                <c:pt idx="13885">
                  <c:v>-1.5966386554621698E-2</c:v>
                </c:pt>
                <c:pt idx="13886">
                  <c:v>-1.5966386554621698E-2</c:v>
                </c:pt>
                <c:pt idx="13887">
                  <c:v>-1.5126050420168E-2</c:v>
                </c:pt>
                <c:pt idx="13888">
                  <c:v>-1.5126050420168E-2</c:v>
                </c:pt>
                <c:pt idx="13889">
                  <c:v>-1.5126050420168E-2</c:v>
                </c:pt>
                <c:pt idx="13890">
                  <c:v>-1.5126050420168E-2</c:v>
                </c:pt>
                <c:pt idx="13891">
                  <c:v>-1.5966386554621698E-2</c:v>
                </c:pt>
                <c:pt idx="13892">
                  <c:v>-1.5966386554621698E-2</c:v>
                </c:pt>
                <c:pt idx="13893">
                  <c:v>-1.5966386554621698E-2</c:v>
                </c:pt>
                <c:pt idx="13894">
                  <c:v>-1.5966386554621698E-2</c:v>
                </c:pt>
                <c:pt idx="13895">
                  <c:v>-1.5966386554621698E-2</c:v>
                </c:pt>
                <c:pt idx="13896">
                  <c:v>-1.5966386554621698E-2</c:v>
                </c:pt>
                <c:pt idx="13897">
                  <c:v>-1.5966386554621698E-2</c:v>
                </c:pt>
                <c:pt idx="13898">
                  <c:v>-1.5966386554621698E-2</c:v>
                </c:pt>
                <c:pt idx="13899">
                  <c:v>-1.5966386554621698E-2</c:v>
                </c:pt>
                <c:pt idx="13900">
                  <c:v>-1.5966386554621698E-2</c:v>
                </c:pt>
                <c:pt idx="13901">
                  <c:v>-1.5966386554621698E-2</c:v>
                </c:pt>
                <c:pt idx="13902">
                  <c:v>-1.5966386554621698E-2</c:v>
                </c:pt>
                <c:pt idx="13903">
                  <c:v>-1.6806722689075501E-2</c:v>
                </c:pt>
                <c:pt idx="13904">
                  <c:v>-1.6806722689075501E-2</c:v>
                </c:pt>
                <c:pt idx="13905">
                  <c:v>-1.6806722689075501E-2</c:v>
                </c:pt>
                <c:pt idx="13906">
                  <c:v>-1.6806722689075501E-2</c:v>
                </c:pt>
                <c:pt idx="13907">
                  <c:v>-1.5966386554621698E-2</c:v>
                </c:pt>
                <c:pt idx="13908">
                  <c:v>-1.5966386554621698E-2</c:v>
                </c:pt>
                <c:pt idx="13909">
                  <c:v>-1.5966386554621698E-2</c:v>
                </c:pt>
                <c:pt idx="13910">
                  <c:v>-1.5966386554621698E-2</c:v>
                </c:pt>
                <c:pt idx="13911">
                  <c:v>-1.5966386554621698E-2</c:v>
                </c:pt>
                <c:pt idx="13912">
                  <c:v>-1.5966386554621698E-2</c:v>
                </c:pt>
                <c:pt idx="13913">
                  <c:v>-1.5966386554621698E-2</c:v>
                </c:pt>
                <c:pt idx="13914">
                  <c:v>-1.5966386554621698E-2</c:v>
                </c:pt>
                <c:pt idx="13915">
                  <c:v>-1.5966386554621698E-2</c:v>
                </c:pt>
                <c:pt idx="13916">
                  <c:v>-1.5966386554621698E-2</c:v>
                </c:pt>
                <c:pt idx="13917">
                  <c:v>-1.5966386554621698E-2</c:v>
                </c:pt>
                <c:pt idx="13918">
                  <c:v>-1.6806722689075501E-2</c:v>
                </c:pt>
                <c:pt idx="13919">
                  <c:v>-1.6806722689075501E-2</c:v>
                </c:pt>
                <c:pt idx="13920">
                  <c:v>-1.6806722689075501E-2</c:v>
                </c:pt>
                <c:pt idx="13921">
                  <c:v>-1.6806722689075501E-2</c:v>
                </c:pt>
                <c:pt idx="13922">
                  <c:v>-1.6806722689075501E-2</c:v>
                </c:pt>
                <c:pt idx="13923">
                  <c:v>-1.6806722689075501E-2</c:v>
                </c:pt>
                <c:pt idx="13924">
                  <c:v>-1.6806722689075501E-2</c:v>
                </c:pt>
                <c:pt idx="13925">
                  <c:v>-1.6806722689075501E-2</c:v>
                </c:pt>
                <c:pt idx="13926">
                  <c:v>-1.6806722689075501E-2</c:v>
                </c:pt>
                <c:pt idx="13927">
                  <c:v>-1.6806722689075501E-2</c:v>
                </c:pt>
                <c:pt idx="13928">
                  <c:v>-1.6806722689075501E-2</c:v>
                </c:pt>
                <c:pt idx="13929">
                  <c:v>-1.6806722689075501E-2</c:v>
                </c:pt>
                <c:pt idx="13930">
                  <c:v>-1.6806722689075501E-2</c:v>
                </c:pt>
                <c:pt idx="13931">
                  <c:v>-1.6806722689075501E-2</c:v>
                </c:pt>
                <c:pt idx="13932">
                  <c:v>-1.6806722689075501E-2</c:v>
                </c:pt>
                <c:pt idx="13933">
                  <c:v>-1.6806722689075501E-2</c:v>
                </c:pt>
                <c:pt idx="13934">
                  <c:v>-1.76470588235293E-2</c:v>
                </c:pt>
                <c:pt idx="13935">
                  <c:v>-1.76470588235293E-2</c:v>
                </c:pt>
                <c:pt idx="13936">
                  <c:v>-1.76470588235293E-2</c:v>
                </c:pt>
                <c:pt idx="13937">
                  <c:v>-1.76470588235293E-2</c:v>
                </c:pt>
                <c:pt idx="13938">
                  <c:v>-1.76470588235293E-2</c:v>
                </c:pt>
                <c:pt idx="13939">
                  <c:v>-1.76470588235293E-2</c:v>
                </c:pt>
                <c:pt idx="13940">
                  <c:v>-1.76470588235293E-2</c:v>
                </c:pt>
                <c:pt idx="13941">
                  <c:v>-1.76470588235293E-2</c:v>
                </c:pt>
                <c:pt idx="13942">
                  <c:v>-1.76470588235293E-2</c:v>
                </c:pt>
                <c:pt idx="13943">
                  <c:v>-1.76470588235293E-2</c:v>
                </c:pt>
                <c:pt idx="13944">
                  <c:v>-1.76470588235293E-2</c:v>
                </c:pt>
                <c:pt idx="13945">
                  <c:v>-1.76470588235293E-2</c:v>
                </c:pt>
                <c:pt idx="13946">
                  <c:v>-1.76470588235293E-2</c:v>
                </c:pt>
                <c:pt idx="13947">
                  <c:v>-1.76470588235293E-2</c:v>
                </c:pt>
                <c:pt idx="13948">
                  <c:v>-1.76470588235293E-2</c:v>
                </c:pt>
                <c:pt idx="13949">
                  <c:v>-1.76470588235293E-2</c:v>
                </c:pt>
                <c:pt idx="13950">
                  <c:v>-1.76470588235293E-2</c:v>
                </c:pt>
                <c:pt idx="13951">
                  <c:v>-1.76470588235293E-2</c:v>
                </c:pt>
                <c:pt idx="13952">
                  <c:v>-1.76470588235293E-2</c:v>
                </c:pt>
                <c:pt idx="13953">
                  <c:v>-1.76470588235293E-2</c:v>
                </c:pt>
                <c:pt idx="13954">
                  <c:v>-1.76470588235293E-2</c:v>
                </c:pt>
                <c:pt idx="13955">
                  <c:v>-1.76470588235293E-2</c:v>
                </c:pt>
                <c:pt idx="13956">
                  <c:v>-1.76470588235293E-2</c:v>
                </c:pt>
                <c:pt idx="13957">
                  <c:v>-1.76470588235293E-2</c:v>
                </c:pt>
                <c:pt idx="13958">
                  <c:v>-1.76470588235293E-2</c:v>
                </c:pt>
                <c:pt idx="13959">
                  <c:v>-1.76470588235293E-2</c:v>
                </c:pt>
                <c:pt idx="13960">
                  <c:v>-1.76470588235293E-2</c:v>
                </c:pt>
                <c:pt idx="13961">
                  <c:v>-1.76470588235293E-2</c:v>
                </c:pt>
                <c:pt idx="13962">
                  <c:v>-1.76470588235293E-2</c:v>
                </c:pt>
                <c:pt idx="13963">
                  <c:v>-1.76470588235293E-2</c:v>
                </c:pt>
                <c:pt idx="13964">
                  <c:v>-1.76470588235293E-2</c:v>
                </c:pt>
                <c:pt idx="13965">
                  <c:v>-1.76470588235293E-2</c:v>
                </c:pt>
                <c:pt idx="13966">
                  <c:v>-1.76470588235293E-2</c:v>
                </c:pt>
                <c:pt idx="13967">
                  <c:v>-1.76470588235293E-2</c:v>
                </c:pt>
                <c:pt idx="13968">
                  <c:v>-1.76470588235293E-2</c:v>
                </c:pt>
                <c:pt idx="13969">
                  <c:v>-1.76470588235293E-2</c:v>
                </c:pt>
                <c:pt idx="13970">
                  <c:v>-1.76470588235293E-2</c:v>
                </c:pt>
                <c:pt idx="13971">
                  <c:v>-1.76470588235293E-2</c:v>
                </c:pt>
                <c:pt idx="13972">
                  <c:v>-1.76470588235293E-2</c:v>
                </c:pt>
                <c:pt idx="13973">
                  <c:v>-1.76470588235293E-2</c:v>
                </c:pt>
                <c:pt idx="13974">
                  <c:v>-1.76470588235293E-2</c:v>
                </c:pt>
                <c:pt idx="13975">
                  <c:v>-1.76470588235293E-2</c:v>
                </c:pt>
                <c:pt idx="13976">
                  <c:v>-1.76470588235293E-2</c:v>
                </c:pt>
                <c:pt idx="13977">
                  <c:v>-1.76470588235293E-2</c:v>
                </c:pt>
                <c:pt idx="13978">
                  <c:v>-1.76470588235293E-2</c:v>
                </c:pt>
                <c:pt idx="13979">
                  <c:v>-1.76470588235293E-2</c:v>
                </c:pt>
                <c:pt idx="13980">
                  <c:v>-1.76470588235293E-2</c:v>
                </c:pt>
                <c:pt idx="13981">
                  <c:v>-1.76470588235293E-2</c:v>
                </c:pt>
                <c:pt idx="13982">
                  <c:v>-1.76470588235293E-2</c:v>
                </c:pt>
                <c:pt idx="13983">
                  <c:v>-1.76470588235293E-2</c:v>
                </c:pt>
                <c:pt idx="13984">
                  <c:v>-1.76470588235293E-2</c:v>
                </c:pt>
                <c:pt idx="13985">
                  <c:v>-1.76470588235293E-2</c:v>
                </c:pt>
                <c:pt idx="13986">
                  <c:v>-1.76470588235293E-2</c:v>
                </c:pt>
                <c:pt idx="13987">
                  <c:v>-1.76470588235293E-2</c:v>
                </c:pt>
                <c:pt idx="13988">
                  <c:v>-1.84873949579831E-2</c:v>
                </c:pt>
                <c:pt idx="13989">
                  <c:v>-1.84873949579831E-2</c:v>
                </c:pt>
                <c:pt idx="13990">
                  <c:v>-1.84873949579831E-2</c:v>
                </c:pt>
                <c:pt idx="13991">
                  <c:v>-1.84873949579831E-2</c:v>
                </c:pt>
                <c:pt idx="13992">
                  <c:v>-1.84873949579831E-2</c:v>
                </c:pt>
                <c:pt idx="13993">
                  <c:v>-1.9327731092436899E-2</c:v>
                </c:pt>
                <c:pt idx="13994">
                  <c:v>-1.9327731092436899E-2</c:v>
                </c:pt>
                <c:pt idx="13995">
                  <c:v>-1.9327731092436899E-2</c:v>
                </c:pt>
                <c:pt idx="13996">
                  <c:v>-1.9327731092436899E-2</c:v>
                </c:pt>
                <c:pt idx="13997">
                  <c:v>-1.9327731092436899E-2</c:v>
                </c:pt>
                <c:pt idx="13998">
                  <c:v>-1.9327731092436899E-2</c:v>
                </c:pt>
                <c:pt idx="13999">
                  <c:v>-1.9327731092436899E-2</c:v>
                </c:pt>
                <c:pt idx="14000">
                  <c:v>-1.9327731092436899E-2</c:v>
                </c:pt>
                <c:pt idx="14001">
                  <c:v>-1.9327731092436899E-2</c:v>
                </c:pt>
                <c:pt idx="14002">
                  <c:v>-1.9327731092436899E-2</c:v>
                </c:pt>
                <c:pt idx="14003">
                  <c:v>-1.9327731092436899E-2</c:v>
                </c:pt>
                <c:pt idx="14004">
                  <c:v>-1.9327731092436899E-2</c:v>
                </c:pt>
                <c:pt idx="14005">
                  <c:v>-1.9327731092436899E-2</c:v>
                </c:pt>
                <c:pt idx="14006">
                  <c:v>-1.9327731092436899E-2</c:v>
                </c:pt>
                <c:pt idx="14007">
                  <c:v>-1.9327731092436899E-2</c:v>
                </c:pt>
                <c:pt idx="14008">
                  <c:v>-1.9327731092436899E-2</c:v>
                </c:pt>
                <c:pt idx="14009">
                  <c:v>-1.9327731092436899E-2</c:v>
                </c:pt>
                <c:pt idx="14010">
                  <c:v>-1.9327731092436899E-2</c:v>
                </c:pt>
                <c:pt idx="14011">
                  <c:v>-1.9327731092436899E-2</c:v>
                </c:pt>
                <c:pt idx="14012">
                  <c:v>-1.9327731092436899E-2</c:v>
                </c:pt>
                <c:pt idx="14013">
                  <c:v>-1.9327731092436899E-2</c:v>
                </c:pt>
                <c:pt idx="14014">
                  <c:v>-1.9327731092436899E-2</c:v>
                </c:pt>
                <c:pt idx="14015">
                  <c:v>-1.9327731092436899E-2</c:v>
                </c:pt>
                <c:pt idx="14016">
                  <c:v>-1.9327731092436899E-2</c:v>
                </c:pt>
                <c:pt idx="14017">
                  <c:v>-1.9327731092436899E-2</c:v>
                </c:pt>
                <c:pt idx="14018">
                  <c:v>-1.9327731092436899E-2</c:v>
                </c:pt>
                <c:pt idx="14019">
                  <c:v>-2.0168067226890601E-2</c:v>
                </c:pt>
                <c:pt idx="14020">
                  <c:v>-2.0168067226890601E-2</c:v>
                </c:pt>
                <c:pt idx="14021">
                  <c:v>-2.0168067226890601E-2</c:v>
                </c:pt>
                <c:pt idx="14022">
                  <c:v>-2.0168067226890601E-2</c:v>
                </c:pt>
                <c:pt idx="14023">
                  <c:v>-2.0168067226890601E-2</c:v>
                </c:pt>
                <c:pt idx="14024">
                  <c:v>-2.0168067226890601E-2</c:v>
                </c:pt>
                <c:pt idx="14025">
                  <c:v>-2.0168067226890601E-2</c:v>
                </c:pt>
                <c:pt idx="14026">
                  <c:v>-2.1008403361344401E-2</c:v>
                </c:pt>
                <c:pt idx="14027">
                  <c:v>-2.0168067226890601E-2</c:v>
                </c:pt>
                <c:pt idx="14028">
                  <c:v>-2.0168067226890601E-2</c:v>
                </c:pt>
                <c:pt idx="14029">
                  <c:v>-2.0168067226890601E-2</c:v>
                </c:pt>
                <c:pt idx="14030">
                  <c:v>-2.0168067226890601E-2</c:v>
                </c:pt>
                <c:pt idx="14031">
                  <c:v>-2.0168067226890601E-2</c:v>
                </c:pt>
                <c:pt idx="14032">
                  <c:v>-2.0168067226890601E-2</c:v>
                </c:pt>
                <c:pt idx="14033">
                  <c:v>-2.0168067226890601E-2</c:v>
                </c:pt>
                <c:pt idx="14034">
                  <c:v>-2.0168067226890601E-2</c:v>
                </c:pt>
                <c:pt idx="14035">
                  <c:v>-1.9327731092436899E-2</c:v>
                </c:pt>
                <c:pt idx="14036">
                  <c:v>-1.9327731092436899E-2</c:v>
                </c:pt>
                <c:pt idx="14037">
                  <c:v>-1.9327731092436899E-2</c:v>
                </c:pt>
                <c:pt idx="14038">
                  <c:v>-1.9327731092436899E-2</c:v>
                </c:pt>
                <c:pt idx="14039">
                  <c:v>-1.9327731092436899E-2</c:v>
                </c:pt>
                <c:pt idx="14040">
                  <c:v>-1.9327731092436899E-2</c:v>
                </c:pt>
                <c:pt idx="14041">
                  <c:v>-2.0168067226890601E-2</c:v>
                </c:pt>
                <c:pt idx="14042">
                  <c:v>-2.0168067226890601E-2</c:v>
                </c:pt>
                <c:pt idx="14043">
                  <c:v>-2.0168067226890601E-2</c:v>
                </c:pt>
                <c:pt idx="14044">
                  <c:v>-2.0168067226890601E-2</c:v>
                </c:pt>
                <c:pt idx="14045">
                  <c:v>-2.0168067226890601E-2</c:v>
                </c:pt>
                <c:pt idx="14046">
                  <c:v>-2.0168067226890601E-2</c:v>
                </c:pt>
                <c:pt idx="14047">
                  <c:v>-2.0168067226890601E-2</c:v>
                </c:pt>
                <c:pt idx="14048">
                  <c:v>-2.0168067226890601E-2</c:v>
                </c:pt>
                <c:pt idx="14049">
                  <c:v>-2.0168067226890601E-2</c:v>
                </c:pt>
                <c:pt idx="14050">
                  <c:v>-2.0168067226890601E-2</c:v>
                </c:pt>
                <c:pt idx="14051">
                  <c:v>-1.9327731092436899E-2</c:v>
                </c:pt>
                <c:pt idx="14052">
                  <c:v>-1.9327731092436899E-2</c:v>
                </c:pt>
                <c:pt idx="14053">
                  <c:v>-1.9327731092436899E-2</c:v>
                </c:pt>
                <c:pt idx="14054">
                  <c:v>-1.9327731092436899E-2</c:v>
                </c:pt>
                <c:pt idx="14055">
                  <c:v>-1.9327731092436899E-2</c:v>
                </c:pt>
                <c:pt idx="14056">
                  <c:v>-1.9327731092436899E-2</c:v>
                </c:pt>
                <c:pt idx="14057">
                  <c:v>-1.9327731092436899E-2</c:v>
                </c:pt>
                <c:pt idx="14058">
                  <c:v>-1.9327731092436899E-2</c:v>
                </c:pt>
                <c:pt idx="14059">
                  <c:v>-1.9327731092436899E-2</c:v>
                </c:pt>
                <c:pt idx="14060">
                  <c:v>-1.9327731092436899E-2</c:v>
                </c:pt>
                <c:pt idx="14061">
                  <c:v>-1.9327731092436899E-2</c:v>
                </c:pt>
                <c:pt idx="14062">
                  <c:v>-1.9327731092436899E-2</c:v>
                </c:pt>
                <c:pt idx="14063">
                  <c:v>-1.9327731092436899E-2</c:v>
                </c:pt>
                <c:pt idx="14064">
                  <c:v>-1.9327731092436899E-2</c:v>
                </c:pt>
                <c:pt idx="14065">
                  <c:v>-1.9327731092436899E-2</c:v>
                </c:pt>
                <c:pt idx="14066">
                  <c:v>-1.9327731092436899E-2</c:v>
                </c:pt>
                <c:pt idx="14067">
                  <c:v>-1.9327731092436899E-2</c:v>
                </c:pt>
                <c:pt idx="14068">
                  <c:v>-2.0168067226890601E-2</c:v>
                </c:pt>
                <c:pt idx="14069">
                  <c:v>-2.0168067226890601E-2</c:v>
                </c:pt>
                <c:pt idx="14070">
                  <c:v>-2.0168067226890601E-2</c:v>
                </c:pt>
                <c:pt idx="14071">
                  <c:v>-2.0168067226890601E-2</c:v>
                </c:pt>
                <c:pt idx="14072">
                  <c:v>-2.0168067226890601E-2</c:v>
                </c:pt>
                <c:pt idx="14073">
                  <c:v>-2.0168067226890601E-2</c:v>
                </c:pt>
                <c:pt idx="14074">
                  <c:v>-2.0168067226890601E-2</c:v>
                </c:pt>
                <c:pt idx="14075">
                  <c:v>-2.0168067226890601E-2</c:v>
                </c:pt>
                <c:pt idx="14076">
                  <c:v>-2.0168067226890601E-2</c:v>
                </c:pt>
                <c:pt idx="14077">
                  <c:v>-2.0168067226890601E-2</c:v>
                </c:pt>
                <c:pt idx="14078">
                  <c:v>-2.0168067226890601E-2</c:v>
                </c:pt>
                <c:pt idx="14079">
                  <c:v>-2.0168067226890601E-2</c:v>
                </c:pt>
                <c:pt idx="14080">
                  <c:v>-2.0168067226890601E-2</c:v>
                </c:pt>
                <c:pt idx="14081">
                  <c:v>-2.0168067226890601E-2</c:v>
                </c:pt>
                <c:pt idx="14082">
                  <c:v>-2.0168067226890601E-2</c:v>
                </c:pt>
                <c:pt idx="14083">
                  <c:v>-2.0168067226890601E-2</c:v>
                </c:pt>
                <c:pt idx="14084">
                  <c:v>-2.0168067226890601E-2</c:v>
                </c:pt>
                <c:pt idx="14085">
                  <c:v>-2.0168067226890601E-2</c:v>
                </c:pt>
                <c:pt idx="14086">
                  <c:v>-2.0168067226890601E-2</c:v>
                </c:pt>
                <c:pt idx="14087">
                  <c:v>-2.0168067226890601E-2</c:v>
                </c:pt>
                <c:pt idx="14088">
                  <c:v>-2.0168067226890601E-2</c:v>
                </c:pt>
                <c:pt idx="14089">
                  <c:v>-2.0168067226890601E-2</c:v>
                </c:pt>
                <c:pt idx="14090">
                  <c:v>-2.0168067226890601E-2</c:v>
                </c:pt>
                <c:pt idx="14091">
                  <c:v>-2.0168067226890601E-2</c:v>
                </c:pt>
                <c:pt idx="14092">
                  <c:v>-2.0168067226890601E-2</c:v>
                </c:pt>
                <c:pt idx="14093">
                  <c:v>-2.0168067226890601E-2</c:v>
                </c:pt>
                <c:pt idx="14094">
                  <c:v>-2.0168067226890601E-2</c:v>
                </c:pt>
                <c:pt idx="14095">
                  <c:v>-2.0168067226890601E-2</c:v>
                </c:pt>
                <c:pt idx="14096">
                  <c:v>-2.1008403361344401E-2</c:v>
                </c:pt>
                <c:pt idx="14097">
                  <c:v>-2.1008403361344401E-2</c:v>
                </c:pt>
                <c:pt idx="14098">
                  <c:v>-2.1008403361344401E-2</c:v>
                </c:pt>
                <c:pt idx="14099">
                  <c:v>-2.1008403361344401E-2</c:v>
                </c:pt>
                <c:pt idx="14100">
                  <c:v>-2.1008403361344401E-2</c:v>
                </c:pt>
                <c:pt idx="14101">
                  <c:v>-2.1008403361344401E-2</c:v>
                </c:pt>
                <c:pt idx="14102">
                  <c:v>-2.1008403361344401E-2</c:v>
                </c:pt>
                <c:pt idx="14103">
                  <c:v>-2.1008403361344401E-2</c:v>
                </c:pt>
                <c:pt idx="14104">
                  <c:v>-2.1008403361344401E-2</c:v>
                </c:pt>
                <c:pt idx="14105">
                  <c:v>-2.1008403361344401E-2</c:v>
                </c:pt>
                <c:pt idx="14106">
                  <c:v>-2.1008403361344401E-2</c:v>
                </c:pt>
                <c:pt idx="14107">
                  <c:v>-2.1008403361344401E-2</c:v>
                </c:pt>
                <c:pt idx="14108">
                  <c:v>-2.1008403361344401E-2</c:v>
                </c:pt>
                <c:pt idx="14109">
                  <c:v>-2.1008403361344401E-2</c:v>
                </c:pt>
                <c:pt idx="14110">
                  <c:v>-2.1008403361344401E-2</c:v>
                </c:pt>
                <c:pt idx="14111">
                  <c:v>-2.1008403361344401E-2</c:v>
                </c:pt>
                <c:pt idx="14112">
                  <c:v>-2.1008403361344401E-2</c:v>
                </c:pt>
                <c:pt idx="14113">
                  <c:v>-2.1008403361344401E-2</c:v>
                </c:pt>
                <c:pt idx="14114">
                  <c:v>-2.1008403361344401E-2</c:v>
                </c:pt>
                <c:pt idx="14115">
                  <c:v>-2.1008403361344401E-2</c:v>
                </c:pt>
                <c:pt idx="14116">
                  <c:v>-2.1008403361344401E-2</c:v>
                </c:pt>
                <c:pt idx="14117">
                  <c:v>-2.1008403361344401E-2</c:v>
                </c:pt>
                <c:pt idx="14118">
                  <c:v>-2.1008403361344401E-2</c:v>
                </c:pt>
                <c:pt idx="14119">
                  <c:v>-2.0168067226890601E-2</c:v>
                </c:pt>
                <c:pt idx="14120">
                  <c:v>-2.0168067226890601E-2</c:v>
                </c:pt>
                <c:pt idx="14121">
                  <c:v>-2.0168067226890601E-2</c:v>
                </c:pt>
                <c:pt idx="14122">
                  <c:v>-2.0168067226890601E-2</c:v>
                </c:pt>
                <c:pt idx="14123">
                  <c:v>-2.0168067226890601E-2</c:v>
                </c:pt>
                <c:pt idx="14124">
                  <c:v>-2.0168067226890601E-2</c:v>
                </c:pt>
                <c:pt idx="14125">
                  <c:v>-1.9327731092436899E-2</c:v>
                </c:pt>
                <c:pt idx="14126">
                  <c:v>-1.9327731092436899E-2</c:v>
                </c:pt>
                <c:pt idx="14127">
                  <c:v>-1.9327731092436899E-2</c:v>
                </c:pt>
                <c:pt idx="14128">
                  <c:v>-1.9327731092436899E-2</c:v>
                </c:pt>
                <c:pt idx="14129">
                  <c:v>-1.9327731092436899E-2</c:v>
                </c:pt>
                <c:pt idx="14130">
                  <c:v>-1.9327731092436899E-2</c:v>
                </c:pt>
                <c:pt idx="14131">
                  <c:v>-1.9327731092436899E-2</c:v>
                </c:pt>
                <c:pt idx="14132">
                  <c:v>-1.9327731092436899E-2</c:v>
                </c:pt>
                <c:pt idx="14133">
                  <c:v>-1.9327731092436899E-2</c:v>
                </c:pt>
                <c:pt idx="14134">
                  <c:v>-1.9327731092436899E-2</c:v>
                </c:pt>
                <c:pt idx="14135">
                  <c:v>-1.9327731092436899E-2</c:v>
                </c:pt>
                <c:pt idx="14136">
                  <c:v>-1.9327731092436899E-2</c:v>
                </c:pt>
                <c:pt idx="14137">
                  <c:v>-1.9327731092436899E-2</c:v>
                </c:pt>
                <c:pt idx="14138">
                  <c:v>-1.9327731092436899E-2</c:v>
                </c:pt>
                <c:pt idx="14139">
                  <c:v>-1.9327731092436899E-2</c:v>
                </c:pt>
                <c:pt idx="14140">
                  <c:v>-1.9327731092436899E-2</c:v>
                </c:pt>
                <c:pt idx="14141">
                  <c:v>-1.9327731092436899E-2</c:v>
                </c:pt>
                <c:pt idx="14142">
                  <c:v>-1.9327731092436899E-2</c:v>
                </c:pt>
                <c:pt idx="14143">
                  <c:v>-1.9327731092436899E-2</c:v>
                </c:pt>
                <c:pt idx="14144">
                  <c:v>-1.9327731092436899E-2</c:v>
                </c:pt>
                <c:pt idx="14145">
                  <c:v>-1.9327731092436899E-2</c:v>
                </c:pt>
                <c:pt idx="14146">
                  <c:v>-1.9327731092436899E-2</c:v>
                </c:pt>
                <c:pt idx="14147">
                  <c:v>-1.9327731092436899E-2</c:v>
                </c:pt>
                <c:pt idx="14148">
                  <c:v>-1.9327731092436899E-2</c:v>
                </c:pt>
                <c:pt idx="14149">
                  <c:v>-1.9327731092436899E-2</c:v>
                </c:pt>
                <c:pt idx="14150">
                  <c:v>-1.9327731092436899E-2</c:v>
                </c:pt>
                <c:pt idx="14151">
                  <c:v>-1.9327731092436899E-2</c:v>
                </c:pt>
                <c:pt idx="14152">
                  <c:v>-1.9327731092436899E-2</c:v>
                </c:pt>
                <c:pt idx="14153">
                  <c:v>-1.9327731092436899E-2</c:v>
                </c:pt>
                <c:pt idx="14154">
                  <c:v>-1.9327731092436899E-2</c:v>
                </c:pt>
                <c:pt idx="14155">
                  <c:v>-1.9327731092436899E-2</c:v>
                </c:pt>
                <c:pt idx="14156">
                  <c:v>-1.9327731092436899E-2</c:v>
                </c:pt>
                <c:pt idx="14157">
                  <c:v>-1.9327731092436899E-2</c:v>
                </c:pt>
                <c:pt idx="14158">
                  <c:v>-1.9327731092436899E-2</c:v>
                </c:pt>
                <c:pt idx="14159">
                  <c:v>-1.9327731092436899E-2</c:v>
                </c:pt>
                <c:pt idx="14160">
                  <c:v>-1.9327731092436899E-2</c:v>
                </c:pt>
                <c:pt idx="14161">
                  <c:v>-1.9327731092436899E-2</c:v>
                </c:pt>
                <c:pt idx="14162">
                  <c:v>-1.9327731092436899E-2</c:v>
                </c:pt>
                <c:pt idx="14163">
                  <c:v>-1.9327731092436899E-2</c:v>
                </c:pt>
                <c:pt idx="14164">
                  <c:v>-1.9327731092436899E-2</c:v>
                </c:pt>
                <c:pt idx="14165">
                  <c:v>-1.9327731092436899E-2</c:v>
                </c:pt>
                <c:pt idx="14166">
                  <c:v>-1.9327731092436899E-2</c:v>
                </c:pt>
                <c:pt idx="14167">
                  <c:v>-1.9327731092436899E-2</c:v>
                </c:pt>
                <c:pt idx="14168">
                  <c:v>-1.9327731092436899E-2</c:v>
                </c:pt>
                <c:pt idx="14169">
                  <c:v>-1.9327731092436899E-2</c:v>
                </c:pt>
                <c:pt idx="14170">
                  <c:v>-1.9327731092436899E-2</c:v>
                </c:pt>
                <c:pt idx="14171">
                  <c:v>-1.9327731092436899E-2</c:v>
                </c:pt>
                <c:pt idx="14172">
                  <c:v>-1.9327731092436899E-2</c:v>
                </c:pt>
                <c:pt idx="14173">
                  <c:v>-1.9327731092436899E-2</c:v>
                </c:pt>
                <c:pt idx="14174">
                  <c:v>-1.9327731092436899E-2</c:v>
                </c:pt>
                <c:pt idx="14175">
                  <c:v>-1.9327731092436899E-2</c:v>
                </c:pt>
                <c:pt idx="14176">
                  <c:v>-1.9327731092436899E-2</c:v>
                </c:pt>
                <c:pt idx="14177">
                  <c:v>-1.9327731092436899E-2</c:v>
                </c:pt>
                <c:pt idx="14178">
                  <c:v>-1.9327731092436899E-2</c:v>
                </c:pt>
                <c:pt idx="14179">
                  <c:v>-1.9327731092436899E-2</c:v>
                </c:pt>
                <c:pt idx="14180">
                  <c:v>-1.9327731092436899E-2</c:v>
                </c:pt>
                <c:pt idx="14181">
                  <c:v>-1.9327731092436899E-2</c:v>
                </c:pt>
                <c:pt idx="14182">
                  <c:v>-1.9327731092436899E-2</c:v>
                </c:pt>
                <c:pt idx="14183">
                  <c:v>-1.9327731092436899E-2</c:v>
                </c:pt>
                <c:pt idx="14184">
                  <c:v>-1.9327731092436899E-2</c:v>
                </c:pt>
                <c:pt idx="14185">
                  <c:v>-1.9327731092436899E-2</c:v>
                </c:pt>
                <c:pt idx="14186">
                  <c:v>-1.9327731092436899E-2</c:v>
                </c:pt>
                <c:pt idx="14187">
                  <c:v>-1.9327731092436899E-2</c:v>
                </c:pt>
                <c:pt idx="14188">
                  <c:v>-1.9327731092436899E-2</c:v>
                </c:pt>
                <c:pt idx="14189">
                  <c:v>-1.9327731092436899E-2</c:v>
                </c:pt>
                <c:pt idx="14190">
                  <c:v>-1.9327731092436899E-2</c:v>
                </c:pt>
                <c:pt idx="14191">
                  <c:v>-1.9327731092436899E-2</c:v>
                </c:pt>
                <c:pt idx="14192">
                  <c:v>-1.9327731092436899E-2</c:v>
                </c:pt>
                <c:pt idx="14193">
                  <c:v>-1.9327731092436899E-2</c:v>
                </c:pt>
                <c:pt idx="14194">
                  <c:v>-2.0168067226890699E-2</c:v>
                </c:pt>
                <c:pt idx="14195">
                  <c:v>-2.1008403361344501E-2</c:v>
                </c:pt>
                <c:pt idx="14196">
                  <c:v>-2.1008403361344501E-2</c:v>
                </c:pt>
                <c:pt idx="14197">
                  <c:v>-2.1008403361344501E-2</c:v>
                </c:pt>
                <c:pt idx="14198">
                  <c:v>-2.1008403361344501E-2</c:v>
                </c:pt>
                <c:pt idx="14199">
                  <c:v>-2.1008403361344501E-2</c:v>
                </c:pt>
                <c:pt idx="14200">
                  <c:v>-2.0168067226890699E-2</c:v>
                </c:pt>
                <c:pt idx="14201">
                  <c:v>-2.0168067226890699E-2</c:v>
                </c:pt>
                <c:pt idx="14202">
                  <c:v>-2.0168067226890699E-2</c:v>
                </c:pt>
                <c:pt idx="14203">
                  <c:v>-2.0168067226890699E-2</c:v>
                </c:pt>
                <c:pt idx="14204">
                  <c:v>-2.0168067226890699E-2</c:v>
                </c:pt>
                <c:pt idx="14205">
                  <c:v>-2.0168067226890699E-2</c:v>
                </c:pt>
                <c:pt idx="14206">
                  <c:v>-2.0168067226890699E-2</c:v>
                </c:pt>
                <c:pt idx="14207">
                  <c:v>-2.0168067226890699E-2</c:v>
                </c:pt>
                <c:pt idx="14208">
                  <c:v>-2.0168067226890699E-2</c:v>
                </c:pt>
                <c:pt idx="14209">
                  <c:v>-2.0168067226890699E-2</c:v>
                </c:pt>
                <c:pt idx="14210">
                  <c:v>-2.0168067226890699E-2</c:v>
                </c:pt>
                <c:pt idx="14211">
                  <c:v>-2.0168067226890699E-2</c:v>
                </c:pt>
                <c:pt idx="14212">
                  <c:v>-2.0168067226890699E-2</c:v>
                </c:pt>
                <c:pt idx="14213">
                  <c:v>-2.0168067226890699E-2</c:v>
                </c:pt>
                <c:pt idx="14214">
                  <c:v>-2.0168067226890699E-2</c:v>
                </c:pt>
                <c:pt idx="14215">
                  <c:v>-2.0168067226890699E-2</c:v>
                </c:pt>
                <c:pt idx="14216">
                  <c:v>-2.0168067226890699E-2</c:v>
                </c:pt>
                <c:pt idx="14217">
                  <c:v>-2.0168067226890699E-2</c:v>
                </c:pt>
                <c:pt idx="14218">
                  <c:v>-2.0168067226890699E-2</c:v>
                </c:pt>
                <c:pt idx="14219">
                  <c:v>-2.0168067226890699E-2</c:v>
                </c:pt>
                <c:pt idx="14220">
                  <c:v>-2.0168067226890699E-2</c:v>
                </c:pt>
                <c:pt idx="14221">
                  <c:v>-2.0168067226890699E-2</c:v>
                </c:pt>
                <c:pt idx="14222">
                  <c:v>-2.0168067226890699E-2</c:v>
                </c:pt>
                <c:pt idx="14223">
                  <c:v>-2.0168067226890699E-2</c:v>
                </c:pt>
                <c:pt idx="14224">
                  <c:v>-2.0168067226890699E-2</c:v>
                </c:pt>
                <c:pt idx="14225">
                  <c:v>-2.0168067226890699E-2</c:v>
                </c:pt>
                <c:pt idx="14226">
                  <c:v>-2.0168067226890699E-2</c:v>
                </c:pt>
                <c:pt idx="14227">
                  <c:v>-2.0168067226890699E-2</c:v>
                </c:pt>
                <c:pt idx="14228">
                  <c:v>-2.0168067226890699E-2</c:v>
                </c:pt>
                <c:pt idx="14229">
                  <c:v>-2.0168067226890699E-2</c:v>
                </c:pt>
                <c:pt idx="14230">
                  <c:v>-2.0168067226890699E-2</c:v>
                </c:pt>
                <c:pt idx="14231">
                  <c:v>-2.0168067226890699E-2</c:v>
                </c:pt>
                <c:pt idx="14232">
                  <c:v>-2.0168067226890699E-2</c:v>
                </c:pt>
                <c:pt idx="14233">
                  <c:v>-2.0168067226890699E-2</c:v>
                </c:pt>
                <c:pt idx="14234">
                  <c:v>-1.9327731092437E-2</c:v>
                </c:pt>
                <c:pt idx="14235">
                  <c:v>-1.9327731092437E-2</c:v>
                </c:pt>
                <c:pt idx="14236">
                  <c:v>-1.9327731092437E-2</c:v>
                </c:pt>
                <c:pt idx="14237">
                  <c:v>-1.9327731092437E-2</c:v>
                </c:pt>
                <c:pt idx="14238">
                  <c:v>-1.9327731092437E-2</c:v>
                </c:pt>
                <c:pt idx="14239">
                  <c:v>-1.9327731092437E-2</c:v>
                </c:pt>
                <c:pt idx="14240">
                  <c:v>-1.9327731092437E-2</c:v>
                </c:pt>
                <c:pt idx="14241">
                  <c:v>-1.9327731092437E-2</c:v>
                </c:pt>
                <c:pt idx="14242">
                  <c:v>-1.9327731092437E-2</c:v>
                </c:pt>
                <c:pt idx="14243">
                  <c:v>-1.84873949579832E-2</c:v>
                </c:pt>
                <c:pt idx="14244">
                  <c:v>-1.84873949579832E-2</c:v>
                </c:pt>
                <c:pt idx="14245">
                  <c:v>-1.84873949579832E-2</c:v>
                </c:pt>
                <c:pt idx="14246">
                  <c:v>-1.84873949579832E-2</c:v>
                </c:pt>
                <c:pt idx="14247">
                  <c:v>-1.84873949579832E-2</c:v>
                </c:pt>
                <c:pt idx="14248">
                  <c:v>-1.84873949579832E-2</c:v>
                </c:pt>
                <c:pt idx="14249">
                  <c:v>-1.84873949579832E-2</c:v>
                </c:pt>
                <c:pt idx="14250">
                  <c:v>-1.84873949579832E-2</c:v>
                </c:pt>
                <c:pt idx="14251">
                  <c:v>-1.84873949579832E-2</c:v>
                </c:pt>
                <c:pt idx="14252">
                  <c:v>-1.84873949579832E-2</c:v>
                </c:pt>
                <c:pt idx="14253">
                  <c:v>-1.84873949579832E-2</c:v>
                </c:pt>
                <c:pt idx="14254">
                  <c:v>-1.84873949579832E-2</c:v>
                </c:pt>
                <c:pt idx="14255">
                  <c:v>-1.84873949579832E-2</c:v>
                </c:pt>
                <c:pt idx="14256">
                  <c:v>-1.84873949579832E-2</c:v>
                </c:pt>
                <c:pt idx="14257">
                  <c:v>-1.84873949579832E-2</c:v>
                </c:pt>
                <c:pt idx="14258">
                  <c:v>-1.84873949579832E-2</c:v>
                </c:pt>
                <c:pt idx="14259">
                  <c:v>-1.84873949579832E-2</c:v>
                </c:pt>
                <c:pt idx="14260">
                  <c:v>-1.84873949579832E-2</c:v>
                </c:pt>
                <c:pt idx="14261">
                  <c:v>-1.84873949579832E-2</c:v>
                </c:pt>
                <c:pt idx="14262">
                  <c:v>-1.84873949579832E-2</c:v>
                </c:pt>
                <c:pt idx="14263">
                  <c:v>-1.84873949579832E-2</c:v>
                </c:pt>
                <c:pt idx="14264">
                  <c:v>-1.84873949579832E-2</c:v>
                </c:pt>
                <c:pt idx="14265">
                  <c:v>-1.84873949579832E-2</c:v>
                </c:pt>
                <c:pt idx="14266">
                  <c:v>-1.84873949579832E-2</c:v>
                </c:pt>
                <c:pt idx="14267">
                  <c:v>-1.84873949579832E-2</c:v>
                </c:pt>
                <c:pt idx="14268">
                  <c:v>-1.84873949579832E-2</c:v>
                </c:pt>
                <c:pt idx="14269">
                  <c:v>-1.7647058823529401E-2</c:v>
                </c:pt>
                <c:pt idx="14270">
                  <c:v>-1.7647058823529401E-2</c:v>
                </c:pt>
                <c:pt idx="14271">
                  <c:v>-1.7647058823529401E-2</c:v>
                </c:pt>
                <c:pt idx="14272">
                  <c:v>-1.7647058823529401E-2</c:v>
                </c:pt>
                <c:pt idx="14273">
                  <c:v>-1.7647058823529401E-2</c:v>
                </c:pt>
                <c:pt idx="14274">
                  <c:v>-1.7647058823529401E-2</c:v>
                </c:pt>
                <c:pt idx="14275">
                  <c:v>-1.7647058823529401E-2</c:v>
                </c:pt>
                <c:pt idx="14276">
                  <c:v>-1.7647058823529401E-2</c:v>
                </c:pt>
                <c:pt idx="14277">
                  <c:v>-1.7647058823529401E-2</c:v>
                </c:pt>
                <c:pt idx="14278">
                  <c:v>-1.7647058823529401E-2</c:v>
                </c:pt>
                <c:pt idx="14279">
                  <c:v>-1.7647058823529401E-2</c:v>
                </c:pt>
                <c:pt idx="14280">
                  <c:v>-1.7647058823529401E-2</c:v>
                </c:pt>
                <c:pt idx="14281">
                  <c:v>-1.84873949579832E-2</c:v>
                </c:pt>
                <c:pt idx="14282">
                  <c:v>-1.84873949579832E-2</c:v>
                </c:pt>
                <c:pt idx="14283">
                  <c:v>-1.84873949579832E-2</c:v>
                </c:pt>
                <c:pt idx="14284">
                  <c:v>-1.84873949579832E-2</c:v>
                </c:pt>
                <c:pt idx="14285">
                  <c:v>-1.84873949579832E-2</c:v>
                </c:pt>
                <c:pt idx="14286">
                  <c:v>-1.7647058823529401E-2</c:v>
                </c:pt>
                <c:pt idx="14287">
                  <c:v>-1.7647058823529401E-2</c:v>
                </c:pt>
                <c:pt idx="14288">
                  <c:v>-1.7647058823529401E-2</c:v>
                </c:pt>
                <c:pt idx="14289">
                  <c:v>-1.7647058823529401E-2</c:v>
                </c:pt>
                <c:pt idx="14290">
                  <c:v>-1.7647058823529401E-2</c:v>
                </c:pt>
                <c:pt idx="14291">
                  <c:v>-1.7647058823529401E-2</c:v>
                </c:pt>
                <c:pt idx="14292">
                  <c:v>-1.7647058823529401E-2</c:v>
                </c:pt>
                <c:pt idx="14293">
                  <c:v>-1.7647058823529401E-2</c:v>
                </c:pt>
                <c:pt idx="14294">
                  <c:v>-1.7647058823529401E-2</c:v>
                </c:pt>
                <c:pt idx="14295">
                  <c:v>-1.7647058823529401E-2</c:v>
                </c:pt>
                <c:pt idx="14296">
                  <c:v>-1.7647058823529401E-2</c:v>
                </c:pt>
                <c:pt idx="14297">
                  <c:v>-1.7647058823529401E-2</c:v>
                </c:pt>
                <c:pt idx="14298">
                  <c:v>-1.7647058823529401E-2</c:v>
                </c:pt>
                <c:pt idx="14299">
                  <c:v>-1.7647058823529401E-2</c:v>
                </c:pt>
                <c:pt idx="14300">
                  <c:v>-1.7647058823529401E-2</c:v>
                </c:pt>
                <c:pt idx="14301">
                  <c:v>-1.7647058823529401E-2</c:v>
                </c:pt>
                <c:pt idx="14302">
                  <c:v>-1.7647058823529401E-2</c:v>
                </c:pt>
                <c:pt idx="14303">
                  <c:v>-1.7647058823529401E-2</c:v>
                </c:pt>
                <c:pt idx="14304">
                  <c:v>-1.7647058823529401E-2</c:v>
                </c:pt>
                <c:pt idx="14305">
                  <c:v>-1.7647058823529401E-2</c:v>
                </c:pt>
                <c:pt idx="14306">
                  <c:v>-1.7647058823529401E-2</c:v>
                </c:pt>
                <c:pt idx="14307">
                  <c:v>-1.7647058823529401E-2</c:v>
                </c:pt>
                <c:pt idx="14308">
                  <c:v>-1.7647058823529401E-2</c:v>
                </c:pt>
                <c:pt idx="14309">
                  <c:v>-1.7647058823529401E-2</c:v>
                </c:pt>
                <c:pt idx="14310">
                  <c:v>-1.7647058823529401E-2</c:v>
                </c:pt>
                <c:pt idx="14311">
                  <c:v>-1.7647058823529401E-2</c:v>
                </c:pt>
                <c:pt idx="14312">
                  <c:v>-1.84873949579832E-2</c:v>
                </c:pt>
                <c:pt idx="14313">
                  <c:v>-1.84873949579832E-2</c:v>
                </c:pt>
                <c:pt idx="14314">
                  <c:v>-1.84873949579832E-2</c:v>
                </c:pt>
                <c:pt idx="14315">
                  <c:v>-1.84873949579832E-2</c:v>
                </c:pt>
                <c:pt idx="14316">
                  <c:v>-1.84873949579832E-2</c:v>
                </c:pt>
                <c:pt idx="14317">
                  <c:v>-1.84873949579832E-2</c:v>
                </c:pt>
                <c:pt idx="14318">
                  <c:v>-1.84873949579832E-2</c:v>
                </c:pt>
                <c:pt idx="14319">
                  <c:v>-1.84873949579832E-2</c:v>
                </c:pt>
                <c:pt idx="14320">
                  <c:v>-1.84873949579832E-2</c:v>
                </c:pt>
                <c:pt idx="14321">
                  <c:v>-1.84873949579832E-2</c:v>
                </c:pt>
                <c:pt idx="14322">
                  <c:v>-1.84873949579832E-2</c:v>
                </c:pt>
                <c:pt idx="14323">
                  <c:v>-1.9327731092437E-2</c:v>
                </c:pt>
                <c:pt idx="14324">
                  <c:v>-1.9327731092437E-2</c:v>
                </c:pt>
                <c:pt idx="14325">
                  <c:v>-1.9327731092437E-2</c:v>
                </c:pt>
                <c:pt idx="14326">
                  <c:v>-1.84873949579832E-2</c:v>
                </c:pt>
                <c:pt idx="14327">
                  <c:v>-1.84873949579832E-2</c:v>
                </c:pt>
                <c:pt idx="14328">
                  <c:v>-1.84873949579832E-2</c:v>
                </c:pt>
                <c:pt idx="14329">
                  <c:v>-1.84873949579832E-2</c:v>
                </c:pt>
                <c:pt idx="14330">
                  <c:v>-1.84873949579832E-2</c:v>
                </c:pt>
                <c:pt idx="14331">
                  <c:v>-1.84873949579832E-2</c:v>
                </c:pt>
                <c:pt idx="14332">
                  <c:v>-1.84873949579832E-2</c:v>
                </c:pt>
                <c:pt idx="14333">
                  <c:v>-1.84873949579832E-2</c:v>
                </c:pt>
                <c:pt idx="14334">
                  <c:v>-1.84873949579832E-2</c:v>
                </c:pt>
                <c:pt idx="14335">
                  <c:v>-1.84873949579832E-2</c:v>
                </c:pt>
                <c:pt idx="14336">
                  <c:v>-1.84873949579832E-2</c:v>
                </c:pt>
                <c:pt idx="14337">
                  <c:v>-1.84873949579832E-2</c:v>
                </c:pt>
                <c:pt idx="14338">
                  <c:v>-1.84873949579832E-2</c:v>
                </c:pt>
                <c:pt idx="14339">
                  <c:v>-1.84873949579832E-2</c:v>
                </c:pt>
                <c:pt idx="14340">
                  <c:v>-1.84873949579832E-2</c:v>
                </c:pt>
                <c:pt idx="14341">
                  <c:v>-1.84873949579832E-2</c:v>
                </c:pt>
                <c:pt idx="14342">
                  <c:v>-1.84873949579832E-2</c:v>
                </c:pt>
                <c:pt idx="14343">
                  <c:v>-1.84873949579832E-2</c:v>
                </c:pt>
                <c:pt idx="14344">
                  <c:v>-1.84873949579832E-2</c:v>
                </c:pt>
                <c:pt idx="14345">
                  <c:v>-1.84873949579832E-2</c:v>
                </c:pt>
                <c:pt idx="14346">
                  <c:v>-1.84873949579832E-2</c:v>
                </c:pt>
                <c:pt idx="14347">
                  <c:v>-1.84873949579832E-2</c:v>
                </c:pt>
                <c:pt idx="14348">
                  <c:v>-1.84873949579832E-2</c:v>
                </c:pt>
                <c:pt idx="14349">
                  <c:v>-1.84873949579832E-2</c:v>
                </c:pt>
                <c:pt idx="14350">
                  <c:v>-1.84873949579832E-2</c:v>
                </c:pt>
                <c:pt idx="14351">
                  <c:v>-1.84873949579832E-2</c:v>
                </c:pt>
                <c:pt idx="14352">
                  <c:v>-1.84873949579832E-2</c:v>
                </c:pt>
                <c:pt idx="14353">
                  <c:v>-1.84873949579832E-2</c:v>
                </c:pt>
                <c:pt idx="14354">
                  <c:v>-1.84873949579832E-2</c:v>
                </c:pt>
                <c:pt idx="14355">
                  <c:v>-1.84873949579832E-2</c:v>
                </c:pt>
                <c:pt idx="14356">
                  <c:v>-1.84873949579832E-2</c:v>
                </c:pt>
                <c:pt idx="14357">
                  <c:v>-1.84873949579832E-2</c:v>
                </c:pt>
                <c:pt idx="14358">
                  <c:v>-1.84873949579832E-2</c:v>
                </c:pt>
                <c:pt idx="14359">
                  <c:v>-1.84873949579832E-2</c:v>
                </c:pt>
                <c:pt idx="14360">
                  <c:v>-1.84873949579832E-2</c:v>
                </c:pt>
                <c:pt idx="14361">
                  <c:v>-1.84873949579832E-2</c:v>
                </c:pt>
                <c:pt idx="14362">
                  <c:v>-1.84873949579832E-2</c:v>
                </c:pt>
                <c:pt idx="14363">
                  <c:v>-1.84873949579832E-2</c:v>
                </c:pt>
                <c:pt idx="14364">
                  <c:v>-1.84873949579832E-2</c:v>
                </c:pt>
                <c:pt idx="14365">
                  <c:v>-1.84873949579832E-2</c:v>
                </c:pt>
                <c:pt idx="14366">
                  <c:v>-1.84873949579832E-2</c:v>
                </c:pt>
                <c:pt idx="14367">
                  <c:v>-1.9327731092437E-2</c:v>
                </c:pt>
                <c:pt idx="14368">
                  <c:v>-1.9327731092437E-2</c:v>
                </c:pt>
                <c:pt idx="14369">
                  <c:v>-1.9327731092437E-2</c:v>
                </c:pt>
                <c:pt idx="14370">
                  <c:v>-1.9327731092437E-2</c:v>
                </c:pt>
                <c:pt idx="14371">
                  <c:v>-1.9327731092437E-2</c:v>
                </c:pt>
                <c:pt idx="14372">
                  <c:v>-1.9327731092437E-2</c:v>
                </c:pt>
                <c:pt idx="14373">
                  <c:v>-1.9327731092437E-2</c:v>
                </c:pt>
                <c:pt idx="14374">
                  <c:v>-1.9327731092437E-2</c:v>
                </c:pt>
                <c:pt idx="14375">
                  <c:v>-1.9327731092437E-2</c:v>
                </c:pt>
                <c:pt idx="14376">
                  <c:v>-1.9327731092437E-2</c:v>
                </c:pt>
                <c:pt idx="14377">
                  <c:v>-1.9327731092437E-2</c:v>
                </c:pt>
                <c:pt idx="14378">
                  <c:v>-1.9327731092437E-2</c:v>
                </c:pt>
                <c:pt idx="14379">
                  <c:v>-1.9327731092437E-2</c:v>
                </c:pt>
                <c:pt idx="14380">
                  <c:v>-1.9327731092437E-2</c:v>
                </c:pt>
                <c:pt idx="14381">
                  <c:v>-1.9327731092437E-2</c:v>
                </c:pt>
                <c:pt idx="14382">
                  <c:v>-1.9327731092437E-2</c:v>
                </c:pt>
                <c:pt idx="14383">
                  <c:v>-1.9327731092437E-2</c:v>
                </c:pt>
                <c:pt idx="14384">
                  <c:v>-1.9327731092437E-2</c:v>
                </c:pt>
                <c:pt idx="14385">
                  <c:v>-1.9327731092437E-2</c:v>
                </c:pt>
                <c:pt idx="14386">
                  <c:v>-1.9327731092437E-2</c:v>
                </c:pt>
                <c:pt idx="14387">
                  <c:v>-1.9327731092437E-2</c:v>
                </c:pt>
                <c:pt idx="14388">
                  <c:v>-1.9327731092437E-2</c:v>
                </c:pt>
                <c:pt idx="14389">
                  <c:v>-1.9327731092437E-2</c:v>
                </c:pt>
                <c:pt idx="14390">
                  <c:v>-1.9327731092437E-2</c:v>
                </c:pt>
                <c:pt idx="14391">
                  <c:v>-1.9327731092437E-2</c:v>
                </c:pt>
                <c:pt idx="14392">
                  <c:v>-1.9327731092437E-2</c:v>
                </c:pt>
                <c:pt idx="14393">
                  <c:v>-1.9327731092437E-2</c:v>
                </c:pt>
                <c:pt idx="14394">
                  <c:v>-1.9327731092437E-2</c:v>
                </c:pt>
                <c:pt idx="14395">
                  <c:v>-1.9327731092437E-2</c:v>
                </c:pt>
                <c:pt idx="14396">
                  <c:v>-1.9327731092437E-2</c:v>
                </c:pt>
                <c:pt idx="14397">
                  <c:v>-1.9327731092437E-2</c:v>
                </c:pt>
                <c:pt idx="14398">
                  <c:v>-1.9327731092437E-2</c:v>
                </c:pt>
                <c:pt idx="14399">
                  <c:v>-2.0168067226890699E-2</c:v>
                </c:pt>
                <c:pt idx="14400">
                  <c:v>-2.0168067226890699E-2</c:v>
                </c:pt>
                <c:pt idx="14401">
                  <c:v>-2.0168067226890699E-2</c:v>
                </c:pt>
                <c:pt idx="14402">
                  <c:v>-2.0168067226890699E-2</c:v>
                </c:pt>
                <c:pt idx="14403">
                  <c:v>-1.9327731092437E-2</c:v>
                </c:pt>
                <c:pt idx="14404">
                  <c:v>-1.9327731092437E-2</c:v>
                </c:pt>
                <c:pt idx="14405">
                  <c:v>-1.9327731092437E-2</c:v>
                </c:pt>
                <c:pt idx="14406">
                  <c:v>-1.9327731092437E-2</c:v>
                </c:pt>
                <c:pt idx="14407">
                  <c:v>-1.9327731092437E-2</c:v>
                </c:pt>
                <c:pt idx="14408">
                  <c:v>-1.9327731092437E-2</c:v>
                </c:pt>
                <c:pt idx="14409">
                  <c:v>-1.9327731092437E-2</c:v>
                </c:pt>
                <c:pt idx="14410">
                  <c:v>-1.9327731092437E-2</c:v>
                </c:pt>
                <c:pt idx="14411">
                  <c:v>-1.9327731092437E-2</c:v>
                </c:pt>
                <c:pt idx="14412">
                  <c:v>-1.9327731092437E-2</c:v>
                </c:pt>
                <c:pt idx="14413">
                  <c:v>-1.9327731092437E-2</c:v>
                </c:pt>
                <c:pt idx="14414">
                  <c:v>-1.9327731092437E-2</c:v>
                </c:pt>
                <c:pt idx="14415">
                  <c:v>-1.9327731092437E-2</c:v>
                </c:pt>
                <c:pt idx="14416">
                  <c:v>-1.9327731092437E-2</c:v>
                </c:pt>
                <c:pt idx="14417">
                  <c:v>-1.9327731092437E-2</c:v>
                </c:pt>
                <c:pt idx="14418">
                  <c:v>-1.9327731092437E-2</c:v>
                </c:pt>
                <c:pt idx="14419">
                  <c:v>-1.9327731092437E-2</c:v>
                </c:pt>
                <c:pt idx="14420">
                  <c:v>-1.9327731092437E-2</c:v>
                </c:pt>
                <c:pt idx="14421">
                  <c:v>-1.9327731092437E-2</c:v>
                </c:pt>
                <c:pt idx="14422">
                  <c:v>-1.9327731092437E-2</c:v>
                </c:pt>
                <c:pt idx="14423">
                  <c:v>-1.9327731092437E-2</c:v>
                </c:pt>
                <c:pt idx="14424">
                  <c:v>-1.9327731092437E-2</c:v>
                </c:pt>
                <c:pt idx="14425">
                  <c:v>-1.9327731092437E-2</c:v>
                </c:pt>
                <c:pt idx="14426">
                  <c:v>-1.9327731092437E-2</c:v>
                </c:pt>
                <c:pt idx="14427">
                  <c:v>-1.9327731092437E-2</c:v>
                </c:pt>
                <c:pt idx="14428">
                  <c:v>-1.9327731092437E-2</c:v>
                </c:pt>
                <c:pt idx="14429">
                  <c:v>-1.9327731092437E-2</c:v>
                </c:pt>
                <c:pt idx="14430">
                  <c:v>-1.9327731092437E-2</c:v>
                </c:pt>
                <c:pt idx="14431">
                  <c:v>-1.9327731092437E-2</c:v>
                </c:pt>
                <c:pt idx="14432">
                  <c:v>-1.9327731092437E-2</c:v>
                </c:pt>
                <c:pt idx="14433">
                  <c:v>-1.9327731092437E-2</c:v>
                </c:pt>
                <c:pt idx="14434">
                  <c:v>-1.9327731092437E-2</c:v>
                </c:pt>
                <c:pt idx="14435">
                  <c:v>-1.9327731092437E-2</c:v>
                </c:pt>
                <c:pt idx="14436">
                  <c:v>-1.9327731092437E-2</c:v>
                </c:pt>
                <c:pt idx="14437">
                  <c:v>-1.9327731092437E-2</c:v>
                </c:pt>
                <c:pt idx="14438">
                  <c:v>-1.9327731092437E-2</c:v>
                </c:pt>
                <c:pt idx="14439">
                  <c:v>-1.9327731092437E-2</c:v>
                </c:pt>
                <c:pt idx="14440">
                  <c:v>-1.9327731092437E-2</c:v>
                </c:pt>
                <c:pt idx="14441">
                  <c:v>-1.9327731092437E-2</c:v>
                </c:pt>
                <c:pt idx="14442">
                  <c:v>-1.9327731092437E-2</c:v>
                </c:pt>
                <c:pt idx="14443">
                  <c:v>-1.9327731092437E-2</c:v>
                </c:pt>
                <c:pt idx="14444">
                  <c:v>-1.9327731092437E-2</c:v>
                </c:pt>
                <c:pt idx="14445">
                  <c:v>-1.9327731092437E-2</c:v>
                </c:pt>
                <c:pt idx="14446">
                  <c:v>-1.9327731092437E-2</c:v>
                </c:pt>
                <c:pt idx="14447">
                  <c:v>-1.9327731092437E-2</c:v>
                </c:pt>
                <c:pt idx="14448">
                  <c:v>-1.9327731092437E-2</c:v>
                </c:pt>
                <c:pt idx="14449">
                  <c:v>-1.9327731092437E-2</c:v>
                </c:pt>
                <c:pt idx="14450">
                  <c:v>-1.9327731092437E-2</c:v>
                </c:pt>
                <c:pt idx="14451">
                  <c:v>-1.84873949579832E-2</c:v>
                </c:pt>
                <c:pt idx="14452">
                  <c:v>-1.84873949579832E-2</c:v>
                </c:pt>
                <c:pt idx="14453">
                  <c:v>-1.84873949579832E-2</c:v>
                </c:pt>
                <c:pt idx="14454">
                  <c:v>-1.84873949579832E-2</c:v>
                </c:pt>
                <c:pt idx="14455">
                  <c:v>-1.84873949579832E-2</c:v>
                </c:pt>
                <c:pt idx="14456">
                  <c:v>-1.84873949579832E-2</c:v>
                </c:pt>
                <c:pt idx="14457">
                  <c:v>-1.9327731092437E-2</c:v>
                </c:pt>
                <c:pt idx="14458">
                  <c:v>-1.9327731092437E-2</c:v>
                </c:pt>
                <c:pt idx="14459">
                  <c:v>-1.9327731092437E-2</c:v>
                </c:pt>
                <c:pt idx="14460">
                  <c:v>-1.9327731092437E-2</c:v>
                </c:pt>
                <c:pt idx="14461">
                  <c:v>-1.9327731092437E-2</c:v>
                </c:pt>
                <c:pt idx="14462">
                  <c:v>-1.9327731092437E-2</c:v>
                </c:pt>
                <c:pt idx="14463">
                  <c:v>-1.9327731092437E-2</c:v>
                </c:pt>
                <c:pt idx="14464">
                  <c:v>-1.9327731092437E-2</c:v>
                </c:pt>
                <c:pt idx="14465">
                  <c:v>-1.9327731092437E-2</c:v>
                </c:pt>
                <c:pt idx="14466">
                  <c:v>-1.9327731092437E-2</c:v>
                </c:pt>
                <c:pt idx="14467">
                  <c:v>-1.9327731092437E-2</c:v>
                </c:pt>
                <c:pt idx="14468">
                  <c:v>-1.9327731092437E-2</c:v>
                </c:pt>
                <c:pt idx="14469">
                  <c:v>-1.9327731092437E-2</c:v>
                </c:pt>
                <c:pt idx="14470">
                  <c:v>-1.9327731092437E-2</c:v>
                </c:pt>
                <c:pt idx="14471">
                  <c:v>-1.9327731092437E-2</c:v>
                </c:pt>
                <c:pt idx="14472">
                  <c:v>-1.9327731092437E-2</c:v>
                </c:pt>
                <c:pt idx="14473">
                  <c:v>-1.9327731092437E-2</c:v>
                </c:pt>
                <c:pt idx="14474">
                  <c:v>-1.9327731092437E-2</c:v>
                </c:pt>
                <c:pt idx="14475">
                  <c:v>-1.9327731092437E-2</c:v>
                </c:pt>
                <c:pt idx="14476">
                  <c:v>-1.9327731092437E-2</c:v>
                </c:pt>
                <c:pt idx="14477">
                  <c:v>-1.9327731092437E-2</c:v>
                </c:pt>
                <c:pt idx="14478">
                  <c:v>-1.9327731092437E-2</c:v>
                </c:pt>
                <c:pt idx="14479">
                  <c:v>-1.9327731092437E-2</c:v>
                </c:pt>
                <c:pt idx="14480">
                  <c:v>-1.9327731092437E-2</c:v>
                </c:pt>
                <c:pt idx="14481">
                  <c:v>-1.9327731092437E-2</c:v>
                </c:pt>
                <c:pt idx="14482">
                  <c:v>-1.9327731092437E-2</c:v>
                </c:pt>
                <c:pt idx="14483">
                  <c:v>-1.9327731092437E-2</c:v>
                </c:pt>
                <c:pt idx="14484">
                  <c:v>-1.9327731092437E-2</c:v>
                </c:pt>
                <c:pt idx="14485">
                  <c:v>-1.9327731092437E-2</c:v>
                </c:pt>
                <c:pt idx="14486">
                  <c:v>-1.9327731092437E-2</c:v>
                </c:pt>
                <c:pt idx="14487">
                  <c:v>-1.84873949579832E-2</c:v>
                </c:pt>
                <c:pt idx="14488">
                  <c:v>-1.84873949579832E-2</c:v>
                </c:pt>
                <c:pt idx="14489">
                  <c:v>-1.84873949579832E-2</c:v>
                </c:pt>
                <c:pt idx="14490">
                  <c:v>-1.84873949579832E-2</c:v>
                </c:pt>
                <c:pt idx="14491">
                  <c:v>-1.84873949579832E-2</c:v>
                </c:pt>
                <c:pt idx="14492">
                  <c:v>-1.84873949579832E-2</c:v>
                </c:pt>
                <c:pt idx="14493">
                  <c:v>-1.84873949579832E-2</c:v>
                </c:pt>
                <c:pt idx="14494">
                  <c:v>-1.84873949579832E-2</c:v>
                </c:pt>
                <c:pt idx="14495">
                  <c:v>-1.84873949579832E-2</c:v>
                </c:pt>
                <c:pt idx="14496">
                  <c:v>-1.84873949579832E-2</c:v>
                </c:pt>
                <c:pt idx="14497">
                  <c:v>-1.84873949579832E-2</c:v>
                </c:pt>
                <c:pt idx="14498">
                  <c:v>-1.84873949579832E-2</c:v>
                </c:pt>
                <c:pt idx="14499">
                  <c:v>-1.84873949579832E-2</c:v>
                </c:pt>
                <c:pt idx="14500">
                  <c:v>-1.84873949579832E-2</c:v>
                </c:pt>
                <c:pt idx="14501">
                  <c:v>-1.84873949579832E-2</c:v>
                </c:pt>
                <c:pt idx="14502">
                  <c:v>-1.84873949579832E-2</c:v>
                </c:pt>
                <c:pt idx="14503">
                  <c:v>-1.84873949579832E-2</c:v>
                </c:pt>
                <c:pt idx="14504">
                  <c:v>-1.84873949579832E-2</c:v>
                </c:pt>
                <c:pt idx="14505">
                  <c:v>-1.84873949579832E-2</c:v>
                </c:pt>
                <c:pt idx="14506">
                  <c:v>-1.84873949579832E-2</c:v>
                </c:pt>
                <c:pt idx="14507">
                  <c:v>-1.84873949579832E-2</c:v>
                </c:pt>
                <c:pt idx="14508">
                  <c:v>-1.84873949579832E-2</c:v>
                </c:pt>
                <c:pt idx="14509">
                  <c:v>-1.84873949579832E-2</c:v>
                </c:pt>
                <c:pt idx="14510">
                  <c:v>-1.84873949579832E-2</c:v>
                </c:pt>
                <c:pt idx="14511">
                  <c:v>-1.84873949579832E-2</c:v>
                </c:pt>
                <c:pt idx="14512">
                  <c:v>-1.84873949579832E-2</c:v>
                </c:pt>
                <c:pt idx="14513">
                  <c:v>-1.84873949579832E-2</c:v>
                </c:pt>
                <c:pt idx="14514">
                  <c:v>-1.84873949579832E-2</c:v>
                </c:pt>
                <c:pt idx="14515">
                  <c:v>-1.84873949579832E-2</c:v>
                </c:pt>
                <c:pt idx="14516">
                  <c:v>-1.84873949579832E-2</c:v>
                </c:pt>
                <c:pt idx="14517">
                  <c:v>-1.84873949579832E-2</c:v>
                </c:pt>
                <c:pt idx="14518">
                  <c:v>-1.84873949579832E-2</c:v>
                </c:pt>
                <c:pt idx="14519">
                  <c:v>-1.84873949579832E-2</c:v>
                </c:pt>
                <c:pt idx="14520">
                  <c:v>-1.84873949579832E-2</c:v>
                </c:pt>
                <c:pt idx="14521">
                  <c:v>-1.84873949579832E-2</c:v>
                </c:pt>
                <c:pt idx="14522">
                  <c:v>-1.84873949579832E-2</c:v>
                </c:pt>
                <c:pt idx="14523">
                  <c:v>-1.84873949579832E-2</c:v>
                </c:pt>
                <c:pt idx="14524">
                  <c:v>-1.84873949579832E-2</c:v>
                </c:pt>
                <c:pt idx="14525">
                  <c:v>-1.84873949579832E-2</c:v>
                </c:pt>
                <c:pt idx="14526">
                  <c:v>-1.84873949579832E-2</c:v>
                </c:pt>
                <c:pt idx="14527">
                  <c:v>-1.84873949579832E-2</c:v>
                </c:pt>
                <c:pt idx="14528">
                  <c:v>-1.84873949579832E-2</c:v>
                </c:pt>
                <c:pt idx="14529">
                  <c:v>-1.84873949579832E-2</c:v>
                </c:pt>
                <c:pt idx="14530">
                  <c:v>-1.84873949579832E-2</c:v>
                </c:pt>
                <c:pt idx="14531">
                  <c:v>-1.84873949579832E-2</c:v>
                </c:pt>
                <c:pt idx="14532">
                  <c:v>-1.84873949579832E-2</c:v>
                </c:pt>
                <c:pt idx="14533">
                  <c:v>-1.84873949579832E-2</c:v>
                </c:pt>
                <c:pt idx="14534">
                  <c:v>-1.84873949579832E-2</c:v>
                </c:pt>
                <c:pt idx="14535">
                  <c:v>-1.84873949579832E-2</c:v>
                </c:pt>
                <c:pt idx="14536">
                  <c:v>-1.84873949579832E-2</c:v>
                </c:pt>
                <c:pt idx="14537">
                  <c:v>-1.84873949579832E-2</c:v>
                </c:pt>
                <c:pt idx="14538">
                  <c:v>-1.84873949579832E-2</c:v>
                </c:pt>
                <c:pt idx="14539">
                  <c:v>-1.84873949579832E-2</c:v>
                </c:pt>
                <c:pt idx="14540">
                  <c:v>-1.84873949579832E-2</c:v>
                </c:pt>
                <c:pt idx="14541">
                  <c:v>-1.84873949579832E-2</c:v>
                </c:pt>
                <c:pt idx="14542">
                  <c:v>-1.84873949579832E-2</c:v>
                </c:pt>
                <c:pt idx="14543">
                  <c:v>-1.84873949579832E-2</c:v>
                </c:pt>
                <c:pt idx="14544">
                  <c:v>-1.84873949579832E-2</c:v>
                </c:pt>
                <c:pt idx="14545">
                  <c:v>-1.84873949579832E-2</c:v>
                </c:pt>
                <c:pt idx="14546">
                  <c:v>-1.84873949579832E-2</c:v>
                </c:pt>
                <c:pt idx="14547">
                  <c:v>-1.84873949579832E-2</c:v>
                </c:pt>
                <c:pt idx="14548">
                  <c:v>-1.84873949579832E-2</c:v>
                </c:pt>
                <c:pt idx="14549">
                  <c:v>-1.84873949579832E-2</c:v>
                </c:pt>
                <c:pt idx="14550">
                  <c:v>-1.84873949579832E-2</c:v>
                </c:pt>
                <c:pt idx="14551">
                  <c:v>-1.84873949579832E-2</c:v>
                </c:pt>
                <c:pt idx="14552">
                  <c:v>-1.84873949579832E-2</c:v>
                </c:pt>
                <c:pt idx="14553">
                  <c:v>-1.84873949579832E-2</c:v>
                </c:pt>
                <c:pt idx="14554">
                  <c:v>-1.84873949579832E-2</c:v>
                </c:pt>
                <c:pt idx="14555">
                  <c:v>-1.84873949579832E-2</c:v>
                </c:pt>
                <c:pt idx="14556">
                  <c:v>-1.84873949579832E-2</c:v>
                </c:pt>
                <c:pt idx="14557">
                  <c:v>-1.84873949579832E-2</c:v>
                </c:pt>
                <c:pt idx="14558">
                  <c:v>-1.84873949579832E-2</c:v>
                </c:pt>
                <c:pt idx="14559">
                  <c:v>-1.84873949579832E-2</c:v>
                </c:pt>
                <c:pt idx="14560">
                  <c:v>-1.84873949579832E-2</c:v>
                </c:pt>
                <c:pt idx="14561">
                  <c:v>-1.84873949579832E-2</c:v>
                </c:pt>
                <c:pt idx="14562">
                  <c:v>-1.84873949579832E-2</c:v>
                </c:pt>
                <c:pt idx="14563">
                  <c:v>-1.84873949579832E-2</c:v>
                </c:pt>
                <c:pt idx="14564">
                  <c:v>-1.84873949579832E-2</c:v>
                </c:pt>
                <c:pt idx="14565">
                  <c:v>-1.84873949579832E-2</c:v>
                </c:pt>
                <c:pt idx="14566">
                  <c:v>-1.84873949579832E-2</c:v>
                </c:pt>
                <c:pt idx="14567">
                  <c:v>-1.84873949579832E-2</c:v>
                </c:pt>
                <c:pt idx="14568">
                  <c:v>-1.84873949579832E-2</c:v>
                </c:pt>
                <c:pt idx="14569">
                  <c:v>-1.84873949579832E-2</c:v>
                </c:pt>
                <c:pt idx="14570">
                  <c:v>-1.84873949579832E-2</c:v>
                </c:pt>
                <c:pt idx="14571">
                  <c:v>-1.84873949579832E-2</c:v>
                </c:pt>
                <c:pt idx="14572">
                  <c:v>-1.84873949579832E-2</c:v>
                </c:pt>
                <c:pt idx="14573">
                  <c:v>-1.84873949579832E-2</c:v>
                </c:pt>
                <c:pt idx="14574">
                  <c:v>-1.84873949579832E-2</c:v>
                </c:pt>
                <c:pt idx="14575">
                  <c:v>-1.84873949579832E-2</c:v>
                </c:pt>
                <c:pt idx="14576">
                  <c:v>-1.84873949579832E-2</c:v>
                </c:pt>
                <c:pt idx="14577">
                  <c:v>-1.84873949579832E-2</c:v>
                </c:pt>
                <c:pt idx="14578">
                  <c:v>-1.84873949579832E-2</c:v>
                </c:pt>
                <c:pt idx="14579">
                  <c:v>-1.84873949579832E-2</c:v>
                </c:pt>
                <c:pt idx="14580">
                  <c:v>-1.84873949579832E-2</c:v>
                </c:pt>
                <c:pt idx="14581">
                  <c:v>-1.84873949579832E-2</c:v>
                </c:pt>
                <c:pt idx="14582">
                  <c:v>-1.84873949579832E-2</c:v>
                </c:pt>
                <c:pt idx="14583">
                  <c:v>-1.84873949579832E-2</c:v>
                </c:pt>
                <c:pt idx="14584">
                  <c:v>-1.84873949579832E-2</c:v>
                </c:pt>
                <c:pt idx="14585">
                  <c:v>-1.84873949579832E-2</c:v>
                </c:pt>
                <c:pt idx="14586">
                  <c:v>-1.84873949579832E-2</c:v>
                </c:pt>
                <c:pt idx="14587">
                  <c:v>-1.84873949579832E-2</c:v>
                </c:pt>
                <c:pt idx="14588">
                  <c:v>-1.84873949579832E-2</c:v>
                </c:pt>
                <c:pt idx="14589">
                  <c:v>-1.84873949579832E-2</c:v>
                </c:pt>
                <c:pt idx="14590">
                  <c:v>-1.84873949579832E-2</c:v>
                </c:pt>
                <c:pt idx="14591">
                  <c:v>-1.84873949579832E-2</c:v>
                </c:pt>
                <c:pt idx="14592">
                  <c:v>-1.84873949579832E-2</c:v>
                </c:pt>
                <c:pt idx="14593">
                  <c:v>-1.84873949579832E-2</c:v>
                </c:pt>
                <c:pt idx="14594">
                  <c:v>-1.84873949579832E-2</c:v>
                </c:pt>
                <c:pt idx="14595">
                  <c:v>-1.84873949579832E-2</c:v>
                </c:pt>
                <c:pt idx="14596">
                  <c:v>-1.84873949579832E-2</c:v>
                </c:pt>
                <c:pt idx="14597">
                  <c:v>-1.84873949579832E-2</c:v>
                </c:pt>
                <c:pt idx="14598">
                  <c:v>-1.84873949579832E-2</c:v>
                </c:pt>
                <c:pt idx="14599">
                  <c:v>-1.84873949579832E-2</c:v>
                </c:pt>
                <c:pt idx="14600">
                  <c:v>-1.84873949579832E-2</c:v>
                </c:pt>
                <c:pt idx="14601">
                  <c:v>-1.84873949579832E-2</c:v>
                </c:pt>
                <c:pt idx="14602">
                  <c:v>-1.84873949579832E-2</c:v>
                </c:pt>
                <c:pt idx="14603">
                  <c:v>-1.84873949579832E-2</c:v>
                </c:pt>
                <c:pt idx="14604">
                  <c:v>-1.84873949579832E-2</c:v>
                </c:pt>
                <c:pt idx="14605">
                  <c:v>-1.84873949579832E-2</c:v>
                </c:pt>
                <c:pt idx="14606">
                  <c:v>-1.84873949579832E-2</c:v>
                </c:pt>
                <c:pt idx="14607">
                  <c:v>-1.84873949579832E-2</c:v>
                </c:pt>
                <c:pt idx="14608">
                  <c:v>-1.84873949579832E-2</c:v>
                </c:pt>
                <c:pt idx="14609">
                  <c:v>-1.84873949579832E-2</c:v>
                </c:pt>
                <c:pt idx="14610">
                  <c:v>-1.84873949579832E-2</c:v>
                </c:pt>
                <c:pt idx="14611">
                  <c:v>-1.84873949579832E-2</c:v>
                </c:pt>
                <c:pt idx="14612">
                  <c:v>-1.84873949579832E-2</c:v>
                </c:pt>
                <c:pt idx="14613">
                  <c:v>-1.84873949579832E-2</c:v>
                </c:pt>
                <c:pt idx="14614">
                  <c:v>-1.84873949579832E-2</c:v>
                </c:pt>
                <c:pt idx="14615">
                  <c:v>-1.84873949579832E-2</c:v>
                </c:pt>
                <c:pt idx="14616">
                  <c:v>-1.84873949579832E-2</c:v>
                </c:pt>
                <c:pt idx="14617">
                  <c:v>-1.84873949579832E-2</c:v>
                </c:pt>
                <c:pt idx="14618">
                  <c:v>-1.84873949579832E-2</c:v>
                </c:pt>
                <c:pt idx="14619">
                  <c:v>-1.84873949579832E-2</c:v>
                </c:pt>
                <c:pt idx="14620">
                  <c:v>-1.84873949579832E-2</c:v>
                </c:pt>
                <c:pt idx="14621">
                  <c:v>-1.84873949579832E-2</c:v>
                </c:pt>
                <c:pt idx="14622">
                  <c:v>-1.84873949579832E-2</c:v>
                </c:pt>
                <c:pt idx="14623">
                  <c:v>-1.84873949579832E-2</c:v>
                </c:pt>
                <c:pt idx="14624">
                  <c:v>-1.84873949579832E-2</c:v>
                </c:pt>
                <c:pt idx="14625">
                  <c:v>-1.84873949579832E-2</c:v>
                </c:pt>
                <c:pt idx="14626">
                  <c:v>-1.84873949579832E-2</c:v>
                </c:pt>
                <c:pt idx="14627">
                  <c:v>-1.84873949579832E-2</c:v>
                </c:pt>
                <c:pt idx="14628">
                  <c:v>-1.84873949579832E-2</c:v>
                </c:pt>
                <c:pt idx="14629">
                  <c:v>-1.84873949579832E-2</c:v>
                </c:pt>
                <c:pt idx="14630">
                  <c:v>-1.84873949579832E-2</c:v>
                </c:pt>
                <c:pt idx="14631">
                  <c:v>-1.84873949579832E-2</c:v>
                </c:pt>
                <c:pt idx="14632">
                  <c:v>-1.84873949579832E-2</c:v>
                </c:pt>
                <c:pt idx="14633">
                  <c:v>-1.84873949579832E-2</c:v>
                </c:pt>
                <c:pt idx="14634">
                  <c:v>-1.84873949579832E-2</c:v>
                </c:pt>
                <c:pt idx="14635">
                  <c:v>-1.84873949579832E-2</c:v>
                </c:pt>
                <c:pt idx="14636">
                  <c:v>-1.84873949579832E-2</c:v>
                </c:pt>
                <c:pt idx="14637">
                  <c:v>-1.84873949579832E-2</c:v>
                </c:pt>
                <c:pt idx="14638">
                  <c:v>-1.84873949579832E-2</c:v>
                </c:pt>
                <c:pt idx="14639">
                  <c:v>-1.84873949579832E-2</c:v>
                </c:pt>
                <c:pt idx="14640">
                  <c:v>-1.84873949579832E-2</c:v>
                </c:pt>
                <c:pt idx="14641">
                  <c:v>-1.84873949579832E-2</c:v>
                </c:pt>
                <c:pt idx="14642">
                  <c:v>-1.84873949579832E-2</c:v>
                </c:pt>
                <c:pt idx="14643">
                  <c:v>-1.84873949579832E-2</c:v>
                </c:pt>
                <c:pt idx="14644">
                  <c:v>-1.84873949579832E-2</c:v>
                </c:pt>
                <c:pt idx="14645">
                  <c:v>-1.84873949579832E-2</c:v>
                </c:pt>
                <c:pt idx="14646">
                  <c:v>-1.84873949579832E-2</c:v>
                </c:pt>
                <c:pt idx="14647">
                  <c:v>-1.9327731092437E-2</c:v>
                </c:pt>
                <c:pt idx="14648">
                  <c:v>-1.9327731092437E-2</c:v>
                </c:pt>
                <c:pt idx="14649">
                  <c:v>-1.84873949579832E-2</c:v>
                </c:pt>
                <c:pt idx="14650">
                  <c:v>-1.84873949579832E-2</c:v>
                </c:pt>
                <c:pt idx="14651">
                  <c:v>-1.84873949579832E-2</c:v>
                </c:pt>
                <c:pt idx="14652">
                  <c:v>-1.7647058823529401E-2</c:v>
                </c:pt>
                <c:pt idx="14653">
                  <c:v>-1.7647058823529401E-2</c:v>
                </c:pt>
                <c:pt idx="14654">
                  <c:v>-1.7647058823529401E-2</c:v>
                </c:pt>
                <c:pt idx="14655">
                  <c:v>-1.7647058823529401E-2</c:v>
                </c:pt>
                <c:pt idx="14656">
                  <c:v>-1.7647058823529401E-2</c:v>
                </c:pt>
                <c:pt idx="14657">
                  <c:v>-1.7647058823529401E-2</c:v>
                </c:pt>
                <c:pt idx="14658">
                  <c:v>-1.7647058823529401E-2</c:v>
                </c:pt>
                <c:pt idx="14659">
                  <c:v>-1.7647058823529401E-2</c:v>
                </c:pt>
                <c:pt idx="14660">
                  <c:v>-1.7647058823529401E-2</c:v>
                </c:pt>
                <c:pt idx="14661">
                  <c:v>-1.7647058823529401E-2</c:v>
                </c:pt>
                <c:pt idx="14662">
                  <c:v>-1.84873949579832E-2</c:v>
                </c:pt>
                <c:pt idx="14663">
                  <c:v>-1.84873949579832E-2</c:v>
                </c:pt>
                <c:pt idx="14664">
                  <c:v>-1.84873949579832E-2</c:v>
                </c:pt>
                <c:pt idx="14665">
                  <c:v>-1.84873949579832E-2</c:v>
                </c:pt>
                <c:pt idx="14666">
                  <c:v>-1.84873949579832E-2</c:v>
                </c:pt>
                <c:pt idx="14667">
                  <c:v>-1.84873949579832E-2</c:v>
                </c:pt>
                <c:pt idx="14668">
                  <c:v>-1.84873949579832E-2</c:v>
                </c:pt>
                <c:pt idx="14669">
                  <c:v>-1.84873949579832E-2</c:v>
                </c:pt>
                <c:pt idx="14670">
                  <c:v>-1.84873949579832E-2</c:v>
                </c:pt>
                <c:pt idx="14671">
                  <c:v>-1.84873949579832E-2</c:v>
                </c:pt>
                <c:pt idx="14672">
                  <c:v>-1.84873949579832E-2</c:v>
                </c:pt>
                <c:pt idx="14673">
                  <c:v>-1.84873949579832E-2</c:v>
                </c:pt>
                <c:pt idx="14674">
                  <c:v>-1.84873949579832E-2</c:v>
                </c:pt>
                <c:pt idx="14675">
                  <c:v>-1.84873949579832E-2</c:v>
                </c:pt>
                <c:pt idx="14676">
                  <c:v>-1.84873949579832E-2</c:v>
                </c:pt>
                <c:pt idx="14677">
                  <c:v>-1.84873949579832E-2</c:v>
                </c:pt>
                <c:pt idx="14678">
                  <c:v>-1.7647058823529401E-2</c:v>
                </c:pt>
                <c:pt idx="14679">
                  <c:v>-1.7647058823529401E-2</c:v>
                </c:pt>
                <c:pt idx="14680">
                  <c:v>-1.7647058823529401E-2</c:v>
                </c:pt>
                <c:pt idx="14681">
                  <c:v>-1.7647058823529401E-2</c:v>
                </c:pt>
                <c:pt idx="14682">
                  <c:v>-1.7647058823529401E-2</c:v>
                </c:pt>
                <c:pt idx="14683">
                  <c:v>-1.7647058823529401E-2</c:v>
                </c:pt>
                <c:pt idx="14684">
                  <c:v>-1.7647058823529401E-2</c:v>
                </c:pt>
                <c:pt idx="14685">
                  <c:v>-1.7647058823529401E-2</c:v>
                </c:pt>
                <c:pt idx="14686">
                  <c:v>-1.7647058823529401E-2</c:v>
                </c:pt>
                <c:pt idx="14687">
                  <c:v>-1.7647058823529401E-2</c:v>
                </c:pt>
                <c:pt idx="14688">
                  <c:v>-1.7647058823529401E-2</c:v>
                </c:pt>
                <c:pt idx="14689">
                  <c:v>-1.7647058823529401E-2</c:v>
                </c:pt>
                <c:pt idx="14690">
                  <c:v>-1.7647058823529401E-2</c:v>
                </c:pt>
                <c:pt idx="14691">
                  <c:v>-1.7647058823529401E-2</c:v>
                </c:pt>
                <c:pt idx="14692">
                  <c:v>-1.7647058823529401E-2</c:v>
                </c:pt>
                <c:pt idx="14693">
                  <c:v>-1.7647058823529401E-2</c:v>
                </c:pt>
                <c:pt idx="14694">
                  <c:v>-1.84873949579832E-2</c:v>
                </c:pt>
                <c:pt idx="14695">
                  <c:v>-1.84873949579832E-2</c:v>
                </c:pt>
                <c:pt idx="14696">
                  <c:v>-1.84873949579832E-2</c:v>
                </c:pt>
                <c:pt idx="14697">
                  <c:v>-1.84873949579832E-2</c:v>
                </c:pt>
                <c:pt idx="14698">
                  <c:v>-1.84873949579832E-2</c:v>
                </c:pt>
                <c:pt idx="14699">
                  <c:v>-1.84873949579832E-2</c:v>
                </c:pt>
                <c:pt idx="14700">
                  <c:v>-1.84873949579832E-2</c:v>
                </c:pt>
                <c:pt idx="14701">
                  <c:v>-1.84873949579832E-2</c:v>
                </c:pt>
                <c:pt idx="14702">
                  <c:v>-1.84873949579832E-2</c:v>
                </c:pt>
                <c:pt idx="14703">
                  <c:v>-1.84873949579832E-2</c:v>
                </c:pt>
                <c:pt idx="14704">
                  <c:v>-1.84873949579832E-2</c:v>
                </c:pt>
                <c:pt idx="14705">
                  <c:v>-1.84873949579832E-2</c:v>
                </c:pt>
                <c:pt idx="14706">
                  <c:v>-1.84873949579832E-2</c:v>
                </c:pt>
                <c:pt idx="14707">
                  <c:v>-1.84873949579832E-2</c:v>
                </c:pt>
                <c:pt idx="14708">
                  <c:v>-1.84873949579832E-2</c:v>
                </c:pt>
                <c:pt idx="14709">
                  <c:v>-1.84873949579832E-2</c:v>
                </c:pt>
                <c:pt idx="14710">
                  <c:v>-1.84873949579832E-2</c:v>
                </c:pt>
                <c:pt idx="14711">
                  <c:v>-1.84873949579832E-2</c:v>
                </c:pt>
                <c:pt idx="14712">
                  <c:v>-1.84873949579832E-2</c:v>
                </c:pt>
                <c:pt idx="14713">
                  <c:v>-1.84873949579832E-2</c:v>
                </c:pt>
                <c:pt idx="14714">
                  <c:v>-1.84873949579832E-2</c:v>
                </c:pt>
                <c:pt idx="14715">
                  <c:v>-1.84873949579832E-2</c:v>
                </c:pt>
                <c:pt idx="14716">
                  <c:v>-1.84873949579832E-2</c:v>
                </c:pt>
                <c:pt idx="14717">
                  <c:v>-1.84873949579832E-2</c:v>
                </c:pt>
                <c:pt idx="14718">
                  <c:v>-1.84873949579832E-2</c:v>
                </c:pt>
                <c:pt idx="14719">
                  <c:v>-1.84873949579832E-2</c:v>
                </c:pt>
                <c:pt idx="14720">
                  <c:v>-1.84873949579832E-2</c:v>
                </c:pt>
                <c:pt idx="14721">
                  <c:v>-1.84873949579832E-2</c:v>
                </c:pt>
                <c:pt idx="14722">
                  <c:v>-1.84873949579832E-2</c:v>
                </c:pt>
                <c:pt idx="14723">
                  <c:v>-1.84873949579832E-2</c:v>
                </c:pt>
                <c:pt idx="14724">
                  <c:v>-1.84873949579832E-2</c:v>
                </c:pt>
                <c:pt idx="14725">
                  <c:v>-1.7647058823529401E-2</c:v>
                </c:pt>
                <c:pt idx="14726">
                  <c:v>-1.7647058823529401E-2</c:v>
                </c:pt>
                <c:pt idx="14727">
                  <c:v>-1.7647058823529401E-2</c:v>
                </c:pt>
                <c:pt idx="14728">
                  <c:v>-1.7647058823529401E-2</c:v>
                </c:pt>
                <c:pt idx="14729">
                  <c:v>-1.7647058823529401E-2</c:v>
                </c:pt>
                <c:pt idx="14730">
                  <c:v>-1.84873949579832E-2</c:v>
                </c:pt>
                <c:pt idx="14731">
                  <c:v>-1.84873949579832E-2</c:v>
                </c:pt>
                <c:pt idx="14732">
                  <c:v>-1.84873949579832E-2</c:v>
                </c:pt>
                <c:pt idx="14733">
                  <c:v>-1.84873949579832E-2</c:v>
                </c:pt>
                <c:pt idx="14734">
                  <c:v>-1.84873949579832E-2</c:v>
                </c:pt>
                <c:pt idx="14735">
                  <c:v>-1.84873949579832E-2</c:v>
                </c:pt>
                <c:pt idx="14736">
                  <c:v>-1.84873949579832E-2</c:v>
                </c:pt>
                <c:pt idx="14737">
                  <c:v>-1.84873949579832E-2</c:v>
                </c:pt>
                <c:pt idx="14738">
                  <c:v>-1.84873949579832E-2</c:v>
                </c:pt>
                <c:pt idx="14739">
                  <c:v>-1.84873949579832E-2</c:v>
                </c:pt>
                <c:pt idx="14740">
                  <c:v>-1.84873949579832E-2</c:v>
                </c:pt>
                <c:pt idx="14741">
                  <c:v>-1.84873949579832E-2</c:v>
                </c:pt>
                <c:pt idx="14742">
                  <c:v>-1.7647058823529401E-2</c:v>
                </c:pt>
                <c:pt idx="14743">
                  <c:v>-1.7647058823529401E-2</c:v>
                </c:pt>
                <c:pt idx="14744">
                  <c:v>-1.7647058823529401E-2</c:v>
                </c:pt>
                <c:pt idx="14745">
                  <c:v>-1.7647058823529401E-2</c:v>
                </c:pt>
                <c:pt idx="14746">
                  <c:v>-1.7647058823529401E-2</c:v>
                </c:pt>
                <c:pt idx="14747">
                  <c:v>-1.7647058823529401E-2</c:v>
                </c:pt>
                <c:pt idx="14748">
                  <c:v>-1.84873949579832E-2</c:v>
                </c:pt>
                <c:pt idx="14749">
                  <c:v>-1.84873949579832E-2</c:v>
                </c:pt>
                <c:pt idx="14750">
                  <c:v>-1.84873949579832E-2</c:v>
                </c:pt>
                <c:pt idx="14751">
                  <c:v>-1.84873949579832E-2</c:v>
                </c:pt>
                <c:pt idx="14752">
                  <c:v>-1.84873949579832E-2</c:v>
                </c:pt>
                <c:pt idx="14753">
                  <c:v>-1.84873949579832E-2</c:v>
                </c:pt>
                <c:pt idx="14754">
                  <c:v>-1.84873949579832E-2</c:v>
                </c:pt>
                <c:pt idx="14755">
                  <c:v>-1.84873949579832E-2</c:v>
                </c:pt>
                <c:pt idx="14756">
                  <c:v>-1.84873949579832E-2</c:v>
                </c:pt>
                <c:pt idx="14757">
                  <c:v>-1.84873949579832E-2</c:v>
                </c:pt>
                <c:pt idx="14758">
                  <c:v>-1.84873949579832E-2</c:v>
                </c:pt>
                <c:pt idx="14759">
                  <c:v>-1.84873949579832E-2</c:v>
                </c:pt>
                <c:pt idx="14760">
                  <c:v>-1.84873949579832E-2</c:v>
                </c:pt>
                <c:pt idx="14761">
                  <c:v>-1.84873949579832E-2</c:v>
                </c:pt>
                <c:pt idx="14762">
                  <c:v>-1.84873949579832E-2</c:v>
                </c:pt>
                <c:pt idx="14763">
                  <c:v>-1.84873949579832E-2</c:v>
                </c:pt>
                <c:pt idx="14764">
                  <c:v>-1.84873949579832E-2</c:v>
                </c:pt>
                <c:pt idx="14765">
                  <c:v>-1.84873949579832E-2</c:v>
                </c:pt>
                <c:pt idx="14766">
                  <c:v>-1.84873949579832E-2</c:v>
                </c:pt>
                <c:pt idx="14767">
                  <c:v>-1.84873949579832E-2</c:v>
                </c:pt>
                <c:pt idx="14768">
                  <c:v>-1.84873949579832E-2</c:v>
                </c:pt>
                <c:pt idx="14769">
                  <c:v>-1.84873949579832E-2</c:v>
                </c:pt>
                <c:pt idx="14770">
                  <c:v>-1.84873949579832E-2</c:v>
                </c:pt>
                <c:pt idx="14771">
                  <c:v>-1.84873949579832E-2</c:v>
                </c:pt>
                <c:pt idx="14772">
                  <c:v>-1.84873949579832E-2</c:v>
                </c:pt>
                <c:pt idx="14773">
                  <c:v>-1.84873949579832E-2</c:v>
                </c:pt>
                <c:pt idx="14774">
                  <c:v>-1.84873949579832E-2</c:v>
                </c:pt>
                <c:pt idx="14775">
                  <c:v>-1.84873949579832E-2</c:v>
                </c:pt>
                <c:pt idx="14776">
                  <c:v>-1.84873949579832E-2</c:v>
                </c:pt>
                <c:pt idx="14777">
                  <c:v>-1.84873949579832E-2</c:v>
                </c:pt>
                <c:pt idx="14778">
                  <c:v>-1.84873949579832E-2</c:v>
                </c:pt>
                <c:pt idx="14779">
                  <c:v>-1.84873949579832E-2</c:v>
                </c:pt>
                <c:pt idx="14780">
                  <c:v>-1.84873949579832E-2</c:v>
                </c:pt>
                <c:pt idx="14781">
                  <c:v>-1.84873949579832E-2</c:v>
                </c:pt>
                <c:pt idx="14782">
                  <c:v>-1.84873949579832E-2</c:v>
                </c:pt>
                <c:pt idx="14783">
                  <c:v>-1.84873949579832E-2</c:v>
                </c:pt>
                <c:pt idx="14784">
                  <c:v>-1.84873949579832E-2</c:v>
                </c:pt>
                <c:pt idx="14785">
                  <c:v>-1.84873949579832E-2</c:v>
                </c:pt>
                <c:pt idx="14786">
                  <c:v>-1.84873949579832E-2</c:v>
                </c:pt>
                <c:pt idx="14787">
                  <c:v>-1.9327731092437E-2</c:v>
                </c:pt>
                <c:pt idx="14788">
                  <c:v>-1.9327731092437E-2</c:v>
                </c:pt>
                <c:pt idx="14789">
                  <c:v>-1.9327731092437E-2</c:v>
                </c:pt>
                <c:pt idx="14790">
                  <c:v>-1.9327731092437E-2</c:v>
                </c:pt>
                <c:pt idx="14791">
                  <c:v>-1.9327731092437E-2</c:v>
                </c:pt>
                <c:pt idx="14792">
                  <c:v>-1.9327731092437E-2</c:v>
                </c:pt>
                <c:pt idx="14793">
                  <c:v>-1.9327731092437E-2</c:v>
                </c:pt>
                <c:pt idx="14794">
                  <c:v>-1.9327731092437E-2</c:v>
                </c:pt>
                <c:pt idx="14795">
                  <c:v>-1.9327731092437E-2</c:v>
                </c:pt>
                <c:pt idx="14796">
                  <c:v>-1.9327731092437E-2</c:v>
                </c:pt>
                <c:pt idx="14797">
                  <c:v>-1.9327731092437E-2</c:v>
                </c:pt>
                <c:pt idx="14798">
                  <c:v>-1.9327731092437E-2</c:v>
                </c:pt>
                <c:pt idx="14799">
                  <c:v>-1.9327731092437E-2</c:v>
                </c:pt>
                <c:pt idx="14800">
                  <c:v>-1.9327731092437E-2</c:v>
                </c:pt>
                <c:pt idx="14801">
                  <c:v>-1.9327731092437E-2</c:v>
                </c:pt>
                <c:pt idx="14802">
                  <c:v>-1.9327731092437E-2</c:v>
                </c:pt>
                <c:pt idx="14803">
                  <c:v>-1.9327731092437E-2</c:v>
                </c:pt>
                <c:pt idx="14804">
                  <c:v>-1.9327731092437E-2</c:v>
                </c:pt>
                <c:pt idx="14805">
                  <c:v>-1.9327731092437E-2</c:v>
                </c:pt>
                <c:pt idx="14806">
                  <c:v>-1.9327731092437E-2</c:v>
                </c:pt>
                <c:pt idx="14807">
                  <c:v>-1.9327731092437E-2</c:v>
                </c:pt>
                <c:pt idx="14808">
                  <c:v>-1.9327731092437E-2</c:v>
                </c:pt>
                <c:pt idx="14809">
                  <c:v>-1.9327731092437E-2</c:v>
                </c:pt>
                <c:pt idx="14810">
                  <c:v>-1.9327731092437E-2</c:v>
                </c:pt>
                <c:pt idx="14811">
                  <c:v>-1.9327731092437E-2</c:v>
                </c:pt>
                <c:pt idx="14812">
                  <c:v>-1.9327731092437E-2</c:v>
                </c:pt>
                <c:pt idx="14813">
                  <c:v>-1.9327731092437E-2</c:v>
                </c:pt>
                <c:pt idx="14814">
                  <c:v>-1.9327731092437E-2</c:v>
                </c:pt>
                <c:pt idx="14815">
                  <c:v>-1.9327731092437E-2</c:v>
                </c:pt>
                <c:pt idx="14816">
                  <c:v>-1.9327731092437E-2</c:v>
                </c:pt>
                <c:pt idx="14817">
                  <c:v>-1.9327731092437E-2</c:v>
                </c:pt>
                <c:pt idx="14818">
                  <c:v>-1.84873949579832E-2</c:v>
                </c:pt>
                <c:pt idx="14819">
                  <c:v>-1.84873949579832E-2</c:v>
                </c:pt>
                <c:pt idx="14820">
                  <c:v>-1.84873949579832E-2</c:v>
                </c:pt>
                <c:pt idx="14821">
                  <c:v>-1.84873949579832E-2</c:v>
                </c:pt>
                <c:pt idx="14822">
                  <c:v>-1.84873949579832E-2</c:v>
                </c:pt>
                <c:pt idx="14823">
                  <c:v>-1.84873949579832E-2</c:v>
                </c:pt>
                <c:pt idx="14824">
                  <c:v>-1.84873949579832E-2</c:v>
                </c:pt>
                <c:pt idx="14825">
                  <c:v>-1.9327731092437E-2</c:v>
                </c:pt>
                <c:pt idx="14826">
                  <c:v>-1.9327731092437E-2</c:v>
                </c:pt>
                <c:pt idx="14827">
                  <c:v>-1.9327731092437E-2</c:v>
                </c:pt>
                <c:pt idx="14828">
                  <c:v>-1.9327731092437E-2</c:v>
                </c:pt>
                <c:pt idx="14829">
                  <c:v>-1.9327731092437E-2</c:v>
                </c:pt>
                <c:pt idx="14830">
                  <c:v>-1.9327731092437E-2</c:v>
                </c:pt>
                <c:pt idx="14831">
                  <c:v>-1.9327731092437E-2</c:v>
                </c:pt>
                <c:pt idx="14832">
                  <c:v>-1.9327731092437E-2</c:v>
                </c:pt>
                <c:pt idx="14833">
                  <c:v>-1.9327731092437E-2</c:v>
                </c:pt>
                <c:pt idx="14834">
                  <c:v>-1.9327731092437E-2</c:v>
                </c:pt>
                <c:pt idx="14835">
                  <c:v>-1.9327731092437E-2</c:v>
                </c:pt>
                <c:pt idx="14836">
                  <c:v>-1.9327731092437E-2</c:v>
                </c:pt>
                <c:pt idx="14837">
                  <c:v>-1.9327731092437E-2</c:v>
                </c:pt>
                <c:pt idx="14838">
                  <c:v>-1.9327731092437E-2</c:v>
                </c:pt>
                <c:pt idx="14839">
                  <c:v>-1.9327731092437E-2</c:v>
                </c:pt>
                <c:pt idx="14840">
                  <c:v>-1.9327731092437E-2</c:v>
                </c:pt>
                <c:pt idx="14841">
                  <c:v>-1.9327731092437E-2</c:v>
                </c:pt>
                <c:pt idx="14842">
                  <c:v>-1.9327731092437E-2</c:v>
                </c:pt>
                <c:pt idx="14843">
                  <c:v>-1.9327731092437E-2</c:v>
                </c:pt>
                <c:pt idx="14844">
                  <c:v>-1.9327731092437E-2</c:v>
                </c:pt>
                <c:pt idx="14845">
                  <c:v>-1.9327731092437E-2</c:v>
                </c:pt>
                <c:pt idx="14846">
                  <c:v>-1.9327731092437E-2</c:v>
                </c:pt>
                <c:pt idx="14847">
                  <c:v>-1.9327731092437E-2</c:v>
                </c:pt>
                <c:pt idx="14848">
                  <c:v>-1.9327731092437E-2</c:v>
                </c:pt>
                <c:pt idx="14849">
                  <c:v>-1.9327731092437E-2</c:v>
                </c:pt>
                <c:pt idx="14850">
                  <c:v>-1.9327731092437E-2</c:v>
                </c:pt>
                <c:pt idx="14851">
                  <c:v>-1.9327731092437E-2</c:v>
                </c:pt>
                <c:pt idx="14852">
                  <c:v>-1.9327731092437E-2</c:v>
                </c:pt>
                <c:pt idx="14853">
                  <c:v>-1.9327731092437E-2</c:v>
                </c:pt>
                <c:pt idx="14854">
                  <c:v>-1.9327731092437E-2</c:v>
                </c:pt>
                <c:pt idx="14855">
                  <c:v>-1.9327731092437E-2</c:v>
                </c:pt>
                <c:pt idx="14856">
                  <c:v>-1.9327731092437E-2</c:v>
                </c:pt>
                <c:pt idx="14857">
                  <c:v>-1.9327731092437E-2</c:v>
                </c:pt>
                <c:pt idx="14858">
                  <c:v>-1.9327731092437E-2</c:v>
                </c:pt>
                <c:pt idx="14859">
                  <c:v>-1.9327731092437E-2</c:v>
                </c:pt>
                <c:pt idx="14860">
                  <c:v>-1.9327731092437E-2</c:v>
                </c:pt>
                <c:pt idx="14861">
                  <c:v>-1.9327731092437E-2</c:v>
                </c:pt>
                <c:pt idx="14862">
                  <c:v>-1.9327731092437E-2</c:v>
                </c:pt>
                <c:pt idx="14863">
                  <c:v>-1.9327731092437E-2</c:v>
                </c:pt>
                <c:pt idx="14864">
                  <c:v>-1.9327731092437E-2</c:v>
                </c:pt>
                <c:pt idx="14865">
                  <c:v>-1.9327731092437E-2</c:v>
                </c:pt>
                <c:pt idx="14866">
                  <c:v>-1.9327731092437E-2</c:v>
                </c:pt>
                <c:pt idx="14867">
                  <c:v>-1.9327731092437E-2</c:v>
                </c:pt>
                <c:pt idx="14868">
                  <c:v>-1.9327731092437E-2</c:v>
                </c:pt>
                <c:pt idx="14869">
                  <c:v>-1.9327731092437E-2</c:v>
                </c:pt>
                <c:pt idx="14870">
                  <c:v>-1.9327731092437E-2</c:v>
                </c:pt>
                <c:pt idx="14871">
                  <c:v>-1.9327731092437E-2</c:v>
                </c:pt>
                <c:pt idx="14872">
                  <c:v>-1.9327731092437E-2</c:v>
                </c:pt>
                <c:pt idx="14873">
                  <c:v>-1.9327731092437E-2</c:v>
                </c:pt>
                <c:pt idx="14874">
                  <c:v>-1.9327731092437E-2</c:v>
                </c:pt>
                <c:pt idx="14875">
                  <c:v>-1.9327731092437E-2</c:v>
                </c:pt>
                <c:pt idx="14876">
                  <c:v>-1.9327731092437E-2</c:v>
                </c:pt>
                <c:pt idx="14877">
                  <c:v>-1.9327731092437E-2</c:v>
                </c:pt>
                <c:pt idx="14878">
                  <c:v>-1.9327731092437E-2</c:v>
                </c:pt>
                <c:pt idx="14879">
                  <c:v>-1.9327731092437E-2</c:v>
                </c:pt>
                <c:pt idx="14880">
                  <c:v>-1.9327731092437E-2</c:v>
                </c:pt>
                <c:pt idx="14881">
                  <c:v>-1.9327731092437E-2</c:v>
                </c:pt>
                <c:pt idx="14882">
                  <c:v>-1.9327731092437E-2</c:v>
                </c:pt>
                <c:pt idx="14883">
                  <c:v>-1.84873949579832E-2</c:v>
                </c:pt>
                <c:pt idx="14884">
                  <c:v>-1.84873949579832E-2</c:v>
                </c:pt>
                <c:pt idx="14885">
                  <c:v>-1.84873949579832E-2</c:v>
                </c:pt>
                <c:pt idx="14886">
                  <c:v>-1.84873949579832E-2</c:v>
                </c:pt>
                <c:pt idx="14887">
                  <c:v>-1.84873949579832E-2</c:v>
                </c:pt>
                <c:pt idx="14888">
                  <c:v>-1.84873949579832E-2</c:v>
                </c:pt>
                <c:pt idx="14889">
                  <c:v>-1.84873949579832E-2</c:v>
                </c:pt>
                <c:pt idx="14890">
                  <c:v>-1.84873949579832E-2</c:v>
                </c:pt>
                <c:pt idx="14891">
                  <c:v>-1.84873949579832E-2</c:v>
                </c:pt>
                <c:pt idx="14892">
                  <c:v>-1.84873949579832E-2</c:v>
                </c:pt>
                <c:pt idx="14893">
                  <c:v>-1.84873949579832E-2</c:v>
                </c:pt>
                <c:pt idx="14894">
                  <c:v>-1.84873949579832E-2</c:v>
                </c:pt>
                <c:pt idx="14895">
                  <c:v>-1.84873949579832E-2</c:v>
                </c:pt>
                <c:pt idx="14896">
                  <c:v>-1.84873949579832E-2</c:v>
                </c:pt>
                <c:pt idx="14897">
                  <c:v>-1.84873949579832E-2</c:v>
                </c:pt>
                <c:pt idx="14898">
                  <c:v>-1.84873949579832E-2</c:v>
                </c:pt>
                <c:pt idx="14899">
                  <c:v>-1.84873949579832E-2</c:v>
                </c:pt>
                <c:pt idx="14900">
                  <c:v>-1.84873949579832E-2</c:v>
                </c:pt>
                <c:pt idx="14901">
                  <c:v>-1.84873949579832E-2</c:v>
                </c:pt>
                <c:pt idx="14902">
                  <c:v>-1.84873949579832E-2</c:v>
                </c:pt>
                <c:pt idx="14903">
                  <c:v>-1.84873949579832E-2</c:v>
                </c:pt>
                <c:pt idx="14904">
                  <c:v>-1.84873949579832E-2</c:v>
                </c:pt>
                <c:pt idx="14905">
                  <c:v>-1.84873949579832E-2</c:v>
                </c:pt>
                <c:pt idx="14906">
                  <c:v>-1.84873949579832E-2</c:v>
                </c:pt>
                <c:pt idx="14907">
                  <c:v>-1.84873949579832E-2</c:v>
                </c:pt>
                <c:pt idx="14908">
                  <c:v>-1.7647058823529401E-2</c:v>
                </c:pt>
                <c:pt idx="14909">
                  <c:v>-1.7647058823529401E-2</c:v>
                </c:pt>
                <c:pt idx="14910">
                  <c:v>-1.7647058823529401E-2</c:v>
                </c:pt>
                <c:pt idx="14911">
                  <c:v>-1.7647058823529401E-2</c:v>
                </c:pt>
                <c:pt idx="14912">
                  <c:v>-1.7647058823529401E-2</c:v>
                </c:pt>
                <c:pt idx="14913">
                  <c:v>-1.7647058823529401E-2</c:v>
                </c:pt>
                <c:pt idx="14914">
                  <c:v>-1.7647058823529401E-2</c:v>
                </c:pt>
                <c:pt idx="14915">
                  <c:v>-1.7647058823529401E-2</c:v>
                </c:pt>
                <c:pt idx="14916">
                  <c:v>-1.7647058823529401E-2</c:v>
                </c:pt>
                <c:pt idx="14917">
                  <c:v>-1.7647058823529401E-2</c:v>
                </c:pt>
                <c:pt idx="14918">
                  <c:v>-1.7647058823529401E-2</c:v>
                </c:pt>
                <c:pt idx="14919">
                  <c:v>-1.7647058823529401E-2</c:v>
                </c:pt>
                <c:pt idx="14920">
                  <c:v>-1.7647058823529401E-2</c:v>
                </c:pt>
                <c:pt idx="14921">
                  <c:v>-1.7647058823529401E-2</c:v>
                </c:pt>
                <c:pt idx="14922">
                  <c:v>-1.7647058823529401E-2</c:v>
                </c:pt>
                <c:pt idx="14923">
                  <c:v>-1.7647058823529401E-2</c:v>
                </c:pt>
                <c:pt idx="14924">
                  <c:v>-1.7647058823529401E-2</c:v>
                </c:pt>
                <c:pt idx="14925">
                  <c:v>-1.7647058823529401E-2</c:v>
                </c:pt>
                <c:pt idx="14926">
                  <c:v>-1.7647058823529401E-2</c:v>
                </c:pt>
                <c:pt idx="14927">
                  <c:v>-1.7647058823529401E-2</c:v>
                </c:pt>
                <c:pt idx="14928">
                  <c:v>-1.7647058823529401E-2</c:v>
                </c:pt>
                <c:pt idx="14929">
                  <c:v>-1.6806722689075598E-2</c:v>
                </c:pt>
                <c:pt idx="14930">
                  <c:v>-1.6806722689075598E-2</c:v>
                </c:pt>
                <c:pt idx="14931">
                  <c:v>-1.6806722689075598E-2</c:v>
                </c:pt>
                <c:pt idx="14932">
                  <c:v>-1.59663865546219E-2</c:v>
                </c:pt>
                <c:pt idx="14933">
                  <c:v>-1.59663865546219E-2</c:v>
                </c:pt>
                <c:pt idx="14934">
                  <c:v>-1.59663865546219E-2</c:v>
                </c:pt>
                <c:pt idx="14935">
                  <c:v>-1.59663865546219E-2</c:v>
                </c:pt>
                <c:pt idx="14936">
                  <c:v>-1.59663865546219E-2</c:v>
                </c:pt>
                <c:pt idx="14937">
                  <c:v>-1.59663865546219E-2</c:v>
                </c:pt>
                <c:pt idx="14938">
                  <c:v>-1.6806722689075598E-2</c:v>
                </c:pt>
                <c:pt idx="14939">
                  <c:v>-1.6806722689075598E-2</c:v>
                </c:pt>
                <c:pt idx="14940">
                  <c:v>-1.6806722689075598E-2</c:v>
                </c:pt>
                <c:pt idx="14941">
                  <c:v>-1.6806722689075598E-2</c:v>
                </c:pt>
                <c:pt idx="14942">
                  <c:v>-1.6806722689075598E-2</c:v>
                </c:pt>
                <c:pt idx="14943">
                  <c:v>-1.6806722689075598E-2</c:v>
                </c:pt>
                <c:pt idx="14944">
                  <c:v>-1.6806722689075598E-2</c:v>
                </c:pt>
                <c:pt idx="14945">
                  <c:v>-1.6806722689075598E-2</c:v>
                </c:pt>
                <c:pt idx="14946">
                  <c:v>-1.6806722689075598E-2</c:v>
                </c:pt>
                <c:pt idx="14947">
                  <c:v>-1.6806722689075598E-2</c:v>
                </c:pt>
                <c:pt idx="14948">
                  <c:v>-1.6806722689075598E-2</c:v>
                </c:pt>
                <c:pt idx="14949">
                  <c:v>-1.6806722689075598E-2</c:v>
                </c:pt>
                <c:pt idx="14950">
                  <c:v>-1.6806722689075598E-2</c:v>
                </c:pt>
                <c:pt idx="14951">
                  <c:v>-1.6806722689075598E-2</c:v>
                </c:pt>
                <c:pt idx="14952">
                  <c:v>-1.6806722689075598E-2</c:v>
                </c:pt>
                <c:pt idx="14953">
                  <c:v>-1.6806722689075598E-2</c:v>
                </c:pt>
                <c:pt idx="14954">
                  <c:v>-1.6806722689075598E-2</c:v>
                </c:pt>
                <c:pt idx="14955">
                  <c:v>-1.6806722689075598E-2</c:v>
                </c:pt>
                <c:pt idx="14956">
                  <c:v>-1.59663865546219E-2</c:v>
                </c:pt>
                <c:pt idx="14957">
                  <c:v>-1.59663865546219E-2</c:v>
                </c:pt>
                <c:pt idx="14958">
                  <c:v>-1.59663865546219E-2</c:v>
                </c:pt>
                <c:pt idx="14959">
                  <c:v>-1.59663865546219E-2</c:v>
                </c:pt>
                <c:pt idx="14960">
                  <c:v>-1.59663865546219E-2</c:v>
                </c:pt>
                <c:pt idx="14961">
                  <c:v>-1.59663865546219E-2</c:v>
                </c:pt>
                <c:pt idx="14962">
                  <c:v>-1.59663865546219E-2</c:v>
                </c:pt>
                <c:pt idx="14963">
                  <c:v>-1.59663865546219E-2</c:v>
                </c:pt>
                <c:pt idx="14964">
                  <c:v>-1.59663865546219E-2</c:v>
                </c:pt>
                <c:pt idx="14965">
                  <c:v>-1.59663865546219E-2</c:v>
                </c:pt>
                <c:pt idx="14966">
                  <c:v>-1.59663865546219E-2</c:v>
                </c:pt>
                <c:pt idx="14967">
                  <c:v>-1.59663865546219E-2</c:v>
                </c:pt>
                <c:pt idx="14968">
                  <c:v>-1.59663865546219E-2</c:v>
                </c:pt>
                <c:pt idx="14969">
                  <c:v>-1.59663865546219E-2</c:v>
                </c:pt>
                <c:pt idx="14970">
                  <c:v>-1.59663865546219E-2</c:v>
                </c:pt>
                <c:pt idx="14971">
                  <c:v>-1.59663865546219E-2</c:v>
                </c:pt>
                <c:pt idx="14972">
                  <c:v>-1.59663865546219E-2</c:v>
                </c:pt>
                <c:pt idx="14973">
                  <c:v>-1.59663865546219E-2</c:v>
                </c:pt>
                <c:pt idx="14974">
                  <c:v>-1.59663865546219E-2</c:v>
                </c:pt>
                <c:pt idx="14975">
                  <c:v>-1.59663865546219E-2</c:v>
                </c:pt>
                <c:pt idx="14976">
                  <c:v>-1.59663865546219E-2</c:v>
                </c:pt>
                <c:pt idx="14977">
                  <c:v>-1.59663865546219E-2</c:v>
                </c:pt>
                <c:pt idx="14978">
                  <c:v>-1.59663865546219E-2</c:v>
                </c:pt>
                <c:pt idx="14979">
                  <c:v>-1.59663865546219E-2</c:v>
                </c:pt>
                <c:pt idx="14980">
                  <c:v>-1.59663865546219E-2</c:v>
                </c:pt>
                <c:pt idx="14981">
                  <c:v>-1.6806722689075598E-2</c:v>
                </c:pt>
                <c:pt idx="14982">
                  <c:v>-1.6806722689075598E-2</c:v>
                </c:pt>
                <c:pt idx="14983">
                  <c:v>-1.6806722689075598E-2</c:v>
                </c:pt>
                <c:pt idx="14984">
                  <c:v>-1.6806722689075598E-2</c:v>
                </c:pt>
                <c:pt idx="14985">
                  <c:v>-1.6806722689075598E-2</c:v>
                </c:pt>
                <c:pt idx="14986">
                  <c:v>-1.6806722689075598E-2</c:v>
                </c:pt>
                <c:pt idx="14987">
                  <c:v>-1.6806722689075598E-2</c:v>
                </c:pt>
                <c:pt idx="14988">
                  <c:v>-1.6806722689075598E-2</c:v>
                </c:pt>
                <c:pt idx="14989">
                  <c:v>-1.6806722689075598E-2</c:v>
                </c:pt>
                <c:pt idx="14990">
                  <c:v>-1.6806722689075598E-2</c:v>
                </c:pt>
                <c:pt idx="14991">
                  <c:v>-1.6806722689075598E-2</c:v>
                </c:pt>
                <c:pt idx="14992">
                  <c:v>-1.6806722689075598E-2</c:v>
                </c:pt>
                <c:pt idx="14993">
                  <c:v>-1.6806722689075598E-2</c:v>
                </c:pt>
                <c:pt idx="14994">
                  <c:v>-1.6806722689075598E-2</c:v>
                </c:pt>
                <c:pt idx="14995">
                  <c:v>-1.6806722689075598E-2</c:v>
                </c:pt>
                <c:pt idx="14996">
                  <c:v>-1.6806722689075598E-2</c:v>
                </c:pt>
                <c:pt idx="14997">
                  <c:v>-1.6806722689075598E-2</c:v>
                </c:pt>
                <c:pt idx="14998">
                  <c:v>-1.7647058823529401E-2</c:v>
                </c:pt>
                <c:pt idx="14999">
                  <c:v>-1.7647058823529401E-2</c:v>
                </c:pt>
                <c:pt idx="15000">
                  <c:v>-1.7647058823529401E-2</c:v>
                </c:pt>
                <c:pt idx="15001">
                  <c:v>-1.7647058823529401E-2</c:v>
                </c:pt>
                <c:pt idx="15002">
                  <c:v>-1.7647058823529401E-2</c:v>
                </c:pt>
                <c:pt idx="15003">
                  <c:v>-1.7647058823529401E-2</c:v>
                </c:pt>
                <c:pt idx="15004">
                  <c:v>-1.6806722689075598E-2</c:v>
                </c:pt>
                <c:pt idx="15005">
                  <c:v>-1.6806722689075598E-2</c:v>
                </c:pt>
                <c:pt idx="15006">
                  <c:v>-1.6806722689075598E-2</c:v>
                </c:pt>
                <c:pt idx="15007">
                  <c:v>-1.6806722689075598E-2</c:v>
                </c:pt>
                <c:pt idx="15008">
                  <c:v>-1.6806722689075598E-2</c:v>
                </c:pt>
                <c:pt idx="15009">
                  <c:v>-1.6806722689075598E-2</c:v>
                </c:pt>
                <c:pt idx="15010">
                  <c:v>-1.59663865546219E-2</c:v>
                </c:pt>
                <c:pt idx="15011">
                  <c:v>-1.59663865546219E-2</c:v>
                </c:pt>
                <c:pt idx="15012">
                  <c:v>-1.59663865546219E-2</c:v>
                </c:pt>
                <c:pt idx="15013">
                  <c:v>-1.59663865546219E-2</c:v>
                </c:pt>
                <c:pt idx="15014">
                  <c:v>-1.59663865546219E-2</c:v>
                </c:pt>
                <c:pt idx="15015">
                  <c:v>-1.59663865546219E-2</c:v>
                </c:pt>
                <c:pt idx="15016">
                  <c:v>-1.59663865546219E-2</c:v>
                </c:pt>
                <c:pt idx="15017">
                  <c:v>-1.59663865546219E-2</c:v>
                </c:pt>
                <c:pt idx="15018">
                  <c:v>-1.59663865546219E-2</c:v>
                </c:pt>
                <c:pt idx="15019">
                  <c:v>-1.59663865546219E-2</c:v>
                </c:pt>
                <c:pt idx="15020">
                  <c:v>-1.59663865546219E-2</c:v>
                </c:pt>
                <c:pt idx="15021">
                  <c:v>-1.59663865546219E-2</c:v>
                </c:pt>
                <c:pt idx="15022">
                  <c:v>-1.59663865546219E-2</c:v>
                </c:pt>
                <c:pt idx="15023">
                  <c:v>-1.59663865546219E-2</c:v>
                </c:pt>
                <c:pt idx="15024">
                  <c:v>-1.59663865546219E-2</c:v>
                </c:pt>
                <c:pt idx="15025">
                  <c:v>-1.59663865546219E-2</c:v>
                </c:pt>
                <c:pt idx="15026">
                  <c:v>-1.59663865546219E-2</c:v>
                </c:pt>
                <c:pt idx="15027">
                  <c:v>-1.59663865546219E-2</c:v>
                </c:pt>
                <c:pt idx="15028">
                  <c:v>-1.59663865546219E-2</c:v>
                </c:pt>
                <c:pt idx="15029">
                  <c:v>-1.59663865546219E-2</c:v>
                </c:pt>
                <c:pt idx="15030">
                  <c:v>-1.59663865546219E-2</c:v>
                </c:pt>
                <c:pt idx="15031">
                  <c:v>-1.59663865546219E-2</c:v>
                </c:pt>
                <c:pt idx="15032">
                  <c:v>-1.59663865546219E-2</c:v>
                </c:pt>
                <c:pt idx="15033">
                  <c:v>-1.59663865546219E-2</c:v>
                </c:pt>
                <c:pt idx="15034">
                  <c:v>-1.59663865546219E-2</c:v>
                </c:pt>
                <c:pt idx="15035">
                  <c:v>-1.59663865546219E-2</c:v>
                </c:pt>
                <c:pt idx="15036">
                  <c:v>-1.59663865546219E-2</c:v>
                </c:pt>
                <c:pt idx="15037">
                  <c:v>-1.59663865546219E-2</c:v>
                </c:pt>
                <c:pt idx="15038">
                  <c:v>-1.59663865546219E-2</c:v>
                </c:pt>
                <c:pt idx="15039">
                  <c:v>-1.59663865546219E-2</c:v>
                </c:pt>
                <c:pt idx="15040">
                  <c:v>-1.59663865546219E-2</c:v>
                </c:pt>
                <c:pt idx="15041">
                  <c:v>-1.59663865546219E-2</c:v>
                </c:pt>
                <c:pt idx="15042">
                  <c:v>-1.59663865546219E-2</c:v>
                </c:pt>
                <c:pt idx="15043">
                  <c:v>-1.59663865546219E-2</c:v>
                </c:pt>
                <c:pt idx="15044">
                  <c:v>-1.59663865546219E-2</c:v>
                </c:pt>
                <c:pt idx="15045">
                  <c:v>-1.59663865546219E-2</c:v>
                </c:pt>
                <c:pt idx="15046">
                  <c:v>-1.59663865546219E-2</c:v>
                </c:pt>
                <c:pt idx="15047">
                  <c:v>-1.59663865546219E-2</c:v>
                </c:pt>
                <c:pt idx="15048">
                  <c:v>-1.6806722689075598E-2</c:v>
                </c:pt>
                <c:pt idx="15049">
                  <c:v>-1.6806722689075598E-2</c:v>
                </c:pt>
                <c:pt idx="15050">
                  <c:v>-1.6806722689075598E-2</c:v>
                </c:pt>
                <c:pt idx="15051">
                  <c:v>-1.6806722689075598E-2</c:v>
                </c:pt>
                <c:pt idx="15052">
                  <c:v>-1.6806722689075598E-2</c:v>
                </c:pt>
                <c:pt idx="15053">
                  <c:v>-1.6806722689075598E-2</c:v>
                </c:pt>
                <c:pt idx="15054">
                  <c:v>-1.6806722689075598E-2</c:v>
                </c:pt>
                <c:pt idx="15055">
                  <c:v>-1.6806722689075598E-2</c:v>
                </c:pt>
                <c:pt idx="15056">
                  <c:v>-1.6806722689075598E-2</c:v>
                </c:pt>
                <c:pt idx="15057">
                  <c:v>-1.7647058823529401E-2</c:v>
                </c:pt>
                <c:pt idx="15058">
                  <c:v>-1.7647058823529401E-2</c:v>
                </c:pt>
                <c:pt idx="15059">
                  <c:v>-1.7647058823529401E-2</c:v>
                </c:pt>
                <c:pt idx="15060">
                  <c:v>-1.7647058823529401E-2</c:v>
                </c:pt>
                <c:pt idx="15061">
                  <c:v>-1.7647058823529401E-2</c:v>
                </c:pt>
                <c:pt idx="15062">
                  <c:v>-1.7647058823529401E-2</c:v>
                </c:pt>
                <c:pt idx="15063">
                  <c:v>-1.6806722689075598E-2</c:v>
                </c:pt>
                <c:pt idx="15064">
                  <c:v>-1.6806722689075598E-2</c:v>
                </c:pt>
                <c:pt idx="15065">
                  <c:v>-1.6806722689075598E-2</c:v>
                </c:pt>
                <c:pt idx="15066">
                  <c:v>-1.6806722689075598E-2</c:v>
                </c:pt>
                <c:pt idx="15067">
                  <c:v>-1.6806722689075598E-2</c:v>
                </c:pt>
                <c:pt idx="15068">
                  <c:v>-1.6806722689075598E-2</c:v>
                </c:pt>
                <c:pt idx="15069">
                  <c:v>-1.6806722689075598E-2</c:v>
                </c:pt>
                <c:pt idx="15070">
                  <c:v>-1.6806722689075598E-2</c:v>
                </c:pt>
                <c:pt idx="15071">
                  <c:v>-1.6806722689075598E-2</c:v>
                </c:pt>
                <c:pt idx="15072">
                  <c:v>-1.6806722689075598E-2</c:v>
                </c:pt>
                <c:pt idx="15073">
                  <c:v>-1.6806722689075598E-2</c:v>
                </c:pt>
                <c:pt idx="15074">
                  <c:v>-1.6806722689075598E-2</c:v>
                </c:pt>
                <c:pt idx="15075">
                  <c:v>-1.6806722689075598E-2</c:v>
                </c:pt>
                <c:pt idx="15076">
                  <c:v>-1.6806722689075598E-2</c:v>
                </c:pt>
                <c:pt idx="15077">
                  <c:v>-1.6806722689075598E-2</c:v>
                </c:pt>
                <c:pt idx="15078">
                  <c:v>-1.6806722689075598E-2</c:v>
                </c:pt>
                <c:pt idx="15079">
                  <c:v>-1.6806722689075598E-2</c:v>
                </c:pt>
                <c:pt idx="15080">
                  <c:v>-1.6806722689075598E-2</c:v>
                </c:pt>
                <c:pt idx="15081">
                  <c:v>-1.6806722689075598E-2</c:v>
                </c:pt>
                <c:pt idx="15082">
                  <c:v>-1.6806722689075598E-2</c:v>
                </c:pt>
                <c:pt idx="15083">
                  <c:v>-1.6806722689075598E-2</c:v>
                </c:pt>
                <c:pt idx="15084">
                  <c:v>-1.6806722689075598E-2</c:v>
                </c:pt>
                <c:pt idx="15085">
                  <c:v>-1.6806722689075598E-2</c:v>
                </c:pt>
                <c:pt idx="15086">
                  <c:v>-1.6806722689075598E-2</c:v>
                </c:pt>
                <c:pt idx="15087">
                  <c:v>-1.6806722689075598E-2</c:v>
                </c:pt>
                <c:pt idx="15088">
                  <c:v>-1.6806722689075598E-2</c:v>
                </c:pt>
                <c:pt idx="15089">
                  <c:v>-1.6806722689075598E-2</c:v>
                </c:pt>
                <c:pt idx="15090">
                  <c:v>-1.6806722689075598E-2</c:v>
                </c:pt>
                <c:pt idx="15091">
                  <c:v>-1.6806722689075598E-2</c:v>
                </c:pt>
                <c:pt idx="15092">
                  <c:v>-1.6806722689075598E-2</c:v>
                </c:pt>
                <c:pt idx="15093">
                  <c:v>-1.5966386554621698E-2</c:v>
                </c:pt>
                <c:pt idx="15094">
                  <c:v>-1.5966386554621698E-2</c:v>
                </c:pt>
                <c:pt idx="15095">
                  <c:v>-1.5966386554621698E-2</c:v>
                </c:pt>
                <c:pt idx="15096">
                  <c:v>-1.5966386554621698E-2</c:v>
                </c:pt>
                <c:pt idx="15097">
                  <c:v>-1.5966386554621698E-2</c:v>
                </c:pt>
                <c:pt idx="15098">
                  <c:v>-1.5966386554621698E-2</c:v>
                </c:pt>
                <c:pt idx="15099">
                  <c:v>-1.5966386554621698E-2</c:v>
                </c:pt>
                <c:pt idx="15100">
                  <c:v>-1.5966386554621698E-2</c:v>
                </c:pt>
                <c:pt idx="15101">
                  <c:v>-1.5966386554621698E-2</c:v>
                </c:pt>
                <c:pt idx="15102">
                  <c:v>-1.5966386554621698E-2</c:v>
                </c:pt>
                <c:pt idx="15103">
                  <c:v>-1.5966386554621698E-2</c:v>
                </c:pt>
                <c:pt idx="15104">
                  <c:v>-1.5966386554621698E-2</c:v>
                </c:pt>
                <c:pt idx="15105">
                  <c:v>-1.5966386554621698E-2</c:v>
                </c:pt>
                <c:pt idx="15106">
                  <c:v>-1.5966386554621698E-2</c:v>
                </c:pt>
                <c:pt idx="15107">
                  <c:v>-1.5966386554621698E-2</c:v>
                </c:pt>
                <c:pt idx="15108">
                  <c:v>-1.5966386554621698E-2</c:v>
                </c:pt>
                <c:pt idx="15109">
                  <c:v>-1.5966386554621698E-2</c:v>
                </c:pt>
                <c:pt idx="15110">
                  <c:v>-1.5966386554621698E-2</c:v>
                </c:pt>
                <c:pt idx="15111">
                  <c:v>-1.5966386554621698E-2</c:v>
                </c:pt>
                <c:pt idx="15112">
                  <c:v>-1.5966386554621698E-2</c:v>
                </c:pt>
                <c:pt idx="15113">
                  <c:v>-1.5966386554621698E-2</c:v>
                </c:pt>
                <c:pt idx="15114">
                  <c:v>-1.5966386554621698E-2</c:v>
                </c:pt>
                <c:pt idx="15115">
                  <c:v>-1.6806722689075501E-2</c:v>
                </c:pt>
                <c:pt idx="15116">
                  <c:v>-1.6806722689075501E-2</c:v>
                </c:pt>
                <c:pt idx="15117">
                  <c:v>-1.6806722689075501E-2</c:v>
                </c:pt>
                <c:pt idx="15118">
                  <c:v>-1.5966386554621698E-2</c:v>
                </c:pt>
                <c:pt idx="15119">
                  <c:v>-1.5966386554621698E-2</c:v>
                </c:pt>
                <c:pt idx="15120">
                  <c:v>-1.5966386554621698E-2</c:v>
                </c:pt>
                <c:pt idx="15121">
                  <c:v>-1.5966386554621698E-2</c:v>
                </c:pt>
                <c:pt idx="15122">
                  <c:v>-1.5966386554621698E-2</c:v>
                </c:pt>
                <c:pt idx="15123">
                  <c:v>-1.5126050420168E-2</c:v>
                </c:pt>
                <c:pt idx="15124">
                  <c:v>-1.5126050420168E-2</c:v>
                </c:pt>
                <c:pt idx="15125">
                  <c:v>-1.5126050420168E-2</c:v>
                </c:pt>
                <c:pt idx="15126">
                  <c:v>-1.5126050420168E-2</c:v>
                </c:pt>
                <c:pt idx="15127">
                  <c:v>-1.5126050420168E-2</c:v>
                </c:pt>
                <c:pt idx="15128">
                  <c:v>-1.5126050420168E-2</c:v>
                </c:pt>
                <c:pt idx="15129">
                  <c:v>-1.5126050420168E-2</c:v>
                </c:pt>
                <c:pt idx="15130">
                  <c:v>-1.5126050420168E-2</c:v>
                </c:pt>
                <c:pt idx="15131">
                  <c:v>-1.5126050420168E-2</c:v>
                </c:pt>
                <c:pt idx="15132">
                  <c:v>-1.5126050420168E-2</c:v>
                </c:pt>
                <c:pt idx="15133">
                  <c:v>-1.5126050420168E-2</c:v>
                </c:pt>
                <c:pt idx="15134">
                  <c:v>-1.5126050420168E-2</c:v>
                </c:pt>
                <c:pt idx="15135">
                  <c:v>-1.5126050420168E-2</c:v>
                </c:pt>
                <c:pt idx="15136">
                  <c:v>-1.5126050420168E-2</c:v>
                </c:pt>
                <c:pt idx="15137">
                  <c:v>-1.5126050420168E-2</c:v>
                </c:pt>
                <c:pt idx="15138">
                  <c:v>-1.5126050420168E-2</c:v>
                </c:pt>
                <c:pt idx="15139">
                  <c:v>-1.5126050420168E-2</c:v>
                </c:pt>
                <c:pt idx="15140">
                  <c:v>-1.5126050420168E-2</c:v>
                </c:pt>
                <c:pt idx="15141">
                  <c:v>-1.5126050420168E-2</c:v>
                </c:pt>
                <c:pt idx="15142">
                  <c:v>-1.5126050420168E-2</c:v>
                </c:pt>
                <c:pt idx="15143">
                  <c:v>-1.5126050420168E-2</c:v>
                </c:pt>
                <c:pt idx="15144">
                  <c:v>-1.5126050420168E-2</c:v>
                </c:pt>
                <c:pt idx="15145">
                  <c:v>-1.5966386554621698E-2</c:v>
                </c:pt>
                <c:pt idx="15146">
                  <c:v>-1.5966386554621698E-2</c:v>
                </c:pt>
                <c:pt idx="15147">
                  <c:v>-1.5966386554621698E-2</c:v>
                </c:pt>
                <c:pt idx="15148">
                  <c:v>-1.5966386554621698E-2</c:v>
                </c:pt>
                <c:pt idx="15149">
                  <c:v>-1.5966386554621698E-2</c:v>
                </c:pt>
                <c:pt idx="15150">
                  <c:v>-1.5966386554621698E-2</c:v>
                </c:pt>
                <c:pt idx="15151">
                  <c:v>-1.5966386554621698E-2</c:v>
                </c:pt>
                <c:pt idx="15152">
                  <c:v>-1.5966386554621698E-2</c:v>
                </c:pt>
                <c:pt idx="15153">
                  <c:v>-1.5126050420168E-2</c:v>
                </c:pt>
                <c:pt idx="15154">
                  <c:v>-1.5126050420168E-2</c:v>
                </c:pt>
                <c:pt idx="15155">
                  <c:v>-1.5126050420168E-2</c:v>
                </c:pt>
                <c:pt idx="15156">
                  <c:v>-1.5126050420168E-2</c:v>
                </c:pt>
                <c:pt idx="15157">
                  <c:v>-1.5126050420168E-2</c:v>
                </c:pt>
                <c:pt idx="15158">
                  <c:v>-1.5126050420168E-2</c:v>
                </c:pt>
                <c:pt idx="15159">
                  <c:v>-1.5126050420168E-2</c:v>
                </c:pt>
                <c:pt idx="15160">
                  <c:v>-1.5126050420168E-2</c:v>
                </c:pt>
                <c:pt idx="15161">
                  <c:v>-1.5126050420168E-2</c:v>
                </c:pt>
                <c:pt idx="15162">
                  <c:v>-1.5126050420168E-2</c:v>
                </c:pt>
                <c:pt idx="15163">
                  <c:v>-1.5126050420168E-2</c:v>
                </c:pt>
                <c:pt idx="15164">
                  <c:v>-1.5126050420168E-2</c:v>
                </c:pt>
                <c:pt idx="15165">
                  <c:v>-1.5126050420168E-2</c:v>
                </c:pt>
                <c:pt idx="15166">
                  <c:v>-1.5126050420168E-2</c:v>
                </c:pt>
                <c:pt idx="15167">
                  <c:v>-1.5126050420168E-2</c:v>
                </c:pt>
                <c:pt idx="15168">
                  <c:v>-1.5126050420168E-2</c:v>
                </c:pt>
                <c:pt idx="15169">
                  <c:v>-1.5126050420168E-2</c:v>
                </c:pt>
                <c:pt idx="15170">
                  <c:v>-1.5126050420168E-2</c:v>
                </c:pt>
                <c:pt idx="15171">
                  <c:v>-1.5126050420168E-2</c:v>
                </c:pt>
                <c:pt idx="15172">
                  <c:v>-1.5126050420168E-2</c:v>
                </c:pt>
                <c:pt idx="15173">
                  <c:v>-1.5126050420168E-2</c:v>
                </c:pt>
                <c:pt idx="15174">
                  <c:v>-1.5126050420168E-2</c:v>
                </c:pt>
                <c:pt idx="15175">
                  <c:v>-1.5126050420168E-2</c:v>
                </c:pt>
                <c:pt idx="15176">
                  <c:v>-1.5126050420168E-2</c:v>
                </c:pt>
                <c:pt idx="15177">
                  <c:v>-1.5126050420168E-2</c:v>
                </c:pt>
                <c:pt idx="15178">
                  <c:v>-1.5126050420168E-2</c:v>
                </c:pt>
                <c:pt idx="15179">
                  <c:v>-1.5126050420168E-2</c:v>
                </c:pt>
                <c:pt idx="15180">
                  <c:v>-1.5126050420168E-2</c:v>
                </c:pt>
                <c:pt idx="15181">
                  <c:v>-1.5126050420168E-2</c:v>
                </c:pt>
                <c:pt idx="15182">
                  <c:v>-1.5126050420168E-2</c:v>
                </c:pt>
                <c:pt idx="15183">
                  <c:v>-1.5126050420168E-2</c:v>
                </c:pt>
                <c:pt idx="15184">
                  <c:v>-1.5126050420168E-2</c:v>
                </c:pt>
                <c:pt idx="15185">
                  <c:v>-1.5126050420168E-2</c:v>
                </c:pt>
                <c:pt idx="15186">
                  <c:v>-1.5126050420168E-2</c:v>
                </c:pt>
                <c:pt idx="15187">
                  <c:v>-1.5126050420168E-2</c:v>
                </c:pt>
                <c:pt idx="15188">
                  <c:v>-1.5126050420168E-2</c:v>
                </c:pt>
                <c:pt idx="15189">
                  <c:v>-1.5126050420168E-2</c:v>
                </c:pt>
                <c:pt idx="15190">
                  <c:v>-1.5126050420168E-2</c:v>
                </c:pt>
                <c:pt idx="15191">
                  <c:v>-1.5966386554621698E-2</c:v>
                </c:pt>
                <c:pt idx="15192">
                  <c:v>-1.5966386554621698E-2</c:v>
                </c:pt>
                <c:pt idx="15193">
                  <c:v>-1.5966386554621698E-2</c:v>
                </c:pt>
                <c:pt idx="15194">
                  <c:v>-1.5966386554621698E-2</c:v>
                </c:pt>
                <c:pt idx="15195">
                  <c:v>-1.5966386554621698E-2</c:v>
                </c:pt>
                <c:pt idx="15196">
                  <c:v>-1.5966386554621698E-2</c:v>
                </c:pt>
                <c:pt idx="15197">
                  <c:v>-1.5966386554621698E-2</c:v>
                </c:pt>
                <c:pt idx="15198">
                  <c:v>-1.5966386554621698E-2</c:v>
                </c:pt>
                <c:pt idx="15199">
                  <c:v>-1.5966386554621698E-2</c:v>
                </c:pt>
                <c:pt idx="15200">
                  <c:v>-1.5966386554621698E-2</c:v>
                </c:pt>
                <c:pt idx="15201">
                  <c:v>-1.5966386554621698E-2</c:v>
                </c:pt>
                <c:pt idx="15202">
                  <c:v>-1.5966386554621698E-2</c:v>
                </c:pt>
                <c:pt idx="15203">
                  <c:v>-1.5966386554621698E-2</c:v>
                </c:pt>
                <c:pt idx="15204">
                  <c:v>-1.5966386554621698E-2</c:v>
                </c:pt>
                <c:pt idx="15205">
                  <c:v>-1.5966386554621698E-2</c:v>
                </c:pt>
                <c:pt idx="15206">
                  <c:v>-1.5966386554621698E-2</c:v>
                </c:pt>
                <c:pt idx="15207">
                  <c:v>-1.5966386554621698E-2</c:v>
                </c:pt>
                <c:pt idx="15208">
                  <c:v>-1.5966386554621698E-2</c:v>
                </c:pt>
                <c:pt idx="15209">
                  <c:v>-1.5966386554621698E-2</c:v>
                </c:pt>
                <c:pt idx="15210">
                  <c:v>-1.5966386554621698E-2</c:v>
                </c:pt>
                <c:pt idx="15211">
                  <c:v>-1.5966386554621698E-2</c:v>
                </c:pt>
                <c:pt idx="15212">
                  <c:v>-1.5966386554621698E-2</c:v>
                </c:pt>
                <c:pt idx="15213">
                  <c:v>-1.5966386554621698E-2</c:v>
                </c:pt>
                <c:pt idx="15214">
                  <c:v>-1.5966386554621698E-2</c:v>
                </c:pt>
                <c:pt idx="15215">
                  <c:v>-1.5966386554621698E-2</c:v>
                </c:pt>
                <c:pt idx="15216">
                  <c:v>-1.5966386554621698E-2</c:v>
                </c:pt>
                <c:pt idx="15217">
                  <c:v>-1.5966386554621698E-2</c:v>
                </c:pt>
                <c:pt idx="15218">
                  <c:v>-1.5966386554621698E-2</c:v>
                </c:pt>
                <c:pt idx="15219">
                  <c:v>-1.5966386554621698E-2</c:v>
                </c:pt>
                <c:pt idx="15220">
                  <c:v>-1.5966386554621698E-2</c:v>
                </c:pt>
                <c:pt idx="15221">
                  <c:v>-1.6806722689075501E-2</c:v>
                </c:pt>
                <c:pt idx="15222">
                  <c:v>-1.6806722689075501E-2</c:v>
                </c:pt>
                <c:pt idx="15223">
                  <c:v>-1.6806722689075501E-2</c:v>
                </c:pt>
                <c:pt idx="15224">
                  <c:v>-1.5966386554621698E-2</c:v>
                </c:pt>
                <c:pt idx="15225">
                  <c:v>-1.5966386554621698E-2</c:v>
                </c:pt>
                <c:pt idx="15226">
                  <c:v>-1.5966386554621698E-2</c:v>
                </c:pt>
                <c:pt idx="15227">
                  <c:v>-1.5966386554621698E-2</c:v>
                </c:pt>
                <c:pt idx="15228">
                  <c:v>-1.5966386554621698E-2</c:v>
                </c:pt>
                <c:pt idx="15229">
                  <c:v>-1.5966386554621698E-2</c:v>
                </c:pt>
                <c:pt idx="15230">
                  <c:v>-1.5966386554621698E-2</c:v>
                </c:pt>
                <c:pt idx="15231">
                  <c:v>-1.5966386554621698E-2</c:v>
                </c:pt>
                <c:pt idx="15232">
                  <c:v>-1.5966386554621698E-2</c:v>
                </c:pt>
                <c:pt idx="15233">
                  <c:v>-1.5966386554621698E-2</c:v>
                </c:pt>
                <c:pt idx="15234">
                  <c:v>-1.5966386554621698E-2</c:v>
                </c:pt>
                <c:pt idx="15235">
                  <c:v>-1.5966386554621698E-2</c:v>
                </c:pt>
                <c:pt idx="15236">
                  <c:v>-1.5966386554621698E-2</c:v>
                </c:pt>
                <c:pt idx="15237">
                  <c:v>-1.5966386554621698E-2</c:v>
                </c:pt>
                <c:pt idx="15238">
                  <c:v>-1.5966386554621698E-2</c:v>
                </c:pt>
                <c:pt idx="15239">
                  <c:v>-1.5966386554621698E-2</c:v>
                </c:pt>
                <c:pt idx="15240">
                  <c:v>-1.5966386554621698E-2</c:v>
                </c:pt>
                <c:pt idx="15241">
                  <c:v>-1.5966386554621698E-2</c:v>
                </c:pt>
                <c:pt idx="15242">
                  <c:v>-1.5966386554621698E-2</c:v>
                </c:pt>
                <c:pt idx="15243">
                  <c:v>-1.6806722689075501E-2</c:v>
                </c:pt>
                <c:pt idx="15244">
                  <c:v>-1.6806722689075501E-2</c:v>
                </c:pt>
                <c:pt idx="15245">
                  <c:v>-1.6806722689075501E-2</c:v>
                </c:pt>
                <c:pt idx="15246">
                  <c:v>-1.6806722689075501E-2</c:v>
                </c:pt>
                <c:pt idx="15247">
                  <c:v>-1.6806722689075501E-2</c:v>
                </c:pt>
                <c:pt idx="15248">
                  <c:v>-1.6806722689075501E-2</c:v>
                </c:pt>
                <c:pt idx="15249">
                  <c:v>-1.6806722689075501E-2</c:v>
                </c:pt>
                <c:pt idx="15250">
                  <c:v>-1.6806722689075501E-2</c:v>
                </c:pt>
                <c:pt idx="15251">
                  <c:v>-1.6806722689075501E-2</c:v>
                </c:pt>
                <c:pt idx="15252">
                  <c:v>-1.6806722689075501E-2</c:v>
                </c:pt>
                <c:pt idx="15253">
                  <c:v>-1.6806722689075501E-2</c:v>
                </c:pt>
                <c:pt idx="15254">
                  <c:v>-1.6806722689075501E-2</c:v>
                </c:pt>
                <c:pt idx="15255">
                  <c:v>-1.6806722689075501E-2</c:v>
                </c:pt>
                <c:pt idx="15256">
                  <c:v>-1.6806722689075501E-2</c:v>
                </c:pt>
                <c:pt idx="15257">
                  <c:v>-1.6806722689075501E-2</c:v>
                </c:pt>
                <c:pt idx="15258">
                  <c:v>-1.6806722689075501E-2</c:v>
                </c:pt>
                <c:pt idx="15259">
                  <c:v>-1.6806722689075501E-2</c:v>
                </c:pt>
                <c:pt idx="15260">
                  <c:v>-1.6806722689075501E-2</c:v>
                </c:pt>
                <c:pt idx="15261">
                  <c:v>-1.6806722689075501E-2</c:v>
                </c:pt>
                <c:pt idx="15262">
                  <c:v>-1.6806722689075501E-2</c:v>
                </c:pt>
                <c:pt idx="15263">
                  <c:v>-1.6806722689075501E-2</c:v>
                </c:pt>
                <c:pt idx="15264">
                  <c:v>-1.6806722689075501E-2</c:v>
                </c:pt>
                <c:pt idx="15265">
                  <c:v>-1.6806722689075501E-2</c:v>
                </c:pt>
                <c:pt idx="15266">
                  <c:v>-1.6806722689075501E-2</c:v>
                </c:pt>
                <c:pt idx="15267">
                  <c:v>-1.6806722689075501E-2</c:v>
                </c:pt>
                <c:pt idx="15268">
                  <c:v>-1.6806722689075501E-2</c:v>
                </c:pt>
                <c:pt idx="15269">
                  <c:v>-1.6806722689075501E-2</c:v>
                </c:pt>
                <c:pt idx="15270">
                  <c:v>-1.6806722689075501E-2</c:v>
                </c:pt>
                <c:pt idx="15271">
                  <c:v>-1.5966386554621698E-2</c:v>
                </c:pt>
                <c:pt idx="15272">
                  <c:v>-1.5966386554621698E-2</c:v>
                </c:pt>
                <c:pt idx="15273">
                  <c:v>-1.5966386554621698E-2</c:v>
                </c:pt>
                <c:pt idx="15274">
                  <c:v>-1.5966386554621698E-2</c:v>
                </c:pt>
                <c:pt idx="15275">
                  <c:v>-1.5966386554621698E-2</c:v>
                </c:pt>
                <c:pt idx="15276">
                  <c:v>-1.5966386554621698E-2</c:v>
                </c:pt>
                <c:pt idx="15277">
                  <c:v>-1.5966386554621698E-2</c:v>
                </c:pt>
                <c:pt idx="15278">
                  <c:v>-1.5966386554621698E-2</c:v>
                </c:pt>
                <c:pt idx="15279">
                  <c:v>-1.5966386554621698E-2</c:v>
                </c:pt>
                <c:pt idx="15280">
                  <c:v>-1.5966386554621698E-2</c:v>
                </c:pt>
                <c:pt idx="15281">
                  <c:v>-1.5966386554621698E-2</c:v>
                </c:pt>
                <c:pt idx="15282">
                  <c:v>-1.5126050420168E-2</c:v>
                </c:pt>
                <c:pt idx="15283">
                  <c:v>-1.42857142857142E-2</c:v>
                </c:pt>
                <c:pt idx="15284">
                  <c:v>-1.42857142857142E-2</c:v>
                </c:pt>
                <c:pt idx="15285">
                  <c:v>-1.42857142857142E-2</c:v>
                </c:pt>
                <c:pt idx="15286">
                  <c:v>-1.42857142857142E-2</c:v>
                </c:pt>
                <c:pt idx="15287">
                  <c:v>-1.42857142857142E-2</c:v>
                </c:pt>
                <c:pt idx="15288">
                  <c:v>-1.42857142857142E-2</c:v>
                </c:pt>
                <c:pt idx="15289">
                  <c:v>-1.42857142857142E-2</c:v>
                </c:pt>
                <c:pt idx="15290">
                  <c:v>-1.42857142857142E-2</c:v>
                </c:pt>
                <c:pt idx="15291">
                  <c:v>-1.42857142857142E-2</c:v>
                </c:pt>
                <c:pt idx="15292">
                  <c:v>-1.42857142857142E-2</c:v>
                </c:pt>
                <c:pt idx="15293">
                  <c:v>-1.42857142857142E-2</c:v>
                </c:pt>
                <c:pt idx="15294">
                  <c:v>-1.42857142857142E-2</c:v>
                </c:pt>
                <c:pt idx="15295">
                  <c:v>-1.42857142857142E-2</c:v>
                </c:pt>
                <c:pt idx="15296">
                  <c:v>-1.42857142857142E-2</c:v>
                </c:pt>
                <c:pt idx="15297">
                  <c:v>-1.42857142857142E-2</c:v>
                </c:pt>
                <c:pt idx="15298">
                  <c:v>-1.42857142857142E-2</c:v>
                </c:pt>
                <c:pt idx="15299">
                  <c:v>-1.42857142857142E-2</c:v>
                </c:pt>
                <c:pt idx="15300">
                  <c:v>-1.42857142857142E-2</c:v>
                </c:pt>
                <c:pt idx="15301">
                  <c:v>-1.42857142857142E-2</c:v>
                </c:pt>
                <c:pt idx="15302">
                  <c:v>-1.42857142857142E-2</c:v>
                </c:pt>
                <c:pt idx="15303">
                  <c:v>-1.42857142857142E-2</c:v>
                </c:pt>
                <c:pt idx="15304">
                  <c:v>-1.42857142857142E-2</c:v>
                </c:pt>
                <c:pt idx="15305">
                  <c:v>-1.42857142857142E-2</c:v>
                </c:pt>
                <c:pt idx="15306">
                  <c:v>-1.42857142857142E-2</c:v>
                </c:pt>
                <c:pt idx="15307">
                  <c:v>-1.42857142857142E-2</c:v>
                </c:pt>
                <c:pt idx="15308">
                  <c:v>-1.42857142857142E-2</c:v>
                </c:pt>
                <c:pt idx="15309">
                  <c:v>-1.42857142857142E-2</c:v>
                </c:pt>
                <c:pt idx="15310">
                  <c:v>-1.42857142857142E-2</c:v>
                </c:pt>
                <c:pt idx="15311">
                  <c:v>-1.42857142857142E-2</c:v>
                </c:pt>
                <c:pt idx="15312">
                  <c:v>-1.42857142857142E-2</c:v>
                </c:pt>
                <c:pt idx="15313">
                  <c:v>-1.42857142857142E-2</c:v>
                </c:pt>
                <c:pt idx="15314">
                  <c:v>-1.42857142857142E-2</c:v>
                </c:pt>
                <c:pt idx="15315">
                  <c:v>-1.42857142857142E-2</c:v>
                </c:pt>
                <c:pt idx="15316">
                  <c:v>-1.42857142857142E-2</c:v>
                </c:pt>
                <c:pt idx="15317">
                  <c:v>-1.42857142857142E-2</c:v>
                </c:pt>
                <c:pt idx="15318">
                  <c:v>-1.42857142857142E-2</c:v>
                </c:pt>
                <c:pt idx="15319">
                  <c:v>-1.42857142857142E-2</c:v>
                </c:pt>
                <c:pt idx="15320">
                  <c:v>-1.42857142857142E-2</c:v>
                </c:pt>
                <c:pt idx="15321">
                  <c:v>-1.42857142857142E-2</c:v>
                </c:pt>
                <c:pt idx="15322">
                  <c:v>-1.42857142857142E-2</c:v>
                </c:pt>
                <c:pt idx="15323">
                  <c:v>-1.42857142857142E-2</c:v>
                </c:pt>
                <c:pt idx="15324">
                  <c:v>-1.42857142857142E-2</c:v>
                </c:pt>
                <c:pt idx="15325">
                  <c:v>-1.42857142857142E-2</c:v>
                </c:pt>
                <c:pt idx="15326">
                  <c:v>-1.42857142857142E-2</c:v>
                </c:pt>
                <c:pt idx="15327">
                  <c:v>-1.42857142857142E-2</c:v>
                </c:pt>
                <c:pt idx="15328">
                  <c:v>-1.42857142857142E-2</c:v>
                </c:pt>
                <c:pt idx="15329">
                  <c:v>-1.5126050420168E-2</c:v>
                </c:pt>
                <c:pt idx="15330">
                  <c:v>-1.5126050420168E-2</c:v>
                </c:pt>
                <c:pt idx="15331">
                  <c:v>-1.5126050420168E-2</c:v>
                </c:pt>
                <c:pt idx="15332">
                  <c:v>-1.5126050420168E-2</c:v>
                </c:pt>
                <c:pt idx="15333">
                  <c:v>-1.5966386554621698E-2</c:v>
                </c:pt>
                <c:pt idx="15334">
                  <c:v>-1.5966386554621698E-2</c:v>
                </c:pt>
                <c:pt idx="15335">
                  <c:v>-1.5966386554621698E-2</c:v>
                </c:pt>
                <c:pt idx="15336">
                  <c:v>-1.5966386554621698E-2</c:v>
                </c:pt>
                <c:pt idx="15337">
                  <c:v>-1.5966386554621698E-2</c:v>
                </c:pt>
                <c:pt idx="15338">
                  <c:v>-1.5966386554621698E-2</c:v>
                </c:pt>
                <c:pt idx="15339">
                  <c:v>-1.5966386554621698E-2</c:v>
                </c:pt>
                <c:pt idx="15340">
                  <c:v>-1.5966386554621698E-2</c:v>
                </c:pt>
                <c:pt idx="15341">
                  <c:v>-1.5966386554621698E-2</c:v>
                </c:pt>
                <c:pt idx="15342">
                  <c:v>-1.5966386554621698E-2</c:v>
                </c:pt>
                <c:pt idx="15343">
                  <c:v>-1.5966386554621698E-2</c:v>
                </c:pt>
                <c:pt idx="15344">
                  <c:v>-1.5966386554621698E-2</c:v>
                </c:pt>
                <c:pt idx="15345">
                  <c:v>-1.5966386554621698E-2</c:v>
                </c:pt>
                <c:pt idx="15346">
                  <c:v>-1.5966386554621698E-2</c:v>
                </c:pt>
                <c:pt idx="15347">
                  <c:v>-1.5966386554621698E-2</c:v>
                </c:pt>
                <c:pt idx="15348">
                  <c:v>-1.5966386554621698E-2</c:v>
                </c:pt>
                <c:pt idx="15349">
                  <c:v>-1.5966386554621698E-2</c:v>
                </c:pt>
                <c:pt idx="15350">
                  <c:v>-1.5966386554621698E-2</c:v>
                </c:pt>
                <c:pt idx="15351">
                  <c:v>-1.5966386554621698E-2</c:v>
                </c:pt>
                <c:pt idx="15352">
                  <c:v>-1.5966386554621698E-2</c:v>
                </c:pt>
                <c:pt idx="15353">
                  <c:v>-1.5966386554621698E-2</c:v>
                </c:pt>
                <c:pt idx="15354">
                  <c:v>-1.5966386554621698E-2</c:v>
                </c:pt>
                <c:pt idx="15355">
                  <c:v>-1.5966386554621698E-2</c:v>
                </c:pt>
                <c:pt idx="15356">
                  <c:v>-1.5966386554621698E-2</c:v>
                </c:pt>
                <c:pt idx="15357">
                  <c:v>-1.5966386554621698E-2</c:v>
                </c:pt>
                <c:pt idx="15358">
                  <c:v>-1.5966386554621698E-2</c:v>
                </c:pt>
                <c:pt idx="15359">
                  <c:v>-1.5966386554621698E-2</c:v>
                </c:pt>
                <c:pt idx="15360">
                  <c:v>-1.5966386554621698E-2</c:v>
                </c:pt>
                <c:pt idx="15361">
                  <c:v>-1.5966386554621698E-2</c:v>
                </c:pt>
                <c:pt idx="15362">
                  <c:v>-1.5126050420168E-2</c:v>
                </c:pt>
                <c:pt idx="15363">
                  <c:v>-1.5126050420168E-2</c:v>
                </c:pt>
                <c:pt idx="15364">
                  <c:v>-1.5126050420168E-2</c:v>
                </c:pt>
                <c:pt idx="15365">
                  <c:v>-1.5126050420168E-2</c:v>
                </c:pt>
                <c:pt idx="15366">
                  <c:v>-1.5126050420168E-2</c:v>
                </c:pt>
                <c:pt idx="15367">
                  <c:v>-1.5126050420168E-2</c:v>
                </c:pt>
                <c:pt idx="15368">
                  <c:v>-1.5126050420168E-2</c:v>
                </c:pt>
                <c:pt idx="15369">
                  <c:v>-1.5126050420168E-2</c:v>
                </c:pt>
                <c:pt idx="15370">
                  <c:v>-1.5126050420168E-2</c:v>
                </c:pt>
                <c:pt idx="15371">
                  <c:v>-1.5126050420168E-2</c:v>
                </c:pt>
                <c:pt idx="15372">
                  <c:v>-1.5126050420168E-2</c:v>
                </c:pt>
                <c:pt idx="15373">
                  <c:v>-1.5126050420168E-2</c:v>
                </c:pt>
                <c:pt idx="15374">
                  <c:v>-1.5126050420168E-2</c:v>
                </c:pt>
                <c:pt idx="15375">
                  <c:v>-1.5126050420168E-2</c:v>
                </c:pt>
                <c:pt idx="15376">
                  <c:v>-1.5126050420168E-2</c:v>
                </c:pt>
                <c:pt idx="15377">
                  <c:v>-1.5126050420168E-2</c:v>
                </c:pt>
                <c:pt idx="15378">
                  <c:v>-1.5126050420168E-2</c:v>
                </c:pt>
                <c:pt idx="15379">
                  <c:v>-1.5126050420168E-2</c:v>
                </c:pt>
                <c:pt idx="15380">
                  <c:v>-1.5126050420168E-2</c:v>
                </c:pt>
                <c:pt idx="15381">
                  <c:v>-1.5126050420168E-2</c:v>
                </c:pt>
                <c:pt idx="15382">
                  <c:v>-1.5126050420168E-2</c:v>
                </c:pt>
                <c:pt idx="15383">
                  <c:v>-1.5126050420168E-2</c:v>
                </c:pt>
                <c:pt idx="15384">
                  <c:v>-1.5126050420168E-2</c:v>
                </c:pt>
                <c:pt idx="15385">
                  <c:v>-1.5126050420168E-2</c:v>
                </c:pt>
                <c:pt idx="15386">
                  <c:v>-1.5126050420168E-2</c:v>
                </c:pt>
                <c:pt idx="15387">
                  <c:v>-1.5126050420168E-2</c:v>
                </c:pt>
                <c:pt idx="15388">
                  <c:v>-1.5126050420168E-2</c:v>
                </c:pt>
                <c:pt idx="15389">
                  <c:v>-1.5966386554621698E-2</c:v>
                </c:pt>
                <c:pt idx="15390">
                  <c:v>-1.5966386554621698E-2</c:v>
                </c:pt>
                <c:pt idx="15391">
                  <c:v>-1.5966386554621698E-2</c:v>
                </c:pt>
                <c:pt idx="15392">
                  <c:v>-1.5966386554621698E-2</c:v>
                </c:pt>
                <c:pt idx="15393">
                  <c:v>-1.5966386554621698E-2</c:v>
                </c:pt>
                <c:pt idx="15394">
                  <c:v>-1.5966386554621698E-2</c:v>
                </c:pt>
                <c:pt idx="15395">
                  <c:v>-1.5966386554621698E-2</c:v>
                </c:pt>
                <c:pt idx="15396">
                  <c:v>-1.5966386554621698E-2</c:v>
                </c:pt>
                <c:pt idx="15397">
                  <c:v>-1.5966386554621698E-2</c:v>
                </c:pt>
                <c:pt idx="15398">
                  <c:v>-1.5966386554621698E-2</c:v>
                </c:pt>
                <c:pt idx="15399">
                  <c:v>-1.5966386554621698E-2</c:v>
                </c:pt>
                <c:pt idx="15400">
                  <c:v>-1.5966386554621698E-2</c:v>
                </c:pt>
                <c:pt idx="15401">
                  <c:v>-1.5966386554621698E-2</c:v>
                </c:pt>
                <c:pt idx="15402">
                  <c:v>-1.5966386554621698E-2</c:v>
                </c:pt>
                <c:pt idx="15403">
                  <c:v>-1.5966386554621698E-2</c:v>
                </c:pt>
                <c:pt idx="15404">
                  <c:v>-1.5966386554621698E-2</c:v>
                </c:pt>
                <c:pt idx="15405">
                  <c:v>-1.5966386554621698E-2</c:v>
                </c:pt>
                <c:pt idx="15406">
                  <c:v>-1.5966386554621698E-2</c:v>
                </c:pt>
                <c:pt idx="15407">
                  <c:v>-1.5966386554621698E-2</c:v>
                </c:pt>
                <c:pt idx="15408">
                  <c:v>-1.5966386554621698E-2</c:v>
                </c:pt>
                <c:pt idx="15409">
                  <c:v>-1.5966386554621698E-2</c:v>
                </c:pt>
                <c:pt idx="15410">
                  <c:v>-1.5966386554621698E-2</c:v>
                </c:pt>
                <c:pt idx="15411">
                  <c:v>-1.5966386554621698E-2</c:v>
                </c:pt>
                <c:pt idx="15412">
                  <c:v>-1.5966386554621698E-2</c:v>
                </c:pt>
                <c:pt idx="15413">
                  <c:v>-1.5966386554621698E-2</c:v>
                </c:pt>
                <c:pt idx="15414">
                  <c:v>-1.5966386554621698E-2</c:v>
                </c:pt>
                <c:pt idx="15415">
                  <c:v>-1.5966386554621698E-2</c:v>
                </c:pt>
                <c:pt idx="15416">
                  <c:v>-1.5966386554621698E-2</c:v>
                </c:pt>
                <c:pt idx="15417">
                  <c:v>-1.5966386554621698E-2</c:v>
                </c:pt>
                <c:pt idx="15418">
                  <c:v>-1.5966386554621698E-2</c:v>
                </c:pt>
                <c:pt idx="15419">
                  <c:v>-1.5966386554621698E-2</c:v>
                </c:pt>
                <c:pt idx="15420">
                  <c:v>-1.5966386554621698E-2</c:v>
                </c:pt>
                <c:pt idx="15421">
                  <c:v>-1.5966386554621698E-2</c:v>
                </c:pt>
                <c:pt idx="15422">
                  <c:v>-1.5966386554621698E-2</c:v>
                </c:pt>
                <c:pt idx="15423">
                  <c:v>-1.5966386554621698E-2</c:v>
                </c:pt>
                <c:pt idx="15424">
                  <c:v>-1.5966386554621698E-2</c:v>
                </c:pt>
                <c:pt idx="15425">
                  <c:v>-1.5966386554621698E-2</c:v>
                </c:pt>
                <c:pt idx="15426">
                  <c:v>-1.5966386554621698E-2</c:v>
                </c:pt>
                <c:pt idx="15427">
                  <c:v>-1.5966386554621698E-2</c:v>
                </c:pt>
                <c:pt idx="15428">
                  <c:v>-1.5966386554621698E-2</c:v>
                </c:pt>
                <c:pt idx="15429">
                  <c:v>-1.5966386554621698E-2</c:v>
                </c:pt>
                <c:pt idx="15430">
                  <c:v>-1.5966386554621698E-2</c:v>
                </c:pt>
                <c:pt idx="15431">
                  <c:v>-1.5966386554621698E-2</c:v>
                </c:pt>
                <c:pt idx="15432">
                  <c:v>-1.5966386554621698E-2</c:v>
                </c:pt>
                <c:pt idx="15433">
                  <c:v>-1.5966386554621698E-2</c:v>
                </c:pt>
                <c:pt idx="15434">
                  <c:v>-1.5966386554621698E-2</c:v>
                </c:pt>
                <c:pt idx="15435">
                  <c:v>-1.5966386554621698E-2</c:v>
                </c:pt>
                <c:pt idx="15436">
                  <c:v>-1.5966386554621698E-2</c:v>
                </c:pt>
                <c:pt idx="15437">
                  <c:v>-1.5966386554621698E-2</c:v>
                </c:pt>
                <c:pt idx="15438">
                  <c:v>-1.5966386554621698E-2</c:v>
                </c:pt>
                <c:pt idx="15439">
                  <c:v>-1.5966386554621698E-2</c:v>
                </c:pt>
                <c:pt idx="15440">
                  <c:v>-1.5966386554621698E-2</c:v>
                </c:pt>
                <c:pt idx="15441">
                  <c:v>-1.5966386554621698E-2</c:v>
                </c:pt>
                <c:pt idx="15442">
                  <c:v>-1.5966386554621698E-2</c:v>
                </c:pt>
                <c:pt idx="15443">
                  <c:v>-1.5966386554621698E-2</c:v>
                </c:pt>
                <c:pt idx="15444">
                  <c:v>-1.5966386554621698E-2</c:v>
                </c:pt>
                <c:pt idx="15445">
                  <c:v>-1.5966386554621698E-2</c:v>
                </c:pt>
                <c:pt idx="15446">
                  <c:v>-1.5966386554621698E-2</c:v>
                </c:pt>
                <c:pt idx="15447">
                  <c:v>-1.5966386554621698E-2</c:v>
                </c:pt>
                <c:pt idx="15448">
                  <c:v>-1.5966386554621698E-2</c:v>
                </c:pt>
                <c:pt idx="15449">
                  <c:v>-1.5966386554621698E-2</c:v>
                </c:pt>
                <c:pt idx="15450">
                  <c:v>-1.5966386554621698E-2</c:v>
                </c:pt>
                <c:pt idx="15451">
                  <c:v>-1.5966386554621698E-2</c:v>
                </c:pt>
                <c:pt idx="15452">
                  <c:v>-1.5966386554621698E-2</c:v>
                </c:pt>
                <c:pt idx="15453">
                  <c:v>-1.5126050420168E-2</c:v>
                </c:pt>
                <c:pt idx="15454">
                  <c:v>-1.5126050420168E-2</c:v>
                </c:pt>
                <c:pt idx="15455">
                  <c:v>-1.5126050420168E-2</c:v>
                </c:pt>
                <c:pt idx="15456">
                  <c:v>-1.5126050420168E-2</c:v>
                </c:pt>
                <c:pt idx="15457">
                  <c:v>-1.5126050420168E-2</c:v>
                </c:pt>
                <c:pt idx="15458">
                  <c:v>-1.5126050420168E-2</c:v>
                </c:pt>
                <c:pt idx="15459">
                  <c:v>-1.5126050420168E-2</c:v>
                </c:pt>
                <c:pt idx="15460">
                  <c:v>-1.5126050420168E-2</c:v>
                </c:pt>
                <c:pt idx="15461">
                  <c:v>-1.5126050420168E-2</c:v>
                </c:pt>
                <c:pt idx="15462">
                  <c:v>-1.5126050420168E-2</c:v>
                </c:pt>
                <c:pt idx="15463">
                  <c:v>-1.5126050420168E-2</c:v>
                </c:pt>
                <c:pt idx="15464">
                  <c:v>-1.5126050420168E-2</c:v>
                </c:pt>
                <c:pt idx="15465">
                  <c:v>-1.5126050420168E-2</c:v>
                </c:pt>
                <c:pt idx="15466">
                  <c:v>-1.5126050420168E-2</c:v>
                </c:pt>
                <c:pt idx="15467">
                  <c:v>-1.5126050420168E-2</c:v>
                </c:pt>
                <c:pt idx="15468">
                  <c:v>-1.5126050420168E-2</c:v>
                </c:pt>
                <c:pt idx="15469">
                  <c:v>-1.5126050420168E-2</c:v>
                </c:pt>
                <c:pt idx="15470">
                  <c:v>-1.5126050420168E-2</c:v>
                </c:pt>
                <c:pt idx="15471">
                  <c:v>-1.5126050420168E-2</c:v>
                </c:pt>
                <c:pt idx="15472">
                  <c:v>-1.5126050420168E-2</c:v>
                </c:pt>
                <c:pt idx="15473">
                  <c:v>-1.5126050420168E-2</c:v>
                </c:pt>
                <c:pt idx="15474">
                  <c:v>-1.5126050420168E-2</c:v>
                </c:pt>
                <c:pt idx="15475">
                  <c:v>-1.5126050420168E-2</c:v>
                </c:pt>
                <c:pt idx="15476">
                  <c:v>-1.5126050420168E-2</c:v>
                </c:pt>
                <c:pt idx="15477">
                  <c:v>-1.5126050420168E-2</c:v>
                </c:pt>
                <c:pt idx="15478">
                  <c:v>-1.5126050420168E-2</c:v>
                </c:pt>
                <c:pt idx="15479">
                  <c:v>-1.5126050420168E-2</c:v>
                </c:pt>
                <c:pt idx="15480">
                  <c:v>-1.5126050420168E-2</c:v>
                </c:pt>
                <c:pt idx="15481">
                  <c:v>-1.5126050420168E-2</c:v>
                </c:pt>
                <c:pt idx="15482">
                  <c:v>-1.5126050420168E-2</c:v>
                </c:pt>
                <c:pt idx="15483">
                  <c:v>-1.5126050420168E-2</c:v>
                </c:pt>
                <c:pt idx="15484">
                  <c:v>-1.5126050420168E-2</c:v>
                </c:pt>
                <c:pt idx="15485">
                  <c:v>-1.5126050420168E-2</c:v>
                </c:pt>
                <c:pt idx="15486">
                  <c:v>-1.5126050420168E-2</c:v>
                </c:pt>
                <c:pt idx="15487">
                  <c:v>-1.5126050420168E-2</c:v>
                </c:pt>
                <c:pt idx="15488">
                  <c:v>-1.5126050420168E-2</c:v>
                </c:pt>
                <c:pt idx="15489">
                  <c:v>-1.5126050420168E-2</c:v>
                </c:pt>
                <c:pt idx="15490">
                  <c:v>-1.5126050420168E-2</c:v>
                </c:pt>
                <c:pt idx="15491">
                  <c:v>-1.5126050420168E-2</c:v>
                </c:pt>
                <c:pt idx="15492">
                  <c:v>-1.5126050420168E-2</c:v>
                </c:pt>
                <c:pt idx="15493">
                  <c:v>-1.5126050420168E-2</c:v>
                </c:pt>
                <c:pt idx="15494">
                  <c:v>-1.5126050420168E-2</c:v>
                </c:pt>
                <c:pt idx="15495">
                  <c:v>-1.5126050420168E-2</c:v>
                </c:pt>
                <c:pt idx="15496">
                  <c:v>-1.5126050420168E-2</c:v>
                </c:pt>
                <c:pt idx="15497">
                  <c:v>-1.5966386554621698E-2</c:v>
                </c:pt>
                <c:pt idx="15498">
                  <c:v>-1.5966386554621698E-2</c:v>
                </c:pt>
                <c:pt idx="15499">
                  <c:v>-1.5966386554621698E-2</c:v>
                </c:pt>
                <c:pt idx="15500">
                  <c:v>-1.5966386554621698E-2</c:v>
                </c:pt>
                <c:pt idx="15501">
                  <c:v>-1.5966386554621698E-2</c:v>
                </c:pt>
                <c:pt idx="15502">
                  <c:v>-1.5966386554621698E-2</c:v>
                </c:pt>
                <c:pt idx="15503">
                  <c:v>-1.5966386554621698E-2</c:v>
                </c:pt>
                <c:pt idx="15504">
                  <c:v>-1.6806722689075501E-2</c:v>
                </c:pt>
                <c:pt idx="15505">
                  <c:v>-1.6806722689075501E-2</c:v>
                </c:pt>
                <c:pt idx="15506">
                  <c:v>-1.6806722689075501E-2</c:v>
                </c:pt>
                <c:pt idx="15507">
                  <c:v>-1.6806722689075501E-2</c:v>
                </c:pt>
                <c:pt idx="15508">
                  <c:v>-1.6806722689075501E-2</c:v>
                </c:pt>
                <c:pt idx="15509">
                  <c:v>-1.6806722689075501E-2</c:v>
                </c:pt>
                <c:pt idx="15510">
                  <c:v>-1.6806722689075501E-2</c:v>
                </c:pt>
                <c:pt idx="15511">
                  <c:v>-1.6806722689075501E-2</c:v>
                </c:pt>
                <c:pt idx="15512">
                  <c:v>-1.6806722689075501E-2</c:v>
                </c:pt>
                <c:pt idx="15513">
                  <c:v>-1.76470588235293E-2</c:v>
                </c:pt>
                <c:pt idx="15514">
                  <c:v>-1.76470588235293E-2</c:v>
                </c:pt>
                <c:pt idx="15515">
                  <c:v>-1.76470588235293E-2</c:v>
                </c:pt>
                <c:pt idx="15516">
                  <c:v>-1.76470588235293E-2</c:v>
                </c:pt>
                <c:pt idx="15517">
                  <c:v>-1.76470588235293E-2</c:v>
                </c:pt>
                <c:pt idx="15518">
                  <c:v>-1.76470588235293E-2</c:v>
                </c:pt>
                <c:pt idx="15519">
                  <c:v>-1.76470588235293E-2</c:v>
                </c:pt>
                <c:pt idx="15520">
                  <c:v>-1.76470588235293E-2</c:v>
                </c:pt>
                <c:pt idx="15521">
                  <c:v>-1.76470588235293E-2</c:v>
                </c:pt>
                <c:pt idx="15522">
                  <c:v>-1.76470588235293E-2</c:v>
                </c:pt>
                <c:pt idx="15523">
                  <c:v>-1.76470588235293E-2</c:v>
                </c:pt>
                <c:pt idx="15524">
                  <c:v>-1.76470588235293E-2</c:v>
                </c:pt>
                <c:pt idx="15525">
                  <c:v>-1.76470588235293E-2</c:v>
                </c:pt>
                <c:pt idx="15526">
                  <c:v>-1.76470588235293E-2</c:v>
                </c:pt>
                <c:pt idx="15527">
                  <c:v>-1.76470588235293E-2</c:v>
                </c:pt>
                <c:pt idx="15528">
                  <c:v>-1.76470588235293E-2</c:v>
                </c:pt>
                <c:pt idx="15529">
                  <c:v>-1.76470588235293E-2</c:v>
                </c:pt>
                <c:pt idx="15530">
                  <c:v>-1.76470588235293E-2</c:v>
                </c:pt>
                <c:pt idx="15531">
                  <c:v>-1.76470588235293E-2</c:v>
                </c:pt>
                <c:pt idx="15532">
                  <c:v>-1.76470588235293E-2</c:v>
                </c:pt>
                <c:pt idx="15533">
                  <c:v>-1.76470588235293E-2</c:v>
                </c:pt>
                <c:pt idx="15534">
                  <c:v>-1.76470588235293E-2</c:v>
                </c:pt>
                <c:pt idx="15535">
                  <c:v>-1.76470588235293E-2</c:v>
                </c:pt>
                <c:pt idx="15536">
                  <c:v>-1.76470588235293E-2</c:v>
                </c:pt>
                <c:pt idx="15537">
                  <c:v>-1.76470588235293E-2</c:v>
                </c:pt>
                <c:pt idx="15538">
                  <c:v>-1.76470588235293E-2</c:v>
                </c:pt>
                <c:pt idx="15539">
                  <c:v>-1.76470588235293E-2</c:v>
                </c:pt>
                <c:pt idx="15540">
                  <c:v>-1.76470588235293E-2</c:v>
                </c:pt>
                <c:pt idx="15541">
                  <c:v>-1.76470588235293E-2</c:v>
                </c:pt>
                <c:pt idx="15542">
                  <c:v>-1.76470588235293E-2</c:v>
                </c:pt>
                <c:pt idx="15543">
                  <c:v>-1.76470588235293E-2</c:v>
                </c:pt>
                <c:pt idx="15544">
                  <c:v>-1.76470588235293E-2</c:v>
                </c:pt>
                <c:pt idx="15545">
                  <c:v>-1.76470588235293E-2</c:v>
                </c:pt>
                <c:pt idx="15546">
                  <c:v>-1.76470588235293E-2</c:v>
                </c:pt>
                <c:pt idx="15547">
                  <c:v>-1.76470588235293E-2</c:v>
                </c:pt>
                <c:pt idx="15548">
                  <c:v>-1.76470588235293E-2</c:v>
                </c:pt>
                <c:pt idx="15549">
                  <c:v>-1.6806722689075501E-2</c:v>
                </c:pt>
                <c:pt idx="15550">
                  <c:v>-1.6806722689075501E-2</c:v>
                </c:pt>
                <c:pt idx="15551">
                  <c:v>-1.6806722689075501E-2</c:v>
                </c:pt>
                <c:pt idx="15552">
                  <c:v>-1.6806722689075501E-2</c:v>
                </c:pt>
                <c:pt idx="15553">
                  <c:v>-1.6806722689075501E-2</c:v>
                </c:pt>
                <c:pt idx="15554">
                  <c:v>-1.6806722689075501E-2</c:v>
                </c:pt>
                <c:pt idx="15555">
                  <c:v>-1.6806722689075501E-2</c:v>
                </c:pt>
                <c:pt idx="15556">
                  <c:v>-1.6806722689075501E-2</c:v>
                </c:pt>
                <c:pt idx="15557">
                  <c:v>-1.6806722689075501E-2</c:v>
                </c:pt>
                <c:pt idx="15558">
                  <c:v>-1.6806722689075501E-2</c:v>
                </c:pt>
                <c:pt idx="15559">
                  <c:v>-1.6806722689075501E-2</c:v>
                </c:pt>
                <c:pt idx="15560">
                  <c:v>-1.6806722689075501E-2</c:v>
                </c:pt>
                <c:pt idx="15561">
                  <c:v>-1.6806722689075501E-2</c:v>
                </c:pt>
                <c:pt idx="15562">
                  <c:v>-1.6806722689075501E-2</c:v>
                </c:pt>
                <c:pt idx="15563">
                  <c:v>-1.6806722689075501E-2</c:v>
                </c:pt>
                <c:pt idx="15564">
                  <c:v>-1.6806722689075501E-2</c:v>
                </c:pt>
                <c:pt idx="15565">
                  <c:v>-1.6806722689075501E-2</c:v>
                </c:pt>
                <c:pt idx="15566">
                  <c:v>-1.6806722689075501E-2</c:v>
                </c:pt>
                <c:pt idx="15567">
                  <c:v>-1.6806722689075501E-2</c:v>
                </c:pt>
                <c:pt idx="15568">
                  <c:v>-1.6806722689075501E-2</c:v>
                </c:pt>
                <c:pt idx="15569">
                  <c:v>-1.6806722689075501E-2</c:v>
                </c:pt>
                <c:pt idx="15570">
                  <c:v>-1.6806722689075501E-2</c:v>
                </c:pt>
                <c:pt idx="15571">
                  <c:v>-1.6806722689075501E-2</c:v>
                </c:pt>
                <c:pt idx="15572">
                  <c:v>-1.6806722689075501E-2</c:v>
                </c:pt>
                <c:pt idx="15573">
                  <c:v>-1.6806722689075501E-2</c:v>
                </c:pt>
                <c:pt idx="15574">
                  <c:v>-1.6806722689075501E-2</c:v>
                </c:pt>
                <c:pt idx="15575">
                  <c:v>-1.6806722689075501E-2</c:v>
                </c:pt>
                <c:pt idx="15576">
                  <c:v>-1.6806722689075501E-2</c:v>
                </c:pt>
                <c:pt idx="15577">
                  <c:v>-1.6806722689075501E-2</c:v>
                </c:pt>
                <c:pt idx="15578">
                  <c:v>-1.6806722689075501E-2</c:v>
                </c:pt>
                <c:pt idx="15579">
                  <c:v>-1.6806722689075501E-2</c:v>
                </c:pt>
                <c:pt idx="15580">
                  <c:v>-1.76470588235293E-2</c:v>
                </c:pt>
                <c:pt idx="15581">
                  <c:v>-1.76470588235293E-2</c:v>
                </c:pt>
                <c:pt idx="15582">
                  <c:v>-1.76470588235293E-2</c:v>
                </c:pt>
                <c:pt idx="15583">
                  <c:v>-1.76470588235293E-2</c:v>
                </c:pt>
                <c:pt idx="15584">
                  <c:v>-1.76470588235293E-2</c:v>
                </c:pt>
                <c:pt idx="15585">
                  <c:v>-1.76470588235293E-2</c:v>
                </c:pt>
                <c:pt idx="15586">
                  <c:v>-1.76470588235293E-2</c:v>
                </c:pt>
                <c:pt idx="15587">
                  <c:v>-1.76470588235293E-2</c:v>
                </c:pt>
                <c:pt idx="15588">
                  <c:v>-1.76470588235293E-2</c:v>
                </c:pt>
                <c:pt idx="15589">
                  <c:v>-1.76470588235293E-2</c:v>
                </c:pt>
                <c:pt idx="15590">
                  <c:v>-1.76470588235293E-2</c:v>
                </c:pt>
                <c:pt idx="15591">
                  <c:v>-1.76470588235293E-2</c:v>
                </c:pt>
                <c:pt idx="15592">
                  <c:v>-1.76470588235293E-2</c:v>
                </c:pt>
                <c:pt idx="15593">
                  <c:v>-1.76470588235293E-2</c:v>
                </c:pt>
                <c:pt idx="15594">
                  <c:v>-1.76470588235293E-2</c:v>
                </c:pt>
                <c:pt idx="15595">
                  <c:v>-1.76470588235293E-2</c:v>
                </c:pt>
                <c:pt idx="15596">
                  <c:v>-1.76470588235293E-2</c:v>
                </c:pt>
                <c:pt idx="15597">
                  <c:v>-1.76470588235293E-2</c:v>
                </c:pt>
                <c:pt idx="15598">
                  <c:v>-1.76470588235293E-2</c:v>
                </c:pt>
                <c:pt idx="15599">
                  <c:v>-1.76470588235293E-2</c:v>
                </c:pt>
                <c:pt idx="15600">
                  <c:v>-1.76470588235293E-2</c:v>
                </c:pt>
                <c:pt idx="15601">
                  <c:v>-1.76470588235293E-2</c:v>
                </c:pt>
                <c:pt idx="15602">
                  <c:v>-1.76470588235293E-2</c:v>
                </c:pt>
                <c:pt idx="15603">
                  <c:v>-1.76470588235293E-2</c:v>
                </c:pt>
                <c:pt idx="15604">
                  <c:v>-1.76470588235293E-2</c:v>
                </c:pt>
                <c:pt idx="15605">
                  <c:v>-1.6806722689075501E-2</c:v>
                </c:pt>
                <c:pt idx="15606">
                  <c:v>-1.6806722689075501E-2</c:v>
                </c:pt>
                <c:pt idx="15607">
                  <c:v>-1.6806722689075501E-2</c:v>
                </c:pt>
                <c:pt idx="15608">
                  <c:v>-1.6806722689075501E-2</c:v>
                </c:pt>
                <c:pt idx="15609">
                  <c:v>-1.76470588235293E-2</c:v>
                </c:pt>
                <c:pt idx="15610">
                  <c:v>-1.76470588235293E-2</c:v>
                </c:pt>
                <c:pt idx="15611">
                  <c:v>-1.76470588235293E-2</c:v>
                </c:pt>
                <c:pt idx="15612">
                  <c:v>-1.76470588235293E-2</c:v>
                </c:pt>
                <c:pt idx="15613">
                  <c:v>-1.76470588235293E-2</c:v>
                </c:pt>
                <c:pt idx="15614">
                  <c:v>-1.76470588235293E-2</c:v>
                </c:pt>
                <c:pt idx="15615">
                  <c:v>-1.76470588235293E-2</c:v>
                </c:pt>
                <c:pt idx="15616">
                  <c:v>-1.76470588235293E-2</c:v>
                </c:pt>
                <c:pt idx="15617">
                  <c:v>-1.76470588235293E-2</c:v>
                </c:pt>
                <c:pt idx="15618">
                  <c:v>-1.76470588235293E-2</c:v>
                </c:pt>
                <c:pt idx="15619">
                  <c:v>-1.76470588235293E-2</c:v>
                </c:pt>
                <c:pt idx="15620">
                  <c:v>-1.76470588235293E-2</c:v>
                </c:pt>
                <c:pt idx="15621">
                  <c:v>-1.76470588235293E-2</c:v>
                </c:pt>
                <c:pt idx="15622">
                  <c:v>-1.76470588235293E-2</c:v>
                </c:pt>
                <c:pt idx="15623">
                  <c:v>-1.76470588235293E-2</c:v>
                </c:pt>
                <c:pt idx="15624">
                  <c:v>-1.76470588235293E-2</c:v>
                </c:pt>
                <c:pt idx="15625">
                  <c:v>-1.76470588235293E-2</c:v>
                </c:pt>
                <c:pt idx="15626">
                  <c:v>-1.76470588235293E-2</c:v>
                </c:pt>
                <c:pt idx="15627">
                  <c:v>-1.76470588235293E-2</c:v>
                </c:pt>
                <c:pt idx="15628">
                  <c:v>-1.76470588235293E-2</c:v>
                </c:pt>
                <c:pt idx="15629">
                  <c:v>-1.76470588235293E-2</c:v>
                </c:pt>
                <c:pt idx="15630">
                  <c:v>-1.76470588235293E-2</c:v>
                </c:pt>
                <c:pt idx="15631">
                  <c:v>-1.76470588235293E-2</c:v>
                </c:pt>
                <c:pt idx="15632">
                  <c:v>-1.76470588235293E-2</c:v>
                </c:pt>
                <c:pt idx="15633">
                  <c:v>-1.76470588235293E-2</c:v>
                </c:pt>
                <c:pt idx="15634">
                  <c:v>-1.76470588235293E-2</c:v>
                </c:pt>
                <c:pt idx="15635">
                  <c:v>-1.76470588235293E-2</c:v>
                </c:pt>
                <c:pt idx="15636">
                  <c:v>-1.76470588235293E-2</c:v>
                </c:pt>
                <c:pt idx="15637">
                  <c:v>-1.76470588235293E-2</c:v>
                </c:pt>
                <c:pt idx="15638">
                  <c:v>-1.76470588235293E-2</c:v>
                </c:pt>
                <c:pt idx="15639">
                  <c:v>-1.76470588235293E-2</c:v>
                </c:pt>
                <c:pt idx="15640">
                  <c:v>-1.76470588235293E-2</c:v>
                </c:pt>
                <c:pt idx="15641">
                  <c:v>-1.76470588235293E-2</c:v>
                </c:pt>
                <c:pt idx="15642">
                  <c:v>-1.76470588235293E-2</c:v>
                </c:pt>
                <c:pt idx="15643">
                  <c:v>-1.76470588235293E-2</c:v>
                </c:pt>
                <c:pt idx="15644">
                  <c:v>-1.76470588235293E-2</c:v>
                </c:pt>
                <c:pt idx="15645">
                  <c:v>-1.76470588235293E-2</c:v>
                </c:pt>
                <c:pt idx="15646">
                  <c:v>-1.76470588235293E-2</c:v>
                </c:pt>
                <c:pt idx="15647">
                  <c:v>-1.76470588235293E-2</c:v>
                </c:pt>
                <c:pt idx="15648">
                  <c:v>-1.76470588235293E-2</c:v>
                </c:pt>
                <c:pt idx="15649">
                  <c:v>-1.76470588235293E-2</c:v>
                </c:pt>
                <c:pt idx="15650">
                  <c:v>-1.76470588235293E-2</c:v>
                </c:pt>
                <c:pt idx="15651">
                  <c:v>-1.76470588235293E-2</c:v>
                </c:pt>
                <c:pt idx="15652">
                  <c:v>-1.6806722689075501E-2</c:v>
                </c:pt>
                <c:pt idx="15653">
                  <c:v>-1.6806722689075501E-2</c:v>
                </c:pt>
                <c:pt idx="15654">
                  <c:v>-1.6806722689075501E-2</c:v>
                </c:pt>
                <c:pt idx="15655">
                  <c:v>-1.6806722689075501E-2</c:v>
                </c:pt>
                <c:pt idx="15656">
                  <c:v>-1.6806722689075501E-2</c:v>
                </c:pt>
                <c:pt idx="15657">
                  <c:v>-1.6806722689075501E-2</c:v>
                </c:pt>
                <c:pt idx="15658">
                  <c:v>-1.6806722689075501E-2</c:v>
                </c:pt>
                <c:pt idx="15659">
                  <c:v>-1.6806722689075501E-2</c:v>
                </c:pt>
                <c:pt idx="15660">
                  <c:v>-1.6806722689075501E-2</c:v>
                </c:pt>
                <c:pt idx="15661">
                  <c:v>-1.6806722689075501E-2</c:v>
                </c:pt>
                <c:pt idx="15662">
                  <c:v>-1.6806722689075501E-2</c:v>
                </c:pt>
                <c:pt idx="15663">
                  <c:v>-1.6806722689075501E-2</c:v>
                </c:pt>
                <c:pt idx="15664">
                  <c:v>-1.6806722689075501E-2</c:v>
                </c:pt>
                <c:pt idx="15665">
                  <c:v>-1.6806722689075501E-2</c:v>
                </c:pt>
                <c:pt idx="15666">
                  <c:v>-1.6806722689075501E-2</c:v>
                </c:pt>
                <c:pt idx="15667">
                  <c:v>-1.6806722689075501E-2</c:v>
                </c:pt>
                <c:pt idx="15668">
                  <c:v>-1.76470588235293E-2</c:v>
                </c:pt>
                <c:pt idx="15669">
                  <c:v>-1.76470588235293E-2</c:v>
                </c:pt>
                <c:pt idx="15670">
                  <c:v>-1.76470588235293E-2</c:v>
                </c:pt>
                <c:pt idx="15671">
                  <c:v>-1.76470588235293E-2</c:v>
                </c:pt>
                <c:pt idx="15672">
                  <c:v>-1.76470588235293E-2</c:v>
                </c:pt>
                <c:pt idx="15673">
                  <c:v>-1.76470588235293E-2</c:v>
                </c:pt>
                <c:pt idx="15674">
                  <c:v>-1.76470588235293E-2</c:v>
                </c:pt>
                <c:pt idx="15675">
                  <c:v>-1.76470588235293E-2</c:v>
                </c:pt>
                <c:pt idx="15676">
                  <c:v>-1.76470588235293E-2</c:v>
                </c:pt>
                <c:pt idx="15677">
                  <c:v>-1.76470588235293E-2</c:v>
                </c:pt>
                <c:pt idx="15678">
                  <c:v>-1.76470588235293E-2</c:v>
                </c:pt>
                <c:pt idx="15679">
                  <c:v>-1.76470588235293E-2</c:v>
                </c:pt>
                <c:pt idx="15680">
                  <c:v>-1.76470588235293E-2</c:v>
                </c:pt>
                <c:pt idx="15681">
                  <c:v>-1.76470588235293E-2</c:v>
                </c:pt>
                <c:pt idx="15682">
                  <c:v>-1.76470588235293E-2</c:v>
                </c:pt>
                <c:pt idx="15683">
                  <c:v>-1.76470588235293E-2</c:v>
                </c:pt>
                <c:pt idx="15684">
                  <c:v>-1.76470588235293E-2</c:v>
                </c:pt>
                <c:pt idx="15685">
                  <c:v>-1.76470588235293E-2</c:v>
                </c:pt>
                <c:pt idx="15686">
                  <c:v>-1.76470588235293E-2</c:v>
                </c:pt>
                <c:pt idx="15687">
                  <c:v>-1.76470588235293E-2</c:v>
                </c:pt>
                <c:pt idx="15688">
                  <c:v>-1.76470588235293E-2</c:v>
                </c:pt>
                <c:pt idx="15689">
                  <c:v>-1.76470588235293E-2</c:v>
                </c:pt>
                <c:pt idx="15690">
                  <c:v>-1.6806722689075501E-2</c:v>
                </c:pt>
                <c:pt idx="15691">
                  <c:v>-1.6806722689075501E-2</c:v>
                </c:pt>
                <c:pt idx="15692">
                  <c:v>-1.6806722689075501E-2</c:v>
                </c:pt>
                <c:pt idx="15693">
                  <c:v>-1.6806722689075501E-2</c:v>
                </c:pt>
                <c:pt idx="15694">
                  <c:v>-1.6806722689075501E-2</c:v>
                </c:pt>
                <c:pt idx="15695">
                  <c:v>-1.6806722689075501E-2</c:v>
                </c:pt>
                <c:pt idx="15696">
                  <c:v>-1.6806722689075501E-2</c:v>
                </c:pt>
                <c:pt idx="15697">
                  <c:v>-1.6806722689075501E-2</c:v>
                </c:pt>
                <c:pt idx="15698">
                  <c:v>-1.6806722689075501E-2</c:v>
                </c:pt>
                <c:pt idx="15699">
                  <c:v>-1.6806722689075501E-2</c:v>
                </c:pt>
                <c:pt idx="15700">
                  <c:v>-1.6806722689075501E-2</c:v>
                </c:pt>
                <c:pt idx="15701">
                  <c:v>-1.5966386554621698E-2</c:v>
                </c:pt>
                <c:pt idx="15702">
                  <c:v>-1.5966386554621698E-2</c:v>
                </c:pt>
                <c:pt idx="15703">
                  <c:v>-1.5966386554621698E-2</c:v>
                </c:pt>
                <c:pt idx="15704">
                  <c:v>-1.5966386554621698E-2</c:v>
                </c:pt>
                <c:pt idx="15705">
                  <c:v>-1.5966386554621698E-2</c:v>
                </c:pt>
                <c:pt idx="15706">
                  <c:v>-1.5966386554621698E-2</c:v>
                </c:pt>
                <c:pt idx="15707">
                  <c:v>-1.5966386554621698E-2</c:v>
                </c:pt>
                <c:pt idx="15708">
                  <c:v>-1.5966386554621698E-2</c:v>
                </c:pt>
                <c:pt idx="15709">
                  <c:v>-1.5966386554621698E-2</c:v>
                </c:pt>
                <c:pt idx="15710">
                  <c:v>-1.5966386554621698E-2</c:v>
                </c:pt>
                <c:pt idx="15711">
                  <c:v>-1.5966386554621698E-2</c:v>
                </c:pt>
                <c:pt idx="15712">
                  <c:v>-1.5966386554621698E-2</c:v>
                </c:pt>
                <c:pt idx="15713">
                  <c:v>-1.5966386554621698E-2</c:v>
                </c:pt>
                <c:pt idx="15714">
                  <c:v>-1.5966386554621698E-2</c:v>
                </c:pt>
                <c:pt idx="15715">
                  <c:v>-1.5966386554621698E-2</c:v>
                </c:pt>
                <c:pt idx="15716">
                  <c:v>-1.5966386554621698E-2</c:v>
                </c:pt>
                <c:pt idx="15717">
                  <c:v>-1.5966386554621698E-2</c:v>
                </c:pt>
                <c:pt idx="15718">
                  <c:v>-1.5966386554621698E-2</c:v>
                </c:pt>
                <c:pt idx="15719">
                  <c:v>-1.5966386554621698E-2</c:v>
                </c:pt>
                <c:pt idx="15720">
                  <c:v>-1.5966386554621698E-2</c:v>
                </c:pt>
                <c:pt idx="15721">
                  <c:v>-1.5126050420168E-2</c:v>
                </c:pt>
                <c:pt idx="15722">
                  <c:v>-1.5126050420168E-2</c:v>
                </c:pt>
                <c:pt idx="15723">
                  <c:v>-1.5126050420168E-2</c:v>
                </c:pt>
                <c:pt idx="15724">
                  <c:v>-1.5126050420168E-2</c:v>
                </c:pt>
                <c:pt idx="15725">
                  <c:v>-1.5126050420168E-2</c:v>
                </c:pt>
                <c:pt idx="15726">
                  <c:v>-1.5126050420168E-2</c:v>
                </c:pt>
                <c:pt idx="15727">
                  <c:v>-1.5126050420168E-2</c:v>
                </c:pt>
                <c:pt idx="15728">
                  <c:v>-1.5126050420168E-2</c:v>
                </c:pt>
                <c:pt idx="15729">
                  <c:v>-1.5126050420168E-2</c:v>
                </c:pt>
                <c:pt idx="15730">
                  <c:v>-1.5126050420168E-2</c:v>
                </c:pt>
                <c:pt idx="15731">
                  <c:v>-1.5126050420168E-2</c:v>
                </c:pt>
                <c:pt idx="15732">
                  <c:v>-1.5126050420168E-2</c:v>
                </c:pt>
                <c:pt idx="15733">
                  <c:v>-1.5126050420168E-2</c:v>
                </c:pt>
                <c:pt idx="15734">
                  <c:v>-1.5126050420168E-2</c:v>
                </c:pt>
                <c:pt idx="15735">
                  <c:v>-1.5126050420168E-2</c:v>
                </c:pt>
                <c:pt idx="15736">
                  <c:v>-1.5126050420168E-2</c:v>
                </c:pt>
                <c:pt idx="15737">
                  <c:v>-1.5126050420168E-2</c:v>
                </c:pt>
                <c:pt idx="15738">
                  <c:v>-1.5126050420168E-2</c:v>
                </c:pt>
                <c:pt idx="15739">
                  <c:v>-1.5126050420168E-2</c:v>
                </c:pt>
                <c:pt idx="15740">
                  <c:v>-1.5126050420168E-2</c:v>
                </c:pt>
                <c:pt idx="15741">
                  <c:v>-1.5126050420168E-2</c:v>
                </c:pt>
                <c:pt idx="15742">
                  <c:v>-1.5126050420168E-2</c:v>
                </c:pt>
                <c:pt idx="15743">
                  <c:v>-1.5126050420168E-2</c:v>
                </c:pt>
                <c:pt idx="15744">
                  <c:v>-1.5126050420168E-2</c:v>
                </c:pt>
                <c:pt idx="15745">
                  <c:v>-1.5126050420168E-2</c:v>
                </c:pt>
                <c:pt idx="15746">
                  <c:v>-1.5126050420168E-2</c:v>
                </c:pt>
                <c:pt idx="15747">
                  <c:v>-1.5126050420168E-2</c:v>
                </c:pt>
                <c:pt idx="15748">
                  <c:v>-1.5126050420168E-2</c:v>
                </c:pt>
                <c:pt idx="15749">
                  <c:v>-1.5126050420168E-2</c:v>
                </c:pt>
                <c:pt idx="15750">
                  <c:v>-1.5126050420168E-2</c:v>
                </c:pt>
                <c:pt idx="15751">
                  <c:v>-1.5126050420168E-2</c:v>
                </c:pt>
                <c:pt idx="15752">
                  <c:v>-1.5126050420168E-2</c:v>
                </c:pt>
                <c:pt idx="15753">
                  <c:v>-1.5126050420168E-2</c:v>
                </c:pt>
                <c:pt idx="15754">
                  <c:v>-1.5126050420168E-2</c:v>
                </c:pt>
                <c:pt idx="15755">
                  <c:v>-1.5126050420168E-2</c:v>
                </c:pt>
                <c:pt idx="15756">
                  <c:v>-1.5126050420168E-2</c:v>
                </c:pt>
                <c:pt idx="15757">
                  <c:v>-1.5126050420168E-2</c:v>
                </c:pt>
                <c:pt idx="15758">
                  <c:v>-1.5126050420168E-2</c:v>
                </c:pt>
                <c:pt idx="15759">
                  <c:v>-1.5126050420168E-2</c:v>
                </c:pt>
                <c:pt idx="15760">
                  <c:v>-1.5126050420168E-2</c:v>
                </c:pt>
                <c:pt idx="15761">
                  <c:v>-1.5126050420168E-2</c:v>
                </c:pt>
                <c:pt idx="15762">
                  <c:v>-1.5126050420168E-2</c:v>
                </c:pt>
                <c:pt idx="15763">
                  <c:v>-1.5126050420168E-2</c:v>
                </c:pt>
                <c:pt idx="15764">
                  <c:v>-1.5126050420168E-2</c:v>
                </c:pt>
                <c:pt idx="15765">
                  <c:v>-1.5126050420168E-2</c:v>
                </c:pt>
                <c:pt idx="15766">
                  <c:v>-1.5126050420168E-2</c:v>
                </c:pt>
                <c:pt idx="15767">
                  <c:v>-1.5126050420168E-2</c:v>
                </c:pt>
                <c:pt idx="15768">
                  <c:v>-1.5126050420168E-2</c:v>
                </c:pt>
                <c:pt idx="15769">
                  <c:v>-1.5126050420168E-2</c:v>
                </c:pt>
                <c:pt idx="15770">
                  <c:v>-1.5966386554621698E-2</c:v>
                </c:pt>
                <c:pt idx="15771">
                  <c:v>-1.5966386554621698E-2</c:v>
                </c:pt>
                <c:pt idx="15772">
                  <c:v>-1.5966386554621698E-2</c:v>
                </c:pt>
                <c:pt idx="15773">
                  <c:v>-1.5966386554621698E-2</c:v>
                </c:pt>
                <c:pt idx="15774">
                  <c:v>-1.5966386554621698E-2</c:v>
                </c:pt>
                <c:pt idx="15775">
                  <c:v>-1.5966386554621698E-2</c:v>
                </c:pt>
                <c:pt idx="15776">
                  <c:v>-1.5966386554621698E-2</c:v>
                </c:pt>
                <c:pt idx="15777">
                  <c:v>-1.5966386554621698E-2</c:v>
                </c:pt>
                <c:pt idx="15778">
                  <c:v>-1.5966386554621698E-2</c:v>
                </c:pt>
                <c:pt idx="15779">
                  <c:v>-1.5966386554621698E-2</c:v>
                </c:pt>
                <c:pt idx="15780">
                  <c:v>-1.5966386554621698E-2</c:v>
                </c:pt>
                <c:pt idx="15781">
                  <c:v>-1.5966386554621698E-2</c:v>
                </c:pt>
                <c:pt idx="15782">
                  <c:v>-1.5126050420168E-2</c:v>
                </c:pt>
                <c:pt idx="15783">
                  <c:v>-1.5126050420168E-2</c:v>
                </c:pt>
                <c:pt idx="15784">
                  <c:v>-1.5126050420168E-2</c:v>
                </c:pt>
                <c:pt idx="15785">
                  <c:v>-1.5126050420168E-2</c:v>
                </c:pt>
                <c:pt idx="15786">
                  <c:v>-1.5126050420168E-2</c:v>
                </c:pt>
                <c:pt idx="15787">
                  <c:v>-1.5126050420168E-2</c:v>
                </c:pt>
                <c:pt idx="15788">
                  <c:v>-1.5126050420168E-2</c:v>
                </c:pt>
                <c:pt idx="15789">
                  <c:v>-1.5126050420168E-2</c:v>
                </c:pt>
                <c:pt idx="15790">
                  <c:v>-1.5126050420168E-2</c:v>
                </c:pt>
                <c:pt idx="15791">
                  <c:v>-1.5126050420168E-2</c:v>
                </c:pt>
                <c:pt idx="15792">
                  <c:v>-1.5126050420168E-2</c:v>
                </c:pt>
                <c:pt idx="15793">
                  <c:v>-1.5126050420168E-2</c:v>
                </c:pt>
                <c:pt idx="15794">
                  <c:v>-1.5126050420168E-2</c:v>
                </c:pt>
                <c:pt idx="15795">
                  <c:v>-1.5126050420168E-2</c:v>
                </c:pt>
                <c:pt idx="15796">
                  <c:v>-1.5126050420168E-2</c:v>
                </c:pt>
                <c:pt idx="15797">
                  <c:v>-1.5126050420168E-2</c:v>
                </c:pt>
                <c:pt idx="15798">
                  <c:v>-1.5126050420168E-2</c:v>
                </c:pt>
                <c:pt idx="15799">
                  <c:v>-1.5126050420168E-2</c:v>
                </c:pt>
                <c:pt idx="15800">
                  <c:v>-1.5126050420168E-2</c:v>
                </c:pt>
                <c:pt idx="15801">
                  <c:v>-1.5126050420168E-2</c:v>
                </c:pt>
                <c:pt idx="15802">
                  <c:v>-1.5126050420168E-2</c:v>
                </c:pt>
                <c:pt idx="15803">
                  <c:v>-1.5126050420168E-2</c:v>
                </c:pt>
                <c:pt idx="15804">
                  <c:v>-1.5126050420168E-2</c:v>
                </c:pt>
                <c:pt idx="15805">
                  <c:v>-1.5126050420168E-2</c:v>
                </c:pt>
                <c:pt idx="15806">
                  <c:v>-1.5126050420168E-2</c:v>
                </c:pt>
                <c:pt idx="15807">
                  <c:v>-1.5126050420168E-2</c:v>
                </c:pt>
                <c:pt idx="15808">
                  <c:v>-1.5126050420168E-2</c:v>
                </c:pt>
                <c:pt idx="15809">
                  <c:v>-1.5126050420168E-2</c:v>
                </c:pt>
                <c:pt idx="15810">
                  <c:v>-1.5126050420168E-2</c:v>
                </c:pt>
                <c:pt idx="15811">
                  <c:v>-1.5126050420168E-2</c:v>
                </c:pt>
                <c:pt idx="15812">
                  <c:v>-1.5126050420168E-2</c:v>
                </c:pt>
                <c:pt idx="15813">
                  <c:v>-1.5126050420168E-2</c:v>
                </c:pt>
                <c:pt idx="15814">
                  <c:v>-1.5126050420168E-2</c:v>
                </c:pt>
                <c:pt idx="15815">
                  <c:v>-1.5126050420168E-2</c:v>
                </c:pt>
                <c:pt idx="15816">
                  <c:v>-1.5126050420168E-2</c:v>
                </c:pt>
                <c:pt idx="15817">
                  <c:v>-1.5126050420168E-2</c:v>
                </c:pt>
                <c:pt idx="15818">
                  <c:v>-1.5966386554621698E-2</c:v>
                </c:pt>
                <c:pt idx="15819">
                  <c:v>-1.5966386554621698E-2</c:v>
                </c:pt>
                <c:pt idx="15820">
                  <c:v>-1.5966386554621698E-2</c:v>
                </c:pt>
                <c:pt idx="15821">
                  <c:v>-1.5966386554621698E-2</c:v>
                </c:pt>
                <c:pt idx="15822">
                  <c:v>-1.6806722689075598E-2</c:v>
                </c:pt>
                <c:pt idx="15823">
                  <c:v>-1.6806722689075598E-2</c:v>
                </c:pt>
                <c:pt idx="15824">
                  <c:v>-1.6806722689075598E-2</c:v>
                </c:pt>
                <c:pt idx="15825">
                  <c:v>-1.6806722689075598E-2</c:v>
                </c:pt>
                <c:pt idx="15826">
                  <c:v>-1.6806722689075598E-2</c:v>
                </c:pt>
                <c:pt idx="15827">
                  <c:v>-1.6806722689075598E-2</c:v>
                </c:pt>
                <c:pt idx="15828">
                  <c:v>-1.6806722689075598E-2</c:v>
                </c:pt>
                <c:pt idx="15829">
                  <c:v>-1.6806722689075598E-2</c:v>
                </c:pt>
                <c:pt idx="15830">
                  <c:v>-1.6806722689075598E-2</c:v>
                </c:pt>
                <c:pt idx="15831">
                  <c:v>-1.6806722689075598E-2</c:v>
                </c:pt>
                <c:pt idx="15832">
                  <c:v>-1.6806722689075598E-2</c:v>
                </c:pt>
                <c:pt idx="15833">
                  <c:v>-1.6806722689075598E-2</c:v>
                </c:pt>
                <c:pt idx="15834">
                  <c:v>-1.6806722689075598E-2</c:v>
                </c:pt>
                <c:pt idx="15835">
                  <c:v>-1.6806722689075598E-2</c:v>
                </c:pt>
                <c:pt idx="15836">
                  <c:v>-1.6806722689075598E-2</c:v>
                </c:pt>
                <c:pt idx="15837">
                  <c:v>-1.6806722689075598E-2</c:v>
                </c:pt>
                <c:pt idx="15838">
                  <c:v>-1.6806722689075598E-2</c:v>
                </c:pt>
                <c:pt idx="15839">
                  <c:v>-1.6806722689075598E-2</c:v>
                </c:pt>
                <c:pt idx="15840">
                  <c:v>-1.6806722689075598E-2</c:v>
                </c:pt>
                <c:pt idx="15841">
                  <c:v>-1.6806722689075598E-2</c:v>
                </c:pt>
                <c:pt idx="15842">
                  <c:v>-1.6806722689075598E-2</c:v>
                </c:pt>
                <c:pt idx="15843">
                  <c:v>-1.6806722689075598E-2</c:v>
                </c:pt>
                <c:pt idx="15844">
                  <c:v>-1.6806722689075598E-2</c:v>
                </c:pt>
                <c:pt idx="15845">
                  <c:v>-1.6806722689075598E-2</c:v>
                </c:pt>
                <c:pt idx="15846">
                  <c:v>-1.6806722689075598E-2</c:v>
                </c:pt>
                <c:pt idx="15847">
                  <c:v>-1.7647058823529401E-2</c:v>
                </c:pt>
                <c:pt idx="15848">
                  <c:v>-1.7647058823529401E-2</c:v>
                </c:pt>
                <c:pt idx="15849">
                  <c:v>-1.7647058823529401E-2</c:v>
                </c:pt>
                <c:pt idx="15850">
                  <c:v>-1.7647058823529401E-2</c:v>
                </c:pt>
                <c:pt idx="15851">
                  <c:v>-1.7647058823529401E-2</c:v>
                </c:pt>
                <c:pt idx="15852">
                  <c:v>-1.7647058823529401E-2</c:v>
                </c:pt>
                <c:pt idx="15853">
                  <c:v>-1.7647058823529401E-2</c:v>
                </c:pt>
                <c:pt idx="15854">
                  <c:v>-1.7647058823529401E-2</c:v>
                </c:pt>
                <c:pt idx="15855">
                  <c:v>-1.7647058823529401E-2</c:v>
                </c:pt>
                <c:pt idx="15856">
                  <c:v>-1.7647058823529401E-2</c:v>
                </c:pt>
                <c:pt idx="15857">
                  <c:v>-1.7647058823529401E-2</c:v>
                </c:pt>
                <c:pt idx="15858">
                  <c:v>-1.7647058823529401E-2</c:v>
                </c:pt>
                <c:pt idx="15859">
                  <c:v>-1.7647058823529401E-2</c:v>
                </c:pt>
                <c:pt idx="15860">
                  <c:v>-1.7647058823529401E-2</c:v>
                </c:pt>
                <c:pt idx="15861">
                  <c:v>-1.7647058823529401E-2</c:v>
                </c:pt>
                <c:pt idx="15862">
                  <c:v>-1.7647058823529401E-2</c:v>
                </c:pt>
                <c:pt idx="15863">
                  <c:v>-1.7647058823529401E-2</c:v>
                </c:pt>
                <c:pt idx="15864">
                  <c:v>-1.7647058823529401E-2</c:v>
                </c:pt>
                <c:pt idx="15865">
                  <c:v>-1.7647058823529401E-2</c:v>
                </c:pt>
                <c:pt idx="15866">
                  <c:v>-1.7647058823529401E-2</c:v>
                </c:pt>
                <c:pt idx="15867">
                  <c:v>-1.7647058823529401E-2</c:v>
                </c:pt>
                <c:pt idx="15868">
                  <c:v>-1.7647058823529401E-2</c:v>
                </c:pt>
                <c:pt idx="15869">
                  <c:v>-1.7647058823529401E-2</c:v>
                </c:pt>
                <c:pt idx="15870">
                  <c:v>-1.7647058823529401E-2</c:v>
                </c:pt>
                <c:pt idx="15871">
                  <c:v>-1.7647058823529401E-2</c:v>
                </c:pt>
                <c:pt idx="15872">
                  <c:v>-1.7647058823529401E-2</c:v>
                </c:pt>
                <c:pt idx="15873">
                  <c:v>-1.7647058823529401E-2</c:v>
                </c:pt>
                <c:pt idx="15874">
                  <c:v>-1.7647058823529401E-2</c:v>
                </c:pt>
                <c:pt idx="15875">
                  <c:v>-1.7647058823529401E-2</c:v>
                </c:pt>
                <c:pt idx="15876">
                  <c:v>-1.6806722689075598E-2</c:v>
                </c:pt>
                <c:pt idx="15877">
                  <c:v>-1.6806722689075598E-2</c:v>
                </c:pt>
                <c:pt idx="15878">
                  <c:v>-1.6806722689075598E-2</c:v>
                </c:pt>
                <c:pt idx="15879">
                  <c:v>-1.6806722689075598E-2</c:v>
                </c:pt>
                <c:pt idx="15880">
                  <c:v>-1.6806722689075598E-2</c:v>
                </c:pt>
                <c:pt idx="15881">
                  <c:v>-1.6806722689075598E-2</c:v>
                </c:pt>
                <c:pt idx="15882">
                  <c:v>-1.6806722689075598E-2</c:v>
                </c:pt>
                <c:pt idx="15883">
                  <c:v>-1.7647058823529401E-2</c:v>
                </c:pt>
                <c:pt idx="15884">
                  <c:v>-1.6806722689075598E-2</c:v>
                </c:pt>
                <c:pt idx="15885">
                  <c:v>-1.6806722689075598E-2</c:v>
                </c:pt>
                <c:pt idx="15886">
                  <c:v>-1.6806722689075598E-2</c:v>
                </c:pt>
                <c:pt idx="15887">
                  <c:v>-1.6806722689075598E-2</c:v>
                </c:pt>
                <c:pt idx="15888">
                  <c:v>-1.6806722689075598E-2</c:v>
                </c:pt>
                <c:pt idx="15889">
                  <c:v>-1.6806722689075598E-2</c:v>
                </c:pt>
                <c:pt idx="15890">
                  <c:v>-1.6806722689075598E-2</c:v>
                </c:pt>
                <c:pt idx="15891">
                  <c:v>-1.6806722689075598E-2</c:v>
                </c:pt>
                <c:pt idx="15892">
                  <c:v>-1.6806722689075598E-2</c:v>
                </c:pt>
                <c:pt idx="15893">
                  <c:v>-1.6806722689075598E-2</c:v>
                </c:pt>
                <c:pt idx="15894">
                  <c:v>-1.6806722689075598E-2</c:v>
                </c:pt>
                <c:pt idx="15895">
                  <c:v>-1.6806722689075598E-2</c:v>
                </c:pt>
                <c:pt idx="15896">
                  <c:v>-1.6806722689075598E-2</c:v>
                </c:pt>
                <c:pt idx="15897">
                  <c:v>-1.6806722689075598E-2</c:v>
                </c:pt>
                <c:pt idx="15898">
                  <c:v>-1.6806722689075598E-2</c:v>
                </c:pt>
                <c:pt idx="15899">
                  <c:v>-1.6806722689075598E-2</c:v>
                </c:pt>
                <c:pt idx="15900">
                  <c:v>-1.6806722689075598E-2</c:v>
                </c:pt>
                <c:pt idx="15901">
                  <c:v>-1.6806722689075598E-2</c:v>
                </c:pt>
                <c:pt idx="15902">
                  <c:v>-1.6806722689075598E-2</c:v>
                </c:pt>
                <c:pt idx="15903">
                  <c:v>-1.6806722689075598E-2</c:v>
                </c:pt>
                <c:pt idx="15904">
                  <c:v>-1.6806722689075598E-2</c:v>
                </c:pt>
                <c:pt idx="15905">
                  <c:v>-1.6806722689075598E-2</c:v>
                </c:pt>
                <c:pt idx="15906">
                  <c:v>-1.6806722689075598E-2</c:v>
                </c:pt>
                <c:pt idx="15907">
                  <c:v>-1.6806722689075598E-2</c:v>
                </c:pt>
                <c:pt idx="15908">
                  <c:v>-1.6806722689075598E-2</c:v>
                </c:pt>
                <c:pt idx="15909">
                  <c:v>-1.6806722689075598E-2</c:v>
                </c:pt>
                <c:pt idx="15910">
                  <c:v>-1.6806722689075598E-2</c:v>
                </c:pt>
                <c:pt idx="15911">
                  <c:v>-1.6806722689075598E-2</c:v>
                </c:pt>
                <c:pt idx="15912">
                  <c:v>-1.6806722689075598E-2</c:v>
                </c:pt>
                <c:pt idx="15913">
                  <c:v>-1.6806722689075598E-2</c:v>
                </c:pt>
                <c:pt idx="15914">
                  <c:v>-1.6806722689075598E-2</c:v>
                </c:pt>
                <c:pt idx="15915">
                  <c:v>-1.6806722689075598E-2</c:v>
                </c:pt>
                <c:pt idx="15916">
                  <c:v>-1.59663865546219E-2</c:v>
                </c:pt>
                <c:pt idx="15917">
                  <c:v>-1.59663865546219E-2</c:v>
                </c:pt>
                <c:pt idx="15918">
                  <c:v>-1.59663865546219E-2</c:v>
                </c:pt>
                <c:pt idx="15919">
                  <c:v>-1.59663865546219E-2</c:v>
                </c:pt>
                <c:pt idx="15920">
                  <c:v>-1.59663865546219E-2</c:v>
                </c:pt>
                <c:pt idx="15921">
                  <c:v>-1.59663865546219E-2</c:v>
                </c:pt>
                <c:pt idx="15922">
                  <c:v>-1.59663865546219E-2</c:v>
                </c:pt>
                <c:pt idx="15923">
                  <c:v>-1.59663865546219E-2</c:v>
                </c:pt>
                <c:pt idx="15924">
                  <c:v>-1.59663865546219E-2</c:v>
                </c:pt>
                <c:pt idx="15925">
                  <c:v>-1.59663865546219E-2</c:v>
                </c:pt>
                <c:pt idx="15926">
                  <c:v>-1.59663865546219E-2</c:v>
                </c:pt>
                <c:pt idx="15927">
                  <c:v>-1.59663865546219E-2</c:v>
                </c:pt>
                <c:pt idx="15928">
                  <c:v>-1.6806722689075598E-2</c:v>
                </c:pt>
                <c:pt idx="15929">
                  <c:v>-1.6806722689075598E-2</c:v>
                </c:pt>
                <c:pt idx="15930">
                  <c:v>-1.6806722689075598E-2</c:v>
                </c:pt>
                <c:pt idx="15931">
                  <c:v>-1.6806722689075598E-2</c:v>
                </c:pt>
                <c:pt idx="15932">
                  <c:v>-1.6806722689075598E-2</c:v>
                </c:pt>
                <c:pt idx="15933">
                  <c:v>-1.7647058823529401E-2</c:v>
                </c:pt>
                <c:pt idx="15934">
                  <c:v>-1.7647058823529401E-2</c:v>
                </c:pt>
                <c:pt idx="15935">
                  <c:v>-1.7647058823529401E-2</c:v>
                </c:pt>
                <c:pt idx="15936">
                  <c:v>-1.7647058823529401E-2</c:v>
                </c:pt>
                <c:pt idx="15937">
                  <c:v>-1.7647058823529401E-2</c:v>
                </c:pt>
                <c:pt idx="15938">
                  <c:v>-1.7647058823529401E-2</c:v>
                </c:pt>
                <c:pt idx="15939">
                  <c:v>-1.7647058823529401E-2</c:v>
                </c:pt>
                <c:pt idx="15940">
                  <c:v>-1.7647058823529401E-2</c:v>
                </c:pt>
                <c:pt idx="15941">
                  <c:v>-1.7647058823529401E-2</c:v>
                </c:pt>
                <c:pt idx="15942">
                  <c:v>-1.7647058823529401E-2</c:v>
                </c:pt>
                <c:pt idx="15943">
                  <c:v>-1.7647058823529401E-2</c:v>
                </c:pt>
                <c:pt idx="15944">
                  <c:v>-1.7647058823529401E-2</c:v>
                </c:pt>
                <c:pt idx="15945">
                  <c:v>-1.7647058823529401E-2</c:v>
                </c:pt>
                <c:pt idx="15946">
                  <c:v>-1.7647058823529401E-2</c:v>
                </c:pt>
                <c:pt idx="15947">
                  <c:v>-1.7647058823529401E-2</c:v>
                </c:pt>
                <c:pt idx="15948">
                  <c:v>-1.7647058823529401E-2</c:v>
                </c:pt>
                <c:pt idx="15949">
                  <c:v>-1.7647058823529401E-2</c:v>
                </c:pt>
                <c:pt idx="15950">
                  <c:v>-1.7647058823529401E-2</c:v>
                </c:pt>
                <c:pt idx="15951">
                  <c:v>-1.7647058823529401E-2</c:v>
                </c:pt>
                <c:pt idx="15952">
                  <c:v>-1.7647058823529401E-2</c:v>
                </c:pt>
                <c:pt idx="15953">
                  <c:v>-1.7647058823529401E-2</c:v>
                </c:pt>
                <c:pt idx="15954">
                  <c:v>-1.7647058823529401E-2</c:v>
                </c:pt>
                <c:pt idx="15955">
                  <c:v>-1.7647058823529401E-2</c:v>
                </c:pt>
                <c:pt idx="15956">
                  <c:v>-1.7647058823529401E-2</c:v>
                </c:pt>
                <c:pt idx="15957">
                  <c:v>-1.7647058823529401E-2</c:v>
                </c:pt>
                <c:pt idx="15958">
                  <c:v>-1.7647058823529401E-2</c:v>
                </c:pt>
                <c:pt idx="15959">
                  <c:v>-1.7647058823529401E-2</c:v>
                </c:pt>
                <c:pt idx="15960">
                  <c:v>-1.7647058823529401E-2</c:v>
                </c:pt>
                <c:pt idx="15961">
                  <c:v>-1.7647058823529401E-2</c:v>
                </c:pt>
                <c:pt idx="15962">
                  <c:v>-1.7647058823529401E-2</c:v>
                </c:pt>
                <c:pt idx="15963">
                  <c:v>-1.7647058823529401E-2</c:v>
                </c:pt>
                <c:pt idx="15964">
                  <c:v>-1.7647058823529401E-2</c:v>
                </c:pt>
                <c:pt idx="15965">
                  <c:v>-1.7647058823529401E-2</c:v>
                </c:pt>
                <c:pt idx="15966">
                  <c:v>-1.7647058823529401E-2</c:v>
                </c:pt>
                <c:pt idx="15967">
                  <c:v>-1.7647058823529401E-2</c:v>
                </c:pt>
                <c:pt idx="15968">
                  <c:v>-1.7647058823529401E-2</c:v>
                </c:pt>
                <c:pt idx="15969">
                  <c:v>-1.7647058823529401E-2</c:v>
                </c:pt>
                <c:pt idx="15970">
                  <c:v>-1.7647058823529401E-2</c:v>
                </c:pt>
                <c:pt idx="15971">
                  <c:v>-1.7647058823529401E-2</c:v>
                </c:pt>
                <c:pt idx="15972">
                  <c:v>-1.7647058823529401E-2</c:v>
                </c:pt>
                <c:pt idx="15973">
                  <c:v>-1.7647058823529401E-2</c:v>
                </c:pt>
                <c:pt idx="15974">
                  <c:v>-1.7647058823529401E-2</c:v>
                </c:pt>
                <c:pt idx="15975">
                  <c:v>-1.7647058823529401E-2</c:v>
                </c:pt>
                <c:pt idx="15976">
                  <c:v>-1.7647058823529401E-2</c:v>
                </c:pt>
                <c:pt idx="15977">
                  <c:v>-1.7647058823529401E-2</c:v>
                </c:pt>
                <c:pt idx="15978">
                  <c:v>-1.7647058823529401E-2</c:v>
                </c:pt>
                <c:pt idx="15979">
                  <c:v>-1.7647058823529401E-2</c:v>
                </c:pt>
                <c:pt idx="15980">
                  <c:v>-1.7647058823529401E-2</c:v>
                </c:pt>
                <c:pt idx="15981">
                  <c:v>-1.7647058823529401E-2</c:v>
                </c:pt>
                <c:pt idx="15982">
                  <c:v>-1.7647058823529401E-2</c:v>
                </c:pt>
                <c:pt idx="15983">
                  <c:v>-1.7647058823529401E-2</c:v>
                </c:pt>
                <c:pt idx="15984">
                  <c:v>-1.7647058823529401E-2</c:v>
                </c:pt>
                <c:pt idx="15985">
                  <c:v>-1.7647058823529401E-2</c:v>
                </c:pt>
                <c:pt idx="15986">
                  <c:v>-1.7647058823529401E-2</c:v>
                </c:pt>
                <c:pt idx="15987">
                  <c:v>-1.7647058823529401E-2</c:v>
                </c:pt>
                <c:pt idx="15988">
                  <c:v>-1.7647058823529401E-2</c:v>
                </c:pt>
                <c:pt idx="15989">
                  <c:v>-1.84873949579832E-2</c:v>
                </c:pt>
                <c:pt idx="15990">
                  <c:v>-1.84873949579832E-2</c:v>
                </c:pt>
                <c:pt idx="15991">
                  <c:v>-1.84873949579832E-2</c:v>
                </c:pt>
                <c:pt idx="15992">
                  <c:v>-1.84873949579832E-2</c:v>
                </c:pt>
                <c:pt idx="15993">
                  <c:v>-1.84873949579832E-2</c:v>
                </c:pt>
                <c:pt idx="15994">
                  <c:v>-1.84873949579832E-2</c:v>
                </c:pt>
                <c:pt idx="15995">
                  <c:v>-1.84873949579832E-2</c:v>
                </c:pt>
                <c:pt idx="15996">
                  <c:v>-1.84873949579832E-2</c:v>
                </c:pt>
                <c:pt idx="15997">
                  <c:v>-1.84873949579832E-2</c:v>
                </c:pt>
                <c:pt idx="15998">
                  <c:v>-1.7647058823529401E-2</c:v>
                </c:pt>
                <c:pt idx="15999">
                  <c:v>-1.7647058823529401E-2</c:v>
                </c:pt>
                <c:pt idx="16000">
                  <c:v>-1.7647058823529401E-2</c:v>
                </c:pt>
                <c:pt idx="16001">
                  <c:v>-1.7647058823529401E-2</c:v>
                </c:pt>
                <c:pt idx="16002">
                  <c:v>-1.7647058823529401E-2</c:v>
                </c:pt>
                <c:pt idx="16003">
                  <c:v>-1.7647058823529401E-2</c:v>
                </c:pt>
                <c:pt idx="16004">
                  <c:v>-1.6806722689075598E-2</c:v>
                </c:pt>
                <c:pt idx="16005">
                  <c:v>-1.6806722689075598E-2</c:v>
                </c:pt>
                <c:pt idx="16006">
                  <c:v>-1.7647058823529401E-2</c:v>
                </c:pt>
                <c:pt idx="16007">
                  <c:v>-1.7647058823529401E-2</c:v>
                </c:pt>
                <c:pt idx="16008">
                  <c:v>-1.7647058823529401E-2</c:v>
                </c:pt>
                <c:pt idx="16009">
                  <c:v>-1.7647058823529401E-2</c:v>
                </c:pt>
                <c:pt idx="16010">
                  <c:v>-1.7647058823529401E-2</c:v>
                </c:pt>
                <c:pt idx="16011">
                  <c:v>-1.7647058823529401E-2</c:v>
                </c:pt>
                <c:pt idx="16012">
                  <c:v>-1.7647058823529401E-2</c:v>
                </c:pt>
                <c:pt idx="16013">
                  <c:v>-1.7647058823529401E-2</c:v>
                </c:pt>
                <c:pt idx="16014">
                  <c:v>-1.6806722689075598E-2</c:v>
                </c:pt>
                <c:pt idx="16015">
                  <c:v>-1.6806722689075598E-2</c:v>
                </c:pt>
                <c:pt idx="16016">
                  <c:v>-1.6806722689075598E-2</c:v>
                </c:pt>
                <c:pt idx="16017">
                  <c:v>-1.6806722689075598E-2</c:v>
                </c:pt>
                <c:pt idx="16018">
                  <c:v>-1.6806722689075598E-2</c:v>
                </c:pt>
                <c:pt idx="16019">
                  <c:v>-1.6806722689075598E-2</c:v>
                </c:pt>
                <c:pt idx="16020">
                  <c:v>-1.6806722689075598E-2</c:v>
                </c:pt>
                <c:pt idx="16021">
                  <c:v>-1.6806722689075598E-2</c:v>
                </c:pt>
                <c:pt idx="16022">
                  <c:v>-1.6806722689075598E-2</c:v>
                </c:pt>
                <c:pt idx="16023">
                  <c:v>-1.6806722689075598E-2</c:v>
                </c:pt>
                <c:pt idx="16024">
                  <c:v>-1.6806722689075598E-2</c:v>
                </c:pt>
                <c:pt idx="16025">
                  <c:v>-1.6806722689075598E-2</c:v>
                </c:pt>
                <c:pt idx="16026">
                  <c:v>-1.6806722689075598E-2</c:v>
                </c:pt>
                <c:pt idx="16027">
                  <c:v>-1.6806722689075598E-2</c:v>
                </c:pt>
                <c:pt idx="16028">
                  <c:v>-1.6806722689075598E-2</c:v>
                </c:pt>
                <c:pt idx="16029">
                  <c:v>-1.6806722689075598E-2</c:v>
                </c:pt>
                <c:pt idx="16030">
                  <c:v>-1.6806722689075598E-2</c:v>
                </c:pt>
                <c:pt idx="16031">
                  <c:v>-1.6806722689075598E-2</c:v>
                </c:pt>
                <c:pt idx="16032">
                  <c:v>-1.6806722689075598E-2</c:v>
                </c:pt>
                <c:pt idx="16033">
                  <c:v>-1.6806722689075598E-2</c:v>
                </c:pt>
                <c:pt idx="16034">
                  <c:v>-1.6806722689075598E-2</c:v>
                </c:pt>
                <c:pt idx="16035">
                  <c:v>-1.6806722689075598E-2</c:v>
                </c:pt>
                <c:pt idx="16036">
                  <c:v>-1.59663865546219E-2</c:v>
                </c:pt>
                <c:pt idx="16037">
                  <c:v>-1.59663865546219E-2</c:v>
                </c:pt>
                <c:pt idx="16038">
                  <c:v>-1.59663865546219E-2</c:v>
                </c:pt>
                <c:pt idx="16039">
                  <c:v>-1.59663865546219E-2</c:v>
                </c:pt>
                <c:pt idx="16040">
                  <c:v>-1.59663865546219E-2</c:v>
                </c:pt>
                <c:pt idx="16041">
                  <c:v>-1.59663865546219E-2</c:v>
                </c:pt>
                <c:pt idx="16042">
                  <c:v>-1.59663865546219E-2</c:v>
                </c:pt>
                <c:pt idx="16043">
                  <c:v>-1.59663865546219E-2</c:v>
                </c:pt>
                <c:pt idx="16044">
                  <c:v>-1.59663865546219E-2</c:v>
                </c:pt>
                <c:pt idx="16045">
                  <c:v>-1.59663865546219E-2</c:v>
                </c:pt>
                <c:pt idx="16046">
                  <c:v>-1.6806722689075598E-2</c:v>
                </c:pt>
                <c:pt idx="16047">
                  <c:v>-1.6806722689075598E-2</c:v>
                </c:pt>
                <c:pt idx="16048">
                  <c:v>-1.6806722689075598E-2</c:v>
                </c:pt>
                <c:pt idx="16049">
                  <c:v>-1.6806722689075598E-2</c:v>
                </c:pt>
                <c:pt idx="16050">
                  <c:v>-1.6806722689075598E-2</c:v>
                </c:pt>
                <c:pt idx="16051">
                  <c:v>-1.6806722689075598E-2</c:v>
                </c:pt>
                <c:pt idx="16052">
                  <c:v>-1.6806722689075598E-2</c:v>
                </c:pt>
                <c:pt idx="16053">
                  <c:v>-1.6806722689075598E-2</c:v>
                </c:pt>
                <c:pt idx="16054">
                  <c:v>-1.6806722689075598E-2</c:v>
                </c:pt>
                <c:pt idx="16055">
                  <c:v>-1.6806722689075598E-2</c:v>
                </c:pt>
                <c:pt idx="16056">
                  <c:v>-1.6806722689075598E-2</c:v>
                </c:pt>
                <c:pt idx="16057">
                  <c:v>-1.6806722689075598E-2</c:v>
                </c:pt>
                <c:pt idx="16058">
                  <c:v>-1.6806722689075598E-2</c:v>
                </c:pt>
                <c:pt idx="16059">
                  <c:v>-1.6806722689075598E-2</c:v>
                </c:pt>
                <c:pt idx="16060">
                  <c:v>-1.6806722689075598E-2</c:v>
                </c:pt>
                <c:pt idx="16061">
                  <c:v>-1.6806722689075598E-2</c:v>
                </c:pt>
                <c:pt idx="16062">
                  <c:v>-1.6806722689075598E-2</c:v>
                </c:pt>
                <c:pt idx="16063">
                  <c:v>-1.6806722689075598E-2</c:v>
                </c:pt>
                <c:pt idx="16064">
                  <c:v>-1.6806722689075598E-2</c:v>
                </c:pt>
                <c:pt idx="16065">
                  <c:v>-1.6806722689075598E-2</c:v>
                </c:pt>
                <c:pt idx="16066">
                  <c:v>-1.6806722689075598E-2</c:v>
                </c:pt>
                <c:pt idx="16067">
                  <c:v>-1.6806722689075598E-2</c:v>
                </c:pt>
                <c:pt idx="16068">
                  <c:v>-1.6806722689075598E-2</c:v>
                </c:pt>
                <c:pt idx="16069">
                  <c:v>-1.6806722689075598E-2</c:v>
                </c:pt>
                <c:pt idx="16070">
                  <c:v>-1.6806722689075598E-2</c:v>
                </c:pt>
                <c:pt idx="16071">
                  <c:v>-1.6806722689075598E-2</c:v>
                </c:pt>
                <c:pt idx="16072">
                  <c:v>-1.6806722689075598E-2</c:v>
                </c:pt>
                <c:pt idx="16073">
                  <c:v>-1.6806722689075598E-2</c:v>
                </c:pt>
                <c:pt idx="16074">
                  <c:v>-1.6806722689075598E-2</c:v>
                </c:pt>
                <c:pt idx="16075">
                  <c:v>-1.6806722689075598E-2</c:v>
                </c:pt>
                <c:pt idx="16076">
                  <c:v>-1.6806722689075598E-2</c:v>
                </c:pt>
                <c:pt idx="16077">
                  <c:v>-1.6806722689075598E-2</c:v>
                </c:pt>
                <c:pt idx="16078">
                  <c:v>-1.6806722689075598E-2</c:v>
                </c:pt>
                <c:pt idx="16079">
                  <c:v>-1.6806722689075598E-2</c:v>
                </c:pt>
                <c:pt idx="16080">
                  <c:v>-1.7647058823529401E-2</c:v>
                </c:pt>
                <c:pt idx="16081">
                  <c:v>-1.7647058823529401E-2</c:v>
                </c:pt>
                <c:pt idx="16082">
                  <c:v>-1.7647058823529401E-2</c:v>
                </c:pt>
                <c:pt idx="16083">
                  <c:v>-1.7647058823529401E-2</c:v>
                </c:pt>
                <c:pt idx="16084">
                  <c:v>-1.7647058823529401E-2</c:v>
                </c:pt>
                <c:pt idx="16085">
                  <c:v>-1.7647058823529401E-2</c:v>
                </c:pt>
                <c:pt idx="16086">
                  <c:v>-1.7647058823529401E-2</c:v>
                </c:pt>
                <c:pt idx="16087">
                  <c:v>-1.7647058823529401E-2</c:v>
                </c:pt>
                <c:pt idx="16088">
                  <c:v>-1.7647058823529401E-2</c:v>
                </c:pt>
                <c:pt idx="16089">
                  <c:v>-1.7647058823529401E-2</c:v>
                </c:pt>
                <c:pt idx="16090">
                  <c:v>-1.7647058823529401E-2</c:v>
                </c:pt>
                <c:pt idx="16091">
                  <c:v>-1.7647058823529401E-2</c:v>
                </c:pt>
                <c:pt idx="16092">
                  <c:v>-1.7647058823529401E-2</c:v>
                </c:pt>
                <c:pt idx="16093">
                  <c:v>-1.7647058823529401E-2</c:v>
                </c:pt>
                <c:pt idx="16094">
                  <c:v>-1.7647058823529401E-2</c:v>
                </c:pt>
                <c:pt idx="16095">
                  <c:v>-1.7647058823529401E-2</c:v>
                </c:pt>
                <c:pt idx="16096">
                  <c:v>-1.7647058823529401E-2</c:v>
                </c:pt>
                <c:pt idx="16097">
                  <c:v>-1.7647058823529401E-2</c:v>
                </c:pt>
                <c:pt idx="16098">
                  <c:v>-1.7647058823529401E-2</c:v>
                </c:pt>
                <c:pt idx="16099">
                  <c:v>-1.7647058823529401E-2</c:v>
                </c:pt>
                <c:pt idx="16100">
                  <c:v>-1.7647058823529401E-2</c:v>
                </c:pt>
                <c:pt idx="16101">
                  <c:v>-1.7647058823529401E-2</c:v>
                </c:pt>
                <c:pt idx="16102">
                  <c:v>-1.7647058823529401E-2</c:v>
                </c:pt>
                <c:pt idx="16103">
                  <c:v>-1.7647058823529401E-2</c:v>
                </c:pt>
                <c:pt idx="16104">
                  <c:v>-1.7647058823529401E-2</c:v>
                </c:pt>
                <c:pt idx="16105">
                  <c:v>-1.7647058823529401E-2</c:v>
                </c:pt>
                <c:pt idx="16106">
                  <c:v>-1.7647058823529401E-2</c:v>
                </c:pt>
                <c:pt idx="16107">
                  <c:v>-1.7647058823529401E-2</c:v>
                </c:pt>
                <c:pt idx="16108">
                  <c:v>-1.7647058823529401E-2</c:v>
                </c:pt>
                <c:pt idx="16109">
                  <c:v>-1.7647058823529401E-2</c:v>
                </c:pt>
                <c:pt idx="16110">
                  <c:v>-1.7647058823529401E-2</c:v>
                </c:pt>
                <c:pt idx="16111">
                  <c:v>-1.7647058823529401E-2</c:v>
                </c:pt>
                <c:pt idx="16112">
                  <c:v>-1.7647058823529401E-2</c:v>
                </c:pt>
                <c:pt idx="16113">
                  <c:v>-1.7647058823529401E-2</c:v>
                </c:pt>
                <c:pt idx="16114">
                  <c:v>-1.7647058823529401E-2</c:v>
                </c:pt>
                <c:pt idx="16115">
                  <c:v>-1.7647058823529401E-2</c:v>
                </c:pt>
                <c:pt idx="16116">
                  <c:v>-1.7647058823529401E-2</c:v>
                </c:pt>
                <c:pt idx="16117">
                  <c:v>-1.7647058823529401E-2</c:v>
                </c:pt>
                <c:pt idx="16118">
                  <c:v>-1.7647058823529401E-2</c:v>
                </c:pt>
                <c:pt idx="16119">
                  <c:v>-1.7647058823529401E-2</c:v>
                </c:pt>
                <c:pt idx="16120">
                  <c:v>-1.7647058823529401E-2</c:v>
                </c:pt>
                <c:pt idx="16121">
                  <c:v>-1.7647058823529401E-2</c:v>
                </c:pt>
                <c:pt idx="16122">
                  <c:v>-1.7647058823529401E-2</c:v>
                </c:pt>
                <c:pt idx="16123">
                  <c:v>-1.7647058823529401E-2</c:v>
                </c:pt>
                <c:pt idx="16124">
                  <c:v>-1.7647058823529401E-2</c:v>
                </c:pt>
                <c:pt idx="16125">
                  <c:v>-1.7647058823529401E-2</c:v>
                </c:pt>
                <c:pt idx="16126">
                  <c:v>-1.7647058823529401E-2</c:v>
                </c:pt>
                <c:pt idx="16127">
                  <c:v>-1.7647058823529401E-2</c:v>
                </c:pt>
                <c:pt idx="16128">
                  <c:v>-1.7647058823529401E-2</c:v>
                </c:pt>
                <c:pt idx="16129">
                  <c:v>-1.7647058823529401E-2</c:v>
                </c:pt>
                <c:pt idx="16130">
                  <c:v>-1.7647058823529401E-2</c:v>
                </c:pt>
                <c:pt idx="16131">
                  <c:v>-1.7647058823529401E-2</c:v>
                </c:pt>
                <c:pt idx="16132">
                  <c:v>-1.7647058823529401E-2</c:v>
                </c:pt>
                <c:pt idx="16133">
                  <c:v>-1.7647058823529401E-2</c:v>
                </c:pt>
                <c:pt idx="16134">
                  <c:v>-1.7647058823529401E-2</c:v>
                </c:pt>
                <c:pt idx="16135">
                  <c:v>-1.7647058823529401E-2</c:v>
                </c:pt>
                <c:pt idx="16136">
                  <c:v>-1.7647058823529401E-2</c:v>
                </c:pt>
                <c:pt idx="16137">
                  <c:v>-1.7647058823529401E-2</c:v>
                </c:pt>
                <c:pt idx="16138">
                  <c:v>-1.7647058823529401E-2</c:v>
                </c:pt>
                <c:pt idx="16139">
                  <c:v>-1.84873949579832E-2</c:v>
                </c:pt>
                <c:pt idx="16140">
                  <c:v>-1.84873949579832E-2</c:v>
                </c:pt>
                <c:pt idx="16141">
                  <c:v>-1.84873949579832E-2</c:v>
                </c:pt>
                <c:pt idx="16142">
                  <c:v>-1.84873949579832E-2</c:v>
                </c:pt>
                <c:pt idx="16143">
                  <c:v>-1.84873949579832E-2</c:v>
                </c:pt>
                <c:pt idx="16144">
                  <c:v>-1.84873949579832E-2</c:v>
                </c:pt>
                <c:pt idx="16145">
                  <c:v>-1.84873949579832E-2</c:v>
                </c:pt>
                <c:pt idx="16146">
                  <c:v>-1.84873949579832E-2</c:v>
                </c:pt>
                <c:pt idx="16147">
                  <c:v>-1.84873949579832E-2</c:v>
                </c:pt>
                <c:pt idx="16148">
                  <c:v>-1.84873949579832E-2</c:v>
                </c:pt>
                <c:pt idx="16149">
                  <c:v>-1.84873949579832E-2</c:v>
                </c:pt>
                <c:pt idx="16150">
                  <c:v>-1.84873949579832E-2</c:v>
                </c:pt>
                <c:pt idx="16151">
                  <c:v>-1.84873949579832E-2</c:v>
                </c:pt>
                <c:pt idx="16152">
                  <c:v>-1.84873949579832E-2</c:v>
                </c:pt>
                <c:pt idx="16153">
                  <c:v>-1.84873949579832E-2</c:v>
                </c:pt>
                <c:pt idx="16154">
                  <c:v>-1.7647058823529401E-2</c:v>
                </c:pt>
                <c:pt idx="16155">
                  <c:v>-1.7647058823529401E-2</c:v>
                </c:pt>
                <c:pt idx="16156">
                  <c:v>-1.7647058823529401E-2</c:v>
                </c:pt>
                <c:pt idx="16157">
                  <c:v>-1.84873949579832E-2</c:v>
                </c:pt>
                <c:pt idx="16158">
                  <c:v>-1.84873949579832E-2</c:v>
                </c:pt>
                <c:pt idx="16159">
                  <c:v>-1.84873949579832E-2</c:v>
                </c:pt>
                <c:pt idx="16160">
                  <c:v>-1.84873949579832E-2</c:v>
                </c:pt>
                <c:pt idx="16161">
                  <c:v>-1.84873949579832E-2</c:v>
                </c:pt>
                <c:pt idx="16162">
                  <c:v>-1.84873949579832E-2</c:v>
                </c:pt>
                <c:pt idx="16163">
                  <c:v>-1.84873949579832E-2</c:v>
                </c:pt>
                <c:pt idx="16164">
                  <c:v>-1.84873949579832E-2</c:v>
                </c:pt>
                <c:pt idx="16165">
                  <c:v>-1.84873949579832E-2</c:v>
                </c:pt>
                <c:pt idx="16166">
                  <c:v>-1.84873949579832E-2</c:v>
                </c:pt>
                <c:pt idx="16167">
                  <c:v>-1.84873949579832E-2</c:v>
                </c:pt>
                <c:pt idx="16168">
                  <c:v>-1.9327731092437E-2</c:v>
                </c:pt>
                <c:pt idx="16169">
                  <c:v>-1.9327731092437E-2</c:v>
                </c:pt>
                <c:pt idx="16170">
                  <c:v>-1.9327731092437E-2</c:v>
                </c:pt>
                <c:pt idx="16171">
                  <c:v>-1.9327731092437E-2</c:v>
                </c:pt>
                <c:pt idx="16172">
                  <c:v>-1.9327731092437E-2</c:v>
                </c:pt>
                <c:pt idx="16173">
                  <c:v>-1.9327731092437E-2</c:v>
                </c:pt>
                <c:pt idx="16174">
                  <c:v>-1.9327731092437E-2</c:v>
                </c:pt>
                <c:pt idx="16175">
                  <c:v>-1.9327731092437E-2</c:v>
                </c:pt>
                <c:pt idx="16176">
                  <c:v>-1.9327731092437E-2</c:v>
                </c:pt>
                <c:pt idx="16177">
                  <c:v>-1.9327731092437E-2</c:v>
                </c:pt>
                <c:pt idx="16178">
                  <c:v>-1.9327731092437E-2</c:v>
                </c:pt>
                <c:pt idx="16179">
                  <c:v>-1.9327731092437E-2</c:v>
                </c:pt>
                <c:pt idx="16180">
                  <c:v>-1.9327731092437E-2</c:v>
                </c:pt>
                <c:pt idx="16181">
                  <c:v>-1.9327731092437E-2</c:v>
                </c:pt>
                <c:pt idx="16182">
                  <c:v>-1.9327731092437E-2</c:v>
                </c:pt>
                <c:pt idx="16183">
                  <c:v>-1.9327731092437E-2</c:v>
                </c:pt>
                <c:pt idx="16184">
                  <c:v>-1.9327731092437E-2</c:v>
                </c:pt>
                <c:pt idx="16185">
                  <c:v>-1.9327731092437E-2</c:v>
                </c:pt>
                <c:pt idx="16186">
                  <c:v>-1.9327731092437E-2</c:v>
                </c:pt>
                <c:pt idx="16187">
                  <c:v>-1.9327731092437E-2</c:v>
                </c:pt>
                <c:pt idx="16188">
                  <c:v>-1.9327731092437E-2</c:v>
                </c:pt>
                <c:pt idx="16189">
                  <c:v>-1.9327731092437E-2</c:v>
                </c:pt>
                <c:pt idx="16190">
                  <c:v>-1.9327731092437E-2</c:v>
                </c:pt>
                <c:pt idx="16191">
                  <c:v>-1.9327731092437E-2</c:v>
                </c:pt>
                <c:pt idx="16192">
                  <c:v>-1.9327731092437E-2</c:v>
                </c:pt>
                <c:pt idx="16193">
                  <c:v>-1.9327731092437E-2</c:v>
                </c:pt>
                <c:pt idx="16194">
                  <c:v>-1.9327731092437E-2</c:v>
                </c:pt>
                <c:pt idx="16195">
                  <c:v>-1.9327731092437E-2</c:v>
                </c:pt>
                <c:pt idx="16196">
                  <c:v>-2.0168067226890699E-2</c:v>
                </c:pt>
                <c:pt idx="16197">
                  <c:v>-2.0168067226890699E-2</c:v>
                </c:pt>
                <c:pt idx="16198">
                  <c:v>-2.0168067226890699E-2</c:v>
                </c:pt>
                <c:pt idx="16199">
                  <c:v>-2.0168067226890699E-2</c:v>
                </c:pt>
                <c:pt idx="16200">
                  <c:v>-2.0168067226890699E-2</c:v>
                </c:pt>
                <c:pt idx="16201">
                  <c:v>-2.0168067226890699E-2</c:v>
                </c:pt>
                <c:pt idx="16202">
                  <c:v>-2.0168067226890699E-2</c:v>
                </c:pt>
                <c:pt idx="16203">
                  <c:v>-2.0168067226890699E-2</c:v>
                </c:pt>
                <c:pt idx="16204">
                  <c:v>-2.0168067226890699E-2</c:v>
                </c:pt>
                <c:pt idx="16205">
                  <c:v>-2.0168067226890699E-2</c:v>
                </c:pt>
                <c:pt idx="16206">
                  <c:v>-2.0168067226890699E-2</c:v>
                </c:pt>
                <c:pt idx="16207">
                  <c:v>-2.0168067226890699E-2</c:v>
                </c:pt>
                <c:pt idx="16208">
                  <c:v>-2.0168067226890699E-2</c:v>
                </c:pt>
                <c:pt idx="16209">
                  <c:v>-2.0168067226890699E-2</c:v>
                </c:pt>
                <c:pt idx="16210">
                  <c:v>-2.0168067226890699E-2</c:v>
                </c:pt>
                <c:pt idx="16211">
                  <c:v>-2.0168067226890699E-2</c:v>
                </c:pt>
                <c:pt idx="16212">
                  <c:v>-2.0168067226890699E-2</c:v>
                </c:pt>
                <c:pt idx="16213">
                  <c:v>-2.0168067226890699E-2</c:v>
                </c:pt>
                <c:pt idx="16214">
                  <c:v>-2.0168067226890699E-2</c:v>
                </c:pt>
                <c:pt idx="16215">
                  <c:v>-2.0168067226890699E-2</c:v>
                </c:pt>
                <c:pt idx="16216">
                  <c:v>-2.0168067226890699E-2</c:v>
                </c:pt>
                <c:pt idx="16217">
                  <c:v>-2.0168067226890699E-2</c:v>
                </c:pt>
                <c:pt idx="16218">
                  <c:v>-2.0168067226890699E-2</c:v>
                </c:pt>
                <c:pt idx="16219">
                  <c:v>-2.0168067226890699E-2</c:v>
                </c:pt>
                <c:pt idx="16220">
                  <c:v>-2.0168067226890699E-2</c:v>
                </c:pt>
                <c:pt idx="16221">
                  <c:v>-2.0168067226890699E-2</c:v>
                </c:pt>
                <c:pt idx="16222">
                  <c:v>-2.0168067226890699E-2</c:v>
                </c:pt>
                <c:pt idx="16223">
                  <c:v>-2.0168067226890699E-2</c:v>
                </c:pt>
                <c:pt idx="16224">
                  <c:v>-2.0168067226890699E-2</c:v>
                </c:pt>
                <c:pt idx="16225">
                  <c:v>-2.0168067226890699E-2</c:v>
                </c:pt>
                <c:pt idx="16226">
                  <c:v>-2.0168067226890699E-2</c:v>
                </c:pt>
                <c:pt idx="16227">
                  <c:v>-2.0168067226890699E-2</c:v>
                </c:pt>
                <c:pt idx="16228">
                  <c:v>-2.0168067226890699E-2</c:v>
                </c:pt>
                <c:pt idx="16229">
                  <c:v>-2.0168067226890699E-2</c:v>
                </c:pt>
                <c:pt idx="16230">
                  <c:v>-2.0168067226890699E-2</c:v>
                </c:pt>
                <c:pt idx="16231">
                  <c:v>-2.0168067226890699E-2</c:v>
                </c:pt>
                <c:pt idx="16232">
                  <c:v>-2.0168067226890699E-2</c:v>
                </c:pt>
                <c:pt idx="16233">
                  <c:v>-2.0168067226890699E-2</c:v>
                </c:pt>
                <c:pt idx="16234">
                  <c:v>-2.0168067226890699E-2</c:v>
                </c:pt>
                <c:pt idx="16235">
                  <c:v>-2.0168067226890699E-2</c:v>
                </c:pt>
                <c:pt idx="16236">
                  <c:v>-2.0168067226890699E-2</c:v>
                </c:pt>
                <c:pt idx="16237">
                  <c:v>-2.0168067226890699E-2</c:v>
                </c:pt>
                <c:pt idx="16238">
                  <c:v>-2.0168067226890699E-2</c:v>
                </c:pt>
                <c:pt idx="16239">
                  <c:v>-2.0168067226890699E-2</c:v>
                </c:pt>
                <c:pt idx="16240">
                  <c:v>-2.0168067226890699E-2</c:v>
                </c:pt>
                <c:pt idx="16241">
                  <c:v>-2.0168067226890699E-2</c:v>
                </c:pt>
                <c:pt idx="16242">
                  <c:v>-2.0168067226890699E-2</c:v>
                </c:pt>
                <c:pt idx="16243">
                  <c:v>-2.0168067226890699E-2</c:v>
                </c:pt>
                <c:pt idx="16244">
                  <c:v>-2.0168067226890699E-2</c:v>
                </c:pt>
                <c:pt idx="16245">
                  <c:v>-2.0168067226890699E-2</c:v>
                </c:pt>
                <c:pt idx="16246">
                  <c:v>-2.0168067226890699E-2</c:v>
                </c:pt>
                <c:pt idx="16247">
                  <c:v>-2.0168067226890699E-2</c:v>
                </c:pt>
                <c:pt idx="16248">
                  <c:v>-2.0168067226890699E-2</c:v>
                </c:pt>
                <c:pt idx="16249">
                  <c:v>-2.0168067226890699E-2</c:v>
                </c:pt>
                <c:pt idx="16250">
                  <c:v>-2.0168067226890699E-2</c:v>
                </c:pt>
                <c:pt idx="16251">
                  <c:v>-2.0168067226890699E-2</c:v>
                </c:pt>
                <c:pt idx="16252">
                  <c:v>-2.0168067226890699E-2</c:v>
                </c:pt>
                <c:pt idx="16253">
                  <c:v>-2.0168067226890699E-2</c:v>
                </c:pt>
                <c:pt idx="16254">
                  <c:v>-2.0168067226890699E-2</c:v>
                </c:pt>
                <c:pt idx="16255">
                  <c:v>-1.9327731092437E-2</c:v>
                </c:pt>
                <c:pt idx="16256">
                  <c:v>-1.9327731092437E-2</c:v>
                </c:pt>
                <c:pt idx="16257">
                  <c:v>-1.9327731092437E-2</c:v>
                </c:pt>
                <c:pt idx="16258">
                  <c:v>-1.9327731092437E-2</c:v>
                </c:pt>
                <c:pt idx="16259">
                  <c:v>-1.9327731092437E-2</c:v>
                </c:pt>
                <c:pt idx="16260">
                  <c:v>-1.9327731092437E-2</c:v>
                </c:pt>
                <c:pt idx="16261">
                  <c:v>-1.9327731092437E-2</c:v>
                </c:pt>
                <c:pt idx="16262">
                  <c:v>-1.9327731092437E-2</c:v>
                </c:pt>
                <c:pt idx="16263">
                  <c:v>-1.9327731092437E-2</c:v>
                </c:pt>
                <c:pt idx="16264">
                  <c:v>-1.9327731092437E-2</c:v>
                </c:pt>
                <c:pt idx="16265">
                  <c:v>-1.9327731092437E-2</c:v>
                </c:pt>
                <c:pt idx="16266">
                  <c:v>-1.9327731092437E-2</c:v>
                </c:pt>
                <c:pt idx="16267">
                  <c:v>-1.9327731092437E-2</c:v>
                </c:pt>
                <c:pt idx="16268">
                  <c:v>-1.9327731092437E-2</c:v>
                </c:pt>
                <c:pt idx="16269">
                  <c:v>-1.9327731092437E-2</c:v>
                </c:pt>
                <c:pt idx="16270">
                  <c:v>-1.9327731092437E-2</c:v>
                </c:pt>
                <c:pt idx="16271">
                  <c:v>-1.84873949579832E-2</c:v>
                </c:pt>
                <c:pt idx="16272">
                  <c:v>-1.84873949579832E-2</c:v>
                </c:pt>
                <c:pt idx="16273">
                  <c:v>-1.84873949579832E-2</c:v>
                </c:pt>
                <c:pt idx="16274">
                  <c:v>-1.84873949579832E-2</c:v>
                </c:pt>
                <c:pt idx="16275">
                  <c:v>-1.84873949579832E-2</c:v>
                </c:pt>
                <c:pt idx="16276">
                  <c:v>-1.84873949579832E-2</c:v>
                </c:pt>
                <c:pt idx="16277">
                  <c:v>-1.84873949579832E-2</c:v>
                </c:pt>
                <c:pt idx="16278">
                  <c:v>-1.84873949579832E-2</c:v>
                </c:pt>
                <c:pt idx="16279">
                  <c:v>-1.9327731092437E-2</c:v>
                </c:pt>
                <c:pt idx="16280">
                  <c:v>-1.9327731092437E-2</c:v>
                </c:pt>
                <c:pt idx="16281">
                  <c:v>-1.9327731092437E-2</c:v>
                </c:pt>
                <c:pt idx="16282">
                  <c:v>-1.9327731092437E-2</c:v>
                </c:pt>
                <c:pt idx="16283">
                  <c:v>-1.9327731092437E-2</c:v>
                </c:pt>
                <c:pt idx="16284">
                  <c:v>-1.9327731092437E-2</c:v>
                </c:pt>
                <c:pt idx="16285">
                  <c:v>-1.9327731092437E-2</c:v>
                </c:pt>
                <c:pt idx="16286">
                  <c:v>-1.84873949579832E-2</c:v>
                </c:pt>
                <c:pt idx="16287">
                  <c:v>-1.84873949579832E-2</c:v>
                </c:pt>
                <c:pt idx="16288">
                  <c:v>-1.84873949579832E-2</c:v>
                </c:pt>
                <c:pt idx="16289">
                  <c:v>-1.84873949579832E-2</c:v>
                </c:pt>
                <c:pt idx="16290">
                  <c:v>-1.84873949579832E-2</c:v>
                </c:pt>
                <c:pt idx="16291">
                  <c:v>-1.84873949579832E-2</c:v>
                </c:pt>
                <c:pt idx="16292">
                  <c:v>-1.84873949579832E-2</c:v>
                </c:pt>
                <c:pt idx="16293">
                  <c:v>-1.84873949579832E-2</c:v>
                </c:pt>
                <c:pt idx="16294">
                  <c:v>-1.84873949579832E-2</c:v>
                </c:pt>
                <c:pt idx="16295">
                  <c:v>-1.84873949579832E-2</c:v>
                </c:pt>
                <c:pt idx="16296">
                  <c:v>-1.84873949579832E-2</c:v>
                </c:pt>
                <c:pt idx="16297">
                  <c:v>-1.84873949579832E-2</c:v>
                </c:pt>
                <c:pt idx="16298">
                  <c:v>-1.84873949579832E-2</c:v>
                </c:pt>
                <c:pt idx="16299">
                  <c:v>-1.7647058823529401E-2</c:v>
                </c:pt>
                <c:pt idx="16300">
                  <c:v>-1.7647058823529401E-2</c:v>
                </c:pt>
                <c:pt idx="16301">
                  <c:v>-1.7647058823529401E-2</c:v>
                </c:pt>
                <c:pt idx="16302">
                  <c:v>-1.7647058823529401E-2</c:v>
                </c:pt>
                <c:pt idx="16303">
                  <c:v>-1.7647058823529401E-2</c:v>
                </c:pt>
                <c:pt idx="16304">
                  <c:v>-1.7647058823529401E-2</c:v>
                </c:pt>
                <c:pt idx="16305">
                  <c:v>-1.7647058823529401E-2</c:v>
                </c:pt>
                <c:pt idx="16306">
                  <c:v>-1.7647058823529401E-2</c:v>
                </c:pt>
                <c:pt idx="16307">
                  <c:v>-1.84873949579832E-2</c:v>
                </c:pt>
                <c:pt idx="16308">
                  <c:v>-1.84873949579832E-2</c:v>
                </c:pt>
                <c:pt idx="16309">
                  <c:v>-1.84873949579832E-2</c:v>
                </c:pt>
                <c:pt idx="16310">
                  <c:v>-1.84873949579832E-2</c:v>
                </c:pt>
                <c:pt idx="16311">
                  <c:v>-1.84873949579832E-2</c:v>
                </c:pt>
                <c:pt idx="16312">
                  <c:v>-1.84873949579832E-2</c:v>
                </c:pt>
                <c:pt idx="16313">
                  <c:v>-1.9327731092437E-2</c:v>
                </c:pt>
                <c:pt idx="16314">
                  <c:v>-1.9327731092437E-2</c:v>
                </c:pt>
                <c:pt idx="16315">
                  <c:v>-1.9327731092437E-2</c:v>
                </c:pt>
                <c:pt idx="16316">
                  <c:v>-1.9327731092437E-2</c:v>
                </c:pt>
                <c:pt idx="16317">
                  <c:v>-2.0168067226890699E-2</c:v>
                </c:pt>
                <c:pt idx="16318">
                  <c:v>-2.0168067226890699E-2</c:v>
                </c:pt>
                <c:pt idx="16319">
                  <c:v>-2.0168067226890699E-2</c:v>
                </c:pt>
                <c:pt idx="16320">
                  <c:v>-2.0168067226890699E-2</c:v>
                </c:pt>
                <c:pt idx="16321">
                  <c:v>-2.0168067226890699E-2</c:v>
                </c:pt>
                <c:pt idx="16322">
                  <c:v>-2.0168067226890699E-2</c:v>
                </c:pt>
                <c:pt idx="16323">
                  <c:v>-2.0168067226890699E-2</c:v>
                </c:pt>
                <c:pt idx="16324">
                  <c:v>-2.0168067226890699E-2</c:v>
                </c:pt>
                <c:pt idx="16325">
                  <c:v>-2.0168067226890699E-2</c:v>
                </c:pt>
                <c:pt idx="16326">
                  <c:v>-2.0168067226890699E-2</c:v>
                </c:pt>
                <c:pt idx="16327">
                  <c:v>-1.9327731092437E-2</c:v>
                </c:pt>
                <c:pt idx="16328">
                  <c:v>-1.9327731092437E-2</c:v>
                </c:pt>
                <c:pt idx="16329">
                  <c:v>-1.9327731092437E-2</c:v>
                </c:pt>
                <c:pt idx="16330">
                  <c:v>-1.9327731092437E-2</c:v>
                </c:pt>
                <c:pt idx="16331">
                  <c:v>-1.9327731092437E-2</c:v>
                </c:pt>
                <c:pt idx="16332">
                  <c:v>-1.9327731092437E-2</c:v>
                </c:pt>
                <c:pt idx="16333">
                  <c:v>-1.9327731092437E-2</c:v>
                </c:pt>
                <c:pt idx="16334">
                  <c:v>-1.9327731092437E-2</c:v>
                </c:pt>
                <c:pt idx="16335">
                  <c:v>-1.84873949579832E-2</c:v>
                </c:pt>
                <c:pt idx="16336">
                  <c:v>-1.84873949579832E-2</c:v>
                </c:pt>
                <c:pt idx="16337">
                  <c:v>-1.84873949579832E-2</c:v>
                </c:pt>
                <c:pt idx="16338">
                  <c:v>-1.84873949579832E-2</c:v>
                </c:pt>
                <c:pt idx="16339">
                  <c:v>-1.84873949579832E-2</c:v>
                </c:pt>
                <c:pt idx="16340">
                  <c:v>-1.84873949579832E-2</c:v>
                </c:pt>
                <c:pt idx="16341">
                  <c:v>-1.84873949579832E-2</c:v>
                </c:pt>
                <c:pt idx="16342">
                  <c:v>-1.84873949579832E-2</c:v>
                </c:pt>
                <c:pt idx="16343">
                  <c:v>-1.84873949579832E-2</c:v>
                </c:pt>
                <c:pt idx="16344">
                  <c:v>-1.84873949579832E-2</c:v>
                </c:pt>
                <c:pt idx="16345">
                  <c:v>-1.84873949579832E-2</c:v>
                </c:pt>
                <c:pt idx="16346">
                  <c:v>-1.84873949579832E-2</c:v>
                </c:pt>
                <c:pt idx="16347">
                  <c:v>-1.84873949579832E-2</c:v>
                </c:pt>
                <c:pt idx="16348">
                  <c:v>-1.84873949579832E-2</c:v>
                </c:pt>
                <c:pt idx="16349">
                  <c:v>-1.84873949579832E-2</c:v>
                </c:pt>
                <c:pt idx="16350">
                  <c:v>-1.84873949579832E-2</c:v>
                </c:pt>
                <c:pt idx="16351">
                  <c:v>-1.84873949579832E-2</c:v>
                </c:pt>
                <c:pt idx="16352">
                  <c:v>-1.84873949579832E-2</c:v>
                </c:pt>
                <c:pt idx="16353">
                  <c:v>-1.84873949579832E-2</c:v>
                </c:pt>
                <c:pt idx="16354">
                  <c:v>-1.84873949579832E-2</c:v>
                </c:pt>
                <c:pt idx="16355">
                  <c:v>-1.84873949579832E-2</c:v>
                </c:pt>
                <c:pt idx="16356">
                  <c:v>-1.84873949579832E-2</c:v>
                </c:pt>
                <c:pt idx="16357">
                  <c:v>-1.84873949579832E-2</c:v>
                </c:pt>
                <c:pt idx="16358">
                  <c:v>-1.84873949579832E-2</c:v>
                </c:pt>
                <c:pt idx="16359">
                  <c:v>-1.84873949579832E-2</c:v>
                </c:pt>
                <c:pt idx="16360">
                  <c:v>-1.84873949579832E-2</c:v>
                </c:pt>
                <c:pt idx="16361">
                  <c:v>-1.84873949579832E-2</c:v>
                </c:pt>
                <c:pt idx="16362">
                  <c:v>-1.84873949579832E-2</c:v>
                </c:pt>
                <c:pt idx="16363">
                  <c:v>-1.84873949579832E-2</c:v>
                </c:pt>
                <c:pt idx="16364">
                  <c:v>-1.84873949579832E-2</c:v>
                </c:pt>
                <c:pt idx="16365">
                  <c:v>-1.84873949579832E-2</c:v>
                </c:pt>
                <c:pt idx="16366">
                  <c:v>-1.84873949579832E-2</c:v>
                </c:pt>
                <c:pt idx="16367">
                  <c:v>-1.84873949579832E-2</c:v>
                </c:pt>
                <c:pt idx="16368">
                  <c:v>-1.84873949579832E-2</c:v>
                </c:pt>
                <c:pt idx="16369">
                  <c:v>-1.84873949579832E-2</c:v>
                </c:pt>
                <c:pt idx="16370">
                  <c:v>-1.84873949579832E-2</c:v>
                </c:pt>
                <c:pt idx="16371">
                  <c:v>-1.84873949579832E-2</c:v>
                </c:pt>
                <c:pt idx="16372">
                  <c:v>-1.84873949579832E-2</c:v>
                </c:pt>
                <c:pt idx="16373">
                  <c:v>-1.84873949579832E-2</c:v>
                </c:pt>
                <c:pt idx="16374">
                  <c:v>-1.84873949579832E-2</c:v>
                </c:pt>
                <c:pt idx="16375">
                  <c:v>-1.84873949579832E-2</c:v>
                </c:pt>
                <c:pt idx="16376">
                  <c:v>-1.84873949579832E-2</c:v>
                </c:pt>
                <c:pt idx="16377">
                  <c:v>-1.84873949579832E-2</c:v>
                </c:pt>
                <c:pt idx="16378">
                  <c:v>-1.84873949579832E-2</c:v>
                </c:pt>
                <c:pt idx="16379">
                  <c:v>-1.84873949579832E-2</c:v>
                </c:pt>
                <c:pt idx="16380">
                  <c:v>-1.84873949579832E-2</c:v>
                </c:pt>
                <c:pt idx="16381">
                  <c:v>-1.84873949579832E-2</c:v>
                </c:pt>
                <c:pt idx="16382">
                  <c:v>-1.84873949579832E-2</c:v>
                </c:pt>
                <c:pt idx="16383">
                  <c:v>-1.84873949579832E-2</c:v>
                </c:pt>
                <c:pt idx="16384">
                  <c:v>-1.84873949579832E-2</c:v>
                </c:pt>
                <c:pt idx="16385">
                  <c:v>-1.84873949579832E-2</c:v>
                </c:pt>
                <c:pt idx="16386">
                  <c:v>-1.84873949579832E-2</c:v>
                </c:pt>
                <c:pt idx="16387">
                  <c:v>-1.84873949579832E-2</c:v>
                </c:pt>
                <c:pt idx="16388">
                  <c:v>-1.84873949579832E-2</c:v>
                </c:pt>
                <c:pt idx="16389">
                  <c:v>-1.84873949579832E-2</c:v>
                </c:pt>
                <c:pt idx="16390">
                  <c:v>-1.84873949579832E-2</c:v>
                </c:pt>
                <c:pt idx="16391">
                  <c:v>-1.84873949579832E-2</c:v>
                </c:pt>
                <c:pt idx="16392">
                  <c:v>-1.84873949579832E-2</c:v>
                </c:pt>
                <c:pt idx="16393">
                  <c:v>-1.84873949579832E-2</c:v>
                </c:pt>
                <c:pt idx="16394">
                  <c:v>-1.84873949579832E-2</c:v>
                </c:pt>
                <c:pt idx="16395">
                  <c:v>-1.84873949579832E-2</c:v>
                </c:pt>
                <c:pt idx="16396">
                  <c:v>-1.84873949579832E-2</c:v>
                </c:pt>
                <c:pt idx="16397">
                  <c:v>-1.84873949579832E-2</c:v>
                </c:pt>
                <c:pt idx="16398">
                  <c:v>-1.84873949579832E-2</c:v>
                </c:pt>
                <c:pt idx="16399">
                  <c:v>-1.84873949579832E-2</c:v>
                </c:pt>
                <c:pt idx="16400">
                  <c:v>-1.84873949579832E-2</c:v>
                </c:pt>
                <c:pt idx="16401">
                  <c:v>-1.84873949579832E-2</c:v>
                </c:pt>
                <c:pt idx="16402">
                  <c:v>-1.84873949579832E-2</c:v>
                </c:pt>
                <c:pt idx="16403">
                  <c:v>-1.84873949579832E-2</c:v>
                </c:pt>
                <c:pt idx="16404">
                  <c:v>-1.84873949579832E-2</c:v>
                </c:pt>
                <c:pt idx="16405">
                  <c:v>-1.84873949579832E-2</c:v>
                </c:pt>
                <c:pt idx="16406">
                  <c:v>-1.84873949579832E-2</c:v>
                </c:pt>
                <c:pt idx="16407">
                  <c:v>-1.84873949579832E-2</c:v>
                </c:pt>
                <c:pt idx="16408">
                  <c:v>-1.84873949579832E-2</c:v>
                </c:pt>
                <c:pt idx="16409">
                  <c:v>-1.84873949579832E-2</c:v>
                </c:pt>
                <c:pt idx="16410">
                  <c:v>-1.84873949579832E-2</c:v>
                </c:pt>
                <c:pt idx="16411">
                  <c:v>-1.84873949579832E-2</c:v>
                </c:pt>
                <c:pt idx="16412">
                  <c:v>-1.84873949579832E-2</c:v>
                </c:pt>
                <c:pt idx="16413">
                  <c:v>-1.84873949579832E-2</c:v>
                </c:pt>
                <c:pt idx="16414">
                  <c:v>-1.84873949579832E-2</c:v>
                </c:pt>
                <c:pt idx="16415">
                  <c:v>-1.84873949579832E-2</c:v>
                </c:pt>
                <c:pt idx="16416">
                  <c:v>-1.84873949579832E-2</c:v>
                </c:pt>
                <c:pt idx="16417">
                  <c:v>-1.84873949579832E-2</c:v>
                </c:pt>
                <c:pt idx="16418">
                  <c:v>-1.84873949579832E-2</c:v>
                </c:pt>
                <c:pt idx="16419">
                  <c:v>-1.84873949579832E-2</c:v>
                </c:pt>
                <c:pt idx="16420">
                  <c:v>-1.84873949579832E-2</c:v>
                </c:pt>
                <c:pt idx="16421">
                  <c:v>-1.84873949579832E-2</c:v>
                </c:pt>
                <c:pt idx="16422">
                  <c:v>-1.84873949579832E-2</c:v>
                </c:pt>
                <c:pt idx="16423">
                  <c:v>-1.84873949579832E-2</c:v>
                </c:pt>
                <c:pt idx="16424">
                  <c:v>-1.84873949579832E-2</c:v>
                </c:pt>
                <c:pt idx="16425">
                  <c:v>-1.84873949579832E-2</c:v>
                </c:pt>
                <c:pt idx="16426">
                  <c:v>-1.84873949579832E-2</c:v>
                </c:pt>
                <c:pt idx="16427">
                  <c:v>-1.84873949579832E-2</c:v>
                </c:pt>
                <c:pt idx="16428">
                  <c:v>-1.84873949579832E-2</c:v>
                </c:pt>
                <c:pt idx="16429">
                  <c:v>-1.84873949579832E-2</c:v>
                </c:pt>
                <c:pt idx="16430">
                  <c:v>-1.84873949579832E-2</c:v>
                </c:pt>
                <c:pt idx="16431">
                  <c:v>-1.84873949579832E-2</c:v>
                </c:pt>
                <c:pt idx="16432">
                  <c:v>-1.84873949579832E-2</c:v>
                </c:pt>
                <c:pt idx="16433">
                  <c:v>-1.84873949579832E-2</c:v>
                </c:pt>
                <c:pt idx="16434">
                  <c:v>-1.84873949579832E-2</c:v>
                </c:pt>
                <c:pt idx="16435">
                  <c:v>-1.84873949579832E-2</c:v>
                </c:pt>
                <c:pt idx="16436">
                  <c:v>-1.84873949579832E-2</c:v>
                </c:pt>
                <c:pt idx="16437">
                  <c:v>-1.84873949579832E-2</c:v>
                </c:pt>
                <c:pt idx="16438">
                  <c:v>-1.84873949579832E-2</c:v>
                </c:pt>
                <c:pt idx="16439">
                  <c:v>-1.84873949579832E-2</c:v>
                </c:pt>
                <c:pt idx="16440">
                  <c:v>-1.84873949579832E-2</c:v>
                </c:pt>
                <c:pt idx="16441">
                  <c:v>-1.84873949579832E-2</c:v>
                </c:pt>
                <c:pt idx="16442">
                  <c:v>-1.7647058823529401E-2</c:v>
                </c:pt>
                <c:pt idx="16443">
                  <c:v>-1.7647058823529401E-2</c:v>
                </c:pt>
                <c:pt idx="16444">
                  <c:v>-1.7647058823529401E-2</c:v>
                </c:pt>
                <c:pt idx="16445">
                  <c:v>-1.7647058823529401E-2</c:v>
                </c:pt>
                <c:pt idx="16446">
                  <c:v>-1.7647058823529401E-2</c:v>
                </c:pt>
                <c:pt idx="16447">
                  <c:v>-1.7647058823529401E-2</c:v>
                </c:pt>
                <c:pt idx="16448">
                  <c:v>-1.7647058823529401E-2</c:v>
                </c:pt>
                <c:pt idx="16449">
                  <c:v>-1.7647058823529401E-2</c:v>
                </c:pt>
                <c:pt idx="16450">
                  <c:v>-1.84873949579832E-2</c:v>
                </c:pt>
                <c:pt idx="16451">
                  <c:v>-1.84873949579832E-2</c:v>
                </c:pt>
                <c:pt idx="16452">
                  <c:v>-1.84873949579832E-2</c:v>
                </c:pt>
                <c:pt idx="16453">
                  <c:v>-1.84873949579832E-2</c:v>
                </c:pt>
                <c:pt idx="16454">
                  <c:v>-1.84873949579832E-2</c:v>
                </c:pt>
                <c:pt idx="16455">
                  <c:v>-1.84873949579832E-2</c:v>
                </c:pt>
                <c:pt idx="16456">
                  <c:v>-1.84873949579832E-2</c:v>
                </c:pt>
                <c:pt idx="16457">
                  <c:v>-1.84873949579832E-2</c:v>
                </c:pt>
                <c:pt idx="16458">
                  <c:v>-1.84873949579832E-2</c:v>
                </c:pt>
                <c:pt idx="16459">
                  <c:v>-1.84873949579832E-2</c:v>
                </c:pt>
                <c:pt idx="16460">
                  <c:v>-1.84873949579832E-2</c:v>
                </c:pt>
                <c:pt idx="16461">
                  <c:v>-1.84873949579832E-2</c:v>
                </c:pt>
                <c:pt idx="16462">
                  <c:v>-1.84873949579832E-2</c:v>
                </c:pt>
                <c:pt idx="16463">
                  <c:v>-1.84873949579832E-2</c:v>
                </c:pt>
                <c:pt idx="16464">
                  <c:v>-1.84873949579832E-2</c:v>
                </c:pt>
                <c:pt idx="16465">
                  <c:v>-1.84873949579832E-2</c:v>
                </c:pt>
                <c:pt idx="16466">
                  <c:v>-1.84873949579832E-2</c:v>
                </c:pt>
                <c:pt idx="16467">
                  <c:v>-1.84873949579832E-2</c:v>
                </c:pt>
                <c:pt idx="16468">
                  <c:v>-1.84873949579832E-2</c:v>
                </c:pt>
                <c:pt idx="16469">
                  <c:v>-1.84873949579832E-2</c:v>
                </c:pt>
                <c:pt idx="16470">
                  <c:v>-1.84873949579832E-2</c:v>
                </c:pt>
                <c:pt idx="16471">
                  <c:v>-1.84873949579832E-2</c:v>
                </c:pt>
                <c:pt idx="16472">
                  <c:v>-1.84873949579832E-2</c:v>
                </c:pt>
                <c:pt idx="16473">
                  <c:v>-1.84873949579832E-2</c:v>
                </c:pt>
                <c:pt idx="16474">
                  <c:v>-1.84873949579832E-2</c:v>
                </c:pt>
                <c:pt idx="16475">
                  <c:v>-1.84873949579832E-2</c:v>
                </c:pt>
                <c:pt idx="16476">
                  <c:v>-1.84873949579832E-2</c:v>
                </c:pt>
                <c:pt idx="16477">
                  <c:v>-1.9327731092437E-2</c:v>
                </c:pt>
                <c:pt idx="16478">
                  <c:v>-1.9327731092437E-2</c:v>
                </c:pt>
                <c:pt idx="16479">
                  <c:v>-1.9327731092437E-2</c:v>
                </c:pt>
                <c:pt idx="16480">
                  <c:v>-1.9327731092437E-2</c:v>
                </c:pt>
                <c:pt idx="16481">
                  <c:v>-1.9327731092437E-2</c:v>
                </c:pt>
                <c:pt idx="16482">
                  <c:v>-1.9327731092437E-2</c:v>
                </c:pt>
                <c:pt idx="16483">
                  <c:v>-2.0168067226890699E-2</c:v>
                </c:pt>
                <c:pt idx="16484">
                  <c:v>-2.0168067226890699E-2</c:v>
                </c:pt>
                <c:pt idx="16485">
                  <c:v>-2.0168067226890699E-2</c:v>
                </c:pt>
                <c:pt idx="16486">
                  <c:v>-2.0168067226890699E-2</c:v>
                </c:pt>
                <c:pt idx="16487">
                  <c:v>-2.0168067226890699E-2</c:v>
                </c:pt>
                <c:pt idx="16488">
                  <c:v>-2.0168067226890699E-2</c:v>
                </c:pt>
                <c:pt idx="16489">
                  <c:v>-2.0168067226890699E-2</c:v>
                </c:pt>
                <c:pt idx="16490">
                  <c:v>-2.0168067226890699E-2</c:v>
                </c:pt>
                <c:pt idx="16491">
                  <c:v>-2.0168067226890699E-2</c:v>
                </c:pt>
                <c:pt idx="16492">
                  <c:v>-2.0168067226890699E-2</c:v>
                </c:pt>
                <c:pt idx="16493">
                  <c:v>-2.0168067226890699E-2</c:v>
                </c:pt>
                <c:pt idx="16494">
                  <c:v>-2.0168067226890699E-2</c:v>
                </c:pt>
                <c:pt idx="16495">
                  <c:v>-2.0168067226890699E-2</c:v>
                </c:pt>
                <c:pt idx="16496">
                  <c:v>-2.0168067226890699E-2</c:v>
                </c:pt>
                <c:pt idx="16497">
                  <c:v>-2.0168067226890699E-2</c:v>
                </c:pt>
                <c:pt idx="16498">
                  <c:v>-2.0168067226890699E-2</c:v>
                </c:pt>
                <c:pt idx="16499">
                  <c:v>-2.0168067226890699E-2</c:v>
                </c:pt>
                <c:pt idx="16500">
                  <c:v>-2.0168067226890699E-2</c:v>
                </c:pt>
                <c:pt idx="16501">
                  <c:v>-2.0168067226890699E-2</c:v>
                </c:pt>
                <c:pt idx="16502">
                  <c:v>-2.1008403361344501E-2</c:v>
                </c:pt>
                <c:pt idx="16503">
                  <c:v>-2.1008403361344501E-2</c:v>
                </c:pt>
                <c:pt idx="16504">
                  <c:v>-2.1008403361344501E-2</c:v>
                </c:pt>
                <c:pt idx="16505">
                  <c:v>-2.1008403361344501E-2</c:v>
                </c:pt>
                <c:pt idx="16506">
                  <c:v>-2.1008403361344501E-2</c:v>
                </c:pt>
                <c:pt idx="16507">
                  <c:v>-2.1848739495798301E-2</c:v>
                </c:pt>
                <c:pt idx="16508">
                  <c:v>-2.1848739495798301E-2</c:v>
                </c:pt>
                <c:pt idx="16509">
                  <c:v>-2.1848739495798301E-2</c:v>
                </c:pt>
                <c:pt idx="16510">
                  <c:v>-2.1848739495798301E-2</c:v>
                </c:pt>
                <c:pt idx="16511">
                  <c:v>-2.1848739495798301E-2</c:v>
                </c:pt>
                <c:pt idx="16512">
                  <c:v>-2.1848739495798301E-2</c:v>
                </c:pt>
                <c:pt idx="16513">
                  <c:v>-2.1848739495798301E-2</c:v>
                </c:pt>
                <c:pt idx="16514">
                  <c:v>-2.1848739495798301E-2</c:v>
                </c:pt>
                <c:pt idx="16515">
                  <c:v>-2.1848739495798301E-2</c:v>
                </c:pt>
                <c:pt idx="16516">
                  <c:v>-2.1848739495798301E-2</c:v>
                </c:pt>
                <c:pt idx="16517">
                  <c:v>-2.1848739495798301E-2</c:v>
                </c:pt>
                <c:pt idx="16518">
                  <c:v>-2.1848739495798301E-2</c:v>
                </c:pt>
                <c:pt idx="16519">
                  <c:v>-2.1848739495798301E-2</c:v>
                </c:pt>
                <c:pt idx="16520">
                  <c:v>-2.1848739495798301E-2</c:v>
                </c:pt>
                <c:pt idx="16521">
                  <c:v>-2.1848739495798301E-2</c:v>
                </c:pt>
                <c:pt idx="16522">
                  <c:v>-2.1848739495798301E-2</c:v>
                </c:pt>
                <c:pt idx="16523">
                  <c:v>-2.1848739495798301E-2</c:v>
                </c:pt>
                <c:pt idx="16524">
                  <c:v>-2.1848739495798301E-2</c:v>
                </c:pt>
                <c:pt idx="16525">
                  <c:v>-2.1848739495798301E-2</c:v>
                </c:pt>
                <c:pt idx="16526">
                  <c:v>-2.1848739495798301E-2</c:v>
                </c:pt>
                <c:pt idx="16527">
                  <c:v>-2.1848739495798301E-2</c:v>
                </c:pt>
                <c:pt idx="16528">
                  <c:v>-2.1848739495798301E-2</c:v>
                </c:pt>
                <c:pt idx="16529">
                  <c:v>-2.1848739495798301E-2</c:v>
                </c:pt>
                <c:pt idx="16530">
                  <c:v>-2.1848739495798301E-2</c:v>
                </c:pt>
                <c:pt idx="16531">
                  <c:v>-2.1848739495798301E-2</c:v>
                </c:pt>
                <c:pt idx="16532">
                  <c:v>-2.1848739495798301E-2</c:v>
                </c:pt>
                <c:pt idx="16533">
                  <c:v>-2.1848739495798301E-2</c:v>
                </c:pt>
                <c:pt idx="16534">
                  <c:v>-2.1848739495798301E-2</c:v>
                </c:pt>
                <c:pt idx="16535">
                  <c:v>-2.1848739495798301E-2</c:v>
                </c:pt>
                <c:pt idx="16536">
                  <c:v>-2.1848739495798301E-2</c:v>
                </c:pt>
                <c:pt idx="16537">
                  <c:v>-2.1848739495798301E-2</c:v>
                </c:pt>
                <c:pt idx="16538">
                  <c:v>-2.1848739495798301E-2</c:v>
                </c:pt>
                <c:pt idx="16539">
                  <c:v>-2.1848739495798301E-2</c:v>
                </c:pt>
                <c:pt idx="16540">
                  <c:v>-2.1848739495798301E-2</c:v>
                </c:pt>
                <c:pt idx="16541">
                  <c:v>-2.1848739495798301E-2</c:v>
                </c:pt>
                <c:pt idx="16542">
                  <c:v>-2.1848739495798301E-2</c:v>
                </c:pt>
                <c:pt idx="16543">
                  <c:v>-2.1848739495798301E-2</c:v>
                </c:pt>
                <c:pt idx="16544">
                  <c:v>-2.1848739495798301E-2</c:v>
                </c:pt>
                <c:pt idx="16545">
                  <c:v>-2.1848739495798301E-2</c:v>
                </c:pt>
                <c:pt idx="16546">
                  <c:v>-2.1848739495798301E-2</c:v>
                </c:pt>
                <c:pt idx="16547">
                  <c:v>-2.1848739495798301E-2</c:v>
                </c:pt>
                <c:pt idx="16548">
                  <c:v>-2.1848739495798301E-2</c:v>
                </c:pt>
                <c:pt idx="16549">
                  <c:v>-2.1848739495798301E-2</c:v>
                </c:pt>
                <c:pt idx="16550">
                  <c:v>-2.1848739495798301E-2</c:v>
                </c:pt>
                <c:pt idx="16551">
                  <c:v>-2.1848739495798301E-2</c:v>
                </c:pt>
                <c:pt idx="16552">
                  <c:v>-2.1848739495798301E-2</c:v>
                </c:pt>
                <c:pt idx="16553">
                  <c:v>-2.1848739495798301E-2</c:v>
                </c:pt>
                <c:pt idx="16554">
                  <c:v>-2.1848739495798301E-2</c:v>
                </c:pt>
                <c:pt idx="16555">
                  <c:v>-2.1848739495798301E-2</c:v>
                </c:pt>
                <c:pt idx="16556">
                  <c:v>-2.1848739495798301E-2</c:v>
                </c:pt>
                <c:pt idx="16557">
                  <c:v>-2.1848739495798301E-2</c:v>
                </c:pt>
                <c:pt idx="16558">
                  <c:v>-2.1848739495798301E-2</c:v>
                </c:pt>
                <c:pt idx="16559">
                  <c:v>-2.1848739495798301E-2</c:v>
                </c:pt>
                <c:pt idx="16560">
                  <c:v>-2.1848739495798301E-2</c:v>
                </c:pt>
                <c:pt idx="16561">
                  <c:v>-2.1848739495798301E-2</c:v>
                </c:pt>
                <c:pt idx="16562">
                  <c:v>-2.1848739495798301E-2</c:v>
                </c:pt>
                <c:pt idx="16563">
                  <c:v>-2.1848739495798301E-2</c:v>
                </c:pt>
                <c:pt idx="16564">
                  <c:v>-2.1848739495798301E-2</c:v>
                </c:pt>
                <c:pt idx="16565">
                  <c:v>-2.1848739495798301E-2</c:v>
                </c:pt>
                <c:pt idx="16566">
                  <c:v>-2.1848739495798301E-2</c:v>
                </c:pt>
                <c:pt idx="16567">
                  <c:v>-2.1848739495798301E-2</c:v>
                </c:pt>
                <c:pt idx="16568">
                  <c:v>-2.1848739495798301E-2</c:v>
                </c:pt>
                <c:pt idx="16569">
                  <c:v>-2.1848739495798301E-2</c:v>
                </c:pt>
                <c:pt idx="16570">
                  <c:v>-2.1848739495798301E-2</c:v>
                </c:pt>
                <c:pt idx="16571">
                  <c:v>-2.1848739495798301E-2</c:v>
                </c:pt>
                <c:pt idx="16572">
                  <c:v>-2.1848739495798301E-2</c:v>
                </c:pt>
                <c:pt idx="16573">
                  <c:v>-2.1848739495798301E-2</c:v>
                </c:pt>
                <c:pt idx="16574">
                  <c:v>-2.1848739495798301E-2</c:v>
                </c:pt>
                <c:pt idx="16575">
                  <c:v>-2.1848739495798301E-2</c:v>
                </c:pt>
                <c:pt idx="16576">
                  <c:v>-2.1848739495798301E-2</c:v>
                </c:pt>
                <c:pt idx="16577">
                  <c:v>-2.26890756302521E-2</c:v>
                </c:pt>
                <c:pt idx="16578">
                  <c:v>-2.26890756302521E-2</c:v>
                </c:pt>
                <c:pt idx="16579">
                  <c:v>-2.26890756302521E-2</c:v>
                </c:pt>
                <c:pt idx="16580">
                  <c:v>-2.26890756302521E-2</c:v>
                </c:pt>
                <c:pt idx="16581">
                  <c:v>-2.26890756302521E-2</c:v>
                </c:pt>
                <c:pt idx="16582">
                  <c:v>-2.26890756302521E-2</c:v>
                </c:pt>
                <c:pt idx="16583">
                  <c:v>-2.26890756302521E-2</c:v>
                </c:pt>
                <c:pt idx="16584">
                  <c:v>-2.26890756302521E-2</c:v>
                </c:pt>
                <c:pt idx="16585">
                  <c:v>-2.26890756302521E-2</c:v>
                </c:pt>
                <c:pt idx="16586">
                  <c:v>-2.26890756302521E-2</c:v>
                </c:pt>
                <c:pt idx="16587">
                  <c:v>-2.26890756302521E-2</c:v>
                </c:pt>
                <c:pt idx="16588">
                  <c:v>-2.26890756302521E-2</c:v>
                </c:pt>
                <c:pt idx="16589">
                  <c:v>-2.26890756302521E-2</c:v>
                </c:pt>
                <c:pt idx="16590">
                  <c:v>-2.26890756302521E-2</c:v>
                </c:pt>
                <c:pt idx="16591">
                  <c:v>-2.26890756302521E-2</c:v>
                </c:pt>
                <c:pt idx="16592">
                  <c:v>-2.26890756302521E-2</c:v>
                </c:pt>
                <c:pt idx="16593">
                  <c:v>-2.26890756302521E-2</c:v>
                </c:pt>
                <c:pt idx="16594">
                  <c:v>-2.26890756302521E-2</c:v>
                </c:pt>
                <c:pt idx="16595">
                  <c:v>-2.26890756302521E-2</c:v>
                </c:pt>
                <c:pt idx="16596">
                  <c:v>-2.26890756302521E-2</c:v>
                </c:pt>
                <c:pt idx="16597">
                  <c:v>-2.26890756302521E-2</c:v>
                </c:pt>
                <c:pt idx="16598">
                  <c:v>-2.26890756302521E-2</c:v>
                </c:pt>
                <c:pt idx="16599">
                  <c:v>-2.26890756302521E-2</c:v>
                </c:pt>
                <c:pt idx="16600">
                  <c:v>-2.26890756302521E-2</c:v>
                </c:pt>
                <c:pt idx="16601">
                  <c:v>-2.26890756302521E-2</c:v>
                </c:pt>
                <c:pt idx="16602">
                  <c:v>-2.26890756302521E-2</c:v>
                </c:pt>
                <c:pt idx="16603">
                  <c:v>-2.26890756302521E-2</c:v>
                </c:pt>
                <c:pt idx="16604">
                  <c:v>-2.26890756302521E-2</c:v>
                </c:pt>
                <c:pt idx="16605">
                  <c:v>-2.26890756302521E-2</c:v>
                </c:pt>
                <c:pt idx="16606">
                  <c:v>-2.26890756302521E-2</c:v>
                </c:pt>
                <c:pt idx="16607">
                  <c:v>-2.26890756302521E-2</c:v>
                </c:pt>
                <c:pt idx="16608">
                  <c:v>-2.26890756302521E-2</c:v>
                </c:pt>
                <c:pt idx="16609">
                  <c:v>-2.1848739495798301E-2</c:v>
                </c:pt>
                <c:pt idx="16610">
                  <c:v>-2.1848739495798301E-2</c:v>
                </c:pt>
                <c:pt idx="16611">
                  <c:v>-2.1848739495798301E-2</c:v>
                </c:pt>
                <c:pt idx="16612">
                  <c:v>-2.1848739495798301E-2</c:v>
                </c:pt>
                <c:pt idx="16613">
                  <c:v>-2.1848739495798301E-2</c:v>
                </c:pt>
                <c:pt idx="16614">
                  <c:v>-2.1848739495798301E-2</c:v>
                </c:pt>
                <c:pt idx="16615">
                  <c:v>-2.1848739495798301E-2</c:v>
                </c:pt>
                <c:pt idx="16616">
                  <c:v>-2.1848739495798301E-2</c:v>
                </c:pt>
                <c:pt idx="16617">
                  <c:v>-2.1848739495798301E-2</c:v>
                </c:pt>
                <c:pt idx="16618">
                  <c:v>-2.1848739495798301E-2</c:v>
                </c:pt>
                <c:pt idx="16619">
                  <c:v>-2.1848739495798301E-2</c:v>
                </c:pt>
                <c:pt idx="16620">
                  <c:v>-2.1848739495798301E-2</c:v>
                </c:pt>
                <c:pt idx="16621">
                  <c:v>-2.1848739495798301E-2</c:v>
                </c:pt>
                <c:pt idx="16622">
                  <c:v>-2.1848739495798301E-2</c:v>
                </c:pt>
                <c:pt idx="16623">
                  <c:v>-2.1848739495798301E-2</c:v>
                </c:pt>
                <c:pt idx="16624">
                  <c:v>-2.1848739495798301E-2</c:v>
                </c:pt>
                <c:pt idx="16625">
                  <c:v>-2.1848739495798301E-2</c:v>
                </c:pt>
                <c:pt idx="16626">
                  <c:v>-2.1848739495798301E-2</c:v>
                </c:pt>
                <c:pt idx="16627">
                  <c:v>-2.1848739495798301E-2</c:v>
                </c:pt>
                <c:pt idx="16628">
                  <c:v>-2.1848739495798301E-2</c:v>
                </c:pt>
                <c:pt idx="16629">
                  <c:v>-2.1848739495798301E-2</c:v>
                </c:pt>
                <c:pt idx="16630">
                  <c:v>-2.1848739495798301E-2</c:v>
                </c:pt>
                <c:pt idx="16631">
                  <c:v>-2.1008403361344501E-2</c:v>
                </c:pt>
                <c:pt idx="16632">
                  <c:v>-2.1008403361344501E-2</c:v>
                </c:pt>
                <c:pt idx="16633">
                  <c:v>-2.1008403361344501E-2</c:v>
                </c:pt>
                <c:pt idx="16634">
                  <c:v>-2.1008403361344501E-2</c:v>
                </c:pt>
                <c:pt idx="16635">
                  <c:v>-2.1008403361344501E-2</c:v>
                </c:pt>
                <c:pt idx="16636">
                  <c:v>-2.1008403361344501E-2</c:v>
                </c:pt>
                <c:pt idx="16637">
                  <c:v>-2.1008403361344501E-2</c:v>
                </c:pt>
                <c:pt idx="16638">
                  <c:v>-2.1008403361344501E-2</c:v>
                </c:pt>
                <c:pt idx="16639">
                  <c:v>-2.1008403361344501E-2</c:v>
                </c:pt>
                <c:pt idx="16640">
                  <c:v>-2.1008403361344501E-2</c:v>
                </c:pt>
                <c:pt idx="16641">
                  <c:v>-2.1008403361344501E-2</c:v>
                </c:pt>
                <c:pt idx="16642">
                  <c:v>-2.1008403361344501E-2</c:v>
                </c:pt>
                <c:pt idx="16643">
                  <c:v>-2.1008403361344501E-2</c:v>
                </c:pt>
                <c:pt idx="16644">
                  <c:v>-2.1008403361344501E-2</c:v>
                </c:pt>
                <c:pt idx="16645">
                  <c:v>-2.1008403361344501E-2</c:v>
                </c:pt>
                <c:pt idx="16646">
                  <c:v>-2.1008403361344501E-2</c:v>
                </c:pt>
                <c:pt idx="16647">
                  <c:v>-2.0168067226890699E-2</c:v>
                </c:pt>
                <c:pt idx="16648">
                  <c:v>-2.0168067226890699E-2</c:v>
                </c:pt>
                <c:pt idx="16649">
                  <c:v>-2.0168067226890699E-2</c:v>
                </c:pt>
                <c:pt idx="16650">
                  <c:v>-2.0168067226890699E-2</c:v>
                </c:pt>
                <c:pt idx="16651">
                  <c:v>-1.9327731092437E-2</c:v>
                </c:pt>
                <c:pt idx="16652">
                  <c:v>-1.9327731092437E-2</c:v>
                </c:pt>
                <c:pt idx="16653">
                  <c:v>-1.9327731092437E-2</c:v>
                </c:pt>
                <c:pt idx="16654">
                  <c:v>-1.9327731092437E-2</c:v>
                </c:pt>
                <c:pt idx="16655">
                  <c:v>-1.9327731092437E-2</c:v>
                </c:pt>
                <c:pt idx="16656">
                  <c:v>-1.9327731092437E-2</c:v>
                </c:pt>
                <c:pt idx="16657">
                  <c:v>-1.9327731092437E-2</c:v>
                </c:pt>
                <c:pt idx="16658">
                  <c:v>-1.9327731092437E-2</c:v>
                </c:pt>
                <c:pt idx="16659">
                  <c:v>-1.9327731092437E-2</c:v>
                </c:pt>
                <c:pt idx="16660">
                  <c:v>-1.9327731092437E-2</c:v>
                </c:pt>
                <c:pt idx="16661">
                  <c:v>-1.9327731092437E-2</c:v>
                </c:pt>
                <c:pt idx="16662">
                  <c:v>-1.9327731092437E-2</c:v>
                </c:pt>
                <c:pt idx="16663">
                  <c:v>-1.9327731092437E-2</c:v>
                </c:pt>
                <c:pt idx="16664">
                  <c:v>-1.9327731092437E-2</c:v>
                </c:pt>
                <c:pt idx="16665">
                  <c:v>-1.9327731092437E-2</c:v>
                </c:pt>
                <c:pt idx="16666">
                  <c:v>-1.9327731092437E-2</c:v>
                </c:pt>
                <c:pt idx="16667">
                  <c:v>-1.9327731092437E-2</c:v>
                </c:pt>
                <c:pt idx="16668">
                  <c:v>-1.9327731092437E-2</c:v>
                </c:pt>
                <c:pt idx="16669">
                  <c:v>-1.9327731092437E-2</c:v>
                </c:pt>
                <c:pt idx="16670">
                  <c:v>-1.9327731092437E-2</c:v>
                </c:pt>
                <c:pt idx="16671">
                  <c:v>-2.0168067226890699E-2</c:v>
                </c:pt>
                <c:pt idx="16672">
                  <c:v>-2.0168067226890699E-2</c:v>
                </c:pt>
                <c:pt idx="16673">
                  <c:v>-1.9327731092436899E-2</c:v>
                </c:pt>
                <c:pt idx="16674">
                  <c:v>-1.9327731092436899E-2</c:v>
                </c:pt>
                <c:pt idx="16675">
                  <c:v>-1.9327731092436899E-2</c:v>
                </c:pt>
                <c:pt idx="16676">
                  <c:v>-1.9327731092436899E-2</c:v>
                </c:pt>
                <c:pt idx="16677">
                  <c:v>-1.9327731092436899E-2</c:v>
                </c:pt>
                <c:pt idx="16678">
                  <c:v>-1.9327731092436899E-2</c:v>
                </c:pt>
                <c:pt idx="16679">
                  <c:v>-1.9327731092436899E-2</c:v>
                </c:pt>
                <c:pt idx="16680">
                  <c:v>-1.9327731092436899E-2</c:v>
                </c:pt>
                <c:pt idx="16681">
                  <c:v>-1.9327731092436899E-2</c:v>
                </c:pt>
                <c:pt idx="16682">
                  <c:v>-1.9327731092436899E-2</c:v>
                </c:pt>
                <c:pt idx="16683">
                  <c:v>-1.9327731092436899E-2</c:v>
                </c:pt>
                <c:pt idx="16684">
                  <c:v>-1.9327731092436899E-2</c:v>
                </c:pt>
                <c:pt idx="16685">
                  <c:v>-1.9327731092436899E-2</c:v>
                </c:pt>
                <c:pt idx="16686">
                  <c:v>-1.9327731092436899E-2</c:v>
                </c:pt>
                <c:pt idx="16687">
                  <c:v>-1.9327731092436899E-2</c:v>
                </c:pt>
                <c:pt idx="16688">
                  <c:v>-1.9327731092436899E-2</c:v>
                </c:pt>
                <c:pt idx="16689">
                  <c:v>-1.9327731092436899E-2</c:v>
                </c:pt>
                <c:pt idx="16690">
                  <c:v>-1.9327731092436899E-2</c:v>
                </c:pt>
                <c:pt idx="16691">
                  <c:v>-1.9327731092436899E-2</c:v>
                </c:pt>
                <c:pt idx="16692">
                  <c:v>-1.9327731092436899E-2</c:v>
                </c:pt>
                <c:pt idx="16693">
                  <c:v>-1.9327731092436899E-2</c:v>
                </c:pt>
                <c:pt idx="16694">
                  <c:v>-1.9327731092436899E-2</c:v>
                </c:pt>
                <c:pt idx="16695">
                  <c:v>-1.9327731092436899E-2</c:v>
                </c:pt>
                <c:pt idx="16696">
                  <c:v>-1.9327731092436899E-2</c:v>
                </c:pt>
                <c:pt idx="16697">
                  <c:v>-1.9327731092436899E-2</c:v>
                </c:pt>
                <c:pt idx="16698">
                  <c:v>-1.9327731092436899E-2</c:v>
                </c:pt>
                <c:pt idx="16699">
                  <c:v>-1.84873949579831E-2</c:v>
                </c:pt>
                <c:pt idx="16700">
                  <c:v>-1.84873949579831E-2</c:v>
                </c:pt>
                <c:pt idx="16701">
                  <c:v>-1.84873949579831E-2</c:v>
                </c:pt>
                <c:pt idx="16702">
                  <c:v>-1.76470588235293E-2</c:v>
                </c:pt>
                <c:pt idx="16703">
                  <c:v>-1.76470588235293E-2</c:v>
                </c:pt>
                <c:pt idx="16704">
                  <c:v>-1.76470588235293E-2</c:v>
                </c:pt>
                <c:pt idx="16705">
                  <c:v>-1.76470588235293E-2</c:v>
                </c:pt>
                <c:pt idx="16706">
                  <c:v>-1.76470588235293E-2</c:v>
                </c:pt>
                <c:pt idx="16707">
                  <c:v>-1.76470588235293E-2</c:v>
                </c:pt>
                <c:pt idx="16708">
                  <c:v>-1.76470588235293E-2</c:v>
                </c:pt>
                <c:pt idx="16709">
                  <c:v>-1.76470588235293E-2</c:v>
                </c:pt>
                <c:pt idx="16710">
                  <c:v>-1.76470588235293E-2</c:v>
                </c:pt>
                <c:pt idx="16711">
                  <c:v>-1.76470588235293E-2</c:v>
                </c:pt>
                <c:pt idx="16712">
                  <c:v>-1.76470588235293E-2</c:v>
                </c:pt>
                <c:pt idx="16713">
                  <c:v>-1.76470588235293E-2</c:v>
                </c:pt>
                <c:pt idx="16714">
                  <c:v>-1.76470588235293E-2</c:v>
                </c:pt>
                <c:pt idx="16715">
                  <c:v>-1.76470588235293E-2</c:v>
                </c:pt>
                <c:pt idx="16716">
                  <c:v>-1.76470588235293E-2</c:v>
                </c:pt>
                <c:pt idx="16717">
                  <c:v>-1.76470588235293E-2</c:v>
                </c:pt>
                <c:pt idx="16718">
                  <c:v>-1.76470588235293E-2</c:v>
                </c:pt>
                <c:pt idx="16719">
                  <c:v>-1.76470588235293E-2</c:v>
                </c:pt>
                <c:pt idx="16720">
                  <c:v>-1.76470588235293E-2</c:v>
                </c:pt>
                <c:pt idx="16721">
                  <c:v>-1.76470588235293E-2</c:v>
                </c:pt>
                <c:pt idx="16722">
                  <c:v>-1.76470588235293E-2</c:v>
                </c:pt>
                <c:pt idx="16723">
                  <c:v>-1.76470588235293E-2</c:v>
                </c:pt>
                <c:pt idx="16724">
                  <c:v>-1.76470588235293E-2</c:v>
                </c:pt>
                <c:pt idx="16725">
                  <c:v>-1.76470588235293E-2</c:v>
                </c:pt>
                <c:pt idx="16726">
                  <c:v>-1.76470588235293E-2</c:v>
                </c:pt>
                <c:pt idx="16727">
                  <c:v>-1.76470588235293E-2</c:v>
                </c:pt>
                <c:pt idx="16728">
                  <c:v>-1.76470588235293E-2</c:v>
                </c:pt>
                <c:pt idx="16729">
                  <c:v>-1.76470588235293E-2</c:v>
                </c:pt>
                <c:pt idx="16730">
                  <c:v>-1.84873949579831E-2</c:v>
                </c:pt>
                <c:pt idx="16731">
                  <c:v>-1.84873949579831E-2</c:v>
                </c:pt>
                <c:pt idx="16732">
                  <c:v>-1.84873949579831E-2</c:v>
                </c:pt>
                <c:pt idx="16733">
                  <c:v>-1.84873949579831E-2</c:v>
                </c:pt>
                <c:pt idx="16734">
                  <c:v>-1.84873949579831E-2</c:v>
                </c:pt>
                <c:pt idx="16735">
                  <c:v>-1.84873949579831E-2</c:v>
                </c:pt>
                <c:pt idx="16736">
                  <c:v>-1.84873949579831E-2</c:v>
                </c:pt>
                <c:pt idx="16737">
                  <c:v>-1.84873949579831E-2</c:v>
                </c:pt>
                <c:pt idx="16738">
                  <c:v>-1.84873949579831E-2</c:v>
                </c:pt>
                <c:pt idx="16739">
                  <c:v>-1.84873949579831E-2</c:v>
                </c:pt>
                <c:pt idx="16740">
                  <c:v>-1.84873949579831E-2</c:v>
                </c:pt>
                <c:pt idx="16741">
                  <c:v>-1.84873949579831E-2</c:v>
                </c:pt>
                <c:pt idx="16742">
                  <c:v>-1.76470588235293E-2</c:v>
                </c:pt>
                <c:pt idx="16743">
                  <c:v>-1.76470588235293E-2</c:v>
                </c:pt>
                <c:pt idx="16744">
                  <c:v>-1.76470588235293E-2</c:v>
                </c:pt>
                <c:pt idx="16745">
                  <c:v>-1.76470588235293E-2</c:v>
                </c:pt>
                <c:pt idx="16746">
                  <c:v>-1.76470588235293E-2</c:v>
                </c:pt>
                <c:pt idx="16747">
                  <c:v>-1.76470588235293E-2</c:v>
                </c:pt>
                <c:pt idx="16748">
                  <c:v>-1.76470588235293E-2</c:v>
                </c:pt>
                <c:pt idx="16749">
                  <c:v>-1.76470588235293E-2</c:v>
                </c:pt>
                <c:pt idx="16750">
                  <c:v>-1.76470588235293E-2</c:v>
                </c:pt>
                <c:pt idx="16751">
                  <c:v>-1.76470588235293E-2</c:v>
                </c:pt>
                <c:pt idx="16752">
                  <c:v>-1.76470588235293E-2</c:v>
                </c:pt>
                <c:pt idx="16753">
                  <c:v>-1.76470588235293E-2</c:v>
                </c:pt>
                <c:pt idx="16754">
                  <c:v>-1.76470588235293E-2</c:v>
                </c:pt>
                <c:pt idx="16755">
                  <c:v>-1.76470588235293E-2</c:v>
                </c:pt>
                <c:pt idx="16756">
                  <c:v>-1.76470588235293E-2</c:v>
                </c:pt>
                <c:pt idx="16757">
                  <c:v>-1.76470588235293E-2</c:v>
                </c:pt>
                <c:pt idx="16758">
                  <c:v>-1.76470588235293E-2</c:v>
                </c:pt>
                <c:pt idx="16759">
                  <c:v>-1.76470588235293E-2</c:v>
                </c:pt>
                <c:pt idx="16760">
                  <c:v>-1.76470588235293E-2</c:v>
                </c:pt>
                <c:pt idx="16761">
                  <c:v>-1.76470588235293E-2</c:v>
                </c:pt>
                <c:pt idx="16762">
                  <c:v>-1.76470588235293E-2</c:v>
                </c:pt>
                <c:pt idx="16763">
                  <c:v>-1.76470588235293E-2</c:v>
                </c:pt>
                <c:pt idx="16764">
                  <c:v>-1.6806722689075501E-2</c:v>
                </c:pt>
                <c:pt idx="16765">
                  <c:v>-1.6806722689075501E-2</c:v>
                </c:pt>
                <c:pt idx="16766">
                  <c:v>-1.6806722689075501E-2</c:v>
                </c:pt>
                <c:pt idx="16767">
                  <c:v>-1.6806722689075501E-2</c:v>
                </c:pt>
                <c:pt idx="16768">
                  <c:v>-1.6806722689075501E-2</c:v>
                </c:pt>
                <c:pt idx="16769">
                  <c:v>-1.6806722689075501E-2</c:v>
                </c:pt>
                <c:pt idx="16770">
                  <c:v>-1.6806722689075501E-2</c:v>
                </c:pt>
                <c:pt idx="16771">
                  <c:v>-1.6806722689075501E-2</c:v>
                </c:pt>
                <c:pt idx="16772">
                  <c:v>-1.6806722689075501E-2</c:v>
                </c:pt>
                <c:pt idx="16773">
                  <c:v>-1.6806722689075501E-2</c:v>
                </c:pt>
                <c:pt idx="16774">
                  <c:v>-1.6806722689075501E-2</c:v>
                </c:pt>
                <c:pt idx="16775">
                  <c:v>-1.6806722689075501E-2</c:v>
                </c:pt>
                <c:pt idx="16776">
                  <c:v>-1.6806722689075501E-2</c:v>
                </c:pt>
                <c:pt idx="16777">
                  <c:v>-1.6806722689075501E-2</c:v>
                </c:pt>
                <c:pt idx="16778">
                  <c:v>-1.6806722689075501E-2</c:v>
                </c:pt>
                <c:pt idx="16779">
                  <c:v>-1.6806722689075501E-2</c:v>
                </c:pt>
                <c:pt idx="16780">
                  <c:v>-1.6806722689075501E-2</c:v>
                </c:pt>
                <c:pt idx="16781">
                  <c:v>-1.6806722689075501E-2</c:v>
                </c:pt>
                <c:pt idx="16782">
                  <c:v>-1.6806722689075501E-2</c:v>
                </c:pt>
                <c:pt idx="16783">
                  <c:v>-1.6806722689075501E-2</c:v>
                </c:pt>
                <c:pt idx="16784">
                  <c:v>-1.6806722689075501E-2</c:v>
                </c:pt>
                <c:pt idx="16785">
                  <c:v>-1.6806722689075501E-2</c:v>
                </c:pt>
                <c:pt idx="16786">
                  <c:v>-1.6806722689075501E-2</c:v>
                </c:pt>
                <c:pt idx="16787">
                  <c:v>-1.6806722689075501E-2</c:v>
                </c:pt>
                <c:pt idx="16788">
                  <c:v>-1.6806722689075501E-2</c:v>
                </c:pt>
                <c:pt idx="16789">
                  <c:v>-1.6806722689075501E-2</c:v>
                </c:pt>
                <c:pt idx="16790">
                  <c:v>-1.6806722689075501E-2</c:v>
                </c:pt>
                <c:pt idx="16791">
                  <c:v>-1.6806722689075501E-2</c:v>
                </c:pt>
                <c:pt idx="16792">
                  <c:v>-1.6806722689075501E-2</c:v>
                </c:pt>
                <c:pt idx="16793">
                  <c:v>-1.6806722689075501E-2</c:v>
                </c:pt>
                <c:pt idx="16794">
                  <c:v>-1.6806722689075501E-2</c:v>
                </c:pt>
                <c:pt idx="16795">
                  <c:v>-1.6806722689075501E-2</c:v>
                </c:pt>
                <c:pt idx="16796">
                  <c:v>-1.76470588235293E-2</c:v>
                </c:pt>
                <c:pt idx="16797">
                  <c:v>-1.76470588235293E-2</c:v>
                </c:pt>
                <c:pt idx="16798">
                  <c:v>-1.76470588235293E-2</c:v>
                </c:pt>
                <c:pt idx="16799">
                  <c:v>-1.76470588235293E-2</c:v>
                </c:pt>
                <c:pt idx="16800">
                  <c:v>-1.76470588235293E-2</c:v>
                </c:pt>
                <c:pt idx="16801">
                  <c:v>-1.76470588235293E-2</c:v>
                </c:pt>
                <c:pt idx="16802">
                  <c:v>-1.76470588235293E-2</c:v>
                </c:pt>
                <c:pt idx="16803">
                  <c:v>-1.76470588235293E-2</c:v>
                </c:pt>
                <c:pt idx="16804">
                  <c:v>-1.76470588235293E-2</c:v>
                </c:pt>
                <c:pt idx="16805">
                  <c:v>-1.76470588235293E-2</c:v>
                </c:pt>
                <c:pt idx="16806">
                  <c:v>-1.76470588235293E-2</c:v>
                </c:pt>
                <c:pt idx="16807">
                  <c:v>-1.76470588235293E-2</c:v>
                </c:pt>
                <c:pt idx="16808">
                  <c:v>-1.76470588235293E-2</c:v>
                </c:pt>
                <c:pt idx="16809">
                  <c:v>-1.76470588235293E-2</c:v>
                </c:pt>
                <c:pt idx="16810">
                  <c:v>-1.76470588235293E-2</c:v>
                </c:pt>
                <c:pt idx="16811">
                  <c:v>-1.76470588235293E-2</c:v>
                </c:pt>
                <c:pt idx="16812">
                  <c:v>-1.76470588235293E-2</c:v>
                </c:pt>
                <c:pt idx="16813">
                  <c:v>-1.76470588235293E-2</c:v>
                </c:pt>
                <c:pt idx="16814">
                  <c:v>-1.76470588235293E-2</c:v>
                </c:pt>
                <c:pt idx="16815">
                  <c:v>-1.76470588235293E-2</c:v>
                </c:pt>
                <c:pt idx="16816">
                  <c:v>-1.76470588235293E-2</c:v>
                </c:pt>
                <c:pt idx="16817">
                  <c:v>-1.76470588235293E-2</c:v>
                </c:pt>
                <c:pt idx="16818">
                  <c:v>-1.76470588235293E-2</c:v>
                </c:pt>
                <c:pt idx="16819">
                  <c:v>-1.76470588235293E-2</c:v>
                </c:pt>
                <c:pt idx="16820">
                  <c:v>-1.76470588235293E-2</c:v>
                </c:pt>
                <c:pt idx="16821">
                  <c:v>-1.76470588235293E-2</c:v>
                </c:pt>
                <c:pt idx="16822">
                  <c:v>-1.6806722689075501E-2</c:v>
                </c:pt>
                <c:pt idx="16823">
                  <c:v>-1.6806722689075501E-2</c:v>
                </c:pt>
                <c:pt idx="16824">
                  <c:v>-1.6806722689075501E-2</c:v>
                </c:pt>
                <c:pt idx="16825">
                  <c:v>-1.6806722689075501E-2</c:v>
                </c:pt>
                <c:pt idx="16826">
                  <c:v>-1.6806722689075501E-2</c:v>
                </c:pt>
                <c:pt idx="16827">
                  <c:v>-1.6806722689075501E-2</c:v>
                </c:pt>
                <c:pt idx="16828">
                  <c:v>-1.6806722689075501E-2</c:v>
                </c:pt>
                <c:pt idx="16829">
                  <c:v>-1.6806722689075501E-2</c:v>
                </c:pt>
                <c:pt idx="16830">
                  <c:v>-1.6806722689075501E-2</c:v>
                </c:pt>
                <c:pt idx="16831">
                  <c:v>-1.6806722689075501E-2</c:v>
                </c:pt>
                <c:pt idx="16832">
                  <c:v>-1.6806722689075501E-2</c:v>
                </c:pt>
                <c:pt idx="16833">
                  <c:v>-1.6806722689075501E-2</c:v>
                </c:pt>
                <c:pt idx="16834">
                  <c:v>-1.6806722689075501E-2</c:v>
                </c:pt>
                <c:pt idx="16835">
                  <c:v>-1.6806722689075501E-2</c:v>
                </c:pt>
                <c:pt idx="16836">
                  <c:v>-1.6806722689075501E-2</c:v>
                </c:pt>
                <c:pt idx="16837">
                  <c:v>-1.6806722689075501E-2</c:v>
                </c:pt>
                <c:pt idx="16838">
                  <c:v>-1.6806722689075501E-2</c:v>
                </c:pt>
                <c:pt idx="16839">
                  <c:v>-1.6806722689075501E-2</c:v>
                </c:pt>
                <c:pt idx="16840">
                  <c:v>-1.6806722689075501E-2</c:v>
                </c:pt>
                <c:pt idx="16841">
                  <c:v>-1.6806722689075501E-2</c:v>
                </c:pt>
                <c:pt idx="16842">
                  <c:v>-1.6806722689075501E-2</c:v>
                </c:pt>
                <c:pt idx="16843">
                  <c:v>-1.6806722689075501E-2</c:v>
                </c:pt>
                <c:pt idx="16844">
                  <c:v>-1.6806722689075501E-2</c:v>
                </c:pt>
                <c:pt idx="16845">
                  <c:v>-1.6806722689075501E-2</c:v>
                </c:pt>
                <c:pt idx="16846">
                  <c:v>-1.6806722689075501E-2</c:v>
                </c:pt>
                <c:pt idx="16847">
                  <c:v>-1.6806722689075501E-2</c:v>
                </c:pt>
                <c:pt idx="16848">
                  <c:v>-1.6806722689075501E-2</c:v>
                </c:pt>
                <c:pt idx="16849">
                  <c:v>-1.6806722689075501E-2</c:v>
                </c:pt>
                <c:pt idx="16850">
                  <c:v>-1.6806722689075501E-2</c:v>
                </c:pt>
                <c:pt idx="16851">
                  <c:v>-1.6806722689075501E-2</c:v>
                </c:pt>
                <c:pt idx="16852">
                  <c:v>-1.6806722689075501E-2</c:v>
                </c:pt>
                <c:pt idx="16853">
                  <c:v>-1.6806722689075501E-2</c:v>
                </c:pt>
                <c:pt idx="16854">
                  <c:v>-1.6806722689075501E-2</c:v>
                </c:pt>
                <c:pt idx="16855">
                  <c:v>-1.6806722689075501E-2</c:v>
                </c:pt>
                <c:pt idx="16856">
                  <c:v>-1.6806722689075501E-2</c:v>
                </c:pt>
                <c:pt idx="16857">
                  <c:v>-1.6806722689075501E-2</c:v>
                </c:pt>
                <c:pt idx="16858">
                  <c:v>-1.6806722689075501E-2</c:v>
                </c:pt>
                <c:pt idx="16859">
                  <c:v>-1.6806722689075501E-2</c:v>
                </c:pt>
                <c:pt idx="16860">
                  <c:v>-1.6806722689075501E-2</c:v>
                </c:pt>
                <c:pt idx="16861">
                  <c:v>-1.6806722689075501E-2</c:v>
                </c:pt>
                <c:pt idx="16862">
                  <c:v>-1.6806722689075501E-2</c:v>
                </c:pt>
                <c:pt idx="16863">
                  <c:v>-1.6806722689075501E-2</c:v>
                </c:pt>
                <c:pt idx="16864">
                  <c:v>-1.6806722689075501E-2</c:v>
                </c:pt>
                <c:pt idx="16865">
                  <c:v>-1.6806722689075501E-2</c:v>
                </c:pt>
                <c:pt idx="16866">
                  <c:v>-1.6806722689075501E-2</c:v>
                </c:pt>
                <c:pt idx="16867">
                  <c:v>-1.6806722689075501E-2</c:v>
                </c:pt>
                <c:pt idx="16868">
                  <c:v>-1.6806722689075501E-2</c:v>
                </c:pt>
                <c:pt idx="16869">
                  <c:v>-1.6806722689075501E-2</c:v>
                </c:pt>
                <c:pt idx="16870">
                  <c:v>-1.6806722689075501E-2</c:v>
                </c:pt>
                <c:pt idx="16871">
                  <c:v>-1.6806722689075501E-2</c:v>
                </c:pt>
                <c:pt idx="16872">
                  <c:v>-1.6806722689075501E-2</c:v>
                </c:pt>
                <c:pt idx="16873">
                  <c:v>-1.6806722689075501E-2</c:v>
                </c:pt>
                <c:pt idx="16874">
                  <c:v>-1.6806722689075501E-2</c:v>
                </c:pt>
                <c:pt idx="16875">
                  <c:v>-1.6806722689075501E-2</c:v>
                </c:pt>
                <c:pt idx="16876">
                  <c:v>-1.6806722689075501E-2</c:v>
                </c:pt>
                <c:pt idx="16877">
                  <c:v>-1.6806722689075501E-2</c:v>
                </c:pt>
                <c:pt idx="16878">
                  <c:v>-1.6806722689075501E-2</c:v>
                </c:pt>
                <c:pt idx="16879">
                  <c:v>-1.6806722689075501E-2</c:v>
                </c:pt>
                <c:pt idx="16880">
                  <c:v>-1.6806722689075501E-2</c:v>
                </c:pt>
                <c:pt idx="16881">
                  <c:v>-1.6806722689075501E-2</c:v>
                </c:pt>
                <c:pt idx="16882">
                  <c:v>-1.6806722689075501E-2</c:v>
                </c:pt>
                <c:pt idx="16883">
                  <c:v>-1.6806722689075501E-2</c:v>
                </c:pt>
                <c:pt idx="16884">
                  <c:v>-1.6806722689075501E-2</c:v>
                </c:pt>
                <c:pt idx="16885">
                  <c:v>-1.6806722689075501E-2</c:v>
                </c:pt>
                <c:pt idx="16886">
                  <c:v>-1.6806722689075501E-2</c:v>
                </c:pt>
                <c:pt idx="16887">
                  <c:v>-1.6806722689075501E-2</c:v>
                </c:pt>
                <c:pt idx="16888">
                  <c:v>-1.6806722689075501E-2</c:v>
                </c:pt>
                <c:pt idx="16889">
                  <c:v>-1.6806722689075501E-2</c:v>
                </c:pt>
                <c:pt idx="16890">
                  <c:v>-1.6806722689075501E-2</c:v>
                </c:pt>
                <c:pt idx="16891">
                  <c:v>-1.6806722689075501E-2</c:v>
                </c:pt>
                <c:pt idx="16892">
                  <c:v>-1.6806722689075501E-2</c:v>
                </c:pt>
                <c:pt idx="16893">
                  <c:v>-1.6806722689075501E-2</c:v>
                </c:pt>
                <c:pt idx="16894">
                  <c:v>-1.6806722689075501E-2</c:v>
                </c:pt>
                <c:pt idx="16895">
                  <c:v>-1.6806722689075501E-2</c:v>
                </c:pt>
                <c:pt idx="16896">
                  <c:v>-1.6806722689075501E-2</c:v>
                </c:pt>
                <c:pt idx="16897">
                  <c:v>-1.6806722689075501E-2</c:v>
                </c:pt>
                <c:pt idx="16898">
                  <c:v>-1.6806722689075501E-2</c:v>
                </c:pt>
                <c:pt idx="16899">
                  <c:v>-1.6806722689075501E-2</c:v>
                </c:pt>
                <c:pt idx="16900">
                  <c:v>-1.6806722689075501E-2</c:v>
                </c:pt>
                <c:pt idx="16901">
                  <c:v>-1.6806722689075501E-2</c:v>
                </c:pt>
                <c:pt idx="16902">
                  <c:v>-1.6806722689075501E-2</c:v>
                </c:pt>
                <c:pt idx="16903">
                  <c:v>-1.5966386554621698E-2</c:v>
                </c:pt>
                <c:pt idx="16904">
                  <c:v>-1.5966386554621698E-2</c:v>
                </c:pt>
                <c:pt idx="16905">
                  <c:v>-1.5966386554621698E-2</c:v>
                </c:pt>
                <c:pt idx="16906">
                  <c:v>-1.5966386554621698E-2</c:v>
                </c:pt>
                <c:pt idx="16907">
                  <c:v>-1.5966386554621698E-2</c:v>
                </c:pt>
                <c:pt idx="16908">
                  <c:v>-1.5966386554621698E-2</c:v>
                </c:pt>
                <c:pt idx="16909">
                  <c:v>-1.5966386554621698E-2</c:v>
                </c:pt>
                <c:pt idx="16910">
                  <c:v>-1.5966386554621698E-2</c:v>
                </c:pt>
                <c:pt idx="16911">
                  <c:v>-1.5966386554621698E-2</c:v>
                </c:pt>
                <c:pt idx="16912">
                  <c:v>-1.5126050420168E-2</c:v>
                </c:pt>
                <c:pt idx="16913">
                  <c:v>-1.5126050420168E-2</c:v>
                </c:pt>
                <c:pt idx="16914">
                  <c:v>-1.5126050420168E-2</c:v>
                </c:pt>
                <c:pt idx="16915">
                  <c:v>-1.5126050420168E-2</c:v>
                </c:pt>
                <c:pt idx="16916">
                  <c:v>-1.5126050420168E-2</c:v>
                </c:pt>
                <c:pt idx="16917">
                  <c:v>-1.5126050420168E-2</c:v>
                </c:pt>
                <c:pt idx="16918">
                  <c:v>-1.5126050420168E-2</c:v>
                </c:pt>
                <c:pt idx="16919">
                  <c:v>-1.5126050420168E-2</c:v>
                </c:pt>
                <c:pt idx="16920">
                  <c:v>-1.5126050420168E-2</c:v>
                </c:pt>
                <c:pt idx="16921">
                  <c:v>-1.5126050420168E-2</c:v>
                </c:pt>
                <c:pt idx="16922">
                  <c:v>-1.5126050420168E-2</c:v>
                </c:pt>
                <c:pt idx="16923">
                  <c:v>-1.5126050420168E-2</c:v>
                </c:pt>
                <c:pt idx="16924">
                  <c:v>-1.5126050420168E-2</c:v>
                </c:pt>
                <c:pt idx="16925">
                  <c:v>-1.5126050420168E-2</c:v>
                </c:pt>
                <c:pt idx="16926">
                  <c:v>-1.5126050420168E-2</c:v>
                </c:pt>
                <c:pt idx="16927">
                  <c:v>-1.5126050420168E-2</c:v>
                </c:pt>
                <c:pt idx="16928">
                  <c:v>-1.5126050420168E-2</c:v>
                </c:pt>
                <c:pt idx="16929">
                  <c:v>-1.5126050420168E-2</c:v>
                </c:pt>
                <c:pt idx="16930">
                  <c:v>-1.5126050420168E-2</c:v>
                </c:pt>
                <c:pt idx="16931">
                  <c:v>-1.5126050420168E-2</c:v>
                </c:pt>
                <c:pt idx="16932">
                  <c:v>-1.5126050420168E-2</c:v>
                </c:pt>
                <c:pt idx="16933">
                  <c:v>-1.5126050420168E-2</c:v>
                </c:pt>
                <c:pt idx="16934">
                  <c:v>-1.5126050420168E-2</c:v>
                </c:pt>
                <c:pt idx="16935">
                  <c:v>-1.5126050420168E-2</c:v>
                </c:pt>
                <c:pt idx="16936">
                  <c:v>-1.5126050420168E-2</c:v>
                </c:pt>
                <c:pt idx="16937">
                  <c:v>-1.5126050420168E-2</c:v>
                </c:pt>
                <c:pt idx="16938">
                  <c:v>-1.5126050420168E-2</c:v>
                </c:pt>
                <c:pt idx="16939">
                  <c:v>-1.5126050420168E-2</c:v>
                </c:pt>
                <c:pt idx="16940">
                  <c:v>-1.5126050420168E-2</c:v>
                </c:pt>
                <c:pt idx="16941">
                  <c:v>-1.5126050420168E-2</c:v>
                </c:pt>
                <c:pt idx="16942">
                  <c:v>-1.5126050420168E-2</c:v>
                </c:pt>
                <c:pt idx="16943">
                  <c:v>-1.5126050420168E-2</c:v>
                </c:pt>
                <c:pt idx="16944">
                  <c:v>-1.5126050420168E-2</c:v>
                </c:pt>
                <c:pt idx="16945">
                  <c:v>-1.5126050420168E-2</c:v>
                </c:pt>
                <c:pt idx="16946">
                  <c:v>-1.5126050420168E-2</c:v>
                </c:pt>
                <c:pt idx="16947">
                  <c:v>-1.5126050420168E-2</c:v>
                </c:pt>
                <c:pt idx="16948">
                  <c:v>-1.5126050420168E-2</c:v>
                </c:pt>
                <c:pt idx="16949">
                  <c:v>-1.5126050420168E-2</c:v>
                </c:pt>
                <c:pt idx="16950">
                  <c:v>-1.5126050420168E-2</c:v>
                </c:pt>
                <c:pt idx="16951">
                  <c:v>-1.5126050420168E-2</c:v>
                </c:pt>
                <c:pt idx="16952">
                  <c:v>-1.5126050420168E-2</c:v>
                </c:pt>
                <c:pt idx="16953">
                  <c:v>-1.5126050420168E-2</c:v>
                </c:pt>
                <c:pt idx="16954">
                  <c:v>-1.5126050420168E-2</c:v>
                </c:pt>
                <c:pt idx="16955">
                  <c:v>-1.5126050420168E-2</c:v>
                </c:pt>
                <c:pt idx="16956">
                  <c:v>-1.5126050420168E-2</c:v>
                </c:pt>
                <c:pt idx="16957">
                  <c:v>-1.5126050420168E-2</c:v>
                </c:pt>
                <c:pt idx="16958">
                  <c:v>-1.5126050420168E-2</c:v>
                </c:pt>
                <c:pt idx="16959">
                  <c:v>-1.5126050420168E-2</c:v>
                </c:pt>
                <c:pt idx="16960">
                  <c:v>-1.5126050420168E-2</c:v>
                </c:pt>
                <c:pt idx="16961">
                  <c:v>-1.5126050420168E-2</c:v>
                </c:pt>
                <c:pt idx="16962">
                  <c:v>-1.5126050420168E-2</c:v>
                </c:pt>
                <c:pt idx="16963">
                  <c:v>-1.5126050420168E-2</c:v>
                </c:pt>
                <c:pt idx="16964">
                  <c:v>-1.5126050420168E-2</c:v>
                </c:pt>
                <c:pt idx="16965">
                  <c:v>-1.5126050420168E-2</c:v>
                </c:pt>
                <c:pt idx="16966">
                  <c:v>-1.5126050420168E-2</c:v>
                </c:pt>
                <c:pt idx="16967">
                  <c:v>-1.5126050420168E-2</c:v>
                </c:pt>
                <c:pt idx="16968">
                  <c:v>-1.5126050420168E-2</c:v>
                </c:pt>
                <c:pt idx="16969">
                  <c:v>-1.5126050420168E-2</c:v>
                </c:pt>
                <c:pt idx="16970">
                  <c:v>-1.5126050420168E-2</c:v>
                </c:pt>
                <c:pt idx="16971">
                  <c:v>-1.5126050420168E-2</c:v>
                </c:pt>
                <c:pt idx="16972">
                  <c:v>-1.5126050420168E-2</c:v>
                </c:pt>
                <c:pt idx="16973">
                  <c:v>-1.5126050420168E-2</c:v>
                </c:pt>
                <c:pt idx="16974">
                  <c:v>-1.5126050420168E-2</c:v>
                </c:pt>
                <c:pt idx="16975">
                  <c:v>-1.5126050420168E-2</c:v>
                </c:pt>
                <c:pt idx="16976">
                  <c:v>-1.5126050420168E-2</c:v>
                </c:pt>
                <c:pt idx="16977">
                  <c:v>-1.5126050420168E-2</c:v>
                </c:pt>
                <c:pt idx="16978">
                  <c:v>-1.5126050420168E-2</c:v>
                </c:pt>
                <c:pt idx="16979">
                  <c:v>-1.5126050420168E-2</c:v>
                </c:pt>
                <c:pt idx="16980">
                  <c:v>-1.5126050420168E-2</c:v>
                </c:pt>
                <c:pt idx="16981">
                  <c:v>-1.5126050420168E-2</c:v>
                </c:pt>
                <c:pt idx="16982">
                  <c:v>-1.5126050420168E-2</c:v>
                </c:pt>
                <c:pt idx="16983">
                  <c:v>-1.5126050420168E-2</c:v>
                </c:pt>
                <c:pt idx="16984">
                  <c:v>-1.42857142857142E-2</c:v>
                </c:pt>
                <c:pt idx="16985">
                  <c:v>-1.42857142857142E-2</c:v>
                </c:pt>
                <c:pt idx="16986">
                  <c:v>-1.5126050420168E-2</c:v>
                </c:pt>
                <c:pt idx="16987">
                  <c:v>-1.5126050420168E-2</c:v>
                </c:pt>
                <c:pt idx="16988">
                  <c:v>-1.5126050420168E-2</c:v>
                </c:pt>
                <c:pt idx="16989">
                  <c:v>-1.42857142857142E-2</c:v>
                </c:pt>
                <c:pt idx="16990">
                  <c:v>-1.42857142857142E-2</c:v>
                </c:pt>
                <c:pt idx="16991">
                  <c:v>-1.42857142857142E-2</c:v>
                </c:pt>
                <c:pt idx="16992">
                  <c:v>-1.42857142857142E-2</c:v>
                </c:pt>
                <c:pt idx="16993">
                  <c:v>-1.42857142857142E-2</c:v>
                </c:pt>
                <c:pt idx="16994">
                  <c:v>-1.42857142857142E-2</c:v>
                </c:pt>
                <c:pt idx="16995">
                  <c:v>-1.42857142857142E-2</c:v>
                </c:pt>
                <c:pt idx="16996">
                  <c:v>-1.42857142857142E-2</c:v>
                </c:pt>
                <c:pt idx="16997">
                  <c:v>-1.42857142857142E-2</c:v>
                </c:pt>
                <c:pt idx="16998">
                  <c:v>-1.42857142857142E-2</c:v>
                </c:pt>
                <c:pt idx="16999">
                  <c:v>-1.42857142857142E-2</c:v>
                </c:pt>
                <c:pt idx="17000">
                  <c:v>-1.42857142857142E-2</c:v>
                </c:pt>
                <c:pt idx="17001">
                  <c:v>-1.42857142857142E-2</c:v>
                </c:pt>
                <c:pt idx="17002">
                  <c:v>-1.42857142857142E-2</c:v>
                </c:pt>
                <c:pt idx="17003">
                  <c:v>-1.42857142857142E-2</c:v>
                </c:pt>
                <c:pt idx="17004">
                  <c:v>-1.42857142857142E-2</c:v>
                </c:pt>
                <c:pt idx="17005">
                  <c:v>-1.42857142857142E-2</c:v>
                </c:pt>
                <c:pt idx="17006">
                  <c:v>-1.42857142857142E-2</c:v>
                </c:pt>
                <c:pt idx="17007">
                  <c:v>-1.42857142857142E-2</c:v>
                </c:pt>
                <c:pt idx="17008">
                  <c:v>-1.42857142857142E-2</c:v>
                </c:pt>
                <c:pt idx="17009">
                  <c:v>-1.42857142857142E-2</c:v>
                </c:pt>
                <c:pt idx="17010">
                  <c:v>-1.42857142857142E-2</c:v>
                </c:pt>
                <c:pt idx="17011">
                  <c:v>-1.3445378151260399E-2</c:v>
                </c:pt>
                <c:pt idx="17012">
                  <c:v>-1.3445378151260399E-2</c:v>
                </c:pt>
                <c:pt idx="17013">
                  <c:v>-1.3445378151260399E-2</c:v>
                </c:pt>
                <c:pt idx="17014">
                  <c:v>-1.3445378151260399E-2</c:v>
                </c:pt>
                <c:pt idx="17015">
                  <c:v>-1.3445378151260399E-2</c:v>
                </c:pt>
                <c:pt idx="17016">
                  <c:v>-1.26050420168066E-2</c:v>
                </c:pt>
                <c:pt idx="17017">
                  <c:v>-1.26050420168066E-2</c:v>
                </c:pt>
                <c:pt idx="17018">
                  <c:v>-1.26050420168066E-2</c:v>
                </c:pt>
                <c:pt idx="17019">
                  <c:v>-1.26050420168066E-2</c:v>
                </c:pt>
                <c:pt idx="17020">
                  <c:v>-1.26050420168066E-2</c:v>
                </c:pt>
                <c:pt idx="17021">
                  <c:v>-1.26050420168066E-2</c:v>
                </c:pt>
                <c:pt idx="17022">
                  <c:v>-1.26050420168066E-2</c:v>
                </c:pt>
                <c:pt idx="17023">
                  <c:v>-1.26050420168066E-2</c:v>
                </c:pt>
                <c:pt idx="17024">
                  <c:v>-1.26050420168066E-2</c:v>
                </c:pt>
                <c:pt idx="17025">
                  <c:v>-1.26050420168066E-2</c:v>
                </c:pt>
                <c:pt idx="17026">
                  <c:v>-1.26050420168066E-2</c:v>
                </c:pt>
                <c:pt idx="17027">
                  <c:v>-1.26050420168066E-2</c:v>
                </c:pt>
                <c:pt idx="17028">
                  <c:v>-1.26050420168066E-2</c:v>
                </c:pt>
                <c:pt idx="17029">
                  <c:v>-1.1764705882352899E-2</c:v>
                </c:pt>
                <c:pt idx="17030">
                  <c:v>-1.1764705882352899E-2</c:v>
                </c:pt>
                <c:pt idx="17031">
                  <c:v>-1.1764705882352899E-2</c:v>
                </c:pt>
                <c:pt idx="17032">
                  <c:v>-1.1764705882352899E-2</c:v>
                </c:pt>
                <c:pt idx="17033">
                  <c:v>-1.1764705882352899E-2</c:v>
                </c:pt>
                <c:pt idx="17034">
                  <c:v>-1.1764705882352899E-2</c:v>
                </c:pt>
                <c:pt idx="17035">
                  <c:v>-1.1764705882352899E-2</c:v>
                </c:pt>
                <c:pt idx="17036">
                  <c:v>-1.1764705882352899E-2</c:v>
                </c:pt>
                <c:pt idx="17037">
                  <c:v>-1.1764705882352899E-2</c:v>
                </c:pt>
                <c:pt idx="17038">
                  <c:v>-1.1764705882352899E-2</c:v>
                </c:pt>
                <c:pt idx="17039">
                  <c:v>-1.1764705882352899E-2</c:v>
                </c:pt>
                <c:pt idx="17040">
                  <c:v>-1.1764705882352899E-2</c:v>
                </c:pt>
                <c:pt idx="17041">
                  <c:v>-1.1764705882352899E-2</c:v>
                </c:pt>
                <c:pt idx="17042">
                  <c:v>-1.1764705882352899E-2</c:v>
                </c:pt>
                <c:pt idx="17043">
                  <c:v>-1.1764705882352899E-2</c:v>
                </c:pt>
                <c:pt idx="17044">
                  <c:v>-1.1764705882352899E-2</c:v>
                </c:pt>
                <c:pt idx="17045">
                  <c:v>-1.1764705882352899E-2</c:v>
                </c:pt>
                <c:pt idx="17046">
                  <c:v>-1.1764705882352899E-2</c:v>
                </c:pt>
                <c:pt idx="17047">
                  <c:v>-1.1764705882352899E-2</c:v>
                </c:pt>
                <c:pt idx="17048">
                  <c:v>-1.1764705882352899E-2</c:v>
                </c:pt>
                <c:pt idx="17049">
                  <c:v>-1.1764705882352899E-2</c:v>
                </c:pt>
                <c:pt idx="17050">
                  <c:v>-1.1764705882352899E-2</c:v>
                </c:pt>
                <c:pt idx="17051">
                  <c:v>-1.1764705882352899E-2</c:v>
                </c:pt>
                <c:pt idx="17052">
                  <c:v>-1.1764705882352899E-2</c:v>
                </c:pt>
                <c:pt idx="17053">
                  <c:v>-1.1764705882352899E-2</c:v>
                </c:pt>
                <c:pt idx="17054">
                  <c:v>-1.1764705882352899E-2</c:v>
                </c:pt>
                <c:pt idx="17055">
                  <c:v>-1.1764705882352899E-2</c:v>
                </c:pt>
                <c:pt idx="17056">
                  <c:v>-1.1764705882352899E-2</c:v>
                </c:pt>
                <c:pt idx="17057">
                  <c:v>-1.1764705882352899E-2</c:v>
                </c:pt>
                <c:pt idx="17058">
                  <c:v>-1.1764705882352899E-2</c:v>
                </c:pt>
                <c:pt idx="17059">
                  <c:v>-1.1764705882352899E-2</c:v>
                </c:pt>
                <c:pt idx="17060">
                  <c:v>-1.1764705882352899E-2</c:v>
                </c:pt>
                <c:pt idx="17061">
                  <c:v>-1.1764705882352899E-2</c:v>
                </c:pt>
                <c:pt idx="17062">
                  <c:v>-1.1764705882352899E-2</c:v>
                </c:pt>
                <c:pt idx="17063">
                  <c:v>-1.1764705882352899E-2</c:v>
                </c:pt>
                <c:pt idx="17064">
                  <c:v>-1.1764705882352899E-2</c:v>
                </c:pt>
                <c:pt idx="17065">
                  <c:v>-1.1764705882352899E-2</c:v>
                </c:pt>
                <c:pt idx="17066">
                  <c:v>-1.09243697478991E-2</c:v>
                </c:pt>
                <c:pt idx="17067">
                  <c:v>-1.0084033613445301E-2</c:v>
                </c:pt>
                <c:pt idx="17068">
                  <c:v>-1.0084033613445301E-2</c:v>
                </c:pt>
                <c:pt idx="17069">
                  <c:v>-1.0084033613445301E-2</c:v>
                </c:pt>
                <c:pt idx="17070">
                  <c:v>-1.0084033613445301E-2</c:v>
                </c:pt>
                <c:pt idx="17071">
                  <c:v>-1.0084033613445301E-2</c:v>
                </c:pt>
                <c:pt idx="17072">
                  <c:v>-1.0084033613445301E-2</c:v>
                </c:pt>
                <c:pt idx="17073">
                  <c:v>-1.0084033613445301E-2</c:v>
                </c:pt>
                <c:pt idx="17074">
                  <c:v>-1.0084033613445301E-2</c:v>
                </c:pt>
                <c:pt idx="17075">
                  <c:v>-1.0084033613445301E-2</c:v>
                </c:pt>
                <c:pt idx="17076">
                  <c:v>-1.0084033613445301E-2</c:v>
                </c:pt>
                <c:pt idx="17077">
                  <c:v>-1.0084033613445301E-2</c:v>
                </c:pt>
                <c:pt idx="17078">
                  <c:v>-1.0084033613445301E-2</c:v>
                </c:pt>
                <c:pt idx="17079">
                  <c:v>-1.0084033613445301E-2</c:v>
                </c:pt>
                <c:pt idx="17080">
                  <c:v>-1.0084033613445301E-2</c:v>
                </c:pt>
                <c:pt idx="17081">
                  <c:v>-1.0084033613445301E-2</c:v>
                </c:pt>
                <c:pt idx="17082">
                  <c:v>-1.0084033613445301E-2</c:v>
                </c:pt>
                <c:pt idx="17083">
                  <c:v>-1.0084033613445301E-2</c:v>
                </c:pt>
                <c:pt idx="17084">
                  <c:v>-1.0084033613445301E-2</c:v>
                </c:pt>
                <c:pt idx="17085">
                  <c:v>-1.0084033613445301E-2</c:v>
                </c:pt>
                <c:pt idx="17086">
                  <c:v>-1.0084033613445301E-2</c:v>
                </c:pt>
                <c:pt idx="17087">
                  <c:v>-1.0084033613445301E-2</c:v>
                </c:pt>
                <c:pt idx="17088">
                  <c:v>-1.0084033613445301E-2</c:v>
                </c:pt>
                <c:pt idx="17089">
                  <c:v>-1.0084033613445301E-2</c:v>
                </c:pt>
                <c:pt idx="17090">
                  <c:v>-1.0084033613445301E-2</c:v>
                </c:pt>
                <c:pt idx="17091">
                  <c:v>-1.0084033613445301E-2</c:v>
                </c:pt>
                <c:pt idx="17092">
                  <c:v>-1.0084033613445301E-2</c:v>
                </c:pt>
                <c:pt idx="17093">
                  <c:v>-1.0084033613445301E-2</c:v>
                </c:pt>
                <c:pt idx="17094">
                  <c:v>-1.0084033613445301E-2</c:v>
                </c:pt>
                <c:pt idx="17095">
                  <c:v>-1.0084033613445301E-2</c:v>
                </c:pt>
                <c:pt idx="17096">
                  <c:v>-1.0084033613445301E-2</c:v>
                </c:pt>
                <c:pt idx="17097">
                  <c:v>-1.0084033613445301E-2</c:v>
                </c:pt>
                <c:pt idx="17098">
                  <c:v>-1.0084033613445301E-2</c:v>
                </c:pt>
                <c:pt idx="17099">
                  <c:v>-1.0084033613445301E-2</c:v>
                </c:pt>
                <c:pt idx="17100">
                  <c:v>-1.0084033613445301E-2</c:v>
                </c:pt>
                <c:pt idx="17101">
                  <c:v>-1.0084033613445301E-2</c:v>
                </c:pt>
                <c:pt idx="17102">
                  <c:v>-1.0084033613445301E-2</c:v>
                </c:pt>
                <c:pt idx="17103">
                  <c:v>-1.0084033613445301E-2</c:v>
                </c:pt>
                <c:pt idx="17104">
                  <c:v>-1.0084033613445301E-2</c:v>
                </c:pt>
                <c:pt idx="17105">
                  <c:v>-1.0084033613445301E-2</c:v>
                </c:pt>
                <c:pt idx="17106">
                  <c:v>-1.0084033613445301E-2</c:v>
                </c:pt>
                <c:pt idx="17107">
                  <c:v>-1.0084033613445301E-2</c:v>
                </c:pt>
                <c:pt idx="17108">
                  <c:v>-1.0084033613445301E-2</c:v>
                </c:pt>
                <c:pt idx="17109">
                  <c:v>-1.0084033613445301E-2</c:v>
                </c:pt>
                <c:pt idx="17110">
                  <c:v>-1.0084033613445301E-2</c:v>
                </c:pt>
                <c:pt idx="17111">
                  <c:v>-1.0084033613445301E-2</c:v>
                </c:pt>
                <c:pt idx="17112">
                  <c:v>-1.0084033613445301E-2</c:v>
                </c:pt>
                <c:pt idx="17113">
                  <c:v>-1.0084033613445301E-2</c:v>
                </c:pt>
                <c:pt idx="17114">
                  <c:v>-1.0084033613445301E-2</c:v>
                </c:pt>
                <c:pt idx="17115">
                  <c:v>-1.0084033613445301E-2</c:v>
                </c:pt>
                <c:pt idx="17116">
                  <c:v>-1.0084033613445301E-2</c:v>
                </c:pt>
                <c:pt idx="17117">
                  <c:v>-1.0084033613445301E-2</c:v>
                </c:pt>
                <c:pt idx="17118">
                  <c:v>-1.0084033613445301E-2</c:v>
                </c:pt>
                <c:pt idx="17119">
                  <c:v>-1.0084033613445301E-2</c:v>
                </c:pt>
                <c:pt idx="17120">
                  <c:v>-1.0084033613445301E-2</c:v>
                </c:pt>
                <c:pt idx="17121">
                  <c:v>-1.0084033613445301E-2</c:v>
                </c:pt>
                <c:pt idx="17122">
                  <c:v>-1.0084033613445301E-2</c:v>
                </c:pt>
                <c:pt idx="17123">
                  <c:v>-1.0084033613445301E-2</c:v>
                </c:pt>
                <c:pt idx="17124">
                  <c:v>-1.0084033613445301E-2</c:v>
                </c:pt>
                <c:pt idx="17125">
                  <c:v>-1.0084033613445301E-2</c:v>
                </c:pt>
                <c:pt idx="17126">
                  <c:v>-1.0084033613445301E-2</c:v>
                </c:pt>
                <c:pt idx="17127">
                  <c:v>-1.0084033613445301E-2</c:v>
                </c:pt>
                <c:pt idx="17128">
                  <c:v>-1.0084033613445301E-2</c:v>
                </c:pt>
                <c:pt idx="17129">
                  <c:v>-1.0084033613445301E-2</c:v>
                </c:pt>
                <c:pt idx="17130">
                  <c:v>-1.0084033613445301E-2</c:v>
                </c:pt>
                <c:pt idx="17131">
                  <c:v>-1.0084033613445301E-2</c:v>
                </c:pt>
                <c:pt idx="17132">
                  <c:v>-1.0084033613445301E-2</c:v>
                </c:pt>
                <c:pt idx="17133">
                  <c:v>-9.2436974789915603E-3</c:v>
                </c:pt>
                <c:pt idx="17134">
                  <c:v>-9.2436974789915603E-3</c:v>
                </c:pt>
                <c:pt idx="17135">
                  <c:v>-9.2436974789915603E-3</c:v>
                </c:pt>
                <c:pt idx="17136">
                  <c:v>-9.2436974789915603E-3</c:v>
                </c:pt>
                <c:pt idx="17137">
                  <c:v>-9.2436974789915603E-3</c:v>
                </c:pt>
                <c:pt idx="17138">
                  <c:v>-9.2436974789915603E-3</c:v>
                </c:pt>
                <c:pt idx="17139">
                  <c:v>-9.2436974789915603E-3</c:v>
                </c:pt>
                <c:pt idx="17140">
                  <c:v>-9.2436974789915603E-3</c:v>
                </c:pt>
                <c:pt idx="17141">
                  <c:v>-9.2436974789915603E-3</c:v>
                </c:pt>
                <c:pt idx="17142">
                  <c:v>-9.2436974789915603E-3</c:v>
                </c:pt>
                <c:pt idx="17143">
                  <c:v>-9.2436974789915603E-3</c:v>
                </c:pt>
                <c:pt idx="17144">
                  <c:v>-1.0084033613445301E-2</c:v>
                </c:pt>
                <c:pt idx="17145">
                  <c:v>-1.0084033613445301E-2</c:v>
                </c:pt>
                <c:pt idx="17146">
                  <c:v>-1.0084033613445301E-2</c:v>
                </c:pt>
                <c:pt idx="17147">
                  <c:v>-1.0084033613445301E-2</c:v>
                </c:pt>
                <c:pt idx="17148">
                  <c:v>-1.0084033613445301E-2</c:v>
                </c:pt>
                <c:pt idx="17149">
                  <c:v>-1.0084033613445301E-2</c:v>
                </c:pt>
                <c:pt idx="17150">
                  <c:v>-1.0084033613445301E-2</c:v>
                </c:pt>
                <c:pt idx="17151">
                  <c:v>-1.0084033613445301E-2</c:v>
                </c:pt>
                <c:pt idx="17152">
                  <c:v>-1.0084033613445301E-2</c:v>
                </c:pt>
                <c:pt idx="17153">
                  <c:v>-9.2436974789915603E-3</c:v>
                </c:pt>
                <c:pt idx="17154">
                  <c:v>-9.2436974789915603E-3</c:v>
                </c:pt>
                <c:pt idx="17155">
                  <c:v>-9.2436974789915603E-3</c:v>
                </c:pt>
                <c:pt idx="17156">
                  <c:v>-9.2436974789915603E-3</c:v>
                </c:pt>
                <c:pt idx="17157">
                  <c:v>-9.2436974789915603E-3</c:v>
                </c:pt>
                <c:pt idx="17158">
                  <c:v>-9.2436974789915603E-3</c:v>
                </c:pt>
                <c:pt idx="17159">
                  <c:v>-9.2436974789915603E-3</c:v>
                </c:pt>
                <c:pt idx="17160">
                  <c:v>-9.2436974789915603E-3</c:v>
                </c:pt>
                <c:pt idx="17161">
                  <c:v>-9.2436974789915603E-3</c:v>
                </c:pt>
                <c:pt idx="17162">
                  <c:v>-9.2436974789915603E-3</c:v>
                </c:pt>
                <c:pt idx="17163">
                  <c:v>-9.2436974789915603E-3</c:v>
                </c:pt>
                <c:pt idx="17164">
                  <c:v>-9.2436974789915603E-3</c:v>
                </c:pt>
                <c:pt idx="17165">
                  <c:v>-1.0084033613445301E-2</c:v>
                </c:pt>
                <c:pt idx="17166">
                  <c:v>-1.0084033613445301E-2</c:v>
                </c:pt>
                <c:pt idx="17167">
                  <c:v>-1.0084033613445301E-2</c:v>
                </c:pt>
                <c:pt idx="17168">
                  <c:v>-1.0084033613445301E-2</c:v>
                </c:pt>
                <c:pt idx="17169">
                  <c:v>-1.0084033613445301E-2</c:v>
                </c:pt>
                <c:pt idx="17170">
                  <c:v>-1.0084033613445301E-2</c:v>
                </c:pt>
                <c:pt idx="17171">
                  <c:v>-1.0084033613445301E-2</c:v>
                </c:pt>
                <c:pt idx="17172">
                  <c:v>-1.0084033613445301E-2</c:v>
                </c:pt>
                <c:pt idx="17173">
                  <c:v>-1.0084033613445301E-2</c:v>
                </c:pt>
                <c:pt idx="17174">
                  <c:v>-1.0084033613445301E-2</c:v>
                </c:pt>
                <c:pt idx="17175">
                  <c:v>-1.0084033613445301E-2</c:v>
                </c:pt>
                <c:pt idx="17176">
                  <c:v>-1.0084033613445301E-2</c:v>
                </c:pt>
                <c:pt idx="17177">
                  <c:v>-1.0084033613445301E-2</c:v>
                </c:pt>
                <c:pt idx="17178">
                  <c:v>-9.2436974789915603E-3</c:v>
                </c:pt>
                <c:pt idx="17179">
                  <c:v>-9.2436974789915603E-3</c:v>
                </c:pt>
                <c:pt idx="17180">
                  <c:v>-8.4033613445377801E-3</c:v>
                </c:pt>
                <c:pt idx="17181">
                  <c:v>-8.4033613445377801E-3</c:v>
                </c:pt>
                <c:pt idx="17182">
                  <c:v>-8.4033613445377801E-3</c:v>
                </c:pt>
                <c:pt idx="17183">
                  <c:v>-8.4033613445377801E-3</c:v>
                </c:pt>
                <c:pt idx="17184">
                  <c:v>-8.4033613445377801E-3</c:v>
                </c:pt>
                <c:pt idx="17185">
                  <c:v>-8.4033613445377801E-3</c:v>
                </c:pt>
                <c:pt idx="17186">
                  <c:v>-8.4033613445377801E-3</c:v>
                </c:pt>
                <c:pt idx="17187">
                  <c:v>-8.4033613445377801E-3</c:v>
                </c:pt>
                <c:pt idx="17188">
                  <c:v>-8.4033613445377801E-3</c:v>
                </c:pt>
                <c:pt idx="17189">
                  <c:v>-8.4033613445377801E-3</c:v>
                </c:pt>
                <c:pt idx="17190">
                  <c:v>-8.4033613445377801E-3</c:v>
                </c:pt>
                <c:pt idx="17191">
                  <c:v>-8.4033613445377801E-3</c:v>
                </c:pt>
                <c:pt idx="17192">
                  <c:v>-8.4033613445377801E-3</c:v>
                </c:pt>
                <c:pt idx="17193">
                  <c:v>-8.4033613445377801E-3</c:v>
                </c:pt>
                <c:pt idx="17194">
                  <c:v>-8.4033613445377801E-3</c:v>
                </c:pt>
                <c:pt idx="17195">
                  <c:v>-8.4033613445377801E-3</c:v>
                </c:pt>
                <c:pt idx="17196">
                  <c:v>-8.4033613445377801E-3</c:v>
                </c:pt>
                <c:pt idx="17197">
                  <c:v>-8.4033613445377801E-3</c:v>
                </c:pt>
                <c:pt idx="17198">
                  <c:v>-8.4033613445377801E-3</c:v>
                </c:pt>
                <c:pt idx="17199">
                  <c:v>-8.4033613445377801E-3</c:v>
                </c:pt>
                <c:pt idx="17200">
                  <c:v>-8.4033613445377801E-3</c:v>
                </c:pt>
                <c:pt idx="17201">
                  <c:v>-8.4033613445377801E-3</c:v>
                </c:pt>
                <c:pt idx="17202">
                  <c:v>-8.4033613445377801E-3</c:v>
                </c:pt>
                <c:pt idx="17203">
                  <c:v>-8.4033613445377801E-3</c:v>
                </c:pt>
                <c:pt idx="17204">
                  <c:v>-8.4033613445377801E-3</c:v>
                </c:pt>
                <c:pt idx="17205">
                  <c:v>-8.4033613445377801E-3</c:v>
                </c:pt>
                <c:pt idx="17206">
                  <c:v>-8.4033613445377801E-3</c:v>
                </c:pt>
                <c:pt idx="17207">
                  <c:v>-8.4033613445377801E-3</c:v>
                </c:pt>
                <c:pt idx="17208">
                  <c:v>-8.4033613445377801E-3</c:v>
                </c:pt>
                <c:pt idx="17209">
                  <c:v>-8.4033613445377801E-3</c:v>
                </c:pt>
                <c:pt idx="17210">
                  <c:v>-7.5630252100839998E-3</c:v>
                </c:pt>
                <c:pt idx="17211">
                  <c:v>-7.5630252100839998E-3</c:v>
                </c:pt>
                <c:pt idx="17212">
                  <c:v>-7.5630252100839998E-3</c:v>
                </c:pt>
                <c:pt idx="17213">
                  <c:v>-7.5630252100839998E-3</c:v>
                </c:pt>
                <c:pt idx="17214">
                  <c:v>-7.5630252100839998E-3</c:v>
                </c:pt>
                <c:pt idx="17215">
                  <c:v>-7.5630252100839998E-3</c:v>
                </c:pt>
                <c:pt idx="17216">
                  <c:v>-7.5630252100839998E-3</c:v>
                </c:pt>
                <c:pt idx="17217">
                  <c:v>-6.7226890756302204E-3</c:v>
                </c:pt>
                <c:pt idx="17218">
                  <c:v>-6.7226890756302204E-3</c:v>
                </c:pt>
                <c:pt idx="17219">
                  <c:v>-6.7226890756302204E-3</c:v>
                </c:pt>
                <c:pt idx="17220">
                  <c:v>-6.7226890756302204E-3</c:v>
                </c:pt>
                <c:pt idx="17221">
                  <c:v>-6.7226890756302204E-3</c:v>
                </c:pt>
                <c:pt idx="17222">
                  <c:v>-6.7226890756302204E-3</c:v>
                </c:pt>
                <c:pt idx="17223">
                  <c:v>-6.7226890756302204E-3</c:v>
                </c:pt>
                <c:pt idx="17224">
                  <c:v>-6.7226890756302204E-3</c:v>
                </c:pt>
                <c:pt idx="17225">
                  <c:v>-6.7226890756302204E-3</c:v>
                </c:pt>
                <c:pt idx="17226">
                  <c:v>-6.7226890756302204E-3</c:v>
                </c:pt>
                <c:pt idx="17227">
                  <c:v>-6.7226890756302204E-3</c:v>
                </c:pt>
                <c:pt idx="17228">
                  <c:v>-6.7226890756302204E-3</c:v>
                </c:pt>
                <c:pt idx="17229">
                  <c:v>-6.7226890756302204E-3</c:v>
                </c:pt>
                <c:pt idx="17230">
                  <c:v>-6.7226890756302204E-3</c:v>
                </c:pt>
                <c:pt idx="17231">
                  <c:v>-6.7226890756302204E-3</c:v>
                </c:pt>
                <c:pt idx="17232">
                  <c:v>-6.7226890756302204E-3</c:v>
                </c:pt>
                <c:pt idx="17233">
                  <c:v>-6.7226890756302204E-3</c:v>
                </c:pt>
                <c:pt idx="17234">
                  <c:v>-6.7226890756302204E-3</c:v>
                </c:pt>
                <c:pt idx="17235">
                  <c:v>-6.7226890756302204E-3</c:v>
                </c:pt>
                <c:pt idx="17236">
                  <c:v>-6.7226890756302204E-3</c:v>
                </c:pt>
                <c:pt idx="17237">
                  <c:v>-6.7226890756302204E-3</c:v>
                </c:pt>
                <c:pt idx="17238">
                  <c:v>-6.7226890756302204E-3</c:v>
                </c:pt>
                <c:pt idx="17239">
                  <c:v>-6.7226890756302204E-3</c:v>
                </c:pt>
                <c:pt idx="17240">
                  <c:v>-6.7226890756302204E-3</c:v>
                </c:pt>
                <c:pt idx="17241">
                  <c:v>-7.5630252100839998E-3</c:v>
                </c:pt>
                <c:pt idx="17242">
                  <c:v>-7.5630252100839998E-3</c:v>
                </c:pt>
                <c:pt idx="17243">
                  <c:v>-7.5630252100839998E-3</c:v>
                </c:pt>
                <c:pt idx="17244">
                  <c:v>-7.5630252100839998E-3</c:v>
                </c:pt>
                <c:pt idx="17245">
                  <c:v>-8.4033613445377801E-3</c:v>
                </c:pt>
                <c:pt idx="17246">
                  <c:v>-8.4033613445377801E-3</c:v>
                </c:pt>
                <c:pt idx="17247">
                  <c:v>-8.4033613445377801E-3</c:v>
                </c:pt>
                <c:pt idx="17248">
                  <c:v>-8.4033613445377801E-3</c:v>
                </c:pt>
                <c:pt idx="17249">
                  <c:v>-8.4033613445377801E-3</c:v>
                </c:pt>
                <c:pt idx="17250">
                  <c:v>-8.4033613445377801E-3</c:v>
                </c:pt>
                <c:pt idx="17251">
                  <c:v>-8.4033613445377801E-3</c:v>
                </c:pt>
                <c:pt idx="17252">
                  <c:v>-8.4033613445377801E-3</c:v>
                </c:pt>
                <c:pt idx="17253">
                  <c:v>-8.4033613445377801E-3</c:v>
                </c:pt>
                <c:pt idx="17254">
                  <c:v>-8.4033613445377801E-3</c:v>
                </c:pt>
                <c:pt idx="17255">
                  <c:v>-8.4033613445377801E-3</c:v>
                </c:pt>
                <c:pt idx="17256">
                  <c:v>-8.4033613445377801E-3</c:v>
                </c:pt>
                <c:pt idx="17257">
                  <c:v>-8.4033613445377801E-3</c:v>
                </c:pt>
                <c:pt idx="17258">
                  <c:v>-8.4033613445377801E-3</c:v>
                </c:pt>
                <c:pt idx="17259">
                  <c:v>-8.4033613445377801E-3</c:v>
                </c:pt>
                <c:pt idx="17260">
                  <c:v>-8.4033613445377801E-3</c:v>
                </c:pt>
                <c:pt idx="17261">
                  <c:v>-8.4033613445377801E-3</c:v>
                </c:pt>
                <c:pt idx="17262">
                  <c:v>-8.4033613445377801E-3</c:v>
                </c:pt>
                <c:pt idx="17263">
                  <c:v>-8.4033613445377801E-3</c:v>
                </c:pt>
                <c:pt idx="17264">
                  <c:v>-8.4033613445377801E-3</c:v>
                </c:pt>
                <c:pt idx="17265">
                  <c:v>-8.4033613445377801E-3</c:v>
                </c:pt>
                <c:pt idx="17266">
                  <c:v>-8.4033613445377801E-3</c:v>
                </c:pt>
                <c:pt idx="17267">
                  <c:v>-8.4033613445377801E-3</c:v>
                </c:pt>
                <c:pt idx="17268">
                  <c:v>-8.4033613445377801E-3</c:v>
                </c:pt>
                <c:pt idx="17269">
                  <c:v>-8.4033613445377801E-3</c:v>
                </c:pt>
                <c:pt idx="17270">
                  <c:v>-8.4033613445377801E-3</c:v>
                </c:pt>
                <c:pt idx="17271">
                  <c:v>-9.2436974789915603E-3</c:v>
                </c:pt>
                <c:pt idx="17272">
                  <c:v>-9.2436974789915603E-3</c:v>
                </c:pt>
                <c:pt idx="17273">
                  <c:v>-9.2436974789915603E-3</c:v>
                </c:pt>
                <c:pt idx="17274">
                  <c:v>-9.2436974789915603E-3</c:v>
                </c:pt>
                <c:pt idx="17275">
                  <c:v>-9.2436974789915603E-3</c:v>
                </c:pt>
                <c:pt idx="17276">
                  <c:v>-9.2436974789915603E-3</c:v>
                </c:pt>
                <c:pt idx="17277">
                  <c:v>-9.2436974789915603E-3</c:v>
                </c:pt>
                <c:pt idx="17278">
                  <c:v>-9.2436974789915603E-3</c:v>
                </c:pt>
                <c:pt idx="17279">
                  <c:v>-9.2436974789915603E-3</c:v>
                </c:pt>
                <c:pt idx="17280">
                  <c:v>-9.2436974789915603E-3</c:v>
                </c:pt>
                <c:pt idx="17281">
                  <c:v>-9.2436974789915603E-3</c:v>
                </c:pt>
                <c:pt idx="17282">
                  <c:v>-9.2436974789915603E-3</c:v>
                </c:pt>
                <c:pt idx="17283">
                  <c:v>-9.2436974789915603E-3</c:v>
                </c:pt>
                <c:pt idx="17284">
                  <c:v>-9.2436974789915603E-3</c:v>
                </c:pt>
                <c:pt idx="17285">
                  <c:v>-9.2436974789915603E-3</c:v>
                </c:pt>
                <c:pt idx="17286">
                  <c:v>-9.2436974789915603E-3</c:v>
                </c:pt>
                <c:pt idx="17287">
                  <c:v>-9.2436974789915603E-3</c:v>
                </c:pt>
                <c:pt idx="17288">
                  <c:v>-9.2436974789915603E-3</c:v>
                </c:pt>
                <c:pt idx="17289">
                  <c:v>-9.2436974789915603E-3</c:v>
                </c:pt>
                <c:pt idx="17290">
                  <c:v>-9.2436974789915603E-3</c:v>
                </c:pt>
                <c:pt idx="17291">
                  <c:v>-9.2436974789915603E-3</c:v>
                </c:pt>
                <c:pt idx="17292">
                  <c:v>-9.2436974789915603E-3</c:v>
                </c:pt>
                <c:pt idx="17293">
                  <c:v>-9.2436974789915603E-3</c:v>
                </c:pt>
                <c:pt idx="17294">
                  <c:v>-9.2436974789915603E-3</c:v>
                </c:pt>
                <c:pt idx="17295">
                  <c:v>-9.2436974789915603E-3</c:v>
                </c:pt>
                <c:pt idx="17296">
                  <c:v>-1.0084033613445301E-2</c:v>
                </c:pt>
                <c:pt idx="17297">
                  <c:v>-1.0084033613445301E-2</c:v>
                </c:pt>
                <c:pt idx="17298">
                  <c:v>-1.0084033613445301E-2</c:v>
                </c:pt>
                <c:pt idx="17299">
                  <c:v>-1.0084033613445301E-2</c:v>
                </c:pt>
                <c:pt idx="17300">
                  <c:v>-1.0084033613445301E-2</c:v>
                </c:pt>
                <c:pt idx="17301">
                  <c:v>-1.0084033613445301E-2</c:v>
                </c:pt>
                <c:pt idx="17302">
                  <c:v>-1.0084033613445301E-2</c:v>
                </c:pt>
                <c:pt idx="17303">
                  <c:v>-1.0084033613445301E-2</c:v>
                </c:pt>
                <c:pt idx="17304">
                  <c:v>-1.0084033613445301E-2</c:v>
                </c:pt>
                <c:pt idx="17305">
                  <c:v>-1.0084033613445301E-2</c:v>
                </c:pt>
                <c:pt idx="17306">
                  <c:v>-1.0084033613445301E-2</c:v>
                </c:pt>
                <c:pt idx="17307">
                  <c:v>-1.0084033613445301E-2</c:v>
                </c:pt>
                <c:pt idx="17308">
                  <c:v>-1.0084033613445301E-2</c:v>
                </c:pt>
                <c:pt idx="17309">
                  <c:v>-1.0084033613445301E-2</c:v>
                </c:pt>
                <c:pt idx="17310">
                  <c:v>-1.09243697478991E-2</c:v>
                </c:pt>
                <c:pt idx="17311">
                  <c:v>-1.09243697478991E-2</c:v>
                </c:pt>
                <c:pt idx="17312">
                  <c:v>-1.09243697478991E-2</c:v>
                </c:pt>
                <c:pt idx="17313">
                  <c:v>-1.09243697478991E-2</c:v>
                </c:pt>
                <c:pt idx="17314">
                  <c:v>-1.09243697478991E-2</c:v>
                </c:pt>
                <c:pt idx="17315">
                  <c:v>-1.09243697478991E-2</c:v>
                </c:pt>
                <c:pt idx="17316">
                  <c:v>-1.09243697478991E-2</c:v>
                </c:pt>
                <c:pt idx="17317">
                  <c:v>-1.09243697478991E-2</c:v>
                </c:pt>
                <c:pt idx="17318">
                  <c:v>-1.09243697478991E-2</c:v>
                </c:pt>
                <c:pt idx="17319">
                  <c:v>-1.09243697478991E-2</c:v>
                </c:pt>
                <c:pt idx="17320">
                  <c:v>-1.09243697478991E-2</c:v>
                </c:pt>
                <c:pt idx="17321">
                  <c:v>-1.09243697478991E-2</c:v>
                </c:pt>
                <c:pt idx="17322">
                  <c:v>-1.09243697478991E-2</c:v>
                </c:pt>
                <c:pt idx="17323">
                  <c:v>-1.09243697478991E-2</c:v>
                </c:pt>
                <c:pt idx="17324">
                  <c:v>-1.09243697478991E-2</c:v>
                </c:pt>
                <c:pt idx="17325">
                  <c:v>-1.09243697478991E-2</c:v>
                </c:pt>
                <c:pt idx="17326">
                  <c:v>-1.09243697478991E-2</c:v>
                </c:pt>
                <c:pt idx="17327">
                  <c:v>-1.09243697478991E-2</c:v>
                </c:pt>
                <c:pt idx="17328">
                  <c:v>-1.09243697478991E-2</c:v>
                </c:pt>
                <c:pt idx="17329">
                  <c:v>-1.09243697478991E-2</c:v>
                </c:pt>
                <c:pt idx="17330">
                  <c:v>-1.09243697478991E-2</c:v>
                </c:pt>
                <c:pt idx="17331">
                  <c:v>-1.09243697478991E-2</c:v>
                </c:pt>
                <c:pt idx="17332">
                  <c:v>-1.09243697478991E-2</c:v>
                </c:pt>
                <c:pt idx="17333">
                  <c:v>-1.09243697478991E-2</c:v>
                </c:pt>
                <c:pt idx="17334">
                  <c:v>-1.09243697478991E-2</c:v>
                </c:pt>
                <c:pt idx="17335">
                  <c:v>-1.09243697478991E-2</c:v>
                </c:pt>
                <c:pt idx="17336">
                  <c:v>-1.09243697478991E-2</c:v>
                </c:pt>
                <c:pt idx="17337">
                  <c:v>-1.09243697478991E-2</c:v>
                </c:pt>
                <c:pt idx="17338">
                  <c:v>-1.09243697478991E-2</c:v>
                </c:pt>
                <c:pt idx="17339">
                  <c:v>-1.09243697478991E-2</c:v>
                </c:pt>
                <c:pt idx="17340">
                  <c:v>-1.09243697478991E-2</c:v>
                </c:pt>
                <c:pt idx="17341">
                  <c:v>-1.09243697478991E-2</c:v>
                </c:pt>
                <c:pt idx="17342">
                  <c:v>-1.09243697478991E-2</c:v>
                </c:pt>
                <c:pt idx="17343">
                  <c:v>-1.09243697478991E-2</c:v>
                </c:pt>
                <c:pt idx="17344">
                  <c:v>-1.09243697478991E-2</c:v>
                </c:pt>
                <c:pt idx="17345">
                  <c:v>-1.09243697478991E-2</c:v>
                </c:pt>
                <c:pt idx="17346">
                  <c:v>-1.09243697478991E-2</c:v>
                </c:pt>
                <c:pt idx="17347">
                  <c:v>-1.09243697478991E-2</c:v>
                </c:pt>
                <c:pt idx="17348">
                  <c:v>-1.09243697478991E-2</c:v>
                </c:pt>
                <c:pt idx="17349">
                  <c:v>-1.09243697478991E-2</c:v>
                </c:pt>
                <c:pt idx="17350">
                  <c:v>-1.09243697478991E-2</c:v>
                </c:pt>
                <c:pt idx="17351">
                  <c:v>-1.09243697478991E-2</c:v>
                </c:pt>
                <c:pt idx="17352">
                  <c:v>-1.09243697478991E-2</c:v>
                </c:pt>
                <c:pt idx="17353">
                  <c:v>-1.09243697478991E-2</c:v>
                </c:pt>
                <c:pt idx="17354">
                  <c:v>-1.09243697478991E-2</c:v>
                </c:pt>
                <c:pt idx="17355">
                  <c:v>-1.09243697478991E-2</c:v>
                </c:pt>
                <c:pt idx="17356">
                  <c:v>-1.09243697478991E-2</c:v>
                </c:pt>
                <c:pt idx="17357">
                  <c:v>-1.09243697478991E-2</c:v>
                </c:pt>
                <c:pt idx="17358">
                  <c:v>-1.09243697478991E-2</c:v>
                </c:pt>
                <c:pt idx="17359">
                  <c:v>-1.09243697478991E-2</c:v>
                </c:pt>
                <c:pt idx="17360">
                  <c:v>-1.09243697478991E-2</c:v>
                </c:pt>
                <c:pt idx="17361">
                  <c:v>-1.09243697478991E-2</c:v>
                </c:pt>
                <c:pt idx="17362">
                  <c:v>-1.09243697478991E-2</c:v>
                </c:pt>
                <c:pt idx="17363">
                  <c:v>-1.09243697478991E-2</c:v>
                </c:pt>
                <c:pt idx="17364">
                  <c:v>-1.09243697478991E-2</c:v>
                </c:pt>
                <c:pt idx="17365">
                  <c:v>-1.09243697478991E-2</c:v>
                </c:pt>
                <c:pt idx="17366">
                  <c:v>-1.09243697478991E-2</c:v>
                </c:pt>
                <c:pt idx="17367">
                  <c:v>-1.09243697478991E-2</c:v>
                </c:pt>
                <c:pt idx="17368">
                  <c:v>-1.09243697478991E-2</c:v>
                </c:pt>
                <c:pt idx="17369">
                  <c:v>-1.09243697478991E-2</c:v>
                </c:pt>
                <c:pt idx="17370">
                  <c:v>-1.09243697478991E-2</c:v>
                </c:pt>
                <c:pt idx="17371">
                  <c:v>-1.09243697478991E-2</c:v>
                </c:pt>
                <c:pt idx="17372">
                  <c:v>-1.09243697478991E-2</c:v>
                </c:pt>
                <c:pt idx="17373">
                  <c:v>-1.09243697478991E-2</c:v>
                </c:pt>
                <c:pt idx="17374">
                  <c:v>-1.09243697478991E-2</c:v>
                </c:pt>
                <c:pt idx="17375">
                  <c:v>-1.09243697478991E-2</c:v>
                </c:pt>
                <c:pt idx="17376">
                  <c:v>-1.09243697478991E-2</c:v>
                </c:pt>
                <c:pt idx="17377">
                  <c:v>-1.09243697478991E-2</c:v>
                </c:pt>
                <c:pt idx="17378">
                  <c:v>-1.09243697478991E-2</c:v>
                </c:pt>
                <c:pt idx="17379">
                  <c:v>-1.09243697478991E-2</c:v>
                </c:pt>
                <c:pt idx="17380">
                  <c:v>-1.09243697478991E-2</c:v>
                </c:pt>
                <c:pt idx="17381">
                  <c:v>-1.09243697478991E-2</c:v>
                </c:pt>
                <c:pt idx="17382">
                  <c:v>-1.09243697478991E-2</c:v>
                </c:pt>
                <c:pt idx="17383">
                  <c:v>-1.09243697478991E-2</c:v>
                </c:pt>
                <c:pt idx="17384">
                  <c:v>-1.09243697478991E-2</c:v>
                </c:pt>
                <c:pt idx="17385">
                  <c:v>-1.09243697478991E-2</c:v>
                </c:pt>
                <c:pt idx="17386">
                  <c:v>-1.09243697478991E-2</c:v>
                </c:pt>
                <c:pt idx="17387">
                  <c:v>-1.09243697478991E-2</c:v>
                </c:pt>
                <c:pt idx="17388">
                  <c:v>-1.09243697478991E-2</c:v>
                </c:pt>
                <c:pt idx="17389">
                  <c:v>-1.09243697478991E-2</c:v>
                </c:pt>
                <c:pt idx="17390">
                  <c:v>-1.09243697478991E-2</c:v>
                </c:pt>
                <c:pt idx="17391">
                  <c:v>-1.09243697478991E-2</c:v>
                </c:pt>
                <c:pt idx="17392">
                  <c:v>-1.09243697478991E-2</c:v>
                </c:pt>
                <c:pt idx="17393">
                  <c:v>-1.09243697478991E-2</c:v>
                </c:pt>
                <c:pt idx="17394">
                  <c:v>-1.09243697478991E-2</c:v>
                </c:pt>
                <c:pt idx="17395">
                  <c:v>-1.09243697478991E-2</c:v>
                </c:pt>
                <c:pt idx="17396">
                  <c:v>-1.09243697478991E-2</c:v>
                </c:pt>
                <c:pt idx="17397">
                  <c:v>-1.09243697478991E-2</c:v>
                </c:pt>
                <c:pt idx="17398">
                  <c:v>-1.09243697478991E-2</c:v>
                </c:pt>
                <c:pt idx="17399">
                  <c:v>-1.09243697478991E-2</c:v>
                </c:pt>
                <c:pt idx="17400">
                  <c:v>-1.09243697478991E-2</c:v>
                </c:pt>
                <c:pt idx="17401">
                  <c:v>-1.09243697478991E-2</c:v>
                </c:pt>
                <c:pt idx="17402">
                  <c:v>-1.09243697478991E-2</c:v>
                </c:pt>
                <c:pt idx="17403">
                  <c:v>-1.09243697478991E-2</c:v>
                </c:pt>
                <c:pt idx="17404">
                  <c:v>-1.09243697478991E-2</c:v>
                </c:pt>
                <c:pt idx="17405">
                  <c:v>-1.09243697478991E-2</c:v>
                </c:pt>
                <c:pt idx="17406">
                  <c:v>-1.09243697478991E-2</c:v>
                </c:pt>
                <c:pt idx="17407">
                  <c:v>-1.09243697478991E-2</c:v>
                </c:pt>
                <c:pt idx="17408">
                  <c:v>-1.09243697478991E-2</c:v>
                </c:pt>
                <c:pt idx="17409">
                  <c:v>-1.09243697478991E-2</c:v>
                </c:pt>
                <c:pt idx="17410">
                  <c:v>-1.09243697478991E-2</c:v>
                </c:pt>
                <c:pt idx="17411">
                  <c:v>-1.09243697478991E-2</c:v>
                </c:pt>
                <c:pt idx="17412">
                  <c:v>-1.09243697478991E-2</c:v>
                </c:pt>
                <c:pt idx="17413">
                  <c:v>-1.09243697478991E-2</c:v>
                </c:pt>
                <c:pt idx="17414">
                  <c:v>-1.09243697478991E-2</c:v>
                </c:pt>
                <c:pt idx="17415">
                  <c:v>-1.09243697478991E-2</c:v>
                </c:pt>
                <c:pt idx="17416">
                  <c:v>-1.09243697478991E-2</c:v>
                </c:pt>
                <c:pt idx="17417">
                  <c:v>-1.09243697478991E-2</c:v>
                </c:pt>
                <c:pt idx="17418">
                  <c:v>-1.09243697478991E-2</c:v>
                </c:pt>
                <c:pt idx="17419">
                  <c:v>-1.09243697478991E-2</c:v>
                </c:pt>
                <c:pt idx="17420">
                  <c:v>-1.09243697478991E-2</c:v>
                </c:pt>
                <c:pt idx="17421">
                  <c:v>-1.09243697478991E-2</c:v>
                </c:pt>
                <c:pt idx="17422">
                  <c:v>-1.09243697478991E-2</c:v>
                </c:pt>
                <c:pt idx="17423">
                  <c:v>-1.09243697478991E-2</c:v>
                </c:pt>
                <c:pt idx="17424">
                  <c:v>-1.09243697478991E-2</c:v>
                </c:pt>
                <c:pt idx="17425">
                  <c:v>-1.09243697478991E-2</c:v>
                </c:pt>
                <c:pt idx="17426">
                  <c:v>-1.09243697478991E-2</c:v>
                </c:pt>
                <c:pt idx="17427">
                  <c:v>-1.0084033613445301E-2</c:v>
                </c:pt>
                <c:pt idx="17428">
                  <c:v>-1.0084033613445301E-2</c:v>
                </c:pt>
                <c:pt idx="17429">
                  <c:v>-1.0084033613445301E-2</c:v>
                </c:pt>
                <c:pt idx="17430">
                  <c:v>-1.0084033613445301E-2</c:v>
                </c:pt>
                <c:pt idx="17431">
                  <c:v>-1.0084033613445301E-2</c:v>
                </c:pt>
                <c:pt idx="17432">
                  <c:v>-1.0084033613445301E-2</c:v>
                </c:pt>
                <c:pt idx="17433">
                  <c:v>-9.2436974789915603E-3</c:v>
                </c:pt>
                <c:pt idx="17434">
                  <c:v>-9.2436974789915603E-3</c:v>
                </c:pt>
                <c:pt idx="17435">
                  <c:v>-9.2436974789915603E-3</c:v>
                </c:pt>
                <c:pt idx="17436">
                  <c:v>-9.2436974789915603E-3</c:v>
                </c:pt>
                <c:pt idx="17437">
                  <c:v>-9.2436974789915603E-3</c:v>
                </c:pt>
                <c:pt idx="17438">
                  <c:v>-9.2436974789915603E-3</c:v>
                </c:pt>
                <c:pt idx="17439">
                  <c:v>-9.2436974789915603E-3</c:v>
                </c:pt>
                <c:pt idx="17440">
                  <c:v>-9.2436974789915603E-3</c:v>
                </c:pt>
                <c:pt idx="17441">
                  <c:v>-9.2436974789915603E-3</c:v>
                </c:pt>
                <c:pt idx="17442">
                  <c:v>-9.2436974789915603E-3</c:v>
                </c:pt>
                <c:pt idx="17443">
                  <c:v>-9.2436974789915603E-3</c:v>
                </c:pt>
                <c:pt idx="17444">
                  <c:v>-9.2436974789915603E-3</c:v>
                </c:pt>
                <c:pt idx="17445">
                  <c:v>-9.2436974789915603E-3</c:v>
                </c:pt>
                <c:pt idx="17446">
                  <c:v>-9.2436974789915603E-3</c:v>
                </c:pt>
                <c:pt idx="17447">
                  <c:v>-9.2436974789915603E-3</c:v>
                </c:pt>
                <c:pt idx="17448">
                  <c:v>-9.2436974789915603E-3</c:v>
                </c:pt>
                <c:pt idx="17449">
                  <c:v>-9.2436974789915603E-3</c:v>
                </c:pt>
                <c:pt idx="17450">
                  <c:v>-9.2436974789915603E-3</c:v>
                </c:pt>
                <c:pt idx="17451">
                  <c:v>-9.2436974789915603E-3</c:v>
                </c:pt>
                <c:pt idx="17452">
                  <c:v>-9.2436974789915603E-3</c:v>
                </c:pt>
                <c:pt idx="17453">
                  <c:v>-9.2436974789915603E-3</c:v>
                </c:pt>
                <c:pt idx="17454">
                  <c:v>-9.2436974789915603E-3</c:v>
                </c:pt>
                <c:pt idx="17455">
                  <c:v>-9.2436974789915603E-3</c:v>
                </c:pt>
                <c:pt idx="17456">
                  <c:v>-9.2436974789915603E-3</c:v>
                </c:pt>
                <c:pt idx="17457">
                  <c:v>-9.2436974789915603E-3</c:v>
                </c:pt>
                <c:pt idx="17458">
                  <c:v>-9.2436974789915603E-3</c:v>
                </c:pt>
                <c:pt idx="17459">
                  <c:v>-9.2436974789915603E-3</c:v>
                </c:pt>
                <c:pt idx="17460">
                  <c:v>-9.2436974789915603E-3</c:v>
                </c:pt>
                <c:pt idx="17461">
                  <c:v>-9.2436974789915603E-3</c:v>
                </c:pt>
                <c:pt idx="17462">
                  <c:v>-9.2436974789915603E-3</c:v>
                </c:pt>
                <c:pt idx="17463">
                  <c:v>-9.2436974789915603E-3</c:v>
                </c:pt>
                <c:pt idx="17464">
                  <c:v>-9.2436974789915603E-3</c:v>
                </c:pt>
                <c:pt idx="17465">
                  <c:v>-9.2436974789915603E-3</c:v>
                </c:pt>
                <c:pt idx="17466">
                  <c:v>-9.2436974789915603E-3</c:v>
                </c:pt>
                <c:pt idx="17467">
                  <c:v>-9.2436974789915603E-3</c:v>
                </c:pt>
                <c:pt idx="17468">
                  <c:v>-9.2436974789915603E-3</c:v>
                </c:pt>
                <c:pt idx="17469">
                  <c:v>-9.2436974789915603E-3</c:v>
                </c:pt>
                <c:pt idx="17470">
                  <c:v>-9.2436974789915603E-3</c:v>
                </c:pt>
                <c:pt idx="17471">
                  <c:v>-9.2436974789915603E-3</c:v>
                </c:pt>
                <c:pt idx="17472">
                  <c:v>-9.2436974789915603E-3</c:v>
                </c:pt>
                <c:pt idx="17473">
                  <c:v>-9.2436974789915603E-3</c:v>
                </c:pt>
                <c:pt idx="17474">
                  <c:v>-9.2436974789915603E-3</c:v>
                </c:pt>
                <c:pt idx="17475">
                  <c:v>-9.2436974789915603E-3</c:v>
                </c:pt>
                <c:pt idx="17476">
                  <c:v>-9.2436974789915603E-3</c:v>
                </c:pt>
                <c:pt idx="17477">
                  <c:v>-9.2436974789915603E-3</c:v>
                </c:pt>
                <c:pt idx="17478">
                  <c:v>-9.2436974789915603E-3</c:v>
                </c:pt>
                <c:pt idx="17479">
                  <c:v>-1.0084033613445301E-2</c:v>
                </c:pt>
                <c:pt idx="17480">
                  <c:v>-1.0084033613445301E-2</c:v>
                </c:pt>
                <c:pt idx="17481">
                  <c:v>-1.0084033613445301E-2</c:v>
                </c:pt>
                <c:pt idx="17482">
                  <c:v>-1.0084033613445301E-2</c:v>
                </c:pt>
                <c:pt idx="17483">
                  <c:v>-1.0084033613445301E-2</c:v>
                </c:pt>
                <c:pt idx="17484">
                  <c:v>-1.0084033613445301E-2</c:v>
                </c:pt>
                <c:pt idx="17485">
                  <c:v>-1.0084033613445301E-2</c:v>
                </c:pt>
                <c:pt idx="17486">
                  <c:v>-1.0084033613445301E-2</c:v>
                </c:pt>
                <c:pt idx="17487">
                  <c:v>-1.0084033613445301E-2</c:v>
                </c:pt>
                <c:pt idx="17488">
                  <c:v>-1.0084033613445301E-2</c:v>
                </c:pt>
                <c:pt idx="17489">
                  <c:v>-1.0084033613445301E-2</c:v>
                </c:pt>
                <c:pt idx="17490">
                  <c:v>-1.0084033613445301E-2</c:v>
                </c:pt>
                <c:pt idx="17491">
                  <c:v>-1.09243697478991E-2</c:v>
                </c:pt>
                <c:pt idx="17492">
                  <c:v>-1.09243697478991E-2</c:v>
                </c:pt>
                <c:pt idx="17493">
                  <c:v>-1.09243697478991E-2</c:v>
                </c:pt>
                <c:pt idx="17494">
                  <c:v>-1.09243697478991E-2</c:v>
                </c:pt>
                <c:pt idx="17495">
                  <c:v>-1.09243697478991E-2</c:v>
                </c:pt>
                <c:pt idx="17496">
                  <c:v>-1.09243697478991E-2</c:v>
                </c:pt>
                <c:pt idx="17497">
                  <c:v>-1.09243697478991E-2</c:v>
                </c:pt>
                <c:pt idx="17498">
                  <c:v>-1.09243697478991E-2</c:v>
                </c:pt>
                <c:pt idx="17499">
                  <c:v>-1.09243697478991E-2</c:v>
                </c:pt>
                <c:pt idx="17500">
                  <c:v>-1.09243697478991E-2</c:v>
                </c:pt>
                <c:pt idx="17501">
                  <c:v>-1.09243697478991E-2</c:v>
                </c:pt>
                <c:pt idx="17502">
                  <c:v>-1.09243697478991E-2</c:v>
                </c:pt>
                <c:pt idx="17503">
                  <c:v>-1.09243697478991E-2</c:v>
                </c:pt>
                <c:pt idx="17504">
                  <c:v>-1.09243697478991E-2</c:v>
                </c:pt>
                <c:pt idx="17505">
                  <c:v>-1.09243697478991E-2</c:v>
                </c:pt>
                <c:pt idx="17506">
                  <c:v>-1.09243697478991E-2</c:v>
                </c:pt>
                <c:pt idx="17507">
                  <c:v>-1.09243697478991E-2</c:v>
                </c:pt>
                <c:pt idx="17508">
                  <c:v>-1.09243697478991E-2</c:v>
                </c:pt>
                <c:pt idx="17509">
                  <c:v>-1.0084033613445301E-2</c:v>
                </c:pt>
                <c:pt idx="17510">
                  <c:v>-1.0084033613445301E-2</c:v>
                </c:pt>
                <c:pt idx="17511">
                  <c:v>-1.0084033613445301E-2</c:v>
                </c:pt>
                <c:pt idx="17512">
                  <c:v>-1.0084033613445301E-2</c:v>
                </c:pt>
                <c:pt idx="17513">
                  <c:v>-1.09243697478991E-2</c:v>
                </c:pt>
                <c:pt idx="17514">
                  <c:v>-1.0084033613445301E-2</c:v>
                </c:pt>
                <c:pt idx="17515">
                  <c:v>-1.0084033613445301E-2</c:v>
                </c:pt>
                <c:pt idx="17516">
                  <c:v>-1.0084033613445301E-2</c:v>
                </c:pt>
                <c:pt idx="17517">
                  <c:v>-1.0084033613445301E-2</c:v>
                </c:pt>
                <c:pt idx="17518">
                  <c:v>-1.0084033613445301E-2</c:v>
                </c:pt>
                <c:pt idx="17519">
                  <c:v>-1.0084033613445301E-2</c:v>
                </c:pt>
                <c:pt idx="17520">
                  <c:v>-1.0084033613445301E-2</c:v>
                </c:pt>
                <c:pt idx="17521">
                  <c:v>-1.0084033613445301E-2</c:v>
                </c:pt>
                <c:pt idx="17522">
                  <c:v>-1.0084033613445301E-2</c:v>
                </c:pt>
                <c:pt idx="17523">
                  <c:v>-1.0084033613445301E-2</c:v>
                </c:pt>
                <c:pt idx="17524">
                  <c:v>-1.0084033613445301E-2</c:v>
                </c:pt>
                <c:pt idx="17525">
                  <c:v>-1.0084033613445301E-2</c:v>
                </c:pt>
                <c:pt idx="17526">
                  <c:v>-9.2436974789915603E-3</c:v>
                </c:pt>
                <c:pt idx="17527">
                  <c:v>-9.2436974789915603E-3</c:v>
                </c:pt>
                <c:pt idx="17528">
                  <c:v>-9.2436974789915603E-3</c:v>
                </c:pt>
                <c:pt idx="17529">
                  <c:v>-9.2436974789915603E-3</c:v>
                </c:pt>
                <c:pt idx="17530">
                  <c:v>-9.2436974789915603E-3</c:v>
                </c:pt>
                <c:pt idx="17531">
                  <c:v>-9.2436974789915603E-3</c:v>
                </c:pt>
                <c:pt idx="17532">
                  <c:v>-9.2436974789915603E-3</c:v>
                </c:pt>
                <c:pt idx="17533">
                  <c:v>-9.2436974789915603E-3</c:v>
                </c:pt>
                <c:pt idx="17534">
                  <c:v>-9.2436974789915603E-3</c:v>
                </c:pt>
                <c:pt idx="17535">
                  <c:v>-9.2436974789915603E-3</c:v>
                </c:pt>
                <c:pt idx="17536">
                  <c:v>-9.2436974789915603E-3</c:v>
                </c:pt>
                <c:pt idx="17537">
                  <c:v>-9.2436974789915603E-3</c:v>
                </c:pt>
                <c:pt idx="17538">
                  <c:v>-9.2436974789915603E-3</c:v>
                </c:pt>
                <c:pt idx="17539">
                  <c:v>-9.2436974789915603E-3</c:v>
                </c:pt>
                <c:pt idx="17540">
                  <c:v>-9.2436974789915603E-3</c:v>
                </c:pt>
                <c:pt idx="17541">
                  <c:v>-9.2436974789915603E-3</c:v>
                </c:pt>
                <c:pt idx="17542">
                  <c:v>-9.2436974789915603E-3</c:v>
                </c:pt>
                <c:pt idx="17543">
                  <c:v>-9.2436974789915603E-3</c:v>
                </c:pt>
                <c:pt idx="17544">
                  <c:v>-9.2436974789915603E-3</c:v>
                </c:pt>
                <c:pt idx="17545">
                  <c:v>-9.2436974789915603E-3</c:v>
                </c:pt>
                <c:pt idx="17546">
                  <c:v>-9.2436974789915603E-3</c:v>
                </c:pt>
                <c:pt idx="17547">
                  <c:v>-9.2436974789915603E-3</c:v>
                </c:pt>
                <c:pt idx="17548">
                  <c:v>-1.0084033613445301E-2</c:v>
                </c:pt>
                <c:pt idx="17549">
                  <c:v>-1.0084033613445301E-2</c:v>
                </c:pt>
                <c:pt idx="17550">
                  <c:v>-1.0084033613445301E-2</c:v>
                </c:pt>
                <c:pt idx="17551">
                  <c:v>-1.0084033613445301E-2</c:v>
                </c:pt>
                <c:pt idx="17552">
                  <c:v>-1.0084033613445301E-2</c:v>
                </c:pt>
                <c:pt idx="17553">
                  <c:v>-1.0084033613445301E-2</c:v>
                </c:pt>
                <c:pt idx="17554">
                  <c:v>-1.0084033613445301E-2</c:v>
                </c:pt>
                <c:pt idx="17555">
                  <c:v>-1.0084033613445301E-2</c:v>
                </c:pt>
                <c:pt idx="17556">
                  <c:v>-1.0084033613445301E-2</c:v>
                </c:pt>
                <c:pt idx="17557">
                  <c:v>-1.0084033613445301E-2</c:v>
                </c:pt>
                <c:pt idx="17558">
                  <c:v>-1.0084033613445301E-2</c:v>
                </c:pt>
                <c:pt idx="17559">
                  <c:v>-1.0084033613445301E-2</c:v>
                </c:pt>
                <c:pt idx="17560">
                  <c:v>-1.0084033613445301E-2</c:v>
                </c:pt>
                <c:pt idx="17561">
                  <c:v>-9.2436974789915603E-3</c:v>
                </c:pt>
                <c:pt idx="17562">
                  <c:v>-9.2436974789915603E-3</c:v>
                </c:pt>
                <c:pt idx="17563">
                  <c:v>-9.2436974789915603E-3</c:v>
                </c:pt>
                <c:pt idx="17564">
                  <c:v>-9.2436974789915603E-3</c:v>
                </c:pt>
                <c:pt idx="17565">
                  <c:v>-9.2436974789915603E-3</c:v>
                </c:pt>
                <c:pt idx="17566">
                  <c:v>-9.2436974789915603E-3</c:v>
                </c:pt>
                <c:pt idx="17567">
                  <c:v>-9.2436974789915603E-3</c:v>
                </c:pt>
                <c:pt idx="17568">
                  <c:v>-9.2436974789915603E-3</c:v>
                </c:pt>
                <c:pt idx="17569">
                  <c:v>-9.2436974789915603E-3</c:v>
                </c:pt>
                <c:pt idx="17570">
                  <c:v>-9.2436974789915603E-3</c:v>
                </c:pt>
                <c:pt idx="17571">
                  <c:v>-9.2436974789915603E-3</c:v>
                </c:pt>
                <c:pt idx="17572">
                  <c:v>-9.2436974789915603E-3</c:v>
                </c:pt>
                <c:pt idx="17573">
                  <c:v>-9.2436974789915603E-3</c:v>
                </c:pt>
                <c:pt idx="17574">
                  <c:v>-9.2436974789915603E-3</c:v>
                </c:pt>
                <c:pt idx="17575">
                  <c:v>-9.2436974789915603E-3</c:v>
                </c:pt>
                <c:pt idx="17576">
                  <c:v>-9.2436974789915603E-3</c:v>
                </c:pt>
                <c:pt idx="17577">
                  <c:v>-9.2436974789915603E-3</c:v>
                </c:pt>
                <c:pt idx="17578">
                  <c:v>-9.2436974789915603E-3</c:v>
                </c:pt>
                <c:pt idx="17579">
                  <c:v>-9.2436974789915603E-3</c:v>
                </c:pt>
                <c:pt idx="17580">
                  <c:v>-9.2436974789915603E-3</c:v>
                </c:pt>
                <c:pt idx="17581">
                  <c:v>-9.2436974789915603E-3</c:v>
                </c:pt>
                <c:pt idx="17582">
                  <c:v>-9.2436974789915603E-3</c:v>
                </c:pt>
                <c:pt idx="17583">
                  <c:v>-9.2436974789915603E-3</c:v>
                </c:pt>
                <c:pt idx="17584">
                  <c:v>-9.2436974789915603E-3</c:v>
                </c:pt>
                <c:pt idx="17585">
                  <c:v>-9.2436974789915603E-3</c:v>
                </c:pt>
                <c:pt idx="17586">
                  <c:v>-9.2436974789915603E-3</c:v>
                </c:pt>
                <c:pt idx="17587">
                  <c:v>-9.2436974789915603E-3</c:v>
                </c:pt>
                <c:pt idx="17588">
                  <c:v>-9.2436974789915603E-3</c:v>
                </c:pt>
                <c:pt idx="17589">
                  <c:v>-9.2436974789915603E-3</c:v>
                </c:pt>
                <c:pt idx="17590">
                  <c:v>-9.2436974789915603E-3</c:v>
                </c:pt>
                <c:pt idx="17591">
                  <c:v>-9.2436974789915603E-3</c:v>
                </c:pt>
                <c:pt idx="17592">
                  <c:v>-1.00840336134454E-2</c:v>
                </c:pt>
                <c:pt idx="17593">
                  <c:v>-1.00840336134454E-2</c:v>
                </c:pt>
                <c:pt idx="17594">
                  <c:v>-1.00840336134454E-2</c:v>
                </c:pt>
                <c:pt idx="17595">
                  <c:v>-1.00840336134454E-2</c:v>
                </c:pt>
                <c:pt idx="17596">
                  <c:v>-1.00840336134454E-2</c:v>
                </c:pt>
                <c:pt idx="17597">
                  <c:v>-9.2436974789916696E-3</c:v>
                </c:pt>
                <c:pt idx="17598">
                  <c:v>-9.2436974789916696E-3</c:v>
                </c:pt>
                <c:pt idx="17599">
                  <c:v>-9.2436974789916696E-3</c:v>
                </c:pt>
                <c:pt idx="17600">
                  <c:v>-9.2436974789916696E-3</c:v>
                </c:pt>
                <c:pt idx="17601">
                  <c:v>-9.2436974789916696E-3</c:v>
                </c:pt>
                <c:pt idx="17602">
                  <c:v>-9.2436974789916696E-3</c:v>
                </c:pt>
                <c:pt idx="17603">
                  <c:v>-9.2436974789916696E-3</c:v>
                </c:pt>
                <c:pt idx="17604">
                  <c:v>-9.2436974789916696E-3</c:v>
                </c:pt>
                <c:pt idx="17605">
                  <c:v>-9.2436974789916696E-3</c:v>
                </c:pt>
                <c:pt idx="17606">
                  <c:v>-9.2436974789916696E-3</c:v>
                </c:pt>
                <c:pt idx="17607">
                  <c:v>-9.2436974789916696E-3</c:v>
                </c:pt>
                <c:pt idx="17608">
                  <c:v>-9.2436974789916696E-3</c:v>
                </c:pt>
                <c:pt idx="17609">
                  <c:v>-9.2436974789916696E-3</c:v>
                </c:pt>
                <c:pt idx="17610">
                  <c:v>-9.2436974789916696E-3</c:v>
                </c:pt>
                <c:pt idx="17611">
                  <c:v>-9.2436974789916696E-3</c:v>
                </c:pt>
                <c:pt idx="17612">
                  <c:v>-9.2436974789916696E-3</c:v>
                </c:pt>
                <c:pt idx="17613">
                  <c:v>-9.2436974789916696E-3</c:v>
                </c:pt>
                <c:pt idx="17614">
                  <c:v>-9.2436974789916696E-3</c:v>
                </c:pt>
                <c:pt idx="17615">
                  <c:v>-9.2436974789916696E-3</c:v>
                </c:pt>
                <c:pt idx="17616">
                  <c:v>-9.2436974789916696E-3</c:v>
                </c:pt>
                <c:pt idx="17617">
                  <c:v>-9.2436974789916696E-3</c:v>
                </c:pt>
                <c:pt idx="17618">
                  <c:v>-9.2436974789916696E-3</c:v>
                </c:pt>
                <c:pt idx="17619">
                  <c:v>-9.2436974789916696E-3</c:v>
                </c:pt>
                <c:pt idx="17620">
                  <c:v>-9.2436974789916696E-3</c:v>
                </c:pt>
                <c:pt idx="17621">
                  <c:v>-9.2436974789916696E-3</c:v>
                </c:pt>
                <c:pt idx="17622">
                  <c:v>-9.2436974789916696E-3</c:v>
                </c:pt>
                <c:pt idx="17623">
                  <c:v>-9.2436974789916696E-3</c:v>
                </c:pt>
                <c:pt idx="17624">
                  <c:v>-9.2436974789916696E-3</c:v>
                </c:pt>
                <c:pt idx="17625">
                  <c:v>-9.2436974789916696E-3</c:v>
                </c:pt>
                <c:pt idx="17626">
                  <c:v>-9.2436974789916696E-3</c:v>
                </c:pt>
                <c:pt idx="17627">
                  <c:v>-1.00840336134454E-2</c:v>
                </c:pt>
                <c:pt idx="17628">
                  <c:v>-1.00840336134454E-2</c:v>
                </c:pt>
                <c:pt idx="17629">
                  <c:v>-1.00840336134454E-2</c:v>
                </c:pt>
                <c:pt idx="17630">
                  <c:v>-1.00840336134454E-2</c:v>
                </c:pt>
                <c:pt idx="17631">
                  <c:v>-1.00840336134454E-2</c:v>
                </c:pt>
                <c:pt idx="17632">
                  <c:v>-1.00840336134454E-2</c:v>
                </c:pt>
                <c:pt idx="17633">
                  <c:v>-1.00840336134454E-2</c:v>
                </c:pt>
                <c:pt idx="17634">
                  <c:v>-1.00840336134454E-2</c:v>
                </c:pt>
                <c:pt idx="17635">
                  <c:v>-1.00840336134454E-2</c:v>
                </c:pt>
                <c:pt idx="17636">
                  <c:v>-1.00840336134454E-2</c:v>
                </c:pt>
                <c:pt idx="17637">
                  <c:v>-1.00840336134454E-2</c:v>
                </c:pt>
                <c:pt idx="17638">
                  <c:v>-1.00840336134454E-2</c:v>
                </c:pt>
                <c:pt idx="17639">
                  <c:v>-1.00840336134454E-2</c:v>
                </c:pt>
                <c:pt idx="17640">
                  <c:v>-1.00840336134454E-2</c:v>
                </c:pt>
                <c:pt idx="17641">
                  <c:v>-1.00840336134454E-2</c:v>
                </c:pt>
                <c:pt idx="17642">
                  <c:v>-1.00840336134454E-2</c:v>
                </c:pt>
                <c:pt idx="17643">
                  <c:v>-1.00840336134454E-2</c:v>
                </c:pt>
                <c:pt idx="17644">
                  <c:v>-1.00840336134454E-2</c:v>
                </c:pt>
                <c:pt idx="17645">
                  <c:v>-1.00840336134454E-2</c:v>
                </c:pt>
                <c:pt idx="17646">
                  <c:v>-1.00840336134454E-2</c:v>
                </c:pt>
                <c:pt idx="17647">
                  <c:v>-1.00840336134454E-2</c:v>
                </c:pt>
                <c:pt idx="17648">
                  <c:v>-1.00840336134454E-2</c:v>
                </c:pt>
                <c:pt idx="17649">
                  <c:v>-1.00840336134454E-2</c:v>
                </c:pt>
                <c:pt idx="17650">
                  <c:v>-1.00840336134454E-2</c:v>
                </c:pt>
                <c:pt idx="17651">
                  <c:v>-1.00840336134454E-2</c:v>
                </c:pt>
                <c:pt idx="17652">
                  <c:v>-1.00840336134454E-2</c:v>
                </c:pt>
                <c:pt idx="17653">
                  <c:v>-1.00840336134454E-2</c:v>
                </c:pt>
                <c:pt idx="17654">
                  <c:v>-1.00840336134454E-2</c:v>
                </c:pt>
                <c:pt idx="17655">
                  <c:v>-1.00840336134454E-2</c:v>
                </c:pt>
                <c:pt idx="17656">
                  <c:v>-1.00840336134454E-2</c:v>
                </c:pt>
                <c:pt idx="17657">
                  <c:v>-1.00840336134454E-2</c:v>
                </c:pt>
                <c:pt idx="17658">
                  <c:v>-1.00840336134454E-2</c:v>
                </c:pt>
                <c:pt idx="17659">
                  <c:v>-1.00840336134454E-2</c:v>
                </c:pt>
                <c:pt idx="17660">
                  <c:v>-1.00840336134454E-2</c:v>
                </c:pt>
                <c:pt idx="17661">
                  <c:v>-1.00840336134454E-2</c:v>
                </c:pt>
                <c:pt idx="17662">
                  <c:v>-1.00840336134454E-2</c:v>
                </c:pt>
                <c:pt idx="17663">
                  <c:v>-1.00840336134454E-2</c:v>
                </c:pt>
                <c:pt idx="17664">
                  <c:v>-1.00840336134454E-2</c:v>
                </c:pt>
                <c:pt idx="17665">
                  <c:v>-1.00840336134454E-2</c:v>
                </c:pt>
                <c:pt idx="17666">
                  <c:v>-1.00840336134454E-2</c:v>
                </c:pt>
                <c:pt idx="17667">
                  <c:v>-1.00840336134454E-2</c:v>
                </c:pt>
                <c:pt idx="17668">
                  <c:v>-1.00840336134454E-2</c:v>
                </c:pt>
                <c:pt idx="17669">
                  <c:v>-1.00840336134454E-2</c:v>
                </c:pt>
                <c:pt idx="17670">
                  <c:v>-1.00840336134454E-2</c:v>
                </c:pt>
                <c:pt idx="17671">
                  <c:v>-1.00840336134454E-2</c:v>
                </c:pt>
                <c:pt idx="17672">
                  <c:v>-1.00840336134454E-2</c:v>
                </c:pt>
                <c:pt idx="17673">
                  <c:v>-1.00840336134454E-2</c:v>
                </c:pt>
                <c:pt idx="17674">
                  <c:v>-1.00840336134454E-2</c:v>
                </c:pt>
                <c:pt idx="17675">
                  <c:v>-1.00840336134454E-2</c:v>
                </c:pt>
                <c:pt idx="17676">
                  <c:v>-1.00840336134454E-2</c:v>
                </c:pt>
                <c:pt idx="17677">
                  <c:v>-1.00840336134454E-2</c:v>
                </c:pt>
                <c:pt idx="17678">
                  <c:v>-1.00840336134454E-2</c:v>
                </c:pt>
                <c:pt idx="17679">
                  <c:v>-1.00840336134454E-2</c:v>
                </c:pt>
                <c:pt idx="17680">
                  <c:v>-1.00840336134454E-2</c:v>
                </c:pt>
                <c:pt idx="17681">
                  <c:v>-1.00840336134454E-2</c:v>
                </c:pt>
                <c:pt idx="17682">
                  <c:v>-1.00840336134454E-2</c:v>
                </c:pt>
                <c:pt idx="17683">
                  <c:v>-1.00840336134454E-2</c:v>
                </c:pt>
                <c:pt idx="17684">
                  <c:v>-1.00840336134454E-2</c:v>
                </c:pt>
                <c:pt idx="17685">
                  <c:v>-1.00840336134454E-2</c:v>
                </c:pt>
                <c:pt idx="17686">
                  <c:v>-1.00840336134454E-2</c:v>
                </c:pt>
                <c:pt idx="17687">
                  <c:v>-1.00840336134454E-2</c:v>
                </c:pt>
                <c:pt idx="17688">
                  <c:v>-1.00840336134454E-2</c:v>
                </c:pt>
                <c:pt idx="17689">
                  <c:v>-1.00840336134454E-2</c:v>
                </c:pt>
                <c:pt idx="17690">
                  <c:v>-1.00840336134454E-2</c:v>
                </c:pt>
                <c:pt idx="17691">
                  <c:v>-1.00840336134454E-2</c:v>
                </c:pt>
                <c:pt idx="17692">
                  <c:v>-1.00840336134454E-2</c:v>
                </c:pt>
                <c:pt idx="17693">
                  <c:v>-1.00840336134454E-2</c:v>
                </c:pt>
                <c:pt idx="17694">
                  <c:v>-1.00840336134454E-2</c:v>
                </c:pt>
                <c:pt idx="17695">
                  <c:v>-1.00840336134454E-2</c:v>
                </c:pt>
                <c:pt idx="17696">
                  <c:v>-1.00840336134454E-2</c:v>
                </c:pt>
                <c:pt idx="17697">
                  <c:v>-1.00840336134454E-2</c:v>
                </c:pt>
                <c:pt idx="17698">
                  <c:v>-1.00840336134454E-2</c:v>
                </c:pt>
                <c:pt idx="17699">
                  <c:v>-1.00840336134454E-2</c:v>
                </c:pt>
                <c:pt idx="17700">
                  <c:v>-1.00840336134454E-2</c:v>
                </c:pt>
                <c:pt idx="17701">
                  <c:v>-1.00840336134454E-2</c:v>
                </c:pt>
                <c:pt idx="17702">
                  <c:v>-1.00840336134454E-2</c:v>
                </c:pt>
                <c:pt idx="17703">
                  <c:v>-1.00840336134454E-2</c:v>
                </c:pt>
                <c:pt idx="17704">
                  <c:v>-1.00840336134454E-2</c:v>
                </c:pt>
                <c:pt idx="17705">
                  <c:v>-1.00840336134454E-2</c:v>
                </c:pt>
                <c:pt idx="17706">
                  <c:v>-1.00840336134454E-2</c:v>
                </c:pt>
                <c:pt idx="17707">
                  <c:v>-1.00840336134454E-2</c:v>
                </c:pt>
                <c:pt idx="17708">
                  <c:v>-1.00840336134454E-2</c:v>
                </c:pt>
                <c:pt idx="17709">
                  <c:v>-1.00840336134454E-2</c:v>
                </c:pt>
                <c:pt idx="17710">
                  <c:v>-1.00840336134454E-2</c:v>
                </c:pt>
                <c:pt idx="17711">
                  <c:v>-1.00840336134454E-2</c:v>
                </c:pt>
                <c:pt idx="17712">
                  <c:v>-1.00840336134454E-2</c:v>
                </c:pt>
                <c:pt idx="17713">
                  <c:v>-1.00840336134454E-2</c:v>
                </c:pt>
                <c:pt idx="17714">
                  <c:v>-1.00840336134454E-2</c:v>
                </c:pt>
                <c:pt idx="17715">
                  <c:v>-1.00840336134454E-2</c:v>
                </c:pt>
                <c:pt idx="17716">
                  <c:v>-1.00840336134454E-2</c:v>
                </c:pt>
                <c:pt idx="17717">
                  <c:v>-1.00840336134454E-2</c:v>
                </c:pt>
                <c:pt idx="17718">
                  <c:v>-1.00840336134454E-2</c:v>
                </c:pt>
                <c:pt idx="17719">
                  <c:v>-1.00840336134454E-2</c:v>
                </c:pt>
                <c:pt idx="17720">
                  <c:v>-1.00840336134454E-2</c:v>
                </c:pt>
                <c:pt idx="17721">
                  <c:v>-1.00840336134454E-2</c:v>
                </c:pt>
                <c:pt idx="17722">
                  <c:v>-9.2436974789916696E-3</c:v>
                </c:pt>
                <c:pt idx="17723">
                  <c:v>-9.2436974789916696E-3</c:v>
                </c:pt>
                <c:pt idx="17724">
                  <c:v>-9.2436974789916696E-3</c:v>
                </c:pt>
                <c:pt idx="17725">
                  <c:v>-9.2436974789916696E-3</c:v>
                </c:pt>
                <c:pt idx="17726">
                  <c:v>-9.2436974789916696E-3</c:v>
                </c:pt>
                <c:pt idx="17727">
                  <c:v>-9.2436974789916696E-3</c:v>
                </c:pt>
                <c:pt idx="17728">
                  <c:v>-9.2436974789916696E-3</c:v>
                </c:pt>
                <c:pt idx="17729">
                  <c:v>-9.2436974789916696E-3</c:v>
                </c:pt>
                <c:pt idx="17730">
                  <c:v>-9.2436974789916696E-3</c:v>
                </c:pt>
                <c:pt idx="17731">
                  <c:v>-9.2436974789916696E-3</c:v>
                </c:pt>
                <c:pt idx="17732">
                  <c:v>-9.2436974789916696E-3</c:v>
                </c:pt>
                <c:pt idx="17733">
                  <c:v>-9.2436974789916696E-3</c:v>
                </c:pt>
                <c:pt idx="17734">
                  <c:v>-9.2436974789916696E-3</c:v>
                </c:pt>
                <c:pt idx="17735">
                  <c:v>-9.2436974789916696E-3</c:v>
                </c:pt>
                <c:pt idx="17736">
                  <c:v>-9.2436974789916696E-3</c:v>
                </c:pt>
                <c:pt idx="17737">
                  <c:v>-9.2436974789916696E-3</c:v>
                </c:pt>
                <c:pt idx="17738">
                  <c:v>-9.2436974789916696E-3</c:v>
                </c:pt>
                <c:pt idx="17739">
                  <c:v>-9.2436974789916696E-3</c:v>
                </c:pt>
                <c:pt idx="17740">
                  <c:v>-9.2436974789916696E-3</c:v>
                </c:pt>
                <c:pt idx="17741">
                  <c:v>-9.2436974789916696E-3</c:v>
                </c:pt>
                <c:pt idx="17742">
                  <c:v>-9.2436974789916696E-3</c:v>
                </c:pt>
                <c:pt idx="17743">
                  <c:v>-9.2436974789916696E-3</c:v>
                </c:pt>
                <c:pt idx="17744">
                  <c:v>-9.2436974789916696E-3</c:v>
                </c:pt>
                <c:pt idx="17745">
                  <c:v>-9.2436974789916696E-3</c:v>
                </c:pt>
                <c:pt idx="17746">
                  <c:v>-9.2436974789916696E-3</c:v>
                </c:pt>
                <c:pt idx="17747">
                  <c:v>-9.2436974789916696E-3</c:v>
                </c:pt>
                <c:pt idx="17748">
                  <c:v>-9.2436974789916696E-3</c:v>
                </c:pt>
                <c:pt idx="17749">
                  <c:v>-9.2436974789916696E-3</c:v>
                </c:pt>
                <c:pt idx="17750">
                  <c:v>-9.2436974789916696E-3</c:v>
                </c:pt>
                <c:pt idx="17751">
                  <c:v>-9.2436974789916696E-3</c:v>
                </c:pt>
                <c:pt idx="17752">
                  <c:v>-9.2436974789916696E-3</c:v>
                </c:pt>
                <c:pt idx="17753">
                  <c:v>-9.2436974789916696E-3</c:v>
                </c:pt>
                <c:pt idx="17754">
                  <c:v>-9.2436974789916696E-3</c:v>
                </c:pt>
                <c:pt idx="17755">
                  <c:v>-9.2436974789916696E-3</c:v>
                </c:pt>
                <c:pt idx="17756">
                  <c:v>-9.2436974789916696E-3</c:v>
                </c:pt>
                <c:pt idx="17757">
                  <c:v>-9.2436974789916696E-3</c:v>
                </c:pt>
                <c:pt idx="17758">
                  <c:v>-1.00840336134454E-2</c:v>
                </c:pt>
                <c:pt idx="17759">
                  <c:v>-1.00840336134454E-2</c:v>
                </c:pt>
                <c:pt idx="17760">
                  <c:v>-1.00840336134454E-2</c:v>
                </c:pt>
                <c:pt idx="17761">
                  <c:v>-1.00840336134454E-2</c:v>
                </c:pt>
                <c:pt idx="17762">
                  <c:v>-1.00840336134454E-2</c:v>
                </c:pt>
                <c:pt idx="17763">
                  <c:v>-1.00840336134454E-2</c:v>
                </c:pt>
                <c:pt idx="17764">
                  <c:v>-1.00840336134454E-2</c:v>
                </c:pt>
                <c:pt idx="17765">
                  <c:v>-1.00840336134454E-2</c:v>
                </c:pt>
                <c:pt idx="17766">
                  <c:v>-1.00840336134454E-2</c:v>
                </c:pt>
                <c:pt idx="17767">
                  <c:v>-1.00840336134454E-2</c:v>
                </c:pt>
                <c:pt idx="17768">
                  <c:v>-1.00840336134454E-2</c:v>
                </c:pt>
                <c:pt idx="17769">
                  <c:v>-1.00840336134454E-2</c:v>
                </c:pt>
                <c:pt idx="17770">
                  <c:v>-1.00840336134454E-2</c:v>
                </c:pt>
                <c:pt idx="17771">
                  <c:v>-1.00840336134454E-2</c:v>
                </c:pt>
                <c:pt idx="17772">
                  <c:v>-1.00840336134454E-2</c:v>
                </c:pt>
                <c:pt idx="17773">
                  <c:v>-1.00840336134454E-2</c:v>
                </c:pt>
                <c:pt idx="17774">
                  <c:v>-1.00840336134454E-2</c:v>
                </c:pt>
                <c:pt idx="17775">
                  <c:v>-1.00840336134454E-2</c:v>
                </c:pt>
                <c:pt idx="17776">
                  <c:v>-1.00840336134454E-2</c:v>
                </c:pt>
                <c:pt idx="17777">
                  <c:v>-1.00840336134454E-2</c:v>
                </c:pt>
                <c:pt idx="17778">
                  <c:v>-1.00840336134454E-2</c:v>
                </c:pt>
                <c:pt idx="17779">
                  <c:v>-1.00840336134454E-2</c:v>
                </c:pt>
                <c:pt idx="17780">
                  <c:v>-1.00840336134454E-2</c:v>
                </c:pt>
                <c:pt idx="17781">
                  <c:v>-1.00840336134454E-2</c:v>
                </c:pt>
                <c:pt idx="17782">
                  <c:v>-1.00840336134454E-2</c:v>
                </c:pt>
                <c:pt idx="17783">
                  <c:v>-1.00840336134454E-2</c:v>
                </c:pt>
                <c:pt idx="17784">
                  <c:v>-1.00840336134454E-2</c:v>
                </c:pt>
                <c:pt idx="17785">
                  <c:v>-1.00840336134454E-2</c:v>
                </c:pt>
                <c:pt idx="17786">
                  <c:v>-1.00840336134454E-2</c:v>
                </c:pt>
                <c:pt idx="17787">
                  <c:v>-1.00840336134454E-2</c:v>
                </c:pt>
                <c:pt idx="17788">
                  <c:v>-1.00840336134454E-2</c:v>
                </c:pt>
                <c:pt idx="17789">
                  <c:v>-1.00840336134454E-2</c:v>
                </c:pt>
                <c:pt idx="17790">
                  <c:v>-1.00840336134454E-2</c:v>
                </c:pt>
                <c:pt idx="17791">
                  <c:v>-1.00840336134454E-2</c:v>
                </c:pt>
                <c:pt idx="17792">
                  <c:v>-1.00840336134454E-2</c:v>
                </c:pt>
                <c:pt idx="17793">
                  <c:v>-1.00840336134454E-2</c:v>
                </c:pt>
                <c:pt idx="17794">
                  <c:v>-1.00840336134454E-2</c:v>
                </c:pt>
                <c:pt idx="17795">
                  <c:v>-1.00840336134454E-2</c:v>
                </c:pt>
                <c:pt idx="17796">
                  <c:v>-1.00840336134454E-2</c:v>
                </c:pt>
                <c:pt idx="17797">
                  <c:v>-1.00840336134454E-2</c:v>
                </c:pt>
                <c:pt idx="17798">
                  <c:v>-9.2436974789916696E-3</c:v>
                </c:pt>
                <c:pt idx="17799">
                  <c:v>-9.2436974789916696E-3</c:v>
                </c:pt>
                <c:pt idx="17800">
                  <c:v>-9.2436974789916696E-3</c:v>
                </c:pt>
                <c:pt idx="17801">
                  <c:v>-9.2436974789916696E-3</c:v>
                </c:pt>
                <c:pt idx="17802">
                  <c:v>-8.4033613445378894E-3</c:v>
                </c:pt>
                <c:pt idx="17803">
                  <c:v>-8.4033613445378894E-3</c:v>
                </c:pt>
                <c:pt idx="17804">
                  <c:v>-8.4033613445378894E-3</c:v>
                </c:pt>
                <c:pt idx="17805">
                  <c:v>-8.4033613445378894E-3</c:v>
                </c:pt>
                <c:pt idx="17806">
                  <c:v>-8.4033613445378894E-3</c:v>
                </c:pt>
                <c:pt idx="17807">
                  <c:v>-8.4033613445378894E-3</c:v>
                </c:pt>
                <c:pt idx="17808">
                  <c:v>-8.4033613445378894E-3</c:v>
                </c:pt>
                <c:pt idx="17809">
                  <c:v>-8.4033613445378894E-3</c:v>
                </c:pt>
                <c:pt idx="17810">
                  <c:v>-8.4033613445378894E-3</c:v>
                </c:pt>
                <c:pt idx="17811">
                  <c:v>-8.4033613445378894E-3</c:v>
                </c:pt>
                <c:pt idx="17812">
                  <c:v>-8.4033613445378894E-3</c:v>
                </c:pt>
                <c:pt idx="17813">
                  <c:v>-8.4033613445378894E-3</c:v>
                </c:pt>
                <c:pt idx="17814">
                  <c:v>-8.4033613445378894E-3</c:v>
                </c:pt>
                <c:pt idx="17815">
                  <c:v>-8.4033613445378894E-3</c:v>
                </c:pt>
                <c:pt idx="17816">
                  <c:v>-8.4033613445378894E-3</c:v>
                </c:pt>
                <c:pt idx="17817">
                  <c:v>-8.4033613445378894E-3</c:v>
                </c:pt>
                <c:pt idx="17818">
                  <c:v>-8.4033613445378894E-3</c:v>
                </c:pt>
                <c:pt idx="17819">
                  <c:v>-8.4033613445378894E-3</c:v>
                </c:pt>
                <c:pt idx="17820">
                  <c:v>-8.4033613445378894E-3</c:v>
                </c:pt>
                <c:pt idx="17821">
                  <c:v>-8.4033613445378894E-3</c:v>
                </c:pt>
                <c:pt idx="17822">
                  <c:v>-8.4033613445378894E-3</c:v>
                </c:pt>
                <c:pt idx="17823">
                  <c:v>-8.4033613445378894E-3</c:v>
                </c:pt>
                <c:pt idx="17824">
                  <c:v>-8.4033613445378894E-3</c:v>
                </c:pt>
                <c:pt idx="17825">
                  <c:v>-8.4033613445378894E-3</c:v>
                </c:pt>
                <c:pt idx="17826">
                  <c:v>-8.4033613445378894E-3</c:v>
                </c:pt>
                <c:pt idx="17827">
                  <c:v>-8.4033613445378894E-3</c:v>
                </c:pt>
                <c:pt idx="17828">
                  <c:v>-8.4033613445378894E-3</c:v>
                </c:pt>
                <c:pt idx="17829">
                  <c:v>-8.4033613445378894E-3</c:v>
                </c:pt>
                <c:pt idx="17830">
                  <c:v>-8.4033613445378894E-3</c:v>
                </c:pt>
                <c:pt idx="17831">
                  <c:v>-8.4033613445378894E-3</c:v>
                </c:pt>
                <c:pt idx="17832">
                  <c:v>-8.4033613445378894E-3</c:v>
                </c:pt>
                <c:pt idx="17833">
                  <c:v>-8.4033613445378894E-3</c:v>
                </c:pt>
                <c:pt idx="17834">
                  <c:v>-8.4033613445378894E-3</c:v>
                </c:pt>
                <c:pt idx="17835">
                  <c:v>-8.4033613445378894E-3</c:v>
                </c:pt>
                <c:pt idx="17836">
                  <c:v>-8.4033613445378894E-3</c:v>
                </c:pt>
                <c:pt idx="17837">
                  <c:v>-8.4033613445378894E-3</c:v>
                </c:pt>
                <c:pt idx="17838">
                  <c:v>-8.4033613445378894E-3</c:v>
                </c:pt>
                <c:pt idx="17839">
                  <c:v>-8.4033613445378894E-3</c:v>
                </c:pt>
                <c:pt idx="17840">
                  <c:v>-8.4033613445378894E-3</c:v>
                </c:pt>
                <c:pt idx="17841">
                  <c:v>-8.4033613445378894E-3</c:v>
                </c:pt>
                <c:pt idx="17842">
                  <c:v>-8.4033613445378894E-3</c:v>
                </c:pt>
                <c:pt idx="17843">
                  <c:v>-8.4033613445378894E-3</c:v>
                </c:pt>
                <c:pt idx="17844">
                  <c:v>-8.4033613445378894E-3</c:v>
                </c:pt>
                <c:pt idx="17845">
                  <c:v>-8.4033613445378894E-3</c:v>
                </c:pt>
                <c:pt idx="17846">
                  <c:v>-8.4033613445378894E-3</c:v>
                </c:pt>
                <c:pt idx="17847">
                  <c:v>-8.4033613445378894E-3</c:v>
                </c:pt>
                <c:pt idx="17848">
                  <c:v>-8.4033613445378894E-3</c:v>
                </c:pt>
                <c:pt idx="17849">
                  <c:v>-8.4033613445378894E-3</c:v>
                </c:pt>
                <c:pt idx="17850">
                  <c:v>-8.4033613445378894E-3</c:v>
                </c:pt>
                <c:pt idx="17851">
                  <c:v>-8.4033613445378894E-3</c:v>
                </c:pt>
                <c:pt idx="17852">
                  <c:v>-8.4033613445378894E-3</c:v>
                </c:pt>
                <c:pt idx="17853">
                  <c:v>-8.4033613445378894E-3</c:v>
                </c:pt>
                <c:pt idx="17854">
                  <c:v>-8.4033613445378894E-3</c:v>
                </c:pt>
                <c:pt idx="17855">
                  <c:v>-8.4033613445378894E-3</c:v>
                </c:pt>
                <c:pt idx="17856">
                  <c:v>-8.4033613445378894E-3</c:v>
                </c:pt>
                <c:pt idx="17857">
                  <c:v>-8.4033613445378894E-3</c:v>
                </c:pt>
                <c:pt idx="17858">
                  <c:v>-8.4033613445378894E-3</c:v>
                </c:pt>
                <c:pt idx="17859">
                  <c:v>-8.4033613445378894E-3</c:v>
                </c:pt>
                <c:pt idx="17860">
                  <c:v>-8.4033613445378894E-3</c:v>
                </c:pt>
                <c:pt idx="17861">
                  <c:v>-8.4033613445378894E-3</c:v>
                </c:pt>
                <c:pt idx="17862">
                  <c:v>-8.4033613445378894E-3</c:v>
                </c:pt>
                <c:pt idx="17863">
                  <c:v>-8.4033613445378894E-3</c:v>
                </c:pt>
                <c:pt idx="17864">
                  <c:v>-8.4033613445378894E-3</c:v>
                </c:pt>
                <c:pt idx="17865">
                  <c:v>-8.4033613445378894E-3</c:v>
                </c:pt>
                <c:pt idx="17866">
                  <c:v>-8.4033613445378894E-3</c:v>
                </c:pt>
                <c:pt idx="17867">
                  <c:v>-8.4033613445378894E-3</c:v>
                </c:pt>
                <c:pt idx="17868">
                  <c:v>-8.4033613445378894E-3</c:v>
                </c:pt>
                <c:pt idx="17869">
                  <c:v>-8.4033613445378894E-3</c:v>
                </c:pt>
                <c:pt idx="17870">
                  <c:v>-8.4033613445378894E-3</c:v>
                </c:pt>
                <c:pt idx="17871">
                  <c:v>-8.4033613445378894E-3</c:v>
                </c:pt>
                <c:pt idx="17872">
                  <c:v>-8.4033613445378894E-3</c:v>
                </c:pt>
                <c:pt idx="17873">
                  <c:v>-8.4033613445378894E-3</c:v>
                </c:pt>
                <c:pt idx="17874">
                  <c:v>-8.4033613445378894E-3</c:v>
                </c:pt>
                <c:pt idx="17875">
                  <c:v>-8.4033613445378894E-3</c:v>
                </c:pt>
                <c:pt idx="17876">
                  <c:v>-8.4033613445378894E-3</c:v>
                </c:pt>
                <c:pt idx="17877">
                  <c:v>-8.4033613445378894E-3</c:v>
                </c:pt>
                <c:pt idx="17878">
                  <c:v>-8.4033613445378894E-3</c:v>
                </c:pt>
                <c:pt idx="17879">
                  <c:v>-8.4033613445378894E-3</c:v>
                </c:pt>
                <c:pt idx="17880">
                  <c:v>-8.4033613445378894E-3</c:v>
                </c:pt>
                <c:pt idx="17881">
                  <c:v>-8.4033613445378894E-3</c:v>
                </c:pt>
                <c:pt idx="17882">
                  <c:v>-8.4033613445378894E-3</c:v>
                </c:pt>
                <c:pt idx="17883">
                  <c:v>-8.4033613445378894E-3</c:v>
                </c:pt>
                <c:pt idx="17884">
                  <c:v>-8.4033613445378894E-3</c:v>
                </c:pt>
                <c:pt idx="17885">
                  <c:v>-8.4033613445378894E-3</c:v>
                </c:pt>
                <c:pt idx="17886">
                  <c:v>-8.4033613445378894E-3</c:v>
                </c:pt>
                <c:pt idx="17887">
                  <c:v>-8.4033613445378894E-3</c:v>
                </c:pt>
                <c:pt idx="17888">
                  <c:v>-8.4033613445378894E-3</c:v>
                </c:pt>
                <c:pt idx="17889">
                  <c:v>-8.4033613445378894E-3</c:v>
                </c:pt>
                <c:pt idx="17890">
                  <c:v>-8.4033613445378894E-3</c:v>
                </c:pt>
                <c:pt idx="17891">
                  <c:v>-8.4033613445378894E-3</c:v>
                </c:pt>
                <c:pt idx="17892">
                  <c:v>-8.4033613445378894E-3</c:v>
                </c:pt>
                <c:pt idx="17893">
                  <c:v>-8.4033613445378894E-3</c:v>
                </c:pt>
                <c:pt idx="17894">
                  <c:v>-8.4033613445378894E-3</c:v>
                </c:pt>
                <c:pt idx="17895">
                  <c:v>-8.4033613445378894E-3</c:v>
                </c:pt>
                <c:pt idx="17896">
                  <c:v>-8.4033613445378894E-3</c:v>
                </c:pt>
                <c:pt idx="17897">
                  <c:v>-8.4033613445378894E-3</c:v>
                </c:pt>
                <c:pt idx="17898">
                  <c:v>-8.4033613445378894E-3</c:v>
                </c:pt>
                <c:pt idx="17899">
                  <c:v>-8.4033613445378894E-3</c:v>
                </c:pt>
                <c:pt idx="17900">
                  <c:v>-8.4033613445378894E-3</c:v>
                </c:pt>
                <c:pt idx="17901">
                  <c:v>-8.4033613445378894E-3</c:v>
                </c:pt>
                <c:pt idx="17902">
                  <c:v>-8.4033613445378894E-3</c:v>
                </c:pt>
                <c:pt idx="17903">
                  <c:v>-8.4033613445378894E-3</c:v>
                </c:pt>
                <c:pt idx="17904">
                  <c:v>-8.4033613445378894E-3</c:v>
                </c:pt>
                <c:pt idx="17905">
                  <c:v>-8.4033613445378894E-3</c:v>
                </c:pt>
                <c:pt idx="17906">
                  <c:v>-8.4033613445378894E-3</c:v>
                </c:pt>
                <c:pt idx="17907">
                  <c:v>-8.4033613445378894E-3</c:v>
                </c:pt>
                <c:pt idx="17908">
                  <c:v>-8.4033613445378894E-3</c:v>
                </c:pt>
                <c:pt idx="17909">
                  <c:v>-8.4033613445378894E-3</c:v>
                </c:pt>
                <c:pt idx="17910">
                  <c:v>-8.4033613445378894E-3</c:v>
                </c:pt>
                <c:pt idx="17911">
                  <c:v>-8.4033613445378894E-3</c:v>
                </c:pt>
                <c:pt idx="17912">
                  <c:v>-8.4033613445378894E-3</c:v>
                </c:pt>
                <c:pt idx="17913">
                  <c:v>-8.4033613445378894E-3</c:v>
                </c:pt>
                <c:pt idx="17914">
                  <c:v>-8.4033613445378894E-3</c:v>
                </c:pt>
                <c:pt idx="17915">
                  <c:v>-8.4033613445378894E-3</c:v>
                </c:pt>
                <c:pt idx="17916">
                  <c:v>-8.4033613445378894E-3</c:v>
                </c:pt>
                <c:pt idx="17917">
                  <c:v>-8.4033613445378894E-3</c:v>
                </c:pt>
                <c:pt idx="17918">
                  <c:v>-7.56302521008411E-3</c:v>
                </c:pt>
                <c:pt idx="17919">
                  <c:v>-7.56302521008411E-3</c:v>
                </c:pt>
                <c:pt idx="17920">
                  <c:v>-7.56302521008411E-3</c:v>
                </c:pt>
                <c:pt idx="17921">
                  <c:v>-7.56302521008411E-3</c:v>
                </c:pt>
                <c:pt idx="17922">
                  <c:v>-7.56302521008411E-3</c:v>
                </c:pt>
                <c:pt idx="17923">
                  <c:v>-7.56302521008411E-3</c:v>
                </c:pt>
                <c:pt idx="17924">
                  <c:v>-7.56302521008411E-3</c:v>
                </c:pt>
                <c:pt idx="17925">
                  <c:v>-7.56302521008411E-3</c:v>
                </c:pt>
                <c:pt idx="17926">
                  <c:v>-7.56302521008411E-3</c:v>
                </c:pt>
                <c:pt idx="17927">
                  <c:v>-7.56302521008411E-3</c:v>
                </c:pt>
                <c:pt idx="17928">
                  <c:v>-7.56302521008411E-3</c:v>
                </c:pt>
                <c:pt idx="17929">
                  <c:v>-7.56302521008411E-3</c:v>
                </c:pt>
                <c:pt idx="17930">
                  <c:v>-6.7226890756303297E-3</c:v>
                </c:pt>
                <c:pt idx="17931">
                  <c:v>-6.7226890756303297E-3</c:v>
                </c:pt>
                <c:pt idx="17932">
                  <c:v>-6.7226890756303297E-3</c:v>
                </c:pt>
                <c:pt idx="17933">
                  <c:v>-6.7226890756303297E-3</c:v>
                </c:pt>
                <c:pt idx="17934">
                  <c:v>-6.7226890756303297E-3</c:v>
                </c:pt>
                <c:pt idx="17935">
                  <c:v>-6.7226890756303297E-3</c:v>
                </c:pt>
                <c:pt idx="17936">
                  <c:v>-6.7226890756303297E-3</c:v>
                </c:pt>
                <c:pt idx="17937">
                  <c:v>-6.7226890756303297E-3</c:v>
                </c:pt>
                <c:pt idx="17938">
                  <c:v>-6.7226890756303297E-3</c:v>
                </c:pt>
                <c:pt idx="17939">
                  <c:v>-6.7226890756303297E-3</c:v>
                </c:pt>
                <c:pt idx="17940">
                  <c:v>-6.7226890756303297E-3</c:v>
                </c:pt>
                <c:pt idx="17941">
                  <c:v>-6.7226890756303297E-3</c:v>
                </c:pt>
                <c:pt idx="17942">
                  <c:v>-6.7226890756303297E-3</c:v>
                </c:pt>
                <c:pt idx="17943">
                  <c:v>-6.7226890756303297E-3</c:v>
                </c:pt>
                <c:pt idx="17944">
                  <c:v>-7.56302521008411E-3</c:v>
                </c:pt>
                <c:pt idx="17945">
                  <c:v>-7.56302521008411E-3</c:v>
                </c:pt>
                <c:pt idx="17946">
                  <c:v>-7.56302521008411E-3</c:v>
                </c:pt>
                <c:pt idx="17947">
                  <c:v>-7.56302521008411E-3</c:v>
                </c:pt>
                <c:pt idx="17948">
                  <c:v>-7.56302521008411E-3</c:v>
                </c:pt>
                <c:pt idx="17949">
                  <c:v>-7.56302521008411E-3</c:v>
                </c:pt>
                <c:pt idx="17950">
                  <c:v>-7.56302521008411E-3</c:v>
                </c:pt>
                <c:pt idx="17951">
                  <c:v>-7.56302521008411E-3</c:v>
                </c:pt>
                <c:pt idx="17952">
                  <c:v>-7.56302521008411E-3</c:v>
                </c:pt>
                <c:pt idx="17953">
                  <c:v>-7.56302521008411E-3</c:v>
                </c:pt>
                <c:pt idx="17954">
                  <c:v>-7.56302521008411E-3</c:v>
                </c:pt>
                <c:pt idx="17955">
                  <c:v>-7.56302521008411E-3</c:v>
                </c:pt>
                <c:pt idx="17956">
                  <c:v>-7.56302521008411E-3</c:v>
                </c:pt>
                <c:pt idx="17957">
                  <c:v>-7.56302521008411E-3</c:v>
                </c:pt>
                <c:pt idx="17958">
                  <c:v>-7.56302521008411E-3</c:v>
                </c:pt>
                <c:pt idx="17959">
                  <c:v>-7.56302521008411E-3</c:v>
                </c:pt>
                <c:pt idx="17960">
                  <c:v>-7.56302521008411E-3</c:v>
                </c:pt>
                <c:pt idx="17961">
                  <c:v>-7.56302521008411E-3</c:v>
                </c:pt>
                <c:pt idx="17962">
                  <c:v>-7.56302521008411E-3</c:v>
                </c:pt>
                <c:pt idx="17963">
                  <c:v>-7.56302521008411E-3</c:v>
                </c:pt>
                <c:pt idx="17964">
                  <c:v>-7.56302521008411E-3</c:v>
                </c:pt>
                <c:pt idx="17965">
                  <c:v>-7.56302521008411E-3</c:v>
                </c:pt>
                <c:pt idx="17966">
                  <c:v>-7.56302521008411E-3</c:v>
                </c:pt>
                <c:pt idx="17967">
                  <c:v>-7.56302521008411E-3</c:v>
                </c:pt>
                <c:pt idx="17968">
                  <c:v>-7.56302521008411E-3</c:v>
                </c:pt>
                <c:pt idx="17969">
                  <c:v>-7.56302521008411E-3</c:v>
                </c:pt>
                <c:pt idx="17970">
                  <c:v>-7.56302521008411E-3</c:v>
                </c:pt>
                <c:pt idx="17971">
                  <c:v>-7.56302521008411E-3</c:v>
                </c:pt>
                <c:pt idx="17972">
                  <c:v>-7.56302521008411E-3</c:v>
                </c:pt>
                <c:pt idx="17973">
                  <c:v>-7.56302521008411E-3</c:v>
                </c:pt>
                <c:pt idx="17974">
                  <c:v>-6.7226890756303297E-3</c:v>
                </c:pt>
                <c:pt idx="17975">
                  <c:v>-6.7226890756303297E-3</c:v>
                </c:pt>
                <c:pt idx="17976">
                  <c:v>-6.7226890756303297E-3</c:v>
                </c:pt>
                <c:pt idx="17977">
                  <c:v>-6.7226890756303297E-3</c:v>
                </c:pt>
                <c:pt idx="17978">
                  <c:v>-6.7226890756303297E-3</c:v>
                </c:pt>
                <c:pt idx="17979">
                  <c:v>-6.7226890756303297E-3</c:v>
                </c:pt>
                <c:pt idx="17980">
                  <c:v>-6.7226890756303297E-3</c:v>
                </c:pt>
                <c:pt idx="17981">
                  <c:v>-6.7226890756303297E-3</c:v>
                </c:pt>
                <c:pt idx="17982">
                  <c:v>-6.7226890756303297E-3</c:v>
                </c:pt>
                <c:pt idx="17983">
                  <c:v>-6.7226890756303297E-3</c:v>
                </c:pt>
                <c:pt idx="17984">
                  <c:v>-6.7226890756303297E-3</c:v>
                </c:pt>
                <c:pt idx="17985">
                  <c:v>-6.7226890756303297E-3</c:v>
                </c:pt>
                <c:pt idx="17986">
                  <c:v>-6.7226890756303297E-3</c:v>
                </c:pt>
                <c:pt idx="17987">
                  <c:v>-6.7226890756303297E-3</c:v>
                </c:pt>
                <c:pt idx="17988">
                  <c:v>-6.7226890756303297E-3</c:v>
                </c:pt>
                <c:pt idx="17989">
                  <c:v>-6.7226890756303297E-3</c:v>
                </c:pt>
                <c:pt idx="17990">
                  <c:v>-6.7226890756303297E-3</c:v>
                </c:pt>
                <c:pt idx="17991">
                  <c:v>-6.7226890756303297E-3</c:v>
                </c:pt>
                <c:pt idx="17992">
                  <c:v>-6.7226890756303297E-3</c:v>
                </c:pt>
                <c:pt idx="17993">
                  <c:v>-6.7226890756303297E-3</c:v>
                </c:pt>
                <c:pt idx="17994">
                  <c:v>-6.7226890756303297E-3</c:v>
                </c:pt>
                <c:pt idx="17995">
                  <c:v>-6.7226890756303297E-3</c:v>
                </c:pt>
                <c:pt idx="17996">
                  <c:v>-6.7226890756303297E-3</c:v>
                </c:pt>
                <c:pt idx="17997">
                  <c:v>-6.7226890756303297E-3</c:v>
                </c:pt>
                <c:pt idx="17998">
                  <c:v>-6.7226890756303297E-3</c:v>
                </c:pt>
                <c:pt idx="17999">
                  <c:v>-6.7226890756303297E-3</c:v>
                </c:pt>
                <c:pt idx="18000">
                  <c:v>-6.7226890756303297E-3</c:v>
                </c:pt>
                <c:pt idx="18001">
                  <c:v>-6.7226890756303297E-3</c:v>
                </c:pt>
                <c:pt idx="18002">
                  <c:v>-6.7226890756303297E-3</c:v>
                </c:pt>
                <c:pt idx="18003">
                  <c:v>-6.7226890756303297E-3</c:v>
                </c:pt>
                <c:pt idx="18004">
                  <c:v>-6.7226890756303297E-3</c:v>
                </c:pt>
                <c:pt idx="18005">
                  <c:v>-6.7226890756303297E-3</c:v>
                </c:pt>
                <c:pt idx="18006">
                  <c:v>-6.7226890756303297E-3</c:v>
                </c:pt>
                <c:pt idx="18007">
                  <c:v>-6.7226890756303297E-3</c:v>
                </c:pt>
                <c:pt idx="18008">
                  <c:v>-6.7226890756303297E-3</c:v>
                </c:pt>
                <c:pt idx="18009">
                  <c:v>-6.7226890756303297E-3</c:v>
                </c:pt>
                <c:pt idx="18010">
                  <c:v>-6.7226890756303297E-3</c:v>
                </c:pt>
                <c:pt idx="18011">
                  <c:v>-6.7226890756303297E-3</c:v>
                </c:pt>
                <c:pt idx="18012">
                  <c:v>-6.7226890756303297E-3</c:v>
                </c:pt>
                <c:pt idx="18013">
                  <c:v>-6.7226890756303297E-3</c:v>
                </c:pt>
                <c:pt idx="18014">
                  <c:v>-6.7226890756303297E-3</c:v>
                </c:pt>
                <c:pt idx="18015">
                  <c:v>-6.7226890756303297E-3</c:v>
                </c:pt>
                <c:pt idx="18016">
                  <c:v>-6.7226890756303297E-3</c:v>
                </c:pt>
                <c:pt idx="18017">
                  <c:v>-6.7226890756303297E-3</c:v>
                </c:pt>
                <c:pt idx="18018">
                  <c:v>-6.7226890756303297E-3</c:v>
                </c:pt>
                <c:pt idx="18019">
                  <c:v>-6.7226890756303297E-3</c:v>
                </c:pt>
                <c:pt idx="18020">
                  <c:v>-6.7226890756303297E-3</c:v>
                </c:pt>
                <c:pt idx="18021">
                  <c:v>-6.7226890756303297E-3</c:v>
                </c:pt>
                <c:pt idx="18022">
                  <c:v>-6.7226890756303297E-3</c:v>
                </c:pt>
                <c:pt idx="18023">
                  <c:v>-5.8823529411765598E-3</c:v>
                </c:pt>
                <c:pt idx="18024">
                  <c:v>-6.7226890756303297E-3</c:v>
                </c:pt>
                <c:pt idx="18025">
                  <c:v>-6.7226890756303297E-3</c:v>
                </c:pt>
                <c:pt idx="18026">
                  <c:v>-6.7226890756303297E-3</c:v>
                </c:pt>
                <c:pt idx="18027">
                  <c:v>-6.7226890756303297E-3</c:v>
                </c:pt>
                <c:pt idx="18028">
                  <c:v>-6.7226890756303297E-3</c:v>
                </c:pt>
                <c:pt idx="18029">
                  <c:v>-6.7226890756303297E-3</c:v>
                </c:pt>
                <c:pt idx="18030">
                  <c:v>-6.7226890756303297E-3</c:v>
                </c:pt>
                <c:pt idx="18031">
                  <c:v>-6.7226890756303297E-3</c:v>
                </c:pt>
                <c:pt idx="18032">
                  <c:v>-6.7226890756303297E-3</c:v>
                </c:pt>
                <c:pt idx="18033">
                  <c:v>-6.7226890756303297E-3</c:v>
                </c:pt>
                <c:pt idx="18034">
                  <c:v>-6.7226890756303297E-3</c:v>
                </c:pt>
                <c:pt idx="18035">
                  <c:v>-6.7226890756303297E-3</c:v>
                </c:pt>
                <c:pt idx="18036">
                  <c:v>-6.7226890756303297E-3</c:v>
                </c:pt>
                <c:pt idx="18037">
                  <c:v>-6.7226890756303297E-3</c:v>
                </c:pt>
                <c:pt idx="18038">
                  <c:v>-5.8823529411765598E-3</c:v>
                </c:pt>
                <c:pt idx="18039">
                  <c:v>-5.8823529411765598E-3</c:v>
                </c:pt>
                <c:pt idx="18040">
                  <c:v>-5.8823529411765598E-3</c:v>
                </c:pt>
                <c:pt idx="18041">
                  <c:v>-5.8823529411765598E-3</c:v>
                </c:pt>
                <c:pt idx="18042">
                  <c:v>-5.8823529411765598E-3</c:v>
                </c:pt>
                <c:pt idx="18043">
                  <c:v>-5.8823529411765598E-3</c:v>
                </c:pt>
                <c:pt idx="18044">
                  <c:v>-5.8823529411765598E-3</c:v>
                </c:pt>
                <c:pt idx="18045">
                  <c:v>-5.8823529411765598E-3</c:v>
                </c:pt>
                <c:pt idx="18046">
                  <c:v>-5.8823529411765598E-3</c:v>
                </c:pt>
                <c:pt idx="18047">
                  <c:v>-5.8823529411765598E-3</c:v>
                </c:pt>
                <c:pt idx="18048">
                  <c:v>-5.8823529411765598E-3</c:v>
                </c:pt>
                <c:pt idx="18049">
                  <c:v>-5.8823529411765598E-3</c:v>
                </c:pt>
                <c:pt idx="18050">
                  <c:v>-5.8823529411765598E-3</c:v>
                </c:pt>
                <c:pt idx="18051">
                  <c:v>-5.8823529411765598E-3</c:v>
                </c:pt>
                <c:pt idx="18052">
                  <c:v>-5.8823529411765598E-3</c:v>
                </c:pt>
                <c:pt idx="18053">
                  <c:v>-5.8823529411765598E-3</c:v>
                </c:pt>
                <c:pt idx="18054">
                  <c:v>-5.8823529411765598E-3</c:v>
                </c:pt>
                <c:pt idx="18055">
                  <c:v>-5.8823529411765598E-3</c:v>
                </c:pt>
                <c:pt idx="18056">
                  <c:v>-5.8823529411765598E-3</c:v>
                </c:pt>
                <c:pt idx="18057">
                  <c:v>-5.8823529411765598E-3</c:v>
                </c:pt>
                <c:pt idx="18058">
                  <c:v>-5.8823529411765598E-3</c:v>
                </c:pt>
                <c:pt idx="18059">
                  <c:v>-5.8823529411765598E-3</c:v>
                </c:pt>
                <c:pt idx="18060">
                  <c:v>-5.8823529411765598E-3</c:v>
                </c:pt>
                <c:pt idx="18061">
                  <c:v>-5.8823529411765598E-3</c:v>
                </c:pt>
                <c:pt idx="18062">
                  <c:v>-5.8823529411765598E-3</c:v>
                </c:pt>
                <c:pt idx="18063">
                  <c:v>-5.8823529411765598E-3</c:v>
                </c:pt>
                <c:pt idx="18064">
                  <c:v>-5.8823529411765598E-3</c:v>
                </c:pt>
                <c:pt idx="18065">
                  <c:v>-5.8823529411765598E-3</c:v>
                </c:pt>
                <c:pt idx="18066">
                  <c:v>-5.8823529411765598E-3</c:v>
                </c:pt>
                <c:pt idx="18067">
                  <c:v>-5.0420168067227796E-3</c:v>
                </c:pt>
                <c:pt idx="18068">
                  <c:v>-5.0420168067227796E-3</c:v>
                </c:pt>
                <c:pt idx="18069">
                  <c:v>-5.0420168067227796E-3</c:v>
                </c:pt>
                <c:pt idx="18070">
                  <c:v>-5.0420168067227796E-3</c:v>
                </c:pt>
                <c:pt idx="18071">
                  <c:v>-5.0420168067227796E-3</c:v>
                </c:pt>
                <c:pt idx="18072">
                  <c:v>-5.0420168067227796E-3</c:v>
                </c:pt>
                <c:pt idx="18073">
                  <c:v>-5.0420168067227796E-3</c:v>
                </c:pt>
                <c:pt idx="18074">
                  <c:v>-5.0420168067227796E-3</c:v>
                </c:pt>
                <c:pt idx="18075">
                  <c:v>-5.8823529411765598E-3</c:v>
                </c:pt>
                <c:pt idx="18076">
                  <c:v>-5.8823529411765598E-3</c:v>
                </c:pt>
                <c:pt idx="18077">
                  <c:v>-5.8823529411765598E-3</c:v>
                </c:pt>
                <c:pt idx="18078">
                  <c:v>-5.8823529411765598E-3</c:v>
                </c:pt>
                <c:pt idx="18079">
                  <c:v>-5.8823529411765598E-3</c:v>
                </c:pt>
                <c:pt idx="18080">
                  <c:v>-5.8823529411765598E-3</c:v>
                </c:pt>
                <c:pt idx="18081">
                  <c:v>-5.8823529411765598E-3</c:v>
                </c:pt>
                <c:pt idx="18082">
                  <c:v>-6.7226890756303297E-3</c:v>
                </c:pt>
                <c:pt idx="18083">
                  <c:v>-6.7226890756303297E-3</c:v>
                </c:pt>
                <c:pt idx="18084">
                  <c:v>-6.7226890756303297E-3</c:v>
                </c:pt>
                <c:pt idx="18085">
                  <c:v>-6.7226890756303297E-3</c:v>
                </c:pt>
                <c:pt idx="18086">
                  <c:v>-6.7226890756303297E-3</c:v>
                </c:pt>
                <c:pt idx="18087">
                  <c:v>-6.7226890756303297E-3</c:v>
                </c:pt>
                <c:pt idx="18088">
                  <c:v>-6.7226890756303297E-3</c:v>
                </c:pt>
                <c:pt idx="18089">
                  <c:v>-6.7226890756303297E-3</c:v>
                </c:pt>
                <c:pt idx="18090">
                  <c:v>-6.7226890756303297E-3</c:v>
                </c:pt>
                <c:pt idx="18091">
                  <c:v>-6.7226890756303297E-3</c:v>
                </c:pt>
                <c:pt idx="18092">
                  <c:v>-6.7226890756303297E-3</c:v>
                </c:pt>
                <c:pt idx="18093">
                  <c:v>-6.7226890756303297E-3</c:v>
                </c:pt>
                <c:pt idx="18094">
                  <c:v>-6.7226890756303297E-3</c:v>
                </c:pt>
                <c:pt idx="18095">
                  <c:v>-6.7226890756303297E-3</c:v>
                </c:pt>
                <c:pt idx="18096">
                  <c:v>-6.7226890756303297E-3</c:v>
                </c:pt>
                <c:pt idx="18097">
                  <c:v>-6.7226890756303297E-3</c:v>
                </c:pt>
                <c:pt idx="18098">
                  <c:v>-6.7226890756303297E-3</c:v>
                </c:pt>
                <c:pt idx="18099">
                  <c:v>-6.7226890756303297E-3</c:v>
                </c:pt>
                <c:pt idx="18100">
                  <c:v>-6.7226890756303297E-3</c:v>
                </c:pt>
                <c:pt idx="18101">
                  <c:v>-6.7226890756303297E-3</c:v>
                </c:pt>
                <c:pt idx="18102">
                  <c:v>-6.7226890756303297E-3</c:v>
                </c:pt>
                <c:pt idx="18103">
                  <c:v>-6.7226890756303297E-3</c:v>
                </c:pt>
                <c:pt idx="18104">
                  <c:v>-6.7226890756303297E-3</c:v>
                </c:pt>
                <c:pt idx="18105">
                  <c:v>-6.7226890756303297E-3</c:v>
                </c:pt>
                <c:pt idx="18106">
                  <c:v>-6.7226890756303297E-3</c:v>
                </c:pt>
                <c:pt idx="18107">
                  <c:v>-6.7226890756303297E-3</c:v>
                </c:pt>
                <c:pt idx="18108">
                  <c:v>-6.7226890756303297E-3</c:v>
                </c:pt>
                <c:pt idx="18109">
                  <c:v>-6.7226890756303297E-3</c:v>
                </c:pt>
                <c:pt idx="18110">
                  <c:v>-6.7226890756303297E-3</c:v>
                </c:pt>
                <c:pt idx="18111">
                  <c:v>-6.7226890756303297E-3</c:v>
                </c:pt>
                <c:pt idx="18112">
                  <c:v>-6.7226890756303297E-3</c:v>
                </c:pt>
                <c:pt idx="18113">
                  <c:v>-6.7226890756303297E-3</c:v>
                </c:pt>
                <c:pt idx="18114">
                  <c:v>-5.8823529411764497E-3</c:v>
                </c:pt>
                <c:pt idx="18115">
                  <c:v>-5.8823529411764497E-3</c:v>
                </c:pt>
                <c:pt idx="18116">
                  <c:v>-5.8823529411764497E-3</c:v>
                </c:pt>
                <c:pt idx="18117">
                  <c:v>-5.8823529411764497E-3</c:v>
                </c:pt>
                <c:pt idx="18118">
                  <c:v>-5.8823529411764497E-3</c:v>
                </c:pt>
                <c:pt idx="18119">
                  <c:v>-5.8823529411764497E-3</c:v>
                </c:pt>
                <c:pt idx="18120">
                  <c:v>-5.8823529411764497E-3</c:v>
                </c:pt>
                <c:pt idx="18121">
                  <c:v>-5.8823529411764497E-3</c:v>
                </c:pt>
                <c:pt idx="18122">
                  <c:v>-5.8823529411764497E-3</c:v>
                </c:pt>
                <c:pt idx="18123">
                  <c:v>-5.8823529411764497E-3</c:v>
                </c:pt>
                <c:pt idx="18124">
                  <c:v>-5.8823529411764497E-3</c:v>
                </c:pt>
                <c:pt idx="18125">
                  <c:v>-5.8823529411764497E-3</c:v>
                </c:pt>
                <c:pt idx="18126">
                  <c:v>-5.8823529411764497E-3</c:v>
                </c:pt>
                <c:pt idx="18127">
                  <c:v>-5.8823529411764497E-3</c:v>
                </c:pt>
                <c:pt idx="18128">
                  <c:v>-5.8823529411764497E-3</c:v>
                </c:pt>
                <c:pt idx="18129">
                  <c:v>-5.8823529411764497E-3</c:v>
                </c:pt>
                <c:pt idx="18130">
                  <c:v>-5.8823529411764497E-3</c:v>
                </c:pt>
                <c:pt idx="18131">
                  <c:v>-5.8823529411764497E-3</c:v>
                </c:pt>
                <c:pt idx="18132">
                  <c:v>-5.8823529411764497E-3</c:v>
                </c:pt>
                <c:pt idx="18133">
                  <c:v>-5.8823529411764497E-3</c:v>
                </c:pt>
                <c:pt idx="18134">
                  <c:v>-5.8823529411764497E-3</c:v>
                </c:pt>
                <c:pt idx="18135">
                  <c:v>-5.8823529411764497E-3</c:v>
                </c:pt>
                <c:pt idx="18136">
                  <c:v>-5.8823529411764497E-3</c:v>
                </c:pt>
                <c:pt idx="18137">
                  <c:v>-5.8823529411764497E-3</c:v>
                </c:pt>
                <c:pt idx="18138">
                  <c:v>-5.8823529411764497E-3</c:v>
                </c:pt>
                <c:pt idx="18139">
                  <c:v>-5.8823529411764497E-3</c:v>
                </c:pt>
                <c:pt idx="18140">
                  <c:v>-6.7226890756302204E-3</c:v>
                </c:pt>
                <c:pt idx="18141">
                  <c:v>-6.7226890756302204E-3</c:v>
                </c:pt>
                <c:pt idx="18142">
                  <c:v>-6.7226890756302204E-3</c:v>
                </c:pt>
                <c:pt idx="18143">
                  <c:v>-6.7226890756302204E-3</c:v>
                </c:pt>
                <c:pt idx="18144">
                  <c:v>-6.7226890756302204E-3</c:v>
                </c:pt>
                <c:pt idx="18145">
                  <c:v>-6.7226890756302204E-3</c:v>
                </c:pt>
                <c:pt idx="18146">
                  <c:v>-6.7226890756302204E-3</c:v>
                </c:pt>
                <c:pt idx="18147">
                  <c:v>-6.7226890756302204E-3</c:v>
                </c:pt>
                <c:pt idx="18148">
                  <c:v>-6.7226890756302204E-3</c:v>
                </c:pt>
                <c:pt idx="18149">
                  <c:v>-6.7226890756302204E-3</c:v>
                </c:pt>
                <c:pt idx="18150">
                  <c:v>-6.7226890756302204E-3</c:v>
                </c:pt>
                <c:pt idx="18151">
                  <c:v>-6.7226890756302204E-3</c:v>
                </c:pt>
                <c:pt idx="18152">
                  <c:v>-6.7226890756302204E-3</c:v>
                </c:pt>
                <c:pt idx="18153">
                  <c:v>-6.7226890756302204E-3</c:v>
                </c:pt>
                <c:pt idx="18154">
                  <c:v>-6.7226890756302204E-3</c:v>
                </c:pt>
                <c:pt idx="18155">
                  <c:v>-5.8823529411764497E-3</c:v>
                </c:pt>
                <c:pt idx="18156">
                  <c:v>-5.8823529411764497E-3</c:v>
                </c:pt>
                <c:pt idx="18157">
                  <c:v>-5.8823529411764497E-3</c:v>
                </c:pt>
                <c:pt idx="18158">
                  <c:v>-5.8823529411764497E-3</c:v>
                </c:pt>
                <c:pt idx="18159">
                  <c:v>-5.8823529411764497E-3</c:v>
                </c:pt>
                <c:pt idx="18160">
                  <c:v>-5.8823529411764497E-3</c:v>
                </c:pt>
                <c:pt idx="18161">
                  <c:v>-5.8823529411764497E-3</c:v>
                </c:pt>
                <c:pt idx="18162">
                  <c:v>-5.8823529411764497E-3</c:v>
                </c:pt>
                <c:pt idx="18163">
                  <c:v>-5.8823529411764497E-3</c:v>
                </c:pt>
                <c:pt idx="18164">
                  <c:v>-5.8823529411764497E-3</c:v>
                </c:pt>
                <c:pt idx="18165">
                  <c:v>-5.8823529411764497E-3</c:v>
                </c:pt>
                <c:pt idx="18166">
                  <c:v>-5.8823529411764497E-3</c:v>
                </c:pt>
                <c:pt idx="18167">
                  <c:v>-5.8823529411764497E-3</c:v>
                </c:pt>
                <c:pt idx="18168">
                  <c:v>-5.8823529411764497E-3</c:v>
                </c:pt>
                <c:pt idx="18169">
                  <c:v>-5.8823529411764497E-3</c:v>
                </c:pt>
                <c:pt idx="18170">
                  <c:v>-6.7226890756302204E-3</c:v>
                </c:pt>
                <c:pt idx="18171">
                  <c:v>-6.7226890756302204E-3</c:v>
                </c:pt>
                <c:pt idx="18172">
                  <c:v>-6.7226890756302204E-3</c:v>
                </c:pt>
                <c:pt idx="18173">
                  <c:v>-6.7226890756302204E-3</c:v>
                </c:pt>
                <c:pt idx="18174">
                  <c:v>-6.7226890756302204E-3</c:v>
                </c:pt>
                <c:pt idx="18175">
                  <c:v>-6.7226890756302204E-3</c:v>
                </c:pt>
                <c:pt idx="18176">
                  <c:v>-6.7226890756302204E-3</c:v>
                </c:pt>
                <c:pt idx="18177">
                  <c:v>-6.7226890756302204E-3</c:v>
                </c:pt>
                <c:pt idx="18178">
                  <c:v>-7.5630252100839998E-3</c:v>
                </c:pt>
                <c:pt idx="18179">
                  <c:v>-7.5630252100839998E-3</c:v>
                </c:pt>
                <c:pt idx="18180">
                  <c:v>-7.5630252100839998E-3</c:v>
                </c:pt>
                <c:pt idx="18181">
                  <c:v>-7.5630252100839998E-3</c:v>
                </c:pt>
                <c:pt idx="18182">
                  <c:v>-7.5630252100839998E-3</c:v>
                </c:pt>
                <c:pt idx="18183">
                  <c:v>-7.5630252100839998E-3</c:v>
                </c:pt>
                <c:pt idx="18184">
                  <c:v>-7.5630252100839998E-3</c:v>
                </c:pt>
                <c:pt idx="18185">
                  <c:v>-7.5630252100839998E-3</c:v>
                </c:pt>
                <c:pt idx="18186">
                  <c:v>-7.5630252100839998E-3</c:v>
                </c:pt>
                <c:pt idx="18187">
                  <c:v>-8.4033613445377801E-3</c:v>
                </c:pt>
                <c:pt idx="18188">
                  <c:v>-8.4033613445377801E-3</c:v>
                </c:pt>
                <c:pt idx="18189">
                  <c:v>-8.4033613445377801E-3</c:v>
                </c:pt>
                <c:pt idx="18190">
                  <c:v>-8.4033613445377801E-3</c:v>
                </c:pt>
                <c:pt idx="18191">
                  <c:v>-8.4033613445377801E-3</c:v>
                </c:pt>
                <c:pt idx="18192">
                  <c:v>-8.4033613445377801E-3</c:v>
                </c:pt>
                <c:pt idx="18193">
                  <c:v>-8.4033613445377801E-3</c:v>
                </c:pt>
                <c:pt idx="18194">
                  <c:v>-8.4033613445377801E-3</c:v>
                </c:pt>
                <c:pt idx="18195">
                  <c:v>-8.4033613445377801E-3</c:v>
                </c:pt>
                <c:pt idx="18196">
                  <c:v>-8.4033613445377801E-3</c:v>
                </c:pt>
                <c:pt idx="18197">
                  <c:v>-8.4033613445377801E-3</c:v>
                </c:pt>
                <c:pt idx="18198">
                  <c:v>-8.4033613445377801E-3</c:v>
                </c:pt>
                <c:pt idx="18199">
                  <c:v>-8.4033613445377801E-3</c:v>
                </c:pt>
                <c:pt idx="18200">
                  <c:v>-8.4033613445377801E-3</c:v>
                </c:pt>
                <c:pt idx="18201">
                  <c:v>-8.4033613445377801E-3</c:v>
                </c:pt>
                <c:pt idx="18202">
                  <c:v>-8.4033613445377801E-3</c:v>
                </c:pt>
                <c:pt idx="18203">
                  <c:v>-8.4033613445377801E-3</c:v>
                </c:pt>
                <c:pt idx="18204">
                  <c:v>-8.4033613445377801E-3</c:v>
                </c:pt>
                <c:pt idx="18205">
                  <c:v>-8.4033613445377801E-3</c:v>
                </c:pt>
                <c:pt idx="18206">
                  <c:v>-8.4033613445377801E-3</c:v>
                </c:pt>
                <c:pt idx="18207">
                  <c:v>-8.4033613445377801E-3</c:v>
                </c:pt>
                <c:pt idx="18208">
                  <c:v>-8.4033613445377801E-3</c:v>
                </c:pt>
                <c:pt idx="18209">
                  <c:v>-8.4033613445377801E-3</c:v>
                </c:pt>
                <c:pt idx="18210">
                  <c:v>-8.4033613445377801E-3</c:v>
                </c:pt>
                <c:pt idx="18211">
                  <c:v>-7.5630252100839998E-3</c:v>
                </c:pt>
                <c:pt idx="18212">
                  <c:v>-7.5630252100839998E-3</c:v>
                </c:pt>
                <c:pt idx="18213">
                  <c:v>-7.5630252100839998E-3</c:v>
                </c:pt>
                <c:pt idx="18214">
                  <c:v>-7.5630252100839998E-3</c:v>
                </c:pt>
                <c:pt idx="18215">
                  <c:v>-7.5630252100839998E-3</c:v>
                </c:pt>
                <c:pt idx="18216">
                  <c:v>-7.5630252100839998E-3</c:v>
                </c:pt>
                <c:pt idx="18217">
                  <c:v>-7.5630252100839998E-3</c:v>
                </c:pt>
                <c:pt idx="18218">
                  <c:v>-7.5630252100839998E-3</c:v>
                </c:pt>
                <c:pt idx="18219">
                  <c:v>-7.5630252100839998E-3</c:v>
                </c:pt>
                <c:pt idx="18220">
                  <c:v>-7.5630252100839998E-3</c:v>
                </c:pt>
                <c:pt idx="18221">
                  <c:v>-7.5630252100839998E-3</c:v>
                </c:pt>
                <c:pt idx="18222">
                  <c:v>-7.5630252100839998E-3</c:v>
                </c:pt>
                <c:pt idx="18223">
                  <c:v>-7.5630252100839998E-3</c:v>
                </c:pt>
                <c:pt idx="18224">
                  <c:v>-7.5630252100839998E-3</c:v>
                </c:pt>
                <c:pt idx="18225">
                  <c:v>-7.5630252100839998E-3</c:v>
                </c:pt>
                <c:pt idx="18226">
                  <c:v>-8.4033613445377801E-3</c:v>
                </c:pt>
                <c:pt idx="18227">
                  <c:v>-8.4033613445377801E-3</c:v>
                </c:pt>
                <c:pt idx="18228">
                  <c:v>-8.4033613445377801E-3</c:v>
                </c:pt>
                <c:pt idx="18229">
                  <c:v>-8.4033613445377801E-3</c:v>
                </c:pt>
                <c:pt idx="18230">
                  <c:v>-8.4033613445377801E-3</c:v>
                </c:pt>
                <c:pt idx="18231">
                  <c:v>-8.4033613445377801E-3</c:v>
                </c:pt>
                <c:pt idx="18232">
                  <c:v>-8.4033613445377801E-3</c:v>
                </c:pt>
                <c:pt idx="18233">
                  <c:v>-8.4033613445377801E-3</c:v>
                </c:pt>
                <c:pt idx="18234">
                  <c:v>-8.4033613445377801E-3</c:v>
                </c:pt>
                <c:pt idx="18235">
                  <c:v>-8.4033613445377801E-3</c:v>
                </c:pt>
                <c:pt idx="18236">
                  <c:v>-8.4033613445377801E-3</c:v>
                </c:pt>
                <c:pt idx="18237">
                  <c:v>-8.4033613445377801E-3</c:v>
                </c:pt>
                <c:pt idx="18238">
                  <c:v>-8.4033613445377801E-3</c:v>
                </c:pt>
                <c:pt idx="18239">
                  <c:v>-8.4033613445377801E-3</c:v>
                </c:pt>
                <c:pt idx="18240">
                  <c:v>-7.5630252100839998E-3</c:v>
                </c:pt>
                <c:pt idx="18241">
                  <c:v>-7.5630252100839998E-3</c:v>
                </c:pt>
                <c:pt idx="18242">
                  <c:v>-7.5630252100839998E-3</c:v>
                </c:pt>
                <c:pt idx="18243">
                  <c:v>-7.5630252100839998E-3</c:v>
                </c:pt>
                <c:pt idx="18244">
                  <c:v>-7.5630252100839998E-3</c:v>
                </c:pt>
                <c:pt idx="18245">
                  <c:v>-7.5630252100839998E-3</c:v>
                </c:pt>
                <c:pt idx="18246">
                  <c:v>-7.5630252100839998E-3</c:v>
                </c:pt>
                <c:pt idx="18247">
                  <c:v>-7.5630252100839998E-3</c:v>
                </c:pt>
                <c:pt idx="18248">
                  <c:v>-7.5630252100839998E-3</c:v>
                </c:pt>
                <c:pt idx="18249">
                  <c:v>-6.7226890756302204E-3</c:v>
                </c:pt>
                <c:pt idx="18250">
                  <c:v>-6.7226890756302204E-3</c:v>
                </c:pt>
                <c:pt idx="18251">
                  <c:v>-6.7226890756302204E-3</c:v>
                </c:pt>
                <c:pt idx="18252">
                  <c:v>-6.7226890756302204E-3</c:v>
                </c:pt>
                <c:pt idx="18253">
                  <c:v>-6.7226890756302204E-3</c:v>
                </c:pt>
                <c:pt idx="18254">
                  <c:v>-6.7226890756302204E-3</c:v>
                </c:pt>
                <c:pt idx="18255">
                  <c:v>-6.7226890756302204E-3</c:v>
                </c:pt>
                <c:pt idx="18256">
                  <c:v>-6.7226890756302204E-3</c:v>
                </c:pt>
                <c:pt idx="18257">
                  <c:v>-6.7226890756302204E-3</c:v>
                </c:pt>
                <c:pt idx="18258">
                  <c:v>-6.7226890756302204E-3</c:v>
                </c:pt>
                <c:pt idx="18259">
                  <c:v>-6.7226890756302204E-3</c:v>
                </c:pt>
                <c:pt idx="18260">
                  <c:v>-6.7226890756302204E-3</c:v>
                </c:pt>
                <c:pt idx="18261">
                  <c:v>-6.7226890756302204E-3</c:v>
                </c:pt>
                <c:pt idx="18262">
                  <c:v>-6.7226890756302204E-3</c:v>
                </c:pt>
                <c:pt idx="18263">
                  <c:v>-6.7226890756302204E-3</c:v>
                </c:pt>
                <c:pt idx="18264">
                  <c:v>-6.7226890756302204E-3</c:v>
                </c:pt>
                <c:pt idx="18265">
                  <c:v>-6.7226890756302204E-3</c:v>
                </c:pt>
                <c:pt idx="18266">
                  <c:v>-6.7226890756302204E-3</c:v>
                </c:pt>
                <c:pt idx="18267">
                  <c:v>-6.7226890756302204E-3</c:v>
                </c:pt>
                <c:pt idx="18268">
                  <c:v>-6.7226890756302204E-3</c:v>
                </c:pt>
                <c:pt idx="18269">
                  <c:v>-6.7226890756302204E-3</c:v>
                </c:pt>
                <c:pt idx="18270">
                  <c:v>-6.7226890756302204E-3</c:v>
                </c:pt>
                <c:pt idx="18271">
                  <c:v>-6.7226890756302204E-3</c:v>
                </c:pt>
                <c:pt idx="18272">
                  <c:v>-6.7226890756302204E-3</c:v>
                </c:pt>
                <c:pt idx="18273">
                  <c:v>-6.7226890756302204E-3</c:v>
                </c:pt>
                <c:pt idx="18274">
                  <c:v>-6.7226890756302204E-3</c:v>
                </c:pt>
                <c:pt idx="18275">
                  <c:v>-6.7226890756302204E-3</c:v>
                </c:pt>
                <c:pt idx="18276">
                  <c:v>-6.7226890756302204E-3</c:v>
                </c:pt>
                <c:pt idx="18277">
                  <c:v>-6.7226890756302204E-3</c:v>
                </c:pt>
                <c:pt idx="18278">
                  <c:v>-6.7226890756302204E-3</c:v>
                </c:pt>
                <c:pt idx="18279">
                  <c:v>-6.7226890756302204E-3</c:v>
                </c:pt>
                <c:pt idx="18280">
                  <c:v>-6.7226890756302204E-3</c:v>
                </c:pt>
                <c:pt idx="18281">
                  <c:v>-6.7226890756302204E-3</c:v>
                </c:pt>
                <c:pt idx="18282">
                  <c:v>-6.7226890756302204E-3</c:v>
                </c:pt>
                <c:pt idx="18283">
                  <c:v>-6.7226890756302204E-3</c:v>
                </c:pt>
                <c:pt idx="18284">
                  <c:v>-6.7226890756302204E-3</c:v>
                </c:pt>
                <c:pt idx="18285">
                  <c:v>-6.7226890756302204E-3</c:v>
                </c:pt>
                <c:pt idx="18286">
                  <c:v>-6.7226890756302204E-3</c:v>
                </c:pt>
                <c:pt idx="18287">
                  <c:v>-6.7226890756302204E-3</c:v>
                </c:pt>
                <c:pt idx="18288">
                  <c:v>-6.7226890756302204E-3</c:v>
                </c:pt>
                <c:pt idx="18289">
                  <c:v>-5.8823529411764497E-3</c:v>
                </c:pt>
                <c:pt idx="18290">
                  <c:v>-5.8823529411764497E-3</c:v>
                </c:pt>
                <c:pt idx="18291">
                  <c:v>-5.8823529411764497E-3</c:v>
                </c:pt>
                <c:pt idx="18292">
                  <c:v>-5.8823529411764497E-3</c:v>
                </c:pt>
                <c:pt idx="18293">
                  <c:v>-5.8823529411764497E-3</c:v>
                </c:pt>
                <c:pt idx="18294">
                  <c:v>-5.8823529411764497E-3</c:v>
                </c:pt>
                <c:pt idx="18295">
                  <c:v>-5.8823529411764497E-3</c:v>
                </c:pt>
                <c:pt idx="18296">
                  <c:v>-5.8823529411764497E-3</c:v>
                </c:pt>
                <c:pt idx="18297">
                  <c:v>-5.8823529411764497E-3</c:v>
                </c:pt>
                <c:pt idx="18298">
                  <c:v>-5.8823529411764497E-3</c:v>
                </c:pt>
                <c:pt idx="18299">
                  <c:v>-5.8823529411764497E-3</c:v>
                </c:pt>
                <c:pt idx="18300">
                  <c:v>-5.8823529411764497E-3</c:v>
                </c:pt>
                <c:pt idx="18301">
                  <c:v>-5.8823529411764497E-3</c:v>
                </c:pt>
                <c:pt idx="18302">
                  <c:v>-5.8823529411764497E-3</c:v>
                </c:pt>
                <c:pt idx="18303">
                  <c:v>-5.8823529411764497E-3</c:v>
                </c:pt>
                <c:pt idx="18304">
                  <c:v>-5.8823529411764497E-3</c:v>
                </c:pt>
                <c:pt idx="18305">
                  <c:v>-5.8823529411764497E-3</c:v>
                </c:pt>
                <c:pt idx="18306">
                  <c:v>-5.8823529411764497E-3</c:v>
                </c:pt>
                <c:pt idx="18307">
                  <c:v>-5.8823529411764497E-3</c:v>
                </c:pt>
                <c:pt idx="18308">
                  <c:v>-5.8823529411764497E-3</c:v>
                </c:pt>
                <c:pt idx="18309">
                  <c:v>-5.8823529411764497E-3</c:v>
                </c:pt>
                <c:pt idx="18310">
                  <c:v>-5.8823529411764497E-3</c:v>
                </c:pt>
                <c:pt idx="18311">
                  <c:v>-5.8823529411764497E-3</c:v>
                </c:pt>
                <c:pt idx="18312">
                  <c:v>-5.8823529411764497E-3</c:v>
                </c:pt>
                <c:pt idx="18313">
                  <c:v>-5.8823529411764497E-3</c:v>
                </c:pt>
                <c:pt idx="18314">
                  <c:v>-5.8823529411764497E-3</c:v>
                </c:pt>
                <c:pt idx="18315">
                  <c:v>-5.8823529411764497E-3</c:v>
                </c:pt>
                <c:pt idx="18316">
                  <c:v>-5.8823529411764497E-3</c:v>
                </c:pt>
                <c:pt idx="18317">
                  <c:v>-5.8823529411764497E-3</c:v>
                </c:pt>
                <c:pt idx="18318">
                  <c:v>-5.0420168067226703E-3</c:v>
                </c:pt>
                <c:pt idx="18319">
                  <c:v>-5.0420168067226703E-3</c:v>
                </c:pt>
                <c:pt idx="18320">
                  <c:v>-5.0420168067226703E-3</c:v>
                </c:pt>
                <c:pt idx="18321">
                  <c:v>-5.0420168067226703E-3</c:v>
                </c:pt>
                <c:pt idx="18322">
                  <c:v>-5.0420168067226703E-3</c:v>
                </c:pt>
                <c:pt idx="18323">
                  <c:v>-5.0420168067226703E-3</c:v>
                </c:pt>
                <c:pt idx="18324">
                  <c:v>-5.0420168067226703E-3</c:v>
                </c:pt>
                <c:pt idx="18325">
                  <c:v>-5.0420168067226703E-3</c:v>
                </c:pt>
                <c:pt idx="18326">
                  <c:v>-5.0420168067226703E-3</c:v>
                </c:pt>
                <c:pt idx="18327">
                  <c:v>-5.0420168067226703E-3</c:v>
                </c:pt>
                <c:pt idx="18328">
                  <c:v>-5.0420168067226703E-3</c:v>
                </c:pt>
                <c:pt idx="18329">
                  <c:v>-5.0420168067226703E-3</c:v>
                </c:pt>
                <c:pt idx="18330">
                  <c:v>-4.20168067226889E-3</c:v>
                </c:pt>
                <c:pt idx="18331">
                  <c:v>-4.20168067226889E-3</c:v>
                </c:pt>
                <c:pt idx="18332">
                  <c:v>-4.20168067226889E-3</c:v>
                </c:pt>
                <c:pt idx="18333">
                  <c:v>-4.20168067226889E-3</c:v>
                </c:pt>
                <c:pt idx="18334">
                  <c:v>-4.20168067226889E-3</c:v>
                </c:pt>
                <c:pt idx="18335">
                  <c:v>-4.20168067226889E-3</c:v>
                </c:pt>
                <c:pt idx="18336">
                  <c:v>-4.20168067226889E-3</c:v>
                </c:pt>
                <c:pt idx="18337">
                  <c:v>-4.20168067226889E-3</c:v>
                </c:pt>
                <c:pt idx="18338">
                  <c:v>-5.0420168067226703E-3</c:v>
                </c:pt>
                <c:pt idx="18339">
                  <c:v>-5.0420168067226703E-3</c:v>
                </c:pt>
                <c:pt idx="18340">
                  <c:v>-4.20168067226889E-3</c:v>
                </c:pt>
                <c:pt idx="18341">
                  <c:v>-4.20168067226889E-3</c:v>
                </c:pt>
                <c:pt idx="18342">
                  <c:v>-4.20168067226889E-3</c:v>
                </c:pt>
                <c:pt idx="18343">
                  <c:v>-4.20168067226889E-3</c:v>
                </c:pt>
                <c:pt idx="18344">
                  <c:v>-4.20168067226889E-3</c:v>
                </c:pt>
                <c:pt idx="18345">
                  <c:v>-4.20168067226889E-3</c:v>
                </c:pt>
                <c:pt idx="18346">
                  <c:v>-5.0420168067226703E-3</c:v>
                </c:pt>
                <c:pt idx="18347">
                  <c:v>-5.0420168067226703E-3</c:v>
                </c:pt>
                <c:pt idx="18348">
                  <c:v>-5.0420168067226703E-3</c:v>
                </c:pt>
                <c:pt idx="18349">
                  <c:v>-5.0420168067226703E-3</c:v>
                </c:pt>
                <c:pt idx="18350">
                  <c:v>-5.0420168067226703E-3</c:v>
                </c:pt>
                <c:pt idx="18351">
                  <c:v>-5.0420168067226703E-3</c:v>
                </c:pt>
                <c:pt idx="18352">
                  <c:v>-5.0420168067226703E-3</c:v>
                </c:pt>
                <c:pt idx="18353">
                  <c:v>-5.0420168067226703E-3</c:v>
                </c:pt>
                <c:pt idx="18354">
                  <c:v>-5.0420168067226703E-3</c:v>
                </c:pt>
                <c:pt idx="18355">
                  <c:v>-5.0420168067226703E-3</c:v>
                </c:pt>
                <c:pt idx="18356">
                  <c:v>-5.0420168067226703E-3</c:v>
                </c:pt>
                <c:pt idx="18357">
                  <c:v>-5.0420168067226703E-3</c:v>
                </c:pt>
                <c:pt idx="18358">
                  <c:v>-5.0420168067226703E-3</c:v>
                </c:pt>
                <c:pt idx="18359">
                  <c:v>-5.0420168067226703E-3</c:v>
                </c:pt>
                <c:pt idx="18360">
                  <c:v>-5.0420168067226703E-3</c:v>
                </c:pt>
                <c:pt idx="18361">
                  <c:v>-5.0420168067226703E-3</c:v>
                </c:pt>
                <c:pt idx="18362">
                  <c:v>-5.0420168067226703E-3</c:v>
                </c:pt>
                <c:pt idx="18363">
                  <c:v>-5.0420168067226703E-3</c:v>
                </c:pt>
                <c:pt idx="18364">
                  <c:v>-5.0420168067226703E-3</c:v>
                </c:pt>
                <c:pt idx="18365">
                  <c:v>-5.0420168067226703E-3</c:v>
                </c:pt>
                <c:pt idx="18366">
                  <c:v>-5.0420168067226703E-3</c:v>
                </c:pt>
                <c:pt idx="18367">
                  <c:v>-5.0420168067226703E-3</c:v>
                </c:pt>
                <c:pt idx="18368">
                  <c:v>-4.20168067226889E-3</c:v>
                </c:pt>
                <c:pt idx="18369">
                  <c:v>-4.20168067226889E-3</c:v>
                </c:pt>
                <c:pt idx="18370">
                  <c:v>-4.20168067226889E-3</c:v>
                </c:pt>
                <c:pt idx="18371">
                  <c:v>-4.20168067226889E-3</c:v>
                </c:pt>
                <c:pt idx="18372">
                  <c:v>-4.20168067226889E-3</c:v>
                </c:pt>
                <c:pt idx="18373">
                  <c:v>-5.0420168067226703E-3</c:v>
                </c:pt>
                <c:pt idx="18374">
                  <c:v>-5.0420168067226703E-3</c:v>
                </c:pt>
                <c:pt idx="18375">
                  <c:v>-5.0420168067226703E-3</c:v>
                </c:pt>
                <c:pt idx="18376">
                  <c:v>-5.0420168067226703E-3</c:v>
                </c:pt>
                <c:pt idx="18377">
                  <c:v>-5.0420168067226703E-3</c:v>
                </c:pt>
                <c:pt idx="18378">
                  <c:v>-5.0420168067226703E-3</c:v>
                </c:pt>
                <c:pt idx="18379">
                  <c:v>-5.0420168067226703E-3</c:v>
                </c:pt>
                <c:pt idx="18380">
                  <c:v>-5.0420168067226703E-3</c:v>
                </c:pt>
                <c:pt idx="18381">
                  <c:v>-4.20168067226889E-3</c:v>
                </c:pt>
                <c:pt idx="18382">
                  <c:v>-4.20168067226889E-3</c:v>
                </c:pt>
                <c:pt idx="18383">
                  <c:v>-4.20168067226889E-3</c:v>
                </c:pt>
                <c:pt idx="18384">
                  <c:v>-4.20168067226889E-3</c:v>
                </c:pt>
                <c:pt idx="18385">
                  <c:v>-3.3613445378151102E-3</c:v>
                </c:pt>
                <c:pt idx="18386">
                  <c:v>-3.3613445378151102E-3</c:v>
                </c:pt>
                <c:pt idx="18387">
                  <c:v>-3.3613445378151102E-3</c:v>
                </c:pt>
                <c:pt idx="18388">
                  <c:v>-3.3613445378151102E-3</c:v>
                </c:pt>
                <c:pt idx="18389">
                  <c:v>-3.3613445378151102E-3</c:v>
                </c:pt>
                <c:pt idx="18390">
                  <c:v>-3.3613445378151102E-3</c:v>
                </c:pt>
                <c:pt idx="18391">
                  <c:v>-3.3613445378151102E-3</c:v>
                </c:pt>
                <c:pt idx="18392">
                  <c:v>-3.3613445378151102E-3</c:v>
                </c:pt>
                <c:pt idx="18393">
                  <c:v>-3.3613445378151102E-3</c:v>
                </c:pt>
                <c:pt idx="18394">
                  <c:v>-3.3613445378151102E-3</c:v>
                </c:pt>
                <c:pt idx="18395">
                  <c:v>-3.3613445378151102E-3</c:v>
                </c:pt>
                <c:pt idx="18396">
                  <c:v>-3.3613445378151102E-3</c:v>
                </c:pt>
                <c:pt idx="18397">
                  <c:v>-3.3613445378151102E-3</c:v>
                </c:pt>
                <c:pt idx="18398">
                  <c:v>-3.3613445378151102E-3</c:v>
                </c:pt>
                <c:pt idx="18399">
                  <c:v>-3.3613445378151102E-3</c:v>
                </c:pt>
                <c:pt idx="18400">
                  <c:v>-3.3613445378151102E-3</c:v>
                </c:pt>
                <c:pt idx="18401">
                  <c:v>-3.3613445378151102E-3</c:v>
                </c:pt>
                <c:pt idx="18402">
                  <c:v>-3.3613445378151102E-3</c:v>
                </c:pt>
                <c:pt idx="18403">
                  <c:v>-3.3613445378151102E-3</c:v>
                </c:pt>
                <c:pt idx="18404">
                  <c:v>-3.3613445378151102E-3</c:v>
                </c:pt>
                <c:pt idx="18405">
                  <c:v>-3.3613445378151102E-3</c:v>
                </c:pt>
                <c:pt idx="18406">
                  <c:v>-3.3613445378151102E-3</c:v>
                </c:pt>
                <c:pt idx="18407">
                  <c:v>-3.3613445378151102E-3</c:v>
                </c:pt>
                <c:pt idx="18408">
                  <c:v>-3.3613445378151102E-3</c:v>
                </c:pt>
                <c:pt idx="18409">
                  <c:v>-3.3613445378151102E-3</c:v>
                </c:pt>
                <c:pt idx="18410">
                  <c:v>-2.5210084033613299E-3</c:v>
                </c:pt>
                <c:pt idx="18411">
                  <c:v>-2.5210084033613299E-3</c:v>
                </c:pt>
                <c:pt idx="18412">
                  <c:v>-2.5210084033613299E-3</c:v>
                </c:pt>
                <c:pt idx="18413">
                  <c:v>-2.5210084033613299E-3</c:v>
                </c:pt>
                <c:pt idx="18414">
                  <c:v>-2.5210084033613299E-3</c:v>
                </c:pt>
                <c:pt idx="18415">
                  <c:v>-2.5210084033613299E-3</c:v>
                </c:pt>
                <c:pt idx="18416">
                  <c:v>-2.5210084033613299E-3</c:v>
                </c:pt>
                <c:pt idx="18417">
                  <c:v>-2.5210084033613299E-3</c:v>
                </c:pt>
                <c:pt idx="18418">
                  <c:v>-2.5210084033613299E-3</c:v>
                </c:pt>
                <c:pt idx="18419">
                  <c:v>-2.5210084033613299E-3</c:v>
                </c:pt>
                <c:pt idx="18420">
                  <c:v>-2.5210084033613299E-3</c:v>
                </c:pt>
                <c:pt idx="18421">
                  <c:v>-2.5210084033613299E-3</c:v>
                </c:pt>
                <c:pt idx="18422">
                  <c:v>-2.5210084033613299E-3</c:v>
                </c:pt>
                <c:pt idx="18423">
                  <c:v>-2.5210084033613299E-3</c:v>
                </c:pt>
                <c:pt idx="18424">
                  <c:v>-2.5210084033613299E-3</c:v>
                </c:pt>
                <c:pt idx="18425">
                  <c:v>-2.5210084033613299E-3</c:v>
                </c:pt>
                <c:pt idx="18426">
                  <c:v>-2.5210084033613299E-3</c:v>
                </c:pt>
                <c:pt idx="18427">
                  <c:v>-2.5210084033613299E-3</c:v>
                </c:pt>
                <c:pt idx="18428">
                  <c:v>-2.5210084033613299E-3</c:v>
                </c:pt>
                <c:pt idx="18429">
                  <c:v>-2.5210084033613299E-3</c:v>
                </c:pt>
                <c:pt idx="18430">
                  <c:v>-2.5210084033613299E-3</c:v>
                </c:pt>
                <c:pt idx="18431">
                  <c:v>-2.5210084033613299E-3</c:v>
                </c:pt>
                <c:pt idx="18432">
                  <c:v>-2.5210084033613299E-3</c:v>
                </c:pt>
                <c:pt idx="18433">
                  <c:v>-2.5210084033613299E-3</c:v>
                </c:pt>
                <c:pt idx="18434">
                  <c:v>-2.5210084033613299E-3</c:v>
                </c:pt>
                <c:pt idx="18435">
                  <c:v>-2.5210084033613299E-3</c:v>
                </c:pt>
                <c:pt idx="18436">
                  <c:v>-2.5210084033613299E-3</c:v>
                </c:pt>
                <c:pt idx="18437">
                  <c:v>-2.5210084033613299E-3</c:v>
                </c:pt>
                <c:pt idx="18438">
                  <c:v>-2.5210084033613299E-3</c:v>
                </c:pt>
                <c:pt idx="18439">
                  <c:v>-2.5210084033613299E-3</c:v>
                </c:pt>
                <c:pt idx="18440">
                  <c:v>-2.5210084033613299E-3</c:v>
                </c:pt>
                <c:pt idx="18441">
                  <c:v>-2.5210084033613299E-3</c:v>
                </c:pt>
                <c:pt idx="18442">
                  <c:v>-2.5210084033613299E-3</c:v>
                </c:pt>
                <c:pt idx="18443">
                  <c:v>-2.5210084033613299E-3</c:v>
                </c:pt>
                <c:pt idx="18444">
                  <c:v>-2.5210084033613299E-3</c:v>
                </c:pt>
                <c:pt idx="18445">
                  <c:v>-2.5210084033613299E-3</c:v>
                </c:pt>
                <c:pt idx="18446">
                  <c:v>-2.5210084033613299E-3</c:v>
                </c:pt>
                <c:pt idx="18447">
                  <c:v>-2.5210084033613299E-3</c:v>
                </c:pt>
                <c:pt idx="18448">
                  <c:v>-2.5210084033613299E-3</c:v>
                </c:pt>
                <c:pt idx="18449">
                  <c:v>-2.5210084033613299E-3</c:v>
                </c:pt>
                <c:pt idx="18450">
                  <c:v>-2.5210084033613299E-3</c:v>
                </c:pt>
                <c:pt idx="18451">
                  <c:v>-2.5210084033613299E-3</c:v>
                </c:pt>
                <c:pt idx="18452">
                  <c:v>-2.5210084033613299E-3</c:v>
                </c:pt>
                <c:pt idx="18453">
                  <c:v>-2.5210084033613299E-3</c:v>
                </c:pt>
                <c:pt idx="18454">
                  <c:v>-2.5210084033613299E-3</c:v>
                </c:pt>
                <c:pt idx="18455">
                  <c:v>-2.5210084033613299E-3</c:v>
                </c:pt>
                <c:pt idx="18456">
                  <c:v>-2.5210084033613299E-3</c:v>
                </c:pt>
                <c:pt idx="18457">
                  <c:v>-2.5210084033613299E-3</c:v>
                </c:pt>
                <c:pt idx="18458">
                  <c:v>-2.5210084033613299E-3</c:v>
                </c:pt>
                <c:pt idx="18459">
                  <c:v>-2.5210084033613299E-3</c:v>
                </c:pt>
                <c:pt idx="18460">
                  <c:v>-2.5210084033613299E-3</c:v>
                </c:pt>
                <c:pt idx="18461">
                  <c:v>-2.5210084033613299E-3</c:v>
                </c:pt>
                <c:pt idx="18462">
                  <c:v>-2.5210084033613299E-3</c:v>
                </c:pt>
                <c:pt idx="18463">
                  <c:v>-2.5210084033613299E-3</c:v>
                </c:pt>
                <c:pt idx="18464">
                  <c:v>-2.5210084033613299E-3</c:v>
                </c:pt>
                <c:pt idx="18465">
                  <c:v>-2.5210084033613299E-3</c:v>
                </c:pt>
                <c:pt idx="18466">
                  <c:v>-2.5210084033613299E-3</c:v>
                </c:pt>
                <c:pt idx="18467">
                  <c:v>-2.5210084033613299E-3</c:v>
                </c:pt>
                <c:pt idx="18468">
                  <c:v>-2.5210084033613299E-3</c:v>
                </c:pt>
                <c:pt idx="18469">
                  <c:v>-2.5210084033613299E-3</c:v>
                </c:pt>
                <c:pt idx="18470">
                  <c:v>-2.5210084033613299E-3</c:v>
                </c:pt>
                <c:pt idx="18471">
                  <c:v>-2.5210084033613299E-3</c:v>
                </c:pt>
                <c:pt idx="18472">
                  <c:v>-2.5210084033613299E-3</c:v>
                </c:pt>
                <c:pt idx="18473">
                  <c:v>-2.5210084033613299E-3</c:v>
                </c:pt>
                <c:pt idx="18474">
                  <c:v>-2.5210084033613299E-3</c:v>
                </c:pt>
                <c:pt idx="18475">
                  <c:v>-2.5210084033613299E-3</c:v>
                </c:pt>
                <c:pt idx="18476">
                  <c:v>-2.5210084033613299E-3</c:v>
                </c:pt>
                <c:pt idx="18477">
                  <c:v>-2.5210084033613299E-3</c:v>
                </c:pt>
                <c:pt idx="18478">
                  <c:v>-3.3613445378151102E-3</c:v>
                </c:pt>
                <c:pt idx="18479">
                  <c:v>-3.3613445378151102E-3</c:v>
                </c:pt>
                <c:pt idx="18480">
                  <c:v>-3.3613445378151102E-3</c:v>
                </c:pt>
                <c:pt idx="18481">
                  <c:v>-3.3613445378151102E-3</c:v>
                </c:pt>
                <c:pt idx="18482">
                  <c:v>-3.3613445378151102E-3</c:v>
                </c:pt>
                <c:pt idx="18483">
                  <c:v>-3.3613445378151102E-3</c:v>
                </c:pt>
                <c:pt idx="18484">
                  <c:v>-3.3613445378151102E-3</c:v>
                </c:pt>
                <c:pt idx="18485">
                  <c:v>-3.3613445378151102E-3</c:v>
                </c:pt>
                <c:pt idx="18486">
                  <c:v>-3.3613445378151102E-3</c:v>
                </c:pt>
                <c:pt idx="18487">
                  <c:v>-3.3613445378151102E-3</c:v>
                </c:pt>
                <c:pt idx="18488">
                  <c:v>-3.3613445378151102E-3</c:v>
                </c:pt>
                <c:pt idx="18489">
                  <c:v>-3.3613445378151102E-3</c:v>
                </c:pt>
                <c:pt idx="18490">
                  <c:v>-3.3613445378151102E-3</c:v>
                </c:pt>
                <c:pt idx="18491">
                  <c:v>-3.3613445378151102E-3</c:v>
                </c:pt>
                <c:pt idx="18492">
                  <c:v>-3.3613445378151102E-3</c:v>
                </c:pt>
                <c:pt idx="18493">
                  <c:v>-3.3613445378151102E-3</c:v>
                </c:pt>
                <c:pt idx="18494">
                  <c:v>-3.3613445378151102E-3</c:v>
                </c:pt>
                <c:pt idx="18495">
                  <c:v>-3.3613445378151102E-3</c:v>
                </c:pt>
                <c:pt idx="18496">
                  <c:v>-3.3613445378151102E-3</c:v>
                </c:pt>
                <c:pt idx="18497">
                  <c:v>-3.3613445378151102E-3</c:v>
                </c:pt>
                <c:pt idx="18498">
                  <c:v>-3.3613445378151102E-3</c:v>
                </c:pt>
                <c:pt idx="18499">
                  <c:v>-3.3613445378151102E-3</c:v>
                </c:pt>
                <c:pt idx="18500">
                  <c:v>-3.3613445378151102E-3</c:v>
                </c:pt>
                <c:pt idx="18501">
                  <c:v>-3.3613445378151102E-3</c:v>
                </c:pt>
                <c:pt idx="18502">
                  <c:v>-3.3613445378151102E-3</c:v>
                </c:pt>
                <c:pt idx="18503">
                  <c:v>-3.3613445378151102E-3</c:v>
                </c:pt>
                <c:pt idx="18504">
                  <c:v>-3.3613445378151102E-3</c:v>
                </c:pt>
                <c:pt idx="18505">
                  <c:v>-3.3613445378151102E-3</c:v>
                </c:pt>
                <c:pt idx="18506">
                  <c:v>-3.3613445378151102E-3</c:v>
                </c:pt>
                <c:pt idx="18507">
                  <c:v>-3.3613445378151102E-3</c:v>
                </c:pt>
                <c:pt idx="18508">
                  <c:v>-3.3613445378151102E-3</c:v>
                </c:pt>
                <c:pt idx="18509">
                  <c:v>-3.3613445378151102E-3</c:v>
                </c:pt>
                <c:pt idx="18510">
                  <c:v>-3.3613445378151102E-3</c:v>
                </c:pt>
                <c:pt idx="18511">
                  <c:v>-3.3613445378151102E-3</c:v>
                </c:pt>
                <c:pt idx="18512">
                  <c:v>-2.5210084033613299E-3</c:v>
                </c:pt>
                <c:pt idx="18513">
                  <c:v>-2.5210084033613299E-3</c:v>
                </c:pt>
                <c:pt idx="18514">
                  <c:v>-2.5210084033613299E-3</c:v>
                </c:pt>
                <c:pt idx="18515">
                  <c:v>-2.5210084033613299E-3</c:v>
                </c:pt>
                <c:pt idx="18516">
                  <c:v>-2.5210084033613299E-3</c:v>
                </c:pt>
                <c:pt idx="18517">
                  <c:v>-2.5210084033613299E-3</c:v>
                </c:pt>
                <c:pt idx="18518">
                  <c:v>-2.5210084033613299E-3</c:v>
                </c:pt>
                <c:pt idx="18519">
                  <c:v>-2.5210084033613299E-3</c:v>
                </c:pt>
                <c:pt idx="18520">
                  <c:v>-2.5210084033613299E-3</c:v>
                </c:pt>
                <c:pt idx="18521">
                  <c:v>-2.5210084033613299E-3</c:v>
                </c:pt>
                <c:pt idx="18522">
                  <c:v>-2.5210084033613299E-3</c:v>
                </c:pt>
                <c:pt idx="18523">
                  <c:v>-2.5210084033613299E-3</c:v>
                </c:pt>
                <c:pt idx="18524">
                  <c:v>-2.5210084033613299E-3</c:v>
                </c:pt>
                <c:pt idx="18525">
                  <c:v>-2.5210084033613299E-3</c:v>
                </c:pt>
                <c:pt idx="18526">
                  <c:v>-2.5210084033613299E-3</c:v>
                </c:pt>
                <c:pt idx="18527">
                  <c:v>-1.6806722689075499E-3</c:v>
                </c:pt>
                <c:pt idx="18528">
                  <c:v>-1.6806722689075499E-3</c:v>
                </c:pt>
                <c:pt idx="18529">
                  <c:v>-1.6806722689075499E-3</c:v>
                </c:pt>
                <c:pt idx="18530">
                  <c:v>-1.6806722689075499E-3</c:v>
                </c:pt>
                <c:pt idx="18531">
                  <c:v>-1.6806722689075499E-3</c:v>
                </c:pt>
                <c:pt idx="18532">
                  <c:v>-1.6806722689075499E-3</c:v>
                </c:pt>
                <c:pt idx="18533">
                  <c:v>-1.6806722689075499E-3</c:v>
                </c:pt>
                <c:pt idx="18534">
                  <c:v>-1.6806722689075499E-3</c:v>
                </c:pt>
                <c:pt idx="18535">
                  <c:v>-1.6806722689075499E-3</c:v>
                </c:pt>
                <c:pt idx="18536">
                  <c:v>-1.6806722689075499E-3</c:v>
                </c:pt>
                <c:pt idx="18537">
                  <c:v>-1.6806722689075499E-3</c:v>
                </c:pt>
                <c:pt idx="18538">
                  <c:v>-1.6806722689075499E-3</c:v>
                </c:pt>
                <c:pt idx="18539">
                  <c:v>-1.6806722689075499E-3</c:v>
                </c:pt>
                <c:pt idx="18540">
                  <c:v>-1.6806722689075499E-3</c:v>
                </c:pt>
                <c:pt idx="18541">
                  <c:v>-1.6806722689075499E-3</c:v>
                </c:pt>
                <c:pt idx="18542">
                  <c:v>-1.6806722689075499E-3</c:v>
                </c:pt>
                <c:pt idx="18543">
                  <c:v>-1.6806722689075499E-3</c:v>
                </c:pt>
                <c:pt idx="18544">
                  <c:v>-1.6806722689075499E-3</c:v>
                </c:pt>
                <c:pt idx="18545">
                  <c:v>-1.6806722689075499E-3</c:v>
                </c:pt>
                <c:pt idx="18546">
                  <c:v>-1.6806722689075499E-3</c:v>
                </c:pt>
                <c:pt idx="18547">
                  <c:v>-2.5210084033613299E-3</c:v>
                </c:pt>
                <c:pt idx="18548">
                  <c:v>-2.5210084033613299E-3</c:v>
                </c:pt>
                <c:pt idx="18549">
                  <c:v>-2.5210084033613299E-3</c:v>
                </c:pt>
                <c:pt idx="18550">
                  <c:v>-2.5210084033613299E-3</c:v>
                </c:pt>
                <c:pt idx="18551">
                  <c:v>-2.5210084033613299E-3</c:v>
                </c:pt>
                <c:pt idx="18552">
                  <c:v>-2.5210084033613299E-3</c:v>
                </c:pt>
                <c:pt idx="18553">
                  <c:v>-3.3613445378151102E-3</c:v>
                </c:pt>
                <c:pt idx="18554">
                  <c:v>-3.3613445378151102E-3</c:v>
                </c:pt>
                <c:pt idx="18555">
                  <c:v>-3.3613445378151102E-3</c:v>
                </c:pt>
                <c:pt idx="18556">
                  <c:v>-3.3613445378151102E-3</c:v>
                </c:pt>
                <c:pt idx="18557">
                  <c:v>-3.3613445378151102E-3</c:v>
                </c:pt>
                <c:pt idx="18558">
                  <c:v>-3.3613445378151102E-3</c:v>
                </c:pt>
                <c:pt idx="18559">
                  <c:v>-3.3613445378151102E-3</c:v>
                </c:pt>
                <c:pt idx="18560">
                  <c:v>-4.20168067226889E-3</c:v>
                </c:pt>
                <c:pt idx="18561">
                  <c:v>-4.20168067226889E-3</c:v>
                </c:pt>
                <c:pt idx="18562">
                  <c:v>-4.20168067226889E-3</c:v>
                </c:pt>
                <c:pt idx="18563">
                  <c:v>-4.20168067226889E-3</c:v>
                </c:pt>
                <c:pt idx="18564">
                  <c:v>-4.20168067226889E-3</c:v>
                </c:pt>
                <c:pt idx="18565">
                  <c:v>-5.0420168067226703E-3</c:v>
                </c:pt>
                <c:pt idx="18566">
                  <c:v>-4.20168067226889E-3</c:v>
                </c:pt>
                <c:pt idx="18567">
                  <c:v>-4.20168067226889E-3</c:v>
                </c:pt>
                <c:pt idx="18568">
                  <c:v>-4.20168067226889E-3</c:v>
                </c:pt>
                <c:pt idx="18569">
                  <c:v>-4.20168067226889E-3</c:v>
                </c:pt>
                <c:pt idx="18570">
                  <c:v>-4.20168067226889E-3</c:v>
                </c:pt>
                <c:pt idx="18571">
                  <c:v>-4.20168067226889E-3</c:v>
                </c:pt>
                <c:pt idx="18572">
                  <c:v>-4.20168067226889E-3</c:v>
                </c:pt>
                <c:pt idx="18573">
                  <c:v>-4.20168067226889E-3</c:v>
                </c:pt>
                <c:pt idx="18574">
                  <c:v>-4.20168067226889E-3</c:v>
                </c:pt>
                <c:pt idx="18575">
                  <c:v>-4.20168067226889E-3</c:v>
                </c:pt>
                <c:pt idx="18576">
                  <c:v>-4.20168067226889E-3</c:v>
                </c:pt>
                <c:pt idx="18577">
                  <c:v>-4.20168067226889E-3</c:v>
                </c:pt>
                <c:pt idx="18578">
                  <c:v>-4.20168067226889E-3</c:v>
                </c:pt>
                <c:pt idx="18579">
                  <c:v>-4.20168067226889E-3</c:v>
                </c:pt>
                <c:pt idx="18580">
                  <c:v>-4.20168067226889E-3</c:v>
                </c:pt>
                <c:pt idx="18581">
                  <c:v>-4.20168067226889E-3</c:v>
                </c:pt>
                <c:pt idx="18582">
                  <c:v>-4.20168067226889E-3</c:v>
                </c:pt>
                <c:pt idx="18583">
                  <c:v>-4.20168067226889E-3</c:v>
                </c:pt>
                <c:pt idx="18584">
                  <c:v>-4.20168067226889E-3</c:v>
                </c:pt>
                <c:pt idx="18585">
                  <c:v>-4.20168067226889E-3</c:v>
                </c:pt>
                <c:pt idx="18586">
                  <c:v>-4.20168067226889E-3</c:v>
                </c:pt>
                <c:pt idx="18587">
                  <c:v>-4.20168067226889E-3</c:v>
                </c:pt>
                <c:pt idx="18588">
                  <c:v>-4.20168067226889E-3</c:v>
                </c:pt>
                <c:pt idx="18589">
                  <c:v>-4.20168067226889E-3</c:v>
                </c:pt>
                <c:pt idx="18590">
                  <c:v>-4.20168067226889E-3</c:v>
                </c:pt>
                <c:pt idx="18591">
                  <c:v>-4.20168067226889E-3</c:v>
                </c:pt>
                <c:pt idx="18592">
                  <c:v>-4.20168067226889E-3</c:v>
                </c:pt>
                <c:pt idx="18593">
                  <c:v>-4.20168067226889E-3</c:v>
                </c:pt>
                <c:pt idx="18594">
                  <c:v>-4.20168067226889E-3</c:v>
                </c:pt>
                <c:pt idx="18595">
                  <c:v>-4.20168067226889E-3</c:v>
                </c:pt>
                <c:pt idx="18596">
                  <c:v>-4.20168067226889E-3</c:v>
                </c:pt>
                <c:pt idx="18597">
                  <c:v>-4.20168067226889E-3</c:v>
                </c:pt>
                <c:pt idx="18598">
                  <c:v>-4.20168067226889E-3</c:v>
                </c:pt>
                <c:pt idx="18599">
                  <c:v>-4.20168067226889E-3</c:v>
                </c:pt>
                <c:pt idx="18600">
                  <c:v>-4.20168067226889E-3</c:v>
                </c:pt>
                <c:pt idx="18601">
                  <c:v>-4.20168067226889E-3</c:v>
                </c:pt>
                <c:pt idx="18602">
                  <c:v>-4.20168067226889E-3</c:v>
                </c:pt>
                <c:pt idx="18603">
                  <c:v>-4.20168067226889E-3</c:v>
                </c:pt>
                <c:pt idx="18604">
                  <c:v>-3.3613445378151102E-3</c:v>
                </c:pt>
                <c:pt idx="18605">
                  <c:v>-4.20168067226889E-3</c:v>
                </c:pt>
                <c:pt idx="18606">
                  <c:v>-4.20168067226889E-3</c:v>
                </c:pt>
                <c:pt idx="18607">
                  <c:v>-4.20168067226889E-3</c:v>
                </c:pt>
                <c:pt idx="18608">
                  <c:v>-4.20168067226889E-3</c:v>
                </c:pt>
                <c:pt idx="18609">
                  <c:v>-4.20168067226889E-3</c:v>
                </c:pt>
                <c:pt idx="18610">
                  <c:v>-4.20168067226889E-3</c:v>
                </c:pt>
                <c:pt idx="18611">
                  <c:v>-4.20168067226889E-3</c:v>
                </c:pt>
                <c:pt idx="18612">
                  <c:v>-4.20168067226889E-3</c:v>
                </c:pt>
                <c:pt idx="18613">
                  <c:v>-4.20168067226889E-3</c:v>
                </c:pt>
                <c:pt idx="18614">
                  <c:v>-4.20168067226889E-3</c:v>
                </c:pt>
                <c:pt idx="18615">
                  <c:v>-5.0420168067226703E-3</c:v>
                </c:pt>
                <c:pt idx="18616">
                  <c:v>-5.0420168067226703E-3</c:v>
                </c:pt>
                <c:pt idx="18617">
                  <c:v>-5.0420168067226703E-3</c:v>
                </c:pt>
                <c:pt idx="18618">
                  <c:v>-5.0420168067226703E-3</c:v>
                </c:pt>
                <c:pt idx="18619">
                  <c:v>-5.0420168067226703E-3</c:v>
                </c:pt>
                <c:pt idx="18620">
                  <c:v>-5.0420168067226703E-3</c:v>
                </c:pt>
                <c:pt idx="18621">
                  <c:v>-5.0420168067226703E-3</c:v>
                </c:pt>
                <c:pt idx="18622">
                  <c:v>-5.0420168067226703E-3</c:v>
                </c:pt>
                <c:pt idx="18623">
                  <c:v>-5.0420168067226703E-3</c:v>
                </c:pt>
                <c:pt idx="18624">
                  <c:v>-5.0420168067226703E-3</c:v>
                </c:pt>
                <c:pt idx="18625">
                  <c:v>-5.0420168067226703E-3</c:v>
                </c:pt>
                <c:pt idx="18626">
                  <c:v>-5.0420168067226703E-3</c:v>
                </c:pt>
                <c:pt idx="18627">
                  <c:v>-5.8823529411764497E-3</c:v>
                </c:pt>
                <c:pt idx="18628">
                  <c:v>-5.8823529411764497E-3</c:v>
                </c:pt>
                <c:pt idx="18629">
                  <c:v>-5.8823529411764497E-3</c:v>
                </c:pt>
                <c:pt idx="18630">
                  <c:v>-5.8823529411764497E-3</c:v>
                </c:pt>
                <c:pt idx="18631">
                  <c:v>-5.8823529411764497E-3</c:v>
                </c:pt>
                <c:pt idx="18632">
                  <c:v>-5.8823529411764497E-3</c:v>
                </c:pt>
                <c:pt idx="18633">
                  <c:v>-5.8823529411764497E-3</c:v>
                </c:pt>
                <c:pt idx="18634">
                  <c:v>-5.8823529411764497E-3</c:v>
                </c:pt>
                <c:pt idx="18635">
                  <c:v>-5.8823529411764497E-3</c:v>
                </c:pt>
                <c:pt idx="18636">
                  <c:v>-5.8823529411764497E-3</c:v>
                </c:pt>
                <c:pt idx="18637">
                  <c:v>-5.8823529411764497E-3</c:v>
                </c:pt>
                <c:pt idx="18638">
                  <c:v>-5.8823529411764497E-3</c:v>
                </c:pt>
                <c:pt idx="18639">
                  <c:v>-5.8823529411764497E-3</c:v>
                </c:pt>
                <c:pt idx="18640">
                  <c:v>-5.8823529411764497E-3</c:v>
                </c:pt>
                <c:pt idx="18641">
                  <c:v>-5.8823529411764497E-3</c:v>
                </c:pt>
                <c:pt idx="18642">
                  <c:v>-5.8823529411764497E-3</c:v>
                </c:pt>
                <c:pt idx="18643">
                  <c:v>-5.8823529411764497E-3</c:v>
                </c:pt>
                <c:pt idx="18644">
                  <c:v>-5.8823529411764497E-3</c:v>
                </c:pt>
                <c:pt idx="18645">
                  <c:v>-5.8823529411764497E-3</c:v>
                </c:pt>
                <c:pt idx="18646">
                  <c:v>-5.8823529411764497E-3</c:v>
                </c:pt>
                <c:pt idx="18647">
                  <c:v>-5.8823529411764497E-3</c:v>
                </c:pt>
                <c:pt idx="18648">
                  <c:v>-5.8823529411764497E-3</c:v>
                </c:pt>
                <c:pt idx="18649">
                  <c:v>-5.8823529411764497E-3</c:v>
                </c:pt>
                <c:pt idx="18650">
                  <c:v>-5.8823529411764497E-3</c:v>
                </c:pt>
                <c:pt idx="18651">
                  <c:v>-5.8823529411764497E-3</c:v>
                </c:pt>
                <c:pt idx="18652">
                  <c:v>-5.8823529411764497E-3</c:v>
                </c:pt>
                <c:pt idx="18653">
                  <c:v>-5.8823529411764497E-3</c:v>
                </c:pt>
                <c:pt idx="18654">
                  <c:v>-5.8823529411764497E-3</c:v>
                </c:pt>
                <c:pt idx="18655">
                  <c:v>-5.8823529411764497E-3</c:v>
                </c:pt>
                <c:pt idx="18656">
                  <c:v>-5.8823529411764497E-3</c:v>
                </c:pt>
                <c:pt idx="18657">
                  <c:v>-5.8823529411764497E-3</c:v>
                </c:pt>
                <c:pt idx="18658">
                  <c:v>-5.8823529411764497E-3</c:v>
                </c:pt>
                <c:pt idx="18659">
                  <c:v>-5.8823529411764497E-3</c:v>
                </c:pt>
                <c:pt idx="18660">
                  <c:v>-5.8823529411764497E-3</c:v>
                </c:pt>
                <c:pt idx="18661">
                  <c:v>-5.8823529411764497E-3</c:v>
                </c:pt>
                <c:pt idx="18662">
                  <c:v>-5.8823529411764497E-3</c:v>
                </c:pt>
                <c:pt idx="18663">
                  <c:v>-5.8823529411764497E-3</c:v>
                </c:pt>
                <c:pt idx="18664">
                  <c:v>-5.8823529411764497E-3</c:v>
                </c:pt>
                <c:pt idx="18665">
                  <c:v>-5.8823529411764497E-3</c:v>
                </c:pt>
                <c:pt idx="18666">
                  <c:v>-5.8823529411764497E-3</c:v>
                </c:pt>
                <c:pt idx="18667">
                  <c:v>-5.8823529411764497E-3</c:v>
                </c:pt>
                <c:pt idx="18668">
                  <c:v>-5.8823529411764497E-3</c:v>
                </c:pt>
                <c:pt idx="18669">
                  <c:v>-5.8823529411764497E-3</c:v>
                </c:pt>
                <c:pt idx="18670">
                  <c:v>-5.8823529411764497E-3</c:v>
                </c:pt>
                <c:pt idx="18671">
                  <c:v>-5.8823529411764497E-3</c:v>
                </c:pt>
                <c:pt idx="18672">
                  <c:v>-5.8823529411764497E-3</c:v>
                </c:pt>
                <c:pt idx="18673">
                  <c:v>-5.8823529411764497E-3</c:v>
                </c:pt>
                <c:pt idx="18674">
                  <c:v>-5.8823529411764497E-3</c:v>
                </c:pt>
                <c:pt idx="18675">
                  <c:v>-5.8823529411764497E-3</c:v>
                </c:pt>
                <c:pt idx="18676">
                  <c:v>-5.8823529411764497E-3</c:v>
                </c:pt>
                <c:pt idx="18677">
                  <c:v>-5.8823529411764497E-3</c:v>
                </c:pt>
                <c:pt idx="18678">
                  <c:v>-5.8823529411764497E-3</c:v>
                </c:pt>
                <c:pt idx="18679">
                  <c:v>-5.8823529411764497E-3</c:v>
                </c:pt>
                <c:pt idx="18680">
                  <c:v>-5.8823529411764497E-3</c:v>
                </c:pt>
                <c:pt idx="18681">
                  <c:v>-5.8823529411764497E-3</c:v>
                </c:pt>
                <c:pt idx="18682">
                  <c:v>-5.8823529411764497E-3</c:v>
                </c:pt>
                <c:pt idx="18683">
                  <c:v>-5.8823529411764497E-3</c:v>
                </c:pt>
                <c:pt idx="18684">
                  <c:v>-5.8823529411764497E-3</c:v>
                </c:pt>
                <c:pt idx="18685">
                  <c:v>-5.8823529411764497E-3</c:v>
                </c:pt>
                <c:pt idx="18686">
                  <c:v>-5.8823529411764497E-3</c:v>
                </c:pt>
                <c:pt idx="18687">
                  <c:v>-5.8823529411764497E-3</c:v>
                </c:pt>
                <c:pt idx="18688">
                  <c:v>-5.8823529411764497E-3</c:v>
                </c:pt>
                <c:pt idx="18689">
                  <c:v>-5.8823529411764497E-3</c:v>
                </c:pt>
                <c:pt idx="18690">
                  <c:v>-5.8823529411764497E-3</c:v>
                </c:pt>
                <c:pt idx="18691">
                  <c:v>-5.8823529411764497E-3</c:v>
                </c:pt>
                <c:pt idx="18692">
                  <c:v>-5.8823529411764497E-3</c:v>
                </c:pt>
                <c:pt idx="18693">
                  <c:v>-5.8823529411764497E-3</c:v>
                </c:pt>
                <c:pt idx="18694">
                  <c:v>-5.8823529411764497E-3</c:v>
                </c:pt>
                <c:pt idx="18695">
                  <c:v>-6.7226890756302204E-3</c:v>
                </c:pt>
                <c:pt idx="18696">
                  <c:v>-6.7226890756302204E-3</c:v>
                </c:pt>
                <c:pt idx="18697">
                  <c:v>-6.7226890756302204E-3</c:v>
                </c:pt>
                <c:pt idx="18698">
                  <c:v>-6.7226890756302204E-3</c:v>
                </c:pt>
                <c:pt idx="18699">
                  <c:v>-6.7226890756302204E-3</c:v>
                </c:pt>
                <c:pt idx="18700">
                  <c:v>-6.7226890756302204E-3</c:v>
                </c:pt>
                <c:pt idx="18701">
                  <c:v>-6.7226890756302204E-3</c:v>
                </c:pt>
                <c:pt idx="18702">
                  <c:v>-6.7226890756302204E-3</c:v>
                </c:pt>
                <c:pt idx="18703">
                  <c:v>-6.7226890756302204E-3</c:v>
                </c:pt>
                <c:pt idx="18704">
                  <c:v>-6.7226890756302204E-3</c:v>
                </c:pt>
                <c:pt idx="18705">
                  <c:v>-6.7226890756302204E-3</c:v>
                </c:pt>
                <c:pt idx="18706">
                  <c:v>-6.7226890756302204E-3</c:v>
                </c:pt>
                <c:pt idx="18707">
                  <c:v>-6.7226890756302204E-3</c:v>
                </c:pt>
                <c:pt idx="18708">
                  <c:v>-6.7226890756302204E-3</c:v>
                </c:pt>
                <c:pt idx="18709">
                  <c:v>-6.7226890756302204E-3</c:v>
                </c:pt>
                <c:pt idx="18710">
                  <c:v>-6.7226890756302204E-3</c:v>
                </c:pt>
                <c:pt idx="18711">
                  <c:v>-6.7226890756302204E-3</c:v>
                </c:pt>
                <c:pt idx="18712">
                  <c:v>-6.7226890756302204E-3</c:v>
                </c:pt>
                <c:pt idx="18713">
                  <c:v>-6.7226890756302204E-3</c:v>
                </c:pt>
                <c:pt idx="18714">
                  <c:v>-6.7226890756302204E-3</c:v>
                </c:pt>
                <c:pt idx="18715">
                  <c:v>-6.7226890756302204E-3</c:v>
                </c:pt>
                <c:pt idx="18716">
                  <c:v>-6.7226890756302204E-3</c:v>
                </c:pt>
                <c:pt idx="18717">
                  <c:v>-6.7226890756302204E-3</c:v>
                </c:pt>
                <c:pt idx="18718">
                  <c:v>-6.7226890756302204E-3</c:v>
                </c:pt>
                <c:pt idx="18719">
                  <c:v>-6.7226890756302204E-3</c:v>
                </c:pt>
                <c:pt idx="18720">
                  <c:v>-6.7226890756302204E-3</c:v>
                </c:pt>
                <c:pt idx="18721">
                  <c:v>-6.7226890756302204E-3</c:v>
                </c:pt>
                <c:pt idx="18722">
                  <c:v>-6.7226890756302204E-3</c:v>
                </c:pt>
                <c:pt idx="18723">
                  <c:v>-6.7226890756302204E-3</c:v>
                </c:pt>
                <c:pt idx="18724">
                  <c:v>-6.7226890756302204E-3</c:v>
                </c:pt>
                <c:pt idx="18725">
                  <c:v>-7.5630252100839998E-3</c:v>
                </c:pt>
                <c:pt idx="18726">
                  <c:v>-7.5630252100839998E-3</c:v>
                </c:pt>
                <c:pt idx="18727">
                  <c:v>-7.5630252100839998E-3</c:v>
                </c:pt>
                <c:pt idx="18728">
                  <c:v>-7.5630252100839998E-3</c:v>
                </c:pt>
                <c:pt idx="18729">
                  <c:v>-7.5630252100839998E-3</c:v>
                </c:pt>
                <c:pt idx="18730">
                  <c:v>-7.5630252100839998E-3</c:v>
                </c:pt>
                <c:pt idx="18731">
                  <c:v>-7.5630252100839998E-3</c:v>
                </c:pt>
                <c:pt idx="18732">
                  <c:v>-7.5630252100839998E-3</c:v>
                </c:pt>
                <c:pt idx="18733">
                  <c:v>-8.4033613445377801E-3</c:v>
                </c:pt>
                <c:pt idx="18734">
                  <c:v>-8.4033613445377801E-3</c:v>
                </c:pt>
                <c:pt idx="18735">
                  <c:v>-8.4033613445377801E-3</c:v>
                </c:pt>
                <c:pt idx="18736">
                  <c:v>-8.4033613445377801E-3</c:v>
                </c:pt>
                <c:pt idx="18737">
                  <c:v>-8.4033613445377801E-3</c:v>
                </c:pt>
                <c:pt idx="18738">
                  <c:v>-8.4033613445377801E-3</c:v>
                </c:pt>
                <c:pt idx="18739">
                  <c:v>-8.4033613445377801E-3</c:v>
                </c:pt>
                <c:pt idx="18740">
                  <c:v>-8.4033613445377801E-3</c:v>
                </c:pt>
                <c:pt idx="18741">
                  <c:v>-8.4033613445377801E-3</c:v>
                </c:pt>
                <c:pt idx="18742">
                  <c:v>-8.4033613445377801E-3</c:v>
                </c:pt>
                <c:pt idx="18743">
                  <c:v>-8.4033613445377801E-3</c:v>
                </c:pt>
                <c:pt idx="18744">
                  <c:v>-8.4033613445377801E-3</c:v>
                </c:pt>
                <c:pt idx="18745">
                  <c:v>-8.4033613445377801E-3</c:v>
                </c:pt>
                <c:pt idx="18746">
                  <c:v>-8.4033613445377801E-3</c:v>
                </c:pt>
                <c:pt idx="18747">
                  <c:v>-8.4033613445377801E-3</c:v>
                </c:pt>
                <c:pt idx="18748">
                  <c:v>-8.4033613445377801E-3</c:v>
                </c:pt>
                <c:pt idx="18749">
                  <c:v>-8.4033613445377801E-3</c:v>
                </c:pt>
                <c:pt idx="18750">
                  <c:v>-8.4033613445377801E-3</c:v>
                </c:pt>
                <c:pt idx="18751">
                  <c:v>-7.5630252100839998E-3</c:v>
                </c:pt>
                <c:pt idx="18752">
                  <c:v>-7.5630252100839998E-3</c:v>
                </c:pt>
                <c:pt idx="18753">
                  <c:v>-7.5630252100839998E-3</c:v>
                </c:pt>
                <c:pt idx="18754">
                  <c:v>-7.5630252100839998E-3</c:v>
                </c:pt>
                <c:pt idx="18755">
                  <c:v>-7.5630252100839998E-3</c:v>
                </c:pt>
                <c:pt idx="18756">
                  <c:v>-7.5630252100839998E-3</c:v>
                </c:pt>
                <c:pt idx="18757">
                  <c:v>-7.5630252100839998E-3</c:v>
                </c:pt>
                <c:pt idx="18758">
                  <c:v>-7.5630252100839998E-3</c:v>
                </c:pt>
                <c:pt idx="18759">
                  <c:v>-7.5630252100839998E-3</c:v>
                </c:pt>
                <c:pt idx="18760">
                  <c:v>-7.5630252100839998E-3</c:v>
                </c:pt>
                <c:pt idx="18761">
                  <c:v>-7.5630252100839998E-3</c:v>
                </c:pt>
                <c:pt idx="18762">
                  <c:v>-7.5630252100839998E-3</c:v>
                </c:pt>
                <c:pt idx="18763">
                  <c:v>-7.5630252100839998E-3</c:v>
                </c:pt>
                <c:pt idx="18764">
                  <c:v>-7.5630252100839998E-3</c:v>
                </c:pt>
                <c:pt idx="18765">
                  <c:v>-7.5630252100839998E-3</c:v>
                </c:pt>
                <c:pt idx="18766">
                  <c:v>-7.5630252100839998E-3</c:v>
                </c:pt>
                <c:pt idx="18767">
                  <c:v>-7.5630252100839998E-3</c:v>
                </c:pt>
                <c:pt idx="18768">
                  <c:v>-7.5630252100839998E-3</c:v>
                </c:pt>
                <c:pt idx="18769">
                  <c:v>-7.5630252100839998E-3</c:v>
                </c:pt>
                <c:pt idx="18770">
                  <c:v>-7.5630252100839998E-3</c:v>
                </c:pt>
                <c:pt idx="18771">
                  <c:v>-7.5630252100839998E-3</c:v>
                </c:pt>
                <c:pt idx="18772">
                  <c:v>-7.5630252100839998E-3</c:v>
                </c:pt>
                <c:pt idx="18773">
                  <c:v>-7.5630252100839998E-3</c:v>
                </c:pt>
                <c:pt idx="18774">
                  <c:v>-7.5630252100839998E-3</c:v>
                </c:pt>
                <c:pt idx="18775">
                  <c:v>-7.5630252100839998E-3</c:v>
                </c:pt>
                <c:pt idx="18776">
                  <c:v>-7.5630252100839998E-3</c:v>
                </c:pt>
                <c:pt idx="18777">
                  <c:v>-7.5630252100839998E-3</c:v>
                </c:pt>
                <c:pt idx="18778">
                  <c:v>-7.5630252100839998E-3</c:v>
                </c:pt>
                <c:pt idx="18779">
                  <c:v>-7.5630252100839998E-3</c:v>
                </c:pt>
                <c:pt idx="18780">
                  <c:v>-8.4033613445377801E-3</c:v>
                </c:pt>
                <c:pt idx="18781">
                  <c:v>-8.4033613445377801E-3</c:v>
                </c:pt>
                <c:pt idx="18782">
                  <c:v>-8.4033613445377801E-3</c:v>
                </c:pt>
                <c:pt idx="18783">
                  <c:v>-8.4033613445377801E-3</c:v>
                </c:pt>
                <c:pt idx="18784">
                  <c:v>-8.4033613445377801E-3</c:v>
                </c:pt>
                <c:pt idx="18785">
                  <c:v>-8.4033613445377801E-3</c:v>
                </c:pt>
                <c:pt idx="18786">
                  <c:v>-8.4033613445377801E-3</c:v>
                </c:pt>
                <c:pt idx="18787">
                  <c:v>-8.4033613445377801E-3</c:v>
                </c:pt>
                <c:pt idx="18788">
                  <c:v>-8.4033613445377801E-3</c:v>
                </c:pt>
                <c:pt idx="18789">
                  <c:v>-8.4033613445377801E-3</c:v>
                </c:pt>
                <c:pt idx="18790">
                  <c:v>-8.4033613445377801E-3</c:v>
                </c:pt>
                <c:pt idx="18791">
                  <c:v>-8.4033613445377801E-3</c:v>
                </c:pt>
                <c:pt idx="18792">
                  <c:v>-8.4033613445377801E-3</c:v>
                </c:pt>
                <c:pt idx="18793">
                  <c:v>-8.4033613445377801E-3</c:v>
                </c:pt>
                <c:pt idx="18794">
                  <c:v>-8.4033613445377801E-3</c:v>
                </c:pt>
                <c:pt idx="18795">
                  <c:v>-8.4033613445377801E-3</c:v>
                </c:pt>
                <c:pt idx="18796">
                  <c:v>-8.4033613445377801E-3</c:v>
                </c:pt>
                <c:pt idx="18797">
                  <c:v>-8.4033613445377801E-3</c:v>
                </c:pt>
                <c:pt idx="18798">
                  <c:v>-8.4033613445377801E-3</c:v>
                </c:pt>
                <c:pt idx="18799">
                  <c:v>-8.4033613445377801E-3</c:v>
                </c:pt>
                <c:pt idx="18800">
                  <c:v>-8.4033613445377801E-3</c:v>
                </c:pt>
                <c:pt idx="18801">
                  <c:v>-8.4033613445377801E-3</c:v>
                </c:pt>
                <c:pt idx="18802">
                  <c:v>-8.4033613445377801E-3</c:v>
                </c:pt>
                <c:pt idx="18803">
                  <c:v>-8.4033613445377801E-3</c:v>
                </c:pt>
                <c:pt idx="18804">
                  <c:v>-8.4033613445377801E-3</c:v>
                </c:pt>
                <c:pt idx="18805">
                  <c:v>-8.4033613445377801E-3</c:v>
                </c:pt>
                <c:pt idx="18806">
                  <c:v>-8.4033613445377801E-3</c:v>
                </c:pt>
                <c:pt idx="18807">
                  <c:v>-8.4033613445377801E-3</c:v>
                </c:pt>
                <c:pt idx="18808">
                  <c:v>-8.4033613445377801E-3</c:v>
                </c:pt>
                <c:pt idx="18809">
                  <c:v>-8.4033613445377801E-3</c:v>
                </c:pt>
                <c:pt idx="18810">
                  <c:v>-8.4033613445377801E-3</c:v>
                </c:pt>
                <c:pt idx="18811">
                  <c:v>-8.4033613445377801E-3</c:v>
                </c:pt>
                <c:pt idx="18812">
                  <c:v>-8.4033613445377801E-3</c:v>
                </c:pt>
                <c:pt idx="18813">
                  <c:v>-8.4033613445377801E-3</c:v>
                </c:pt>
                <c:pt idx="18814">
                  <c:v>-8.4033613445377801E-3</c:v>
                </c:pt>
                <c:pt idx="18815">
                  <c:v>-8.4033613445377801E-3</c:v>
                </c:pt>
                <c:pt idx="18816">
                  <c:v>-8.4033613445377801E-3</c:v>
                </c:pt>
                <c:pt idx="18817">
                  <c:v>-8.4033613445377801E-3</c:v>
                </c:pt>
                <c:pt idx="18818">
                  <c:v>-8.4033613445377801E-3</c:v>
                </c:pt>
                <c:pt idx="18819">
                  <c:v>-8.4033613445377801E-3</c:v>
                </c:pt>
                <c:pt idx="18820">
                  <c:v>-8.4033613445377801E-3</c:v>
                </c:pt>
                <c:pt idx="18821">
                  <c:v>-8.4033613445377801E-3</c:v>
                </c:pt>
                <c:pt idx="18822">
                  <c:v>-8.4033613445377801E-3</c:v>
                </c:pt>
                <c:pt idx="18823">
                  <c:v>-8.4033613445377801E-3</c:v>
                </c:pt>
                <c:pt idx="18824">
                  <c:v>-8.4033613445377801E-3</c:v>
                </c:pt>
                <c:pt idx="18825">
                  <c:v>-8.4033613445377801E-3</c:v>
                </c:pt>
                <c:pt idx="18826">
                  <c:v>-8.4033613445377801E-3</c:v>
                </c:pt>
                <c:pt idx="18827">
                  <c:v>-9.2436974789915603E-3</c:v>
                </c:pt>
                <c:pt idx="18828">
                  <c:v>-9.2436974789915603E-3</c:v>
                </c:pt>
                <c:pt idx="18829">
                  <c:v>-1.0084033613445301E-2</c:v>
                </c:pt>
                <c:pt idx="18830">
                  <c:v>-1.0084033613445301E-2</c:v>
                </c:pt>
                <c:pt idx="18831">
                  <c:v>-1.0084033613445301E-2</c:v>
                </c:pt>
                <c:pt idx="18832">
                  <c:v>-1.0084033613445301E-2</c:v>
                </c:pt>
                <c:pt idx="18833">
                  <c:v>-1.0084033613445301E-2</c:v>
                </c:pt>
                <c:pt idx="18834">
                  <c:v>-1.0084033613445301E-2</c:v>
                </c:pt>
                <c:pt idx="18835">
                  <c:v>-1.0084033613445301E-2</c:v>
                </c:pt>
                <c:pt idx="18836">
                  <c:v>-1.0084033613445301E-2</c:v>
                </c:pt>
                <c:pt idx="18837">
                  <c:v>-1.0084033613445301E-2</c:v>
                </c:pt>
                <c:pt idx="18838">
                  <c:v>-1.0084033613445301E-2</c:v>
                </c:pt>
                <c:pt idx="18839">
                  <c:v>-1.0084033613445301E-2</c:v>
                </c:pt>
                <c:pt idx="18840">
                  <c:v>-1.0084033613445301E-2</c:v>
                </c:pt>
                <c:pt idx="18841">
                  <c:v>-1.0084033613445301E-2</c:v>
                </c:pt>
                <c:pt idx="18842">
                  <c:v>-1.0084033613445301E-2</c:v>
                </c:pt>
                <c:pt idx="18843">
                  <c:v>-1.0084033613445301E-2</c:v>
                </c:pt>
                <c:pt idx="18844">
                  <c:v>-1.0084033613445301E-2</c:v>
                </c:pt>
                <c:pt idx="18845">
                  <c:v>-1.0084033613445301E-2</c:v>
                </c:pt>
                <c:pt idx="18846">
                  <c:v>-1.0084033613445301E-2</c:v>
                </c:pt>
                <c:pt idx="18847">
                  <c:v>-1.0084033613445301E-2</c:v>
                </c:pt>
                <c:pt idx="18848">
                  <c:v>-1.0084033613445301E-2</c:v>
                </c:pt>
                <c:pt idx="18849">
                  <c:v>-1.0084033613445301E-2</c:v>
                </c:pt>
                <c:pt idx="18850">
                  <c:v>-1.0084033613445301E-2</c:v>
                </c:pt>
                <c:pt idx="18851">
                  <c:v>-1.0084033613445301E-2</c:v>
                </c:pt>
                <c:pt idx="18852">
                  <c:v>-1.0084033613445301E-2</c:v>
                </c:pt>
                <c:pt idx="18853">
                  <c:v>-1.0084033613445301E-2</c:v>
                </c:pt>
                <c:pt idx="18854">
                  <c:v>-1.0084033613445301E-2</c:v>
                </c:pt>
                <c:pt idx="18855">
                  <c:v>-1.0084033613445301E-2</c:v>
                </c:pt>
                <c:pt idx="18856">
                  <c:v>-1.0084033613445301E-2</c:v>
                </c:pt>
                <c:pt idx="18857">
                  <c:v>-1.0084033613445301E-2</c:v>
                </c:pt>
                <c:pt idx="18858">
                  <c:v>-1.0084033613445301E-2</c:v>
                </c:pt>
                <c:pt idx="18859">
                  <c:v>-1.0084033613445301E-2</c:v>
                </c:pt>
                <c:pt idx="18860">
                  <c:v>-1.0084033613445301E-2</c:v>
                </c:pt>
                <c:pt idx="18861">
                  <c:v>-1.0084033613445301E-2</c:v>
                </c:pt>
                <c:pt idx="18862">
                  <c:v>-1.0084033613445301E-2</c:v>
                </c:pt>
                <c:pt idx="18863">
                  <c:v>-1.0084033613445301E-2</c:v>
                </c:pt>
                <c:pt idx="18864">
                  <c:v>-1.0084033613445301E-2</c:v>
                </c:pt>
                <c:pt idx="18865">
                  <c:v>-1.0084033613445301E-2</c:v>
                </c:pt>
                <c:pt idx="18866">
                  <c:v>-1.0084033613445301E-2</c:v>
                </c:pt>
                <c:pt idx="18867">
                  <c:v>-1.0084033613445301E-2</c:v>
                </c:pt>
                <c:pt idx="18868">
                  <c:v>-1.0084033613445301E-2</c:v>
                </c:pt>
                <c:pt idx="18869">
                  <c:v>-1.0084033613445301E-2</c:v>
                </c:pt>
                <c:pt idx="18870">
                  <c:v>-1.0084033613445301E-2</c:v>
                </c:pt>
                <c:pt idx="18871">
                  <c:v>-1.0084033613445301E-2</c:v>
                </c:pt>
                <c:pt idx="18872">
                  <c:v>-1.0084033613445301E-2</c:v>
                </c:pt>
                <c:pt idx="18873">
                  <c:v>-1.0084033613445301E-2</c:v>
                </c:pt>
                <c:pt idx="18874">
                  <c:v>-1.0084033613445301E-2</c:v>
                </c:pt>
                <c:pt idx="18875">
                  <c:v>-1.0084033613445301E-2</c:v>
                </c:pt>
                <c:pt idx="18876">
                  <c:v>-1.0084033613445301E-2</c:v>
                </c:pt>
                <c:pt idx="18877">
                  <c:v>-1.0084033613445301E-2</c:v>
                </c:pt>
                <c:pt idx="18878">
                  <c:v>-1.0084033613445301E-2</c:v>
                </c:pt>
                <c:pt idx="18879">
                  <c:v>-1.0084033613445301E-2</c:v>
                </c:pt>
                <c:pt idx="18880">
                  <c:v>-1.0084033613445301E-2</c:v>
                </c:pt>
                <c:pt idx="18881">
                  <c:v>-1.0084033613445301E-2</c:v>
                </c:pt>
                <c:pt idx="18882">
                  <c:v>-1.0084033613445301E-2</c:v>
                </c:pt>
                <c:pt idx="18883">
                  <c:v>-1.0084033613445301E-2</c:v>
                </c:pt>
                <c:pt idx="18884">
                  <c:v>-1.0084033613445301E-2</c:v>
                </c:pt>
                <c:pt idx="18885">
                  <c:v>-1.0084033613445301E-2</c:v>
                </c:pt>
                <c:pt idx="18886">
                  <c:v>-1.0084033613445301E-2</c:v>
                </c:pt>
                <c:pt idx="18887">
                  <c:v>-1.0084033613445301E-2</c:v>
                </c:pt>
                <c:pt idx="18888">
                  <c:v>-1.0084033613445301E-2</c:v>
                </c:pt>
                <c:pt idx="18889">
                  <c:v>-1.09243697478991E-2</c:v>
                </c:pt>
                <c:pt idx="18890">
                  <c:v>-1.09243697478991E-2</c:v>
                </c:pt>
                <c:pt idx="18891">
                  <c:v>-1.09243697478991E-2</c:v>
                </c:pt>
                <c:pt idx="18892">
                  <c:v>-1.09243697478991E-2</c:v>
                </c:pt>
                <c:pt idx="18893">
                  <c:v>-1.09243697478991E-2</c:v>
                </c:pt>
                <c:pt idx="18894">
                  <c:v>-1.09243697478991E-2</c:v>
                </c:pt>
                <c:pt idx="18895">
                  <c:v>-1.09243697478991E-2</c:v>
                </c:pt>
                <c:pt idx="18896">
                  <c:v>-1.09243697478991E-2</c:v>
                </c:pt>
                <c:pt idx="18897">
                  <c:v>-1.09243697478991E-2</c:v>
                </c:pt>
                <c:pt idx="18898">
                  <c:v>-1.09243697478991E-2</c:v>
                </c:pt>
                <c:pt idx="18899">
                  <c:v>-1.09243697478991E-2</c:v>
                </c:pt>
                <c:pt idx="18900">
                  <c:v>-1.09243697478991E-2</c:v>
                </c:pt>
                <c:pt idx="18901">
                  <c:v>-1.09243697478991E-2</c:v>
                </c:pt>
                <c:pt idx="18902">
                  <c:v>-1.09243697478991E-2</c:v>
                </c:pt>
                <c:pt idx="18903">
                  <c:v>-1.09243697478991E-2</c:v>
                </c:pt>
                <c:pt idx="18904">
                  <c:v>-1.09243697478991E-2</c:v>
                </c:pt>
                <c:pt idx="18905">
                  <c:v>-1.09243697478991E-2</c:v>
                </c:pt>
                <c:pt idx="18906">
                  <c:v>-1.09243697478991E-2</c:v>
                </c:pt>
                <c:pt idx="18907">
                  <c:v>-1.09243697478991E-2</c:v>
                </c:pt>
                <c:pt idx="18908">
                  <c:v>-1.09243697478991E-2</c:v>
                </c:pt>
                <c:pt idx="18909">
                  <c:v>-1.09243697478991E-2</c:v>
                </c:pt>
                <c:pt idx="18910">
                  <c:v>-1.09243697478991E-2</c:v>
                </c:pt>
                <c:pt idx="18911">
                  <c:v>-1.09243697478991E-2</c:v>
                </c:pt>
                <c:pt idx="18912">
                  <c:v>-1.09243697478991E-2</c:v>
                </c:pt>
                <c:pt idx="18913">
                  <c:v>-1.09243697478991E-2</c:v>
                </c:pt>
                <c:pt idx="18914">
                  <c:v>-1.09243697478991E-2</c:v>
                </c:pt>
                <c:pt idx="18915">
                  <c:v>-1.09243697478991E-2</c:v>
                </c:pt>
                <c:pt idx="18916">
                  <c:v>-1.09243697478991E-2</c:v>
                </c:pt>
                <c:pt idx="18917">
                  <c:v>-1.09243697478991E-2</c:v>
                </c:pt>
                <c:pt idx="18918">
                  <c:v>-1.09243697478991E-2</c:v>
                </c:pt>
                <c:pt idx="18919">
                  <c:v>-1.0084033613445301E-2</c:v>
                </c:pt>
                <c:pt idx="18920">
                  <c:v>-1.0084033613445301E-2</c:v>
                </c:pt>
                <c:pt idx="18921">
                  <c:v>-1.0084033613445301E-2</c:v>
                </c:pt>
                <c:pt idx="18922">
                  <c:v>-1.0084033613445301E-2</c:v>
                </c:pt>
                <c:pt idx="18923">
                  <c:v>-1.0084033613445301E-2</c:v>
                </c:pt>
                <c:pt idx="18924">
                  <c:v>-1.0084033613445301E-2</c:v>
                </c:pt>
                <c:pt idx="18925">
                  <c:v>-1.0084033613445301E-2</c:v>
                </c:pt>
                <c:pt idx="18926">
                  <c:v>-1.0084033613445301E-2</c:v>
                </c:pt>
                <c:pt idx="18927">
                  <c:v>-1.0084033613445301E-2</c:v>
                </c:pt>
                <c:pt idx="18928">
                  <c:v>-1.0084033613445301E-2</c:v>
                </c:pt>
                <c:pt idx="18929">
                  <c:v>-1.0084033613445301E-2</c:v>
                </c:pt>
                <c:pt idx="18930">
                  <c:v>-1.0084033613445301E-2</c:v>
                </c:pt>
                <c:pt idx="18931">
                  <c:v>-1.0084033613445301E-2</c:v>
                </c:pt>
                <c:pt idx="18932">
                  <c:v>-1.0084033613445301E-2</c:v>
                </c:pt>
                <c:pt idx="18933">
                  <c:v>-1.0084033613445301E-2</c:v>
                </c:pt>
                <c:pt idx="18934">
                  <c:v>-1.0084033613445301E-2</c:v>
                </c:pt>
                <c:pt idx="18935">
                  <c:v>-1.0084033613445301E-2</c:v>
                </c:pt>
                <c:pt idx="18936">
                  <c:v>-1.0084033613445301E-2</c:v>
                </c:pt>
                <c:pt idx="18937">
                  <c:v>-1.0084033613445301E-2</c:v>
                </c:pt>
                <c:pt idx="18938">
                  <c:v>-1.0084033613445301E-2</c:v>
                </c:pt>
                <c:pt idx="18939">
                  <c:v>-1.0084033613445301E-2</c:v>
                </c:pt>
                <c:pt idx="18940">
                  <c:v>-1.0084033613445301E-2</c:v>
                </c:pt>
                <c:pt idx="18941">
                  <c:v>-1.0084033613445301E-2</c:v>
                </c:pt>
                <c:pt idx="18942">
                  <c:v>-1.0084033613445301E-2</c:v>
                </c:pt>
                <c:pt idx="18943">
                  <c:v>-1.0084033613445301E-2</c:v>
                </c:pt>
                <c:pt idx="18944">
                  <c:v>-1.0084033613445301E-2</c:v>
                </c:pt>
                <c:pt idx="18945">
                  <c:v>-1.0084033613445301E-2</c:v>
                </c:pt>
                <c:pt idx="18946">
                  <c:v>-1.0084033613445301E-2</c:v>
                </c:pt>
                <c:pt idx="18947">
                  <c:v>-1.0084033613445301E-2</c:v>
                </c:pt>
                <c:pt idx="18948">
                  <c:v>-1.0084033613445301E-2</c:v>
                </c:pt>
                <c:pt idx="18949">
                  <c:v>-1.0084033613445301E-2</c:v>
                </c:pt>
                <c:pt idx="18950">
                  <c:v>-1.0084033613445301E-2</c:v>
                </c:pt>
                <c:pt idx="18951">
                  <c:v>-1.0084033613445301E-2</c:v>
                </c:pt>
                <c:pt idx="18952">
                  <c:v>-1.0084033613445301E-2</c:v>
                </c:pt>
                <c:pt idx="18953">
                  <c:v>-1.0084033613445301E-2</c:v>
                </c:pt>
                <c:pt idx="18954">
                  <c:v>-1.0084033613445301E-2</c:v>
                </c:pt>
                <c:pt idx="18955">
                  <c:v>-1.0084033613445301E-2</c:v>
                </c:pt>
                <c:pt idx="18956">
                  <c:v>-1.0084033613445301E-2</c:v>
                </c:pt>
                <c:pt idx="18957">
                  <c:v>-1.0084033613445301E-2</c:v>
                </c:pt>
                <c:pt idx="18958">
                  <c:v>-1.0084033613445301E-2</c:v>
                </c:pt>
                <c:pt idx="18959">
                  <c:v>-9.2436974789915603E-3</c:v>
                </c:pt>
                <c:pt idx="18960">
                  <c:v>-9.2436974789915603E-3</c:v>
                </c:pt>
                <c:pt idx="18961">
                  <c:v>-9.2436974789915603E-3</c:v>
                </c:pt>
                <c:pt idx="18962">
                  <c:v>-9.2436974789915603E-3</c:v>
                </c:pt>
                <c:pt idx="18963">
                  <c:v>-9.2436974789915603E-3</c:v>
                </c:pt>
                <c:pt idx="18964">
                  <c:v>-9.2436974789915603E-3</c:v>
                </c:pt>
                <c:pt idx="18965">
                  <c:v>-9.2436974789915603E-3</c:v>
                </c:pt>
                <c:pt idx="18966">
                  <c:v>-9.2436974789915603E-3</c:v>
                </c:pt>
                <c:pt idx="18967">
                  <c:v>-9.2436974789915603E-3</c:v>
                </c:pt>
                <c:pt idx="18968">
                  <c:v>-9.2436974789915603E-3</c:v>
                </c:pt>
                <c:pt idx="18969">
                  <c:v>-8.4033613445377801E-3</c:v>
                </c:pt>
                <c:pt idx="18970">
                  <c:v>-8.4033613445377801E-3</c:v>
                </c:pt>
                <c:pt idx="18971">
                  <c:v>-8.4033613445377801E-3</c:v>
                </c:pt>
                <c:pt idx="18972">
                  <c:v>-8.4033613445377801E-3</c:v>
                </c:pt>
                <c:pt idx="18973">
                  <c:v>-8.4033613445377801E-3</c:v>
                </c:pt>
                <c:pt idx="18974">
                  <c:v>-8.4033613445377801E-3</c:v>
                </c:pt>
                <c:pt idx="18975">
                  <c:v>-8.4033613445377801E-3</c:v>
                </c:pt>
                <c:pt idx="18976">
                  <c:v>-8.4033613445377801E-3</c:v>
                </c:pt>
                <c:pt idx="18977">
                  <c:v>-8.4033613445377801E-3</c:v>
                </c:pt>
                <c:pt idx="18978">
                  <c:v>-8.4033613445377801E-3</c:v>
                </c:pt>
                <c:pt idx="18979">
                  <c:v>-8.4033613445377801E-3</c:v>
                </c:pt>
                <c:pt idx="18980">
                  <c:v>-8.4033613445377801E-3</c:v>
                </c:pt>
                <c:pt idx="18981">
                  <c:v>-8.4033613445377801E-3</c:v>
                </c:pt>
                <c:pt idx="18982">
                  <c:v>-8.4033613445377801E-3</c:v>
                </c:pt>
                <c:pt idx="18983">
                  <c:v>-8.4033613445377801E-3</c:v>
                </c:pt>
                <c:pt idx="18984">
                  <c:v>-8.4033613445377801E-3</c:v>
                </c:pt>
                <c:pt idx="18985">
                  <c:v>-8.4033613445377801E-3</c:v>
                </c:pt>
                <c:pt idx="18986">
                  <c:v>-8.4033613445377801E-3</c:v>
                </c:pt>
                <c:pt idx="18987">
                  <c:v>-8.4033613445377801E-3</c:v>
                </c:pt>
                <c:pt idx="18988">
                  <c:v>-8.4033613445377801E-3</c:v>
                </c:pt>
                <c:pt idx="18989">
                  <c:v>-8.4033613445377801E-3</c:v>
                </c:pt>
                <c:pt idx="18990">
                  <c:v>-8.4033613445377801E-3</c:v>
                </c:pt>
                <c:pt idx="18991">
                  <c:v>-8.4033613445377801E-3</c:v>
                </c:pt>
                <c:pt idx="18992">
                  <c:v>-8.4033613445377801E-3</c:v>
                </c:pt>
                <c:pt idx="18993">
                  <c:v>-8.4033613445377801E-3</c:v>
                </c:pt>
                <c:pt idx="18994">
                  <c:v>-8.4033613445377801E-3</c:v>
                </c:pt>
                <c:pt idx="18995">
                  <c:v>-8.4033613445377801E-3</c:v>
                </c:pt>
                <c:pt idx="18996">
                  <c:v>-8.4033613445377801E-3</c:v>
                </c:pt>
                <c:pt idx="18997">
                  <c:v>-8.4033613445377801E-3</c:v>
                </c:pt>
                <c:pt idx="18998">
                  <c:v>-8.4033613445377801E-3</c:v>
                </c:pt>
                <c:pt idx="18999">
                  <c:v>-8.4033613445377801E-3</c:v>
                </c:pt>
                <c:pt idx="19000">
                  <c:v>-8.4033613445377801E-3</c:v>
                </c:pt>
                <c:pt idx="19001">
                  <c:v>-8.4033613445377801E-3</c:v>
                </c:pt>
                <c:pt idx="19002">
                  <c:v>-8.4033613445377801E-3</c:v>
                </c:pt>
                <c:pt idx="19003">
                  <c:v>-8.4033613445377801E-3</c:v>
                </c:pt>
                <c:pt idx="19004">
                  <c:v>-8.4033613445377801E-3</c:v>
                </c:pt>
                <c:pt idx="19005">
                  <c:v>-8.4033613445377801E-3</c:v>
                </c:pt>
                <c:pt idx="19006">
                  <c:v>-8.4033613445377801E-3</c:v>
                </c:pt>
                <c:pt idx="19007">
                  <c:v>-7.5630252100839998E-3</c:v>
                </c:pt>
                <c:pt idx="19008">
                  <c:v>-7.5630252100839998E-3</c:v>
                </c:pt>
                <c:pt idx="19009">
                  <c:v>-7.5630252100839998E-3</c:v>
                </c:pt>
                <c:pt idx="19010">
                  <c:v>-7.5630252100839998E-3</c:v>
                </c:pt>
                <c:pt idx="19011">
                  <c:v>-7.5630252100839998E-3</c:v>
                </c:pt>
                <c:pt idx="19012">
                  <c:v>-7.5630252100839998E-3</c:v>
                </c:pt>
                <c:pt idx="19013">
                  <c:v>-7.5630252100839998E-3</c:v>
                </c:pt>
                <c:pt idx="19014">
                  <c:v>-7.5630252100839998E-3</c:v>
                </c:pt>
                <c:pt idx="19015">
                  <c:v>-7.5630252100839998E-3</c:v>
                </c:pt>
                <c:pt idx="19016">
                  <c:v>-7.5630252100839998E-3</c:v>
                </c:pt>
                <c:pt idx="19017">
                  <c:v>-7.5630252100839998E-3</c:v>
                </c:pt>
                <c:pt idx="19018">
                  <c:v>-8.4033613445377801E-3</c:v>
                </c:pt>
                <c:pt idx="19019">
                  <c:v>-7.5630252100839998E-3</c:v>
                </c:pt>
                <c:pt idx="19020">
                  <c:v>-7.5630252100839998E-3</c:v>
                </c:pt>
                <c:pt idx="19021">
                  <c:v>-7.5630252100839998E-3</c:v>
                </c:pt>
                <c:pt idx="19022">
                  <c:v>-7.5630252100839998E-3</c:v>
                </c:pt>
                <c:pt idx="19023">
                  <c:v>-7.5630252100839998E-3</c:v>
                </c:pt>
                <c:pt idx="19024">
                  <c:v>-7.5630252100839998E-3</c:v>
                </c:pt>
                <c:pt idx="19025">
                  <c:v>-7.5630252100839998E-3</c:v>
                </c:pt>
                <c:pt idx="19026">
                  <c:v>-7.5630252100839998E-3</c:v>
                </c:pt>
                <c:pt idx="19027">
                  <c:v>-7.5630252100839998E-3</c:v>
                </c:pt>
                <c:pt idx="19028">
                  <c:v>-7.5630252100839998E-3</c:v>
                </c:pt>
                <c:pt idx="19029">
                  <c:v>-8.4033613445377801E-3</c:v>
                </c:pt>
                <c:pt idx="19030">
                  <c:v>-8.4033613445377801E-3</c:v>
                </c:pt>
                <c:pt idx="19031">
                  <c:v>-8.4033613445377801E-3</c:v>
                </c:pt>
                <c:pt idx="19032">
                  <c:v>-8.4033613445377801E-3</c:v>
                </c:pt>
                <c:pt idx="19033">
                  <c:v>-9.2436974789915603E-3</c:v>
                </c:pt>
                <c:pt idx="19034">
                  <c:v>-9.2436974789915603E-3</c:v>
                </c:pt>
                <c:pt idx="19035">
                  <c:v>-9.2436974789915603E-3</c:v>
                </c:pt>
                <c:pt idx="19036">
                  <c:v>-9.2436974789915603E-3</c:v>
                </c:pt>
                <c:pt idx="19037">
                  <c:v>-9.2436974789915603E-3</c:v>
                </c:pt>
                <c:pt idx="19038">
                  <c:v>-9.2436974789915603E-3</c:v>
                </c:pt>
                <c:pt idx="19039">
                  <c:v>-9.2436974789915603E-3</c:v>
                </c:pt>
                <c:pt idx="19040">
                  <c:v>-9.2436974789915603E-3</c:v>
                </c:pt>
                <c:pt idx="19041">
                  <c:v>-9.2436974789915603E-3</c:v>
                </c:pt>
                <c:pt idx="19042">
                  <c:v>-9.2436974789915603E-3</c:v>
                </c:pt>
                <c:pt idx="19043">
                  <c:v>-9.2436974789915603E-3</c:v>
                </c:pt>
                <c:pt idx="19044">
                  <c:v>-9.2436974789915603E-3</c:v>
                </c:pt>
                <c:pt idx="19045">
                  <c:v>-9.2436974789915603E-3</c:v>
                </c:pt>
                <c:pt idx="19046">
                  <c:v>-9.2436974789915603E-3</c:v>
                </c:pt>
                <c:pt idx="19047">
                  <c:v>-9.2436974789915603E-3</c:v>
                </c:pt>
                <c:pt idx="19048">
                  <c:v>-9.2436974789915603E-3</c:v>
                </c:pt>
                <c:pt idx="19049">
                  <c:v>-9.2436974789915603E-3</c:v>
                </c:pt>
                <c:pt idx="19050">
                  <c:v>-9.2436974789915603E-3</c:v>
                </c:pt>
                <c:pt idx="19051">
                  <c:v>-9.2436974789915603E-3</c:v>
                </c:pt>
                <c:pt idx="19052">
                  <c:v>-9.2436974789915603E-3</c:v>
                </c:pt>
                <c:pt idx="19053">
                  <c:v>-9.2436974789915603E-3</c:v>
                </c:pt>
                <c:pt idx="19054">
                  <c:v>-9.2436974789915603E-3</c:v>
                </c:pt>
                <c:pt idx="19055">
                  <c:v>-9.2436974789915603E-3</c:v>
                </c:pt>
                <c:pt idx="19056">
                  <c:v>-9.2436974789915603E-3</c:v>
                </c:pt>
                <c:pt idx="19057">
                  <c:v>-9.2436974789915603E-3</c:v>
                </c:pt>
                <c:pt idx="19058">
                  <c:v>-9.2436974789915603E-3</c:v>
                </c:pt>
                <c:pt idx="19059">
                  <c:v>-9.2436974789915603E-3</c:v>
                </c:pt>
                <c:pt idx="19060">
                  <c:v>-9.2436974789915603E-3</c:v>
                </c:pt>
                <c:pt idx="19061">
                  <c:v>-9.2436974789915603E-3</c:v>
                </c:pt>
                <c:pt idx="19062">
                  <c:v>-9.2436974789915603E-3</c:v>
                </c:pt>
                <c:pt idx="19063">
                  <c:v>-9.2436974789915603E-3</c:v>
                </c:pt>
                <c:pt idx="19064">
                  <c:v>-9.2436974789915603E-3</c:v>
                </c:pt>
                <c:pt idx="19065">
                  <c:v>-9.2436974789915603E-3</c:v>
                </c:pt>
                <c:pt idx="19066">
                  <c:v>-9.2436974789915603E-3</c:v>
                </c:pt>
                <c:pt idx="19067">
                  <c:v>-9.2436974789915603E-3</c:v>
                </c:pt>
                <c:pt idx="19068">
                  <c:v>-9.2436974789915603E-3</c:v>
                </c:pt>
                <c:pt idx="19069">
                  <c:v>-9.2436974789915603E-3</c:v>
                </c:pt>
                <c:pt idx="19070">
                  <c:v>-9.2436974789915603E-3</c:v>
                </c:pt>
                <c:pt idx="19071">
                  <c:v>-9.2436974789915603E-3</c:v>
                </c:pt>
                <c:pt idx="19072">
                  <c:v>-9.2436974789915603E-3</c:v>
                </c:pt>
                <c:pt idx="19073">
                  <c:v>-9.2436974789915603E-3</c:v>
                </c:pt>
                <c:pt idx="19074">
                  <c:v>-9.2436974789915603E-3</c:v>
                </c:pt>
                <c:pt idx="19075">
                  <c:v>-9.2436974789915603E-3</c:v>
                </c:pt>
                <c:pt idx="19076">
                  <c:v>-9.2436974789915603E-3</c:v>
                </c:pt>
                <c:pt idx="19077">
                  <c:v>-9.2436974789915603E-3</c:v>
                </c:pt>
                <c:pt idx="19078">
                  <c:v>-9.2436974789915603E-3</c:v>
                </c:pt>
                <c:pt idx="19079">
                  <c:v>-9.2436974789915603E-3</c:v>
                </c:pt>
                <c:pt idx="19080">
                  <c:v>-9.2436974789915603E-3</c:v>
                </c:pt>
                <c:pt idx="19081">
                  <c:v>-8.4033613445377801E-3</c:v>
                </c:pt>
                <c:pt idx="19082">
                  <c:v>-8.4033613445377801E-3</c:v>
                </c:pt>
                <c:pt idx="19083">
                  <c:v>-8.4033613445377801E-3</c:v>
                </c:pt>
                <c:pt idx="19084">
                  <c:v>-8.4033613445377801E-3</c:v>
                </c:pt>
                <c:pt idx="19085">
                  <c:v>-8.4033613445377801E-3</c:v>
                </c:pt>
                <c:pt idx="19086">
                  <c:v>-8.4033613445377801E-3</c:v>
                </c:pt>
                <c:pt idx="19087">
                  <c:v>-8.4033613445377801E-3</c:v>
                </c:pt>
                <c:pt idx="19088">
                  <c:v>-8.4033613445377801E-3</c:v>
                </c:pt>
                <c:pt idx="19089">
                  <c:v>-8.4033613445377801E-3</c:v>
                </c:pt>
                <c:pt idx="19090">
                  <c:v>-8.4033613445377801E-3</c:v>
                </c:pt>
                <c:pt idx="19091">
                  <c:v>-8.4033613445377801E-3</c:v>
                </c:pt>
                <c:pt idx="19092">
                  <c:v>-8.4033613445377801E-3</c:v>
                </c:pt>
                <c:pt idx="19093">
                  <c:v>-8.4033613445377801E-3</c:v>
                </c:pt>
                <c:pt idx="19094">
                  <c:v>-8.4033613445377801E-3</c:v>
                </c:pt>
                <c:pt idx="19095">
                  <c:v>-8.4033613445377801E-3</c:v>
                </c:pt>
                <c:pt idx="19096">
                  <c:v>-8.4033613445377801E-3</c:v>
                </c:pt>
                <c:pt idx="19097">
                  <c:v>-8.4033613445377801E-3</c:v>
                </c:pt>
                <c:pt idx="19098">
                  <c:v>-8.4033613445377801E-3</c:v>
                </c:pt>
                <c:pt idx="19099">
                  <c:v>-8.4033613445377801E-3</c:v>
                </c:pt>
                <c:pt idx="19100">
                  <c:v>-8.4033613445377801E-3</c:v>
                </c:pt>
                <c:pt idx="19101">
                  <c:v>-8.4033613445377801E-3</c:v>
                </c:pt>
                <c:pt idx="19102">
                  <c:v>-8.4033613445377801E-3</c:v>
                </c:pt>
                <c:pt idx="19103">
                  <c:v>-8.4033613445377801E-3</c:v>
                </c:pt>
                <c:pt idx="19104">
                  <c:v>-8.4033613445377801E-3</c:v>
                </c:pt>
                <c:pt idx="19105">
                  <c:v>-8.4033613445377801E-3</c:v>
                </c:pt>
                <c:pt idx="19106">
                  <c:v>-8.4033613445377801E-3</c:v>
                </c:pt>
                <c:pt idx="19107">
                  <c:v>-8.4033613445377801E-3</c:v>
                </c:pt>
                <c:pt idx="19108">
                  <c:v>-7.5630252100839998E-3</c:v>
                </c:pt>
                <c:pt idx="19109">
                  <c:v>-7.5630252100839998E-3</c:v>
                </c:pt>
                <c:pt idx="19110">
                  <c:v>-7.5630252100839998E-3</c:v>
                </c:pt>
                <c:pt idx="19111">
                  <c:v>-7.5630252100839998E-3</c:v>
                </c:pt>
                <c:pt idx="19112">
                  <c:v>-7.5630252100839998E-3</c:v>
                </c:pt>
                <c:pt idx="19113">
                  <c:v>-7.5630252100839998E-3</c:v>
                </c:pt>
                <c:pt idx="19114">
                  <c:v>-7.5630252100839998E-3</c:v>
                </c:pt>
                <c:pt idx="19115">
                  <c:v>-7.5630252100839998E-3</c:v>
                </c:pt>
                <c:pt idx="19116">
                  <c:v>-7.5630252100839998E-3</c:v>
                </c:pt>
                <c:pt idx="19117">
                  <c:v>-7.5630252100839998E-3</c:v>
                </c:pt>
                <c:pt idx="19118">
                  <c:v>-7.5630252100839998E-3</c:v>
                </c:pt>
                <c:pt idx="19119">
                  <c:v>-7.5630252100839998E-3</c:v>
                </c:pt>
                <c:pt idx="19120">
                  <c:v>-7.5630252100839998E-3</c:v>
                </c:pt>
                <c:pt idx="19121">
                  <c:v>-7.5630252100839998E-3</c:v>
                </c:pt>
                <c:pt idx="19122">
                  <c:v>-7.5630252100839998E-3</c:v>
                </c:pt>
                <c:pt idx="19123">
                  <c:v>-7.5630252100839998E-3</c:v>
                </c:pt>
                <c:pt idx="19124">
                  <c:v>-7.5630252100839998E-3</c:v>
                </c:pt>
                <c:pt idx="19125">
                  <c:v>-7.5630252100839998E-3</c:v>
                </c:pt>
                <c:pt idx="19126">
                  <c:v>-7.5630252100839998E-3</c:v>
                </c:pt>
                <c:pt idx="19127">
                  <c:v>-7.5630252100839998E-3</c:v>
                </c:pt>
                <c:pt idx="19128">
                  <c:v>-7.5630252100839998E-3</c:v>
                </c:pt>
                <c:pt idx="19129">
                  <c:v>-7.5630252100839998E-3</c:v>
                </c:pt>
                <c:pt idx="19130">
                  <c:v>-6.7226890756302204E-3</c:v>
                </c:pt>
                <c:pt idx="19131">
                  <c:v>-6.7226890756302204E-3</c:v>
                </c:pt>
                <c:pt idx="19132">
                  <c:v>-6.7226890756302204E-3</c:v>
                </c:pt>
                <c:pt idx="19133">
                  <c:v>-6.7226890756302204E-3</c:v>
                </c:pt>
                <c:pt idx="19134">
                  <c:v>-6.7226890756302204E-3</c:v>
                </c:pt>
                <c:pt idx="19135">
                  <c:v>-6.7226890756302204E-3</c:v>
                </c:pt>
                <c:pt idx="19136">
                  <c:v>-6.7226890756302204E-3</c:v>
                </c:pt>
                <c:pt idx="19137">
                  <c:v>-6.7226890756302204E-3</c:v>
                </c:pt>
                <c:pt idx="19138">
                  <c:v>-6.7226890756302204E-3</c:v>
                </c:pt>
                <c:pt idx="19139">
                  <c:v>-6.7226890756302204E-3</c:v>
                </c:pt>
                <c:pt idx="19140">
                  <c:v>-6.7226890756302204E-3</c:v>
                </c:pt>
                <c:pt idx="19141">
                  <c:v>-6.7226890756302204E-3</c:v>
                </c:pt>
                <c:pt idx="19142">
                  <c:v>-6.7226890756302204E-3</c:v>
                </c:pt>
                <c:pt idx="19143">
                  <c:v>-6.7226890756302204E-3</c:v>
                </c:pt>
                <c:pt idx="19144">
                  <c:v>-6.7226890756302204E-3</c:v>
                </c:pt>
                <c:pt idx="19145">
                  <c:v>-6.7226890756302204E-3</c:v>
                </c:pt>
                <c:pt idx="19146">
                  <c:v>-6.7226890756302204E-3</c:v>
                </c:pt>
                <c:pt idx="19147">
                  <c:v>-5.8823529411764497E-3</c:v>
                </c:pt>
                <c:pt idx="19148">
                  <c:v>-5.8823529411764497E-3</c:v>
                </c:pt>
                <c:pt idx="19149">
                  <c:v>-5.8823529411764497E-3</c:v>
                </c:pt>
                <c:pt idx="19150">
                  <c:v>-5.8823529411764497E-3</c:v>
                </c:pt>
                <c:pt idx="19151">
                  <c:v>-5.8823529411764497E-3</c:v>
                </c:pt>
                <c:pt idx="19152">
                  <c:v>-5.8823529411764497E-3</c:v>
                </c:pt>
                <c:pt idx="19153">
                  <c:v>-5.8823529411764497E-3</c:v>
                </c:pt>
                <c:pt idx="19154">
                  <c:v>-5.8823529411764497E-3</c:v>
                </c:pt>
                <c:pt idx="19155">
                  <c:v>-5.8823529411764497E-3</c:v>
                </c:pt>
                <c:pt idx="19156">
                  <c:v>-5.8823529411764497E-3</c:v>
                </c:pt>
                <c:pt idx="19157">
                  <c:v>-5.8823529411764497E-3</c:v>
                </c:pt>
                <c:pt idx="19158">
                  <c:v>-5.8823529411764497E-3</c:v>
                </c:pt>
                <c:pt idx="19159">
                  <c:v>-5.8823529411764497E-3</c:v>
                </c:pt>
                <c:pt idx="19160">
                  <c:v>-5.8823529411764497E-3</c:v>
                </c:pt>
                <c:pt idx="19161">
                  <c:v>-5.8823529411764497E-3</c:v>
                </c:pt>
                <c:pt idx="19162">
                  <c:v>-5.8823529411764497E-3</c:v>
                </c:pt>
                <c:pt idx="19163">
                  <c:v>-5.8823529411764497E-3</c:v>
                </c:pt>
                <c:pt idx="19164">
                  <c:v>-5.8823529411764497E-3</c:v>
                </c:pt>
                <c:pt idx="19165">
                  <c:v>-5.8823529411764497E-3</c:v>
                </c:pt>
                <c:pt idx="19166">
                  <c:v>-5.0420168067226703E-3</c:v>
                </c:pt>
                <c:pt idx="19167">
                  <c:v>-5.0420168067226703E-3</c:v>
                </c:pt>
                <c:pt idx="19168">
                  <c:v>-5.0420168067226703E-3</c:v>
                </c:pt>
                <c:pt idx="19169">
                  <c:v>-5.0420168067226703E-3</c:v>
                </c:pt>
                <c:pt idx="19170">
                  <c:v>-5.0420168067226703E-3</c:v>
                </c:pt>
                <c:pt idx="19171">
                  <c:v>-4.20168067226889E-3</c:v>
                </c:pt>
                <c:pt idx="19172">
                  <c:v>-4.20168067226889E-3</c:v>
                </c:pt>
                <c:pt idx="19173">
                  <c:v>-4.20168067226889E-3</c:v>
                </c:pt>
                <c:pt idx="19174">
                  <c:v>-4.20168067226889E-3</c:v>
                </c:pt>
                <c:pt idx="19175">
                  <c:v>-4.20168067226889E-3</c:v>
                </c:pt>
                <c:pt idx="19176">
                  <c:v>-4.20168067226889E-3</c:v>
                </c:pt>
                <c:pt idx="19177">
                  <c:v>-4.20168067226889E-3</c:v>
                </c:pt>
                <c:pt idx="19178">
                  <c:v>-4.20168067226889E-3</c:v>
                </c:pt>
                <c:pt idx="19179">
                  <c:v>-4.20168067226889E-3</c:v>
                </c:pt>
                <c:pt idx="19180">
                  <c:v>-4.20168067226889E-3</c:v>
                </c:pt>
                <c:pt idx="19181">
                  <c:v>-4.20168067226889E-3</c:v>
                </c:pt>
                <c:pt idx="19182">
                  <c:v>-4.20168067226889E-3</c:v>
                </c:pt>
                <c:pt idx="19183">
                  <c:v>-4.20168067226889E-3</c:v>
                </c:pt>
                <c:pt idx="19184">
                  <c:v>-4.20168067226889E-3</c:v>
                </c:pt>
                <c:pt idx="19185">
                  <c:v>-4.20168067226889E-3</c:v>
                </c:pt>
                <c:pt idx="19186">
                  <c:v>-4.20168067226889E-3</c:v>
                </c:pt>
                <c:pt idx="19187">
                  <c:v>-4.20168067226889E-3</c:v>
                </c:pt>
                <c:pt idx="19188">
                  <c:v>-3.3613445378151102E-3</c:v>
                </c:pt>
                <c:pt idx="19189">
                  <c:v>-3.3613445378151102E-3</c:v>
                </c:pt>
                <c:pt idx="19190">
                  <c:v>-3.3613445378151102E-3</c:v>
                </c:pt>
                <c:pt idx="19191">
                  <c:v>-3.3613445378151102E-3</c:v>
                </c:pt>
                <c:pt idx="19192">
                  <c:v>-3.3613445378151102E-3</c:v>
                </c:pt>
                <c:pt idx="19193">
                  <c:v>-3.3613445378151102E-3</c:v>
                </c:pt>
                <c:pt idx="19194">
                  <c:v>-3.3613445378151102E-3</c:v>
                </c:pt>
                <c:pt idx="19195">
                  <c:v>-3.3613445378151102E-3</c:v>
                </c:pt>
                <c:pt idx="19196">
                  <c:v>-3.3613445378151102E-3</c:v>
                </c:pt>
                <c:pt idx="19197">
                  <c:v>-3.3613445378151102E-3</c:v>
                </c:pt>
                <c:pt idx="19198">
                  <c:v>-3.3613445378151102E-3</c:v>
                </c:pt>
                <c:pt idx="19199">
                  <c:v>-3.3613445378151102E-3</c:v>
                </c:pt>
                <c:pt idx="19200">
                  <c:v>-3.3613445378151102E-3</c:v>
                </c:pt>
                <c:pt idx="19201">
                  <c:v>-3.3613445378151102E-3</c:v>
                </c:pt>
                <c:pt idx="19202">
                  <c:v>-3.3613445378151102E-3</c:v>
                </c:pt>
                <c:pt idx="19203">
                  <c:v>-3.3613445378151102E-3</c:v>
                </c:pt>
                <c:pt idx="19204">
                  <c:v>-3.3613445378151102E-3</c:v>
                </c:pt>
                <c:pt idx="19205">
                  <c:v>-3.3613445378151102E-3</c:v>
                </c:pt>
                <c:pt idx="19206">
                  <c:v>-3.3613445378151102E-3</c:v>
                </c:pt>
                <c:pt idx="19207">
                  <c:v>-3.3613445378151102E-3</c:v>
                </c:pt>
                <c:pt idx="19208">
                  <c:v>-3.3613445378151102E-3</c:v>
                </c:pt>
                <c:pt idx="19209">
                  <c:v>-3.3613445378151102E-3</c:v>
                </c:pt>
                <c:pt idx="19210">
                  <c:v>-3.3613445378151102E-3</c:v>
                </c:pt>
                <c:pt idx="19211">
                  <c:v>-3.3613445378151102E-3</c:v>
                </c:pt>
                <c:pt idx="19212">
                  <c:v>-3.3613445378151102E-3</c:v>
                </c:pt>
                <c:pt idx="19213">
                  <c:v>-3.3613445378151102E-3</c:v>
                </c:pt>
                <c:pt idx="19214">
                  <c:v>-3.3613445378151102E-3</c:v>
                </c:pt>
                <c:pt idx="19215">
                  <c:v>-3.3613445378151102E-3</c:v>
                </c:pt>
                <c:pt idx="19216">
                  <c:v>-3.3613445378151102E-3</c:v>
                </c:pt>
                <c:pt idx="19217">
                  <c:v>-3.3613445378151102E-3</c:v>
                </c:pt>
                <c:pt idx="19218">
                  <c:v>-3.3613445378151102E-3</c:v>
                </c:pt>
                <c:pt idx="19219">
                  <c:v>-3.3613445378151102E-3</c:v>
                </c:pt>
                <c:pt idx="19220">
                  <c:v>-3.3613445378151102E-3</c:v>
                </c:pt>
                <c:pt idx="19221">
                  <c:v>-3.3613445378151102E-3</c:v>
                </c:pt>
                <c:pt idx="19222">
                  <c:v>-3.3613445378151102E-3</c:v>
                </c:pt>
                <c:pt idx="19223">
                  <c:v>-3.3613445378151102E-3</c:v>
                </c:pt>
                <c:pt idx="19224">
                  <c:v>-3.3613445378151102E-3</c:v>
                </c:pt>
                <c:pt idx="19225">
                  <c:v>-3.3613445378151102E-3</c:v>
                </c:pt>
                <c:pt idx="19226">
                  <c:v>-3.3613445378151102E-3</c:v>
                </c:pt>
                <c:pt idx="19227">
                  <c:v>-3.3613445378151102E-3</c:v>
                </c:pt>
                <c:pt idx="19228">
                  <c:v>-3.3613445378151102E-3</c:v>
                </c:pt>
                <c:pt idx="19229">
                  <c:v>-3.3613445378151102E-3</c:v>
                </c:pt>
                <c:pt idx="19230">
                  <c:v>-3.3613445378151102E-3</c:v>
                </c:pt>
                <c:pt idx="19231">
                  <c:v>-3.3613445378151102E-3</c:v>
                </c:pt>
                <c:pt idx="19232">
                  <c:v>-3.3613445378151102E-3</c:v>
                </c:pt>
                <c:pt idx="19233">
                  <c:v>-3.3613445378151102E-3</c:v>
                </c:pt>
                <c:pt idx="19234">
                  <c:v>-3.3613445378151102E-3</c:v>
                </c:pt>
                <c:pt idx="19235">
                  <c:v>-3.3613445378151102E-3</c:v>
                </c:pt>
                <c:pt idx="19236">
                  <c:v>-3.3613445378151102E-3</c:v>
                </c:pt>
                <c:pt idx="19237">
                  <c:v>-3.3613445378151102E-3</c:v>
                </c:pt>
                <c:pt idx="19238">
                  <c:v>-3.3613445378151102E-3</c:v>
                </c:pt>
                <c:pt idx="19239">
                  <c:v>-3.3613445378151102E-3</c:v>
                </c:pt>
                <c:pt idx="19240">
                  <c:v>-3.3613445378151102E-3</c:v>
                </c:pt>
                <c:pt idx="19241">
                  <c:v>-3.3613445378151102E-3</c:v>
                </c:pt>
                <c:pt idx="19242">
                  <c:v>-3.3613445378151102E-3</c:v>
                </c:pt>
                <c:pt idx="19243">
                  <c:v>-3.3613445378151102E-3</c:v>
                </c:pt>
                <c:pt idx="19244">
                  <c:v>-3.3613445378151102E-3</c:v>
                </c:pt>
                <c:pt idx="19245">
                  <c:v>-3.3613445378151102E-3</c:v>
                </c:pt>
                <c:pt idx="19246">
                  <c:v>-3.3613445378151102E-3</c:v>
                </c:pt>
                <c:pt idx="19247">
                  <c:v>-3.3613445378151102E-3</c:v>
                </c:pt>
                <c:pt idx="19248">
                  <c:v>-3.3613445378151102E-3</c:v>
                </c:pt>
                <c:pt idx="19249">
                  <c:v>-3.3613445378151102E-3</c:v>
                </c:pt>
                <c:pt idx="19250">
                  <c:v>-3.3613445378151102E-3</c:v>
                </c:pt>
                <c:pt idx="19251">
                  <c:v>-3.3613445378151102E-3</c:v>
                </c:pt>
                <c:pt idx="19252">
                  <c:v>-3.3613445378151102E-3</c:v>
                </c:pt>
                <c:pt idx="19253">
                  <c:v>-3.3613445378151102E-3</c:v>
                </c:pt>
                <c:pt idx="19254">
                  <c:v>-3.3613445378151102E-3</c:v>
                </c:pt>
                <c:pt idx="19255">
                  <c:v>-3.3613445378151102E-3</c:v>
                </c:pt>
                <c:pt idx="19256">
                  <c:v>-3.3613445378151102E-3</c:v>
                </c:pt>
                <c:pt idx="19257">
                  <c:v>-3.3613445378151102E-3</c:v>
                </c:pt>
                <c:pt idx="19258">
                  <c:v>-3.3613445378151102E-3</c:v>
                </c:pt>
                <c:pt idx="19259">
                  <c:v>-3.3613445378151102E-3</c:v>
                </c:pt>
                <c:pt idx="19260">
                  <c:v>-3.3613445378151102E-3</c:v>
                </c:pt>
                <c:pt idx="19261">
                  <c:v>-3.3613445378151102E-3</c:v>
                </c:pt>
                <c:pt idx="19262">
                  <c:v>-3.3613445378151102E-3</c:v>
                </c:pt>
                <c:pt idx="19263">
                  <c:v>-3.3613445378151102E-3</c:v>
                </c:pt>
                <c:pt idx="19264">
                  <c:v>-3.3613445378151102E-3</c:v>
                </c:pt>
                <c:pt idx="19265">
                  <c:v>-3.3613445378151102E-3</c:v>
                </c:pt>
                <c:pt idx="19266">
                  <c:v>-3.3613445378151102E-3</c:v>
                </c:pt>
                <c:pt idx="19267">
                  <c:v>-3.3613445378151102E-3</c:v>
                </c:pt>
                <c:pt idx="19268">
                  <c:v>-3.3613445378151102E-3</c:v>
                </c:pt>
                <c:pt idx="19269">
                  <c:v>-3.3613445378151102E-3</c:v>
                </c:pt>
                <c:pt idx="19270">
                  <c:v>-3.3613445378151102E-3</c:v>
                </c:pt>
                <c:pt idx="19271">
                  <c:v>-3.3613445378151102E-3</c:v>
                </c:pt>
                <c:pt idx="19272">
                  <c:v>-3.3613445378151102E-3</c:v>
                </c:pt>
                <c:pt idx="19273">
                  <c:v>-3.3613445378151102E-3</c:v>
                </c:pt>
                <c:pt idx="19274">
                  <c:v>-3.3613445378151102E-3</c:v>
                </c:pt>
                <c:pt idx="19275">
                  <c:v>-2.5210084033613299E-3</c:v>
                </c:pt>
                <c:pt idx="19276">
                  <c:v>-2.5210084033613299E-3</c:v>
                </c:pt>
                <c:pt idx="19277">
                  <c:v>-1.6806722689075499E-3</c:v>
                </c:pt>
                <c:pt idx="19278">
                  <c:v>-1.6806722689075499E-3</c:v>
                </c:pt>
                <c:pt idx="19279">
                  <c:v>-1.6806722689075499E-3</c:v>
                </c:pt>
                <c:pt idx="19280">
                  <c:v>-1.6806722689075499E-3</c:v>
                </c:pt>
                <c:pt idx="19281">
                  <c:v>-1.6806722689075499E-3</c:v>
                </c:pt>
                <c:pt idx="19282">
                  <c:v>-8.4033613445377799E-4</c:v>
                </c:pt>
                <c:pt idx="19283">
                  <c:v>-8.4033613445377799E-4</c:v>
                </c:pt>
                <c:pt idx="19284">
                  <c:v>-8.4033613445377799E-4</c:v>
                </c:pt>
                <c:pt idx="19285">
                  <c:v>-8.4033613445377799E-4</c:v>
                </c:pt>
                <c:pt idx="19286">
                  <c:v>-8.4033613445377799E-4</c:v>
                </c:pt>
                <c:pt idx="19287">
                  <c:v>-8.4033613445377799E-4</c:v>
                </c:pt>
                <c:pt idx="19288">
                  <c:v>-8.4033613445377799E-4</c:v>
                </c:pt>
                <c:pt idx="19289">
                  <c:v>-8.4033613445377799E-4</c:v>
                </c:pt>
                <c:pt idx="19290">
                  <c:v>-8.4033613445377799E-4</c:v>
                </c:pt>
                <c:pt idx="19291">
                  <c:v>-8.4033613445377799E-4</c:v>
                </c:pt>
                <c:pt idx="19292">
                  <c:v>-8.4033613445377799E-4</c:v>
                </c:pt>
                <c:pt idx="19293">
                  <c:v>-8.4033613445377799E-4</c:v>
                </c:pt>
                <c:pt idx="19294">
                  <c:v>-8.4033613445377799E-4</c:v>
                </c:pt>
                <c:pt idx="19295">
                  <c:v>-8.4033613445377799E-4</c:v>
                </c:pt>
                <c:pt idx="19296">
                  <c:v>-8.4033613445377799E-4</c:v>
                </c:pt>
                <c:pt idx="19297">
                  <c:v>-8.4033613445377799E-4</c:v>
                </c:pt>
                <c:pt idx="19298">
                  <c:v>-8.4033613445377799E-4</c:v>
                </c:pt>
                <c:pt idx="19299">
                  <c:v>-8.4033613445377799E-4</c:v>
                </c:pt>
                <c:pt idx="19300">
                  <c:v>-8.4033613445377799E-4</c:v>
                </c:pt>
                <c:pt idx="19301">
                  <c:v>-8.4033613445377799E-4</c:v>
                </c:pt>
                <c:pt idx="19302">
                  <c:v>-8.4033613445377799E-4</c:v>
                </c:pt>
                <c:pt idx="19303">
                  <c:v>-8.4033613445377799E-4</c:v>
                </c:pt>
                <c:pt idx="19304">
                  <c:v>-8.4033613445377799E-4</c:v>
                </c:pt>
                <c:pt idx="19305">
                  <c:v>-8.4033613445377799E-4</c:v>
                </c:pt>
                <c:pt idx="19306">
                  <c:v>-8.4033613445377799E-4</c:v>
                </c:pt>
                <c:pt idx="19307">
                  <c:v>-8.4033613445377799E-4</c:v>
                </c:pt>
                <c:pt idx="19308">
                  <c:v>-8.4033613445377799E-4</c:v>
                </c:pt>
                <c:pt idx="19309">
                  <c:v>-8.4033613445377799E-4</c:v>
                </c:pt>
                <c:pt idx="19310">
                  <c:v>-8.4033613445377799E-4</c:v>
                </c:pt>
                <c:pt idx="19311">
                  <c:v>-8.4033613445377799E-4</c:v>
                </c:pt>
                <c:pt idx="19312">
                  <c:v>-8.4033613445377799E-4</c:v>
                </c:pt>
                <c:pt idx="19313">
                  <c:v>-8.4033613445377799E-4</c:v>
                </c:pt>
                <c:pt idx="19314">
                  <c:v>-8.4033613445377799E-4</c:v>
                </c:pt>
                <c:pt idx="19315">
                  <c:v>-8.4033613445377799E-4</c:v>
                </c:pt>
                <c:pt idx="19316">
                  <c:v>-8.4033613445377799E-4</c:v>
                </c:pt>
                <c:pt idx="19317">
                  <c:v>-8.4033613445377799E-4</c:v>
                </c:pt>
                <c:pt idx="19318">
                  <c:v>-8.4033613445377799E-4</c:v>
                </c:pt>
                <c:pt idx="19319">
                  <c:v>-8.4033613445377799E-4</c:v>
                </c:pt>
                <c:pt idx="19320">
                  <c:v>-8.4033613445377799E-4</c:v>
                </c:pt>
                <c:pt idx="19321">
                  <c:v>-8.4033613445377799E-4</c:v>
                </c:pt>
                <c:pt idx="19322">
                  <c:v>-8.4033613445377799E-4</c:v>
                </c:pt>
                <c:pt idx="19323">
                  <c:v>-8.4033613445377799E-4</c:v>
                </c:pt>
                <c:pt idx="19324">
                  <c:v>-8.4033613445377799E-4</c:v>
                </c:pt>
                <c:pt idx="19325">
                  <c:v>-8.4033613445377799E-4</c:v>
                </c:pt>
                <c:pt idx="19326">
                  <c:v>-8.4033613445377799E-4</c:v>
                </c:pt>
                <c:pt idx="19327">
                  <c:v>-8.4033613445377799E-4</c:v>
                </c:pt>
                <c:pt idx="19328">
                  <c:v>-8.4033613445377799E-4</c:v>
                </c:pt>
                <c:pt idx="19329">
                  <c:v>-8.4033613445377799E-4</c:v>
                </c:pt>
                <c:pt idx="19330">
                  <c:v>-8.4033613445377799E-4</c:v>
                </c:pt>
                <c:pt idx="19331">
                  <c:v>-8.4033613445377799E-4</c:v>
                </c:pt>
                <c:pt idx="19332">
                  <c:v>-8.4033613445377799E-4</c:v>
                </c:pt>
                <c:pt idx="19333">
                  <c:v>-8.4033613445377799E-4</c:v>
                </c:pt>
                <c:pt idx="19334">
                  <c:v>-8.4033613445377799E-4</c:v>
                </c:pt>
                <c:pt idx="19335">
                  <c:v>-8.4033613445377799E-4</c:v>
                </c:pt>
                <c:pt idx="19336">
                  <c:v>-8.4033613445377799E-4</c:v>
                </c:pt>
                <c:pt idx="19337">
                  <c:v>-8.4033613445377799E-4</c:v>
                </c:pt>
                <c:pt idx="19338">
                  <c:v>-8.4033613445377799E-4</c:v>
                </c:pt>
                <c:pt idx="19339">
                  <c:v>-8.4033613445377799E-4</c:v>
                </c:pt>
                <c:pt idx="19340">
                  <c:v>-8.4033613445377799E-4</c:v>
                </c:pt>
                <c:pt idx="19341">
                  <c:v>-8.4033613445377799E-4</c:v>
                </c:pt>
                <c:pt idx="19342">
                  <c:v>-8.4033613445377799E-4</c:v>
                </c:pt>
                <c:pt idx="19343">
                  <c:v>-8.4033613445377799E-4</c:v>
                </c:pt>
                <c:pt idx="19344">
                  <c:v>-8.4033613445377799E-4</c:v>
                </c:pt>
                <c:pt idx="19345">
                  <c:v>-8.4033613445377799E-4</c:v>
                </c:pt>
                <c:pt idx="19346">
                  <c:v>-8.4033613445377799E-4</c:v>
                </c:pt>
                <c:pt idx="19347">
                  <c:v>-8.4033613445377799E-4</c:v>
                </c:pt>
                <c:pt idx="19348">
                  <c:v>-8.4033613445377799E-4</c:v>
                </c:pt>
                <c:pt idx="19349">
                  <c:v>-8.4033613445377799E-4</c:v>
                </c:pt>
                <c:pt idx="19350">
                  <c:v>-8.4033613445377799E-4</c:v>
                </c:pt>
                <c:pt idx="19351">
                  <c:v>-8.4033613445377799E-4</c:v>
                </c:pt>
                <c:pt idx="19352">
                  <c:v>-8.4033613445377799E-4</c:v>
                </c:pt>
                <c:pt idx="19353">
                  <c:v>-8.4033613445377799E-4</c:v>
                </c:pt>
                <c:pt idx="19354">
                  <c:v>-8.4033613445377799E-4</c:v>
                </c:pt>
                <c:pt idx="19355">
                  <c:v>-8.4033613445377799E-4</c:v>
                </c:pt>
                <c:pt idx="19356">
                  <c:v>-8.4033613445377799E-4</c:v>
                </c:pt>
                <c:pt idx="19357">
                  <c:v>-8.4033613445377799E-4</c:v>
                </c:pt>
                <c:pt idx="19358">
                  <c:v>-8.4033613445377799E-4</c:v>
                </c:pt>
                <c:pt idx="19359">
                  <c:v>-8.4033613445377799E-4</c:v>
                </c:pt>
                <c:pt idx="19360">
                  <c:v>-8.4033613445377799E-4</c:v>
                </c:pt>
                <c:pt idx="19361">
                  <c:v>-8.4033613445377799E-4</c:v>
                </c:pt>
                <c:pt idx="19362">
                  <c:v>-8.4033613445377799E-4</c:v>
                </c:pt>
                <c:pt idx="19363">
                  <c:v>-8.4033613445377799E-4</c:v>
                </c:pt>
                <c:pt idx="19364">
                  <c:v>-8.4033613445377799E-4</c:v>
                </c:pt>
                <c:pt idx="19365">
                  <c:v>-8.4033613445377799E-4</c:v>
                </c:pt>
                <c:pt idx="19366">
                  <c:v>-8.4033613445377799E-4</c:v>
                </c:pt>
                <c:pt idx="19367">
                  <c:v>-8.4033613445377799E-4</c:v>
                </c:pt>
                <c:pt idx="19368">
                  <c:v>-8.4033613445377799E-4</c:v>
                </c:pt>
                <c:pt idx="19369">
                  <c:v>-8.4033613445377799E-4</c:v>
                </c:pt>
                <c:pt idx="19370">
                  <c:v>-1.6806722689075499E-3</c:v>
                </c:pt>
                <c:pt idx="19371">
                  <c:v>-1.6806722689075499E-3</c:v>
                </c:pt>
                <c:pt idx="19372">
                  <c:v>-1.6806722689075499E-3</c:v>
                </c:pt>
                <c:pt idx="19373">
                  <c:v>-1.6806722689075499E-3</c:v>
                </c:pt>
                <c:pt idx="19374">
                  <c:v>-1.6806722689075499E-3</c:v>
                </c:pt>
                <c:pt idx="19375">
                  <c:v>-1.6806722689075499E-3</c:v>
                </c:pt>
                <c:pt idx="19376">
                  <c:v>-1.6806722689075499E-3</c:v>
                </c:pt>
                <c:pt idx="19377">
                  <c:v>-1.6806722689075499E-3</c:v>
                </c:pt>
                <c:pt idx="19378">
                  <c:v>-1.6806722689075499E-3</c:v>
                </c:pt>
                <c:pt idx="19379">
                  <c:v>-1.6806722689075499E-3</c:v>
                </c:pt>
                <c:pt idx="19380">
                  <c:v>-1.6806722689075499E-3</c:v>
                </c:pt>
                <c:pt idx="19381">
                  <c:v>-1.6806722689075499E-3</c:v>
                </c:pt>
                <c:pt idx="19382">
                  <c:v>-1.6806722689075499E-3</c:v>
                </c:pt>
                <c:pt idx="19383">
                  <c:v>-1.6806722689075499E-3</c:v>
                </c:pt>
                <c:pt idx="19384">
                  <c:v>-1.6806722689075499E-3</c:v>
                </c:pt>
                <c:pt idx="19385">
                  <c:v>-1.6806722689075499E-3</c:v>
                </c:pt>
                <c:pt idx="19386">
                  <c:v>-1.6806722689075499E-3</c:v>
                </c:pt>
                <c:pt idx="19387">
                  <c:v>-1.6806722689075499E-3</c:v>
                </c:pt>
                <c:pt idx="19388">
                  <c:v>-1.6806722689075499E-3</c:v>
                </c:pt>
                <c:pt idx="19389">
                  <c:v>-1.6806722689075499E-3</c:v>
                </c:pt>
                <c:pt idx="19390">
                  <c:v>-1.6806722689075499E-3</c:v>
                </c:pt>
                <c:pt idx="19391">
                  <c:v>-1.6806722689075499E-3</c:v>
                </c:pt>
                <c:pt idx="19392">
                  <c:v>-1.6806722689075499E-3</c:v>
                </c:pt>
                <c:pt idx="19393">
                  <c:v>-1.6806722689075499E-3</c:v>
                </c:pt>
                <c:pt idx="19394">
                  <c:v>-1.6806722689075499E-3</c:v>
                </c:pt>
                <c:pt idx="19395">
                  <c:v>-1.6806722689075499E-3</c:v>
                </c:pt>
                <c:pt idx="19396">
                  <c:v>-1.6806722689075499E-3</c:v>
                </c:pt>
                <c:pt idx="19397">
                  <c:v>-1.6806722689075499E-3</c:v>
                </c:pt>
                <c:pt idx="19398">
                  <c:v>-1.6806722689075499E-3</c:v>
                </c:pt>
                <c:pt idx="19399">
                  <c:v>-1.6806722689075499E-3</c:v>
                </c:pt>
                <c:pt idx="19400">
                  <c:v>-1.6806722689075499E-3</c:v>
                </c:pt>
                <c:pt idx="19401">
                  <c:v>-1.6806722689075499E-3</c:v>
                </c:pt>
                <c:pt idx="19402">
                  <c:v>-1.6806722689075499E-3</c:v>
                </c:pt>
                <c:pt idx="19403">
                  <c:v>-1.6806722689075499E-3</c:v>
                </c:pt>
                <c:pt idx="19404">
                  <c:v>-1.6806722689075499E-3</c:v>
                </c:pt>
                <c:pt idx="19405">
                  <c:v>-1.6806722689075499E-3</c:v>
                </c:pt>
                <c:pt idx="19406">
                  <c:v>-1.6806722689075499E-3</c:v>
                </c:pt>
                <c:pt idx="19407">
                  <c:v>-1.6806722689075499E-3</c:v>
                </c:pt>
                <c:pt idx="19408">
                  <c:v>-1.6806722689075499E-3</c:v>
                </c:pt>
                <c:pt idx="19409">
                  <c:v>-1.6806722689075499E-3</c:v>
                </c:pt>
                <c:pt idx="19410">
                  <c:v>-1.6806722689075499E-3</c:v>
                </c:pt>
                <c:pt idx="19411">
                  <c:v>-1.6806722689075499E-3</c:v>
                </c:pt>
                <c:pt idx="19412">
                  <c:v>-1.6806722689075499E-3</c:v>
                </c:pt>
                <c:pt idx="19413">
                  <c:v>-1.6806722689075499E-3</c:v>
                </c:pt>
                <c:pt idx="19414">
                  <c:v>-1.6806722689075499E-3</c:v>
                </c:pt>
                <c:pt idx="19415">
                  <c:v>-1.6806722689075499E-3</c:v>
                </c:pt>
                <c:pt idx="19416">
                  <c:v>-1.6806722689075499E-3</c:v>
                </c:pt>
                <c:pt idx="19417">
                  <c:v>-1.6806722689075499E-3</c:v>
                </c:pt>
                <c:pt idx="19418">
                  <c:v>-1.6806722689075499E-3</c:v>
                </c:pt>
                <c:pt idx="19419">
                  <c:v>-1.6806722689075499E-3</c:v>
                </c:pt>
                <c:pt idx="19420">
                  <c:v>-2.5210084033613299E-3</c:v>
                </c:pt>
                <c:pt idx="19421">
                  <c:v>-2.5210084033613299E-3</c:v>
                </c:pt>
                <c:pt idx="19422">
                  <c:v>-2.5210084033613299E-3</c:v>
                </c:pt>
                <c:pt idx="19423">
                  <c:v>-2.5210084033613299E-3</c:v>
                </c:pt>
                <c:pt idx="19424">
                  <c:v>-2.5210084033613299E-3</c:v>
                </c:pt>
                <c:pt idx="19425">
                  <c:v>-2.5210084033613299E-3</c:v>
                </c:pt>
                <c:pt idx="19426">
                  <c:v>-2.5210084033613299E-3</c:v>
                </c:pt>
                <c:pt idx="19427">
                  <c:v>-2.5210084033613299E-3</c:v>
                </c:pt>
                <c:pt idx="19428">
                  <c:v>-2.5210084033613299E-3</c:v>
                </c:pt>
                <c:pt idx="19429">
                  <c:v>-2.5210084033613299E-3</c:v>
                </c:pt>
                <c:pt idx="19430">
                  <c:v>-2.5210084033613299E-3</c:v>
                </c:pt>
                <c:pt idx="19431">
                  <c:v>-2.5210084033613299E-3</c:v>
                </c:pt>
                <c:pt idx="19432">
                  <c:v>-2.5210084033613299E-3</c:v>
                </c:pt>
                <c:pt idx="19433">
                  <c:v>-2.5210084033613299E-3</c:v>
                </c:pt>
                <c:pt idx="19434">
                  <c:v>-2.5210084033613299E-3</c:v>
                </c:pt>
                <c:pt idx="19435">
                  <c:v>-2.5210084033613299E-3</c:v>
                </c:pt>
                <c:pt idx="19436">
                  <c:v>-1.6806722689075499E-3</c:v>
                </c:pt>
                <c:pt idx="19437">
                  <c:v>-1.6806722689075499E-3</c:v>
                </c:pt>
                <c:pt idx="19438">
                  <c:v>-1.6806722689075499E-3</c:v>
                </c:pt>
                <c:pt idx="19439">
                  <c:v>-1.6806722689075499E-3</c:v>
                </c:pt>
                <c:pt idx="19440">
                  <c:v>-1.6806722689075499E-3</c:v>
                </c:pt>
                <c:pt idx="19441">
                  <c:v>-1.6806722689075499E-3</c:v>
                </c:pt>
                <c:pt idx="19442">
                  <c:v>-2.5210084033613299E-3</c:v>
                </c:pt>
                <c:pt idx="19443">
                  <c:v>-2.5210084033613299E-3</c:v>
                </c:pt>
                <c:pt idx="19444">
                  <c:v>-2.5210084033613299E-3</c:v>
                </c:pt>
                <c:pt idx="19445">
                  <c:v>-2.5210084033613299E-3</c:v>
                </c:pt>
                <c:pt idx="19446">
                  <c:v>-2.5210084033613299E-3</c:v>
                </c:pt>
                <c:pt idx="19447">
                  <c:v>-2.5210084033613299E-3</c:v>
                </c:pt>
                <c:pt idx="19448">
                  <c:v>-2.5210084033613299E-3</c:v>
                </c:pt>
                <c:pt idx="19449">
                  <c:v>-2.5210084033613299E-3</c:v>
                </c:pt>
                <c:pt idx="19450">
                  <c:v>-2.5210084033613299E-3</c:v>
                </c:pt>
                <c:pt idx="19451">
                  <c:v>-2.5210084033613299E-3</c:v>
                </c:pt>
                <c:pt idx="19452">
                  <c:v>-2.5210084033613299E-3</c:v>
                </c:pt>
                <c:pt idx="19453">
                  <c:v>-2.5210084033613299E-3</c:v>
                </c:pt>
                <c:pt idx="19454">
                  <c:v>-2.5210084033613299E-3</c:v>
                </c:pt>
                <c:pt idx="19455">
                  <c:v>-2.5210084033613299E-3</c:v>
                </c:pt>
                <c:pt idx="19456">
                  <c:v>-2.5210084033613299E-3</c:v>
                </c:pt>
                <c:pt idx="19457">
                  <c:v>-2.5210084033613299E-3</c:v>
                </c:pt>
                <c:pt idx="19458">
                  <c:v>-2.5210084033613299E-3</c:v>
                </c:pt>
                <c:pt idx="19459">
                  <c:v>-2.5210084033613299E-3</c:v>
                </c:pt>
                <c:pt idx="19460">
                  <c:v>-2.5210084033613299E-3</c:v>
                </c:pt>
                <c:pt idx="19461">
                  <c:v>-2.5210084033613299E-3</c:v>
                </c:pt>
                <c:pt idx="19462">
                  <c:v>-2.5210084033613299E-3</c:v>
                </c:pt>
                <c:pt idx="19463">
                  <c:v>-2.5210084033613299E-3</c:v>
                </c:pt>
                <c:pt idx="19464">
                  <c:v>-2.5210084033613299E-3</c:v>
                </c:pt>
                <c:pt idx="19465">
                  <c:v>-2.5210084033613299E-3</c:v>
                </c:pt>
                <c:pt idx="19466">
                  <c:v>-2.5210084033613299E-3</c:v>
                </c:pt>
                <c:pt idx="19467">
                  <c:v>-2.5210084033613299E-3</c:v>
                </c:pt>
                <c:pt idx="19468">
                  <c:v>-2.5210084033613299E-3</c:v>
                </c:pt>
                <c:pt idx="19469">
                  <c:v>-2.5210084033613299E-3</c:v>
                </c:pt>
                <c:pt idx="19470">
                  <c:v>-2.5210084033613299E-3</c:v>
                </c:pt>
                <c:pt idx="19471">
                  <c:v>-2.5210084033613299E-3</c:v>
                </c:pt>
                <c:pt idx="19472">
                  <c:v>-2.5210084033613299E-3</c:v>
                </c:pt>
                <c:pt idx="19473">
                  <c:v>-2.5210084033613299E-3</c:v>
                </c:pt>
                <c:pt idx="19474">
                  <c:v>-2.5210084033613299E-3</c:v>
                </c:pt>
                <c:pt idx="19475">
                  <c:v>-2.5210084033613299E-3</c:v>
                </c:pt>
                <c:pt idx="19476">
                  <c:v>-2.5210084033613299E-3</c:v>
                </c:pt>
                <c:pt idx="19477">
                  <c:v>-2.5210084033613299E-3</c:v>
                </c:pt>
                <c:pt idx="19478">
                  <c:v>-2.5210084033613299E-3</c:v>
                </c:pt>
                <c:pt idx="19479">
                  <c:v>-2.5210084033613299E-3</c:v>
                </c:pt>
                <c:pt idx="19480">
                  <c:v>-2.5210084033613299E-3</c:v>
                </c:pt>
                <c:pt idx="19481">
                  <c:v>-2.5210084033613299E-3</c:v>
                </c:pt>
                <c:pt idx="19482">
                  <c:v>-2.5210084033613299E-3</c:v>
                </c:pt>
                <c:pt idx="19483">
                  <c:v>-2.5210084033613299E-3</c:v>
                </c:pt>
                <c:pt idx="19484">
                  <c:v>-2.5210084033613299E-3</c:v>
                </c:pt>
                <c:pt idx="19485">
                  <c:v>-2.5210084033613299E-3</c:v>
                </c:pt>
                <c:pt idx="19486">
                  <c:v>-2.5210084033613299E-3</c:v>
                </c:pt>
                <c:pt idx="19487">
                  <c:v>-2.5210084033613299E-3</c:v>
                </c:pt>
                <c:pt idx="19488">
                  <c:v>-2.5210084033613299E-3</c:v>
                </c:pt>
                <c:pt idx="19489">
                  <c:v>-2.5210084033613299E-3</c:v>
                </c:pt>
                <c:pt idx="19490">
                  <c:v>-2.5210084033613299E-3</c:v>
                </c:pt>
                <c:pt idx="19491">
                  <c:v>-2.5210084033613299E-3</c:v>
                </c:pt>
                <c:pt idx="19492">
                  <c:v>-2.5210084033613299E-3</c:v>
                </c:pt>
                <c:pt idx="19493">
                  <c:v>-2.5210084033613299E-3</c:v>
                </c:pt>
                <c:pt idx="19494">
                  <c:v>-2.5210084033613299E-3</c:v>
                </c:pt>
                <c:pt idx="19495">
                  <c:v>-2.5210084033613299E-3</c:v>
                </c:pt>
                <c:pt idx="19496">
                  <c:v>-2.5210084033613299E-3</c:v>
                </c:pt>
                <c:pt idx="19497">
                  <c:v>-2.5210084033613299E-3</c:v>
                </c:pt>
                <c:pt idx="19498">
                  <c:v>-2.5210084033613299E-3</c:v>
                </c:pt>
                <c:pt idx="19499">
                  <c:v>-2.5210084033613299E-3</c:v>
                </c:pt>
                <c:pt idx="19500">
                  <c:v>-2.5210084033613299E-3</c:v>
                </c:pt>
                <c:pt idx="19501">
                  <c:v>-2.5210084033613299E-3</c:v>
                </c:pt>
                <c:pt idx="19502">
                  <c:v>-2.5210084033613299E-3</c:v>
                </c:pt>
                <c:pt idx="19503">
                  <c:v>-2.5210084033613299E-3</c:v>
                </c:pt>
                <c:pt idx="19504">
                  <c:v>-2.5210084033613299E-3</c:v>
                </c:pt>
                <c:pt idx="19505">
                  <c:v>-2.5210084033613299E-3</c:v>
                </c:pt>
                <c:pt idx="19506">
                  <c:v>-2.5210084033613299E-3</c:v>
                </c:pt>
                <c:pt idx="19507">
                  <c:v>-2.5210084033613299E-3</c:v>
                </c:pt>
                <c:pt idx="19508">
                  <c:v>-2.5210084033613299E-3</c:v>
                </c:pt>
                <c:pt idx="19509">
                  <c:v>-2.5210084033613299E-3</c:v>
                </c:pt>
                <c:pt idx="19510">
                  <c:v>-2.5210084033613299E-3</c:v>
                </c:pt>
                <c:pt idx="19511">
                  <c:v>-2.5210084033613299E-3</c:v>
                </c:pt>
                <c:pt idx="19512">
                  <c:v>-2.5210084033613299E-3</c:v>
                </c:pt>
                <c:pt idx="19513">
                  <c:v>-2.5210084033613299E-3</c:v>
                </c:pt>
                <c:pt idx="19514">
                  <c:v>-2.5210084033613299E-3</c:v>
                </c:pt>
                <c:pt idx="19515">
                  <c:v>-2.5210084033613299E-3</c:v>
                </c:pt>
                <c:pt idx="19516">
                  <c:v>-2.5210084033613299E-3</c:v>
                </c:pt>
                <c:pt idx="19517">
                  <c:v>-2.5210084033613299E-3</c:v>
                </c:pt>
                <c:pt idx="19518">
                  <c:v>-2.5210084033613299E-3</c:v>
                </c:pt>
                <c:pt idx="19519">
                  <c:v>-2.5210084033613299E-3</c:v>
                </c:pt>
                <c:pt idx="19520">
                  <c:v>-2.5210084033613299E-3</c:v>
                </c:pt>
                <c:pt idx="19521">
                  <c:v>-2.5210084033613299E-3</c:v>
                </c:pt>
                <c:pt idx="19522">
                  <c:v>-2.5210084033613299E-3</c:v>
                </c:pt>
                <c:pt idx="19523">
                  <c:v>-2.5210084033613299E-3</c:v>
                </c:pt>
                <c:pt idx="19524">
                  <c:v>-2.5210084033613299E-3</c:v>
                </c:pt>
                <c:pt idx="19525">
                  <c:v>-2.5210084033613299E-3</c:v>
                </c:pt>
                <c:pt idx="19526">
                  <c:v>-2.5210084033613299E-3</c:v>
                </c:pt>
                <c:pt idx="19527">
                  <c:v>-2.5210084033613299E-3</c:v>
                </c:pt>
                <c:pt idx="19528">
                  <c:v>-2.5210084033613299E-3</c:v>
                </c:pt>
                <c:pt idx="19529">
                  <c:v>-2.5210084033613299E-3</c:v>
                </c:pt>
                <c:pt idx="19530">
                  <c:v>-2.5210084033613299E-3</c:v>
                </c:pt>
                <c:pt idx="19531">
                  <c:v>-2.5210084033613299E-3</c:v>
                </c:pt>
                <c:pt idx="19532">
                  <c:v>-2.5210084033613299E-3</c:v>
                </c:pt>
                <c:pt idx="19533">
                  <c:v>-2.5210084033613299E-3</c:v>
                </c:pt>
                <c:pt idx="19534">
                  <c:v>-2.5210084033613299E-3</c:v>
                </c:pt>
                <c:pt idx="19535">
                  <c:v>-2.5210084033613299E-3</c:v>
                </c:pt>
                <c:pt idx="19536">
                  <c:v>-2.5210084033613299E-3</c:v>
                </c:pt>
                <c:pt idx="19537">
                  <c:v>-2.5210084033613299E-3</c:v>
                </c:pt>
                <c:pt idx="19538">
                  <c:v>-2.5210084033613299E-3</c:v>
                </c:pt>
                <c:pt idx="19539">
                  <c:v>-3.3613445378152199E-3</c:v>
                </c:pt>
                <c:pt idx="19540">
                  <c:v>-3.3613445378152199E-3</c:v>
                </c:pt>
                <c:pt idx="19541">
                  <c:v>-3.3613445378152199E-3</c:v>
                </c:pt>
                <c:pt idx="19542">
                  <c:v>-3.3613445378152199E-3</c:v>
                </c:pt>
                <c:pt idx="19543">
                  <c:v>-3.3613445378152199E-3</c:v>
                </c:pt>
                <c:pt idx="19544">
                  <c:v>-3.3613445378152199E-3</c:v>
                </c:pt>
                <c:pt idx="19545">
                  <c:v>-3.3613445378152199E-3</c:v>
                </c:pt>
                <c:pt idx="19546">
                  <c:v>-3.3613445378152199E-3</c:v>
                </c:pt>
                <c:pt idx="19547">
                  <c:v>-3.3613445378152199E-3</c:v>
                </c:pt>
                <c:pt idx="19548">
                  <c:v>-3.3613445378152199E-3</c:v>
                </c:pt>
                <c:pt idx="19549">
                  <c:v>-3.3613445378152199E-3</c:v>
                </c:pt>
                <c:pt idx="19550">
                  <c:v>-3.3613445378152199E-3</c:v>
                </c:pt>
                <c:pt idx="19551">
                  <c:v>-3.3613445378152199E-3</c:v>
                </c:pt>
                <c:pt idx="19552">
                  <c:v>-3.3613445378152199E-3</c:v>
                </c:pt>
                <c:pt idx="19553">
                  <c:v>-3.3613445378152199E-3</c:v>
                </c:pt>
                <c:pt idx="19554">
                  <c:v>-2.5210084033614401E-3</c:v>
                </c:pt>
                <c:pt idx="19555">
                  <c:v>-2.5210084033614401E-3</c:v>
                </c:pt>
                <c:pt idx="19556">
                  <c:v>-1.6806722689076601E-3</c:v>
                </c:pt>
                <c:pt idx="19557">
                  <c:v>-1.6806722689076601E-3</c:v>
                </c:pt>
                <c:pt idx="19558">
                  <c:v>-1.6806722689076601E-3</c:v>
                </c:pt>
                <c:pt idx="19559">
                  <c:v>-1.6806722689076601E-3</c:v>
                </c:pt>
                <c:pt idx="19560">
                  <c:v>-1.6806722689076601E-3</c:v>
                </c:pt>
                <c:pt idx="19561">
                  <c:v>-8.4033613445388901E-4</c:v>
                </c:pt>
                <c:pt idx="19562">
                  <c:v>-8.4033613445388901E-4</c:v>
                </c:pt>
                <c:pt idx="19563">
                  <c:v>-8.4033613445388901E-4</c:v>
                </c:pt>
                <c:pt idx="19564">
                  <c:v>-1.6806722689076601E-3</c:v>
                </c:pt>
                <c:pt idx="19565">
                  <c:v>-1.6806722689076601E-3</c:v>
                </c:pt>
                <c:pt idx="19566">
                  <c:v>-1.6806722689076601E-3</c:v>
                </c:pt>
                <c:pt idx="19567">
                  <c:v>-1.6806722689076601E-3</c:v>
                </c:pt>
                <c:pt idx="19568">
                  <c:v>-1.6806722689076601E-3</c:v>
                </c:pt>
                <c:pt idx="19569">
                  <c:v>-1.6806722689076601E-3</c:v>
                </c:pt>
                <c:pt idx="19570">
                  <c:v>-1.6806722689076601E-3</c:v>
                </c:pt>
                <c:pt idx="19571">
                  <c:v>-1.6806722689076601E-3</c:v>
                </c:pt>
                <c:pt idx="19572">
                  <c:v>-1.6806722689076601E-3</c:v>
                </c:pt>
                <c:pt idx="19573">
                  <c:v>-1.6806722689076601E-3</c:v>
                </c:pt>
                <c:pt idx="19574">
                  <c:v>-1.6806722689076601E-3</c:v>
                </c:pt>
                <c:pt idx="19575">
                  <c:v>-1.6806722689076601E-3</c:v>
                </c:pt>
                <c:pt idx="19576">
                  <c:v>-1.6806722689076601E-3</c:v>
                </c:pt>
                <c:pt idx="19577">
                  <c:v>-1.6806722689076601E-3</c:v>
                </c:pt>
                <c:pt idx="19578">
                  <c:v>-8.4033613445377799E-4</c:v>
                </c:pt>
                <c:pt idx="19579">
                  <c:v>-8.4033613445377799E-4</c:v>
                </c:pt>
                <c:pt idx="19580">
                  <c:v>-8.4033613445377799E-4</c:v>
                </c:pt>
                <c:pt idx="19581">
                  <c:v>-8.4033613445377799E-4</c:v>
                </c:pt>
                <c:pt idx="19582">
                  <c:v>-8.4033613445377799E-4</c:v>
                </c:pt>
                <c:pt idx="19583">
                  <c:v>-8.4033613445377799E-4</c:v>
                </c:pt>
                <c:pt idx="19584">
                  <c:v>-8.4033613445377799E-4</c:v>
                </c:pt>
                <c:pt idx="19585">
                  <c:v>-8.4033613445377799E-4</c:v>
                </c:pt>
                <c:pt idx="19586">
                  <c:v>-8.4033613445377799E-4</c:v>
                </c:pt>
                <c:pt idx="19587">
                  <c:v>-8.4033613445377799E-4</c:v>
                </c:pt>
                <c:pt idx="19588">
                  <c:v>-8.4033613445377799E-4</c:v>
                </c:pt>
                <c:pt idx="19589">
                  <c:v>-1.6806722689075499E-3</c:v>
                </c:pt>
                <c:pt idx="19590">
                  <c:v>-1.6806722689075499E-3</c:v>
                </c:pt>
                <c:pt idx="19591">
                  <c:v>-1.6806722689075499E-3</c:v>
                </c:pt>
                <c:pt idx="19592">
                  <c:v>-1.6806722689075499E-3</c:v>
                </c:pt>
                <c:pt idx="19593">
                  <c:v>-1.6806722689075499E-3</c:v>
                </c:pt>
                <c:pt idx="19594">
                  <c:v>-1.6806722689075499E-3</c:v>
                </c:pt>
                <c:pt idx="19595">
                  <c:v>-1.6806722689075499E-3</c:v>
                </c:pt>
                <c:pt idx="19596">
                  <c:v>-1.6806722689075499E-3</c:v>
                </c:pt>
                <c:pt idx="19597">
                  <c:v>-1.6806722689075499E-3</c:v>
                </c:pt>
                <c:pt idx="19598">
                  <c:v>-1.6806722689075499E-3</c:v>
                </c:pt>
                <c:pt idx="19599">
                  <c:v>-1.6806722689075499E-3</c:v>
                </c:pt>
                <c:pt idx="19600">
                  <c:v>-1.6806722689075499E-3</c:v>
                </c:pt>
                <c:pt idx="19601">
                  <c:v>-1.6806722689075499E-3</c:v>
                </c:pt>
                <c:pt idx="19602">
                  <c:v>-1.6806722689075499E-3</c:v>
                </c:pt>
                <c:pt idx="19603">
                  <c:v>-1.6806722689075499E-3</c:v>
                </c:pt>
                <c:pt idx="19604">
                  <c:v>-1.6806722689075499E-3</c:v>
                </c:pt>
                <c:pt idx="19605">
                  <c:v>-1.6806722689075499E-3</c:v>
                </c:pt>
                <c:pt idx="19606">
                  <c:v>-1.6806722689075499E-3</c:v>
                </c:pt>
                <c:pt idx="19607">
                  <c:v>-1.6806722689075499E-3</c:v>
                </c:pt>
                <c:pt idx="19608">
                  <c:v>-1.6806722689075499E-3</c:v>
                </c:pt>
                <c:pt idx="19609">
                  <c:v>-1.6806722689075499E-3</c:v>
                </c:pt>
                <c:pt idx="19610">
                  <c:v>-1.6806722689075499E-3</c:v>
                </c:pt>
                <c:pt idx="19611">
                  <c:v>-8.4033613445377799E-4</c:v>
                </c:pt>
                <c:pt idx="19612">
                  <c:v>-8.4033613445377799E-4</c:v>
                </c:pt>
                <c:pt idx="19613">
                  <c:v>-8.4033613445377799E-4</c:v>
                </c:pt>
                <c:pt idx="19614">
                  <c:v>-8.4033613445377799E-4</c:v>
                </c:pt>
                <c:pt idx="19615">
                  <c:v>-8.4033613445377799E-4</c:v>
                </c:pt>
                <c:pt idx="19616">
                  <c:v>-8.4033613445377799E-4</c:v>
                </c:pt>
                <c:pt idx="19617">
                  <c:v>-8.4033613445377799E-4</c:v>
                </c:pt>
                <c:pt idx="19618">
                  <c:v>-8.4033613445377799E-4</c:v>
                </c:pt>
                <c:pt idx="19619">
                  <c:v>-8.4033613445377799E-4</c:v>
                </c:pt>
                <c:pt idx="19620">
                  <c:v>-8.4033613445377799E-4</c:v>
                </c:pt>
                <c:pt idx="19621">
                  <c:v>-8.4033613445377799E-4</c:v>
                </c:pt>
                <c:pt idx="19622">
                  <c:v>-8.4033613445377799E-4</c:v>
                </c:pt>
                <c:pt idx="19623">
                  <c:v>-8.4033613445377799E-4</c:v>
                </c:pt>
                <c:pt idx="19624">
                  <c:v>-8.4033613445377799E-4</c:v>
                </c:pt>
                <c:pt idx="19625">
                  <c:v>-8.4033613445377799E-4</c:v>
                </c:pt>
                <c:pt idx="19626">
                  <c:v>-8.4033613445377799E-4</c:v>
                </c:pt>
                <c:pt idx="19627">
                  <c:v>-8.4033613445377799E-4</c:v>
                </c:pt>
                <c:pt idx="19628">
                  <c:v>-8.4033613445377799E-4</c:v>
                </c:pt>
                <c:pt idx="19629">
                  <c:v>-8.4033613445377799E-4</c:v>
                </c:pt>
                <c:pt idx="19630">
                  <c:v>-8.4033613445377799E-4</c:v>
                </c:pt>
                <c:pt idx="19631">
                  <c:v>-8.4033613445377799E-4</c:v>
                </c:pt>
                <c:pt idx="19632">
                  <c:v>-8.4033613445377799E-4</c:v>
                </c:pt>
                <c:pt idx="19633">
                  <c:v>-8.4033613445377799E-4</c:v>
                </c:pt>
                <c:pt idx="19634">
                  <c:v>-8.4033613445377799E-4</c:v>
                </c:pt>
                <c:pt idx="19635">
                  <c:v>-8.4033613445377799E-4</c:v>
                </c:pt>
                <c:pt idx="19636">
                  <c:v>-8.4033613445377799E-4</c:v>
                </c:pt>
                <c:pt idx="19637">
                  <c:v>-8.4033613445377799E-4</c:v>
                </c:pt>
                <c:pt idx="19638">
                  <c:v>-8.4033613445377799E-4</c:v>
                </c:pt>
                <c:pt idx="19639">
                  <c:v>-8.4033613445377799E-4</c:v>
                </c:pt>
                <c:pt idx="19640">
                  <c:v>-8.4033613445377799E-4</c:v>
                </c:pt>
                <c:pt idx="19641">
                  <c:v>-8.4033613445377799E-4</c:v>
                </c:pt>
                <c:pt idx="19642">
                  <c:v>-8.4033613445377799E-4</c:v>
                </c:pt>
                <c:pt idx="19643">
                  <c:v>-8.4033613445377799E-4</c:v>
                </c:pt>
                <c:pt idx="19644">
                  <c:v>-8.4033613445377799E-4</c:v>
                </c:pt>
                <c:pt idx="19645">
                  <c:v>-8.4033613445377799E-4</c:v>
                </c:pt>
                <c:pt idx="19646">
                  <c:v>-8.4033613445377799E-4</c:v>
                </c:pt>
                <c:pt idx="19647">
                  <c:v>-8.4033613445377799E-4</c:v>
                </c:pt>
                <c:pt idx="19648">
                  <c:v>-8.4033613445377799E-4</c:v>
                </c:pt>
                <c:pt idx="19649">
                  <c:v>-8.4033613445377799E-4</c:v>
                </c:pt>
                <c:pt idx="19650">
                  <c:v>-8.4033613445377799E-4</c:v>
                </c:pt>
                <c:pt idx="19651">
                  <c:v>-8.4033613445377799E-4</c:v>
                </c:pt>
                <c:pt idx="19652">
                  <c:v>-8.4033613445377799E-4</c:v>
                </c:pt>
                <c:pt idx="19653">
                  <c:v>-8.4033613445377799E-4</c:v>
                </c:pt>
                <c:pt idx="19654">
                  <c:v>-8.4033613445377799E-4</c:v>
                </c:pt>
                <c:pt idx="19655">
                  <c:v>-8.4033613445377799E-4</c:v>
                </c:pt>
                <c:pt idx="19656">
                  <c:v>-8.4033613445377799E-4</c:v>
                </c:pt>
                <c:pt idx="19657">
                  <c:v>-8.4033613445377799E-4</c:v>
                </c:pt>
                <c:pt idx="19658">
                  <c:v>-8.4033613445377799E-4</c:v>
                </c:pt>
                <c:pt idx="19659">
                  <c:v>-8.4033613445377799E-4</c:v>
                </c:pt>
                <c:pt idx="19660">
                  <c:v>-8.4033613445377799E-4</c:v>
                </c:pt>
                <c:pt idx="19661">
                  <c:v>-8.4033613445377799E-4</c:v>
                </c:pt>
                <c:pt idx="19662">
                  <c:v>-8.4033613445377799E-4</c:v>
                </c:pt>
                <c:pt idx="19663">
                  <c:v>-8.4033613445377799E-4</c:v>
                </c:pt>
                <c:pt idx="19664">
                  <c:v>-8.4033613445377799E-4</c:v>
                </c:pt>
                <c:pt idx="19665">
                  <c:v>-8.4033613445377799E-4</c:v>
                </c:pt>
                <c:pt idx="19666">
                  <c:v>-8.4033613445377799E-4</c:v>
                </c:pt>
                <c:pt idx="19667">
                  <c:v>-8.4033613445377799E-4</c:v>
                </c:pt>
                <c:pt idx="19668">
                  <c:v>-8.4033613445377799E-4</c:v>
                </c:pt>
                <c:pt idx="19669">
                  <c:v>-8.4033613445377799E-4</c:v>
                </c:pt>
                <c:pt idx="19670">
                  <c:v>0</c:v>
                </c:pt>
                <c:pt idx="19671">
                  <c:v>0</c:v>
                </c:pt>
                <c:pt idx="19672">
                  <c:v>0</c:v>
                </c:pt>
                <c:pt idx="19673">
                  <c:v>0</c:v>
                </c:pt>
                <c:pt idx="19674">
                  <c:v>0</c:v>
                </c:pt>
                <c:pt idx="19675">
                  <c:v>0</c:v>
                </c:pt>
                <c:pt idx="19676">
                  <c:v>0</c:v>
                </c:pt>
                <c:pt idx="19677">
                  <c:v>0</c:v>
                </c:pt>
                <c:pt idx="19678">
                  <c:v>8.4033613445377799E-4</c:v>
                </c:pt>
                <c:pt idx="19679">
                  <c:v>1.6806722689075499E-3</c:v>
                </c:pt>
                <c:pt idx="19680">
                  <c:v>1.6806722689075499E-3</c:v>
                </c:pt>
                <c:pt idx="19681">
                  <c:v>1.6806722689075499E-3</c:v>
                </c:pt>
                <c:pt idx="19682">
                  <c:v>1.6806722689075499E-3</c:v>
                </c:pt>
                <c:pt idx="19683">
                  <c:v>1.6806722689075499E-3</c:v>
                </c:pt>
                <c:pt idx="19684">
                  <c:v>1.6806722689075499E-3</c:v>
                </c:pt>
                <c:pt idx="19685">
                  <c:v>1.6806722689075499E-3</c:v>
                </c:pt>
                <c:pt idx="19686">
                  <c:v>1.6806722689075499E-3</c:v>
                </c:pt>
                <c:pt idx="19687">
                  <c:v>2.5210084033613299E-3</c:v>
                </c:pt>
                <c:pt idx="19688">
                  <c:v>2.5210084033613299E-3</c:v>
                </c:pt>
                <c:pt idx="19689">
                  <c:v>2.5210084033613299E-3</c:v>
                </c:pt>
                <c:pt idx="19690">
                  <c:v>2.5210084033613299E-3</c:v>
                </c:pt>
                <c:pt idx="19691">
                  <c:v>2.5210084033613299E-3</c:v>
                </c:pt>
                <c:pt idx="19692">
                  <c:v>2.5210084033613299E-3</c:v>
                </c:pt>
                <c:pt idx="19693">
                  <c:v>2.5210084033613299E-3</c:v>
                </c:pt>
                <c:pt idx="19694">
                  <c:v>2.5210084033613299E-3</c:v>
                </c:pt>
                <c:pt idx="19695">
                  <c:v>2.5210084033613299E-3</c:v>
                </c:pt>
                <c:pt idx="19696">
                  <c:v>2.5210084033613299E-3</c:v>
                </c:pt>
                <c:pt idx="19697">
                  <c:v>2.5210084033613299E-3</c:v>
                </c:pt>
                <c:pt idx="19698">
                  <c:v>2.5210084033613299E-3</c:v>
                </c:pt>
                <c:pt idx="19699">
                  <c:v>2.5210084033613299E-3</c:v>
                </c:pt>
                <c:pt idx="19700">
                  <c:v>2.5210084033613299E-3</c:v>
                </c:pt>
                <c:pt idx="19701">
                  <c:v>2.5210084033613299E-3</c:v>
                </c:pt>
                <c:pt idx="19702">
                  <c:v>2.5210084033613299E-3</c:v>
                </c:pt>
                <c:pt idx="19703">
                  <c:v>2.5210084033613299E-3</c:v>
                </c:pt>
                <c:pt idx="19704">
                  <c:v>2.5210084033613299E-3</c:v>
                </c:pt>
                <c:pt idx="19705">
                  <c:v>2.5210084033613299E-3</c:v>
                </c:pt>
                <c:pt idx="19706">
                  <c:v>3.3613445378151102E-3</c:v>
                </c:pt>
                <c:pt idx="19707">
                  <c:v>3.3613445378151102E-3</c:v>
                </c:pt>
                <c:pt idx="19708">
                  <c:v>3.3613445378151102E-3</c:v>
                </c:pt>
                <c:pt idx="19709">
                  <c:v>3.3613445378151102E-3</c:v>
                </c:pt>
                <c:pt idx="19710">
                  <c:v>3.3613445378151102E-3</c:v>
                </c:pt>
                <c:pt idx="19711">
                  <c:v>3.3613445378151102E-3</c:v>
                </c:pt>
                <c:pt idx="19712">
                  <c:v>3.3613445378151102E-3</c:v>
                </c:pt>
                <c:pt idx="19713">
                  <c:v>3.3613445378151102E-3</c:v>
                </c:pt>
                <c:pt idx="19714">
                  <c:v>3.3613445378151102E-3</c:v>
                </c:pt>
                <c:pt idx="19715">
                  <c:v>3.3613445378151102E-3</c:v>
                </c:pt>
                <c:pt idx="19716">
                  <c:v>3.3613445378151102E-3</c:v>
                </c:pt>
                <c:pt idx="19717">
                  <c:v>3.3613445378151102E-3</c:v>
                </c:pt>
                <c:pt idx="19718">
                  <c:v>3.3613445378151102E-3</c:v>
                </c:pt>
                <c:pt idx="19719">
                  <c:v>3.3613445378151102E-3</c:v>
                </c:pt>
                <c:pt idx="19720">
                  <c:v>3.3613445378151102E-3</c:v>
                </c:pt>
                <c:pt idx="19721">
                  <c:v>3.3613445378151102E-3</c:v>
                </c:pt>
                <c:pt idx="19722">
                  <c:v>3.3613445378151102E-3</c:v>
                </c:pt>
                <c:pt idx="19723">
                  <c:v>3.3613445378151102E-3</c:v>
                </c:pt>
                <c:pt idx="19724">
                  <c:v>2.5210084033613299E-3</c:v>
                </c:pt>
                <c:pt idx="19725">
                  <c:v>2.5210084033613299E-3</c:v>
                </c:pt>
                <c:pt idx="19726">
                  <c:v>2.5210084033613299E-3</c:v>
                </c:pt>
                <c:pt idx="19727">
                  <c:v>2.5210084033613299E-3</c:v>
                </c:pt>
                <c:pt idx="19728">
                  <c:v>2.5210084033613299E-3</c:v>
                </c:pt>
                <c:pt idx="19729">
                  <c:v>2.5210084033613299E-3</c:v>
                </c:pt>
                <c:pt idx="19730">
                  <c:v>2.5210084033613299E-3</c:v>
                </c:pt>
                <c:pt idx="19731">
                  <c:v>2.5210084033613299E-3</c:v>
                </c:pt>
                <c:pt idx="19732">
                  <c:v>2.5210084033613299E-3</c:v>
                </c:pt>
                <c:pt idx="19733">
                  <c:v>3.3613445378151102E-3</c:v>
                </c:pt>
                <c:pt idx="19734">
                  <c:v>3.3613445378151102E-3</c:v>
                </c:pt>
                <c:pt idx="19735">
                  <c:v>3.3613445378151102E-3</c:v>
                </c:pt>
                <c:pt idx="19736">
                  <c:v>3.3613445378151102E-3</c:v>
                </c:pt>
                <c:pt idx="19737">
                  <c:v>3.3613445378151102E-3</c:v>
                </c:pt>
                <c:pt idx="19738">
                  <c:v>3.3613445378151102E-3</c:v>
                </c:pt>
                <c:pt idx="19739">
                  <c:v>3.3613445378151102E-3</c:v>
                </c:pt>
                <c:pt idx="19740">
                  <c:v>3.3613445378151102E-3</c:v>
                </c:pt>
                <c:pt idx="19741">
                  <c:v>3.3613445378151102E-3</c:v>
                </c:pt>
                <c:pt idx="19742">
                  <c:v>2.5210084033613299E-3</c:v>
                </c:pt>
                <c:pt idx="19743">
                  <c:v>2.5210084033613299E-3</c:v>
                </c:pt>
                <c:pt idx="19744">
                  <c:v>2.5210084033613299E-3</c:v>
                </c:pt>
                <c:pt idx="19745">
                  <c:v>2.5210084033613299E-3</c:v>
                </c:pt>
                <c:pt idx="19746">
                  <c:v>2.5210084033613299E-3</c:v>
                </c:pt>
                <c:pt idx="19747">
                  <c:v>2.5210084033613299E-3</c:v>
                </c:pt>
                <c:pt idx="19748">
                  <c:v>2.5210084033613299E-3</c:v>
                </c:pt>
                <c:pt idx="19749">
                  <c:v>2.5210084033613299E-3</c:v>
                </c:pt>
                <c:pt idx="19750">
                  <c:v>2.5210084033613299E-3</c:v>
                </c:pt>
                <c:pt idx="19751">
                  <c:v>2.5210084033613299E-3</c:v>
                </c:pt>
                <c:pt idx="19752">
                  <c:v>2.5210084033613299E-3</c:v>
                </c:pt>
                <c:pt idx="19753">
                  <c:v>2.5210084033613299E-3</c:v>
                </c:pt>
                <c:pt idx="19754">
                  <c:v>2.5210084033613299E-3</c:v>
                </c:pt>
                <c:pt idx="19755">
                  <c:v>2.5210084033613299E-3</c:v>
                </c:pt>
                <c:pt idx="19756">
                  <c:v>2.5210084033613299E-3</c:v>
                </c:pt>
                <c:pt idx="19757">
                  <c:v>2.5210084033613299E-3</c:v>
                </c:pt>
                <c:pt idx="19758">
                  <c:v>2.5210084033613299E-3</c:v>
                </c:pt>
                <c:pt idx="19759">
                  <c:v>2.5210084033613299E-3</c:v>
                </c:pt>
                <c:pt idx="19760">
                  <c:v>2.5210084033613299E-3</c:v>
                </c:pt>
                <c:pt idx="19761">
                  <c:v>2.5210084033613299E-3</c:v>
                </c:pt>
                <c:pt idx="19762">
                  <c:v>2.5210084033613299E-3</c:v>
                </c:pt>
                <c:pt idx="19763">
                  <c:v>2.5210084033613299E-3</c:v>
                </c:pt>
                <c:pt idx="19764">
                  <c:v>2.5210084033613299E-3</c:v>
                </c:pt>
                <c:pt idx="19765">
                  <c:v>2.5210084033613299E-3</c:v>
                </c:pt>
                <c:pt idx="19766">
                  <c:v>2.5210084033613299E-3</c:v>
                </c:pt>
                <c:pt idx="19767">
                  <c:v>2.5210084033613299E-3</c:v>
                </c:pt>
                <c:pt idx="19768">
                  <c:v>2.5210084033613299E-3</c:v>
                </c:pt>
                <c:pt idx="19769">
                  <c:v>2.5210084033613299E-3</c:v>
                </c:pt>
                <c:pt idx="19770">
                  <c:v>2.5210084033613299E-3</c:v>
                </c:pt>
                <c:pt idx="19771">
                  <c:v>2.5210084033613299E-3</c:v>
                </c:pt>
                <c:pt idx="19772">
                  <c:v>2.5210084033613299E-3</c:v>
                </c:pt>
                <c:pt idx="19773">
                  <c:v>2.5210084033613299E-3</c:v>
                </c:pt>
                <c:pt idx="19774">
                  <c:v>2.5210084033613299E-3</c:v>
                </c:pt>
                <c:pt idx="19775">
                  <c:v>2.5210084033613299E-3</c:v>
                </c:pt>
                <c:pt idx="19776">
                  <c:v>2.5210084033613299E-3</c:v>
                </c:pt>
                <c:pt idx="19777">
                  <c:v>1.6806722689075499E-3</c:v>
                </c:pt>
                <c:pt idx="19778">
                  <c:v>1.6806722689075499E-3</c:v>
                </c:pt>
                <c:pt idx="19779">
                  <c:v>1.6806722689075499E-3</c:v>
                </c:pt>
                <c:pt idx="19780">
                  <c:v>1.6806722689075499E-3</c:v>
                </c:pt>
                <c:pt idx="19781">
                  <c:v>1.6806722689075499E-3</c:v>
                </c:pt>
                <c:pt idx="19782">
                  <c:v>1.6806722689075499E-3</c:v>
                </c:pt>
                <c:pt idx="19783">
                  <c:v>1.6806722689075499E-3</c:v>
                </c:pt>
                <c:pt idx="19784">
                  <c:v>1.6806722689075499E-3</c:v>
                </c:pt>
                <c:pt idx="19785">
                  <c:v>1.6806722689075499E-3</c:v>
                </c:pt>
                <c:pt idx="19786">
                  <c:v>1.6806722689075499E-3</c:v>
                </c:pt>
                <c:pt idx="19787">
                  <c:v>1.6806722689075499E-3</c:v>
                </c:pt>
                <c:pt idx="19788">
                  <c:v>1.6806722689075499E-3</c:v>
                </c:pt>
                <c:pt idx="19789">
                  <c:v>1.6806722689075499E-3</c:v>
                </c:pt>
                <c:pt idx="19790">
                  <c:v>1.6806722689075499E-3</c:v>
                </c:pt>
                <c:pt idx="19791">
                  <c:v>1.6806722689075499E-3</c:v>
                </c:pt>
                <c:pt idx="19792">
                  <c:v>1.6806722689075499E-3</c:v>
                </c:pt>
                <c:pt idx="19793">
                  <c:v>1.6806722689075499E-3</c:v>
                </c:pt>
                <c:pt idx="19794">
                  <c:v>1.6806722689075499E-3</c:v>
                </c:pt>
                <c:pt idx="19795">
                  <c:v>1.6806722689075499E-3</c:v>
                </c:pt>
                <c:pt idx="19796">
                  <c:v>1.6806722689075499E-3</c:v>
                </c:pt>
                <c:pt idx="19797">
                  <c:v>1.6806722689075499E-3</c:v>
                </c:pt>
                <c:pt idx="19798">
                  <c:v>1.6806722689075499E-3</c:v>
                </c:pt>
                <c:pt idx="19799">
                  <c:v>1.6806722689075499E-3</c:v>
                </c:pt>
                <c:pt idx="19800">
                  <c:v>1.6806722689075499E-3</c:v>
                </c:pt>
                <c:pt idx="19801">
                  <c:v>1.6806722689075499E-3</c:v>
                </c:pt>
                <c:pt idx="19802">
                  <c:v>1.6806722689075499E-3</c:v>
                </c:pt>
                <c:pt idx="19803">
                  <c:v>1.6806722689075499E-3</c:v>
                </c:pt>
                <c:pt idx="19804">
                  <c:v>1.6806722689075499E-3</c:v>
                </c:pt>
                <c:pt idx="19805">
                  <c:v>1.6806722689075499E-3</c:v>
                </c:pt>
                <c:pt idx="19806">
                  <c:v>1.6806722689075499E-3</c:v>
                </c:pt>
                <c:pt idx="19807">
                  <c:v>1.6806722689075499E-3</c:v>
                </c:pt>
                <c:pt idx="19808">
                  <c:v>1.6806722689075499E-3</c:v>
                </c:pt>
                <c:pt idx="19809">
                  <c:v>1.6806722689075499E-3</c:v>
                </c:pt>
                <c:pt idx="19810">
                  <c:v>1.6806722689075499E-3</c:v>
                </c:pt>
                <c:pt idx="19811">
                  <c:v>1.6806722689075499E-3</c:v>
                </c:pt>
                <c:pt idx="19812">
                  <c:v>1.6806722689075499E-3</c:v>
                </c:pt>
                <c:pt idx="19813">
                  <c:v>1.6806722689075499E-3</c:v>
                </c:pt>
                <c:pt idx="19814">
                  <c:v>1.6806722689075499E-3</c:v>
                </c:pt>
                <c:pt idx="19815">
                  <c:v>1.6806722689075499E-3</c:v>
                </c:pt>
                <c:pt idx="19816">
                  <c:v>8.4033613445377799E-4</c:v>
                </c:pt>
                <c:pt idx="19817">
                  <c:v>8.4033613445377799E-4</c:v>
                </c:pt>
                <c:pt idx="19818">
                  <c:v>8.4033613445377799E-4</c:v>
                </c:pt>
                <c:pt idx="19819">
                  <c:v>8.4033613445377799E-4</c:v>
                </c:pt>
                <c:pt idx="19820">
                  <c:v>8.4033613445377799E-4</c:v>
                </c:pt>
                <c:pt idx="19821">
                  <c:v>8.4033613445377799E-4</c:v>
                </c:pt>
                <c:pt idx="19822">
                  <c:v>8.4033613445377799E-4</c:v>
                </c:pt>
                <c:pt idx="19823">
                  <c:v>8.4033613445377799E-4</c:v>
                </c:pt>
                <c:pt idx="19824">
                  <c:v>8.4033613445377799E-4</c:v>
                </c:pt>
                <c:pt idx="19825">
                  <c:v>8.4033613445377799E-4</c:v>
                </c:pt>
                <c:pt idx="19826">
                  <c:v>8.4033613445377799E-4</c:v>
                </c:pt>
                <c:pt idx="19827">
                  <c:v>8.4033613445377799E-4</c:v>
                </c:pt>
                <c:pt idx="19828">
                  <c:v>1.6806722689075499E-3</c:v>
                </c:pt>
                <c:pt idx="19829">
                  <c:v>1.6806722689075499E-3</c:v>
                </c:pt>
                <c:pt idx="19830">
                  <c:v>1.6806722689075499E-3</c:v>
                </c:pt>
                <c:pt idx="19831">
                  <c:v>1.6806722689075499E-3</c:v>
                </c:pt>
                <c:pt idx="19832">
                  <c:v>1.6806722689075499E-3</c:v>
                </c:pt>
                <c:pt idx="19833">
                  <c:v>8.4033613445377799E-4</c:v>
                </c:pt>
                <c:pt idx="19834">
                  <c:v>8.4033613445377799E-4</c:v>
                </c:pt>
                <c:pt idx="19835">
                  <c:v>8.4033613445377799E-4</c:v>
                </c:pt>
                <c:pt idx="19836">
                  <c:v>8.4033613445377799E-4</c:v>
                </c:pt>
                <c:pt idx="19837">
                  <c:v>8.4033613445377799E-4</c:v>
                </c:pt>
                <c:pt idx="19838">
                  <c:v>8.4033613445377799E-4</c:v>
                </c:pt>
                <c:pt idx="19839">
                  <c:v>8.4033613445377799E-4</c:v>
                </c:pt>
                <c:pt idx="19840">
                  <c:v>8.4033613445377799E-4</c:v>
                </c:pt>
                <c:pt idx="19841">
                  <c:v>8.4033613445377799E-4</c:v>
                </c:pt>
                <c:pt idx="19842">
                  <c:v>8.4033613445377799E-4</c:v>
                </c:pt>
                <c:pt idx="19843">
                  <c:v>8.4033613445377799E-4</c:v>
                </c:pt>
                <c:pt idx="19844">
                  <c:v>8.4033613445377799E-4</c:v>
                </c:pt>
                <c:pt idx="19845">
                  <c:v>8.4033613445377799E-4</c:v>
                </c:pt>
                <c:pt idx="19846">
                  <c:v>8.4033613445377799E-4</c:v>
                </c:pt>
                <c:pt idx="19847">
                  <c:v>8.4033613445377799E-4</c:v>
                </c:pt>
                <c:pt idx="19848">
                  <c:v>8.4033613445377799E-4</c:v>
                </c:pt>
                <c:pt idx="19849">
                  <c:v>8.4033613445377799E-4</c:v>
                </c:pt>
                <c:pt idx="19850">
                  <c:v>8.4033613445377799E-4</c:v>
                </c:pt>
                <c:pt idx="19851">
                  <c:v>8.4033613445377799E-4</c:v>
                </c:pt>
                <c:pt idx="19852">
                  <c:v>8.4033613445377799E-4</c:v>
                </c:pt>
                <c:pt idx="19853">
                  <c:v>8.4033613445377799E-4</c:v>
                </c:pt>
                <c:pt idx="19854">
                  <c:v>8.4033613445377799E-4</c:v>
                </c:pt>
                <c:pt idx="19855">
                  <c:v>8.4033613445377799E-4</c:v>
                </c:pt>
                <c:pt idx="19856">
                  <c:v>8.4033613445377799E-4</c:v>
                </c:pt>
                <c:pt idx="19857">
                  <c:v>8.4033613445377799E-4</c:v>
                </c:pt>
                <c:pt idx="19858">
                  <c:v>8.4033613445377799E-4</c:v>
                </c:pt>
                <c:pt idx="19859">
                  <c:v>8.4033613445377799E-4</c:v>
                </c:pt>
                <c:pt idx="19860">
                  <c:v>8.4033613445377799E-4</c:v>
                </c:pt>
                <c:pt idx="19861">
                  <c:v>8.4033613445377799E-4</c:v>
                </c:pt>
                <c:pt idx="19862">
                  <c:v>8.4033613445377799E-4</c:v>
                </c:pt>
                <c:pt idx="19863">
                  <c:v>8.4033613445377799E-4</c:v>
                </c:pt>
                <c:pt idx="19864">
                  <c:v>8.4033613445377799E-4</c:v>
                </c:pt>
                <c:pt idx="19865">
                  <c:v>8.4033613445377799E-4</c:v>
                </c:pt>
                <c:pt idx="19866">
                  <c:v>8.4033613445377799E-4</c:v>
                </c:pt>
                <c:pt idx="19867">
                  <c:v>8.4033613445377799E-4</c:v>
                </c:pt>
                <c:pt idx="19868">
                  <c:v>8.4033613445377799E-4</c:v>
                </c:pt>
                <c:pt idx="19869">
                  <c:v>1.6806722689075499E-3</c:v>
                </c:pt>
                <c:pt idx="19870">
                  <c:v>1.6806722689075499E-3</c:v>
                </c:pt>
                <c:pt idx="19871">
                  <c:v>1.6806722689075499E-3</c:v>
                </c:pt>
                <c:pt idx="19872">
                  <c:v>1.6806722689075499E-3</c:v>
                </c:pt>
                <c:pt idx="19873">
                  <c:v>1.6806722689075499E-3</c:v>
                </c:pt>
                <c:pt idx="19874">
                  <c:v>1.6806722689075499E-3</c:v>
                </c:pt>
                <c:pt idx="19875">
                  <c:v>1.6806722689075499E-3</c:v>
                </c:pt>
                <c:pt idx="19876">
                  <c:v>1.6806722689075499E-3</c:v>
                </c:pt>
                <c:pt idx="19877">
                  <c:v>1.6806722689075499E-3</c:v>
                </c:pt>
                <c:pt idx="19878">
                  <c:v>1.6806722689075499E-3</c:v>
                </c:pt>
                <c:pt idx="19879">
                  <c:v>1.6806722689075499E-3</c:v>
                </c:pt>
                <c:pt idx="19880">
                  <c:v>1.6806722689075499E-3</c:v>
                </c:pt>
                <c:pt idx="19881">
                  <c:v>1.6806722689075499E-3</c:v>
                </c:pt>
                <c:pt idx="19882">
                  <c:v>1.6806722689075499E-3</c:v>
                </c:pt>
                <c:pt idx="19883">
                  <c:v>1.6806722689075499E-3</c:v>
                </c:pt>
                <c:pt idx="19884">
                  <c:v>1.6806722689075499E-3</c:v>
                </c:pt>
                <c:pt idx="19885">
                  <c:v>1.6806722689075499E-3</c:v>
                </c:pt>
                <c:pt idx="19886">
                  <c:v>1.6806722689075499E-3</c:v>
                </c:pt>
                <c:pt idx="19887">
                  <c:v>1.6806722689075499E-3</c:v>
                </c:pt>
                <c:pt idx="19888">
                  <c:v>1.6806722689075499E-3</c:v>
                </c:pt>
                <c:pt idx="19889">
                  <c:v>1.6806722689075499E-3</c:v>
                </c:pt>
                <c:pt idx="19890">
                  <c:v>1.6806722689075499E-3</c:v>
                </c:pt>
                <c:pt idx="19891">
                  <c:v>1.6806722689075499E-3</c:v>
                </c:pt>
                <c:pt idx="19892">
                  <c:v>1.6806722689075499E-3</c:v>
                </c:pt>
                <c:pt idx="19893">
                  <c:v>1.6806722689075499E-3</c:v>
                </c:pt>
                <c:pt idx="19894">
                  <c:v>1.6806722689075499E-3</c:v>
                </c:pt>
                <c:pt idx="19895">
                  <c:v>1.6806722689075499E-3</c:v>
                </c:pt>
                <c:pt idx="19896">
                  <c:v>1.6806722689075499E-3</c:v>
                </c:pt>
                <c:pt idx="19897">
                  <c:v>1.6806722689075499E-3</c:v>
                </c:pt>
                <c:pt idx="19898">
                  <c:v>1.6806722689075499E-3</c:v>
                </c:pt>
                <c:pt idx="19899">
                  <c:v>1.6806722689075499E-3</c:v>
                </c:pt>
                <c:pt idx="19900">
                  <c:v>1.6806722689075499E-3</c:v>
                </c:pt>
                <c:pt idx="19901">
                  <c:v>1.6806722689075499E-3</c:v>
                </c:pt>
                <c:pt idx="19902">
                  <c:v>1.6806722689075499E-3</c:v>
                </c:pt>
                <c:pt idx="19903">
                  <c:v>1.6806722689075499E-3</c:v>
                </c:pt>
                <c:pt idx="19904">
                  <c:v>1.6806722689075499E-3</c:v>
                </c:pt>
                <c:pt idx="19905">
                  <c:v>1.6806722689075499E-3</c:v>
                </c:pt>
                <c:pt idx="19906">
                  <c:v>1.6806722689075499E-3</c:v>
                </c:pt>
                <c:pt idx="19907">
                  <c:v>1.6806722689075499E-3</c:v>
                </c:pt>
                <c:pt idx="19908">
                  <c:v>1.6806722689075499E-3</c:v>
                </c:pt>
                <c:pt idx="19909">
                  <c:v>1.6806722689075499E-3</c:v>
                </c:pt>
                <c:pt idx="19910">
                  <c:v>1.6806722689075499E-3</c:v>
                </c:pt>
                <c:pt idx="19911">
                  <c:v>1.6806722689075499E-3</c:v>
                </c:pt>
                <c:pt idx="19912">
                  <c:v>1.6806722689075499E-3</c:v>
                </c:pt>
                <c:pt idx="19913">
                  <c:v>1.6806722689075499E-3</c:v>
                </c:pt>
                <c:pt idx="19914">
                  <c:v>1.6806722689075499E-3</c:v>
                </c:pt>
                <c:pt idx="19915">
                  <c:v>1.6806722689075499E-3</c:v>
                </c:pt>
                <c:pt idx="19916">
                  <c:v>1.6806722689075499E-3</c:v>
                </c:pt>
                <c:pt idx="19917">
                  <c:v>1.6806722689075499E-3</c:v>
                </c:pt>
                <c:pt idx="19918">
                  <c:v>8.4033613445377799E-4</c:v>
                </c:pt>
                <c:pt idx="19919">
                  <c:v>8.4033613445377799E-4</c:v>
                </c:pt>
                <c:pt idx="19920">
                  <c:v>8.4033613445377799E-4</c:v>
                </c:pt>
                <c:pt idx="19921">
                  <c:v>8.4033613445377799E-4</c:v>
                </c:pt>
                <c:pt idx="19922">
                  <c:v>8.4033613445377799E-4</c:v>
                </c:pt>
                <c:pt idx="19923">
                  <c:v>8.4033613445377799E-4</c:v>
                </c:pt>
                <c:pt idx="19924">
                  <c:v>8.4033613445377799E-4</c:v>
                </c:pt>
                <c:pt idx="19925">
                  <c:v>8.4033613445377799E-4</c:v>
                </c:pt>
                <c:pt idx="19926">
                  <c:v>8.4033613445377799E-4</c:v>
                </c:pt>
                <c:pt idx="19927">
                  <c:v>8.4033613445377799E-4</c:v>
                </c:pt>
                <c:pt idx="19928">
                  <c:v>8.4033613445377799E-4</c:v>
                </c:pt>
                <c:pt idx="19929">
                  <c:v>8.4033613445377799E-4</c:v>
                </c:pt>
                <c:pt idx="19930">
                  <c:v>8.4033613445377799E-4</c:v>
                </c:pt>
                <c:pt idx="19931">
                  <c:v>8.4033613445377799E-4</c:v>
                </c:pt>
                <c:pt idx="19932">
                  <c:v>8.4033613445377799E-4</c:v>
                </c:pt>
                <c:pt idx="19933">
                  <c:v>8.4033613445377799E-4</c:v>
                </c:pt>
                <c:pt idx="19934">
                  <c:v>8.4033613445377799E-4</c:v>
                </c:pt>
                <c:pt idx="19935">
                  <c:v>8.4033613445377799E-4</c:v>
                </c:pt>
                <c:pt idx="19936">
                  <c:v>8.4033613445377799E-4</c:v>
                </c:pt>
                <c:pt idx="19937">
                  <c:v>8.4033613445377799E-4</c:v>
                </c:pt>
                <c:pt idx="19938">
                  <c:v>8.4033613445377799E-4</c:v>
                </c:pt>
                <c:pt idx="19939">
                  <c:v>8.4033613445377799E-4</c:v>
                </c:pt>
                <c:pt idx="19940">
                  <c:v>8.4033613445377799E-4</c:v>
                </c:pt>
                <c:pt idx="19941">
                  <c:v>8.4033613445377799E-4</c:v>
                </c:pt>
                <c:pt idx="19942">
                  <c:v>8.4033613445377799E-4</c:v>
                </c:pt>
                <c:pt idx="19943">
                  <c:v>8.4033613445377799E-4</c:v>
                </c:pt>
                <c:pt idx="19944">
                  <c:v>8.4033613445377799E-4</c:v>
                </c:pt>
                <c:pt idx="19945">
                  <c:v>8.4033613445377799E-4</c:v>
                </c:pt>
                <c:pt idx="19946">
                  <c:v>8.4033613445377799E-4</c:v>
                </c:pt>
                <c:pt idx="19947">
                  <c:v>8.4033613445377799E-4</c:v>
                </c:pt>
                <c:pt idx="19948">
                  <c:v>8.4033613445377799E-4</c:v>
                </c:pt>
                <c:pt idx="19949">
                  <c:v>8.4033613445377799E-4</c:v>
                </c:pt>
                <c:pt idx="19950">
                  <c:v>8.4033613445377799E-4</c:v>
                </c:pt>
                <c:pt idx="19951">
                  <c:v>8.4033613445377799E-4</c:v>
                </c:pt>
                <c:pt idx="19952">
                  <c:v>8.4033613445377799E-4</c:v>
                </c:pt>
                <c:pt idx="19953">
                  <c:v>8.4033613445377799E-4</c:v>
                </c:pt>
                <c:pt idx="19954">
                  <c:v>8.4033613445377799E-4</c:v>
                </c:pt>
                <c:pt idx="19955">
                  <c:v>8.4033613445377799E-4</c:v>
                </c:pt>
                <c:pt idx="19956">
                  <c:v>8.4033613445377799E-4</c:v>
                </c:pt>
                <c:pt idx="19957">
                  <c:v>8.4033613445377799E-4</c:v>
                </c:pt>
                <c:pt idx="19958">
                  <c:v>8.4033613445377799E-4</c:v>
                </c:pt>
                <c:pt idx="19959">
                  <c:v>0</c:v>
                </c:pt>
                <c:pt idx="19960">
                  <c:v>0</c:v>
                </c:pt>
                <c:pt idx="19961">
                  <c:v>0</c:v>
                </c:pt>
                <c:pt idx="19962">
                  <c:v>8.4033613445377799E-4</c:v>
                </c:pt>
                <c:pt idx="19963">
                  <c:v>8.4033613445377799E-4</c:v>
                </c:pt>
                <c:pt idx="19964">
                  <c:v>8.4033613445377799E-4</c:v>
                </c:pt>
                <c:pt idx="19965">
                  <c:v>8.4033613445377799E-4</c:v>
                </c:pt>
                <c:pt idx="19966">
                  <c:v>8.4033613445377799E-4</c:v>
                </c:pt>
                <c:pt idx="19967">
                  <c:v>8.4033613445377799E-4</c:v>
                </c:pt>
                <c:pt idx="19968">
                  <c:v>8.4033613445377799E-4</c:v>
                </c:pt>
                <c:pt idx="19969">
                  <c:v>8.4033613445377799E-4</c:v>
                </c:pt>
                <c:pt idx="19970">
                  <c:v>8.4033613445377799E-4</c:v>
                </c:pt>
                <c:pt idx="19971">
                  <c:v>8.4033613445377799E-4</c:v>
                </c:pt>
                <c:pt idx="19972">
                  <c:v>8.4033613445377799E-4</c:v>
                </c:pt>
                <c:pt idx="19973">
                  <c:v>8.4033613445377799E-4</c:v>
                </c:pt>
                <c:pt idx="19974">
                  <c:v>8.4033613445377799E-4</c:v>
                </c:pt>
                <c:pt idx="19975">
                  <c:v>8.4033613445377799E-4</c:v>
                </c:pt>
                <c:pt idx="19976">
                  <c:v>8.4033613445377799E-4</c:v>
                </c:pt>
                <c:pt idx="19977">
                  <c:v>8.4033613445377799E-4</c:v>
                </c:pt>
                <c:pt idx="19978">
                  <c:v>8.4033613445377799E-4</c:v>
                </c:pt>
                <c:pt idx="19979">
                  <c:v>8.4033613445377799E-4</c:v>
                </c:pt>
                <c:pt idx="19980">
                  <c:v>8.4033613445377799E-4</c:v>
                </c:pt>
                <c:pt idx="19981">
                  <c:v>8.4033613445377799E-4</c:v>
                </c:pt>
                <c:pt idx="19982">
                  <c:v>8.4033613445377799E-4</c:v>
                </c:pt>
                <c:pt idx="19983">
                  <c:v>8.4033613445377799E-4</c:v>
                </c:pt>
                <c:pt idx="19984">
                  <c:v>8.4033613445377799E-4</c:v>
                </c:pt>
                <c:pt idx="19985">
                  <c:v>8.4033613445377799E-4</c:v>
                </c:pt>
                <c:pt idx="19986">
                  <c:v>8.4033613445377799E-4</c:v>
                </c:pt>
                <c:pt idx="19987">
                  <c:v>8.4033613445377799E-4</c:v>
                </c:pt>
                <c:pt idx="19988">
                  <c:v>8.4033613445377799E-4</c:v>
                </c:pt>
                <c:pt idx="19989">
                  <c:v>8.4033613445377799E-4</c:v>
                </c:pt>
                <c:pt idx="19990">
                  <c:v>8.4033613445377799E-4</c:v>
                </c:pt>
                <c:pt idx="19991">
                  <c:v>8.4033613445377799E-4</c:v>
                </c:pt>
                <c:pt idx="19992">
                  <c:v>8.4033613445377799E-4</c:v>
                </c:pt>
                <c:pt idx="19993">
                  <c:v>8.4033613445377799E-4</c:v>
                </c:pt>
                <c:pt idx="19994">
                  <c:v>8.4033613445377799E-4</c:v>
                </c:pt>
                <c:pt idx="19995">
                  <c:v>8.4033613445377799E-4</c:v>
                </c:pt>
                <c:pt idx="19996">
                  <c:v>8.4033613445377799E-4</c:v>
                </c:pt>
                <c:pt idx="19997">
                  <c:v>8.4033613445377799E-4</c:v>
                </c:pt>
                <c:pt idx="19998">
                  <c:v>8.4033613445377799E-4</c:v>
                </c:pt>
                <c:pt idx="19999">
                  <c:v>8.4033613445377799E-4</c:v>
                </c:pt>
                <c:pt idx="20000">
                  <c:v>8.4033613445377799E-4</c:v>
                </c:pt>
                <c:pt idx="20001">
                  <c:v>8.4033613445377799E-4</c:v>
                </c:pt>
                <c:pt idx="20002">
                  <c:v>8.4033613445377799E-4</c:v>
                </c:pt>
                <c:pt idx="20003">
                  <c:v>8.4033613445377799E-4</c:v>
                </c:pt>
                <c:pt idx="20004">
                  <c:v>8.4033613445377799E-4</c:v>
                </c:pt>
                <c:pt idx="20005">
                  <c:v>8.4033613445377799E-4</c:v>
                </c:pt>
                <c:pt idx="20006">
                  <c:v>8.4033613445377799E-4</c:v>
                </c:pt>
                <c:pt idx="20007">
                  <c:v>8.4033613445377799E-4</c:v>
                </c:pt>
                <c:pt idx="20008">
                  <c:v>8.4033613445377799E-4</c:v>
                </c:pt>
                <c:pt idx="20009">
                  <c:v>8.4033613445377799E-4</c:v>
                </c:pt>
                <c:pt idx="20010">
                  <c:v>8.4033613445377799E-4</c:v>
                </c:pt>
                <c:pt idx="20011">
                  <c:v>8.4033613445377799E-4</c:v>
                </c:pt>
                <c:pt idx="20012">
                  <c:v>8.4033613445377799E-4</c:v>
                </c:pt>
                <c:pt idx="20013">
                  <c:v>8.4033613445377799E-4</c:v>
                </c:pt>
                <c:pt idx="20014">
                  <c:v>8.4033613445377799E-4</c:v>
                </c:pt>
                <c:pt idx="20015">
                  <c:v>8.4033613445377799E-4</c:v>
                </c:pt>
                <c:pt idx="20016">
                  <c:v>8.4033613445377799E-4</c:v>
                </c:pt>
                <c:pt idx="20017">
                  <c:v>8.4033613445377799E-4</c:v>
                </c:pt>
                <c:pt idx="20018">
                  <c:v>1.6806722689075499E-3</c:v>
                </c:pt>
                <c:pt idx="20019">
                  <c:v>1.6806722689075499E-3</c:v>
                </c:pt>
                <c:pt idx="20020">
                  <c:v>1.6806722689075499E-3</c:v>
                </c:pt>
                <c:pt idx="20021">
                  <c:v>1.6806722689075499E-3</c:v>
                </c:pt>
                <c:pt idx="20022">
                  <c:v>1.6806722689075499E-3</c:v>
                </c:pt>
                <c:pt idx="20023">
                  <c:v>1.6806722689075499E-3</c:v>
                </c:pt>
                <c:pt idx="20024">
                  <c:v>1.6806722689075499E-3</c:v>
                </c:pt>
                <c:pt idx="20025">
                  <c:v>1.6806722689075499E-3</c:v>
                </c:pt>
                <c:pt idx="20026">
                  <c:v>1.6806722689075499E-3</c:v>
                </c:pt>
                <c:pt idx="20027">
                  <c:v>1.6806722689075499E-3</c:v>
                </c:pt>
                <c:pt idx="20028">
                  <c:v>1.6806722689075499E-3</c:v>
                </c:pt>
                <c:pt idx="20029">
                  <c:v>1.6806722689075499E-3</c:v>
                </c:pt>
                <c:pt idx="20030">
                  <c:v>1.6806722689075499E-3</c:v>
                </c:pt>
                <c:pt idx="20031">
                  <c:v>1.6806722689075499E-3</c:v>
                </c:pt>
                <c:pt idx="20032">
                  <c:v>1.6806722689075499E-3</c:v>
                </c:pt>
                <c:pt idx="20033">
                  <c:v>1.6806722689075499E-3</c:v>
                </c:pt>
                <c:pt idx="20034">
                  <c:v>1.6806722689075499E-3</c:v>
                </c:pt>
                <c:pt idx="20035">
                  <c:v>1.6806722689075499E-3</c:v>
                </c:pt>
                <c:pt idx="20036">
                  <c:v>1.6806722689075499E-3</c:v>
                </c:pt>
                <c:pt idx="20037">
                  <c:v>1.6806722689075499E-3</c:v>
                </c:pt>
                <c:pt idx="20038">
                  <c:v>1.6806722689075499E-3</c:v>
                </c:pt>
                <c:pt idx="20039">
                  <c:v>1.6806722689075499E-3</c:v>
                </c:pt>
                <c:pt idx="20040">
                  <c:v>1.6806722689075499E-3</c:v>
                </c:pt>
                <c:pt idx="20041">
                  <c:v>1.6806722689075499E-3</c:v>
                </c:pt>
                <c:pt idx="20042">
                  <c:v>1.6806722689075499E-3</c:v>
                </c:pt>
                <c:pt idx="20043">
                  <c:v>1.6806722689075499E-3</c:v>
                </c:pt>
                <c:pt idx="20044">
                  <c:v>1.6806722689075499E-3</c:v>
                </c:pt>
                <c:pt idx="20045">
                  <c:v>1.6806722689075499E-3</c:v>
                </c:pt>
                <c:pt idx="20046">
                  <c:v>1.6806722689075499E-3</c:v>
                </c:pt>
                <c:pt idx="20047">
                  <c:v>1.6806722689075499E-3</c:v>
                </c:pt>
                <c:pt idx="20048">
                  <c:v>1.6806722689075499E-3</c:v>
                </c:pt>
                <c:pt idx="20049">
                  <c:v>1.6806722689075499E-3</c:v>
                </c:pt>
                <c:pt idx="20050">
                  <c:v>1.6806722689075499E-3</c:v>
                </c:pt>
                <c:pt idx="20051">
                  <c:v>1.6806722689075499E-3</c:v>
                </c:pt>
                <c:pt idx="20052">
                  <c:v>1.6806722689075499E-3</c:v>
                </c:pt>
                <c:pt idx="20053">
                  <c:v>1.6806722689075499E-3</c:v>
                </c:pt>
                <c:pt idx="20054">
                  <c:v>1.6806722689075499E-3</c:v>
                </c:pt>
                <c:pt idx="20055">
                  <c:v>1.6806722689075499E-3</c:v>
                </c:pt>
                <c:pt idx="20056">
                  <c:v>1.6806722689075499E-3</c:v>
                </c:pt>
                <c:pt idx="20057">
                  <c:v>1.6806722689075499E-3</c:v>
                </c:pt>
                <c:pt idx="20058">
                  <c:v>1.6806722689075499E-3</c:v>
                </c:pt>
                <c:pt idx="20059">
                  <c:v>1.6806722689075499E-3</c:v>
                </c:pt>
                <c:pt idx="20060">
                  <c:v>1.6806722689075499E-3</c:v>
                </c:pt>
                <c:pt idx="20061">
                  <c:v>1.6806722689075499E-3</c:v>
                </c:pt>
                <c:pt idx="20062">
                  <c:v>1.6806722689075499E-3</c:v>
                </c:pt>
                <c:pt idx="20063">
                  <c:v>1.6806722689075499E-3</c:v>
                </c:pt>
                <c:pt idx="20064">
                  <c:v>1.6806722689075499E-3</c:v>
                </c:pt>
                <c:pt idx="20065">
                  <c:v>1.6806722689075499E-3</c:v>
                </c:pt>
                <c:pt idx="20066">
                  <c:v>1.6806722689075499E-3</c:v>
                </c:pt>
                <c:pt idx="20067">
                  <c:v>1.6806722689075499E-3</c:v>
                </c:pt>
                <c:pt idx="20068">
                  <c:v>1.6806722689075499E-3</c:v>
                </c:pt>
                <c:pt idx="20069">
                  <c:v>1.6806722689075499E-3</c:v>
                </c:pt>
                <c:pt idx="20070">
                  <c:v>1.6806722689075499E-3</c:v>
                </c:pt>
                <c:pt idx="20071">
                  <c:v>1.6806722689075499E-3</c:v>
                </c:pt>
                <c:pt idx="20072">
                  <c:v>1.6806722689075499E-3</c:v>
                </c:pt>
                <c:pt idx="20073">
                  <c:v>1.6806722689075499E-3</c:v>
                </c:pt>
                <c:pt idx="20074">
                  <c:v>1.6806722689075499E-3</c:v>
                </c:pt>
                <c:pt idx="20075">
                  <c:v>1.6806722689075499E-3</c:v>
                </c:pt>
                <c:pt idx="20076">
                  <c:v>1.6806722689075499E-3</c:v>
                </c:pt>
                <c:pt idx="20077">
                  <c:v>1.6806722689075499E-3</c:v>
                </c:pt>
                <c:pt idx="20078">
                  <c:v>1.6806722689075499E-3</c:v>
                </c:pt>
                <c:pt idx="20079">
                  <c:v>1.6806722689075499E-3</c:v>
                </c:pt>
                <c:pt idx="20080">
                  <c:v>1.6806722689075499E-3</c:v>
                </c:pt>
                <c:pt idx="20081">
                  <c:v>1.6806722689075499E-3</c:v>
                </c:pt>
                <c:pt idx="20082">
                  <c:v>1.6806722689075499E-3</c:v>
                </c:pt>
                <c:pt idx="20083">
                  <c:v>1.6806722689075499E-3</c:v>
                </c:pt>
                <c:pt idx="20084">
                  <c:v>1.6806722689075499E-3</c:v>
                </c:pt>
                <c:pt idx="20085">
                  <c:v>1.6806722689075499E-3</c:v>
                </c:pt>
                <c:pt idx="20086">
                  <c:v>1.6806722689075499E-3</c:v>
                </c:pt>
                <c:pt idx="20087">
                  <c:v>1.6806722689075499E-3</c:v>
                </c:pt>
                <c:pt idx="20088">
                  <c:v>1.6806722689075499E-3</c:v>
                </c:pt>
                <c:pt idx="20089">
                  <c:v>1.6806722689075499E-3</c:v>
                </c:pt>
                <c:pt idx="20090">
                  <c:v>1.6806722689075499E-3</c:v>
                </c:pt>
                <c:pt idx="20091">
                  <c:v>1.6806722689075499E-3</c:v>
                </c:pt>
                <c:pt idx="20092">
                  <c:v>1.6806722689075499E-3</c:v>
                </c:pt>
                <c:pt idx="20093">
                  <c:v>1.6806722689075499E-3</c:v>
                </c:pt>
                <c:pt idx="20094">
                  <c:v>1.6806722689075499E-3</c:v>
                </c:pt>
                <c:pt idx="20095">
                  <c:v>1.6806722689075499E-3</c:v>
                </c:pt>
                <c:pt idx="20096">
                  <c:v>1.6806722689075499E-3</c:v>
                </c:pt>
                <c:pt idx="20097">
                  <c:v>1.6806722689075499E-3</c:v>
                </c:pt>
                <c:pt idx="20098">
                  <c:v>1.6806722689075499E-3</c:v>
                </c:pt>
                <c:pt idx="20099">
                  <c:v>1.6806722689075499E-3</c:v>
                </c:pt>
                <c:pt idx="20100">
                  <c:v>1.6806722689075499E-3</c:v>
                </c:pt>
                <c:pt idx="20101">
                  <c:v>1.6806722689075499E-3</c:v>
                </c:pt>
                <c:pt idx="20102">
                  <c:v>1.6806722689075499E-3</c:v>
                </c:pt>
                <c:pt idx="20103">
                  <c:v>1.6806722689075499E-3</c:v>
                </c:pt>
                <c:pt idx="20104">
                  <c:v>1.6806722689075499E-3</c:v>
                </c:pt>
                <c:pt idx="20105">
                  <c:v>1.6806722689075499E-3</c:v>
                </c:pt>
                <c:pt idx="20106">
                  <c:v>1.6806722689075499E-3</c:v>
                </c:pt>
                <c:pt idx="20107">
                  <c:v>1.6806722689075499E-3</c:v>
                </c:pt>
                <c:pt idx="20108">
                  <c:v>1.6806722689075499E-3</c:v>
                </c:pt>
                <c:pt idx="20109">
                  <c:v>1.6806722689075499E-3</c:v>
                </c:pt>
                <c:pt idx="20110">
                  <c:v>2.5210084033613299E-3</c:v>
                </c:pt>
                <c:pt idx="20111">
                  <c:v>2.5210084033613299E-3</c:v>
                </c:pt>
                <c:pt idx="20112">
                  <c:v>2.5210084033613299E-3</c:v>
                </c:pt>
                <c:pt idx="20113">
                  <c:v>2.5210084033613299E-3</c:v>
                </c:pt>
                <c:pt idx="20114">
                  <c:v>2.5210084033613299E-3</c:v>
                </c:pt>
                <c:pt idx="20115">
                  <c:v>2.5210084033613299E-3</c:v>
                </c:pt>
                <c:pt idx="20116">
                  <c:v>2.5210084033613299E-3</c:v>
                </c:pt>
                <c:pt idx="20117">
                  <c:v>2.5210084033613299E-3</c:v>
                </c:pt>
                <c:pt idx="20118">
                  <c:v>2.5210084033613299E-3</c:v>
                </c:pt>
                <c:pt idx="20119">
                  <c:v>2.5210084033613299E-3</c:v>
                </c:pt>
                <c:pt idx="20120">
                  <c:v>2.5210084033613299E-3</c:v>
                </c:pt>
                <c:pt idx="20121">
                  <c:v>2.5210084033613299E-3</c:v>
                </c:pt>
                <c:pt idx="20122">
                  <c:v>2.5210084033613299E-3</c:v>
                </c:pt>
                <c:pt idx="20123">
                  <c:v>2.5210084033613299E-3</c:v>
                </c:pt>
                <c:pt idx="20124">
                  <c:v>2.5210084033613299E-3</c:v>
                </c:pt>
                <c:pt idx="20125">
                  <c:v>2.5210084033613299E-3</c:v>
                </c:pt>
                <c:pt idx="20126">
                  <c:v>2.5210084033613299E-3</c:v>
                </c:pt>
                <c:pt idx="20127">
                  <c:v>2.5210084033613299E-3</c:v>
                </c:pt>
                <c:pt idx="20128">
                  <c:v>3.3613445378151102E-3</c:v>
                </c:pt>
                <c:pt idx="20129">
                  <c:v>3.3613445378151102E-3</c:v>
                </c:pt>
                <c:pt idx="20130">
                  <c:v>3.3613445378151102E-3</c:v>
                </c:pt>
                <c:pt idx="20131">
                  <c:v>3.3613445378151102E-3</c:v>
                </c:pt>
                <c:pt idx="20132">
                  <c:v>3.3613445378151102E-3</c:v>
                </c:pt>
                <c:pt idx="20133">
                  <c:v>3.3613445378151102E-3</c:v>
                </c:pt>
                <c:pt idx="20134">
                  <c:v>3.3613445378151102E-3</c:v>
                </c:pt>
                <c:pt idx="20135">
                  <c:v>3.3613445378151102E-3</c:v>
                </c:pt>
                <c:pt idx="20136">
                  <c:v>2.5210084033613299E-3</c:v>
                </c:pt>
                <c:pt idx="20137">
                  <c:v>2.5210084033613299E-3</c:v>
                </c:pt>
                <c:pt idx="20138">
                  <c:v>2.5210084033613299E-3</c:v>
                </c:pt>
                <c:pt idx="20139">
                  <c:v>2.5210084033613299E-3</c:v>
                </c:pt>
                <c:pt idx="20140">
                  <c:v>2.5210084033613299E-3</c:v>
                </c:pt>
                <c:pt idx="20141">
                  <c:v>2.5210084033613299E-3</c:v>
                </c:pt>
                <c:pt idx="20142">
                  <c:v>2.5210084033613299E-3</c:v>
                </c:pt>
                <c:pt idx="20143">
                  <c:v>2.5210084033613299E-3</c:v>
                </c:pt>
                <c:pt idx="20144">
                  <c:v>2.5210084033613299E-3</c:v>
                </c:pt>
                <c:pt idx="20145">
                  <c:v>2.5210084033613299E-3</c:v>
                </c:pt>
                <c:pt idx="20146">
                  <c:v>2.5210084033613299E-3</c:v>
                </c:pt>
                <c:pt idx="20147">
                  <c:v>2.5210084033613299E-3</c:v>
                </c:pt>
                <c:pt idx="20148">
                  <c:v>2.5210084033613299E-3</c:v>
                </c:pt>
                <c:pt idx="20149">
                  <c:v>2.5210084033613299E-3</c:v>
                </c:pt>
                <c:pt idx="20150">
                  <c:v>2.5210084033613299E-3</c:v>
                </c:pt>
                <c:pt idx="20151">
                  <c:v>2.5210084033613299E-3</c:v>
                </c:pt>
                <c:pt idx="20152">
                  <c:v>2.5210084033613299E-3</c:v>
                </c:pt>
                <c:pt idx="20153">
                  <c:v>2.5210084033613299E-3</c:v>
                </c:pt>
                <c:pt idx="20154">
                  <c:v>2.5210084033613299E-3</c:v>
                </c:pt>
                <c:pt idx="20155">
                  <c:v>2.5210084033613299E-3</c:v>
                </c:pt>
                <c:pt idx="20156">
                  <c:v>2.5210084033613299E-3</c:v>
                </c:pt>
                <c:pt idx="20157">
                  <c:v>2.5210084033613299E-3</c:v>
                </c:pt>
                <c:pt idx="20158">
                  <c:v>2.5210084033613299E-3</c:v>
                </c:pt>
                <c:pt idx="20159">
                  <c:v>2.5210084033613299E-3</c:v>
                </c:pt>
                <c:pt idx="20160">
                  <c:v>2.5210084033613299E-3</c:v>
                </c:pt>
                <c:pt idx="20161">
                  <c:v>3.3613445378151102E-3</c:v>
                </c:pt>
                <c:pt idx="20162">
                  <c:v>3.3613445378151102E-3</c:v>
                </c:pt>
                <c:pt idx="20163">
                  <c:v>3.3613445378151102E-3</c:v>
                </c:pt>
                <c:pt idx="20164">
                  <c:v>3.3613445378151102E-3</c:v>
                </c:pt>
                <c:pt idx="20165">
                  <c:v>3.3613445378151102E-3</c:v>
                </c:pt>
                <c:pt idx="20166">
                  <c:v>3.3613445378151102E-3</c:v>
                </c:pt>
                <c:pt idx="20167">
                  <c:v>3.3613445378151102E-3</c:v>
                </c:pt>
                <c:pt idx="20168">
                  <c:v>3.3613445378151102E-3</c:v>
                </c:pt>
                <c:pt idx="20169">
                  <c:v>3.3613445378151102E-3</c:v>
                </c:pt>
                <c:pt idx="20170">
                  <c:v>3.3613445378151102E-3</c:v>
                </c:pt>
                <c:pt idx="20171">
                  <c:v>3.3613445378151102E-3</c:v>
                </c:pt>
                <c:pt idx="20172">
                  <c:v>2.5210084033613299E-3</c:v>
                </c:pt>
                <c:pt idx="20173">
                  <c:v>2.5210084033613299E-3</c:v>
                </c:pt>
                <c:pt idx="20174">
                  <c:v>2.5210084033613299E-3</c:v>
                </c:pt>
                <c:pt idx="20175">
                  <c:v>2.5210084033613299E-3</c:v>
                </c:pt>
                <c:pt idx="20176">
                  <c:v>2.5210084033613299E-3</c:v>
                </c:pt>
                <c:pt idx="20177">
                  <c:v>3.3613445378151102E-3</c:v>
                </c:pt>
                <c:pt idx="20178">
                  <c:v>3.3613445378151102E-3</c:v>
                </c:pt>
                <c:pt idx="20179">
                  <c:v>3.3613445378151102E-3</c:v>
                </c:pt>
                <c:pt idx="20180">
                  <c:v>3.3613445378151102E-3</c:v>
                </c:pt>
                <c:pt idx="20181">
                  <c:v>3.3613445378151102E-3</c:v>
                </c:pt>
                <c:pt idx="20182">
                  <c:v>2.5210084033613299E-3</c:v>
                </c:pt>
                <c:pt idx="20183">
                  <c:v>2.5210084033613299E-3</c:v>
                </c:pt>
                <c:pt idx="20184">
                  <c:v>2.5210084033613299E-3</c:v>
                </c:pt>
                <c:pt idx="20185">
                  <c:v>2.5210084033613299E-3</c:v>
                </c:pt>
                <c:pt idx="20186">
                  <c:v>2.5210084033613299E-3</c:v>
                </c:pt>
                <c:pt idx="20187">
                  <c:v>2.5210084033613299E-3</c:v>
                </c:pt>
                <c:pt idx="20188">
                  <c:v>2.5210084033613299E-3</c:v>
                </c:pt>
                <c:pt idx="20189">
                  <c:v>2.5210084033613299E-3</c:v>
                </c:pt>
                <c:pt idx="20190">
                  <c:v>2.5210084033613299E-3</c:v>
                </c:pt>
                <c:pt idx="20191">
                  <c:v>2.5210084033613299E-3</c:v>
                </c:pt>
                <c:pt idx="20192">
                  <c:v>2.5210084033613299E-3</c:v>
                </c:pt>
                <c:pt idx="20193">
                  <c:v>2.5210084033613299E-3</c:v>
                </c:pt>
                <c:pt idx="20194">
                  <c:v>2.5210084033613299E-3</c:v>
                </c:pt>
                <c:pt idx="20195">
                  <c:v>2.5210084033613299E-3</c:v>
                </c:pt>
                <c:pt idx="20196">
                  <c:v>2.5210084033613299E-3</c:v>
                </c:pt>
                <c:pt idx="20197">
                  <c:v>2.5210084033613299E-3</c:v>
                </c:pt>
                <c:pt idx="20198">
                  <c:v>2.5210084033613299E-3</c:v>
                </c:pt>
                <c:pt idx="20199">
                  <c:v>2.5210084033613299E-3</c:v>
                </c:pt>
                <c:pt idx="20200">
                  <c:v>2.5210084033613299E-3</c:v>
                </c:pt>
                <c:pt idx="20201">
                  <c:v>2.5210084033613299E-3</c:v>
                </c:pt>
                <c:pt idx="20202">
                  <c:v>2.5210084033613299E-3</c:v>
                </c:pt>
                <c:pt idx="20203">
                  <c:v>2.5210084033613299E-3</c:v>
                </c:pt>
                <c:pt idx="20204">
                  <c:v>2.5210084033613299E-3</c:v>
                </c:pt>
                <c:pt idx="20205">
                  <c:v>2.5210084033613299E-3</c:v>
                </c:pt>
                <c:pt idx="20206">
                  <c:v>2.5210084033613299E-3</c:v>
                </c:pt>
                <c:pt idx="20207">
                  <c:v>2.5210084033613299E-3</c:v>
                </c:pt>
                <c:pt idx="20208">
                  <c:v>2.5210084033613299E-3</c:v>
                </c:pt>
                <c:pt idx="20209">
                  <c:v>2.5210084033613299E-3</c:v>
                </c:pt>
                <c:pt idx="20210">
                  <c:v>2.5210084033613299E-3</c:v>
                </c:pt>
                <c:pt idx="20211">
                  <c:v>2.5210084033613299E-3</c:v>
                </c:pt>
                <c:pt idx="20212">
                  <c:v>2.5210084033613299E-3</c:v>
                </c:pt>
                <c:pt idx="20213">
                  <c:v>2.5210084033613299E-3</c:v>
                </c:pt>
                <c:pt idx="20214">
                  <c:v>2.5210084033613299E-3</c:v>
                </c:pt>
                <c:pt idx="20215">
                  <c:v>2.5210084033613299E-3</c:v>
                </c:pt>
                <c:pt idx="20216">
                  <c:v>2.5210084033613299E-3</c:v>
                </c:pt>
                <c:pt idx="20217">
                  <c:v>2.5210084033613299E-3</c:v>
                </c:pt>
                <c:pt idx="20218">
                  <c:v>2.5210084033613299E-3</c:v>
                </c:pt>
                <c:pt idx="20219">
                  <c:v>2.5210084033613299E-3</c:v>
                </c:pt>
                <c:pt idx="20220">
                  <c:v>2.5210084033613299E-3</c:v>
                </c:pt>
                <c:pt idx="20221">
                  <c:v>2.5210084033613299E-3</c:v>
                </c:pt>
                <c:pt idx="20222">
                  <c:v>2.5210084033613299E-3</c:v>
                </c:pt>
                <c:pt idx="20223">
                  <c:v>2.5210084033613299E-3</c:v>
                </c:pt>
                <c:pt idx="20224">
                  <c:v>2.5210084033613299E-3</c:v>
                </c:pt>
                <c:pt idx="20225">
                  <c:v>2.5210084033613299E-3</c:v>
                </c:pt>
                <c:pt idx="20226">
                  <c:v>2.5210084033613299E-3</c:v>
                </c:pt>
                <c:pt idx="20227">
                  <c:v>2.5210084033613299E-3</c:v>
                </c:pt>
                <c:pt idx="20228">
                  <c:v>1.6806722689075499E-3</c:v>
                </c:pt>
                <c:pt idx="20229">
                  <c:v>1.6806722689075499E-3</c:v>
                </c:pt>
                <c:pt idx="20230">
                  <c:v>1.6806722689075499E-3</c:v>
                </c:pt>
                <c:pt idx="20231">
                  <c:v>1.6806722689075499E-3</c:v>
                </c:pt>
                <c:pt idx="20232">
                  <c:v>1.6806722689075499E-3</c:v>
                </c:pt>
                <c:pt idx="20233">
                  <c:v>1.6806722689075499E-3</c:v>
                </c:pt>
                <c:pt idx="20234">
                  <c:v>1.6806722689075499E-3</c:v>
                </c:pt>
                <c:pt idx="20235">
                  <c:v>1.6806722689075499E-3</c:v>
                </c:pt>
                <c:pt idx="20236">
                  <c:v>1.6806722689075499E-3</c:v>
                </c:pt>
                <c:pt idx="20237">
                  <c:v>1.6806722689075499E-3</c:v>
                </c:pt>
                <c:pt idx="20238">
                  <c:v>1.6806722689075499E-3</c:v>
                </c:pt>
                <c:pt idx="20239">
                  <c:v>1.6806722689075499E-3</c:v>
                </c:pt>
                <c:pt idx="20240">
                  <c:v>1.6806722689075499E-3</c:v>
                </c:pt>
                <c:pt idx="20241">
                  <c:v>1.6806722689075499E-3</c:v>
                </c:pt>
                <c:pt idx="20242">
                  <c:v>1.6806722689075499E-3</c:v>
                </c:pt>
                <c:pt idx="20243">
                  <c:v>1.6806722689075499E-3</c:v>
                </c:pt>
                <c:pt idx="20244">
                  <c:v>1.6806722689075499E-3</c:v>
                </c:pt>
                <c:pt idx="20245">
                  <c:v>1.6806722689075499E-3</c:v>
                </c:pt>
                <c:pt idx="20246">
                  <c:v>1.6806722689075499E-3</c:v>
                </c:pt>
                <c:pt idx="20247">
                  <c:v>1.6806722689075499E-3</c:v>
                </c:pt>
                <c:pt idx="20248">
                  <c:v>1.6806722689075499E-3</c:v>
                </c:pt>
                <c:pt idx="20249">
                  <c:v>1.6806722689075499E-3</c:v>
                </c:pt>
                <c:pt idx="20250">
                  <c:v>1.6806722689075499E-3</c:v>
                </c:pt>
                <c:pt idx="20251">
                  <c:v>1.6806722689075499E-3</c:v>
                </c:pt>
                <c:pt idx="20252">
                  <c:v>1.6806722689075499E-3</c:v>
                </c:pt>
                <c:pt idx="20253">
                  <c:v>1.6806722689075499E-3</c:v>
                </c:pt>
                <c:pt idx="20254">
                  <c:v>1.6806722689075499E-3</c:v>
                </c:pt>
                <c:pt idx="20255">
                  <c:v>1.6806722689075499E-3</c:v>
                </c:pt>
                <c:pt idx="20256">
                  <c:v>1.6806722689075499E-3</c:v>
                </c:pt>
                <c:pt idx="20257">
                  <c:v>1.6806722689075499E-3</c:v>
                </c:pt>
                <c:pt idx="20258">
                  <c:v>1.6806722689075499E-3</c:v>
                </c:pt>
                <c:pt idx="20259">
                  <c:v>1.6806722689075499E-3</c:v>
                </c:pt>
                <c:pt idx="20260">
                  <c:v>1.6806722689075499E-3</c:v>
                </c:pt>
                <c:pt idx="20261">
                  <c:v>1.6806722689075499E-3</c:v>
                </c:pt>
                <c:pt idx="20262">
                  <c:v>1.6806722689075499E-3</c:v>
                </c:pt>
                <c:pt idx="20263">
                  <c:v>1.6806722689075499E-3</c:v>
                </c:pt>
                <c:pt idx="20264">
                  <c:v>1.6806722689075499E-3</c:v>
                </c:pt>
                <c:pt idx="20265">
                  <c:v>1.6806722689075499E-3</c:v>
                </c:pt>
                <c:pt idx="20266">
                  <c:v>1.6806722689075499E-3</c:v>
                </c:pt>
                <c:pt idx="20267">
                  <c:v>1.6806722689075499E-3</c:v>
                </c:pt>
                <c:pt idx="20268">
                  <c:v>1.6806722689075499E-3</c:v>
                </c:pt>
                <c:pt idx="20269">
                  <c:v>1.6806722689075499E-3</c:v>
                </c:pt>
                <c:pt idx="20270">
                  <c:v>2.5210084033613299E-3</c:v>
                </c:pt>
                <c:pt idx="20271">
                  <c:v>1.6806722689075499E-3</c:v>
                </c:pt>
                <c:pt idx="20272">
                  <c:v>1.6806722689075499E-3</c:v>
                </c:pt>
                <c:pt idx="20273">
                  <c:v>1.6806722689075499E-3</c:v>
                </c:pt>
                <c:pt idx="20274">
                  <c:v>1.6806722689075499E-3</c:v>
                </c:pt>
                <c:pt idx="20275">
                  <c:v>1.6806722689075499E-3</c:v>
                </c:pt>
                <c:pt idx="20276">
                  <c:v>1.6806722689075499E-3</c:v>
                </c:pt>
                <c:pt idx="20277">
                  <c:v>1.6806722689075499E-3</c:v>
                </c:pt>
                <c:pt idx="20278">
                  <c:v>1.6806722689075499E-3</c:v>
                </c:pt>
                <c:pt idx="20279">
                  <c:v>8.4033613445377799E-4</c:v>
                </c:pt>
                <c:pt idx="20280">
                  <c:v>8.4033613445377799E-4</c:v>
                </c:pt>
                <c:pt idx="20281">
                  <c:v>8.4033613445377799E-4</c:v>
                </c:pt>
                <c:pt idx="20282">
                  <c:v>8.4033613445377799E-4</c:v>
                </c:pt>
                <c:pt idx="20283">
                  <c:v>8.4033613445377799E-4</c:v>
                </c:pt>
                <c:pt idx="20284">
                  <c:v>8.4033613445377799E-4</c:v>
                </c:pt>
                <c:pt idx="20285">
                  <c:v>8.4033613445377799E-4</c:v>
                </c:pt>
                <c:pt idx="20286">
                  <c:v>8.4033613445377799E-4</c:v>
                </c:pt>
                <c:pt idx="20287">
                  <c:v>8.4033613445377799E-4</c:v>
                </c:pt>
                <c:pt idx="20288">
                  <c:v>8.4033613445377799E-4</c:v>
                </c:pt>
                <c:pt idx="20289">
                  <c:v>8.4033613445377799E-4</c:v>
                </c:pt>
                <c:pt idx="20290">
                  <c:v>8.4033613445377799E-4</c:v>
                </c:pt>
                <c:pt idx="20291">
                  <c:v>8.4033613445377799E-4</c:v>
                </c:pt>
                <c:pt idx="20292">
                  <c:v>8.4033613445377799E-4</c:v>
                </c:pt>
                <c:pt idx="20293">
                  <c:v>8.4033613445377799E-4</c:v>
                </c:pt>
                <c:pt idx="20294">
                  <c:v>8.4033613445377799E-4</c:v>
                </c:pt>
                <c:pt idx="20295">
                  <c:v>8.4033613445377799E-4</c:v>
                </c:pt>
                <c:pt idx="20296">
                  <c:v>8.4033613445377799E-4</c:v>
                </c:pt>
                <c:pt idx="20297">
                  <c:v>8.4033613445377799E-4</c:v>
                </c:pt>
                <c:pt idx="20298">
                  <c:v>8.4033613445377799E-4</c:v>
                </c:pt>
                <c:pt idx="20299">
                  <c:v>8.4033613445377799E-4</c:v>
                </c:pt>
                <c:pt idx="20300">
                  <c:v>8.4033613445377799E-4</c:v>
                </c:pt>
                <c:pt idx="20301">
                  <c:v>8.4033613445377799E-4</c:v>
                </c:pt>
                <c:pt idx="20302">
                  <c:v>8.4033613445377799E-4</c:v>
                </c:pt>
                <c:pt idx="20303">
                  <c:v>8.4033613445377799E-4</c:v>
                </c:pt>
                <c:pt idx="20304">
                  <c:v>8.4033613445377799E-4</c:v>
                </c:pt>
                <c:pt idx="20305">
                  <c:v>8.4033613445377799E-4</c:v>
                </c:pt>
                <c:pt idx="20306">
                  <c:v>8.4033613445377799E-4</c:v>
                </c:pt>
                <c:pt idx="20307">
                  <c:v>8.4033613445377799E-4</c:v>
                </c:pt>
                <c:pt idx="20308">
                  <c:v>8.4033613445377799E-4</c:v>
                </c:pt>
                <c:pt idx="20309">
                  <c:v>8.4033613445377799E-4</c:v>
                </c:pt>
                <c:pt idx="20310">
                  <c:v>8.4033613445377799E-4</c:v>
                </c:pt>
                <c:pt idx="20311">
                  <c:v>8.4033613445377799E-4</c:v>
                </c:pt>
                <c:pt idx="20312">
                  <c:v>8.4033613445377799E-4</c:v>
                </c:pt>
                <c:pt idx="20313">
                  <c:v>8.4033613445377799E-4</c:v>
                </c:pt>
                <c:pt idx="20314">
                  <c:v>8.4033613445377799E-4</c:v>
                </c:pt>
                <c:pt idx="20315">
                  <c:v>8.4033613445377799E-4</c:v>
                </c:pt>
                <c:pt idx="20316">
                  <c:v>0</c:v>
                </c:pt>
                <c:pt idx="20317">
                  <c:v>0</c:v>
                </c:pt>
                <c:pt idx="20318">
                  <c:v>0</c:v>
                </c:pt>
                <c:pt idx="20319">
                  <c:v>0</c:v>
                </c:pt>
                <c:pt idx="20320">
                  <c:v>0</c:v>
                </c:pt>
                <c:pt idx="20321">
                  <c:v>0</c:v>
                </c:pt>
                <c:pt idx="20322">
                  <c:v>0</c:v>
                </c:pt>
                <c:pt idx="20323">
                  <c:v>0</c:v>
                </c:pt>
                <c:pt idx="20324">
                  <c:v>0</c:v>
                </c:pt>
                <c:pt idx="20325">
                  <c:v>0</c:v>
                </c:pt>
                <c:pt idx="20326">
                  <c:v>0</c:v>
                </c:pt>
                <c:pt idx="20327">
                  <c:v>0</c:v>
                </c:pt>
                <c:pt idx="20328">
                  <c:v>0</c:v>
                </c:pt>
                <c:pt idx="20329">
                  <c:v>0</c:v>
                </c:pt>
                <c:pt idx="20330">
                  <c:v>0</c:v>
                </c:pt>
                <c:pt idx="20331">
                  <c:v>0</c:v>
                </c:pt>
                <c:pt idx="20332">
                  <c:v>0</c:v>
                </c:pt>
                <c:pt idx="20333">
                  <c:v>0</c:v>
                </c:pt>
                <c:pt idx="20334">
                  <c:v>0</c:v>
                </c:pt>
                <c:pt idx="20335">
                  <c:v>0</c:v>
                </c:pt>
                <c:pt idx="20336">
                  <c:v>0</c:v>
                </c:pt>
                <c:pt idx="20337">
                  <c:v>0</c:v>
                </c:pt>
                <c:pt idx="20338">
                  <c:v>0</c:v>
                </c:pt>
                <c:pt idx="20339">
                  <c:v>0</c:v>
                </c:pt>
                <c:pt idx="20340">
                  <c:v>0</c:v>
                </c:pt>
                <c:pt idx="20341">
                  <c:v>0</c:v>
                </c:pt>
                <c:pt idx="20342">
                  <c:v>0</c:v>
                </c:pt>
                <c:pt idx="20343">
                  <c:v>0</c:v>
                </c:pt>
                <c:pt idx="20344">
                  <c:v>0</c:v>
                </c:pt>
                <c:pt idx="20345">
                  <c:v>0</c:v>
                </c:pt>
                <c:pt idx="20346">
                  <c:v>0</c:v>
                </c:pt>
                <c:pt idx="20347">
                  <c:v>0</c:v>
                </c:pt>
                <c:pt idx="20348">
                  <c:v>0</c:v>
                </c:pt>
                <c:pt idx="20349">
                  <c:v>0</c:v>
                </c:pt>
                <c:pt idx="20350">
                  <c:v>0</c:v>
                </c:pt>
                <c:pt idx="20351">
                  <c:v>0</c:v>
                </c:pt>
                <c:pt idx="20352">
                  <c:v>0</c:v>
                </c:pt>
                <c:pt idx="20353">
                  <c:v>0</c:v>
                </c:pt>
                <c:pt idx="20354">
                  <c:v>-8.4033613445377799E-4</c:v>
                </c:pt>
                <c:pt idx="20355">
                  <c:v>-8.4033613445377799E-4</c:v>
                </c:pt>
                <c:pt idx="20356">
                  <c:v>-8.4033613445377799E-4</c:v>
                </c:pt>
                <c:pt idx="20357">
                  <c:v>-8.4033613445377799E-4</c:v>
                </c:pt>
                <c:pt idx="20358">
                  <c:v>-8.4033613445377799E-4</c:v>
                </c:pt>
                <c:pt idx="20359">
                  <c:v>-8.4033613445377799E-4</c:v>
                </c:pt>
                <c:pt idx="20360">
                  <c:v>-8.4033613445377799E-4</c:v>
                </c:pt>
                <c:pt idx="20361">
                  <c:v>-8.4033613445377799E-4</c:v>
                </c:pt>
                <c:pt idx="20362">
                  <c:v>-8.4033613445377799E-4</c:v>
                </c:pt>
                <c:pt idx="20363">
                  <c:v>-8.4033613445377799E-4</c:v>
                </c:pt>
                <c:pt idx="20364">
                  <c:v>-8.4033613445377799E-4</c:v>
                </c:pt>
                <c:pt idx="20365">
                  <c:v>-8.4033613445377799E-4</c:v>
                </c:pt>
                <c:pt idx="20366">
                  <c:v>-8.4033613445377799E-4</c:v>
                </c:pt>
                <c:pt idx="20367">
                  <c:v>-8.4033613445377799E-4</c:v>
                </c:pt>
                <c:pt idx="20368">
                  <c:v>-8.4033613445377799E-4</c:v>
                </c:pt>
                <c:pt idx="20369">
                  <c:v>-8.4033613445377799E-4</c:v>
                </c:pt>
                <c:pt idx="20370">
                  <c:v>-8.4033613445377799E-4</c:v>
                </c:pt>
                <c:pt idx="20371">
                  <c:v>-1.6806722689075499E-3</c:v>
                </c:pt>
                <c:pt idx="20372">
                  <c:v>-1.6806722689075499E-3</c:v>
                </c:pt>
                <c:pt idx="20373">
                  <c:v>-1.6806722689075499E-3</c:v>
                </c:pt>
                <c:pt idx="20374">
                  <c:v>-1.6806722689075499E-3</c:v>
                </c:pt>
                <c:pt idx="20375">
                  <c:v>-1.6806722689075499E-3</c:v>
                </c:pt>
                <c:pt idx="20376">
                  <c:v>-1.6806722689075499E-3</c:v>
                </c:pt>
                <c:pt idx="20377">
                  <c:v>-1.6806722689075499E-3</c:v>
                </c:pt>
                <c:pt idx="20378">
                  <c:v>-1.6806722689075499E-3</c:v>
                </c:pt>
                <c:pt idx="20379">
                  <c:v>-1.6806722689075499E-3</c:v>
                </c:pt>
                <c:pt idx="20380">
                  <c:v>-2.5210084033613299E-3</c:v>
                </c:pt>
                <c:pt idx="20381">
                  <c:v>-2.5210084033613299E-3</c:v>
                </c:pt>
                <c:pt idx="20382">
                  <c:v>-2.5210084033613299E-3</c:v>
                </c:pt>
                <c:pt idx="20383">
                  <c:v>-1.6806722689075499E-3</c:v>
                </c:pt>
                <c:pt idx="20384">
                  <c:v>-1.6806722689075499E-3</c:v>
                </c:pt>
                <c:pt idx="20385">
                  <c:v>-1.6806722689075499E-3</c:v>
                </c:pt>
                <c:pt idx="20386">
                  <c:v>-1.6806722689075499E-3</c:v>
                </c:pt>
                <c:pt idx="20387">
                  <c:v>-1.6806722689075499E-3</c:v>
                </c:pt>
                <c:pt idx="20388">
                  <c:v>-1.6806722689075499E-3</c:v>
                </c:pt>
                <c:pt idx="20389">
                  <c:v>-1.6806722689075499E-3</c:v>
                </c:pt>
                <c:pt idx="20390">
                  <c:v>-1.6806722689075499E-3</c:v>
                </c:pt>
                <c:pt idx="20391">
                  <c:v>-1.6806722689075499E-3</c:v>
                </c:pt>
                <c:pt idx="20392">
                  <c:v>-1.6806722689075499E-3</c:v>
                </c:pt>
                <c:pt idx="20393">
                  <c:v>-1.6806722689075499E-3</c:v>
                </c:pt>
                <c:pt idx="20394">
                  <c:v>-1.6806722689075499E-3</c:v>
                </c:pt>
                <c:pt idx="20395">
                  <c:v>-1.6806722689075499E-3</c:v>
                </c:pt>
                <c:pt idx="20396">
                  <c:v>-1.6806722689075499E-3</c:v>
                </c:pt>
                <c:pt idx="20397">
                  <c:v>-1.6806722689075499E-3</c:v>
                </c:pt>
                <c:pt idx="20398">
                  <c:v>-1.6806722689075499E-3</c:v>
                </c:pt>
                <c:pt idx="20399">
                  <c:v>-2.5210084033613299E-3</c:v>
                </c:pt>
                <c:pt idx="20400">
                  <c:v>-2.5210084033613299E-3</c:v>
                </c:pt>
                <c:pt idx="20401">
                  <c:v>-2.5210084033613299E-3</c:v>
                </c:pt>
                <c:pt idx="20402">
                  <c:v>-2.5210084033613299E-3</c:v>
                </c:pt>
                <c:pt idx="20403">
                  <c:v>-2.5210084033613299E-3</c:v>
                </c:pt>
                <c:pt idx="20404">
                  <c:v>-2.5210084033613299E-3</c:v>
                </c:pt>
                <c:pt idx="20405">
                  <c:v>-2.5210084033613299E-3</c:v>
                </c:pt>
                <c:pt idx="20406">
                  <c:v>-2.5210084033613299E-3</c:v>
                </c:pt>
                <c:pt idx="20407">
                  <c:v>-3.3613445378151102E-3</c:v>
                </c:pt>
                <c:pt idx="20408">
                  <c:v>-3.3613445378151102E-3</c:v>
                </c:pt>
                <c:pt idx="20409">
                  <c:v>-3.3613445378151102E-3</c:v>
                </c:pt>
                <c:pt idx="20410">
                  <c:v>-3.3613445378151102E-3</c:v>
                </c:pt>
                <c:pt idx="20411">
                  <c:v>-3.3613445378151102E-3</c:v>
                </c:pt>
                <c:pt idx="20412">
                  <c:v>-3.3613445378151102E-3</c:v>
                </c:pt>
                <c:pt idx="20413">
                  <c:v>-3.3613445378151102E-3</c:v>
                </c:pt>
                <c:pt idx="20414">
                  <c:v>-3.3613445378151102E-3</c:v>
                </c:pt>
                <c:pt idx="20415">
                  <c:v>-2.5210084033613299E-3</c:v>
                </c:pt>
                <c:pt idx="20416">
                  <c:v>-2.5210084033613299E-3</c:v>
                </c:pt>
                <c:pt idx="20417">
                  <c:v>-2.5210084033613299E-3</c:v>
                </c:pt>
                <c:pt idx="20418">
                  <c:v>-2.5210084033613299E-3</c:v>
                </c:pt>
                <c:pt idx="20419">
                  <c:v>-2.5210084033613299E-3</c:v>
                </c:pt>
                <c:pt idx="20420">
                  <c:v>-2.5210084033613299E-3</c:v>
                </c:pt>
                <c:pt idx="20421">
                  <c:v>-2.5210084033613299E-3</c:v>
                </c:pt>
                <c:pt idx="20422">
                  <c:v>-2.5210084033613299E-3</c:v>
                </c:pt>
                <c:pt idx="20423">
                  <c:v>-2.5210084033613299E-3</c:v>
                </c:pt>
                <c:pt idx="20424">
                  <c:v>-2.5210084033613299E-3</c:v>
                </c:pt>
                <c:pt idx="20425">
                  <c:v>-2.5210084033613299E-3</c:v>
                </c:pt>
                <c:pt idx="20426">
                  <c:v>-2.5210084033613299E-3</c:v>
                </c:pt>
                <c:pt idx="20427">
                  <c:v>-2.5210084033613299E-3</c:v>
                </c:pt>
                <c:pt idx="20428">
                  <c:v>-2.5210084033613299E-3</c:v>
                </c:pt>
                <c:pt idx="20429">
                  <c:v>-2.5210084033613299E-3</c:v>
                </c:pt>
                <c:pt idx="20430">
                  <c:v>-3.3613445378151102E-3</c:v>
                </c:pt>
                <c:pt idx="20431">
                  <c:v>-4.20168067226889E-3</c:v>
                </c:pt>
                <c:pt idx="20432">
                  <c:v>-4.20168067226889E-3</c:v>
                </c:pt>
                <c:pt idx="20433">
                  <c:v>-4.20168067226889E-3</c:v>
                </c:pt>
                <c:pt idx="20434">
                  <c:v>-4.20168067226889E-3</c:v>
                </c:pt>
                <c:pt idx="20435">
                  <c:v>-4.20168067226889E-3</c:v>
                </c:pt>
                <c:pt idx="20436">
                  <c:v>-4.20168067226889E-3</c:v>
                </c:pt>
                <c:pt idx="20437">
                  <c:v>-4.20168067226889E-3</c:v>
                </c:pt>
                <c:pt idx="20438">
                  <c:v>-4.20168067226889E-3</c:v>
                </c:pt>
                <c:pt idx="20439">
                  <c:v>-4.20168067226889E-3</c:v>
                </c:pt>
                <c:pt idx="20440">
                  <c:v>-4.20168067226889E-3</c:v>
                </c:pt>
                <c:pt idx="20441">
                  <c:v>-4.20168067226889E-3</c:v>
                </c:pt>
                <c:pt idx="20442">
                  <c:v>-4.20168067226889E-3</c:v>
                </c:pt>
                <c:pt idx="20443">
                  <c:v>-4.20168067226889E-3</c:v>
                </c:pt>
                <c:pt idx="20444">
                  <c:v>-4.20168067226889E-3</c:v>
                </c:pt>
                <c:pt idx="20445">
                  <c:v>-4.20168067226889E-3</c:v>
                </c:pt>
                <c:pt idx="20446">
                  <c:v>-4.20168067226889E-3</c:v>
                </c:pt>
                <c:pt idx="20447">
                  <c:v>-4.20168067226889E-3</c:v>
                </c:pt>
                <c:pt idx="20448">
                  <c:v>-4.20168067226889E-3</c:v>
                </c:pt>
                <c:pt idx="20449">
                  <c:v>-4.20168067226889E-3</c:v>
                </c:pt>
                <c:pt idx="20450">
                  <c:v>-4.20168067226889E-3</c:v>
                </c:pt>
                <c:pt idx="20451">
                  <c:v>-4.20168067226889E-3</c:v>
                </c:pt>
                <c:pt idx="20452">
                  <c:v>-4.20168067226889E-3</c:v>
                </c:pt>
                <c:pt idx="20453">
                  <c:v>-4.20168067226889E-3</c:v>
                </c:pt>
                <c:pt idx="20454">
                  <c:v>-4.20168067226889E-3</c:v>
                </c:pt>
                <c:pt idx="20455">
                  <c:v>-4.20168067226889E-3</c:v>
                </c:pt>
                <c:pt idx="20456">
                  <c:v>-4.20168067226889E-3</c:v>
                </c:pt>
                <c:pt idx="20457">
                  <c:v>-4.20168067226889E-3</c:v>
                </c:pt>
                <c:pt idx="20458">
                  <c:v>-4.20168067226889E-3</c:v>
                </c:pt>
                <c:pt idx="20459">
                  <c:v>-4.20168067226889E-3</c:v>
                </c:pt>
                <c:pt idx="20460">
                  <c:v>-4.20168067226889E-3</c:v>
                </c:pt>
                <c:pt idx="20461">
                  <c:v>-4.20168067226889E-3</c:v>
                </c:pt>
                <c:pt idx="20462">
                  <c:v>-4.20168067226889E-3</c:v>
                </c:pt>
                <c:pt idx="20463">
                  <c:v>-4.20168067226889E-3</c:v>
                </c:pt>
                <c:pt idx="20464">
                  <c:v>-3.3613445378151102E-3</c:v>
                </c:pt>
                <c:pt idx="20465">
                  <c:v>-3.3613445378151102E-3</c:v>
                </c:pt>
                <c:pt idx="20466">
                  <c:v>-3.3613445378151102E-3</c:v>
                </c:pt>
                <c:pt idx="20467">
                  <c:v>-3.3613445378151102E-3</c:v>
                </c:pt>
                <c:pt idx="20468">
                  <c:v>-3.3613445378151102E-3</c:v>
                </c:pt>
                <c:pt idx="20469">
                  <c:v>-4.20168067226889E-3</c:v>
                </c:pt>
                <c:pt idx="20470">
                  <c:v>-4.20168067226889E-3</c:v>
                </c:pt>
                <c:pt idx="20471">
                  <c:v>-4.20168067226889E-3</c:v>
                </c:pt>
                <c:pt idx="20472">
                  <c:v>-4.20168067226889E-3</c:v>
                </c:pt>
                <c:pt idx="20473">
                  <c:v>-4.20168067226889E-3</c:v>
                </c:pt>
                <c:pt idx="20474">
                  <c:v>-4.20168067226889E-3</c:v>
                </c:pt>
                <c:pt idx="20475">
                  <c:v>-4.20168067226889E-3</c:v>
                </c:pt>
                <c:pt idx="20476">
                  <c:v>-4.20168067226889E-3</c:v>
                </c:pt>
                <c:pt idx="20477">
                  <c:v>-4.20168067226889E-3</c:v>
                </c:pt>
                <c:pt idx="20478">
                  <c:v>-4.20168067226889E-3</c:v>
                </c:pt>
                <c:pt idx="20479">
                  <c:v>-4.20168067226889E-3</c:v>
                </c:pt>
                <c:pt idx="20480">
                  <c:v>-4.20168067226889E-3</c:v>
                </c:pt>
                <c:pt idx="20481">
                  <c:v>-4.20168067226889E-3</c:v>
                </c:pt>
                <c:pt idx="20482">
                  <c:v>-4.20168067226889E-3</c:v>
                </c:pt>
                <c:pt idx="20483">
                  <c:v>-4.20168067226889E-3</c:v>
                </c:pt>
                <c:pt idx="20484">
                  <c:v>-4.20168067226889E-3</c:v>
                </c:pt>
                <c:pt idx="20485">
                  <c:v>-4.20168067226889E-3</c:v>
                </c:pt>
                <c:pt idx="20486">
                  <c:v>-4.20168067226889E-3</c:v>
                </c:pt>
                <c:pt idx="20487">
                  <c:v>-4.20168067226889E-3</c:v>
                </c:pt>
                <c:pt idx="20488">
                  <c:v>-4.20168067226889E-3</c:v>
                </c:pt>
                <c:pt idx="20489">
                  <c:v>-4.20168067226889E-3</c:v>
                </c:pt>
                <c:pt idx="20490">
                  <c:v>-4.20168067226889E-3</c:v>
                </c:pt>
                <c:pt idx="20491">
                  <c:v>-4.20168067226889E-3</c:v>
                </c:pt>
                <c:pt idx="20492">
                  <c:v>-5.0420168067226703E-3</c:v>
                </c:pt>
                <c:pt idx="20493">
                  <c:v>-5.0420168067226703E-3</c:v>
                </c:pt>
                <c:pt idx="20494">
                  <c:v>-5.0420168067226703E-3</c:v>
                </c:pt>
                <c:pt idx="20495">
                  <c:v>-5.0420168067226703E-3</c:v>
                </c:pt>
                <c:pt idx="20496">
                  <c:v>-5.0420168067226703E-3</c:v>
                </c:pt>
                <c:pt idx="20497">
                  <c:v>-5.0420168067226703E-3</c:v>
                </c:pt>
                <c:pt idx="20498">
                  <c:v>-5.0420168067226703E-3</c:v>
                </c:pt>
                <c:pt idx="20499">
                  <c:v>-5.0420168067226703E-3</c:v>
                </c:pt>
                <c:pt idx="20500">
                  <c:v>-5.0420168067226703E-3</c:v>
                </c:pt>
                <c:pt idx="20501">
                  <c:v>-5.0420168067226703E-3</c:v>
                </c:pt>
                <c:pt idx="20502">
                  <c:v>-5.0420168067226703E-3</c:v>
                </c:pt>
                <c:pt idx="20503">
                  <c:v>-5.0420168067226703E-3</c:v>
                </c:pt>
                <c:pt idx="20504">
                  <c:v>-5.0420168067226703E-3</c:v>
                </c:pt>
                <c:pt idx="20505">
                  <c:v>-5.0420168067226703E-3</c:v>
                </c:pt>
                <c:pt idx="20506">
                  <c:v>-5.0420168067226703E-3</c:v>
                </c:pt>
                <c:pt idx="20507">
                  <c:v>-5.0420168067226703E-3</c:v>
                </c:pt>
                <c:pt idx="20508">
                  <c:v>-5.0420168067226703E-3</c:v>
                </c:pt>
                <c:pt idx="20509">
                  <c:v>-5.0420168067226703E-3</c:v>
                </c:pt>
                <c:pt idx="20510">
                  <c:v>-5.0420168067226703E-3</c:v>
                </c:pt>
                <c:pt idx="20511">
                  <c:v>-5.0420168067226703E-3</c:v>
                </c:pt>
                <c:pt idx="20512">
                  <c:v>-5.0420168067226703E-3</c:v>
                </c:pt>
                <c:pt idx="20513">
                  <c:v>-5.0420168067226703E-3</c:v>
                </c:pt>
                <c:pt idx="20514">
                  <c:v>-5.0420168067226703E-3</c:v>
                </c:pt>
                <c:pt idx="20515">
                  <c:v>-5.0420168067226703E-3</c:v>
                </c:pt>
                <c:pt idx="20516">
                  <c:v>-5.0420168067226703E-3</c:v>
                </c:pt>
                <c:pt idx="20517">
                  <c:v>-5.0420168067226703E-3</c:v>
                </c:pt>
                <c:pt idx="20518">
                  <c:v>-5.0420168067226703E-3</c:v>
                </c:pt>
                <c:pt idx="20519">
                  <c:v>-4.20168067226889E-3</c:v>
                </c:pt>
                <c:pt idx="20520">
                  <c:v>-4.20168067226889E-3</c:v>
                </c:pt>
                <c:pt idx="20521">
                  <c:v>-4.20168067226889E-3</c:v>
                </c:pt>
                <c:pt idx="20522">
                  <c:v>-4.20168067226889E-3</c:v>
                </c:pt>
                <c:pt idx="20523">
                  <c:v>-4.20168067226889E-3</c:v>
                </c:pt>
                <c:pt idx="20524">
                  <c:v>-4.20168067226889E-3</c:v>
                </c:pt>
                <c:pt idx="20525">
                  <c:v>-4.20168067226889E-3</c:v>
                </c:pt>
                <c:pt idx="20526">
                  <c:v>-4.20168067226889E-3</c:v>
                </c:pt>
                <c:pt idx="20527">
                  <c:v>-4.20168067226889E-3</c:v>
                </c:pt>
                <c:pt idx="20528">
                  <c:v>-4.20168067226889E-3</c:v>
                </c:pt>
                <c:pt idx="20529">
                  <c:v>-4.20168067226889E-3</c:v>
                </c:pt>
                <c:pt idx="20530">
                  <c:v>-4.20168067226889E-3</c:v>
                </c:pt>
                <c:pt idx="20531">
                  <c:v>-4.20168067226889E-3</c:v>
                </c:pt>
                <c:pt idx="20532">
                  <c:v>-4.20168067226889E-3</c:v>
                </c:pt>
                <c:pt idx="20533">
                  <c:v>-4.20168067226889E-3</c:v>
                </c:pt>
                <c:pt idx="20534">
                  <c:v>-4.20168067226889E-3</c:v>
                </c:pt>
                <c:pt idx="20535">
                  <c:v>-4.20168067226889E-3</c:v>
                </c:pt>
                <c:pt idx="20536">
                  <c:v>-4.20168067226889E-3</c:v>
                </c:pt>
                <c:pt idx="20537">
                  <c:v>-4.20168067226889E-3</c:v>
                </c:pt>
                <c:pt idx="20538">
                  <c:v>-4.20168067226889E-3</c:v>
                </c:pt>
                <c:pt idx="20539">
                  <c:v>-4.20168067226889E-3</c:v>
                </c:pt>
                <c:pt idx="20540">
                  <c:v>-3.3613445378151102E-3</c:v>
                </c:pt>
                <c:pt idx="20541">
                  <c:v>-3.3613445378151102E-3</c:v>
                </c:pt>
                <c:pt idx="20542">
                  <c:v>-3.3613445378151102E-3</c:v>
                </c:pt>
                <c:pt idx="20543">
                  <c:v>-3.3613445378151102E-3</c:v>
                </c:pt>
                <c:pt idx="20544">
                  <c:v>-3.3613445378151102E-3</c:v>
                </c:pt>
                <c:pt idx="20545">
                  <c:v>-3.3613445378151102E-3</c:v>
                </c:pt>
                <c:pt idx="20546">
                  <c:v>-3.3613445378151102E-3</c:v>
                </c:pt>
                <c:pt idx="20547">
                  <c:v>-3.3613445378151102E-3</c:v>
                </c:pt>
                <c:pt idx="20548">
                  <c:v>-3.3613445378151102E-3</c:v>
                </c:pt>
                <c:pt idx="20549">
                  <c:v>-3.3613445378151102E-3</c:v>
                </c:pt>
                <c:pt idx="20550">
                  <c:v>-3.3613445378151102E-3</c:v>
                </c:pt>
                <c:pt idx="20551">
                  <c:v>-3.3613445378151102E-3</c:v>
                </c:pt>
                <c:pt idx="20552">
                  <c:v>-3.3613445378151102E-3</c:v>
                </c:pt>
                <c:pt idx="20553">
                  <c:v>-3.3613445378151102E-3</c:v>
                </c:pt>
                <c:pt idx="20554">
                  <c:v>-3.3613445378151102E-3</c:v>
                </c:pt>
                <c:pt idx="20555">
                  <c:v>-3.3613445378151102E-3</c:v>
                </c:pt>
                <c:pt idx="20556">
                  <c:v>-3.3613445378151102E-3</c:v>
                </c:pt>
                <c:pt idx="20557">
                  <c:v>-3.3613445378151102E-3</c:v>
                </c:pt>
                <c:pt idx="20558">
                  <c:v>-3.3613445378151102E-3</c:v>
                </c:pt>
                <c:pt idx="20559">
                  <c:v>-3.3613445378151102E-3</c:v>
                </c:pt>
                <c:pt idx="20560">
                  <c:v>-3.3613445378151102E-3</c:v>
                </c:pt>
                <c:pt idx="20561">
                  <c:v>-3.3613445378151102E-3</c:v>
                </c:pt>
                <c:pt idx="20562">
                  <c:v>-3.3613445378151102E-3</c:v>
                </c:pt>
                <c:pt idx="20563">
                  <c:v>-3.3613445378151102E-3</c:v>
                </c:pt>
                <c:pt idx="20564">
                  <c:v>-3.3613445378151102E-3</c:v>
                </c:pt>
                <c:pt idx="20565">
                  <c:v>-3.3613445378151102E-3</c:v>
                </c:pt>
                <c:pt idx="20566">
                  <c:v>-2.5210084033613299E-3</c:v>
                </c:pt>
                <c:pt idx="20567">
                  <c:v>-2.5210084033613299E-3</c:v>
                </c:pt>
                <c:pt idx="20568">
                  <c:v>-2.5210084033613299E-3</c:v>
                </c:pt>
                <c:pt idx="20569">
                  <c:v>-2.5210084033613299E-3</c:v>
                </c:pt>
                <c:pt idx="20570">
                  <c:v>-3.3613445378151102E-3</c:v>
                </c:pt>
                <c:pt idx="20571">
                  <c:v>-3.3613445378151102E-3</c:v>
                </c:pt>
                <c:pt idx="20572">
                  <c:v>-3.3613445378151102E-3</c:v>
                </c:pt>
                <c:pt idx="20573">
                  <c:v>-3.3613445378151102E-3</c:v>
                </c:pt>
                <c:pt idx="20574">
                  <c:v>-3.3613445378151102E-3</c:v>
                </c:pt>
                <c:pt idx="20575">
                  <c:v>-3.3613445378151102E-3</c:v>
                </c:pt>
                <c:pt idx="20576">
                  <c:v>-3.3613445378151102E-3</c:v>
                </c:pt>
                <c:pt idx="20577">
                  <c:v>-3.3613445378151102E-3</c:v>
                </c:pt>
                <c:pt idx="20578">
                  <c:v>-3.3613445378151102E-3</c:v>
                </c:pt>
                <c:pt idx="20579">
                  <c:v>-3.3613445378151102E-3</c:v>
                </c:pt>
                <c:pt idx="20580">
                  <c:v>-3.3613445378151102E-3</c:v>
                </c:pt>
                <c:pt idx="20581">
                  <c:v>-3.3613445378151102E-3</c:v>
                </c:pt>
                <c:pt idx="20582">
                  <c:v>-3.3613445378151102E-3</c:v>
                </c:pt>
                <c:pt idx="20583">
                  <c:v>-2.5210084033613299E-3</c:v>
                </c:pt>
                <c:pt idx="20584">
                  <c:v>-2.5210084033613299E-3</c:v>
                </c:pt>
                <c:pt idx="20585">
                  <c:v>-3.3613445378151102E-3</c:v>
                </c:pt>
                <c:pt idx="20586">
                  <c:v>-3.3613445378151102E-3</c:v>
                </c:pt>
                <c:pt idx="20587">
                  <c:v>-3.3613445378151102E-3</c:v>
                </c:pt>
                <c:pt idx="20588">
                  <c:v>-3.3613445378151102E-3</c:v>
                </c:pt>
                <c:pt idx="20589">
                  <c:v>-3.3613445378151102E-3</c:v>
                </c:pt>
                <c:pt idx="20590">
                  <c:v>-3.3613445378151102E-3</c:v>
                </c:pt>
                <c:pt idx="20591">
                  <c:v>-3.3613445378151102E-3</c:v>
                </c:pt>
                <c:pt idx="20592">
                  <c:v>-3.3613445378151102E-3</c:v>
                </c:pt>
                <c:pt idx="20593">
                  <c:v>-3.3613445378151102E-3</c:v>
                </c:pt>
                <c:pt idx="20594">
                  <c:v>-3.3613445378151102E-3</c:v>
                </c:pt>
                <c:pt idx="20595">
                  <c:v>-2.5210084033613299E-3</c:v>
                </c:pt>
                <c:pt idx="20596">
                  <c:v>-2.5210084033613299E-3</c:v>
                </c:pt>
                <c:pt idx="20597">
                  <c:v>-2.5210084033613299E-3</c:v>
                </c:pt>
                <c:pt idx="20598">
                  <c:v>-2.5210084033613299E-3</c:v>
                </c:pt>
                <c:pt idx="20599">
                  <c:v>-2.5210084033613299E-3</c:v>
                </c:pt>
                <c:pt idx="20600">
                  <c:v>-2.5210084033613299E-3</c:v>
                </c:pt>
                <c:pt idx="20601">
                  <c:v>-2.5210084033613299E-3</c:v>
                </c:pt>
                <c:pt idx="20602">
                  <c:v>-2.5210084033613299E-3</c:v>
                </c:pt>
                <c:pt idx="20603">
                  <c:v>-2.5210084033613299E-3</c:v>
                </c:pt>
                <c:pt idx="20604">
                  <c:v>-2.5210084033613299E-3</c:v>
                </c:pt>
                <c:pt idx="20605">
                  <c:v>-2.5210084033613299E-3</c:v>
                </c:pt>
                <c:pt idx="20606">
                  <c:v>-2.5210084033613299E-3</c:v>
                </c:pt>
                <c:pt idx="20607">
                  <c:v>-2.5210084033613299E-3</c:v>
                </c:pt>
                <c:pt idx="20608">
                  <c:v>-2.5210084033613299E-3</c:v>
                </c:pt>
                <c:pt idx="20609">
                  <c:v>-2.5210084033613299E-3</c:v>
                </c:pt>
                <c:pt idx="20610">
                  <c:v>-2.5210084033613299E-3</c:v>
                </c:pt>
                <c:pt idx="20611">
                  <c:v>-2.5210084033613299E-3</c:v>
                </c:pt>
                <c:pt idx="20612">
                  <c:v>-2.5210084033613299E-3</c:v>
                </c:pt>
                <c:pt idx="20613">
                  <c:v>-2.5210084033613299E-3</c:v>
                </c:pt>
                <c:pt idx="20614">
                  <c:v>-2.5210084033613299E-3</c:v>
                </c:pt>
                <c:pt idx="20615">
                  <c:v>-2.5210084033613299E-3</c:v>
                </c:pt>
                <c:pt idx="20616">
                  <c:v>-2.5210084033613299E-3</c:v>
                </c:pt>
                <c:pt idx="20617">
                  <c:v>-2.5210084033613299E-3</c:v>
                </c:pt>
                <c:pt idx="20618">
                  <c:v>-2.5210084033613299E-3</c:v>
                </c:pt>
                <c:pt idx="20619">
                  <c:v>-2.5210084033613299E-3</c:v>
                </c:pt>
                <c:pt idx="20620">
                  <c:v>-2.5210084033613299E-3</c:v>
                </c:pt>
                <c:pt idx="20621">
                  <c:v>-2.5210084033613299E-3</c:v>
                </c:pt>
                <c:pt idx="20622">
                  <c:v>-2.5210084033613299E-3</c:v>
                </c:pt>
                <c:pt idx="20623">
                  <c:v>-2.5210084033613299E-3</c:v>
                </c:pt>
                <c:pt idx="20624">
                  <c:v>-2.5210084033613299E-3</c:v>
                </c:pt>
                <c:pt idx="20625">
                  <c:v>-2.5210084033613299E-3</c:v>
                </c:pt>
                <c:pt idx="20626">
                  <c:v>-2.5210084033613299E-3</c:v>
                </c:pt>
                <c:pt idx="20627">
                  <c:v>-2.5210084033613299E-3</c:v>
                </c:pt>
                <c:pt idx="20628">
                  <c:v>-2.5210084033613299E-3</c:v>
                </c:pt>
                <c:pt idx="20629">
                  <c:v>-2.5210084033613299E-3</c:v>
                </c:pt>
                <c:pt idx="20630">
                  <c:v>-2.5210084033613299E-3</c:v>
                </c:pt>
                <c:pt idx="20631">
                  <c:v>-2.5210084033613299E-3</c:v>
                </c:pt>
                <c:pt idx="20632">
                  <c:v>-2.5210084033613299E-3</c:v>
                </c:pt>
                <c:pt idx="20633">
                  <c:v>-2.5210084033613299E-3</c:v>
                </c:pt>
                <c:pt idx="20634">
                  <c:v>-2.5210084033613299E-3</c:v>
                </c:pt>
                <c:pt idx="20635">
                  <c:v>-2.5210084033613299E-3</c:v>
                </c:pt>
                <c:pt idx="20636">
                  <c:v>-2.5210084033613299E-3</c:v>
                </c:pt>
                <c:pt idx="20637">
                  <c:v>-2.5210084033613299E-3</c:v>
                </c:pt>
                <c:pt idx="20638">
                  <c:v>-2.5210084033613299E-3</c:v>
                </c:pt>
                <c:pt idx="20639">
                  <c:v>-2.5210084033613299E-3</c:v>
                </c:pt>
                <c:pt idx="20640">
                  <c:v>-1.6806722689075499E-3</c:v>
                </c:pt>
                <c:pt idx="20641">
                  <c:v>-1.6806722689075499E-3</c:v>
                </c:pt>
                <c:pt idx="20642">
                  <c:v>-1.6806722689075499E-3</c:v>
                </c:pt>
                <c:pt idx="20643">
                  <c:v>-1.6806722689075499E-3</c:v>
                </c:pt>
                <c:pt idx="20644">
                  <c:v>-1.6806722689075499E-3</c:v>
                </c:pt>
                <c:pt idx="20645">
                  <c:v>-1.6806722689075499E-3</c:v>
                </c:pt>
                <c:pt idx="20646">
                  <c:v>-1.6806722689075499E-3</c:v>
                </c:pt>
                <c:pt idx="20647">
                  <c:v>-1.6806722689075499E-3</c:v>
                </c:pt>
                <c:pt idx="20648">
                  <c:v>-1.6806722689075499E-3</c:v>
                </c:pt>
                <c:pt idx="20649">
                  <c:v>-1.6806722689075499E-3</c:v>
                </c:pt>
                <c:pt idx="20650">
                  <c:v>-1.6806722689075499E-3</c:v>
                </c:pt>
                <c:pt idx="20651">
                  <c:v>-1.6806722689075499E-3</c:v>
                </c:pt>
                <c:pt idx="20652">
                  <c:v>-1.6806722689075499E-3</c:v>
                </c:pt>
                <c:pt idx="20653">
                  <c:v>-1.6806722689075499E-3</c:v>
                </c:pt>
                <c:pt idx="20654">
                  <c:v>-1.6806722689075499E-3</c:v>
                </c:pt>
                <c:pt idx="20655">
                  <c:v>-1.6806722689075499E-3</c:v>
                </c:pt>
                <c:pt idx="20656">
                  <c:v>-1.6806722689075499E-3</c:v>
                </c:pt>
                <c:pt idx="20657">
                  <c:v>-1.6806722689075499E-3</c:v>
                </c:pt>
                <c:pt idx="20658">
                  <c:v>-1.6806722689075499E-3</c:v>
                </c:pt>
                <c:pt idx="20659">
                  <c:v>-1.6806722689075499E-3</c:v>
                </c:pt>
                <c:pt idx="20660">
                  <c:v>-1.6806722689075499E-3</c:v>
                </c:pt>
                <c:pt idx="20661">
                  <c:v>-1.6806722689075499E-3</c:v>
                </c:pt>
                <c:pt idx="20662">
                  <c:v>-1.6806722689075499E-3</c:v>
                </c:pt>
                <c:pt idx="20663">
                  <c:v>-1.6806722689075499E-3</c:v>
                </c:pt>
                <c:pt idx="20664">
                  <c:v>-1.6806722689075499E-3</c:v>
                </c:pt>
                <c:pt idx="20665">
                  <c:v>-1.6806722689075499E-3</c:v>
                </c:pt>
                <c:pt idx="20666">
                  <c:v>-1.6806722689075499E-3</c:v>
                </c:pt>
                <c:pt idx="20667">
                  <c:v>-1.6806722689075499E-3</c:v>
                </c:pt>
                <c:pt idx="20668">
                  <c:v>-1.6806722689075499E-3</c:v>
                </c:pt>
                <c:pt idx="20669">
                  <c:v>-1.6806722689075499E-3</c:v>
                </c:pt>
                <c:pt idx="20670">
                  <c:v>-1.6806722689075499E-3</c:v>
                </c:pt>
                <c:pt idx="20671">
                  <c:v>-1.6806722689075499E-3</c:v>
                </c:pt>
                <c:pt idx="20672">
                  <c:v>-1.6806722689075499E-3</c:v>
                </c:pt>
                <c:pt idx="20673">
                  <c:v>-1.6806722689075499E-3</c:v>
                </c:pt>
                <c:pt idx="20674">
                  <c:v>-1.6806722689075499E-3</c:v>
                </c:pt>
                <c:pt idx="20675">
                  <c:v>-1.6806722689075499E-3</c:v>
                </c:pt>
                <c:pt idx="20676">
                  <c:v>-1.6806722689075499E-3</c:v>
                </c:pt>
                <c:pt idx="20677">
                  <c:v>-1.6806722689075499E-3</c:v>
                </c:pt>
                <c:pt idx="20678">
                  <c:v>-1.6806722689075499E-3</c:v>
                </c:pt>
                <c:pt idx="20679">
                  <c:v>-1.6806722689075499E-3</c:v>
                </c:pt>
                <c:pt idx="20680">
                  <c:v>-1.6806722689075499E-3</c:v>
                </c:pt>
                <c:pt idx="20681">
                  <c:v>-2.5210084033613299E-3</c:v>
                </c:pt>
                <c:pt idx="20682">
                  <c:v>-2.5210084033613299E-3</c:v>
                </c:pt>
                <c:pt idx="20683">
                  <c:v>-2.5210084033613299E-3</c:v>
                </c:pt>
                <c:pt idx="20684">
                  <c:v>-2.5210084033613299E-3</c:v>
                </c:pt>
                <c:pt idx="20685">
                  <c:v>-2.5210084033613299E-3</c:v>
                </c:pt>
                <c:pt idx="20686">
                  <c:v>-2.5210084033613299E-3</c:v>
                </c:pt>
                <c:pt idx="20687">
                  <c:v>-2.5210084033613299E-3</c:v>
                </c:pt>
                <c:pt idx="20688">
                  <c:v>-3.3613445378151102E-3</c:v>
                </c:pt>
                <c:pt idx="20689">
                  <c:v>-3.3613445378151102E-3</c:v>
                </c:pt>
                <c:pt idx="20690">
                  <c:v>-3.3613445378151102E-3</c:v>
                </c:pt>
                <c:pt idx="20691">
                  <c:v>-3.3613445378151102E-3</c:v>
                </c:pt>
                <c:pt idx="20692">
                  <c:v>-3.3613445378151102E-3</c:v>
                </c:pt>
                <c:pt idx="20693">
                  <c:v>-3.3613445378151102E-3</c:v>
                </c:pt>
                <c:pt idx="20694">
                  <c:v>-3.3613445378151102E-3</c:v>
                </c:pt>
                <c:pt idx="20695">
                  <c:v>-3.3613445378151102E-3</c:v>
                </c:pt>
                <c:pt idx="20696">
                  <c:v>-3.3613445378151102E-3</c:v>
                </c:pt>
                <c:pt idx="20697">
                  <c:v>-3.3613445378151102E-3</c:v>
                </c:pt>
                <c:pt idx="20698">
                  <c:v>-3.3613445378151102E-3</c:v>
                </c:pt>
                <c:pt idx="20699">
                  <c:v>-3.3613445378151102E-3</c:v>
                </c:pt>
                <c:pt idx="20700">
                  <c:v>-3.3613445378151102E-3</c:v>
                </c:pt>
                <c:pt idx="20701">
                  <c:v>-3.3613445378151102E-3</c:v>
                </c:pt>
                <c:pt idx="20702">
                  <c:v>-3.3613445378151102E-3</c:v>
                </c:pt>
                <c:pt idx="20703">
                  <c:v>-3.3613445378151102E-3</c:v>
                </c:pt>
                <c:pt idx="20704">
                  <c:v>-3.3613445378151102E-3</c:v>
                </c:pt>
                <c:pt idx="20705">
                  <c:v>-3.3613445378151102E-3</c:v>
                </c:pt>
                <c:pt idx="20706">
                  <c:v>-3.3613445378151102E-3</c:v>
                </c:pt>
                <c:pt idx="20707">
                  <c:v>-3.3613445378151102E-3</c:v>
                </c:pt>
                <c:pt idx="20708">
                  <c:v>-3.3613445378151102E-3</c:v>
                </c:pt>
                <c:pt idx="20709">
                  <c:v>-3.3613445378151102E-3</c:v>
                </c:pt>
                <c:pt idx="20710">
                  <c:v>-3.3613445378151102E-3</c:v>
                </c:pt>
                <c:pt idx="20711">
                  <c:v>-3.3613445378151102E-3</c:v>
                </c:pt>
                <c:pt idx="20712">
                  <c:v>-3.3613445378151102E-3</c:v>
                </c:pt>
                <c:pt idx="20713">
                  <c:v>-3.3613445378151102E-3</c:v>
                </c:pt>
                <c:pt idx="20714">
                  <c:v>-3.3613445378151102E-3</c:v>
                </c:pt>
                <c:pt idx="20715">
                  <c:v>-3.3613445378151102E-3</c:v>
                </c:pt>
                <c:pt idx="20716">
                  <c:v>-3.3613445378151102E-3</c:v>
                </c:pt>
                <c:pt idx="20717">
                  <c:v>-3.3613445378151102E-3</c:v>
                </c:pt>
                <c:pt idx="20718">
                  <c:v>-3.3613445378151102E-3</c:v>
                </c:pt>
                <c:pt idx="20719">
                  <c:v>-3.3613445378151102E-3</c:v>
                </c:pt>
                <c:pt idx="20720">
                  <c:v>-3.3613445378151102E-3</c:v>
                </c:pt>
                <c:pt idx="20721">
                  <c:v>-3.3613445378151102E-3</c:v>
                </c:pt>
                <c:pt idx="20722">
                  <c:v>-3.3613445378151102E-3</c:v>
                </c:pt>
                <c:pt idx="20723">
                  <c:v>-3.3613445378151102E-3</c:v>
                </c:pt>
                <c:pt idx="20724">
                  <c:v>-3.3613445378151102E-3</c:v>
                </c:pt>
                <c:pt idx="20725">
                  <c:v>-3.3613445378151102E-3</c:v>
                </c:pt>
                <c:pt idx="20726">
                  <c:v>-3.3613445378151102E-3</c:v>
                </c:pt>
                <c:pt idx="20727">
                  <c:v>-3.3613445378151102E-3</c:v>
                </c:pt>
                <c:pt idx="20728">
                  <c:v>-3.3613445378151102E-3</c:v>
                </c:pt>
                <c:pt idx="20729">
                  <c:v>-3.3613445378151102E-3</c:v>
                </c:pt>
                <c:pt idx="20730">
                  <c:v>-3.3613445378151102E-3</c:v>
                </c:pt>
                <c:pt idx="20731">
                  <c:v>-3.3613445378151102E-3</c:v>
                </c:pt>
                <c:pt idx="20732">
                  <c:v>-3.3613445378151102E-3</c:v>
                </c:pt>
                <c:pt idx="20733">
                  <c:v>-3.3613445378151102E-3</c:v>
                </c:pt>
                <c:pt idx="20734">
                  <c:v>-3.3613445378151102E-3</c:v>
                </c:pt>
                <c:pt idx="20735">
                  <c:v>-3.3613445378151102E-3</c:v>
                </c:pt>
                <c:pt idx="20736">
                  <c:v>-3.3613445378151102E-3</c:v>
                </c:pt>
                <c:pt idx="20737">
                  <c:v>-3.3613445378151102E-3</c:v>
                </c:pt>
                <c:pt idx="20738">
                  <c:v>-3.3613445378151102E-3</c:v>
                </c:pt>
                <c:pt idx="20739">
                  <c:v>-3.3613445378151102E-3</c:v>
                </c:pt>
                <c:pt idx="20740">
                  <c:v>-3.3613445378151102E-3</c:v>
                </c:pt>
                <c:pt idx="20741">
                  <c:v>-3.3613445378151102E-3</c:v>
                </c:pt>
                <c:pt idx="20742">
                  <c:v>-2.5210084033613299E-3</c:v>
                </c:pt>
                <c:pt idx="20743">
                  <c:v>-2.5210084033613299E-3</c:v>
                </c:pt>
                <c:pt idx="20744">
                  <c:v>-2.5210084033613299E-3</c:v>
                </c:pt>
                <c:pt idx="20745">
                  <c:v>-2.5210084033613299E-3</c:v>
                </c:pt>
                <c:pt idx="20746">
                  <c:v>-2.5210084033613299E-3</c:v>
                </c:pt>
                <c:pt idx="20747">
                  <c:v>-1.6806722689075499E-3</c:v>
                </c:pt>
                <c:pt idx="20748">
                  <c:v>-1.6806722689075499E-3</c:v>
                </c:pt>
                <c:pt idx="20749">
                  <c:v>-1.6806722689075499E-3</c:v>
                </c:pt>
                <c:pt idx="20750">
                  <c:v>-1.6806722689075499E-3</c:v>
                </c:pt>
                <c:pt idx="20751">
                  <c:v>-1.6806722689075499E-3</c:v>
                </c:pt>
                <c:pt idx="20752">
                  <c:v>-1.6806722689075499E-3</c:v>
                </c:pt>
                <c:pt idx="20753">
                  <c:v>-1.6806722689075499E-3</c:v>
                </c:pt>
                <c:pt idx="20754">
                  <c:v>-1.6806722689075499E-3</c:v>
                </c:pt>
                <c:pt idx="20755">
                  <c:v>-1.6806722689075499E-3</c:v>
                </c:pt>
                <c:pt idx="20756">
                  <c:v>-1.6806722689075499E-3</c:v>
                </c:pt>
                <c:pt idx="20757">
                  <c:v>-1.6806722689075499E-3</c:v>
                </c:pt>
                <c:pt idx="20758">
                  <c:v>-1.6806722689075499E-3</c:v>
                </c:pt>
                <c:pt idx="20759">
                  <c:v>-1.6806722689075499E-3</c:v>
                </c:pt>
                <c:pt idx="20760">
                  <c:v>-1.6806722689075499E-3</c:v>
                </c:pt>
                <c:pt idx="20761">
                  <c:v>-1.6806722689075499E-3</c:v>
                </c:pt>
                <c:pt idx="20762">
                  <c:v>-1.6806722689075499E-3</c:v>
                </c:pt>
                <c:pt idx="20763">
                  <c:v>-1.6806722689075499E-3</c:v>
                </c:pt>
                <c:pt idx="20764">
                  <c:v>-1.6806722689075499E-3</c:v>
                </c:pt>
                <c:pt idx="20765">
                  <c:v>-1.6806722689075499E-3</c:v>
                </c:pt>
                <c:pt idx="20766">
                  <c:v>-1.6806722689075499E-3</c:v>
                </c:pt>
                <c:pt idx="20767">
                  <c:v>-1.6806722689075499E-3</c:v>
                </c:pt>
                <c:pt idx="20768">
                  <c:v>-1.6806722689075499E-3</c:v>
                </c:pt>
                <c:pt idx="20769">
                  <c:v>-1.6806722689075499E-3</c:v>
                </c:pt>
                <c:pt idx="20770">
                  <c:v>-1.6806722689075499E-3</c:v>
                </c:pt>
                <c:pt idx="20771">
                  <c:v>-1.6806722689075499E-3</c:v>
                </c:pt>
                <c:pt idx="20772">
                  <c:v>-1.6806722689075499E-3</c:v>
                </c:pt>
                <c:pt idx="20773">
                  <c:v>-1.6806722689075499E-3</c:v>
                </c:pt>
                <c:pt idx="20774">
                  <c:v>-1.6806722689075499E-3</c:v>
                </c:pt>
                <c:pt idx="20775">
                  <c:v>-1.6806722689075499E-3</c:v>
                </c:pt>
                <c:pt idx="20776">
                  <c:v>-1.6806722689075499E-3</c:v>
                </c:pt>
                <c:pt idx="20777">
                  <c:v>-1.6806722689075499E-3</c:v>
                </c:pt>
                <c:pt idx="20778">
                  <c:v>-1.6806722689075499E-3</c:v>
                </c:pt>
                <c:pt idx="20779">
                  <c:v>-1.6806722689075499E-3</c:v>
                </c:pt>
                <c:pt idx="20780">
                  <c:v>-1.6806722689075499E-3</c:v>
                </c:pt>
                <c:pt idx="20781">
                  <c:v>-2.5210084033613299E-3</c:v>
                </c:pt>
                <c:pt idx="20782">
                  <c:v>-2.5210084033613299E-3</c:v>
                </c:pt>
                <c:pt idx="20783">
                  <c:v>-2.5210084033613299E-3</c:v>
                </c:pt>
                <c:pt idx="20784">
                  <c:v>-2.5210084033613299E-3</c:v>
                </c:pt>
                <c:pt idx="20785">
                  <c:v>-2.5210084033613299E-3</c:v>
                </c:pt>
                <c:pt idx="20786">
                  <c:v>-2.5210084033613299E-3</c:v>
                </c:pt>
                <c:pt idx="20787">
                  <c:v>-2.5210084033613299E-3</c:v>
                </c:pt>
                <c:pt idx="20788">
                  <c:v>-2.5210084033613299E-3</c:v>
                </c:pt>
                <c:pt idx="20789">
                  <c:v>-2.5210084033613299E-3</c:v>
                </c:pt>
                <c:pt idx="20790">
                  <c:v>-2.5210084033613299E-3</c:v>
                </c:pt>
                <c:pt idx="20791">
                  <c:v>-2.5210084033613299E-3</c:v>
                </c:pt>
                <c:pt idx="20792">
                  <c:v>-2.5210084033613299E-3</c:v>
                </c:pt>
                <c:pt idx="20793">
                  <c:v>-2.5210084033613299E-3</c:v>
                </c:pt>
                <c:pt idx="20794">
                  <c:v>-2.5210084033613299E-3</c:v>
                </c:pt>
                <c:pt idx="20795">
                  <c:v>-2.5210084033613299E-3</c:v>
                </c:pt>
                <c:pt idx="20796">
                  <c:v>-2.5210084033613299E-3</c:v>
                </c:pt>
                <c:pt idx="20797">
                  <c:v>-1.6806722689075499E-3</c:v>
                </c:pt>
                <c:pt idx="20798">
                  <c:v>-1.6806722689075499E-3</c:v>
                </c:pt>
                <c:pt idx="20799">
                  <c:v>-1.6806722689075499E-3</c:v>
                </c:pt>
                <c:pt idx="20800">
                  <c:v>-1.6806722689075499E-3</c:v>
                </c:pt>
                <c:pt idx="20801">
                  <c:v>-1.6806722689075499E-3</c:v>
                </c:pt>
                <c:pt idx="20802">
                  <c:v>-1.6806722689075499E-3</c:v>
                </c:pt>
                <c:pt idx="20803">
                  <c:v>-1.6806722689075499E-3</c:v>
                </c:pt>
                <c:pt idx="20804">
                  <c:v>-1.6806722689075499E-3</c:v>
                </c:pt>
                <c:pt idx="20805">
                  <c:v>-1.6806722689075499E-3</c:v>
                </c:pt>
                <c:pt idx="20806">
                  <c:v>-8.4033613445377799E-4</c:v>
                </c:pt>
                <c:pt idx="20807">
                  <c:v>-8.4033613445377799E-4</c:v>
                </c:pt>
                <c:pt idx="20808">
                  <c:v>-8.4033613445377799E-4</c:v>
                </c:pt>
                <c:pt idx="20809">
                  <c:v>-8.4033613445377799E-4</c:v>
                </c:pt>
                <c:pt idx="20810">
                  <c:v>-8.4033613445377799E-4</c:v>
                </c:pt>
                <c:pt idx="20811">
                  <c:v>-8.4033613445377799E-4</c:v>
                </c:pt>
                <c:pt idx="20812">
                  <c:v>-8.4033613445377799E-4</c:v>
                </c:pt>
                <c:pt idx="20813">
                  <c:v>-8.4033613445377799E-4</c:v>
                </c:pt>
                <c:pt idx="20814">
                  <c:v>-8.4033613445377799E-4</c:v>
                </c:pt>
                <c:pt idx="20815">
                  <c:v>-8.4033613445377799E-4</c:v>
                </c:pt>
                <c:pt idx="20816">
                  <c:v>-8.4033613445377799E-4</c:v>
                </c:pt>
                <c:pt idx="20817">
                  <c:v>-8.4033613445377799E-4</c:v>
                </c:pt>
                <c:pt idx="20818">
                  <c:v>-8.4033613445377799E-4</c:v>
                </c:pt>
                <c:pt idx="20819">
                  <c:v>-8.4033613445377799E-4</c:v>
                </c:pt>
                <c:pt idx="20820">
                  <c:v>-8.4033613445377799E-4</c:v>
                </c:pt>
                <c:pt idx="20821">
                  <c:v>-8.4033613445377799E-4</c:v>
                </c:pt>
                <c:pt idx="20822">
                  <c:v>-8.4033613445377799E-4</c:v>
                </c:pt>
                <c:pt idx="20823">
                  <c:v>-8.4033613445377799E-4</c:v>
                </c:pt>
                <c:pt idx="20824">
                  <c:v>-8.4033613445377799E-4</c:v>
                </c:pt>
                <c:pt idx="20825">
                  <c:v>-8.4033613445377799E-4</c:v>
                </c:pt>
                <c:pt idx="20826">
                  <c:v>-8.4033613445377799E-4</c:v>
                </c:pt>
                <c:pt idx="20827">
                  <c:v>-8.4033613445377799E-4</c:v>
                </c:pt>
                <c:pt idx="20828">
                  <c:v>-8.4033613445377799E-4</c:v>
                </c:pt>
                <c:pt idx="20829">
                  <c:v>-8.4033613445377799E-4</c:v>
                </c:pt>
                <c:pt idx="20830">
                  <c:v>-8.4033613445377799E-4</c:v>
                </c:pt>
                <c:pt idx="20831">
                  <c:v>-1.6806722689075499E-3</c:v>
                </c:pt>
                <c:pt idx="20832">
                  <c:v>-1.6806722689075499E-3</c:v>
                </c:pt>
                <c:pt idx="20833">
                  <c:v>-1.6806722689075499E-3</c:v>
                </c:pt>
                <c:pt idx="20834">
                  <c:v>-1.6806722689075499E-3</c:v>
                </c:pt>
                <c:pt idx="20835">
                  <c:v>-1.6806722689075499E-3</c:v>
                </c:pt>
                <c:pt idx="20836">
                  <c:v>-1.6806722689075499E-3</c:v>
                </c:pt>
                <c:pt idx="20837">
                  <c:v>-1.6806722689075499E-3</c:v>
                </c:pt>
                <c:pt idx="20838">
                  <c:v>-1.6806722689075499E-3</c:v>
                </c:pt>
                <c:pt idx="20839">
                  <c:v>-1.6806722689075499E-3</c:v>
                </c:pt>
                <c:pt idx="20840">
                  <c:v>-1.6806722689075499E-3</c:v>
                </c:pt>
                <c:pt idx="20841">
                  <c:v>-1.6806722689075499E-3</c:v>
                </c:pt>
                <c:pt idx="20842">
                  <c:v>-1.6806722689075499E-3</c:v>
                </c:pt>
                <c:pt idx="20843">
                  <c:v>-1.6806722689075499E-3</c:v>
                </c:pt>
                <c:pt idx="20844">
                  <c:v>-1.6806722689075499E-3</c:v>
                </c:pt>
                <c:pt idx="20845">
                  <c:v>-1.6806722689075499E-3</c:v>
                </c:pt>
                <c:pt idx="20846">
                  <c:v>-1.6806722689075499E-3</c:v>
                </c:pt>
                <c:pt idx="20847">
                  <c:v>-1.6806722689075499E-3</c:v>
                </c:pt>
                <c:pt idx="20848">
                  <c:v>-1.6806722689075499E-3</c:v>
                </c:pt>
                <c:pt idx="20849">
                  <c:v>-1.6806722689075499E-3</c:v>
                </c:pt>
                <c:pt idx="20850">
                  <c:v>-1.6806722689075499E-3</c:v>
                </c:pt>
                <c:pt idx="20851">
                  <c:v>-1.6806722689075499E-3</c:v>
                </c:pt>
                <c:pt idx="20852">
                  <c:v>-1.6806722689075499E-3</c:v>
                </c:pt>
                <c:pt idx="20853">
                  <c:v>-1.6806722689075499E-3</c:v>
                </c:pt>
                <c:pt idx="20854">
                  <c:v>-1.6806722689075499E-3</c:v>
                </c:pt>
                <c:pt idx="20855">
                  <c:v>-1.6806722689075499E-3</c:v>
                </c:pt>
                <c:pt idx="20856">
                  <c:v>-1.6806722689075499E-3</c:v>
                </c:pt>
                <c:pt idx="20857">
                  <c:v>-1.6806722689075499E-3</c:v>
                </c:pt>
                <c:pt idx="20858">
                  <c:v>-1.6806722689075499E-3</c:v>
                </c:pt>
                <c:pt idx="20859">
                  <c:v>-1.6806722689075499E-3</c:v>
                </c:pt>
                <c:pt idx="20860">
                  <c:v>-1.6806722689075499E-3</c:v>
                </c:pt>
                <c:pt idx="20861">
                  <c:v>-1.6806722689075499E-3</c:v>
                </c:pt>
                <c:pt idx="20862">
                  <c:v>-1.6806722689075499E-3</c:v>
                </c:pt>
                <c:pt idx="20863">
                  <c:v>-1.6806722689075499E-3</c:v>
                </c:pt>
                <c:pt idx="20864">
                  <c:v>-1.6806722689075499E-3</c:v>
                </c:pt>
                <c:pt idx="20865">
                  <c:v>-1.6806722689075499E-3</c:v>
                </c:pt>
                <c:pt idx="20866">
                  <c:v>-1.6806722689075499E-3</c:v>
                </c:pt>
                <c:pt idx="20867">
                  <c:v>-1.6806722689075499E-3</c:v>
                </c:pt>
                <c:pt idx="20868">
                  <c:v>-1.6806722689075499E-3</c:v>
                </c:pt>
                <c:pt idx="20869">
                  <c:v>-1.6806722689075499E-3</c:v>
                </c:pt>
                <c:pt idx="20870">
                  <c:v>-1.6806722689075499E-3</c:v>
                </c:pt>
                <c:pt idx="20871">
                  <c:v>-1.6806722689075499E-3</c:v>
                </c:pt>
                <c:pt idx="20872">
                  <c:v>-1.6806722689075499E-3</c:v>
                </c:pt>
                <c:pt idx="20873">
                  <c:v>-1.6806722689075499E-3</c:v>
                </c:pt>
                <c:pt idx="20874">
                  <c:v>-1.6806722689075499E-3</c:v>
                </c:pt>
                <c:pt idx="20875">
                  <c:v>-1.6806722689075499E-3</c:v>
                </c:pt>
                <c:pt idx="20876">
                  <c:v>-1.6806722689075499E-3</c:v>
                </c:pt>
                <c:pt idx="20877">
                  <c:v>-1.6806722689075499E-3</c:v>
                </c:pt>
                <c:pt idx="20878">
                  <c:v>-1.6806722689075499E-3</c:v>
                </c:pt>
                <c:pt idx="20879">
                  <c:v>-1.6806722689075499E-3</c:v>
                </c:pt>
                <c:pt idx="20880">
                  <c:v>-1.6806722689075499E-3</c:v>
                </c:pt>
                <c:pt idx="20881">
                  <c:v>-1.6806722689075499E-3</c:v>
                </c:pt>
                <c:pt idx="20882">
                  <c:v>-1.6806722689075499E-3</c:v>
                </c:pt>
                <c:pt idx="20883">
                  <c:v>-1.6806722689075499E-3</c:v>
                </c:pt>
                <c:pt idx="20884">
                  <c:v>-1.6806722689075499E-3</c:v>
                </c:pt>
                <c:pt idx="20885">
                  <c:v>-1.6806722689075499E-3</c:v>
                </c:pt>
                <c:pt idx="20886">
                  <c:v>-1.6806722689075499E-3</c:v>
                </c:pt>
                <c:pt idx="20887">
                  <c:v>-1.6806722689075499E-3</c:v>
                </c:pt>
                <c:pt idx="20888">
                  <c:v>-2.5210084033613299E-3</c:v>
                </c:pt>
                <c:pt idx="20889">
                  <c:v>-2.5210084033613299E-3</c:v>
                </c:pt>
                <c:pt idx="20890">
                  <c:v>-2.5210084033613299E-3</c:v>
                </c:pt>
                <c:pt idx="20891">
                  <c:v>-2.5210084033613299E-3</c:v>
                </c:pt>
                <c:pt idx="20892">
                  <c:v>-2.5210084033613299E-3</c:v>
                </c:pt>
                <c:pt idx="20893">
                  <c:v>-2.5210084033613299E-3</c:v>
                </c:pt>
                <c:pt idx="20894">
                  <c:v>-2.5210084033613299E-3</c:v>
                </c:pt>
                <c:pt idx="20895">
                  <c:v>-2.5210084033613299E-3</c:v>
                </c:pt>
                <c:pt idx="20896">
                  <c:v>-2.5210084033613299E-3</c:v>
                </c:pt>
                <c:pt idx="20897">
                  <c:v>-2.5210084033613299E-3</c:v>
                </c:pt>
                <c:pt idx="20898">
                  <c:v>-2.5210084033613299E-3</c:v>
                </c:pt>
                <c:pt idx="20899">
                  <c:v>-2.5210084033613299E-3</c:v>
                </c:pt>
                <c:pt idx="20900">
                  <c:v>-2.5210084033613299E-3</c:v>
                </c:pt>
                <c:pt idx="20901">
                  <c:v>-2.5210084033613299E-3</c:v>
                </c:pt>
                <c:pt idx="20902">
                  <c:v>-2.5210084033613299E-3</c:v>
                </c:pt>
                <c:pt idx="20903">
                  <c:v>-2.5210084033613299E-3</c:v>
                </c:pt>
                <c:pt idx="20904">
                  <c:v>-2.5210084033613299E-3</c:v>
                </c:pt>
                <c:pt idx="20905">
                  <c:v>-2.5210084033613299E-3</c:v>
                </c:pt>
                <c:pt idx="20906">
                  <c:v>-2.5210084033613299E-3</c:v>
                </c:pt>
                <c:pt idx="20907">
                  <c:v>-1.6806722689075499E-3</c:v>
                </c:pt>
                <c:pt idx="20908">
                  <c:v>-1.6806722689075499E-3</c:v>
                </c:pt>
                <c:pt idx="20909">
                  <c:v>-1.6806722689075499E-3</c:v>
                </c:pt>
                <c:pt idx="20910">
                  <c:v>-1.6806722689075499E-3</c:v>
                </c:pt>
                <c:pt idx="20911">
                  <c:v>-1.6806722689075499E-3</c:v>
                </c:pt>
                <c:pt idx="20912">
                  <c:v>-1.6806722689075499E-3</c:v>
                </c:pt>
                <c:pt idx="20913">
                  <c:v>-2.5210084033613299E-3</c:v>
                </c:pt>
                <c:pt idx="20914">
                  <c:v>-2.5210084033613299E-3</c:v>
                </c:pt>
                <c:pt idx="20915">
                  <c:v>-2.5210084033613299E-3</c:v>
                </c:pt>
                <c:pt idx="20916">
                  <c:v>-2.5210084033613299E-3</c:v>
                </c:pt>
                <c:pt idx="20917">
                  <c:v>-2.5210084033613299E-3</c:v>
                </c:pt>
                <c:pt idx="20918">
                  <c:v>-2.5210084033613299E-3</c:v>
                </c:pt>
                <c:pt idx="20919">
                  <c:v>-2.5210084033613299E-3</c:v>
                </c:pt>
                <c:pt idx="20920">
                  <c:v>-3.3613445378151102E-3</c:v>
                </c:pt>
                <c:pt idx="20921">
                  <c:v>-3.3613445378151102E-3</c:v>
                </c:pt>
                <c:pt idx="20922">
                  <c:v>-3.3613445378151102E-3</c:v>
                </c:pt>
                <c:pt idx="20923">
                  <c:v>-3.3613445378151102E-3</c:v>
                </c:pt>
                <c:pt idx="20924">
                  <c:v>-3.3613445378151102E-3</c:v>
                </c:pt>
                <c:pt idx="20925">
                  <c:v>-3.3613445378151102E-3</c:v>
                </c:pt>
                <c:pt idx="20926">
                  <c:v>-3.3613445378151102E-3</c:v>
                </c:pt>
                <c:pt idx="20927">
                  <c:v>-3.3613445378151102E-3</c:v>
                </c:pt>
                <c:pt idx="20928">
                  <c:v>-3.3613445378151102E-3</c:v>
                </c:pt>
                <c:pt idx="20929">
                  <c:v>-3.3613445378151102E-3</c:v>
                </c:pt>
                <c:pt idx="20930">
                  <c:v>-3.3613445378151102E-3</c:v>
                </c:pt>
                <c:pt idx="20931">
                  <c:v>-3.3613445378151102E-3</c:v>
                </c:pt>
                <c:pt idx="20932">
                  <c:v>-3.3613445378151102E-3</c:v>
                </c:pt>
                <c:pt idx="20933">
                  <c:v>-3.3613445378151102E-3</c:v>
                </c:pt>
                <c:pt idx="20934">
                  <c:v>-3.3613445378151102E-3</c:v>
                </c:pt>
                <c:pt idx="20935">
                  <c:v>-4.20168067226889E-3</c:v>
                </c:pt>
                <c:pt idx="20936">
                  <c:v>-4.20168067226889E-3</c:v>
                </c:pt>
                <c:pt idx="20937">
                  <c:v>-4.20168067226889E-3</c:v>
                </c:pt>
                <c:pt idx="20938">
                  <c:v>-4.20168067226889E-3</c:v>
                </c:pt>
                <c:pt idx="20939">
                  <c:v>-4.20168067226889E-3</c:v>
                </c:pt>
                <c:pt idx="20940">
                  <c:v>-4.20168067226889E-3</c:v>
                </c:pt>
                <c:pt idx="20941">
                  <c:v>-4.20168067226889E-3</c:v>
                </c:pt>
                <c:pt idx="20942">
                  <c:v>-4.20168067226889E-3</c:v>
                </c:pt>
                <c:pt idx="20943">
                  <c:v>-4.20168067226889E-3</c:v>
                </c:pt>
                <c:pt idx="20944">
                  <c:v>-4.20168067226889E-3</c:v>
                </c:pt>
                <c:pt idx="20945">
                  <c:v>-3.3613445378151102E-3</c:v>
                </c:pt>
                <c:pt idx="20946">
                  <c:v>-3.3613445378151102E-3</c:v>
                </c:pt>
                <c:pt idx="20947">
                  <c:v>-3.3613445378151102E-3</c:v>
                </c:pt>
                <c:pt idx="20948">
                  <c:v>-3.3613445378151102E-3</c:v>
                </c:pt>
                <c:pt idx="20949">
                  <c:v>-3.3613445378151102E-3</c:v>
                </c:pt>
                <c:pt idx="20950">
                  <c:v>-3.3613445378151102E-3</c:v>
                </c:pt>
                <c:pt idx="20951">
                  <c:v>-3.3613445378151102E-3</c:v>
                </c:pt>
                <c:pt idx="20952">
                  <c:v>-3.3613445378151102E-3</c:v>
                </c:pt>
                <c:pt idx="20953">
                  <c:v>-3.3613445378151102E-3</c:v>
                </c:pt>
                <c:pt idx="20954">
                  <c:v>-3.3613445378151102E-3</c:v>
                </c:pt>
                <c:pt idx="20955">
                  <c:v>-3.3613445378151102E-3</c:v>
                </c:pt>
                <c:pt idx="20956">
                  <c:v>-3.3613445378151102E-3</c:v>
                </c:pt>
                <c:pt idx="20957">
                  <c:v>-3.3613445378151102E-3</c:v>
                </c:pt>
                <c:pt idx="20958">
                  <c:v>-3.3613445378151102E-3</c:v>
                </c:pt>
                <c:pt idx="20959">
                  <c:v>-2.5210084033613299E-3</c:v>
                </c:pt>
                <c:pt idx="20960">
                  <c:v>-2.5210084033613299E-3</c:v>
                </c:pt>
                <c:pt idx="20961">
                  <c:v>-2.5210084033613299E-3</c:v>
                </c:pt>
                <c:pt idx="20962">
                  <c:v>-2.5210084033613299E-3</c:v>
                </c:pt>
                <c:pt idx="20963">
                  <c:v>-2.5210084033613299E-3</c:v>
                </c:pt>
                <c:pt idx="20964">
                  <c:v>-2.5210084033613299E-3</c:v>
                </c:pt>
                <c:pt idx="20965">
                  <c:v>-2.5210084033613299E-3</c:v>
                </c:pt>
                <c:pt idx="20966">
                  <c:v>-2.5210084033613299E-3</c:v>
                </c:pt>
                <c:pt idx="20967">
                  <c:v>-2.5210084033613299E-3</c:v>
                </c:pt>
                <c:pt idx="20968">
                  <c:v>-2.5210084033613299E-3</c:v>
                </c:pt>
                <c:pt idx="20969">
                  <c:v>-2.5210084033613299E-3</c:v>
                </c:pt>
                <c:pt idx="20970">
                  <c:v>-2.5210084033613299E-3</c:v>
                </c:pt>
                <c:pt idx="20971">
                  <c:v>-2.5210084033613299E-3</c:v>
                </c:pt>
                <c:pt idx="20972">
                  <c:v>-2.5210084033613299E-3</c:v>
                </c:pt>
                <c:pt idx="20973">
                  <c:v>-2.5210084033613299E-3</c:v>
                </c:pt>
                <c:pt idx="20974">
                  <c:v>-1.6806722689075499E-3</c:v>
                </c:pt>
                <c:pt idx="20975">
                  <c:v>-1.6806722689075499E-3</c:v>
                </c:pt>
                <c:pt idx="20976">
                  <c:v>-1.6806722689075499E-3</c:v>
                </c:pt>
                <c:pt idx="20977">
                  <c:v>-1.6806722689075499E-3</c:v>
                </c:pt>
                <c:pt idx="20978">
                  <c:v>-1.6806722689075499E-3</c:v>
                </c:pt>
                <c:pt idx="20979">
                  <c:v>-1.6806722689075499E-3</c:v>
                </c:pt>
                <c:pt idx="20980">
                  <c:v>-1.6806722689075499E-3</c:v>
                </c:pt>
                <c:pt idx="20981">
                  <c:v>-1.6806722689075499E-3</c:v>
                </c:pt>
                <c:pt idx="20982">
                  <c:v>-1.6806722689075499E-3</c:v>
                </c:pt>
                <c:pt idx="20983">
                  <c:v>-1.6806722689075499E-3</c:v>
                </c:pt>
                <c:pt idx="20984">
                  <c:v>-1.6806722689075499E-3</c:v>
                </c:pt>
                <c:pt idx="20985">
                  <c:v>-1.6806722689075499E-3</c:v>
                </c:pt>
                <c:pt idx="20986">
                  <c:v>-1.6806722689075499E-3</c:v>
                </c:pt>
                <c:pt idx="20987">
                  <c:v>-1.6806722689075499E-3</c:v>
                </c:pt>
                <c:pt idx="20988">
                  <c:v>-1.6806722689075499E-3</c:v>
                </c:pt>
                <c:pt idx="20989">
                  <c:v>-1.6806722689075499E-3</c:v>
                </c:pt>
                <c:pt idx="20990">
                  <c:v>-1.6806722689075499E-3</c:v>
                </c:pt>
                <c:pt idx="20991">
                  <c:v>-1.6806722689075499E-3</c:v>
                </c:pt>
                <c:pt idx="20992">
                  <c:v>-1.6806722689075499E-3</c:v>
                </c:pt>
                <c:pt idx="20993">
                  <c:v>-1.6806722689075499E-3</c:v>
                </c:pt>
                <c:pt idx="20994">
                  <c:v>-1.6806722689075499E-3</c:v>
                </c:pt>
                <c:pt idx="20995">
                  <c:v>-1.6806722689075499E-3</c:v>
                </c:pt>
                <c:pt idx="20996">
                  <c:v>-1.6806722689075499E-3</c:v>
                </c:pt>
                <c:pt idx="20997">
                  <c:v>-1.6806722689075499E-3</c:v>
                </c:pt>
                <c:pt idx="20998">
                  <c:v>-1.6806722689075499E-3</c:v>
                </c:pt>
                <c:pt idx="20999">
                  <c:v>-1.6806722689075499E-3</c:v>
                </c:pt>
                <c:pt idx="21000">
                  <c:v>-1.6806722689075499E-3</c:v>
                </c:pt>
                <c:pt idx="21001">
                  <c:v>-1.6806722689075499E-3</c:v>
                </c:pt>
                <c:pt idx="21002">
                  <c:v>-1.6806722689075499E-3</c:v>
                </c:pt>
                <c:pt idx="21003">
                  <c:v>-1.6806722689075499E-3</c:v>
                </c:pt>
                <c:pt idx="21004">
                  <c:v>-1.6806722689075499E-3</c:v>
                </c:pt>
                <c:pt idx="21005">
                  <c:v>-1.6806722689075499E-3</c:v>
                </c:pt>
                <c:pt idx="21006">
                  <c:v>-1.6806722689075499E-3</c:v>
                </c:pt>
                <c:pt idx="21007">
                  <c:v>-1.6806722689075499E-3</c:v>
                </c:pt>
                <c:pt idx="21008">
                  <c:v>-8.4033613445377799E-4</c:v>
                </c:pt>
                <c:pt idx="21009">
                  <c:v>-8.4033613445377799E-4</c:v>
                </c:pt>
                <c:pt idx="21010">
                  <c:v>-8.4033613445377799E-4</c:v>
                </c:pt>
                <c:pt idx="21011">
                  <c:v>-8.4033613445377799E-4</c:v>
                </c:pt>
                <c:pt idx="21012">
                  <c:v>-8.4033613445377799E-4</c:v>
                </c:pt>
                <c:pt idx="21013">
                  <c:v>-8.4033613445377799E-4</c:v>
                </c:pt>
                <c:pt idx="21014">
                  <c:v>-8.4033613445377799E-4</c:v>
                </c:pt>
                <c:pt idx="21015">
                  <c:v>-8.4033613445377799E-4</c:v>
                </c:pt>
                <c:pt idx="21016">
                  <c:v>-8.4033613445377799E-4</c:v>
                </c:pt>
                <c:pt idx="21017">
                  <c:v>-8.4033613445377799E-4</c:v>
                </c:pt>
                <c:pt idx="21018">
                  <c:v>-8.4033613445377799E-4</c:v>
                </c:pt>
                <c:pt idx="21019">
                  <c:v>-8.4033613445377799E-4</c:v>
                </c:pt>
                <c:pt idx="21020">
                  <c:v>-8.4033613445377799E-4</c:v>
                </c:pt>
                <c:pt idx="21021">
                  <c:v>-8.4033613445377799E-4</c:v>
                </c:pt>
                <c:pt idx="21022">
                  <c:v>-1.6806722689075499E-3</c:v>
                </c:pt>
                <c:pt idx="21023">
                  <c:v>-1.6806722689075499E-3</c:v>
                </c:pt>
                <c:pt idx="21024">
                  <c:v>-1.6806722689075499E-3</c:v>
                </c:pt>
                <c:pt idx="21025">
                  <c:v>-1.6806722689075499E-3</c:v>
                </c:pt>
                <c:pt idx="21026">
                  <c:v>-1.6806722689075499E-3</c:v>
                </c:pt>
                <c:pt idx="21027">
                  <c:v>-2.5210084033614401E-3</c:v>
                </c:pt>
                <c:pt idx="21028">
                  <c:v>-2.5210084033614401E-3</c:v>
                </c:pt>
                <c:pt idx="21029">
                  <c:v>-2.5210084033614401E-3</c:v>
                </c:pt>
                <c:pt idx="21030">
                  <c:v>-2.5210084033614401E-3</c:v>
                </c:pt>
                <c:pt idx="21031">
                  <c:v>-2.5210084033614401E-3</c:v>
                </c:pt>
                <c:pt idx="21032">
                  <c:v>-2.5210084033614401E-3</c:v>
                </c:pt>
                <c:pt idx="21033">
                  <c:v>-2.5210084033614401E-3</c:v>
                </c:pt>
                <c:pt idx="21034">
                  <c:v>-2.5210084033614401E-3</c:v>
                </c:pt>
                <c:pt idx="21035">
                  <c:v>-3.3613445378152199E-3</c:v>
                </c:pt>
                <c:pt idx="21036">
                  <c:v>-3.3613445378152199E-3</c:v>
                </c:pt>
                <c:pt idx="21037">
                  <c:v>-3.3613445378152199E-3</c:v>
                </c:pt>
                <c:pt idx="21038">
                  <c:v>-3.3613445378152199E-3</c:v>
                </c:pt>
                <c:pt idx="21039">
                  <c:v>-3.3613445378152199E-3</c:v>
                </c:pt>
                <c:pt idx="21040">
                  <c:v>-3.3613445378152199E-3</c:v>
                </c:pt>
                <c:pt idx="21041">
                  <c:v>-3.3613445378152199E-3</c:v>
                </c:pt>
                <c:pt idx="21042">
                  <c:v>-4.2016806722690002E-3</c:v>
                </c:pt>
                <c:pt idx="21043">
                  <c:v>-4.2016806722690002E-3</c:v>
                </c:pt>
                <c:pt idx="21044">
                  <c:v>-4.2016806722690002E-3</c:v>
                </c:pt>
                <c:pt idx="21045">
                  <c:v>-4.2016806722690002E-3</c:v>
                </c:pt>
                <c:pt idx="21046">
                  <c:v>-4.2016806722690002E-3</c:v>
                </c:pt>
                <c:pt idx="21047">
                  <c:v>-4.2016806722690002E-3</c:v>
                </c:pt>
                <c:pt idx="21048">
                  <c:v>-4.2016806722690002E-3</c:v>
                </c:pt>
                <c:pt idx="21049">
                  <c:v>-4.2016806722690002E-3</c:v>
                </c:pt>
                <c:pt idx="21050">
                  <c:v>-4.2016806722690002E-3</c:v>
                </c:pt>
                <c:pt idx="21051">
                  <c:v>-3.3613445378152199E-3</c:v>
                </c:pt>
                <c:pt idx="21052">
                  <c:v>-3.3613445378152199E-3</c:v>
                </c:pt>
                <c:pt idx="21053">
                  <c:v>-3.3613445378152199E-3</c:v>
                </c:pt>
                <c:pt idx="21054">
                  <c:v>-3.3613445378152199E-3</c:v>
                </c:pt>
                <c:pt idx="21055">
                  <c:v>-3.3613445378152199E-3</c:v>
                </c:pt>
                <c:pt idx="21056">
                  <c:v>-3.3613445378152199E-3</c:v>
                </c:pt>
                <c:pt idx="21057">
                  <c:v>-2.5210084033614401E-3</c:v>
                </c:pt>
                <c:pt idx="21058">
                  <c:v>-2.5210084033614401E-3</c:v>
                </c:pt>
                <c:pt idx="21059">
                  <c:v>-2.5210084033614401E-3</c:v>
                </c:pt>
                <c:pt idx="21060">
                  <c:v>-2.5210084033614401E-3</c:v>
                </c:pt>
                <c:pt idx="21061">
                  <c:v>-2.5210084033614401E-3</c:v>
                </c:pt>
                <c:pt idx="21062">
                  <c:v>-2.5210084033614401E-3</c:v>
                </c:pt>
                <c:pt idx="21063">
                  <c:v>-1.6806722689075499E-3</c:v>
                </c:pt>
                <c:pt idx="21064">
                  <c:v>-1.6806722689075499E-3</c:v>
                </c:pt>
                <c:pt idx="21065">
                  <c:v>-1.6806722689075499E-3</c:v>
                </c:pt>
                <c:pt idx="21066">
                  <c:v>-1.6806722689075499E-3</c:v>
                </c:pt>
                <c:pt idx="21067">
                  <c:v>-1.6806722689075499E-3</c:v>
                </c:pt>
                <c:pt idx="21068">
                  <c:v>-1.6806722689075499E-3</c:v>
                </c:pt>
                <c:pt idx="21069">
                  <c:v>-1.6806722689075499E-3</c:v>
                </c:pt>
                <c:pt idx="21070">
                  <c:v>-1.6806722689075499E-3</c:v>
                </c:pt>
                <c:pt idx="21071">
                  <c:v>-1.6806722689075499E-3</c:v>
                </c:pt>
                <c:pt idx="21072">
                  <c:v>-1.6806722689075499E-3</c:v>
                </c:pt>
                <c:pt idx="21073">
                  <c:v>-1.6806722689075499E-3</c:v>
                </c:pt>
                <c:pt idx="21074">
                  <c:v>-1.6806722689075499E-3</c:v>
                </c:pt>
                <c:pt idx="21075">
                  <c:v>-1.6806722689075499E-3</c:v>
                </c:pt>
                <c:pt idx="21076">
                  <c:v>-1.6806722689075499E-3</c:v>
                </c:pt>
                <c:pt idx="21077">
                  <c:v>-1.6806722689075499E-3</c:v>
                </c:pt>
                <c:pt idx="21078">
                  <c:v>-1.6806722689075499E-3</c:v>
                </c:pt>
                <c:pt idx="21079">
                  <c:v>-1.6806722689075499E-3</c:v>
                </c:pt>
                <c:pt idx="21080">
                  <c:v>-1.6806722689075499E-3</c:v>
                </c:pt>
                <c:pt idx="21081">
                  <c:v>-1.6806722689075499E-3</c:v>
                </c:pt>
                <c:pt idx="21082">
                  <c:v>-1.6806722689075499E-3</c:v>
                </c:pt>
                <c:pt idx="21083">
                  <c:v>-8.4033613445377799E-4</c:v>
                </c:pt>
                <c:pt idx="21084">
                  <c:v>-8.4033613445377799E-4</c:v>
                </c:pt>
                <c:pt idx="21085">
                  <c:v>-8.4033613445377799E-4</c:v>
                </c:pt>
                <c:pt idx="21086">
                  <c:v>-8.4033613445377799E-4</c:v>
                </c:pt>
                <c:pt idx="21087">
                  <c:v>-8.4033613445377799E-4</c:v>
                </c:pt>
                <c:pt idx="21088">
                  <c:v>-1.6806722689075499E-3</c:v>
                </c:pt>
                <c:pt idx="21089">
                  <c:v>-1.6806722689075499E-3</c:v>
                </c:pt>
                <c:pt idx="21090">
                  <c:v>-1.6806722689075499E-3</c:v>
                </c:pt>
                <c:pt idx="21091">
                  <c:v>-8.4033613445377799E-4</c:v>
                </c:pt>
                <c:pt idx="21092">
                  <c:v>-8.4033613445377799E-4</c:v>
                </c:pt>
                <c:pt idx="21093">
                  <c:v>-8.4033613445377799E-4</c:v>
                </c:pt>
                <c:pt idx="21094">
                  <c:v>-8.4033613445377799E-4</c:v>
                </c:pt>
                <c:pt idx="21095">
                  <c:v>-8.4033613445377799E-4</c:v>
                </c:pt>
                <c:pt idx="21096">
                  <c:v>-8.4033613445377799E-4</c:v>
                </c:pt>
                <c:pt idx="21097">
                  <c:v>-8.4033613445377799E-4</c:v>
                </c:pt>
                <c:pt idx="21098">
                  <c:v>-8.4033613445377799E-4</c:v>
                </c:pt>
                <c:pt idx="21099">
                  <c:v>-8.4033613445377799E-4</c:v>
                </c:pt>
                <c:pt idx="21100">
                  <c:v>-8.4033613445377799E-4</c:v>
                </c:pt>
                <c:pt idx="21101">
                  <c:v>-8.4033613445377799E-4</c:v>
                </c:pt>
                <c:pt idx="21102">
                  <c:v>-8.4033613445377799E-4</c:v>
                </c:pt>
                <c:pt idx="21103">
                  <c:v>-8.4033613445377799E-4</c:v>
                </c:pt>
                <c:pt idx="21104">
                  <c:v>-8.4033613445377799E-4</c:v>
                </c:pt>
                <c:pt idx="21105">
                  <c:v>-8.4033613445377799E-4</c:v>
                </c:pt>
                <c:pt idx="21106">
                  <c:v>-8.4033613445377799E-4</c:v>
                </c:pt>
                <c:pt idx="21107">
                  <c:v>-8.4033613445377799E-4</c:v>
                </c:pt>
                <c:pt idx="21108">
                  <c:v>-8.4033613445377799E-4</c:v>
                </c:pt>
                <c:pt idx="21109">
                  <c:v>-8.4033613445377799E-4</c:v>
                </c:pt>
                <c:pt idx="21110">
                  <c:v>-8.4033613445377799E-4</c:v>
                </c:pt>
                <c:pt idx="21111">
                  <c:v>-8.4033613445377799E-4</c:v>
                </c:pt>
                <c:pt idx="21112">
                  <c:v>-8.4033613445377799E-4</c:v>
                </c:pt>
                <c:pt idx="21113">
                  <c:v>-8.4033613445377799E-4</c:v>
                </c:pt>
                <c:pt idx="21114">
                  <c:v>-1.6806722689075499E-3</c:v>
                </c:pt>
                <c:pt idx="21115">
                  <c:v>-1.6806722689075499E-3</c:v>
                </c:pt>
                <c:pt idx="21116">
                  <c:v>-1.6806722689075499E-3</c:v>
                </c:pt>
                <c:pt idx="21117">
                  <c:v>-1.6806722689075499E-3</c:v>
                </c:pt>
                <c:pt idx="21118">
                  <c:v>-1.6806722689075499E-3</c:v>
                </c:pt>
                <c:pt idx="21119">
                  <c:v>-1.6806722689075499E-3</c:v>
                </c:pt>
                <c:pt idx="21120">
                  <c:v>-2.5210084033613299E-3</c:v>
                </c:pt>
                <c:pt idx="21121">
                  <c:v>-2.5210084033613299E-3</c:v>
                </c:pt>
                <c:pt idx="21122">
                  <c:v>-2.5210084033613299E-3</c:v>
                </c:pt>
                <c:pt idx="21123">
                  <c:v>-2.5210084033613299E-3</c:v>
                </c:pt>
                <c:pt idx="21124">
                  <c:v>-2.5210084033613299E-3</c:v>
                </c:pt>
                <c:pt idx="21125">
                  <c:v>-2.5210084033613299E-3</c:v>
                </c:pt>
                <c:pt idx="21126">
                  <c:v>-2.5210084033613299E-3</c:v>
                </c:pt>
                <c:pt idx="21127">
                  <c:v>-2.5210084033613299E-3</c:v>
                </c:pt>
                <c:pt idx="21128">
                  <c:v>-2.5210084033613299E-3</c:v>
                </c:pt>
                <c:pt idx="21129">
                  <c:v>-2.5210084033613299E-3</c:v>
                </c:pt>
                <c:pt idx="21130">
                  <c:v>-2.5210084033613299E-3</c:v>
                </c:pt>
                <c:pt idx="21131">
                  <c:v>-2.5210084033613299E-3</c:v>
                </c:pt>
                <c:pt idx="21132">
                  <c:v>-2.5210084033613299E-3</c:v>
                </c:pt>
                <c:pt idx="21133">
                  <c:v>-2.5210084033613299E-3</c:v>
                </c:pt>
                <c:pt idx="21134">
                  <c:v>-3.3613445378151102E-3</c:v>
                </c:pt>
                <c:pt idx="21135">
                  <c:v>-3.3613445378151102E-3</c:v>
                </c:pt>
                <c:pt idx="21136">
                  <c:v>-3.3613445378151102E-3</c:v>
                </c:pt>
                <c:pt idx="21137">
                  <c:v>-3.3613445378151102E-3</c:v>
                </c:pt>
                <c:pt idx="21138">
                  <c:v>-3.3613445378151102E-3</c:v>
                </c:pt>
                <c:pt idx="21139">
                  <c:v>-3.3613445378151102E-3</c:v>
                </c:pt>
                <c:pt idx="21140">
                  <c:v>-3.3613445378151102E-3</c:v>
                </c:pt>
                <c:pt idx="21141">
                  <c:v>-3.3613445378151102E-3</c:v>
                </c:pt>
                <c:pt idx="21142">
                  <c:v>-3.3613445378151102E-3</c:v>
                </c:pt>
                <c:pt idx="21143">
                  <c:v>-3.3613445378151102E-3</c:v>
                </c:pt>
                <c:pt idx="21144">
                  <c:v>-3.3613445378151102E-3</c:v>
                </c:pt>
                <c:pt idx="21145">
                  <c:v>-3.3613445378151102E-3</c:v>
                </c:pt>
                <c:pt idx="21146">
                  <c:v>-3.3613445378151102E-3</c:v>
                </c:pt>
                <c:pt idx="21147">
                  <c:v>-3.3613445378151102E-3</c:v>
                </c:pt>
                <c:pt idx="21148">
                  <c:v>-3.3613445378151102E-3</c:v>
                </c:pt>
                <c:pt idx="21149">
                  <c:v>-3.3613445378151102E-3</c:v>
                </c:pt>
                <c:pt idx="21150">
                  <c:v>-3.3613445378151102E-3</c:v>
                </c:pt>
                <c:pt idx="21151">
                  <c:v>-3.3613445378151102E-3</c:v>
                </c:pt>
                <c:pt idx="21152">
                  <c:v>-3.3613445378151102E-3</c:v>
                </c:pt>
                <c:pt idx="21153">
                  <c:v>-3.3613445378151102E-3</c:v>
                </c:pt>
                <c:pt idx="21154">
                  <c:v>-3.3613445378151102E-3</c:v>
                </c:pt>
                <c:pt idx="21155">
                  <c:v>-3.3613445378151102E-3</c:v>
                </c:pt>
                <c:pt idx="21156">
                  <c:v>-3.3613445378151102E-3</c:v>
                </c:pt>
                <c:pt idx="21157">
                  <c:v>-3.3613445378151102E-3</c:v>
                </c:pt>
                <c:pt idx="21158">
                  <c:v>-3.3613445378151102E-3</c:v>
                </c:pt>
                <c:pt idx="21159">
                  <c:v>-3.3613445378151102E-3</c:v>
                </c:pt>
                <c:pt idx="21160">
                  <c:v>-3.3613445378151102E-3</c:v>
                </c:pt>
                <c:pt idx="21161">
                  <c:v>-3.3613445378151102E-3</c:v>
                </c:pt>
                <c:pt idx="21162">
                  <c:v>-3.3613445378151102E-3</c:v>
                </c:pt>
                <c:pt idx="21163">
                  <c:v>-3.3613445378151102E-3</c:v>
                </c:pt>
                <c:pt idx="21164">
                  <c:v>-3.3613445378151102E-3</c:v>
                </c:pt>
                <c:pt idx="21165">
                  <c:v>-3.3613445378151102E-3</c:v>
                </c:pt>
                <c:pt idx="21166">
                  <c:v>-3.3613445378151102E-3</c:v>
                </c:pt>
                <c:pt idx="21167">
                  <c:v>-3.3613445378151102E-3</c:v>
                </c:pt>
                <c:pt idx="21168">
                  <c:v>-3.3613445378151102E-3</c:v>
                </c:pt>
                <c:pt idx="21169">
                  <c:v>-3.3613445378151102E-3</c:v>
                </c:pt>
                <c:pt idx="21170">
                  <c:v>-3.3613445378151102E-3</c:v>
                </c:pt>
                <c:pt idx="21171">
                  <c:v>-3.3613445378151102E-3</c:v>
                </c:pt>
                <c:pt idx="21172">
                  <c:v>-3.3613445378151102E-3</c:v>
                </c:pt>
                <c:pt idx="21173">
                  <c:v>-3.3613445378151102E-3</c:v>
                </c:pt>
                <c:pt idx="21174">
                  <c:v>-3.3613445378151102E-3</c:v>
                </c:pt>
                <c:pt idx="21175">
                  <c:v>-3.3613445378151102E-3</c:v>
                </c:pt>
                <c:pt idx="21176">
                  <c:v>-3.3613445378151102E-3</c:v>
                </c:pt>
                <c:pt idx="21177">
                  <c:v>-3.3613445378151102E-3</c:v>
                </c:pt>
                <c:pt idx="21178">
                  <c:v>-3.3613445378151102E-3</c:v>
                </c:pt>
                <c:pt idx="21179">
                  <c:v>-3.3613445378151102E-3</c:v>
                </c:pt>
                <c:pt idx="21180">
                  <c:v>-3.3613445378151102E-3</c:v>
                </c:pt>
                <c:pt idx="21181">
                  <c:v>-3.3613445378151102E-3</c:v>
                </c:pt>
                <c:pt idx="21182">
                  <c:v>-3.3613445378151102E-3</c:v>
                </c:pt>
                <c:pt idx="21183">
                  <c:v>-3.3613445378151102E-3</c:v>
                </c:pt>
                <c:pt idx="21184">
                  <c:v>-4.20168067226889E-3</c:v>
                </c:pt>
                <c:pt idx="21185">
                  <c:v>-4.20168067226889E-3</c:v>
                </c:pt>
                <c:pt idx="21186">
                  <c:v>-4.20168067226889E-3</c:v>
                </c:pt>
                <c:pt idx="21187">
                  <c:v>-4.20168067226889E-3</c:v>
                </c:pt>
                <c:pt idx="21188">
                  <c:v>-4.20168067226889E-3</c:v>
                </c:pt>
                <c:pt idx="21189">
                  <c:v>-4.20168067226889E-3</c:v>
                </c:pt>
                <c:pt idx="21190">
                  <c:v>-4.20168067226889E-3</c:v>
                </c:pt>
                <c:pt idx="21191">
                  <c:v>-5.0420168067226703E-3</c:v>
                </c:pt>
                <c:pt idx="21192">
                  <c:v>-5.0420168067226703E-3</c:v>
                </c:pt>
                <c:pt idx="21193">
                  <c:v>-5.0420168067226703E-3</c:v>
                </c:pt>
                <c:pt idx="21194">
                  <c:v>-5.0420168067226703E-3</c:v>
                </c:pt>
                <c:pt idx="21195">
                  <c:v>-5.0420168067226703E-3</c:v>
                </c:pt>
                <c:pt idx="21196">
                  <c:v>-5.0420168067226703E-3</c:v>
                </c:pt>
                <c:pt idx="21197">
                  <c:v>-5.0420168067226703E-3</c:v>
                </c:pt>
                <c:pt idx="21198">
                  <c:v>-5.0420168067226703E-3</c:v>
                </c:pt>
                <c:pt idx="21199">
                  <c:v>-5.0420168067226703E-3</c:v>
                </c:pt>
                <c:pt idx="21200">
                  <c:v>-5.0420168067226703E-3</c:v>
                </c:pt>
                <c:pt idx="21201">
                  <c:v>-5.0420168067226703E-3</c:v>
                </c:pt>
                <c:pt idx="21202">
                  <c:v>-5.0420168067226703E-3</c:v>
                </c:pt>
                <c:pt idx="21203">
                  <c:v>-5.0420168067226703E-3</c:v>
                </c:pt>
                <c:pt idx="21204">
                  <c:v>-5.0420168067226703E-3</c:v>
                </c:pt>
                <c:pt idx="21205">
                  <c:v>-5.0420168067226703E-3</c:v>
                </c:pt>
                <c:pt idx="21206">
                  <c:v>-5.0420168067226703E-3</c:v>
                </c:pt>
                <c:pt idx="21207">
                  <c:v>-5.0420168067226703E-3</c:v>
                </c:pt>
                <c:pt idx="21208">
                  <c:v>-5.0420168067226703E-3</c:v>
                </c:pt>
                <c:pt idx="21209">
                  <c:v>-5.0420168067226703E-3</c:v>
                </c:pt>
                <c:pt idx="21210">
                  <c:v>-5.0420168067226703E-3</c:v>
                </c:pt>
                <c:pt idx="21211">
                  <c:v>-5.0420168067226703E-3</c:v>
                </c:pt>
                <c:pt idx="21212">
                  <c:v>-5.0420168067226703E-3</c:v>
                </c:pt>
                <c:pt idx="21213">
                  <c:v>-5.0420168067226703E-3</c:v>
                </c:pt>
                <c:pt idx="21214">
                  <c:v>-5.0420168067226703E-3</c:v>
                </c:pt>
                <c:pt idx="21215">
                  <c:v>-5.0420168067226703E-3</c:v>
                </c:pt>
                <c:pt idx="21216">
                  <c:v>-5.0420168067226703E-3</c:v>
                </c:pt>
                <c:pt idx="21217">
                  <c:v>-5.0420168067226703E-3</c:v>
                </c:pt>
                <c:pt idx="21218">
                  <c:v>-5.0420168067226703E-3</c:v>
                </c:pt>
                <c:pt idx="21219">
                  <c:v>-5.0420168067226703E-3</c:v>
                </c:pt>
                <c:pt idx="21220">
                  <c:v>-5.0420168067226703E-3</c:v>
                </c:pt>
                <c:pt idx="21221">
                  <c:v>-5.0420168067226703E-3</c:v>
                </c:pt>
                <c:pt idx="21222">
                  <c:v>-5.0420168067226703E-3</c:v>
                </c:pt>
                <c:pt idx="21223">
                  <c:v>-5.0420168067226703E-3</c:v>
                </c:pt>
                <c:pt idx="21224">
                  <c:v>-5.0420168067226703E-3</c:v>
                </c:pt>
                <c:pt idx="21225">
                  <c:v>-5.0420168067226703E-3</c:v>
                </c:pt>
                <c:pt idx="21226">
                  <c:v>-5.0420168067226703E-3</c:v>
                </c:pt>
                <c:pt idx="21227">
                  <c:v>-5.0420168067226703E-3</c:v>
                </c:pt>
                <c:pt idx="21228">
                  <c:v>-5.0420168067226703E-3</c:v>
                </c:pt>
                <c:pt idx="21229">
                  <c:v>-5.0420168067226703E-3</c:v>
                </c:pt>
                <c:pt idx="21230">
                  <c:v>-5.0420168067226703E-3</c:v>
                </c:pt>
                <c:pt idx="21231">
                  <c:v>-5.0420168067226703E-3</c:v>
                </c:pt>
                <c:pt idx="21232">
                  <c:v>-5.0420168067226703E-3</c:v>
                </c:pt>
                <c:pt idx="21233">
                  <c:v>-5.0420168067226703E-3</c:v>
                </c:pt>
                <c:pt idx="21234">
                  <c:v>-4.20168067226889E-3</c:v>
                </c:pt>
                <c:pt idx="21235">
                  <c:v>-4.20168067226889E-3</c:v>
                </c:pt>
                <c:pt idx="21236">
                  <c:v>-4.20168067226889E-3</c:v>
                </c:pt>
                <c:pt idx="21237">
                  <c:v>-4.20168067226889E-3</c:v>
                </c:pt>
                <c:pt idx="21238">
                  <c:v>-4.20168067226889E-3</c:v>
                </c:pt>
                <c:pt idx="21239">
                  <c:v>-4.20168067226889E-3</c:v>
                </c:pt>
                <c:pt idx="21240">
                  <c:v>-4.20168067226889E-3</c:v>
                </c:pt>
                <c:pt idx="21241">
                  <c:v>-4.20168067226889E-3</c:v>
                </c:pt>
                <c:pt idx="21242">
                  <c:v>-4.20168067226889E-3</c:v>
                </c:pt>
                <c:pt idx="21243">
                  <c:v>-5.0420168067226703E-3</c:v>
                </c:pt>
                <c:pt idx="21244">
                  <c:v>-5.0420168067226703E-3</c:v>
                </c:pt>
                <c:pt idx="21245">
                  <c:v>-5.0420168067226703E-3</c:v>
                </c:pt>
                <c:pt idx="21246">
                  <c:v>-5.8823529411764497E-3</c:v>
                </c:pt>
                <c:pt idx="21247">
                  <c:v>-5.8823529411764497E-3</c:v>
                </c:pt>
                <c:pt idx="21248">
                  <c:v>-5.0420168067226703E-3</c:v>
                </c:pt>
                <c:pt idx="21249">
                  <c:v>-5.0420168067226703E-3</c:v>
                </c:pt>
                <c:pt idx="21250">
                  <c:v>-5.0420168067226703E-3</c:v>
                </c:pt>
                <c:pt idx="21251">
                  <c:v>-5.0420168067226703E-3</c:v>
                </c:pt>
                <c:pt idx="21252">
                  <c:v>-5.0420168067226703E-3</c:v>
                </c:pt>
                <c:pt idx="21253">
                  <c:v>-5.0420168067226703E-3</c:v>
                </c:pt>
                <c:pt idx="21254">
                  <c:v>-5.0420168067226703E-3</c:v>
                </c:pt>
                <c:pt idx="21255">
                  <c:v>-5.0420168067226703E-3</c:v>
                </c:pt>
                <c:pt idx="21256">
                  <c:v>-5.0420168067226703E-3</c:v>
                </c:pt>
                <c:pt idx="21257">
                  <c:v>-5.0420168067226703E-3</c:v>
                </c:pt>
                <c:pt idx="21258">
                  <c:v>-5.0420168067226703E-3</c:v>
                </c:pt>
                <c:pt idx="21259">
                  <c:v>-5.0420168067226703E-3</c:v>
                </c:pt>
                <c:pt idx="21260">
                  <c:v>-5.0420168067226703E-3</c:v>
                </c:pt>
                <c:pt idx="21261">
                  <c:v>-5.0420168067226703E-3</c:v>
                </c:pt>
                <c:pt idx="21262">
                  <c:v>-5.0420168067226703E-3</c:v>
                </c:pt>
                <c:pt idx="21263">
                  <c:v>-5.0420168067226703E-3</c:v>
                </c:pt>
                <c:pt idx="21264">
                  <c:v>-5.0420168067226703E-3</c:v>
                </c:pt>
                <c:pt idx="21265">
                  <c:v>-5.0420168067226703E-3</c:v>
                </c:pt>
                <c:pt idx="21266">
                  <c:v>-5.0420168067226703E-3</c:v>
                </c:pt>
                <c:pt idx="21267">
                  <c:v>-5.0420168067226703E-3</c:v>
                </c:pt>
                <c:pt idx="21268">
                  <c:v>-5.0420168067226703E-3</c:v>
                </c:pt>
                <c:pt idx="21269">
                  <c:v>-5.0420168067226703E-3</c:v>
                </c:pt>
                <c:pt idx="21270">
                  <c:v>-5.0420168067226703E-3</c:v>
                </c:pt>
                <c:pt idx="21271">
                  <c:v>-5.0420168067226703E-3</c:v>
                </c:pt>
                <c:pt idx="21272">
                  <c:v>-5.0420168067226703E-3</c:v>
                </c:pt>
                <c:pt idx="21273">
                  <c:v>-5.0420168067226703E-3</c:v>
                </c:pt>
                <c:pt idx="21274">
                  <c:v>-5.0420168067226703E-3</c:v>
                </c:pt>
                <c:pt idx="21275">
                  <c:v>-5.0420168067226703E-3</c:v>
                </c:pt>
                <c:pt idx="21276">
                  <c:v>-5.0420168067226703E-3</c:v>
                </c:pt>
                <c:pt idx="21277">
                  <c:v>-5.0420168067226703E-3</c:v>
                </c:pt>
                <c:pt idx="21278">
                  <c:v>-5.0420168067226703E-3</c:v>
                </c:pt>
                <c:pt idx="21279">
                  <c:v>-5.0420168067226703E-3</c:v>
                </c:pt>
                <c:pt idx="21280">
                  <c:v>-5.0420168067226703E-3</c:v>
                </c:pt>
                <c:pt idx="21281">
                  <c:v>-5.0420168067226703E-3</c:v>
                </c:pt>
                <c:pt idx="21282">
                  <c:v>-5.0420168067226703E-3</c:v>
                </c:pt>
                <c:pt idx="21283">
                  <c:v>-5.0420168067226703E-3</c:v>
                </c:pt>
                <c:pt idx="21284">
                  <c:v>-5.0420168067226703E-3</c:v>
                </c:pt>
                <c:pt idx="21285">
                  <c:v>-5.0420168067226703E-3</c:v>
                </c:pt>
                <c:pt idx="21286">
                  <c:v>-5.0420168067226703E-3</c:v>
                </c:pt>
                <c:pt idx="21287">
                  <c:v>-5.0420168067226703E-3</c:v>
                </c:pt>
                <c:pt idx="21288">
                  <c:v>-5.0420168067226703E-3</c:v>
                </c:pt>
                <c:pt idx="21289">
                  <c:v>-4.20168067226889E-3</c:v>
                </c:pt>
                <c:pt idx="21290">
                  <c:v>-4.20168067226889E-3</c:v>
                </c:pt>
                <c:pt idx="21291">
                  <c:v>-4.20168067226889E-3</c:v>
                </c:pt>
                <c:pt idx="21292">
                  <c:v>-4.20168067226889E-3</c:v>
                </c:pt>
                <c:pt idx="21293">
                  <c:v>-4.20168067226889E-3</c:v>
                </c:pt>
                <c:pt idx="21294">
                  <c:v>-4.20168067226889E-3</c:v>
                </c:pt>
                <c:pt idx="21295">
                  <c:v>-4.20168067226889E-3</c:v>
                </c:pt>
                <c:pt idx="21296">
                  <c:v>-4.20168067226889E-3</c:v>
                </c:pt>
                <c:pt idx="21297">
                  <c:v>-4.20168067226889E-3</c:v>
                </c:pt>
                <c:pt idx="21298">
                  <c:v>-4.20168067226889E-3</c:v>
                </c:pt>
                <c:pt idx="21299">
                  <c:v>-4.20168067226889E-3</c:v>
                </c:pt>
                <c:pt idx="21300">
                  <c:v>-4.20168067226889E-3</c:v>
                </c:pt>
                <c:pt idx="21301">
                  <c:v>-4.20168067226889E-3</c:v>
                </c:pt>
                <c:pt idx="21302">
                  <c:v>-4.20168067226889E-3</c:v>
                </c:pt>
                <c:pt idx="21303">
                  <c:v>-4.20168067226889E-3</c:v>
                </c:pt>
                <c:pt idx="21304">
                  <c:v>-4.20168067226889E-3</c:v>
                </c:pt>
                <c:pt idx="21305">
                  <c:v>-4.20168067226889E-3</c:v>
                </c:pt>
                <c:pt idx="21306">
                  <c:v>-4.20168067226889E-3</c:v>
                </c:pt>
                <c:pt idx="21307">
                  <c:v>-4.20168067226889E-3</c:v>
                </c:pt>
                <c:pt idx="21308">
                  <c:v>-4.20168067226889E-3</c:v>
                </c:pt>
                <c:pt idx="21309">
                  <c:v>-4.20168067226889E-3</c:v>
                </c:pt>
                <c:pt idx="21310">
                  <c:v>-4.20168067226889E-3</c:v>
                </c:pt>
                <c:pt idx="21311">
                  <c:v>-4.20168067226889E-3</c:v>
                </c:pt>
                <c:pt idx="21312">
                  <c:v>-4.20168067226889E-3</c:v>
                </c:pt>
                <c:pt idx="21313">
                  <c:v>-4.20168067226889E-3</c:v>
                </c:pt>
                <c:pt idx="21314">
                  <c:v>-4.20168067226889E-3</c:v>
                </c:pt>
                <c:pt idx="21315">
                  <c:v>-4.20168067226889E-3</c:v>
                </c:pt>
                <c:pt idx="21316">
                  <c:v>-5.0420168067226703E-3</c:v>
                </c:pt>
                <c:pt idx="21317">
                  <c:v>-5.0420168067226703E-3</c:v>
                </c:pt>
                <c:pt idx="21318">
                  <c:v>-5.0420168067226703E-3</c:v>
                </c:pt>
                <c:pt idx="21319">
                  <c:v>-5.0420168067226703E-3</c:v>
                </c:pt>
                <c:pt idx="21320">
                  <c:v>-5.0420168067226703E-3</c:v>
                </c:pt>
                <c:pt idx="21321">
                  <c:v>-5.0420168067226703E-3</c:v>
                </c:pt>
                <c:pt idx="21322">
                  <c:v>-5.0420168067226703E-3</c:v>
                </c:pt>
                <c:pt idx="21323">
                  <c:v>-5.0420168067226703E-3</c:v>
                </c:pt>
                <c:pt idx="21324">
                  <c:v>-5.0420168067226703E-3</c:v>
                </c:pt>
                <c:pt idx="21325">
                  <c:v>-5.0420168067226703E-3</c:v>
                </c:pt>
                <c:pt idx="21326">
                  <c:v>-5.0420168067226703E-3</c:v>
                </c:pt>
                <c:pt idx="21327">
                  <c:v>-5.0420168067226703E-3</c:v>
                </c:pt>
                <c:pt idx="21328">
                  <c:v>-5.0420168067226703E-3</c:v>
                </c:pt>
                <c:pt idx="21329">
                  <c:v>-5.0420168067226703E-3</c:v>
                </c:pt>
                <c:pt idx="21330">
                  <c:v>-5.0420168067226703E-3</c:v>
                </c:pt>
                <c:pt idx="21331">
                  <c:v>-5.0420168067226703E-3</c:v>
                </c:pt>
                <c:pt idx="21332">
                  <c:v>-5.0420168067226703E-3</c:v>
                </c:pt>
                <c:pt idx="21333">
                  <c:v>-5.0420168067226703E-3</c:v>
                </c:pt>
                <c:pt idx="21334">
                  <c:v>-5.0420168067226703E-3</c:v>
                </c:pt>
                <c:pt idx="21335">
                  <c:v>-5.0420168067226703E-3</c:v>
                </c:pt>
                <c:pt idx="21336">
                  <c:v>-4.20168067226889E-3</c:v>
                </c:pt>
                <c:pt idx="21337">
                  <c:v>-4.20168067226889E-3</c:v>
                </c:pt>
                <c:pt idx="21338">
                  <c:v>-4.20168067226889E-3</c:v>
                </c:pt>
                <c:pt idx="21339">
                  <c:v>-4.20168067226889E-3</c:v>
                </c:pt>
                <c:pt idx="21340">
                  <c:v>-4.20168067226889E-3</c:v>
                </c:pt>
                <c:pt idx="21341">
                  <c:v>-4.20168067226889E-3</c:v>
                </c:pt>
                <c:pt idx="21342">
                  <c:v>-4.20168067226889E-3</c:v>
                </c:pt>
                <c:pt idx="21343">
                  <c:v>-4.20168067226889E-3</c:v>
                </c:pt>
                <c:pt idx="21344">
                  <c:v>-4.20168067226889E-3</c:v>
                </c:pt>
                <c:pt idx="21345">
                  <c:v>-4.20168067226889E-3</c:v>
                </c:pt>
                <c:pt idx="21346">
                  <c:v>-4.20168067226889E-3</c:v>
                </c:pt>
                <c:pt idx="21347">
                  <c:v>-4.20168067226889E-3</c:v>
                </c:pt>
                <c:pt idx="21348">
                  <c:v>-4.20168067226889E-3</c:v>
                </c:pt>
                <c:pt idx="21349">
                  <c:v>-4.20168067226889E-3</c:v>
                </c:pt>
                <c:pt idx="21350">
                  <c:v>-4.20168067226889E-3</c:v>
                </c:pt>
                <c:pt idx="21351">
                  <c:v>-4.20168067226889E-3</c:v>
                </c:pt>
                <c:pt idx="21352">
                  <c:v>-4.20168067226889E-3</c:v>
                </c:pt>
                <c:pt idx="21353">
                  <c:v>-4.20168067226889E-3</c:v>
                </c:pt>
                <c:pt idx="21354">
                  <c:v>-4.20168067226889E-3</c:v>
                </c:pt>
                <c:pt idx="21355">
                  <c:v>-4.20168067226889E-3</c:v>
                </c:pt>
                <c:pt idx="21356">
                  <c:v>-4.20168067226889E-3</c:v>
                </c:pt>
                <c:pt idx="21357">
                  <c:v>-4.20168067226889E-3</c:v>
                </c:pt>
                <c:pt idx="21358">
                  <c:v>-4.20168067226889E-3</c:v>
                </c:pt>
                <c:pt idx="21359">
                  <c:v>-4.20168067226889E-3</c:v>
                </c:pt>
                <c:pt idx="21360">
                  <c:v>-4.20168067226889E-3</c:v>
                </c:pt>
                <c:pt idx="21361">
                  <c:v>-4.20168067226889E-3</c:v>
                </c:pt>
                <c:pt idx="21362">
                  <c:v>-4.20168067226889E-3</c:v>
                </c:pt>
                <c:pt idx="21363">
                  <c:v>-4.20168067226889E-3</c:v>
                </c:pt>
                <c:pt idx="21364">
                  <c:v>-4.20168067226889E-3</c:v>
                </c:pt>
                <c:pt idx="21365">
                  <c:v>-4.20168067226889E-3</c:v>
                </c:pt>
                <c:pt idx="21366">
                  <c:v>-4.20168067226889E-3</c:v>
                </c:pt>
                <c:pt idx="21367">
                  <c:v>-4.20168067226889E-3</c:v>
                </c:pt>
                <c:pt idx="21368">
                  <c:v>-4.20168067226889E-3</c:v>
                </c:pt>
                <c:pt idx="21369">
                  <c:v>-4.20168067226889E-3</c:v>
                </c:pt>
                <c:pt idx="21370">
                  <c:v>-4.20168067226889E-3</c:v>
                </c:pt>
                <c:pt idx="21371">
                  <c:v>-4.20168067226889E-3</c:v>
                </c:pt>
                <c:pt idx="21372">
                  <c:v>-4.20168067226889E-3</c:v>
                </c:pt>
                <c:pt idx="21373">
                  <c:v>-4.20168067226889E-3</c:v>
                </c:pt>
                <c:pt idx="21374">
                  <c:v>-4.20168067226889E-3</c:v>
                </c:pt>
                <c:pt idx="21375">
                  <c:v>-4.20168067226889E-3</c:v>
                </c:pt>
                <c:pt idx="21376">
                  <c:v>-4.20168067226889E-3</c:v>
                </c:pt>
                <c:pt idx="21377">
                  <c:v>-4.20168067226889E-3</c:v>
                </c:pt>
                <c:pt idx="21378">
                  <c:v>-4.20168067226889E-3</c:v>
                </c:pt>
                <c:pt idx="21379">
                  <c:v>-4.20168067226889E-3</c:v>
                </c:pt>
                <c:pt idx="21380">
                  <c:v>-4.20168067226889E-3</c:v>
                </c:pt>
                <c:pt idx="21381">
                  <c:v>-4.20168067226889E-3</c:v>
                </c:pt>
                <c:pt idx="21382">
                  <c:v>-4.20168067226889E-3</c:v>
                </c:pt>
                <c:pt idx="21383">
                  <c:v>-4.20168067226889E-3</c:v>
                </c:pt>
                <c:pt idx="21384">
                  <c:v>-4.20168067226889E-3</c:v>
                </c:pt>
                <c:pt idx="21385">
                  <c:v>-4.20168067226889E-3</c:v>
                </c:pt>
                <c:pt idx="21386">
                  <c:v>-4.20168067226889E-3</c:v>
                </c:pt>
                <c:pt idx="21387">
                  <c:v>-4.20168067226889E-3</c:v>
                </c:pt>
                <c:pt idx="21388">
                  <c:v>-4.20168067226889E-3</c:v>
                </c:pt>
                <c:pt idx="21389">
                  <c:v>-4.20168067226889E-3</c:v>
                </c:pt>
                <c:pt idx="21390">
                  <c:v>-4.20168067226889E-3</c:v>
                </c:pt>
                <c:pt idx="21391">
                  <c:v>-4.20168067226889E-3</c:v>
                </c:pt>
                <c:pt idx="21392">
                  <c:v>-4.20168067226889E-3</c:v>
                </c:pt>
                <c:pt idx="21393">
                  <c:v>-4.20168067226889E-3</c:v>
                </c:pt>
                <c:pt idx="21394">
                  <c:v>-4.20168067226889E-3</c:v>
                </c:pt>
                <c:pt idx="21395">
                  <c:v>-3.3613445378151102E-3</c:v>
                </c:pt>
                <c:pt idx="21396">
                  <c:v>-3.3613445378151102E-3</c:v>
                </c:pt>
                <c:pt idx="21397">
                  <c:v>-3.3613445378151102E-3</c:v>
                </c:pt>
                <c:pt idx="21398">
                  <c:v>-3.3613445378151102E-3</c:v>
                </c:pt>
                <c:pt idx="21399">
                  <c:v>-3.3613445378151102E-3</c:v>
                </c:pt>
                <c:pt idx="21400">
                  <c:v>-3.3613445378151102E-3</c:v>
                </c:pt>
                <c:pt idx="21401">
                  <c:v>-3.3613445378151102E-3</c:v>
                </c:pt>
                <c:pt idx="21402">
                  <c:v>-3.3613445378151102E-3</c:v>
                </c:pt>
                <c:pt idx="21403">
                  <c:v>-3.3613445378151102E-3</c:v>
                </c:pt>
                <c:pt idx="21404">
                  <c:v>-3.3613445378151102E-3</c:v>
                </c:pt>
                <c:pt idx="21405">
                  <c:v>-3.3613445378151102E-3</c:v>
                </c:pt>
                <c:pt idx="21406">
                  <c:v>-3.3613445378151102E-3</c:v>
                </c:pt>
                <c:pt idx="21407">
                  <c:v>-3.3613445378151102E-3</c:v>
                </c:pt>
                <c:pt idx="21408">
                  <c:v>-3.3613445378151102E-3</c:v>
                </c:pt>
                <c:pt idx="21409">
                  <c:v>-3.3613445378151102E-3</c:v>
                </c:pt>
                <c:pt idx="21410">
                  <c:v>-3.3613445378151102E-3</c:v>
                </c:pt>
                <c:pt idx="21411">
                  <c:v>-3.3613445378151102E-3</c:v>
                </c:pt>
                <c:pt idx="21412">
                  <c:v>-3.3613445378151102E-3</c:v>
                </c:pt>
                <c:pt idx="21413">
                  <c:v>-3.3613445378151102E-3</c:v>
                </c:pt>
                <c:pt idx="21414">
                  <c:v>-3.3613445378151102E-3</c:v>
                </c:pt>
                <c:pt idx="21415">
                  <c:v>-3.3613445378151102E-3</c:v>
                </c:pt>
                <c:pt idx="21416">
                  <c:v>-3.3613445378151102E-3</c:v>
                </c:pt>
                <c:pt idx="21417">
                  <c:v>-3.3613445378151102E-3</c:v>
                </c:pt>
                <c:pt idx="21418">
                  <c:v>-3.3613445378151102E-3</c:v>
                </c:pt>
                <c:pt idx="21419">
                  <c:v>-3.3613445378151102E-3</c:v>
                </c:pt>
                <c:pt idx="21420">
                  <c:v>-3.3613445378151102E-3</c:v>
                </c:pt>
                <c:pt idx="21421">
                  <c:v>-3.3613445378151102E-3</c:v>
                </c:pt>
                <c:pt idx="21422">
                  <c:v>-3.3613445378151102E-3</c:v>
                </c:pt>
                <c:pt idx="21423">
                  <c:v>-3.3613445378151102E-3</c:v>
                </c:pt>
                <c:pt idx="21424">
                  <c:v>-3.3613445378151102E-3</c:v>
                </c:pt>
                <c:pt idx="21425">
                  <c:v>-3.3613445378151102E-3</c:v>
                </c:pt>
                <c:pt idx="21426">
                  <c:v>-3.3613445378151102E-3</c:v>
                </c:pt>
                <c:pt idx="21427">
                  <c:v>-3.3613445378151102E-3</c:v>
                </c:pt>
                <c:pt idx="21428">
                  <c:v>-3.3613445378151102E-3</c:v>
                </c:pt>
                <c:pt idx="21429">
                  <c:v>-3.3613445378151102E-3</c:v>
                </c:pt>
                <c:pt idx="21430">
                  <c:v>-3.3613445378151102E-3</c:v>
                </c:pt>
                <c:pt idx="21431">
                  <c:v>-3.3613445378151102E-3</c:v>
                </c:pt>
                <c:pt idx="21432">
                  <c:v>-3.3613445378151102E-3</c:v>
                </c:pt>
                <c:pt idx="21433">
                  <c:v>-3.3613445378151102E-3</c:v>
                </c:pt>
                <c:pt idx="21434">
                  <c:v>-3.3613445378151102E-3</c:v>
                </c:pt>
                <c:pt idx="21435">
                  <c:v>-3.3613445378151102E-3</c:v>
                </c:pt>
                <c:pt idx="21436">
                  <c:v>-3.3613445378151102E-3</c:v>
                </c:pt>
                <c:pt idx="21437">
                  <c:v>-3.3613445378151102E-3</c:v>
                </c:pt>
                <c:pt idx="21438">
                  <c:v>-3.3613445378151102E-3</c:v>
                </c:pt>
                <c:pt idx="21439">
                  <c:v>-3.3613445378151102E-3</c:v>
                </c:pt>
                <c:pt idx="21440">
                  <c:v>-3.3613445378151102E-3</c:v>
                </c:pt>
                <c:pt idx="21441">
                  <c:v>-3.3613445378151102E-3</c:v>
                </c:pt>
                <c:pt idx="21442">
                  <c:v>-3.3613445378151102E-3</c:v>
                </c:pt>
                <c:pt idx="21443">
                  <c:v>-3.3613445378151102E-3</c:v>
                </c:pt>
                <c:pt idx="21444">
                  <c:v>-3.3613445378151102E-3</c:v>
                </c:pt>
                <c:pt idx="21445">
                  <c:v>-3.3613445378151102E-3</c:v>
                </c:pt>
                <c:pt idx="21446">
                  <c:v>-3.3613445378151102E-3</c:v>
                </c:pt>
                <c:pt idx="21447">
                  <c:v>-3.3613445378151102E-3</c:v>
                </c:pt>
                <c:pt idx="21448">
                  <c:v>-3.3613445378151102E-3</c:v>
                </c:pt>
                <c:pt idx="21449">
                  <c:v>-3.3613445378151102E-3</c:v>
                </c:pt>
                <c:pt idx="21450">
                  <c:v>-3.3613445378151102E-3</c:v>
                </c:pt>
                <c:pt idx="21451">
                  <c:v>-3.3613445378151102E-3</c:v>
                </c:pt>
                <c:pt idx="21452">
                  <c:v>-3.3613445378151102E-3</c:v>
                </c:pt>
                <c:pt idx="21453">
                  <c:v>-3.3613445378151102E-3</c:v>
                </c:pt>
                <c:pt idx="21454">
                  <c:v>-3.3613445378151102E-3</c:v>
                </c:pt>
                <c:pt idx="21455">
                  <c:v>-3.3613445378151102E-3</c:v>
                </c:pt>
                <c:pt idx="21456">
                  <c:v>-3.3613445378151102E-3</c:v>
                </c:pt>
                <c:pt idx="21457">
                  <c:v>-3.3613445378151102E-3</c:v>
                </c:pt>
                <c:pt idx="21458">
                  <c:v>-3.3613445378151102E-3</c:v>
                </c:pt>
                <c:pt idx="21459">
                  <c:v>-3.3613445378151102E-3</c:v>
                </c:pt>
                <c:pt idx="21460">
                  <c:v>-3.3613445378151102E-3</c:v>
                </c:pt>
                <c:pt idx="21461">
                  <c:v>-3.3613445378151102E-3</c:v>
                </c:pt>
                <c:pt idx="21462">
                  <c:v>-3.3613445378151102E-3</c:v>
                </c:pt>
                <c:pt idx="21463">
                  <c:v>-3.3613445378151102E-3</c:v>
                </c:pt>
                <c:pt idx="21464">
                  <c:v>-3.3613445378151102E-3</c:v>
                </c:pt>
                <c:pt idx="21465">
                  <c:v>-3.3613445378151102E-3</c:v>
                </c:pt>
                <c:pt idx="21466">
                  <c:v>-3.3613445378151102E-3</c:v>
                </c:pt>
                <c:pt idx="21467">
                  <c:v>-3.3613445378151102E-3</c:v>
                </c:pt>
                <c:pt idx="21468">
                  <c:v>-3.3613445378151102E-3</c:v>
                </c:pt>
                <c:pt idx="21469">
                  <c:v>-3.3613445378151102E-3</c:v>
                </c:pt>
                <c:pt idx="21470">
                  <c:v>-3.3613445378151102E-3</c:v>
                </c:pt>
                <c:pt idx="21471">
                  <c:v>-3.3613445378151102E-3</c:v>
                </c:pt>
                <c:pt idx="21472">
                  <c:v>-3.3613445378151102E-3</c:v>
                </c:pt>
                <c:pt idx="21473">
                  <c:v>-3.3613445378151102E-3</c:v>
                </c:pt>
                <c:pt idx="21474">
                  <c:v>-3.3613445378151102E-3</c:v>
                </c:pt>
                <c:pt idx="21475">
                  <c:v>-3.3613445378151102E-3</c:v>
                </c:pt>
                <c:pt idx="21476">
                  <c:v>-3.3613445378151102E-3</c:v>
                </c:pt>
                <c:pt idx="21477">
                  <c:v>-4.20168067226889E-3</c:v>
                </c:pt>
                <c:pt idx="21478">
                  <c:v>-4.20168067226889E-3</c:v>
                </c:pt>
                <c:pt idx="21479">
                  <c:v>-4.20168067226889E-3</c:v>
                </c:pt>
                <c:pt idx="21480">
                  <c:v>-4.20168067226889E-3</c:v>
                </c:pt>
                <c:pt idx="21481">
                  <c:v>-5.0420168067226703E-3</c:v>
                </c:pt>
                <c:pt idx="21482">
                  <c:v>-5.0420168067226703E-3</c:v>
                </c:pt>
                <c:pt idx="21483">
                  <c:v>-5.0420168067226703E-3</c:v>
                </c:pt>
                <c:pt idx="21484">
                  <c:v>-5.0420168067226703E-3</c:v>
                </c:pt>
                <c:pt idx="21485">
                  <c:v>-5.0420168067226703E-3</c:v>
                </c:pt>
                <c:pt idx="21486">
                  <c:v>-5.0420168067226703E-3</c:v>
                </c:pt>
                <c:pt idx="21487">
                  <c:v>-5.0420168067226703E-3</c:v>
                </c:pt>
                <c:pt idx="21488">
                  <c:v>-5.0420168067226703E-3</c:v>
                </c:pt>
                <c:pt idx="21489">
                  <c:v>-5.0420168067226703E-3</c:v>
                </c:pt>
                <c:pt idx="21490">
                  <c:v>-5.0420168067226703E-3</c:v>
                </c:pt>
                <c:pt idx="21491">
                  <c:v>-5.0420168067226703E-3</c:v>
                </c:pt>
                <c:pt idx="21492">
                  <c:v>-5.0420168067226703E-3</c:v>
                </c:pt>
                <c:pt idx="21493">
                  <c:v>-5.0420168067226703E-3</c:v>
                </c:pt>
                <c:pt idx="21494">
                  <c:v>-5.0420168067226703E-3</c:v>
                </c:pt>
                <c:pt idx="21495">
                  <c:v>-5.0420168067226703E-3</c:v>
                </c:pt>
                <c:pt idx="21496">
                  <c:v>-5.0420168067226703E-3</c:v>
                </c:pt>
                <c:pt idx="21497">
                  <c:v>-5.0420168067226703E-3</c:v>
                </c:pt>
                <c:pt idx="21498">
                  <c:v>-5.0420168067226703E-3</c:v>
                </c:pt>
                <c:pt idx="21499">
                  <c:v>-5.0420168067226703E-3</c:v>
                </c:pt>
                <c:pt idx="21500">
                  <c:v>-5.0420168067226703E-3</c:v>
                </c:pt>
                <c:pt idx="21501">
                  <c:v>-5.0420168067226703E-3</c:v>
                </c:pt>
                <c:pt idx="21502">
                  <c:v>-5.0420168067226703E-3</c:v>
                </c:pt>
                <c:pt idx="21503">
                  <c:v>-5.0420168067226703E-3</c:v>
                </c:pt>
                <c:pt idx="21504">
                  <c:v>-5.0420168067226703E-3</c:v>
                </c:pt>
                <c:pt idx="21505">
                  <c:v>-5.0420168067226703E-3</c:v>
                </c:pt>
                <c:pt idx="21506">
                  <c:v>-5.0420168067226703E-3</c:v>
                </c:pt>
                <c:pt idx="21507">
                  <c:v>-5.0420168067226703E-3</c:v>
                </c:pt>
                <c:pt idx="21508">
                  <c:v>-5.0420168067226703E-3</c:v>
                </c:pt>
                <c:pt idx="21509">
                  <c:v>-5.0420168067226703E-3</c:v>
                </c:pt>
                <c:pt idx="21510">
                  <c:v>-5.0420168067226703E-3</c:v>
                </c:pt>
                <c:pt idx="21511">
                  <c:v>-5.8823529411764497E-3</c:v>
                </c:pt>
                <c:pt idx="21512">
                  <c:v>-5.8823529411764497E-3</c:v>
                </c:pt>
                <c:pt idx="21513">
                  <c:v>-5.0420168067226703E-3</c:v>
                </c:pt>
                <c:pt idx="21514">
                  <c:v>-5.8823529411764497E-3</c:v>
                </c:pt>
                <c:pt idx="21515">
                  <c:v>-5.8823529411764497E-3</c:v>
                </c:pt>
                <c:pt idx="21516">
                  <c:v>-5.8823529411764497E-3</c:v>
                </c:pt>
                <c:pt idx="21517">
                  <c:v>-5.8823529411764497E-3</c:v>
                </c:pt>
                <c:pt idx="21518">
                  <c:v>-5.8823529411764497E-3</c:v>
                </c:pt>
                <c:pt idx="21519">
                  <c:v>-5.8823529411764497E-3</c:v>
                </c:pt>
                <c:pt idx="21520">
                  <c:v>-5.8823529411764497E-3</c:v>
                </c:pt>
                <c:pt idx="21521">
                  <c:v>-5.8823529411764497E-3</c:v>
                </c:pt>
                <c:pt idx="21522">
                  <c:v>-5.8823529411764497E-3</c:v>
                </c:pt>
                <c:pt idx="21523">
                  <c:v>-5.8823529411764497E-3</c:v>
                </c:pt>
                <c:pt idx="21524">
                  <c:v>-5.8823529411764497E-3</c:v>
                </c:pt>
                <c:pt idx="21525">
                  <c:v>-5.8823529411764497E-3</c:v>
                </c:pt>
                <c:pt idx="21526">
                  <c:v>-5.8823529411764497E-3</c:v>
                </c:pt>
                <c:pt idx="21527">
                  <c:v>-5.8823529411764497E-3</c:v>
                </c:pt>
                <c:pt idx="21528">
                  <c:v>-5.8823529411764497E-3</c:v>
                </c:pt>
                <c:pt idx="21529">
                  <c:v>-5.8823529411764497E-3</c:v>
                </c:pt>
                <c:pt idx="21530">
                  <c:v>-5.0420168067226703E-3</c:v>
                </c:pt>
                <c:pt idx="21531">
                  <c:v>-5.0420168067226703E-3</c:v>
                </c:pt>
                <c:pt idx="21532">
                  <c:v>-5.0420168067226703E-3</c:v>
                </c:pt>
                <c:pt idx="21533">
                  <c:v>-5.0420168067226703E-3</c:v>
                </c:pt>
                <c:pt idx="21534">
                  <c:v>-5.0420168067226703E-3</c:v>
                </c:pt>
                <c:pt idx="21535">
                  <c:v>-5.0420168067226703E-3</c:v>
                </c:pt>
                <c:pt idx="21536">
                  <c:v>-5.0420168067226703E-3</c:v>
                </c:pt>
                <c:pt idx="21537">
                  <c:v>-5.0420168067226703E-3</c:v>
                </c:pt>
                <c:pt idx="21538">
                  <c:v>-5.0420168067226703E-3</c:v>
                </c:pt>
                <c:pt idx="21539">
                  <c:v>-5.0420168067226703E-3</c:v>
                </c:pt>
                <c:pt idx="21540">
                  <c:v>-5.0420168067226703E-3</c:v>
                </c:pt>
                <c:pt idx="21541">
                  <c:v>-5.0420168067226703E-3</c:v>
                </c:pt>
                <c:pt idx="21542">
                  <c:v>-5.0420168067226703E-3</c:v>
                </c:pt>
                <c:pt idx="21543">
                  <c:v>-5.0420168067226703E-3</c:v>
                </c:pt>
                <c:pt idx="21544">
                  <c:v>-5.0420168067226703E-3</c:v>
                </c:pt>
                <c:pt idx="21545">
                  <c:v>-5.0420168067226703E-3</c:v>
                </c:pt>
                <c:pt idx="21546">
                  <c:v>-5.0420168067226703E-3</c:v>
                </c:pt>
                <c:pt idx="21547">
                  <c:v>-5.0420168067226703E-3</c:v>
                </c:pt>
                <c:pt idx="21548">
                  <c:v>-5.0420168067226703E-3</c:v>
                </c:pt>
                <c:pt idx="21549">
                  <c:v>-5.0420168067226703E-3</c:v>
                </c:pt>
                <c:pt idx="21550">
                  <c:v>-5.0420168067226703E-3</c:v>
                </c:pt>
                <c:pt idx="21551">
                  <c:v>-5.0420168067226703E-3</c:v>
                </c:pt>
                <c:pt idx="21552">
                  <c:v>-5.0420168067226703E-3</c:v>
                </c:pt>
                <c:pt idx="21553">
                  <c:v>-5.0420168067226703E-3</c:v>
                </c:pt>
                <c:pt idx="21554">
                  <c:v>-5.0420168067226703E-3</c:v>
                </c:pt>
                <c:pt idx="21555">
                  <c:v>-5.0420168067226703E-3</c:v>
                </c:pt>
                <c:pt idx="21556">
                  <c:v>-5.0420168067226703E-3</c:v>
                </c:pt>
                <c:pt idx="21557">
                  <c:v>-5.0420168067226703E-3</c:v>
                </c:pt>
                <c:pt idx="21558">
                  <c:v>-5.0420168067226703E-3</c:v>
                </c:pt>
                <c:pt idx="21559">
                  <c:v>-5.0420168067226703E-3</c:v>
                </c:pt>
                <c:pt idx="21560">
                  <c:v>-5.0420168067226703E-3</c:v>
                </c:pt>
                <c:pt idx="21561">
                  <c:v>-5.0420168067226703E-3</c:v>
                </c:pt>
                <c:pt idx="21562">
                  <c:v>-5.0420168067226703E-3</c:v>
                </c:pt>
                <c:pt idx="21563">
                  <c:v>-5.0420168067226703E-3</c:v>
                </c:pt>
                <c:pt idx="21564">
                  <c:v>-5.0420168067226703E-3</c:v>
                </c:pt>
                <c:pt idx="21565">
                  <c:v>-5.0420168067226703E-3</c:v>
                </c:pt>
                <c:pt idx="21566">
                  <c:v>-5.0420168067226703E-3</c:v>
                </c:pt>
                <c:pt idx="21567">
                  <c:v>-5.0420168067226703E-3</c:v>
                </c:pt>
                <c:pt idx="21568">
                  <c:v>-5.0420168067226703E-3</c:v>
                </c:pt>
                <c:pt idx="21569">
                  <c:v>-5.0420168067226703E-3</c:v>
                </c:pt>
                <c:pt idx="21570">
                  <c:v>-5.0420168067226703E-3</c:v>
                </c:pt>
                <c:pt idx="21571">
                  <c:v>-5.0420168067226703E-3</c:v>
                </c:pt>
                <c:pt idx="21572">
                  <c:v>-5.0420168067226703E-3</c:v>
                </c:pt>
                <c:pt idx="21573">
                  <c:v>-5.0420168067226703E-3</c:v>
                </c:pt>
                <c:pt idx="21574">
                  <c:v>-5.0420168067226703E-3</c:v>
                </c:pt>
                <c:pt idx="21575">
                  <c:v>-5.0420168067226703E-3</c:v>
                </c:pt>
                <c:pt idx="21576">
                  <c:v>-5.0420168067226703E-3</c:v>
                </c:pt>
                <c:pt idx="21577">
                  <c:v>-5.0420168067226703E-3</c:v>
                </c:pt>
                <c:pt idx="21578">
                  <c:v>-5.0420168067226703E-3</c:v>
                </c:pt>
                <c:pt idx="21579">
                  <c:v>-5.0420168067226703E-3</c:v>
                </c:pt>
                <c:pt idx="21580">
                  <c:v>-5.0420168067226703E-3</c:v>
                </c:pt>
                <c:pt idx="21581">
                  <c:v>-5.0420168067226703E-3</c:v>
                </c:pt>
                <c:pt idx="21582">
                  <c:v>-5.0420168067226703E-3</c:v>
                </c:pt>
                <c:pt idx="21583">
                  <c:v>-5.0420168067226703E-3</c:v>
                </c:pt>
                <c:pt idx="21584">
                  <c:v>-5.0420168067226703E-3</c:v>
                </c:pt>
                <c:pt idx="21585">
                  <c:v>-5.0420168067226703E-3</c:v>
                </c:pt>
                <c:pt idx="21586">
                  <c:v>-5.0420168067226703E-3</c:v>
                </c:pt>
                <c:pt idx="21587">
                  <c:v>-5.0420168067226703E-3</c:v>
                </c:pt>
                <c:pt idx="21588">
                  <c:v>-5.0420168067226703E-3</c:v>
                </c:pt>
                <c:pt idx="21589">
                  <c:v>-5.0420168067226703E-3</c:v>
                </c:pt>
                <c:pt idx="21590">
                  <c:v>-5.0420168067226703E-3</c:v>
                </c:pt>
                <c:pt idx="21591">
                  <c:v>-5.0420168067226703E-3</c:v>
                </c:pt>
                <c:pt idx="21592">
                  <c:v>-5.0420168067226703E-3</c:v>
                </c:pt>
                <c:pt idx="21593">
                  <c:v>-5.0420168067226703E-3</c:v>
                </c:pt>
                <c:pt idx="21594">
                  <c:v>-5.0420168067226703E-3</c:v>
                </c:pt>
                <c:pt idx="21595">
                  <c:v>-5.0420168067226703E-3</c:v>
                </c:pt>
                <c:pt idx="21596">
                  <c:v>-5.8823529411764497E-3</c:v>
                </c:pt>
                <c:pt idx="21597">
                  <c:v>-5.8823529411764497E-3</c:v>
                </c:pt>
                <c:pt idx="21598">
                  <c:v>-5.8823529411764497E-3</c:v>
                </c:pt>
                <c:pt idx="21599">
                  <c:v>-5.8823529411764497E-3</c:v>
                </c:pt>
                <c:pt idx="21600">
                  <c:v>-5.8823529411764497E-3</c:v>
                </c:pt>
                <c:pt idx="21601">
                  <c:v>-5.8823529411764497E-3</c:v>
                </c:pt>
                <c:pt idx="21602">
                  <c:v>-5.8823529411764497E-3</c:v>
                </c:pt>
                <c:pt idx="21603">
                  <c:v>-5.8823529411764497E-3</c:v>
                </c:pt>
                <c:pt idx="21604">
                  <c:v>-5.8823529411764497E-3</c:v>
                </c:pt>
                <c:pt idx="21605">
                  <c:v>-5.8823529411764497E-3</c:v>
                </c:pt>
                <c:pt idx="21606">
                  <c:v>-5.8823529411764497E-3</c:v>
                </c:pt>
                <c:pt idx="21607">
                  <c:v>-5.8823529411764497E-3</c:v>
                </c:pt>
                <c:pt idx="21608">
                  <c:v>-5.8823529411764497E-3</c:v>
                </c:pt>
                <c:pt idx="21609">
                  <c:v>-5.8823529411764497E-3</c:v>
                </c:pt>
                <c:pt idx="21610">
                  <c:v>-5.8823529411764497E-3</c:v>
                </c:pt>
                <c:pt idx="21611">
                  <c:v>-5.8823529411764497E-3</c:v>
                </c:pt>
                <c:pt idx="21612">
                  <c:v>-5.8823529411764497E-3</c:v>
                </c:pt>
                <c:pt idx="21613">
                  <c:v>-5.8823529411764497E-3</c:v>
                </c:pt>
                <c:pt idx="21614">
                  <c:v>-5.8823529411764497E-3</c:v>
                </c:pt>
                <c:pt idx="21615">
                  <c:v>-5.8823529411764497E-3</c:v>
                </c:pt>
                <c:pt idx="21616">
                  <c:v>-5.8823529411764497E-3</c:v>
                </c:pt>
                <c:pt idx="21617">
                  <c:v>-5.8823529411764497E-3</c:v>
                </c:pt>
                <c:pt idx="21618">
                  <c:v>-5.8823529411764497E-3</c:v>
                </c:pt>
                <c:pt idx="21619">
                  <c:v>-5.8823529411764497E-3</c:v>
                </c:pt>
                <c:pt idx="21620">
                  <c:v>-5.8823529411764497E-3</c:v>
                </c:pt>
                <c:pt idx="21621">
                  <c:v>-5.8823529411764497E-3</c:v>
                </c:pt>
                <c:pt idx="21622">
                  <c:v>-5.8823529411764497E-3</c:v>
                </c:pt>
                <c:pt idx="21623">
                  <c:v>-5.8823529411764497E-3</c:v>
                </c:pt>
                <c:pt idx="21624">
                  <c:v>-5.8823529411764497E-3</c:v>
                </c:pt>
                <c:pt idx="21625">
                  <c:v>-5.8823529411764497E-3</c:v>
                </c:pt>
                <c:pt idx="21626">
                  <c:v>-5.8823529411764497E-3</c:v>
                </c:pt>
                <c:pt idx="21627">
                  <c:v>-5.8823529411764497E-3</c:v>
                </c:pt>
                <c:pt idx="21628">
                  <c:v>-5.8823529411764497E-3</c:v>
                </c:pt>
                <c:pt idx="21629">
                  <c:v>-5.8823529411764497E-3</c:v>
                </c:pt>
                <c:pt idx="21630">
                  <c:v>-5.8823529411764497E-3</c:v>
                </c:pt>
                <c:pt idx="21631">
                  <c:v>-5.8823529411764497E-3</c:v>
                </c:pt>
                <c:pt idx="21632">
                  <c:v>-5.8823529411764497E-3</c:v>
                </c:pt>
                <c:pt idx="21633">
                  <c:v>-5.8823529411764497E-3</c:v>
                </c:pt>
                <c:pt idx="21634">
                  <c:v>-5.8823529411764497E-3</c:v>
                </c:pt>
                <c:pt idx="21635">
                  <c:v>-5.8823529411764497E-3</c:v>
                </c:pt>
                <c:pt idx="21636">
                  <c:v>-5.8823529411764497E-3</c:v>
                </c:pt>
                <c:pt idx="21637">
                  <c:v>-5.8823529411764497E-3</c:v>
                </c:pt>
                <c:pt idx="21638">
                  <c:v>-5.8823529411764497E-3</c:v>
                </c:pt>
                <c:pt idx="21639">
                  <c:v>-5.8823529411764497E-3</c:v>
                </c:pt>
                <c:pt idx="21640">
                  <c:v>-5.8823529411764497E-3</c:v>
                </c:pt>
                <c:pt idx="21641">
                  <c:v>-5.8823529411764497E-3</c:v>
                </c:pt>
                <c:pt idx="21642">
                  <c:v>-5.8823529411764497E-3</c:v>
                </c:pt>
                <c:pt idx="21643">
                  <c:v>-5.8823529411764497E-3</c:v>
                </c:pt>
                <c:pt idx="21644">
                  <c:v>-5.8823529411764497E-3</c:v>
                </c:pt>
                <c:pt idx="21645">
                  <c:v>-5.8823529411764497E-3</c:v>
                </c:pt>
                <c:pt idx="21646">
                  <c:v>-5.8823529411764497E-3</c:v>
                </c:pt>
                <c:pt idx="21647">
                  <c:v>-5.8823529411764497E-3</c:v>
                </c:pt>
                <c:pt idx="21648">
                  <c:v>-5.8823529411764497E-3</c:v>
                </c:pt>
                <c:pt idx="21649">
                  <c:v>-5.8823529411764497E-3</c:v>
                </c:pt>
                <c:pt idx="21650">
                  <c:v>-5.8823529411764497E-3</c:v>
                </c:pt>
                <c:pt idx="21651">
                  <c:v>-5.8823529411764497E-3</c:v>
                </c:pt>
                <c:pt idx="21652">
                  <c:v>-5.8823529411764497E-3</c:v>
                </c:pt>
                <c:pt idx="21653">
                  <c:v>-5.8823529411764497E-3</c:v>
                </c:pt>
                <c:pt idx="21654">
                  <c:v>-5.8823529411764497E-3</c:v>
                </c:pt>
                <c:pt idx="21655">
                  <c:v>-5.8823529411764497E-3</c:v>
                </c:pt>
                <c:pt idx="21656">
                  <c:v>-5.8823529411764497E-3</c:v>
                </c:pt>
                <c:pt idx="21657">
                  <c:v>-5.8823529411764497E-3</c:v>
                </c:pt>
                <c:pt idx="21658">
                  <c:v>-5.8823529411764497E-3</c:v>
                </c:pt>
                <c:pt idx="21659">
                  <c:v>-5.8823529411764497E-3</c:v>
                </c:pt>
                <c:pt idx="21660">
                  <c:v>-5.8823529411764497E-3</c:v>
                </c:pt>
                <c:pt idx="21661">
                  <c:v>-5.8823529411764497E-3</c:v>
                </c:pt>
                <c:pt idx="21662">
                  <c:v>-5.8823529411764497E-3</c:v>
                </c:pt>
                <c:pt idx="21663">
                  <c:v>-5.8823529411764497E-3</c:v>
                </c:pt>
                <c:pt idx="21664">
                  <c:v>-6.7226890756302204E-3</c:v>
                </c:pt>
                <c:pt idx="21665">
                  <c:v>-6.7226890756302204E-3</c:v>
                </c:pt>
                <c:pt idx="21666">
                  <c:v>-6.7226890756302204E-3</c:v>
                </c:pt>
                <c:pt idx="21667">
                  <c:v>-6.7226890756302204E-3</c:v>
                </c:pt>
                <c:pt idx="21668">
                  <c:v>-7.5630252100839998E-3</c:v>
                </c:pt>
                <c:pt idx="21669">
                  <c:v>-7.5630252100839998E-3</c:v>
                </c:pt>
                <c:pt idx="21670">
                  <c:v>-7.5630252100839998E-3</c:v>
                </c:pt>
                <c:pt idx="21671">
                  <c:v>-7.5630252100839998E-3</c:v>
                </c:pt>
                <c:pt idx="21672">
                  <c:v>-7.5630252100839998E-3</c:v>
                </c:pt>
                <c:pt idx="21673">
                  <c:v>-7.5630252100839998E-3</c:v>
                </c:pt>
                <c:pt idx="21674">
                  <c:v>-7.5630252100839998E-3</c:v>
                </c:pt>
                <c:pt idx="21675">
                  <c:v>-7.5630252100839998E-3</c:v>
                </c:pt>
                <c:pt idx="21676">
                  <c:v>-7.5630252100839998E-3</c:v>
                </c:pt>
                <c:pt idx="21677">
                  <c:v>-7.5630252100839998E-3</c:v>
                </c:pt>
                <c:pt idx="21678">
                  <c:v>-7.5630252100839998E-3</c:v>
                </c:pt>
                <c:pt idx="21679">
                  <c:v>-7.5630252100839998E-3</c:v>
                </c:pt>
                <c:pt idx="21680">
                  <c:v>-7.5630252100839998E-3</c:v>
                </c:pt>
                <c:pt idx="21681">
                  <c:v>-7.5630252100839998E-3</c:v>
                </c:pt>
                <c:pt idx="21682">
                  <c:v>-7.5630252100839998E-3</c:v>
                </c:pt>
                <c:pt idx="21683">
                  <c:v>-7.5630252100839998E-3</c:v>
                </c:pt>
                <c:pt idx="21684">
                  <c:v>-7.5630252100839998E-3</c:v>
                </c:pt>
                <c:pt idx="21685">
                  <c:v>-7.5630252100839998E-3</c:v>
                </c:pt>
                <c:pt idx="21686">
                  <c:v>-7.5630252100839998E-3</c:v>
                </c:pt>
                <c:pt idx="21687">
                  <c:v>-8.4033613445377801E-3</c:v>
                </c:pt>
                <c:pt idx="21688">
                  <c:v>-8.4033613445377801E-3</c:v>
                </c:pt>
                <c:pt idx="21689">
                  <c:v>-8.4033613445377801E-3</c:v>
                </c:pt>
                <c:pt idx="21690">
                  <c:v>-8.4033613445377801E-3</c:v>
                </c:pt>
                <c:pt idx="21691">
                  <c:v>-8.4033613445377801E-3</c:v>
                </c:pt>
                <c:pt idx="21692">
                  <c:v>-8.4033613445377801E-3</c:v>
                </c:pt>
                <c:pt idx="21693">
                  <c:v>-8.4033613445377801E-3</c:v>
                </c:pt>
                <c:pt idx="21694">
                  <c:v>-8.4033613445377801E-3</c:v>
                </c:pt>
                <c:pt idx="21695">
                  <c:v>-7.5630252100839998E-3</c:v>
                </c:pt>
                <c:pt idx="21696">
                  <c:v>-7.5630252100839998E-3</c:v>
                </c:pt>
                <c:pt idx="21697">
                  <c:v>-7.5630252100839998E-3</c:v>
                </c:pt>
                <c:pt idx="21698">
                  <c:v>-7.5630252100839998E-3</c:v>
                </c:pt>
                <c:pt idx="21699">
                  <c:v>-7.5630252100839998E-3</c:v>
                </c:pt>
                <c:pt idx="21700">
                  <c:v>-7.5630252100839998E-3</c:v>
                </c:pt>
                <c:pt idx="21701">
                  <c:v>-7.5630252100839998E-3</c:v>
                </c:pt>
                <c:pt idx="21702">
                  <c:v>-7.5630252100839998E-3</c:v>
                </c:pt>
                <c:pt idx="21703">
                  <c:v>-7.5630252100839998E-3</c:v>
                </c:pt>
                <c:pt idx="21704">
                  <c:v>-7.5630252100839998E-3</c:v>
                </c:pt>
                <c:pt idx="21705">
                  <c:v>-7.5630252100839998E-3</c:v>
                </c:pt>
                <c:pt idx="21706">
                  <c:v>-7.5630252100839998E-3</c:v>
                </c:pt>
                <c:pt idx="21707">
                  <c:v>-7.5630252100839998E-3</c:v>
                </c:pt>
                <c:pt idx="21708">
                  <c:v>-7.5630252100839998E-3</c:v>
                </c:pt>
                <c:pt idx="21709">
                  <c:v>-7.5630252100839998E-3</c:v>
                </c:pt>
                <c:pt idx="21710">
                  <c:v>-6.7226890756302204E-3</c:v>
                </c:pt>
                <c:pt idx="21711">
                  <c:v>-6.7226890756302204E-3</c:v>
                </c:pt>
                <c:pt idx="21712">
                  <c:v>-6.7226890756302204E-3</c:v>
                </c:pt>
                <c:pt idx="21713">
                  <c:v>-6.7226890756302204E-3</c:v>
                </c:pt>
                <c:pt idx="21714">
                  <c:v>-6.7226890756302204E-3</c:v>
                </c:pt>
                <c:pt idx="21715">
                  <c:v>-6.7226890756302204E-3</c:v>
                </c:pt>
                <c:pt idx="21716">
                  <c:v>-6.7226890756302204E-3</c:v>
                </c:pt>
                <c:pt idx="21717">
                  <c:v>-6.7226890756302204E-3</c:v>
                </c:pt>
                <c:pt idx="21718">
                  <c:v>-7.5630252100839998E-3</c:v>
                </c:pt>
                <c:pt idx="21719">
                  <c:v>-7.5630252100839998E-3</c:v>
                </c:pt>
                <c:pt idx="21720">
                  <c:v>-7.5630252100839998E-3</c:v>
                </c:pt>
                <c:pt idx="21721">
                  <c:v>-7.5630252100839998E-3</c:v>
                </c:pt>
                <c:pt idx="21722">
                  <c:v>-7.5630252100839998E-3</c:v>
                </c:pt>
                <c:pt idx="21723">
                  <c:v>-7.5630252100839998E-3</c:v>
                </c:pt>
                <c:pt idx="21724">
                  <c:v>-7.5630252100839998E-3</c:v>
                </c:pt>
                <c:pt idx="21725">
                  <c:v>-7.5630252100839998E-3</c:v>
                </c:pt>
                <c:pt idx="21726">
                  <c:v>-7.5630252100839998E-3</c:v>
                </c:pt>
                <c:pt idx="21727">
                  <c:v>-7.5630252100839998E-3</c:v>
                </c:pt>
                <c:pt idx="21728">
                  <c:v>-7.5630252100839998E-3</c:v>
                </c:pt>
                <c:pt idx="21729">
                  <c:v>-7.5630252100839998E-3</c:v>
                </c:pt>
                <c:pt idx="21730">
                  <c:v>-7.5630252100839998E-3</c:v>
                </c:pt>
                <c:pt idx="21731">
                  <c:v>-7.5630252100839998E-3</c:v>
                </c:pt>
                <c:pt idx="21732">
                  <c:v>-7.5630252100839998E-3</c:v>
                </c:pt>
                <c:pt idx="21733">
                  <c:v>-7.5630252100839998E-3</c:v>
                </c:pt>
                <c:pt idx="21734">
                  <c:v>-7.5630252100839998E-3</c:v>
                </c:pt>
                <c:pt idx="21735">
                  <c:v>-7.5630252100839998E-3</c:v>
                </c:pt>
                <c:pt idx="21736">
                  <c:v>-7.5630252100839998E-3</c:v>
                </c:pt>
                <c:pt idx="21737">
                  <c:v>-7.5630252100839998E-3</c:v>
                </c:pt>
                <c:pt idx="21738">
                  <c:v>-7.5630252100839998E-3</c:v>
                </c:pt>
                <c:pt idx="21739">
                  <c:v>-7.5630252100839998E-3</c:v>
                </c:pt>
                <c:pt idx="21740">
                  <c:v>-7.5630252100839998E-3</c:v>
                </c:pt>
                <c:pt idx="21741">
                  <c:v>-7.5630252100839998E-3</c:v>
                </c:pt>
                <c:pt idx="21742">
                  <c:v>-6.7226890756302204E-3</c:v>
                </c:pt>
                <c:pt idx="21743">
                  <c:v>-6.7226890756302204E-3</c:v>
                </c:pt>
                <c:pt idx="21744">
                  <c:v>-6.7226890756302204E-3</c:v>
                </c:pt>
                <c:pt idx="21745">
                  <c:v>-6.7226890756302204E-3</c:v>
                </c:pt>
                <c:pt idx="21746">
                  <c:v>-6.7226890756302204E-3</c:v>
                </c:pt>
                <c:pt idx="21747">
                  <c:v>-6.7226890756302204E-3</c:v>
                </c:pt>
                <c:pt idx="21748">
                  <c:v>-6.7226890756302204E-3</c:v>
                </c:pt>
                <c:pt idx="21749">
                  <c:v>-6.7226890756302204E-3</c:v>
                </c:pt>
                <c:pt idx="21750">
                  <c:v>-6.7226890756302204E-3</c:v>
                </c:pt>
                <c:pt idx="21751">
                  <c:v>-6.7226890756302204E-3</c:v>
                </c:pt>
                <c:pt idx="21752">
                  <c:v>-6.7226890756302204E-3</c:v>
                </c:pt>
                <c:pt idx="21753">
                  <c:v>-6.7226890756302204E-3</c:v>
                </c:pt>
                <c:pt idx="21754">
                  <c:v>-6.7226890756302204E-3</c:v>
                </c:pt>
                <c:pt idx="21755">
                  <c:v>-6.7226890756302204E-3</c:v>
                </c:pt>
                <c:pt idx="21756">
                  <c:v>-6.7226890756302204E-3</c:v>
                </c:pt>
                <c:pt idx="21757">
                  <c:v>-6.7226890756302204E-3</c:v>
                </c:pt>
                <c:pt idx="21758">
                  <c:v>-6.7226890756302204E-3</c:v>
                </c:pt>
                <c:pt idx="21759">
                  <c:v>-6.7226890756302204E-3</c:v>
                </c:pt>
                <c:pt idx="21760">
                  <c:v>-6.7226890756302204E-3</c:v>
                </c:pt>
                <c:pt idx="21761">
                  <c:v>-6.7226890756302204E-3</c:v>
                </c:pt>
                <c:pt idx="21762">
                  <c:v>-6.7226890756302204E-3</c:v>
                </c:pt>
                <c:pt idx="21763">
                  <c:v>-6.7226890756302204E-3</c:v>
                </c:pt>
                <c:pt idx="21764">
                  <c:v>-6.7226890756302204E-3</c:v>
                </c:pt>
                <c:pt idx="21765">
                  <c:v>-7.5630252100839998E-3</c:v>
                </c:pt>
                <c:pt idx="21766">
                  <c:v>-7.5630252100839998E-3</c:v>
                </c:pt>
                <c:pt idx="21767">
                  <c:v>-7.5630252100839998E-3</c:v>
                </c:pt>
                <c:pt idx="21768">
                  <c:v>-7.5630252100839998E-3</c:v>
                </c:pt>
                <c:pt idx="21769">
                  <c:v>-7.5630252100839998E-3</c:v>
                </c:pt>
                <c:pt idx="21770">
                  <c:v>-8.4033613445377801E-3</c:v>
                </c:pt>
                <c:pt idx="21771">
                  <c:v>-8.4033613445377801E-3</c:v>
                </c:pt>
                <c:pt idx="21772">
                  <c:v>-8.4033613445377801E-3</c:v>
                </c:pt>
                <c:pt idx="21773">
                  <c:v>-8.4033613445377801E-3</c:v>
                </c:pt>
                <c:pt idx="21774">
                  <c:v>-8.4033613445377801E-3</c:v>
                </c:pt>
                <c:pt idx="21775">
                  <c:v>-8.4033613445377801E-3</c:v>
                </c:pt>
                <c:pt idx="21776">
                  <c:v>-8.4033613445377801E-3</c:v>
                </c:pt>
                <c:pt idx="21777">
                  <c:v>-8.4033613445377801E-3</c:v>
                </c:pt>
                <c:pt idx="21778">
                  <c:v>-8.4033613445377801E-3</c:v>
                </c:pt>
                <c:pt idx="21779">
                  <c:v>-8.4033613445377801E-3</c:v>
                </c:pt>
                <c:pt idx="21780">
                  <c:v>-8.4033613445377801E-3</c:v>
                </c:pt>
                <c:pt idx="21781">
                  <c:v>-8.4033613445377801E-3</c:v>
                </c:pt>
                <c:pt idx="21782">
                  <c:v>-8.4033613445377801E-3</c:v>
                </c:pt>
                <c:pt idx="21783">
                  <c:v>-9.2436974789915603E-3</c:v>
                </c:pt>
                <c:pt idx="21784">
                  <c:v>-9.2436974789915603E-3</c:v>
                </c:pt>
                <c:pt idx="21785">
                  <c:v>-9.2436974789915603E-3</c:v>
                </c:pt>
                <c:pt idx="21786">
                  <c:v>-9.2436974789915603E-3</c:v>
                </c:pt>
                <c:pt idx="21787">
                  <c:v>-9.2436974789915603E-3</c:v>
                </c:pt>
                <c:pt idx="21788">
                  <c:v>-9.2436974789915603E-3</c:v>
                </c:pt>
                <c:pt idx="21789">
                  <c:v>-9.2436974789915603E-3</c:v>
                </c:pt>
                <c:pt idx="21790">
                  <c:v>-9.2436974789915603E-3</c:v>
                </c:pt>
                <c:pt idx="21791">
                  <c:v>-9.2436974789915603E-3</c:v>
                </c:pt>
                <c:pt idx="21792">
                  <c:v>-9.2436974789915603E-3</c:v>
                </c:pt>
                <c:pt idx="21793">
                  <c:v>-9.2436974789915603E-3</c:v>
                </c:pt>
                <c:pt idx="21794">
                  <c:v>-1.0084033613445301E-2</c:v>
                </c:pt>
                <c:pt idx="21795">
                  <c:v>-9.2436974789915603E-3</c:v>
                </c:pt>
                <c:pt idx="21796">
                  <c:v>-9.2436974789915603E-3</c:v>
                </c:pt>
                <c:pt idx="21797">
                  <c:v>-9.2436974789915603E-3</c:v>
                </c:pt>
                <c:pt idx="21798">
                  <c:v>-9.2436974789915603E-3</c:v>
                </c:pt>
                <c:pt idx="21799">
                  <c:v>-9.2436974789915603E-3</c:v>
                </c:pt>
                <c:pt idx="21800">
                  <c:v>-8.4033613445377801E-3</c:v>
                </c:pt>
                <c:pt idx="21801">
                  <c:v>-8.4033613445377801E-3</c:v>
                </c:pt>
                <c:pt idx="21802">
                  <c:v>-8.4033613445377801E-3</c:v>
                </c:pt>
                <c:pt idx="21803">
                  <c:v>-8.4033613445377801E-3</c:v>
                </c:pt>
                <c:pt idx="21804">
                  <c:v>-8.4033613445377801E-3</c:v>
                </c:pt>
                <c:pt idx="21805">
                  <c:v>-8.4033613445377801E-3</c:v>
                </c:pt>
                <c:pt idx="21806">
                  <c:v>-8.4033613445377801E-3</c:v>
                </c:pt>
                <c:pt idx="21807">
                  <c:v>-8.4033613445377801E-3</c:v>
                </c:pt>
                <c:pt idx="21808">
                  <c:v>-8.4033613445377801E-3</c:v>
                </c:pt>
                <c:pt idx="21809">
                  <c:v>-8.4033613445377801E-3</c:v>
                </c:pt>
                <c:pt idx="21810">
                  <c:v>-8.4033613445377801E-3</c:v>
                </c:pt>
                <c:pt idx="21811">
                  <c:v>-9.2436974789915603E-3</c:v>
                </c:pt>
                <c:pt idx="21812">
                  <c:v>-9.2436974789915603E-3</c:v>
                </c:pt>
                <c:pt idx="21813">
                  <c:v>-9.2436974789915603E-3</c:v>
                </c:pt>
                <c:pt idx="21814">
                  <c:v>-9.2436974789915603E-3</c:v>
                </c:pt>
                <c:pt idx="21815">
                  <c:v>-9.2436974789915603E-3</c:v>
                </c:pt>
                <c:pt idx="21816">
                  <c:v>-9.2436974789915603E-3</c:v>
                </c:pt>
                <c:pt idx="21817">
                  <c:v>-9.2436974789915603E-3</c:v>
                </c:pt>
                <c:pt idx="21818">
                  <c:v>-9.2436974789915603E-3</c:v>
                </c:pt>
                <c:pt idx="21819">
                  <c:v>-9.2436974789915603E-3</c:v>
                </c:pt>
                <c:pt idx="21820">
                  <c:v>-9.2436974789915603E-3</c:v>
                </c:pt>
                <c:pt idx="21821">
                  <c:v>-9.2436974789915603E-3</c:v>
                </c:pt>
                <c:pt idx="21822">
                  <c:v>-9.2436974789915603E-3</c:v>
                </c:pt>
                <c:pt idx="21823">
                  <c:v>-9.2436974789915603E-3</c:v>
                </c:pt>
                <c:pt idx="21824">
                  <c:v>-9.2436974789915603E-3</c:v>
                </c:pt>
                <c:pt idx="21825">
                  <c:v>-9.2436974789915603E-3</c:v>
                </c:pt>
                <c:pt idx="21826">
                  <c:v>-9.2436974789915603E-3</c:v>
                </c:pt>
                <c:pt idx="21827">
                  <c:v>-9.2436974789915603E-3</c:v>
                </c:pt>
                <c:pt idx="21828">
                  <c:v>-1.0084033613445301E-2</c:v>
                </c:pt>
                <c:pt idx="21829">
                  <c:v>-1.0084033613445301E-2</c:v>
                </c:pt>
                <c:pt idx="21830">
                  <c:v>-1.0084033613445301E-2</c:v>
                </c:pt>
                <c:pt idx="21831">
                  <c:v>-1.0084033613445301E-2</c:v>
                </c:pt>
                <c:pt idx="21832">
                  <c:v>-1.0084033613445301E-2</c:v>
                </c:pt>
                <c:pt idx="21833">
                  <c:v>-1.0084033613445301E-2</c:v>
                </c:pt>
                <c:pt idx="21834">
                  <c:v>-1.0084033613445301E-2</c:v>
                </c:pt>
                <c:pt idx="21835">
                  <c:v>-1.0084033613445301E-2</c:v>
                </c:pt>
                <c:pt idx="21836">
                  <c:v>-1.0084033613445301E-2</c:v>
                </c:pt>
                <c:pt idx="21837">
                  <c:v>-1.0084033613445301E-2</c:v>
                </c:pt>
                <c:pt idx="21838">
                  <c:v>-1.0084033613445301E-2</c:v>
                </c:pt>
                <c:pt idx="21839">
                  <c:v>-1.0084033613445301E-2</c:v>
                </c:pt>
                <c:pt idx="21840">
                  <c:v>-1.0084033613445301E-2</c:v>
                </c:pt>
                <c:pt idx="21841">
                  <c:v>-1.0084033613445301E-2</c:v>
                </c:pt>
                <c:pt idx="21842">
                  <c:v>-1.0084033613445301E-2</c:v>
                </c:pt>
                <c:pt idx="21843">
                  <c:v>-1.0084033613445301E-2</c:v>
                </c:pt>
                <c:pt idx="21844">
                  <c:v>-1.0084033613445301E-2</c:v>
                </c:pt>
                <c:pt idx="21845">
                  <c:v>-1.0084033613445301E-2</c:v>
                </c:pt>
                <c:pt idx="21846">
                  <c:v>-1.0084033613445301E-2</c:v>
                </c:pt>
                <c:pt idx="21847">
                  <c:v>-1.0084033613445301E-2</c:v>
                </c:pt>
                <c:pt idx="21848">
                  <c:v>-1.0084033613445301E-2</c:v>
                </c:pt>
                <c:pt idx="21849">
                  <c:v>-1.0084033613445301E-2</c:v>
                </c:pt>
                <c:pt idx="21850">
                  <c:v>-1.0084033613445301E-2</c:v>
                </c:pt>
                <c:pt idx="21851">
                  <c:v>-1.0084033613445301E-2</c:v>
                </c:pt>
                <c:pt idx="21852">
                  <c:v>-1.0084033613445301E-2</c:v>
                </c:pt>
                <c:pt idx="21853">
                  <c:v>-1.0084033613445301E-2</c:v>
                </c:pt>
                <c:pt idx="21854">
                  <c:v>-1.0084033613445301E-2</c:v>
                </c:pt>
                <c:pt idx="21855">
                  <c:v>-1.0084033613445301E-2</c:v>
                </c:pt>
                <c:pt idx="21856">
                  <c:v>-1.0084033613445301E-2</c:v>
                </c:pt>
                <c:pt idx="21857">
                  <c:v>-1.0084033613445301E-2</c:v>
                </c:pt>
                <c:pt idx="21858">
                  <c:v>-1.0084033613445301E-2</c:v>
                </c:pt>
                <c:pt idx="21859">
                  <c:v>-1.0084033613445301E-2</c:v>
                </c:pt>
                <c:pt idx="21860">
                  <c:v>-1.0084033613445301E-2</c:v>
                </c:pt>
                <c:pt idx="21861">
                  <c:v>-1.0084033613445301E-2</c:v>
                </c:pt>
                <c:pt idx="21862">
                  <c:v>-1.0084033613445301E-2</c:v>
                </c:pt>
                <c:pt idx="21863">
                  <c:v>-1.0084033613445301E-2</c:v>
                </c:pt>
                <c:pt idx="21864">
                  <c:v>-1.0084033613445301E-2</c:v>
                </c:pt>
                <c:pt idx="21865">
                  <c:v>-1.0084033613445301E-2</c:v>
                </c:pt>
                <c:pt idx="21866">
                  <c:v>-1.0084033613445301E-2</c:v>
                </c:pt>
                <c:pt idx="21867">
                  <c:v>-1.0084033613445301E-2</c:v>
                </c:pt>
                <c:pt idx="21868">
                  <c:v>-1.0084033613445301E-2</c:v>
                </c:pt>
                <c:pt idx="21869">
                  <c:v>-1.0084033613445301E-2</c:v>
                </c:pt>
                <c:pt idx="21870">
                  <c:v>-1.0084033613445301E-2</c:v>
                </c:pt>
                <c:pt idx="21871">
                  <c:v>-1.0084033613445301E-2</c:v>
                </c:pt>
                <c:pt idx="21872">
                  <c:v>-1.0084033613445301E-2</c:v>
                </c:pt>
                <c:pt idx="21873">
                  <c:v>-1.0084033613445301E-2</c:v>
                </c:pt>
                <c:pt idx="21874">
                  <c:v>-1.0084033613445301E-2</c:v>
                </c:pt>
                <c:pt idx="21875">
                  <c:v>-1.0084033613445301E-2</c:v>
                </c:pt>
                <c:pt idx="21876">
                  <c:v>-1.0084033613445301E-2</c:v>
                </c:pt>
                <c:pt idx="21877">
                  <c:v>-1.0084033613445301E-2</c:v>
                </c:pt>
                <c:pt idx="21878">
                  <c:v>-1.0084033613445301E-2</c:v>
                </c:pt>
                <c:pt idx="21879">
                  <c:v>-9.2436974789915603E-3</c:v>
                </c:pt>
                <c:pt idx="21880">
                  <c:v>-9.2436974789915603E-3</c:v>
                </c:pt>
                <c:pt idx="21881">
                  <c:v>-9.2436974789915603E-3</c:v>
                </c:pt>
                <c:pt idx="21882">
                  <c:v>-1.0084033613445301E-2</c:v>
                </c:pt>
                <c:pt idx="21883">
                  <c:v>-1.0084033613445301E-2</c:v>
                </c:pt>
                <c:pt idx="21884">
                  <c:v>-1.0084033613445301E-2</c:v>
                </c:pt>
                <c:pt idx="21885">
                  <c:v>-1.0084033613445301E-2</c:v>
                </c:pt>
                <c:pt idx="21886">
                  <c:v>-1.0084033613445301E-2</c:v>
                </c:pt>
                <c:pt idx="21887">
                  <c:v>-1.0084033613445301E-2</c:v>
                </c:pt>
                <c:pt idx="21888">
                  <c:v>-1.0084033613445301E-2</c:v>
                </c:pt>
                <c:pt idx="21889">
                  <c:v>-1.0084033613445301E-2</c:v>
                </c:pt>
                <c:pt idx="21890">
                  <c:v>-1.0084033613445301E-2</c:v>
                </c:pt>
                <c:pt idx="21891">
                  <c:v>-1.0084033613445301E-2</c:v>
                </c:pt>
                <c:pt idx="21892">
                  <c:v>-1.0084033613445301E-2</c:v>
                </c:pt>
                <c:pt idx="21893">
                  <c:v>-1.0084033613445301E-2</c:v>
                </c:pt>
                <c:pt idx="21894">
                  <c:v>-1.0084033613445301E-2</c:v>
                </c:pt>
                <c:pt idx="21895">
                  <c:v>-1.0084033613445301E-2</c:v>
                </c:pt>
                <c:pt idx="21896">
                  <c:v>-1.0084033613445301E-2</c:v>
                </c:pt>
                <c:pt idx="21897">
                  <c:v>-1.0084033613445301E-2</c:v>
                </c:pt>
                <c:pt idx="21898">
                  <c:v>-1.0084033613445301E-2</c:v>
                </c:pt>
                <c:pt idx="21899">
                  <c:v>-1.0084033613445301E-2</c:v>
                </c:pt>
                <c:pt idx="21900">
                  <c:v>-1.0084033613445301E-2</c:v>
                </c:pt>
                <c:pt idx="21901">
                  <c:v>-1.0084033613445301E-2</c:v>
                </c:pt>
                <c:pt idx="21902">
                  <c:v>-1.0084033613445301E-2</c:v>
                </c:pt>
                <c:pt idx="21903">
                  <c:v>-1.0084033613445301E-2</c:v>
                </c:pt>
                <c:pt idx="21904">
                  <c:v>-1.0084033613445301E-2</c:v>
                </c:pt>
                <c:pt idx="21905">
                  <c:v>-1.0084033613445301E-2</c:v>
                </c:pt>
                <c:pt idx="21906">
                  <c:v>-1.0084033613445301E-2</c:v>
                </c:pt>
                <c:pt idx="21907">
                  <c:v>-1.0084033613445301E-2</c:v>
                </c:pt>
                <c:pt idx="21908">
                  <c:v>-1.0084033613445301E-2</c:v>
                </c:pt>
                <c:pt idx="21909">
                  <c:v>-1.0084033613445301E-2</c:v>
                </c:pt>
                <c:pt idx="21910">
                  <c:v>-1.0084033613445301E-2</c:v>
                </c:pt>
                <c:pt idx="21911">
                  <c:v>-1.0084033613445301E-2</c:v>
                </c:pt>
                <c:pt idx="21912">
                  <c:v>-1.0084033613445301E-2</c:v>
                </c:pt>
                <c:pt idx="21913">
                  <c:v>-1.0084033613445301E-2</c:v>
                </c:pt>
                <c:pt idx="21914">
                  <c:v>-1.0084033613445301E-2</c:v>
                </c:pt>
                <c:pt idx="21915">
                  <c:v>-1.09243697478991E-2</c:v>
                </c:pt>
                <c:pt idx="21916">
                  <c:v>-1.09243697478991E-2</c:v>
                </c:pt>
                <c:pt idx="21917">
                  <c:v>-1.09243697478991E-2</c:v>
                </c:pt>
                <c:pt idx="21918">
                  <c:v>-1.09243697478991E-2</c:v>
                </c:pt>
                <c:pt idx="21919">
                  <c:v>-1.09243697478991E-2</c:v>
                </c:pt>
                <c:pt idx="21920">
                  <c:v>-1.09243697478991E-2</c:v>
                </c:pt>
                <c:pt idx="21921">
                  <c:v>-1.09243697478991E-2</c:v>
                </c:pt>
                <c:pt idx="21922">
                  <c:v>-1.09243697478991E-2</c:v>
                </c:pt>
                <c:pt idx="21923">
                  <c:v>-1.09243697478991E-2</c:v>
                </c:pt>
                <c:pt idx="21924">
                  <c:v>-1.09243697478991E-2</c:v>
                </c:pt>
                <c:pt idx="21925">
                  <c:v>-1.09243697478991E-2</c:v>
                </c:pt>
                <c:pt idx="21926">
                  <c:v>-1.09243697478991E-2</c:v>
                </c:pt>
                <c:pt idx="21927">
                  <c:v>-1.09243697478991E-2</c:v>
                </c:pt>
                <c:pt idx="21928">
                  <c:v>-1.09243697478991E-2</c:v>
                </c:pt>
                <c:pt idx="21929">
                  <c:v>-1.09243697478991E-2</c:v>
                </c:pt>
                <c:pt idx="21930">
                  <c:v>-1.09243697478991E-2</c:v>
                </c:pt>
                <c:pt idx="21931">
                  <c:v>-1.09243697478991E-2</c:v>
                </c:pt>
                <c:pt idx="21932">
                  <c:v>-1.09243697478991E-2</c:v>
                </c:pt>
                <c:pt idx="21933">
                  <c:v>-1.09243697478991E-2</c:v>
                </c:pt>
                <c:pt idx="21934">
                  <c:v>-1.09243697478991E-2</c:v>
                </c:pt>
                <c:pt idx="21935">
                  <c:v>-1.09243697478991E-2</c:v>
                </c:pt>
                <c:pt idx="21936">
                  <c:v>-1.09243697478991E-2</c:v>
                </c:pt>
                <c:pt idx="21937">
                  <c:v>-1.1764705882352899E-2</c:v>
                </c:pt>
                <c:pt idx="21938">
                  <c:v>-1.09243697478991E-2</c:v>
                </c:pt>
                <c:pt idx="21939">
                  <c:v>-1.09243697478991E-2</c:v>
                </c:pt>
                <c:pt idx="21940">
                  <c:v>-1.09243697478991E-2</c:v>
                </c:pt>
                <c:pt idx="21941">
                  <c:v>-1.09243697478991E-2</c:v>
                </c:pt>
                <c:pt idx="21942">
                  <c:v>-1.09243697478991E-2</c:v>
                </c:pt>
                <c:pt idx="21943">
                  <c:v>-1.09243697478991E-2</c:v>
                </c:pt>
                <c:pt idx="21944">
                  <c:v>-1.09243697478991E-2</c:v>
                </c:pt>
                <c:pt idx="21945">
                  <c:v>-1.09243697478991E-2</c:v>
                </c:pt>
                <c:pt idx="21946">
                  <c:v>-1.09243697478991E-2</c:v>
                </c:pt>
                <c:pt idx="21947">
                  <c:v>-1.09243697478991E-2</c:v>
                </c:pt>
                <c:pt idx="21948">
                  <c:v>-1.09243697478991E-2</c:v>
                </c:pt>
                <c:pt idx="21949">
                  <c:v>-1.09243697478991E-2</c:v>
                </c:pt>
                <c:pt idx="21950">
                  <c:v>-1.09243697478991E-2</c:v>
                </c:pt>
                <c:pt idx="21951">
                  <c:v>-1.09243697478991E-2</c:v>
                </c:pt>
                <c:pt idx="21952">
                  <c:v>-1.09243697478991E-2</c:v>
                </c:pt>
                <c:pt idx="21953">
                  <c:v>-1.09243697478991E-2</c:v>
                </c:pt>
                <c:pt idx="21954">
                  <c:v>-1.09243697478991E-2</c:v>
                </c:pt>
                <c:pt idx="21955">
                  <c:v>-1.09243697478991E-2</c:v>
                </c:pt>
                <c:pt idx="21956">
                  <c:v>-1.09243697478991E-2</c:v>
                </c:pt>
                <c:pt idx="21957">
                  <c:v>-1.09243697478991E-2</c:v>
                </c:pt>
                <c:pt idx="21958">
                  <c:v>-1.09243697478991E-2</c:v>
                </c:pt>
                <c:pt idx="21959">
                  <c:v>-1.09243697478991E-2</c:v>
                </c:pt>
                <c:pt idx="21960">
                  <c:v>-1.09243697478991E-2</c:v>
                </c:pt>
                <c:pt idx="21961">
                  <c:v>-1.09243697478991E-2</c:v>
                </c:pt>
                <c:pt idx="21962">
                  <c:v>-1.0084033613445301E-2</c:v>
                </c:pt>
                <c:pt idx="21963">
                  <c:v>-1.0084033613445301E-2</c:v>
                </c:pt>
                <c:pt idx="21964">
                  <c:v>-1.0084033613445301E-2</c:v>
                </c:pt>
                <c:pt idx="21965">
                  <c:v>-1.0084033613445301E-2</c:v>
                </c:pt>
                <c:pt idx="21966">
                  <c:v>-1.0084033613445301E-2</c:v>
                </c:pt>
                <c:pt idx="21967">
                  <c:v>-1.0084033613445301E-2</c:v>
                </c:pt>
                <c:pt idx="21968">
                  <c:v>-1.0084033613445301E-2</c:v>
                </c:pt>
                <c:pt idx="21969">
                  <c:v>-1.0084033613445301E-2</c:v>
                </c:pt>
                <c:pt idx="21970">
                  <c:v>-1.0084033613445301E-2</c:v>
                </c:pt>
                <c:pt idx="21971">
                  <c:v>-1.0084033613445301E-2</c:v>
                </c:pt>
                <c:pt idx="21972">
                  <c:v>-1.0084033613445301E-2</c:v>
                </c:pt>
                <c:pt idx="21973">
                  <c:v>-1.0084033613445301E-2</c:v>
                </c:pt>
                <c:pt idx="21974">
                  <c:v>-1.0084033613445301E-2</c:v>
                </c:pt>
                <c:pt idx="21975">
                  <c:v>-1.0084033613445301E-2</c:v>
                </c:pt>
                <c:pt idx="21976">
                  <c:v>-1.0084033613445301E-2</c:v>
                </c:pt>
                <c:pt idx="21977">
                  <c:v>-1.0084033613445301E-2</c:v>
                </c:pt>
                <c:pt idx="21978">
                  <c:v>-1.0084033613445301E-2</c:v>
                </c:pt>
                <c:pt idx="21979">
                  <c:v>-1.0084033613445301E-2</c:v>
                </c:pt>
                <c:pt idx="21980">
                  <c:v>-1.0084033613445301E-2</c:v>
                </c:pt>
                <c:pt idx="21981">
                  <c:v>-1.0084033613445301E-2</c:v>
                </c:pt>
                <c:pt idx="21982">
                  <c:v>-1.0084033613445301E-2</c:v>
                </c:pt>
                <c:pt idx="21983">
                  <c:v>-1.0084033613445301E-2</c:v>
                </c:pt>
                <c:pt idx="21984">
                  <c:v>-1.0084033613445301E-2</c:v>
                </c:pt>
                <c:pt idx="21985">
                  <c:v>-1.0084033613445301E-2</c:v>
                </c:pt>
                <c:pt idx="21986">
                  <c:v>-1.0084033613445301E-2</c:v>
                </c:pt>
                <c:pt idx="21987">
                  <c:v>-1.0084033613445301E-2</c:v>
                </c:pt>
                <c:pt idx="21988">
                  <c:v>-1.0084033613445301E-2</c:v>
                </c:pt>
                <c:pt idx="21989">
                  <c:v>-1.0084033613445301E-2</c:v>
                </c:pt>
                <c:pt idx="21990">
                  <c:v>-1.0084033613445301E-2</c:v>
                </c:pt>
                <c:pt idx="21991">
                  <c:v>-1.0084033613445301E-2</c:v>
                </c:pt>
                <c:pt idx="21992">
                  <c:v>-1.0084033613445301E-2</c:v>
                </c:pt>
                <c:pt idx="21993">
                  <c:v>-1.0084033613445301E-2</c:v>
                </c:pt>
                <c:pt idx="21994">
                  <c:v>-1.09243697478991E-2</c:v>
                </c:pt>
                <c:pt idx="21995">
                  <c:v>-1.09243697478991E-2</c:v>
                </c:pt>
                <c:pt idx="21996">
                  <c:v>-1.09243697478991E-2</c:v>
                </c:pt>
                <c:pt idx="21997">
                  <c:v>-1.09243697478991E-2</c:v>
                </c:pt>
                <c:pt idx="21998">
                  <c:v>-1.09243697478991E-2</c:v>
                </c:pt>
                <c:pt idx="21999">
                  <c:v>-1.09243697478991E-2</c:v>
                </c:pt>
                <c:pt idx="22000">
                  <c:v>-1.09243697478991E-2</c:v>
                </c:pt>
                <c:pt idx="22001">
                  <c:v>-1.09243697478991E-2</c:v>
                </c:pt>
                <c:pt idx="22002">
                  <c:v>-1.09243697478991E-2</c:v>
                </c:pt>
                <c:pt idx="22003">
                  <c:v>-1.09243697478991E-2</c:v>
                </c:pt>
                <c:pt idx="22004">
                  <c:v>-1.09243697478991E-2</c:v>
                </c:pt>
                <c:pt idx="22005">
                  <c:v>-1.0084033613445301E-2</c:v>
                </c:pt>
                <c:pt idx="22006">
                  <c:v>-1.0084033613445301E-2</c:v>
                </c:pt>
                <c:pt idx="22007">
                  <c:v>-1.09243697478991E-2</c:v>
                </c:pt>
                <c:pt idx="22008">
                  <c:v>-1.09243697478991E-2</c:v>
                </c:pt>
                <c:pt idx="22009">
                  <c:v>-1.09243697478991E-2</c:v>
                </c:pt>
                <c:pt idx="22010">
                  <c:v>-1.09243697478991E-2</c:v>
                </c:pt>
                <c:pt idx="22011">
                  <c:v>-1.09243697478991E-2</c:v>
                </c:pt>
                <c:pt idx="22012">
                  <c:v>-1.09243697478991E-2</c:v>
                </c:pt>
                <c:pt idx="22013">
                  <c:v>-1.09243697478991E-2</c:v>
                </c:pt>
                <c:pt idx="22014">
                  <c:v>-1.09243697478991E-2</c:v>
                </c:pt>
                <c:pt idx="22015">
                  <c:v>-1.09243697478991E-2</c:v>
                </c:pt>
                <c:pt idx="22016">
                  <c:v>-1.09243697478991E-2</c:v>
                </c:pt>
                <c:pt idx="22017">
                  <c:v>-1.09243697478991E-2</c:v>
                </c:pt>
                <c:pt idx="22018">
                  <c:v>-1.09243697478991E-2</c:v>
                </c:pt>
                <c:pt idx="22019">
                  <c:v>-1.09243697478991E-2</c:v>
                </c:pt>
                <c:pt idx="22020">
                  <c:v>-1.09243697478991E-2</c:v>
                </c:pt>
                <c:pt idx="22021">
                  <c:v>-1.09243697478991E-2</c:v>
                </c:pt>
                <c:pt idx="22022">
                  <c:v>-1.09243697478991E-2</c:v>
                </c:pt>
                <c:pt idx="22023">
                  <c:v>-1.09243697478991E-2</c:v>
                </c:pt>
                <c:pt idx="22024">
                  <c:v>-1.09243697478991E-2</c:v>
                </c:pt>
                <c:pt idx="22025">
                  <c:v>-1.09243697478991E-2</c:v>
                </c:pt>
                <c:pt idx="22026">
                  <c:v>-1.1764705882352899E-2</c:v>
                </c:pt>
                <c:pt idx="22027">
                  <c:v>-1.1764705882352899E-2</c:v>
                </c:pt>
                <c:pt idx="22028">
                  <c:v>-1.1764705882352899E-2</c:v>
                </c:pt>
                <c:pt idx="22029">
                  <c:v>-1.1764705882352899E-2</c:v>
                </c:pt>
                <c:pt idx="22030">
                  <c:v>-1.1764705882352899E-2</c:v>
                </c:pt>
                <c:pt idx="22031">
                  <c:v>-1.1764705882352899E-2</c:v>
                </c:pt>
                <c:pt idx="22032">
                  <c:v>-1.1764705882352899E-2</c:v>
                </c:pt>
                <c:pt idx="22033">
                  <c:v>-1.1764705882352899E-2</c:v>
                </c:pt>
                <c:pt idx="22034">
                  <c:v>-1.1764705882352899E-2</c:v>
                </c:pt>
                <c:pt idx="22035">
                  <c:v>-1.1764705882352899E-2</c:v>
                </c:pt>
                <c:pt idx="22036">
                  <c:v>-1.1764705882352899E-2</c:v>
                </c:pt>
                <c:pt idx="22037">
                  <c:v>-1.1764705882352899E-2</c:v>
                </c:pt>
                <c:pt idx="22038">
                  <c:v>-1.1764705882352899E-2</c:v>
                </c:pt>
                <c:pt idx="22039">
                  <c:v>-1.1764705882352899E-2</c:v>
                </c:pt>
                <c:pt idx="22040">
                  <c:v>-1.1764705882352899E-2</c:v>
                </c:pt>
                <c:pt idx="22041">
                  <c:v>-1.1764705882352899E-2</c:v>
                </c:pt>
                <c:pt idx="22042">
                  <c:v>-1.1764705882352899E-2</c:v>
                </c:pt>
                <c:pt idx="22043">
                  <c:v>-1.1764705882352899E-2</c:v>
                </c:pt>
                <c:pt idx="22044">
                  <c:v>-1.1764705882352899E-2</c:v>
                </c:pt>
                <c:pt idx="22045">
                  <c:v>-1.1764705882352899E-2</c:v>
                </c:pt>
                <c:pt idx="22046">
                  <c:v>-1.1764705882352899E-2</c:v>
                </c:pt>
                <c:pt idx="22047">
                  <c:v>-1.1764705882352899E-2</c:v>
                </c:pt>
                <c:pt idx="22048">
                  <c:v>-1.1764705882352899E-2</c:v>
                </c:pt>
                <c:pt idx="22049">
                  <c:v>-1.1764705882352899E-2</c:v>
                </c:pt>
                <c:pt idx="22050">
                  <c:v>-1.1764705882352899E-2</c:v>
                </c:pt>
                <c:pt idx="22051">
                  <c:v>-1.26050420168066E-2</c:v>
                </c:pt>
                <c:pt idx="22052">
                  <c:v>-1.26050420168066E-2</c:v>
                </c:pt>
                <c:pt idx="22053">
                  <c:v>-1.26050420168066E-2</c:v>
                </c:pt>
                <c:pt idx="22054">
                  <c:v>-1.26050420168066E-2</c:v>
                </c:pt>
                <c:pt idx="22055">
                  <c:v>-1.26050420168066E-2</c:v>
                </c:pt>
                <c:pt idx="22056">
                  <c:v>-1.26050420168066E-2</c:v>
                </c:pt>
                <c:pt idx="22057">
                  <c:v>-1.26050420168066E-2</c:v>
                </c:pt>
                <c:pt idx="22058">
                  <c:v>-1.26050420168066E-2</c:v>
                </c:pt>
                <c:pt idx="22059">
                  <c:v>-1.26050420168066E-2</c:v>
                </c:pt>
                <c:pt idx="22060">
                  <c:v>-1.26050420168066E-2</c:v>
                </c:pt>
                <c:pt idx="22061">
                  <c:v>-1.26050420168066E-2</c:v>
                </c:pt>
                <c:pt idx="22062">
                  <c:v>-1.26050420168066E-2</c:v>
                </c:pt>
                <c:pt idx="22063">
                  <c:v>-1.1764705882352899E-2</c:v>
                </c:pt>
                <c:pt idx="22064">
                  <c:v>-1.1764705882352899E-2</c:v>
                </c:pt>
                <c:pt idx="22065">
                  <c:v>-1.1764705882352899E-2</c:v>
                </c:pt>
                <c:pt idx="22066">
                  <c:v>-1.1764705882352899E-2</c:v>
                </c:pt>
                <c:pt idx="22067">
                  <c:v>-1.1764705882352899E-2</c:v>
                </c:pt>
                <c:pt idx="22068">
                  <c:v>-1.1764705882352899E-2</c:v>
                </c:pt>
                <c:pt idx="22069">
                  <c:v>-1.1764705882352899E-2</c:v>
                </c:pt>
                <c:pt idx="22070">
                  <c:v>-1.1764705882352899E-2</c:v>
                </c:pt>
                <c:pt idx="22071">
                  <c:v>-1.1764705882352899E-2</c:v>
                </c:pt>
                <c:pt idx="22072">
                  <c:v>-1.09243697478991E-2</c:v>
                </c:pt>
                <c:pt idx="22073">
                  <c:v>-1.09243697478991E-2</c:v>
                </c:pt>
                <c:pt idx="22074">
                  <c:v>-1.09243697478991E-2</c:v>
                </c:pt>
                <c:pt idx="22075">
                  <c:v>-1.09243697478991E-2</c:v>
                </c:pt>
                <c:pt idx="22076">
                  <c:v>-1.09243697478991E-2</c:v>
                </c:pt>
                <c:pt idx="22077">
                  <c:v>-1.09243697478991E-2</c:v>
                </c:pt>
                <c:pt idx="22078">
                  <c:v>-1.09243697478991E-2</c:v>
                </c:pt>
                <c:pt idx="22079">
                  <c:v>-1.09243697478991E-2</c:v>
                </c:pt>
                <c:pt idx="22080">
                  <c:v>-1.09243697478991E-2</c:v>
                </c:pt>
                <c:pt idx="22081">
                  <c:v>-1.09243697478991E-2</c:v>
                </c:pt>
                <c:pt idx="22082">
                  <c:v>-1.09243697478991E-2</c:v>
                </c:pt>
                <c:pt idx="22083">
                  <c:v>-1.0084033613445301E-2</c:v>
                </c:pt>
                <c:pt idx="22084">
                  <c:v>-1.0084033613445301E-2</c:v>
                </c:pt>
                <c:pt idx="22085">
                  <c:v>-1.0084033613445301E-2</c:v>
                </c:pt>
                <c:pt idx="22086">
                  <c:v>-1.0084033613445301E-2</c:v>
                </c:pt>
                <c:pt idx="22087">
                  <c:v>-1.0084033613445301E-2</c:v>
                </c:pt>
                <c:pt idx="22088">
                  <c:v>-1.0084033613445301E-2</c:v>
                </c:pt>
                <c:pt idx="22089">
                  <c:v>-1.0084033613445301E-2</c:v>
                </c:pt>
                <c:pt idx="22090">
                  <c:v>-1.0084033613445301E-2</c:v>
                </c:pt>
                <c:pt idx="22091">
                  <c:v>-1.0084033613445301E-2</c:v>
                </c:pt>
                <c:pt idx="22092">
                  <c:v>-1.0084033613445301E-2</c:v>
                </c:pt>
                <c:pt idx="22093">
                  <c:v>-1.0084033613445301E-2</c:v>
                </c:pt>
                <c:pt idx="22094">
                  <c:v>-1.0084033613445301E-2</c:v>
                </c:pt>
                <c:pt idx="22095">
                  <c:v>-1.0084033613445301E-2</c:v>
                </c:pt>
                <c:pt idx="22096">
                  <c:v>-1.0084033613445301E-2</c:v>
                </c:pt>
                <c:pt idx="22097">
                  <c:v>-1.0084033613445301E-2</c:v>
                </c:pt>
                <c:pt idx="22098">
                  <c:v>-1.0084033613445301E-2</c:v>
                </c:pt>
                <c:pt idx="22099">
                  <c:v>-1.0084033613445301E-2</c:v>
                </c:pt>
                <c:pt idx="22100">
                  <c:v>-1.0084033613445301E-2</c:v>
                </c:pt>
                <c:pt idx="22101">
                  <c:v>-1.0084033613445301E-2</c:v>
                </c:pt>
                <c:pt idx="22102">
                  <c:v>-1.0084033613445301E-2</c:v>
                </c:pt>
                <c:pt idx="22103">
                  <c:v>-1.0084033613445301E-2</c:v>
                </c:pt>
                <c:pt idx="22104">
                  <c:v>-1.0084033613445301E-2</c:v>
                </c:pt>
                <c:pt idx="22105">
                  <c:v>-1.0084033613445301E-2</c:v>
                </c:pt>
                <c:pt idx="22106">
                  <c:v>-1.0084033613445301E-2</c:v>
                </c:pt>
                <c:pt idx="22107">
                  <c:v>-1.0084033613445301E-2</c:v>
                </c:pt>
                <c:pt idx="22108">
                  <c:v>-1.0084033613445301E-2</c:v>
                </c:pt>
                <c:pt idx="22109">
                  <c:v>-1.0084033613445301E-2</c:v>
                </c:pt>
                <c:pt idx="22110">
                  <c:v>-1.0084033613445301E-2</c:v>
                </c:pt>
                <c:pt idx="22111">
                  <c:v>-1.0084033613445301E-2</c:v>
                </c:pt>
                <c:pt idx="22112">
                  <c:v>-1.0084033613445301E-2</c:v>
                </c:pt>
                <c:pt idx="22113">
                  <c:v>-1.0084033613445301E-2</c:v>
                </c:pt>
                <c:pt idx="22114">
                  <c:v>-1.0084033613445301E-2</c:v>
                </c:pt>
                <c:pt idx="22115">
                  <c:v>-1.0084033613445301E-2</c:v>
                </c:pt>
                <c:pt idx="22116">
                  <c:v>-1.0084033613445301E-2</c:v>
                </c:pt>
                <c:pt idx="22117">
                  <c:v>-9.2436974789915603E-3</c:v>
                </c:pt>
                <c:pt idx="22118">
                  <c:v>-9.2436974789915603E-3</c:v>
                </c:pt>
                <c:pt idx="22119">
                  <c:v>-9.2436974789915603E-3</c:v>
                </c:pt>
                <c:pt idx="22120">
                  <c:v>-9.2436974789915603E-3</c:v>
                </c:pt>
                <c:pt idx="22121">
                  <c:v>-9.2436974789915603E-3</c:v>
                </c:pt>
                <c:pt idx="22122">
                  <c:v>-9.2436974789915603E-3</c:v>
                </c:pt>
                <c:pt idx="22123">
                  <c:v>-9.2436974789915603E-3</c:v>
                </c:pt>
                <c:pt idx="22124">
                  <c:v>-9.2436974789915603E-3</c:v>
                </c:pt>
                <c:pt idx="22125">
                  <c:v>-1.0084033613445301E-2</c:v>
                </c:pt>
                <c:pt idx="22126">
                  <c:v>-1.0084033613445301E-2</c:v>
                </c:pt>
                <c:pt idx="22127">
                  <c:v>-1.0084033613445301E-2</c:v>
                </c:pt>
                <c:pt idx="22128">
                  <c:v>-1.0084033613445301E-2</c:v>
                </c:pt>
                <c:pt idx="22129">
                  <c:v>-1.0084033613445301E-2</c:v>
                </c:pt>
                <c:pt idx="22130">
                  <c:v>-1.0084033613445301E-2</c:v>
                </c:pt>
                <c:pt idx="22131">
                  <c:v>-1.09243697478991E-2</c:v>
                </c:pt>
                <c:pt idx="22132">
                  <c:v>-1.09243697478991E-2</c:v>
                </c:pt>
                <c:pt idx="22133">
                  <c:v>-1.09243697478991E-2</c:v>
                </c:pt>
                <c:pt idx="22134">
                  <c:v>-1.09243697478991E-2</c:v>
                </c:pt>
                <c:pt idx="22135">
                  <c:v>-1.09243697478991E-2</c:v>
                </c:pt>
                <c:pt idx="22136">
                  <c:v>-1.09243697478991E-2</c:v>
                </c:pt>
                <c:pt idx="22137">
                  <c:v>-1.09243697478991E-2</c:v>
                </c:pt>
                <c:pt idx="22138">
                  <c:v>-1.1764705882352899E-2</c:v>
                </c:pt>
                <c:pt idx="22139">
                  <c:v>-1.1764705882352899E-2</c:v>
                </c:pt>
                <c:pt idx="22140">
                  <c:v>-1.1764705882352899E-2</c:v>
                </c:pt>
                <c:pt idx="22141">
                  <c:v>-1.09243697478991E-2</c:v>
                </c:pt>
                <c:pt idx="22142">
                  <c:v>-1.09243697478991E-2</c:v>
                </c:pt>
                <c:pt idx="22143">
                  <c:v>-1.09243697478991E-2</c:v>
                </c:pt>
                <c:pt idx="22144">
                  <c:v>-1.09243697478991E-2</c:v>
                </c:pt>
                <c:pt idx="22145">
                  <c:v>-1.09243697478991E-2</c:v>
                </c:pt>
                <c:pt idx="22146">
                  <c:v>-1.09243697478991E-2</c:v>
                </c:pt>
                <c:pt idx="22147">
                  <c:v>-1.09243697478991E-2</c:v>
                </c:pt>
                <c:pt idx="22148">
                  <c:v>-1.09243697478991E-2</c:v>
                </c:pt>
                <c:pt idx="22149">
                  <c:v>-1.09243697478991E-2</c:v>
                </c:pt>
                <c:pt idx="22150">
                  <c:v>-1.09243697478991E-2</c:v>
                </c:pt>
                <c:pt idx="22151">
                  <c:v>-1.09243697478991E-2</c:v>
                </c:pt>
                <c:pt idx="22152">
                  <c:v>-1.09243697478991E-2</c:v>
                </c:pt>
                <c:pt idx="22153">
                  <c:v>-1.09243697478991E-2</c:v>
                </c:pt>
                <c:pt idx="22154">
                  <c:v>-1.09243697478991E-2</c:v>
                </c:pt>
                <c:pt idx="22155">
                  <c:v>-1.09243697478991E-2</c:v>
                </c:pt>
                <c:pt idx="22156">
                  <c:v>-1.09243697478991E-2</c:v>
                </c:pt>
                <c:pt idx="22157">
                  <c:v>-1.09243697478991E-2</c:v>
                </c:pt>
                <c:pt idx="22158">
                  <c:v>-1.09243697478991E-2</c:v>
                </c:pt>
                <c:pt idx="22159">
                  <c:v>-1.09243697478991E-2</c:v>
                </c:pt>
                <c:pt idx="22160">
                  <c:v>-1.09243697478991E-2</c:v>
                </c:pt>
                <c:pt idx="22161">
                  <c:v>-1.09243697478991E-2</c:v>
                </c:pt>
                <c:pt idx="22162">
                  <c:v>-1.09243697478991E-2</c:v>
                </c:pt>
                <c:pt idx="22163">
                  <c:v>-1.09243697478991E-2</c:v>
                </c:pt>
                <c:pt idx="22164">
                  <c:v>-1.09243697478991E-2</c:v>
                </c:pt>
                <c:pt idx="22165">
                  <c:v>-1.09243697478991E-2</c:v>
                </c:pt>
                <c:pt idx="22166">
                  <c:v>-1.09243697478991E-2</c:v>
                </c:pt>
                <c:pt idx="22167">
                  <c:v>-1.09243697478991E-2</c:v>
                </c:pt>
                <c:pt idx="22168">
                  <c:v>-1.09243697478991E-2</c:v>
                </c:pt>
                <c:pt idx="22169">
                  <c:v>-1.09243697478991E-2</c:v>
                </c:pt>
                <c:pt idx="22170">
                  <c:v>-1.09243697478991E-2</c:v>
                </c:pt>
                <c:pt idx="22171">
                  <c:v>-1.09243697478991E-2</c:v>
                </c:pt>
                <c:pt idx="22172">
                  <c:v>-1.09243697478991E-2</c:v>
                </c:pt>
                <c:pt idx="22173">
                  <c:v>-1.09243697478991E-2</c:v>
                </c:pt>
                <c:pt idx="22174">
                  <c:v>-1.09243697478991E-2</c:v>
                </c:pt>
                <c:pt idx="22175">
                  <c:v>-1.09243697478991E-2</c:v>
                </c:pt>
                <c:pt idx="22176">
                  <c:v>-1.09243697478991E-2</c:v>
                </c:pt>
                <c:pt idx="22177">
                  <c:v>-1.09243697478991E-2</c:v>
                </c:pt>
                <c:pt idx="22178">
                  <c:v>-1.09243697478991E-2</c:v>
                </c:pt>
                <c:pt idx="22179">
                  <c:v>-1.09243697478991E-2</c:v>
                </c:pt>
                <c:pt idx="22180">
                  <c:v>-1.09243697478991E-2</c:v>
                </c:pt>
                <c:pt idx="22181">
                  <c:v>-1.09243697478991E-2</c:v>
                </c:pt>
                <c:pt idx="22182">
                  <c:v>-1.09243697478991E-2</c:v>
                </c:pt>
                <c:pt idx="22183">
                  <c:v>-1.09243697478991E-2</c:v>
                </c:pt>
                <c:pt idx="22184">
                  <c:v>-1.09243697478991E-2</c:v>
                </c:pt>
                <c:pt idx="22185">
                  <c:v>-1.09243697478991E-2</c:v>
                </c:pt>
                <c:pt idx="22186">
                  <c:v>-1.09243697478991E-2</c:v>
                </c:pt>
                <c:pt idx="22187">
                  <c:v>-1.09243697478991E-2</c:v>
                </c:pt>
                <c:pt idx="22188">
                  <c:v>-1.0084033613445301E-2</c:v>
                </c:pt>
                <c:pt idx="22189">
                  <c:v>-1.0084033613445301E-2</c:v>
                </c:pt>
                <c:pt idx="22190">
                  <c:v>-1.0084033613445301E-2</c:v>
                </c:pt>
                <c:pt idx="22191">
                  <c:v>-1.0084033613445301E-2</c:v>
                </c:pt>
                <c:pt idx="22192">
                  <c:v>-1.0084033613445301E-2</c:v>
                </c:pt>
                <c:pt idx="22193">
                  <c:v>-1.0084033613445301E-2</c:v>
                </c:pt>
                <c:pt idx="22194">
                  <c:v>-1.0084033613445301E-2</c:v>
                </c:pt>
                <c:pt idx="22195">
                  <c:v>-1.0084033613445301E-2</c:v>
                </c:pt>
                <c:pt idx="22196">
                  <c:v>-1.0084033613445301E-2</c:v>
                </c:pt>
                <c:pt idx="22197">
                  <c:v>-1.0084033613445301E-2</c:v>
                </c:pt>
                <c:pt idx="22198">
                  <c:v>-1.0084033613445301E-2</c:v>
                </c:pt>
                <c:pt idx="22199">
                  <c:v>-1.0084033613445301E-2</c:v>
                </c:pt>
                <c:pt idx="22200">
                  <c:v>-1.0084033613445301E-2</c:v>
                </c:pt>
                <c:pt idx="22201">
                  <c:v>-1.0084033613445301E-2</c:v>
                </c:pt>
                <c:pt idx="22202">
                  <c:v>-1.0084033613445301E-2</c:v>
                </c:pt>
                <c:pt idx="22203">
                  <c:v>-1.0084033613445301E-2</c:v>
                </c:pt>
                <c:pt idx="22204">
                  <c:v>-1.0084033613445301E-2</c:v>
                </c:pt>
                <c:pt idx="22205">
                  <c:v>-1.0084033613445301E-2</c:v>
                </c:pt>
                <c:pt idx="22206">
                  <c:v>-1.0084033613445301E-2</c:v>
                </c:pt>
                <c:pt idx="22207">
                  <c:v>-1.0084033613445301E-2</c:v>
                </c:pt>
                <c:pt idx="22208">
                  <c:v>-1.0084033613445301E-2</c:v>
                </c:pt>
                <c:pt idx="22209">
                  <c:v>-1.0084033613445301E-2</c:v>
                </c:pt>
                <c:pt idx="22210">
                  <c:v>-1.0084033613445301E-2</c:v>
                </c:pt>
                <c:pt idx="22211">
                  <c:v>-1.0084033613445301E-2</c:v>
                </c:pt>
                <c:pt idx="22212">
                  <c:v>-9.2436974789915603E-3</c:v>
                </c:pt>
                <c:pt idx="22213">
                  <c:v>-9.2436974789915603E-3</c:v>
                </c:pt>
                <c:pt idx="22214">
                  <c:v>-9.2436974789915603E-3</c:v>
                </c:pt>
                <c:pt idx="22215">
                  <c:v>-9.2436974789915603E-3</c:v>
                </c:pt>
                <c:pt idx="22216">
                  <c:v>-9.2436974789915603E-3</c:v>
                </c:pt>
                <c:pt idx="22217">
                  <c:v>-9.2436974789915603E-3</c:v>
                </c:pt>
                <c:pt idx="22218">
                  <c:v>-9.2436974789915603E-3</c:v>
                </c:pt>
                <c:pt idx="22219">
                  <c:v>-9.2436974789915603E-3</c:v>
                </c:pt>
                <c:pt idx="22220">
                  <c:v>-9.2436974789915603E-3</c:v>
                </c:pt>
                <c:pt idx="22221">
                  <c:v>-9.2436974789915603E-3</c:v>
                </c:pt>
                <c:pt idx="22222">
                  <c:v>-9.2436974789915603E-3</c:v>
                </c:pt>
                <c:pt idx="22223">
                  <c:v>-9.2436974789915603E-3</c:v>
                </c:pt>
                <c:pt idx="22224">
                  <c:v>-9.2436974789915603E-3</c:v>
                </c:pt>
                <c:pt idx="22225">
                  <c:v>-9.2436974789915603E-3</c:v>
                </c:pt>
                <c:pt idx="22226">
                  <c:v>-9.2436974789915603E-3</c:v>
                </c:pt>
                <c:pt idx="22227">
                  <c:v>-9.2436974789915603E-3</c:v>
                </c:pt>
                <c:pt idx="22228">
                  <c:v>-9.2436974789915603E-3</c:v>
                </c:pt>
                <c:pt idx="22229">
                  <c:v>-9.2436974789915603E-3</c:v>
                </c:pt>
                <c:pt idx="22230">
                  <c:v>-9.2436974789915603E-3</c:v>
                </c:pt>
                <c:pt idx="22231">
                  <c:v>-9.2436974789915603E-3</c:v>
                </c:pt>
                <c:pt idx="22232">
                  <c:v>-9.2436974789915603E-3</c:v>
                </c:pt>
                <c:pt idx="22233">
                  <c:v>-9.2436974789915603E-3</c:v>
                </c:pt>
                <c:pt idx="22234">
                  <c:v>-9.2436974789915603E-3</c:v>
                </c:pt>
                <c:pt idx="22235">
                  <c:v>-9.2436974789915603E-3</c:v>
                </c:pt>
                <c:pt idx="22236">
                  <c:v>-9.2436974789915603E-3</c:v>
                </c:pt>
                <c:pt idx="22237">
                  <c:v>-9.2436974789915603E-3</c:v>
                </c:pt>
                <c:pt idx="22238">
                  <c:v>-9.2436974789915603E-3</c:v>
                </c:pt>
                <c:pt idx="22239">
                  <c:v>-9.2436974789915603E-3</c:v>
                </c:pt>
                <c:pt idx="22240">
                  <c:v>-9.2436974789915603E-3</c:v>
                </c:pt>
                <c:pt idx="22241">
                  <c:v>-9.2436974789916696E-3</c:v>
                </c:pt>
                <c:pt idx="22242">
                  <c:v>-9.2436974789916696E-3</c:v>
                </c:pt>
                <c:pt idx="22243">
                  <c:v>-1.00840336134454E-2</c:v>
                </c:pt>
                <c:pt idx="22244">
                  <c:v>-1.00840336134454E-2</c:v>
                </c:pt>
                <c:pt idx="22245">
                  <c:v>-1.00840336134454E-2</c:v>
                </c:pt>
                <c:pt idx="22246">
                  <c:v>-1.00840336134454E-2</c:v>
                </c:pt>
                <c:pt idx="22247">
                  <c:v>-1.00840336134454E-2</c:v>
                </c:pt>
                <c:pt idx="22248">
                  <c:v>-1.00840336134454E-2</c:v>
                </c:pt>
                <c:pt idx="22249">
                  <c:v>-1.00840336134454E-2</c:v>
                </c:pt>
                <c:pt idx="22250">
                  <c:v>-1.00840336134454E-2</c:v>
                </c:pt>
                <c:pt idx="22251">
                  <c:v>-1.00840336134454E-2</c:v>
                </c:pt>
                <c:pt idx="22252">
                  <c:v>-1.00840336134454E-2</c:v>
                </c:pt>
                <c:pt idx="22253">
                  <c:v>-1.00840336134454E-2</c:v>
                </c:pt>
                <c:pt idx="22254">
                  <c:v>-1.00840336134454E-2</c:v>
                </c:pt>
                <c:pt idx="22255">
                  <c:v>-1.00840336134454E-2</c:v>
                </c:pt>
                <c:pt idx="22256">
                  <c:v>-1.00840336134454E-2</c:v>
                </c:pt>
                <c:pt idx="22257">
                  <c:v>-1.00840336134454E-2</c:v>
                </c:pt>
                <c:pt idx="22258">
                  <c:v>-1.00840336134454E-2</c:v>
                </c:pt>
                <c:pt idx="22259">
                  <c:v>-1.00840336134454E-2</c:v>
                </c:pt>
                <c:pt idx="22260">
                  <c:v>-1.00840336134454E-2</c:v>
                </c:pt>
                <c:pt idx="22261">
                  <c:v>-1.00840336134454E-2</c:v>
                </c:pt>
                <c:pt idx="22262">
                  <c:v>-1.00840336134454E-2</c:v>
                </c:pt>
                <c:pt idx="22263">
                  <c:v>-1.00840336134454E-2</c:v>
                </c:pt>
                <c:pt idx="22264">
                  <c:v>-1.00840336134454E-2</c:v>
                </c:pt>
                <c:pt idx="22265">
                  <c:v>-1.00840336134454E-2</c:v>
                </c:pt>
                <c:pt idx="22266">
                  <c:v>-1.00840336134454E-2</c:v>
                </c:pt>
                <c:pt idx="22267">
                  <c:v>-1.00840336134454E-2</c:v>
                </c:pt>
                <c:pt idx="22268">
                  <c:v>-1.00840336134454E-2</c:v>
                </c:pt>
                <c:pt idx="22269">
                  <c:v>-1.00840336134454E-2</c:v>
                </c:pt>
                <c:pt idx="22270">
                  <c:v>-1.00840336134454E-2</c:v>
                </c:pt>
                <c:pt idx="22271">
                  <c:v>-1.00840336134454E-2</c:v>
                </c:pt>
                <c:pt idx="22272">
                  <c:v>-1.00840336134454E-2</c:v>
                </c:pt>
                <c:pt idx="22273">
                  <c:v>-1.00840336134454E-2</c:v>
                </c:pt>
                <c:pt idx="22274">
                  <c:v>-1.00840336134454E-2</c:v>
                </c:pt>
                <c:pt idx="22275">
                  <c:v>-1.00840336134454E-2</c:v>
                </c:pt>
                <c:pt idx="22276">
                  <c:v>-1.0924369747899201E-2</c:v>
                </c:pt>
                <c:pt idx="22277">
                  <c:v>-1.0924369747899201E-2</c:v>
                </c:pt>
                <c:pt idx="22278">
                  <c:v>-1.0924369747899201E-2</c:v>
                </c:pt>
                <c:pt idx="22279">
                  <c:v>-1.0924369747899201E-2</c:v>
                </c:pt>
                <c:pt idx="22280">
                  <c:v>-1.0924369747899201E-2</c:v>
                </c:pt>
                <c:pt idx="22281">
                  <c:v>-1.0924369747899201E-2</c:v>
                </c:pt>
                <c:pt idx="22282">
                  <c:v>-1.0924369747899201E-2</c:v>
                </c:pt>
                <c:pt idx="22283">
                  <c:v>-1.0924369747899201E-2</c:v>
                </c:pt>
                <c:pt idx="22284">
                  <c:v>-1.0924369747899201E-2</c:v>
                </c:pt>
                <c:pt idx="22285">
                  <c:v>-1.1764705882353E-2</c:v>
                </c:pt>
                <c:pt idx="22286">
                  <c:v>-1.1764705882353E-2</c:v>
                </c:pt>
                <c:pt idx="22287">
                  <c:v>-1.1764705882353E-2</c:v>
                </c:pt>
                <c:pt idx="22288">
                  <c:v>-1.1764705882353E-2</c:v>
                </c:pt>
                <c:pt idx="22289">
                  <c:v>-1.1764705882353E-2</c:v>
                </c:pt>
                <c:pt idx="22290">
                  <c:v>-1.1764705882353E-2</c:v>
                </c:pt>
                <c:pt idx="22291">
                  <c:v>-1.1764705882353E-2</c:v>
                </c:pt>
                <c:pt idx="22292">
                  <c:v>-1.1764705882353E-2</c:v>
                </c:pt>
                <c:pt idx="22293">
                  <c:v>-1.1764705882353E-2</c:v>
                </c:pt>
                <c:pt idx="22294">
                  <c:v>-1.1764705882353E-2</c:v>
                </c:pt>
                <c:pt idx="22295">
                  <c:v>-1.1764705882353E-2</c:v>
                </c:pt>
                <c:pt idx="22296">
                  <c:v>-1.1764705882353E-2</c:v>
                </c:pt>
                <c:pt idx="22297">
                  <c:v>-1.1764705882353E-2</c:v>
                </c:pt>
                <c:pt idx="22298">
                  <c:v>-1.1764705882353E-2</c:v>
                </c:pt>
                <c:pt idx="22299">
                  <c:v>-1.1764705882353E-2</c:v>
                </c:pt>
                <c:pt idx="22300">
                  <c:v>-1.1764705882353E-2</c:v>
                </c:pt>
                <c:pt idx="22301">
                  <c:v>-1.1764705882353E-2</c:v>
                </c:pt>
                <c:pt idx="22302">
                  <c:v>-1.1764705882353E-2</c:v>
                </c:pt>
                <c:pt idx="22303">
                  <c:v>-1.1764705882353E-2</c:v>
                </c:pt>
                <c:pt idx="22304">
                  <c:v>-1.1764705882353E-2</c:v>
                </c:pt>
                <c:pt idx="22305">
                  <c:v>-1.1764705882353E-2</c:v>
                </c:pt>
                <c:pt idx="22306">
                  <c:v>-1.1764705882353E-2</c:v>
                </c:pt>
                <c:pt idx="22307">
                  <c:v>-1.1764705882353E-2</c:v>
                </c:pt>
                <c:pt idx="22308">
                  <c:v>-1.1764705882353E-2</c:v>
                </c:pt>
                <c:pt idx="22309">
                  <c:v>-1.1764705882353E-2</c:v>
                </c:pt>
                <c:pt idx="22310">
                  <c:v>-1.1764705882353E-2</c:v>
                </c:pt>
                <c:pt idx="22311">
                  <c:v>-1.1764705882353E-2</c:v>
                </c:pt>
                <c:pt idx="22312">
                  <c:v>-1.1764705882353E-2</c:v>
                </c:pt>
                <c:pt idx="22313">
                  <c:v>-1.1764705882353E-2</c:v>
                </c:pt>
                <c:pt idx="22314">
                  <c:v>-1.1764705882353E-2</c:v>
                </c:pt>
                <c:pt idx="22315">
                  <c:v>-1.1764705882353E-2</c:v>
                </c:pt>
                <c:pt idx="22316">
                  <c:v>-1.1764705882353E-2</c:v>
                </c:pt>
                <c:pt idx="22317">
                  <c:v>-1.1764705882353E-2</c:v>
                </c:pt>
                <c:pt idx="22318">
                  <c:v>-1.1764705882353E-2</c:v>
                </c:pt>
                <c:pt idx="22319">
                  <c:v>-1.1764705882353E-2</c:v>
                </c:pt>
                <c:pt idx="22320">
                  <c:v>-1.1764705882353E-2</c:v>
                </c:pt>
                <c:pt idx="22321">
                  <c:v>-1.1764705882353E-2</c:v>
                </c:pt>
                <c:pt idx="22322">
                  <c:v>-1.1764705882353E-2</c:v>
                </c:pt>
                <c:pt idx="22323">
                  <c:v>-1.26050420168067E-2</c:v>
                </c:pt>
                <c:pt idx="22324">
                  <c:v>-1.26050420168067E-2</c:v>
                </c:pt>
                <c:pt idx="22325">
                  <c:v>-1.26050420168067E-2</c:v>
                </c:pt>
                <c:pt idx="22326">
                  <c:v>-1.26050420168067E-2</c:v>
                </c:pt>
                <c:pt idx="22327">
                  <c:v>-1.26050420168067E-2</c:v>
                </c:pt>
                <c:pt idx="22328">
                  <c:v>-1.34453781512605E-2</c:v>
                </c:pt>
                <c:pt idx="22329">
                  <c:v>-1.34453781512605E-2</c:v>
                </c:pt>
                <c:pt idx="22330">
                  <c:v>-1.34453781512605E-2</c:v>
                </c:pt>
                <c:pt idx="22331">
                  <c:v>-1.34453781512605E-2</c:v>
                </c:pt>
                <c:pt idx="22332">
                  <c:v>-1.34453781512605E-2</c:v>
                </c:pt>
                <c:pt idx="22333">
                  <c:v>-1.34453781512605E-2</c:v>
                </c:pt>
                <c:pt idx="22334">
                  <c:v>-1.34453781512605E-2</c:v>
                </c:pt>
                <c:pt idx="22335">
                  <c:v>-1.34453781512605E-2</c:v>
                </c:pt>
                <c:pt idx="22336">
                  <c:v>-1.34453781512605E-2</c:v>
                </c:pt>
                <c:pt idx="22337">
                  <c:v>-1.34453781512605E-2</c:v>
                </c:pt>
                <c:pt idx="22338">
                  <c:v>-1.34453781512605E-2</c:v>
                </c:pt>
                <c:pt idx="22339">
                  <c:v>-1.34453781512605E-2</c:v>
                </c:pt>
                <c:pt idx="22340">
                  <c:v>-1.34453781512605E-2</c:v>
                </c:pt>
                <c:pt idx="22341">
                  <c:v>-1.26050420168067E-2</c:v>
                </c:pt>
                <c:pt idx="22342">
                  <c:v>-1.26050420168067E-2</c:v>
                </c:pt>
                <c:pt idx="22343">
                  <c:v>-1.26050420168067E-2</c:v>
                </c:pt>
                <c:pt idx="22344">
                  <c:v>-1.26050420168067E-2</c:v>
                </c:pt>
                <c:pt idx="22345">
                  <c:v>-1.26050420168067E-2</c:v>
                </c:pt>
                <c:pt idx="22346">
                  <c:v>-1.26050420168067E-2</c:v>
                </c:pt>
                <c:pt idx="22347">
                  <c:v>-1.26050420168067E-2</c:v>
                </c:pt>
                <c:pt idx="22348">
                  <c:v>-1.26050420168067E-2</c:v>
                </c:pt>
                <c:pt idx="22349">
                  <c:v>-1.26050420168067E-2</c:v>
                </c:pt>
                <c:pt idx="22350">
                  <c:v>-1.26050420168067E-2</c:v>
                </c:pt>
                <c:pt idx="22351">
                  <c:v>-1.26050420168067E-2</c:v>
                </c:pt>
                <c:pt idx="22352">
                  <c:v>-1.26050420168067E-2</c:v>
                </c:pt>
                <c:pt idx="22353">
                  <c:v>-1.26050420168067E-2</c:v>
                </c:pt>
                <c:pt idx="22354">
                  <c:v>-1.26050420168067E-2</c:v>
                </c:pt>
                <c:pt idx="22355">
                  <c:v>-1.26050420168067E-2</c:v>
                </c:pt>
                <c:pt idx="22356">
                  <c:v>-1.26050420168067E-2</c:v>
                </c:pt>
                <c:pt idx="22357">
                  <c:v>-1.26050420168067E-2</c:v>
                </c:pt>
                <c:pt idx="22358">
                  <c:v>-1.26050420168067E-2</c:v>
                </c:pt>
                <c:pt idx="22359">
                  <c:v>-1.26050420168067E-2</c:v>
                </c:pt>
                <c:pt idx="22360">
                  <c:v>-1.26050420168067E-2</c:v>
                </c:pt>
                <c:pt idx="22361">
                  <c:v>-1.26050420168067E-2</c:v>
                </c:pt>
                <c:pt idx="22362">
                  <c:v>-1.26050420168067E-2</c:v>
                </c:pt>
                <c:pt idx="22363">
                  <c:v>-1.26050420168067E-2</c:v>
                </c:pt>
                <c:pt idx="22364">
                  <c:v>-1.26050420168067E-2</c:v>
                </c:pt>
                <c:pt idx="22365">
                  <c:v>-1.26050420168067E-2</c:v>
                </c:pt>
                <c:pt idx="22366">
                  <c:v>-1.26050420168067E-2</c:v>
                </c:pt>
                <c:pt idx="22367">
                  <c:v>-1.26050420168067E-2</c:v>
                </c:pt>
                <c:pt idx="22368">
                  <c:v>-1.26050420168067E-2</c:v>
                </c:pt>
                <c:pt idx="22369">
                  <c:v>-1.26050420168067E-2</c:v>
                </c:pt>
                <c:pt idx="22370">
                  <c:v>-1.26050420168067E-2</c:v>
                </c:pt>
                <c:pt idx="22371">
                  <c:v>-1.26050420168067E-2</c:v>
                </c:pt>
                <c:pt idx="22372">
                  <c:v>-1.26050420168067E-2</c:v>
                </c:pt>
                <c:pt idx="22373">
                  <c:v>-1.26050420168067E-2</c:v>
                </c:pt>
                <c:pt idx="22374">
                  <c:v>-1.26050420168067E-2</c:v>
                </c:pt>
                <c:pt idx="22375">
                  <c:v>-1.26050420168067E-2</c:v>
                </c:pt>
                <c:pt idx="22376">
                  <c:v>-1.26050420168067E-2</c:v>
                </c:pt>
                <c:pt idx="22377">
                  <c:v>-1.26050420168067E-2</c:v>
                </c:pt>
                <c:pt idx="22378">
                  <c:v>-1.26050420168067E-2</c:v>
                </c:pt>
                <c:pt idx="22379">
                  <c:v>-1.26050420168067E-2</c:v>
                </c:pt>
                <c:pt idx="22380">
                  <c:v>-1.26050420168067E-2</c:v>
                </c:pt>
                <c:pt idx="22381">
                  <c:v>-1.26050420168067E-2</c:v>
                </c:pt>
                <c:pt idx="22382">
                  <c:v>-1.26050420168067E-2</c:v>
                </c:pt>
                <c:pt idx="22383">
                  <c:v>-1.26050420168067E-2</c:v>
                </c:pt>
                <c:pt idx="22384">
                  <c:v>-1.26050420168067E-2</c:v>
                </c:pt>
                <c:pt idx="22385">
                  <c:v>-1.26050420168067E-2</c:v>
                </c:pt>
                <c:pt idx="22386">
                  <c:v>-1.26050420168067E-2</c:v>
                </c:pt>
                <c:pt idx="22387">
                  <c:v>-1.26050420168067E-2</c:v>
                </c:pt>
                <c:pt idx="22388">
                  <c:v>-1.26050420168067E-2</c:v>
                </c:pt>
                <c:pt idx="22389">
                  <c:v>-1.26050420168067E-2</c:v>
                </c:pt>
                <c:pt idx="22390">
                  <c:v>-1.26050420168067E-2</c:v>
                </c:pt>
                <c:pt idx="22391">
                  <c:v>-1.26050420168067E-2</c:v>
                </c:pt>
                <c:pt idx="22392">
                  <c:v>-1.26050420168067E-2</c:v>
                </c:pt>
                <c:pt idx="22393">
                  <c:v>-1.26050420168067E-2</c:v>
                </c:pt>
                <c:pt idx="22394">
                  <c:v>-1.26050420168067E-2</c:v>
                </c:pt>
                <c:pt idx="22395">
                  <c:v>-1.26050420168067E-2</c:v>
                </c:pt>
                <c:pt idx="22396">
                  <c:v>-1.26050420168067E-2</c:v>
                </c:pt>
                <c:pt idx="22397">
                  <c:v>-1.26050420168067E-2</c:v>
                </c:pt>
                <c:pt idx="22398">
                  <c:v>-1.26050420168067E-2</c:v>
                </c:pt>
                <c:pt idx="22399">
                  <c:v>-1.26050420168067E-2</c:v>
                </c:pt>
                <c:pt idx="22400">
                  <c:v>-1.26050420168067E-2</c:v>
                </c:pt>
                <c:pt idx="22401">
                  <c:v>-1.26050420168067E-2</c:v>
                </c:pt>
                <c:pt idx="22402">
                  <c:v>-1.26050420168067E-2</c:v>
                </c:pt>
                <c:pt idx="22403">
                  <c:v>-1.26050420168067E-2</c:v>
                </c:pt>
                <c:pt idx="22404">
                  <c:v>-1.26050420168067E-2</c:v>
                </c:pt>
                <c:pt idx="22405">
                  <c:v>-1.26050420168067E-2</c:v>
                </c:pt>
                <c:pt idx="22406">
                  <c:v>-1.26050420168067E-2</c:v>
                </c:pt>
                <c:pt idx="22407">
                  <c:v>-1.26050420168067E-2</c:v>
                </c:pt>
                <c:pt idx="22408">
                  <c:v>-1.26050420168067E-2</c:v>
                </c:pt>
                <c:pt idx="22409">
                  <c:v>-1.26050420168067E-2</c:v>
                </c:pt>
                <c:pt idx="22410">
                  <c:v>-1.26050420168067E-2</c:v>
                </c:pt>
                <c:pt idx="22411">
                  <c:v>-1.26050420168067E-2</c:v>
                </c:pt>
                <c:pt idx="22412">
                  <c:v>-1.26050420168067E-2</c:v>
                </c:pt>
                <c:pt idx="22413">
                  <c:v>-1.26050420168067E-2</c:v>
                </c:pt>
                <c:pt idx="22414">
                  <c:v>-1.26050420168067E-2</c:v>
                </c:pt>
                <c:pt idx="22415">
                  <c:v>-1.26050420168067E-2</c:v>
                </c:pt>
                <c:pt idx="22416">
                  <c:v>-1.34453781512605E-2</c:v>
                </c:pt>
                <c:pt idx="22417">
                  <c:v>-1.34453781512605E-2</c:v>
                </c:pt>
                <c:pt idx="22418">
                  <c:v>-1.34453781512605E-2</c:v>
                </c:pt>
                <c:pt idx="22419">
                  <c:v>-1.34453781512605E-2</c:v>
                </c:pt>
                <c:pt idx="22420">
                  <c:v>-1.34453781512605E-2</c:v>
                </c:pt>
                <c:pt idx="22421">
                  <c:v>-1.34453781512605E-2</c:v>
                </c:pt>
                <c:pt idx="22422">
                  <c:v>-1.34453781512605E-2</c:v>
                </c:pt>
                <c:pt idx="22423">
                  <c:v>-1.34453781512605E-2</c:v>
                </c:pt>
                <c:pt idx="22424">
                  <c:v>-1.34453781512605E-2</c:v>
                </c:pt>
                <c:pt idx="22425">
                  <c:v>-1.34453781512605E-2</c:v>
                </c:pt>
                <c:pt idx="22426">
                  <c:v>-1.34453781512605E-2</c:v>
                </c:pt>
                <c:pt idx="22427">
                  <c:v>-1.34453781512605E-2</c:v>
                </c:pt>
                <c:pt idx="22428">
                  <c:v>-1.34453781512605E-2</c:v>
                </c:pt>
                <c:pt idx="22429">
                  <c:v>-1.34453781512605E-2</c:v>
                </c:pt>
                <c:pt idx="22430">
                  <c:v>-1.34453781512605E-2</c:v>
                </c:pt>
                <c:pt idx="22431">
                  <c:v>-1.34453781512605E-2</c:v>
                </c:pt>
                <c:pt idx="22432">
                  <c:v>-1.34453781512605E-2</c:v>
                </c:pt>
                <c:pt idx="22433">
                  <c:v>-1.34453781512605E-2</c:v>
                </c:pt>
                <c:pt idx="22434">
                  <c:v>-1.34453781512605E-2</c:v>
                </c:pt>
                <c:pt idx="22435">
                  <c:v>-1.34453781512605E-2</c:v>
                </c:pt>
                <c:pt idx="22436">
                  <c:v>-1.34453781512605E-2</c:v>
                </c:pt>
                <c:pt idx="22437">
                  <c:v>-1.34453781512605E-2</c:v>
                </c:pt>
                <c:pt idx="22438">
                  <c:v>-1.34453781512605E-2</c:v>
                </c:pt>
                <c:pt idx="22439">
                  <c:v>-1.34453781512605E-2</c:v>
                </c:pt>
                <c:pt idx="22440">
                  <c:v>-1.34453781512605E-2</c:v>
                </c:pt>
                <c:pt idx="22441">
                  <c:v>-1.26050420168067E-2</c:v>
                </c:pt>
                <c:pt idx="22442">
                  <c:v>-1.26050420168067E-2</c:v>
                </c:pt>
                <c:pt idx="22443">
                  <c:v>-1.26050420168067E-2</c:v>
                </c:pt>
                <c:pt idx="22444">
                  <c:v>-1.1764705882353E-2</c:v>
                </c:pt>
                <c:pt idx="22445">
                  <c:v>-1.1764705882353E-2</c:v>
                </c:pt>
                <c:pt idx="22446">
                  <c:v>-1.1764705882353E-2</c:v>
                </c:pt>
                <c:pt idx="22447">
                  <c:v>-1.1764705882353E-2</c:v>
                </c:pt>
                <c:pt idx="22448">
                  <c:v>-1.1764705882353E-2</c:v>
                </c:pt>
                <c:pt idx="22449">
                  <c:v>-1.1764705882353E-2</c:v>
                </c:pt>
                <c:pt idx="22450">
                  <c:v>-1.1764705882353E-2</c:v>
                </c:pt>
                <c:pt idx="22451">
                  <c:v>-1.1764705882353E-2</c:v>
                </c:pt>
                <c:pt idx="22452">
                  <c:v>-1.1764705882353E-2</c:v>
                </c:pt>
                <c:pt idx="22453">
                  <c:v>-1.1764705882353E-2</c:v>
                </c:pt>
                <c:pt idx="22454">
                  <c:v>-1.1764705882353E-2</c:v>
                </c:pt>
                <c:pt idx="22455">
                  <c:v>-1.1764705882353E-2</c:v>
                </c:pt>
                <c:pt idx="22456">
                  <c:v>-1.1764705882353E-2</c:v>
                </c:pt>
                <c:pt idx="22457">
                  <c:v>-1.1764705882353E-2</c:v>
                </c:pt>
                <c:pt idx="22458">
                  <c:v>-1.1764705882353E-2</c:v>
                </c:pt>
                <c:pt idx="22459">
                  <c:v>-1.1764705882353E-2</c:v>
                </c:pt>
                <c:pt idx="22460">
                  <c:v>-1.1764705882353E-2</c:v>
                </c:pt>
                <c:pt idx="22461">
                  <c:v>-1.1764705882353E-2</c:v>
                </c:pt>
                <c:pt idx="22462">
                  <c:v>-1.1764705882353E-2</c:v>
                </c:pt>
                <c:pt idx="22463">
                  <c:v>-1.1764705882353E-2</c:v>
                </c:pt>
                <c:pt idx="22464">
                  <c:v>-1.1764705882353E-2</c:v>
                </c:pt>
                <c:pt idx="22465">
                  <c:v>-1.0924369747899201E-2</c:v>
                </c:pt>
                <c:pt idx="22466">
                  <c:v>-1.0924369747899201E-2</c:v>
                </c:pt>
                <c:pt idx="22467">
                  <c:v>-1.0924369747899201E-2</c:v>
                </c:pt>
                <c:pt idx="22468">
                  <c:v>-1.0924369747899201E-2</c:v>
                </c:pt>
                <c:pt idx="22469">
                  <c:v>-1.0924369747899201E-2</c:v>
                </c:pt>
                <c:pt idx="22470">
                  <c:v>-1.0924369747899201E-2</c:v>
                </c:pt>
                <c:pt idx="22471">
                  <c:v>-1.0924369747899201E-2</c:v>
                </c:pt>
                <c:pt idx="22472">
                  <c:v>-1.0924369747899201E-2</c:v>
                </c:pt>
                <c:pt idx="22473">
                  <c:v>-1.0924369747899201E-2</c:v>
                </c:pt>
                <c:pt idx="22474">
                  <c:v>-1.0924369747899201E-2</c:v>
                </c:pt>
                <c:pt idx="22475">
                  <c:v>-1.0924369747899201E-2</c:v>
                </c:pt>
                <c:pt idx="22476">
                  <c:v>-1.0924369747899201E-2</c:v>
                </c:pt>
                <c:pt idx="22477">
                  <c:v>-1.0924369747899201E-2</c:v>
                </c:pt>
                <c:pt idx="22478">
                  <c:v>-1.0924369747899201E-2</c:v>
                </c:pt>
                <c:pt idx="22479">
                  <c:v>-1.00840336134454E-2</c:v>
                </c:pt>
                <c:pt idx="22480">
                  <c:v>-1.00840336134454E-2</c:v>
                </c:pt>
                <c:pt idx="22481">
                  <c:v>-1.00840336134454E-2</c:v>
                </c:pt>
                <c:pt idx="22482">
                  <c:v>-1.00840336134454E-2</c:v>
                </c:pt>
                <c:pt idx="22483">
                  <c:v>-1.00840336134454E-2</c:v>
                </c:pt>
                <c:pt idx="22484">
                  <c:v>-1.00840336134454E-2</c:v>
                </c:pt>
                <c:pt idx="22485">
                  <c:v>-1.00840336134454E-2</c:v>
                </c:pt>
                <c:pt idx="22486">
                  <c:v>-1.00840336134454E-2</c:v>
                </c:pt>
                <c:pt idx="22487">
                  <c:v>-1.00840336134454E-2</c:v>
                </c:pt>
                <c:pt idx="22488">
                  <c:v>-1.00840336134454E-2</c:v>
                </c:pt>
                <c:pt idx="22489">
                  <c:v>-1.00840336134454E-2</c:v>
                </c:pt>
                <c:pt idx="22490">
                  <c:v>-1.00840336134454E-2</c:v>
                </c:pt>
                <c:pt idx="22491">
                  <c:v>-1.00840336134454E-2</c:v>
                </c:pt>
                <c:pt idx="22492">
                  <c:v>-1.00840336134454E-2</c:v>
                </c:pt>
                <c:pt idx="22493">
                  <c:v>-1.00840336134454E-2</c:v>
                </c:pt>
                <c:pt idx="22494">
                  <c:v>-1.00840336134454E-2</c:v>
                </c:pt>
                <c:pt idx="22495">
                  <c:v>-1.00840336134454E-2</c:v>
                </c:pt>
                <c:pt idx="22496">
                  <c:v>-1.00840336134454E-2</c:v>
                </c:pt>
                <c:pt idx="22497">
                  <c:v>-1.00840336134454E-2</c:v>
                </c:pt>
                <c:pt idx="22498">
                  <c:v>-1.00840336134454E-2</c:v>
                </c:pt>
                <c:pt idx="22499">
                  <c:v>-1.00840336134454E-2</c:v>
                </c:pt>
                <c:pt idx="22500">
                  <c:v>-1.00840336134454E-2</c:v>
                </c:pt>
                <c:pt idx="22501">
                  <c:v>-1.00840336134454E-2</c:v>
                </c:pt>
                <c:pt idx="22502">
                  <c:v>-1.00840336134454E-2</c:v>
                </c:pt>
                <c:pt idx="22503">
                  <c:v>-1.00840336134454E-2</c:v>
                </c:pt>
                <c:pt idx="22504">
                  <c:v>-1.00840336134454E-2</c:v>
                </c:pt>
                <c:pt idx="22505">
                  <c:v>-1.00840336134454E-2</c:v>
                </c:pt>
                <c:pt idx="22506">
                  <c:v>-1.00840336134454E-2</c:v>
                </c:pt>
                <c:pt idx="22507">
                  <c:v>-1.00840336134454E-2</c:v>
                </c:pt>
                <c:pt idx="22508">
                  <c:v>-1.00840336134454E-2</c:v>
                </c:pt>
                <c:pt idx="22509">
                  <c:v>-1.00840336134454E-2</c:v>
                </c:pt>
                <c:pt idx="22510">
                  <c:v>-1.00840336134454E-2</c:v>
                </c:pt>
                <c:pt idx="22511">
                  <c:v>-1.00840336134454E-2</c:v>
                </c:pt>
                <c:pt idx="22512">
                  <c:v>-1.00840336134454E-2</c:v>
                </c:pt>
                <c:pt idx="22513">
                  <c:v>-1.00840336134454E-2</c:v>
                </c:pt>
                <c:pt idx="22514">
                  <c:v>-1.00840336134454E-2</c:v>
                </c:pt>
                <c:pt idx="22515">
                  <c:v>-1.00840336134454E-2</c:v>
                </c:pt>
                <c:pt idx="22516">
                  <c:v>-1.00840336134454E-2</c:v>
                </c:pt>
                <c:pt idx="22517">
                  <c:v>-1.00840336134454E-2</c:v>
                </c:pt>
                <c:pt idx="22518">
                  <c:v>-1.00840336134454E-2</c:v>
                </c:pt>
                <c:pt idx="22519">
                  <c:v>-1.00840336134454E-2</c:v>
                </c:pt>
                <c:pt idx="22520">
                  <c:v>-1.00840336134454E-2</c:v>
                </c:pt>
                <c:pt idx="22521">
                  <c:v>-1.00840336134454E-2</c:v>
                </c:pt>
                <c:pt idx="22522">
                  <c:v>-1.00840336134454E-2</c:v>
                </c:pt>
                <c:pt idx="22523">
                  <c:v>-1.00840336134454E-2</c:v>
                </c:pt>
                <c:pt idx="22524">
                  <c:v>-1.00840336134454E-2</c:v>
                </c:pt>
                <c:pt idx="22525">
                  <c:v>-1.00840336134454E-2</c:v>
                </c:pt>
                <c:pt idx="22526">
                  <c:v>-1.00840336134454E-2</c:v>
                </c:pt>
                <c:pt idx="22527">
                  <c:v>-1.00840336134454E-2</c:v>
                </c:pt>
                <c:pt idx="22528">
                  <c:v>-1.00840336134454E-2</c:v>
                </c:pt>
                <c:pt idx="22529">
                  <c:v>-1.00840336134454E-2</c:v>
                </c:pt>
                <c:pt idx="22530">
                  <c:v>-1.00840336134454E-2</c:v>
                </c:pt>
                <c:pt idx="22531">
                  <c:v>-1.00840336134454E-2</c:v>
                </c:pt>
                <c:pt idx="22532">
                  <c:v>-1.00840336134454E-2</c:v>
                </c:pt>
                <c:pt idx="22533">
                  <c:v>-1.00840336134454E-2</c:v>
                </c:pt>
                <c:pt idx="22534">
                  <c:v>-1.00840336134454E-2</c:v>
                </c:pt>
                <c:pt idx="22535">
                  <c:v>-1.00840336134454E-2</c:v>
                </c:pt>
                <c:pt idx="22536">
                  <c:v>-1.00840336134454E-2</c:v>
                </c:pt>
                <c:pt idx="22537">
                  <c:v>-1.00840336134454E-2</c:v>
                </c:pt>
                <c:pt idx="22538">
                  <c:v>-1.00840336134454E-2</c:v>
                </c:pt>
                <c:pt idx="22539">
                  <c:v>-1.00840336134454E-2</c:v>
                </c:pt>
                <c:pt idx="22540">
                  <c:v>-1.00840336134454E-2</c:v>
                </c:pt>
                <c:pt idx="22541">
                  <c:v>-1.00840336134454E-2</c:v>
                </c:pt>
                <c:pt idx="22542">
                  <c:v>-1.00840336134454E-2</c:v>
                </c:pt>
                <c:pt idx="22543">
                  <c:v>-1.00840336134454E-2</c:v>
                </c:pt>
                <c:pt idx="22544">
                  <c:v>-1.00840336134454E-2</c:v>
                </c:pt>
                <c:pt idx="22545">
                  <c:v>-1.00840336134454E-2</c:v>
                </c:pt>
                <c:pt idx="22546">
                  <c:v>-1.00840336134454E-2</c:v>
                </c:pt>
                <c:pt idx="22547">
                  <c:v>-1.00840336134454E-2</c:v>
                </c:pt>
                <c:pt idx="22548">
                  <c:v>-1.0924369747899201E-2</c:v>
                </c:pt>
                <c:pt idx="22549">
                  <c:v>-1.0924369747899201E-2</c:v>
                </c:pt>
                <c:pt idx="22550">
                  <c:v>-1.0924369747899201E-2</c:v>
                </c:pt>
                <c:pt idx="22551">
                  <c:v>-1.0924369747899201E-2</c:v>
                </c:pt>
                <c:pt idx="22552">
                  <c:v>-1.0924369747899201E-2</c:v>
                </c:pt>
                <c:pt idx="22553">
                  <c:v>-1.0924369747899201E-2</c:v>
                </c:pt>
                <c:pt idx="22554">
                  <c:v>-1.0924369747899201E-2</c:v>
                </c:pt>
                <c:pt idx="22555">
                  <c:v>-1.0924369747899201E-2</c:v>
                </c:pt>
                <c:pt idx="22556">
                  <c:v>-1.0924369747899201E-2</c:v>
                </c:pt>
                <c:pt idx="22557">
                  <c:v>-1.0924369747899201E-2</c:v>
                </c:pt>
                <c:pt idx="22558">
                  <c:v>-1.0924369747899201E-2</c:v>
                </c:pt>
                <c:pt idx="22559">
                  <c:v>-1.0924369747899201E-2</c:v>
                </c:pt>
                <c:pt idx="22560">
                  <c:v>-1.0924369747899201E-2</c:v>
                </c:pt>
                <c:pt idx="22561">
                  <c:v>-1.0924369747899201E-2</c:v>
                </c:pt>
                <c:pt idx="22562">
                  <c:v>-1.0924369747899201E-2</c:v>
                </c:pt>
                <c:pt idx="22563">
                  <c:v>-1.0924369747899201E-2</c:v>
                </c:pt>
                <c:pt idx="22564">
                  <c:v>-1.0924369747899201E-2</c:v>
                </c:pt>
                <c:pt idx="22565">
                  <c:v>-1.0924369747899201E-2</c:v>
                </c:pt>
                <c:pt idx="22566">
                  <c:v>-1.0924369747899201E-2</c:v>
                </c:pt>
                <c:pt idx="22567">
                  <c:v>-1.0924369747899201E-2</c:v>
                </c:pt>
                <c:pt idx="22568">
                  <c:v>-1.0924369747899201E-2</c:v>
                </c:pt>
                <c:pt idx="22569">
                  <c:v>-1.0924369747899201E-2</c:v>
                </c:pt>
                <c:pt idx="22570">
                  <c:v>-1.00840336134454E-2</c:v>
                </c:pt>
                <c:pt idx="22571">
                  <c:v>-1.00840336134454E-2</c:v>
                </c:pt>
                <c:pt idx="22572">
                  <c:v>-1.00840336134454E-2</c:v>
                </c:pt>
                <c:pt idx="22573">
                  <c:v>-1.00840336134454E-2</c:v>
                </c:pt>
                <c:pt idx="22574">
                  <c:v>-1.00840336134454E-2</c:v>
                </c:pt>
                <c:pt idx="22575">
                  <c:v>-1.00840336134454E-2</c:v>
                </c:pt>
                <c:pt idx="22576">
                  <c:v>-1.00840336134454E-2</c:v>
                </c:pt>
                <c:pt idx="22577">
                  <c:v>-1.00840336134454E-2</c:v>
                </c:pt>
                <c:pt idx="22578">
                  <c:v>-1.00840336134454E-2</c:v>
                </c:pt>
                <c:pt idx="22579">
                  <c:v>-1.00840336134454E-2</c:v>
                </c:pt>
                <c:pt idx="22580">
                  <c:v>-1.00840336134454E-2</c:v>
                </c:pt>
                <c:pt idx="22581">
                  <c:v>-9.2436974789916696E-3</c:v>
                </c:pt>
                <c:pt idx="22582">
                  <c:v>-9.2436974789916696E-3</c:v>
                </c:pt>
                <c:pt idx="22583">
                  <c:v>-9.2436974789916696E-3</c:v>
                </c:pt>
                <c:pt idx="22584">
                  <c:v>-1.00840336134454E-2</c:v>
                </c:pt>
                <c:pt idx="22585">
                  <c:v>-1.00840336134454E-2</c:v>
                </c:pt>
                <c:pt idx="22586">
                  <c:v>-1.00840336134454E-2</c:v>
                </c:pt>
                <c:pt idx="22587">
                  <c:v>-1.00840336134454E-2</c:v>
                </c:pt>
                <c:pt idx="22588">
                  <c:v>-1.00840336134454E-2</c:v>
                </c:pt>
                <c:pt idx="22589">
                  <c:v>-1.00840336134454E-2</c:v>
                </c:pt>
                <c:pt idx="22590">
                  <c:v>-1.00840336134454E-2</c:v>
                </c:pt>
                <c:pt idx="22591">
                  <c:v>-1.00840336134454E-2</c:v>
                </c:pt>
                <c:pt idx="22592">
                  <c:v>-1.00840336134454E-2</c:v>
                </c:pt>
                <c:pt idx="22593">
                  <c:v>-1.00840336134454E-2</c:v>
                </c:pt>
                <c:pt idx="22594">
                  <c:v>-1.00840336134454E-2</c:v>
                </c:pt>
                <c:pt idx="22595">
                  <c:v>-1.00840336134454E-2</c:v>
                </c:pt>
                <c:pt idx="22596">
                  <c:v>-1.00840336134454E-2</c:v>
                </c:pt>
                <c:pt idx="22597">
                  <c:v>-1.00840336134454E-2</c:v>
                </c:pt>
                <c:pt idx="22598">
                  <c:v>-1.00840336134454E-2</c:v>
                </c:pt>
                <c:pt idx="22599">
                  <c:v>-1.00840336134454E-2</c:v>
                </c:pt>
                <c:pt idx="22600">
                  <c:v>-1.00840336134454E-2</c:v>
                </c:pt>
                <c:pt idx="22601">
                  <c:v>-1.00840336134454E-2</c:v>
                </c:pt>
                <c:pt idx="22602">
                  <c:v>-1.00840336134454E-2</c:v>
                </c:pt>
                <c:pt idx="22603">
                  <c:v>-1.00840336134454E-2</c:v>
                </c:pt>
                <c:pt idx="22604">
                  <c:v>-1.00840336134454E-2</c:v>
                </c:pt>
                <c:pt idx="22605">
                  <c:v>-1.00840336134454E-2</c:v>
                </c:pt>
                <c:pt idx="22606">
                  <c:v>-1.00840336134454E-2</c:v>
                </c:pt>
                <c:pt idx="22607">
                  <c:v>-1.00840336134454E-2</c:v>
                </c:pt>
                <c:pt idx="22608">
                  <c:v>-1.00840336134454E-2</c:v>
                </c:pt>
                <c:pt idx="22609">
                  <c:v>-1.00840336134454E-2</c:v>
                </c:pt>
                <c:pt idx="22610">
                  <c:v>-1.00840336134454E-2</c:v>
                </c:pt>
                <c:pt idx="22611">
                  <c:v>-1.00840336134454E-2</c:v>
                </c:pt>
                <c:pt idx="22612">
                  <c:v>-1.00840336134454E-2</c:v>
                </c:pt>
                <c:pt idx="22613">
                  <c:v>-1.00840336134454E-2</c:v>
                </c:pt>
                <c:pt idx="22614">
                  <c:v>-1.00840336134454E-2</c:v>
                </c:pt>
                <c:pt idx="22615">
                  <c:v>-1.00840336134454E-2</c:v>
                </c:pt>
                <c:pt idx="22616">
                  <c:v>-1.00840336134454E-2</c:v>
                </c:pt>
                <c:pt idx="22617">
                  <c:v>-1.00840336134454E-2</c:v>
                </c:pt>
                <c:pt idx="22618">
                  <c:v>-1.00840336134454E-2</c:v>
                </c:pt>
                <c:pt idx="22619">
                  <c:v>-1.00840336134454E-2</c:v>
                </c:pt>
                <c:pt idx="22620">
                  <c:v>-1.00840336134454E-2</c:v>
                </c:pt>
                <c:pt idx="22621">
                  <c:v>-1.00840336134454E-2</c:v>
                </c:pt>
                <c:pt idx="22622">
                  <c:v>-1.00840336134454E-2</c:v>
                </c:pt>
                <c:pt idx="22623">
                  <c:v>-1.00840336134454E-2</c:v>
                </c:pt>
                <c:pt idx="22624">
                  <c:v>-1.00840336134454E-2</c:v>
                </c:pt>
                <c:pt idx="22625">
                  <c:v>-1.00840336134454E-2</c:v>
                </c:pt>
                <c:pt idx="22626">
                  <c:v>-1.00840336134454E-2</c:v>
                </c:pt>
                <c:pt idx="22627">
                  <c:v>-1.00840336134454E-2</c:v>
                </c:pt>
                <c:pt idx="22628">
                  <c:v>-1.00840336134454E-2</c:v>
                </c:pt>
                <c:pt idx="22629">
                  <c:v>-1.00840336134454E-2</c:v>
                </c:pt>
                <c:pt idx="22630">
                  <c:v>-1.00840336134454E-2</c:v>
                </c:pt>
                <c:pt idx="22631">
                  <c:v>-1.00840336134454E-2</c:v>
                </c:pt>
                <c:pt idx="22632">
                  <c:v>-1.00840336134454E-2</c:v>
                </c:pt>
                <c:pt idx="22633">
                  <c:v>-1.00840336134454E-2</c:v>
                </c:pt>
                <c:pt idx="22634">
                  <c:v>-1.00840336134454E-2</c:v>
                </c:pt>
                <c:pt idx="22635">
                  <c:v>-1.00840336134454E-2</c:v>
                </c:pt>
                <c:pt idx="22636">
                  <c:v>-1.00840336134454E-2</c:v>
                </c:pt>
                <c:pt idx="22637">
                  <c:v>-1.00840336134454E-2</c:v>
                </c:pt>
                <c:pt idx="22638">
                  <c:v>-1.00840336134454E-2</c:v>
                </c:pt>
                <c:pt idx="22639">
                  <c:v>-1.00840336134454E-2</c:v>
                </c:pt>
                <c:pt idx="22640">
                  <c:v>-1.00840336134454E-2</c:v>
                </c:pt>
                <c:pt idx="22641">
                  <c:v>-1.00840336134454E-2</c:v>
                </c:pt>
                <c:pt idx="22642">
                  <c:v>-1.00840336134454E-2</c:v>
                </c:pt>
                <c:pt idx="22643">
                  <c:v>-1.00840336134454E-2</c:v>
                </c:pt>
                <c:pt idx="22644">
                  <c:v>-1.00840336134454E-2</c:v>
                </c:pt>
                <c:pt idx="22645">
                  <c:v>-1.00840336134454E-2</c:v>
                </c:pt>
                <c:pt idx="22646">
                  <c:v>-1.00840336134454E-2</c:v>
                </c:pt>
                <c:pt idx="22647">
                  <c:v>-1.00840336134454E-2</c:v>
                </c:pt>
                <c:pt idx="22648">
                  <c:v>-1.00840336134454E-2</c:v>
                </c:pt>
                <c:pt idx="22649">
                  <c:v>-1.00840336134454E-2</c:v>
                </c:pt>
                <c:pt idx="22650">
                  <c:v>-1.00840336134454E-2</c:v>
                </c:pt>
                <c:pt idx="22651">
                  <c:v>-1.00840336134454E-2</c:v>
                </c:pt>
                <c:pt idx="22652">
                  <c:v>-1.00840336134454E-2</c:v>
                </c:pt>
                <c:pt idx="22653">
                  <c:v>-1.00840336134454E-2</c:v>
                </c:pt>
                <c:pt idx="22654">
                  <c:v>-1.00840336134454E-2</c:v>
                </c:pt>
                <c:pt idx="22655">
                  <c:v>-1.00840336134454E-2</c:v>
                </c:pt>
                <c:pt idx="22656">
                  <c:v>-1.00840336134454E-2</c:v>
                </c:pt>
                <c:pt idx="22657">
                  <c:v>-1.00840336134454E-2</c:v>
                </c:pt>
                <c:pt idx="22658">
                  <c:v>-1.00840336134454E-2</c:v>
                </c:pt>
                <c:pt idx="22659">
                  <c:v>-1.00840336134454E-2</c:v>
                </c:pt>
                <c:pt idx="22660">
                  <c:v>-1.00840336134454E-2</c:v>
                </c:pt>
                <c:pt idx="22661">
                  <c:v>-1.00840336134454E-2</c:v>
                </c:pt>
                <c:pt idx="22662">
                  <c:v>-1.00840336134454E-2</c:v>
                </c:pt>
                <c:pt idx="22663">
                  <c:v>-1.00840336134454E-2</c:v>
                </c:pt>
                <c:pt idx="22664">
                  <c:v>-1.00840336134454E-2</c:v>
                </c:pt>
                <c:pt idx="22665">
                  <c:v>-1.00840336134454E-2</c:v>
                </c:pt>
                <c:pt idx="22666">
                  <c:v>-1.00840336134454E-2</c:v>
                </c:pt>
                <c:pt idx="22667">
                  <c:v>-1.00840336134454E-2</c:v>
                </c:pt>
                <c:pt idx="22668">
                  <c:v>-1.00840336134454E-2</c:v>
                </c:pt>
                <c:pt idx="22669">
                  <c:v>-1.00840336134454E-2</c:v>
                </c:pt>
                <c:pt idx="22670">
                  <c:v>-1.00840336134454E-2</c:v>
                </c:pt>
                <c:pt idx="22671">
                  <c:v>-9.2436974789916696E-3</c:v>
                </c:pt>
                <c:pt idx="22672">
                  <c:v>-9.2436974789916696E-3</c:v>
                </c:pt>
                <c:pt idx="22673">
                  <c:v>-9.2436974789916696E-3</c:v>
                </c:pt>
                <c:pt idx="22674">
                  <c:v>-9.2436974789916696E-3</c:v>
                </c:pt>
                <c:pt idx="22675">
                  <c:v>-9.2436974789916696E-3</c:v>
                </c:pt>
                <c:pt idx="22676">
                  <c:v>-9.2436974789916696E-3</c:v>
                </c:pt>
                <c:pt idx="22677">
                  <c:v>-9.2436974789916696E-3</c:v>
                </c:pt>
                <c:pt idx="22678">
                  <c:v>-9.2436974789916696E-3</c:v>
                </c:pt>
                <c:pt idx="22679">
                  <c:v>-9.2436974789916696E-3</c:v>
                </c:pt>
                <c:pt idx="22680">
                  <c:v>-9.2436974789916696E-3</c:v>
                </c:pt>
                <c:pt idx="22681">
                  <c:v>-9.2436974789916696E-3</c:v>
                </c:pt>
                <c:pt idx="22682">
                  <c:v>-9.2436974789916696E-3</c:v>
                </c:pt>
                <c:pt idx="22683">
                  <c:v>-9.2436974789916696E-3</c:v>
                </c:pt>
                <c:pt idx="22684">
                  <c:v>-9.2436974789916696E-3</c:v>
                </c:pt>
                <c:pt idx="22685">
                  <c:v>-9.2436974789916696E-3</c:v>
                </c:pt>
                <c:pt idx="22686">
                  <c:v>-9.2436974789916696E-3</c:v>
                </c:pt>
                <c:pt idx="22687">
                  <c:v>-9.2436974789916696E-3</c:v>
                </c:pt>
                <c:pt idx="22688">
                  <c:v>-9.2436974789916696E-3</c:v>
                </c:pt>
                <c:pt idx="22689">
                  <c:v>-9.2436974789916696E-3</c:v>
                </c:pt>
                <c:pt idx="22690">
                  <c:v>-9.2436974789916696E-3</c:v>
                </c:pt>
                <c:pt idx="22691">
                  <c:v>-9.2436974789916696E-3</c:v>
                </c:pt>
                <c:pt idx="22692">
                  <c:v>-9.2436974789916696E-3</c:v>
                </c:pt>
                <c:pt idx="22693">
                  <c:v>-9.2436974789916696E-3</c:v>
                </c:pt>
                <c:pt idx="22694">
                  <c:v>-9.2436974789916696E-3</c:v>
                </c:pt>
                <c:pt idx="22695">
                  <c:v>-9.2436974789916696E-3</c:v>
                </c:pt>
                <c:pt idx="22696">
                  <c:v>-9.2436974789916696E-3</c:v>
                </c:pt>
                <c:pt idx="22697">
                  <c:v>-9.2436974789916696E-3</c:v>
                </c:pt>
                <c:pt idx="22698">
                  <c:v>-9.2436974789916696E-3</c:v>
                </c:pt>
                <c:pt idx="22699">
                  <c:v>-9.2436974789916696E-3</c:v>
                </c:pt>
                <c:pt idx="22700">
                  <c:v>-9.2436974789916696E-3</c:v>
                </c:pt>
                <c:pt idx="22701">
                  <c:v>-9.2436974789916696E-3</c:v>
                </c:pt>
                <c:pt idx="22702">
                  <c:v>-9.2436974789916696E-3</c:v>
                </c:pt>
                <c:pt idx="22703">
                  <c:v>-9.2436974789916696E-3</c:v>
                </c:pt>
                <c:pt idx="22704">
                  <c:v>-9.2436974789916696E-3</c:v>
                </c:pt>
                <c:pt idx="22705">
                  <c:v>-9.2436974789916696E-3</c:v>
                </c:pt>
                <c:pt idx="22706">
                  <c:v>-9.2436974789916696E-3</c:v>
                </c:pt>
                <c:pt idx="22707">
                  <c:v>-1.00840336134454E-2</c:v>
                </c:pt>
                <c:pt idx="22708">
                  <c:v>-1.00840336134454E-2</c:v>
                </c:pt>
                <c:pt idx="22709">
                  <c:v>-1.00840336134454E-2</c:v>
                </c:pt>
                <c:pt idx="22710">
                  <c:v>-1.00840336134454E-2</c:v>
                </c:pt>
                <c:pt idx="22711">
                  <c:v>-1.00840336134454E-2</c:v>
                </c:pt>
                <c:pt idx="22712">
                  <c:v>-1.00840336134454E-2</c:v>
                </c:pt>
                <c:pt idx="22713">
                  <c:v>-1.00840336134454E-2</c:v>
                </c:pt>
                <c:pt idx="22714">
                  <c:v>-1.00840336134454E-2</c:v>
                </c:pt>
                <c:pt idx="22715">
                  <c:v>-1.00840336134454E-2</c:v>
                </c:pt>
                <c:pt idx="22716">
                  <c:v>-1.00840336134454E-2</c:v>
                </c:pt>
                <c:pt idx="22717">
                  <c:v>-1.00840336134454E-2</c:v>
                </c:pt>
                <c:pt idx="22718">
                  <c:v>-1.00840336134454E-2</c:v>
                </c:pt>
                <c:pt idx="22719">
                  <c:v>-1.00840336134454E-2</c:v>
                </c:pt>
                <c:pt idx="22720">
                  <c:v>-1.00840336134454E-2</c:v>
                </c:pt>
                <c:pt idx="22721">
                  <c:v>-1.0924369747899201E-2</c:v>
                </c:pt>
                <c:pt idx="22722">
                  <c:v>-1.1764705882353E-2</c:v>
                </c:pt>
                <c:pt idx="22723">
                  <c:v>-1.1764705882353E-2</c:v>
                </c:pt>
                <c:pt idx="22724">
                  <c:v>-1.1764705882353E-2</c:v>
                </c:pt>
                <c:pt idx="22725">
                  <c:v>-1.1764705882353E-2</c:v>
                </c:pt>
                <c:pt idx="22726">
                  <c:v>-1.1764705882353E-2</c:v>
                </c:pt>
                <c:pt idx="22727">
                  <c:v>-1.1764705882353E-2</c:v>
                </c:pt>
                <c:pt idx="22728">
                  <c:v>-1.1764705882353E-2</c:v>
                </c:pt>
                <c:pt idx="22729">
                  <c:v>-1.1764705882353E-2</c:v>
                </c:pt>
                <c:pt idx="22730">
                  <c:v>-1.1764705882353E-2</c:v>
                </c:pt>
                <c:pt idx="22731">
                  <c:v>-1.1764705882353E-2</c:v>
                </c:pt>
                <c:pt idx="22732">
                  <c:v>-1.1764705882353E-2</c:v>
                </c:pt>
                <c:pt idx="22733">
                  <c:v>-1.1764705882353E-2</c:v>
                </c:pt>
                <c:pt idx="22734">
                  <c:v>-1.1764705882353E-2</c:v>
                </c:pt>
                <c:pt idx="22735">
                  <c:v>-1.1764705882353E-2</c:v>
                </c:pt>
                <c:pt idx="22736">
                  <c:v>-1.1764705882353E-2</c:v>
                </c:pt>
                <c:pt idx="22737">
                  <c:v>-1.1764705882353E-2</c:v>
                </c:pt>
                <c:pt idx="22738">
                  <c:v>-1.1764705882353E-2</c:v>
                </c:pt>
                <c:pt idx="22739">
                  <c:v>-1.1764705882353E-2</c:v>
                </c:pt>
                <c:pt idx="22740">
                  <c:v>-1.1764705882353E-2</c:v>
                </c:pt>
                <c:pt idx="22741">
                  <c:v>-1.1764705882353E-2</c:v>
                </c:pt>
                <c:pt idx="22742">
                  <c:v>-1.0924369747899201E-2</c:v>
                </c:pt>
                <c:pt idx="22743">
                  <c:v>-1.0924369747899201E-2</c:v>
                </c:pt>
                <c:pt idx="22744">
                  <c:v>-1.0924369747899201E-2</c:v>
                </c:pt>
                <c:pt idx="22745">
                  <c:v>-1.0924369747899201E-2</c:v>
                </c:pt>
                <c:pt idx="22746">
                  <c:v>-1.0924369747899201E-2</c:v>
                </c:pt>
                <c:pt idx="22747">
                  <c:v>-1.0924369747899201E-2</c:v>
                </c:pt>
                <c:pt idx="22748">
                  <c:v>-1.00840336134454E-2</c:v>
                </c:pt>
                <c:pt idx="22749">
                  <c:v>-1.00840336134454E-2</c:v>
                </c:pt>
                <c:pt idx="22750">
                  <c:v>-1.00840336134454E-2</c:v>
                </c:pt>
                <c:pt idx="22751">
                  <c:v>-1.00840336134454E-2</c:v>
                </c:pt>
                <c:pt idx="22752">
                  <c:v>-1.00840336134454E-2</c:v>
                </c:pt>
                <c:pt idx="22753">
                  <c:v>-1.00840336134454E-2</c:v>
                </c:pt>
                <c:pt idx="22754">
                  <c:v>-1.00840336134454E-2</c:v>
                </c:pt>
                <c:pt idx="22755">
                  <c:v>-1.00840336134454E-2</c:v>
                </c:pt>
                <c:pt idx="22756">
                  <c:v>-1.00840336134454E-2</c:v>
                </c:pt>
                <c:pt idx="22757">
                  <c:v>-1.00840336134454E-2</c:v>
                </c:pt>
                <c:pt idx="22758">
                  <c:v>-1.00840336134454E-2</c:v>
                </c:pt>
                <c:pt idx="22759">
                  <c:v>-1.00840336134454E-2</c:v>
                </c:pt>
                <c:pt idx="22760">
                  <c:v>-1.00840336134454E-2</c:v>
                </c:pt>
                <c:pt idx="22761">
                  <c:v>-1.00840336134454E-2</c:v>
                </c:pt>
                <c:pt idx="22762">
                  <c:v>-1.0924369747899201E-2</c:v>
                </c:pt>
                <c:pt idx="22763">
                  <c:v>-1.0924369747899201E-2</c:v>
                </c:pt>
                <c:pt idx="22764">
                  <c:v>-1.0924369747899201E-2</c:v>
                </c:pt>
                <c:pt idx="22765">
                  <c:v>-1.0924369747899201E-2</c:v>
                </c:pt>
                <c:pt idx="22766">
                  <c:v>-1.0924369747899201E-2</c:v>
                </c:pt>
                <c:pt idx="22767">
                  <c:v>-1.0924369747899201E-2</c:v>
                </c:pt>
                <c:pt idx="22768">
                  <c:v>-1.0924369747899201E-2</c:v>
                </c:pt>
                <c:pt idx="22769">
                  <c:v>-1.0924369747899201E-2</c:v>
                </c:pt>
                <c:pt idx="22770">
                  <c:v>-1.0924369747899201E-2</c:v>
                </c:pt>
                <c:pt idx="22771">
                  <c:v>-1.0924369747899201E-2</c:v>
                </c:pt>
                <c:pt idx="22772">
                  <c:v>-1.0924369747899201E-2</c:v>
                </c:pt>
                <c:pt idx="22773">
                  <c:v>-1.0924369747899201E-2</c:v>
                </c:pt>
                <c:pt idx="22774">
                  <c:v>-1.0924369747899201E-2</c:v>
                </c:pt>
                <c:pt idx="22775">
                  <c:v>-1.0924369747899201E-2</c:v>
                </c:pt>
                <c:pt idx="22776">
                  <c:v>-1.0924369747899201E-2</c:v>
                </c:pt>
                <c:pt idx="22777">
                  <c:v>-1.0924369747899201E-2</c:v>
                </c:pt>
                <c:pt idx="22778">
                  <c:v>-1.0924369747899201E-2</c:v>
                </c:pt>
                <c:pt idx="22779">
                  <c:v>-1.1764705882353E-2</c:v>
                </c:pt>
                <c:pt idx="22780">
                  <c:v>-1.1764705882353E-2</c:v>
                </c:pt>
                <c:pt idx="22781">
                  <c:v>-1.1764705882353E-2</c:v>
                </c:pt>
                <c:pt idx="22782">
                  <c:v>-1.1764705882353E-2</c:v>
                </c:pt>
                <c:pt idx="22783">
                  <c:v>-1.1764705882353E-2</c:v>
                </c:pt>
                <c:pt idx="22784">
                  <c:v>-1.1764705882353E-2</c:v>
                </c:pt>
                <c:pt idx="22785">
                  <c:v>-1.1764705882353E-2</c:v>
                </c:pt>
                <c:pt idx="22786">
                  <c:v>-1.1764705882353E-2</c:v>
                </c:pt>
                <c:pt idx="22787">
                  <c:v>-1.1764705882353E-2</c:v>
                </c:pt>
                <c:pt idx="22788">
                  <c:v>-1.1764705882353E-2</c:v>
                </c:pt>
                <c:pt idx="22789">
                  <c:v>-1.1764705882353E-2</c:v>
                </c:pt>
                <c:pt idx="22790">
                  <c:v>-1.1764705882353E-2</c:v>
                </c:pt>
                <c:pt idx="22791">
                  <c:v>-1.1764705882353E-2</c:v>
                </c:pt>
                <c:pt idx="22792">
                  <c:v>-1.1764705882353E-2</c:v>
                </c:pt>
                <c:pt idx="22793">
                  <c:v>-1.1764705882353E-2</c:v>
                </c:pt>
                <c:pt idx="22794">
                  <c:v>-1.1764705882353E-2</c:v>
                </c:pt>
                <c:pt idx="22795">
                  <c:v>-1.09243697478991E-2</c:v>
                </c:pt>
                <c:pt idx="22796">
                  <c:v>-1.09243697478991E-2</c:v>
                </c:pt>
                <c:pt idx="22797">
                  <c:v>-1.09243697478991E-2</c:v>
                </c:pt>
                <c:pt idx="22798">
                  <c:v>-1.09243697478991E-2</c:v>
                </c:pt>
                <c:pt idx="22799">
                  <c:v>-1.0084033613445301E-2</c:v>
                </c:pt>
                <c:pt idx="22800">
                  <c:v>-1.0084033613445301E-2</c:v>
                </c:pt>
                <c:pt idx="22801">
                  <c:v>-1.0084033613445301E-2</c:v>
                </c:pt>
                <c:pt idx="22802">
                  <c:v>-1.0084033613445301E-2</c:v>
                </c:pt>
                <c:pt idx="22803">
                  <c:v>-1.0084033613445301E-2</c:v>
                </c:pt>
                <c:pt idx="22804">
                  <c:v>-1.0084033613445301E-2</c:v>
                </c:pt>
                <c:pt idx="22805">
                  <c:v>-1.0084033613445301E-2</c:v>
                </c:pt>
                <c:pt idx="22806">
                  <c:v>-1.0084033613445301E-2</c:v>
                </c:pt>
                <c:pt idx="22807">
                  <c:v>-1.0084033613445301E-2</c:v>
                </c:pt>
                <c:pt idx="22808">
                  <c:v>-1.0084033613445301E-2</c:v>
                </c:pt>
                <c:pt idx="22809">
                  <c:v>-1.0084033613445301E-2</c:v>
                </c:pt>
                <c:pt idx="22810">
                  <c:v>-1.0084033613445301E-2</c:v>
                </c:pt>
                <c:pt idx="22811">
                  <c:v>-1.0084033613445301E-2</c:v>
                </c:pt>
                <c:pt idx="22812">
                  <c:v>-1.0084033613445301E-2</c:v>
                </c:pt>
                <c:pt idx="22813">
                  <c:v>-1.0084033613445301E-2</c:v>
                </c:pt>
                <c:pt idx="22814">
                  <c:v>-1.0084033613445301E-2</c:v>
                </c:pt>
                <c:pt idx="22815">
                  <c:v>-1.0084033613445301E-2</c:v>
                </c:pt>
                <c:pt idx="22816">
                  <c:v>-1.0084033613445301E-2</c:v>
                </c:pt>
                <c:pt idx="22817">
                  <c:v>-1.0084033613445301E-2</c:v>
                </c:pt>
                <c:pt idx="22818">
                  <c:v>-1.0084033613445301E-2</c:v>
                </c:pt>
                <c:pt idx="22819">
                  <c:v>-1.0084033613445301E-2</c:v>
                </c:pt>
                <c:pt idx="22820">
                  <c:v>-1.0084033613445301E-2</c:v>
                </c:pt>
                <c:pt idx="22821">
                  <c:v>-1.0084033613445301E-2</c:v>
                </c:pt>
                <c:pt idx="22822">
                  <c:v>-1.0084033613445301E-2</c:v>
                </c:pt>
                <c:pt idx="22823">
                  <c:v>-1.0084033613445301E-2</c:v>
                </c:pt>
                <c:pt idx="22824">
                  <c:v>-1.0084033613445301E-2</c:v>
                </c:pt>
                <c:pt idx="22825">
                  <c:v>-1.0084033613445301E-2</c:v>
                </c:pt>
                <c:pt idx="22826">
                  <c:v>-1.0084033613445301E-2</c:v>
                </c:pt>
                <c:pt idx="22827">
                  <c:v>-1.0084033613445301E-2</c:v>
                </c:pt>
                <c:pt idx="22828">
                  <c:v>-1.0084033613445301E-2</c:v>
                </c:pt>
                <c:pt idx="22829">
                  <c:v>-1.0084033613445301E-2</c:v>
                </c:pt>
                <c:pt idx="22830">
                  <c:v>-1.0084033613445301E-2</c:v>
                </c:pt>
                <c:pt idx="22831">
                  <c:v>-1.0084033613445301E-2</c:v>
                </c:pt>
                <c:pt idx="22832">
                  <c:v>-1.0084033613445301E-2</c:v>
                </c:pt>
                <c:pt idx="22833">
                  <c:v>-1.0084033613445301E-2</c:v>
                </c:pt>
                <c:pt idx="22834">
                  <c:v>-1.0084033613445301E-2</c:v>
                </c:pt>
                <c:pt idx="22835">
                  <c:v>-1.0084033613445301E-2</c:v>
                </c:pt>
                <c:pt idx="22836">
                  <c:v>-1.0084033613445301E-2</c:v>
                </c:pt>
                <c:pt idx="22837">
                  <c:v>-1.0084033613445301E-2</c:v>
                </c:pt>
                <c:pt idx="22838">
                  <c:v>-1.0084033613445301E-2</c:v>
                </c:pt>
                <c:pt idx="22839">
                  <c:v>-1.0084033613445301E-2</c:v>
                </c:pt>
                <c:pt idx="22840">
                  <c:v>-1.0084033613445301E-2</c:v>
                </c:pt>
                <c:pt idx="22841">
                  <c:v>-1.0084033613445301E-2</c:v>
                </c:pt>
                <c:pt idx="22842">
                  <c:v>-1.0084033613445301E-2</c:v>
                </c:pt>
                <c:pt idx="22843">
                  <c:v>-1.0084033613445301E-2</c:v>
                </c:pt>
                <c:pt idx="22844">
                  <c:v>-1.0084033613445301E-2</c:v>
                </c:pt>
                <c:pt idx="22845">
                  <c:v>-1.0084033613445301E-2</c:v>
                </c:pt>
                <c:pt idx="22846">
                  <c:v>-1.0084033613445301E-2</c:v>
                </c:pt>
                <c:pt idx="22847">
                  <c:v>-1.0084033613445301E-2</c:v>
                </c:pt>
                <c:pt idx="22848">
                  <c:v>-1.0084033613445301E-2</c:v>
                </c:pt>
                <c:pt idx="22849">
                  <c:v>-1.0084033613445301E-2</c:v>
                </c:pt>
                <c:pt idx="22850">
                  <c:v>-1.0084033613445301E-2</c:v>
                </c:pt>
                <c:pt idx="22851">
                  <c:v>-1.0084033613445301E-2</c:v>
                </c:pt>
                <c:pt idx="22852">
                  <c:v>-1.0084033613445301E-2</c:v>
                </c:pt>
                <c:pt idx="22853">
                  <c:v>-1.0084033613445301E-2</c:v>
                </c:pt>
                <c:pt idx="22854">
                  <c:v>-1.0084033613445301E-2</c:v>
                </c:pt>
                <c:pt idx="22855">
                  <c:v>-1.0084033613445301E-2</c:v>
                </c:pt>
                <c:pt idx="22856">
                  <c:v>-1.0084033613445301E-2</c:v>
                </c:pt>
                <c:pt idx="22857">
                  <c:v>-1.0084033613445301E-2</c:v>
                </c:pt>
                <c:pt idx="22858">
                  <c:v>-1.0084033613445301E-2</c:v>
                </c:pt>
                <c:pt idx="22859">
                  <c:v>-1.0084033613445301E-2</c:v>
                </c:pt>
                <c:pt idx="22860">
                  <c:v>-1.0084033613445301E-2</c:v>
                </c:pt>
                <c:pt idx="22861">
                  <c:v>-1.0084033613445301E-2</c:v>
                </c:pt>
                <c:pt idx="22862">
                  <c:v>-1.0084033613445301E-2</c:v>
                </c:pt>
                <c:pt idx="22863">
                  <c:v>-1.0084033613445301E-2</c:v>
                </c:pt>
                <c:pt idx="22864">
                  <c:v>-1.0084033613445301E-2</c:v>
                </c:pt>
                <c:pt idx="22865">
                  <c:v>-1.0084033613445301E-2</c:v>
                </c:pt>
                <c:pt idx="22866">
                  <c:v>-1.0084033613445301E-2</c:v>
                </c:pt>
                <c:pt idx="22867">
                  <c:v>-1.0084033613445301E-2</c:v>
                </c:pt>
                <c:pt idx="22868">
                  <c:v>-1.0084033613445301E-2</c:v>
                </c:pt>
                <c:pt idx="22869">
                  <c:v>-1.0084033613445301E-2</c:v>
                </c:pt>
                <c:pt idx="22870">
                  <c:v>-1.0084033613445301E-2</c:v>
                </c:pt>
                <c:pt idx="22871">
                  <c:v>-1.0084033613445301E-2</c:v>
                </c:pt>
                <c:pt idx="22872">
                  <c:v>-1.0084033613445301E-2</c:v>
                </c:pt>
                <c:pt idx="22873">
                  <c:v>-1.0084033613445301E-2</c:v>
                </c:pt>
                <c:pt idx="22874">
                  <c:v>-1.0084033613445301E-2</c:v>
                </c:pt>
                <c:pt idx="22875">
                  <c:v>-1.0084033613445301E-2</c:v>
                </c:pt>
                <c:pt idx="22876">
                  <c:v>-1.0084033613445301E-2</c:v>
                </c:pt>
                <c:pt idx="22877">
                  <c:v>-1.0084033613445301E-2</c:v>
                </c:pt>
                <c:pt idx="22878">
                  <c:v>-1.0084033613445301E-2</c:v>
                </c:pt>
                <c:pt idx="22879">
                  <c:v>-1.0084033613445301E-2</c:v>
                </c:pt>
                <c:pt idx="22880">
                  <c:v>-1.0084033613445301E-2</c:v>
                </c:pt>
                <c:pt idx="22881">
                  <c:v>-1.0084033613445301E-2</c:v>
                </c:pt>
                <c:pt idx="22882">
                  <c:v>-1.0084033613445301E-2</c:v>
                </c:pt>
                <c:pt idx="22883">
                  <c:v>-1.0084033613445301E-2</c:v>
                </c:pt>
                <c:pt idx="22884">
                  <c:v>-1.0084033613445301E-2</c:v>
                </c:pt>
                <c:pt idx="22885">
                  <c:v>-1.0084033613445301E-2</c:v>
                </c:pt>
                <c:pt idx="22886">
                  <c:v>-1.0084033613445301E-2</c:v>
                </c:pt>
                <c:pt idx="22887">
                  <c:v>-1.0084033613445301E-2</c:v>
                </c:pt>
                <c:pt idx="22888">
                  <c:v>-1.0084033613445301E-2</c:v>
                </c:pt>
                <c:pt idx="22889">
                  <c:v>-1.0084033613445301E-2</c:v>
                </c:pt>
                <c:pt idx="22890">
                  <c:v>-1.0084033613445301E-2</c:v>
                </c:pt>
                <c:pt idx="22891">
                  <c:v>-1.0084033613445301E-2</c:v>
                </c:pt>
                <c:pt idx="22892">
                  <c:v>-1.0084033613445301E-2</c:v>
                </c:pt>
                <c:pt idx="22893">
                  <c:v>-1.0084033613445301E-2</c:v>
                </c:pt>
                <c:pt idx="22894">
                  <c:v>-1.0084033613445301E-2</c:v>
                </c:pt>
                <c:pt idx="22895">
                  <c:v>-1.0084033613445301E-2</c:v>
                </c:pt>
                <c:pt idx="22896">
                  <c:v>-1.0084033613445301E-2</c:v>
                </c:pt>
                <c:pt idx="22897">
                  <c:v>-1.0084033613445301E-2</c:v>
                </c:pt>
                <c:pt idx="22898">
                  <c:v>-1.0084033613445301E-2</c:v>
                </c:pt>
                <c:pt idx="22899">
                  <c:v>-1.0084033613445301E-2</c:v>
                </c:pt>
                <c:pt idx="22900">
                  <c:v>-1.0084033613445301E-2</c:v>
                </c:pt>
                <c:pt idx="22901">
                  <c:v>-1.0084033613445301E-2</c:v>
                </c:pt>
                <c:pt idx="22902">
                  <c:v>-1.0084033613445301E-2</c:v>
                </c:pt>
                <c:pt idx="22903">
                  <c:v>-1.0084033613445301E-2</c:v>
                </c:pt>
                <c:pt idx="22904">
                  <c:v>-1.0084033613445301E-2</c:v>
                </c:pt>
                <c:pt idx="22905">
                  <c:v>-1.0084033613445301E-2</c:v>
                </c:pt>
                <c:pt idx="22906">
                  <c:v>-1.0084033613445301E-2</c:v>
                </c:pt>
                <c:pt idx="22907">
                  <c:v>-1.0084033613445301E-2</c:v>
                </c:pt>
                <c:pt idx="22908">
                  <c:v>-1.0084033613445301E-2</c:v>
                </c:pt>
                <c:pt idx="22909">
                  <c:v>-1.0084033613445301E-2</c:v>
                </c:pt>
                <c:pt idx="22910">
                  <c:v>-1.0084033613445301E-2</c:v>
                </c:pt>
                <c:pt idx="22911">
                  <c:v>-1.0084033613445301E-2</c:v>
                </c:pt>
                <c:pt idx="22912">
                  <c:v>-1.0084033613445301E-2</c:v>
                </c:pt>
                <c:pt idx="22913">
                  <c:v>-1.0084033613445301E-2</c:v>
                </c:pt>
                <c:pt idx="22914">
                  <c:v>-1.0084033613445301E-2</c:v>
                </c:pt>
                <c:pt idx="22915">
                  <c:v>-1.0084033613445301E-2</c:v>
                </c:pt>
                <c:pt idx="22916">
                  <c:v>-1.0084033613445301E-2</c:v>
                </c:pt>
                <c:pt idx="22917">
                  <c:v>-1.0084033613445301E-2</c:v>
                </c:pt>
                <c:pt idx="22918">
                  <c:v>-1.0084033613445301E-2</c:v>
                </c:pt>
                <c:pt idx="22919">
                  <c:v>-1.0084033613445301E-2</c:v>
                </c:pt>
                <c:pt idx="22920">
                  <c:v>-1.0084033613445301E-2</c:v>
                </c:pt>
                <c:pt idx="22921">
                  <c:v>-1.0084033613445301E-2</c:v>
                </c:pt>
                <c:pt idx="22922">
                  <c:v>-1.0084033613445301E-2</c:v>
                </c:pt>
                <c:pt idx="22923">
                  <c:v>-1.0084033613445301E-2</c:v>
                </c:pt>
                <c:pt idx="22924">
                  <c:v>-1.0084033613445301E-2</c:v>
                </c:pt>
                <c:pt idx="22925">
                  <c:v>-9.2436974789915603E-3</c:v>
                </c:pt>
                <c:pt idx="22926">
                  <c:v>-9.2436974789915603E-3</c:v>
                </c:pt>
                <c:pt idx="22927">
                  <c:v>-9.2436974789915603E-3</c:v>
                </c:pt>
                <c:pt idx="22928">
                  <c:v>-9.2436974789915603E-3</c:v>
                </c:pt>
                <c:pt idx="22929">
                  <c:v>-9.2436974789915603E-3</c:v>
                </c:pt>
                <c:pt idx="22930">
                  <c:v>-9.2436974789915603E-3</c:v>
                </c:pt>
                <c:pt idx="22931">
                  <c:v>-8.4033613445377801E-3</c:v>
                </c:pt>
                <c:pt idx="22932">
                  <c:v>-8.4033613445377801E-3</c:v>
                </c:pt>
                <c:pt idx="22933">
                  <c:v>-8.4033613445377801E-3</c:v>
                </c:pt>
                <c:pt idx="22934">
                  <c:v>-8.4033613445377801E-3</c:v>
                </c:pt>
                <c:pt idx="22935">
                  <c:v>-8.4033613445377801E-3</c:v>
                </c:pt>
                <c:pt idx="22936">
                  <c:v>-8.4033613445377801E-3</c:v>
                </c:pt>
                <c:pt idx="22937">
                  <c:v>-8.4033613445377801E-3</c:v>
                </c:pt>
                <c:pt idx="22938">
                  <c:v>-8.4033613445377801E-3</c:v>
                </c:pt>
                <c:pt idx="22939">
                  <c:v>-8.4033613445377801E-3</c:v>
                </c:pt>
                <c:pt idx="22940">
                  <c:v>-8.4033613445377801E-3</c:v>
                </c:pt>
                <c:pt idx="22941">
                  <c:v>-8.4033613445377801E-3</c:v>
                </c:pt>
                <c:pt idx="22942">
                  <c:v>-8.4033613445377801E-3</c:v>
                </c:pt>
                <c:pt idx="22943">
                  <c:v>-8.4033613445377801E-3</c:v>
                </c:pt>
                <c:pt idx="22944">
                  <c:v>-8.4033613445377801E-3</c:v>
                </c:pt>
                <c:pt idx="22945">
                  <c:v>-8.4033613445377801E-3</c:v>
                </c:pt>
                <c:pt idx="22946">
                  <c:v>-8.4033613445377801E-3</c:v>
                </c:pt>
                <c:pt idx="22947">
                  <c:v>-8.4033613445377801E-3</c:v>
                </c:pt>
                <c:pt idx="22948">
                  <c:v>-8.4033613445377801E-3</c:v>
                </c:pt>
                <c:pt idx="22949">
                  <c:v>-8.4033613445377801E-3</c:v>
                </c:pt>
                <c:pt idx="22950">
                  <c:v>-8.4033613445377801E-3</c:v>
                </c:pt>
                <c:pt idx="22951">
                  <c:v>-8.4033613445377801E-3</c:v>
                </c:pt>
                <c:pt idx="22952">
                  <c:v>-8.4033613445377801E-3</c:v>
                </c:pt>
                <c:pt idx="22953">
                  <c:v>-8.4033613445377801E-3</c:v>
                </c:pt>
                <c:pt idx="22954">
                  <c:v>-8.4033613445377801E-3</c:v>
                </c:pt>
                <c:pt idx="22955">
                  <c:v>-8.4033613445377801E-3</c:v>
                </c:pt>
                <c:pt idx="22956">
                  <c:v>-8.4033613445377801E-3</c:v>
                </c:pt>
                <c:pt idx="22957">
                  <c:v>-8.4033613445377801E-3</c:v>
                </c:pt>
                <c:pt idx="22958">
                  <c:v>-8.4033613445377801E-3</c:v>
                </c:pt>
                <c:pt idx="22959">
                  <c:v>-8.4033613445377801E-3</c:v>
                </c:pt>
                <c:pt idx="22960">
                  <c:v>-8.4033613445377801E-3</c:v>
                </c:pt>
                <c:pt idx="22961">
                  <c:v>-8.4033613445377801E-3</c:v>
                </c:pt>
                <c:pt idx="22962">
                  <c:v>-8.4033613445377801E-3</c:v>
                </c:pt>
                <c:pt idx="22963">
                  <c:v>-8.4033613445377801E-3</c:v>
                </c:pt>
                <c:pt idx="22964">
                  <c:v>-8.4033613445377801E-3</c:v>
                </c:pt>
                <c:pt idx="22965">
                  <c:v>-8.4033613445377801E-3</c:v>
                </c:pt>
                <c:pt idx="22966">
                  <c:v>-8.4033613445377801E-3</c:v>
                </c:pt>
                <c:pt idx="22967">
                  <c:v>-8.4033613445377801E-3</c:v>
                </c:pt>
                <c:pt idx="22968">
                  <c:v>-8.4033613445377801E-3</c:v>
                </c:pt>
                <c:pt idx="22969">
                  <c:v>-8.4033613445377801E-3</c:v>
                </c:pt>
                <c:pt idx="22970">
                  <c:v>-8.4033613445377801E-3</c:v>
                </c:pt>
                <c:pt idx="22971">
                  <c:v>-8.4033613445377801E-3</c:v>
                </c:pt>
                <c:pt idx="22972">
                  <c:v>-8.4033613445377801E-3</c:v>
                </c:pt>
                <c:pt idx="22973">
                  <c:v>-8.4033613445377801E-3</c:v>
                </c:pt>
                <c:pt idx="22974">
                  <c:v>-8.4033613445377801E-3</c:v>
                </c:pt>
                <c:pt idx="22975">
                  <c:v>-8.4033613445377801E-3</c:v>
                </c:pt>
                <c:pt idx="22976">
                  <c:v>-8.4033613445377801E-3</c:v>
                </c:pt>
                <c:pt idx="22977">
                  <c:v>-8.4033613445377801E-3</c:v>
                </c:pt>
                <c:pt idx="22978">
                  <c:v>-8.4033613445377801E-3</c:v>
                </c:pt>
                <c:pt idx="22979">
                  <c:v>-8.4033613445377801E-3</c:v>
                </c:pt>
                <c:pt idx="22980">
                  <c:v>-8.4033613445377801E-3</c:v>
                </c:pt>
                <c:pt idx="22981">
                  <c:v>-8.4033613445377801E-3</c:v>
                </c:pt>
                <c:pt idx="22982">
                  <c:v>-8.4033613445377801E-3</c:v>
                </c:pt>
                <c:pt idx="22983">
                  <c:v>-8.4033613445377801E-3</c:v>
                </c:pt>
                <c:pt idx="22984">
                  <c:v>-8.4033613445377801E-3</c:v>
                </c:pt>
                <c:pt idx="22985">
                  <c:v>-8.4033613445377801E-3</c:v>
                </c:pt>
                <c:pt idx="22986">
                  <c:v>-8.4033613445377801E-3</c:v>
                </c:pt>
                <c:pt idx="22987">
                  <c:v>-8.4033613445377801E-3</c:v>
                </c:pt>
                <c:pt idx="22988">
                  <c:v>-8.4033613445377801E-3</c:v>
                </c:pt>
                <c:pt idx="22989">
                  <c:v>-8.4033613445377801E-3</c:v>
                </c:pt>
                <c:pt idx="22990">
                  <c:v>-9.2436974789915603E-3</c:v>
                </c:pt>
                <c:pt idx="22991">
                  <c:v>-9.2436974789915603E-3</c:v>
                </c:pt>
                <c:pt idx="22992">
                  <c:v>-9.2436974789915603E-3</c:v>
                </c:pt>
                <c:pt idx="22993">
                  <c:v>-9.2436974789915603E-3</c:v>
                </c:pt>
                <c:pt idx="22994">
                  <c:v>-9.2436974789915603E-3</c:v>
                </c:pt>
                <c:pt idx="22995">
                  <c:v>-9.2436974789915603E-3</c:v>
                </c:pt>
                <c:pt idx="22996">
                  <c:v>-9.2436974789915603E-3</c:v>
                </c:pt>
                <c:pt idx="22997">
                  <c:v>-9.2436974789915603E-3</c:v>
                </c:pt>
                <c:pt idx="22998">
                  <c:v>-9.2436974789915603E-3</c:v>
                </c:pt>
                <c:pt idx="22999">
                  <c:v>-9.2436974789915603E-3</c:v>
                </c:pt>
                <c:pt idx="23000">
                  <c:v>-9.2436974789915603E-3</c:v>
                </c:pt>
                <c:pt idx="23001">
                  <c:v>-9.2436974789915603E-3</c:v>
                </c:pt>
                <c:pt idx="23002">
                  <c:v>-9.2436974789915603E-3</c:v>
                </c:pt>
                <c:pt idx="23003">
                  <c:v>-9.2436974789915603E-3</c:v>
                </c:pt>
                <c:pt idx="23004">
                  <c:v>-9.2436974789915603E-3</c:v>
                </c:pt>
                <c:pt idx="23005">
                  <c:v>-9.2436974789915603E-3</c:v>
                </c:pt>
                <c:pt idx="23006">
                  <c:v>-8.4033613445377801E-3</c:v>
                </c:pt>
                <c:pt idx="23007">
                  <c:v>-8.4033613445377801E-3</c:v>
                </c:pt>
                <c:pt idx="23008">
                  <c:v>-8.4033613445377801E-3</c:v>
                </c:pt>
                <c:pt idx="23009">
                  <c:v>-8.4033613445377801E-3</c:v>
                </c:pt>
                <c:pt idx="23010">
                  <c:v>-9.2436974789915603E-3</c:v>
                </c:pt>
                <c:pt idx="23011">
                  <c:v>-9.2436974789915603E-3</c:v>
                </c:pt>
                <c:pt idx="23012">
                  <c:v>-9.2436974789915603E-3</c:v>
                </c:pt>
                <c:pt idx="23013">
                  <c:v>-9.2436974789915603E-3</c:v>
                </c:pt>
                <c:pt idx="23014">
                  <c:v>-9.2436974789915603E-3</c:v>
                </c:pt>
                <c:pt idx="23015">
                  <c:v>-8.4033613445377801E-3</c:v>
                </c:pt>
                <c:pt idx="23016">
                  <c:v>-8.4033613445377801E-3</c:v>
                </c:pt>
                <c:pt idx="23017">
                  <c:v>-8.4033613445377801E-3</c:v>
                </c:pt>
                <c:pt idx="23018">
                  <c:v>-8.4033613445377801E-3</c:v>
                </c:pt>
                <c:pt idx="23019">
                  <c:v>-8.4033613445377801E-3</c:v>
                </c:pt>
                <c:pt idx="23020">
                  <c:v>-8.4033613445377801E-3</c:v>
                </c:pt>
                <c:pt idx="23021">
                  <c:v>-8.4033613445377801E-3</c:v>
                </c:pt>
                <c:pt idx="23022">
                  <c:v>-8.4033613445377801E-3</c:v>
                </c:pt>
                <c:pt idx="23023">
                  <c:v>-8.4033613445377801E-3</c:v>
                </c:pt>
                <c:pt idx="23024">
                  <c:v>-8.4033613445377801E-3</c:v>
                </c:pt>
                <c:pt idx="23025">
                  <c:v>-8.4033613445377801E-3</c:v>
                </c:pt>
                <c:pt idx="23026">
                  <c:v>-8.4033613445377801E-3</c:v>
                </c:pt>
                <c:pt idx="23027">
                  <c:v>-8.4033613445377801E-3</c:v>
                </c:pt>
                <c:pt idx="23028">
                  <c:v>-8.4033613445377801E-3</c:v>
                </c:pt>
                <c:pt idx="23029">
                  <c:v>-8.4033613445377801E-3</c:v>
                </c:pt>
                <c:pt idx="23030">
                  <c:v>-8.4033613445377801E-3</c:v>
                </c:pt>
                <c:pt idx="23031">
                  <c:v>-8.4033613445377801E-3</c:v>
                </c:pt>
                <c:pt idx="23032">
                  <c:v>-8.4033613445377801E-3</c:v>
                </c:pt>
                <c:pt idx="23033">
                  <c:v>-8.4033613445377801E-3</c:v>
                </c:pt>
                <c:pt idx="23034">
                  <c:v>-8.4033613445377801E-3</c:v>
                </c:pt>
                <c:pt idx="23035">
                  <c:v>-8.4033613445377801E-3</c:v>
                </c:pt>
                <c:pt idx="23036">
                  <c:v>-8.4033613445377801E-3</c:v>
                </c:pt>
                <c:pt idx="23037">
                  <c:v>-8.4033613445377801E-3</c:v>
                </c:pt>
                <c:pt idx="23038">
                  <c:v>-8.4033613445377801E-3</c:v>
                </c:pt>
                <c:pt idx="23039">
                  <c:v>-8.4033613445377801E-3</c:v>
                </c:pt>
                <c:pt idx="23040">
                  <c:v>-8.4033613445377801E-3</c:v>
                </c:pt>
                <c:pt idx="23041">
                  <c:v>-8.4033613445377801E-3</c:v>
                </c:pt>
                <c:pt idx="23042">
                  <c:v>-8.4033613445377801E-3</c:v>
                </c:pt>
                <c:pt idx="23043">
                  <c:v>-8.4033613445377801E-3</c:v>
                </c:pt>
                <c:pt idx="23044">
                  <c:v>-8.4033613445377801E-3</c:v>
                </c:pt>
                <c:pt idx="23045">
                  <c:v>-8.4033613445377801E-3</c:v>
                </c:pt>
                <c:pt idx="23046">
                  <c:v>-8.4033613445377801E-3</c:v>
                </c:pt>
                <c:pt idx="23047">
                  <c:v>-8.4033613445377801E-3</c:v>
                </c:pt>
                <c:pt idx="23048">
                  <c:v>-8.4033613445377801E-3</c:v>
                </c:pt>
                <c:pt idx="23049">
                  <c:v>-8.4033613445377801E-3</c:v>
                </c:pt>
                <c:pt idx="23050">
                  <c:v>-8.4033613445377801E-3</c:v>
                </c:pt>
                <c:pt idx="23051">
                  <c:v>-8.4033613445377801E-3</c:v>
                </c:pt>
                <c:pt idx="23052">
                  <c:v>-8.4033613445377801E-3</c:v>
                </c:pt>
                <c:pt idx="23053">
                  <c:v>-8.4033613445377801E-3</c:v>
                </c:pt>
                <c:pt idx="23054">
                  <c:v>-8.4033613445377801E-3</c:v>
                </c:pt>
                <c:pt idx="23055">
                  <c:v>-8.4033613445377801E-3</c:v>
                </c:pt>
                <c:pt idx="23056">
                  <c:v>-8.4033613445377801E-3</c:v>
                </c:pt>
                <c:pt idx="23057">
                  <c:v>-8.4033613445377801E-3</c:v>
                </c:pt>
                <c:pt idx="23058">
                  <c:v>-8.4033613445377801E-3</c:v>
                </c:pt>
                <c:pt idx="23059">
                  <c:v>-8.4033613445377801E-3</c:v>
                </c:pt>
                <c:pt idx="23060">
                  <c:v>-8.4033613445377801E-3</c:v>
                </c:pt>
                <c:pt idx="23061">
                  <c:v>-8.4033613445377801E-3</c:v>
                </c:pt>
                <c:pt idx="23062">
                  <c:v>-8.4033613445377801E-3</c:v>
                </c:pt>
                <c:pt idx="23063">
                  <c:v>-8.4033613445377801E-3</c:v>
                </c:pt>
                <c:pt idx="23064">
                  <c:v>-8.4033613445377801E-3</c:v>
                </c:pt>
                <c:pt idx="23065">
                  <c:v>-8.4033613445377801E-3</c:v>
                </c:pt>
                <c:pt idx="23066">
                  <c:v>-8.4033613445377801E-3</c:v>
                </c:pt>
                <c:pt idx="23067">
                  <c:v>-8.4033613445377801E-3</c:v>
                </c:pt>
                <c:pt idx="23068">
                  <c:v>-8.4033613445377801E-3</c:v>
                </c:pt>
                <c:pt idx="23069">
                  <c:v>-8.4033613445377801E-3</c:v>
                </c:pt>
                <c:pt idx="23070">
                  <c:v>-9.2436974789915603E-3</c:v>
                </c:pt>
                <c:pt idx="23071">
                  <c:v>-8.4033613445377801E-3</c:v>
                </c:pt>
                <c:pt idx="23072">
                  <c:v>-8.4033613445377801E-3</c:v>
                </c:pt>
                <c:pt idx="23073">
                  <c:v>-8.4033613445377801E-3</c:v>
                </c:pt>
                <c:pt idx="23074">
                  <c:v>-8.4033613445377801E-3</c:v>
                </c:pt>
                <c:pt idx="23075">
                  <c:v>-8.4033613445377801E-3</c:v>
                </c:pt>
                <c:pt idx="23076">
                  <c:v>-8.4033613445377801E-3</c:v>
                </c:pt>
                <c:pt idx="23077">
                  <c:v>-8.4033613445377801E-3</c:v>
                </c:pt>
                <c:pt idx="23078">
                  <c:v>-8.4033613445377801E-3</c:v>
                </c:pt>
                <c:pt idx="23079">
                  <c:v>-8.4033613445377801E-3</c:v>
                </c:pt>
                <c:pt idx="23080">
                  <c:v>-8.4033613445377801E-3</c:v>
                </c:pt>
                <c:pt idx="23081">
                  <c:v>-8.4033613445377801E-3</c:v>
                </c:pt>
                <c:pt idx="23082">
                  <c:v>-8.4033613445377801E-3</c:v>
                </c:pt>
                <c:pt idx="23083">
                  <c:v>-8.4033613445377801E-3</c:v>
                </c:pt>
                <c:pt idx="23084">
                  <c:v>-8.4033613445377801E-3</c:v>
                </c:pt>
                <c:pt idx="23085">
                  <c:v>-8.4033613445377801E-3</c:v>
                </c:pt>
                <c:pt idx="23086">
                  <c:v>-8.4033613445377801E-3</c:v>
                </c:pt>
                <c:pt idx="23087">
                  <c:v>-8.4033613445377801E-3</c:v>
                </c:pt>
                <c:pt idx="23088">
                  <c:v>-8.4033613445377801E-3</c:v>
                </c:pt>
                <c:pt idx="23089">
                  <c:v>-8.4033613445377801E-3</c:v>
                </c:pt>
                <c:pt idx="23090">
                  <c:v>-8.4033613445377801E-3</c:v>
                </c:pt>
                <c:pt idx="23091">
                  <c:v>-8.4033613445377801E-3</c:v>
                </c:pt>
                <c:pt idx="23092">
                  <c:v>-8.4033613445377801E-3</c:v>
                </c:pt>
                <c:pt idx="23093">
                  <c:v>-8.4033613445377801E-3</c:v>
                </c:pt>
                <c:pt idx="23094">
                  <c:v>-8.4033613445377801E-3</c:v>
                </c:pt>
                <c:pt idx="23095">
                  <c:v>-8.4033613445377801E-3</c:v>
                </c:pt>
                <c:pt idx="23096">
                  <c:v>-8.4033613445377801E-3</c:v>
                </c:pt>
                <c:pt idx="23097">
                  <c:v>-8.4033613445377801E-3</c:v>
                </c:pt>
                <c:pt idx="23098">
                  <c:v>-8.4033613445377801E-3</c:v>
                </c:pt>
                <c:pt idx="23099">
                  <c:v>-8.4033613445377801E-3</c:v>
                </c:pt>
                <c:pt idx="23100">
                  <c:v>-8.4033613445377801E-3</c:v>
                </c:pt>
                <c:pt idx="23101">
                  <c:v>-8.4033613445377801E-3</c:v>
                </c:pt>
                <c:pt idx="23102">
                  <c:v>-8.4033613445377801E-3</c:v>
                </c:pt>
                <c:pt idx="23103">
                  <c:v>-8.4033613445377801E-3</c:v>
                </c:pt>
                <c:pt idx="23104">
                  <c:v>-8.4033613445377801E-3</c:v>
                </c:pt>
                <c:pt idx="23105">
                  <c:v>-8.4033613445377801E-3</c:v>
                </c:pt>
                <c:pt idx="23106">
                  <c:v>-8.4033613445377801E-3</c:v>
                </c:pt>
                <c:pt idx="23107">
                  <c:v>-8.4033613445377801E-3</c:v>
                </c:pt>
                <c:pt idx="23108">
                  <c:v>-8.4033613445377801E-3</c:v>
                </c:pt>
                <c:pt idx="23109">
                  <c:v>-8.4033613445377801E-3</c:v>
                </c:pt>
                <c:pt idx="23110">
                  <c:v>-8.4033613445377801E-3</c:v>
                </c:pt>
                <c:pt idx="23111">
                  <c:v>-8.4033613445377801E-3</c:v>
                </c:pt>
                <c:pt idx="23112">
                  <c:v>-8.4033613445377801E-3</c:v>
                </c:pt>
                <c:pt idx="23113">
                  <c:v>-8.4033613445377801E-3</c:v>
                </c:pt>
                <c:pt idx="23114">
                  <c:v>-8.4033613445377801E-3</c:v>
                </c:pt>
                <c:pt idx="23115">
                  <c:v>-8.4033613445377801E-3</c:v>
                </c:pt>
                <c:pt idx="23116">
                  <c:v>-8.4033613445377801E-3</c:v>
                </c:pt>
                <c:pt idx="23117">
                  <c:v>-8.4033613445377801E-3</c:v>
                </c:pt>
                <c:pt idx="23118">
                  <c:v>-8.4033613445377801E-3</c:v>
                </c:pt>
                <c:pt idx="23119">
                  <c:v>-8.4033613445377801E-3</c:v>
                </c:pt>
                <c:pt idx="23120">
                  <c:v>-8.4033613445377801E-3</c:v>
                </c:pt>
                <c:pt idx="23121">
                  <c:v>-8.4033613445377801E-3</c:v>
                </c:pt>
                <c:pt idx="23122">
                  <c:v>-8.4033613445377801E-3</c:v>
                </c:pt>
                <c:pt idx="23123">
                  <c:v>-8.4033613445377801E-3</c:v>
                </c:pt>
                <c:pt idx="23124">
                  <c:v>-8.4033613445377801E-3</c:v>
                </c:pt>
                <c:pt idx="23125">
                  <c:v>-8.4033613445377801E-3</c:v>
                </c:pt>
                <c:pt idx="23126">
                  <c:v>-8.4033613445377801E-3</c:v>
                </c:pt>
                <c:pt idx="23127">
                  <c:v>-8.4033613445377801E-3</c:v>
                </c:pt>
                <c:pt idx="23128">
                  <c:v>-8.4033613445377801E-3</c:v>
                </c:pt>
                <c:pt idx="23129">
                  <c:v>-8.4033613445377801E-3</c:v>
                </c:pt>
                <c:pt idx="23130">
                  <c:v>-8.4033613445377801E-3</c:v>
                </c:pt>
                <c:pt idx="23131">
                  <c:v>-8.4033613445377801E-3</c:v>
                </c:pt>
                <c:pt idx="23132">
                  <c:v>-8.4033613445377801E-3</c:v>
                </c:pt>
                <c:pt idx="23133">
                  <c:v>-8.4033613445377801E-3</c:v>
                </c:pt>
                <c:pt idx="23134">
                  <c:v>-8.4033613445377801E-3</c:v>
                </c:pt>
                <c:pt idx="23135">
                  <c:v>-8.4033613445377801E-3</c:v>
                </c:pt>
                <c:pt idx="23136">
                  <c:v>-8.4033613445377801E-3</c:v>
                </c:pt>
                <c:pt idx="23137">
                  <c:v>-8.4033613445377801E-3</c:v>
                </c:pt>
                <c:pt idx="23138">
                  <c:v>-8.4033613445377801E-3</c:v>
                </c:pt>
                <c:pt idx="23139">
                  <c:v>-8.4033613445377801E-3</c:v>
                </c:pt>
                <c:pt idx="23140">
                  <c:v>-9.2436974789915603E-3</c:v>
                </c:pt>
                <c:pt idx="23141">
                  <c:v>-9.2436974789915603E-3</c:v>
                </c:pt>
                <c:pt idx="23142">
                  <c:v>-9.2436974789915603E-3</c:v>
                </c:pt>
                <c:pt idx="23143">
                  <c:v>-9.2436974789915603E-3</c:v>
                </c:pt>
                <c:pt idx="23144">
                  <c:v>-9.2436974789915603E-3</c:v>
                </c:pt>
                <c:pt idx="23145">
                  <c:v>-9.2436974789915603E-3</c:v>
                </c:pt>
                <c:pt idx="23146">
                  <c:v>-9.2436974789915603E-3</c:v>
                </c:pt>
                <c:pt idx="23147">
                  <c:v>-9.2436974789915603E-3</c:v>
                </c:pt>
                <c:pt idx="23148">
                  <c:v>-9.2436974789915603E-3</c:v>
                </c:pt>
                <c:pt idx="23149">
                  <c:v>-9.2436974789915603E-3</c:v>
                </c:pt>
                <c:pt idx="23150">
                  <c:v>-9.2436974789915603E-3</c:v>
                </c:pt>
                <c:pt idx="23151">
                  <c:v>-9.2436974789915603E-3</c:v>
                </c:pt>
                <c:pt idx="23152">
                  <c:v>-9.2436974789915603E-3</c:v>
                </c:pt>
                <c:pt idx="23153">
                  <c:v>-9.2436974789915603E-3</c:v>
                </c:pt>
                <c:pt idx="23154">
                  <c:v>-9.2436974789915603E-3</c:v>
                </c:pt>
                <c:pt idx="23155">
                  <c:v>-9.2436974789915603E-3</c:v>
                </c:pt>
                <c:pt idx="23156">
                  <c:v>-9.2436974789915603E-3</c:v>
                </c:pt>
                <c:pt idx="23157">
                  <c:v>-9.2436974789915603E-3</c:v>
                </c:pt>
                <c:pt idx="23158">
                  <c:v>-9.2436974789915603E-3</c:v>
                </c:pt>
                <c:pt idx="23159">
                  <c:v>-9.2436974789915603E-3</c:v>
                </c:pt>
                <c:pt idx="23160">
                  <c:v>-9.2436974789915603E-3</c:v>
                </c:pt>
                <c:pt idx="23161">
                  <c:v>-9.2436974789915603E-3</c:v>
                </c:pt>
                <c:pt idx="23162">
                  <c:v>-9.2436974789915603E-3</c:v>
                </c:pt>
                <c:pt idx="23163">
                  <c:v>-9.2436974789915603E-3</c:v>
                </c:pt>
                <c:pt idx="23164">
                  <c:v>-9.2436974789915603E-3</c:v>
                </c:pt>
                <c:pt idx="23165">
                  <c:v>-9.2436974789915603E-3</c:v>
                </c:pt>
                <c:pt idx="23166">
                  <c:v>-9.2436974789915603E-3</c:v>
                </c:pt>
                <c:pt idx="23167">
                  <c:v>-9.2436974789915603E-3</c:v>
                </c:pt>
                <c:pt idx="23168">
                  <c:v>-9.2436974789915603E-3</c:v>
                </c:pt>
                <c:pt idx="23169">
                  <c:v>-9.2436974789915603E-3</c:v>
                </c:pt>
                <c:pt idx="23170">
                  <c:v>-9.2436974789915603E-3</c:v>
                </c:pt>
                <c:pt idx="23171">
                  <c:v>-9.2436974789915603E-3</c:v>
                </c:pt>
                <c:pt idx="23172">
                  <c:v>-9.2436974789915603E-3</c:v>
                </c:pt>
                <c:pt idx="23173">
                  <c:v>-9.2436974789915603E-3</c:v>
                </c:pt>
                <c:pt idx="23174">
                  <c:v>-9.2436974789915603E-3</c:v>
                </c:pt>
                <c:pt idx="23175">
                  <c:v>-9.2436974789915603E-3</c:v>
                </c:pt>
                <c:pt idx="23176">
                  <c:v>-9.2436974789915603E-3</c:v>
                </c:pt>
                <c:pt idx="23177">
                  <c:v>-9.2436974789915603E-3</c:v>
                </c:pt>
                <c:pt idx="23178">
                  <c:v>-9.2436974789915603E-3</c:v>
                </c:pt>
                <c:pt idx="23179">
                  <c:v>-9.2436974789915603E-3</c:v>
                </c:pt>
                <c:pt idx="23180">
                  <c:v>-9.2436974789915603E-3</c:v>
                </c:pt>
                <c:pt idx="23181">
                  <c:v>-9.2436974789915603E-3</c:v>
                </c:pt>
                <c:pt idx="23182">
                  <c:v>-9.2436974789915603E-3</c:v>
                </c:pt>
                <c:pt idx="23183">
                  <c:v>-9.2436974789915603E-3</c:v>
                </c:pt>
                <c:pt idx="23184">
                  <c:v>-9.2436974789915603E-3</c:v>
                </c:pt>
                <c:pt idx="23185">
                  <c:v>-9.2436974789915603E-3</c:v>
                </c:pt>
                <c:pt idx="23186">
                  <c:v>-9.2436974789915603E-3</c:v>
                </c:pt>
                <c:pt idx="23187">
                  <c:v>-9.2436974789915603E-3</c:v>
                </c:pt>
                <c:pt idx="23188">
                  <c:v>-9.2436974789915603E-3</c:v>
                </c:pt>
                <c:pt idx="23189">
                  <c:v>-9.2436974789915603E-3</c:v>
                </c:pt>
                <c:pt idx="23190">
                  <c:v>-9.2436974789915603E-3</c:v>
                </c:pt>
                <c:pt idx="23191">
                  <c:v>-9.2436974789915603E-3</c:v>
                </c:pt>
                <c:pt idx="23192">
                  <c:v>-9.2436974789915603E-3</c:v>
                </c:pt>
                <c:pt idx="23193">
                  <c:v>-9.2436974789915603E-3</c:v>
                </c:pt>
                <c:pt idx="23194">
                  <c:v>-9.2436974789915603E-3</c:v>
                </c:pt>
                <c:pt idx="23195">
                  <c:v>-8.4033613445377801E-3</c:v>
                </c:pt>
                <c:pt idx="23196">
                  <c:v>-8.4033613445377801E-3</c:v>
                </c:pt>
                <c:pt idx="23197">
                  <c:v>-8.4033613445377801E-3</c:v>
                </c:pt>
                <c:pt idx="23198">
                  <c:v>-8.4033613445377801E-3</c:v>
                </c:pt>
                <c:pt idx="23199">
                  <c:v>-8.4033613445377801E-3</c:v>
                </c:pt>
                <c:pt idx="23200">
                  <c:v>-8.4033613445377801E-3</c:v>
                </c:pt>
                <c:pt idx="23201">
                  <c:v>-8.4033613445377801E-3</c:v>
                </c:pt>
                <c:pt idx="23202">
                  <c:v>-8.4033613445377801E-3</c:v>
                </c:pt>
                <c:pt idx="23203">
                  <c:v>-8.4033613445377801E-3</c:v>
                </c:pt>
                <c:pt idx="23204">
                  <c:v>-8.4033613445377801E-3</c:v>
                </c:pt>
                <c:pt idx="23205">
                  <c:v>-8.4033613445377801E-3</c:v>
                </c:pt>
                <c:pt idx="23206">
                  <c:v>-8.4033613445377801E-3</c:v>
                </c:pt>
                <c:pt idx="23207">
                  <c:v>-8.4033613445377801E-3</c:v>
                </c:pt>
                <c:pt idx="23208">
                  <c:v>-8.4033613445377801E-3</c:v>
                </c:pt>
                <c:pt idx="23209">
                  <c:v>-8.4033613445377801E-3</c:v>
                </c:pt>
                <c:pt idx="23210">
                  <c:v>-8.4033613445377801E-3</c:v>
                </c:pt>
                <c:pt idx="23211">
                  <c:v>-8.4033613445377801E-3</c:v>
                </c:pt>
                <c:pt idx="23212">
                  <c:v>-8.4033613445377801E-3</c:v>
                </c:pt>
                <c:pt idx="23213">
                  <c:v>-8.4033613445377801E-3</c:v>
                </c:pt>
                <c:pt idx="23214">
                  <c:v>-8.4033613445377801E-3</c:v>
                </c:pt>
                <c:pt idx="23215">
                  <c:v>-8.4033613445377801E-3</c:v>
                </c:pt>
                <c:pt idx="23216">
                  <c:v>-8.4033613445377801E-3</c:v>
                </c:pt>
                <c:pt idx="23217">
                  <c:v>-8.4033613445377801E-3</c:v>
                </c:pt>
                <c:pt idx="23218">
                  <c:v>-8.4033613445377801E-3</c:v>
                </c:pt>
                <c:pt idx="23219">
                  <c:v>-8.4033613445377801E-3</c:v>
                </c:pt>
                <c:pt idx="23220">
                  <c:v>-8.4033613445377801E-3</c:v>
                </c:pt>
                <c:pt idx="23221">
                  <c:v>-8.4033613445377801E-3</c:v>
                </c:pt>
                <c:pt idx="23222">
                  <c:v>-8.4033613445377801E-3</c:v>
                </c:pt>
                <c:pt idx="23223">
                  <c:v>-8.4033613445377801E-3</c:v>
                </c:pt>
                <c:pt idx="23224">
                  <c:v>-8.4033613445377801E-3</c:v>
                </c:pt>
                <c:pt idx="23225">
                  <c:v>-8.4033613445377801E-3</c:v>
                </c:pt>
                <c:pt idx="23226">
                  <c:v>-8.4033613445377801E-3</c:v>
                </c:pt>
                <c:pt idx="23227">
                  <c:v>-8.4033613445377801E-3</c:v>
                </c:pt>
                <c:pt idx="23228">
                  <c:v>-8.4033613445377801E-3</c:v>
                </c:pt>
                <c:pt idx="23229">
                  <c:v>-8.4033613445377801E-3</c:v>
                </c:pt>
                <c:pt idx="23230">
                  <c:v>-8.4033613445377801E-3</c:v>
                </c:pt>
                <c:pt idx="23231">
                  <c:v>-8.4033613445377801E-3</c:v>
                </c:pt>
                <c:pt idx="23232">
                  <c:v>-9.2436974789915603E-3</c:v>
                </c:pt>
                <c:pt idx="23233">
                  <c:v>-9.2436974789915603E-3</c:v>
                </c:pt>
                <c:pt idx="23234">
                  <c:v>-9.2436974789915603E-3</c:v>
                </c:pt>
                <c:pt idx="23235">
                  <c:v>-9.2436974789915603E-3</c:v>
                </c:pt>
                <c:pt idx="23236">
                  <c:v>-9.2436974789915603E-3</c:v>
                </c:pt>
                <c:pt idx="23237">
                  <c:v>-9.2436974789915603E-3</c:v>
                </c:pt>
                <c:pt idx="23238">
                  <c:v>-9.2436974789915603E-3</c:v>
                </c:pt>
                <c:pt idx="23239">
                  <c:v>-9.2436974789915603E-3</c:v>
                </c:pt>
                <c:pt idx="23240">
                  <c:v>-9.2436974789915603E-3</c:v>
                </c:pt>
                <c:pt idx="23241">
                  <c:v>-9.2436974789915603E-3</c:v>
                </c:pt>
                <c:pt idx="23242">
                  <c:v>-9.2436974789915603E-3</c:v>
                </c:pt>
                <c:pt idx="23243">
                  <c:v>-9.2436974789915603E-3</c:v>
                </c:pt>
                <c:pt idx="23244">
                  <c:v>-9.2436974789915603E-3</c:v>
                </c:pt>
                <c:pt idx="23245">
                  <c:v>-9.2436974789915603E-3</c:v>
                </c:pt>
                <c:pt idx="23246">
                  <c:v>-9.2436974789915603E-3</c:v>
                </c:pt>
                <c:pt idx="23247">
                  <c:v>-9.2436974789915603E-3</c:v>
                </c:pt>
                <c:pt idx="23248">
                  <c:v>-9.2436974789915603E-3</c:v>
                </c:pt>
                <c:pt idx="23249">
                  <c:v>-9.2436974789915603E-3</c:v>
                </c:pt>
                <c:pt idx="23250">
                  <c:v>-9.2436974789915603E-3</c:v>
                </c:pt>
                <c:pt idx="23251">
                  <c:v>-9.2436974789915603E-3</c:v>
                </c:pt>
                <c:pt idx="23252">
                  <c:v>-9.2436974789915603E-3</c:v>
                </c:pt>
                <c:pt idx="23253">
                  <c:v>-9.2436974789915603E-3</c:v>
                </c:pt>
                <c:pt idx="23254">
                  <c:v>-9.2436974789915603E-3</c:v>
                </c:pt>
                <c:pt idx="23255">
                  <c:v>-9.2436974789915603E-3</c:v>
                </c:pt>
                <c:pt idx="23256">
                  <c:v>-9.2436974789915603E-3</c:v>
                </c:pt>
                <c:pt idx="23257">
                  <c:v>-9.2436974789915603E-3</c:v>
                </c:pt>
                <c:pt idx="23258">
                  <c:v>-9.2436974789915603E-3</c:v>
                </c:pt>
                <c:pt idx="23259">
                  <c:v>-9.2436974789915603E-3</c:v>
                </c:pt>
                <c:pt idx="23260">
                  <c:v>-9.2436974789915603E-3</c:v>
                </c:pt>
                <c:pt idx="23261">
                  <c:v>-9.2436974789915603E-3</c:v>
                </c:pt>
                <c:pt idx="23262">
                  <c:v>-9.2436974789915603E-3</c:v>
                </c:pt>
                <c:pt idx="23263">
                  <c:v>-9.2436974789915603E-3</c:v>
                </c:pt>
                <c:pt idx="23264">
                  <c:v>-1.0084033613445301E-2</c:v>
                </c:pt>
                <c:pt idx="23265">
                  <c:v>-1.0084033613445301E-2</c:v>
                </c:pt>
                <c:pt idx="23266">
                  <c:v>-1.0084033613445301E-2</c:v>
                </c:pt>
                <c:pt idx="23267">
                  <c:v>-1.0084033613445301E-2</c:v>
                </c:pt>
                <c:pt idx="23268">
                  <c:v>-1.0084033613445301E-2</c:v>
                </c:pt>
                <c:pt idx="23269">
                  <c:v>-1.0084033613445301E-2</c:v>
                </c:pt>
                <c:pt idx="23270">
                  <c:v>-1.0084033613445301E-2</c:v>
                </c:pt>
                <c:pt idx="23271">
                  <c:v>-1.0084033613445301E-2</c:v>
                </c:pt>
                <c:pt idx="23272">
                  <c:v>-1.0084033613445301E-2</c:v>
                </c:pt>
                <c:pt idx="23273">
                  <c:v>-1.0084033613445301E-2</c:v>
                </c:pt>
                <c:pt idx="23274">
                  <c:v>-1.0084033613445301E-2</c:v>
                </c:pt>
                <c:pt idx="23275">
                  <c:v>-1.09243697478991E-2</c:v>
                </c:pt>
                <c:pt idx="23276">
                  <c:v>-1.09243697478991E-2</c:v>
                </c:pt>
                <c:pt idx="23277">
                  <c:v>-1.09243697478991E-2</c:v>
                </c:pt>
                <c:pt idx="23278">
                  <c:v>-1.09243697478991E-2</c:v>
                </c:pt>
                <c:pt idx="23279">
                  <c:v>-1.09243697478991E-2</c:v>
                </c:pt>
                <c:pt idx="23280">
                  <c:v>-1.09243697478991E-2</c:v>
                </c:pt>
                <c:pt idx="23281">
                  <c:v>-1.09243697478991E-2</c:v>
                </c:pt>
                <c:pt idx="23282">
                  <c:v>-1.09243697478991E-2</c:v>
                </c:pt>
                <c:pt idx="23283">
                  <c:v>-1.09243697478991E-2</c:v>
                </c:pt>
                <c:pt idx="23284">
                  <c:v>-1.09243697478991E-2</c:v>
                </c:pt>
                <c:pt idx="23285">
                  <c:v>-1.09243697478991E-2</c:v>
                </c:pt>
                <c:pt idx="23286">
                  <c:v>-1.09243697478991E-2</c:v>
                </c:pt>
                <c:pt idx="23287">
                  <c:v>-1.09243697478991E-2</c:v>
                </c:pt>
                <c:pt idx="23288">
                  <c:v>-1.09243697478991E-2</c:v>
                </c:pt>
                <c:pt idx="23289">
                  <c:v>-1.09243697478991E-2</c:v>
                </c:pt>
                <c:pt idx="23290">
                  <c:v>-1.09243697478991E-2</c:v>
                </c:pt>
                <c:pt idx="23291">
                  <c:v>-1.09243697478991E-2</c:v>
                </c:pt>
                <c:pt idx="23292">
                  <c:v>-1.09243697478991E-2</c:v>
                </c:pt>
                <c:pt idx="23293">
                  <c:v>-1.09243697478991E-2</c:v>
                </c:pt>
                <c:pt idx="23294">
                  <c:v>-1.09243697478991E-2</c:v>
                </c:pt>
                <c:pt idx="23295">
                  <c:v>-1.1764705882352899E-2</c:v>
                </c:pt>
                <c:pt idx="23296">
                  <c:v>-1.1764705882352899E-2</c:v>
                </c:pt>
                <c:pt idx="23297">
                  <c:v>-1.1764705882352899E-2</c:v>
                </c:pt>
                <c:pt idx="23298">
                  <c:v>-1.1764705882352899E-2</c:v>
                </c:pt>
                <c:pt idx="23299">
                  <c:v>-1.1764705882352899E-2</c:v>
                </c:pt>
                <c:pt idx="23300">
                  <c:v>-1.1764705882352899E-2</c:v>
                </c:pt>
                <c:pt idx="23301">
                  <c:v>-1.1764705882352899E-2</c:v>
                </c:pt>
                <c:pt idx="23302">
                  <c:v>-1.1764705882352899E-2</c:v>
                </c:pt>
                <c:pt idx="23303">
                  <c:v>-1.26050420168066E-2</c:v>
                </c:pt>
                <c:pt idx="23304">
                  <c:v>-1.26050420168066E-2</c:v>
                </c:pt>
                <c:pt idx="23305">
                  <c:v>-1.26050420168066E-2</c:v>
                </c:pt>
                <c:pt idx="23306">
                  <c:v>-1.3445378151260399E-2</c:v>
                </c:pt>
                <c:pt idx="23307">
                  <c:v>-1.3445378151260399E-2</c:v>
                </c:pt>
                <c:pt idx="23308">
                  <c:v>-1.3445378151260399E-2</c:v>
                </c:pt>
                <c:pt idx="23309">
                  <c:v>-1.3445378151260399E-2</c:v>
                </c:pt>
                <c:pt idx="23310">
                  <c:v>-1.3445378151260399E-2</c:v>
                </c:pt>
                <c:pt idx="23311">
                  <c:v>-1.3445378151260399E-2</c:v>
                </c:pt>
                <c:pt idx="23312">
                  <c:v>-1.3445378151260399E-2</c:v>
                </c:pt>
                <c:pt idx="23313">
                  <c:v>-1.3445378151260399E-2</c:v>
                </c:pt>
                <c:pt idx="23314">
                  <c:v>-1.3445378151260399E-2</c:v>
                </c:pt>
                <c:pt idx="23315">
                  <c:v>-1.3445378151260399E-2</c:v>
                </c:pt>
                <c:pt idx="23316">
                  <c:v>-1.3445378151260399E-2</c:v>
                </c:pt>
                <c:pt idx="23317">
                  <c:v>-1.3445378151260399E-2</c:v>
                </c:pt>
                <c:pt idx="23318">
                  <c:v>-1.3445378151260399E-2</c:v>
                </c:pt>
                <c:pt idx="23319">
                  <c:v>-1.3445378151260399E-2</c:v>
                </c:pt>
                <c:pt idx="23320">
                  <c:v>-1.3445378151260399E-2</c:v>
                </c:pt>
                <c:pt idx="23321">
                  <c:v>-1.3445378151260399E-2</c:v>
                </c:pt>
                <c:pt idx="23322">
                  <c:v>-1.3445378151260399E-2</c:v>
                </c:pt>
                <c:pt idx="23323">
                  <c:v>-1.3445378151260399E-2</c:v>
                </c:pt>
                <c:pt idx="23324">
                  <c:v>-1.3445378151260399E-2</c:v>
                </c:pt>
                <c:pt idx="23325">
                  <c:v>-1.3445378151260399E-2</c:v>
                </c:pt>
                <c:pt idx="23326">
                  <c:v>-1.3445378151260399E-2</c:v>
                </c:pt>
                <c:pt idx="23327">
                  <c:v>-1.3445378151260399E-2</c:v>
                </c:pt>
                <c:pt idx="23328">
                  <c:v>-1.3445378151260399E-2</c:v>
                </c:pt>
                <c:pt idx="23329">
                  <c:v>-1.3445378151260399E-2</c:v>
                </c:pt>
                <c:pt idx="23330">
                  <c:v>-1.3445378151260399E-2</c:v>
                </c:pt>
                <c:pt idx="23331">
                  <c:v>-1.3445378151260399E-2</c:v>
                </c:pt>
                <c:pt idx="23332">
                  <c:v>-1.3445378151260399E-2</c:v>
                </c:pt>
                <c:pt idx="23333">
                  <c:v>-1.3445378151260399E-2</c:v>
                </c:pt>
                <c:pt idx="23334">
                  <c:v>-1.3445378151260399E-2</c:v>
                </c:pt>
                <c:pt idx="23335">
                  <c:v>-1.3445378151260399E-2</c:v>
                </c:pt>
                <c:pt idx="23336">
                  <c:v>-1.3445378151260399E-2</c:v>
                </c:pt>
                <c:pt idx="23337">
                  <c:v>-1.3445378151260399E-2</c:v>
                </c:pt>
                <c:pt idx="23338">
                  <c:v>-1.3445378151260399E-2</c:v>
                </c:pt>
                <c:pt idx="23339">
                  <c:v>-1.3445378151260399E-2</c:v>
                </c:pt>
                <c:pt idx="23340">
                  <c:v>-1.3445378151260399E-2</c:v>
                </c:pt>
                <c:pt idx="23341">
                  <c:v>-1.3445378151260399E-2</c:v>
                </c:pt>
                <c:pt idx="23342">
                  <c:v>-1.3445378151260399E-2</c:v>
                </c:pt>
                <c:pt idx="23343">
                  <c:v>-1.3445378151260399E-2</c:v>
                </c:pt>
                <c:pt idx="23344">
                  <c:v>-1.3445378151260399E-2</c:v>
                </c:pt>
                <c:pt idx="23345">
                  <c:v>-1.3445378151260399E-2</c:v>
                </c:pt>
                <c:pt idx="23346">
                  <c:v>-1.3445378151260399E-2</c:v>
                </c:pt>
                <c:pt idx="23347">
                  <c:v>-1.3445378151260399E-2</c:v>
                </c:pt>
                <c:pt idx="23348">
                  <c:v>-1.3445378151260399E-2</c:v>
                </c:pt>
                <c:pt idx="23349">
                  <c:v>-1.3445378151260399E-2</c:v>
                </c:pt>
                <c:pt idx="23350">
                  <c:v>-1.3445378151260399E-2</c:v>
                </c:pt>
                <c:pt idx="23351">
                  <c:v>-1.3445378151260399E-2</c:v>
                </c:pt>
                <c:pt idx="23352">
                  <c:v>-1.3445378151260399E-2</c:v>
                </c:pt>
                <c:pt idx="23353">
                  <c:v>-1.26050420168066E-2</c:v>
                </c:pt>
                <c:pt idx="23354">
                  <c:v>-1.26050420168066E-2</c:v>
                </c:pt>
                <c:pt idx="23355">
                  <c:v>-1.26050420168066E-2</c:v>
                </c:pt>
                <c:pt idx="23356">
                  <c:v>-1.26050420168066E-2</c:v>
                </c:pt>
                <c:pt idx="23357">
                  <c:v>-1.26050420168066E-2</c:v>
                </c:pt>
                <c:pt idx="23358">
                  <c:v>-1.26050420168066E-2</c:v>
                </c:pt>
                <c:pt idx="23359">
                  <c:v>-1.26050420168066E-2</c:v>
                </c:pt>
                <c:pt idx="23360">
                  <c:v>-1.26050420168066E-2</c:v>
                </c:pt>
                <c:pt idx="23361">
                  <c:v>-1.26050420168066E-2</c:v>
                </c:pt>
                <c:pt idx="23362">
                  <c:v>-1.26050420168066E-2</c:v>
                </c:pt>
                <c:pt idx="23363">
                  <c:v>-1.26050420168066E-2</c:v>
                </c:pt>
                <c:pt idx="23364">
                  <c:v>-1.26050420168066E-2</c:v>
                </c:pt>
                <c:pt idx="23365">
                  <c:v>-1.26050420168066E-2</c:v>
                </c:pt>
                <c:pt idx="23366">
                  <c:v>-1.26050420168066E-2</c:v>
                </c:pt>
                <c:pt idx="23367">
                  <c:v>-1.26050420168066E-2</c:v>
                </c:pt>
                <c:pt idx="23368">
                  <c:v>-1.26050420168066E-2</c:v>
                </c:pt>
                <c:pt idx="23369">
                  <c:v>-1.26050420168066E-2</c:v>
                </c:pt>
                <c:pt idx="23370">
                  <c:v>-1.26050420168066E-2</c:v>
                </c:pt>
                <c:pt idx="23371">
                  <c:v>-1.26050420168066E-2</c:v>
                </c:pt>
                <c:pt idx="23372">
                  <c:v>-1.26050420168066E-2</c:v>
                </c:pt>
                <c:pt idx="23373">
                  <c:v>-1.26050420168066E-2</c:v>
                </c:pt>
                <c:pt idx="23374">
                  <c:v>-1.26050420168066E-2</c:v>
                </c:pt>
                <c:pt idx="23375">
                  <c:v>-1.26050420168066E-2</c:v>
                </c:pt>
                <c:pt idx="23376">
                  <c:v>-1.26050420168066E-2</c:v>
                </c:pt>
                <c:pt idx="23377">
                  <c:v>-1.26050420168066E-2</c:v>
                </c:pt>
                <c:pt idx="23378">
                  <c:v>-1.26050420168066E-2</c:v>
                </c:pt>
                <c:pt idx="23379">
                  <c:v>-1.26050420168066E-2</c:v>
                </c:pt>
                <c:pt idx="23380">
                  <c:v>-1.26050420168066E-2</c:v>
                </c:pt>
                <c:pt idx="23381">
                  <c:v>-1.26050420168066E-2</c:v>
                </c:pt>
                <c:pt idx="23382">
                  <c:v>-1.26050420168066E-2</c:v>
                </c:pt>
                <c:pt idx="23383">
                  <c:v>-1.26050420168066E-2</c:v>
                </c:pt>
                <c:pt idx="23384">
                  <c:v>-1.26050420168066E-2</c:v>
                </c:pt>
                <c:pt idx="23385">
                  <c:v>-1.26050420168066E-2</c:v>
                </c:pt>
                <c:pt idx="23386">
                  <c:v>-1.26050420168066E-2</c:v>
                </c:pt>
                <c:pt idx="23387">
                  <c:v>-1.26050420168066E-2</c:v>
                </c:pt>
                <c:pt idx="23388">
                  <c:v>-1.26050420168066E-2</c:v>
                </c:pt>
                <c:pt idx="23389">
                  <c:v>-1.26050420168066E-2</c:v>
                </c:pt>
                <c:pt idx="23390">
                  <c:v>-1.1764705882352899E-2</c:v>
                </c:pt>
                <c:pt idx="23391">
                  <c:v>-1.1764705882352899E-2</c:v>
                </c:pt>
                <c:pt idx="23392">
                  <c:v>-1.1764705882352899E-2</c:v>
                </c:pt>
                <c:pt idx="23393">
                  <c:v>-1.1764705882352899E-2</c:v>
                </c:pt>
                <c:pt idx="23394">
                  <c:v>-1.1764705882352899E-2</c:v>
                </c:pt>
                <c:pt idx="23395">
                  <c:v>-1.1764705882352899E-2</c:v>
                </c:pt>
                <c:pt idx="23396">
                  <c:v>-1.1764705882352899E-2</c:v>
                </c:pt>
                <c:pt idx="23397">
                  <c:v>-1.1764705882352899E-2</c:v>
                </c:pt>
                <c:pt idx="23398">
                  <c:v>-1.1764705882352899E-2</c:v>
                </c:pt>
                <c:pt idx="23399">
                  <c:v>-1.1764705882352899E-2</c:v>
                </c:pt>
                <c:pt idx="23400">
                  <c:v>-1.1764705882352899E-2</c:v>
                </c:pt>
                <c:pt idx="23401">
                  <c:v>-1.1764705882352899E-2</c:v>
                </c:pt>
                <c:pt idx="23402">
                  <c:v>-1.1764705882352899E-2</c:v>
                </c:pt>
                <c:pt idx="23403">
                  <c:v>-1.1764705882352899E-2</c:v>
                </c:pt>
                <c:pt idx="23404">
                  <c:v>-1.1764705882352899E-2</c:v>
                </c:pt>
                <c:pt idx="23405">
                  <c:v>-1.1764705882352899E-2</c:v>
                </c:pt>
                <c:pt idx="23406">
                  <c:v>-1.1764705882352899E-2</c:v>
                </c:pt>
                <c:pt idx="23407">
                  <c:v>-1.1764705882352899E-2</c:v>
                </c:pt>
                <c:pt idx="23408">
                  <c:v>-1.1764705882352899E-2</c:v>
                </c:pt>
                <c:pt idx="23409">
                  <c:v>-1.1764705882352899E-2</c:v>
                </c:pt>
                <c:pt idx="23410">
                  <c:v>-1.1764705882352899E-2</c:v>
                </c:pt>
                <c:pt idx="23411">
                  <c:v>-1.1764705882352899E-2</c:v>
                </c:pt>
                <c:pt idx="23412">
                  <c:v>-1.1764705882352899E-2</c:v>
                </c:pt>
                <c:pt idx="23413">
                  <c:v>-1.1764705882352899E-2</c:v>
                </c:pt>
                <c:pt idx="23414">
                  <c:v>-1.1764705882352899E-2</c:v>
                </c:pt>
                <c:pt idx="23415">
                  <c:v>-1.1764705882352899E-2</c:v>
                </c:pt>
                <c:pt idx="23416">
                  <c:v>-1.1764705882352899E-2</c:v>
                </c:pt>
                <c:pt idx="23417">
                  <c:v>-1.1764705882352899E-2</c:v>
                </c:pt>
                <c:pt idx="23418">
                  <c:v>-1.1764705882352899E-2</c:v>
                </c:pt>
                <c:pt idx="23419">
                  <c:v>-1.1764705882352899E-2</c:v>
                </c:pt>
                <c:pt idx="23420">
                  <c:v>-1.1764705882352899E-2</c:v>
                </c:pt>
                <c:pt idx="23421">
                  <c:v>-1.1764705882352899E-2</c:v>
                </c:pt>
                <c:pt idx="23422">
                  <c:v>-1.1764705882352899E-2</c:v>
                </c:pt>
                <c:pt idx="23423">
                  <c:v>-1.1764705882352899E-2</c:v>
                </c:pt>
                <c:pt idx="23424">
                  <c:v>-1.1764705882352899E-2</c:v>
                </c:pt>
                <c:pt idx="23425">
                  <c:v>-1.1764705882352899E-2</c:v>
                </c:pt>
                <c:pt idx="23426">
                  <c:v>-1.1764705882352899E-2</c:v>
                </c:pt>
                <c:pt idx="23427">
                  <c:v>-1.1764705882352899E-2</c:v>
                </c:pt>
                <c:pt idx="23428">
                  <c:v>-1.1764705882352899E-2</c:v>
                </c:pt>
                <c:pt idx="23429">
                  <c:v>-1.1764705882352899E-2</c:v>
                </c:pt>
                <c:pt idx="23430">
                  <c:v>-1.1764705882352899E-2</c:v>
                </c:pt>
                <c:pt idx="23431">
                  <c:v>-1.1764705882352899E-2</c:v>
                </c:pt>
                <c:pt idx="23432">
                  <c:v>-1.1764705882352899E-2</c:v>
                </c:pt>
                <c:pt idx="23433">
                  <c:v>-1.1764705882352899E-2</c:v>
                </c:pt>
                <c:pt idx="23434">
                  <c:v>-1.1764705882352899E-2</c:v>
                </c:pt>
                <c:pt idx="23435">
                  <c:v>-1.1764705882352899E-2</c:v>
                </c:pt>
                <c:pt idx="23436">
                  <c:v>-1.1764705882352899E-2</c:v>
                </c:pt>
                <c:pt idx="23437">
                  <c:v>-1.1764705882352899E-2</c:v>
                </c:pt>
                <c:pt idx="23438">
                  <c:v>-1.1764705882352899E-2</c:v>
                </c:pt>
                <c:pt idx="23439">
                  <c:v>-1.1764705882352899E-2</c:v>
                </c:pt>
                <c:pt idx="23440">
                  <c:v>-1.1764705882352899E-2</c:v>
                </c:pt>
                <c:pt idx="23441">
                  <c:v>-1.1764705882352899E-2</c:v>
                </c:pt>
                <c:pt idx="23442">
                  <c:v>-1.1764705882352899E-2</c:v>
                </c:pt>
                <c:pt idx="23443">
                  <c:v>-1.1764705882352899E-2</c:v>
                </c:pt>
                <c:pt idx="23444">
                  <c:v>-1.1764705882352899E-2</c:v>
                </c:pt>
                <c:pt idx="23445">
                  <c:v>-1.1764705882352899E-2</c:v>
                </c:pt>
                <c:pt idx="23446">
                  <c:v>-1.1764705882352899E-2</c:v>
                </c:pt>
                <c:pt idx="23447">
                  <c:v>-1.1764705882352899E-2</c:v>
                </c:pt>
                <c:pt idx="23448">
                  <c:v>-1.1764705882352899E-2</c:v>
                </c:pt>
                <c:pt idx="23449">
                  <c:v>-1.1764705882352899E-2</c:v>
                </c:pt>
                <c:pt idx="23450">
                  <c:v>-1.1764705882352899E-2</c:v>
                </c:pt>
                <c:pt idx="23451">
                  <c:v>-1.1764705882352899E-2</c:v>
                </c:pt>
                <c:pt idx="23452">
                  <c:v>-1.1764705882352899E-2</c:v>
                </c:pt>
                <c:pt idx="23453">
                  <c:v>-1.1764705882352899E-2</c:v>
                </c:pt>
                <c:pt idx="23454">
                  <c:v>-1.1764705882352899E-2</c:v>
                </c:pt>
                <c:pt idx="23455">
                  <c:v>-1.1764705882352899E-2</c:v>
                </c:pt>
                <c:pt idx="23456">
                  <c:v>-1.1764705882352899E-2</c:v>
                </c:pt>
                <c:pt idx="23457">
                  <c:v>-1.1764705882352899E-2</c:v>
                </c:pt>
                <c:pt idx="23458">
                  <c:v>-1.1764705882352899E-2</c:v>
                </c:pt>
                <c:pt idx="23459">
                  <c:v>-1.1764705882352899E-2</c:v>
                </c:pt>
                <c:pt idx="23460">
                  <c:v>-1.1764705882352899E-2</c:v>
                </c:pt>
                <c:pt idx="23461">
                  <c:v>-1.1764705882352899E-2</c:v>
                </c:pt>
                <c:pt idx="23462">
                  <c:v>-1.1764705882352899E-2</c:v>
                </c:pt>
                <c:pt idx="23463">
                  <c:v>-1.1764705882352899E-2</c:v>
                </c:pt>
                <c:pt idx="23464">
                  <c:v>-1.1764705882352899E-2</c:v>
                </c:pt>
                <c:pt idx="23465">
                  <c:v>-1.1764705882352899E-2</c:v>
                </c:pt>
                <c:pt idx="23466">
                  <c:v>-1.1764705882352899E-2</c:v>
                </c:pt>
                <c:pt idx="23467">
                  <c:v>-1.1764705882352899E-2</c:v>
                </c:pt>
                <c:pt idx="23468">
                  <c:v>-1.1764705882352899E-2</c:v>
                </c:pt>
                <c:pt idx="23469">
                  <c:v>-1.1764705882352899E-2</c:v>
                </c:pt>
                <c:pt idx="23470">
                  <c:v>-1.1764705882352899E-2</c:v>
                </c:pt>
                <c:pt idx="23471">
                  <c:v>-1.1764705882352899E-2</c:v>
                </c:pt>
                <c:pt idx="23472">
                  <c:v>-1.1764705882352899E-2</c:v>
                </c:pt>
                <c:pt idx="23473">
                  <c:v>-1.1764705882352899E-2</c:v>
                </c:pt>
                <c:pt idx="23474">
                  <c:v>-1.1764705882352899E-2</c:v>
                </c:pt>
                <c:pt idx="23475">
                  <c:v>-1.1764705882352899E-2</c:v>
                </c:pt>
                <c:pt idx="23476">
                  <c:v>-1.1764705882352899E-2</c:v>
                </c:pt>
                <c:pt idx="23477">
                  <c:v>-1.1764705882352899E-2</c:v>
                </c:pt>
                <c:pt idx="23478">
                  <c:v>-1.1764705882352899E-2</c:v>
                </c:pt>
                <c:pt idx="23479">
                  <c:v>-1.1764705882352899E-2</c:v>
                </c:pt>
                <c:pt idx="23480">
                  <c:v>-1.1764705882352899E-2</c:v>
                </c:pt>
                <c:pt idx="23481">
                  <c:v>-1.1764705882352899E-2</c:v>
                </c:pt>
                <c:pt idx="23482">
                  <c:v>-1.1764705882352899E-2</c:v>
                </c:pt>
                <c:pt idx="23483">
                  <c:v>-1.1764705882352899E-2</c:v>
                </c:pt>
                <c:pt idx="23484">
                  <c:v>-1.1764705882352899E-2</c:v>
                </c:pt>
                <c:pt idx="23485">
                  <c:v>-1.1764705882352899E-2</c:v>
                </c:pt>
                <c:pt idx="23486">
                  <c:v>-1.1764705882352899E-2</c:v>
                </c:pt>
                <c:pt idx="23487">
                  <c:v>-1.1764705882352899E-2</c:v>
                </c:pt>
                <c:pt idx="23488">
                  <c:v>-1.1764705882352899E-2</c:v>
                </c:pt>
                <c:pt idx="23489">
                  <c:v>-1.1764705882352899E-2</c:v>
                </c:pt>
                <c:pt idx="23490">
                  <c:v>-1.1764705882352899E-2</c:v>
                </c:pt>
                <c:pt idx="23491">
                  <c:v>-1.1764705882352899E-2</c:v>
                </c:pt>
                <c:pt idx="23492">
                  <c:v>-1.1764705882352899E-2</c:v>
                </c:pt>
                <c:pt idx="23493">
                  <c:v>-1.1764705882352899E-2</c:v>
                </c:pt>
                <c:pt idx="23494">
                  <c:v>-1.1764705882352899E-2</c:v>
                </c:pt>
                <c:pt idx="23495">
                  <c:v>-1.1764705882352899E-2</c:v>
                </c:pt>
                <c:pt idx="23496">
                  <c:v>-1.1764705882352899E-2</c:v>
                </c:pt>
                <c:pt idx="23497">
                  <c:v>-1.1764705882352899E-2</c:v>
                </c:pt>
                <c:pt idx="23498">
                  <c:v>-1.1764705882352899E-2</c:v>
                </c:pt>
                <c:pt idx="23499">
                  <c:v>-1.1764705882352899E-2</c:v>
                </c:pt>
                <c:pt idx="23500">
                  <c:v>-1.1764705882352899E-2</c:v>
                </c:pt>
                <c:pt idx="23501">
                  <c:v>-1.1764705882352899E-2</c:v>
                </c:pt>
                <c:pt idx="23502">
                  <c:v>-1.1764705882352899E-2</c:v>
                </c:pt>
                <c:pt idx="23503">
                  <c:v>-1.1764705882352899E-2</c:v>
                </c:pt>
                <c:pt idx="23504">
                  <c:v>-1.1764705882352899E-2</c:v>
                </c:pt>
                <c:pt idx="23505">
                  <c:v>-1.1764705882352899E-2</c:v>
                </c:pt>
                <c:pt idx="23506">
                  <c:v>-1.1764705882352899E-2</c:v>
                </c:pt>
                <c:pt idx="23507">
                  <c:v>-1.1764705882352899E-2</c:v>
                </c:pt>
                <c:pt idx="23508">
                  <c:v>-1.1764705882352899E-2</c:v>
                </c:pt>
                <c:pt idx="23509">
                  <c:v>-1.1764705882352899E-2</c:v>
                </c:pt>
                <c:pt idx="23510">
                  <c:v>-1.1764705882352899E-2</c:v>
                </c:pt>
                <c:pt idx="23511">
                  <c:v>-1.1764705882352899E-2</c:v>
                </c:pt>
                <c:pt idx="23512">
                  <c:v>-1.1764705882352899E-2</c:v>
                </c:pt>
                <c:pt idx="23513">
                  <c:v>-1.1764705882352899E-2</c:v>
                </c:pt>
                <c:pt idx="23514">
                  <c:v>-1.1764705882352899E-2</c:v>
                </c:pt>
                <c:pt idx="23515">
                  <c:v>-1.1764705882352899E-2</c:v>
                </c:pt>
                <c:pt idx="23516">
                  <c:v>-1.1764705882352899E-2</c:v>
                </c:pt>
                <c:pt idx="23517">
                  <c:v>-1.1764705882352899E-2</c:v>
                </c:pt>
                <c:pt idx="23518">
                  <c:v>-1.1764705882352899E-2</c:v>
                </c:pt>
                <c:pt idx="23519">
                  <c:v>-1.1764705882352899E-2</c:v>
                </c:pt>
                <c:pt idx="23520">
                  <c:v>-1.1764705882352899E-2</c:v>
                </c:pt>
                <c:pt idx="23521">
                  <c:v>-1.1764705882352899E-2</c:v>
                </c:pt>
                <c:pt idx="23522">
                  <c:v>-1.1764705882352899E-2</c:v>
                </c:pt>
                <c:pt idx="23523">
                  <c:v>-1.1764705882352899E-2</c:v>
                </c:pt>
                <c:pt idx="23524">
                  <c:v>-1.1764705882352899E-2</c:v>
                </c:pt>
                <c:pt idx="23525">
                  <c:v>-1.1764705882352899E-2</c:v>
                </c:pt>
                <c:pt idx="23526">
                  <c:v>-1.1764705882352899E-2</c:v>
                </c:pt>
                <c:pt idx="23527">
                  <c:v>-1.1764705882352899E-2</c:v>
                </c:pt>
                <c:pt idx="23528">
                  <c:v>-1.1764705882352899E-2</c:v>
                </c:pt>
                <c:pt idx="23529">
                  <c:v>-1.09243697478991E-2</c:v>
                </c:pt>
                <c:pt idx="23530">
                  <c:v>-1.09243697478991E-2</c:v>
                </c:pt>
                <c:pt idx="23531">
                  <c:v>-1.09243697478991E-2</c:v>
                </c:pt>
                <c:pt idx="23532">
                  <c:v>-1.09243697478991E-2</c:v>
                </c:pt>
                <c:pt idx="23533">
                  <c:v>-1.09243697478991E-2</c:v>
                </c:pt>
                <c:pt idx="23534">
                  <c:v>-1.09243697478991E-2</c:v>
                </c:pt>
                <c:pt idx="23535">
                  <c:v>-1.09243697478991E-2</c:v>
                </c:pt>
                <c:pt idx="23536">
                  <c:v>-1.09243697478991E-2</c:v>
                </c:pt>
                <c:pt idx="23537">
                  <c:v>-1.09243697478991E-2</c:v>
                </c:pt>
                <c:pt idx="23538">
                  <c:v>-1.09243697478991E-2</c:v>
                </c:pt>
                <c:pt idx="23539">
                  <c:v>-1.09243697478991E-2</c:v>
                </c:pt>
                <c:pt idx="23540">
                  <c:v>-1.09243697478991E-2</c:v>
                </c:pt>
                <c:pt idx="23541">
                  <c:v>-1.09243697478991E-2</c:v>
                </c:pt>
                <c:pt idx="23542">
                  <c:v>-1.09243697478991E-2</c:v>
                </c:pt>
                <c:pt idx="23543">
                  <c:v>-1.09243697478991E-2</c:v>
                </c:pt>
                <c:pt idx="23544">
                  <c:v>-1.1764705882352899E-2</c:v>
                </c:pt>
                <c:pt idx="23545">
                  <c:v>-1.1764705882352899E-2</c:v>
                </c:pt>
                <c:pt idx="23546">
                  <c:v>-1.1764705882352899E-2</c:v>
                </c:pt>
                <c:pt idx="23547">
                  <c:v>-1.1764705882352899E-2</c:v>
                </c:pt>
                <c:pt idx="23548">
                  <c:v>-1.1764705882352899E-2</c:v>
                </c:pt>
                <c:pt idx="23549">
                  <c:v>-1.1764705882352899E-2</c:v>
                </c:pt>
                <c:pt idx="23550">
                  <c:v>-1.1764705882352899E-2</c:v>
                </c:pt>
                <c:pt idx="23551">
                  <c:v>-1.1764705882352899E-2</c:v>
                </c:pt>
                <c:pt idx="23552">
                  <c:v>-1.1764705882352899E-2</c:v>
                </c:pt>
                <c:pt idx="23553">
                  <c:v>-1.1764705882352899E-2</c:v>
                </c:pt>
                <c:pt idx="23554">
                  <c:v>-1.1764705882352899E-2</c:v>
                </c:pt>
                <c:pt idx="23555">
                  <c:v>-1.1764705882352899E-2</c:v>
                </c:pt>
                <c:pt idx="23556">
                  <c:v>-1.1764705882352899E-2</c:v>
                </c:pt>
                <c:pt idx="23557">
                  <c:v>-1.1764705882352899E-2</c:v>
                </c:pt>
                <c:pt idx="23558">
                  <c:v>-1.1764705882352899E-2</c:v>
                </c:pt>
                <c:pt idx="23559">
                  <c:v>-1.1764705882352899E-2</c:v>
                </c:pt>
                <c:pt idx="23560">
                  <c:v>-1.1764705882352899E-2</c:v>
                </c:pt>
                <c:pt idx="23561">
                  <c:v>-1.1764705882352899E-2</c:v>
                </c:pt>
                <c:pt idx="23562">
                  <c:v>-1.1764705882352899E-2</c:v>
                </c:pt>
                <c:pt idx="23563">
                  <c:v>-1.1764705882352899E-2</c:v>
                </c:pt>
                <c:pt idx="23564">
                  <c:v>-1.1764705882352899E-2</c:v>
                </c:pt>
                <c:pt idx="23565">
                  <c:v>-1.1764705882352899E-2</c:v>
                </c:pt>
                <c:pt idx="23566">
                  <c:v>-1.1764705882352899E-2</c:v>
                </c:pt>
                <c:pt idx="23567">
                  <c:v>-1.1764705882352899E-2</c:v>
                </c:pt>
                <c:pt idx="23568">
                  <c:v>-1.1764705882352899E-2</c:v>
                </c:pt>
                <c:pt idx="23569">
                  <c:v>-1.1764705882352899E-2</c:v>
                </c:pt>
                <c:pt idx="23570">
                  <c:v>-1.1764705882352899E-2</c:v>
                </c:pt>
                <c:pt idx="23571">
                  <c:v>-1.1764705882352899E-2</c:v>
                </c:pt>
                <c:pt idx="23572">
                  <c:v>-1.1764705882352899E-2</c:v>
                </c:pt>
                <c:pt idx="23573">
                  <c:v>-1.1764705882352899E-2</c:v>
                </c:pt>
                <c:pt idx="23574">
                  <c:v>-1.1764705882352899E-2</c:v>
                </c:pt>
                <c:pt idx="23575">
                  <c:v>-1.1764705882352899E-2</c:v>
                </c:pt>
                <c:pt idx="23576">
                  <c:v>-1.1764705882352899E-2</c:v>
                </c:pt>
                <c:pt idx="23577">
                  <c:v>-1.1764705882352899E-2</c:v>
                </c:pt>
                <c:pt idx="23578">
                  <c:v>-1.1764705882352899E-2</c:v>
                </c:pt>
                <c:pt idx="23579">
                  <c:v>-1.1764705882352899E-2</c:v>
                </c:pt>
                <c:pt idx="23580">
                  <c:v>-1.1764705882352899E-2</c:v>
                </c:pt>
                <c:pt idx="23581">
                  <c:v>-1.1764705882352899E-2</c:v>
                </c:pt>
                <c:pt idx="23582">
                  <c:v>-1.1764705882352899E-2</c:v>
                </c:pt>
                <c:pt idx="23583">
                  <c:v>-1.1764705882352899E-2</c:v>
                </c:pt>
                <c:pt idx="23584">
                  <c:v>-1.1764705882352899E-2</c:v>
                </c:pt>
                <c:pt idx="23585">
                  <c:v>-1.1764705882352899E-2</c:v>
                </c:pt>
                <c:pt idx="23586">
                  <c:v>-1.1764705882352899E-2</c:v>
                </c:pt>
                <c:pt idx="23587">
                  <c:v>-1.1764705882352899E-2</c:v>
                </c:pt>
                <c:pt idx="23588">
                  <c:v>-1.1764705882352899E-2</c:v>
                </c:pt>
                <c:pt idx="23589">
                  <c:v>-1.1764705882352899E-2</c:v>
                </c:pt>
                <c:pt idx="23590">
                  <c:v>-1.1764705882352899E-2</c:v>
                </c:pt>
                <c:pt idx="23591">
                  <c:v>-1.1764705882352899E-2</c:v>
                </c:pt>
                <c:pt idx="23592">
                  <c:v>-1.1764705882352899E-2</c:v>
                </c:pt>
                <c:pt idx="23593">
                  <c:v>-1.1764705882352899E-2</c:v>
                </c:pt>
                <c:pt idx="23594">
                  <c:v>-1.09243697478991E-2</c:v>
                </c:pt>
                <c:pt idx="23595">
                  <c:v>-1.09243697478991E-2</c:v>
                </c:pt>
                <c:pt idx="23596">
                  <c:v>-1.09243697478991E-2</c:v>
                </c:pt>
                <c:pt idx="23597">
                  <c:v>-1.09243697478991E-2</c:v>
                </c:pt>
                <c:pt idx="23598">
                  <c:v>-1.09243697478991E-2</c:v>
                </c:pt>
                <c:pt idx="23599">
                  <c:v>-1.09243697478991E-2</c:v>
                </c:pt>
                <c:pt idx="23600">
                  <c:v>-1.09243697478991E-2</c:v>
                </c:pt>
                <c:pt idx="23601">
                  <c:v>-1.09243697478991E-2</c:v>
                </c:pt>
                <c:pt idx="23602">
                  <c:v>-1.09243697478991E-2</c:v>
                </c:pt>
                <c:pt idx="23603">
                  <c:v>-1.09243697478991E-2</c:v>
                </c:pt>
                <c:pt idx="23604">
                  <c:v>-1.09243697478991E-2</c:v>
                </c:pt>
                <c:pt idx="23605">
                  <c:v>-1.09243697478991E-2</c:v>
                </c:pt>
                <c:pt idx="23606">
                  <c:v>-1.09243697478991E-2</c:v>
                </c:pt>
                <c:pt idx="23607">
                  <c:v>-1.09243697478991E-2</c:v>
                </c:pt>
                <c:pt idx="23608">
                  <c:v>-1.09243697478991E-2</c:v>
                </c:pt>
                <c:pt idx="23609">
                  <c:v>-1.09243697478991E-2</c:v>
                </c:pt>
                <c:pt idx="23610">
                  <c:v>-1.09243697478991E-2</c:v>
                </c:pt>
                <c:pt idx="23611">
                  <c:v>-1.09243697478991E-2</c:v>
                </c:pt>
                <c:pt idx="23612">
                  <c:v>-1.09243697478991E-2</c:v>
                </c:pt>
                <c:pt idx="23613">
                  <c:v>-1.09243697478991E-2</c:v>
                </c:pt>
                <c:pt idx="23614">
                  <c:v>-1.09243697478991E-2</c:v>
                </c:pt>
                <c:pt idx="23615">
                  <c:v>-1.09243697478991E-2</c:v>
                </c:pt>
                <c:pt idx="23616">
                  <c:v>-1.09243697478991E-2</c:v>
                </c:pt>
                <c:pt idx="23617">
                  <c:v>-1.09243697478991E-2</c:v>
                </c:pt>
                <c:pt idx="23618">
                  <c:v>-1.09243697478991E-2</c:v>
                </c:pt>
                <c:pt idx="23619">
                  <c:v>-1.09243697478991E-2</c:v>
                </c:pt>
                <c:pt idx="23620">
                  <c:v>-1.09243697478991E-2</c:v>
                </c:pt>
                <c:pt idx="23621">
                  <c:v>-1.09243697478991E-2</c:v>
                </c:pt>
                <c:pt idx="23622">
                  <c:v>-1.09243697478991E-2</c:v>
                </c:pt>
                <c:pt idx="23623">
                  <c:v>-1.09243697478991E-2</c:v>
                </c:pt>
                <c:pt idx="23624">
                  <c:v>-1.09243697478991E-2</c:v>
                </c:pt>
                <c:pt idx="23625">
                  <c:v>-1.09243697478991E-2</c:v>
                </c:pt>
                <c:pt idx="23626">
                  <c:v>-1.09243697478991E-2</c:v>
                </c:pt>
                <c:pt idx="23627">
                  <c:v>-1.09243697478991E-2</c:v>
                </c:pt>
                <c:pt idx="23628">
                  <c:v>-1.09243697478991E-2</c:v>
                </c:pt>
                <c:pt idx="23629">
                  <c:v>-1.09243697478991E-2</c:v>
                </c:pt>
                <c:pt idx="23630">
                  <c:v>-1.09243697478991E-2</c:v>
                </c:pt>
                <c:pt idx="23631">
                  <c:v>-1.09243697478991E-2</c:v>
                </c:pt>
                <c:pt idx="23632">
                  <c:v>-1.09243697478991E-2</c:v>
                </c:pt>
                <c:pt idx="23633">
                  <c:v>-1.09243697478991E-2</c:v>
                </c:pt>
                <c:pt idx="23634">
                  <c:v>-1.09243697478991E-2</c:v>
                </c:pt>
                <c:pt idx="23635">
                  <c:v>-1.09243697478991E-2</c:v>
                </c:pt>
                <c:pt idx="23636">
                  <c:v>-1.09243697478991E-2</c:v>
                </c:pt>
                <c:pt idx="23637">
                  <c:v>-1.09243697478991E-2</c:v>
                </c:pt>
                <c:pt idx="23638">
                  <c:v>-1.09243697478991E-2</c:v>
                </c:pt>
                <c:pt idx="23639">
                  <c:v>-1.09243697478991E-2</c:v>
                </c:pt>
                <c:pt idx="23640">
                  <c:v>-1.0084033613445301E-2</c:v>
                </c:pt>
                <c:pt idx="23641">
                  <c:v>-1.0084033613445301E-2</c:v>
                </c:pt>
                <c:pt idx="23642">
                  <c:v>-1.0084033613445301E-2</c:v>
                </c:pt>
                <c:pt idx="23643">
                  <c:v>-1.0084033613445301E-2</c:v>
                </c:pt>
                <c:pt idx="23644">
                  <c:v>-1.0084033613445301E-2</c:v>
                </c:pt>
                <c:pt idx="23645">
                  <c:v>-1.0084033613445301E-2</c:v>
                </c:pt>
                <c:pt idx="23646">
                  <c:v>-1.0084033613445301E-2</c:v>
                </c:pt>
                <c:pt idx="23647">
                  <c:v>-1.0084033613445301E-2</c:v>
                </c:pt>
                <c:pt idx="23648">
                  <c:v>-1.0084033613445301E-2</c:v>
                </c:pt>
                <c:pt idx="23649">
                  <c:v>-1.0084033613445301E-2</c:v>
                </c:pt>
                <c:pt idx="23650">
                  <c:v>-1.0084033613445301E-2</c:v>
                </c:pt>
                <c:pt idx="23651">
                  <c:v>-1.0084033613445301E-2</c:v>
                </c:pt>
                <c:pt idx="23652">
                  <c:v>-1.0084033613445301E-2</c:v>
                </c:pt>
                <c:pt idx="23653">
                  <c:v>-1.0084033613445301E-2</c:v>
                </c:pt>
                <c:pt idx="23654">
                  <c:v>-1.0084033613445301E-2</c:v>
                </c:pt>
                <c:pt idx="23655">
                  <c:v>-1.0084033613445301E-2</c:v>
                </c:pt>
                <c:pt idx="23656">
                  <c:v>-1.0084033613445301E-2</c:v>
                </c:pt>
                <c:pt idx="23657">
                  <c:v>-1.0084033613445301E-2</c:v>
                </c:pt>
                <c:pt idx="23658">
                  <c:v>-1.0084033613445301E-2</c:v>
                </c:pt>
                <c:pt idx="23659">
                  <c:v>-1.0084033613445301E-2</c:v>
                </c:pt>
                <c:pt idx="23660">
                  <c:v>-1.0084033613445301E-2</c:v>
                </c:pt>
                <c:pt idx="23661">
                  <c:v>-1.0084033613445301E-2</c:v>
                </c:pt>
                <c:pt idx="23662">
                  <c:v>-1.0084033613445301E-2</c:v>
                </c:pt>
                <c:pt idx="23663">
                  <c:v>-1.0084033613445301E-2</c:v>
                </c:pt>
                <c:pt idx="23664">
                  <c:v>-1.0084033613445301E-2</c:v>
                </c:pt>
                <c:pt idx="23665">
                  <c:v>-1.0084033613445301E-2</c:v>
                </c:pt>
                <c:pt idx="23666">
                  <c:v>-1.0084033613445301E-2</c:v>
                </c:pt>
                <c:pt idx="23667">
                  <c:v>-1.0084033613445301E-2</c:v>
                </c:pt>
                <c:pt idx="23668">
                  <c:v>-1.0084033613445301E-2</c:v>
                </c:pt>
                <c:pt idx="23669">
                  <c:v>-1.0084033613445301E-2</c:v>
                </c:pt>
                <c:pt idx="23670">
                  <c:v>-1.0084033613445301E-2</c:v>
                </c:pt>
                <c:pt idx="23671">
                  <c:v>-1.0084033613445301E-2</c:v>
                </c:pt>
                <c:pt idx="23672">
                  <c:v>-1.0084033613445301E-2</c:v>
                </c:pt>
                <c:pt idx="23673">
                  <c:v>-1.0084033613445301E-2</c:v>
                </c:pt>
                <c:pt idx="23674">
                  <c:v>-1.0084033613445301E-2</c:v>
                </c:pt>
                <c:pt idx="23675">
                  <c:v>-1.0084033613445301E-2</c:v>
                </c:pt>
                <c:pt idx="23676">
                  <c:v>-1.0084033613445301E-2</c:v>
                </c:pt>
                <c:pt idx="23677">
                  <c:v>-1.0084033613445301E-2</c:v>
                </c:pt>
                <c:pt idx="23678">
                  <c:v>-1.0084033613445301E-2</c:v>
                </c:pt>
                <c:pt idx="23679">
                  <c:v>-1.0084033613445301E-2</c:v>
                </c:pt>
                <c:pt idx="23680">
                  <c:v>-1.0084033613445301E-2</c:v>
                </c:pt>
                <c:pt idx="23681">
                  <c:v>-1.0084033613445301E-2</c:v>
                </c:pt>
                <c:pt idx="23682">
                  <c:v>-9.2436974789915603E-3</c:v>
                </c:pt>
                <c:pt idx="23683">
                  <c:v>-9.2436974789915603E-3</c:v>
                </c:pt>
                <c:pt idx="23684">
                  <c:v>-9.2436974789915603E-3</c:v>
                </c:pt>
                <c:pt idx="23685">
                  <c:v>-9.2436974789915603E-3</c:v>
                </c:pt>
                <c:pt idx="23686">
                  <c:v>-9.2436974789915603E-3</c:v>
                </c:pt>
                <c:pt idx="23687">
                  <c:v>-9.2436974789915603E-3</c:v>
                </c:pt>
                <c:pt idx="23688">
                  <c:v>-9.2436974789915603E-3</c:v>
                </c:pt>
                <c:pt idx="23689">
                  <c:v>-9.2436974789915603E-3</c:v>
                </c:pt>
                <c:pt idx="23690">
                  <c:v>-9.2436974789915603E-3</c:v>
                </c:pt>
                <c:pt idx="23691">
                  <c:v>-9.2436974789915603E-3</c:v>
                </c:pt>
                <c:pt idx="23692">
                  <c:v>-9.2436974789915603E-3</c:v>
                </c:pt>
                <c:pt idx="23693">
                  <c:v>-9.2436974789915603E-3</c:v>
                </c:pt>
                <c:pt idx="23694">
                  <c:v>-9.2436974789915603E-3</c:v>
                </c:pt>
                <c:pt idx="23695">
                  <c:v>-9.2436974789915603E-3</c:v>
                </c:pt>
                <c:pt idx="23696">
                  <c:v>-9.2436974789915603E-3</c:v>
                </c:pt>
                <c:pt idx="23697">
                  <c:v>-1.0084033613445301E-2</c:v>
                </c:pt>
                <c:pt idx="23698">
                  <c:v>-1.0084033613445301E-2</c:v>
                </c:pt>
                <c:pt idx="23699">
                  <c:v>-1.0084033613445301E-2</c:v>
                </c:pt>
                <c:pt idx="23700">
                  <c:v>-1.0084033613445301E-2</c:v>
                </c:pt>
                <c:pt idx="23701">
                  <c:v>-1.0084033613445301E-2</c:v>
                </c:pt>
                <c:pt idx="23702">
                  <c:v>-1.0084033613445301E-2</c:v>
                </c:pt>
                <c:pt idx="23703">
                  <c:v>-1.0084033613445301E-2</c:v>
                </c:pt>
                <c:pt idx="23704">
                  <c:v>-1.0084033613445301E-2</c:v>
                </c:pt>
                <c:pt idx="23705">
                  <c:v>-1.0084033613445301E-2</c:v>
                </c:pt>
                <c:pt idx="23706">
                  <c:v>-1.0084033613445301E-2</c:v>
                </c:pt>
                <c:pt idx="23707">
                  <c:v>-1.0084033613445301E-2</c:v>
                </c:pt>
                <c:pt idx="23708">
                  <c:v>-1.0084033613445301E-2</c:v>
                </c:pt>
                <c:pt idx="23709">
                  <c:v>-1.0084033613445301E-2</c:v>
                </c:pt>
                <c:pt idx="23710">
                  <c:v>-1.0084033613445301E-2</c:v>
                </c:pt>
                <c:pt idx="23711">
                  <c:v>-1.0084033613445301E-2</c:v>
                </c:pt>
                <c:pt idx="23712">
                  <c:v>-1.0084033613445301E-2</c:v>
                </c:pt>
                <c:pt idx="23713">
                  <c:v>-1.0084033613445301E-2</c:v>
                </c:pt>
                <c:pt idx="23714">
                  <c:v>-1.0084033613445301E-2</c:v>
                </c:pt>
                <c:pt idx="23715">
                  <c:v>-1.0084033613445301E-2</c:v>
                </c:pt>
                <c:pt idx="23716">
                  <c:v>-1.0084033613445301E-2</c:v>
                </c:pt>
                <c:pt idx="23717">
                  <c:v>-1.0084033613445301E-2</c:v>
                </c:pt>
                <c:pt idx="23718">
                  <c:v>-1.0084033613445301E-2</c:v>
                </c:pt>
                <c:pt idx="23719">
                  <c:v>-1.0084033613445301E-2</c:v>
                </c:pt>
                <c:pt idx="23720">
                  <c:v>-1.0084033613445301E-2</c:v>
                </c:pt>
                <c:pt idx="23721">
                  <c:v>-1.0084033613445301E-2</c:v>
                </c:pt>
                <c:pt idx="23722">
                  <c:v>-1.0084033613445301E-2</c:v>
                </c:pt>
                <c:pt idx="23723">
                  <c:v>-1.0084033613445301E-2</c:v>
                </c:pt>
                <c:pt idx="23724">
                  <c:v>-1.0084033613445301E-2</c:v>
                </c:pt>
                <c:pt idx="23725">
                  <c:v>-1.0084033613445301E-2</c:v>
                </c:pt>
                <c:pt idx="23726">
                  <c:v>-1.0084033613445301E-2</c:v>
                </c:pt>
                <c:pt idx="23727">
                  <c:v>-1.0084033613445301E-2</c:v>
                </c:pt>
                <c:pt idx="23728">
                  <c:v>-1.0084033613445301E-2</c:v>
                </c:pt>
                <c:pt idx="23729">
                  <c:v>-1.0084033613445301E-2</c:v>
                </c:pt>
                <c:pt idx="23730">
                  <c:v>-1.0084033613445301E-2</c:v>
                </c:pt>
                <c:pt idx="23731">
                  <c:v>-1.0084033613445301E-2</c:v>
                </c:pt>
                <c:pt idx="23732">
                  <c:v>-1.0084033613445301E-2</c:v>
                </c:pt>
                <c:pt idx="23733">
                  <c:v>-1.0084033613445301E-2</c:v>
                </c:pt>
                <c:pt idx="23734">
                  <c:v>-1.0084033613445301E-2</c:v>
                </c:pt>
                <c:pt idx="23735">
                  <c:v>-1.0084033613445301E-2</c:v>
                </c:pt>
                <c:pt idx="23736">
                  <c:v>-1.0084033613445301E-2</c:v>
                </c:pt>
                <c:pt idx="23737">
                  <c:v>-1.0084033613445301E-2</c:v>
                </c:pt>
                <c:pt idx="23738">
                  <c:v>-1.0084033613445301E-2</c:v>
                </c:pt>
                <c:pt idx="23739">
                  <c:v>-1.0084033613445301E-2</c:v>
                </c:pt>
                <c:pt idx="23740">
                  <c:v>-1.0084033613445301E-2</c:v>
                </c:pt>
                <c:pt idx="23741">
                  <c:v>-1.0084033613445301E-2</c:v>
                </c:pt>
                <c:pt idx="23742">
                  <c:v>-1.0084033613445301E-2</c:v>
                </c:pt>
                <c:pt idx="23743">
                  <c:v>-1.0084033613445301E-2</c:v>
                </c:pt>
                <c:pt idx="23744">
                  <c:v>-9.2436974789915603E-3</c:v>
                </c:pt>
                <c:pt idx="23745">
                  <c:v>-9.2436974789915603E-3</c:v>
                </c:pt>
                <c:pt idx="23746">
                  <c:v>-9.2436974789915603E-3</c:v>
                </c:pt>
                <c:pt idx="23747">
                  <c:v>-9.2436974789915603E-3</c:v>
                </c:pt>
                <c:pt idx="23748">
                  <c:v>-9.2436974789915603E-3</c:v>
                </c:pt>
                <c:pt idx="23749">
                  <c:v>-9.2436974789915603E-3</c:v>
                </c:pt>
                <c:pt idx="23750">
                  <c:v>-9.2436974789915603E-3</c:v>
                </c:pt>
                <c:pt idx="23751">
                  <c:v>-9.2436974789915603E-3</c:v>
                </c:pt>
                <c:pt idx="23752">
                  <c:v>-8.4033613445377801E-3</c:v>
                </c:pt>
                <c:pt idx="23753">
                  <c:v>-8.4033613445377801E-3</c:v>
                </c:pt>
                <c:pt idx="23754">
                  <c:v>-8.4033613445377801E-3</c:v>
                </c:pt>
                <c:pt idx="23755">
                  <c:v>-8.4033613445377801E-3</c:v>
                </c:pt>
                <c:pt idx="23756">
                  <c:v>-8.4033613445377801E-3</c:v>
                </c:pt>
                <c:pt idx="23757">
                  <c:v>-8.4033613445377801E-3</c:v>
                </c:pt>
                <c:pt idx="23758">
                  <c:v>-8.4033613445377801E-3</c:v>
                </c:pt>
                <c:pt idx="23759">
                  <c:v>-8.4033613445377801E-3</c:v>
                </c:pt>
                <c:pt idx="23760">
                  <c:v>-8.4033613445377801E-3</c:v>
                </c:pt>
                <c:pt idx="23761">
                  <c:v>-8.4033613445377801E-3</c:v>
                </c:pt>
                <c:pt idx="23762">
                  <c:v>-8.4033613445377801E-3</c:v>
                </c:pt>
                <c:pt idx="23763">
                  <c:v>-8.4033613445377801E-3</c:v>
                </c:pt>
                <c:pt idx="23764">
                  <c:v>-9.2436974789915603E-3</c:v>
                </c:pt>
                <c:pt idx="23765">
                  <c:v>-9.2436974789915603E-3</c:v>
                </c:pt>
                <c:pt idx="23766">
                  <c:v>-9.2436974789915603E-3</c:v>
                </c:pt>
                <c:pt idx="23767">
                  <c:v>-9.2436974789915603E-3</c:v>
                </c:pt>
                <c:pt idx="23768">
                  <c:v>-9.2436974789915603E-3</c:v>
                </c:pt>
                <c:pt idx="23769">
                  <c:v>-9.2436974789915603E-3</c:v>
                </c:pt>
                <c:pt idx="23770">
                  <c:v>-9.2436974789915603E-3</c:v>
                </c:pt>
                <c:pt idx="23771">
                  <c:v>-9.2436974789915603E-3</c:v>
                </c:pt>
                <c:pt idx="23772">
                  <c:v>-9.2436974789915603E-3</c:v>
                </c:pt>
                <c:pt idx="23773">
                  <c:v>-9.2436974789915603E-3</c:v>
                </c:pt>
                <c:pt idx="23774">
                  <c:v>-9.2436974789915603E-3</c:v>
                </c:pt>
                <c:pt idx="23775">
                  <c:v>-9.2436974789915603E-3</c:v>
                </c:pt>
                <c:pt idx="23776">
                  <c:v>-9.2436974789915603E-3</c:v>
                </c:pt>
                <c:pt idx="23777">
                  <c:v>-9.2436974789915603E-3</c:v>
                </c:pt>
                <c:pt idx="23778">
                  <c:v>-9.2436974789915603E-3</c:v>
                </c:pt>
                <c:pt idx="23779">
                  <c:v>-9.2436974789915603E-3</c:v>
                </c:pt>
                <c:pt idx="23780">
                  <c:v>-9.2436974789915603E-3</c:v>
                </c:pt>
                <c:pt idx="23781">
                  <c:v>-9.2436974789915603E-3</c:v>
                </c:pt>
                <c:pt idx="23782">
                  <c:v>-9.2436974789915603E-3</c:v>
                </c:pt>
                <c:pt idx="23783">
                  <c:v>-9.2436974789915603E-3</c:v>
                </c:pt>
                <c:pt idx="23784">
                  <c:v>-9.2436974789915603E-3</c:v>
                </c:pt>
                <c:pt idx="23785">
                  <c:v>-9.2436974789915603E-3</c:v>
                </c:pt>
                <c:pt idx="23786">
                  <c:v>-9.2436974789915603E-3</c:v>
                </c:pt>
                <c:pt idx="23787">
                  <c:v>-9.2436974789915603E-3</c:v>
                </c:pt>
                <c:pt idx="23788">
                  <c:v>-9.2436974789915603E-3</c:v>
                </c:pt>
                <c:pt idx="23789">
                  <c:v>-9.2436974789915603E-3</c:v>
                </c:pt>
                <c:pt idx="23790">
                  <c:v>-9.2436974789915603E-3</c:v>
                </c:pt>
                <c:pt idx="23791">
                  <c:v>-9.2436974789915603E-3</c:v>
                </c:pt>
                <c:pt idx="23792">
                  <c:v>-9.2436974789915603E-3</c:v>
                </c:pt>
                <c:pt idx="23793">
                  <c:v>-9.2436974789915603E-3</c:v>
                </c:pt>
                <c:pt idx="23794">
                  <c:v>-9.2436974789915603E-3</c:v>
                </c:pt>
                <c:pt idx="23795">
                  <c:v>-9.2436974789915603E-3</c:v>
                </c:pt>
                <c:pt idx="23796">
                  <c:v>-9.2436974789915603E-3</c:v>
                </c:pt>
                <c:pt idx="23797">
                  <c:v>-9.2436974789915603E-3</c:v>
                </c:pt>
                <c:pt idx="23798">
                  <c:v>-9.2436974789915603E-3</c:v>
                </c:pt>
                <c:pt idx="23799">
                  <c:v>-9.2436974789915603E-3</c:v>
                </c:pt>
                <c:pt idx="23800">
                  <c:v>-9.2436974789915603E-3</c:v>
                </c:pt>
                <c:pt idx="23801">
                  <c:v>-9.2436974789915603E-3</c:v>
                </c:pt>
                <c:pt idx="23802">
                  <c:v>-9.2436974789915603E-3</c:v>
                </c:pt>
                <c:pt idx="23803">
                  <c:v>-9.2436974789915603E-3</c:v>
                </c:pt>
                <c:pt idx="23804">
                  <c:v>-9.2436974789915603E-3</c:v>
                </c:pt>
                <c:pt idx="23805">
                  <c:v>-9.2436974789915603E-3</c:v>
                </c:pt>
                <c:pt idx="23806">
                  <c:v>-1.0084033613445301E-2</c:v>
                </c:pt>
                <c:pt idx="23807">
                  <c:v>-1.0084033613445301E-2</c:v>
                </c:pt>
                <c:pt idx="23808">
                  <c:v>-1.0084033613445301E-2</c:v>
                </c:pt>
                <c:pt idx="23809">
                  <c:v>-1.0084033613445301E-2</c:v>
                </c:pt>
                <c:pt idx="23810">
                  <c:v>-1.0084033613445301E-2</c:v>
                </c:pt>
                <c:pt idx="23811">
                  <c:v>-1.0084033613445301E-2</c:v>
                </c:pt>
                <c:pt idx="23812">
                  <c:v>-1.0084033613445301E-2</c:v>
                </c:pt>
                <c:pt idx="23813">
                  <c:v>-1.0084033613445301E-2</c:v>
                </c:pt>
                <c:pt idx="23814">
                  <c:v>-1.0084033613445301E-2</c:v>
                </c:pt>
                <c:pt idx="23815">
                  <c:v>-1.0084033613445301E-2</c:v>
                </c:pt>
                <c:pt idx="23816">
                  <c:v>-1.0084033613445301E-2</c:v>
                </c:pt>
                <c:pt idx="23817">
                  <c:v>-1.0084033613445301E-2</c:v>
                </c:pt>
                <c:pt idx="23818">
                  <c:v>-1.0084033613445301E-2</c:v>
                </c:pt>
                <c:pt idx="23819">
                  <c:v>-1.0084033613445301E-2</c:v>
                </c:pt>
                <c:pt idx="23820">
                  <c:v>-1.0084033613445301E-2</c:v>
                </c:pt>
                <c:pt idx="23821">
                  <c:v>-1.0084033613445301E-2</c:v>
                </c:pt>
                <c:pt idx="23822">
                  <c:v>-1.0084033613445301E-2</c:v>
                </c:pt>
                <c:pt idx="23823">
                  <c:v>-1.0084033613445301E-2</c:v>
                </c:pt>
                <c:pt idx="23824">
                  <c:v>-1.0084033613445301E-2</c:v>
                </c:pt>
                <c:pt idx="23825">
                  <c:v>-1.0084033613445301E-2</c:v>
                </c:pt>
                <c:pt idx="23826">
                  <c:v>-9.2436974789915603E-3</c:v>
                </c:pt>
                <c:pt idx="23827">
                  <c:v>-9.2436974789915603E-3</c:v>
                </c:pt>
                <c:pt idx="23828">
                  <c:v>-9.2436974789915603E-3</c:v>
                </c:pt>
                <c:pt idx="23829">
                  <c:v>-9.2436974789915603E-3</c:v>
                </c:pt>
                <c:pt idx="23830">
                  <c:v>-9.2436974789915603E-3</c:v>
                </c:pt>
                <c:pt idx="23831">
                  <c:v>-9.2436974789915603E-3</c:v>
                </c:pt>
                <c:pt idx="23832">
                  <c:v>-9.2436974789915603E-3</c:v>
                </c:pt>
                <c:pt idx="23833">
                  <c:v>-9.2436974789915603E-3</c:v>
                </c:pt>
                <c:pt idx="23834">
                  <c:v>-9.2436974789915603E-3</c:v>
                </c:pt>
                <c:pt idx="23835">
                  <c:v>-9.2436974789915603E-3</c:v>
                </c:pt>
                <c:pt idx="23836">
                  <c:v>-9.2436974789915603E-3</c:v>
                </c:pt>
                <c:pt idx="23837">
                  <c:v>-9.2436974789915603E-3</c:v>
                </c:pt>
                <c:pt idx="23838">
                  <c:v>-9.2436974789915603E-3</c:v>
                </c:pt>
                <c:pt idx="23839">
                  <c:v>-9.2436974789915603E-3</c:v>
                </c:pt>
                <c:pt idx="23840">
                  <c:v>-9.2436974789915603E-3</c:v>
                </c:pt>
                <c:pt idx="23841">
                  <c:v>-9.2436974789915603E-3</c:v>
                </c:pt>
                <c:pt idx="23842">
                  <c:v>-9.2436974789915603E-3</c:v>
                </c:pt>
                <c:pt idx="23843">
                  <c:v>-9.2436974789915603E-3</c:v>
                </c:pt>
                <c:pt idx="23844">
                  <c:v>-9.2436974789915603E-3</c:v>
                </c:pt>
                <c:pt idx="23845">
                  <c:v>-9.2436974789915603E-3</c:v>
                </c:pt>
                <c:pt idx="23846">
                  <c:v>-9.2436974789915603E-3</c:v>
                </c:pt>
                <c:pt idx="23847">
                  <c:v>-9.2436974789915603E-3</c:v>
                </c:pt>
                <c:pt idx="23848">
                  <c:v>-9.2436974789915603E-3</c:v>
                </c:pt>
                <c:pt idx="23849">
                  <c:v>-9.2436974789915603E-3</c:v>
                </c:pt>
                <c:pt idx="23850">
                  <c:v>-8.4033613445377801E-3</c:v>
                </c:pt>
                <c:pt idx="23851">
                  <c:v>-8.4033613445377801E-3</c:v>
                </c:pt>
                <c:pt idx="23852">
                  <c:v>-8.4033613445377801E-3</c:v>
                </c:pt>
                <c:pt idx="23853">
                  <c:v>-8.4033613445377801E-3</c:v>
                </c:pt>
                <c:pt idx="23854">
                  <c:v>-7.5630252100839998E-3</c:v>
                </c:pt>
                <c:pt idx="23855">
                  <c:v>-7.5630252100839998E-3</c:v>
                </c:pt>
                <c:pt idx="23856">
                  <c:v>-7.5630252100839998E-3</c:v>
                </c:pt>
                <c:pt idx="23857">
                  <c:v>-8.4033613445377801E-3</c:v>
                </c:pt>
                <c:pt idx="23858">
                  <c:v>-8.4033613445377801E-3</c:v>
                </c:pt>
                <c:pt idx="23859">
                  <c:v>-8.4033613445377801E-3</c:v>
                </c:pt>
                <c:pt idx="23860">
                  <c:v>-7.5630252100839998E-3</c:v>
                </c:pt>
                <c:pt idx="23861">
                  <c:v>-7.5630252100839998E-3</c:v>
                </c:pt>
                <c:pt idx="23862">
                  <c:v>-7.5630252100839998E-3</c:v>
                </c:pt>
                <c:pt idx="23863">
                  <c:v>-7.5630252100839998E-3</c:v>
                </c:pt>
                <c:pt idx="23864">
                  <c:v>-7.5630252100839998E-3</c:v>
                </c:pt>
                <c:pt idx="23865">
                  <c:v>-7.5630252100839998E-3</c:v>
                </c:pt>
                <c:pt idx="23866">
                  <c:v>-7.5630252100839998E-3</c:v>
                </c:pt>
                <c:pt idx="23867">
                  <c:v>-7.5630252100839998E-3</c:v>
                </c:pt>
                <c:pt idx="23868">
                  <c:v>-7.5630252100839998E-3</c:v>
                </c:pt>
                <c:pt idx="23869">
                  <c:v>-7.5630252100839998E-3</c:v>
                </c:pt>
                <c:pt idx="23870">
                  <c:v>-7.5630252100839998E-3</c:v>
                </c:pt>
                <c:pt idx="23871">
                  <c:v>-7.5630252100839998E-3</c:v>
                </c:pt>
                <c:pt idx="23872">
                  <c:v>-7.5630252100839998E-3</c:v>
                </c:pt>
                <c:pt idx="23873">
                  <c:v>-7.5630252100839998E-3</c:v>
                </c:pt>
                <c:pt idx="23874">
                  <c:v>-7.5630252100839998E-3</c:v>
                </c:pt>
                <c:pt idx="23875">
                  <c:v>-7.5630252100839998E-3</c:v>
                </c:pt>
                <c:pt idx="23876">
                  <c:v>-7.5630252100839998E-3</c:v>
                </c:pt>
                <c:pt idx="23877">
                  <c:v>-7.5630252100839998E-3</c:v>
                </c:pt>
                <c:pt idx="23878">
                  <c:v>-7.5630252100839998E-3</c:v>
                </c:pt>
                <c:pt idx="23879">
                  <c:v>-8.4033613445377801E-3</c:v>
                </c:pt>
                <c:pt idx="23880">
                  <c:v>-8.4033613445377801E-3</c:v>
                </c:pt>
                <c:pt idx="23881">
                  <c:v>-8.4033613445377801E-3</c:v>
                </c:pt>
                <c:pt idx="23882">
                  <c:v>-8.4033613445377801E-3</c:v>
                </c:pt>
                <c:pt idx="23883">
                  <c:v>-8.4033613445377801E-3</c:v>
                </c:pt>
                <c:pt idx="23884">
                  <c:v>-8.4033613445377801E-3</c:v>
                </c:pt>
                <c:pt idx="23885">
                  <c:v>-8.4033613445377801E-3</c:v>
                </c:pt>
                <c:pt idx="23886">
                  <c:v>-8.4033613445377801E-3</c:v>
                </c:pt>
                <c:pt idx="23887">
                  <c:v>-8.4033613445377801E-3</c:v>
                </c:pt>
                <c:pt idx="23888">
                  <c:v>-8.4033613445377801E-3</c:v>
                </c:pt>
                <c:pt idx="23889">
                  <c:v>-8.4033613445377801E-3</c:v>
                </c:pt>
                <c:pt idx="23890">
                  <c:v>-8.4033613445377801E-3</c:v>
                </c:pt>
                <c:pt idx="23891">
                  <c:v>-8.4033613445377801E-3</c:v>
                </c:pt>
                <c:pt idx="23892">
                  <c:v>-8.4033613445377801E-3</c:v>
                </c:pt>
                <c:pt idx="23893">
                  <c:v>-8.4033613445377801E-3</c:v>
                </c:pt>
                <c:pt idx="23894">
                  <c:v>-8.4033613445377801E-3</c:v>
                </c:pt>
                <c:pt idx="23895">
                  <c:v>-8.4033613445377801E-3</c:v>
                </c:pt>
                <c:pt idx="23896">
                  <c:v>-8.4033613445377801E-3</c:v>
                </c:pt>
                <c:pt idx="23897">
                  <c:v>-8.4033613445377801E-3</c:v>
                </c:pt>
                <c:pt idx="23898">
                  <c:v>-8.4033613445377801E-3</c:v>
                </c:pt>
                <c:pt idx="23899">
                  <c:v>-9.2436974789915603E-3</c:v>
                </c:pt>
                <c:pt idx="23900">
                  <c:v>-9.2436974789915603E-3</c:v>
                </c:pt>
                <c:pt idx="23901">
                  <c:v>-9.2436974789915603E-3</c:v>
                </c:pt>
                <c:pt idx="23902">
                  <c:v>-9.2436974789915603E-3</c:v>
                </c:pt>
                <c:pt idx="23903">
                  <c:v>-9.2436974789915603E-3</c:v>
                </c:pt>
                <c:pt idx="23904">
                  <c:v>-8.4033613445377801E-3</c:v>
                </c:pt>
                <c:pt idx="23905">
                  <c:v>-8.4033613445377801E-3</c:v>
                </c:pt>
                <c:pt idx="23906">
                  <c:v>-8.4033613445377801E-3</c:v>
                </c:pt>
                <c:pt idx="23907">
                  <c:v>-8.4033613445377801E-3</c:v>
                </c:pt>
                <c:pt idx="23908">
                  <c:v>-8.4033613445377801E-3</c:v>
                </c:pt>
                <c:pt idx="23909">
                  <c:v>-8.4033613445377801E-3</c:v>
                </c:pt>
                <c:pt idx="23910">
                  <c:v>-8.4033613445377801E-3</c:v>
                </c:pt>
                <c:pt idx="23911">
                  <c:v>-8.4033613445377801E-3</c:v>
                </c:pt>
                <c:pt idx="23912">
                  <c:v>-8.4033613445377801E-3</c:v>
                </c:pt>
                <c:pt idx="23913">
                  <c:v>-8.4033613445377801E-3</c:v>
                </c:pt>
                <c:pt idx="23914">
                  <c:v>-8.4033613445377801E-3</c:v>
                </c:pt>
                <c:pt idx="23915">
                  <c:v>-8.4033613445377801E-3</c:v>
                </c:pt>
                <c:pt idx="23916">
                  <c:v>-8.4033613445377801E-3</c:v>
                </c:pt>
                <c:pt idx="23917">
                  <c:v>-8.4033613445377801E-3</c:v>
                </c:pt>
                <c:pt idx="23918">
                  <c:v>-8.4033613445377801E-3</c:v>
                </c:pt>
                <c:pt idx="23919">
                  <c:v>-8.4033613445377801E-3</c:v>
                </c:pt>
                <c:pt idx="23920">
                  <c:v>-8.4033613445377801E-3</c:v>
                </c:pt>
                <c:pt idx="23921">
                  <c:v>-8.4033613445377801E-3</c:v>
                </c:pt>
                <c:pt idx="23922">
                  <c:v>-8.4033613445377801E-3</c:v>
                </c:pt>
                <c:pt idx="23923">
                  <c:v>-8.4033613445377801E-3</c:v>
                </c:pt>
                <c:pt idx="23924">
                  <c:v>-8.4033613445377801E-3</c:v>
                </c:pt>
                <c:pt idx="23925">
                  <c:v>-8.4033613445377801E-3</c:v>
                </c:pt>
                <c:pt idx="23926">
                  <c:v>-8.4033613445377801E-3</c:v>
                </c:pt>
                <c:pt idx="23927">
                  <c:v>-8.4033613445377801E-3</c:v>
                </c:pt>
                <c:pt idx="23928">
                  <c:v>-8.4033613445377801E-3</c:v>
                </c:pt>
                <c:pt idx="23929">
                  <c:v>-8.4033613445377801E-3</c:v>
                </c:pt>
                <c:pt idx="23930">
                  <c:v>-8.4033613445377801E-3</c:v>
                </c:pt>
                <c:pt idx="23931">
                  <c:v>-8.4033613445377801E-3</c:v>
                </c:pt>
                <c:pt idx="23932">
                  <c:v>-8.4033613445377801E-3</c:v>
                </c:pt>
                <c:pt idx="23933">
                  <c:v>-8.4033613445377801E-3</c:v>
                </c:pt>
                <c:pt idx="23934">
                  <c:v>-8.4033613445377801E-3</c:v>
                </c:pt>
                <c:pt idx="23935">
                  <c:v>-8.4033613445377801E-3</c:v>
                </c:pt>
                <c:pt idx="23936">
                  <c:v>-8.4033613445377801E-3</c:v>
                </c:pt>
                <c:pt idx="23937">
                  <c:v>-8.4033613445377801E-3</c:v>
                </c:pt>
                <c:pt idx="23938">
                  <c:v>-8.4033613445377801E-3</c:v>
                </c:pt>
                <c:pt idx="23939">
                  <c:v>-8.4033613445377801E-3</c:v>
                </c:pt>
                <c:pt idx="23940">
                  <c:v>-8.4033613445377801E-3</c:v>
                </c:pt>
                <c:pt idx="23941">
                  <c:v>-8.4033613445377801E-3</c:v>
                </c:pt>
                <c:pt idx="23942">
                  <c:v>-8.4033613445377801E-3</c:v>
                </c:pt>
                <c:pt idx="23943">
                  <c:v>-8.4033613445377801E-3</c:v>
                </c:pt>
                <c:pt idx="23944">
                  <c:v>-8.4033613445377801E-3</c:v>
                </c:pt>
                <c:pt idx="23945">
                  <c:v>-8.4033613445377801E-3</c:v>
                </c:pt>
                <c:pt idx="23946">
                  <c:v>-8.4033613445377801E-3</c:v>
                </c:pt>
                <c:pt idx="23947">
                  <c:v>-8.4033613445377801E-3</c:v>
                </c:pt>
                <c:pt idx="23948">
                  <c:v>-8.4033613445377801E-3</c:v>
                </c:pt>
                <c:pt idx="23949">
                  <c:v>-8.4033613445377801E-3</c:v>
                </c:pt>
                <c:pt idx="23950">
                  <c:v>-8.4033613445377801E-3</c:v>
                </c:pt>
                <c:pt idx="23951">
                  <c:v>-8.4033613445377801E-3</c:v>
                </c:pt>
                <c:pt idx="23952">
                  <c:v>-8.4033613445377801E-3</c:v>
                </c:pt>
                <c:pt idx="23953">
                  <c:v>-8.4033613445377801E-3</c:v>
                </c:pt>
                <c:pt idx="23954">
                  <c:v>-8.4033613445377801E-3</c:v>
                </c:pt>
                <c:pt idx="23955">
                  <c:v>-8.4033613445377801E-3</c:v>
                </c:pt>
                <c:pt idx="23956">
                  <c:v>-8.4033613445377801E-3</c:v>
                </c:pt>
                <c:pt idx="23957">
                  <c:v>-8.4033613445377801E-3</c:v>
                </c:pt>
                <c:pt idx="23958">
                  <c:v>-8.4033613445377801E-3</c:v>
                </c:pt>
                <c:pt idx="23959">
                  <c:v>-9.2436974789915603E-3</c:v>
                </c:pt>
                <c:pt idx="23960">
                  <c:v>-9.2436974789915603E-3</c:v>
                </c:pt>
                <c:pt idx="23961">
                  <c:v>-9.2436974789915603E-3</c:v>
                </c:pt>
                <c:pt idx="23962">
                  <c:v>-9.2436974789915603E-3</c:v>
                </c:pt>
                <c:pt idx="23963">
                  <c:v>-9.2436974789915603E-3</c:v>
                </c:pt>
                <c:pt idx="23964">
                  <c:v>-9.2436974789915603E-3</c:v>
                </c:pt>
                <c:pt idx="23965">
                  <c:v>-9.2436974789915603E-3</c:v>
                </c:pt>
                <c:pt idx="23966">
                  <c:v>-9.2436974789915603E-3</c:v>
                </c:pt>
                <c:pt idx="23967">
                  <c:v>-9.2436974789915603E-3</c:v>
                </c:pt>
                <c:pt idx="23968">
                  <c:v>-9.2436974789915603E-3</c:v>
                </c:pt>
                <c:pt idx="23969">
                  <c:v>-8.4033613445377801E-3</c:v>
                </c:pt>
                <c:pt idx="23970">
                  <c:v>-8.4033613445377801E-3</c:v>
                </c:pt>
                <c:pt idx="23971">
                  <c:v>-8.4033613445377801E-3</c:v>
                </c:pt>
                <c:pt idx="23972">
                  <c:v>-8.4033613445377801E-3</c:v>
                </c:pt>
                <c:pt idx="23973">
                  <c:v>-8.4033613445377801E-3</c:v>
                </c:pt>
                <c:pt idx="23974">
                  <c:v>-8.4033613445377801E-3</c:v>
                </c:pt>
                <c:pt idx="23975">
                  <c:v>-8.4033613445377801E-3</c:v>
                </c:pt>
                <c:pt idx="23976">
                  <c:v>-8.4033613445377801E-3</c:v>
                </c:pt>
                <c:pt idx="23977">
                  <c:v>-8.4033613445377801E-3</c:v>
                </c:pt>
                <c:pt idx="23978">
                  <c:v>-8.4033613445377801E-3</c:v>
                </c:pt>
                <c:pt idx="23979">
                  <c:v>-8.4033613445377801E-3</c:v>
                </c:pt>
                <c:pt idx="23980">
                  <c:v>-8.4033613445377801E-3</c:v>
                </c:pt>
                <c:pt idx="23981">
                  <c:v>-9.2436974789915603E-3</c:v>
                </c:pt>
                <c:pt idx="23982">
                  <c:v>-9.2436974789915603E-3</c:v>
                </c:pt>
                <c:pt idx="23983">
                  <c:v>-8.4033613445377801E-3</c:v>
                </c:pt>
                <c:pt idx="23984">
                  <c:v>-8.4033613445377801E-3</c:v>
                </c:pt>
                <c:pt idx="23985">
                  <c:v>-9.2436974789915603E-3</c:v>
                </c:pt>
                <c:pt idx="23986">
                  <c:v>-9.2436974789915603E-3</c:v>
                </c:pt>
                <c:pt idx="23987">
                  <c:v>-9.2436974789915603E-3</c:v>
                </c:pt>
                <c:pt idx="23988">
                  <c:v>-9.2436974789915603E-3</c:v>
                </c:pt>
                <c:pt idx="23989">
                  <c:v>-9.2436974789915603E-3</c:v>
                </c:pt>
                <c:pt idx="23990">
                  <c:v>-9.2436974789915603E-3</c:v>
                </c:pt>
                <c:pt idx="23991">
                  <c:v>-9.2436974789915603E-3</c:v>
                </c:pt>
                <c:pt idx="23992">
                  <c:v>-1.0084033613445301E-2</c:v>
                </c:pt>
                <c:pt idx="23993">
                  <c:v>-1.0084033613445301E-2</c:v>
                </c:pt>
                <c:pt idx="23994">
                  <c:v>-1.0084033613445301E-2</c:v>
                </c:pt>
                <c:pt idx="23995">
                  <c:v>-1.0084033613445301E-2</c:v>
                </c:pt>
                <c:pt idx="23996">
                  <c:v>-1.0084033613445301E-2</c:v>
                </c:pt>
                <c:pt idx="23997">
                  <c:v>-1.0084033613445301E-2</c:v>
                </c:pt>
                <c:pt idx="23998">
                  <c:v>-1.0084033613445301E-2</c:v>
                </c:pt>
                <c:pt idx="23999">
                  <c:v>-1.0084033613445301E-2</c:v>
                </c:pt>
                <c:pt idx="24000">
                  <c:v>-1.0084033613445301E-2</c:v>
                </c:pt>
                <c:pt idx="24001">
                  <c:v>-1.0084033613445301E-2</c:v>
                </c:pt>
                <c:pt idx="24002">
                  <c:v>-1.0084033613445301E-2</c:v>
                </c:pt>
                <c:pt idx="24003">
                  <c:v>-1.0084033613445301E-2</c:v>
                </c:pt>
                <c:pt idx="24004">
                  <c:v>-1.0084033613445301E-2</c:v>
                </c:pt>
                <c:pt idx="24005">
                  <c:v>-1.0084033613445301E-2</c:v>
                </c:pt>
                <c:pt idx="24006">
                  <c:v>-1.0084033613445301E-2</c:v>
                </c:pt>
                <c:pt idx="24007">
                  <c:v>-1.0084033613445301E-2</c:v>
                </c:pt>
                <c:pt idx="24008">
                  <c:v>-1.0084033613445301E-2</c:v>
                </c:pt>
                <c:pt idx="24009">
                  <c:v>-1.0084033613445301E-2</c:v>
                </c:pt>
                <c:pt idx="24010">
                  <c:v>-1.0084033613445301E-2</c:v>
                </c:pt>
                <c:pt idx="24011">
                  <c:v>-1.0084033613445301E-2</c:v>
                </c:pt>
                <c:pt idx="24012">
                  <c:v>-1.0084033613445301E-2</c:v>
                </c:pt>
                <c:pt idx="24013">
                  <c:v>-1.0084033613445301E-2</c:v>
                </c:pt>
                <c:pt idx="24014">
                  <c:v>-1.0084033613445301E-2</c:v>
                </c:pt>
                <c:pt idx="24015">
                  <c:v>-1.0084033613445301E-2</c:v>
                </c:pt>
                <c:pt idx="24016">
                  <c:v>-1.0084033613445301E-2</c:v>
                </c:pt>
                <c:pt idx="24017">
                  <c:v>-1.0084033613445301E-2</c:v>
                </c:pt>
                <c:pt idx="24018">
                  <c:v>-1.0084033613445301E-2</c:v>
                </c:pt>
                <c:pt idx="24019">
                  <c:v>-1.0084033613445301E-2</c:v>
                </c:pt>
                <c:pt idx="24020">
                  <c:v>-1.0084033613445301E-2</c:v>
                </c:pt>
                <c:pt idx="24021">
                  <c:v>-1.0084033613445301E-2</c:v>
                </c:pt>
                <c:pt idx="24022">
                  <c:v>-1.0084033613445301E-2</c:v>
                </c:pt>
                <c:pt idx="24023">
                  <c:v>-1.0084033613445301E-2</c:v>
                </c:pt>
                <c:pt idx="24024">
                  <c:v>-1.0084033613445301E-2</c:v>
                </c:pt>
                <c:pt idx="24025">
                  <c:v>-9.2436974789915603E-3</c:v>
                </c:pt>
                <c:pt idx="24026">
                  <c:v>-9.2436974789915603E-3</c:v>
                </c:pt>
                <c:pt idx="24027">
                  <c:v>-9.2436974789915603E-3</c:v>
                </c:pt>
                <c:pt idx="24028">
                  <c:v>-9.2436974789915603E-3</c:v>
                </c:pt>
                <c:pt idx="24029">
                  <c:v>-9.2436974789915603E-3</c:v>
                </c:pt>
                <c:pt idx="24030">
                  <c:v>-9.2436974789915603E-3</c:v>
                </c:pt>
                <c:pt idx="24031">
                  <c:v>-9.2436974789915603E-3</c:v>
                </c:pt>
                <c:pt idx="24032">
                  <c:v>-9.2436974789915603E-3</c:v>
                </c:pt>
                <c:pt idx="24033">
                  <c:v>-9.2436974789915603E-3</c:v>
                </c:pt>
                <c:pt idx="24034">
                  <c:v>-9.2436974789915603E-3</c:v>
                </c:pt>
                <c:pt idx="24035">
                  <c:v>-9.2436974789915603E-3</c:v>
                </c:pt>
                <c:pt idx="24036">
                  <c:v>-9.2436974789915603E-3</c:v>
                </c:pt>
                <c:pt idx="24037">
                  <c:v>-9.2436974789915603E-3</c:v>
                </c:pt>
                <c:pt idx="24038">
                  <c:v>-9.2436974789915603E-3</c:v>
                </c:pt>
                <c:pt idx="24039">
                  <c:v>-9.2436974789915603E-3</c:v>
                </c:pt>
                <c:pt idx="24040">
                  <c:v>-9.2436974789915603E-3</c:v>
                </c:pt>
                <c:pt idx="24041">
                  <c:v>-9.2436974789915603E-3</c:v>
                </c:pt>
                <c:pt idx="24042">
                  <c:v>-9.2436974789915603E-3</c:v>
                </c:pt>
                <c:pt idx="24043">
                  <c:v>-9.2436974789915603E-3</c:v>
                </c:pt>
                <c:pt idx="24044">
                  <c:v>-9.2436974789915603E-3</c:v>
                </c:pt>
                <c:pt idx="24045">
                  <c:v>-9.2436974789915603E-3</c:v>
                </c:pt>
                <c:pt idx="24046">
                  <c:v>-9.2436974789915603E-3</c:v>
                </c:pt>
                <c:pt idx="24047">
                  <c:v>-9.2436974789915603E-3</c:v>
                </c:pt>
                <c:pt idx="24048">
                  <c:v>-9.2436974789915603E-3</c:v>
                </c:pt>
                <c:pt idx="24049">
                  <c:v>-9.2436974789915603E-3</c:v>
                </c:pt>
                <c:pt idx="24050">
                  <c:v>-9.2436974789915603E-3</c:v>
                </c:pt>
                <c:pt idx="24051">
                  <c:v>-9.2436974789915603E-3</c:v>
                </c:pt>
                <c:pt idx="24052">
                  <c:v>-9.2436974789915603E-3</c:v>
                </c:pt>
                <c:pt idx="24053">
                  <c:v>-9.2436974789915603E-3</c:v>
                </c:pt>
                <c:pt idx="24054">
                  <c:v>-9.2436974789915603E-3</c:v>
                </c:pt>
                <c:pt idx="24055">
                  <c:v>-9.2436974789915603E-3</c:v>
                </c:pt>
                <c:pt idx="24056">
                  <c:v>-9.2436974789915603E-3</c:v>
                </c:pt>
                <c:pt idx="24057">
                  <c:v>-9.2436974789915603E-3</c:v>
                </c:pt>
                <c:pt idx="24058">
                  <c:v>-9.2436974789915603E-3</c:v>
                </c:pt>
                <c:pt idx="24059">
                  <c:v>-9.2436974789915603E-3</c:v>
                </c:pt>
                <c:pt idx="24060">
                  <c:v>-9.2436974789915603E-3</c:v>
                </c:pt>
                <c:pt idx="24061">
                  <c:v>-9.2436974789915603E-3</c:v>
                </c:pt>
                <c:pt idx="24062">
                  <c:v>-9.2436974789915603E-3</c:v>
                </c:pt>
                <c:pt idx="24063">
                  <c:v>-9.2436974789915603E-3</c:v>
                </c:pt>
                <c:pt idx="24064">
                  <c:v>-9.2436974789915603E-3</c:v>
                </c:pt>
                <c:pt idx="24065">
                  <c:v>-9.2436974789915603E-3</c:v>
                </c:pt>
                <c:pt idx="24066">
                  <c:v>-9.2436974789915603E-3</c:v>
                </c:pt>
                <c:pt idx="24067">
                  <c:v>-9.2436974789915603E-3</c:v>
                </c:pt>
                <c:pt idx="24068">
                  <c:v>-9.2436974789915603E-3</c:v>
                </c:pt>
                <c:pt idx="24069">
                  <c:v>-9.2436974789915603E-3</c:v>
                </c:pt>
                <c:pt idx="24070">
                  <c:v>-9.2436974789915603E-3</c:v>
                </c:pt>
                <c:pt idx="24071">
                  <c:v>-9.2436974789915603E-3</c:v>
                </c:pt>
                <c:pt idx="24072">
                  <c:v>-9.2436974789915603E-3</c:v>
                </c:pt>
                <c:pt idx="24073">
                  <c:v>-9.2436974789915603E-3</c:v>
                </c:pt>
                <c:pt idx="24074">
                  <c:v>-9.2436974789915603E-3</c:v>
                </c:pt>
                <c:pt idx="24075">
                  <c:v>-9.2436974789915603E-3</c:v>
                </c:pt>
                <c:pt idx="24076">
                  <c:v>-9.2436974789915603E-3</c:v>
                </c:pt>
                <c:pt idx="24077">
                  <c:v>-9.2436974789915603E-3</c:v>
                </c:pt>
                <c:pt idx="24078">
                  <c:v>-9.2436974789915603E-3</c:v>
                </c:pt>
                <c:pt idx="24079">
                  <c:v>-9.2436974789915603E-3</c:v>
                </c:pt>
                <c:pt idx="24080">
                  <c:v>-9.2436974789915603E-3</c:v>
                </c:pt>
                <c:pt idx="24081">
                  <c:v>-9.2436974789915603E-3</c:v>
                </c:pt>
                <c:pt idx="24082">
                  <c:v>-9.2436974789915603E-3</c:v>
                </c:pt>
                <c:pt idx="24083">
                  <c:v>-9.2436974789915603E-3</c:v>
                </c:pt>
                <c:pt idx="24084">
                  <c:v>-9.2436974789915603E-3</c:v>
                </c:pt>
                <c:pt idx="24085">
                  <c:v>-9.2436974789915603E-3</c:v>
                </c:pt>
                <c:pt idx="24086">
                  <c:v>-9.2436974789915603E-3</c:v>
                </c:pt>
                <c:pt idx="24087">
                  <c:v>-9.2436974789915603E-3</c:v>
                </c:pt>
                <c:pt idx="24088">
                  <c:v>-9.2436974789915603E-3</c:v>
                </c:pt>
                <c:pt idx="24089">
                  <c:v>-9.2436974789915603E-3</c:v>
                </c:pt>
                <c:pt idx="24090">
                  <c:v>-9.2436974789915603E-3</c:v>
                </c:pt>
                <c:pt idx="24091">
                  <c:v>-9.2436974789915603E-3</c:v>
                </c:pt>
                <c:pt idx="24092">
                  <c:v>-9.2436974789915603E-3</c:v>
                </c:pt>
                <c:pt idx="24093">
                  <c:v>-9.2436974789915603E-3</c:v>
                </c:pt>
                <c:pt idx="24094">
                  <c:v>-9.2436974789915603E-3</c:v>
                </c:pt>
                <c:pt idx="24095">
                  <c:v>-9.2436974789915603E-3</c:v>
                </c:pt>
                <c:pt idx="24096">
                  <c:v>-9.2436974789915603E-3</c:v>
                </c:pt>
                <c:pt idx="24097">
                  <c:v>-9.2436974789915603E-3</c:v>
                </c:pt>
                <c:pt idx="24098">
                  <c:v>-9.2436974789915603E-3</c:v>
                </c:pt>
                <c:pt idx="24099">
                  <c:v>-9.2436974789915603E-3</c:v>
                </c:pt>
                <c:pt idx="24100">
                  <c:v>-9.2436974789915603E-3</c:v>
                </c:pt>
                <c:pt idx="24101">
                  <c:v>-9.2436974789915603E-3</c:v>
                </c:pt>
                <c:pt idx="24102">
                  <c:v>-9.2436974789915603E-3</c:v>
                </c:pt>
                <c:pt idx="24103">
                  <c:v>-9.2436974789915603E-3</c:v>
                </c:pt>
                <c:pt idx="24104">
                  <c:v>-9.2436974789915603E-3</c:v>
                </c:pt>
                <c:pt idx="24105">
                  <c:v>-9.2436974789915603E-3</c:v>
                </c:pt>
                <c:pt idx="24106">
                  <c:v>-9.2436974789915603E-3</c:v>
                </c:pt>
                <c:pt idx="24107">
                  <c:v>-9.2436974789915603E-3</c:v>
                </c:pt>
                <c:pt idx="24108">
                  <c:v>-9.2436974789915603E-3</c:v>
                </c:pt>
                <c:pt idx="24109">
                  <c:v>-9.2436974789915603E-3</c:v>
                </c:pt>
                <c:pt idx="24110">
                  <c:v>-9.2436974789915603E-3</c:v>
                </c:pt>
                <c:pt idx="24111">
                  <c:v>-9.2436974789915603E-3</c:v>
                </c:pt>
                <c:pt idx="24112">
                  <c:v>-9.2436974789915603E-3</c:v>
                </c:pt>
                <c:pt idx="24113">
                  <c:v>-9.2436974789915603E-3</c:v>
                </c:pt>
                <c:pt idx="24114">
                  <c:v>-9.2436974789915603E-3</c:v>
                </c:pt>
                <c:pt idx="24115">
                  <c:v>-9.2436974789915603E-3</c:v>
                </c:pt>
                <c:pt idx="24116">
                  <c:v>-9.2436974789915603E-3</c:v>
                </c:pt>
                <c:pt idx="24117">
                  <c:v>-9.2436974789915603E-3</c:v>
                </c:pt>
                <c:pt idx="24118">
                  <c:v>-9.2436974789915603E-3</c:v>
                </c:pt>
                <c:pt idx="24119">
                  <c:v>-9.2436974789915603E-3</c:v>
                </c:pt>
                <c:pt idx="24120">
                  <c:v>-9.2436974789915603E-3</c:v>
                </c:pt>
                <c:pt idx="24121">
                  <c:v>-9.2436974789915603E-3</c:v>
                </c:pt>
                <c:pt idx="24122">
                  <c:v>-9.2436974789915603E-3</c:v>
                </c:pt>
                <c:pt idx="24123">
                  <c:v>-9.2436974789915603E-3</c:v>
                </c:pt>
                <c:pt idx="24124">
                  <c:v>-9.2436974789915603E-3</c:v>
                </c:pt>
                <c:pt idx="24125">
                  <c:v>-9.2436974789915603E-3</c:v>
                </c:pt>
                <c:pt idx="24126">
                  <c:v>-9.2436974789915603E-3</c:v>
                </c:pt>
                <c:pt idx="24127">
                  <c:v>-9.2436974789915603E-3</c:v>
                </c:pt>
                <c:pt idx="24128">
                  <c:v>-9.2436974789915603E-3</c:v>
                </c:pt>
                <c:pt idx="24129">
                  <c:v>-9.2436974789915603E-3</c:v>
                </c:pt>
                <c:pt idx="24130">
                  <c:v>-9.2436974789915603E-3</c:v>
                </c:pt>
                <c:pt idx="24131">
                  <c:v>-9.2436974789915603E-3</c:v>
                </c:pt>
                <c:pt idx="24132">
                  <c:v>-1.0084033613445301E-2</c:v>
                </c:pt>
                <c:pt idx="24133">
                  <c:v>-1.0084033613445301E-2</c:v>
                </c:pt>
                <c:pt idx="24134">
                  <c:v>-1.0084033613445301E-2</c:v>
                </c:pt>
                <c:pt idx="24135">
                  <c:v>-1.0084033613445301E-2</c:v>
                </c:pt>
                <c:pt idx="24136">
                  <c:v>-1.0084033613445301E-2</c:v>
                </c:pt>
                <c:pt idx="24137">
                  <c:v>-1.0084033613445301E-2</c:v>
                </c:pt>
                <c:pt idx="24138">
                  <c:v>-1.0084033613445301E-2</c:v>
                </c:pt>
                <c:pt idx="24139">
                  <c:v>-9.2436974789915603E-3</c:v>
                </c:pt>
                <c:pt idx="24140">
                  <c:v>-9.2436974789915603E-3</c:v>
                </c:pt>
                <c:pt idx="24141">
                  <c:v>-9.2436974789915603E-3</c:v>
                </c:pt>
                <c:pt idx="24142">
                  <c:v>-8.4033613445377801E-3</c:v>
                </c:pt>
                <c:pt idx="24143">
                  <c:v>-8.4033613445377801E-3</c:v>
                </c:pt>
                <c:pt idx="24144">
                  <c:v>-8.4033613445377801E-3</c:v>
                </c:pt>
                <c:pt idx="24145">
                  <c:v>-8.4033613445377801E-3</c:v>
                </c:pt>
                <c:pt idx="24146">
                  <c:v>-8.4033613445377801E-3</c:v>
                </c:pt>
                <c:pt idx="24147">
                  <c:v>-8.4033613445377801E-3</c:v>
                </c:pt>
                <c:pt idx="24148">
                  <c:v>-8.4033613445377801E-3</c:v>
                </c:pt>
                <c:pt idx="24149">
                  <c:v>-8.4033613445377801E-3</c:v>
                </c:pt>
                <c:pt idx="24150">
                  <c:v>-8.4033613445377801E-3</c:v>
                </c:pt>
                <c:pt idx="24151">
                  <c:v>-8.4033613445377801E-3</c:v>
                </c:pt>
                <c:pt idx="24152">
                  <c:v>-8.4033613445377801E-3</c:v>
                </c:pt>
                <c:pt idx="24153">
                  <c:v>-8.4033613445377801E-3</c:v>
                </c:pt>
                <c:pt idx="24154">
                  <c:v>-8.4033613445377801E-3</c:v>
                </c:pt>
                <c:pt idx="24155">
                  <c:v>-8.4033613445377801E-3</c:v>
                </c:pt>
                <c:pt idx="24156">
                  <c:v>-8.4033613445377801E-3</c:v>
                </c:pt>
                <c:pt idx="24157">
                  <c:v>-8.4033613445377801E-3</c:v>
                </c:pt>
                <c:pt idx="24158">
                  <c:v>-8.4033613445377801E-3</c:v>
                </c:pt>
                <c:pt idx="24159">
                  <c:v>-8.4033613445377801E-3</c:v>
                </c:pt>
                <c:pt idx="24160">
                  <c:v>-8.4033613445377801E-3</c:v>
                </c:pt>
                <c:pt idx="24161">
                  <c:v>-8.4033613445377801E-3</c:v>
                </c:pt>
                <c:pt idx="24162">
                  <c:v>-8.4033613445377801E-3</c:v>
                </c:pt>
                <c:pt idx="24163">
                  <c:v>-8.4033613445377801E-3</c:v>
                </c:pt>
                <c:pt idx="24164">
                  <c:v>-8.4033613445377801E-3</c:v>
                </c:pt>
                <c:pt idx="24165">
                  <c:v>-8.4033613445377801E-3</c:v>
                </c:pt>
                <c:pt idx="24166">
                  <c:v>-8.4033613445377801E-3</c:v>
                </c:pt>
                <c:pt idx="24167">
                  <c:v>-8.4033613445377801E-3</c:v>
                </c:pt>
                <c:pt idx="24168">
                  <c:v>-8.4033613445377801E-3</c:v>
                </c:pt>
                <c:pt idx="24169">
                  <c:v>-8.4033613445377801E-3</c:v>
                </c:pt>
                <c:pt idx="24170">
                  <c:v>-8.4033613445377801E-3</c:v>
                </c:pt>
                <c:pt idx="24171">
                  <c:v>-8.4033613445377801E-3</c:v>
                </c:pt>
                <c:pt idx="24172">
                  <c:v>-8.4033613445377801E-3</c:v>
                </c:pt>
                <c:pt idx="24173">
                  <c:v>-8.4033613445377801E-3</c:v>
                </c:pt>
                <c:pt idx="24174">
                  <c:v>-8.4033613445377801E-3</c:v>
                </c:pt>
                <c:pt idx="24175">
                  <c:v>-8.4033613445377801E-3</c:v>
                </c:pt>
                <c:pt idx="24176">
                  <c:v>-8.4033613445377801E-3</c:v>
                </c:pt>
                <c:pt idx="24177">
                  <c:v>-8.4033613445377801E-3</c:v>
                </c:pt>
                <c:pt idx="24178">
                  <c:v>-8.4033613445377801E-3</c:v>
                </c:pt>
                <c:pt idx="24179">
                  <c:v>-8.4033613445377801E-3</c:v>
                </c:pt>
                <c:pt idx="24180">
                  <c:v>-8.4033613445377801E-3</c:v>
                </c:pt>
                <c:pt idx="24181">
                  <c:v>-8.4033613445377801E-3</c:v>
                </c:pt>
                <c:pt idx="24182">
                  <c:v>-8.4033613445377801E-3</c:v>
                </c:pt>
                <c:pt idx="24183">
                  <c:v>-8.4033613445377801E-3</c:v>
                </c:pt>
                <c:pt idx="24184">
                  <c:v>-8.4033613445377801E-3</c:v>
                </c:pt>
                <c:pt idx="24185">
                  <c:v>-8.4033613445377801E-3</c:v>
                </c:pt>
                <c:pt idx="24186">
                  <c:v>-8.4033613445377801E-3</c:v>
                </c:pt>
                <c:pt idx="24187">
                  <c:v>-8.4033613445377801E-3</c:v>
                </c:pt>
                <c:pt idx="24188">
                  <c:v>-8.4033613445377801E-3</c:v>
                </c:pt>
                <c:pt idx="24189">
                  <c:v>-8.4033613445377801E-3</c:v>
                </c:pt>
                <c:pt idx="24190">
                  <c:v>-8.4033613445377801E-3</c:v>
                </c:pt>
                <c:pt idx="24191">
                  <c:v>-8.4033613445377801E-3</c:v>
                </c:pt>
                <c:pt idx="24192">
                  <c:v>-7.5630252100839998E-3</c:v>
                </c:pt>
                <c:pt idx="24193">
                  <c:v>-7.5630252100839998E-3</c:v>
                </c:pt>
                <c:pt idx="24194">
                  <c:v>-7.5630252100839998E-3</c:v>
                </c:pt>
                <c:pt idx="24195">
                  <c:v>-7.5630252100839998E-3</c:v>
                </c:pt>
                <c:pt idx="24196">
                  <c:v>-7.5630252100839998E-3</c:v>
                </c:pt>
                <c:pt idx="24197">
                  <c:v>-7.5630252100839998E-3</c:v>
                </c:pt>
                <c:pt idx="24198">
                  <c:v>-7.5630252100839998E-3</c:v>
                </c:pt>
                <c:pt idx="24199">
                  <c:v>-7.5630252100839998E-3</c:v>
                </c:pt>
                <c:pt idx="24200">
                  <c:v>-7.5630252100839998E-3</c:v>
                </c:pt>
                <c:pt idx="24201">
                  <c:v>-7.5630252100839998E-3</c:v>
                </c:pt>
                <c:pt idx="24202">
                  <c:v>-7.5630252100839998E-3</c:v>
                </c:pt>
                <c:pt idx="24203">
                  <c:v>-7.5630252100839998E-3</c:v>
                </c:pt>
                <c:pt idx="24204">
                  <c:v>-7.5630252100839998E-3</c:v>
                </c:pt>
                <c:pt idx="24205">
                  <c:v>-7.5630252100839998E-3</c:v>
                </c:pt>
                <c:pt idx="24206">
                  <c:v>-7.5630252100839998E-3</c:v>
                </c:pt>
                <c:pt idx="24207">
                  <c:v>-7.5630252100839998E-3</c:v>
                </c:pt>
                <c:pt idx="24208">
                  <c:v>-7.5630252100839998E-3</c:v>
                </c:pt>
                <c:pt idx="24209">
                  <c:v>-7.5630252100839998E-3</c:v>
                </c:pt>
                <c:pt idx="24210">
                  <c:v>-7.5630252100839998E-3</c:v>
                </c:pt>
                <c:pt idx="24211">
                  <c:v>-7.5630252100839998E-3</c:v>
                </c:pt>
                <c:pt idx="24212">
                  <c:v>-7.5630252100839998E-3</c:v>
                </c:pt>
                <c:pt idx="24213">
                  <c:v>-7.5630252100839998E-3</c:v>
                </c:pt>
                <c:pt idx="24214">
                  <c:v>-7.5630252100839998E-3</c:v>
                </c:pt>
                <c:pt idx="24215">
                  <c:v>-7.5630252100839998E-3</c:v>
                </c:pt>
                <c:pt idx="24216">
                  <c:v>-7.5630252100839998E-3</c:v>
                </c:pt>
                <c:pt idx="24217">
                  <c:v>-6.7226890756302204E-3</c:v>
                </c:pt>
                <c:pt idx="24218">
                  <c:v>-6.7226890756302204E-3</c:v>
                </c:pt>
                <c:pt idx="24219">
                  <c:v>-6.7226890756302204E-3</c:v>
                </c:pt>
                <c:pt idx="24220">
                  <c:v>-6.7226890756302204E-3</c:v>
                </c:pt>
                <c:pt idx="24221">
                  <c:v>-6.7226890756302204E-3</c:v>
                </c:pt>
                <c:pt idx="24222">
                  <c:v>-6.7226890756302204E-3</c:v>
                </c:pt>
                <c:pt idx="24223">
                  <c:v>-6.7226890756302204E-3</c:v>
                </c:pt>
                <c:pt idx="24224">
                  <c:v>-6.7226890756302204E-3</c:v>
                </c:pt>
                <c:pt idx="24225">
                  <c:v>-6.7226890756302204E-3</c:v>
                </c:pt>
                <c:pt idx="24226">
                  <c:v>-6.7226890756302204E-3</c:v>
                </c:pt>
                <c:pt idx="24227">
                  <c:v>-6.7226890756302204E-3</c:v>
                </c:pt>
                <c:pt idx="24228">
                  <c:v>-6.7226890756302204E-3</c:v>
                </c:pt>
                <c:pt idx="24229">
                  <c:v>-6.7226890756302204E-3</c:v>
                </c:pt>
                <c:pt idx="24230">
                  <c:v>-6.7226890756302204E-3</c:v>
                </c:pt>
                <c:pt idx="24231">
                  <c:v>-6.7226890756302204E-3</c:v>
                </c:pt>
                <c:pt idx="24232">
                  <c:v>-6.7226890756302204E-3</c:v>
                </c:pt>
                <c:pt idx="24233">
                  <c:v>-5.8823529411764497E-3</c:v>
                </c:pt>
                <c:pt idx="24234">
                  <c:v>-5.8823529411764497E-3</c:v>
                </c:pt>
                <c:pt idx="24235">
                  <c:v>-5.8823529411764497E-3</c:v>
                </c:pt>
                <c:pt idx="24236">
                  <c:v>-5.8823529411764497E-3</c:v>
                </c:pt>
                <c:pt idx="24237">
                  <c:v>-5.8823529411764497E-3</c:v>
                </c:pt>
                <c:pt idx="24238">
                  <c:v>-5.8823529411764497E-3</c:v>
                </c:pt>
                <c:pt idx="24239">
                  <c:v>-5.8823529411764497E-3</c:v>
                </c:pt>
                <c:pt idx="24240">
                  <c:v>-5.8823529411764497E-3</c:v>
                </c:pt>
                <c:pt idx="24241">
                  <c:v>-5.8823529411764497E-3</c:v>
                </c:pt>
                <c:pt idx="24242">
                  <c:v>-5.8823529411764497E-3</c:v>
                </c:pt>
                <c:pt idx="24243">
                  <c:v>-5.8823529411764497E-3</c:v>
                </c:pt>
                <c:pt idx="24244">
                  <c:v>-5.0420168067226703E-3</c:v>
                </c:pt>
                <c:pt idx="24245">
                  <c:v>-5.0420168067226703E-3</c:v>
                </c:pt>
                <c:pt idx="24246">
                  <c:v>-5.8823529411765598E-3</c:v>
                </c:pt>
                <c:pt idx="24247">
                  <c:v>-5.8823529411765598E-3</c:v>
                </c:pt>
                <c:pt idx="24248">
                  <c:v>-5.8823529411765598E-3</c:v>
                </c:pt>
                <c:pt idx="24249">
                  <c:v>-5.8823529411765598E-3</c:v>
                </c:pt>
                <c:pt idx="24250">
                  <c:v>-5.8823529411765598E-3</c:v>
                </c:pt>
                <c:pt idx="24251">
                  <c:v>-5.8823529411765598E-3</c:v>
                </c:pt>
                <c:pt idx="24252">
                  <c:v>-5.8823529411765598E-3</c:v>
                </c:pt>
                <c:pt idx="24253">
                  <c:v>-5.8823529411765598E-3</c:v>
                </c:pt>
                <c:pt idx="24254">
                  <c:v>-5.8823529411765598E-3</c:v>
                </c:pt>
                <c:pt idx="24255">
                  <c:v>-5.8823529411765598E-3</c:v>
                </c:pt>
                <c:pt idx="24256">
                  <c:v>-5.8823529411765598E-3</c:v>
                </c:pt>
                <c:pt idx="24257">
                  <c:v>-5.8823529411765598E-3</c:v>
                </c:pt>
                <c:pt idx="24258">
                  <c:v>-5.8823529411765598E-3</c:v>
                </c:pt>
                <c:pt idx="24259">
                  <c:v>-5.8823529411765598E-3</c:v>
                </c:pt>
                <c:pt idx="24260">
                  <c:v>-5.8823529411765598E-3</c:v>
                </c:pt>
                <c:pt idx="24261">
                  <c:v>-5.8823529411765598E-3</c:v>
                </c:pt>
                <c:pt idx="24262">
                  <c:v>-5.8823529411765598E-3</c:v>
                </c:pt>
                <c:pt idx="24263">
                  <c:v>-5.8823529411765598E-3</c:v>
                </c:pt>
                <c:pt idx="24264">
                  <c:v>-5.8823529411765598E-3</c:v>
                </c:pt>
                <c:pt idx="24265">
                  <c:v>-5.8823529411765598E-3</c:v>
                </c:pt>
                <c:pt idx="24266">
                  <c:v>-5.8823529411765598E-3</c:v>
                </c:pt>
                <c:pt idx="24267">
                  <c:v>-5.8823529411765598E-3</c:v>
                </c:pt>
                <c:pt idx="24268">
                  <c:v>-5.8823529411765598E-3</c:v>
                </c:pt>
                <c:pt idx="24269">
                  <c:v>-5.8823529411765598E-3</c:v>
                </c:pt>
                <c:pt idx="24270">
                  <c:v>-5.8823529411765598E-3</c:v>
                </c:pt>
                <c:pt idx="24271">
                  <c:v>-5.8823529411765598E-3</c:v>
                </c:pt>
                <c:pt idx="24272">
                  <c:v>-5.8823529411765598E-3</c:v>
                </c:pt>
                <c:pt idx="24273">
                  <c:v>-5.8823529411765598E-3</c:v>
                </c:pt>
                <c:pt idx="24274">
                  <c:v>-5.8823529411765598E-3</c:v>
                </c:pt>
                <c:pt idx="24275">
                  <c:v>-5.8823529411765598E-3</c:v>
                </c:pt>
                <c:pt idx="24276">
                  <c:v>-5.8823529411765598E-3</c:v>
                </c:pt>
                <c:pt idx="24277">
                  <c:v>-5.8823529411765598E-3</c:v>
                </c:pt>
                <c:pt idx="24278">
                  <c:v>-5.8823529411765598E-3</c:v>
                </c:pt>
                <c:pt idx="24279">
                  <c:v>-5.8823529411765598E-3</c:v>
                </c:pt>
                <c:pt idx="24280">
                  <c:v>-5.8823529411765598E-3</c:v>
                </c:pt>
                <c:pt idx="24281">
                  <c:v>-5.8823529411765598E-3</c:v>
                </c:pt>
                <c:pt idx="24282">
                  <c:v>-5.0420168067227796E-3</c:v>
                </c:pt>
                <c:pt idx="24283">
                  <c:v>-5.0420168067227796E-3</c:v>
                </c:pt>
                <c:pt idx="24284">
                  <c:v>-5.0420168067227796E-3</c:v>
                </c:pt>
                <c:pt idx="24285">
                  <c:v>-5.0420168067227796E-3</c:v>
                </c:pt>
                <c:pt idx="24286">
                  <c:v>-5.0420168067227796E-3</c:v>
                </c:pt>
                <c:pt idx="24287">
                  <c:v>-5.0420168067227796E-3</c:v>
                </c:pt>
                <c:pt idx="24288">
                  <c:v>-5.0420168067227796E-3</c:v>
                </c:pt>
                <c:pt idx="24289">
                  <c:v>-5.0420168067227796E-3</c:v>
                </c:pt>
                <c:pt idx="24290">
                  <c:v>-5.0420168067227796E-3</c:v>
                </c:pt>
                <c:pt idx="24291">
                  <c:v>-5.0420168067227796E-3</c:v>
                </c:pt>
                <c:pt idx="24292">
                  <c:v>-5.0420168067227796E-3</c:v>
                </c:pt>
                <c:pt idx="24293">
                  <c:v>-5.0420168067227796E-3</c:v>
                </c:pt>
                <c:pt idx="24294">
                  <c:v>-4.2016806722690002E-3</c:v>
                </c:pt>
                <c:pt idx="24295">
                  <c:v>-4.2016806722690002E-3</c:v>
                </c:pt>
                <c:pt idx="24296">
                  <c:v>-4.2016806722690002E-3</c:v>
                </c:pt>
                <c:pt idx="24297">
                  <c:v>-4.2016806722690002E-3</c:v>
                </c:pt>
                <c:pt idx="24298">
                  <c:v>-4.2016806722690002E-3</c:v>
                </c:pt>
                <c:pt idx="24299">
                  <c:v>-4.2016806722690002E-3</c:v>
                </c:pt>
                <c:pt idx="24300">
                  <c:v>-4.2016806722690002E-3</c:v>
                </c:pt>
                <c:pt idx="24301">
                  <c:v>-4.2016806722690002E-3</c:v>
                </c:pt>
                <c:pt idx="24302">
                  <c:v>-4.2016806722690002E-3</c:v>
                </c:pt>
                <c:pt idx="24303">
                  <c:v>-4.2016806722690002E-3</c:v>
                </c:pt>
                <c:pt idx="24304">
                  <c:v>-4.2016806722690002E-3</c:v>
                </c:pt>
                <c:pt idx="24305">
                  <c:v>-4.2016806722690002E-3</c:v>
                </c:pt>
                <c:pt idx="24306">
                  <c:v>-4.2016806722690002E-3</c:v>
                </c:pt>
                <c:pt idx="24307">
                  <c:v>-4.2016806722690002E-3</c:v>
                </c:pt>
                <c:pt idx="24308">
                  <c:v>-4.2016806722690002E-3</c:v>
                </c:pt>
                <c:pt idx="24309">
                  <c:v>-4.2016806722690002E-3</c:v>
                </c:pt>
                <c:pt idx="24310">
                  <c:v>-4.2016806722690002E-3</c:v>
                </c:pt>
                <c:pt idx="24311">
                  <c:v>-4.2016806722690002E-3</c:v>
                </c:pt>
                <c:pt idx="24312">
                  <c:v>-4.2016806722690002E-3</c:v>
                </c:pt>
                <c:pt idx="24313">
                  <c:v>-4.2016806722690002E-3</c:v>
                </c:pt>
                <c:pt idx="24314">
                  <c:v>-4.2016806722690002E-3</c:v>
                </c:pt>
                <c:pt idx="24315">
                  <c:v>-3.3613445378152199E-3</c:v>
                </c:pt>
                <c:pt idx="24316">
                  <c:v>-3.3613445378152199E-3</c:v>
                </c:pt>
                <c:pt idx="24317">
                  <c:v>-3.3613445378152199E-3</c:v>
                </c:pt>
                <c:pt idx="24318">
                  <c:v>-3.3613445378152199E-3</c:v>
                </c:pt>
                <c:pt idx="24319">
                  <c:v>-3.3613445378152199E-3</c:v>
                </c:pt>
                <c:pt idx="24320">
                  <c:v>-3.3613445378152199E-3</c:v>
                </c:pt>
                <c:pt idx="24321">
                  <c:v>-3.3613445378152199E-3</c:v>
                </c:pt>
                <c:pt idx="24322">
                  <c:v>-3.3613445378152199E-3</c:v>
                </c:pt>
                <c:pt idx="24323">
                  <c:v>-3.3613445378152199E-3</c:v>
                </c:pt>
                <c:pt idx="24324">
                  <c:v>-3.3613445378152199E-3</c:v>
                </c:pt>
                <c:pt idx="24325">
                  <c:v>-3.3613445378152199E-3</c:v>
                </c:pt>
                <c:pt idx="24326">
                  <c:v>-3.3613445378152199E-3</c:v>
                </c:pt>
                <c:pt idx="24327">
                  <c:v>-3.3613445378152199E-3</c:v>
                </c:pt>
                <c:pt idx="24328">
                  <c:v>-3.3613445378152199E-3</c:v>
                </c:pt>
                <c:pt idx="24329">
                  <c:v>-3.3613445378152199E-3</c:v>
                </c:pt>
                <c:pt idx="24330">
                  <c:v>-3.3613445378152199E-3</c:v>
                </c:pt>
                <c:pt idx="24331">
                  <c:v>-2.5210084033614401E-3</c:v>
                </c:pt>
                <c:pt idx="24332">
                  <c:v>-2.5210084033614401E-3</c:v>
                </c:pt>
                <c:pt idx="24333">
                  <c:v>-2.5210084033614401E-3</c:v>
                </c:pt>
                <c:pt idx="24334">
                  <c:v>-2.5210084033614401E-3</c:v>
                </c:pt>
                <c:pt idx="24335">
                  <c:v>-1.6806722689076601E-3</c:v>
                </c:pt>
                <c:pt idx="24336">
                  <c:v>-1.6806722689076601E-3</c:v>
                </c:pt>
                <c:pt idx="24337">
                  <c:v>-1.6806722689076601E-3</c:v>
                </c:pt>
                <c:pt idx="24338">
                  <c:v>-1.6806722689076601E-3</c:v>
                </c:pt>
                <c:pt idx="24339">
                  <c:v>-1.6806722689076601E-3</c:v>
                </c:pt>
                <c:pt idx="24340">
                  <c:v>-1.6806722689076601E-3</c:v>
                </c:pt>
                <c:pt idx="24341">
                  <c:v>-1.6806722689076601E-3</c:v>
                </c:pt>
                <c:pt idx="24342">
                  <c:v>-1.6806722689076601E-3</c:v>
                </c:pt>
                <c:pt idx="24343">
                  <c:v>-1.6806722689076601E-3</c:v>
                </c:pt>
                <c:pt idx="24344">
                  <c:v>-1.6806722689076601E-3</c:v>
                </c:pt>
                <c:pt idx="24345">
                  <c:v>-1.6806722689076601E-3</c:v>
                </c:pt>
                <c:pt idx="24346">
                  <c:v>-1.6806722689076601E-3</c:v>
                </c:pt>
                <c:pt idx="24347">
                  <c:v>-1.6806722689076601E-3</c:v>
                </c:pt>
                <c:pt idx="24348">
                  <c:v>-1.6806722689076601E-3</c:v>
                </c:pt>
                <c:pt idx="24349">
                  <c:v>-1.6806722689076601E-3</c:v>
                </c:pt>
                <c:pt idx="24350">
                  <c:v>-1.6806722689076601E-3</c:v>
                </c:pt>
                <c:pt idx="24351">
                  <c:v>-1.6806722689076601E-3</c:v>
                </c:pt>
                <c:pt idx="24352">
                  <c:v>-1.6806722689076601E-3</c:v>
                </c:pt>
                <c:pt idx="24353">
                  <c:v>-1.6806722689076601E-3</c:v>
                </c:pt>
                <c:pt idx="24354">
                  <c:v>-1.6806722689076601E-3</c:v>
                </c:pt>
                <c:pt idx="24355">
                  <c:v>-1.6806722689076601E-3</c:v>
                </c:pt>
                <c:pt idx="24356">
                  <c:v>-1.6806722689076601E-3</c:v>
                </c:pt>
                <c:pt idx="24357">
                  <c:v>-1.6806722689076601E-3</c:v>
                </c:pt>
                <c:pt idx="24358">
                  <c:v>-1.6806722689076601E-3</c:v>
                </c:pt>
                <c:pt idx="24359">
                  <c:v>-2.5210084033614401E-3</c:v>
                </c:pt>
                <c:pt idx="24360">
                  <c:v>-2.5210084033614401E-3</c:v>
                </c:pt>
                <c:pt idx="24361">
                  <c:v>-2.5210084033614401E-3</c:v>
                </c:pt>
                <c:pt idx="24362">
                  <c:v>-2.5210084033614401E-3</c:v>
                </c:pt>
                <c:pt idx="24363">
                  <c:v>-2.5210084033614401E-3</c:v>
                </c:pt>
                <c:pt idx="24364">
                  <c:v>-2.5210084033614401E-3</c:v>
                </c:pt>
                <c:pt idx="24365">
                  <c:v>-2.5210084033614401E-3</c:v>
                </c:pt>
                <c:pt idx="24366">
                  <c:v>-2.5210084033614401E-3</c:v>
                </c:pt>
                <c:pt idx="24367">
                  <c:v>-2.5210084033614401E-3</c:v>
                </c:pt>
                <c:pt idx="24368">
                  <c:v>-2.5210084033614401E-3</c:v>
                </c:pt>
                <c:pt idx="24369">
                  <c:v>-2.5210084033614401E-3</c:v>
                </c:pt>
                <c:pt idx="24370">
                  <c:v>-2.5210084033614401E-3</c:v>
                </c:pt>
                <c:pt idx="24371">
                  <c:v>-2.5210084033614401E-3</c:v>
                </c:pt>
                <c:pt idx="24372">
                  <c:v>-2.5210084033614401E-3</c:v>
                </c:pt>
                <c:pt idx="24373">
                  <c:v>-2.5210084033614401E-3</c:v>
                </c:pt>
                <c:pt idx="24374">
                  <c:v>-2.5210084033614401E-3</c:v>
                </c:pt>
                <c:pt idx="24375">
                  <c:v>-2.5210084033614401E-3</c:v>
                </c:pt>
                <c:pt idx="24376">
                  <c:v>-2.5210084033614401E-3</c:v>
                </c:pt>
                <c:pt idx="24377">
                  <c:v>-2.5210084033614401E-3</c:v>
                </c:pt>
                <c:pt idx="24378">
                  <c:v>-2.5210084033614401E-3</c:v>
                </c:pt>
                <c:pt idx="24379">
                  <c:v>-2.5210084033614401E-3</c:v>
                </c:pt>
                <c:pt idx="24380">
                  <c:v>-2.5210084033614401E-3</c:v>
                </c:pt>
                <c:pt idx="24381">
                  <c:v>-2.5210084033614401E-3</c:v>
                </c:pt>
                <c:pt idx="24382">
                  <c:v>-2.5210084033614401E-3</c:v>
                </c:pt>
                <c:pt idx="24383">
                  <c:v>-2.5210084033614401E-3</c:v>
                </c:pt>
                <c:pt idx="24384">
                  <c:v>-2.5210084033614401E-3</c:v>
                </c:pt>
                <c:pt idx="24385">
                  <c:v>-2.5210084033614401E-3</c:v>
                </c:pt>
                <c:pt idx="24386">
                  <c:v>-2.5210084033614401E-3</c:v>
                </c:pt>
                <c:pt idx="24387">
                  <c:v>-2.5210084033614401E-3</c:v>
                </c:pt>
                <c:pt idx="24388">
                  <c:v>-2.5210084033614401E-3</c:v>
                </c:pt>
                <c:pt idx="24389">
                  <c:v>-2.5210084033614401E-3</c:v>
                </c:pt>
                <c:pt idx="24390">
                  <c:v>-2.5210084033614401E-3</c:v>
                </c:pt>
                <c:pt idx="24391">
                  <c:v>-2.5210084033614401E-3</c:v>
                </c:pt>
                <c:pt idx="24392">
                  <c:v>-2.5210084033614401E-3</c:v>
                </c:pt>
                <c:pt idx="24393">
                  <c:v>-1.6806722689076601E-3</c:v>
                </c:pt>
                <c:pt idx="24394">
                  <c:v>-1.6806722689076601E-3</c:v>
                </c:pt>
                <c:pt idx="24395">
                  <c:v>-1.6806722689076601E-3</c:v>
                </c:pt>
                <c:pt idx="24396">
                  <c:v>-1.6806722689076601E-3</c:v>
                </c:pt>
                <c:pt idx="24397">
                  <c:v>-1.6806722689076601E-3</c:v>
                </c:pt>
                <c:pt idx="24398">
                  <c:v>-1.6806722689076601E-3</c:v>
                </c:pt>
                <c:pt idx="24399">
                  <c:v>-1.6806722689076601E-3</c:v>
                </c:pt>
                <c:pt idx="24400">
                  <c:v>-1.6806722689076601E-3</c:v>
                </c:pt>
                <c:pt idx="24401">
                  <c:v>-1.6806722689076601E-3</c:v>
                </c:pt>
                <c:pt idx="24402">
                  <c:v>-1.6806722689076601E-3</c:v>
                </c:pt>
                <c:pt idx="24403">
                  <c:v>-1.6806722689076601E-3</c:v>
                </c:pt>
                <c:pt idx="24404">
                  <c:v>-8.4033613445377799E-4</c:v>
                </c:pt>
                <c:pt idx="24405">
                  <c:v>-8.4033613445377799E-4</c:v>
                </c:pt>
                <c:pt idx="24406">
                  <c:v>-8.4033613445377799E-4</c:v>
                </c:pt>
                <c:pt idx="24407">
                  <c:v>-8.4033613445377799E-4</c:v>
                </c:pt>
                <c:pt idx="24408">
                  <c:v>-8.4033613445377799E-4</c:v>
                </c:pt>
                <c:pt idx="24409">
                  <c:v>-8.4033613445377799E-4</c:v>
                </c:pt>
                <c:pt idx="24410">
                  <c:v>-8.4033613445377799E-4</c:v>
                </c:pt>
                <c:pt idx="24411">
                  <c:v>-8.4033613445377799E-4</c:v>
                </c:pt>
                <c:pt idx="24412">
                  <c:v>-8.4033613445377799E-4</c:v>
                </c:pt>
                <c:pt idx="24413">
                  <c:v>-8.4033613445377799E-4</c:v>
                </c:pt>
                <c:pt idx="24414">
                  <c:v>-1.6806722689075499E-3</c:v>
                </c:pt>
                <c:pt idx="24415">
                  <c:v>-1.6806722689075499E-3</c:v>
                </c:pt>
                <c:pt idx="24416">
                  <c:v>-1.6806722689075499E-3</c:v>
                </c:pt>
                <c:pt idx="24417">
                  <c:v>-1.6806722689075499E-3</c:v>
                </c:pt>
                <c:pt idx="24418">
                  <c:v>-1.6806722689075499E-3</c:v>
                </c:pt>
                <c:pt idx="24419">
                  <c:v>-1.6806722689075499E-3</c:v>
                </c:pt>
                <c:pt idx="24420">
                  <c:v>-1.6806722689075499E-3</c:v>
                </c:pt>
                <c:pt idx="24421">
                  <c:v>-8.4033613445377799E-4</c:v>
                </c:pt>
                <c:pt idx="24422">
                  <c:v>-8.4033613445377799E-4</c:v>
                </c:pt>
                <c:pt idx="24423">
                  <c:v>-8.4033613445377799E-4</c:v>
                </c:pt>
                <c:pt idx="24424">
                  <c:v>-8.4033613445377799E-4</c:v>
                </c:pt>
                <c:pt idx="24425">
                  <c:v>-8.4033613445377799E-4</c:v>
                </c:pt>
                <c:pt idx="24426">
                  <c:v>0</c:v>
                </c:pt>
                <c:pt idx="24427">
                  <c:v>0</c:v>
                </c:pt>
                <c:pt idx="24428">
                  <c:v>8.4033613445377799E-4</c:v>
                </c:pt>
                <c:pt idx="24429">
                  <c:v>8.4033613445377799E-4</c:v>
                </c:pt>
                <c:pt idx="24430">
                  <c:v>8.4033613445377799E-4</c:v>
                </c:pt>
                <c:pt idx="24431">
                  <c:v>8.4033613445377799E-4</c:v>
                </c:pt>
                <c:pt idx="24432">
                  <c:v>8.4033613445377799E-4</c:v>
                </c:pt>
                <c:pt idx="24433">
                  <c:v>0</c:v>
                </c:pt>
                <c:pt idx="24434">
                  <c:v>0</c:v>
                </c:pt>
                <c:pt idx="24435">
                  <c:v>0</c:v>
                </c:pt>
                <c:pt idx="24436">
                  <c:v>0</c:v>
                </c:pt>
                <c:pt idx="24437">
                  <c:v>0</c:v>
                </c:pt>
                <c:pt idx="24438">
                  <c:v>0</c:v>
                </c:pt>
                <c:pt idx="24439">
                  <c:v>0</c:v>
                </c:pt>
                <c:pt idx="24440">
                  <c:v>0</c:v>
                </c:pt>
                <c:pt idx="24441">
                  <c:v>0</c:v>
                </c:pt>
                <c:pt idx="24442">
                  <c:v>0</c:v>
                </c:pt>
                <c:pt idx="24443">
                  <c:v>0</c:v>
                </c:pt>
                <c:pt idx="24444">
                  <c:v>0</c:v>
                </c:pt>
                <c:pt idx="24445">
                  <c:v>0</c:v>
                </c:pt>
                <c:pt idx="24446">
                  <c:v>0</c:v>
                </c:pt>
                <c:pt idx="24447">
                  <c:v>0</c:v>
                </c:pt>
                <c:pt idx="24448">
                  <c:v>0</c:v>
                </c:pt>
                <c:pt idx="24449">
                  <c:v>-8.4033613445377799E-4</c:v>
                </c:pt>
                <c:pt idx="24450">
                  <c:v>-8.4033613445377799E-4</c:v>
                </c:pt>
                <c:pt idx="24451">
                  <c:v>-8.4033613445377799E-4</c:v>
                </c:pt>
                <c:pt idx="24452">
                  <c:v>-8.4033613445377799E-4</c:v>
                </c:pt>
                <c:pt idx="24453">
                  <c:v>-8.4033613445377799E-4</c:v>
                </c:pt>
                <c:pt idx="24454">
                  <c:v>-8.4033613445377799E-4</c:v>
                </c:pt>
                <c:pt idx="24455">
                  <c:v>-8.4033613445377799E-4</c:v>
                </c:pt>
                <c:pt idx="24456">
                  <c:v>-8.4033613445377799E-4</c:v>
                </c:pt>
                <c:pt idx="24457">
                  <c:v>-8.4033613445377799E-4</c:v>
                </c:pt>
                <c:pt idx="24458">
                  <c:v>-8.4033613445377799E-4</c:v>
                </c:pt>
                <c:pt idx="24459">
                  <c:v>-8.4033613445377799E-4</c:v>
                </c:pt>
                <c:pt idx="24460">
                  <c:v>-8.4033613445377799E-4</c:v>
                </c:pt>
                <c:pt idx="24461">
                  <c:v>-8.4033613445377799E-4</c:v>
                </c:pt>
                <c:pt idx="24462">
                  <c:v>-8.4033613445377799E-4</c:v>
                </c:pt>
                <c:pt idx="24463">
                  <c:v>-8.4033613445377799E-4</c:v>
                </c:pt>
                <c:pt idx="24464">
                  <c:v>-8.4033613445377799E-4</c:v>
                </c:pt>
                <c:pt idx="24465">
                  <c:v>-8.4033613445377799E-4</c:v>
                </c:pt>
                <c:pt idx="24466">
                  <c:v>-8.4033613445377799E-4</c:v>
                </c:pt>
                <c:pt idx="24467">
                  <c:v>-8.4033613445377799E-4</c:v>
                </c:pt>
                <c:pt idx="24468">
                  <c:v>-8.4033613445377799E-4</c:v>
                </c:pt>
                <c:pt idx="24469">
                  <c:v>-8.4033613445377799E-4</c:v>
                </c:pt>
                <c:pt idx="24470">
                  <c:v>-8.4033613445377799E-4</c:v>
                </c:pt>
                <c:pt idx="24471">
                  <c:v>-8.4033613445377799E-4</c:v>
                </c:pt>
                <c:pt idx="24472">
                  <c:v>-8.4033613445377799E-4</c:v>
                </c:pt>
                <c:pt idx="24473">
                  <c:v>-8.4033613445377799E-4</c:v>
                </c:pt>
                <c:pt idx="24474">
                  <c:v>-8.4033613445377799E-4</c:v>
                </c:pt>
                <c:pt idx="24475">
                  <c:v>-8.4033613445377799E-4</c:v>
                </c:pt>
                <c:pt idx="24476">
                  <c:v>-8.4033613445377799E-4</c:v>
                </c:pt>
                <c:pt idx="24477">
                  <c:v>-8.4033613445377799E-4</c:v>
                </c:pt>
                <c:pt idx="24478">
                  <c:v>-8.4033613445377799E-4</c:v>
                </c:pt>
                <c:pt idx="24479">
                  <c:v>-8.4033613445377799E-4</c:v>
                </c:pt>
                <c:pt idx="24480">
                  <c:v>-8.4033613445377799E-4</c:v>
                </c:pt>
                <c:pt idx="24481">
                  <c:v>-8.4033613445377799E-4</c:v>
                </c:pt>
                <c:pt idx="24482">
                  <c:v>-8.4033613445377799E-4</c:v>
                </c:pt>
                <c:pt idx="24483">
                  <c:v>-8.4033613445377799E-4</c:v>
                </c:pt>
                <c:pt idx="24484">
                  <c:v>-8.4033613445377799E-4</c:v>
                </c:pt>
                <c:pt idx="24485">
                  <c:v>-8.4033613445377799E-4</c:v>
                </c:pt>
                <c:pt idx="24486">
                  <c:v>-8.4033613445377799E-4</c:v>
                </c:pt>
                <c:pt idx="24487">
                  <c:v>-8.4033613445377799E-4</c:v>
                </c:pt>
                <c:pt idx="24488">
                  <c:v>-8.4033613445377799E-4</c:v>
                </c:pt>
                <c:pt idx="24489">
                  <c:v>0</c:v>
                </c:pt>
                <c:pt idx="24490">
                  <c:v>0</c:v>
                </c:pt>
                <c:pt idx="24491">
                  <c:v>0</c:v>
                </c:pt>
                <c:pt idx="24492">
                  <c:v>0</c:v>
                </c:pt>
                <c:pt idx="24493">
                  <c:v>0</c:v>
                </c:pt>
                <c:pt idx="24494">
                  <c:v>0</c:v>
                </c:pt>
                <c:pt idx="24495">
                  <c:v>0</c:v>
                </c:pt>
                <c:pt idx="24496">
                  <c:v>0</c:v>
                </c:pt>
                <c:pt idx="24497">
                  <c:v>0</c:v>
                </c:pt>
                <c:pt idx="24498">
                  <c:v>0</c:v>
                </c:pt>
                <c:pt idx="24499">
                  <c:v>0</c:v>
                </c:pt>
                <c:pt idx="24500">
                  <c:v>-8.4033613445377799E-4</c:v>
                </c:pt>
                <c:pt idx="24501">
                  <c:v>-8.4033613445377799E-4</c:v>
                </c:pt>
                <c:pt idx="24502">
                  <c:v>-8.4033613445377799E-4</c:v>
                </c:pt>
                <c:pt idx="24503">
                  <c:v>-8.4033613445377799E-4</c:v>
                </c:pt>
                <c:pt idx="24504">
                  <c:v>-8.4033613445377799E-4</c:v>
                </c:pt>
                <c:pt idx="24505">
                  <c:v>-8.4033613445377799E-4</c:v>
                </c:pt>
                <c:pt idx="24506">
                  <c:v>-8.4033613445377799E-4</c:v>
                </c:pt>
                <c:pt idx="24507">
                  <c:v>-8.4033613445377799E-4</c:v>
                </c:pt>
                <c:pt idx="24508">
                  <c:v>-8.4033613445377799E-4</c:v>
                </c:pt>
                <c:pt idx="24509">
                  <c:v>-8.4033613445377799E-4</c:v>
                </c:pt>
                <c:pt idx="24510">
                  <c:v>-8.4033613445377799E-4</c:v>
                </c:pt>
                <c:pt idx="24511">
                  <c:v>-8.4033613445377799E-4</c:v>
                </c:pt>
                <c:pt idx="24512">
                  <c:v>-1.6806722689075499E-3</c:v>
                </c:pt>
                <c:pt idx="24513">
                  <c:v>-1.6806722689075499E-3</c:v>
                </c:pt>
                <c:pt idx="24514">
                  <c:v>-1.6806722689075499E-3</c:v>
                </c:pt>
                <c:pt idx="24515">
                  <c:v>-1.6806722689075499E-3</c:v>
                </c:pt>
                <c:pt idx="24516">
                  <c:v>-1.6806722689075499E-3</c:v>
                </c:pt>
                <c:pt idx="24517">
                  <c:v>-1.6806722689075499E-3</c:v>
                </c:pt>
                <c:pt idx="24518">
                  <c:v>-1.6806722689075499E-3</c:v>
                </c:pt>
                <c:pt idx="24519">
                  <c:v>-1.6806722689075499E-3</c:v>
                </c:pt>
                <c:pt idx="24520">
                  <c:v>-1.6806722689075499E-3</c:v>
                </c:pt>
                <c:pt idx="24521">
                  <c:v>-1.6806722689075499E-3</c:v>
                </c:pt>
                <c:pt idx="24522">
                  <c:v>-1.6806722689075499E-3</c:v>
                </c:pt>
                <c:pt idx="24523">
                  <c:v>-1.6806722689075499E-3</c:v>
                </c:pt>
                <c:pt idx="24524">
                  <c:v>-1.6806722689075499E-3</c:v>
                </c:pt>
                <c:pt idx="24525">
                  <c:v>-1.6806722689075499E-3</c:v>
                </c:pt>
                <c:pt idx="24526">
                  <c:v>-1.6806722689075499E-3</c:v>
                </c:pt>
                <c:pt idx="24527">
                  <c:v>-2.5210084033613299E-3</c:v>
                </c:pt>
                <c:pt idx="24528">
                  <c:v>-2.5210084033613299E-3</c:v>
                </c:pt>
                <c:pt idx="24529">
                  <c:v>-2.5210084033613299E-3</c:v>
                </c:pt>
                <c:pt idx="24530">
                  <c:v>-1.6806722689075499E-3</c:v>
                </c:pt>
                <c:pt idx="24531">
                  <c:v>-1.6806722689075499E-3</c:v>
                </c:pt>
                <c:pt idx="24532">
                  <c:v>-2.5210084033613299E-3</c:v>
                </c:pt>
                <c:pt idx="24533">
                  <c:v>-2.5210084033613299E-3</c:v>
                </c:pt>
                <c:pt idx="24534">
                  <c:v>-2.5210084033613299E-3</c:v>
                </c:pt>
                <c:pt idx="24535">
                  <c:v>-2.5210084033613299E-3</c:v>
                </c:pt>
                <c:pt idx="24536">
                  <c:v>-2.5210084033613299E-3</c:v>
                </c:pt>
                <c:pt idx="24537">
                  <c:v>-2.5210084033613299E-3</c:v>
                </c:pt>
                <c:pt idx="24538">
                  <c:v>-2.5210084033613299E-3</c:v>
                </c:pt>
                <c:pt idx="24539">
                  <c:v>-2.5210084033613299E-3</c:v>
                </c:pt>
                <c:pt idx="24540">
                  <c:v>-2.5210084033613299E-3</c:v>
                </c:pt>
                <c:pt idx="24541">
                  <c:v>-2.5210084033613299E-3</c:v>
                </c:pt>
                <c:pt idx="24542">
                  <c:v>-2.5210084033613299E-3</c:v>
                </c:pt>
                <c:pt idx="24543">
                  <c:v>-2.5210084033613299E-3</c:v>
                </c:pt>
                <c:pt idx="24544">
                  <c:v>-2.5210084033613299E-3</c:v>
                </c:pt>
                <c:pt idx="24545">
                  <c:v>-2.5210084033613299E-3</c:v>
                </c:pt>
                <c:pt idx="24546">
                  <c:v>-2.5210084033613299E-3</c:v>
                </c:pt>
                <c:pt idx="24547">
                  <c:v>-2.5210084033613299E-3</c:v>
                </c:pt>
                <c:pt idx="24548">
                  <c:v>-2.5210084033613299E-3</c:v>
                </c:pt>
                <c:pt idx="24549">
                  <c:v>-2.5210084033613299E-3</c:v>
                </c:pt>
                <c:pt idx="24550">
                  <c:v>-2.5210084033613299E-3</c:v>
                </c:pt>
                <c:pt idx="24551">
                  <c:v>-2.5210084033613299E-3</c:v>
                </c:pt>
                <c:pt idx="24552">
                  <c:v>-2.5210084033613299E-3</c:v>
                </c:pt>
                <c:pt idx="24553">
                  <c:v>-2.5210084033613299E-3</c:v>
                </c:pt>
                <c:pt idx="24554">
                  <c:v>-2.5210084033613299E-3</c:v>
                </c:pt>
                <c:pt idx="24555">
                  <c:v>-2.5210084033613299E-3</c:v>
                </c:pt>
                <c:pt idx="24556">
                  <c:v>-2.5210084033613299E-3</c:v>
                </c:pt>
                <c:pt idx="24557">
                  <c:v>-2.5210084033613299E-3</c:v>
                </c:pt>
                <c:pt idx="24558">
                  <c:v>-2.5210084033613299E-3</c:v>
                </c:pt>
                <c:pt idx="24559">
                  <c:v>-2.5210084033613299E-3</c:v>
                </c:pt>
                <c:pt idx="24560">
                  <c:v>-2.5210084033613299E-3</c:v>
                </c:pt>
                <c:pt idx="24561">
                  <c:v>-2.5210084033613299E-3</c:v>
                </c:pt>
                <c:pt idx="24562">
                  <c:v>-2.5210084033613299E-3</c:v>
                </c:pt>
                <c:pt idx="24563">
                  <c:v>-2.5210084033613299E-3</c:v>
                </c:pt>
                <c:pt idx="24564">
                  <c:v>-2.5210084033613299E-3</c:v>
                </c:pt>
                <c:pt idx="24565">
                  <c:v>-3.3613445378151102E-3</c:v>
                </c:pt>
                <c:pt idx="24566">
                  <c:v>-3.3613445378151102E-3</c:v>
                </c:pt>
                <c:pt idx="24567">
                  <c:v>-3.3613445378151102E-3</c:v>
                </c:pt>
                <c:pt idx="24568">
                  <c:v>-4.20168067226889E-3</c:v>
                </c:pt>
                <c:pt idx="24569">
                  <c:v>-4.20168067226889E-3</c:v>
                </c:pt>
                <c:pt idx="24570">
                  <c:v>-4.20168067226889E-3</c:v>
                </c:pt>
                <c:pt idx="24571">
                  <c:v>-4.20168067226889E-3</c:v>
                </c:pt>
                <c:pt idx="24572">
                  <c:v>-4.20168067226889E-3</c:v>
                </c:pt>
                <c:pt idx="24573">
                  <c:v>-4.20168067226889E-3</c:v>
                </c:pt>
                <c:pt idx="24574">
                  <c:v>-4.20168067226889E-3</c:v>
                </c:pt>
                <c:pt idx="24575">
                  <c:v>-4.20168067226889E-3</c:v>
                </c:pt>
                <c:pt idx="24576">
                  <c:v>-4.20168067226889E-3</c:v>
                </c:pt>
                <c:pt idx="24577">
                  <c:v>-4.20168067226889E-3</c:v>
                </c:pt>
                <c:pt idx="24578">
                  <c:v>-3.3613445378151102E-3</c:v>
                </c:pt>
                <c:pt idx="24579">
                  <c:v>-3.3613445378151102E-3</c:v>
                </c:pt>
                <c:pt idx="24580">
                  <c:v>-3.3613445378151102E-3</c:v>
                </c:pt>
                <c:pt idx="24581">
                  <c:v>-3.3613445378151102E-3</c:v>
                </c:pt>
                <c:pt idx="24582">
                  <c:v>-3.3613445378151102E-3</c:v>
                </c:pt>
                <c:pt idx="24583">
                  <c:v>-3.3613445378151102E-3</c:v>
                </c:pt>
                <c:pt idx="24584">
                  <c:v>-3.3613445378151102E-3</c:v>
                </c:pt>
                <c:pt idx="24585">
                  <c:v>-3.3613445378151102E-3</c:v>
                </c:pt>
                <c:pt idx="24586">
                  <c:v>-3.3613445378151102E-3</c:v>
                </c:pt>
                <c:pt idx="24587">
                  <c:v>-3.3613445378151102E-3</c:v>
                </c:pt>
                <c:pt idx="24588">
                  <c:v>-3.3613445378151102E-3</c:v>
                </c:pt>
                <c:pt idx="24589">
                  <c:v>-3.3613445378151102E-3</c:v>
                </c:pt>
                <c:pt idx="24590">
                  <c:v>-3.3613445378151102E-3</c:v>
                </c:pt>
                <c:pt idx="24591">
                  <c:v>-3.3613445378151102E-3</c:v>
                </c:pt>
                <c:pt idx="24592">
                  <c:v>-3.3613445378151102E-3</c:v>
                </c:pt>
                <c:pt idx="24593">
                  <c:v>-3.3613445378151102E-3</c:v>
                </c:pt>
                <c:pt idx="24594">
                  <c:v>-3.3613445378151102E-3</c:v>
                </c:pt>
                <c:pt idx="24595">
                  <c:v>-3.3613445378151102E-3</c:v>
                </c:pt>
                <c:pt idx="24596">
                  <c:v>-3.3613445378151102E-3</c:v>
                </c:pt>
                <c:pt idx="24597">
                  <c:v>-4.20168067226889E-3</c:v>
                </c:pt>
                <c:pt idx="24598">
                  <c:v>-4.20168067226889E-3</c:v>
                </c:pt>
                <c:pt idx="24599">
                  <c:v>-4.20168067226889E-3</c:v>
                </c:pt>
                <c:pt idx="24600">
                  <c:v>-4.20168067226889E-3</c:v>
                </c:pt>
                <c:pt idx="24601">
                  <c:v>-4.20168067226889E-3</c:v>
                </c:pt>
                <c:pt idx="24602">
                  <c:v>-4.20168067226889E-3</c:v>
                </c:pt>
                <c:pt idx="24603">
                  <c:v>-4.20168067226889E-3</c:v>
                </c:pt>
                <c:pt idx="24604">
                  <c:v>-4.20168067226889E-3</c:v>
                </c:pt>
                <c:pt idx="24605">
                  <c:v>-4.20168067226889E-3</c:v>
                </c:pt>
                <c:pt idx="24606">
                  <c:v>-4.20168067226889E-3</c:v>
                </c:pt>
                <c:pt idx="24607">
                  <c:v>-4.20168067226889E-3</c:v>
                </c:pt>
                <c:pt idx="24608">
                  <c:v>-4.20168067226889E-3</c:v>
                </c:pt>
                <c:pt idx="24609">
                  <c:v>-4.20168067226889E-3</c:v>
                </c:pt>
                <c:pt idx="24610">
                  <c:v>-4.20168067226889E-3</c:v>
                </c:pt>
                <c:pt idx="24611">
                  <c:v>-4.20168067226889E-3</c:v>
                </c:pt>
                <c:pt idx="24612">
                  <c:v>-4.20168067226889E-3</c:v>
                </c:pt>
                <c:pt idx="24613">
                  <c:v>-4.20168067226889E-3</c:v>
                </c:pt>
                <c:pt idx="24614">
                  <c:v>-4.20168067226889E-3</c:v>
                </c:pt>
                <c:pt idx="24615">
                  <c:v>-4.20168067226889E-3</c:v>
                </c:pt>
                <c:pt idx="24616">
                  <c:v>-4.20168067226889E-3</c:v>
                </c:pt>
                <c:pt idx="24617">
                  <c:v>-4.20168067226889E-3</c:v>
                </c:pt>
                <c:pt idx="24618">
                  <c:v>-4.20168067226889E-3</c:v>
                </c:pt>
                <c:pt idx="24619">
                  <c:v>-4.20168067226889E-3</c:v>
                </c:pt>
                <c:pt idx="24620">
                  <c:v>-4.20168067226889E-3</c:v>
                </c:pt>
                <c:pt idx="24621">
                  <c:v>-4.20168067226889E-3</c:v>
                </c:pt>
                <c:pt idx="24622">
                  <c:v>-4.20168067226889E-3</c:v>
                </c:pt>
                <c:pt idx="24623">
                  <c:v>-4.20168067226889E-3</c:v>
                </c:pt>
                <c:pt idx="24624">
                  <c:v>-4.20168067226889E-3</c:v>
                </c:pt>
                <c:pt idx="24625">
                  <c:v>-4.20168067226889E-3</c:v>
                </c:pt>
                <c:pt idx="24626">
                  <c:v>-4.20168067226889E-3</c:v>
                </c:pt>
                <c:pt idx="24627">
                  <c:v>-4.20168067226889E-3</c:v>
                </c:pt>
                <c:pt idx="24628">
                  <c:v>-4.20168067226889E-3</c:v>
                </c:pt>
                <c:pt idx="24629">
                  <c:v>-4.20168067226889E-3</c:v>
                </c:pt>
                <c:pt idx="24630">
                  <c:v>-4.20168067226889E-3</c:v>
                </c:pt>
                <c:pt idx="24631">
                  <c:v>-4.20168067226889E-3</c:v>
                </c:pt>
                <c:pt idx="24632">
                  <c:v>-4.20168067226889E-3</c:v>
                </c:pt>
                <c:pt idx="24633">
                  <c:v>-4.20168067226889E-3</c:v>
                </c:pt>
                <c:pt idx="24634">
                  <c:v>-4.20168067226889E-3</c:v>
                </c:pt>
                <c:pt idx="24635">
                  <c:v>-4.20168067226889E-3</c:v>
                </c:pt>
                <c:pt idx="24636">
                  <c:v>-4.20168067226889E-3</c:v>
                </c:pt>
                <c:pt idx="24637">
                  <c:v>-4.20168067226889E-3</c:v>
                </c:pt>
                <c:pt idx="24638">
                  <c:v>-4.20168067226889E-3</c:v>
                </c:pt>
                <c:pt idx="24639">
                  <c:v>-4.20168067226889E-3</c:v>
                </c:pt>
                <c:pt idx="24640">
                  <c:v>-4.20168067226889E-3</c:v>
                </c:pt>
                <c:pt idx="24641">
                  <c:v>-4.20168067226889E-3</c:v>
                </c:pt>
                <c:pt idx="24642">
                  <c:v>-4.20168067226889E-3</c:v>
                </c:pt>
                <c:pt idx="24643">
                  <c:v>-4.20168067226889E-3</c:v>
                </c:pt>
                <c:pt idx="24644">
                  <c:v>-3.3613445378151102E-3</c:v>
                </c:pt>
                <c:pt idx="24645">
                  <c:v>-3.3613445378151102E-3</c:v>
                </c:pt>
                <c:pt idx="24646">
                  <c:v>-3.3613445378151102E-3</c:v>
                </c:pt>
                <c:pt idx="24647">
                  <c:v>-3.3613445378151102E-3</c:v>
                </c:pt>
                <c:pt idx="24648">
                  <c:v>-3.3613445378151102E-3</c:v>
                </c:pt>
                <c:pt idx="24649">
                  <c:v>-3.3613445378151102E-3</c:v>
                </c:pt>
                <c:pt idx="24650">
                  <c:v>-3.3613445378151102E-3</c:v>
                </c:pt>
                <c:pt idx="24651">
                  <c:v>-3.3613445378151102E-3</c:v>
                </c:pt>
                <c:pt idx="24652">
                  <c:v>-3.3613445378151102E-3</c:v>
                </c:pt>
                <c:pt idx="24653">
                  <c:v>-3.3613445378151102E-3</c:v>
                </c:pt>
                <c:pt idx="24654">
                  <c:v>-3.3613445378151102E-3</c:v>
                </c:pt>
                <c:pt idx="24655">
                  <c:v>-3.3613445378151102E-3</c:v>
                </c:pt>
                <c:pt idx="24656">
                  <c:v>-3.3613445378151102E-3</c:v>
                </c:pt>
                <c:pt idx="24657">
                  <c:v>-3.3613445378151102E-3</c:v>
                </c:pt>
                <c:pt idx="24658">
                  <c:v>-3.3613445378151102E-3</c:v>
                </c:pt>
                <c:pt idx="24659">
                  <c:v>-3.3613445378151102E-3</c:v>
                </c:pt>
                <c:pt idx="24660">
                  <c:v>-3.3613445378151102E-3</c:v>
                </c:pt>
                <c:pt idx="24661">
                  <c:v>-3.3613445378151102E-3</c:v>
                </c:pt>
                <c:pt idx="24662">
                  <c:v>-3.3613445378151102E-3</c:v>
                </c:pt>
                <c:pt idx="24663">
                  <c:v>-3.3613445378151102E-3</c:v>
                </c:pt>
                <c:pt idx="24664">
                  <c:v>-3.3613445378151102E-3</c:v>
                </c:pt>
                <c:pt idx="24665">
                  <c:v>-3.3613445378151102E-3</c:v>
                </c:pt>
                <c:pt idx="24666">
                  <c:v>-3.3613445378151102E-3</c:v>
                </c:pt>
                <c:pt idx="24667">
                  <c:v>-3.3613445378151102E-3</c:v>
                </c:pt>
                <c:pt idx="24668">
                  <c:v>-3.3613445378151102E-3</c:v>
                </c:pt>
                <c:pt idx="24669">
                  <c:v>-3.3613445378151102E-3</c:v>
                </c:pt>
                <c:pt idx="24670">
                  <c:v>-3.3613445378151102E-3</c:v>
                </c:pt>
                <c:pt idx="24671">
                  <c:v>-3.3613445378151102E-3</c:v>
                </c:pt>
                <c:pt idx="24672">
                  <c:v>-3.3613445378151102E-3</c:v>
                </c:pt>
                <c:pt idx="24673">
                  <c:v>-3.3613445378151102E-3</c:v>
                </c:pt>
                <c:pt idx="24674">
                  <c:v>-3.3613445378151102E-3</c:v>
                </c:pt>
                <c:pt idx="24675">
                  <c:v>-3.3613445378151102E-3</c:v>
                </c:pt>
                <c:pt idx="24676">
                  <c:v>-3.3613445378151102E-3</c:v>
                </c:pt>
                <c:pt idx="24677">
                  <c:v>-3.3613445378151102E-3</c:v>
                </c:pt>
                <c:pt idx="24678">
                  <c:v>-3.3613445378151102E-3</c:v>
                </c:pt>
                <c:pt idx="24679">
                  <c:v>-3.3613445378151102E-3</c:v>
                </c:pt>
                <c:pt idx="24680">
                  <c:v>-3.3613445378151102E-3</c:v>
                </c:pt>
                <c:pt idx="24681">
                  <c:v>-3.3613445378151102E-3</c:v>
                </c:pt>
                <c:pt idx="24682">
                  <c:v>-4.20168067226889E-3</c:v>
                </c:pt>
                <c:pt idx="24683">
                  <c:v>-4.20168067226889E-3</c:v>
                </c:pt>
                <c:pt idx="24684">
                  <c:v>-4.20168067226889E-3</c:v>
                </c:pt>
                <c:pt idx="24685">
                  <c:v>-4.20168067226889E-3</c:v>
                </c:pt>
                <c:pt idx="24686">
                  <c:v>-4.20168067226889E-3</c:v>
                </c:pt>
                <c:pt idx="24687">
                  <c:v>-3.3613445378151102E-3</c:v>
                </c:pt>
                <c:pt idx="24688">
                  <c:v>-3.3613445378151102E-3</c:v>
                </c:pt>
                <c:pt idx="24689">
                  <c:v>-3.3613445378151102E-3</c:v>
                </c:pt>
                <c:pt idx="24690">
                  <c:v>-3.3613445378151102E-3</c:v>
                </c:pt>
                <c:pt idx="24691">
                  <c:v>-3.3613445378151102E-3</c:v>
                </c:pt>
                <c:pt idx="24692">
                  <c:v>-3.3613445378151102E-3</c:v>
                </c:pt>
                <c:pt idx="24693">
                  <c:v>-3.3613445378151102E-3</c:v>
                </c:pt>
                <c:pt idx="24694">
                  <c:v>-3.3613445378151102E-3</c:v>
                </c:pt>
                <c:pt idx="24695">
                  <c:v>-3.3613445378151102E-3</c:v>
                </c:pt>
                <c:pt idx="24696">
                  <c:v>-3.3613445378151102E-3</c:v>
                </c:pt>
                <c:pt idx="24697">
                  <c:v>-3.3613445378151102E-3</c:v>
                </c:pt>
                <c:pt idx="24698">
                  <c:v>-3.3613445378151102E-3</c:v>
                </c:pt>
                <c:pt idx="24699">
                  <c:v>-3.3613445378151102E-3</c:v>
                </c:pt>
                <c:pt idx="24700">
                  <c:v>-3.3613445378151102E-3</c:v>
                </c:pt>
                <c:pt idx="24701">
                  <c:v>-3.3613445378151102E-3</c:v>
                </c:pt>
                <c:pt idx="24702">
                  <c:v>-3.3613445378151102E-3</c:v>
                </c:pt>
                <c:pt idx="24703">
                  <c:v>-3.3613445378151102E-3</c:v>
                </c:pt>
                <c:pt idx="24704">
                  <c:v>-3.3613445378151102E-3</c:v>
                </c:pt>
                <c:pt idx="24705">
                  <c:v>-3.3613445378151102E-3</c:v>
                </c:pt>
                <c:pt idx="24706">
                  <c:v>-4.20168067226889E-3</c:v>
                </c:pt>
                <c:pt idx="24707">
                  <c:v>-4.20168067226889E-3</c:v>
                </c:pt>
                <c:pt idx="24708">
                  <c:v>-4.20168067226889E-3</c:v>
                </c:pt>
                <c:pt idx="24709">
                  <c:v>-5.0420168067226703E-3</c:v>
                </c:pt>
                <c:pt idx="24710">
                  <c:v>-5.0420168067226703E-3</c:v>
                </c:pt>
                <c:pt idx="24711">
                  <c:v>-5.0420168067226703E-3</c:v>
                </c:pt>
                <c:pt idx="24712">
                  <c:v>-5.0420168067226703E-3</c:v>
                </c:pt>
                <c:pt idx="24713">
                  <c:v>-5.0420168067226703E-3</c:v>
                </c:pt>
                <c:pt idx="24714">
                  <c:v>-5.0420168067226703E-3</c:v>
                </c:pt>
                <c:pt idx="24715">
                  <c:v>-5.8823529411764497E-3</c:v>
                </c:pt>
                <c:pt idx="24716">
                  <c:v>-5.8823529411764497E-3</c:v>
                </c:pt>
                <c:pt idx="24717">
                  <c:v>-5.8823529411764497E-3</c:v>
                </c:pt>
                <c:pt idx="24718">
                  <c:v>-5.8823529411764497E-3</c:v>
                </c:pt>
                <c:pt idx="24719">
                  <c:v>-5.8823529411764497E-3</c:v>
                </c:pt>
                <c:pt idx="24720">
                  <c:v>-5.8823529411764497E-3</c:v>
                </c:pt>
                <c:pt idx="24721">
                  <c:v>-5.8823529411764497E-3</c:v>
                </c:pt>
                <c:pt idx="24722">
                  <c:v>-5.8823529411764497E-3</c:v>
                </c:pt>
                <c:pt idx="24723">
                  <c:v>-5.8823529411764497E-3</c:v>
                </c:pt>
                <c:pt idx="24724">
                  <c:v>-5.8823529411764497E-3</c:v>
                </c:pt>
                <c:pt idx="24725">
                  <c:v>-5.8823529411764497E-3</c:v>
                </c:pt>
                <c:pt idx="24726">
                  <c:v>-5.8823529411764497E-3</c:v>
                </c:pt>
                <c:pt idx="24727">
                  <c:v>-5.8823529411764497E-3</c:v>
                </c:pt>
                <c:pt idx="24728">
                  <c:v>-5.8823529411764497E-3</c:v>
                </c:pt>
                <c:pt idx="24729">
                  <c:v>-5.8823529411764497E-3</c:v>
                </c:pt>
                <c:pt idx="24730">
                  <c:v>-5.8823529411764497E-3</c:v>
                </c:pt>
                <c:pt idx="24731">
                  <c:v>-5.8823529411764497E-3</c:v>
                </c:pt>
                <c:pt idx="24732">
                  <c:v>-5.8823529411764497E-3</c:v>
                </c:pt>
                <c:pt idx="24733">
                  <c:v>-5.8823529411764497E-3</c:v>
                </c:pt>
                <c:pt idx="24734">
                  <c:v>-5.8823529411764497E-3</c:v>
                </c:pt>
                <c:pt idx="24735">
                  <c:v>-5.8823529411764497E-3</c:v>
                </c:pt>
                <c:pt idx="24736">
                  <c:v>-5.8823529411764497E-3</c:v>
                </c:pt>
                <c:pt idx="24737">
                  <c:v>-5.8823529411764497E-3</c:v>
                </c:pt>
                <c:pt idx="24738">
                  <c:v>-6.7226890756302204E-3</c:v>
                </c:pt>
                <c:pt idx="24739">
                  <c:v>-6.7226890756302204E-3</c:v>
                </c:pt>
                <c:pt idx="24740">
                  <c:v>-6.7226890756302204E-3</c:v>
                </c:pt>
                <c:pt idx="24741">
                  <c:v>-6.7226890756302204E-3</c:v>
                </c:pt>
                <c:pt idx="24742">
                  <c:v>-6.7226890756302204E-3</c:v>
                </c:pt>
                <c:pt idx="24743">
                  <c:v>-6.7226890756302204E-3</c:v>
                </c:pt>
                <c:pt idx="24744">
                  <c:v>-6.7226890756302204E-3</c:v>
                </c:pt>
                <c:pt idx="24745">
                  <c:v>-6.7226890756302204E-3</c:v>
                </c:pt>
                <c:pt idx="24746">
                  <c:v>-6.7226890756302204E-3</c:v>
                </c:pt>
                <c:pt idx="24747">
                  <c:v>-6.7226890756302204E-3</c:v>
                </c:pt>
                <c:pt idx="24748">
                  <c:v>-6.7226890756302204E-3</c:v>
                </c:pt>
                <c:pt idx="24749">
                  <c:v>-6.7226890756302204E-3</c:v>
                </c:pt>
                <c:pt idx="24750">
                  <c:v>-6.7226890756302204E-3</c:v>
                </c:pt>
                <c:pt idx="24751">
                  <c:v>-6.7226890756302204E-3</c:v>
                </c:pt>
                <c:pt idx="24752">
                  <c:v>-6.7226890756302204E-3</c:v>
                </c:pt>
                <c:pt idx="24753">
                  <c:v>-6.7226890756302204E-3</c:v>
                </c:pt>
                <c:pt idx="24754">
                  <c:v>-6.7226890756302204E-3</c:v>
                </c:pt>
                <c:pt idx="24755">
                  <c:v>-6.7226890756302204E-3</c:v>
                </c:pt>
                <c:pt idx="24756">
                  <c:v>-6.7226890756302204E-3</c:v>
                </c:pt>
                <c:pt idx="24757">
                  <c:v>-6.7226890756302204E-3</c:v>
                </c:pt>
                <c:pt idx="24758">
                  <c:v>-6.7226890756302204E-3</c:v>
                </c:pt>
                <c:pt idx="24759">
                  <c:v>-6.7226890756302204E-3</c:v>
                </c:pt>
                <c:pt idx="24760">
                  <c:v>-6.7226890756302204E-3</c:v>
                </c:pt>
                <c:pt idx="24761">
                  <c:v>-6.7226890756302204E-3</c:v>
                </c:pt>
                <c:pt idx="24762">
                  <c:v>-6.7226890756302204E-3</c:v>
                </c:pt>
                <c:pt idx="24763">
                  <c:v>-6.7226890756302204E-3</c:v>
                </c:pt>
                <c:pt idx="24764">
                  <c:v>-6.7226890756302204E-3</c:v>
                </c:pt>
                <c:pt idx="24765">
                  <c:v>-6.7226890756302204E-3</c:v>
                </c:pt>
                <c:pt idx="24766">
                  <c:v>-6.7226890756302204E-3</c:v>
                </c:pt>
                <c:pt idx="24767">
                  <c:v>-6.7226890756302204E-3</c:v>
                </c:pt>
                <c:pt idx="24768">
                  <c:v>-6.7226890756302204E-3</c:v>
                </c:pt>
                <c:pt idx="24769">
                  <c:v>-6.7226890756302204E-3</c:v>
                </c:pt>
                <c:pt idx="24770">
                  <c:v>-6.7226890756302204E-3</c:v>
                </c:pt>
                <c:pt idx="24771">
                  <c:v>-6.7226890756302204E-3</c:v>
                </c:pt>
                <c:pt idx="24772">
                  <c:v>-6.7226890756302204E-3</c:v>
                </c:pt>
                <c:pt idx="24773">
                  <c:v>-6.7226890756302204E-3</c:v>
                </c:pt>
                <c:pt idx="24774">
                  <c:v>-6.7226890756302204E-3</c:v>
                </c:pt>
                <c:pt idx="24775">
                  <c:v>-6.7226890756302204E-3</c:v>
                </c:pt>
                <c:pt idx="24776">
                  <c:v>-7.5630252100839998E-3</c:v>
                </c:pt>
                <c:pt idx="24777">
                  <c:v>-7.5630252100839998E-3</c:v>
                </c:pt>
                <c:pt idx="24778">
                  <c:v>-8.4033613445377801E-3</c:v>
                </c:pt>
                <c:pt idx="24779">
                  <c:v>-8.4033613445377801E-3</c:v>
                </c:pt>
                <c:pt idx="24780">
                  <c:v>-8.4033613445377801E-3</c:v>
                </c:pt>
                <c:pt idx="24781">
                  <c:v>-8.4033613445377801E-3</c:v>
                </c:pt>
                <c:pt idx="24782">
                  <c:v>-8.4033613445377801E-3</c:v>
                </c:pt>
                <c:pt idx="24783">
                  <c:v>-8.4033613445377801E-3</c:v>
                </c:pt>
                <c:pt idx="24784">
                  <c:v>-8.4033613445377801E-3</c:v>
                </c:pt>
                <c:pt idx="24785">
                  <c:v>-8.4033613445377801E-3</c:v>
                </c:pt>
                <c:pt idx="24786">
                  <c:v>-8.4033613445377801E-3</c:v>
                </c:pt>
                <c:pt idx="24787">
                  <c:v>-8.4033613445377801E-3</c:v>
                </c:pt>
                <c:pt idx="24788">
                  <c:v>-8.4033613445377801E-3</c:v>
                </c:pt>
                <c:pt idx="24789">
                  <c:v>-8.4033613445377801E-3</c:v>
                </c:pt>
                <c:pt idx="24790">
                  <c:v>-8.4033613445377801E-3</c:v>
                </c:pt>
                <c:pt idx="24791">
                  <c:v>-8.4033613445377801E-3</c:v>
                </c:pt>
                <c:pt idx="24792">
                  <c:v>-8.4033613445377801E-3</c:v>
                </c:pt>
                <c:pt idx="24793">
                  <c:v>-8.4033613445377801E-3</c:v>
                </c:pt>
                <c:pt idx="24794">
                  <c:v>-8.4033613445377801E-3</c:v>
                </c:pt>
                <c:pt idx="24795">
                  <c:v>-8.4033613445377801E-3</c:v>
                </c:pt>
                <c:pt idx="24796">
                  <c:v>-8.4033613445377801E-3</c:v>
                </c:pt>
                <c:pt idx="24797">
                  <c:v>-8.4033613445377801E-3</c:v>
                </c:pt>
                <c:pt idx="24798">
                  <c:v>-8.4033613445377801E-3</c:v>
                </c:pt>
                <c:pt idx="24799">
                  <c:v>-8.4033613445377801E-3</c:v>
                </c:pt>
                <c:pt idx="24800">
                  <c:v>-8.4033613445377801E-3</c:v>
                </c:pt>
                <c:pt idx="24801">
                  <c:v>-8.4033613445377801E-3</c:v>
                </c:pt>
                <c:pt idx="24802">
                  <c:v>-8.4033613445377801E-3</c:v>
                </c:pt>
                <c:pt idx="24803">
                  <c:v>-8.4033613445377801E-3</c:v>
                </c:pt>
                <c:pt idx="24804">
                  <c:v>-8.4033613445377801E-3</c:v>
                </c:pt>
                <c:pt idx="24805">
                  <c:v>-8.4033613445377801E-3</c:v>
                </c:pt>
                <c:pt idx="24806">
                  <c:v>-8.4033613445377801E-3</c:v>
                </c:pt>
                <c:pt idx="24807">
                  <c:v>-8.4033613445377801E-3</c:v>
                </c:pt>
                <c:pt idx="24808">
                  <c:v>-8.4033613445377801E-3</c:v>
                </c:pt>
                <c:pt idx="24809">
                  <c:v>-8.4033613445377801E-3</c:v>
                </c:pt>
                <c:pt idx="24810">
                  <c:v>-8.4033613445377801E-3</c:v>
                </c:pt>
                <c:pt idx="24811">
                  <c:v>-8.4033613445377801E-3</c:v>
                </c:pt>
                <c:pt idx="24812">
                  <c:v>-8.4033613445377801E-3</c:v>
                </c:pt>
                <c:pt idx="24813">
                  <c:v>-8.4033613445377801E-3</c:v>
                </c:pt>
                <c:pt idx="24814">
                  <c:v>-8.4033613445377801E-3</c:v>
                </c:pt>
                <c:pt idx="24815">
                  <c:v>-8.4033613445377801E-3</c:v>
                </c:pt>
                <c:pt idx="24816">
                  <c:v>-8.4033613445377801E-3</c:v>
                </c:pt>
                <c:pt idx="24817">
                  <c:v>-8.4033613445377801E-3</c:v>
                </c:pt>
                <c:pt idx="24818">
                  <c:v>-8.4033613445377801E-3</c:v>
                </c:pt>
                <c:pt idx="24819">
                  <c:v>-8.4033613445377801E-3</c:v>
                </c:pt>
                <c:pt idx="24820">
                  <c:v>-8.4033613445377801E-3</c:v>
                </c:pt>
                <c:pt idx="24821">
                  <c:v>-8.4033613445377801E-3</c:v>
                </c:pt>
                <c:pt idx="24822">
                  <c:v>-8.4033613445377801E-3</c:v>
                </c:pt>
                <c:pt idx="24823">
                  <c:v>-8.4033613445377801E-3</c:v>
                </c:pt>
                <c:pt idx="24824">
                  <c:v>-8.4033613445377801E-3</c:v>
                </c:pt>
                <c:pt idx="24825">
                  <c:v>-8.4033613445377801E-3</c:v>
                </c:pt>
                <c:pt idx="24826">
                  <c:v>-8.4033613445377801E-3</c:v>
                </c:pt>
                <c:pt idx="24827">
                  <c:v>-8.4033613445377801E-3</c:v>
                </c:pt>
                <c:pt idx="24828">
                  <c:v>-8.4033613445377801E-3</c:v>
                </c:pt>
                <c:pt idx="24829">
                  <c:v>-8.4033613445377801E-3</c:v>
                </c:pt>
                <c:pt idx="24830">
                  <c:v>-8.4033613445377801E-3</c:v>
                </c:pt>
                <c:pt idx="24831">
                  <c:v>-8.4033613445377801E-3</c:v>
                </c:pt>
                <c:pt idx="24832">
                  <c:v>-8.4033613445377801E-3</c:v>
                </c:pt>
                <c:pt idx="24833">
                  <c:v>-8.4033613445377801E-3</c:v>
                </c:pt>
                <c:pt idx="24834">
                  <c:v>-8.4033613445377801E-3</c:v>
                </c:pt>
                <c:pt idx="24835">
                  <c:v>-8.4033613445377801E-3</c:v>
                </c:pt>
                <c:pt idx="24836">
                  <c:v>-8.4033613445377801E-3</c:v>
                </c:pt>
                <c:pt idx="24837">
                  <c:v>-8.4033613445377801E-3</c:v>
                </c:pt>
                <c:pt idx="24838">
                  <c:v>-8.4033613445377801E-3</c:v>
                </c:pt>
                <c:pt idx="24839">
                  <c:v>-8.4033613445377801E-3</c:v>
                </c:pt>
                <c:pt idx="24840">
                  <c:v>-8.4033613445377801E-3</c:v>
                </c:pt>
                <c:pt idx="24841">
                  <c:v>-8.4033613445377801E-3</c:v>
                </c:pt>
                <c:pt idx="24842">
                  <c:v>-8.4033613445377801E-3</c:v>
                </c:pt>
                <c:pt idx="24843">
                  <c:v>-8.4033613445377801E-3</c:v>
                </c:pt>
                <c:pt idx="24844">
                  <c:v>-8.4033613445377801E-3</c:v>
                </c:pt>
                <c:pt idx="24845">
                  <c:v>-8.4033613445377801E-3</c:v>
                </c:pt>
                <c:pt idx="24846">
                  <c:v>-8.4033613445377801E-3</c:v>
                </c:pt>
                <c:pt idx="24847">
                  <c:v>-8.4033613445377801E-3</c:v>
                </c:pt>
                <c:pt idx="24848">
                  <c:v>-8.4033613445377801E-3</c:v>
                </c:pt>
                <c:pt idx="24849">
                  <c:v>-8.4033613445377801E-3</c:v>
                </c:pt>
                <c:pt idx="24850">
                  <c:v>-8.4033613445377801E-3</c:v>
                </c:pt>
                <c:pt idx="24851">
                  <c:v>-8.4033613445377801E-3</c:v>
                </c:pt>
                <c:pt idx="24852">
                  <c:v>-8.4033613445377801E-3</c:v>
                </c:pt>
                <c:pt idx="24853">
                  <c:v>-8.4033613445377801E-3</c:v>
                </c:pt>
                <c:pt idx="24854">
                  <c:v>-8.4033613445377801E-3</c:v>
                </c:pt>
                <c:pt idx="24855">
                  <c:v>-8.4033613445377801E-3</c:v>
                </c:pt>
                <c:pt idx="24856">
                  <c:v>-8.4033613445377801E-3</c:v>
                </c:pt>
                <c:pt idx="24857">
                  <c:v>-8.4033613445377801E-3</c:v>
                </c:pt>
                <c:pt idx="24858">
                  <c:v>-8.4033613445377801E-3</c:v>
                </c:pt>
                <c:pt idx="24859">
                  <c:v>-8.4033613445377801E-3</c:v>
                </c:pt>
                <c:pt idx="24860">
                  <c:v>-8.4033613445377801E-3</c:v>
                </c:pt>
                <c:pt idx="24861">
                  <c:v>-8.4033613445377801E-3</c:v>
                </c:pt>
                <c:pt idx="24862">
                  <c:v>-8.4033613445377801E-3</c:v>
                </c:pt>
                <c:pt idx="24863">
                  <c:v>-8.4033613445377801E-3</c:v>
                </c:pt>
                <c:pt idx="24864">
                  <c:v>-8.4033613445377801E-3</c:v>
                </c:pt>
                <c:pt idx="24865">
                  <c:v>-8.4033613445377801E-3</c:v>
                </c:pt>
                <c:pt idx="24866">
                  <c:v>-8.4033613445377801E-3</c:v>
                </c:pt>
                <c:pt idx="24867">
                  <c:v>-8.4033613445377801E-3</c:v>
                </c:pt>
                <c:pt idx="24868">
                  <c:v>-8.4033613445377801E-3</c:v>
                </c:pt>
                <c:pt idx="24869">
                  <c:v>-8.4033613445377801E-3</c:v>
                </c:pt>
                <c:pt idx="24870">
                  <c:v>-8.4033613445377801E-3</c:v>
                </c:pt>
                <c:pt idx="24871">
                  <c:v>-8.4033613445377801E-3</c:v>
                </c:pt>
                <c:pt idx="24872">
                  <c:v>-8.4033613445377801E-3</c:v>
                </c:pt>
                <c:pt idx="24873">
                  <c:v>-8.4033613445377801E-3</c:v>
                </c:pt>
                <c:pt idx="24874">
                  <c:v>-8.4033613445377801E-3</c:v>
                </c:pt>
                <c:pt idx="24875">
                  <c:v>-8.4033613445377801E-3</c:v>
                </c:pt>
                <c:pt idx="24876">
                  <c:v>-8.4033613445377801E-3</c:v>
                </c:pt>
                <c:pt idx="24877">
                  <c:v>-8.4033613445377801E-3</c:v>
                </c:pt>
                <c:pt idx="24878">
                  <c:v>-8.4033613445377801E-3</c:v>
                </c:pt>
                <c:pt idx="24879">
                  <c:v>-8.4033613445377801E-3</c:v>
                </c:pt>
                <c:pt idx="24880">
                  <c:v>-8.4033613445377801E-3</c:v>
                </c:pt>
                <c:pt idx="24881">
                  <c:v>-8.4033613445377801E-3</c:v>
                </c:pt>
                <c:pt idx="24882">
                  <c:v>-8.4033613445377801E-3</c:v>
                </c:pt>
                <c:pt idx="24883">
                  <c:v>-8.4033613445377801E-3</c:v>
                </c:pt>
                <c:pt idx="24884">
                  <c:v>-8.4033613445377801E-3</c:v>
                </c:pt>
                <c:pt idx="24885">
                  <c:v>-8.4033613445377801E-3</c:v>
                </c:pt>
                <c:pt idx="24886">
                  <c:v>-8.4033613445377801E-3</c:v>
                </c:pt>
                <c:pt idx="24887">
                  <c:v>-8.4033613445377801E-3</c:v>
                </c:pt>
                <c:pt idx="24888">
                  <c:v>-8.4033613445377801E-3</c:v>
                </c:pt>
                <c:pt idx="24889">
                  <c:v>-8.4033613445377801E-3</c:v>
                </c:pt>
                <c:pt idx="24890">
                  <c:v>-8.4033613445377801E-3</c:v>
                </c:pt>
                <c:pt idx="24891">
                  <c:v>-8.4033613445377801E-3</c:v>
                </c:pt>
                <c:pt idx="24892">
                  <c:v>-9.2436974789915603E-3</c:v>
                </c:pt>
                <c:pt idx="24893">
                  <c:v>-9.2436974789915603E-3</c:v>
                </c:pt>
                <c:pt idx="24894">
                  <c:v>-9.2436974789915603E-3</c:v>
                </c:pt>
                <c:pt idx="24895">
                  <c:v>-9.2436974789915603E-3</c:v>
                </c:pt>
                <c:pt idx="24896">
                  <c:v>-9.2436974789915603E-3</c:v>
                </c:pt>
                <c:pt idx="24897">
                  <c:v>-9.2436974789915603E-3</c:v>
                </c:pt>
                <c:pt idx="24898">
                  <c:v>-9.2436974789915603E-3</c:v>
                </c:pt>
                <c:pt idx="24899">
                  <c:v>-9.2436974789915603E-3</c:v>
                </c:pt>
                <c:pt idx="24900">
                  <c:v>-9.2436974789915603E-3</c:v>
                </c:pt>
                <c:pt idx="24901">
                  <c:v>-9.2436974789915603E-3</c:v>
                </c:pt>
                <c:pt idx="24902">
                  <c:v>-9.2436974789915603E-3</c:v>
                </c:pt>
                <c:pt idx="24903">
                  <c:v>-9.2436974789915603E-3</c:v>
                </c:pt>
                <c:pt idx="24904">
                  <c:v>-9.2436974789915603E-3</c:v>
                </c:pt>
                <c:pt idx="24905">
                  <c:v>-9.2436974789915603E-3</c:v>
                </c:pt>
                <c:pt idx="24906">
                  <c:v>-9.2436974789915603E-3</c:v>
                </c:pt>
                <c:pt idx="24907">
                  <c:v>-9.2436974789915603E-3</c:v>
                </c:pt>
                <c:pt idx="24908">
                  <c:v>-9.2436974789915603E-3</c:v>
                </c:pt>
                <c:pt idx="24909">
                  <c:v>-9.2436974789915603E-3</c:v>
                </c:pt>
                <c:pt idx="24910">
                  <c:v>-9.2436974789915603E-3</c:v>
                </c:pt>
                <c:pt idx="24911">
                  <c:v>-9.2436974789915603E-3</c:v>
                </c:pt>
                <c:pt idx="24912">
                  <c:v>-9.2436974789915603E-3</c:v>
                </c:pt>
                <c:pt idx="24913">
                  <c:v>-9.2436974789915603E-3</c:v>
                </c:pt>
                <c:pt idx="24914">
                  <c:v>-9.2436974789915603E-3</c:v>
                </c:pt>
                <c:pt idx="24915">
                  <c:v>-9.2436974789915603E-3</c:v>
                </c:pt>
                <c:pt idx="24916">
                  <c:v>-9.2436974789915603E-3</c:v>
                </c:pt>
                <c:pt idx="24917">
                  <c:v>-9.2436974789915603E-3</c:v>
                </c:pt>
                <c:pt idx="24918">
                  <c:v>-9.2436974789915603E-3</c:v>
                </c:pt>
                <c:pt idx="24919">
                  <c:v>-9.2436974789915603E-3</c:v>
                </c:pt>
                <c:pt idx="24920">
                  <c:v>-9.2436974789915603E-3</c:v>
                </c:pt>
                <c:pt idx="24921">
                  <c:v>-9.2436974789915603E-3</c:v>
                </c:pt>
                <c:pt idx="24922">
                  <c:v>-9.2436974789915603E-3</c:v>
                </c:pt>
                <c:pt idx="24923">
                  <c:v>-9.2436974789915603E-3</c:v>
                </c:pt>
                <c:pt idx="24924">
                  <c:v>-9.2436974789915603E-3</c:v>
                </c:pt>
                <c:pt idx="24925">
                  <c:v>-9.2436974789915603E-3</c:v>
                </c:pt>
                <c:pt idx="24926">
                  <c:v>-9.2436974789915603E-3</c:v>
                </c:pt>
                <c:pt idx="24927">
                  <c:v>-1.0084033613445301E-2</c:v>
                </c:pt>
                <c:pt idx="24928">
                  <c:v>-1.0084033613445301E-2</c:v>
                </c:pt>
                <c:pt idx="24929">
                  <c:v>-1.0084033613445301E-2</c:v>
                </c:pt>
                <c:pt idx="24930">
                  <c:v>-1.0084033613445301E-2</c:v>
                </c:pt>
                <c:pt idx="24931">
                  <c:v>-1.0084033613445301E-2</c:v>
                </c:pt>
                <c:pt idx="24932">
                  <c:v>-1.0084033613445301E-2</c:v>
                </c:pt>
                <c:pt idx="24933">
                  <c:v>-1.0084033613445301E-2</c:v>
                </c:pt>
                <c:pt idx="24934">
                  <c:v>-1.0084033613445301E-2</c:v>
                </c:pt>
                <c:pt idx="24935">
                  <c:v>-1.0084033613445301E-2</c:v>
                </c:pt>
                <c:pt idx="24936">
                  <c:v>-1.0084033613445301E-2</c:v>
                </c:pt>
                <c:pt idx="24937">
                  <c:v>-1.0084033613445301E-2</c:v>
                </c:pt>
                <c:pt idx="24938">
                  <c:v>-1.0084033613445301E-2</c:v>
                </c:pt>
                <c:pt idx="24939">
                  <c:v>-1.09243697478991E-2</c:v>
                </c:pt>
                <c:pt idx="24940">
                  <c:v>-1.09243697478991E-2</c:v>
                </c:pt>
                <c:pt idx="24941">
                  <c:v>-1.09243697478991E-2</c:v>
                </c:pt>
                <c:pt idx="24942">
                  <c:v>-1.09243697478991E-2</c:v>
                </c:pt>
                <c:pt idx="24943">
                  <c:v>-1.09243697478991E-2</c:v>
                </c:pt>
                <c:pt idx="24944">
                  <c:v>-1.09243697478991E-2</c:v>
                </c:pt>
                <c:pt idx="24945">
                  <c:v>-1.09243697478991E-2</c:v>
                </c:pt>
                <c:pt idx="24946">
                  <c:v>-1.09243697478991E-2</c:v>
                </c:pt>
                <c:pt idx="24947">
                  <c:v>-1.09243697478991E-2</c:v>
                </c:pt>
                <c:pt idx="24948">
                  <c:v>-1.09243697478991E-2</c:v>
                </c:pt>
                <c:pt idx="24949">
                  <c:v>-1.09243697478991E-2</c:v>
                </c:pt>
                <c:pt idx="24950">
                  <c:v>-1.09243697478991E-2</c:v>
                </c:pt>
                <c:pt idx="24951">
                  <c:v>-1.09243697478991E-2</c:v>
                </c:pt>
                <c:pt idx="24952">
                  <c:v>-1.09243697478991E-2</c:v>
                </c:pt>
                <c:pt idx="24953">
                  <c:v>-1.09243697478991E-2</c:v>
                </c:pt>
                <c:pt idx="24954">
                  <c:v>-1.09243697478991E-2</c:v>
                </c:pt>
                <c:pt idx="24955">
                  <c:v>-1.09243697478991E-2</c:v>
                </c:pt>
                <c:pt idx="24956">
                  <c:v>-1.09243697478991E-2</c:v>
                </c:pt>
                <c:pt idx="24957">
                  <c:v>-1.0084033613445301E-2</c:v>
                </c:pt>
                <c:pt idx="24958">
                  <c:v>-1.0084033613445301E-2</c:v>
                </c:pt>
                <c:pt idx="24959">
                  <c:v>-1.0084033613445301E-2</c:v>
                </c:pt>
                <c:pt idx="24960">
                  <c:v>-1.0084033613445301E-2</c:v>
                </c:pt>
                <c:pt idx="24961">
                  <c:v>-1.09243697478991E-2</c:v>
                </c:pt>
                <c:pt idx="24962">
                  <c:v>-1.09243697478991E-2</c:v>
                </c:pt>
                <c:pt idx="24963">
                  <c:v>-1.09243697478991E-2</c:v>
                </c:pt>
                <c:pt idx="24964">
                  <c:v>-1.09243697478991E-2</c:v>
                </c:pt>
                <c:pt idx="24965">
                  <c:v>-1.09243697478991E-2</c:v>
                </c:pt>
                <c:pt idx="24966">
                  <c:v>-1.09243697478991E-2</c:v>
                </c:pt>
                <c:pt idx="24967">
                  <c:v>-1.09243697478991E-2</c:v>
                </c:pt>
                <c:pt idx="24968">
                  <c:v>-1.09243697478991E-2</c:v>
                </c:pt>
                <c:pt idx="24969">
                  <c:v>-1.09243697478991E-2</c:v>
                </c:pt>
                <c:pt idx="24970">
                  <c:v>-1.09243697478991E-2</c:v>
                </c:pt>
                <c:pt idx="24971">
                  <c:v>-1.09243697478991E-2</c:v>
                </c:pt>
                <c:pt idx="24972">
                  <c:v>-1.09243697478991E-2</c:v>
                </c:pt>
                <c:pt idx="24973">
                  <c:v>-1.09243697478991E-2</c:v>
                </c:pt>
                <c:pt idx="24974">
                  <c:v>-1.09243697478991E-2</c:v>
                </c:pt>
                <c:pt idx="24975">
                  <c:v>-1.09243697478991E-2</c:v>
                </c:pt>
                <c:pt idx="24976">
                  <c:v>-1.09243697478991E-2</c:v>
                </c:pt>
                <c:pt idx="24977">
                  <c:v>-1.09243697478991E-2</c:v>
                </c:pt>
                <c:pt idx="24978">
                  <c:v>-1.09243697478991E-2</c:v>
                </c:pt>
                <c:pt idx="24979">
                  <c:v>-1.09243697478991E-2</c:v>
                </c:pt>
                <c:pt idx="24980">
                  <c:v>-1.09243697478991E-2</c:v>
                </c:pt>
                <c:pt idx="24981">
                  <c:v>-1.09243697478991E-2</c:v>
                </c:pt>
                <c:pt idx="24982">
                  <c:v>-1.09243697478991E-2</c:v>
                </c:pt>
                <c:pt idx="24983">
                  <c:v>-1.09243697478991E-2</c:v>
                </c:pt>
                <c:pt idx="24984">
                  <c:v>-1.09243697478991E-2</c:v>
                </c:pt>
                <c:pt idx="24985">
                  <c:v>-1.09243697478991E-2</c:v>
                </c:pt>
                <c:pt idx="24986">
                  <c:v>-1.09243697478991E-2</c:v>
                </c:pt>
                <c:pt idx="24987">
                  <c:v>-1.09243697478991E-2</c:v>
                </c:pt>
                <c:pt idx="24988">
                  <c:v>-1.09243697478991E-2</c:v>
                </c:pt>
                <c:pt idx="24989">
                  <c:v>-1.09243697478991E-2</c:v>
                </c:pt>
                <c:pt idx="24990">
                  <c:v>-1.09243697478991E-2</c:v>
                </c:pt>
                <c:pt idx="24991">
                  <c:v>-1.09243697478991E-2</c:v>
                </c:pt>
                <c:pt idx="24992">
                  <c:v>-1.09243697478991E-2</c:v>
                </c:pt>
                <c:pt idx="24993">
                  <c:v>-1.09243697478991E-2</c:v>
                </c:pt>
                <c:pt idx="24994">
                  <c:v>-1.09243697478991E-2</c:v>
                </c:pt>
                <c:pt idx="24995">
                  <c:v>-1.09243697478991E-2</c:v>
                </c:pt>
                <c:pt idx="24996">
                  <c:v>-1.09243697478991E-2</c:v>
                </c:pt>
                <c:pt idx="24997">
                  <c:v>-1.09243697478991E-2</c:v>
                </c:pt>
                <c:pt idx="24998">
                  <c:v>-1.09243697478991E-2</c:v>
                </c:pt>
                <c:pt idx="24999">
                  <c:v>-1.09243697478991E-2</c:v>
                </c:pt>
                <c:pt idx="25000">
                  <c:v>-1.09243697478991E-2</c:v>
                </c:pt>
                <c:pt idx="25001">
                  <c:v>-1.09243697478991E-2</c:v>
                </c:pt>
                <c:pt idx="25002">
                  <c:v>-1.09243697478991E-2</c:v>
                </c:pt>
                <c:pt idx="25003">
                  <c:v>-1.09243697478991E-2</c:v>
                </c:pt>
                <c:pt idx="25004">
                  <c:v>-1.09243697478991E-2</c:v>
                </c:pt>
                <c:pt idx="25005">
                  <c:v>-1.09243697478991E-2</c:v>
                </c:pt>
                <c:pt idx="25006">
                  <c:v>-1.09243697478991E-2</c:v>
                </c:pt>
                <c:pt idx="25007">
                  <c:v>-1.09243697478991E-2</c:v>
                </c:pt>
                <c:pt idx="25008">
                  <c:v>-1.09243697478991E-2</c:v>
                </c:pt>
                <c:pt idx="25009">
                  <c:v>-1.09243697478991E-2</c:v>
                </c:pt>
                <c:pt idx="25010">
                  <c:v>-1.09243697478991E-2</c:v>
                </c:pt>
                <c:pt idx="25011">
                  <c:v>-1.09243697478991E-2</c:v>
                </c:pt>
                <c:pt idx="25012">
                  <c:v>-1.09243697478991E-2</c:v>
                </c:pt>
                <c:pt idx="25013">
                  <c:v>-1.09243697478991E-2</c:v>
                </c:pt>
                <c:pt idx="25014">
                  <c:v>-1.09243697478991E-2</c:v>
                </c:pt>
                <c:pt idx="25015">
                  <c:v>-1.09243697478991E-2</c:v>
                </c:pt>
                <c:pt idx="25016">
                  <c:v>-1.09243697478991E-2</c:v>
                </c:pt>
                <c:pt idx="25017">
                  <c:v>-1.09243697478991E-2</c:v>
                </c:pt>
                <c:pt idx="25018">
                  <c:v>-1.09243697478991E-2</c:v>
                </c:pt>
                <c:pt idx="25019">
                  <c:v>-1.09243697478991E-2</c:v>
                </c:pt>
                <c:pt idx="25020">
                  <c:v>-1.09243697478991E-2</c:v>
                </c:pt>
                <c:pt idx="25021">
                  <c:v>-1.09243697478991E-2</c:v>
                </c:pt>
                <c:pt idx="25022">
                  <c:v>-1.09243697478991E-2</c:v>
                </c:pt>
                <c:pt idx="25023">
                  <c:v>-1.09243697478991E-2</c:v>
                </c:pt>
                <c:pt idx="25024">
                  <c:v>-1.09243697478991E-2</c:v>
                </c:pt>
                <c:pt idx="25025">
                  <c:v>-1.09243697478991E-2</c:v>
                </c:pt>
                <c:pt idx="25026">
                  <c:v>-1.09243697478991E-2</c:v>
                </c:pt>
                <c:pt idx="25027">
                  <c:v>-1.09243697478991E-2</c:v>
                </c:pt>
                <c:pt idx="25028">
                  <c:v>-1.09243697478991E-2</c:v>
                </c:pt>
                <c:pt idx="25029">
                  <c:v>-1.09243697478991E-2</c:v>
                </c:pt>
                <c:pt idx="25030">
                  <c:v>-1.09243697478991E-2</c:v>
                </c:pt>
                <c:pt idx="25031">
                  <c:v>-1.09243697478991E-2</c:v>
                </c:pt>
                <c:pt idx="25032">
                  <c:v>-1.09243697478991E-2</c:v>
                </c:pt>
                <c:pt idx="25033">
                  <c:v>-1.09243697478991E-2</c:v>
                </c:pt>
                <c:pt idx="25034">
                  <c:v>-1.09243697478991E-2</c:v>
                </c:pt>
                <c:pt idx="25035">
                  <c:v>-1.09243697478991E-2</c:v>
                </c:pt>
                <c:pt idx="25036">
                  <c:v>-1.09243697478991E-2</c:v>
                </c:pt>
                <c:pt idx="25037">
                  <c:v>-1.09243697478991E-2</c:v>
                </c:pt>
                <c:pt idx="25038">
                  <c:v>-1.1764705882352899E-2</c:v>
                </c:pt>
                <c:pt idx="25039">
                  <c:v>-1.1764705882352899E-2</c:v>
                </c:pt>
                <c:pt idx="25040">
                  <c:v>-1.1764705882352899E-2</c:v>
                </c:pt>
                <c:pt idx="25041">
                  <c:v>-1.1764705882352899E-2</c:v>
                </c:pt>
                <c:pt idx="25042">
                  <c:v>-1.1764705882352899E-2</c:v>
                </c:pt>
                <c:pt idx="25043">
                  <c:v>-1.1764705882352899E-2</c:v>
                </c:pt>
                <c:pt idx="25044">
                  <c:v>-1.1764705882352899E-2</c:v>
                </c:pt>
                <c:pt idx="25045">
                  <c:v>-1.1764705882352899E-2</c:v>
                </c:pt>
                <c:pt idx="25046">
                  <c:v>-1.1764705882352899E-2</c:v>
                </c:pt>
                <c:pt idx="25047">
                  <c:v>-1.26050420168066E-2</c:v>
                </c:pt>
                <c:pt idx="25048">
                  <c:v>-1.26050420168066E-2</c:v>
                </c:pt>
                <c:pt idx="25049">
                  <c:v>-1.26050420168066E-2</c:v>
                </c:pt>
                <c:pt idx="25050">
                  <c:v>-1.26050420168066E-2</c:v>
                </c:pt>
                <c:pt idx="25051">
                  <c:v>-1.26050420168066E-2</c:v>
                </c:pt>
                <c:pt idx="25052">
                  <c:v>-1.26050420168066E-2</c:v>
                </c:pt>
                <c:pt idx="25053">
                  <c:v>-1.26050420168066E-2</c:v>
                </c:pt>
                <c:pt idx="25054">
                  <c:v>-1.26050420168066E-2</c:v>
                </c:pt>
                <c:pt idx="25055">
                  <c:v>-1.26050420168066E-2</c:v>
                </c:pt>
                <c:pt idx="25056">
                  <c:v>-1.26050420168066E-2</c:v>
                </c:pt>
                <c:pt idx="25057">
                  <c:v>-1.26050420168066E-2</c:v>
                </c:pt>
                <c:pt idx="25058">
                  <c:v>-1.26050420168066E-2</c:v>
                </c:pt>
                <c:pt idx="25059">
                  <c:v>-1.26050420168066E-2</c:v>
                </c:pt>
                <c:pt idx="25060">
                  <c:v>-1.26050420168066E-2</c:v>
                </c:pt>
                <c:pt idx="25061">
                  <c:v>-1.26050420168066E-2</c:v>
                </c:pt>
                <c:pt idx="25062">
                  <c:v>-1.26050420168066E-2</c:v>
                </c:pt>
                <c:pt idx="25063">
                  <c:v>-1.26050420168066E-2</c:v>
                </c:pt>
                <c:pt idx="25064">
                  <c:v>-1.26050420168066E-2</c:v>
                </c:pt>
                <c:pt idx="25065">
                  <c:v>-1.26050420168066E-2</c:v>
                </c:pt>
                <c:pt idx="25066">
                  <c:v>-1.26050420168066E-2</c:v>
                </c:pt>
                <c:pt idx="25067">
                  <c:v>-1.26050420168066E-2</c:v>
                </c:pt>
                <c:pt idx="25068">
                  <c:v>-1.26050420168066E-2</c:v>
                </c:pt>
                <c:pt idx="25069">
                  <c:v>-1.1764705882352899E-2</c:v>
                </c:pt>
                <c:pt idx="25070">
                  <c:v>-1.1764705882352899E-2</c:v>
                </c:pt>
                <c:pt idx="25071">
                  <c:v>-1.1764705882352899E-2</c:v>
                </c:pt>
                <c:pt idx="25072">
                  <c:v>-1.1764705882352899E-2</c:v>
                </c:pt>
                <c:pt idx="25073">
                  <c:v>-1.1764705882352899E-2</c:v>
                </c:pt>
                <c:pt idx="25074">
                  <c:v>-1.1764705882352899E-2</c:v>
                </c:pt>
                <c:pt idx="25075">
                  <c:v>-1.1764705882352899E-2</c:v>
                </c:pt>
                <c:pt idx="25076">
                  <c:v>-1.1764705882352899E-2</c:v>
                </c:pt>
                <c:pt idx="25077">
                  <c:v>-1.1764705882352899E-2</c:v>
                </c:pt>
                <c:pt idx="25078">
                  <c:v>-1.1764705882352899E-2</c:v>
                </c:pt>
                <c:pt idx="25079">
                  <c:v>-1.1764705882352899E-2</c:v>
                </c:pt>
                <c:pt idx="25080">
                  <c:v>-1.1764705882352899E-2</c:v>
                </c:pt>
                <c:pt idx="25081">
                  <c:v>-1.1764705882352899E-2</c:v>
                </c:pt>
                <c:pt idx="25082">
                  <c:v>-1.1764705882352899E-2</c:v>
                </c:pt>
                <c:pt idx="25083">
                  <c:v>-1.1764705882352899E-2</c:v>
                </c:pt>
                <c:pt idx="25084">
                  <c:v>-1.1764705882352899E-2</c:v>
                </c:pt>
                <c:pt idx="25085">
                  <c:v>-1.1764705882352899E-2</c:v>
                </c:pt>
                <c:pt idx="25086">
                  <c:v>-1.1764705882352899E-2</c:v>
                </c:pt>
                <c:pt idx="25087">
                  <c:v>-1.1764705882352899E-2</c:v>
                </c:pt>
                <c:pt idx="25088">
                  <c:v>-1.1764705882352899E-2</c:v>
                </c:pt>
                <c:pt idx="25089">
                  <c:v>-1.1764705882352899E-2</c:v>
                </c:pt>
                <c:pt idx="25090">
                  <c:v>-1.1764705882352899E-2</c:v>
                </c:pt>
                <c:pt idx="25091">
                  <c:v>-1.1764705882352899E-2</c:v>
                </c:pt>
                <c:pt idx="25092">
                  <c:v>-1.1764705882352899E-2</c:v>
                </c:pt>
                <c:pt idx="25093">
                  <c:v>-1.1764705882352899E-2</c:v>
                </c:pt>
                <c:pt idx="25094">
                  <c:v>-1.1764705882352899E-2</c:v>
                </c:pt>
                <c:pt idx="25095">
                  <c:v>-1.1764705882352899E-2</c:v>
                </c:pt>
                <c:pt idx="25096">
                  <c:v>-1.1764705882352899E-2</c:v>
                </c:pt>
                <c:pt idx="25097">
                  <c:v>-1.1764705882352899E-2</c:v>
                </c:pt>
                <c:pt idx="25098">
                  <c:v>-1.1764705882352899E-2</c:v>
                </c:pt>
                <c:pt idx="25099">
                  <c:v>-1.1764705882352899E-2</c:v>
                </c:pt>
                <c:pt idx="25100">
                  <c:v>-1.1764705882352899E-2</c:v>
                </c:pt>
                <c:pt idx="25101">
                  <c:v>-1.1764705882352899E-2</c:v>
                </c:pt>
                <c:pt idx="25102">
                  <c:v>-1.1764705882352899E-2</c:v>
                </c:pt>
                <c:pt idx="25103">
                  <c:v>-1.1764705882352899E-2</c:v>
                </c:pt>
                <c:pt idx="25104">
                  <c:v>-1.1764705882352899E-2</c:v>
                </c:pt>
                <c:pt idx="25105">
                  <c:v>-1.1764705882352899E-2</c:v>
                </c:pt>
                <c:pt idx="25106">
                  <c:v>-1.1764705882352899E-2</c:v>
                </c:pt>
                <c:pt idx="25107">
                  <c:v>-1.1764705882352899E-2</c:v>
                </c:pt>
                <c:pt idx="25108">
                  <c:v>-1.1764705882352899E-2</c:v>
                </c:pt>
                <c:pt idx="25109">
                  <c:v>-1.1764705882352899E-2</c:v>
                </c:pt>
                <c:pt idx="25110">
                  <c:v>-1.1764705882352899E-2</c:v>
                </c:pt>
                <c:pt idx="25111">
                  <c:v>-1.1764705882352899E-2</c:v>
                </c:pt>
                <c:pt idx="25112">
                  <c:v>-1.1764705882352899E-2</c:v>
                </c:pt>
                <c:pt idx="25113">
                  <c:v>-1.1764705882352899E-2</c:v>
                </c:pt>
                <c:pt idx="25114">
                  <c:v>-1.1764705882352899E-2</c:v>
                </c:pt>
                <c:pt idx="25115">
                  <c:v>-1.1764705882352899E-2</c:v>
                </c:pt>
                <c:pt idx="25116">
                  <c:v>-1.1764705882352899E-2</c:v>
                </c:pt>
                <c:pt idx="25117">
                  <c:v>-1.1764705882352899E-2</c:v>
                </c:pt>
                <c:pt idx="25118">
                  <c:v>-1.1764705882352899E-2</c:v>
                </c:pt>
                <c:pt idx="25119">
                  <c:v>-1.1764705882352899E-2</c:v>
                </c:pt>
                <c:pt idx="25120">
                  <c:v>-1.1764705882352899E-2</c:v>
                </c:pt>
                <c:pt idx="25121">
                  <c:v>-1.1764705882352899E-2</c:v>
                </c:pt>
                <c:pt idx="25122">
                  <c:v>-1.1764705882352899E-2</c:v>
                </c:pt>
                <c:pt idx="25123">
                  <c:v>-1.1764705882352899E-2</c:v>
                </c:pt>
                <c:pt idx="25124">
                  <c:v>-1.1764705882352899E-2</c:v>
                </c:pt>
                <c:pt idx="25125">
                  <c:v>-1.1764705882352899E-2</c:v>
                </c:pt>
                <c:pt idx="25126">
                  <c:v>-1.1764705882352899E-2</c:v>
                </c:pt>
                <c:pt idx="25127">
                  <c:v>-1.1764705882352899E-2</c:v>
                </c:pt>
                <c:pt idx="25128">
                  <c:v>-1.1764705882352899E-2</c:v>
                </c:pt>
                <c:pt idx="25129">
                  <c:v>-1.1764705882352899E-2</c:v>
                </c:pt>
                <c:pt idx="25130">
                  <c:v>-1.1764705882352899E-2</c:v>
                </c:pt>
                <c:pt idx="25131">
                  <c:v>-1.1764705882352899E-2</c:v>
                </c:pt>
                <c:pt idx="25132">
                  <c:v>-1.1764705882352899E-2</c:v>
                </c:pt>
                <c:pt idx="25133">
                  <c:v>-1.1764705882352899E-2</c:v>
                </c:pt>
                <c:pt idx="25134">
                  <c:v>-1.1764705882352899E-2</c:v>
                </c:pt>
                <c:pt idx="25135">
                  <c:v>-1.1764705882352899E-2</c:v>
                </c:pt>
                <c:pt idx="25136">
                  <c:v>-1.1764705882352899E-2</c:v>
                </c:pt>
                <c:pt idx="25137">
                  <c:v>-1.1764705882352899E-2</c:v>
                </c:pt>
                <c:pt idx="25138">
                  <c:v>-1.1764705882352899E-2</c:v>
                </c:pt>
                <c:pt idx="25139">
                  <c:v>-1.1764705882352899E-2</c:v>
                </c:pt>
                <c:pt idx="25140">
                  <c:v>-1.1764705882352899E-2</c:v>
                </c:pt>
                <c:pt idx="25141">
                  <c:v>-1.1764705882352899E-2</c:v>
                </c:pt>
                <c:pt idx="25142">
                  <c:v>-1.1764705882352899E-2</c:v>
                </c:pt>
                <c:pt idx="25143">
                  <c:v>-1.1764705882352899E-2</c:v>
                </c:pt>
                <c:pt idx="25144">
                  <c:v>-1.1764705882352899E-2</c:v>
                </c:pt>
                <c:pt idx="25145">
                  <c:v>-1.1764705882352899E-2</c:v>
                </c:pt>
                <c:pt idx="25146">
                  <c:v>-1.1764705882352899E-2</c:v>
                </c:pt>
                <c:pt idx="25147">
                  <c:v>-1.1764705882352899E-2</c:v>
                </c:pt>
                <c:pt idx="25148">
                  <c:v>-1.1764705882352899E-2</c:v>
                </c:pt>
                <c:pt idx="25149">
                  <c:v>-1.1764705882352899E-2</c:v>
                </c:pt>
                <c:pt idx="25150">
                  <c:v>-1.1764705882352899E-2</c:v>
                </c:pt>
                <c:pt idx="25151">
                  <c:v>-1.1764705882352899E-2</c:v>
                </c:pt>
                <c:pt idx="25152">
                  <c:v>-1.1764705882352899E-2</c:v>
                </c:pt>
                <c:pt idx="25153">
                  <c:v>-1.1764705882352899E-2</c:v>
                </c:pt>
                <c:pt idx="25154">
                  <c:v>-1.1764705882352899E-2</c:v>
                </c:pt>
                <c:pt idx="25155">
                  <c:v>-1.1764705882352899E-2</c:v>
                </c:pt>
                <c:pt idx="25156">
                  <c:v>-1.1764705882352899E-2</c:v>
                </c:pt>
                <c:pt idx="25157">
                  <c:v>-1.1764705882352899E-2</c:v>
                </c:pt>
                <c:pt idx="25158">
                  <c:v>-1.1764705882352899E-2</c:v>
                </c:pt>
                <c:pt idx="25159">
                  <c:v>-1.1764705882352899E-2</c:v>
                </c:pt>
                <c:pt idx="25160">
                  <c:v>-1.1764705882352899E-2</c:v>
                </c:pt>
                <c:pt idx="25161">
                  <c:v>-1.1764705882352899E-2</c:v>
                </c:pt>
                <c:pt idx="25162">
                  <c:v>-1.1764705882352899E-2</c:v>
                </c:pt>
                <c:pt idx="25163">
                  <c:v>-1.1764705882352899E-2</c:v>
                </c:pt>
                <c:pt idx="25164">
                  <c:v>-1.1764705882352899E-2</c:v>
                </c:pt>
                <c:pt idx="25165">
                  <c:v>-1.1764705882352899E-2</c:v>
                </c:pt>
                <c:pt idx="25166">
                  <c:v>-1.1764705882352899E-2</c:v>
                </c:pt>
                <c:pt idx="25167">
                  <c:v>-1.1764705882352899E-2</c:v>
                </c:pt>
                <c:pt idx="25168">
                  <c:v>-1.1764705882352899E-2</c:v>
                </c:pt>
                <c:pt idx="25169">
                  <c:v>-1.1764705882352899E-2</c:v>
                </c:pt>
                <c:pt idx="25170">
                  <c:v>-1.1764705882352899E-2</c:v>
                </c:pt>
                <c:pt idx="25171">
                  <c:v>-1.1764705882352899E-2</c:v>
                </c:pt>
                <c:pt idx="25172">
                  <c:v>-1.1764705882352899E-2</c:v>
                </c:pt>
                <c:pt idx="25173">
                  <c:v>-1.1764705882352899E-2</c:v>
                </c:pt>
                <c:pt idx="25174">
                  <c:v>-1.1764705882352899E-2</c:v>
                </c:pt>
                <c:pt idx="25175">
                  <c:v>-1.1764705882352899E-2</c:v>
                </c:pt>
                <c:pt idx="25176">
                  <c:v>-1.1764705882352899E-2</c:v>
                </c:pt>
                <c:pt idx="25177">
                  <c:v>-1.1764705882352899E-2</c:v>
                </c:pt>
                <c:pt idx="25178">
                  <c:v>-1.1764705882352899E-2</c:v>
                </c:pt>
                <c:pt idx="25179">
                  <c:v>-1.1764705882352899E-2</c:v>
                </c:pt>
                <c:pt idx="25180">
                  <c:v>-1.1764705882352899E-2</c:v>
                </c:pt>
                <c:pt idx="25181">
                  <c:v>-1.1764705882352899E-2</c:v>
                </c:pt>
                <c:pt idx="25182">
                  <c:v>-1.1764705882352899E-2</c:v>
                </c:pt>
                <c:pt idx="25183">
                  <c:v>-1.1764705882352899E-2</c:v>
                </c:pt>
                <c:pt idx="25184">
                  <c:v>-1.1764705882352899E-2</c:v>
                </c:pt>
                <c:pt idx="25185">
                  <c:v>-1.1764705882352899E-2</c:v>
                </c:pt>
                <c:pt idx="25186">
                  <c:v>-1.1764705882352899E-2</c:v>
                </c:pt>
                <c:pt idx="25187">
                  <c:v>-1.1764705882352899E-2</c:v>
                </c:pt>
                <c:pt idx="25188">
                  <c:v>-1.1764705882352899E-2</c:v>
                </c:pt>
                <c:pt idx="25189">
                  <c:v>-1.1764705882352899E-2</c:v>
                </c:pt>
                <c:pt idx="25190">
                  <c:v>-1.1764705882352899E-2</c:v>
                </c:pt>
                <c:pt idx="25191">
                  <c:v>-1.1764705882352899E-2</c:v>
                </c:pt>
                <c:pt idx="25192">
                  <c:v>-1.1764705882352899E-2</c:v>
                </c:pt>
                <c:pt idx="25193">
                  <c:v>-1.26050420168066E-2</c:v>
                </c:pt>
                <c:pt idx="25194">
                  <c:v>-1.26050420168066E-2</c:v>
                </c:pt>
                <c:pt idx="25195">
                  <c:v>-1.26050420168066E-2</c:v>
                </c:pt>
                <c:pt idx="25196">
                  <c:v>-1.3445378151260399E-2</c:v>
                </c:pt>
                <c:pt idx="25197">
                  <c:v>-1.3445378151260399E-2</c:v>
                </c:pt>
                <c:pt idx="25198">
                  <c:v>-1.3445378151260399E-2</c:v>
                </c:pt>
                <c:pt idx="25199">
                  <c:v>-1.3445378151260399E-2</c:v>
                </c:pt>
                <c:pt idx="25200">
                  <c:v>-1.42857142857142E-2</c:v>
                </c:pt>
                <c:pt idx="25201">
                  <c:v>-1.42857142857142E-2</c:v>
                </c:pt>
                <c:pt idx="25202">
                  <c:v>-1.42857142857142E-2</c:v>
                </c:pt>
                <c:pt idx="25203">
                  <c:v>-1.42857142857142E-2</c:v>
                </c:pt>
                <c:pt idx="25204">
                  <c:v>-1.42857142857142E-2</c:v>
                </c:pt>
                <c:pt idx="25205">
                  <c:v>-1.42857142857142E-2</c:v>
                </c:pt>
                <c:pt idx="25206">
                  <c:v>-1.42857142857142E-2</c:v>
                </c:pt>
                <c:pt idx="25207">
                  <c:v>-1.42857142857142E-2</c:v>
                </c:pt>
                <c:pt idx="25208">
                  <c:v>-1.42857142857142E-2</c:v>
                </c:pt>
                <c:pt idx="25209">
                  <c:v>-1.42857142857142E-2</c:v>
                </c:pt>
                <c:pt idx="25210">
                  <c:v>-1.42857142857142E-2</c:v>
                </c:pt>
                <c:pt idx="25211">
                  <c:v>-1.42857142857142E-2</c:v>
                </c:pt>
                <c:pt idx="25212">
                  <c:v>-1.42857142857142E-2</c:v>
                </c:pt>
                <c:pt idx="25213">
                  <c:v>-1.42857142857142E-2</c:v>
                </c:pt>
                <c:pt idx="25214">
                  <c:v>-1.42857142857142E-2</c:v>
                </c:pt>
                <c:pt idx="25215">
                  <c:v>-1.42857142857142E-2</c:v>
                </c:pt>
                <c:pt idx="25216">
                  <c:v>-1.42857142857142E-2</c:v>
                </c:pt>
                <c:pt idx="25217">
                  <c:v>-1.42857142857142E-2</c:v>
                </c:pt>
                <c:pt idx="25218">
                  <c:v>-1.42857142857142E-2</c:v>
                </c:pt>
                <c:pt idx="25219">
                  <c:v>-1.42857142857142E-2</c:v>
                </c:pt>
                <c:pt idx="25220">
                  <c:v>-1.42857142857142E-2</c:v>
                </c:pt>
                <c:pt idx="25221">
                  <c:v>-1.42857142857142E-2</c:v>
                </c:pt>
                <c:pt idx="25222">
                  <c:v>-1.42857142857142E-2</c:v>
                </c:pt>
                <c:pt idx="25223">
                  <c:v>-1.42857142857142E-2</c:v>
                </c:pt>
                <c:pt idx="25224">
                  <c:v>-1.42857142857142E-2</c:v>
                </c:pt>
                <c:pt idx="25225">
                  <c:v>-1.42857142857142E-2</c:v>
                </c:pt>
                <c:pt idx="25226">
                  <c:v>-1.42857142857142E-2</c:v>
                </c:pt>
                <c:pt idx="25227">
                  <c:v>-1.42857142857142E-2</c:v>
                </c:pt>
                <c:pt idx="25228">
                  <c:v>-1.42857142857142E-2</c:v>
                </c:pt>
                <c:pt idx="25229">
                  <c:v>-1.42857142857142E-2</c:v>
                </c:pt>
                <c:pt idx="25230">
                  <c:v>-1.42857142857142E-2</c:v>
                </c:pt>
                <c:pt idx="25231">
                  <c:v>-1.42857142857142E-2</c:v>
                </c:pt>
                <c:pt idx="25232">
                  <c:v>-1.42857142857142E-2</c:v>
                </c:pt>
                <c:pt idx="25233">
                  <c:v>-1.42857142857142E-2</c:v>
                </c:pt>
                <c:pt idx="25234">
                  <c:v>-1.42857142857142E-2</c:v>
                </c:pt>
                <c:pt idx="25235">
                  <c:v>-1.42857142857142E-2</c:v>
                </c:pt>
                <c:pt idx="25236">
                  <c:v>-1.42857142857142E-2</c:v>
                </c:pt>
                <c:pt idx="25237">
                  <c:v>-1.42857142857142E-2</c:v>
                </c:pt>
                <c:pt idx="25238">
                  <c:v>-1.42857142857142E-2</c:v>
                </c:pt>
                <c:pt idx="25239">
                  <c:v>-1.42857142857142E-2</c:v>
                </c:pt>
                <c:pt idx="25240">
                  <c:v>-1.42857142857142E-2</c:v>
                </c:pt>
                <c:pt idx="25241">
                  <c:v>-1.42857142857142E-2</c:v>
                </c:pt>
                <c:pt idx="25242">
                  <c:v>-1.42857142857142E-2</c:v>
                </c:pt>
                <c:pt idx="25243">
                  <c:v>-1.42857142857142E-2</c:v>
                </c:pt>
                <c:pt idx="25244">
                  <c:v>-1.42857142857142E-2</c:v>
                </c:pt>
                <c:pt idx="25245">
                  <c:v>-1.42857142857142E-2</c:v>
                </c:pt>
                <c:pt idx="25246">
                  <c:v>-1.42857142857142E-2</c:v>
                </c:pt>
                <c:pt idx="25247">
                  <c:v>-1.42857142857142E-2</c:v>
                </c:pt>
                <c:pt idx="25248">
                  <c:v>-1.42857142857142E-2</c:v>
                </c:pt>
                <c:pt idx="25249">
                  <c:v>-1.42857142857142E-2</c:v>
                </c:pt>
                <c:pt idx="25250">
                  <c:v>-1.42857142857142E-2</c:v>
                </c:pt>
                <c:pt idx="25251">
                  <c:v>-1.42857142857142E-2</c:v>
                </c:pt>
                <c:pt idx="25252">
                  <c:v>-1.42857142857142E-2</c:v>
                </c:pt>
                <c:pt idx="25253">
                  <c:v>-1.42857142857142E-2</c:v>
                </c:pt>
                <c:pt idx="25254">
                  <c:v>-1.42857142857142E-2</c:v>
                </c:pt>
                <c:pt idx="25255">
                  <c:v>-1.42857142857142E-2</c:v>
                </c:pt>
                <c:pt idx="25256">
                  <c:v>-1.42857142857142E-2</c:v>
                </c:pt>
                <c:pt idx="25257">
                  <c:v>-1.42857142857142E-2</c:v>
                </c:pt>
                <c:pt idx="25258">
                  <c:v>-1.42857142857142E-2</c:v>
                </c:pt>
                <c:pt idx="25259">
                  <c:v>-1.42857142857142E-2</c:v>
                </c:pt>
                <c:pt idx="25260">
                  <c:v>-1.42857142857142E-2</c:v>
                </c:pt>
                <c:pt idx="25261">
                  <c:v>-1.42857142857142E-2</c:v>
                </c:pt>
                <c:pt idx="25262">
                  <c:v>-1.3445378151260399E-2</c:v>
                </c:pt>
                <c:pt idx="25263">
                  <c:v>-1.3445378151260399E-2</c:v>
                </c:pt>
                <c:pt idx="25264">
                  <c:v>-1.3445378151260399E-2</c:v>
                </c:pt>
                <c:pt idx="25265">
                  <c:v>-1.3445378151260399E-2</c:v>
                </c:pt>
                <c:pt idx="25266">
                  <c:v>-1.3445378151260399E-2</c:v>
                </c:pt>
                <c:pt idx="25267">
                  <c:v>-1.3445378151260399E-2</c:v>
                </c:pt>
                <c:pt idx="25268">
                  <c:v>-1.3445378151260399E-2</c:v>
                </c:pt>
                <c:pt idx="25269">
                  <c:v>-1.3445378151260399E-2</c:v>
                </c:pt>
                <c:pt idx="25270">
                  <c:v>-1.3445378151260399E-2</c:v>
                </c:pt>
                <c:pt idx="25271">
                  <c:v>-1.3445378151260399E-2</c:v>
                </c:pt>
                <c:pt idx="25272">
                  <c:v>-1.3445378151260399E-2</c:v>
                </c:pt>
                <c:pt idx="25273">
                  <c:v>-1.3445378151260399E-2</c:v>
                </c:pt>
                <c:pt idx="25274">
                  <c:v>-1.3445378151260399E-2</c:v>
                </c:pt>
                <c:pt idx="25275">
                  <c:v>-1.3445378151260399E-2</c:v>
                </c:pt>
                <c:pt idx="25276">
                  <c:v>-1.3445378151260399E-2</c:v>
                </c:pt>
                <c:pt idx="25277">
                  <c:v>-1.3445378151260399E-2</c:v>
                </c:pt>
                <c:pt idx="25278">
                  <c:v>-1.3445378151260399E-2</c:v>
                </c:pt>
                <c:pt idx="25279">
                  <c:v>-1.3445378151260399E-2</c:v>
                </c:pt>
                <c:pt idx="25280">
                  <c:v>-1.3445378151260399E-2</c:v>
                </c:pt>
                <c:pt idx="25281">
                  <c:v>-1.3445378151260399E-2</c:v>
                </c:pt>
                <c:pt idx="25282">
                  <c:v>-1.3445378151260399E-2</c:v>
                </c:pt>
                <c:pt idx="25283">
                  <c:v>-1.3445378151260399E-2</c:v>
                </c:pt>
                <c:pt idx="25284">
                  <c:v>-1.3445378151260399E-2</c:v>
                </c:pt>
                <c:pt idx="25285">
                  <c:v>-1.3445378151260399E-2</c:v>
                </c:pt>
                <c:pt idx="25286">
                  <c:v>-1.3445378151260399E-2</c:v>
                </c:pt>
                <c:pt idx="25287">
                  <c:v>-1.3445378151260399E-2</c:v>
                </c:pt>
                <c:pt idx="25288">
                  <c:v>-1.3445378151260399E-2</c:v>
                </c:pt>
                <c:pt idx="25289">
                  <c:v>-1.3445378151260399E-2</c:v>
                </c:pt>
                <c:pt idx="25290">
                  <c:v>-1.3445378151260399E-2</c:v>
                </c:pt>
                <c:pt idx="25291">
                  <c:v>-1.3445378151260399E-2</c:v>
                </c:pt>
                <c:pt idx="25292">
                  <c:v>-1.3445378151260399E-2</c:v>
                </c:pt>
                <c:pt idx="25293">
                  <c:v>-1.3445378151260399E-2</c:v>
                </c:pt>
                <c:pt idx="25294">
                  <c:v>-1.3445378151260399E-2</c:v>
                </c:pt>
                <c:pt idx="25295">
                  <c:v>-1.3445378151260399E-2</c:v>
                </c:pt>
                <c:pt idx="25296">
                  <c:v>-1.3445378151260399E-2</c:v>
                </c:pt>
                <c:pt idx="25297">
                  <c:v>-1.3445378151260399E-2</c:v>
                </c:pt>
                <c:pt idx="25298">
                  <c:v>-1.3445378151260399E-2</c:v>
                </c:pt>
                <c:pt idx="25299">
                  <c:v>-1.3445378151260399E-2</c:v>
                </c:pt>
                <c:pt idx="25300">
                  <c:v>-1.3445378151260399E-2</c:v>
                </c:pt>
                <c:pt idx="25301">
                  <c:v>-1.42857142857142E-2</c:v>
                </c:pt>
                <c:pt idx="25302">
                  <c:v>-1.42857142857142E-2</c:v>
                </c:pt>
                <c:pt idx="25303">
                  <c:v>-1.42857142857142E-2</c:v>
                </c:pt>
                <c:pt idx="25304">
                  <c:v>-1.42857142857142E-2</c:v>
                </c:pt>
                <c:pt idx="25305">
                  <c:v>-1.42857142857142E-2</c:v>
                </c:pt>
                <c:pt idx="25306">
                  <c:v>-1.42857142857142E-2</c:v>
                </c:pt>
                <c:pt idx="25307">
                  <c:v>-1.42857142857142E-2</c:v>
                </c:pt>
                <c:pt idx="25308">
                  <c:v>-1.42857142857142E-2</c:v>
                </c:pt>
                <c:pt idx="25309">
                  <c:v>-1.42857142857142E-2</c:v>
                </c:pt>
                <c:pt idx="25310">
                  <c:v>-1.42857142857142E-2</c:v>
                </c:pt>
                <c:pt idx="25311">
                  <c:v>-1.42857142857142E-2</c:v>
                </c:pt>
                <c:pt idx="25312">
                  <c:v>-1.42857142857142E-2</c:v>
                </c:pt>
                <c:pt idx="25313">
                  <c:v>-1.42857142857142E-2</c:v>
                </c:pt>
                <c:pt idx="25314">
                  <c:v>-1.5126050420168E-2</c:v>
                </c:pt>
                <c:pt idx="25315">
                  <c:v>-1.5126050420168E-2</c:v>
                </c:pt>
                <c:pt idx="25316">
                  <c:v>-1.5126050420168E-2</c:v>
                </c:pt>
                <c:pt idx="25317">
                  <c:v>-1.5126050420168E-2</c:v>
                </c:pt>
                <c:pt idx="25318">
                  <c:v>-1.5126050420168E-2</c:v>
                </c:pt>
                <c:pt idx="25319">
                  <c:v>-1.5126050420168E-2</c:v>
                </c:pt>
                <c:pt idx="25320">
                  <c:v>-1.5126050420168E-2</c:v>
                </c:pt>
                <c:pt idx="25321">
                  <c:v>-1.5126050420168E-2</c:v>
                </c:pt>
                <c:pt idx="25322">
                  <c:v>-1.5126050420168E-2</c:v>
                </c:pt>
                <c:pt idx="25323">
                  <c:v>-1.5126050420168E-2</c:v>
                </c:pt>
                <c:pt idx="25324">
                  <c:v>-1.5126050420168E-2</c:v>
                </c:pt>
                <c:pt idx="25325">
                  <c:v>-1.5126050420168E-2</c:v>
                </c:pt>
                <c:pt idx="25326">
                  <c:v>-1.5126050420168E-2</c:v>
                </c:pt>
                <c:pt idx="25327">
                  <c:v>-1.5126050420168E-2</c:v>
                </c:pt>
                <c:pt idx="25328">
                  <c:v>-1.5126050420168E-2</c:v>
                </c:pt>
                <c:pt idx="25329">
                  <c:v>-1.5126050420168E-2</c:v>
                </c:pt>
                <c:pt idx="25330">
                  <c:v>-1.5126050420168E-2</c:v>
                </c:pt>
                <c:pt idx="25331">
                  <c:v>-1.5126050420168E-2</c:v>
                </c:pt>
                <c:pt idx="25332">
                  <c:v>-1.5126050420168E-2</c:v>
                </c:pt>
                <c:pt idx="25333">
                  <c:v>-1.5126050420168E-2</c:v>
                </c:pt>
                <c:pt idx="25334">
                  <c:v>-1.5126050420168E-2</c:v>
                </c:pt>
                <c:pt idx="25335">
                  <c:v>-1.5126050420168E-2</c:v>
                </c:pt>
                <c:pt idx="25336">
                  <c:v>-1.5126050420168E-2</c:v>
                </c:pt>
                <c:pt idx="25337">
                  <c:v>-1.5126050420168E-2</c:v>
                </c:pt>
                <c:pt idx="25338">
                  <c:v>-1.5126050420168E-2</c:v>
                </c:pt>
                <c:pt idx="25339">
                  <c:v>-1.5126050420168E-2</c:v>
                </c:pt>
                <c:pt idx="25340">
                  <c:v>-1.5126050420168E-2</c:v>
                </c:pt>
                <c:pt idx="25341">
                  <c:v>-1.5126050420168E-2</c:v>
                </c:pt>
                <c:pt idx="25342">
                  <c:v>-1.5126050420168E-2</c:v>
                </c:pt>
                <c:pt idx="25343">
                  <c:v>-1.5126050420168E-2</c:v>
                </c:pt>
                <c:pt idx="25344">
                  <c:v>-1.5126050420168E-2</c:v>
                </c:pt>
                <c:pt idx="25345">
                  <c:v>-1.5126050420168E-2</c:v>
                </c:pt>
                <c:pt idx="25346">
                  <c:v>-1.5126050420168E-2</c:v>
                </c:pt>
                <c:pt idx="25347">
                  <c:v>-1.5126050420168E-2</c:v>
                </c:pt>
                <c:pt idx="25348">
                  <c:v>-1.5126050420168E-2</c:v>
                </c:pt>
                <c:pt idx="25349">
                  <c:v>-1.5126050420168E-2</c:v>
                </c:pt>
                <c:pt idx="25350">
                  <c:v>-1.5126050420168E-2</c:v>
                </c:pt>
                <c:pt idx="25351">
                  <c:v>-1.5126050420168E-2</c:v>
                </c:pt>
                <c:pt idx="25352">
                  <c:v>-1.5126050420168E-2</c:v>
                </c:pt>
                <c:pt idx="25353">
                  <c:v>-1.5126050420168E-2</c:v>
                </c:pt>
                <c:pt idx="25354">
                  <c:v>-1.5126050420168E-2</c:v>
                </c:pt>
                <c:pt idx="25355">
                  <c:v>-1.5126050420168E-2</c:v>
                </c:pt>
                <c:pt idx="25356">
                  <c:v>-1.5126050420168E-2</c:v>
                </c:pt>
                <c:pt idx="25357">
                  <c:v>-1.5966386554621698E-2</c:v>
                </c:pt>
                <c:pt idx="25358">
                  <c:v>-1.5966386554621698E-2</c:v>
                </c:pt>
                <c:pt idx="25359">
                  <c:v>-1.5966386554621698E-2</c:v>
                </c:pt>
                <c:pt idx="25360">
                  <c:v>-1.5126050420168E-2</c:v>
                </c:pt>
                <c:pt idx="25361">
                  <c:v>-1.5126050420168E-2</c:v>
                </c:pt>
                <c:pt idx="25362">
                  <c:v>-1.5126050420168E-2</c:v>
                </c:pt>
                <c:pt idx="25363">
                  <c:v>-1.5126050420168E-2</c:v>
                </c:pt>
                <c:pt idx="25364">
                  <c:v>-1.5126050420168E-2</c:v>
                </c:pt>
                <c:pt idx="25365">
                  <c:v>-1.5126050420168E-2</c:v>
                </c:pt>
                <c:pt idx="25366">
                  <c:v>-1.5126050420168E-2</c:v>
                </c:pt>
                <c:pt idx="25367">
                  <c:v>-1.5126050420168E-2</c:v>
                </c:pt>
                <c:pt idx="25368">
                  <c:v>-1.42857142857142E-2</c:v>
                </c:pt>
                <c:pt idx="25369">
                  <c:v>-1.42857142857142E-2</c:v>
                </c:pt>
                <c:pt idx="25370">
                  <c:v>-1.42857142857142E-2</c:v>
                </c:pt>
                <c:pt idx="25371">
                  <c:v>-1.42857142857142E-2</c:v>
                </c:pt>
                <c:pt idx="25372">
                  <c:v>-1.42857142857142E-2</c:v>
                </c:pt>
                <c:pt idx="25373">
                  <c:v>-1.42857142857142E-2</c:v>
                </c:pt>
                <c:pt idx="25374">
                  <c:v>-1.42857142857142E-2</c:v>
                </c:pt>
                <c:pt idx="25375">
                  <c:v>-1.42857142857142E-2</c:v>
                </c:pt>
                <c:pt idx="25376">
                  <c:v>-1.42857142857142E-2</c:v>
                </c:pt>
                <c:pt idx="25377">
                  <c:v>-1.42857142857142E-2</c:v>
                </c:pt>
                <c:pt idx="25378">
                  <c:v>-1.42857142857142E-2</c:v>
                </c:pt>
                <c:pt idx="25379">
                  <c:v>-1.3445378151260399E-2</c:v>
                </c:pt>
                <c:pt idx="25380">
                  <c:v>-1.3445378151260399E-2</c:v>
                </c:pt>
                <c:pt idx="25381">
                  <c:v>-1.3445378151260399E-2</c:v>
                </c:pt>
                <c:pt idx="25382">
                  <c:v>-1.3445378151260399E-2</c:v>
                </c:pt>
                <c:pt idx="25383">
                  <c:v>-1.3445378151260399E-2</c:v>
                </c:pt>
                <c:pt idx="25384">
                  <c:v>-1.3445378151260399E-2</c:v>
                </c:pt>
                <c:pt idx="25385">
                  <c:v>-1.3445378151260399E-2</c:v>
                </c:pt>
                <c:pt idx="25386">
                  <c:v>-1.42857142857142E-2</c:v>
                </c:pt>
                <c:pt idx="25387">
                  <c:v>-1.42857142857142E-2</c:v>
                </c:pt>
                <c:pt idx="25388">
                  <c:v>-1.42857142857142E-2</c:v>
                </c:pt>
                <c:pt idx="25389">
                  <c:v>-1.42857142857142E-2</c:v>
                </c:pt>
                <c:pt idx="25390">
                  <c:v>-1.42857142857142E-2</c:v>
                </c:pt>
                <c:pt idx="25391">
                  <c:v>-1.42857142857142E-2</c:v>
                </c:pt>
                <c:pt idx="25392">
                  <c:v>-1.42857142857142E-2</c:v>
                </c:pt>
                <c:pt idx="25393">
                  <c:v>-1.42857142857142E-2</c:v>
                </c:pt>
                <c:pt idx="25394">
                  <c:v>-1.42857142857142E-2</c:v>
                </c:pt>
                <c:pt idx="25395">
                  <c:v>-1.42857142857142E-2</c:v>
                </c:pt>
                <c:pt idx="25396">
                  <c:v>-1.42857142857142E-2</c:v>
                </c:pt>
                <c:pt idx="25397">
                  <c:v>-1.42857142857142E-2</c:v>
                </c:pt>
                <c:pt idx="25398">
                  <c:v>-1.42857142857142E-2</c:v>
                </c:pt>
                <c:pt idx="25399">
                  <c:v>-1.42857142857142E-2</c:v>
                </c:pt>
                <c:pt idx="25400">
                  <c:v>-1.42857142857142E-2</c:v>
                </c:pt>
                <c:pt idx="25401">
                  <c:v>-1.42857142857142E-2</c:v>
                </c:pt>
                <c:pt idx="25402">
                  <c:v>-1.42857142857142E-2</c:v>
                </c:pt>
                <c:pt idx="25403">
                  <c:v>-1.42857142857142E-2</c:v>
                </c:pt>
                <c:pt idx="25404">
                  <c:v>-1.42857142857142E-2</c:v>
                </c:pt>
                <c:pt idx="25405">
                  <c:v>-1.42857142857142E-2</c:v>
                </c:pt>
                <c:pt idx="25406">
                  <c:v>-1.42857142857142E-2</c:v>
                </c:pt>
                <c:pt idx="25407">
                  <c:v>-1.42857142857142E-2</c:v>
                </c:pt>
                <c:pt idx="25408">
                  <c:v>-1.42857142857142E-2</c:v>
                </c:pt>
                <c:pt idx="25409">
                  <c:v>-1.42857142857142E-2</c:v>
                </c:pt>
                <c:pt idx="25410">
                  <c:v>-1.42857142857142E-2</c:v>
                </c:pt>
                <c:pt idx="25411">
                  <c:v>-1.5126050420168E-2</c:v>
                </c:pt>
                <c:pt idx="25412">
                  <c:v>-1.5126050420168E-2</c:v>
                </c:pt>
                <c:pt idx="25413">
                  <c:v>-1.5126050420168E-2</c:v>
                </c:pt>
                <c:pt idx="25414">
                  <c:v>-1.5126050420168E-2</c:v>
                </c:pt>
                <c:pt idx="25415">
                  <c:v>-1.5126050420168E-2</c:v>
                </c:pt>
                <c:pt idx="25416">
                  <c:v>-1.5126050420168E-2</c:v>
                </c:pt>
                <c:pt idx="25417">
                  <c:v>-1.5126050420168E-2</c:v>
                </c:pt>
                <c:pt idx="25418">
                  <c:v>-1.5126050420168E-2</c:v>
                </c:pt>
                <c:pt idx="25419">
                  <c:v>-1.5126050420168E-2</c:v>
                </c:pt>
                <c:pt idx="25420">
                  <c:v>-1.5126050420168E-2</c:v>
                </c:pt>
                <c:pt idx="25421">
                  <c:v>-1.5126050420168E-2</c:v>
                </c:pt>
                <c:pt idx="25422">
                  <c:v>-1.5126050420168E-2</c:v>
                </c:pt>
                <c:pt idx="25423">
                  <c:v>-1.5126050420168E-2</c:v>
                </c:pt>
                <c:pt idx="25424">
                  <c:v>-1.5126050420168E-2</c:v>
                </c:pt>
                <c:pt idx="25425">
                  <c:v>-1.5126050420168E-2</c:v>
                </c:pt>
                <c:pt idx="25426">
                  <c:v>-1.5126050420168E-2</c:v>
                </c:pt>
                <c:pt idx="25427">
                  <c:v>-1.5126050420168E-2</c:v>
                </c:pt>
                <c:pt idx="25428">
                  <c:v>-1.5126050420168E-2</c:v>
                </c:pt>
                <c:pt idx="25429">
                  <c:v>-1.5126050420168E-2</c:v>
                </c:pt>
                <c:pt idx="25430">
                  <c:v>-1.42857142857142E-2</c:v>
                </c:pt>
                <c:pt idx="25431">
                  <c:v>-1.42857142857142E-2</c:v>
                </c:pt>
                <c:pt idx="25432">
                  <c:v>-1.42857142857142E-2</c:v>
                </c:pt>
                <c:pt idx="25433">
                  <c:v>-1.42857142857142E-2</c:v>
                </c:pt>
                <c:pt idx="25434">
                  <c:v>-1.42857142857142E-2</c:v>
                </c:pt>
                <c:pt idx="25435">
                  <c:v>-1.42857142857142E-2</c:v>
                </c:pt>
                <c:pt idx="25436">
                  <c:v>-1.42857142857142E-2</c:v>
                </c:pt>
                <c:pt idx="25437">
                  <c:v>-1.42857142857142E-2</c:v>
                </c:pt>
                <c:pt idx="25438">
                  <c:v>-1.42857142857142E-2</c:v>
                </c:pt>
                <c:pt idx="25439">
                  <c:v>-1.42857142857142E-2</c:v>
                </c:pt>
                <c:pt idx="25440">
                  <c:v>-1.42857142857142E-2</c:v>
                </c:pt>
                <c:pt idx="25441">
                  <c:v>-1.42857142857142E-2</c:v>
                </c:pt>
                <c:pt idx="25442">
                  <c:v>-1.42857142857142E-2</c:v>
                </c:pt>
                <c:pt idx="25443">
                  <c:v>-1.42857142857142E-2</c:v>
                </c:pt>
                <c:pt idx="25444">
                  <c:v>-1.5126050420168E-2</c:v>
                </c:pt>
                <c:pt idx="25445">
                  <c:v>-1.5126050420168E-2</c:v>
                </c:pt>
                <c:pt idx="25446">
                  <c:v>-1.5126050420168E-2</c:v>
                </c:pt>
                <c:pt idx="25447">
                  <c:v>-1.5126050420168E-2</c:v>
                </c:pt>
                <c:pt idx="25448">
                  <c:v>-1.5126050420168E-2</c:v>
                </c:pt>
                <c:pt idx="25449">
                  <c:v>-1.5126050420168E-2</c:v>
                </c:pt>
                <c:pt idx="25450">
                  <c:v>-1.5126050420168E-2</c:v>
                </c:pt>
                <c:pt idx="25451">
                  <c:v>-1.5126050420168E-2</c:v>
                </c:pt>
                <c:pt idx="25452">
                  <c:v>-1.5126050420168E-2</c:v>
                </c:pt>
                <c:pt idx="25453">
                  <c:v>-1.5126050420168E-2</c:v>
                </c:pt>
                <c:pt idx="25454">
                  <c:v>-1.5126050420168E-2</c:v>
                </c:pt>
                <c:pt idx="25455">
                  <c:v>-1.5126050420168E-2</c:v>
                </c:pt>
                <c:pt idx="25456">
                  <c:v>-1.5126050420168E-2</c:v>
                </c:pt>
                <c:pt idx="25457">
                  <c:v>-1.5126050420168E-2</c:v>
                </c:pt>
                <c:pt idx="25458">
                  <c:v>-1.5126050420168E-2</c:v>
                </c:pt>
                <c:pt idx="25459">
                  <c:v>-1.5126050420168E-2</c:v>
                </c:pt>
                <c:pt idx="25460">
                  <c:v>-1.5126050420168E-2</c:v>
                </c:pt>
                <c:pt idx="25461">
                  <c:v>-1.5126050420168E-2</c:v>
                </c:pt>
                <c:pt idx="25462">
                  <c:v>-1.5126050420168E-2</c:v>
                </c:pt>
                <c:pt idx="25463">
                  <c:v>-1.5126050420168E-2</c:v>
                </c:pt>
                <c:pt idx="25464">
                  <c:v>-1.5126050420168E-2</c:v>
                </c:pt>
                <c:pt idx="25465">
                  <c:v>-1.5126050420168E-2</c:v>
                </c:pt>
                <c:pt idx="25466">
                  <c:v>-1.5126050420168E-2</c:v>
                </c:pt>
                <c:pt idx="25467">
                  <c:v>-1.5126050420168E-2</c:v>
                </c:pt>
                <c:pt idx="25468">
                  <c:v>-1.5126050420168E-2</c:v>
                </c:pt>
                <c:pt idx="25469">
                  <c:v>-1.5126050420168E-2</c:v>
                </c:pt>
                <c:pt idx="25470">
                  <c:v>-1.5126050420168E-2</c:v>
                </c:pt>
                <c:pt idx="25471">
                  <c:v>-1.5126050420168E-2</c:v>
                </c:pt>
                <c:pt idx="25472">
                  <c:v>-1.5126050420168E-2</c:v>
                </c:pt>
                <c:pt idx="25473">
                  <c:v>-1.5126050420168E-2</c:v>
                </c:pt>
                <c:pt idx="25474">
                  <c:v>-1.5126050420168E-2</c:v>
                </c:pt>
                <c:pt idx="25475">
                  <c:v>-1.5966386554621698E-2</c:v>
                </c:pt>
                <c:pt idx="25476">
                  <c:v>-1.5966386554621698E-2</c:v>
                </c:pt>
                <c:pt idx="25477">
                  <c:v>-1.5966386554621698E-2</c:v>
                </c:pt>
                <c:pt idx="25478">
                  <c:v>-1.5966386554621698E-2</c:v>
                </c:pt>
                <c:pt idx="25479">
                  <c:v>-1.5966386554621698E-2</c:v>
                </c:pt>
                <c:pt idx="25480">
                  <c:v>-1.5966386554621698E-2</c:v>
                </c:pt>
                <c:pt idx="25481">
                  <c:v>-1.5966386554621698E-2</c:v>
                </c:pt>
                <c:pt idx="25482">
                  <c:v>-1.5966386554621698E-2</c:v>
                </c:pt>
                <c:pt idx="25483">
                  <c:v>-1.5966386554621698E-2</c:v>
                </c:pt>
                <c:pt idx="25484">
                  <c:v>-1.5966386554621698E-2</c:v>
                </c:pt>
                <c:pt idx="25485">
                  <c:v>-1.5966386554621698E-2</c:v>
                </c:pt>
                <c:pt idx="25486">
                  <c:v>-1.5966386554621698E-2</c:v>
                </c:pt>
                <c:pt idx="25487">
                  <c:v>-1.5966386554621698E-2</c:v>
                </c:pt>
                <c:pt idx="25488">
                  <c:v>-1.5966386554621698E-2</c:v>
                </c:pt>
                <c:pt idx="25489">
                  <c:v>-1.5966386554621698E-2</c:v>
                </c:pt>
                <c:pt idx="25490">
                  <c:v>-1.5966386554621698E-2</c:v>
                </c:pt>
                <c:pt idx="25491">
                  <c:v>-1.5966386554621698E-2</c:v>
                </c:pt>
                <c:pt idx="25492">
                  <c:v>-1.5966386554621698E-2</c:v>
                </c:pt>
                <c:pt idx="25493">
                  <c:v>-1.6806722689075501E-2</c:v>
                </c:pt>
                <c:pt idx="25494">
                  <c:v>-1.6806722689075501E-2</c:v>
                </c:pt>
                <c:pt idx="25495">
                  <c:v>-1.6806722689075501E-2</c:v>
                </c:pt>
                <c:pt idx="25496">
                  <c:v>-1.6806722689075501E-2</c:v>
                </c:pt>
                <c:pt idx="25497">
                  <c:v>-1.6806722689075501E-2</c:v>
                </c:pt>
                <c:pt idx="25498">
                  <c:v>-1.76470588235293E-2</c:v>
                </c:pt>
                <c:pt idx="25499">
                  <c:v>-1.76470588235293E-2</c:v>
                </c:pt>
                <c:pt idx="25500">
                  <c:v>-1.76470588235293E-2</c:v>
                </c:pt>
                <c:pt idx="25501">
                  <c:v>-1.76470588235293E-2</c:v>
                </c:pt>
                <c:pt idx="25502">
                  <c:v>-1.76470588235293E-2</c:v>
                </c:pt>
                <c:pt idx="25503">
                  <c:v>-1.76470588235293E-2</c:v>
                </c:pt>
                <c:pt idx="25504">
                  <c:v>-1.76470588235293E-2</c:v>
                </c:pt>
                <c:pt idx="25505">
                  <c:v>-1.76470588235293E-2</c:v>
                </c:pt>
                <c:pt idx="25506">
                  <c:v>-1.76470588235293E-2</c:v>
                </c:pt>
                <c:pt idx="25507">
                  <c:v>-1.76470588235293E-2</c:v>
                </c:pt>
                <c:pt idx="25508">
                  <c:v>-1.76470588235293E-2</c:v>
                </c:pt>
                <c:pt idx="25509">
                  <c:v>-1.76470588235293E-2</c:v>
                </c:pt>
                <c:pt idx="25510">
                  <c:v>-1.84873949579831E-2</c:v>
                </c:pt>
                <c:pt idx="25511">
                  <c:v>-1.84873949579831E-2</c:v>
                </c:pt>
                <c:pt idx="25512">
                  <c:v>-1.84873949579831E-2</c:v>
                </c:pt>
                <c:pt idx="25513">
                  <c:v>-1.84873949579831E-2</c:v>
                </c:pt>
                <c:pt idx="25514">
                  <c:v>-1.84873949579831E-2</c:v>
                </c:pt>
                <c:pt idx="25515">
                  <c:v>-1.84873949579831E-2</c:v>
                </c:pt>
                <c:pt idx="25516">
                  <c:v>-1.84873949579831E-2</c:v>
                </c:pt>
                <c:pt idx="25517">
                  <c:v>-1.84873949579831E-2</c:v>
                </c:pt>
                <c:pt idx="25518">
                  <c:v>-1.84873949579831E-2</c:v>
                </c:pt>
                <c:pt idx="25519">
                  <c:v>-1.84873949579831E-2</c:v>
                </c:pt>
                <c:pt idx="25520">
                  <c:v>-1.84873949579831E-2</c:v>
                </c:pt>
                <c:pt idx="25521">
                  <c:v>-1.84873949579831E-2</c:v>
                </c:pt>
                <c:pt idx="25522">
                  <c:v>-1.84873949579831E-2</c:v>
                </c:pt>
                <c:pt idx="25523">
                  <c:v>-1.84873949579831E-2</c:v>
                </c:pt>
                <c:pt idx="25524">
                  <c:v>-1.84873949579831E-2</c:v>
                </c:pt>
                <c:pt idx="25525">
                  <c:v>-1.84873949579831E-2</c:v>
                </c:pt>
                <c:pt idx="25526">
                  <c:v>-1.84873949579831E-2</c:v>
                </c:pt>
                <c:pt idx="25527">
                  <c:v>-1.84873949579831E-2</c:v>
                </c:pt>
                <c:pt idx="25528">
                  <c:v>-1.84873949579831E-2</c:v>
                </c:pt>
                <c:pt idx="25529">
                  <c:v>-1.84873949579831E-2</c:v>
                </c:pt>
                <c:pt idx="25530">
                  <c:v>-1.84873949579831E-2</c:v>
                </c:pt>
                <c:pt idx="25531">
                  <c:v>-1.84873949579831E-2</c:v>
                </c:pt>
                <c:pt idx="25532">
                  <c:v>-1.84873949579831E-2</c:v>
                </c:pt>
                <c:pt idx="25533">
                  <c:v>-1.84873949579831E-2</c:v>
                </c:pt>
                <c:pt idx="25534">
                  <c:v>-1.84873949579831E-2</c:v>
                </c:pt>
                <c:pt idx="25535">
                  <c:v>-1.84873949579831E-2</c:v>
                </c:pt>
                <c:pt idx="25536">
                  <c:v>-1.84873949579831E-2</c:v>
                </c:pt>
                <c:pt idx="25537">
                  <c:v>-1.84873949579831E-2</c:v>
                </c:pt>
                <c:pt idx="25538">
                  <c:v>-1.84873949579831E-2</c:v>
                </c:pt>
                <c:pt idx="25539">
                  <c:v>-1.84873949579831E-2</c:v>
                </c:pt>
                <c:pt idx="25540">
                  <c:v>-1.84873949579831E-2</c:v>
                </c:pt>
                <c:pt idx="25541">
                  <c:v>-1.84873949579831E-2</c:v>
                </c:pt>
                <c:pt idx="25542">
                  <c:v>-1.84873949579831E-2</c:v>
                </c:pt>
                <c:pt idx="25543">
                  <c:v>-1.84873949579831E-2</c:v>
                </c:pt>
                <c:pt idx="25544">
                  <c:v>-1.84873949579831E-2</c:v>
                </c:pt>
                <c:pt idx="25545">
                  <c:v>-1.84873949579831E-2</c:v>
                </c:pt>
                <c:pt idx="25546">
                  <c:v>-1.84873949579831E-2</c:v>
                </c:pt>
                <c:pt idx="25547">
                  <c:v>-1.84873949579831E-2</c:v>
                </c:pt>
                <c:pt idx="25548">
                  <c:v>-1.84873949579831E-2</c:v>
                </c:pt>
                <c:pt idx="25549">
                  <c:v>-1.84873949579831E-2</c:v>
                </c:pt>
                <c:pt idx="25550">
                  <c:v>-1.84873949579831E-2</c:v>
                </c:pt>
                <c:pt idx="25551">
                  <c:v>-1.84873949579831E-2</c:v>
                </c:pt>
                <c:pt idx="25552">
                  <c:v>-1.84873949579831E-2</c:v>
                </c:pt>
                <c:pt idx="25553">
                  <c:v>-1.84873949579831E-2</c:v>
                </c:pt>
                <c:pt idx="25554">
                  <c:v>-1.84873949579831E-2</c:v>
                </c:pt>
                <c:pt idx="25555">
                  <c:v>-1.84873949579831E-2</c:v>
                </c:pt>
                <c:pt idx="25556">
                  <c:v>-1.84873949579831E-2</c:v>
                </c:pt>
                <c:pt idx="25557">
                  <c:v>-1.84873949579831E-2</c:v>
                </c:pt>
                <c:pt idx="25558">
                  <c:v>-1.84873949579831E-2</c:v>
                </c:pt>
                <c:pt idx="25559">
                  <c:v>-1.9327731092437E-2</c:v>
                </c:pt>
                <c:pt idx="25560">
                  <c:v>-1.9327731092437E-2</c:v>
                </c:pt>
                <c:pt idx="25561">
                  <c:v>-1.9327731092437E-2</c:v>
                </c:pt>
                <c:pt idx="25562">
                  <c:v>-1.9327731092437E-2</c:v>
                </c:pt>
                <c:pt idx="25563">
                  <c:v>-1.9327731092437E-2</c:v>
                </c:pt>
                <c:pt idx="25564">
                  <c:v>-1.9327731092437E-2</c:v>
                </c:pt>
                <c:pt idx="25565">
                  <c:v>-1.9327731092437E-2</c:v>
                </c:pt>
                <c:pt idx="25566">
                  <c:v>-1.9327731092437E-2</c:v>
                </c:pt>
                <c:pt idx="25567">
                  <c:v>-1.9327731092437E-2</c:v>
                </c:pt>
                <c:pt idx="25568">
                  <c:v>-1.9327731092437E-2</c:v>
                </c:pt>
                <c:pt idx="25569">
                  <c:v>-1.9327731092437E-2</c:v>
                </c:pt>
                <c:pt idx="25570">
                  <c:v>-1.9327731092437E-2</c:v>
                </c:pt>
                <c:pt idx="25571">
                  <c:v>-1.9327731092437E-2</c:v>
                </c:pt>
                <c:pt idx="25572">
                  <c:v>-1.9327731092437E-2</c:v>
                </c:pt>
                <c:pt idx="25573">
                  <c:v>-1.9327731092437E-2</c:v>
                </c:pt>
                <c:pt idx="25574">
                  <c:v>-1.9327731092437E-2</c:v>
                </c:pt>
                <c:pt idx="25575">
                  <c:v>-1.9327731092437E-2</c:v>
                </c:pt>
                <c:pt idx="25576">
                  <c:v>-1.9327731092437E-2</c:v>
                </c:pt>
                <c:pt idx="25577">
                  <c:v>-1.9327731092437E-2</c:v>
                </c:pt>
                <c:pt idx="25578">
                  <c:v>-1.9327731092437E-2</c:v>
                </c:pt>
                <c:pt idx="25579">
                  <c:v>-1.9327731092437E-2</c:v>
                </c:pt>
                <c:pt idx="25580">
                  <c:v>-1.9327731092437E-2</c:v>
                </c:pt>
                <c:pt idx="25581">
                  <c:v>-1.9327731092437E-2</c:v>
                </c:pt>
                <c:pt idx="25582">
                  <c:v>-1.9327731092437E-2</c:v>
                </c:pt>
                <c:pt idx="25583">
                  <c:v>-1.9327731092437E-2</c:v>
                </c:pt>
                <c:pt idx="25584">
                  <c:v>-1.9327731092437E-2</c:v>
                </c:pt>
                <c:pt idx="25585">
                  <c:v>-1.9327731092437E-2</c:v>
                </c:pt>
                <c:pt idx="25586">
                  <c:v>-1.9327731092437E-2</c:v>
                </c:pt>
                <c:pt idx="25587">
                  <c:v>-1.9327731092437E-2</c:v>
                </c:pt>
                <c:pt idx="25588">
                  <c:v>-1.9327731092437E-2</c:v>
                </c:pt>
                <c:pt idx="25589">
                  <c:v>-1.9327731092437E-2</c:v>
                </c:pt>
                <c:pt idx="25590">
                  <c:v>-1.9327731092437E-2</c:v>
                </c:pt>
                <c:pt idx="25591">
                  <c:v>-1.9327731092437E-2</c:v>
                </c:pt>
                <c:pt idx="25592">
                  <c:v>-2.0168067226890699E-2</c:v>
                </c:pt>
                <c:pt idx="25593">
                  <c:v>-2.0168067226890699E-2</c:v>
                </c:pt>
                <c:pt idx="25594">
                  <c:v>-2.0168067226890699E-2</c:v>
                </c:pt>
                <c:pt idx="25595">
                  <c:v>-2.0168067226890699E-2</c:v>
                </c:pt>
                <c:pt idx="25596">
                  <c:v>-2.0168067226890699E-2</c:v>
                </c:pt>
                <c:pt idx="25597">
                  <c:v>-2.0168067226890699E-2</c:v>
                </c:pt>
                <c:pt idx="25598">
                  <c:v>-2.0168067226890699E-2</c:v>
                </c:pt>
                <c:pt idx="25599">
                  <c:v>-2.0168067226890699E-2</c:v>
                </c:pt>
                <c:pt idx="25600">
                  <c:v>-2.0168067226890699E-2</c:v>
                </c:pt>
                <c:pt idx="25601">
                  <c:v>-2.0168067226890699E-2</c:v>
                </c:pt>
                <c:pt idx="25602">
                  <c:v>-2.0168067226890699E-2</c:v>
                </c:pt>
                <c:pt idx="25603">
                  <c:v>-2.0168067226890699E-2</c:v>
                </c:pt>
                <c:pt idx="25604">
                  <c:v>-2.0168067226890699E-2</c:v>
                </c:pt>
                <c:pt idx="25605">
                  <c:v>-2.0168067226890699E-2</c:v>
                </c:pt>
                <c:pt idx="25606">
                  <c:v>-2.0168067226890699E-2</c:v>
                </c:pt>
                <c:pt idx="25607">
                  <c:v>-2.0168067226890699E-2</c:v>
                </c:pt>
                <c:pt idx="25608">
                  <c:v>-2.0168067226890699E-2</c:v>
                </c:pt>
                <c:pt idx="25609">
                  <c:v>-2.0168067226890699E-2</c:v>
                </c:pt>
                <c:pt idx="25610">
                  <c:v>-2.0168067226890699E-2</c:v>
                </c:pt>
                <c:pt idx="25611">
                  <c:v>-2.0168067226890699E-2</c:v>
                </c:pt>
                <c:pt idx="25612">
                  <c:v>-2.0168067226890699E-2</c:v>
                </c:pt>
                <c:pt idx="25613">
                  <c:v>-2.0168067226890699E-2</c:v>
                </c:pt>
                <c:pt idx="25614">
                  <c:v>-2.0168067226890699E-2</c:v>
                </c:pt>
                <c:pt idx="25615">
                  <c:v>-2.0168067226890699E-2</c:v>
                </c:pt>
                <c:pt idx="25616">
                  <c:v>-2.0168067226890699E-2</c:v>
                </c:pt>
                <c:pt idx="25617">
                  <c:v>-2.0168067226890699E-2</c:v>
                </c:pt>
                <c:pt idx="25618">
                  <c:v>-2.0168067226890699E-2</c:v>
                </c:pt>
                <c:pt idx="25619">
                  <c:v>-2.0168067226890699E-2</c:v>
                </c:pt>
                <c:pt idx="25620">
                  <c:v>-2.0168067226890699E-2</c:v>
                </c:pt>
                <c:pt idx="25621">
                  <c:v>-2.0168067226890699E-2</c:v>
                </c:pt>
                <c:pt idx="25622">
                  <c:v>-2.0168067226890699E-2</c:v>
                </c:pt>
                <c:pt idx="25623">
                  <c:v>-2.0168067226890699E-2</c:v>
                </c:pt>
                <c:pt idx="25624">
                  <c:v>-2.0168067226890699E-2</c:v>
                </c:pt>
                <c:pt idx="25625">
                  <c:v>-2.0168067226890699E-2</c:v>
                </c:pt>
                <c:pt idx="25626">
                  <c:v>-2.0168067226890699E-2</c:v>
                </c:pt>
                <c:pt idx="25627">
                  <c:v>-2.0168067226890699E-2</c:v>
                </c:pt>
                <c:pt idx="25628">
                  <c:v>-2.0168067226890699E-2</c:v>
                </c:pt>
                <c:pt idx="25629">
                  <c:v>-2.0168067226890699E-2</c:v>
                </c:pt>
                <c:pt idx="25630">
                  <c:v>-2.0168067226890699E-2</c:v>
                </c:pt>
                <c:pt idx="25631">
                  <c:v>-2.0168067226890699E-2</c:v>
                </c:pt>
                <c:pt idx="25632">
                  <c:v>-2.0168067226890699E-2</c:v>
                </c:pt>
                <c:pt idx="25633">
                  <c:v>-2.0168067226890699E-2</c:v>
                </c:pt>
                <c:pt idx="25634">
                  <c:v>-2.0168067226890699E-2</c:v>
                </c:pt>
                <c:pt idx="25635">
                  <c:v>-2.0168067226890699E-2</c:v>
                </c:pt>
                <c:pt idx="25636">
                  <c:v>-2.0168067226890699E-2</c:v>
                </c:pt>
                <c:pt idx="25637">
                  <c:v>-2.0168067226890699E-2</c:v>
                </c:pt>
                <c:pt idx="25638">
                  <c:v>-2.0168067226890699E-2</c:v>
                </c:pt>
                <c:pt idx="25639">
                  <c:v>-2.0168067226890699E-2</c:v>
                </c:pt>
                <c:pt idx="25640">
                  <c:v>-2.0168067226890699E-2</c:v>
                </c:pt>
                <c:pt idx="25641">
                  <c:v>-2.0168067226890699E-2</c:v>
                </c:pt>
                <c:pt idx="25642">
                  <c:v>-2.0168067226890699E-2</c:v>
                </c:pt>
                <c:pt idx="25643">
                  <c:v>-2.0168067226890699E-2</c:v>
                </c:pt>
                <c:pt idx="25644">
                  <c:v>-2.0168067226890699E-2</c:v>
                </c:pt>
                <c:pt idx="25645">
                  <c:v>-2.0168067226890699E-2</c:v>
                </c:pt>
                <c:pt idx="25646">
                  <c:v>-2.0168067226890699E-2</c:v>
                </c:pt>
                <c:pt idx="25647">
                  <c:v>-2.0168067226890699E-2</c:v>
                </c:pt>
                <c:pt idx="25648">
                  <c:v>-2.0168067226890699E-2</c:v>
                </c:pt>
                <c:pt idx="25649">
                  <c:v>-2.0168067226890699E-2</c:v>
                </c:pt>
                <c:pt idx="25650">
                  <c:v>-2.0168067226890699E-2</c:v>
                </c:pt>
                <c:pt idx="25651">
                  <c:v>-2.0168067226890699E-2</c:v>
                </c:pt>
                <c:pt idx="25652">
                  <c:v>-2.0168067226890699E-2</c:v>
                </c:pt>
                <c:pt idx="25653">
                  <c:v>-2.0168067226890699E-2</c:v>
                </c:pt>
                <c:pt idx="25654">
                  <c:v>-2.0168067226890699E-2</c:v>
                </c:pt>
                <c:pt idx="25655">
                  <c:v>-2.0168067226890699E-2</c:v>
                </c:pt>
                <c:pt idx="25656">
                  <c:v>-2.0168067226890699E-2</c:v>
                </c:pt>
                <c:pt idx="25657">
                  <c:v>-2.0168067226890699E-2</c:v>
                </c:pt>
                <c:pt idx="25658">
                  <c:v>-2.0168067226890699E-2</c:v>
                </c:pt>
                <c:pt idx="25659">
                  <c:v>-2.0168067226890699E-2</c:v>
                </c:pt>
                <c:pt idx="25660">
                  <c:v>-2.0168067226890699E-2</c:v>
                </c:pt>
                <c:pt idx="25661">
                  <c:v>-2.0168067226890699E-2</c:v>
                </c:pt>
                <c:pt idx="25662">
                  <c:v>-2.0168067226890699E-2</c:v>
                </c:pt>
                <c:pt idx="25663">
                  <c:v>-2.0168067226890699E-2</c:v>
                </c:pt>
                <c:pt idx="25664">
                  <c:v>-2.0168067226890699E-2</c:v>
                </c:pt>
                <c:pt idx="25665">
                  <c:v>-2.0168067226890699E-2</c:v>
                </c:pt>
                <c:pt idx="25666">
                  <c:v>-2.0168067226890699E-2</c:v>
                </c:pt>
                <c:pt idx="25667">
                  <c:v>-2.0168067226890699E-2</c:v>
                </c:pt>
                <c:pt idx="25668">
                  <c:v>-2.0168067226890699E-2</c:v>
                </c:pt>
                <c:pt idx="25669">
                  <c:v>-2.0168067226890699E-2</c:v>
                </c:pt>
                <c:pt idx="25670">
                  <c:v>-2.0168067226890699E-2</c:v>
                </c:pt>
                <c:pt idx="25671">
                  <c:v>-2.0168067226890699E-2</c:v>
                </c:pt>
                <c:pt idx="25672">
                  <c:v>-2.0168067226890699E-2</c:v>
                </c:pt>
                <c:pt idx="25673">
                  <c:v>-2.0168067226890699E-2</c:v>
                </c:pt>
                <c:pt idx="25674">
                  <c:v>-2.0168067226890699E-2</c:v>
                </c:pt>
                <c:pt idx="25675">
                  <c:v>-2.0168067226890699E-2</c:v>
                </c:pt>
                <c:pt idx="25676">
                  <c:v>-2.0168067226890699E-2</c:v>
                </c:pt>
                <c:pt idx="25677">
                  <c:v>-2.0168067226890699E-2</c:v>
                </c:pt>
                <c:pt idx="25678">
                  <c:v>-2.0168067226890699E-2</c:v>
                </c:pt>
                <c:pt idx="25679">
                  <c:v>-2.0168067226890699E-2</c:v>
                </c:pt>
                <c:pt idx="25680">
                  <c:v>-2.0168067226890699E-2</c:v>
                </c:pt>
                <c:pt idx="25681">
                  <c:v>-2.0168067226890699E-2</c:v>
                </c:pt>
                <c:pt idx="25682">
                  <c:v>-2.0168067226890699E-2</c:v>
                </c:pt>
                <c:pt idx="25683">
                  <c:v>-2.0168067226890699E-2</c:v>
                </c:pt>
                <c:pt idx="25684">
                  <c:v>-2.0168067226890699E-2</c:v>
                </c:pt>
                <c:pt idx="25685">
                  <c:v>-2.0168067226890699E-2</c:v>
                </c:pt>
                <c:pt idx="25686">
                  <c:v>-2.0168067226890699E-2</c:v>
                </c:pt>
                <c:pt idx="25687">
                  <c:v>-2.0168067226890699E-2</c:v>
                </c:pt>
                <c:pt idx="25688">
                  <c:v>-2.0168067226890699E-2</c:v>
                </c:pt>
                <c:pt idx="25689">
                  <c:v>-2.0168067226890699E-2</c:v>
                </c:pt>
                <c:pt idx="25690">
                  <c:v>-2.0168067226890699E-2</c:v>
                </c:pt>
                <c:pt idx="25691">
                  <c:v>-2.0168067226890699E-2</c:v>
                </c:pt>
                <c:pt idx="25692">
                  <c:v>-2.0168067226890699E-2</c:v>
                </c:pt>
                <c:pt idx="25693">
                  <c:v>-1.9327731092437E-2</c:v>
                </c:pt>
                <c:pt idx="25694">
                  <c:v>-1.9327731092437E-2</c:v>
                </c:pt>
                <c:pt idx="25695">
                  <c:v>-1.9327731092437E-2</c:v>
                </c:pt>
                <c:pt idx="25696">
                  <c:v>-1.9327731092437E-2</c:v>
                </c:pt>
                <c:pt idx="25697">
                  <c:v>-1.9327731092437E-2</c:v>
                </c:pt>
                <c:pt idx="25698">
                  <c:v>-1.9327731092437E-2</c:v>
                </c:pt>
                <c:pt idx="25699">
                  <c:v>-1.9327731092437E-2</c:v>
                </c:pt>
                <c:pt idx="25700">
                  <c:v>-2.0168067226890699E-2</c:v>
                </c:pt>
                <c:pt idx="25701">
                  <c:v>-2.0168067226890699E-2</c:v>
                </c:pt>
                <c:pt idx="25702">
                  <c:v>-2.0168067226890699E-2</c:v>
                </c:pt>
                <c:pt idx="25703">
                  <c:v>-2.0168067226890699E-2</c:v>
                </c:pt>
                <c:pt idx="25704">
                  <c:v>-2.0168067226890699E-2</c:v>
                </c:pt>
                <c:pt idx="25705">
                  <c:v>-2.0168067226890699E-2</c:v>
                </c:pt>
                <c:pt idx="25706">
                  <c:v>-2.0168067226890699E-2</c:v>
                </c:pt>
                <c:pt idx="25707">
                  <c:v>-2.0168067226890699E-2</c:v>
                </c:pt>
                <c:pt idx="25708">
                  <c:v>-2.0168067226890699E-2</c:v>
                </c:pt>
                <c:pt idx="25709">
                  <c:v>-2.0168067226890699E-2</c:v>
                </c:pt>
                <c:pt idx="25710">
                  <c:v>-2.0168067226890699E-2</c:v>
                </c:pt>
                <c:pt idx="25711">
                  <c:v>-2.0168067226890699E-2</c:v>
                </c:pt>
                <c:pt idx="25712">
                  <c:v>-2.0168067226890699E-2</c:v>
                </c:pt>
                <c:pt idx="25713">
                  <c:v>-2.0168067226890699E-2</c:v>
                </c:pt>
                <c:pt idx="25714">
                  <c:v>-2.0168067226890699E-2</c:v>
                </c:pt>
                <c:pt idx="25715">
                  <c:v>-2.0168067226890699E-2</c:v>
                </c:pt>
                <c:pt idx="25716">
                  <c:v>-2.0168067226890699E-2</c:v>
                </c:pt>
                <c:pt idx="25717">
                  <c:v>-2.0168067226890699E-2</c:v>
                </c:pt>
                <c:pt idx="25718">
                  <c:v>-2.0168067226890699E-2</c:v>
                </c:pt>
                <c:pt idx="25719">
                  <c:v>-2.0168067226890699E-2</c:v>
                </c:pt>
                <c:pt idx="25720">
                  <c:v>-2.0168067226890699E-2</c:v>
                </c:pt>
                <c:pt idx="25721">
                  <c:v>-2.0168067226890699E-2</c:v>
                </c:pt>
                <c:pt idx="25722">
                  <c:v>-2.0168067226890699E-2</c:v>
                </c:pt>
                <c:pt idx="25723">
                  <c:v>-2.0168067226890699E-2</c:v>
                </c:pt>
                <c:pt idx="25724">
                  <c:v>-2.0168067226890699E-2</c:v>
                </c:pt>
                <c:pt idx="25725">
                  <c:v>-2.0168067226890699E-2</c:v>
                </c:pt>
                <c:pt idx="25726">
                  <c:v>-2.0168067226890699E-2</c:v>
                </c:pt>
                <c:pt idx="25727">
                  <c:v>-2.0168067226890699E-2</c:v>
                </c:pt>
                <c:pt idx="25728">
                  <c:v>-2.0168067226890699E-2</c:v>
                </c:pt>
                <c:pt idx="25729">
                  <c:v>-2.0168067226890699E-2</c:v>
                </c:pt>
                <c:pt idx="25730">
                  <c:v>-2.0168067226890699E-2</c:v>
                </c:pt>
                <c:pt idx="25731">
                  <c:v>-2.0168067226890699E-2</c:v>
                </c:pt>
                <c:pt idx="25732">
                  <c:v>-2.0168067226890699E-2</c:v>
                </c:pt>
                <c:pt idx="25733">
                  <c:v>-2.0168067226890699E-2</c:v>
                </c:pt>
                <c:pt idx="25734">
                  <c:v>-2.0168067226890699E-2</c:v>
                </c:pt>
                <c:pt idx="25735">
                  <c:v>-2.0168067226890699E-2</c:v>
                </c:pt>
                <c:pt idx="25736">
                  <c:v>-2.0168067226890699E-2</c:v>
                </c:pt>
                <c:pt idx="25737">
                  <c:v>-2.0168067226890699E-2</c:v>
                </c:pt>
                <c:pt idx="25738">
                  <c:v>-2.0168067226890699E-2</c:v>
                </c:pt>
                <c:pt idx="25739">
                  <c:v>-2.0168067226890699E-2</c:v>
                </c:pt>
                <c:pt idx="25740">
                  <c:v>-2.0168067226890699E-2</c:v>
                </c:pt>
                <c:pt idx="25741">
                  <c:v>-2.0168067226890699E-2</c:v>
                </c:pt>
                <c:pt idx="25742">
                  <c:v>-2.0168067226890699E-2</c:v>
                </c:pt>
                <c:pt idx="25743">
                  <c:v>-2.0168067226890699E-2</c:v>
                </c:pt>
                <c:pt idx="25744">
                  <c:v>-2.0168067226890699E-2</c:v>
                </c:pt>
                <c:pt idx="25745">
                  <c:v>-2.0168067226890699E-2</c:v>
                </c:pt>
                <c:pt idx="25746">
                  <c:v>-2.0168067226890699E-2</c:v>
                </c:pt>
                <c:pt idx="25747">
                  <c:v>-2.0168067226890699E-2</c:v>
                </c:pt>
                <c:pt idx="25748">
                  <c:v>-2.0168067226890699E-2</c:v>
                </c:pt>
                <c:pt idx="25749">
                  <c:v>-2.0168067226890699E-2</c:v>
                </c:pt>
                <c:pt idx="25750">
                  <c:v>-2.0168067226890699E-2</c:v>
                </c:pt>
                <c:pt idx="25751">
                  <c:v>-2.0168067226890699E-2</c:v>
                </c:pt>
                <c:pt idx="25752">
                  <c:v>-2.0168067226890699E-2</c:v>
                </c:pt>
                <c:pt idx="25753">
                  <c:v>-2.0168067226890699E-2</c:v>
                </c:pt>
                <c:pt idx="25754">
                  <c:v>-2.0168067226890699E-2</c:v>
                </c:pt>
                <c:pt idx="25755">
                  <c:v>-2.0168067226890699E-2</c:v>
                </c:pt>
                <c:pt idx="25756">
                  <c:v>-2.0168067226890699E-2</c:v>
                </c:pt>
                <c:pt idx="25757">
                  <c:v>-2.0168067226890699E-2</c:v>
                </c:pt>
                <c:pt idx="25758">
                  <c:v>-2.0168067226890699E-2</c:v>
                </c:pt>
                <c:pt idx="25759">
                  <c:v>-2.0168067226890699E-2</c:v>
                </c:pt>
                <c:pt idx="25760">
                  <c:v>-2.0168067226890699E-2</c:v>
                </c:pt>
                <c:pt idx="25761">
                  <c:v>-2.0168067226890699E-2</c:v>
                </c:pt>
                <c:pt idx="25762">
                  <c:v>-2.0168067226890699E-2</c:v>
                </c:pt>
                <c:pt idx="25763">
                  <c:v>-2.0168067226890699E-2</c:v>
                </c:pt>
                <c:pt idx="25764">
                  <c:v>-2.0168067226890699E-2</c:v>
                </c:pt>
                <c:pt idx="25765">
                  <c:v>-2.0168067226890699E-2</c:v>
                </c:pt>
                <c:pt idx="25766">
                  <c:v>-2.0168067226890699E-2</c:v>
                </c:pt>
                <c:pt idx="25767">
                  <c:v>-2.0168067226890699E-2</c:v>
                </c:pt>
                <c:pt idx="25768">
                  <c:v>-2.1008403361344501E-2</c:v>
                </c:pt>
                <c:pt idx="25769">
                  <c:v>-2.1008403361344501E-2</c:v>
                </c:pt>
                <c:pt idx="25770">
                  <c:v>-2.1008403361344501E-2</c:v>
                </c:pt>
                <c:pt idx="25771">
                  <c:v>-2.1008403361344501E-2</c:v>
                </c:pt>
                <c:pt idx="25772">
                  <c:v>-2.1008403361344501E-2</c:v>
                </c:pt>
                <c:pt idx="25773">
                  <c:v>-2.1008403361344501E-2</c:v>
                </c:pt>
                <c:pt idx="25774">
                  <c:v>-2.1008403361344501E-2</c:v>
                </c:pt>
                <c:pt idx="25775">
                  <c:v>-2.1008403361344501E-2</c:v>
                </c:pt>
                <c:pt idx="25776">
                  <c:v>-2.1008403361344501E-2</c:v>
                </c:pt>
                <c:pt idx="25777">
                  <c:v>-2.1008403361344501E-2</c:v>
                </c:pt>
                <c:pt idx="25778">
                  <c:v>-2.1008403361344501E-2</c:v>
                </c:pt>
                <c:pt idx="25779">
                  <c:v>-2.1008403361344501E-2</c:v>
                </c:pt>
                <c:pt idx="25780">
                  <c:v>-2.1008403361344501E-2</c:v>
                </c:pt>
                <c:pt idx="25781">
                  <c:v>-2.1008403361344501E-2</c:v>
                </c:pt>
                <c:pt idx="25782">
                  <c:v>-2.1008403361344501E-2</c:v>
                </c:pt>
                <c:pt idx="25783">
                  <c:v>-2.1008403361344501E-2</c:v>
                </c:pt>
                <c:pt idx="25784">
                  <c:v>-2.1008403361344501E-2</c:v>
                </c:pt>
                <c:pt idx="25785">
                  <c:v>-2.1008403361344501E-2</c:v>
                </c:pt>
                <c:pt idx="25786">
                  <c:v>-2.1008403361344501E-2</c:v>
                </c:pt>
                <c:pt idx="25787">
                  <c:v>-2.1008403361344501E-2</c:v>
                </c:pt>
                <c:pt idx="25788">
                  <c:v>-2.1008403361344501E-2</c:v>
                </c:pt>
                <c:pt idx="25789">
                  <c:v>-2.1008403361344501E-2</c:v>
                </c:pt>
                <c:pt idx="25790">
                  <c:v>-2.1008403361344501E-2</c:v>
                </c:pt>
                <c:pt idx="25791">
                  <c:v>-2.1008403361344501E-2</c:v>
                </c:pt>
                <c:pt idx="25792">
                  <c:v>-2.1008403361344501E-2</c:v>
                </c:pt>
                <c:pt idx="25793">
                  <c:v>-2.1008403361344501E-2</c:v>
                </c:pt>
                <c:pt idx="25794">
                  <c:v>-2.1008403361344501E-2</c:v>
                </c:pt>
                <c:pt idx="25795">
                  <c:v>-2.1008403361344501E-2</c:v>
                </c:pt>
                <c:pt idx="25796">
                  <c:v>-2.1008403361344501E-2</c:v>
                </c:pt>
                <c:pt idx="25797">
                  <c:v>-2.1008403361344501E-2</c:v>
                </c:pt>
                <c:pt idx="25798">
                  <c:v>-2.1008403361344501E-2</c:v>
                </c:pt>
                <c:pt idx="25799">
                  <c:v>-2.1008403361344501E-2</c:v>
                </c:pt>
                <c:pt idx="25800">
                  <c:v>-2.1008403361344501E-2</c:v>
                </c:pt>
                <c:pt idx="25801">
                  <c:v>-2.1008403361344501E-2</c:v>
                </c:pt>
                <c:pt idx="25802">
                  <c:v>-2.1008403361344501E-2</c:v>
                </c:pt>
                <c:pt idx="25803">
                  <c:v>-2.1008403361344501E-2</c:v>
                </c:pt>
                <c:pt idx="25804">
                  <c:v>-2.1008403361344501E-2</c:v>
                </c:pt>
                <c:pt idx="25805">
                  <c:v>-2.1008403361344501E-2</c:v>
                </c:pt>
                <c:pt idx="25806">
                  <c:v>-2.1008403361344501E-2</c:v>
                </c:pt>
                <c:pt idx="25807">
                  <c:v>-2.1008403361344501E-2</c:v>
                </c:pt>
                <c:pt idx="25808">
                  <c:v>-2.1008403361344501E-2</c:v>
                </c:pt>
                <c:pt idx="25809">
                  <c:v>-2.1008403361344501E-2</c:v>
                </c:pt>
                <c:pt idx="25810">
                  <c:v>-2.1008403361344501E-2</c:v>
                </c:pt>
                <c:pt idx="25811">
                  <c:v>-2.1008403361344501E-2</c:v>
                </c:pt>
                <c:pt idx="25812">
                  <c:v>-2.1008403361344501E-2</c:v>
                </c:pt>
                <c:pt idx="25813">
                  <c:v>-2.1008403361344501E-2</c:v>
                </c:pt>
                <c:pt idx="25814">
                  <c:v>-2.1008403361344501E-2</c:v>
                </c:pt>
                <c:pt idx="25815">
                  <c:v>-2.1008403361344501E-2</c:v>
                </c:pt>
                <c:pt idx="25816">
                  <c:v>-2.1008403361344501E-2</c:v>
                </c:pt>
                <c:pt idx="25817">
                  <c:v>-2.1008403361344501E-2</c:v>
                </c:pt>
                <c:pt idx="25818">
                  <c:v>-2.0168067226890699E-2</c:v>
                </c:pt>
                <c:pt idx="25819">
                  <c:v>-2.0168067226890699E-2</c:v>
                </c:pt>
                <c:pt idx="25820">
                  <c:v>-2.0168067226890699E-2</c:v>
                </c:pt>
                <c:pt idx="25821">
                  <c:v>-2.0168067226890699E-2</c:v>
                </c:pt>
                <c:pt idx="25822">
                  <c:v>-2.0168067226890699E-2</c:v>
                </c:pt>
                <c:pt idx="25823">
                  <c:v>-2.0168067226890699E-2</c:v>
                </c:pt>
                <c:pt idx="25824">
                  <c:v>-2.0168067226890699E-2</c:v>
                </c:pt>
                <c:pt idx="25825">
                  <c:v>-2.0168067226890699E-2</c:v>
                </c:pt>
                <c:pt idx="25826">
                  <c:v>-2.0168067226890699E-2</c:v>
                </c:pt>
                <c:pt idx="25827">
                  <c:v>-2.0168067226890699E-2</c:v>
                </c:pt>
                <c:pt idx="25828">
                  <c:v>-2.0168067226890699E-2</c:v>
                </c:pt>
                <c:pt idx="25829">
                  <c:v>-2.0168067226890699E-2</c:v>
                </c:pt>
                <c:pt idx="25830">
                  <c:v>-2.0168067226890699E-2</c:v>
                </c:pt>
                <c:pt idx="25831">
                  <c:v>-2.0168067226890699E-2</c:v>
                </c:pt>
                <c:pt idx="25832">
                  <c:v>-2.0168067226890699E-2</c:v>
                </c:pt>
                <c:pt idx="25833">
                  <c:v>-2.0168067226890699E-2</c:v>
                </c:pt>
                <c:pt idx="25834">
                  <c:v>-2.0168067226890699E-2</c:v>
                </c:pt>
                <c:pt idx="25835">
                  <c:v>-2.0168067226890699E-2</c:v>
                </c:pt>
                <c:pt idx="25836">
                  <c:v>-2.0168067226890699E-2</c:v>
                </c:pt>
                <c:pt idx="25837">
                  <c:v>-2.0168067226890699E-2</c:v>
                </c:pt>
                <c:pt idx="25838">
                  <c:v>-2.0168067226890699E-2</c:v>
                </c:pt>
                <c:pt idx="25839">
                  <c:v>-2.0168067226890699E-2</c:v>
                </c:pt>
                <c:pt idx="25840">
                  <c:v>-2.0168067226890699E-2</c:v>
                </c:pt>
                <c:pt idx="25841">
                  <c:v>-2.0168067226890699E-2</c:v>
                </c:pt>
                <c:pt idx="25842">
                  <c:v>-2.0168067226890699E-2</c:v>
                </c:pt>
                <c:pt idx="25843">
                  <c:v>-2.0168067226890699E-2</c:v>
                </c:pt>
                <c:pt idx="25844">
                  <c:v>-2.1008403361344501E-2</c:v>
                </c:pt>
                <c:pt idx="25845">
                  <c:v>-2.1008403361344501E-2</c:v>
                </c:pt>
                <c:pt idx="25846">
                  <c:v>-2.1008403361344501E-2</c:v>
                </c:pt>
                <c:pt idx="25847">
                  <c:v>-2.1008403361344501E-2</c:v>
                </c:pt>
                <c:pt idx="25848">
                  <c:v>-2.1008403361344501E-2</c:v>
                </c:pt>
                <c:pt idx="25849">
                  <c:v>-2.1848739495798301E-2</c:v>
                </c:pt>
                <c:pt idx="25850">
                  <c:v>-2.1848739495798301E-2</c:v>
                </c:pt>
                <c:pt idx="25851">
                  <c:v>-2.1848739495798301E-2</c:v>
                </c:pt>
                <c:pt idx="25852">
                  <c:v>-2.1848739495798301E-2</c:v>
                </c:pt>
                <c:pt idx="25853">
                  <c:v>-2.1848739495798301E-2</c:v>
                </c:pt>
                <c:pt idx="25854">
                  <c:v>-2.1848739495798301E-2</c:v>
                </c:pt>
                <c:pt idx="25855">
                  <c:v>-2.1848739495798301E-2</c:v>
                </c:pt>
                <c:pt idx="25856">
                  <c:v>-2.1848739495798301E-2</c:v>
                </c:pt>
                <c:pt idx="25857">
                  <c:v>-2.1848739495798301E-2</c:v>
                </c:pt>
                <c:pt idx="25858">
                  <c:v>-2.1848739495798301E-2</c:v>
                </c:pt>
                <c:pt idx="25859">
                  <c:v>-2.1848739495798301E-2</c:v>
                </c:pt>
                <c:pt idx="25860">
                  <c:v>-2.1848739495798301E-2</c:v>
                </c:pt>
                <c:pt idx="25861">
                  <c:v>-2.1848739495798301E-2</c:v>
                </c:pt>
                <c:pt idx="25862">
                  <c:v>-2.1848739495798301E-2</c:v>
                </c:pt>
                <c:pt idx="25863">
                  <c:v>-2.1848739495798301E-2</c:v>
                </c:pt>
                <c:pt idx="25864">
                  <c:v>-2.1848739495798301E-2</c:v>
                </c:pt>
                <c:pt idx="25865">
                  <c:v>-2.1848739495798301E-2</c:v>
                </c:pt>
                <c:pt idx="25866">
                  <c:v>-2.1848739495798301E-2</c:v>
                </c:pt>
                <c:pt idx="25867">
                  <c:v>-2.1848739495798301E-2</c:v>
                </c:pt>
                <c:pt idx="25868">
                  <c:v>-2.1848739495798301E-2</c:v>
                </c:pt>
                <c:pt idx="25869">
                  <c:v>-2.1848739495798301E-2</c:v>
                </c:pt>
                <c:pt idx="25870">
                  <c:v>-2.1848739495798301E-2</c:v>
                </c:pt>
                <c:pt idx="25871">
                  <c:v>-2.1848739495798301E-2</c:v>
                </c:pt>
                <c:pt idx="25872">
                  <c:v>-2.1848739495798301E-2</c:v>
                </c:pt>
                <c:pt idx="25873">
                  <c:v>-2.1848739495798301E-2</c:v>
                </c:pt>
                <c:pt idx="25874">
                  <c:v>-2.1848739495798301E-2</c:v>
                </c:pt>
                <c:pt idx="25875">
                  <c:v>-2.1848739495798301E-2</c:v>
                </c:pt>
                <c:pt idx="25876">
                  <c:v>-2.1848739495798301E-2</c:v>
                </c:pt>
                <c:pt idx="25877">
                  <c:v>-2.1848739495798301E-2</c:v>
                </c:pt>
                <c:pt idx="25878">
                  <c:v>-2.1848739495798301E-2</c:v>
                </c:pt>
                <c:pt idx="25879">
                  <c:v>-2.1848739495798301E-2</c:v>
                </c:pt>
                <c:pt idx="25880">
                  <c:v>-2.1848739495798301E-2</c:v>
                </c:pt>
                <c:pt idx="25881">
                  <c:v>-2.1848739495798301E-2</c:v>
                </c:pt>
                <c:pt idx="25882">
                  <c:v>-2.1848739495798301E-2</c:v>
                </c:pt>
                <c:pt idx="25883">
                  <c:v>-2.26890756302521E-2</c:v>
                </c:pt>
                <c:pt idx="25884">
                  <c:v>-2.26890756302521E-2</c:v>
                </c:pt>
                <c:pt idx="25885">
                  <c:v>-2.26890756302521E-2</c:v>
                </c:pt>
                <c:pt idx="25886">
                  <c:v>-2.26890756302521E-2</c:v>
                </c:pt>
                <c:pt idx="25887">
                  <c:v>-2.26890756302521E-2</c:v>
                </c:pt>
                <c:pt idx="25888">
                  <c:v>-2.26890756302521E-2</c:v>
                </c:pt>
                <c:pt idx="25889">
                  <c:v>-2.26890756302521E-2</c:v>
                </c:pt>
                <c:pt idx="25890">
                  <c:v>-2.26890756302521E-2</c:v>
                </c:pt>
                <c:pt idx="25891">
                  <c:v>-2.26890756302521E-2</c:v>
                </c:pt>
                <c:pt idx="25892">
                  <c:v>-2.26890756302521E-2</c:v>
                </c:pt>
                <c:pt idx="25893">
                  <c:v>-2.26890756302521E-2</c:v>
                </c:pt>
                <c:pt idx="25894">
                  <c:v>-2.26890756302521E-2</c:v>
                </c:pt>
                <c:pt idx="25895">
                  <c:v>-2.26890756302521E-2</c:v>
                </c:pt>
                <c:pt idx="25896">
                  <c:v>-2.26890756302521E-2</c:v>
                </c:pt>
                <c:pt idx="25897">
                  <c:v>-2.26890756302521E-2</c:v>
                </c:pt>
                <c:pt idx="25898">
                  <c:v>-2.26890756302521E-2</c:v>
                </c:pt>
                <c:pt idx="25899">
                  <c:v>-2.26890756302521E-2</c:v>
                </c:pt>
                <c:pt idx="25900">
                  <c:v>-2.26890756302521E-2</c:v>
                </c:pt>
                <c:pt idx="25901">
                  <c:v>-2.26890756302521E-2</c:v>
                </c:pt>
                <c:pt idx="25902">
                  <c:v>-2.26890756302521E-2</c:v>
                </c:pt>
                <c:pt idx="25903">
                  <c:v>-2.26890756302521E-2</c:v>
                </c:pt>
                <c:pt idx="25904">
                  <c:v>-2.1848739495798301E-2</c:v>
                </c:pt>
                <c:pt idx="25905">
                  <c:v>-2.1848739495798301E-2</c:v>
                </c:pt>
                <c:pt idx="25906">
                  <c:v>-2.1848739495798301E-2</c:v>
                </c:pt>
                <c:pt idx="25907">
                  <c:v>-2.1848739495798301E-2</c:v>
                </c:pt>
                <c:pt idx="25908">
                  <c:v>-2.1848739495798301E-2</c:v>
                </c:pt>
                <c:pt idx="25909">
                  <c:v>-2.1848739495798301E-2</c:v>
                </c:pt>
                <c:pt idx="25910">
                  <c:v>-2.1848739495798301E-2</c:v>
                </c:pt>
                <c:pt idx="25911">
                  <c:v>-2.1848739495798301E-2</c:v>
                </c:pt>
                <c:pt idx="25912">
                  <c:v>-2.1848739495798301E-2</c:v>
                </c:pt>
                <c:pt idx="25913">
                  <c:v>-2.1848739495798301E-2</c:v>
                </c:pt>
                <c:pt idx="25914">
                  <c:v>-2.1848739495798301E-2</c:v>
                </c:pt>
                <c:pt idx="25915">
                  <c:v>-2.1848739495798301E-2</c:v>
                </c:pt>
                <c:pt idx="25916">
                  <c:v>-2.1848739495798301E-2</c:v>
                </c:pt>
                <c:pt idx="25917">
                  <c:v>-2.1848739495798301E-2</c:v>
                </c:pt>
                <c:pt idx="25918">
                  <c:v>-2.1848739495798301E-2</c:v>
                </c:pt>
                <c:pt idx="25919">
                  <c:v>-2.1848739495798301E-2</c:v>
                </c:pt>
                <c:pt idx="25920">
                  <c:v>-2.1848739495798301E-2</c:v>
                </c:pt>
                <c:pt idx="25921">
                  <c:v>-2.1848739495798301E-2</c:v>
                </c:pt>
                <c:pt idx="25922">
                  <c:v>-2.1848739495798301E-2</c:v>
                </c:pt>
                <c:pt idx="25923">
                  <c:v>-2.1848739495798301E-2</c:v>
                </c:pt>
                <c:pt idx="25924">
                  <c:v>-2.1848739495798301E-2</c:v>
                </c:pt>
                <c:pt idx="25925">
                  <c:v>-2.1848739495798301E-2</c:v>
                </c:pt>
                <c:pt idx="25926">
                  <c:v>-2.1848739495798301E-2</c:v>
                </c:pt>
                <c:pt idx="25927">
                  <c:v>-2.1848739495798301E-2</c:v>
                </c:pt>
                <c:pt idx="25928">
                  <c:v>-2.1848739495798301E-2</c:v>
                </c:pt>
                <c:pt idx="25929">
                  <c:v>-2.1848739495798301E-2</c:v>
                </c:pt>
                <c:pt idx="25930">
                  <c:v>-2.1848739495798301E-2</c:v>
                </c:pt>
                <c:pt idx="25931">
                  <c:v>-2.1848739495798301E-2</c:v>
                </c:pt>
                <c:pt idx="25932">
                  <c:v>-2.26890756302521E-2</c:v>
                </c:pt>
                <c:pt idx="25933">
                  <c:v>-2.26890756302521E-2</c:v>
                </c:pt>
                <c:pt idx="25934">
                  <c:v>-2.26890756302521E-2</c:v>
                </c:pt>
                <c:pt idx="25935">
                  <c:v>-2.26890756302521E-2</c:v>
                </c:pt>
                <c:pt idx="25936">
                  <c:v>-2.26890756302521E-2</c:v>
                </c:pt>
                <c:pt idx="25937">
                  <c:v>-2.26890756302521E-2</c:v>
                </c:pt>
                <c:pt idx="25938">
                  <c:v>-2.26890756302521E-2</c:v>
                </c:pt>
                <c:pt idx="25939">
                  <c:v>-2.26890756302521E-2</c:v>
                </c:pt>
                <c:pt idx="25940">
                  <c:v>-2.26890756302521E-2</c:v>
                </c:pt>
                <c:pt idx="25941">
                  <c:v>-2.26890756302521E-2</c:v>
                </c:pt>
                <c:pt idx="25942">
                  <c:v>-2.26890756302521E-2</c:v>
                </c:pt>
                <c:pt idx="25943">
                  <c:v>-2.26890756302521E-2</c:v>
                </c:pt>
                <c:pt idx="25944">
                  <c:v>-2.26890756302521E-2</c:v>
                </c:pt>
                <c:pt idx="25945">
                  <c:v>-2.26890756302521E-2</c:v>
                </c:pt>
                <c:pt idx="25946">
                  <c:v>-2.26890756302521E-2</c:v>
                </c:pt>
                <c:pt idx="25947">
                  <c:v>-2.26890756302521E-2</c:v>
                </c:pt>
                <c:pt idx="25948">
                  <c:v>-2.26890756302521E-2</c:v>
                </c:pt>
                <c:pt idx="25949">
                  <c:v>-2.26890756302521E-2</c:v>
                </c:pt>
                <c:pt idx="25950">
                  <c:v>-2.26890756302521E-2</c:v>
                </c:pt>
                <c:pt idx="25951">
                  <c:v>-2.26890756302521E-2</c:v>
                </c:pt>
                <c:pt idx="25952">
                  <c:v>-2.26890756302521E-2</c:v>
                </c:pt>
                <c:pt idx="25953">
                  <c:v>-2.26890756302521E-2</c:v>
                </c:pt>
                <c:pt idx="25954">
                  <c:v>-2.26890756302521E-2</c:v>
                </c:pt>
                <c:pt idx="25955">
                  <c:v>-2.26890756302521E-2</c:v>
                </c:pt>
                <c:pt idx="25956">
                  <c:v>-2.26890756302521E-2</c:v>
                </c:pt>
                <c:pt idx="25957">
                  <c:v>-2.26890756302521E-2</c:v>
                </c:pt>
                <c:pt idx="25958">
                  <c:v>-2.26890756302521E-2</c:v>
                </c:pt>
                <c:pt idx="25959">
                  <c:v>-2.26890756302521E-2</c:v>
                </c:pt>
                <c:pt idx="25960">
                  <c:v>-2.26890756302521E-2</c:v>
                </c:pt>
                <c:pt idx="25961">
                  <c:v>-2.26890756302521E-2</c:v>
                </c:pt>
                <c:pt idx="25962">
                  <c:v>-2.26890756302521E-2</c:v>
                </c:pt>
                <c:pt idx="25963">
                  <c:v>-2.26890756302521E-2</c:v>
                </c:pt>
                <c:pt idx="25964">
                  <c:v>-2.26890756302521E-2</c:v>
                </c:pt>
                <c:pt idx="25965">
                  <c:v>-2.26890756302521E-2</c:v>
                </c:pt>
                <c:pt idx="25966">
                  <c:v>-2.26890756302521E-2</c:v>
                </c:pt>
                <c:pt idx="25967">
                  <c:v>-2.26890756302521E-2</c:v>
                </c:pt>
                <c:pt idx="25968">
                  <c:v>-2.26890756302521E-2</c:v>
                </c:pt>
                <c:pt idx="25969">
                  <c:v>-2.26890756302521E-2</c:v>
                </c:pt>
                <c:pt idx="25970">
                  <c:v>-2.26890756302521E-2</c:v>
                </c:pt>
                <c:pt idx="25971">
                  <c:v>-2.26890756302521E-2</c:v>
                </c:pt>
                <c:pt idx="25972">
                  <c:v>-2.26890756302521E-2</c:v>
                </c:pt>
                <c:pt idx="25973">
                  <c:v>-2.26890756302521E-2</c:v>
                </c:pt>
                <c:pt idx="25974">
                  <c:v>-2.26890756302521E-2</c:v>
                </c:pt>
                <c:pt idx="25975">
                  <c:v>-2.26890756302521E-2</c:v>
                </c:pt>
                <c:pt idx="25976">
                  <c:v>-2.26890756302521E-2</c:v>
                </c:pt>
                <c:pt idx="25977">
                  <c:v>-2.26890756302521E-2</c:v>
                </c:pt>
                <c:pt idx="25978">
                  <c:v>-2.26890756302521E-2</c:v>
                </c:pt>
                <c:pt idx="25979">
                  <c:v>-2.26890756302521E-2</c:v>
                </c:pt>
                <c:pt idx="25980">
                  <c:v>-2.1848739495798301E-2</c:v>
                </c:pt>
                <c:pt idx="25981">
                  <c:v>-2.1848739495798301E-2</c:v>
                </c:pt>
                <c:pt idx="25982">
                  <c:v>-2.1848739495798301E-2</c:v>
                </c:pt>
                <c:pt idx="25983">
                  <c:v>-2.1848739495798301E-2</c:v>
                </c:pt>
                <c:pt idx="25984">
                  <c:v>-2.1848739495798301E-2</c:v>
                </c:pt>
                <c:pt idx="25985">
                  <c:v>-2.1848739495798301E-2</c:v>
                </c:pt>
                <c:pt idx="25986">
                  <c:v>-2.1848739495798301E-2</c:v>
                </c:pt>
                <c:pt idx="25987">
                  <c:v>-2.1848739495798301E-2</c:v>
                </c:pt>
                <c:pt idx="25988">
                  <c:v>-2.1848739495798301E-2</c:v>
                </c:pt>
                <c:pt idx="25989">
                  <c:v>-2.1848739495798301E-2</c:v>
                </c:pt>
                <c:pt idx="25990">
                  <c:v>-2.1848739495798301E-2</c:v>
                </c:pt>
                <c:pt idx="25991">
                  <c:v>-2.1848739495798301E-2</c:v>
                </c:pt>
                <c:pt idx="25992">
                  <c:v>-2.1848739495798301E-2</c:v>
                </c:pt>
                <c:pt idx="25993">
                  <c:v>-2.1848739495798301E-2</c:v>
                </c:pt>
                <c:pt idx="25994">
                  <c:v>-2.1848739495798301E-2</c:v>
                </c:pt>
                <c:pt idx="25995">
                  <c:v>-2.1848739495798301E-2</c:v>
                </c:pt>
                <c:pt idx="25996">
                  <c:v>-2.1848739495798301E-2</c:v>
                </c:pt>
                <c:pt idx="25997">
                  <c:v>-2.1848739495798301E-2</c:v>
                </c:pt>
                <c:pt idx="25998">
                  <c:v>-2.1848739495798301E-2</c:v>
                </c:pt>
                <c:pt idx="25999">
                  <c:v>-2.1848739495798301E-2</c:v>
                </c:pt>
                <c:pt idx="26000">
                  <c:v>-2.1848739495798301E-2</c:v>
                </c:pt>
                <c:pt idx="26001">
                  <c:v>-2.1848739495798301E-2</c:v>
                </c:pt>
                <c:pt idx="26002">
                  <c:v>-2.1848739495798301E-2</c:v>
                </c:pt>
                <c:pt idx="26003">
                  <c:v>-2.1848739495798301E-2</c:v>
                </c:pt>
                <c:pt idx="26004">
                  <c:v>-2.1848739495798301E-2</c:v>
                </c:pt>
                <c:pt idx="26005">
                  <c:v>-2.1848739495798301E-2</c:v>
                </c:pt>
                <c:pt idx="26006">
                  <c:v>-2.1848739495798301E-2</c:v>
                </c:pt>
                <c:pt idx="26007">
                  <c:v>-2.1848739495798301E-2</c:v>
                </c:pt>
                <c:pt idx="26008">
                  <c:v>-2.1848739495798301E-2</c:v>
                </c:pt>
                <c:pt idx="26009">
                  <c:v>-2.1848739495798301E-2</c:v>
                </c:pt>
                <c:pt idx="26010">
                  <c:v>-2.1848739495798301E-2</c:v>
                </c:pt>
                <c:pt idx="26011">
                  <c:v>-2.1848739495798301E-2</c:v>
                </c:pt>
                <c:pt idx="26012">
                  <c:v>-2.1848739495798301E-2</c:v>
                </c:pt>
                <c:pt idx="26013">
                  <c:v>-2.1848739495798301E-2</c:v>
                </c:pt>
                <c:pt idx="26014">
                  <c:v>-2.1848739495798301E-2</c:v>
                </c:pt>
                <c:pt idx="26015">
                  <c:v>-2.1848739495798301E-2</c:v>
                </c:pt>
                <c:pt idx="26016">
                  <c:v>-2.1848739495798301E-2</c:v>
                </c:pt>
                <c:pt idx="26017">
                  <c:v>-2.1848739495798301E-2</c:v>
                </c:pt>
                <c:pt idx="26018">
                  <c:v>-2.1848739495798301E-2</c:v>
                </c:pt>
                <c:pt idx="26019">
                  <c:v>-2.1848739495798301E-2</c:v>
                </c:pt>
                <c:pt idx="26020">
                  <c:v>-2.1848739495798301E-2</c:v>
                </c:pt>
                <c:pt idx="26021">
                  <c:v>-2.1848739495798301E-2</c:v>
                </c:pt>
                <c:pt idx="26022">
                  <c:v>-2.1848739495798301E-2</c:v>
                </c:pt>
                <c:pt idx="26023">
                  <c:v>-2.1848739495798301E-2</c:v>
                </c:pt>
                <c:pt idx="26024">
                  <c:v>-2.1848739495798301E-2</c:v>
                </c:pt>
                <c:pt idx="26025">
                  <c:v>-2.1848739495798301E-2</c:v>
                </c:pt>
                <c:pt idx="26026">
                  <c:v>-2.1848739495798301E-2</c:v>
                </c:pt>
                <c:pt idx="26027">
                  <c:v>-2.1848739495798301E-2</c:v>
                </c:pt>
                <c:pt idx="26028">
                  <c:v>-2.1848739495798301E-2</c:v>
                </c:pt>
                <c:pt idx="26029">
                  <c:v>-2.1848739495798301E-2</c:v>
                </c:pt>
                <c:pt idx="26030">
                  <c:v>-2.1848739495798301E-2</c:v>
                </c:pt>
                <c:pt idx="26031">
                  <c:v>-2.1848739495798301E-2</c:v>
                </c:pt>
                <c:pt idx="26032">
                  <c:v>-2.1008403361344501E-2</c:v>
                </c:pt>
                <c:pt idx="26033">
                  <c:v>-2.1008403361344501E-2</c:v>
                </c:pt>
                <c:pt idx="26034">
                  <c:v>-2.1008403361344501E-2</c:v>
                </c:pt>
                <c:pt idx="26035">
                  <c:v>-2.1008403361344501E-2</c:v>
                </c:pt>
                <c:pt idx="26036">
                  <c:v>-2.1008403361344501E-2</c:v>
                </c:pt>
                <c:pt idx="26037">
                  <c:v>-2.1008403361344501E-2</c:v>
                </c:pt>
                <c:pt idx="26038">
                  <c:v>-2.1008403361344501E-2</c:v>
                </c:pt>
                <c:pt idx="26039">
                  <c:v>-2.1008403361344501E-2</c:v>
                </c:pt>
                <c:pt idx="26040">
                  <c:v>-2.1008403361344501E-2</c:v>
                </c:pt>
                <c:pt idx="26041">
                  <c:v>-2.1008403361344501E-2</c:v>
                </c:pt>
                <c:pt idx="26042">
                  <c:v>-2.0168067226890699E-2</c:v>
                </c:pt>
                <c:pt idx="26043">
                  <c:v>-2.0168067226890699E-2</c:v>
                </c:pt>
                <c:pt idx="26044">
                  <c:v>-2.0168067226890699E-2</c:v>
                </c:pt>
                <c:pt idx="26045">
                  <c:v>-2.0168067226890699E-2</c:v>
                </c:pt>
                <c:pt idx="26046">
                  <c:v>-2.0168067226890699E-2</c:v>
                </c:pt>
                <c:pt idx="26047">
                  <c:v>-2.0168067226890699E-2</c:v>
                </c:pt>
                <c:pt idx="26048">
                  <c:v>-2.0168067226890699E-2</c:v>
                </c:pt>
                <c:pt idx="26049">
                  <c:v>-2.0168067226890699E-2</c:v>
                </c:pt>
                <c:pt idx="26050">
                  <c:v>-2.0168067226890699E-2</c:v>
                </c:pt>
                <c:pt idx="26051">
                  <c:v>-2.0168067226890699E-2</c:v>
                </c:pt>
                <c:pt idx="26052">
                  <c:v>-2.0168067226890699E-2</c:v>
                </c:pt>
                <c:pt idx="26053">
                  <c:v>-2.0168067226890699E-2</c:v>
                </c:pt>
                <c:pt idx="26054">
                  <c:v>-2.0168067226890699E-2</c:v>
                </c:pt>
                <c:pt idx="26055">
                  <c:v>-2.0168067226890699E-2</c:v>
                </c:pt>
                <c:pt idx="26056">
                  <c:v>-2.0168067226890699E-2</c:v>
                </c:pt>
                <c:pt idx="26057">
                  <c:v>-2.0168067226890699E-2</c:v>
                </c:pt>
                <c:pt idx="26058">
                  <c:v>-2.0168067226890699E-2</c:v>
                </c:pt>
                <c:pt idx="26059">
                  <c:v>-2.0168067226890699E-2</c:v>
                </c:pt>
                <c:pt idx="26060">
                  <c:v>-2.0168067226890699E-2</c:v>
                </c:pt>
                <c:pt idx="26061">
                  <c:v>-2.1008403361344501E-2</c:v>
                </c:pt>
                <c:pt idx="26062">
                  <c:v>-2.1008403361344501E-2</c:v>
                </c:pt>
                <c:pt idx="26063">
                  <c:v>-2.1008403361344501E-2</c:v>
                </c:pt>
                <c:pt idx="26064">
                  <c:v>-2.1008403361344501E-2</c:v>
                </c:pt>
                <c:pt idx="26065">
                  <c:v>-2.1008403361344501E-2</c:v>
                </c:pt>
                <c:pt idx="26066">
                  <c:v>-2.1008403361344501E-2</c:v>
                </c:pt>
                <c:pt idx="26067">
                  <c:v>-2.1008403361344501E-2</c:v>
                </c:pt>
                <c:pt idx="26068">
                  <c:v>-2.1008403361344501E-2</c:v>
                </c:pt>
                <c:pt idx="26069">
                  <c:v>-2.1008403361344501E-2</c:v>
                </c:pt>
                <c:pt idx="26070">
                  <c:v>-2.1008403361344501E-2</c:v>
                </c:pt>
                <c:pt idx="26071">
                  <c:v>-2.1008403361344501E-2</c:v>
                </c:pt>
                <c:pt idx="26072">
                  <c:v>-2.1008403361344501E-2</c:v>
                </c:pt>
                <c:pt idx="26073">
                  <c:v>-2.1008403361344501E-2</c:v>
                </c:pt>
                <c:pt idx="26074">
                  <c:v>-2.1008403361344501E-2</c:v>
                </c:pt>
                <c:pt idx="26075">
                  <c:v>-2.1008403361344501E-2</c:v>
                </c:pt>
                <c:pt idx="26076">
                  <c:v>-2.1008403361344501E-2</c:v>
                </c:pt>
                <c:pt idx="26077">
                  <c:v>-2.1008403361344501E-2</c:v>
                </c:pt>
                <c:pt idx="26078">
                  <c:v>-2.1008403361344501E-2</c:v>
                </c:pt>
                <c:pt idx="26079">
                  <c:v>-2.1008403361344501E-2</c:v>
                </c:pt>
                <c:pt idx="26080">
                  <c:v>-2.1008403361344501E-2</c:v>
                </c:pt>
                <c:pt idx="26081">
                  <c:v>-2.1008403361344501E-2</c:v>
                </c:pt>
                <c:pt idx="26082">
                  <c:v>-2.1008403361344501E-2</c:v>
                </c:pt>
                <c:pt idx="26083">
                  <c:v>-2.1008403361344501E-2</c:v>
                </c:pt>
                <c:pt idx="26084">
                  <c:v>-2.1008403361344501E-2</c:v>
                </c:pt>
                <c:pt idx="26085">
                  <c:v>-2.1008403361344501E-2</c:v>
                </c:pt>
                <c:pt idx="26086">
                  <c:v>-2.1008403361344501E-2</c:v>
                </c:pt>
                <c:pt idx="26087">
                  <c:v>-2.1008403361344501E-2</c:v>
                </c:pt>
                <c:pt idx="26088">
                  <c:v>-2.1008403361344501E-2</c:v>
                </c:pt>
                <c:pt idx="26089">
                  <c:v>-2.0168067226890699E-2</c:v>
                </c:pt>
                <c:pt idx="26090">
                  <c:v>-2.0168067226890699E-2</c:v>
                </c:pt>
                <c:pt idx="26091">
                  <c:v>-2.0168067226890699E-2</c:v>
                </c:pt>
                <c:pt idx="26092">
                  <c:v>-2.0168067226890699E-2</c:v>
                </c:pt>
                <c:pt idx="26093">
                  <c:v>-2.0168067226890699E-2</c:v>
                </c:pt>
                <c:pt idx="26094">
                  <c:v>-2.0168067226890699E-2</c:v>
                </c:pt>
                <c:pt idx="26095">
                  <c:v>-2.0168067226890699E-2</c:v>
                </c:pt>
                <c:pt idx="26096">
                  <c:v>-2.0168067226890699E-2</c:v>
                </c:pt>
                <c:pt idx="26097">
                  <c:v>-2.0168067226890699E-2</c:v>
                </c:pt>
                <c:pt idx="26098">
                  <c:v>-2.0168067226890699E-2</c:v>
                </c:pt>
                <c:pt idx="26099">
                  <c:v>-2.0168067226890699E-2</c:v>
                </c:pt>
                <c:pt idx="26100">
                  <c:v>-2.0168067226890699E-2</c:v>
                </c:pt>
                <c:pt idx="26101">
                  <c:v>-2.0168067226890699E-2</c:v>
                </c:pt>
                <c:pt idx="26102">
                  <c:v>-2.0168067226890699E-2</c:v>
                </c:pt>
                <c:pt idx="26103">
                  <c:v>-2.0168067226890699E-2</c:v>
                </c:pt>
                <c:pt idx="26104">
                  <c:v>-2.0168067226890699E-2</c:v>
                </c:pt>
                <c:pt idx="26105">
                  <c:v>-2.0168067226890699E-2</c:v>
                </c:pt>
                <c:pt idx="26106">
                  <c:v>-2.0168067226890699E-2</c:v>
                </c:pt>
                <c:pt idx="26107">
                  <c:v>-2.0168067226890699E-2</c:v>
                </c:pt>
                <c:pt idx="26108">
                  <c:v>-2.0168067226890699E-2</c:v>
                </c:pt>
                <c:pt idx="26109">
                  <c:v>-2.0168067226890699E-2</c:v>
                </c:pt>
                <c:pt idx="26110">
                  <c:v>-2.0168067226890699E-2</c:v>
                </c:pt>
                <c:pt idx="26111">
                  <c:v>-2.0168067226890699E-2</c:v>
                </c:pt>
                <c:pt idx="26112">
                  <c:v>-2.0168067226890699E-2</c:v>
                </c:pt>
                <c:pt idx="26113">
                  <c:v>-2.0168067226890699E-2</c:v>
                </c:pt>
                <c:pt idx="26114">
                  <c:v>-2.0168067226890699E-2</c:v>
                </c:pt>
                <c:pt idx="26115">
                  <c:v>-2.0168067226890699E-2</c:v>
                </c:pt>
                <c:pt idx="26116">
                  <c:v>-2.0168067226890699E-2</c:v>
                </c:pt>
                <c:pt idx="26117">
                  <c:v>-2.0168067226890699E-2</c:v>
                </c:pt>
                <c:pt idx="26118">
                  <c:v>-2.0168067226890699E-2</c:v>
                </c:pt>
                <c:pt idx="26119">
                  <c:v>-2.0168067226890699E-2</c:v>
                </c:pt>
                <c:pt idx="26120">
                  <c:v>-2.0168067226890699E-2</c:v>
                </c:pt>
                <c:pt idx="26121">
                  <c:v>-2.0168067226890699E-2</c:v>
                </c:pt>
                <c:pt idx="26122">
                  <c:v>-2.0168067226890699E-2</c:v>
                </c:pt>
                <c:pt idx="26123">
                  <c:v>-2.0168067226890699E-2</c:v>
                </c:pt>
                <c:pt idx="26124">
                  <c:v>-2.0168067226890699E-2</c:v>
                </c:pt>
                <c:pt idx="26125">
                  <c:v>-2.0168067226890699E-2</c:v>
                </c:pt>
                <c:pt idx="26126">
                  <c:v>-2.0168067226890699E-2</c:v>
                </c:pt>
                <c:pt idx="26127">
                  <c:v>-2.0168067226890699E-2</c:v>
                </c:pt>
                <c:pt idx="26128">
                  <c:v>-2.0168067226890699E-2</c:v>
                </c:pt>
                <c:pt idx="26129">
                  <c:v>-2.0168067226890699E-2</c:v>
                </c:pt>
                <c:pt idx="26130">
                  <c:v>-2.0168067226890699E-2</c:v>
                </c:pt>
                <c:pt idx="26131">
                  <c:v>-2.0168067226890699E-2</c:v>
                </c:pt>
                <c:pt idx="26132">
                  <c:v>-2.0168067226890699E-2</c:v>
                </c:pt>
                <c:pt idx="26133">
                  <c:v>-2.0168067226890699E-2</c:v>
                </c:pt>
                <c:pt idx="26134">
                  <c:v>-2.0168067226890699E-2</c:v>
                </c:pt>
                <c:pt idx="26135">
                  <c:v>-2.0168067226890699E-2</c:v>
                </c:pt>
                <c:pt idx="26136">
                  <c:v>-2.0168067226890699E-2</c:v>
                </c:pt>
                <c:pt idx="26137">
                  <c:v>-2.0168067226890699E-2</c:v>
                </c:pt>
                <c:pt idx="26138">
                  <c:v>-2.0168067226890699E-2</c:v>
                </c:pt>
                <c:pt idx="26139">
                  <c:v>-2.0168067226890699E-2</c:v>
                </c:pt>
                <c:pt idx="26140">
                  <c:v>-2.0168067226890699E-2</c:v>
                </c:pt>
                <c:pt idx="26141">
                  <c:v>-2.0168067226890699E-2</c:v>
                </c:pt>
                <c:pt idx="26142">
                  <c:v>-2.0168067226890699E-2</c:v>
                </c:pt>
                <c:pt idx="26143">
                  <c:v>-2.0168067226890699E-2</c:v>
                </c:pt>
                <c:pt idx="26144">
                  <c:v>-2.0168067226890699E-2</c:v>
                </c:pt>
                <c:pt idx="26145">
                  <c:v>-2.0168067226890699E-2</c:v>
                </c:pt>
                <c:pt idx="26146">
                  <c:v>-2.0168067226890699E-2</c:v>
                </c:pt>
                <c:pt idx="26147">
                  <c:v>-2.0168067226890699E-2</c:v>
                </c:pt>
                <c:pt idx="26148">
                  <c:v>-2.0168067226890699E-2</c:v>
                </c:pt>
                <c:pt idx="26149">
                  <c:v>-2.0168067226890699E-2</c:v>
                </c:pt>
                <c:pt idx="26150">
                  <c:v>-2.0168067226890699E-2</c:v>
                </c:pt>
                <c:pt idx="26151">
                  <c:v>-2.0168067226890699E-2</c:v>
                </c:pt>
                <c:pt idx="26152">
                  <c:v>-2.0168067226890699E-2</c:v>
                </c:pt>
                <c:pt idx="26153">
                  <c:v>-2.0168067226890699E-2</c:v>
                </c:pt>
                <c:pt idx="26154">
                  <c:v>-2.0168067226890699E-2</c:v>
                </c:pt>
                <c:pt idx="26155">
                  <c:v>-2.0168067226890699E-2</c:v>
                </c:pt>
                <c:pt idx="26156">
                  <c:v>-2.0168067226890699E-2</c:v>
                </c:pt>
                <c:pt idx="26157">
                  <c:v>-2.0168067226890699E-2</c:v>
                </c:pt>
                <c:pt idx="26158">
                  <c:v>-2.0168067226890699E-2</c:v>
                </c:pt>
                <c:pt idx="26159">
                  <c:v>-2.0168067226890699E-2</c:v>
                </c:pt>
                <c:pt idx="26160">
                  <c:v>-2.0168067226890699E-2</c:v>
                </c:pt>
                <c:pt idx="26161">
                  <c:v>-2.0168067226890699E-2</c:v>
                </c:pt>
                <c:pt idx="26162">
                  <c:v>-2.0168067226890699E-2</c:v>
                </c:pt>
                <c:pt idx="26163">
                  <c:v>-2.0168067226890699E-2</c:v>
                </c:pt>
                <c:pt idx="26164">
                  <c:v>-1.9327731092437E-2</c:v>
                </c:pt>
                <c:pt idx="26165">
                  <c:v>-1.9327731092437E-2</c:v>
                </c:pt>
                <c:pt idx="26166">
                  <c:v>-1.9327731092437E-2</c:v>
                </c:pt>
                <c:pt idx="26167">
                  <c:v>-1.9327731092437E-2</c:v>
                </c:pt>
                <c:pt idx="26168">
                  <c:v>-1.9327731092437E-2</c:v>
                </c:pt>
                <c:pt idx="26169">
                  <c:v>-1.9327731092437E-2</c:v>
                </c:pt>
                <c:pt idx="26170">
                  <c:v>-1.9327731092437E-2</c:v>
                </c:pt>
                <c:pt idx="26171">
                  <c:v>-1.9327731092437E-2</c:v>
                </c:pt>
                <c:pt idx="26172">
                  <c:v>-1.9327731092437E-2</c:v>
                </c:pt>
                <c:pt idx="26173">
                  <c:v>-1.9327731092437E-2</c:v>
                </c:pt>
                <c:pt idx="26174">
                  <c:v>-1.9327731092437E-2</c:v>
                </c:pt>
                <c:pt idx="26175">
                  <c:v>-1.9327731092437E-2</c:v>
                </c:pt>
                <c:pt idx="26176">
                  <c:v>-1.9327731092437E-2</c:v>
                </c:pt>
                <c:pt idx="26177">
                  <c:v>-1.9327731092437E-2</c:v>
                </c:pt>
                <c:pt idx="26178">
                  <c:v>-1.9327731092437E-2</c:v>
                </c:pt>
                <c:pt idx="26179">
                  <c:v>-1.9327731092437E-2</c:v>
                </c:pt>
                <c:pt idx="26180">
                  <c:v>-1.9327731092437E-2</c:v>
                </c:pt>
                <c:pt idx="26181">
                  <c:v>-1.9327731092437E-2</c:v>
                </c:pt>
                <c:pt idx="26182">
                  <c:v>-1.9327731092437E-2</c:v>
                </c:pt>
                <c:pt idx="26183">
                  <c:v>-1.9327731092437E-2</c:v>
                </c:pt>
                <c:pt idx="26184">
                  <c:v>-1.9327731092437E-2</c:v>
                </c:pt>
                <c:pt idx="26185">
                  <c:v>-1.9327731092437E-2</c:v>
                </c:pt>
                <c:pt idx="26186">
                  <c:v>-1.9327731092437E-2</c:v>
                </c:pt>
                <c:pt idx="26187">
                  <c:v>-1.9327731092437E-2</c:v>
                </c:pt>
                <c:pt idx="26188">
                  <c:v>-1.9327731092437E-2</c:v>
                </c:pt>
                <c:pt idx="26189">
                  <c:v>-1.9327731092437E-2</c:v>
                </c:pt>
                <c:pt idx="26190">
                  <c:v>-1.9327731092437E-2</c:v>
                </c:pt>
                <c:pt idx="26191">
                  <c:v>-1.9327731092437E-2</c:v>
                </c:pt>
                <c:pt idx="26192">
                  <c:v>-1.9327731092437E-2</c:v>
                </c:pt>
                <c:pt idx="26193">
                  <c:v>-1.9327731092437E-2</c:v>
                </c:pt>
                <c:pt idx="26194">
                  <c:v>-1.9327731092437E-2</c:v>
                </c:pt>
                <c:pt idx="26195">
                  <c:v>-1.9327731092437E-2</c:v>
                </c:pt>
                <c:pt idx="26196">
                  <c:v>-1.9327731092437E-2</c:v>
                </c:pt>
                <c:pt idx="26197">
                  <c:v>-1.9327731092437E-2</c:v>
                </c:pt>
                <c:pt idx="26198">
                  <c:v>-1.9327731092437E-2</c:v>
                </c:pt>
                <c:pt idx="26199">
                  <c:v>-1.9327731092437E-2</c:v>
                </c:pt>
                <c:pt idx="26200">
                  <c:v>-1.9327731092437E-2</c:v>
                </c:pt>
                <c:pt idx="26201">
                  <c:v>-1.9327731092437E-2</c:v>
                </c:pt>
                <c:pt idx="26202">
                  <c:v>-1.9327731092437E-2</c:v>
                </c:pt>
                <c:pt idx="26203">
                  <c:v>-1.9327731092437E-2</c:v>
                </c:pt>
                <c:pt idx="26204">
                  <c:v>-1.9327731092437E-2</c:v>
                </c:pt>
                <c:pt idx="26205">
                  <c:v>-1.9327731092437E-2</c:v>
                </c:pt>
                <c:pt idx="26206">
                  <c:v>-1.9327731092437E-2</c:v>
                </c:pt>
                <c:pt idx="26207">
                  <c:v>-1.9327731092437E-2</c:v>
                </c:pt>
                <c:pt idx="26208">
                  <c:v>-1.9327731092437E-2</c:v>
                </c:pt>
                <c:pt idx="26209">
                  <c:v>-1.9327731092437E-2</c:v>
                </c:pt>
                <c:pt idx="26210">
                  <c:v>-1.9327731092437E-2</c:v>
                </c:pt>
                <c:pt idx="26211">
                  <c:v>-1.9327731092437E-2</c:v>
                </c:pt>
                <c:pt idx="26212">
                  <c:v>-1.9327731092437E-2</c:v>
                </c:pt>
                <c:pt idx="26213">
                  <c:v>-1.9327731092437E-2</c:v>
                </c:pt>
                <c:pt idx="26214">
                  <c:v>-1.9327731092437E-2</c:v>
                </c:pt>
                <c:pt idx="26215">
                  <c:v>-1.9327731092437E-2</c:v>
                </c:pt>
                <c:pt idx="26216">
                  <c:v>-1.9327731092437E-2</c:v>
                </c:pt>
                <c:pt idx="26217">
                  <c:v>-1.9327731092437E-2</c:v>
                </c:pt>
                <c:pt idx="26218">
                  <c:v>-1.9327731092437E-2</c:v>
                </c:pt>
                <c:pt idx="26219">
                  <c:v>-1.9327731092437E-2</c:v>
                </c:pt>
                <c:pt idx="26220">
                  <c:v>-1.9327731092437E-2</c:v>
                </c:pt>
                <c:pt idx="26221">
                  <c:v>-1.9327731092437E-2</c:v>
                </c:pt>
                <c:pt idx="26222">
                  <c:v>-1.9327731092437E-2</c:v>
                </c:pt>
                <c:pt idx="26223">
                  <c:v>-1.9327731092437E-2</c:v>
                </c:pt>
                <c:pt idx="26224">
                  <c:v>-1.84873949579832E-2</c:v>
                </c:pt>
                <c:pt idx="26225">
                  <c:v>-1.84873949579832E-2</c:v>
                </c:pt>
                <c:pt idx="26226">
                  <c:v>-1.84873949579832E-2</c:v>
                </c:pt>
                <c:pt idx="26227">
                  <c:v>-1.84873949579832E-2</c:v>
                </c:pt>
                <c:pt idx="26228">
                  <c:v>-1.84873949579832E-2</c:v>
                </c:pt>
                <c:pt idx="26229">
                  <c:v>-1.84873949579832E-2</c:v>
                </c:pt>
                <c:pt idx="26230">
                  <c:v>-1.84873949579832E-2</c:v>
                </c:pt>
                <c:pt idx="26231">
                  <c:v>-1.84873949579832E-2</c:v>
                </c:pt>
                <c:pt idx="26232">
                  <c:v>-1.84873949579832E-2</c:v>
                </c:pt>
                <c:pt idx="26233">
                  <c:v>-1.84873949579832E-2</c:v>
                </c:pt>
                <c:pt idx="26234">
                  <c:v>-1.84873949579832E-2</c:v>
                </c:pt>
                <c:pt idx="26235">
                  <c:v>-1.84873949579832E-2</c:v>
                </c:pt>
                <c:pt idx="26236">
                  <c:v>-1.84873949579832E-2</c:v>
                </c:pt>
                <c:pt idx="26237">
                  <c:v>-1.84873949579832E-2</c:v>
                </c:pt>
                <c:pt idx="26238">
                  <c:v>-1.84873949579832E-2</c:v>
                </c:pt>
                <c:pt idx="26239">
                  <c:v>-1.9327731092437E-2</c:v>
                </c:pt>
                <c:pt idx="26240">
                  <c:v>-1.9327731092437E-2</c:v>
                </c:pt>
                <c:pt idx="26241">
                  <c:v>-1.9327731092437E-2</c:v>
                </c:pt>
                <c:pt idx="26242">
                  <c:v>-1.9327731092437E-2</c:v>
                </c:pt>
                <c:pt idx="26243">
                  <c:v>-1.9327731092437E-2</c:v>
                </c:pt>
                <c:pt idx="26244">
                  <c:v>-1.9327731092437E-2</c:v>
                </c:pt>
                <c:pt idx="26245">
                  <c:v>-1.9327731092437E-2</c:v>
                </c:pt>
                <c:pt idx="26246">
                  <c:v>-1.9327731092437E-2</c:v>
                </c:pt>
                <c:pt idx="26247">
                  <c:v>-1.9327731092437E-2</c:v>
                </c:pt>
                <c:pt idx="26248">
                  <c:v>-1.9327731092437E-2</c:v>
                </c:pt>
                <c:pt idx="26249">
                  <c:v>-1.9327731092437E-2</c:v>
                </c:pt>
                <c:pt idx="26250">
                  <c:v>-1.9327731092437E-2</c:v>
                </c:pt>
                <c:pt idx="26251">
                  <c:v>-1.9327731092437E-2</c:v>
                </c:pt>
                <c:pt idx="26252">
                  <c:v>-1.9327731092437E-2</c:v>
                </c:pt>
                <c:pt idx="26253">
                  <c:v>-1.9327731092437E-2</c:v>
                </c:pt>
                <c:pt idx="26254">
                  <c:v>-1.9327731092437E-2</c:v>
                </c:pt>
                <c:pt idx="26255">
                  <c:v>-1.9327731092437E-2</c:v>
                </c:pt>
                <c:pt idx="26256">
                  <c:v>-1.9327731092437E-2</c:v>
                </c:pt>
                <c:pt idx="26257">
                  <c:v>-1.9327731092437E-2</c:v>
                </c:pt>
                <c:pt idx="26258">
                  <c:v>-1.9327731092437E-2</c:v>
                </c:pt>
                <c:pt idx="26259">
                  <c:v>-1.9327731092437E-2</c:v>
                </c:pt>
                <c:pt idx="26260">
                  <c:v>-1.9327731092437E-2</c:v>
                </c:pt>
                <c:pt idx="26261">
                  <c:v>-1.9327731092437E-2</c:v>
                </c:pt>
                <c:pt idx="26262">
                  <c:v>-1.9327731092437E-2</c:v>
                </c:pt>
                <c:pt idx="26263">
                  <c:v>-1.9327731092437E-2</c:v>
                </c:pt>
                <c:pt idx="26264">
                  <c:v>-1.9327731092437E-2</c:v>
                </c:pt>
                <c:pt idx="26265">
                  <c:v>-1.9327731092437E-2</c:v>
                </c:pt>
                <c:pt idx="26266">
                  <c:v>-1.9327731092437E-2</c:v>
                </c:pt>
                <c:pt idx="26267">
                  <c:v>-1.9327731092437E-2</c:v>
                </c:pt>
                <c:pt idx="26268">
                  <c:v>-1.9327731092437E-2</c:v>
                </c:pt>
                <c:pt idx="26269">
                  <c:v>-1.9327731092437E-2</c:v>
                </c:pt>
                <c:pt idx="26270">
                  <c:v>-1.9327731092437E-2</c:v>
                </c:pt>
                <c:pt idx="26271">
                  <c:v>-1.9327731092437E-2</c:v>
                </c:pt>
                <c:pt idx="26272">
                  <c:v>-1.9327731092437E-2</c:v>
                </c:pt>
                <c:pt idx="26273">
                  <c:v>-1.9327731092437E-2</c:v>
                </c:pt>
                <c:pt idx="26274">
                  <c:v>-1.9327731092437E-2</c:v>
                </c:pt>
                <c:pt idx="26275">
                  <c:v>-1.9327731092437E-2</c:v>
                </c:pt>
                <c:pt idx="26276">
                  <c:v>-1.9327731092437E-2</c:v>
                </c:pt>
                <c:pt idx="26277">
                  <c:v>-1.9327731092437E-2</c:v>
                </c:pt>
                <c:pt idx="26278">
                  <c:v>-1.9327731092437E-2</c:v>
                </c:pt>
                <c:pt idx="26279">
                  <c:v>-1.9327731092437E-2</c:v>
                </c:pt>
                <c:pt idx="26280">
                  <c:v>-1.9327731092437E-2</c:v>
                </c:pt>
                <c:pt idx="26281">
                  <c:v>-1.9327731092437E-2</c:v>
                </c:pt>
                <c:pt idx="26282">
                  <c:v>-1.9327731092437E-2</c:v>
                </c:pt>
                <c:pt idx="26283">
                  <c:v>-1.9327731092437E-2</c:v>
                </c:pt>
                <c:pt idx="26284">
                  <c:v>-1.9327731092437E-2</c:v>
                </c:pt>
                <c:pt idx="26285">
                  <c:v>-1.9327731092437E-2</c:v>
                </c:pt>
                <c:pt idx="26286">
                  <c:v>-1.9327731092437E-2</c:v>
                </c:pt>
                <c:pt idx="26287">
                  <c:v>-1.9327731092437E-2</c:v>
                </c:pt>
                <c:pt idx="26288">
                  <c:v>-1.9327731092437E-2</c:v>
                </c:pt>
                <c:pt idx="26289">
                  <c:v>-1.84873949579832E-2</c:v>
                </c:pt>
                <c:pt idx="26290">
                  <c:v>-1.84873949579832E-2</c:v>
                </c:pt>
                <c:pt idx="26291">
                  <c:v>-1.84873949579832E-2</c:v>
                </c:pt>
                <c:pt idx="26292">
                  <c:v>-1.84873949579832E-2</c:v>
                </c:pt>
                <c:pt idx="26293">
                  <c:v>-1.84873949579832E-2</c:v>
                </c:pt>
                <c:pt idx="26294">
                  <c:v>-1.84873949579832E-2</c:v>
                </c:pt>
                <c:pt idx="26295">
                  <c:v>-1.84873949579832E-2</c:v>
                </c:pt>
                <c:pt idx="26296">
                  <c:v>-1.84873949579832E-2</c:v>
                </c:pt>
                <c:pt idx="26297">
                  <c:v>-1.84873949579832E-2</c:v>
                </c:pt>
                <c:pt idx="26298">
                  <c:v>-1.84873949579832E-2</c:v>
                </c:pt>
                <c:pt idx="26299">
                  <c:v>-1.84873949579832E-2</c:v>
                </c:pt>
                <c:pt idx="26300">
                  <c:v>-1.84873949579832E-2</c:v>
                </c:pt>
                <c:pt idx="26301">
                  <c:v>-1.84873949579832E-2</c:v>
                </c:pt>
                <c:pt idx="26302">
                  <c:v>-1.84873949579832E-2</c:v>
                </c:pt>
                <c:pt idx="26303">
                  <c:v>-1.84873949579832E-2</c:v>
                </c:pt>
                <c:pt idx="26304">
                  <c:v>-1.84873949579832E-2</c:v>
                </c:pt>
                <c:pt idx="26305">
                  <c:v>-1.84873949579832E-2</c:v>
                </c:pt>
                <c:pt idx="26306">
                  <c:v>-1.84873949579832E-2</c:v>
                </c:pt>
                <c:pt idx="26307">
                  <c:v>-1.84873949579832E-2</c:v>
                </c:pt>
                <c:pt idx="26308">
                  <c:v>-1.84873949579832E-2</c:v>
                </c:pt>
                <c:pt idx="26309">
                  <c:v>-1.84873949579832E-2</c:v>
                </c:pt>
                <c:pt idx="26310">
                  <c:v>-1.84873949579832E-2</c:v>
                </c:pt>
                <c:pt idx="26311">
                  <c:v>-1.84873949579832E-2</c:v>
                </c:pt>
                <c:pt idx="26312">
                  <c:v>-1.84873949579832E-2</c:v>
                </c:pt>
                <c:pt idx="26313">
                  <c:v>-1.84873949579832E-2</c:v>
                </c:pt>
                <c:pt idx="26314">
                  <c:v>-1.84873949579832E-2</c:v>
                </c:pt>
                <c:pt idx="26315">
                  <c:v>-1.84873949579832E-2</c:v>
                </c:pt>
                <c:pt idx="26316">
                  <c:v>-1.84873949579832E-2</c:v>
                </c:pt>
                <c:pt idx="26317">
                  <c:v>-1.84873949579832E-2</c:v>
                </c:pt>
                <c:pt idx="26318">
                  <c:v>-1.84873949579832E-2</c:v>
                </c:pt>
                <c:pt idx="26319">
                  <c:v>-1.84873949579832E-2</c:v>
                </c:pt>
                <c:pt idx="26320">
                  <c:v>-1.84873949579832E-2</c:v>
                </c:pt>
                <c:pt idx="26321">
                  <c:v>-1.84873949579832E-2</c:v>
                </c:pt>
                <c:pt idx="26322">
                  <c:v>-1.84873949579832E-2</c:v>
                </c:pt>
                <c:pt idx="26323">
                  <c:v>-1.84873949579832E-2</c:v>
                </c:pt>
                <c:pt idx="26324">
                  <c:v>-1.84873949579832E-2</c:v>
                </c:pt>
                <c:pt idx="26325">
                  <c:v>-1.84873949579832E-2</c:v>
                </c:pt>
                <c:pt idx="26326">
                  <c:v>-1.84873949579832E-2</c:v>
                </c:pt>
                <c:pt idx="26327">
                  <c:v>-1.84873949579832E-2</c:v>
                </c:pt>
                <c:pt idx="26328">
                  <c:v>-1.84873949579832E-2</c:v>
                </c:pt>
                <c:pt idx="26329">
                  <c:v>-1.84873949579832E-2</c:v>
                </c:pt>
                <c:pt idx="26330">
                  <c:v>-1.84873949579832E-2</c:v>
                </c:pt>
                <c:pt idx="26331">
                  <c:v>-1.84873949579832E-2</c:v>
                </c:pt>
                <c:pt idx="26332">
                  <c:v>-1.84873949579832E-2</c:v>
                </c:pt>
                <c:pt idx="26333">
                  <c:v>-1.84873949579832E-2</c:v>
                </c:pt>
                <c:pt idx="26334">
                  <c:v>-1.84873949579832E-2</c:v>
                </c:pt>
                <c:pt idx="26335">
                  <c:v>-1.84873949579832E-2</c:v>
                </c:pt>
                <c:pt idx="26336">
                  <c:v>-1.84873949579832E-2</c:v>
                </c:pt>
                <c:pt idx="26337">
                  <c:v>-1.84873949579832E-2</c:v>
                </c:pt>
                <c:pt idx="26338">
                  <c:v>-1.84873949579832E-2</c:v>
                </c:pt>
                <c:pt idx="26339">
                  <c:v>-1.84873949579832E-2</c:v>
                </c:pt>
                <c:pt idx="26340">
                  <c:v>-1.84873949579832E-2</c:v>
                </c:pt>
                <c:pt idx="26341">
                  <c:v>-1.84873949579832E-2</c:v>
                </c:pt>
                <c:pt idx="26342">
                  <c:v>-1.84873949579832E-2</c:v>
                </c:pt>
                <c:pt idx="26343">
                  <c:v>-1.84873949579832E-2</c:v>
                </c:pt>
                <c:pt idx="26344">
                  <c:v>-1.84873949579832E-2</c:v>
                </c:pt>
                <c:pt idx="26345">
                  <c:v>-1.84873949579832E-2</c:v>
                </c:pt>
                <c:pt idx="26346">
                  <c:v>-1.84873949579832E-2</c:v>
                </c:pt>
                <c:pt idx="26347">
                  <c:v>-1.84873949579832E-2</c:v>
                </c:pt>
                <c:pt idx="26348">
                  <c:v>-1.84873949579832E-2</c:v>
                </c:pt>
                <c:pt idx="26349">
                  <c:v>-1.84873949579832E-2</c:v>
                </c:pt>
                <c:pt idx="26350">
                  <c:v>-1.84873949579832E-2</c:v>
                </c:pt>
                <c:pt idx="26351">
                  <c:v>-1.84873949579832E-2</c:v>
                </c:pt>
                <c:pt idx="26352">
                  <c:v>-1.84873949579832E-2</c:v>
                </c:pt>
                <c:pt idx="26353">
                  <c:v>-1.84873949579832E-2</c:v>
                </c:pt>
                <c:pt idx="26354">
                  <c:v>-1.84873949579832E-2</c:v>
                </c:pt>
                <c:pt idx="26355">
                  <c:v>-1.84873949579832E-2</c:v>
                </c:pt>
                <c:pt idx="26356">
                  <c:v>-1.84873949579832E-2</c:v>
                </c:pt>
                <c:pt idx="26357">
                  <c:v>-1.84873949579832E-2</c:v>
                </c:pt>
                <c:pt idx="26358">
                  <c:v>-1.84873949579832E-2</c:v>
                </c:pt>
                <c:pt idx="26359">
                  <c:v>-1.84873949579832E-2</c:v>
                </c:pt>
                <c:pt idx="26360">
                  <c:v>-1.84873949579832E-2</c:v>
                </c:pt>
                <c:pt idx="26361">
                  <c:v>-1.84873949579832E-2</c:v>
                </c:pt>
                <c:pt idx="26362">
                  <c:v>-1.84873949579832E-2</c:v>
                </c:pt>
                <c:pt idx="26363">
                  <c:v>-1.84873949579832E-2</c:v>
                </c:pt>
                <c:pt idx="26364">
                  <c:v>-1.84873949579832E-2</c:v>
                </c:pt>
                <c:pt idx="26365">
                  <c:v>-1.84873949579832E-2</c:v>
                </c:pt>
                <c:pt idx="26366">
                  <c:v>-1.84873949579832E-2</c:v>
                </c:pt>
                <c:pt idx="26367">
                  <c:v>-1.84873949579832E-2</c:v>
                </c:pt>
                <c:pt idx="26368">
                  <c:v>-1.84873949579832E-2</c:v>
                </c:pt>
                <c:pt idx="26369">
                  <c:v>-1.9327731092437E-2</c:v>
                </c:pt>
                <c:pt idx="26370">
                  <c:v>-1.9327731092437E-2</c:v>
                </c:pt>
                <c:pt idx="26371">
                  <c:v>-1.9327731092437E-2</c:v>
                </c:pt>
                <c:pt idx="26372">
                  <c:v>-1.9327731092437E-2</c:v>
                </c:pt>
                <c:pt idx="26373">
                  <c:v>-1.9327731092437E-2</c:v>
                </c:pt>
                <c:pt idx="26374">
                  <c:v>-1.9327731092437E-2</c:v>
                </c:pt>
                <c:pt idx="26375">
                  <c:v>-1.9327731092437E-2</c:v>
                </c:pt>
                <c:pt idx="26376">
                  <c:v>-1.9327731092437E-2</c:v>
                </c:pt>
                <c:pt idx="26377">
                  <c:v>-1.9327731092437E-2</c:v>
                </c:pt>
                <c:pt idx="26378">
                  <c:v>-1.9327731092437E-2</c:v>
                </c:pt>
                <c:pt idx="26379">
                  <c:v>-1.9327731092437E-2</c:v>
                </c:pt>
                <c:pt idx="26380">
                  <c:v>-1.9327731092437E-2</c:v>
                </c:pt>
                <c:pt idx="26381">
                  <c:v>-1.9327731092437E-2</c:v>
                </c:pt>
                <c:pt idx="26382">
                  <c:v>-1.9327731092437E-2</c:v>
                </c:pt>
                <c:pt idx="26383">
                  <c:v>-1.9327731092437E-2</c:v>
                </c:pt>
                <c:pt idx="26384">
                  <c:v>-1.9327731092437E-2</c:v>
                </c:pt>
                <c:pt idx="26385">
                  <c:v>-1.9327731092437E-2</c:v>
                </c:pt>
                <c:pt idx="26386">
                  <c:v>-1.9327731092437E-2</c:v>
                </c:pt>
                <c:pt idx="26387">
                  <c:v>-1.9327731092437E-2</c:v>
                </c:pt>
                <c:pt idx="26388">
                  <c:v>-1.9327731092437E-2</c:v>
                </c:pt>
                <c:pt idx="26389">
                  <c:v>-1.9327731092437E-2</c:v>
                </c:pt>
                <c:pt idx="26390">
                  <c:v>-1.9327731092437E-2</c:v>
                </c:pt>
                <c:pt idx="26391">
                  <c:v>-1.9327731092437E-2</c:v>
                </c:pt>
                <c:pt idx="26392">
                  <c:v>-1.9327731092437E-2</c:v>
                </c:pt>
                <c:pt idx="26393">
                  <c:v>-1.9327731092437E-2</c:v>
                </c:pt>
                <c:pt idx="26394">
                  <c:v>-1.9327731092437E-2</c:v>
                </c:pt>
                <c:pt idx="26395">
                  <c:v>-1.9327731092437E-2</c:v>
                </c:pt>
                <c:pt idx="26396">
                  <c:v>-1.9327731092437E-2</c:v>
                </c:pt>
                <c:pt idx="26397">
                  <c:v>-1.9327731092437E-2</c:v>
                </c:pt>
                <c:pt idx="26398">
                  <c:v>-1.9327731092437E-2</c:v>
                </c:pt>
                <c:pt idx="26399">
                  <c:v>-1.9327731092437E-2</c:v>
                </c:pt>
                <c:pt idx="26400">
                  <c:v>-1.9327731092437E-2</c:v>
                </c:pt>
                <c:pt idx="26401">
                  <c:v>-1.9327731092437E-2</c:v>
                </c:pt>
                <c:pt idx="26402">
                  <c:v>-1.9327731092437E-2</c:v>
                </c:pt>
                <c:pt idx="26403">
                  <c:v>-1.9327731092437E-2</c:v>
                </c:pt>
                <c:pt idx="26404">
                  <c:v>-1.9327731092437E-2</c:v>
                </c:pt>
                <c:pt idx="26405">
                  <c:v>-1.9327731092437E-2</c:v>
                </c:pt>
                <c:pt idx="26406">
                  <c:v>-1.9327731092437E-2</c:v>
                </c:pt>
                <c:pt idx="26407">
                  <c:v>-1.9327731092437E-2</c:v>
                </c:pt>
                <c:pt idx="26408">
                  <c:v>-1.9327731092437E-2</c:v>
                </c:pt>
                <c:pt idx="26409">
                  <c:v>-1.9327731092437E-2</c:v>
                </c:pt>
                <c:pt idx="26410">
                  <c:v>-1.9327731092437E-2</c:v>
                </c:pt>
                <c:pt idx="26411">
                  <c:v>-1.9327731092437E-2</c:v>
                </c:pt>
                <c:pt idx="26412">
                  <c:v>-1.9327731092437E-2</c:v>
                </c:pt>
                <c:pt idx="26413">
                  <c:v>-1.9327731092437E-2</c:v>
                </c:pt>
                <c:pt idx="26414">
                  <c:v>-1.9327731092437E-2</c:v>
                </c:pt>
                <c:pt idx="26415">
                  <c:v>-1.9327731092437E-2</c:v>
                </c:pt>
                <c:pt idx="26416">
                  <c:v>-1.9327731092437E-2</c:v>
                </c:pt>
                <c:pt idx="26417">
                  <c:v>-1.9327731092437E-2</c:v>
                </c:pt>
                <c:pt idx="26418">
                  <c:v>-1.9327731092437E-2</c:v>
                </c:pt>
                <c:pt idx="26419">
                  <c:v>-1.9327731092437E-2</c:v>
                </c:pt>
                <c:pt idx="26420">
                  <c:v>-1.9327731092437E-2</c:v>
                </c:pt>
                <c:pt idx="26421">
                  <c:v>-1.9327731092437E-2</c:v>
                </c:pt>
                <c:pt idx="26422">
                  <c:v>-1.9327731092437E-2</c:v>
                </c:pt>
                <c:pt idx="26423">
                  <c:v>-1.9327731092437E-2</c:v>
                </c:pt>
                <c:pt idx="26424">
                  <c:v>-1.9327731092437E-2</c:v>
                </c:pt>
                <c:pt idx="26425">
                  <c:v>-1.9327731092437E-2</c:v>
                </c:pt>
                <c:pt idx="26426">
                  <c:v>-1.9327731092437E-2</c:v>
                </c:pt>
                <c:pt idx="26427">
                  <c:v>-1.9327731092437E-2</c:v>
                </c:pt>
                <c:pt idx="26428">
                  <c:v>-1.9327731092437E-2</c:v>
                </c:pt>
                <c:pt idx="26429">
                  <c:v>-1.9327731092437E-2</c:v>
                </c:pt>
                <c:pt idx="26430">
                  <c:v>-1.9327731092437E-2</c:v>
                </c:pt>
                <c:pt idx="26431">
                  <c:v>-1.9327731092437E-2</c:v>
                </c:pt>
                <c:pt idx="26432">
                  <c:v>-1.9327731092437E-2</c:v>
                </c:pt>
                <c:pt idx="26433">
                  <c:v>-1.9327731092437E-2</c:v>
                </c:pt>
                <c:pt idx="26434">
                  <c:v>-1.9327731092437E-2</c:v>
                </c:pt>
                <c:pt idx="26435">
                  <c:v>-1.9327731092437E-2</c:v>
                </c:pt>
                <c:pt idx="26436">
                  <c:v>-1.9327731092437E-2</c:v>
                </c:pt>
                <c:pt idx="26437">
                  <c:v>-1.9327731092437E-2</c:v>
                </c:pt>
                <c:pt idx="26438">
                  <c:v>-1.9327731092437E-2</c:v>
                </c:pt>
                <c:pt idx="26439">
                  <c:v>-1.9327731092437E-2</c:v>
                </c:pt>
                <c:pt idx="26440">
                  <c:v>-1.9327731092437E-2</c:v>
                </c:pt>
                <c:pt idx="26441">
                  <c:v>-1.9327731092437E-2</c:v>
                </c:pt>
                <c:pt idx="26442">
                  <c:v>-1.9327731092437E-2</c:v>
                </c:pt>
                <c:pt idx="26443">
                  <c:v>-1.9327731092437E-2</c:v>
                </c:pt>
                <c:pt idx="26444">
                  <c:v>-1.9327731092437E-2</c:v>
                </c:pt>
                <c:pt idx="26445">
                  <c:v>-1.9327731092437E-2</c:v>
                </c:pt>
                <c:pt idx="26446">
                  <c:v>-1.9327731092437E-2</c:v>
                </c:pt>
                <c:pt idx="26447">
                  <c:v>-1.9327731092437E-2</c:v>
                </c:pt>
                <c:pt idx="26448">
                  <c:v>-1.9327731092437E-2</c:v>
                </c:pt>
                <c:pt idx="26449">
                  <c:v>-1.9327731092437E-2</c:v>
                </c:pt>
                <c:pt idx="26450">
                  <c:v>-1.9327731092437E-2</c:v>
                </c:pt>
                <c:pt idx="26451">
                  <c:v>-1.9327731092437E-2</c:v>
                </c:pt>
                <c:pt idx="26452">
                  <c:v>-1.9327731092437E-2</c:v>
                </c:pt>
                <c:pt idx="26453">
                  <c:v>-1.9327731092437E-2</c:v>
                </c:pt>
                <c:pt idx="26454">
                  <c:v>-1.9327731092437E-2</c:v>
                </c:pt>
                <c:pt idx="26455">
                  <c:v>-1.9327731092437E-2</c:v>
                </c:pt>
                <c:pt idx="26456">
                  <c:v>-1.9327731092437E-2</c:v>
                </c:pt>
                <c:pt idx="26457">
                  <c:v>-1.9327731092437E-2</c:v>
                </c:pt>
                <c:pt idx="26458">
                  <c:v>-1.9327731092437E-2</c:v>
                </c:pt>
                <c:pt idx="26459">
                  <c:v>-1.9327731092437E-2</c:v>
                </c:pt>
                <c:pt idx="26460">
                  <c:v>-1.9327731092437E-2</c:v>
                </c:pt>
                <c:pt idx="26461">
                  <c:v>-1.9327731092437E-2</c:v>
                </c:pt>
                <c:pt idx="26462">
                  <c:v>-1.9327731092437E-2</c:v>
                </c:pt>
                <c:pt idx="26463">
                  <c:v>-1.9327731092437E-2</c:v>
                </c:pt>
                <c:pt idx="26464">
                  <c:v>-1.9327731092437E-2</c:v>
                </c:pt>
                <c:pt idx="26465">
                  <c:v>-1.9327731092437E-2</c:v>
                </c:pt>
                <c:pt idx="26466">
                  <c:v>-1.9327731092437E-2</c:v>
                </c:pt>
                <c:pt idx="26467">
                  <c:v>-1.9327731092437E-2</c:v>
                </c:pt>
                <c:pt idx="26468">
                  <c:v>-1.9327731092437E-2</c:v>
                </c:pt>
                <c:pt idx="26469">
                  <c:v>-1.9327731092437E-2</c:v>
                </c:pt>
                <c:pt idx="26470">
                  <c:v>-1.9327731092437E-2</c:v>
                </c:pt>
                <c:pt idx="26471">
                  <c:v>-1.9327731092437E-2</c:v>
                </c:pt>
                <c:pt idx="26472">
                  <c:v>-1.9327731092437E-2</c:v>
                </c:pt>
                <c:pt idx="26473">
                  <c:v>-1.9327731092437E-2</c:v>
                </c:pt>
                <c:pt idx="26474">
                  <c:v>-1.9327731092437E-2</c:v>
                </c:pt>
                <c:pt idx="26475">
                  <c:v>-1.9327731092437E-2</c:v>
                </c:pt>
                <c:pt idx="26476">
                  <c:v>-1.9327731092437E-2</c:v>
                </c:pt>
                <c:pt idx="26477">
                  <c:v>-1.9327731092437E-2</c:v>
                </c:pt>
                <c:pt idx="26478">
                  <c:v>-1.9327731092437E-2</c:v>
                </c:pt>
                <c:pt idx="26479">
                  <c:v>-1.9327731092437E-2</c:v>
                </c:pt>
                <c:pt idx="26480">
                  <c:v>-1.9327731092437E-2</c:v>
                </c:pt>
                <c:pt idx="26481">
                  <c:v>-1.9327731092437E-2</c:v>
                </c:pt>
                <c:pt idx="26482">
                  <c:v>-1.9327731092437E-2</c:v>
                </c:pt>
                <c:pt idx="26483">
                  <c:v>-1.9327731092437E-2</c:v>
                </c:pt>
                <c:pt idx="26484">
                  <c:v>-1.9327731092437E-2</c:v>
                </c:pt>
                <c:pt idx="26485">
                  <c:v>-1.9327731092437E-2</c:v>
                </c:pt>
                <c:pt idx="26486">
                  <c:v>-1.9327731092437E-2</c:v>
                </c:pt>
                <c:pt idx="26487">
                  <c:v>-1.9327731092437E-2</c:v>
                </c:pt>
                <c:pt idx="26488">
                  <c:v>-1.9327731092437E-2</c:v>
                </c:pt>
                <c:pt idx="26489">
                  <c:v>-1.9327731092437E-2</c:v>
                </c:pt>
                <c:pt idx="26490">
                  <c:v>-1.9327731092437E-2</c:v>
                </c:pt>
                <c:pt idx="26491">
                  <c:v>-1.9327731092437E-2</c:v>
                </c:pt>
                <c:pt idx="26492">
                  <c:v>-1.9327731092437E-2</c:v>
                </c:pt>
                <c:pt idx="26493">
                  <c:v>-1.9327731092437E-2</c:v>
                </c:pt>
                <c:pt idx="26494">
                  <c:v>-1.9327731092437E-2</c:v>
                </c:pt>
                <c:pt idx="26495">
                  <c:v>-1.9327731092437E-2</c:v>
                </c:pt>
                <c:pt idx="26496">
                  <c:v>-1.9327731092437E-2</c:v>
                </c:pt>
                <c:pt idx="26497">
                  <c:v>-1.9327731092437E-2</c:v>
                </c:pt>
                <c:pt idx="26498">
                  <c:v>-1.9327731092437E-2</c:v>
                </c:pt>
                <c:pt idx="26499">
                  <c:v>-1.9327731092437E-2</c:v>
                </c:pt>
                <c:pt idx="26500">
                  <c:v>-1.9327731092437E-2</c:v>
                </c:pt>
                <c:pt idx="26501">
                  <c:v>-1.9327731092437E-2</c:v>
                </c:pt>
                <c:pt idx="26502">
                  <c:v>-1.9327731092437E-2</c:v>
                </c:pt>
                <c:pt idx="26503">
                  <c:v>-1.9327731092437E-2</c:v>
                </c:pt>
                <c:pt idx="26504">
                  <c:v>-1.9327731092437E-2</c:v>
                </c:pt>
                <c:pt idx="26505">
                  <c:v>-1.9327731092437E-2</c:v>
                </c:pt>
                <c:pt idx="26506">
                  <c:v>-1.9327731092437E-2</c:v>
                </c:pt>
                <c:pt idx="26507">
                  <c:v>-1.9327731092437E-2</c:v>
                </c:pt>
                <c:pt idx="26508">
                  <c:v>-1.9327731092437E-2</c:v>
                </c:pt>
                <c:pt idx="26509">
                  <c:v>-1.9327731092437E-2</c:v>
                </c:pt>
                <c:pt idx="26510">
                  <c:v>-1.9327731092437E-2</c:v>
                </c:pt>
                <c:pt idx="26511">
                  <c:v>-1.9327731092437E-2</c:v>
                </c:pt>
                <c:pt idx="26512">
                  <c:v>-1.9327731092437E-2</c:v>
                </c:pt>
                <c:pt idx="26513">
                  <c:v>-1.9327731092437E-2</c:v>
                </c:pt>
                <c:pt idx="26514">
                  <c:v>-1.9327731092437E-2</c:v>
                </c:pt>
                <c:pt idx="26515">
                  <c:v>-1.9327731092437E-2</c:v>
                </c:pt>
                <c:pt idx="26516">
                  <c:v>-1.9327731092437E-2</c:v>
                </c:pt>
                <c:pt idx="26517">
                  <c:v>-1.9327731092437E-2</c:v>
                </c:pt>
                <c:pt idx="26518">
                  <c:v>-1.9327731092437E-2</c:v>
                </c:pt>
                <c:pt idx="26519">
                  <c:v>-1.9327731092437E-2</c:v>
                </c:pt>
                <c:pt idx="26520">
                  <c:v>-1.9327731092437E-2</c:v>
                </c:pt>
                <c:pt idx="26521">
                  <c:v>-1.9327731092437E-2</c:v>
                </c:pt>
                <c:pt idx="26522">
                  <c:v>-1.9327731092437E-2</c:v>
                </c:pt>
                <c:pt idx="26523">
                  <c:v>-1.9327731092437E-2</c:v>
                </c:pt>
                <c:pt idx="26524">
                  <c:v>-1.9327731092437E-2</c:v>
                </c:pt>
                <c:pt idx="26525">
                  <c:v>-1.9327731092437E-2</c:v>
                </c:pt>
                <c:pt idx="26526">
                  <c:v>-1.9327731092437E-2</c:v>
                </c:pt>
                <c:pt idx="26527">
                  <c:v>-1.9327731092437E-2</c:v>
                </c:pt>
                <c:pt idx="26528">
                  <c:v>-1.9327731092437E-2</c:v>
                </c:pt>
                <c:pt idx="26529">
                  <c:v>-1.9327731092437E-2</c:v>
                </c:pt>
                <c:pt idx="26530">
                  <c:v>-1.9327731092437E-2</c:v>
                </c:pt>
                <c:pt idx="26531">
                  <c:v>-1.9327731092437E-2</c:v>
                </c:pt>
                <c:pt idx="26532">
                  <c:v>-2.0168067226890699E-2</c:v>
                </c:pt>
                <c:pt idx="26533">
                  <c:v>-2.0168067226890699E-2</c:v>
                </c:pt>
                <c:pt idx="26534">
                  <c:v>-2.0168067226890699E-2</c:v>
                </c:pt>
                <c:pt idx="26535">
                  <c:v>-2.0168067226890699E-2</c:v>
                </c:pt>
                <c:pt idx="26536">
                  <c:v>-2.0168067226890699E-2</c:v>
                </c:pt>
                <c:pt idx="26537">
                  <c:v>-2.0168067226890699E-2</c:v>
                </c:pt>
                <c:pt idx="26538">
                  <c:v>-2.0168067226890699E-2</c:v>
                </c:pt>
                <c:pt idx="26539">
                  <c:v>-2.0168067226890699E-2</c:v>
                </c:pt>
                <c:pt idx="26540">
                  <c:v>-2.0168067226890699E-2</c:v>
                </c:pt>
                <c:pt idx="26541">
                  <c:v>-2.0168067226890699E-2</c:v>
                </c:pt>
                <c:pt idx="26542">
                  <c:v>-2.0168067226890699E-2</c:v>
                </c:pt>
                <c:pt idx="26543">
                  <c:v>-2.0168067226890699E-2</c:v>
                </c:pt>
                <c:pt idx="26544">
                  <c:v>-2.0168067226890699E-2</c:v>
                </c:pt>
                <c:pt idx="26545">
                  <c:v>-2.0168067226890699E-2</c:v>
                </c:pt>
                <c:pt idx="26546">
                  <c:v>-2.0168067226890699E-2</c:v>
                </c:pt>
                <c:pt idx="26547">
                  <c:v>-2.0168067226890699E-2</c:v>
                </c:pt>
                <c:pt idx="26548">
                  <c:v>-2.0168067226890699E-2</c:v>
                </c:pt>
                <c:pt idx="26549">
                  <c:v>-2.0168067226890699E-2</c:v>
                </c:pt>
                <c:pt idx="26550">
                  <c:v>-2.0168067226890699E-2</c:v>
                </c:pt>
                <c:pt idx="26551">
                  <c:v>-2.0168067226890699E-2</c:v>
                </c:pt>
                <c:pt idx="26552">
                  <c:v>-2.0168067226890699E-2</c:v>
                </c:pt>
                <c:pt idx="26553">
                  <c:v>-2.0168067226890699E-2</c:v>
                </c:pt>
                <c:pt idx="26554">
                  <c:v>-2.0168067226890699E-2</c:v>
                </c:pt>
                <c:pt idx="26555">
                  <c:v>-2.0168067226890699E-2</c:v>
                </c:pt>
                <c:pt idx="26556">
                  <c:v>-2.0168067226890699E-2</c:v>
                </c:pt>
                <c:pt idx="26557">
                  <c:v>-2.0168067226890699E-2</c:v>
                </c:pt>
                <c:pt idx="26558">
                  <c:v>-2.0168067226890699E-2</c:v>
                </c:pt>
                <c:pt idx="26559">
                  <c:v>-2.0168067226890699E-2</c:v>
                </c:pt>
                <c:pt idx="26560">
                  <c:v>-2.0168067226890699E-2</c:v>
                </c:pt>
                <c:pt idx="26561">
                  <c:v>-1.9327731092437E-2</c:v>
                </c:pt>
                <c:pt idx="26562">
                  <c:v>-1.9327731092437E-2</c:v>
                </c:pt>
                <c:pt idx="26563">
                  <c:v>-1.9327731092437E-2</c:v>
                </c:pt>
                <c:pt idx="26564">
                  <c:v>-1.9327731092437E-2</c:v>
                </c:pt>
                <c:pt idx="26565">
                  <c:v>-1.9327731092437E-2</c:v>
                </c:pt>
                <c:pt idx="26566">
                  <c:v>-1.9327731092437E-2</c:v>
                </c:pt>
                <c:pt idx="26567">
                  <c:v>-1.9327731092437E-2</c:v>
                </c:pt>
                <c:pt idx="26568">
                  <c:v>-1.9327731092437E-2</c:v>
                </c:pt>
                <c:pt idx="26569">
                  <c:v>-1.9327731092437E-2</c:v>
                </c:pt>
                <c:pt idx="26570">
                  <c:v>-1.9327731092437E-2</c:v>
                </c:pt>
                <c:pt idx="26571">
                  <c:v>-1.9327731092437E-2</c:v>
                </c:pt>
                <c:pt idx="26572">
                  <c:v>-1.9327731092437E-2</c:v>
                </c:pt>
                <c:pt idx="26573">
                  <c:v>-1.9327731092437E-2</c:v>
                </c:pt>
                <c:pt idx="26574">
                  <c:v>-1.9327731092437E-2</c:v>
                </c:pt>
                <c:pt idx="26575">
                  <c:v>-1.9327731092437E-2</c:v>
                </c:pt>
                <c:pt idx="26576">
                  <c:v>-1.9327731092437E-2</c:v>
                </c:pt>
                <c:pt idx="26577">
                  <c:v>-1.9327731092437E-2</c:v>
                </c:pt>
                <c:pt idx="26578">
                  <c:v>-1.9327731092437E-2</c:v>
                </c:pt>
                <c:pt idx="26579">
                  <c:v>-1.9327731092437E-2</c:v>
                </c:pt>
                <c:pt idx="26580">
                  <c:v>-1.9327731092437E-2</c:v>
                </c:pt>
                <c:pt idx="26581">
                  <c:v>-1.9327731092437E-2</c:v>
                </c:pt>
                <c:pt idx="26582">
                  <c:v>-1.9327731092437E-2</c:v>
                </c:pt>
                <c:pt idx="26583">
                  <c:v>-1.9327731092437E-2</c:v>
                </c:pt>
                <c:pt idx="26584">
                  <c:v>-1.9327731092437E-2</c:v>
                </c:pt>
                <c:pt idx="26585">
                  <c:v>-1.9327731092437E-2</c:v>
                </c:pt>
                <c:pt idx="26586">
                  <c:v>-1.9327731092437E-2</c:v>
                </c:pt>
                <c:pt idx="26587">
                  <c:v>-1.9327731092437E-2</c:v>
                </c:pt>
                <c:pt idx="26588">
                  <c:v>-1.9327731092437E-2</c:v>
                </c:pt>
                <c:pt idx="26589">
                  <c:v>-1.9327731092437E-2</c:v>
                </c:pt>
                <c:pt idx="26590">
                  <c:v>-1.9327731092437E-2</c:v>
                </c:pt>
                <c:pt idx="26591">
                  <c:v>-1.9327731092437E-2</c:v>
                </c:pt>
                <c:pt idx="26592">
                  <c:v>-1.9327731092437E-2</c:v>
                </c:pt>
                <c:pt idx="26593">
                  <c:v>-1.9327731092437E-2</c:v>
                </c:pt>
                <c:pt idx="26594">
                  <c:v>-1.9327731092437E-2</c:v>
                </c:pt>
                <c:pt idx="26595">
                  <c:v>-1.9327731092437E-2</c:v>
                </c:pt>
                <c:pt idx="26596">
                  <c:v>-1.9327731092437E-2</c:v>
                </c:pt>
                <c:pt idx="26597">
                  <c:v>-1.9327731092437E-2</c:v>
                </c:pt>
                <c:pt idx="26598">
                  <c:v>-1.9327731092437E-2</c:v>
                </c:pt>
                <c:pt idx="26599">
                  <c:v>-1.9327731092437E-2</c:v>
                </c:pt>
                <c:pt idx="26600">
                  <c:v>-1.9327731092437E-2</c:v>
                </c:pt>
                <c:pt idx="26601">
                  <c:v>-1.9327731092437E-2</c:v>
                </c:pt>
                <c:pt idx="26602">
                  <c:v>-1.9327731092437E-2</c:v>
                </c:pt>
                <c:pt idx="26603">
                  <c:v>-1.9327731092437E-2</c:v>
                </c:pt>
                <c:pt idx="26604">
                  <c:v>-1.9327731092437E-2</c:v>
                </c:pt>
                <c:pt idx="26605">
                  <c:v>-1.9327731092437E-2</c:v>
                </c:pt>
                <c:pt idx="26606">
                  <c:v>-2.0168067226890699E-2</c:v>
                </c:pt>
                <c:pt idx="26607">
                  <c:v>-2.0168067226890699E-2</c:v>
                </c:pt>
                <c:pt idx="26608">
                  <c:v>-2.0168067226890699E-2</c:v>
                </c:pt>
                <c:pt idx="26609">
                  <c:v>-2.0168067226890699E-2</c:v>
                </c:pt>
                <c:pt idx="26610">
                  <c:v>-2.1008403361344501E-2</c:v>
                </c:pt>
                <c:pt idx="26611">
                  <c:v>-2.1008403361344501E-2</c:v>
                </c:pt>
                <c:pt idx="26612">
                  <c:v>-2.1008403361344501E-2</c:v>
                </c:pt>
                <c:pt idx="26613">
                  <c:v>-2.1008403361344501E-2</c:v>
                </c:pt>
                <c:pt idx="26614">
                  <c:v>-2.1008403361344501E-2</c:v>
                </c:pt>
                <c:pt idx="26615">
                  <c:v>-2.1008403361344501E-2</c:v>
                </c:pt>
                <c:pt idx="26616">
                  <c:v>-2.1008403361344501E-2</c:v>
                </c:pt>
                <c:pt idx="26617">
                  <c:v>-2.1008403361344501E-2</c:v>
                </c:pt>
                <c:pt idx="26618">
                  <c:v>-2.0168067226890699E-2</c:v>
                </c:pt>
                <c:pt idx="26619">
                  <c:v>-2.0168067226890699E-2</c:v>
                </c:pt>
                <c:pt idx="26620">
                  <c:v>-2.0168067226890699E-2</c:v>
                </c:pt>
                <c:pt idx="26621">
                  <c:v>-2.0168067226890699E-2</c:v>
                </c:pt>
                <c:pt idx="26622">
                  <c:v>-2.0168067226890699E-2</c:v>
                </c:pt>
                <c:pt idx="26623">
                  <c:v>-2.0168067226890699E-2</c:v>
                </c:pt>
                <c:pt idx="26624">
                  <c:v>-2.0168067226890699E-2</c:v>
                </c:pt>
                <c:pt idx="26625">
                  <c:v>-2.0168067226890699E-2</c:v>
                </c:pt>
                <c:pt idx="26626">
                  <c:v>-2.0168067226890699E-2</c:v>
                </c:pt>
                <c:pt idx="26627">
                  <c:v>-2.0168067226890699E-2</c:v>
                </c:pt>
                <c:pt idx="26628">
                  <c:v>-2.0168067226890699E-2</c:v>
                </c:pt>
                <c:pt idx="26629">
                  <c:v>-2.0168067226890699E-2</c:v>
                </c:pt>
                <c:pt idx="26630">
                  <c:v>-2.0168067226890699E-2</c:v>
                </c:pt>
                <c:pt idx="26631">
                  <c:v>-2.0168067226890699E-2</c:v>
                </c:pt>
                <c:pt idx="26632">
                  <c:v>-2.0168067226890699E-2</c:v>
                </c:pt>
                <c:pt idx="26633">
                  <c:v>-2.0168067226890699E-2</c:v>
                </c:pt>
                <c:pt idx="26634">
                  <c:v>-2.0168067226890699E-2</c:v>
                </c:pt>
                <c:pt idx="26635">
                  <c:v>-2.0168067226890699E-2</c:v>
                </c:pt>
                <c:pt idx="26636">
                  <c:v>-2.0168067226890699E-2</c:v>
                </c:pt>
                <c:pt idx="26637">
                  <c:v>-2.0168067226890699E-2</c:v>
                </c:pt>
                <c:pt idx="26638">
                  <c:v>-2.0168067226890699E-2</c:v>
                </c:pt>
                <c:pt idx="26639">
                  <c:v>-2.0168067226890699E-2</c:v>
                </c:pt>
                <c:pt idx="26640">
                  <c:v>-2.0168067226890699E-2</c:v>
                </c:pt>
                <c:pt idx="26641">
                  <c:v>-2.0168067226890699E-2</c:v>
                </c:pt>
                <c:pt idx="26642">
                  <c:v>-2.0168067226890699E-2</c:v>
                </c:pt>
                <c:pt idx="26643">
                  <c:v>-2.0168067226890699E-2</c:v>
                </c:pt>
                <c:pt idx="26644">
                  <c:v>-2.0168067226890699E-2</c:v>
                </c:pt>
                <c:pt idx="26645">
                  <c:v>-2.0168067226890699E-2</c:v>
                </c:pt>
                <c:pt idx="26646">
                  <c:v>-2.0168067226890699E-2</c:v>
                </c:pt>
                <c:pt idx="26647">
                  <c:v>-2.0168067226890699E-2</c:v>
                </c:pt>
                <c:pt idx="26648">
                  <c:v>-2.0168067226890699E-2</c:v>
                </c:pt>
                <c:pt idx="26649">
                  <c:v>-2.0168067226890699E-2</c:v>
                </c:pt>
                <c:pt idx="26650">
                  <c:v>-2.0168067226890699E-2</c:v>
                </c:pt>
                <c:pt idx="26651">
                  <c:v>-2.0168067226890699E-2</c:v>
                </c:pt>
                <c:pt idx="26652">
                  <c:v>-2.0168067226890699E-2</c:v>
                </c:pt>
                <c:pt idx="26653">
                  <c:v>-2.0168067226890699E-2</c:v>
                </c:pt>
                <c:pt idx="26654">
                  <c:v>-2.0168067226890699E-2</c:v>
                </c:pt>
                <c:pt idx="26655">
                  <c:v>-2.0168067226890699E-2</c:v>
                </c:pt>
                <c:pt idx="26656">
                  <c:v>-2.0168067226890699E-2</c:v>
                </c:pt>
                <c:pt idx="26657">
                  <c:v>-2.0168067226890699E-2</c:v>
                </c:pt>
                <c:pt idx="26658">
                  <c:v>-2.0168067226890699E-2</c:v>
                </c:pt>
                <c:pt idx="26659">
                  <c:v>-2.0168067226890699E-2</c:v>
                </c:pt>
                <c:pt idx="26660">
                  <c:v>-2.0168067226890699E-2</c:v>
                </c:pt>
                <c:pt idx="26661">
                  <c:v>-2.0168067226890699E-2</c:v>
                </c:pt>
                <c:pt idx="26662">
                  <c:v>-2.0168067226890699E-2</c:v>
                </c:pt>
                <c:pt idx="26663">
                  <c:v>-2.0168067226890699E-2</c:v>
                </c:pt>
                <c:pt idx="26664">
                  <c:v>-2.0168067226890699E-2</c:v>
                </c:pt>
                <c:pt idx="26665">
                  <c:v>-2.0168067226890699E-2</c:v>
                </c:pt>
                <c:pt idx="26666">
                  <c:v>-2.0168067226890699E-2</c:v>
                </c:pt>
                <c:pt idx="26667">
                  <c:v>-2.0168067226890699E-2</c:v>
                </c:pt>
                <c:pt idx="26668">
                  <c:v>-2.0168067226890699E-2</c:v>
                </c:pt>
                <c:pt idx="26669">
                  <c:v>-2.0168067226890699E-2</c:v>
                </c:pt>
                <c:pt idx="26670">
                  <c:v>-2.0168067226890699E-2</c:v>
                </c:pt>
                <c:pt idx="26671">
                  <c:v>-2.0168067226890699E-2</c:v>
                </c:pt>
                <c:pt idx="26672">
                  <c:v>-2.0168067226890699E-2</c:v>
                </c:pt>
                <c:pt idx="26673">
                  <c:v>-2.0168067226890699E-2</c:v>
                </c:pt>
                <c:pt idx="26674">
                  <c:v>-2.0168067226890699E-2</c:v>
                </c:pt>
                <c:pt idx="26675">
                  <c:v>-2.0168067226890699E-2</c:v>
                </c:pt>
                <c:pt idx="26676">
                  <c:v>-2.0168067226890699E-2</c:v>
                </c:pt>
                <c:pt idx="26677">
                  <c:v>-2.0168067226890699E-2</c:v>
                </c:pt>
                <c:pt idx="26678">
                  <c:v>-2.0168067226890699E-2</c:v>
                </c:pt>
                <c:pt idx="26679">
                  <c:v>-2.0168067226890699E-2</c:v>
                </c:pt>
                <c:pt idx="26680">
                  <c:v>-2.0168067226890699E-2</c:v>
                </c:pt>
                <c:pt idx="26681">
                  <c:v>-2.0168067226890699E-2</c:v>
                </c:pt>
                <c:pt idx="26682">
                  <c:v>-2.0168067226890699E-2</c:v>
                </c:pt>
                <c:pt idx="26683">
                  <c:v>-2.0168067226890699E-2</c:v>
                </c:pt>
                <c:pt idx="26684">
                  <c:v>-2.0168067226890699E-2</c:v>
                </c:pt>
                <c:pt idx="26685">
                  <c:v>-1.9327731092437E-2</c:v>
                </c:pt>
                <c:pt idx="26686">
                  <c:v>-1.9327731092437E-2</c:v>
                </c:pt>
                <c:pt idx="26687">
                  <c:v>-1.9327731092437E-2</c:v>
                </c:pt>
                <c:pt idx="26688">
                  <c:v>-1.9327731092437E-2</c:v>
                </c:pt>
                <c:pt idx="26689">
                  <c:v>-1.9327731092437E-2</c:v>
                </c:pt>
                <c:pt idx="26690">
                  <c:v>-1.9327731092437E-2</c:v>
                </c:pt>
                <c:pt idx="26691">
                  <c:v>-1.9327731092437E-2</c:v>
                </c:pt>
                <c:pt idx="26692">
                  <c:v>-1.84873949579832E-2</c:v>
                </c:pt>
                <c:pt idx="26693">
                  <c:v>-1.84873949579832E-2</c:v>
                </c:pt>
                <c:pt idx="26694">
                  <c:v>-1.84873949579832E-2</c:v>
                </c:pt>
                <c:pt idx="26695">
                  <c:v>-1.84873949579832E-2</c:v>
                </c:pt>
                <c:pt idx="26696">
                  <c:v>-1.84873949579832E-2</c:v>
                </c:pt>
                <c:pt idx="26697">
                  <c:v>-1.84873949579832E-2</c:v>
                </c:pt>
                <c:pt idx="26698">
                  <c:v>-1.84873949579832E-2</c:v>
                </c:pt>
                <c:pt idx="26699">
                  <c:v>-1.9327731092437E-2</c:v>
                </c:pt>
                <c:pt idx="26700">
                  <c:v>-1.9327731092437E-2</c:v>
                </c:pt>
                <c:pt idx="26701">
                  <c:v>-1.9327731092437E-2</c:v>
                </c:pt>
                <c:pt idx="26702">
                  <c:v>-1.9327731092437E-2</c:v>
                </c:pt>
                <c:pt idx="26703">
                  <c:v>-1.9327731092437E-2</c:v>
                </c:pt>
                <c:pt idx="26704">
                  <c:v>-1.9327731092437E-2</c:v>
                </c:pt>
                <c:pt idx="26705">
                  <c:v>-1.9327731092437E-2</c:v>
                </c:pt>
                <c:pt idx="26706">
                  <c:v>-1.9327731092437E-2</c:v>
                </c:pt>
                <c:pt idx="26707">
                  <c:v>-1.9327731092437E-2</c:v>
                </c:pt>
                <c:pt idx="26708">
                  <c:v>-1.9327731092437E-2</c:v>
                </c:pt>
                <c:pt idx="26709">
                  <c:v>-1.9327731092437E-2</c:v>
                </c:pt>
                <c:pt idx="26710">
                  <c:v>-1.9327731092437E-2</c:v>
                </c:pt>
                <c:pt idx="26711">
                  <c:v>-1.9327731092437E-2</c:v>
                </c:pt>
                <c:pt idx="26712">
                  <c:v>-1.9327731092437E-2</c:v>
                </c:pt>
                <c:pt idx="26713">
                  <c:v>-1.9327731092437E-2</c:v>
                </c:pt>
                <c:pt idx="26714">
                  <c:v>-1.9327731092437E-2</c:v>
                </c:pt>
                <c:pt idx="26715">
                  <c:v>-1.9327731092437E-2</c:v>
                </c:pt>
                <c:pt idx="26716">
                  <c:v>-1.9327731092437E-2</c:v>
                </c:pt>
                <c:pt idx="26717">
                  <c:v>-1.9327731092437E-2</c:v>
                </c:pt>
                <c:pt idx="26718">
                  <c:v>-1.9327731092437E-2</c:v>
                </c:pt>
                <c:pt idx="26719">
                  <c:v>-1.9327731092437E-2</c:v>
                </c:pt>
                <c:pt idx="26720">
                  <c:v>-1.9327731092437E-2</c:v>
                </c:pt>
                <c:pt idx="26721">
                  <c:v>-1.9327731092437E-2</c:v>
                </c:pt>
                <c:pt idx="26722">
                  <c:v>-1.9327731092437E-2</c:v>
                </c:pt>
                <c:pt idx="26723">
                  <c:v>-1.9327731092437E-2</c:v>
                </c:pt>
                <c:pt idx="26724">
                  <c:v>-1.9327731092437E-2</c:v>
                </c:pt>
                <c:pt idx="26725">
                  <c:v>-1.9327731092437E-2</c:v>
                </c:pt>
                <c:pt idx="26726">
                  <c:v>-1.9327731092437E-2</c:v>
                </c:pt>
                <c:pt idx="26727">
                  <c:v>-1.9327731092437E-2</c:v>
                </c:pt>
                <c:pt idx="26728">
                  <c:v>-1.9327731092437E-2</c:v>
                </c:pt>
                <c:pt idx="26729">
                  <c:v>-1.9327731092437E-2</c:v>
                </c:pt>
                <c:pt idx="26730">
                  <c:v>-1.9327731092437E-2</c:v>
                </c:pt>
                <c:pt idx="26731">
                  <c:v>-1.9327731092437E-2</c:v>
                </c:pt>
                <c:pt idx="26732">
                  <c:v>-1.9327731092437E-2</c:v>
                </c:pt>
                <c:pt idx="26733">
                  <c:v>-1.9327731092437E-2</c:v>
                </c:pt>
                <c:pt idx="26734">
                  <c:v>-1.9327731092437E-2</c:v>
                </c:pt>
                <c:pt idx="26735">
                  <c:v>-1.9327731092437E-2</c:v>
                </c:pt>
                <c:pt idx="26736">
                  <c:v>-1.9327731092437E-2</c:v>
                </c:pt>
                <c:pt idx="26737">
                  <c:v>-1.9327731092437E-2</c:v>
                </c:pt>
                <c:pt idx="26738">
                  <c:v>-1.9327731092437E-2</c:v>
                </c:pt>
                <c:pt idx="26739">
                  <c:v>-1.9327731092437E-2</c:v>
                </c:pt>
                <c:pt idx="26740">
                  <c:v>-1.9327731092437E-2</c:v>
                </c:pt>
                <c:pt idx="26741">
                  <c:v>-1.9327731092437E-2</c:v>
                </c:pt>
                <c:pt idx="26742">
                  <c:v>-1.9327731092437E-2</c:v>
                </c:pt>
                <c:pt idx="26743">
                  <c:v>-1.9327731092437E-2</c:v>
                </c:pt>
                <c:pt idx="26744">
                  <c:v>-1.9327731092437E-2</c:v>
                </c:pt>
                <c:pt idx="26745">
                  <c:v>-1.9327731092437E-2</c:v>
                </c:pt>
                <c:pt idx="26746">
                  <c:v>-1.9327731092437E-2</c:v>
                </c:pt>
                <c:pt idx="26747">
                  <c:v>-1.9327731092437E-2</c:v>
                </c:pt>
                <c:pt idx="26748">
                  <c:v>-1.9327731092437E-2</c:v>
                </c:pt>
                <c:pt idx="26749">
                  <c:v>-1.9327731092437E-2</c:v>
                </c:pt>
                <c:pt idx="26750">
                  <c:v>-1.9327731092437E-2</c:v>
                </c:pt>
                <c:pt idx="26751">
                  <c:v>-1.9327731092437E-2</c:v>
                </c:pt>
                <c:pt idx="26752">
                  <c:v>-1.9327731092437E-2</c:v>
                </c:pt>
                <c:pt idx="26753">
                  <c:v>-1.9327731092437E-2</c:v>
                </c:pt>
                <c:pt idx="26754">
                  <c:v>-1.9327731092437E-2</c:v>
                </c:pt>
                <c:pt idx="26755">
                  <c:v>-1.9327731092437E-2</c:v>
                </c:pt>
                <c:pt idx="26756">
                  <c:v>-1.9327731092437E-2</c:v>
                </c:pt>
                <c:pt idx="26757">
                  <c:v>-1.9327731092437E-2</c:v>
                </c:pt>
                <c:pt idx="26758">
                  <c:v>-1.9327731092437E-2</c:v>
                </c:pt>
                <c:pt idx="26759">
                  <c:v>-1.9327731092437E-2</c:v>
                </c:pt>
                <c:pt idx="26760">
                  <c:v>-1.9327731092437E-2</c:v>
                </c:pt>
                <c:pt idx="26761">
                  <c:v>-1.9327731092437E-2</c:v>
                </c:pt>
                <c:pt idx="26762">
                  <c:v>-1.9327731092437E-2</c:v>
                </c:pt>
                <c:pt idx="26763">
                  <c:v>-1.9327731092437E-2</c:v>
                </c:pt>
                <c:pt idx="26764">
                  <c:v>-1.9327731092437E-2</c:v>
                </c:pt>
                <c:pt idx="26765">
                  <c:v>-2.0168067226890699E-2</c:v>
                </c:pt>
                <c:pt idx="26766">
                  <c:v>-2.0168067226890699E-2</c:v>
                </c:pt>
                <c:pt idx="26767">
                  <c:v>-2.0168067226890699E-2</c:v>
                </c:pt>
                <c:pt idx="26768">
                  <c:v>-2.0168067226890699E-2</c:v>
                </c:pt>
                <c:pt idx="26769">
                  <c:v>-2.0168067226890699E-2</c:v>
                </c:pt>
                <c:pt idx="26770">
                  <c:v>-2.0168067226890699E-2</c:v>
                </c:pt>
                <c:pt idx="26771">
                  <c:v>-2.0168067226890699E-2</c:v>
                </c:pt>
                <c:pt idx="26772">
                  <c:v>-2.0168067226890699E-2</c:v>
                </c:pt>
                <c:pt idx="26773">
                  <c:v>-2.0168067226890699E-2</c:v>
                </c:pt>
                <c:pt idx="26774">
                  <c:v>-2.0168067226890699E-2</c:v>
                </c:pt>
                <c:pt idx="26775">
                  <c:v>-2.0168067226890699E-2</c:v>
                </c:pt>
                <c:pt idx="26776">
                  <c:v>-2.0168067226890699E-2</c:v>
                </c:pt>
                <c:pt idx="26777">
                  <c:v>-2.0168067226890699E-2</c:v>
                </c:pt>
                <c:pt idx="26778">
                  <c:v>-2.0168067226890699E-2</c:v>
                </c:pt>
                <c:pt idx="26779">
                  <c:v>-2.0168067226890699E-2</c:v>
                </c:pt>
                <c:pt idx="26780">
                  <c:v>-2.0168067226890699E-2</c:v>
                </c:pt>
                <c:pt idx="26781">
                  <c:v>-2.0168067226890699E-2</c:v>
                </c:pt>
                <c:pt idx="26782">
                  <c:v>-2.0168067226890699E-2</c:v>
                </c:pt>
                <c:pt idx="26783">
                  <c:v>-2.0168067226890699E-2</c:v>
                </c:pt>
                <c:pt idx="26784">
                  <c:v>-2.0168067226890699E-2</c:v>
                </c:pt>
                <c:pt idx="26785">
                  <c:v>-2.0168067226890699E-2</c:v>
                </c:pt>
                <c:pt idx="26786">
                  <c:v>-2.0168067226890699E-2</c:v>
                </c:pt>
                <c:pt idx="26787">
                  <c:v>-2.0168067226890699E-2</c:v>
                </c:pt>
                <c:pt idx="26788">
                  <c:v>-2.0168067226890699E-2</c:v>
                </c:pt>
                <c:pt idx="26789">
                  <c:v>-2.0168067226890699E-2</c:v>
                </c:pt>
                <c:pt idx="26790">
                  <c:v>-1.9327731092437E-2</c:v>
                </c:pt>
                <c:pt idx="26791">
                  <c:v>-1.9327731092437E-2</c:v>
                </c:pt>
                <c:pt idx="26792">
                  <c:v>-1.9327731092437E-2</c:v>
                </c:pt>
                <c:pt idx="26793">
                  <c:v>-1.9327731092437E-2</c:v>
                </c:pt>
                <c:pt idx="26794">
                  <c:v>-1.9327731092437E-2</c:v>
                </c:pt>
                <c:pt idx="26795">
                  <c:v>-1.9327731092437E-2</c:v>
                </c:pt>
                <c:pt idx="26796">
                  <c:v>-1.9327731092437E-2</c:v>
                </c:pt>
                <c:pt idx="26797">
                  <c:v>-1.9327731092437E-2</c:v>
                </c:pt>
                <c:pt idx="26798">
                  <c:v>-1.9327731092437E-2</c:v>
                </c:pt>
                <c:pt idx="26799">
                  <c:v>-1.9327731092437E-2</c:v>
                </c:pt>
                <c:pt idx="26800">
                  <c:v>-1.9327731092437E-2</c:v>
                </c:pt>
                <c:pt idx="26801">
                  <c:v>-1.9327731092437E-2</c:v>
                </c:pt>
                <c:pt idx="26802">
                  <c:v>-1.9327731092437E-2</c:v>
                </c:pt>
                <c:pt idx="26803">
                  <c:v>-1.9327731092437E-2</c:v>
                </c:pt>
                <c:pt idx="26804">
                  <c:v>-1.9327731092437E-2</c:v>
                </c:pt>
                <c:pt idx="26805">
                  <c:v>-1.9327731092437E-2</c:v>
                </c:pt>
                <c:pt idx="26806">
                  <c:v>-1.9327731092437E-2</c:v>
                </c:pt>
                <c:pt idx="26807">
                  <c:v>-1.9327731092437E-2</c:v>
                </c:pt>
                <c:pt idx="26808">
                  <c:v>-1.9327731092437E-2</c:v>
                </c:pt>
                <c:pt idx="26809">
                  <c:v>-1.9327731092437E-2</c:v>
                </c:pt>
                <c:pt idx="26810">
                  <c:v>-1.9327731092437E-2</c:v>
                </c:pt>
                <c:pt idx="26811">
                  <c:v>-1.9327731092437E-2</c:v>
                </c:pt>
                <c:pt idx="26812">
                  <c:v>-1.9327731092437E-2</c:v>
                </c:pt>
                <c:pt idx="26813">
                  <c:v>-1.9327731092437E-2</c:v>
                </c:pt>
                <c:pt idx="26814">
                  <c:v>-1.9327731092437E-2</c:v>
                </c:pt>
                <c:pt idx="26815">
                  <c:v>-1.9327731092437E-2</c:v>
                </c:pt>
                <c:pt idx="26816">
                  <c:v>-1.9327731092437E-2</c:v>
                </c:pt>
                <c:pt idx="26817">
                  <c:v>-1.9327731092437E-2</c:v>
                </c:pt>
                <c:pt idx="26818">
                  <c:v>-1.9327731092437E-2</c:v>
                </c:pt>
                <c:pt idx="26819">
                  <c:v>-1.9327731092437E-2</c:v>
                </c:pt>
                <c:pt idx="26820">
                  <c:v>-2.0168067226890699E-2</c:v>
                </c:pt>
                <c:pt idx="26821">
                  <c:v>-2.0168067226890699E-2</c:v>
                </c:pt>
                <c:pt idx="26822">
                  <c:v>-2.0168067226890699E-2</c:v>
                </c:pt>
                <c:pt idx="26823">
                  <c:v>-2.0168067226890699E-2</c:v>
                </c:pt>
                <c:pt idx="26824">
                  <c:v>-2.0168067226890699E-2</c:v>
                </c:pt>
                <c:pt idx="26825">
                  <c:v>-2.0168067226890699E-2</c:v>
                </c:pt>
                <c:pt idx="26826">
                  <c:v>-2.0168067226890699E-2</c:v>
                </c:pt>
                <c:pt idx="26827">
                  <c:v>-2.0168067226890699E-2</c:v>
                </c:pt>
                <c:pt idx="26828">
                  <c:v>-2.0168067226890699E-2</c:v>
                </c:pt>
                <c:pt idx="26829">
                  <c:v>-2.0168067226890699E-2</c:v>
                </c:pt>
                <c:pt idx="26830">
                  <c:v>-2.0168067226890699E-2</c:v>
                </c:pt>
                <c:pt idx="26831">
                  <c:v>-2.0168067226890699E-2</c:v>
                </c:pt>
                <c:pt idx="26832">
                  <c:v>-2.0168067226890699E-2</c:v>
                </c:pt>
                <c:pt idx="26833">
                  <c:v>-2.0168067226890699E-2</c:v>
                </c:pt>
                <c:pt idx="26834">
                  <c:v>-2.0168067226890699E-2</c:v>
                </c:pt>
                <c:pt idx="26835">
                  <c:v>-2.0168067226890699E-2</c:v>
                </c:pt>
                <c:pt idx="26836">
                  <c:v>-2.0168067226890699E-2</c:v>
                </c:pt>
                <c:pt idx="26837">
                  <c:v>-2.0168067226890699E-2</c:v>
                </c:pt>
                <c:pt idx="26838">
                  <c:v>-2.0168067226890699E-2</c:v>
                </c:pt>
                <c:pt idx="26839">
                  <c:v>-2.0168067226890699E-2</c:v>
                </c:pt>
                <c:pt idx="26840">
                  <c:v>-2.0168067226890699E-2</c:v>
                </c:pt>
                <c:pt idx="26841">
                  <c:v>-2.0168067226890699E-2</c:v>
                </c:pt>
                <c:pt idx="26842">
                  <c:v>-2.0168067226890699E-2</c:v>
                </c:pt>
                <c:pt idx="26843">
                  <c:v>-2.0168067226890699E-2</c:v>
                </c:pt>
                <c:pt idx="26844">
                  <c:v>-2.0168067226890699E-2</c:v>
                </c:pt>
                <c:pt idx="26845">
                  <c:v>-2.0168067226890699E-2</c:v>
                </c:pt>
                <c:pt idx="26846">
                  <c:v>-2.0168067226890699E-2</c:v>
                </c:pt>
                <c:pt idx="26847">
                  <c:v>-1.9327731092437E-2</c:v>
                </c:pt>
                <c:pt idx="26848">
                  <c:v>-1.9327731092437E-2</c:v>
                </c:pt>
                <c:pt idx="26849">
                  <c:v>-1.9327731092437E-2</c:v>
                </c:pt>
                <c:pt idx="26850">
                  <c:v>-1.9327731092437E-2</c:v>
                </c:pt>
                <c:pt idx="26851">
                  <c:v>-1.9327731092437E-2</c:v>
                </c:pt>
                <c:pt idx="26852">
                  <c:v>-1.9327731092437E-2</c:v>
                </c:pt>
                <c:pt idx="26853">
                  <c:v>-1.9327731092437E-2</c:v>
                </c:pt>
                <c:pt idx="26854">
                  <c:v>-2.0168067226890699E-2</c:v>
                </c:pt>
                <c:pt idx="26855">
                  <c:v>-2.0168067226890699E-2</c:v>
                </c:pt>
                <c:pt idx="26856">
                  <c:v>-2.0168067226890699E-2</c:v>
                </c:pt>
                <c:pt idx="26857">
                  <c:v>-2.0168067226890699E-2</c:v>
                </c:pt>
                <c:pt idx="26858">
                  <c:v>-2.0168067226890699E-2</c:v>
                </c:pt>
                <c:pt idx="26859">
                  <c:v>-2.0168067226890699E-2</c:v>
                </c:pt>
                <c:pt idx="26860">
                  <c:v>-2.0168067226890699E-2</c:v>
                </c:pt>
                <c:pt idx="26861">
                  <c:v>-2.0168067226890699E-2</c:v>
                </c:pt>
                <c:pt idx="26862">
                  <c:v>-2.0168067226890699E-2</c:v>
                </c:pt>
                <c:pt idx="26863">
                  <c:v>-2.0168067226890699E-2</c:v>
                </c:pt>
                <c:pt idx="26864">
                  <c:v>-2.0168067226890699E-2</c:v>
                </c:pt>
                <c:pt idx="26865">
                  <c:v>-2.0168067226890699E-2</c:v>
                </c:pt>
                <c:pt idx="26866">
                  <c:v>-2.0168067226890699E-2</c:v>
                </c:pt>
                <c:pt idx="26867">
                  <c:v>-2.0168067226890699E-2</c:v>
                </c:pt>
                <c:pt idx="26868">
                  <c:v>-2.1008403361344501E-2</c:v>
                </c:pt>
                <c:pt idx="26869">
                  <c:v>-2.1008403361344501E-2</c:v>
                </c:pt>
                <c:pt idx="26870">
                  <c:v>-2.1008403361344501E-2</c:v>
                </c:pt>
                <c:pt idx="26871">
                  <c:v>-2.1008403361344501E-2</c:v>
                </c:pt>
                <c:pt idx="26872">
                  <c:v>-2.1008403361344501E-2</c:v>
                </c:pt>
                <c:pt idx="26873">
                  <c:v>-2.1008403361344501E-2</c:v>
                </c:pt>
                <c:pt idx="26874">
                  <c:v>-2.1008403361344501E-2</c:v>
                </c:pt>
                <c:pt idx="26875">
                  <c:v>-2.1008403361344501E-2</c:v>
                </c:pt>
                <c:pt idx="26876">
                  <c:v>-2.1008403361344501E-2</c:v>
                </c:pt>
                <c:pt idx="26877">
                  <c:v>-2.1008403361344501E-2</c:v>
                </c:pt>
                <c:pt idx="26878">
                  <c:v>-2.1008403361344501E-2</c:v>
                </c:pt>
                <c:pt idx="26879">
                  <c:v>-2.1008403361344501E-2</c:v>
                </c:pt>
                <c:pt idx="26880">
                  <c:v>-2.1008403361344501E-2</c:v>
                </c:pt>
                <c:pt idx="26881">
                  <c:v>-2.1848739495798301E-2</c:v>
                </c:pt>
                <c:pt idx="26882">
                  <c:v>-2.1848739495798301E-2</c:v>
                </c:pt>
                <c:pt idx="26883">
                  <c:v>-2.1848739495798301E-2</c:v>
                </c:pt>
                <c:pt idx="26884">
                  <c:v>-2.1848739495798301E-2</c:v>
                </c:pt>
                <c:pt idx="26885">
                  <c:v>-2.1848739495798301E-2</c:v>
                </c:pt>
                <c:pt idx="26886">
                  <c:v>-2.1848739495798301E-2</c:v>
                </c:pt>
                <c:pt idx="26887">
                  <c:v>-2.1848739495798301E-2</c:v>
                </c:pt>
                <c:pt idx="26888">
                  <c:v>-2.1848739495798301E-2</c:v>
                </c:pt>
                <c:pt idx="26889">
                  <c:v>-2.1848739495798301E-2</c:v>
                </c:pt>
                <c:pt idx="26890">
                  <c:v>-2.1848739495798301E-2</c:v>
                </c:pt>
                <c:pt idx="26891">
                  <c:v>-2.1848739495798301E-2</c:v>
                </c:pt>
                <c:pt idx="26892">
                  <c:v>-2.1848739495798301E-2</c:v>
                </c:pt>
                <c:pt idx="26893">
                  <c:v>-2.1848739495798301E-2</c:v>
                </c:pt>
                <c:pt idx="26894">
                  <c:v>-2.1848739495798301E-2</c:v>
                </c:pt>
                <c:pt idx="26895">
                  <c:v>-2.1848739495798301E-2</c:v>
                </c:pt>
                <c:pt idx="26896">
                  <c:v>-2.1848739495798301E-2</c:v>
                </c:pt>
                <c:pt idx="26897">
                  <c:v>-2.1848739495798301E-2</c:v>
                </c:pt>
                <c:pt idx="26898">
                  <c:v>-2.1848739495798301E-2</c:v>
                </c:pt>
                <c:pt idx="26899">
                  <c:v>-2.1848739495798301E-2</c:v>
                </c:pt>
                <c:pt idx="26900">
                  <c:v>-2.1848739495798301E-2</c:v>
                </c:pt>
                <c:pt idx="26901">
                  <c:v>-2.1848739495798301E-2</c:v>
                </c:pt>
                <c:pt idx="26902">
                  <c:v>-2.1848739495798301E-2</c:v>
                </c:pt>
                <c:pt idx="26903">
                  <c:v>-2.1848739495798301E-2</c:v>
                </c:pt>
                <c:pt idx="26904">
                  <c:v>-2.1848739495798301E-2</c:v>
                </c:pt>
                <c:pt idx="26905">
                  <c:v>-2.1848739495798301E-2</c:v>
                </c:pt>
                <c:pt idx="26906">
                  <c:v>-2.1848739495798301E-2</c:v>
                </c:pt>
                <c:pt idx="26907">
                  <c:v>-2.1848739495798301E-2</c:v>
                </c:pt>
                <c:pt idx="26908">
                  <c:v>-2.1848739495798301E-2</c:v>
                </c:pt>
                <c:pt idx="26909">
                  <c:v>-2.1848739495798301E-2</c:v>
                </c:pt>
                <c:pt idx="26910">
                  <c:v>-2.1848739495798301E-2</c:v>
                </c:pt>
                <c:pt idx="26911">
                  <c:v>-2.1848739495798301E-2</c:v>
                </c:pt>
                <c:pt idx="26912">
                  <c:v>-2.1848739495798301E-2</c:v>
                </c:pt>
                <c:pt idx="26913">
                  <c:v>-2.1848739495798301E-2</c:v>
                </c:pt>
                <c:pt idx="26914">
                  <c:v>-2.1848739495798301E-2</c:v>
                </c:pt>
                <c:pt idx="26915">
                  <c:v>-2.1848739495798301E-2</c:v>
                </c:pt>
                <c:pt idx="26916">
                  <c:v>-2.1848739495798301E-2</c:v>
                </c:pt>
                <c:pt idx="26917">
                  <c:v>-2.1848739495798301E-2</c:v>
                </c:pt>
                <c:pt idx="26918">
                  <c:v>-2.1848739495798301E-2</c:v>
                </c:pt>
                <c:pt idx="26919">
                  <c:v>-2.1848739495798301E-2</c:v>
                </c:pt>
                <c:pt idx="26920">
                  <c:v>-2.1848739495798301E-2</c:v>
                </c:pt>
                <c:pt idx="26921">
                  <c:v>-2.1848739495798301E-2</c:v>
                </c:pt>
                <c:pt idx="26922">
                  <c:v>-2.1848739495798301E-2</c:v>
                </c:pt>
                <c:pt idx="26923">
                  <c:v>-2.1008403361344501E-2</c:v>
                </c:pt>
                <c:pt idx="26924">
                  <c:v>-2.1008403361344501E-2</c:v>
                </c:pt>
                <c:pt idx="26925">
                  <c:v>-2.1008403361344501E-2</c:v>
                </c:pt>
                <c:pt idx="26926">
                  <c:v>-2.1008403361344501E-2</c:v>
                </c:pt>
                <c:pt idx="26927">
                  <c:v>-2.1008403361344501E-2</c:v>
                </c:pt>
                <c:pt idx="26928">
                  <c:v>-2.1008403361344501E-2</c:v>
                </c:pt>
                <c:pt idx="26929">
                  <c:v>-2.1008403361344501E-2</c:v>
                </c:pt>
                <c:pt idx="26930">
                  <c:v>-2.1008403361344501E-2</c:v>
                </c:pt>
                <c:pt idx="26931">
                  <c:v>-2.1008403361344501E-2</c:v>
                </c:pt>
                <c:pt idx="26932">
                  <c:v>-2.1008403361344501E-2</c:v>
                </c:pt>
                <c:pt idx="26933">
                  <c:v>-2.1008403361344501E-2</c:v>
                </c:pt>
                <c:pt idx="26934">
                  <c:v>-2.1008403361344501E-2</c:v>
                </c:pt>
                <c:pt idx="26935">
                  <c:v>-2.1008403361344501E-2</c:v>
                </c:pt>
                <c:pt idx="26936">
                  <c:v>-2.1008403361344501E-2</c:v>
                </c:pt>
                <c:pt idx="26937">
                  <c:v>-2.0168067226890699E-2</c:v>
                </c:pt>
                <c:pt idx="26938">
                  <c:v>-2.0168067226890699E-2</c:v>
                </c:pt>
                <c:pt idx="26939">
                  <c:v>-2.0168067226890699E-2</c:v>
                </c:pt>
                <c:pt idx="26940">
                  <c:v>-2.0168067226890699E-2</c:v>
                </c:pt>
                <c:pt idx="26941">
                  <c:v>-2.0168067226890699E-2</c:v>
                </c:pt>
                <c:pt idx="26942">
                  <c:v>-2.0168067226890699E-2</c:v>
                </c:pt>
                <c:pt idx="26943">
                  <c:v>-2.0168067226890699E-2</c:v>
                </c:pt>
                <c:pt idx="26944">
                  <c:v>-1.9327731092437E-2</c:v>
                </c:pt>
                <c:pt idx="26945">
                  <c:v>-1.9327731092437E-2</c:v>
                </c:pt>
                <c:pt idx="26946">
                  <c:v>-1.9327731092437E-2</c:v>
                </c:pt>
                <c:pt idx="26947">
                  <c:v>-1.9327731092437E-2</c:v>
                </c:pt>
                <c:pt idx="26948">
                  <c:v>-1.9327731092437E-2</c:v>
                </c:pt>
                <c:pt idx="26949">
                  <c:v>-1.9327731092437E-2</c:v>
                </c:pt>
                <c:pt idx="26950">
                  <c:v>-1.9327731092437E-2</c:v>
                </c:pt>
                <c:pt idx="26951">
                  <c:v>-1.9327731092437E-2</c:v>
                </c:pt>
                <c:pt idx="26952">
                  <c:v>-1.9327731092437E-2</c:v>
                </c:pt>
                <c:pt idx="26953">
                  <c:v>-1.9327731092437E-2</c:v>
                </c:pt>
                <c:pt idx="26954">
                  <c:v>-1.9327731092437E-2</c:v>
                </c:pt>
                <c:pt idx="26955">
                  <c:v>-1.9327731092437E-2</c:v>
                </c:pt>
                <c:pt idx="26956">
                  <c:v>-1.9327731092437E-2</c:v>
                </c:pt>
                <c:pt idx="26957">
                  <c:v>-1.9327731092437E-2</c:v>
                </c:pt>
                <c:pt idx="26958">
                  <c:v>-1.9327731092437E-2</c:v>
                </c:pt>
                <c:pt idx="26959">
                  <c:v>-1.9327731092437E-2</c:v>
                </c:pt>
                <c:pt idx="26960">
                  <c:v>-1.9327731092437E-2</c:v>
                </c:pt>
                <c:pt idx="26961">
                  <c:v>-1.9327731092437E-2</c:v>
                </c:pt>
                <c:pt idx="26962">
                  <c:v>-1.9327731092437E-2</c:v>
                </c:pt>
                <c:pt idx="26963">
                  <c:v>-1.9327731092437E-2</c:v>
                </c:pt>
                <c:pt idx="26964">
                  <c:v>-1.84873949579832E-2</c:v>
                </c:pt>
                <c:pt idx="26965">
                  <c:v>-1.84873949579832E-2</c:v>
                </c:pt>
                <c:pt idx="26966">
                  <c:v>-1.84873949579832E-2</c:v>
                </c:pt>
                <c:pt idx="26967">
                  <c:v>-1.84873949579832E-2</c:v>
                </c:pt>
                <c:pt idx="26968">
                  <c:v>-1.84873949579832E-2</c:v>
                </c:pt>
                <c:pt idx="26969">
                  <c:v>-1.84873949579832E-2</c:v>
                </c:pt>
                <c:pt idx="26970">
                  <c:v>-1.84873949579832E-2</c:v>
                </c:pt>
                <c:pt idx="26971">
                  <c:v>-1.84873949579832E-2</c:v>
                </c:pt>
                <c:pt idx="26972">
                  <c:v>-1.84873949579832E-2</c:v>
                </c:pt>
                <c:pt idx="26973">
                  <c:v>-1.9327731092437E-2</c:v>
                </c:pt>
                <c:pt idx="26974">
                  <c:v>-1.9327731092437E-2</c:v>
                </c:pt>
                <c:pt idx="26975">
                  <c:v>-1.9327731092437E-2</c:v>
                </c:pt>
                <c:pt idx="26976">
                  <c:v>-1.9327731092437E-2</c:v>
                </c:pt>
                <c:pt idx="26977">
                  <c:v>-1.9327731092437E-2</c:v>
                </c:pt>
                <c:pt idx="26978">
                  <c:v>-1.9327731092437E-2</c:v>
                </c:pt>
                <c:pt idx="26979">
                  <c:v>-1.9327731092437E-2</c:v>
                </c:pt>
                <c:pt idx="26980">
                  <c:v>-1.9327731092437E-2</c:v>
                </c:pt>
                <c:pt idx="26981">
                  <c:v>-1.9327731092437E-2</c:v>
                </c:pt>
                <c:pt idx="26982">
                  <c:v>-1.9327731092437E-2</c:v>
                </c:pt>
                <c:pt idx="26983">
                  <c:v>-1.9327731092437E-2</c:v>
                </c:pt>
                <c:pt idx="26984">
                  <c:v>-1.9327731092437E-2</c:v>
                </c:pt>
                <c:pt idx="26985">
                  <c:v>-1.9327731092437E-2</c:v>
                </c:pt>
                <c:pt idx="26986">
                  <c:v>-1.9327731092437E-2</c:v>
                </c:pt>
                <c:pt idx="26987">
                  <c:v>-1.9327731092437E-2</c:v>
                </c:pt>
                <c:pt idx="26988">
                  <c:v>-1.9327731092437E-2</c:v>
                </c:pt>
                <c:pt idx="26989">
                  <c:v>-1.9327731092437E-2</c:v>
                </c:pt>
                <c:pt idx="26990">
                  <c:v>-1.9327731092437E-2</c:v>
                </c:pt>
                <c:pt idx="26991">
                  <c:v>-1.9327731092437E-2</c:v>
                </c:pt>
                <c:pt idx="26992">
                  <c:v>-1.84873949579831E-2</c:v>
                </c:pt>
                <c:pt idx="26993">
                  <c:v>-1.84873949579831E-2</c:v>
                </c:pt>
                <c:pt idx="26994">
                  <c:v>-1.84873949579831E-2</c:v>
                </c:pt>
                <c:pt idx="26995">
                  <c:v>-1.84873949579831E-2</c:v>
                </c:pt>
                <c:pt idx="26996">
                  <c:v>-1.84873949579831E-2</c:v>
                </c:pt>
                <c:pt idx="26997">
                  <c:v>-1.84873949579831E-2</c:v>
                </c:pt>
                <c:pt idx="26998">
                  <c:v>-1.84873949579831E-2</c:v>
                </c:pt>
                <c:pt idx="26999">
                  <c:v>-1.84873949579831E-2</c:v>
                </c:pt>
                <c:pt idx="27000">
                  <c:v>-1.84873949579831E-2</c:v>
                </c:pt>
                <c:pt idx="27001">
                  <c:v>-1.84873949579831E-2</c:v>
                </c:pt>
                <c:pt idx="27002">
                  <c:v>-1.84873949579831E-2</c:v>
                </c:pt>
                <c:pt idx="27003">
                  <c:v>-1.84873949579831E-2</c:v>
                </c:pt>
                <c:pt idx="27004">
                  <c:v>-1.84873949579831E-2</c:v>
                </c:pt>
                <c:pt idx="27005">
                  <c:v>-1.84873949579831E-2</c:v>
                </c:pt>
                <c:pt idx="27006">
                  <c:v>-1.84873949579831E-2</c:v>
                </c:pt>
                <c:pt idx="27007">
                  <c:v>-1.84873949579831E-2</c:v>
                </c:pt>
                <c:pt idx="27008">
                  <c:v>-1.84873949579831E-2</c:v>
                </c:pt>
                <c:pt idx="27009">
                  <c:v>-1.84873949579831E-2</c:v>
                </c:pt>
                <c:pt idx="27010">
                  <c:v>-1.84873949579831E-2</c:v>
                </c:pt>
                <c:pt idx="27011">
                  <c:v>-1.84873949579831E-2</c:v>
                </c:pt>
                <c:pt idx="27012">
                  <c:v>-1.84873949579831E-2</c:v>
                </c:pt>
                <c:pt idx="27013">
                  <c:v>-1.84873949579831E-2</c:v>
                </c:pt>
                <c:pt idx="27014">
                  <c:v>-1.84873949579831E-2</c:v>
                </c:pt>
                <c:pt idx="27015">
                  <c:v>-1.84873949579831E-2</c:v>
                </c:pt>
                <c:pt idx="27016">
                  <c:v>-1.84873949579831E-2</c:v>
                </c:pt>
                <c:pt idx="27017">
                  <c:v>-1.84873949579831E-2</c:v>
                </c:pt>
                <c:pt idx="27018">
                  <c:v>-1.84873949579831E-2</c:v>
                </c:pt>
                <c:pt idx="27019">
                  <c:v>-1.84873949579831E-2</c:v>
                </c:pt>
                <c:pt idx="27020">
                  <c:v>-1.84873949579831E-2</c:v>
                </c:pt>
                <c:pt idx="27021">
                  <c:v>-1.84873949579831E-2</c:v>
                </c:pt>
                <c:pt idx="27022">
                  <c:v>-1.84873949579831E-2</c:v>
                </c:pt>
                <c:pt idx="27023">
                  <c:v>-1.84873949579831E-2</c:v>
                </c:pt>
                <c:pt idx="27024">
                  <c:v>-1.84873949579831E-2</c:v>
                </c:pt>
                <c:pt idx="27025">
                  <c:v>-1.76470588235293E-2</c:v>
                </c:pt>
                <c:pt idx="27026">
                  <c:v>-1.76470588235293E-2</c:v>
                </c:pt>
                <c:pt idx="27027">
                  <c:v>-1.76470588235293E-2</c:v>
                </c:pt>
                <c:pt idx="27028">
                  <c:v>-1.76470588235293E-2</c:v>
                </c:pt>
                <c:pt idx="27029">
                  <c:v>-1.76470588235293E-2</c:v>
                </c:pt>
                <c:pt idx="27030">
                  <c:v>-1.76470588235293E-2</c:v>
                </c:pt>
                <c:pt idx="27031">
                  <c:v>-1.76470588235293E-2</c:v>
                </c:pt>
                <c:pt idx="27032">
                  <c:v>-1.76470588235293E-2</c:v>
                </c:pt>
                <c:pt idx="27033">
                  <c:v>-1.76470588235293E-2</c:v>
                </c:pt>
                <c:pt idx="27034">
                  <c:v>-1.76470588235293E-2</c:v>
                </c:pt>
                <c:pt idx="27035">
                  <c:v>-1.76470588235293E-2</c:v>
                </c:pt>
                <c:pt idx="27036">
                  <c:v>-1.76470588235293E-2</c:v>
                </c:pt>
                <c:pt idx="27037">
                  <c:v>-1.76470588235293E-2</c:v>
                </c:pt>
                <c:pt idx="27038">
                  <c:v>-1.76470588235293E-2</c:v>
                </c:pt>
                <c:pt idx="27039">
                  <c:v>-1.76470588235293E-2</c:v>
                </c:pt>
                <c:pt idx="27040">
                  <c:v>-1.76470588235293E-2</c:v>
                </c:pt>
                <c:pt idx="27041">
                  <c:v>-1.76470588235293E-2</c:v>
                </c:pt>
                <c:pt idx="27042">
                  <c:v>-1.76470588235293E-2</c:v>
                </c:pt>
                <c:pt idx="27043">
                  <c:v>-1.76470588235293E-2</c:v>
                </c:pt>
                <c:pt idx="27044">
                  <c:v>-1.76470588235293E-2</c:v>
                </c:pt>
                <c:pt idx="27045">
                  <c:v>-1.76470588235293E-2</c:v>
                </c:pt>
                <c:pt idx="27046">
                  <c:v>-1.76470588235293E-2</c:v>
                </c:pt>
                <c:pt idx="27047">
                  <c:v>-1.76470588235293E-2</c:v>
                </c:pt>
                <c:pt idx="27048">
                  <c:v>-1.76470588235293E-2</c:v>
                </c:pt>
                <c:pt idx="27049">
                  <c:v>-1.76470588235293E-2</c:v>
                </c:pt>
                <c:pt idx="27050">
                  <c:v>-1.76470588235293E-2</c:v>
                </c:pt>
                <c:pt idx="27051">
                  <c:v>-1.76470588235293E-2</c:v>
                </c:pt>
                <c:pt idx="27052">
                  <c:v>-1.76470588235293E-2</c:v>
                </c:pt>
                <c:pt idx="27053">
                  <c:v>-1.76470588235293E-2</c:v>
                </c:pt>
                <c:pt idx="27054">
                  <c:v>-1.76470588235293E-2</c:v>
                </c:pt>
                <c:pt idx="27055">
                  <c:v>-1.76470588235293E-2</c:v>
                </c:pt>
                <c:pt idx="27056">
                  <c:v>-1.76470588235293E-2</c:v>
                </c:pt>
                <c:pt idx="27057">
                  <c:v>-1.76470588235293E-2</c:v>
                </c:pt>
                <c:pt idx="27058">
                  <c:v>-1.76470588235293E-2</c:v>
                </c:pt>
                <c:pt idx="27059">
                  <c:v>-1.76470588235293E-2</c:v>
                </c:pt>
                <c:pt idx="27060">
                  <c:v>-1.76470588235293E-2</c:v>
                </c:pt>
                <c:pt idx="27061">
                  <c:v>-1.76470588235293E-2</c:v>
                </c:pt>
                <c:pt idx="27062">
                  <c:v>-1.76470588235293E-2</c:v>
                </c:pt>
                <c:pt idx="27063">
                  <c:v>-1.76470588235293E-2</c:v>
                </c:pt>
                <c:pt idx="27064">
                  <c:v>-1.76470588235293E-2</c:v>
                </c:pt>
                <c:pt idx="27065">
                  <c:v>-1.76470588235293E-2</c:v>
                </c:pt>
                <c:pt idx="27066">
                  <c:v>-1.76470588235293E-2</c:v>
                </c:pt>
                <c:pt idx="27067">
                  <c:v>-1.76470588235293E-2</c:v>
                </c:pt>
                <c:pt idx="27068">
                  <c:v>-1.76470588235293E-2</c:v>
                </c:pt>
                <c:pt idx="27069">
                  <c:v>-1.76470588235293E-2</c:v>
                </c:pt>
                <c:pt idx="27070">
                  <c:v>-1.76470588235293E-2</c:v>
                </c:pt>
                <c:pt idx="27071">
                  <c:v>-1.76470588235293E-2</c:v>
                </c:pt>
                <c:pt idx="27072">
                  <c:v>-1.76470588235293E-2</c:v>
                </c:pt>
                <c:pt idx="27073">
                  <c:v>-1.76470588235293E-2</c:v>
                </c:pt>
                <c:pt idx="27074">
                  <c:v>-1.76470588235293E-2</c:v>
                </c:pt>
                <c:pt idx="27075">
                  <c:v>-1.76470588235293E-2</c:v>
                </c:pt>
                <c:pt idx="27076">
                  <c:v>-1.76470588235293E-2</c:v>
                </c:pt>
                <c:pt idx="27077">
                  <c:v>-1.76470588235293E-2</c:v>
                </c:pt>
                <c:pt idx="27078">
                  <c:v>-1.76470588235293E-2</c:v>
                </c:pt>
                <c:pt idx="27079">
                  <c:v>-1.76470588235293E-2</c:v>
                </c:pt>
                <c:pt idx="27080">
                  <c:v>-1.76470588235293E-2</c:v>
                </c:pt>
                <c:pt idx="27081">
                  <c:v>-1.76470588235293E-2</c:v>
                </c:pt>
                <c:pt idx="27082">
                  <c:v>-1.76470588235293E-2</c:v>
                </c:pt>
                <c:pt idx="27083">
                  <c:v>-1.76470588235293E-2</c:v>
                </c:pt>
                <c:pt idx="27084">
                  <c:v>-1.76470588235293E-2</c:v>
                </c:pt>
                <c:pt idx="27085">
                  <c:v>-1.76470588235293E-2</c:v>
                </c:pt>
                <c:pt idx="27086">
                  <c:v>-1.76470588235293E-2</c:v>
                </c:pt>
                <c:pt idx="27087">
                  <c:v>-1.76470588235293E-2</c:v>
                </c:pt>
                <c:pt idx="27088">
                  <c:v>-1.76470588235293E-2</c:v>
                </c:pt>
                <c:pt idx="27089">
                  <c:v>-1.76470588235293E-2</c:v>
                </c:pt>
                <c:pt idx="27090">
                  <c:v>-1.76470588235293E-2</c:v>
                </c:pt>
                <c:pt idx="27091">
                  <c:v>-1.76470588235293E-2</c:v>
                </c:pt>
                <c:pt idx="27092">
                  <c:v>-1.76470588235293E-2</c:v>
                </c:pt>
                <c:pt idx="27093">
                  <c:v>-1.76470588235293E-2</c:v>
                </c:pt>
                <c:pt idx="27094">
                  <c:v>-1.76470588235293E-2</c:v>
                </c:pt>
                <c:pt idx="27095">
                  <c:v>-1.76470588235293E-2</c:v>
                </c:pt>
                <c:pt idx="27096">
                  <c:v>-1.76470588235293E-2</c:v>
                </c:pt>
                <c:pt idx="27097">
                  <c:v>-1.76470588235293E-2</c:v>
                </c:pt>
                <c:pt idx="27098">
                  <c:v>-1.76470588235293E-2</c:v>
                </c:pt>
                <c:pt idx="27099">
                  <c:v>-1.76470588235293E-2</c:v>
                </c:pt>
                <c:pt idx="27100">
                  <c:v>-1.76470588235293E-2</c:v>
                </c:pt>
                <c:pt idx="27101">
                  <c:v>-1.6806722689075501E-2</c:v>
                </c:pt>
                <c:pt idx="27102">
                  <c:v>-1.6806722689075501E-2</c:v>
                </c:pt>
                <c:pt idx="27103">
                  <c:v>-1.6806722689075501E-2</c:v>
                </c:pt>
                <c:pt idx="27104">
                  <c:v>-1.6806722689075501E-2</c:v>
                </c:pt>
                <c:pt idx="27105">
                  <c:v>-1.6806722689075501E-2</c:v>
                </c:pt>
                <c:pt idx="27106">
                  <c:v>-1.6806722689075501E-2</c:v>
                </c:pt>
                <c:pt idx="27107">
                  <c:v>-1.76470588235293E-2</c:v>
                </c:pt>
                <c:pt idx="27108">
                  <c:v>-1.76470588235293E-2</c:v>
                </c:pt>
                <c:pt idx="27109">
                  <c:v>-1.76470588235293E-2</c:v>
                </c:pt>
                <c:pt idx="27110">
                  <c:v>-1.76470588235293E-2</c:v>
                </c:pt>
                <c:pt idx="27111">
                  <c:v>-1.76470588235293E-2</c:v>
                </c:pt>
                <c:pt idx="27112">
                  <c:v>-1.76470588235293E-2</c:v>
                </c:pt>
                <c:pt idx="27113">
                  <c:v>-1.76470588235293E-2</c:v>
                </c:pt>
                <c:pt idx="27114">
                  <c:v>-1.76470588235293E-2</c:v>
                </c:pt>
                <c:pt idx="27115">
                  <c:v>-1.76470588235293E-2</c:v>
                </c:pt>
                <c:pt idx="27116">
                  <c:v>-1.76470588235293E-2</c:v>
                </c:pt>
                <c:pt idx="27117">
                  <c:v>-1.76470588235293E-2</c:v>
                </c:pt>
                <c:pt idx="27118">
                  <c:v>-1.76470588235293E-2</c:v>
                </c:pt>
                <c:pt idx="27119">
                  <c:v>-1.76470588235293E-2</c:v>
                </c:pt>
                <c:pt idx="27120">
                  <c:v>-1.76470588235293E-2</c:v>
                </c:pt>
                <c:pt idx="27121">
                  <c:v>-1.76470588235293E-2</c:v>
                </c:pt>
                <c:pt idx="27122">
                  <c:v>-1.76470588235293E-2</c:v>
                </c:pt>
                <c:pt idx="27123">
                  <c:v>-1.76470588235293E-2</c:v>
                </c:pt>
                <c:pt idx="27124">
                  <c:v>-1.76470588235293E-2</c:v>
                </c:pt>
                <c:pt idx="27125">
                  <c:v>-1.76470588235293E-2</c:v>
                </c:pt>
                <c:pt idx="27126">
                  <c:v>-1.76470588235293E-2</c:v>
                </c:pt>
                <c:pt idx="27127">
                  <c:v>-1.76470588235293E-2</c:v>
                </c:pt>
                <c:pt idx="27128">
                  <c:v>-1.76470588235293E-2</c:v>
                </c:pt>
                <c:pt idx="27129">
                  <c:v>-1.76470588235293E-2</c:v>
                </c:pt>
                <c:pt idx="27130">
                  <c:v>-1.76470588235293E-2</c:v>
                </c:pt>
                <c:pt idx="27131">
                  <c:v>-1.76470588235293E-2</c:v>
                </c:pt>
                <c:pt idx="27132">
                  <c:v>-1.76470588235293E-2</c:v>
                </c:pt>
                <c:pt idx="27133">
                  <c:v>-1.76470588235293E-2</c:v>
                </c:pt>
                <c:pt idx="27134">
                  <c:v>-1.76470588235293E-2</c:v>
                </c:pt>
                <c:pt idx="27135">
                  <c:v>-1.76470588235293E-2</c:v>
                </c:pt>
                <c:pt idx="27136">
                  <c:v>-1.76470588235293E-2</c:v>
                </c:pt>
                <c:pt idx="27137">
                  <c:v>-1.76470588235293E-2</c:v>
                </c:pt>
                <c:pt idx="27138">
                  <c:v>-1.76470588235293E-2</c:v>
                </c:pt>
                <c:pt idx="27139">
                  <c:v>-1.76470588235293E-2</c:v>
                </c:pt>
                <c:pt idx="27140">
                  <c:v>-1.76470588235293E-2</c:v>
                </c:pt>
                <c:pt idx="27141">
                  <c:v>-1.76470588235293E-2</c:v>
                </c:pt>
                <c:pt idx="27142">
                  <c:v>-1.76470588235293E-2</c:v>
                </c:pt>
                <c:pt idx="27143">
                  <c:v>-1.76470588235293E-2</c:v>
                </c:pt>
                <c:pt idx="27144">
                  <c:v>-1.76470588235293E-2</c:v>
                </c:pt>
                <c:pt idx="27145">
                  <c:v>-1.76470588235293E-2</c:v>
                </c:pt>
                <c:pt idx="27146">
                  <c:v>-1.76470588235293E-2</c:v>
                </c:pt>
                <c:pt idx="27147">
                  <c:v>-1.76470588235293E-2</c:v>
                </c:pt>
                <c:pt idx="27148">
                  <c:v>-1.76470588235293E-2</c:v>
                </c:pt>
                <c:pt idx="27149">
                  <c:v>-1.76470588235293E-2</c:v>
                </c:pt>
                <c:pt idx="27150">
                  <c:v>-1.76470588235293E-2</c:v>
                </c:pt>
                <c:pt idx="27151">
                  <c:v>-1.76470588235293E-2</c:v>
                </c:pt>
                <c:pt idx="27152">
                  <c:v>-1.76470588235293E-2</c:v>
                </c:pt>
                <c:pt idx="27153">
                  <c:v>-1.76470588235293E-2</c:v>
                </c:pt>
                <c:pt idx="27154">
                  <c:v>-1.76470588235293E-2</c:v>
                </c:pt>
                <c:pt idx="27155">
                  <c:v>-1.76470588235293E-2</c:v>
                </c:pt>
                <c:pt idx="27156">
                  <c:v>-1.76470588235293E-2</c:v>
                </c:pt>
                <c:pt idx="27157">
                  <c:v>-1.76470588235293E-2</c:v>
                </c:pt>
                <c:pt idx="27158">
                  <c:v>-1.76470588235293E-2</c:v>
                </c:pt>
                <c:pt idx="27159">
                  <c:v>-1.76470588235293E-2</c:v>
                </c:pt>
                <c:pt idx="27160">
                  <c:v>-1.76470588235293E-2</c:v>
                </c:pt>
                <c:pt idx="27161">
                  <c:v>-1.76470588235293E-2</c:v>
                </c:pt>
                <c:pt idx="27162">
                  <c:v>-1.76470588235293E-2</c:v>
                </c:pt>
                <c:pt idx="27163">
                  <c:v>-1.76470588235293E-2</c:v>
                </c:pt>
                <c:pt idx="27164">
                  <c:v>-1.76470588235293E-2</c:v>
                </c:pt>
                <c:pt idx="27165">
                  <c:v>-1.76470588235293E-2</c:v>
                </c:pt>
                <c:pt idx="27166">
                  <c:v>-1.76470588235293E-2</c:v>
                </c:pt>
                <c:pt idx="27167">
                  <c:v>-1.76470588235293E-2</c:v>
                </c:pt>
                <c:pt idx="27168">
                  <c:v>-1.76470588235293E-2</c:v>
                </c:pt>
                <c:pt idx="27169">
                  <c:v>-1.76470588235293E-2</c:v>
                </c:pt>
                <c:pt idx="27170">
                  <c:v>-1.76470588235293E-2</c:v>
                </c:pt>
                <c:pt idx="27171">
                  <c:v>-1.76470588235293E-2</c:v>
                </c:pt>
                <c:pt idx="27172">
                  <c:v>-1.76470588235293E-2</c:v>
                </c:pt>
                <c:pt idx="27173">
                  <c:v>-1.76470588235293E-2</c:v>
                </c:pt>
                <c:pt idx="27174">
                  <c:v>-1.84873949579831E-2</c:v>
                </c:pt>
                <c:pt idx="27175">
                  <c:v>-1.84873949579831E-2</c:v>
                </c:pt>
                <c:pt idx="27176">
                  <c:v>-1.84873949579831E-2</c:v>
                </c:pt>
                <c:pt idx="27177">
                  <c:v>-1.84873949579831E-2</c:v>
                </c:pt>
                <c:pt idx="27178">
                  <c:v>-1.84873949579831E-2</c:v>
                </c:pt>
                <c:pt idx="27179">
                  <c:v>-1.84873949579831E-2</c:v>
                </c:pt>
                <c:pt idx="27180">
                  <c:v>-1.84873949579831E-2</c:v>
                </c:pt>
                <c:pt idx="27181">
                  <c:v>-1.84873949579831E-2</c:v>
                </c:pt>
                <c:pt idx="27182">
                  <c:v>-1.84873949579831E-2</c:v>
                </c:pt>
                <c:pt idx="27183">
                  <c:v>-1.84873949579831E-2</c:v>
                </c:pt>
                <c:pt idx="27184">
                  <c:v>-1.84873949579831E-2</c:v>
                </c:pt>
                <c:pt idx="27185">
                  <c:v>-1.84873949579831E-2</c:v>
                </c:pt>
                <c:pt idx="27186">
                  <c:v>-1.84873949579831E-2</c:v>
                </c:pt>
                <c:pt idx="27187">
                  <c:v>-1.84873949579831E-2</c:v>
                </c:pt>
                <c:pt idx="27188">
                  <c:v>-1.84873949579831E-2</c:v>
                </c:pt>
                <c:pt idx="27189">
                  <c:v>-1.9327731092436899E-2</c:v>
                </c:pt>
                <c:pt idx="27190">
                  <c:v>-1.9327731092436899E-2</c:v>
                </c:pt>
                <c:pt idx="27191">
                  <c:v>-1.9327731092436899E-2</c:v>
                </c:pt>
                <c:pt idx="27192">
                  <c:v>-1.84873949579831E-2</c:v>
                </c:pt>
                <c:pt idx="27193">
                  <c:v>-1.84873949579831E-2</c:v>
                </c:pt>
                <c:pt idx="27194">
                  <c:v>-1.84873949579831E-2</c:v>
                </c:pt>
                <c:pt idx="27195">
                  <c:v>-1.84873949579831E-2</c:v>
                </c:pt>
                <c:pt idx="27196">
                  <c:v>-1.84873949579831E-2</c:v>
                </c:pt>
                <c:pt idx="27197">
                  <c:v>-1.84873949579831E-2</c:v>
                </c:pt>
                <c:pt idx="27198">
                  <c:v>-1.84873949579831E-2</c:v>
                </c:pt>
                <c:pt idx="27199">
                  <c:v>-1.84873949579831E-2</c:v>
                </c:pt>
                <c:pt idx="27200">
                  <c:v>-1.84873949579831E-2</c:v>
                </c:pt>
                <c:pt idx="27201">
                  <c:v>-1.84873949579831E-2</c:v>
                </c:pt>
                <c:pt idx="27202">
                  <c:v>-1.84873949579831E-2</c:v>
                </c:pt>
                <c:pt idx="27203">
                  <c:v>-1.84873949579831E-2</c:v>
                </c:pt>
                <c:pt idx="27204">
                  <c:v>-1.9327731092436899E-2</c:v>
                </c:pt>
                <c:pt idx="27205">
                  <c:v>-1.9327731092436899E-2</c:v>
                </c:pt>
                <c:pt idx="27206">
                  <c:v>-1.9327731092436899E-2</c:v>
                </c:pt>
                <c:pt idx="27207">
                  <c:v>-1.9327731092436899E-2</c:v>
                </c:pt>
                <c:pt idx="27208">
                  <c:v>-1.9327731092436899E-2</c:v>
                </c:pt>
                <c:pt idx="27209">
                  <c:v>-1.9327731092436899E-2</c:v>
                </c:pt>
                <c:pt idx="27210">
                  <c:v>-1.9327731092436899E-2</c:v>
                </c:pt>
                <c:pt idx="27211">
                  <c:v>-1.9327731092436899E-2</c:v>
                </c:pt>
                <c:pt idx="27212">
                  <c:v>-1.9327731092436899E-2</c:v>
                </c:pt>
                <c:pt idx="27213">
                  <c:v>-1.9327731092436899E-2</c:v>
                </c:pt>
                <c:pt idx="27214">
                  <c:v>-1.9327731092436899E-2</c:v>
                </c:pt>
                <c:pt idx="27215">
                  <c:v>-1.9327731092436899E-2</c:v>
                </c:pt>
                <c:pt idx="27216">
                  <c:v>-1.9327731092436899E-2</c:v>
                </c:pt>
                <c:pt idx="27217">
                  <c:v>-1.9327731092436899E-2</c:v>
                </c:pt>
                <c:pt idx="27218">
                  <c:v>-1.9327731092436899E-2</c:v>
                </c:pt>
                <c:pt idx="27219">
                  <c:v>-1.9327731092436899E-2</c:v>
                </c:pt>
                <c:pt idx="27220">
                  <c:v>-1.9327731092436899E-2</c:v>
                </c:pt>
                <c:pt idx="27221">
                  <c:v>-1.9327731092436899E-2</c:v>
                </c:pt>
                <c:pt idx="27222">
                  <c:v>-1.9327731092436899E-2</c:v>
                </c:pt>
                <c:pt idx="27223">
                  <c:v>-1.9327731092436899E-2</c:v>
                </c:pt>
                <c:pt idx="27224">
                  <c:v>-1.9327731092436899E-2</c:v>
                </c:pt>
                <c:pt idx="27225">
                  <c:v>-1.9327731092436899E-2</c:v>
                </c:pt>
                <c:pt idx="27226">
                  <c:v>-1.9327731092436899E-2</c:v>
                </c:pt>
                <c:pt idx="27227">
                  <c:v>-1.9327731092436899E-2</c:v>
                </c:pt>
                <c:pt idx="27228">
                  <c:v>-1.9327731092436899E-2</c:v>
                </c:pt>
                <c:pt idx="27229">
                  <c:v>-1.9327731092436899E-2</c:v>
                </c:pt>
                <c:pt idx="27230">
                  <c:v>-1.9327731092436899E-2</c:v>
                </c:pt>
                <c:pt idx="27231">
                  <c:v>-1.9327731092436899E-2</c:v>
                </c:pt>
                <c:pt idx="27232">
                  <c:v>-1.9327731092436899E-2</c:v>
                </c:pt>
                <c:pt idx="27233">
                  <c:v>-1.9327731092436899E-2</c:v>
                </c:pt>
                <c:pt idx="27234">
                  <c:v>-1.9327731092436899E-2</c:v>
                </c:pt>
                <c:pt idx="27235">
                  <c:v>-1.9327731092436899E-2</c:v>
                </c:pt>
                <c:pt idx="27236">
                  <c:v>-1.9327731092436899E-2</c:v>
                </c:pt>
                <c:pt idx="27237">
                  <c:v>-1.9327731092436899E-2</c:v>
                </c:pt>
                <c:pt idx="27238">
                  <c:v>-1.9327731092436899E-2</c:v>
                </c:pt>
                <c:pt idx="27239">
                  <c:v>-1.9327731092436899E-2</c:v>
                </c:pt>
                <c:pt idx="27240">
                  <c:v>-1.9327731092436899E-2</c:v>
                </c:pt>
                <c:pt idx="27241">
                  <c:v>-1.9327731092436899E-2</c:v>
                </c:pt>
                <c:pt idx="27242">
                  <c:v>-1.9327731092436899E-2</c:v>
                </c:pt>
                <c:pt idx="27243">
                  <c:v>-1.9327731092436899E-2</c:v>
                </c:pt>
                <c:pt idx="27244">
                  <c:v>-1.9327731092436899E-2</c:v>
                </c:pt>
                <c:pt idx="27245">
                  <c:v>-1.9327731092436899E-2</c:v>
                </c:pt>
                <c:pt idx="27246">
                  <c:v>-1.9327731092436899E-2</c:v>
                </c:pt>
                <c:pt idx="27247">
                  <c:v>-1.9327731092436899E-2</c:v>
                </c:pt>
                <c:pt idx="27248">
                  <c:v>-1.9327731092436899E-2</c:v>
                </c:pt>
                <c:pt idx="27249">
                  <c:v>-1.9327731092436899E-2</c:v>
                </c:pt>
                <c:pt idx="27250">
                  <c:v>-1.9327731092436899E-2</c:v>
                </c:pt>
                <c:pt idx="27251">
                  <c:v>-1.9327731092436899E-2</c:v>
                </c:pt>
                <c:pt idx="27252">
                  <c:v>-1.9327731092436899E-2</c:v>
                </c:pt>
                <c:pt idx="27253">
                  <c:v>-1.9327731092436899E-2</c:v>
                </c:pt>
                <c:pt idx="27254">
                  <c:v>-1.9327731092436899E-2</c:v>
                </c:pt>
                <c:pt idx="27255">
                  <c:v>-2.0168067226890601E-2</c:v>
                </c:pt>
                <c:pt idx="27256">
                  <c:v>-2.0168067226890601E-2</c:v>
                </c:pt>
                <c:pt idx="27257">
                  <c:v>-2.0168067226890601E-2</c:v>
                </c:pt>
                <c:pt idx="27258">
                  <c:v>-2.0168067226890601E-2</c:v>
                </c:pt>
                <c:pt idx="27259">
                  <c:v>-2.0168067226890601E-2</c:v>
                </c:pt>
                <c:pt idx="27260">
                  <c:v>-2.0168067226890601E-2</c:v>
                </c:pt>
                <c:pt idx="27261">
                  <c:v>-2.0168067226890601E-2</c:v>
                </c:pt>
                <c:pt idx="27262">
                  <c:v>-2.0168067226890601E-2</c:v>
                </c:pt>
                <c:pt idx="27263">
                  <c:v>-2.0168067226890601E-2</c:v>
                </c:pt>
                <c:pt idx="27264">
                  <c:v>-1.9327731092436899E-2</c:v>
                </c:pt>
                <c:pt idx="27265">
                  <c:v>-1.9327731092436899E-2</c:v>
                </c:pt>
                <c:pt idx="27266">
                  <c:v>-1.84873949579831E-2</c:v>
                </c:pt>
                <c:pt idx="27267">
                  <c:v>-1.84873949579831E-2</c:v>
                </c:pt>
                <c:pt idx="27268">
                  <c:v>-1.9327731092436899E-2</c:v>
                </c:pt>
                <c:pt idx="27269">
                  <c:v>-1.9327731092436899E-2</c:v>
                </c:pt>
                <c:pt idx="27270">
                  <c:v>-1.9327731092436899E-2</c:v>
                </c:pt>
                <c:pt idx="27271">
                  <c:v>-1.9327731092436899E-2</c:v>
                </c:pt>
                <c:pt idx="27272">
                  <c:v>-1.9327731092436899E-2</c:v>
                </c:pt>
                <c:pt idx="27273">
                  <c:v>-1.9327731092436899E-2</c:v>
                </c:pt>
                <c:pt idx="27274">
                  <c:v>-1.9327731092436899E-2</c:v>
                </c:pt>
                <c:pt idx="27275">
                  <c:v>-1.9327731092436899E-2</c:v>
                </c:pt>
                <c:pt idx="27276">
                  <c:v>-1.9327731092436899E-2</c:v>
                </c:pt>
                <c:pt idx="27277">
                  <c:v>-1.9327731092436899E-2</c:v>
                </c:pt>
                <c:pt idx="27278">
                  <c:v>-1.9327731092436899E-2</c:v>
                </c:pt>
                <c:pt idx="27279">
                  <c:v>-1.9327731092436899E-2</c:v>
                </c:pt>
                <c:pt idx="27280">
                  <c:v>-1.9327731092436899E-2</c:v>
                </c:pt>
                <c:pt idx="27281">
                  <c:v>-1.9327731092436899E-2</c:v>
                </c:pt>
                <c:pt idx="27282">
                  <c:v>-1.9327731092436899E-2</c:v>
                </c:pt>
                <c:pt idx="27283">
                  <c:v>-1.9327731092436899E-2</c:v>
                </c:pt>
                <c:pt idx="27284">
                  <c:v>-1.9327731092436899E-2</c:v>
                </c:pt>
                <c:pt idx="27285">
                  <c:v>-1.9327731092436899E-2</c:v>
                </c:pt>
                <c:pt idx="27286">
                  <c:v>-1.9327731092436899E-2</c:v>
                </c:pt>
                <c:pt idx="27287">
                  <c:v>-1.9327731092436899E-2</c:v>
                </c:pt>
                <c:pt idx="27288">
                  <c:v>-1.9327731092436899E-2</c:v>
                </c:pt>
                <c:pt idx="27289">
                  <c:v>-1.9327731092436899E-2</c:v>
                </c:pt>
                <c:pt idx="27290">
                  <c:v>-1.9327731092436899E-2</c:v>
                </c:pt>
                <c:pt idx="27291">
                  <c:v>-1.9327731092436899E-2</c:v>
                </c:pt>
                <c:pt idx="27292">
                  <c:v>-1.9327731092436899E-2</c:v>
                </c:pt>
                <c:pt idx="27293">
                  <c:v>-1.9327731092436899E-2</c:v>
                </c:pt>
                <c:pt idx="27294">
                  <c:v>-1.9327731092436899E-2</c:v>
                </c:pt>
                <c:pt idx="27295">
                  <c:v>-1.9327731092436899E-2</c:v>
                </c:pt>
                <c:pt idx="27296">
                  <c:v>-1.9327731092436899E-2</c:v>
                </c:pt>
                <c:pt idx="27297">
                  <c:v>-1.9327731092436899E-2</c:v>
                </c:pt>
                <c:pt idx="27298">
                  <c:v>-1.9327731092436899E-2</c:v>
                </c:pt>
                <c:pt idx="27299">
                  <c:v>-1.9327731092436899E-2</c:v>
                </c:pt>
                <c:pt idx="27300">
                  <c:v>-1.9327731092436899E-2</c:v>
                </c:pt>
                <c:pt idx="27301">
                  <c:v>-1.9327731092436899E-2</c:v>
                </c:pt>
                <c:pt idx="27302">
                  <c:v>-1.9327731092436899E-2</c:v>
                </c:pt>
                <c:pt idx="27303">
                  <c:v>-1.9327731092436899E-2</c:v>
                </c:pt>
                <c:pt idx="27304">
                  <c:v>-1.9327731092436899E-2</c:v>
                </c:pt>
                <c:pt idx="27305">
                  <c:v>-1.9327731092436899E-2</c:v>
                </c:pt>
                <c:pt idx="27306">
                  <c:v>-1.9327731092436899E-2</c:v>
                </c:pt>
                <c:pt idx="27307">
                  <c:v>-1.9327731092436899E-2</c:v>
                </c:pt>
                <c:pt idx="27308">
                  <c:v>-1.9327731092436899E-2</c:v>
                </c:pt>
                <c:pt idx="27309">
                  <c:v>-1.9327731092436899E-2</c:v>
                </c:pt>
                <c:pt idx="27310">
                  <c:v>-1.84873949579831E-2</c:v>
                </c:pt>
                <c:pt idx="27311">
                  <c:v>-1.84873949579831E-2</c:v>
                </c:pt>
                <c:pt idx="27312">
                  <c:v>-1.84873949579831E-2</c:v>
                </c:pt>
                <c:pt idx="27313">
                  <c:v>-1.84873949579831E-2</c:v>
                </c:pt>
                <c:pt idx="27314">
                  <c:v>-1.84873949579831E-2</c:v>
                </c:pt>
                <c:pt idx="27315">
                  <c:v>-1.84873949579831E-2</c:v>
                </c:pt>
                <c:pt idx="27316">
                  <c:v>-1.84873949579831E-2</c:v>
                </c:pt>
                <c:pt idx="27317">
                  <c:v>-1.84873949579831E-2</c:v>
                </c:pt>
                <c:pt idx="27318">
                  <c:v>-1.84873949579831E-2</c:v>
                </c:pt>
                <c:pt idx="27319">
                  <c:v>-1.84873949579831E-2</c:v>
                </c:pt>
                <c:pt idx="27320">
                  <c:v>-1.84873949579831E-2</c:v>
                </c:pt>
                <c:pt idx="27321">
                  <c:v>-1.9327731092436899E-2</c:v>
                </c:pt>
                <c:pt idx="27322">
                  <c:v>-1.9327731092436899E-2</c:v>
                </c:pt>
                <c:pt idx="27323">
                  <c:v>-1.9327731092436899E-2</c:v>
                </c:pt>
                <c:pt idx="27324">
                  <c:v>-1.9327731092436899E-2</c:v>
                </c:pt>
                <c:pt idx="27325">
                  <c:v>-1.9327731092436899E-2</c:v>
                </c:pt>
                <c:pt idx="27326">
                  <c:v>-1.9327731092436899E-2</c:v>
                </c:pt>
                <c:pt idx="27327">
                  <c:v>-1.9327731092436899E-2</c:v>
                </c:pt>
                <c:pt idx="27328">
                  <c:v>-1.9327731092436899E-2</c:v>
                </c:pt>
                <c:pt idx="27329">
                  <c:v>-1.9327731092436899E-2</c:v>
                </c:pt>
                <c:pt idx="27330">
                  <c:v>-1.9327731092436899E-2</c:v>
                </c:pt>
                <c:pt idx="27331">
                  <c:v>-1.9327731092436899E-2</c:v>
                </c:pt>
                <c:pt idx="27332">
                  <c:v>-1.9327731092436899E-2</c:v>
                </c:pt>
                <c:pt idx="27333">
                  <c:v>-1.9327731092436899E-2</c:v>
                </c:pt>
                <c:pt idx="27334">
                  <c:v>-1.9327731092436899E-2</c:v>
                </c:pt>
                <c:pt idx="27335">
                  <c:v>-1.9327731092436899E-2</c:v>
                </c:pt>
                <c:pt idx="27336">
                  <c:v>-1.9327731092436899E-2</c:v>
                </c:pt>
                <c:pt idx="27337">
                  <c:v>-1.9327731092436899E-2</c:v>
                </c:pt>
                <c:pt idx="27338">
                  <c:v>-1.9327731092436899E-2</c:v>
                </c:pt>
                <c:pt idx="27339">
                  <c:v>-1.9327731092436899E-2</c:v>
                </c:pt>
                <c:pt idx="27340">
                  <c:v>-1.9327731092436899E-2</c:v>
                </c:pt>
                <c:pt idx="27341">
                  <c:v>-1.9327731092436899E-2</c:v>
                </c:pt>
                <c:pt idx="27342">
                  <c:v>-1.9327731092436899E-2</c:v>
                </c:pt>
                <c:pt idx="27343">
                  <c:v>-1.9327731092436899E-2</c:v>
                </c:pt>
                <c:pt idx="27344">
                  <c:v>-1.9327731092436899E-2</c:v>
                </c:pt>
                <c:pt idx="27345">
                  <c:v>-1.9327731092436899E-2</c:v>
                </c:pt>
                <c:pt idx="27346">
                  <c:v>-1.9327731092436899E-2</c:v>
                </c:pt>
                <c:pt idx="27347">
                  <c:v>-1.9327731092436899E-2</c:v>
                </c:pt>
                <c:pt idx="27348">
                  <c:v>-1.9327731092436899E-2</c:v>
                </c:pt>
                <c:pt idx="27349">
                  <c:v>-1.9327731092436899E-2</c:v>
                </c:pt>
                <c:pt idx="27350">
                  <c:v>-1.9327731092436899E-2</c:v>
                </c:pt>
                <c:pt idx="27351">
                  <c:v>-1.9327731092436899E-2</c:v>
                </c:pt>
                <c:pt idx="27352">
                  <c:v>-1.9327731092436899E-2</c:v>
                </c:pt>
                <c:pt idx="27353">
                  <c:v>-1.9327731092436899E-2</c:v>
                </c:pt>
                <c:pt idx="27354">
                  <c:v>-1.9327731092436899E-2</c:v>
                </c:pt>
                <c:pt idx="27355">
                  <c:v>-1.9327731092436899E-2</c:v>
                </c:pt>
                <c:pt idx="27356">
                  <c:v>-1.9327731092436899E-2</c:v>
                </c:pt>
                <c:pt idx="27357">
                  <c:v>-1.9327731092436899E-2</c:v>
                </c:pt>
                <c:pt idx="27358">
                  <c:v>-1.9327731092436899E-2</c:v>
                </c:pt>
                <c:pt idx="27359">
                  <c:v>-2.0168067226890601E-2</c:v>
                </c:pt>
                <c:pt idx="27360">
                  <c:v>-2.0168067226890601E-2</c:v>
                </c:pt>
                <c:pt idx="27361">
                  <c:v>-2.0168067226890601E-2</c:v>
                </c:pt>
                <c:pt idx="27362">
                  <c:v>-2.0168067226890601E-2</c:v>
                </c:pt>
                <c:pt idx="27363">
                  <c:v>-2.0168067226890601E-2</c:v>
                </c:pt>
                <c:pt idx="27364">
                  <c:v>-2.0168067226890601E-2</c:v>
                </c:pt>
                <c:pt idx="27365">
                  <c:v>-2.0168067226890601E-2</c:v>
                </c:pt>
                <c:pt idx="27366">
                  <c:v>-1.9327731092436899E-2</c:v>
                </c:pt>
                <c:pt idx="27367">
                  <c:v>-1.9327731092436899E-2</c:v>
                </c:pt>
                <c:pt idx="27368">
                  <c:v>-1.9327731092436899E-2</c:v>
                </c:pt>
                <c:pt idx="27369">
                  <c:v>-1.9327731092436899E-2</c:v>
                </c:pt>
                <c:pt idx="27370">
                  <c:v>-1.9327731092436899E-2</c:v>
                </c:pt>
                <c:pt idx="27371">
                  <c:v>-1.9327731092436899E-2</c:v>
                </c:pt>
                <c:pt idx="27372">
                  <c:v>-1.9327731092436899E-2</c:v>
                </c:pt>
                <c:pt idx="27373">
                  <c:v>-1.9327731092436899E-2</c:v>
                </c:pt>
                <c:pt idx="27374">
                  <c:v>-1.9327731092436899E-2</c:v>
                </c:pt>
                <c:pt idx="27375">
                  <c:v>-1.9327731092436899E-2</c:v>
                </c:pt>
                <c:pt idx="27376">
                  <c:v>-1.9327731092436899E-2</c:v>
                </c:pt>
                <c:pt idx="27377">
                  <c:v>-1.9327731092436899E-2</c:v>
                </c:pt>
                <c:pt idx="27378">
                  <c:v>-1.9327731092436899E-2</c:v>
                </c:pt>
                <c:pt idx="27379">
                  <c:v>-1.9327731092436899E-2</c:v>
                </c:pt>
                <c:pt idx="27380">
                  <c:v>-1.9327731092436899E-2</c:v>
                </c:pt>
                <c:pt idx="27381">
                  <c:v>-1.9327731092436899E-2</c:v>
                </c:pt>
                <c:pt idx="27382">
                  <c:v>-1.9327731092436899E-2</c:v>
                </c:pt>
                <c:pt idx="27383">
                  <c:v>-1.9327731092436899E-2</c:v>
                </c:pt>
                <c:pt idx="27384">
                  <c:v>-1.9327731092436899E-2</c:v>
                </c:pt>
                <c:pt idx="27385">
                  <c:v>-1.9327731092436899E-2</c:v>
                </c:pt>
                <c:pt idx="27386">
                  <c:v>-1.9327731092436899E-2</c:v>
                </c:pt>
                <c:pt idx="27387">
                  <c:v>-1.9327731092436899E-2</c:v>
                </c:pt>
                <c:pt idx="27388">
                  <c:v>-1.84873949579831E-2</c:v>
                </c:pt>
                <c:pt idx="27389">
                  <c:v>-1.84873949579831E-2</c:v>
                </c:pt>
                <c:pt idx="27390">
                  <c:v>-1.84873949579831E-2</c:v>
                </c:pt>
                <c:pt idx="27391">
                  <c:v>-1.84873949579831E-2</c:v>
                </c:pt>
                <c:pt idx="27392">
                  <c:v>-1.84873949579831E-2</c:v>
                </c:pt>
                <c:pt idx="27393">
                  <c:v>-1.84873949579831E-2</c:v>
                </c:pt>
                <c:pt idx="27394">
                  <c:v>-1.84873949579831E-2</c:v>
                </c:pt>
                <c:pt idx="27395">
                  <c:v>-1.84873949579831E-2</c:v>
                </c:pt>
                <c:pt idx="27396">
                  <c:v>-1.84873949579831E-2</c:v>
                </c:pt>
                <c:pt idx="27397">
                  <c:v>-1.84873949579831E-2</c:v>
                </c:pt>
                <c:pt idx="27398">
                  <c:v>-1.84873949579831E-2</c:v>
                </c:pt>
                <c:pt idx="27399">
                  <c:v>-1.84873949579831E-2</c:v>
                </c:pt>
                <c:pt idx="27400">
                  <c:v>-1.84873949579831E-2</c:v>
                </c:pt>
                <c:pt idx="27401">
                  <c:v>-1.84873949579831E-2</c:v>
                </c:pt>
                <c:pt idx="27402">
                  <c:v>-1.84873949579831E-2</c:v>
                </c:pt>
                <c:pt idx="27403">
                  <c:v>-1.84873949579831E-2</c:v>
                </c:pt>
                <c:pt idx="27404">
                  <c:v>-1.84873949579831E-2</c:v>
                </c:pt>
                <c:pt idx="27405">
                  <c:v>-1.84873949579831E-2</c:v>
                </c:pt>
                <c:pt idx="27406">
                  <c:v>-1.84873949579831E-2</c:v>
                </c:pt>
                <c:pt idx="27407">
                  <c:v>-1.84873949579831E-2</c:v>
                </c:pt>
                <c:pt idx="27408">
                  <c:v>-1.84873949579831E-2</c:v>
                </c:pt>
                <c:pt idx="27409">
                  <c:v>-1.84873949579831E-2</c:v>
                </c:pt>
                <c:pt idx="27410">
                  <c:v>-1.84873949579831E-2</c:v>
                </c:pt>
                <c:pt idx="27411">
                  <c:v>-1.76470588235293E-2</c:v>
                </c:pt>
                <c:pt idx="27412">
                  <c:v>-1.76470588235293E-2</c:v>
                </c:pt>
                <c:pt idx="27413">
                  <c:v>-1.76470588235293E-2</c:v>
                </c:pt>
                <c:pt idx="27414">
                  <c:v>-1.76470588235293E-2</c:v>
                </c:pt>
                <c:pt idx="27415">
                  <c:v>-1.76470588235293E-2</c:v>
                </c:pt>
                <c:pt idx="27416">
                  <c:v>-1.76470588235293E-2</c:v>
                </c:pt>
                <c:pt idx="27417">
                  <c:v>-1.76470588235293E-2</c:v>
                </c:pt>
                <c:pt idx="27418">
                  <c:v>-1.76470588235293E-2</c:v>
                </c:pt>
                <c:pt idx="27419">
                  <c:v>-1.76470588235293E-2</c:v>
                </c:pt>
                <c:pt idx="27420">
                  <c:v>-1.76470588235293E-2</c:v>
                </c:pt>
                <c:pt idx="27421">
                  <c:v>-1.76470588235293E-2</c:v>
                </c:pt>
                <c:pt idx="27422">
                  <c:v>-1.76470588235293E-2</c:v>
                </c:pt>
                <c:pt idx="27423">
                  <c:v>-1.84873949579831E-2</c:v>
                </c:pt>
                <c:pt idx="27424">
                  <c:v>-1.84873949579831E-2</c:v>
                </c:pt>
                <c:pt idx="27425">
                  <c:v>-1.84873949579831E-2</c:v>
                </c:pt>
                <c:pt idx="27426">
                  <c:v>-1.84873949579831E-2</c:v>
                </c:pt>
                <c:pt idx="27427">
                  <c:v>-1.84873949579831E-2</c:v>
                </c:pt>
                <c:pt idx="27428">
                  <c:v>-1.84873949579831E-2</c:v>
                </c:pt>
                <c:pt idx="27429">
                  <c:v>-1.84873949579831E-2</c:v>
                </c:pt>
                <c:pt idx="27430">
                  <c:v>-1.84873949579831E-2</c:v>
                </c:pt>
                <c:pt idx="27431">
                  <c:v>-1.84873949579831E-2</c:v>
                </c:pt>
                <c:pt idx="27432">
                  <c:v>-1.9327731092436899E-2</c:v>
                </c:pt>
                <c:pt idx="27433">
                  <c:v>-1.9327731092436899E-2</c:v>
                </c:pt>
                <c:pt idx="27434">
                  <c:v>-1.9327731092436899E-2</c:v>
                </c:pt>
                <c:pt idx="27435">
                  <c:v>-1.9327731092436899E-2</c:v>
                </c:pt>
                <c:pt idx="27436">
                  <c:v>-1.9327731092436899E-2</c:v>
                </c:pt>
                <c:pt idx="27437">
                  <c:v>-1.9327731092436899E-2</c:v>
                </c:pt>
                <c:pt idx="27438">
                  <c:v>-1.9327731092436899E-2</c:v>
                </c:pt>
                <c:pt idx="27439">
                  <c:v>-1.9327731092436899E-2</c:v>
                </c:pt>
                <c:pt idx="27440">
                  <c:v>-1.9327731092436899E-2</c:v>
                </c:pt>
                <c:pt idx="27441">
                  <c:v>-1.9327731092436899E-2</c:v>
                </c:pt>
                <c:pt idx="27442">
                  <c:v>-1.9327731092436899E-2</c:v>
                </c:pt>
                <c:pt idx="27443">
                  <c:v>-1.9327731092436899E-2</c:v>
                </c:pt>
                <c:pt idx="27444">
                  <c:v>-1.9327731092436899E-2</c:v>
                </c:pt>
                <c:pt idx="27445">
                  <c:v>-1.9327731092436899E-2</c:v>
                </c:pt>
                <c:pt idx="27446">
                  <c:v>-1.9327731092436899E-2</c:v>
                </c:pt>
                <c:pt idx="27447">
                  <c:v>-1.9327731092436899E-2</c:v>
                </c:pt>
                <c:pt idx="27448">
                  <c:v>-1.9327731092436899E-2</c:v>
                </c:pt>
                <c:pt idx="27449">
                  <c:v>-1.9327731092436899E-2</c:v>
                </c:pt>
                <c:pt idx="27450">
                  <c:v>-1.9327731092436899E-2</c:v>
                </c:pt>
                <c:pt idx="27451">
                  <c:v>-1.9327731092436899E-2</c:v>
                </c:pt>
                <c:pt idx="27452">
                  <c:v>-1.9327731092436899E-2</c:v>
                </c:pt>
                <c:pt idx="27453">
                  <c:v>-1.9327731092436899E-2</c:v>
                </c:pt>
                <c:pt idx="27454">
                  <c:v>-1.9327731092436899E-2</c:v>
                </c:pt>
                <c:pt idx="27455">
                  <c:v>-1.9327731092436899E-2</c:v>
                </c:pt>
                <c:pt idx="27456">
                  <c:v>-1.9327731092436899E-2</c:v>
                </c:pt>
                <c:pt idx="27457">
                  <c:v>-1.9327731092436899E-2</c:v>
                </c:pt>
                <c:pt idx="27458">
                  <c:v>-1.9327731092436899E-2</c:v>
                </c:pt>
                <c:pt idx="27459">
                  <c:v>-1.9327731092436899E-2</c:v>
                </c:pt>
                <c:pt idx="27460">
                  <c:v>-1.9327731092436899E-2</c:v>
                </c:pt>
                <c:pt idx="27461">
                  <c:v>-1.9327731092436899E-2</c:v>
                </c:pt>
                <c:pt idx="27462">
                  <c:v>-1.9327731092436899E-2</c:v>
                </c:pt>
                <c:pt idx="27463">
                  <c:v>-1.9327731092436899E-2</c:v>
                </c:pt>
                <c:pt idx="27464">
                  <c:v>-1.9327731092436899E-2</c:v>
                </c:pt>
                <c:pt idx="27465">
                  <c:v>-1.9327731092436899E-2</c:v>
                </c:pt>
                <c:pt idx="27466">
                  <c:v>-1.9327731092436899E-2</c:v>
                </c:pt>
                <c:pt idx="27467">
                  <c:v>-1.9327731092436899E-2</c:v>
                </c:pt>
                <c:pt idx="27468">
                  <c:v>-1.9327731092436899E-2</c:v>
                </c:pt>
                <c:pt idx="27469">
                  <c:v>-1.9327731092436899E-2</c:v>
                </c:pt>
                <c:pt idx="27470">
                  <c:v>-1.9327731092436899E-2</c:v>
                </c:pt>
                <c:pt idx="27471">
                  <c:v>-1.9327731092436899E-2</c:v>
                </c:pt>
                <c:pt idx="27472">
                  <c:v>-1.9327731092436899E-2</c:v>
                </c:pt>
                <c:pt idx="27473">
                  <c:v>-1.9327731092436899E-2</c:v>
                </c:pt>
                <c:pt idx="27474">
                  <c:v>-1.9327731092436899E-2</c:v>
                </c:pt>
                <c:pt idx="27475">
                  <c:v>-1.9327731092436899E-2</c:v>
                </c:pt>
                <c:pt idx="27476">
                  <c:v>-2.0168067226890601E-2</c:v>
                </c:pt>
                <c:pt idx="27477">
                  <c:v>-2.0168067226890601E-2</c:v>
                </c:pt>
                <c:pt idx="27478">
                  <c:v>-2.0168067226890601E-2</c:v>
                </c:pt>
                <c:pt idx="27479">
                  <c:v>-2.0168067226890601E-2</c:v>
                </c:pt>
                <c:pt idx="27480">
                  <c:v>-2.0168067226890601E-2</c:v>
                </c:pt>
                <c:pt idx="27481">
                  <c:v>-2.0168067226890601E-2</c:v>
                </c:pt>
                <c:pt idx="27482">
                  <c:v>-2.0168067226890601E-2</c:v>
                </c:pt>
                <c:pt idx="27483">
                  <c:v>-2.0168067226890601E-2</c:v>
                </c:pt>
                <c:pt idx="27484">
                  <c:v>-2.0168067226890601E-2</c:v>
                </c:pt>
                <c:pt idx="27485">
                  <c:v>-2.0168067226890601E-2</c:v>
                </c:pt>
                <c:pt idx="27486">
                  <c:v>-2.0168067226890601E-2</c:v>
                </c:pt>
                <c:pt idx="27487">
                  <c:v>-2.0168067226890601E-2</c:v>
                </c:pt>
                <c:pt idx="27488">
                  <c:v>-2.0168067226890601E-2</c:v>
                </c:pt>
                <c:pt idx="27489">
                  <c:v>-1.9327731092436899E-2</c:v>
                </c:pt>
                <c:pt idx="27490">
                  <c:v>-1.9327731092436899E-2</c:v>
                </c:pt>
                <c:pt idx="27491">
                  <c:v>-1.9327731092436899E-2</c:v>
                </c:pt>
                <c:pt idx="27492">
                  <c:v>-1.84873949579831E-2</c:v>
                </c:pt>
                <c:pt idx="27493">
                  <c:v>-1.84873949579831E-2</c:v>
                </c:pt>
                <c:pt idx="27494">
                  <c:v>-1.84873949579831E-2</c:v>
                </c:pt>
                <c:pt idx="27495">
                  <c:v>-1.84873949579831E-2</c:v>
                </c:pt>
                <c:pt idx="27496">
                  <c:v>-1.84873949579831E-2</c:v>
                </c:pt>
                <c:pt idx="27497">
                  <c:v>-1.84873949579831E-2</c:v>
                </c:pt>
                <c:pt idx="27498">
                  <c:v>-1.76470588235293E-2</c:v>
                </c:pt>
                <c:pt idx="27499">
                  <c:v>-1.76470588235293E-2</c:v>
                </c:pt>
                <c:pt idx="27500">
                  <c:v>-1.76470588235293E-2</c:v>
                </c:pt>
                <c:pt idx="27501">
                  <c:v>-1.76470588235293E-2</c:v>
                </c:pt>
                <c:pt idx="27502">
                  <c:v>-1.76470588235293E-2</c:v>
                </c:pt>
                <c:pt idx="27503">
                  <c:v>-1.6806722689075501E-2</c:v>
                </c:pt>
                <c:pt idx="27504">
                  <c:v>-1.6806722689075501E-2</c:v>
                </c:pt>
                <c:pt idx="27505">
                  <c:v>-1.6806722689075501E-2</c:v>
                </c:pt>
                <c:pt idx="27506">
                  <c:v>-1.6806722689075501E-2</c:v>
                </c:pt>
                <c:pt idx="27507">
                  <c:v>-1.6806722689075501E-2</c:v>
                </c:pt>
                <c:pt idx="27508">
                  <c:v>-1.6806722689075501E-2</c:v>
                </c:pt>
                <c:pt idx="27509">
                  <c:v>-1.6806722689075501E-2</c:v>
                </c:pt>
                <c:pt idx="27510">
                  <c:v>-1.6806722689075501E-2</c:v>
                </c:pt>
                <c:pt idx="27511">
                  <c:v>-1.6806722689075501E-2</c:v>
                </c:pt>
                <c:pt idx="27512">
                  <c:v>-1.6806722689075501E-2</c:v>
                </c:pt>
                <c:pt idx="27513">
                  <c:v>-1.6806722689075501E-2</c:v>
                </c:pt>
                <c:pt idx="27514">
                  <c:v>-1.6806722689075501E-2</c:v>
                </c:pt>
                <c:pt idx="27515">
                  <c:v>-1.6806722689075501E-2</c:v>
                </c:pt>
                <c:pt idx="27516">
                  <c:v>-1.6806722689075501E-2</c:v>
                </c:pt>
                <c:pt idx="27517">
                  <c:v>-1.6806722689075501E-2</c:v>
                </c:pt>
                <c:pt idx="27518">
                  <c:v>-1.6806722689075501E-2</c:v>
                </c:pt>
                <c:pt idx="27519">
                  <c:v>-1.6806722689075501E-2</c:v>
                </c:pt>
                <c:pt idx="27520">
                  <c:v>-1.6806722689075501E-2</c:v>
                </c:pt>
                <c:pt idx="27521">
                  <c:v>-1.6806722689075501E-2</c:v>
                </c:pt>
                <c:pt idx="27522">
                  <c:v>-1.6806722689075501E-2</c:v>
                </c:pt>
                <c:pt idx="27523">
                  <c:v>-1.6806722689075501E-2</c:v>
                </c:pt>
                <c:pt idx="27524">
                  <c:v>-1.6806722689075501E-2</c:v>
                </c:pt>
                <c:pt idx="27525">
                  <c:v>-1.6806722689075501E-2</c:v>
                </c:pt>
                <c:pt idx="27526">
                  <c:v>-1.6806722689075501E-2</c:v>
                </c:pt>
                <c:pt idx="27527">
                  <c:v>-1.6806722689075501E-2</c:v>
                </c:pt>
                <c:pt idx="27528">
                  <c:v>-1.6806722689075501E-2</c:v>
                </c:pt>
                <c:pt idx="27529">
                  <c:v>-1.6806722689075501E-2</c:v>
                </c:pt>
                <c:pt idx="27530">
                  <c:v>-1.76470588235293E-2</c:v>
                </c:pt>
                <c:pt idx="27531">
                  <c:v>-1.84873949579831E-2</c:v>
                </c:pt>
                <c:pt idx="27532">
                  <c:v>-1.84873949579831E-2</c:v>
                </c:pt>
                <c:pt idx="27533">
                  <c:v>-1.84873949579831E-2</c:v>
                </c:pt>
                <c:pt idx="27534">
                  <c:v>-1.84873949579831E-2</c:v>
                </c:pt>
                <c:pt idx="27535">
                  <c:v>-1.84873949579831E-2</c:v>
                </c:pt>
                <c:pt idx="27536">
                  <c:v>-1.84873949579831E-2</c:v>
                </c:pt>
                <c:pt idx="27537">
                  <c:v>-1.84873949579831E-2</c:v>
                </c:pt>
                <c:pt idx="27538">
                  <c:v>-1.84873949579831E-2</c:v>
                </c:pt>
                <c:pt idx="27539">
                  <c:v>-1.84873949579831E-2</c:v>
                </c:pt>
                <c:pt idx="27540">
                  <c:v>-1.84873949579831E-2</c:v>
                </c:pt>
                <c:pt idx="27541">
                  <c:v>-1.84873949579831E-2</c:v>
                </c:pt>
                <c:pt idx="27542">
                  <c:v>-1.84873949579831E-2</c:v>
                </c:pt>
                <c:pt idx="27543">
                  <c:v>-1.84873949579831E-2</c:v>
                </c:pt>
                <c:pt idx="27544">
                  <c:v>-1.84873949579831E-2</c:v>
                </c:pt>
                <c:pt idx="27545">
                  <c:v>-1.84873949579831E-2</c:v>
                </c:pt>
                <c:pt idx="27546">
                  <c:v>-1.84873949579831E-2</c:v>
                </c:pt>
                <c:pt idx="27547">
                  <c:v>-1.84873949579831E-2</c:v>
                </c:pt>
                <c:pt idx="27548">
                  <c:v>-1.84873949579831E-2</c:v>
                </c:pt>
                <c:pt idx="27549">
                  <c:v>-1.76470588235293E-2</c:v>
                </c:pt>
                <c:pt idx="27550">
                  <c:v>-1.76470588235293E-2</c:v>
                </c:pt>
                <c:pt idx="27551">
                  <c:v>-1.84873949579831E-2</c:v>
                </c:pt>
                <c:pt idx="27552">
                  <c:v>-1.84873949579831E-2</c:v>
                </c:pt>
                <c:pt idx="27553">
                  <c:v>-1.84873949579831E-2</c:v>
                </c:pt>
                <c:pt idx="27554">
                  <c:v>-1.84873949579831E-2</c:v>
                </c:pt>
                <c:pt idx="27555">
                  <c:v>-1.84873949579831E-2</c:v>
                </c:pt>
                <c:pt idx="27556">
                  <c:v>-1.84873949579831E-2</c:v>
                </c:pt>
                <c:pt idx="27557">
                  <c:v>-1.84873949579831E-2</c:v>
                </c:pt>
                <c:pt idx="27558">
                  <c:v>-1.84873949579831E-2</c:v>
                </c:pt>
                <c:pt idx="27559">
                  <c:v>-1.84873949579831E-2</c:v>
                </c:pt>
                <c:pt idx="27560">
                  <c:v>-1.84873949579831E-2</c:v>
                </c:pt>
                <c:pt idx="27561">
                  <c:v>-1.84873949579831E-2</c:v>
                </c:pt>
                <c:pt idx="27562">
                  <c:v>-1.84873949579831E-2</c:v>
                </c:pt>
                <c:pt idx="27563">
                  <c:v>-1.84873949579831E-2</c:v>
                </c:pt>
                <c:pt idx="27564">
                  <c:v>-1.84873949579831E-2</c:v>
                </c:pt>
                <c:pt idx="27565">
                  <c:v>-1.84873949579831E-2</c:v>
                </c:pt>
                <c:pt idx="27566">
                  <c:v>-1.84873949579831E-2</c:v>
                </c:pt>
                <c:pt idx="27567">
                  <c:v>-1.84873949579831E-2</c:v>
                </c:pt>
                <c:pt idx="27568">
                  <c:v>-1.84873949579831E-2</c:v>
                </c:pt>
                <c:pt idx="27569">
                  <c:v>-1.84873949579831E-2</c:v>
                </c:pt>
                <c:pt idx="27570">
                  <c:v>-1.84873949579831E-2</c:v>
                </c:pt>
                <c:pt idx="27571">
                  <c:v>-1.84873949579831E-2</c:v>
                </c:pt>
                <c:pt idx="27572">
                  <c:v>-1.84873949579831E-2</c:v>
                </c:pt>
                <c:pt idx="27573">
                  <c:v>-1.84873949579831E-2</c:v>
                </c:pt>
                <c:pt idx="27574">
                  <c:v>-1.84873949579831E-2</c:v>
                </c:pt>
                <c:pt idx="27575">
                  <c:v>-1.84873949579831E-2</c:v>
                </c:pt>
                <c:pt idx="27576">
                  <c:v>-1.76470588235293E-2</c:v>
                </c:pt>
                <c:pt idx="27577">
                  <c:v>-1.76470588235293E-2</c:v>
                </c:pt>
                <c:pt idx="27578">
                  <c:v>-1.76470588235293E-2</c:v>
                </c:pt>
                <c:pt idx="27579">
                  <c:v>-1.76470588235293E-2</c:v>
                </c:pt>
                <c:pt idx="27580">
                  <c:v>-1.76470588235293E-2</c:v>
                </c:pt>
                <c:pt idx="27581">
                  <c:v>-1.76470588235293E-2</c:v>
                </c:pt>
                <c:pt idx="27582">
                  <c:v>-1.76470588235293E-2</c:v>
                </c:pt>
                <c:pt idx="27583">
                  <c:v>-1.76470588235293E-2</c:v>
                </c:pt>
                <c:pt idx="27584">
                  <c:v>-1.76470588235293E-2</c:v>
                </c:pt>
                <c:pt idx="27585">
                  <c:v>-1.76470588235293E-2</c:v>
                </c:pt>
                <c:pt idx="27586">
                  <c:v>-1.76470588235293E-2</c:v>
                </c:pt>
                <c:pt idx="27587">
                  <c:v>-1.6806722689075501E-2</c:v>
                </c:pt>
                <c:pt idx="27588">
                  <c:v>-1.6806722689075501E-2</c:v>
                </c:pt>
                <c:pt idx="27589">
                  <c:v>-1.6806722689075501E-2</c:v>
                </c:pt>
                <c:pt idx="27590">
                  <c:v>-1.6806722689075501E-2</c:v>
                </c:pt>
                <c:pt idx="27591">
                  <c:v>-1.6806722689075501E-2</c:v>
                </c:pt>
                <c:pt idx="27592">
                  <c:v>-1.6806722689075501E-2</c:v>
                </c:pt>
                <c:pt idx="27593">
                  <c:v>-1.6806722689075501E-2</c:v>
                </c:pt>
                <c:pt idx="27594">
                  <c:v>-1.6806722689075501E-2</c:v>
                </c:pt>
                <c:pt idx="27595">
                  <c:v>-1.6806722689075501E-2</c:v>
                </c:pt>
                <c:pt idx="27596">
                  <c:v>-1.6806722689075501E-2</c:v>
                </c:pt>
                <c:pt idx="27597">
                  <c:v>-1.6806722689075501E-2</c:v>
                </c:pt>
                <c:pt idx="27598">
                  <c:v>-1.6806722689075501E-2</c:v>
                </c:pt>
                <c:pt idx="27599">
                  <c:v>-1.6806722689075501E-2</c:v>
                </c:pt>
                <c:pt idx="27600">
                  <c:v>-1.6806722689075501E-2</c:v>
                </c:pt>
                <c:pt idx="27601">
                  <c:v>-1.6806722689075501E-2</c:v>
                </c:pt>
                <c:pt idx="27602">
                  <c:v>-1.6806722689075501E-2</c:v>
                </c:pt>
                <c:pt idx="27603">
                  <c:v>-1.6806722689075501E-2</c:v>
                </c:pt>
                <c:pt idx="27604">
                  <c:v>-1.6806722689075501E-2</c:v>
                </c:pt>
                <c:pt idx="27605">
                  <c:v>-1.6806722689075501E-2</c:v>
                </c:pt>
                <c:pt idx="27606">
                  <c:v>-1.7647058823529401E-2</c:v>
                </c:pt>
                <c:pt idx="27607">
                  <c:v>-1.7647058823529401E-2</c:v>
                </c:pt>
                <c:pt idx="27608">
                  <c:v>-1.7647058823529401E-2</c:v>
                </c:pt>
                <c:pt idx="27609">
                  <c:v>-1.7647058823529401E-2</c:v>
                </c:pt>
                <c:pt idx="27610">
                  <c:v>-1.7647058823529401E-2</c:v>
                </c:pt>
                <c:pt idx="27611">
                  <c:v>-1.7647058823529401E-2</c:v>
                </c:pt>
                <c:pt idx="27612">
                  <c:v>-1.7647058823529401E-2</c:v>
                </c:pt>
                <c:pt idx="27613">
                  <c:v>-1.7647058823529401E-2</c:v>
                </c:pt>
                <c:pt idx="27614">
                  <c:v>-1.7647058823529401E-2</c:v>
                </c:pt>
                <c:pt idx="27615">
                  <c:v>-1.7647058823529401E-2</c:v>
                </c:pt>
                <c:pt idx="27616">
                  <c:v>-1.7647058823529401E-2</c:v>
                </c:pt>
                <c:pt idx="27617">
                  <c:v>-1.7647058823529401E-2</c:v>
                </c:pt>
                <c:pt idx="27618">
                  <c:v>-1.7647058823529401E-2</c:v>
                </c:pt>
                <c:pt idx="27619">
                  <c:v>-1.7647058823529401E-2</c:v>
                </c:pt>
                <c:pt idx="27620">
                  <c:v>-1.7647058823529401E-2</c:v>
                </c:pt>
                <c:pt idx="27621">
                  <c:v>-1.7647058823529401E-2</c:v>
                </c:pt>
                <c:pt idx="27622">
                  <c:v>-1.7647058823529401E-2</c:v>
                </c:pt>
                <c:pt idx="27623">
                  <c:v>-1.7647058823529401E-2</c:v>
                </c:pt>
                <c:pt idx="27624">
                  <c:v>-1.7647058823529401E-2</c:v>
                </c:pt>
                <c:pt idx="27625">
                  <c:v>-1.7647058823529401E-2</c:v>
                </c:pt>
                <c:pt idx="27626">
                  <c:v>-1.7647058823529401E-2</c:v>
                </c:pt>
                <c:pt idx="27627">
                  <c:v>-1.7647058823529401E-2</c:v>
                </c:pt>
                <c:pt idx="27628">
                  <c:v>-1.7647058823529401E-2</c:v>
                </c:pt>
                <c:pt idx="27629">
                  <c:v>-1.7647058823529401E-2</c:v>
                </c:pt>
                <c:pt idx="27630">
                  <c:v>-1.7647058823529401E-2</c:v>
                </c:pt>
                <c:pt idx="27631">
                  <c:v>-1.7647058823529401E-2</c:v>
                </c:pt>
                <c:pt idx="27632">
                  <c:v>-1.7647058823529401E-2</c:v>
                </c:pt>
                <c:pt idx="27633">
                  <c:v>-1.7647058823529401E-2</c:v>
                </c:pt>
                <c:pt idx="27634">
                  <c:v>-1.7647058823529401E-2</c:v>
                </c:pt>
                <c:pt idx="27635">
                  <c:v>-1.7647058823529401E-2</c:v>
                </c:pt>
                <c:pt idx="27636">
                  <c:v>-1.7647058823529401E-2</c:v>
                </c:pt>
                <c:pt idx="27637">
                  <c:v>-1.7647058823529401E-2</c:v>
                </c:pt>
                <c:pt idx="27638">
                  <c:v>-1.7647058823529401E-2</c:v>
                </c:pt>
                <c:pt idx="27639">
                  <c:v>-1.7647058823529401E-2</c:v>
                </c:pt>
                <c:pt idx="27640">
                  <c:v>-1.7647058823529401E-2</c:v>
                </c:pt>
                <c:pt idx="27641">
                  <c:v>-1.7647058823529401E-2</c:v>
                </c:pt>
                <c:pt idx="27642">
                  <c:v>-1.7647058823529401E-2</c:v>
                </c:pt>
                <c:pt idx="27643">
                  <c:v>-1.7647058823529401E-2</c:v>
                </c:pt>
                <c:pt idx="27644">
                  <c:v>-1.7647058823529401E-2</c:v>
                </c:pt>
                <c:pt idx="27645">
                  <c:v>-1.7647058823529401E-2</c:v>
                </c:pt>
                <c:pt idx="27646">
                  <c:v>-1.7647058823529401E-2</c:v>
                </c:pt>
                <c:pt idx="27647">
                  <c:v>-1.7647058823529401E-2</c:v>
                </c:pt>
                <c:pt idx="27648">
                  <c:v>-1.7647058823529401E-2</c:v>
                </c:pt>
                <c:pt idx="27649">
                  <c:v>-1.7647058823529401E-2</c:v>
                </c:pt>
                <c:pt idx="27650">
                  <c:v>-1.7647058823529401E-2</c:v>
                </c:pt>
                <c:pt idx="27651">
                  <c:v>-1.7647058823529401E-2</c:v>
                </c:pt>
                <c:pt idx="27652">
                  <c:v>-1.7647058823529401E-2</c:v>
                </c:pt>
                <c:pt idx="27653">
                  <c:v>-1.7647058823529401E-2</c:v>
                </c:pt>
                <c:pt idx="27654">
                  <c:v>-1.7647058823529401E-2</c:v>
                </c:pt>
                <c:pt idx="27655">
                  <c:v>-1.7647058823529401E-2</c:v>
                </c:pt>
                <c:pt idx="27656">
                  <c:v>-1.7647058823529401E-2</c:v>
                </c:pt>
                <c:pt idx="27657">
                  <c:v>-1.7647058823529401E-2</c:v>
                </c:pt>
                <c:pt idx="27658">
                  <c:v>-1.7647058823529401E-2</c:v>
                </c:pt>
                <c:pt idx="27659">
                  <c:v>-1.7647058823529401E-2</c:v>
                </c:pt>
                <c:pt idx="27660">
                  <c:v>-1.7647058823529401E-2</c:v>
                </c:pt>
                <c:pt idx="27661">
                  <c:v>-1.7647058823529401E-2</c:v>
                </c:pt>
                <c:pt idx="27662">
                  <c:v>-1.7647058823529401E-2</c:v>
                </c:pt>
                <c:pt idx="27663">
                  <c:v>-1.7647058823529401E-2</c:v>
                </c:pt>
                <c:pt idx="27664">
                  <c:v>-1.7647058823529401E-2</c:v>
                </c:pt>
                <c:pt idx="27665">
                  <c:v>-1.7647058823529401E-2</c:v>
                </c:pt>
                <c:pt idx="27666">
                  <c:v>-1.7647058823529401E-2</c:v>
                </c:pt>
                <c:pt idx="27667">
                  <c:v>-1.7647058823529401E-2</c:v>
                </c:pt>
                <c:pt idx="27668">
                  <c:v>-1.7647058823529401E-2</c:v>
                </c:pt>
                <c:pt idx="27669">
                  <c:v>-1.7647058823529401E-2</c:v>
                </c:pt>
                <c:pt idx="27670">
                  <c:v>-1.7647058823529401E-2</c:v>
                </c:pt>
                <c:pt idx="27671">
                  <c:v>-1.7647058823529401E-2</c:v>
                </c:pt>
                <c:pt idx="27672">
                  <c:v>-1.7647058823529401E-2</c:v>
                </c:pt>
                <c:pt idx="27673">
                  <c:v>-1.7647058823529401E-2</c:v>
                </c:pt>
                <c:pt idx="27674">
                  <c:v>-1.7647058823529401E-2</c:v>
                </c:pt>
                <c:pt idx="27675">
                  <c:v>-1.7647058823529401E-2</c:v>
                </c:pt>
                <c:pt idx="27676">
                  <c:v>-1.7647058823529401E-2</c:v>
                </c:pt>
                <c:pt idx="27677">
                  <c:v>-1.7647058823529401E-2</c:v>
                </c:pt>
                <c:pt idx="27678">
                  <c:v>-1.7647058823529401E-2</c:v>
                </c:pt>
                <c:pt idx="27679">
                  <c:v>-1.7647058823529401E-2</c:v>
                </c:pt>
                <c:pt idx="27680">
                  <c:v>-1.7647058823529401E-2</c:v>
                </c:pt>
                <c:pt idx="27681">
                  <c:v>-1.7647058823529401E-2</c:v>
                </c:pt>
                <c:pt idx="27682">
                  <c:v>-1.7647058823529401E-2</c:v>
                </c:pt>
                <c:pt idx="27683">
                  <c:v>-1.7647058823529401E-2</c:v>
                </c:pt>
                <c:pt idx="27684">
                  <c:v>-1.7647058823529401E-2</c:v>
                </c:pt>
                <c:pt idx="27685">
                  <c:v>-1.7647058823529401E-2</c:v>
                </c:pt>
                <c:pt idx="27686">
                  <c:v>-1.7647058823529401E-2</c:v>
                </c:pt>
                <c:pt idx="27687">
                  <c:v>-1.7647058823529401E-2</c:v>
                </c:pt>
                <c:pt idx="27688">
                  <c:v>-1.7647058823529401E-2</c:v>
                </c:pt>
                <c:pt idx="27689">
                  <c:v>-1.7647058823529401E-2</c:v>
                </c:pt>
                <c:pt idx="27690">
                  <c:v>-1.7647058823529401E-2</c:v>
                </c:pt>
                <c:pt idx="27691">
                  <c:v>-1.7647058823529401E-2</c:v>
                </c:pt>
                <c:pt idx="27692">
                  <c:v>-1.7647058823529401E-2</c:v>
                </c:pt>
                <c:pt idx="27693">
                  <c:v>-1.7647058823529401E-2</c:v>
                </c:pt>
                <c:pt idx="27694">
                  <c:v>-1.7647058823529401E-2</c:v>
                </c:pt>
                <c:pt idx="27695">
                  <c:v>-1.7647058823529401E-2</c:v>
                </c:pt>
                <c:pt idx="27696">
                  <c:v>-1.7647058823529401E-2</c:v>
                </c:pt>
                <c:pt idx="27697">
                  <c:v>-1.7647058823529401E-2</c:v>
                </c:pt>
                <c:pt idx="27698">
                  <c:v>-1.7647058823529401E-2</c:v>
                </c:pt>
                <c:pt idx="27699">
                  <c:v>-1.7647058823529401E-2</c:v>
                </c:pt>
                <c:pt idx="27700">
                  <c:v>-1.7647058823529401E-2</c:v>
                </c:pt>
                <c:pt idx="27701">
                  <c:v>-1.7647058823529401E-2</c:v>
                </c:pt>
                <c:pt idx="27702">
                  <c:v>-1.7647058823529401E-2</c:v>
                </c:pt>
                <c:pt idx="27703">
                  <c:v>-1.7647058823529401E-2</c:v>
                </c:pt>
                <c:pt idx="27704">
                  <c:v>-1.7647058823529401E-2</c:v>
                </c:pt>
                <c:pt idx="27705">
                  <c:v>-1.7647058823529401E-2</c:v>
                </c:pt>
                <c:pt idx="27706">
                  <c:v>-1.7647058823529401E-2</c:v>
                </c:pt>
                <c:pt idx="27707">
                  <c:v>-1.7647058823529401E-2</c:v>
                </c:pt>
                <c:pt idx="27708">
                  <c:v>-1.7647058823529401E-2</c:v>
                </c:pt>
                <c:pt idx="27709">
                  <c:v>-1.7647058823529401E-2</c:v>
                </c:pt>
                <c:pt idx="27710">
                  <c:v>-1.7647058823529401E-2</c:v>
                </c:pt>
                <c:pt idx="27711">
                  <c:v>-1.7647058823529401E-2</c:v>
                </c:pt>
                <c:pt idx="27712">
                  <c:v>-1.7647058823529401E-2</c:v>
                </c:pt>
                <c:pt idx="27713">
                  <c:v>-1.7647058823529401E-2</c:v>
                </c:pt>
                <c:pt idx="27714">
                  <c:v>-1.7647058823529401E-2</c:v>
                </c:pt>
                <c:pt idx="27715">
                  <c:v>-1.7647058823529401E-2</c:v>
                </c:pt>
                <c:pt idx="27716">
                  <c:v>-1.7647058823529401E-2</c:v>
                </c:pt>
                <c:pt idx="27717">
                  <c:v>-1.7647058823529401E-2</c:v>
                </c:pt>
                <c:pt idx="27718">
                  <c:v>-1.7647058823529401E-2</c:v>
                </c:pt>
                <c:pt idx="27719">
                  <c:v>-1.7647058823529401E-2</c:v>
                </c:pt>
                <c:pt idx="27720">
                  <c:v>-1.7647058823529401E-2</c:v>
                </c:pt>
                <c:pt idx="27721">
                  <c:v>-1.7647058823529401E-2</c:v>
                </c:pt>
                <c:pt idx="27722">
                  <c:v>-1.7647058823529401E-2</c:v>
                </c:pt>
                <c:pt idx="27723">
                  <c:v>-1.7647058823529401E-2</c:v>
                </c:pt>
                <c:pt idx="27724">
                  <c:v>-1.7647058823529401E-2</c:v>
                </c:pt>
                <c:pt idx="27725">
                  <c:v>-1.7647058823529401E-2</c:v>
                </c:pt>
                <c:pt idx="27726">
                  <c:v>-1.7647058823529401E-2</c:v>
                </c:pt>
                <c:pt idx="27727">
                  <c:v>-1.7647058823529401E-2</c:v>
                </c:pt>
                <c:pt idx="27728">
                  <c:v>-1.7647058823529401E-2</c:v>
                </c:pt>
                <c:pt idx="27729">
                  <c:v>-1.7647058823529401E-2</c:v>
                </c:pt>
                <c:pt idx="27730">
                  <c:v>-1.7647058823529401E-2</c:v>
                </c:pt>
                <c:pt idx="27731">
                  <c:v>-1.7647058823529401E-2</c:v>
                </c:pt>
                <c:pt idx="27732">
                  <c:v>-1.7647058823529401E-2</c:v>
                </c:pt>
                <c:pt idx="27733">
                  <c:v>-1.7647058823529401E-2</c:v>
                </c:pt>
                <c:pt idx="27734">
                  <c:v>-1.7647058823529401E-2</c:v>
                </c:pt>
                <c:pt idx="27735">
                  <c:v>-1.7647058823529401E-2</c:v>
                </c:pt>
                <c:pt idx="27736">
                  <c:v>-1.7647058823529401E-2</c:v>
                </c:pt>
                <c:pt idx="27737">
                  <c:v>-1.7647058823529401E-2</c:v>
                </c:pt>
                <c:pt idx="27738">
                  <c:v>-1.7647058823529401E-2</c:v>
                </c:pt>
                <c:pt idx="27739">
                  <c:v>-1.7647058823529401E-2</c:v>
                </c:pt>
                <c:pt idx="27740">
                  <c:v>-1.7647058823529401E-2</c:v>
                </c:pt>
                <c:pt idx="27741">
                  <c:v>-1.7647058823529401E-2</c:v>
                </c:pt>
                <c:pt idx="27742">
                  <c:v>-1.7647058823529401E-2</c:v>
                </c:pt>
                <c:pt idx="27743">
                  <c:v>-1.7647058823529401E-2</c:v>
                </c:pt>
                <c:pt idx="27744">
                  <c:v>-1.7647058823529401E-2</c:v>
                </c:pt>
                <c:pt idx="27745">
                  <c:v>-1.7647058823529401E-2</c:v>
                </c:pt>
                <c:pt idx="27746">
                  <c:v>-1.7647058823529401E-2</c:v>
                </c:pt>
                <c:pt idx="27747">
                  <c:v>-1.7647058823529401E-2</c:v>
                </c:pt>
                <c:pt idx="27748">
                  <c:v>-1.7647058823529401E-2</c:v>
                </c:pt>
                <c:pt idx="27749">
                  <c:v>-1.7647058823529401E-2</c:v>
                </c:pt>
                <c:pt idx="27750">
                  <c:v>-1.7647058823529401E-2</c:v>
                </c:pt>
                <c:pt idx="27751">
                  <c:v>-1.7647058823529401E-2</c:v>
                </c:pt>
                <c:pt idx="27752">
                  <c:v>-1.7647058823529401E-2</c:v>
                </c:pt>
                <c:pt idx="27753">
                  <c:v>-1.7647058823529401E-2</c:v>
                </c:pt>
                <c:pt idx="27754">
                  <c:v>-1.7647058823529401E-2</c:v>
                </c:pt>
                <c:pt idx="27755">
                  <c:v>-1.7647058823529401E-2</c:v>
                </c:pt>
                <c:pt idx="27756">
                  <c:v>-1.7647058823529401E-2</c:v>
                </c:pt>
                <c:pt idx="27757">
                  <c:v>-1.7647058823529401E-2</c:v>
                </c:pt>
                <c:pt idx="27758">
                  <c:v>-1.7647058823529401E-2</c:v>
                </c:pt>
                <c:pt idx="27759">
                  <c:v>-1.7647058823529401E-2</c:v>
                </c:pt>
                <c:pt idx="27760">
                  <c:v>-1.7647058823529401E-2</c:v>
                </c:pt>
                <c:pt idx="27761">
                  <c:v>-1.7647058823529401E-2</c:v>
                </c:pt>
                <c:pt idx="27762">
                  <c:v>-1.84873949579832E-2</c:v>
                </c:pt>
                <c:pt idx="27763">
                  <c:v>-1.84873949579832E-2</c:v>
                </c:pt>
                <c:pt idx="27764">
                  <c:v>-1.84873949579832E-2</c:v>
                </c:pt>
                <c:pt idx="27765">
                  <c:v>-1.84873949579832E-2</c:v>
                </c:pt>
                <c:pt idx="27766">
                  <c:v>-1.84873949579832E-2</c:v>
                </c:pt>
                <c:pt idx="27767">
                  <c:v>-1.84873949579832E-2</c:v>
                </c:pt>
                <c:pt idx="27768">
                  <c:v>-1.84873949579832E-2</c:v>
                </c:pt>
                <c:pt idx="27769">
                  <c:v>-1.84873949579832E-2</c:v>
                </c:pt>
                <c:pt idx="27770">
                  <c:v>-1.84873949579832E-2</c:v>
                </c:pt>
                <c:pt idx="27771">
                  <c:v>-1.84873949579832E-2</c:v>
                </c:pt>
                <c:pt idx="27772">
                  <c:v>-1.84873949579832E-2</c:v>
                </c:pt>
                <c:pt idx="27773">
                  <c:v>-1.84873949579832E-2</c:v>
                </c:pt>
                <c:pt idx="27774">
                  <c:v>-1.84873949579832E-2</c:v>
                </c:pt>
                <c:pt idx="27775">
                  <c:v>-1.84873949579832E-2</c:v>
                </c:pt>
                <c:pt idx="27776">
                  <c:v>-1.84873949579832E-2</c:v>
                </c:pt>
                <c:pt idx="27777">
                  <c:v>-1.84873949579832E-2</c:v>
                </c:pt>
                <c:pt idx="27778">
                  <c:v>-1.84873949579832E-2</c:v>
                </c:pt>
                <c:pt idx="27779">
                  <c:v>-1.84873949579832E-2</c:v>
                </c:pt>
                <c:pt idx="27780">
                  <c:v>-1.84873949579832E-2</c:v>
                </c:pt>
                <c:pt idx="27781">
                  <c:v>-1.84873949579832E-2</c:v>
                </c:pt>
                <c:pt idx="27782">
                  <c:v>-1.9327731092437E-2</c:v>
                </c:pt>
                <c:pt idx="27783">
                  <c:v>-1.9327731092437E-2</c:v>
                </c:pt>
                <c:pt idx="27784">
                  <c:v>-1.9327731092437E-2</c:v>
                </c:pt>
                <c:pt idx="27785">
                  <c:v>-1.9327731092437E-2</c:v>
                </c:pt>
                <c:pt idx="27786">
                  <c:v>-1.9327731092437E-2</c:v>
                </c:pt>
                <c:pt idx="27787">
                  <c:v>-1.9327731092437E-2</c:v>
                </c:pt>
                <c:pt idx="27788">
                  <c:v>-1.9327731092437E-2</c:v>
                </c:pt>
                <c:pt idx="27789">
                  <c:v>-1.9327731092437E-2</c:v>
                </c:pt>
                <c:pt idx="27790">
                  <c:v>-1.9327731092437E-2</c:v>
                </c:pt>
                <c:pt idx="27791">
                  <c:v>-1.9327731092437E-2</c:v>
                </c:pt>
                <c:pt idx="27792">
                  <c:v>-1.9327731092437E-2</c:v>
                </c:pt>
                <c:pt idx="27793">
                  <c:v>-1.9327731092437E-2</c:v>
                </c:pt>
                <c:pt idx="27794">
                  <c:v>-1.9327731092437E-2</c:v>
                </c:pt>
                <c:pt idx="27795">
                  <c:v>-1.9327731092437E-2</c:v>
                </c:pt>
                <c:pt idx="27796">
                  <c:v>-1.9327731092437E-2</c:v>
                </c:pt>
                <c:pt idx="27797">
                  <c:v>-1.9327731092437E-2</c:v>
                </c:pt>
                <c:pt idx="27798">
                  <c:v>-1.9327731092437E-2</c:v>
                </c:pt>
                <c:pt idx="27799">
                  <c:v>-1.9327731092437E-2</c:v>
                </c:pt>
                <c:pt idx="27800">
                  <c:v>-1.9327731092437E-2</c:v>
                </c:pt>
                <c:pt idx="27801">
                  <c:v>-1.9327731092437E-2</c:v>
                </c:pt>
                <c:pt idx="27802">
                  <c:v>-1.9327731092437E-2</c:v>
                </c:pt>
                <c:pt idx="27803">
                  <c:v>-1.9327731092437E-2</c:v>
                </c:pt>
                <c:pt idx="27804">
                  <c:v>-1.9327731092437E-2</c:v>
                </c:pt>
                <c:pt idx="27805">
                  <c:v>-1.9327731092437E-2</c:v>
                </c:pt>
                <c:pt idx="27806">
                  <c:v>-1.9327731092437E-2</c:v>
                </c:pt>
                <c:pt idx="27807">
                  <c:v>-1.9327731092437E-2</c:v>
                </c:pt>
                <c:pt idx="27808">
                  <c:v>-1.9327731092437E-2</c:v>
                </c:pt>
                <c:pt idx="27809">
                  <c:v>-1.9327731092437E-2</c:v>
                </c:pt>
                <c:pt idx="27810">
                  <c:v>-1.9327731092437E-2</c:v>
                </c:pt>
                <c:pt idx="27811">
                  <c:v>-1.9327731092437E-2</c:v>
                </c:pt>
                <c:pt idx="27812">
                  <c:v>-1.9327731092437E-2</c:v>
                </c:pt>
                <c:pt idx="27813">
                  <c:v>-1.9327731092437E-2</c:v>
                </c:pt>
                <c:pt idx="27814">
                  <c:v>-1.9327731092437E-2</c:v>
                </c:pt>
                <c:pt idx="27815">
                  <c:v>-1.9327731092437E-2</c:v>
                </c:pt>
                <c:pt idx="27816">
                  <c:v>-1.9327731092437E-2</c:v>
                </c:pt>
                <c:pt idx="27817">
                  <c:v>-1.9327731092437E-2</c:v>
                </c:pt>
                <c:pt idx="27818">
                  <c:v>-1.9327731092437E-2</c:v>
                </c:pt>
                <c:pt idx="27819">
                  <c:v>-1.9327731092437E-2</c:v>
                </c:pt>
                <c:pt idx="27820">
                  <c:v>-1.9327731092437E-2</c:v>
                </c:pt>
                <c:pt idx="27821">
                  <c:v>-1.9327731092437E-2</c:v>
                </c:pt>
                <c:pt idx="27822">
                  <c:v>-1.9327731092437E-2</c:v>
                </c:pt>
                <c:pt idx="27823">
                  <c:v>-1.9327731092437E-2</c:v>
                </c:pt>
                <c:pt idx="27824">
                  <c:v>-1.9327731092437E-2</c:v>
                </c:pt>
                <c:pt idx="27825">
                  <c:v>-1.9327731092437E-2</c:v>
                </c:pt>
                <c:pt idx="27826">
                  <c:v>-1.9327731092437E-2</c:v>
                </c:pt>
                <c:pt idx="27827">
                  <c:v>-1.9327731092437E-2</c:v>
                </c:pt>
                <c:pt idx="27828">
                  <c:v>-1.9327731092437E-2</c:v>
                </c:pt>
                <c:pt idx="27829">
                  <c:v>-1.9327731092437E-2</c:v>
                </c:pt>
                <c:pt idx="27830">
                  <c:v>-1.9327731092437E-2</c:v>
                </c:pt>
                <c:pt idx="27831">
                  <c:v>-1.9327731092437E-2</c:v>
                </c:pt>
                <c:pt idx="27832">
                  <c:v>-1.9327731092437E-2</c:v>
                </c:pt>
                <c:pt idx="27833">
                  <c:v>-1.9327731092437E-2</c:v>
                </c:pt>
                <c:pt idx="27834">
                  <c:v>-1.9327731092437E-2</c:v>
                </c:pt>
                <c:pt idx="27835">
                  <c:v>-1.9327731092437E-2</c:v>
                </c:pt>
                <c:pt idx="27836">
                  <c:v>-1.9327731092437E-2</c:v>
                </c:pt>
                <c:pt idx="27837">
                  <c:v>-1.9327731092437E-2</c:v>
                </c:pt>
                <c:pt idx="27838">
                  <c:v>-1.9327731092437E-2</c:v>
                </c:pt>
                <c:pt idx="27839">
                  <c:v>-1.9327731092437E-2</c:v>
                </c:pt>
                <c:pt idx="27840">
                  <c:v>-1.9327731092437E-2</c:v>
                </c:pt>
                <c:pt idx="27841">
                  <c:v>-1.9327731092437E-2</c:v>
                </c:pt>
                <c:pt idx="27842">
                  <c:v>-1.9327731092437E-2</c:v>
                </c:pt>
                <c:pt idx="27843">
                  <c:v>-1.9327731092437E-2</c:v>
                </c:pt>
                <c:pt idx="27844">
                  <c:v>-1.9327731092437E-2</c:v>
                </c:pt>
                <c:pt idx="27845">
                  <c:v>-1.9327731092437E-2</c:v>
                </c:pt>
                <c:pt idx="27846">
                  <c:v>-1.9327731092437E-2</c:v>
                </c:pt>
                <c:pt idx="27847">
                  <c:v>-1.9327731092437E-2</c:v>
                </c:pt>
                <c:pt idx="27848">
                  <c:v>-1.9327731092437E-2</c:v>
                </c:pt>
                <c:pt idx="27849">
                  <c:v>-1.9327731092437E-2</c:v>
                </c:pt>
                <c:pt idx="27850">
                  <c:v>-1.9327731092437E-2</c:v>
                </c:pt>
                <c:pt idx="27851">
                  <c:v>-1.9327731092437E-2</c:v>
                </c:pt>
                <c:pt idx="27852">
                  <c:v>-1.9327731092437E-2</c:v>
                </c:pt>
                <c:pt idx="27853">
                  <c:v>-1.9327731092437E-2</c:v>
                </c:pt>
                <c:pt idx="27854">
                  <c:v>-1.9327731092437E-2</c:v>
                </c:pt>
                <c:pt idx="27855">
                  <c:v>-2.0168067226890699E-2</c:v>
                </c:pt>
                <c:pt idx="27856">
                  <c:v>-2.0168067226890699E-2</c:v>
                </c:pt>
                <c:pt idx="27857">
                  <c:v>-1.9327731092437E-2</c:v>
                </c:pt>
                <c:pt idx="27858">
                  <c:v>-1.9327731092437E-2</c:v>
                </c:pt>
                <c:pt idx="27859">
                  <c:v>-1.84873949579832E-2</c:v>
                </c:pt>
                <c:pt idx="27860">
                  <c:v>-1.84873949579832E-2</c:v>
                </c:pt>
                <c:pt idx="27861">
                  <c:v>-1.84873949579832E-2</c:v>
                </c:pt>
                <c:pt idx="27862">
                  <c:v>-1.84873949579832E-2</c:v>
                </c:pt>
                <c:pt idx="27863">
                  <c:v>-1.84873949579832E-2</c:v>
                </c:pt>
                <c:pt idx="27864">
                  <c:v>-1.84873949579832E-2</c:v>
                </c:pt>
                <c:pt idx="27865">
                  <c:v>-1.7647058823529401E-2</c:v>
                </c:pt>
                <c:pt idx="27866">
                  <c:v>-1.7647058823529401E-2</c:v>
                </c:pt>
                <c:pt idx="27867">
                  <c:v>-1.7647058823529401E-2</c:v>
                </c:pt>
                <c:pt idx="27868">
                  <c:v>-1.6806722689075598E-2</c:v>
                </c:pt>
                <c:pt idx="27869">
                  <c:v>-1.6806722689075598E-2</c:v>
                </c:pt>
                <c:pt idx="27870">
                  <c:v>-1.6806722689075598E-2</c:v>
                </c:pt>
                <c:pt idx="27871">
                  <c:v>-1.6806722689075598E-2</c:v>
                </c:pt>
                <c:pt idx="27872">
                  <c:v>-1.6806722689075598E-2</c:v>
                </c:pt>
                <c:pt idx="27873">
                  <c:v>-1.6806722689075598E-2</c:v>
                </c:pt>
                <c:pt idx="27874">
                  <c:v>-1.6806722689075598E-2</c:v>
                </c:pt>
                <c:pt idx="27875">
                  <c:v>-1.6806722689075598E-2</c:v>
                </c:pt>
                <c:pt idx="27876">
                  <c:v>-1.6806722689075598E-2</c:v>
                </c:pt>
                <c:pt idx="27877">
                  <c:v>-1.6806722689075598E-2</c:v>
                </c:pt>
                <c:pt idx="27878">
                  <c:v>-1.6806722689075598E-2</c:v>
                </c:pt>
                <c:pt idx="27879">
                  <c:v>-1.6806722689075598E-2</c:v>
                </c:pt>
                <c:pt idx="27880">
                  <c:v>-1.7647058823529401E-2</c:v>
                </c:pt>
                <c:pt idx="27881">
                  <c:v>-1.7647058823529401E-2</c:v>
                </c:pt>
                <c:pt idx="27882">
                  <c:v>-1.7647058823529401E-2</c:v>
                </c:pt>
                <c:pt idx="27883">
                  <c:v>-1.7647058823529401E-2</c:v>
                </c:pt>
                <c:pt idx="27884">
                  <c:v>-1.7647058823529401E-2</c:v>
                </c:pt>
                <c:pt idx="27885">
                  <c:v>-1.7647058823529401E-2</c:v>
                </c:pt>
                <c:pt idx="27886">
                  <c:v>-1.7647058823529401E-2</c:v>
                </c:pt>
                <c:pt idx="27887">
                  <c:v>-1.7647058823529401E-2</c:v>
                </c:pt>
                <c:pt idx="27888">
                  <c:v>-1.7647058823529401E-2</c:v>
                </c:pt>
                <c:pt idx="27889">
                  <c:v>-1.7647058823529401E-2</c:v>
                </c:pt>
                <c:pt idx="27890">
                  <c:v>-1.7647058823529401E-2</c:v>
                </c:pt>
                <c:pt idx="27891">
                  <c:v>-1.7647058823529401E-2</c:v>
                </c:pt>
                <c:pt idx="27892">
                  <c:v>-1.7647058823529401E-2</c:v>
                </c:pt>
                <c:pt idx="27893">
                  <c:v>-1.7647058823529401E-2</c:v>
                </c:pt>
                <c:pt idx="27894">
                  <c:v>-1.7647058823529401E-2</c:v>
                </c:pt>
                <c:pt idx="27895">
                  <c:v>-1.7647058823529401E-2</c:v>
                </c:pt>
                <c:pt idx="27896">
                  <c:v>-1.7647058823529401E-2</c:v>
                </c:pt>
                <c:pt idx="27897">
                  <c:v>-1.6806722689075598E-2</c:v>
                </c:pt>
                <c:pt idx="27898">
                  <c:v>-1.6806722689075598E-2</c:v>
                </c:pt>
                <c:pt idx="27899">
                  <c:v>-1.6806722689075598E-2</c:v>
                </c:pt>
                <c:pt idx="27900">
                  <c:v>-1.6806722689075598E-2</c:v>
                </c:pt>
                <c:pt idx="27901">
                  <c:v>-1.6806722689075598E-2</c:v>
                </c:pt>
                <c:pt idx="27902">
                  <c:v>-1.6806722689075598E-2</c:v>
                </c:pt>
                <c:pt idx="27903">
                  <c:v>-1.6806722689075598E-2</c:v>
                </c:pt>
                <c:pt idx="27904">
                  <c:v>-1.6806722689075598E-2</c:v>
                </c:pt>
                <c:pt idx="27905">
                  <c:v>-1.6806722689075598E-2</c:v>
                </c:pt>
                <c:pt idx="27906">
                  <c:v>-1.6806722689075598E-2</c:v>
                </c:pt>
                <c:pt idx="27907">
                  <c:v>-1.6806722689075598E-2</c:v>
                </c:pt>
                <c:pt idx="27908">
                  <c:v>-1.6806722689075598E-2</c:v>
                </c:pt>
                <c:pt idx="27909">
                  <c:v>-1.6806722689075598E-2</c:v>
                </c:pt>
                <c:pt idx="27910">
                  <c:v>-1.6806722689075598E-2</c:v>
                </c:pt>
                <c:pt idx="27911">
                  <c:v>-1.6806722689075598E-2</c:v>
                </c:pt>
                <c:pt idx="27912">
                  <c:v>-1.6806722689075598E-2</c:v>
                </c:pt>
                <c:pt idx="27913">
                  <c:v>-1.6806722689075598E-2</c:v>
                </c:pt>
                <c:pt idx="27914">
                  <c:v>-1.6806722689075598E-2</c:v>
                </c:pt>
                <c:pt idx="27915">
                  <c:v>-1.6806722689075598E-2</c:v>
                </c:pt>
                <c:pt idx="27916">
                  <c:v>-1.6806722689075598E-2</c:v>
                </c:pt>
                <c:pt idx="27917">
                  <c:v>-1.6806722689075598E-2</c:v>
                </c:pt>
                <c:pt idx="27918">
                  <c:v>-1.6806722689075598E-2</c:v>
                </c:pt>
                <c:pt idx="27919">
                  <c:v>-1.6806722689075598E-2</c:v>
                </c:pt>
                <c:pt idx="27920">
                  <c:v>-1.6806722689075598E-2</c:v>
                </c:pt>
                <c:pt idx="27921">
                  <c:v>-1.6806722689075598E-2</c:v>
                </c:pt>
                <c:pt idx="27922">
                  <c:v>-1.6806722689075598E-2</c:v>
                </c:pt>
                <c:pt idx="27923">
                  <c:v>-1.6806722689075598E-2</c:v>
                </c:pt>
                <c:pt idx="27924">
                  <c:v>-1.6806722689075598E-2</c:v>
                </c:pt>
                <c:pt idx="27925">
                  <c:v>-1.6806722689075598E-2</c:v>
                </c:pt>
                <c:pt idx="27926">
                  <c:v>-1.59663865546219E-2</c:v>
                </c:pt>
                <c:pt idx="27927">
                  <c:v>-1.59663865546219E-2</c:v>
                </c:pt>
                <c:pt idx="27928">
                  <c:v>-1.59663865546219E-2</c:v>
                </c:pt>
                <c:pt idx="27929">
                  <c:v>-1.59663865546219E-2</c:v>
                </c:pt>
                <c:pt idx="27930">
                  <c:v>-1.59663865546219E-2</c:v>
                </c:pt>
                <c:pt idx="27931">
                  <c:v>-1.59663865546219E-2</c:v>
                </c:pt>
                <c:pt idx="27932">
                  <c:v>-1.59663865546219E-2</c:v>
                </c:pt>
                <c:pt idx="27933">
                  <c:v>-1.59663865546219E-2</c:v>
                </c:pt>
                <c:pt idx="27934">
                  <c:v>-1.59663865546219E-2</c:v>
                </c:pt>
                <c:pt idx="27935">
                  <c:v>-1.59663865546219E-2</c:v>
                </c:pt>
                <c:pt idx="27936">
                  <c:v>-1.59663865546219E-2</c:v>
                </c:pt>
                <c:pt idx="27937">
                  <c:v>-1.59663865546219E-2</c:v>
                </c:pt>
                <c:pt idx="27938">
                  <c:v>-1.59663865546219E-2</c:v>
                </c:pt>
                <c:pt idx="27939">
                  <c:v>-1.59663865546219E-2</c:v>
                </c:pt>
                <c:pt idx="27940">
                  <c:v>-1.59663865546219E-2</c:v>
                </c:pt>
                <c:pt idx="27941">
                  <c:v>-1.59663865546219E-2</c:v>
                </c:pt>
                <c:pt idx="27942">
                  <c:v>-1.59663865546219E-2</c:v>
                </c:pt>
                <c:pt idx="27943">
                  <c:v>-1.59663865546219E-2</c:v>
                </c:pt>
                <c:pt idx="27944">
                  <c:v>-1.59663865546219E-2</c:v>
                </c:pt>
                <c:pt idx="27945">
                  <c:v>-1.59663865546219E-2</c:v>
                </c:pt>
                <c:pt idx="27946">
                  <c:v>-1.6806722689075598E-2</c:v>
                </c:pt>
                <c:pt idx="27947">
                  <c:v>-1.6806722689075598E-2</c:v>
                </c:pt>
                <c:pt idx="27948">
                  <c:v>-1.6806722689075598E-2</c:v>
                </c:pt>
                <c:pt idx="27949">
                  <c:v>-1.6806722689075598E-2</c:v>
                </c:pt>
                <c:pt idx="27950">
                  <c:v>-1.6806722689075598E-2</c:v>
                </c:pt>
                <c:pt idx="27951">
                  <c:v>-1.6806722689075598E-2</c:v>
                </c:pt>
                <c:pt idx="27952">
                  <c:v>-1.6806722689075598E-2</c:v>
                </c:pt>
                <c:pt idx="27953">
                  <c:v>-1.6806722689075598E-2</c:v>
                </c:pt>
                <c:pt idx="27954">
                  <c:v>-1.6806722689075598E-2</c:v>
                </c:pt>
                <c:pt idx="27955">
                  <c:v>-1.6806722689075598E-2</c:v>
                </c:pt>
                <c:pt idx="27956">
                  <c:v>-1.6806722689075598E-2</c:v>
                </c:pt>
                <c:pt idx="27957">
                  <c:v>-1.6806722689075598E-2</c:v>
                </c:pt>
                <c:pt idx="27958">
                  <c:v>-1.6806722689075598E-2</c:v>
                </c:pt>
                <c:pt idx="27959">
                  <c:v>-1.6806722689075598E-2</c:v>
                </c:pt>
                <c:pt idx="27960">
                  <c:v>-1.6806722689075598E-2</c:v>
                </c:pt>
                <c:pt idx="27961">
                  <c:v>-1.6806722689075598E-2</c:v>
                </c:pt>
                <c:pt idx="27962">
                  <c:v>-1.6806722689075598E-2</c:v>
                </c:pt>
                <c:pt idx="27963">
                  <c:v>-1.6806722689075598E-2</c:v>
                </c:pt>
                <c:pt idx="27964">
                  <c:v>-1.6806722689075598E-2</c:v>
                </c:pt>
                <c:pt idx="27965">
                  <c:v>-1.6806722689075598E-2</c:v>
                </c:pt>
                <c:pt idx="27966">
                  <c:v>-1.6806722689075598E-2</c:v>
                </c:pt>
                <c:pt idx="27967">
                  <c:v>-1.6806722689075598E-2</c:v>
                </c:pt>
                <c:pt idx="27968">
                  <c:v>-1.6806722689075598E-2</c:v>
                </c:pt>
                <c:pt idx="27969">
                  <c:v>-1.6806722689075598E-2</c:v>
                </c:pt>
                <c:pt idx="27970">
                  <c:v>-1.6806722689075598E-2</c:v>
                </c:pt>
                <c:pt idx="27971">
                  <c:v>-1.6806722689075598E-2</c:v>
                </c:pt>
                <c:pt idx="27972">
                  <c:v>-1.6806722689075598E-2</c:v>
                </c:pt>
                <c:pt idx="27973">
                  <c:v>-1.6806722689075598E-2</c:v>
                </c:pt>
                <c:pt idx="27974">
                  <c:v>-1.6806722689075598E-2</c:v>
                </c:pt>
                <c:pt idx="27975">
                  <c:v>-1.6806722689075598E-2</c:v>
                </c:pt>
                <c:pt idx="27976">
                  <c:v>-1.6806722689075598E-2</c:v>
                </c:pt>
                <c:pt idx="27977">
                  <c:v>-1.6806722689075598E-2</c:v>
                </c:pt>
                <c:pt idx="27978">
                  <c:v>-1.6806722689075598E-2</c:v>
                </c:pt>
                <c:pt idx="27979">
                  <c:v>-1.6806722689075598E-2</c:v>
                </c:pt>
                <c:pt idx="27980">
                  <c:v>-1.6806722689075598E-2</c:v>
                </c:pt>
                <c:pt idx="27981">
                  <c:v>-1.6806722689075598E-2</c:v>
                </c:pt>
                <c:pt idx="27982">
                  <c:v>-1.6806722689075598E-2</c:v>
                </c:pt>
                <c:pt idx="27983">
                  <c:v>-1.6806722689075598E-2</c:v>
                </c:pt>
                <c:pt idx="27984">
                  <c:v>-1.6806722689075598E-2</c:v>
                </c:pt>
                <c:pt idx="27985">
                  <c:v>-1.6806722689075598E-2</c:v>
                </c:pt>
                <c:pt idx="27986">
                  <c:v>-1.6806722689075598E-2</c:v>
                </c:pt>
                <c:pt idx="27987">
                  <c:v>-1.6806722689075598E-2</c:v>
                </c:pt>
                <c:pt idx="27988">
                  <c:v>-1.6806722689075598E-2</c:v>
                </c:pt>
                <c:pt idx="27989">
                  <c:v>-1.59663865546219E-2</c:v>
                </c:pt>
                <c:pt idx="27990">
                  <c:v>-1.59663865546219E-2</c:v>
                </c:pt>
                <c:pt idx="27991">
                  <c:v>-1.59663865546219E-2</c:v>
                </c:pt>
                <c:pt idx="27992">
                  <c:v>-1.59663865546219E-2</c:v>
                </c:pt>
                <c:pt idx="27993">
                  <c:v>-1.59663865546219E-2</c:v>
                </c:pt>
                <c:pt idx="27994">
                  <c:v>-1.59663865546219E-2</c:v>
                </c:pt>
                <c:pt idx="27995">
                  <c:v>-1.59663865546219E-2</c:v>
                </c:pt>
                <c:pt idx="27996">
                  <c:v>-1.59663865546219E-2</c:v>
                </c:pt>
                <c:pt idx="27997">
                  <c:v>-1.59663865546219E-2</c:v>
                </c:pt>
                <c:pt idx="27998">
                  <c:v>-1.59663865546219E-2</c:v>
                </c:pt>
                <c:pt idx="27999">
                  <c:v>-1.59663865546219E-2</c:v>
                </c:pt>
                <c:pt idx="28000">
                  <c:v>-1.59663865546219E-2</c:v>
                </c:pt>
                <c:pt idx="28001">
                  <c:v>-1.59663865546219E-2</c:v>
                </c:pt>
                <c:pt idx="28002">
                  <c:v>-1.59663865546219E-2</c:v>
                </c:pt>
                <c:pt idx="28003">
                  <c:v>-1.51260504201681E-2</c:v>
                </c:pt>
                <c:pt idx="28004">
                  <c:v>-1.51260504201681E-2</c:v>
                </c:pt>
                <c:pt idx="28005">
                  <c:v>-1.51260504201681E-2</c:v>
                </c:pt>
                <c:pt idx="28006">
                  <c:v>-1.51260504201681E-2</c:v>
                </c:pt>
                <c:pt idx="28007">
                  <c:v>-1.51260504201681E-2</c:v>
                </c:pt>
                <c:pt idx="28008">
                  <c:v>-1.51260504201681E-2</c:v>
                </c:pt>
                <c:pt idx="28009">
                  <c:v>-1.51260504201681E-2</c:v>
                </c:pt>
                <c:pt idx="28010">
                  <c:v>-1.51260504201681E-2</c:v>
                </c:pt>
                <c:pt idx="28011">
                  <c:v>-1.51260504201681E-2</c:v>
                </c:pt>
                <c:pt idx="28012">
                  <c:v>-1.51260504201681E-2</c:v>
                </c:pt>
                <c:pt idx="28013">
                  <c:v>-1.51260504201681E-2</c:v>
                </c:pt>
                <c:pt idx="28014">
                  <c:v>-1.51260504201681E-2</c:v>
                </c:pt>
                <c:pt idx="28015">
                  <c:v>-1.51260504201681E-2</c:v>
                </c:pt>
                <c:pt idx="28016">
                  <c:v>-1.51260504201681E-2</c:v>
                </c:pt>
                <c:pt idx="28017">
                  <c:v>-1.51260504201681E-2</c:v>
                </c:pt>
                <c:pt idx="28018">
                  <c:v>-1.51260504201681E-2</c:v>
                </c:pt>
                <c:pt idx="28019">
                  <c:v>-1.51260504201681E-2</c:v>
                </c:pt>
                <c:pt idx="28020">
                  <c:v>-1.51260504201681E-2</c:v>
                </c:pt>
                <c:pt idx="28021">
                  <c:v>-1.51260504201681E-2</c:v>
                </c:pt>
                <c:pt idx="28022">
                  <c:v>-1.51260504201681E-2</c:v>
                </c:pt>
                <c:pt idx="28023">
                  <c:v>-1.51260504201681E-2</c:v>
                </c:pt>
                <c:pt idx="28024">
                  <c:v>-1.51260504201681E-2</c:v>
                </c:pt>
                <c:pt idx="28025">
                  <c:v>-1.51260504201681E-2</c:v>
                </c:pt>
                <c:pt idx="28026">
                  <c:v>-1.51260504201681E-2</c:v>
                </c:pt>
                <c:pt idx="28027">
                  <c:v>-1.51260504201681E-2</c:v>
                </c:pt>
                <c:pt idx="28028">
                  <c:v>-1.51260504201681E-2</c:v>
                </c:pt>
                <c:pt idx="28029">
                  <c:v>-1.51260504201681E-2</c:v>
                </c:pt>
                <c:pt idx="28030">
                  <c:v>-1.51260504201681E-2</c:v>
                </c:pt>
                <c:pt idx="28031">
                  <c:v>-1.51260504201681E-2</c:v>
                </c:pt>
                <c:pt idx="28032">
                  <c:v>-1.51260504201681E-2</c:v>
                </c:pt>
                <c:pt idx="28033">
                  <c:v>-1.51260504201681E-2</c:v>
                </c:pt>
                <c:pt idx="28034">
                  <c:v>-1.51260504201681E-2</c:v>
                </c:pt>
                <c:pt idx="28035">
                  <c:v>-1.51260504201681E-2</c:v>
                </c:pt>
                <c:pt idx="28036">
                  <c:v>-1.51260504201681E-2</c:v>
                </c:pt>
                <c:pt idx="28037">
                  <c:v>-1.51260504201681E-2</c:v>
                </c:pt>
                <c:pt idx="28038">
                  <c:v>-1.51260504201681E-2</c:v>
                </c:pt>
                <c:pt idx="28039">
                  <c:v>-1.51260504201681E-2</c:v>
                </c:pt>
                <c:pt idx="28040">
                  <c:v>-1.51260504201681E-2</c:v>
                </c:pt>
                <c:pt idx="28041">
                  <c:v>-1.51260504201681E-2</c:v>
                </c:pt>
                <c:pt idx="28042">
                  <c:v>-1.51260504201681E-2</c:v>
                </c:pt>
                <c:pt idx="28043">
                  <c:v>-1.51260504201681E-2</c:v>
                </c:pt>
                <c:pt idx="28044">
                  <c:v>-1.51260504201681E-2</c:v>
                </c:pt>
                <c:pt idx="28045">
                  <c:v>-1.51260504201681E-2</c:v>
                </c:pt>
                <c:pt idx="28046">
                  <c:v>-1.51260504201681E-2</c:v>
                </c:pt>
                <c:pt idx="28047">
                  <c:v>-1.51260504201681E-2</c:v>
                </c:pt>
                <c:pt idx="28048">
                  <c:v>-1.51260504201681E-2</c:v>
                </c:pt>
                <c:pt idx="28049">
                  <c:v>-1.51260504201681E-2</c:v>
                </c:pt>
                <c:pt idx="28050">
                  <c:v>-1.51260504201681E-2</c:v>
                </c:pt>
                <c:pt idx="28051">
                  <c:v>-1.51260504201681E-2</c:v>
                </c:pt>
                <c:pt idx="28052">
                  <c:v>-1.51260504201681E-2</c:v>
                </c:pt>
                <c:pt idx="28053">
                  <c:v>-1.51260504201681E-2</c:v>
                </c:pt>
                <c:pt idx="28054">
                  <c:v>-1.51260504201681E-2</c:v>
                </c:pt>
                <c:pt idx="28055">
                  <c:v>-1.51260504201681E-2</c:v>
                </c:pt>
                <c:pt idx="28056">
                  <c:v>-1.51260504201681E-2</c:v>
                </c:pt>
                <c:pt idx="28057">
                  <c:v>-1.51260504201681E-2</c:v>
                </c:pt>
                <c:pt idx="28058">
                  <c:v>-1.51260504201681E-2</c:v>
                </c:pt>
                <c:pt idx="28059">
                  <c:v>-1.51260504201681E-2</c:v>
                </c:pt>
                <c:pt idx="28060">
                  <c:v>-1.51260504201681E-2</c:v>
                </c:pt>
                <c:pt idx="28061">
                  <c:v>-1.4285714285714299E-2</c:v>
                </c:pt>
                <c:pt idx="28062">
                  <c:v>-1.4285714285714299E-2</c:v>
                </c:pt>
                <c:pt idx="28063">
                  <c:v>-1.4285714285714299E-2</c:v>
                </c:pt>
                <c:pt idx="28064">
                  <c:v>-1.4285714285714299E-2</c:v>
                </c:pt>
                <c:pt idx="28065">
                  <c:v>-1.4285714285714299E-2</c:v>
                </c:pt>
                <c:pt idx="28066">
                  <c:v>-1.4285714285714299E-2</c:v>
                </c:pt>
                <c:pt idx="28067">
                  <c:v>-1.4285714285714299E-2</c:v>
                </c:pt>
                <c:pt idx="28068">
                  <c:v>-1.4285714285714299E-2</c:v>
                </c:pt>
                <c:pt idx="28069">
                  <c:v>-1.4285714285714299E-2</c:v>
                </c:pt>
                <c:pt idx="28070">
                  <c:v>-1.4285714285714299E-2</c:v>
                </c:pt>
                <c:pt idx="28071">
                  <c:v>-1.4285714285714299E-2</c:v>
                </c:pt>
                <c:pt idx="28072">
                  <c:v>-1.4285714285714299E-2</c:v>
                </c:pt>
                <c:pt idx="28073">
                  <c:v>-1.4285714285714299E-2</c:v>
                </c:pt>
                <c:pt idx="28074">
                  <c:v>-1.4285714285714299E-2</c:v>
                </c:pt>
                <c:pt idx="28075">
                  <c:v>-1.4285714285714299E-2</c:v>
                </c:pt>
                <c:pt idx="28076">
                  <c:v>-1.4285714285714299E-2</c:v>
                </c:pt>
                <c:pt idx="28077">
                  <c:v>-1.4285714285714299E-2</c:v>
                </c:pt>
                <c:pt idx="28078">
                  <c:v>-1.4285714285714299E-2</c:v>
                </c:pt>
                <c:pt idx="28079">
                  <c:v>-1.4285714285714299E-2</c:v>
                </c:pt>
                <c:pt idx="28080">
                  <c:v>-1.4285714285714299E-2</c:v>
                </c:pt>
                <c:pt idx="28081">
                  <c:v>-1.4285714285714299E-2</c:v>
                </c:pt>
                <c:pt idx="28082">
                  <c:v>-1.4285714285714299E-2</c:v>
                </c:pt>
                <c:pt idx="28083">
                  <c:v>-1.4285714285714299E-2</c:v>
                </c:pt>
                <c:pt idx="28084">
                  <c:v>-1.4285714285714299E-2</c:v>
                </c:pt>
                <c:pt idx="28085">
                  <c:v>-1.4285714285714299E-2</c:v>
                </c:pt>
                <c:pt idx="28086">
                  <c:v>-1.4285714285714299E-2</c:v>
                </c:pt>
                <c:pt idx="28087">
                  <c:v>-1.4285714285714299E-2</c:v>
                </c:pt>
                <c:pt idx="28088">
                  <c:v>-1.4285714285714299E-2</c:v>
                </c:pt>
                <c:pt idx="28089">
                  <c:v>-1.4285714285714299E-2</c:v>
                </c:pt>
                <c:pt idx="28090">
                  <c:v>-1.4285714285714299E-2</c:v>
                </c:pt>
                <c:pt idx="28091">
                  <c:v>-1.4285714285714299E-2</c:v>
                </c:pt>
                <c:pt idx="28092">
                  <c:v>-1.4285714285714299E-2</c:v>
                </c:pt>
                <c:pt idx="28093">
                  <c:v>-1.4285714285714299E-2</c:v>
                </c:pt>
                <c:pt idx="28094">
                  <c:v>-1.4285714285714299E-2</c:v>
                </c:pt>
                <c:pt idx="28095">
                  <c:v>-1.4285714285714299E-2</c:v>
                </c:pt>
                <c:pt idx="28096">
                  <c:v>-1.4285714285714299E-2</c:v>
                </c:pt>
                <c:pt idx="28097">
                  <c:v>-1.4285714285714299E-2</c:v>
                </c:pt>
                <c:pt idx="28098">
                  <c:v>-1.4285714285714299E-2</c:v>
                </c:pt>
                <c:pt idx="28099">
                  <c:v>-1.4285714285714299E-2</c:v>
                </c:pt>
                <c:pt idx="28100">
                  <c:v>-1.4285714285714299E-2</c:v>
                </c:pt>
                <c:pt idx="28101">
                  <c:v>-1.4285714285714299E-2</c:v>
                </c:pt>
                <c:pt idx="28102">
                  <c:v>-1.4285714285714299E-2</c:v>
                </c:pt>
                <c:pt idx="28103">
                  <c:v>-1.4285714285714299E-2</c:v>
                </c:pt>
                <c:pt idx="28104">
                  <c:v>-1.4285714285714299E-2</c:v>
                </c:pt>
                <c:pt idx="28105">
                  <c:v>-1.4285714285714299E-2</c:v>
                </c:pt>
                <c:pt idx="28106">
                  <c:v>-1.4285714285714299E-2</c:v>
                </c:pt>
                <c:pt idx="28107">
                  <c:v>-1.4285714285714299E-2</c:v>
                </c:pt>
                <c:pt idx="28108">
                  <c:v>-1.4285714285714299E-2</c:v>
                </c:pt>
                <c:pt idx="28109">
                  <c:v>-1.4285714285714299E-2</c:v>
                </c:pt>
                <c:pt idx="28110">
                  <c:v>-1.4285714285714299E-2</c:v>
                </c:pt>
                <c:pt idx="28111">
                  <c:v>-1.4285714285714299E-2</c:v>
                </c:pt>
                <c:pt idx="28112">
                  <c:v>-1.4285714285714299E-2</c:v>
                </c:pt>
                <c:pt idx="28113">
                  <c:v>-1.4285714285714299E-2</c:v>
                </c:pt>
                <c:pt idx="28114">
                  <c:v>-1.4285714285714299E-2</c:v>
                </c:pt>
                <c:pt idx="28115">
                  <c:v>-1.4285714285714299E-2</c:v>
                </c:pt>
                <c:pt idx="28116">
                  <c:v>-1.4285714285714299E-2</c:v>
                </c:pt>
                <c:pt idx="28117">
                  <c:v>-1.4285714285714299E-2</c:v>
                </c:pt>
                <c:pt idx="28118">
                  <c:v>-1.4285714285714299E-2</c:v>
                </c:pt>
                <c:pt idx="28119">
                  <c:v>-1.4285714285714299E-2</c:v>
                </c:pt>
                <c:pt idx="28120">
                  <c:v>-1.4285714285714299E-2</c:v>
                </c:pt>
                <c:pt idx="28121">
                  <c:v>-1.4285714285714299E-2</c:v>
                </c:pt>
                <c:pt idx="28122">
                  <c:v>-1.4285714285714299E-2</c:v>
                </c:pt>
                <c:pt idx="28123">
                  <c:v>-1.4285714285714299E-2</c:v>
                </c:pt>
                <c:pt idx="28124">
                  <c:v>-1.4285714285714299E-2</c:v>
                </c:pt>
                <c:pt idx="28125">
                  <c:v>-1.4285714285714299E-2</c:v>
                </c:pt>
                <c:pt idx="28126">
                  <c:v>-1.4285714285714299E-2</c:v>
                </c:pt>
                <c:pt idx="28127">
                  <c:v>-1.4285714285714299E-2</c:v>
                </c:pt>
                <c:pt idx="28128">
                  <c:v>-1.4285714285714299E-2</c:v>
                </c:pt>
                <c:pt idx="28129">
                  <c:v>-1.4285714285714299E-2</c:v>
                </c:pt>
                <c:pt idx="28130">
                  <c:v>-1.4285714285714299E-2</c:v>
                </c:pt>
                <c:pt idx="28131">
                  <c:v>-1.4285714285714299E-2</c:v>
                </c:pt>
                <c:pt idx="28132">
                  <c:v>-1.4285714285714299E-2</c:v>
                </c:pt>
                <c:pt idx="28133">
                  <c:v>-1.4285714285714299E-2</c:v>
                </c:pt>
                <c:pt idx="28134">
                  <c:v>-1.4285714285714299E-2</c:v>
                </c:pt>
                <c:pt idx="28135">
                  <c:v>-1.4285714285714299E-2</c:v>
                </c:pt>
                <c:pt idx="28136">
                  <c:v>-1.4285714285714299E-2</c:v>
                </c:pt>
                <c:pt idx="28137">
                  <c:v>-1.4285714285714299E-2</c:v>
                </c:pt>
                <c:pt idx="28138">
                  <c:v>-1.4285714285714299E-2</c:v>
                </c:pt>
                <c:pt idx="28139">
                  <c:v>-1.4285714285714299E-2</c:v>
                </c:pt>
                <c:pt idx="28140">
                  <c:v>-1.4285714285714299E-2</c:v>
                </c:pt>
                <c:pt idx="28141">
                  <c:v>-1.4285714285714299E-2</c:v>
                </c:pt>
                <c:pt idx="28142">
                  <c:v>-1.4285714285714299E-2</c:v>
                </c:pt>
                <c:pt idx="28143">
                  <c:v>-1.4285714285714299E-2</c:v>
                </c:pt>
                <c:pt idx="28144">
                  <c:v>-1.4285714285714299E-2</c:v>
                </c:pt>
                <c:pt idx="28145">
                  <c:v>-1.4285714285714299E-2</c:v>
                </c:pt>
                <c:pt idx="28146">
                  <c:v>-1.4285714285714299E-2</c:v>
                </c:pt>
                <c:pt idx="28147">
                  <c:v>-1.4285714285714299E-2</c:v>
                </c:pt>
                <c:pt idx="28148">
                  <c:v>-1.4285714285714299E-2</c:v>
                </c:pt>
                <c:pt idx="28149">
                  <c:v>-1.4285714285714299E-2</c:v>
                </c:pt>
                <c:pt idx="28150">
                  <c:v>-1.4285714285714299E-2</c:v>
                </c:pt>
                <c:pt idx="28151">
                  <c:v>-1.4285714285714299E-2</c:v>
                </c:pt>
                <c:pt idx="28152">
                  <c:v>-1.4285714285714299E-2</c:v>
                </c:pt>
                <c:pt idx="28153">
                  <c:v>-1.4285714285714299E-2</c:v>
                </c:pt>
                <c:pt idx="28154">
                  <c:v>-1.4285714285714299E-2</c:v>
                </c:pt>
                <c:pt idx="28155">
                  <c:v>-1.4285714285714299E-2</c:v>
                </c:pt>
                <c:pt idx="28156">
                  <c:v>-1.4285714285714299E-2</c:v>
                </c:pt>
                <c:pt idx="28157">
                  <c:v>-1.4285714285714299E-2</c:v>
                </c:pt>
                <c:pt idx="28158">
                  <c:v>-1.4285714285714299E-2</c:v>
                </c:pt>
                <c:pt idx="28159">
                  <c:v>-1.4285714285714299E-2</c:v>
                </c:pt>
                <c:pt idx="28160">
                  <c:v>-1.4285714285714299E-2</c:v>
                </c:pt>
                <c:pt idx="28161">
                  <c:v>-1.4285714285714299E-2</c:v>
                </c:pt>
                <c:pt idx="28162">
                  <c:v>-1.4285714285714299E-2</c:v>
                </c:pt>
                <c:pt idx="28163">
                  <c:v>-1.4285714285714299E-2</c:v>
                </c:pt>
                <c:pt idx="28164">
                  <c:v>-1.4285714285714299E-2</c:v>
                </c:pt>
                <c:pt idx="28165">
                  <c:v>-1.4285714285714299E-2</c:v>
                </c:pt>
                <c:pt idx="28166">
                  <c:v>-1.4285714285714299E-2</c:v>
                </c:pt>
                <c:pt idx="28167">
                  <c:v>-1.51260504201681E-2</c:v>
                </c:pt>
                <c:pt idx="28168">
                  <c:v>-1.51260504201681E-2</c:v>
                </c:pt>
                <c:pt idx="28169">
                  <c:v>-1.51260504201681E-2</c:v>
                </c:pt>
                <c:pt idx="28170">
                  <c:v>-1.51260504201681E-2</c:v>
                </c:pt>
                <c:pt idx="28171">
                  <c:v>-1.51260504201681E-2</c:v>
                </c:pt>
                <c:pt idx="28172">
                  <c:v>-1.51260504201681E-2</c:v>
                </c:pt>
                <c:pt idx="28173">
                  <c:v>-1.51260504201681E-2</c:v>
                </c:pt>
                <c:pt idx="28174">
                  <c:v>-1.51260504201681E-2</c:v>
                </c:pt>
                <c:pt idx="28175">
                  <c:v>-1.51260504201681E-2</c:v>
                </c:pt>
                <c:pt idx="28176">
                  <c:v>-1.51260504201681E-2</c:v>
                </c:pt>
                <c:pt idx="28177">
                  <c:v>-1.51260504201681E-2</c:v>
                </c:pt>
                <c:pt idx="28178">
                  <c:v>-1.51260504201681E-2</c:v>
                </c:pt>
                <c:pt idx="28179">
                  <c:v>-1.51260504201681E-2</c:v>
                </c:pt>
                <c:pt idx="28180">
                  <c:v>-1.51260504201681E-2</c:v>
                </c:pt>
                <c:pt idx="28181">
                  <c:v>-1.51260504201681E-2</c:v>
                </c:pt>
                <c:pt idx="28182">
                  <c:v>-1.51260504201681E-2</c:v>
                </c:pt>
                <c:pt idx="28183">
                  <c:v>-1.51260504201681E-2</c:v>
                </c:pt>
                <c:pt idx="28184">
                  <c:v>-1.51260504201681E-2</c:v>
                </c:pt>
                <c:pt idx="28185">
                  <c:v>-1.51260504201681E-2</c:v>
                </c:pt>
                <c:pt idx="28186">
                  <c:v>-1.51260504201681E-2</c:v>
                </c:pt>
                <c:pt idx="28187">
                  <c:v>-1.51260504201681E-2</c:v>
                </c:pt>
                <c:pt idx="28188">
                  <c:v>-1.51260504201681E-2</c:v>
                </c:pt>
                <c:pt idx="28189">
                  <c:v>-1.51260504201681E-2</c:v>
                </c:pt>
                <c:pt idx="28190">
                  <c:v>-1.51260504201681E-2</c:v>
                </c:pt>
                <c:pt idx="28191">
                  <c:v>-1.51260504201681E-2</c:v>
                </c:pt>
                <c:pt idx="28192">
                  <c:v>-1.51260504201681E-2</c:v>
                </c:pt>
                <c:pt idx="28193">
                  <c:v>-1.51260504201681E-2</c:v>
                </c:pt>
                <c:pt idx="28194">
                  <c:v>-1.51260504201681E-2</c:v>
                </c:pt>
                <c:pt idx="28195">
                  <c:v>-1.51260504201681E-2</c:v>
                </c:pt>
                <c:pt idx="28196">
                  <c:v>-1.51260504201681E-2</c:v>
                </c:pt>
                <c:pt idx="28197">
                  <c:v>-1.51260504201681E-2</c:v>
                </c:pt>
                <c:pt idx="28198">
                  <c:v>-1.51260504201681E-2</c:v>
                </c:pt>
                <c:pt idx="28199">
                  <c:v>-1.51260504201681E-2</c:v>
                </c:pt>
                <c:pt idx="28200">
                  <c:v>-1.51260504201681E-2</c:v>
                </c:pt>
                <c:pt idx="28201">
                  <c:v>-1.51260504201681E-2</c:v>
                </c:pt>
                <c:pt idx="28202">
                  <c:v>-1.51260504201681E-2</c:v>
                </c:pt>
                <c:pt idx="28203">
                  <c:v>-1.51260504201681E-2</c:v>
                </c:pt>
                <c:pt idx="28204">
                  <c:v>-1.51260504201681E-2</c:v>
                </c:pt>
                <c:pt idx="28205">
                  <c:v>-1.51260504201681E-2</c:v>
                </c:pt>
                <c:pt idx="28206">
                  <c:v>-1.51260504201681E-2</c:v>
                </c:pt>
                <c:pt idx="28207">
                  <c:v>-1.51260504201681E-2</c:v>
                </c:pt>
                <c:pt idx="28208">
                  <c:v>-1.51260504201681E-2</c:v>
                </c:pt>
                <c:pt idx="28209">
                  <c:v>-1.51260504201681E-2</c:v>
                </c:pt>
                <c:pt idx="28210">
                  <c:v>-1.51260504201681E-2</c:v>
                </c:pt>
                <c:pt idx="28211">
                  <c:v>-1.51260504201681E-2</c:v>
                </c:pt>
                <c:pt idx="28212">
                  <c:v>-1.51260504201681E-2</c:v>
                </c:pt>
                <c:pt idx="28213">
                  <c:v>-1.51260504201681E-2</c:v>
                </c:pt>
                <c:pt idx="28214">
                  <c:v>-1.51260504201681E-2</c:v>
                </c:pt>
                <c:pt idx="28215">
                  <c:v>-1.51260504201681E-2</c:v>
                </c:pt>
                <c:pt idx="28216">
                  <c:v>-1.51260504201681E-2</c:v>
                </c:pt>
                <c:pt idx="28217">
                  <c:v>-1.51260504201681E-2</c:v>
                </c:pt>
                <c:pt idx="28218">
                  <c:v>-1.51260504201681E-2</c:v>
                </c:pt>
                <c:pt idx="28219">
                  <c:v>-1.51260504201681E-2</c:v>
                </c:pt>
                <c:pt idx="28220">
                  <c:v>-1.51260504201681E-2</c:v>
                </c:pt>
                <c:pt idx="28221">
                  <c:v>-1.51260504201681E-2</c:v>
                </c:pt>
                <c:pt idx="28222">
                  <c:v>-1.51260504201681E-2</c:v>
                </c:pt>
                <c:pt idx="28223">
                  <c:v>-1.51260504201681E-2</c:v>
                </c:pt>
                <c:pt idx="28224">
                  <c:v>-1.51260504201681E-2</c:v>
                </c:pt>
                <c:pt idx="28225">
                  <c:v>-1.51260504201681E-2</c:v>
                </c:pt>
                <c:pt idx="28226">
                  <c:v>-1.51260504201681E-2</c:v>
                </c:pt>
                <c:pt idx="28227">
                  <c:v>-1.51260504201681E-2</c:v>
                </c:pt>
                <c:pt idx="28228">
                  <c:v>-1.51260504201681E-2</c:v>
                </c:pt>
                <c:pt idx="28229">
                  <c:v>-1.51260504201681E-2</c:v>
                </c:pt>
                <c:pt idx="28230">
                  <c:v>-1.51260504201681E-2</c:v>
                </c:pt>
                <c:pt idx="28231">
                  <c:v>-1.51260504201681E-2</c:v>
                </c:pt>
                <c:pt idx="28232">
                  <c:v>-1.51260504201681E-2</c:v>
                </c:pt>
                <c:pt idx="28233">
                  <c:v>-1.51260504201681E-2</c:v>
                </c:pt>
                <c:pt idx="28234">
                  <c:v>-1.51260504201681E-2</c:v>
                </c:pt>
                <c:pt idx="28235">
                  <c:v>-1.59663865546219E-2</c:v>
                </c:pt>
                <c:pt idx="28236">
                  <c:v>-1.59663865546219E-2</c:v>
                </c:pt>
                <c:pt idx="28237">
                  <c:v>-1.59663865546219E-2</c:v>
                </c:pt>
                <c:pt idx="28238">
                  <c:v>-1.59663865546219E-2</c:v>
                </c:pt>
                <c:pt idx="28239">
                  <c:v>-1.59663865546219E-2</c:v>
                </c:pt>
                <c:pt idx="28240">
                  <c:v>-1.59663865546219E-2</c:v>
                </c:pt>
                <c:pt idx="28241">
                  <c:v>-1.59663865546219E-2</c:v>
                </c:pt>
                <c:pt idx="28242">
                  <c:v>-1.59663865546219E-2</c:v>
                </c:pt>
                <c:pt idx="28243">
                  <c:v>-1.59663865546219E-2</c:v>
                </c:pt>
                <c:pt idx="28244">
                  <c:v>-1.59663865546219E-2</c:v>
                </c:pt>
                <c:pt idx="28245">
                  <c:v>-1.59663865546219E-2</c:v>
                </c:pt>
                <c:pt idx="28246">
                  <c:v>-1.59663865546219E-2</c:v>
                </c:pt>
                <c:pt idx="28247">
                  <c:v>-1.59663865546219E-2</c:v>
                </c:pt>
                <c:pt idx="28248">
                  <c:v>-1.59663865546219E-2</c:v>
                </c:pt>
                <c:pt idx="28249">
                  <c:v>-1.59663865546219E-2</c:v>
                </c:pt>
                <c:pt idx="28250">
                  <c:v>-1.59663865546219E-2</c:v>
                </c:pt>
                <c:pt idx="28251">
                  <c:v>-1.6806722689075598E-2</c:v>
                </c:pt>
                <c:pt idx="28252">
                  <c:v>-1.6806722689075598E-2</c:v>
                </c:pt>
                <c:pt idx="28253">
                  <c:v>-1.6806722689075598E-2</c:v>
                </c:pt>
                <c:pt idx="28254">
                  <c:v>-1.6806722689075598E-2</c:v>
                </c:pt>
                <c:pt idx="28255">
                  <c:v>-1.6806722689075598E-2</c:v>
                </c:pt>
                <c:pt idx="28256">
                  <c:v>-1.6806722689075598E-2</c:v>
                </c:pt>
                <c:pt idx="28257">
                  <c:v>-1.6806722689075598E-2</c:v>
                </c:pt>
                <c:pt idx="28258">
                  <c:v>-1.6806722689075598E-2</c:v>
                </c:pt>
                <c:pt idx="28259">
                  <c:v>-1.6806722689075598E-2</c:v>
                </c:pt>
                <c:pt idx="28260">
                  <c:v>-1.6806722689075598E-2</c:v>
                </c:pt>
                <c:pt idx="28261">
                  <c:v>-1.6806722689075598E-2</c:v>
                </c:pt>
                <c:pt idx="28262">
                  <c:v>-1.6806722689075598E-2</c:v>
                </c:pt>
                <c:pt idx="28263">
                  <c:v>-1.6806722689075598E-2</c:v>
                </c:pt>
                <c:pt idx="28264">
                  <c:v>-1.6806722689075598E-2</c:v>
                </c:pt>
                <c:pt idx="28265">
                  <c:v>-1.6806722689075598E-2</c:v>
                </c:pt>
                <c:pt idx="28266">
                  <c:v>-1.6806722689075598E-2</c:v>
                </c:pt>
                <c:pt idx="28267">
                  <c:v>-1.6806722689075598E-2</c:v>
                </c:pt>
                <c:pt idx="28268">
                  <c:v>-1.6806722689075598E-2</c:v>
                </c:pt>
                <c:pt idx="28269">
                  <c:v>-1.6806722689075598E-2</c:v>
                </c:pt>
                <c:pt idx="28270">
                  <c:v>-1.59663865546219E-2</c:v>
                </c:pt>
                <c:pt idx="28271">
                  <c:v>-1.59663865546219E-2</c:v>
                </c:pt>
                <c:pt idx="28272">
                  <c:v>-1.59663865546219E-2</c:v>
                </c:pt>
                <c:pt idx="28273">
                  <c:v>-1.59663865546219E-2</c:v>
                </c:pt>
                <c:pt idx="28274">
                  <c:v>-1.59663865546219E-2</c:v>
                </c:pt>
                <c:pt idx="28275">
                  <c:v>-1.59663865546219E-2</c:v>
                </c:pt>
                <c:pt idx="28276">
                  <c:v>-1.59663865546219E-2</c:v>
                </c:pt>
                <c:pt idx="28277">
                  <c:v>-1.59663865546219E-2</c:v>
                </c:pt>
                <c:pt idx="28278">
                  <c:v>-1.59663865546219E-2</c:v>
                </c:pt>
                <c:pt idx="28279">
                  <c:v>-1.59663865546219E-2</c:v>
                </c:pt>
                <c:pt idx="28280">
                  <c:v>-1.59663865546219E-2</c:v>
                </c:pt>
                <c:pt idx="28281">
                  <c:v>-1.59663865546219E-2</c:v>
                </c:pt>
                <c:pt idx="28282">
                  <c:v>-1.59663865546219E-2</c:v>
                </c:pt>
                <c:pt idx="28283">
                  <c:v>-1.59663865546219E-2</c:v>
                </c:pt>
                <c:pt idx="28284">
                  <c:v>-1.59663865546219E-2</c:v>
                </c:pt>
                <c:pt idx="28285">
                  <c:v>-1.59663865546219E-2</c:v>
                </c:pt>
                <c:pt idx="28286">
                  <c:v>-1.59663865546219E-2</c:v>
                </c:pt>
                <c:pt idx="28287">
                  <c:v>-1.59663865546219E-2</c:v>
                </c:pt>
                <c:pt idx="28288">
                  <c:v>-1.59663865546219E-2</c:v>
                </c:pt>
                <c:pt idx="28289">
                  <c:v>-1.59663865546219E-2</c:v>
                </c:pt>
                <c:pt idx="28290">
                  <c:v>-1.59663865546219E-2</c:v>
                </c:pt>
                <c:pt idx="28291">
                  <c:v>-1.59663865546219E-2</c:v>
                </c:pt>
                <c:pt idx="28292">
                  <c:v>-1.59663865546219E-2</c:v>
                </c:pt>
                <c:pt idx="28293">
                  <c:v>-1.59663865546219E-2</c:v>
                </c:pt>
                <c:pt idx="28294">
                  <c:v>-1.59663865546219E-2</c:v>
                </c:pt>
                <c:pt idx="28295">
                  <c:v>-1.59663865546219E-2</c:v>
                </c:pt>
                <c:pt idx="28296">
                  <c:v>-1.59663865546219E-2</c:v>
                </c:pt>
                <c:pt idx="28297">
                  <c:v>-1.59663865546219E-2</c:v>
                </c:pt>
                <c:pt idx="28298">
                  <c:v>-1.59663865546219E-2</c:v>
                </c:pt>
                <c:pt idx="28299">
                  <c:v>-1.59663865546219E-2</c:v>
                </c:pt>
                <c:pt idx="28300">
                  <c:v>-1.59663865546219E-2</c:v>
                </c:pt>
                <c:pt idx="28301">
                  <c:v>-1.59663865546219E-2</c:v>
                </c:pt>
                <c:pt idx="28302">
                  <c:v>-1.59663865546219E-2</c:v>
                </c:pt>
                <c:pt idx="28303">
                  <c:v>-1.59663865546219E-2</c:v>
                </c:pt>
                <c:pt idx="28304">
                  <c:v>-1.59663865546219E-2</c:v>
                </c:pt>
                <c:pt idx="28305">
                  <c:v>-1.59663865546219E-2</c:v>
                </c:pt>
                <c:pt idx="28306">
                  <c:v>-1.59663865546219E-2</c:v>
                </c:pt>
                <c:pt idx="28307">
                  <c:v>-1.59663865546219E-2</c:v>
                </c:pt>
                <c:pt idx="28308">
                  <c:v>-1.59663865546219E-2</c:v>
                </c:pt>
                <c:pt idx="28309">
                  <c:v>-1.59663865546219E-2</c:v>
                </c:pt>
                <c:pt idx="28310">
                  <c:v>-1.59663865546219E-2</c:v>
                </c:pt>
                <c:pt idx="28311">
                  <c:v>-1.59663865546219E-2</c:v>
                </c:pt>
                <c:pt idx="28312">
                  <c:v>-1.59663865546219E-2</c:v>
                </c:pt>
                <c:pt idx="28313">
                  <c:v>-1.59663865546219E-2</c:v>
                </c:pt>
                <c:pt idx="28314">
                  <c:v>-1.59663865546219E-2</c:v>
                </c:pt>
                <c:pt idx="28315">
                  <c:v>-1.59663865546219E-2</c:v>
                </c:pt>
                <c:pt idx="28316">
                  <c:v>-1.59663865546219E-2</c:v>
                </c:pt>
                <c:pt idx="28317">
                  <c:v>-1.59663865546219E-2</c:v>
                </c:pt>
                <c:pt idx="28318">
                  <c:v>-1.59663865546219E-2</c:v>
                </c:pt>
                <c:pt idx="28319">
                  <c:v>-1.59663865546219E-2</c:v>
                </c:pt>
                <c:pt idx="28320">
                  <c:v>-1.59663865546219E-2</c:v>
                </c:pt>
                <c:pt idx="28321">
                  <c:v>-1.59663865546219E-2</c:v>
                </c:pt>
                <c:pt idx="28322">
                  <c:v>-1.59663865546219E-2</c:v>
                </c:pt>
                <c:pt idx="28323">
                  <c:v>-1.59663865546219E-2</c:v>
                </c:pt>
                <c:pt idx="28324">
                  <c:v>-1.59663865546219E-2</c:v>
                </c:pt>
                <c:pt idx="28325">
                  <c:v>-1.59663865546219E-2</c:v>
                </c:pt>
                <c:pt idx="28326">
                  <c:v>-1.59663865546219E-2</c:v>
                </c:pt>
                <c:pt idx="28327">
                  <c:v>-1.59663865546219E-2</c:v>
                </c:pt>
                <c:pt idx="28328">
                  <c:v>-1.59663865546219E-2</c:v>
                </c:pt>
                <c:pt idx="28329">
                  <c:v>-1.59663865546219E-2</c:v>
                </c:pt>
                <c:pt idx="28330">
                  <c:v>-1.59663865546219E-2</c:v>
                </c:pt>
                <c:pt idx="28331">
                  <c:v>-1.59663865546219E-2</c:v>
                </c:pt>
                <c:pt idx="28332">
                  <c:v>-1.59663865546219E-2</c:v>
                </c:pt>
                <c:pt idx="28333">
                  <c:v>-1.59663865546219E-2</c:v>
                </c:pt>
                <c:pt idx="28334">
                  <c:v>-1.59663865546219E-2</c:v>
                </c:pt>
                <c:pt idx="28335">
                  <c:v>-1.59663865546219E-2</c:v>
                </c:pt>
                <c:pt idx="28336">
                  <c:v>-1.59663865546219E-2</c:v>
                </c:pt>
                <c:pt idx="28337">
                  <c:v>-1.59663865546219E-2</c:v>
                </c:pt>
                <c:pt idx="28338">
                  <c:v>-1.59663865546219E-2</c:v>
                </c:pt>
                <c:pt idx="28339">
                  <c:v>-1.59663865546219E-2</c:v>
                </c:pt>
                <c:pt idx="28340">
                  <c:v>-1.59663865546219E-2</c:v>
                </c:pt>
                <c:pt idx="28341">
                  <c:v>-1.59663865546219E-2</c:v>
                </c:pt>
                <c:pt idx="28342">
                  <c:v>-1.59663865546219E-2</c:v>
                </c:pt>
                <c:pt idx="28343">
                  <c:v>-1.59663865546219E-2</c:v>
                </c:pt>
                <c:pt idx="28344">
                  <c:v>-1.59663865546219E-2</c:v>
                </c:pt>
                <c:pt idx="28345">
                  <c:v>-1.59663865546219E-2</c:v>
                </c:pt>
                <c:pt idx="28346">
                  <c:v>-1.59663865546219E-2</c:v>
                </c:pt>
                <c:pt idx="28347">
                  <c:v>-1.59663865546219E-2</c:v>
                </c:pt>
                <c:pt idx="28348">
                  <c:v>-1.59663865546219E-2</c:v>
                </c:pt>
                <c:pt idx="28349">
                  <c:v>-1.59663865546219E-2</c:v>
                </c:pt>
                <c:pt idx="28350">
                  <c:v>-1.59663865546219E-2</c:v>
                </c:pt>
                <c:pt idx="28351">
                  <c:v>-1.59663865546219E-2</c:v>
                </c:pt>
                <c:pt idx="28352">
                  <c:v>-1.59663865546219E-2</c:v>
                </c:pt>
                <c:pt idx="28353">
                  <c:v>-1.59663865546219E-2</c:v>
                </c:pt>
                <c:pt idx="28354">
                  <c:v>-1.59663865546219E-2</c:v>
                </c:pt>
                <c:pt idx="28355">
                  <c:v>-1.59663865546219E-2</c:v>
                </c:pt>
                <c:pt idx="28356">
                  <c:v>-1.59663865546219E-2</c:v>
                </c:pt>
                <c:pt idx="28357">
                  <c:v>-1.59663865546219E-2</c:v>
                </c:pt>
                <c:pt idx="28358">
                  <c:v>-1.59663865546219E-2</c:v>
                </c:pt>
                <c:pt idx="28359">
                  <c:v>-1.59663865546219E-2</c:v>
                </c:pt>
                <c:pt idx="28360">
                  <c:v>-1.59663865546219E-2</c:v>
                </c:pt>
                <c:pt idx="28361">
                  <c:v>-1.59663865546219E-2</c:v>
                </c:pt>
                <c:pt idx="28362">
                  <c:v>-1.59663865546219E-2</c:v>
                </c:pt>
                <c:pt idx="28363">
                  <c:v>-1.59663865546219E-2</c:v>
                </c:pt>
                <c:pt idx="28364">
                  <c:v>-1.59663865546219E-2</c:v>
                </c:pt>
                <c:pt idx="28365">
                  <c:v>-1.59663865546219E-2</c:v>
                </c:pt>
                <c:pt idx="28366">
                  <c:v>-1.59663865546219E-2</c:v>
                </c:pt>
                <c:pt idx="28367">
                  <c:v>-1.59663865546219E-2</c:v>
                </c:pt>
                <c:pt idx="28368">
                  <c:v>-1.59663865546219E-2</c:v>
                </c:pt>
                <c:pt idx="28369">
                  <c:v>-1.59663865546219E-2</c:v>
                </c:pt>
                <c:pt idx="28370">
                  <c:v>-1.59663865546219E-2</c:v>
                </c:pt>
                <c:pt idx="28371">
                  <c:v>-1.59663865546219E-2</c:v>
                </c:pt>
                <c:pt idx="28372">
                  <c:v>-1.59663865546219E-2</c:v>
                </c:pt>
                <c:pt idx="28373">
                  <c:v>-1.59663865546219E-2</c:v>
                </c:pt>
                <c:pt idx="28374">
                  <c:v>-1.59663865546219E-2</c:v>
                </c:pt>
                <c:pt idx="28375">
                  <c:v>-1.59663865546219E-2</c:v>
                </c:pt>
                <c:pt idx="28376">
                  <c:v>-1.59663865546219E-2</c:v>
                </c:pt>
                <c:pt idx="28377">
                  <c:v>-1.59663865546219E-2</c:v>
                </c:pt>
                <c:pt idx="28378">
                  <c:v>-1.59663865546219E-2</c:v>
                </c:pt>
                <c:pt idx="28379">
                  <c:v>-1.59663865546219E-2</c:v>
                </c:pt>
                <c:pt idx="28380">
                  <c:v>-1.59663865546219E-2</c:v>
                </c:pt>
                <c:pt idx="28381">
                  <c:v>-1.59663865546219E-2</c:v>
                </c:pt>
                <c:pt idx="28382">
                  <c:v>-1.59663865546219E-2</c:v>
                </c:pt>
                <c:pt idx="28383">
                  <c:v>-1.6806722689075598E-2</c:v>
                </c:pt>
                <c:pt idx="28384">
                  <c:v>-1.6806722689075598E-2</c:v>
                </c:pt>
                <c:pt idx="28385">
                  <c:v>-1.6806722689075598E-2</c:v>
                </c:pt>
                <c:pt idx="28386">
                  <c:v>-1.6806722689075598E-2</c:v>
                </c:pt>
                <c:pt idx="28387">
                  <c:v>-1.6806722689075598E-2</c:v>
                </c:pt>
                <c:pt idx="28388">
                  <c:v>-1.6806722689075598E-2</c:v>
                </c:pt>
                <c:pt idx="28389">
                  <c:v>-1.6806722689075598E-2</c:v>
                </c:pt>
                <c:pt idx="28390">
                  <c:v>-1.6806722689075598E-2</c:v>
                </c:pt>
                <c:pt idx="28391">
                  <c:v>-1.6806722689075598E-2</c:v>
                </c:pt>
                <c:pt idx="28392">
                  <c:v>-1.6806722689075598E-2</c:v>
                </c:pt>
                <c:pt idx="28393">
                  <c:v>-1.6806722689075598E-2</c:v>
                </c:pt>
                <c:pt idx="28394">
                  <c:v>-1.6806722689075598E-2</c:v>
                </c:pt>
                <c:pt idx="28395">
                  <c:v>-1.6806722689075598E-2</c:v>
                </c:pt>
                <c:pt idx="28396">
                  <c:v>-1.6806722689075598E-2</c:v>
                </c:pt>
                <c:pt idx="28397">
                  <c:v>-1.6806722689075598E-2</c:v>
                </c:pt>
                <c:pt idx="28398">
                  <c:v>-1.6806722689075598E-2</c:v>
                </c:pt>
                <c:pt idx="28399">
                  <c:v>-1.6806722689075598E-2</c:v>
                </c:pt>
                <c:pt idx="28400">
                  <c:v>-1.6806722689075598E-2</c:v>
                </c:pt>
                <c:pt idx="28401">
                  <c:v>-1.6806722689075598E-2</c:v>
                </c:pt>
                <c:pt idx="28402">
                  <c:v>-1.7647058823529401E-2</c:v>
                </c:pt>
                <c:pt idx="28403">
                  <c:v>-1.7647058823529401E-2</c:v>
                </c:pt>
                <c:pt idx="28404">
                  <c:v>-1.7647058823529401E-2</c:v>
                </c:pt>
                <c:pt idx="28405">
                  <c:v>-1.7647058823529401E-2</c:v>
                </c:pt>
                <c:pt idx="28406">
                  <c:v>-1.7647058823529401E-2</c:v>
                </c:pt>
                <c:pt idx="28407">
                  <c:v>-1.7647058823529401E-2</c:v>
                </c:pt>
                <c:pt idx="28408">
                  <c:v>-1.7647058823529401E-2</c:v>
                </c:pt>
                <c:pt idx="28409">
                  <c:v>-1.7647058823529401E-2</c:v>
                </c:pt>
                <c:pt idx="28410">
                  <c:v>-1.7647058823529401E-2</c:v>
                </c:pt>
                <c:pt idx="28411">
                  <c:v>-1.7647058823529401E-2</c:v>
                </c:pt>
                <c:pt idx="28412">
                  <c:v>-1.7647058823529401E-2</c:v>
                </c:pt>
                <c:pt idx="28413">
                  <c:v>-1.7647058823529401E-2</c:v>
                </c:pt>
                <c:pt idx="28414">
                  <c:v>-1.7647058823529401E-2</c:v>
                </c:pt>
                <c:pt idx="28415">
                  <c:v>-1.7647058823529401E-2</c:v>
                </c:pt>
                <c:pt idx="28416">
                  <c:v>-1.7647058823529401E-2</c:v>
                </c:pt>
                <c:pt idx="28417">
                  <c:v>-1.7647058823529401E-2</c:v>
                </c:pt>
                <c:pt idx="28418">
                  <c:v>-1.84873949579832E-2</c:v>
                </c:pt>
                <c:pt idx="28419">
                  <c:v>-1.84873949579832E-2</c:v>
                </c:pt>
                <c:pt idx="28420">
                  <c:v>-1.84873949579832E-2</c:v>
                </c:pt>
                <c:pt idx="28421">
                  <c:v>-1.84873949579832E-2</c:v>
                </c:pt>
                <c:pt idx="28422">
                  <c:v>-1.84873949579832E-2</c:v>
                </c:pt>
                <c:pt idx="28423">
                  <c:v>-1.84873949579832E-2</c:v>
                </c:pt>
                <c:pt idx="28424">
                  <c:v>-1.9327731092437E-2</c:v>
                </c:pt>
                <c:pt idx="28425">
                  <c:v>-1.9327731092437E-2</c:v>
                </c:pt>
                <c:pt idx="28426">
                  <c:v>-1.9327731092437E-2</c:v>
                </c:pt>
                <c:pt idx="28427">
                  <c:v>-1.9327731092437E-2</c:v>
                </c:pt>
                <c:pt idx="28428">
                  <c:v>-1.9327731092437E-2</c:v>
                </c:pt>
                <c:pt idx="28429">
                  <c:v>-1.9327731092437E-2</c:v>
                </c:pt>
                <c:pt idx="28430">
                  <c:v>-1.9327731092437E-2</c:v>
                </c:pt>
                <c:pt idx="28431">
                  <c:v>-1.9327731092437E-2</c:v>
                </c:pt>
                <c:pt idx="28432">
                  <c:v>-1.9327731092437E-2</c:v>
                </c:pt>
                <c:pt idx="28433">
                  <c:v>-1.9327731092437E-2</c:v>
                </c:pt>
                <c:pt idx="28434">
                  <c:v>-1.9327731092437E-2</c:v>
                </c:pt>
                <c:pt idx="28435">
                  <c:v>-1.9327731092437E-2</c:v>
                </c:pt>
                <c:pt idx="28436">
                  <c:v>-1.9327731092437E-2</c:v>
                </c:pt>
                <c:pt idx="28437">
                  <c:v>-1.9327731092437E-2</c:v>
                </c:pt>
                <c:pt idx="28438">
                  <c:v>-1.9327731092437E-2</c:v>
                </c:pt>
                <c:pt idx="28439">
                  <c:v>-1.9327731092437E-2</c:v>
                </c:pt>
                <c:pt idx="28440">
                  <c:v>-1.9327731092437E-2</c:v>
                </c:pt>
                <c:pt idx="28441">
                  <c:v>-1.9327731092437E-2</c:v>
                </c:pt>
                <c:pt idx="28442">
                  <c:v>-1.9327731092437E-2</c:v>
                </c:pt>
                <c:pt idx="28443">
                  <c:v>-1.9327731092437E-2</c:v>
                </c:pt>
                <c:pt idx="28444">
                  <c:v>-1.9327731092437E-2</c:v>
                </c:pt>
                <c:pt idx="28445">
                  <c:v>-1.9327731092437E-2</c:v>
                </c:pt>
                <c:pt idx="28446">
                  <c:v>-1.9327731092437E-2</c:v>
                </c:pt>
                <c:pt idx="28447">
                  <c:v>-1.9327731092437E-2</c:v>
                </c:pt>
                <c:pt idx="28448">
                  <c:v>-1.9327731092437E-2</c:v>
                </c:pt>
                <c:pt idx="28449">
                  <c:v>-1.9327731092437E-2</c:v>
                </c:pt>
                <c:pt idx="28450">
                  <c:v>-1.9327731092437E-2</c:v>
                </c:pt>
                <c:pt idx="28451">
                  <c:v>-1.9327731092437E-2</c:v>
                </c:pt>
                <c:pt idx="28452">
                  <c:v>-1.9327731092437E-2</c:v>
                </c:pt>
                <c:pt idx="28453">
                  <c:v>-1.9327731092437E-2</c:v>
                </c:pt>
                <c:pt idx="28454">
                  <c:v>-1.9327731092437E-2</c:v>
                </c:pt>
                <c:pt idx="28455">
                  <c:v>-1.9327731092437E-2</c:v>
                </c:pt>
                <c:pt idx="28456">
                  <c:v>-1.9327731092437E-2</c:v>
                </c:pt>
                <c:pt idx="28457">
                  <c:v>-1.9327731092437E-2</c:v>
                </c:pt>
                <c:pt idx="28458">
                  <c:v>-1.9327731092437E-2</c:v>
                </c:pt>
                <c:pt idx="28459">
                  <c:v>-1.9327731092437E-2</c:v>
                </c:pt>
                <c:pt idx="28460">
                  <c:v>-1.9327731092437E-2</c:v>
                </c:pt>
                <c:pt idx="28461">
                  <c:v>-1.9327731092437E-2</c:v>
                </c:pt>
                <c:pt idx="28462">
                  <c:v>-1.9327731092437E-2</c:v>
                </c:pt>
                <c:pt idx="28463">
                  <c:v>-1.9327731092437E-2</c:v>
                </c:pt>
                <c:pt idx="28464">
                  <c:v>-1.9327731092437E-2</c:v>
                </c:pt>
                <c:pt idx="28465">
                  <c:v>-1.9327731092437E-2</c:v>
                </c:pt>
                <c:pt idx="28466">
                  <c:v>-1.9327731092437E-2</c:v>
                </c:pt>
                <c:pt idx="28467">
                  <c:v>-1.9327731092437E-2</c:v>
                </c:pt>
                <c:pt idx="28468">
                  <c:v>-2.0168067226890699E-2</c:v>
                </c:pt>
                <c:pt idx="28469">
                  <c:v>-2.0168067226890699E-2</c:v>
                </c:pt>
                <c:pt idx="28470">
                  <c:v>-2.0168067226890699E-2</c:v>
                </c:pt>
                <c:pt idx="28471">
                  <c:v>-2.0168067226890699E-2</c:v>
                </c:pt>
                <c:pt idx="28472">
                  <c:v>-2.0168067226890699E-2</c:v>
                </c:pt>
                <c:pt idx="28473">
                  <c:v>-2.0168067226890699E-2</c:v>
                </c:pt>
                <c:pt idx="28474">
                  <c:v>-2.0168067226890699E-2</c:v>
                </c:pt>
                <c:pt idx="28475">
                  <c:v>-2.0168067226890699E-2</c:v>
                </c:pt>
                <c:pt idx="28476">
                  <c:v>-2.0168067226890699E-2</c:v>
                </c:pt>
                <c:pt idx="28477">
                  <c:v>-2.0168067226890699E-2</c:v>
                </c:pt>
                <c:pt idx="28478">
                  <c:v>-2.0168067226890699E-2</c:v>
                </c:pt>
                <c:pt idx="28479">
                  <c:v>-2.0168067226890699E-2</c:v>
                </c:pt>
                <c:pt idx="28480">
                  <c:v>-2.0168067226890699E-2</c:v>
                </c:pt>
                <c:pt idx="28481">
                  <c:v>-2.0168067226890699E-2</c:v>
                </c:pt>
                <c:pt idx="28482">
                  <c:v>-2.0168067226890699E-2</c:v>
                </c:pt>
                <c:pt idx="28483">
                  <c:v>-2.0168067226890699E-2</c:v>
                </c:pt>
                <c:pt idx="28484">
                  <c:v>-2.0168067226890699E-2</c:v>
                </c:pt>
                <c:pt idx="28485">
                  <c:v>-2.0168067226890699E-2</c:v>
                </c:pt>
                <c:pt idx="28486">
                  <c:v>-2.0168067226890699E-2</c:v>
                </c:pt>
                <c:pt idx="28487">
                  <c:v>-2.0168067226890699E-2</c:v>
                </c:pt>
                <c:pt idx="28488">
                  <c:v>-2.0168067226890699E-2</c:v>
                </c:pt>
                <c:pt idx="28489">
                  <c:v>-2.0168067226890699E-2</c:v>
                </c:pt>
                <c:pt idx="28490">
                  <c:v>-2.0168067226890699E-2</c:v>
                </c:pt>
                <c:pt idx="28491">
                  <c:v>-2.0168067226890699E-2</c:v>
                </c:pt>
                <c:pt idx="28492">
                  <c:v>-2.0168067226890699E-2</c:v>
                </c:pt>
                <c:pt idx="28493">
                  <c:v>-2.0168067226890699E-2</c:v>
                </c:pt>
                <c:pt idx="28494">
                  <c:v>-2.0168067226890699E-2</c:v>
                </c:pt>
                <c:pt idx="28495">
                  <c:v>-2.0168067226890699E-2</c:v>
                </c:pt>
                <c:pt idx="28496">
                  <c:v>-2.0168067226890699E-2</c:v>
                </c:pt>
                <c:pt idx="28497">
                  <c:v>-2.1008403361344501E-2</c:v>
                </c:pt>
                <c:pt idx="28498">
                  <c:v>-2.1008403361344501E-2</c:v>
                </c:pt>
                <c:pt idx="28499">
                  <c:v>-2.1008403361344501E-2</c:v>
                </c:pt>
                <c:pt idx="28500">
                  <c:v>-2.1008403361344501E-2</c:v>
                </c:pt>
                <c:pt idx="28501">
                  <c:v>-2.1008403361344501E-2</c:v>
                </c:pt>
                <c:pt idx="28502">
                  <c:v>-2.1008403361344501E-2</c:v>
                </c:pt>
                <c:pt idx="28503">
                  <c:v>-2.1008403361344501E-2</c:v>
                </c:pt>
                <c:pt idx="28504">
                  <c:v>-2.1008403361344501E-2</c:v>
                </c:pt>
                <c:pt idx="28505">
                  <c:v>-2.1008403361344501E-2</c:v>
                </c:pt>
                <c:pt idx="28506">
                  <c:v>-2.1008403361344501E-2</c:v>
                </c:pt>
                <c:pt idx="28507">
                  <c:v>-2.1008403361344501E-2</c:v>
                </c:pt>
                <c:pt idx="28508">
                  <c:v>-2.1008403361344501E-2</c:v>
                </c:pt>
                <c:pt idx="28509">
                  <c:v>-2.1008403361344501E-2</c:v>
                </c:pt>
                <c:pt idx="28510">
                  <c:v>-2.1008403361344501E-2</c:v>
                </c:pt>
                <c:pt idx="28511">
                  <c:v>-2.1008403361344501E-2</c:v>
                </c:pt>
                <c:pt idx="28512">
                  <c:v>-2.1008403361344501E-2</c:v>
                </c:pt>
                <c:pt idx="28513">
                  <c:v>-2.1008403361344501E-2</c:v>
                </c:pt>
                <c:pt idx="28514">
                  <c:v>-2.1008403361344501E-2</c:v>
                </c:pt>
                <c:pt idx="28515">
                  <c:v>-2.1008403361344501E-2</c:v>
                </c:pt>
                <c:pt idx="28516">
                  <c:v>-2.1008403361344501E-2</c:v>
                </c:pt>
                <c:pt idx="28517">
                  <c:v>-2.1008403361344501E-2</c:v>
                </c:pt>
                <c:pt idx="28518">
                  <c:v>-2.1008403361344501E-2</c:v>
                </c:pt>
                <c:pt idx="28519">
                  <c:v>-2.1008403361344501E-2</c:v>
                </c:pt>
                <c:pt idx="28520">
                  <c:v>-2.1008403361344501E-2</c:v>
                </c:pt>
                <c:pt idx="28521">
                  <c:v>-2.1008403361344501E-2</c:v>
                </c:pt>
                <c:pt idx="28522">
                  <c:v>-2.1008403361344501E-2</c:v>
                </c:pt>
                <c:pt idx="28523">
                  <c:v>-2.1008403361344501E-2</c:v>
                </c:pt>
                <c:pt idx="28524">
                  <c:v>-2.1008403361344501E-2</c:v>
                </c:pt>
                <c:pt idx="28525">
                  <c:v>-2.1008403361344501E-2</c:v>
                </c:pt>
                <c:pt idx="28526">
                  <c:v>-2.1008403361344501E-2</c:v>
                </c:pt>
                <c:pt idx="28527">
                  <c:v>-2.1008403361344501E-2</c:v>
                </c:pt>
                <c:pt idx="28528">
                  <c:v>-2.1008403361344501E-2</c:v>
                </c:pt>
                <c:pt idx="28529">
                  <c:v>-2.1008403361344501E-2</c:v>
                </c:pt>
                <c:pt idx="28530">
                  <c:v>-2.1008403361344501E-2</c:v>
                </c:pt>
                <c:pt idx="28531">
                  <c:v>-2.1008403361344501E-2</c:v>
                </c:pt>
                <c:pt idx="28532">
                  <c:v>-2.1008403361344501E-2</c:v>
                </c:pt>
                <c:pt idx="28533">
                  <c:v>-2.1008403361344501E-2</c:v>
                </c:pt>
                <c:pt idx="28534">
                  <c:v>-2.1008403361344501E-2</c:v>
                </c:pt>
                <c:pt idx="28535">
                  <c:v>-2.1008403361344501E-2</c:v>
                </c:pt>
                <c:pt idx="28536">
                  <c:v>-2.1008403361344501E-2</c:v>
                </c:pt>
                <c:pt idx="28537">
                  <c:v>-2.1008403361344501E-2</c:v>
                </c:pt>
                <c:pt idx="28538">
                  <c:v>-2.1008403361344501E-2</c:v>
                </c:pt>
                <c:pt idx="28539">
                  <c:v>-2.1008403361344501E-2</c:v>
                </c:pt>
                <c:pt idx="28540">
                  <c:v>-2.1008403361344501E-2</c:v>
                </c:pt>
                <c:pt idx="28541">
                  <c:v>-2.1008403361344501E-2</c:v>
                </c:pt>
                <c:pt idx="28542">
                  <c:v>-2.1008403361344501E-2</c:v>
                </c:pt>
                <c:pt idx="28543">
                  <c:v>-2.1008403361344501E-2</c:v>
                </c:pt>
                <c:pt idx="28544">
                  <c:v>-2.1008403361344501E-2</c:v>
                </c:pt>
                <c:pt idx="28545">
                  <c:v>-2.1008403361344501E-2</c:v>
                </c:pt>
                <c:pt idx="28546">
                  <c:v>-2.1008403361344501E-2</c:v>
                </c:pt>
                <c:pt idx="28547">
                  <c:v>-2.1008403361344501E-2</c:v>
                </c:pt>
                <c:pt idx="28548">
                  <c:v>-2.1008403361344501E-2</c:v>
                </c:pt>
                <c:pt idx="28549">
                  <c:v>-2.1008403361344501E-2</c:v>
                </c:pt>
                <c:pt idx="28550">
                  <c:v>-2.1008403361344501E-2</c:v>
                </c:pt>
                <c:pt idx="28551">
                  <c:v>-2.1008403361344501E-2</c:v>
                </c:pt>
                <c:pt idx="28552">
                  <c:v>-2.1008403361344501E-2</c:v>
                </c:pt>
                <c:pt idx="28553">
                  <c:v>-2.1008403361344501E-2</c:v>
                </c:pt>
                <c:pt idx="28554">
                  <c:v>-2.1848739495798301E-2</c:v>
                </c:pt>
                <c:pt idx="28555">
                  <c:v>-2.1848739495798301E-2</c:v>
                </c:pt>
                <c:pt idx="28556">
                  <c:v>-2.1848739495798301E-2</c:v>
                </c:pt>
                <c:pt idx="28557">
                  <c:v>-2.1848739495798301E-2</c:v>
                </c:pt>
                <c:pt idx="28558">
                  <c:v>-2.1848739495798301E-2</c:v>
                </c:pt>
                <c:pt idx="28559">
                  <c:v>-2.1848739495798301E-2</c:v>
                </c:pt>
                <c:pt idx="28560">
                  <c:v>-2.1848739495798301E-2</c:v>
                </c:pt>
                <c:pt idx="28561">
                  <c:v>-2.1848739495798301E-2</c:v>
                </c:pt>
                <c:pt idx="28562">
                  <c:v>-2.1848739495798301E-2</c:v>
                </c:pt>
                <c:pt idx="28563">
                  <c:v>-2.1848739495798301E-2</c:v>
                </c:pt>
                <c:pt idx="28564">
                  <c:v>-2.1848739495798301E-2</c:v>
                </c:pt>
                <c:pt idx="28565">
                  <c:v>-2.1848739495798301E-2</c:v>
                </c:pt>
                <c:pt idx="28566">
                  <c:v>-2.1848739495798301E-2</c:v>
                </c:pt>
                <c:pt idx="28567">
                  <c:v>-2.1848739495798301E-2</c:v>
                </c:pt>
                <c:pt idx="28568">
                  <c:v>-2.1848739495798301E-2</c:v>
                </c:pt>
                <c:pt idx="28569">
                  <c:v>-2.1848739495798301E-2</c:v>
                </c:pt>
                <c:pt idx="28570">
                  <c:v>-2.1848739495798301E-2</c:v>
                </c:pt>
                <c:pt idx="28571">
                  <c:v>-2.1848739495798301E-2</c:v>
                </c:pt>
                <c:pt idx="28572">
                  <c:v>-2.1848739495798301E-2</c:v>
                </c:pt>
                <c:pt idx="28573">
                  <c:v>-2.1848739495798301E-2</c:v>
                </c:pt>
                <c:pt idx="28574">
                  <c:v>-2.1848739495798301E-2</c:v>
                </c:pt>
                <c:pt idx="28575">
                  <c:v>-2.26890756302521E-2</c:v>
                </c:pt>
                <c:pt idx="28576">
                  <c:v>-2.26890756302521E-2</c:v>
                </c:pt>
                <c:pt idx="28577">
                  <c:v>-2.26890756302521E-2</c:v>
                </c:pt>
                <c:pt idx="28578">
                  <c:v>-2.3529411764705899E-2</c:v>
                </c:pt>
                <c:pt idx="28579">
                  <c:v>-2.3529411764705899E-2</c:v>
                </c:pt>
                <c:pt idx="28580">
                  <c:v>-2.3529411764705899E-2</c:v>
                </c:pt>
                <c:pt idx="28581">
                  <c:v>-2.3529411764705899E-2</c:v>
                </c:pt>
                <c:pt idx="28582">
                  <c:v>-2.3529411764705899E-2</c:v>
                </c:pt>
                <c:pt idx="28583">
                  <c:v>-2.3529411764705899E-2</c:v>
                </c:pt>
                <c:pt idx="28584">
                  <c:v>-2.3529411764705899E-2</c:v>
                </c:pt>
                <c:pt idx="28585">
                  <c:v>-2.3529411764705899E-2</c:v>
                </c:pt>
                <c:pt idx="28586">
                  <c:v>-2.3529411764705899E-2</c:v>
                </c:pt>
                <c:pt idx="28587">
                  <c:v>-2.3529411764705899E-2</c:v>
                </c:pt>
                <c:pt idx="28588">
                  <c:v>-2.3529411764705899E-2</c:v>
                </c:pt>
                <c:pt idx="28589">
                  <c:v>-2.3529411764705899E-2</c:v>
                </c:pt>
                <c:pt idx="28590">
                  <c:v>-2.3529411764705899E-2</c:v>
                </c:pt>
                <c:pt idx="28591">
                  <c:v>-2.26890756302521E-2</c:v>
                </c:pt>
                <c:pt idx="28592">
                  <c:v>-2.26890756302521E-2</c:v>
                </c:pt>
                <c:pt idx="28593">
                  <c:v>-2.26890756302521E-2</c:v>
                </c:pt>
                <c:pt idx="28594">
                  <c:v>-2.26890756302521E-2</c:v>
                </c:pt>
                <c:pt idx="28595">
                  <c:v>-2.26890756302521E-2</c:v>
                </c:pt>
                <c:pt idx="28596">
                  <c:v>-2.26890756302521E-2</c:v>
                </c:pt>
                <c:pt idx="28597">
                  <c:v>-2.26890756302521E-2</c:v>
                </c:pt>
                <c:pt idx="28598">
                  <c:v>-2.26890756302521E-2</c:v>
                </c:pt>
                <c:pt idx="28599">
                  <c:v>-2.26890756302521E-2</c:v>
                </c:pt>
                <c:pt idx="28600">
                  <c:v>-2.26890756302521E-2</c:v>
                </c:pt>
                <c:pt idx="28601">
                  <c:v>-2.26890756302521E-2</c:v>
                </c:pt>
                <c:pt idx="28602">
                  <c:v>-2.26890756302521E-2</c:v>
                </c:pt>
                <c:pt idx="28603">
                  <c:v>-2.26890756302521E-2</c:v>
                </c:pt>
                <c:pt idx="28604">
                  <c:v>-2.26890756302521E-2</c:v>
                </c:pt>
                <c:pt idx="28605">
                  <c:v>-2.26890756302521E-2</c:v>
                </c:pt>
                <c:pt idx="28606">
                  <c:v>-2.26890756302521E-2</c:v>
                </c:pt>
                <c:pt idx="28607">
                  <c:v>-2.26890756302521E-2</c:v>
                </c:pt>
                <c:pt idx="28608">
                  <c:v>-2.26890756302521E-2</c:v>
                </c:pt>
                <c:pt idx="28609">
                  <c:v>-2.26890756302521E-2</c:v>
                </c:pt>
                <c:pt idx="28610">
                  <c:v>-2.26890756302521E-2</c:v>
                </c:pt>
                <c:pt idx="28611">
                  <c:v>-2.26890756302521E-2</c:v>
                </c:pt>
                <c:pt idx="28612">
                  <c:v>-2.26890756302521E-2</c:v>
                </c:pt>
                <c:pt idx="28613">
                  <c:v>-2.26890756302521E-2</c:v>
                </c:pt>
                <c:pt idx="28614">
                  <c:v>-2.26890756302521E-2</c:v>
                </c:pt>
                <c:pt idx="28615">
                  <c:v>-2.26890756302521E-2</c:v>
                </c:pt>
                <c:pt idx="28616">
                  <c:v>-2.26890756302521E-2</c:v>
                </c:pt>
                <c:pt idx="28617">
                  <c:v>-2.26890756302521E-2</c:v>
                </c:pt>
                <c:pt idx="28618">
                  <c:v>-2.26890756302521E-2</c:v>
                </c:pt>
                <c:pt idx="28619">
                  <c:v>-2.26890756302521E-2</c:v>
                </c:pt>
                <c:pt idx="28620">
                  <c:v>-2.26890756302521E-2</c:v>
                </c:pt>
                <c:pt idx="28621">
                  <c:v>-2.26890756302521E-2</c:v>
                </c:pt>
                <c:pt idx="28622">
                  <c:v>-2.26890756302521E-2</c:v>
                </c:pt>
                <c:pt idx="28623">
                  <c:v>-2.26890756302521E-2</c:v>
                </c:pt>
                <c:pt idx="28624">
                  <c:v>-2.26890756302521E-2</c:v>
                </c:pt>
                <c:pt idx="28625">
                  <c:v>-2.26890756302521E-2</c:v>
                </c:pt>
                <c:pt idx="28626">
                  <c:v>-2.26890756302521E-2</c:v>
                </c:pt>
                <c:pt idx="28627">
                  <c:v>-2.1848739495798301E-2</c:v>
                </c:pt>
                <c:pt idx="28628">
                  <c:v>-2.1848739495798301E-2</c:v>
                </c:pt>
                <c:pt idx="28629">
                  <c:v>-2.1848739495798301E-2</c:v>
                </c:pt>
                <c:pt idx="28630">
                  <c:v>-2.1848739495798301E-2</c:v>
                </c:pt>
                <c:pt idx="28631">
                  <c:v>-2.1848739495798301E-2</c:v>
                </c:pt>
                <c:pt idx="28632">
                  <c:v>-2.1008403361344501E-2</c:v>
                </c:pt>
                <c:pt idx="28633">
                  <c:v>-2.1008403361344501E-2</c:v>
                </c:pt>
                <c:pt idx="28634">
                  <c:v>-2.1008403361344501E-2</c:v>
                </c:pt>
                <c:pt idx="28635">
                  <c:v>-2.1008403361344501E-2</c:v>
                </c:pt>
                <c:pt idx="28636">
                  <c:v>-2.1008403361344501E-2</c:v>
                </c:pt>
                <c:pt idx="28637">
                  <c:v>-2.1008403361344501E-2</c:v>
                </c:pt>
                <c:pt idx="28638">
                  <c:v>-2.1008403361344501E-2</c:v>
                </c:pt>
                <c:pt idx="28639">
                  <c:v>-2.1008403361344501E-2</c:v>
                </c:pt>
                <c:pt idx="28640">
                  <c:v>-2.1008403361344501E-2</c:v>
                </c:pt>
                <c:pt idx="28641">
                  <c:v>-2.1008403361344501E-2</c:v>
                </c:pt>
                <c:pt idx="28642">
                  <c:v>-2.1008403361344501E-2</c:v>
                </c:pt>
                <c:pt idx="28643">
                  <c:v>-2.1008403361344501E-2</c:v>
                </c:pt>
                <c:pt idx="28644">
                  <c:v>-2.1008403361344501E-2</c:v>
                </c:pt>
                <c:pt idx="28645">
                  <c:v>-2.1008403361344501E-2</c:v>
                </c:pt>
                <c:pt idx="28646">
                  <c:v>-2.1008403361344501E-2</c:v>
                </c:pt>
                <c:pt idx="28647">
                  <c:v>-2.1008403361344501E-2</c:v>
                </c:pt>
                <c:pt idx="28648">
                  <c:v>-2.1008403361344501E-2</c:v>
                </c:pt>
                <c:pt idx="28649">
                  <c:v>-2.1008403361344501E-2</c:v>
                </c:pt>
                <c:pt idx="28650">
                  <c:v>-2.1008403361344501E-2</c:v>
                </c:pt>
                <c:pt idx="28651">
                  <c:v>-2.1008403361344501E-2</c:v>
                </c:pt>
                <c:pt idx="28652">
                  <c:v>-2.1008403361344501E-2</c:v>
                </c:pt>
                <c:pt idx="28653">
                  <c:v>-2.1008403361344501E-2</c:v>
                </c:pt>
                <c:pt idx="28654">
                  <c:v>-2.1008403361344501E-2</c:v>
                </c:pt>
                <c:pt idx="28655">
                  <c:v>-2.1008403361344501E-2</c:v>
                </c:pt>
                <c:pt idx="28656">
                  <c:v>-2.1008403361344501E-2</c:v>
                </c:pt>
                <c:pt idx="28657">
                  <c:v>-2.1008403361344501E-2</c:v>
                </c:pt>
                <c:pt idx="28658">
                  <c:v>-2.1008403361344501E-2</c:v>
                </c:pt>
                <c:pt idx="28659">
                  <c:v>-2.1008403361344501E-2</c:v>
                </c:pt>
                <c:pt idx="28660">
                  <c:v>-2.1008403361344501E-2</c:v>
                </c:pt>
                <c:pt idx="28661">
                  <c:v>-2.1008403361344501E-2</c:v>
                </c:pt>
                <c:pt idx="28662">
                  <c:v>-2.1008403361344501E-2</c:v>
                </c:pt>
                <c:pt idx="28663">
                  <c:v>-2.1008403361344501E-2</c:v>
                </c:pt>
                <c:pt idx="28664">
                  <c:v>-2.1008403361344501E-2</c:v>
                </c:pt>
                <c:pt idx="28665">
                  <c:v>-2.1008403361344501E-2</c:v>
                </c:pt>
                <c:pt idx="28666">
                  <c:v>-2.1008403361344501E-2</c:v>
                </c:pt>
                <c:pt idx="28667">
                  <c:v>-2.1008403361344501E-2</c:v>
                </c:pt>
                <c:pt idx="28668">
                  <c:v>-2.1008403361344501E-2</c:v>
                </c:pt>
                <c:pt idx="28669">
                  <c:v>-2.1008403361344501E-2</c:v>
                </c:pt>
                <c:pt idx="28670">
                  <c:v>-2.1008403361344501E-2</c:v>
                </c:pt>
                <c:pt idx="28671">
                  <c:v>-2.1008403361344501E-2</c:v>
                </c:pt>
                <c:pt idx="28672">
                  <c:v>-2.1008403361344501E-2</c:v>
                </c:pt>
                <c:pt idx="28673">
                  <c:v>-2.1008403361344501E-2</c:v>
                </c:pt>
                <c:pt idx="28674">
                  <c:v>-2.0168067226890699E-2</c:v>
                </c:pt>
                <c:pt idx="28675">
                  <c:v>-2.0168067226890699E-2</c:v>
                </c:pt>
                <c:pt idx="28676">
                  <c:v>-2.0168067226890699E-2</c:v>
                </c:pt>
                <c:pt idx="28677">
                  <c:v>-2.0168067226890699E-2</c:v>
                </c:pt>
                <c:pt idx="28678">
                  <c:v>-2.0168067226890699E-2</c:v>
                </c:pt>
                <c:pt idx="28679">
                  <c:v>-2.0168067226890699E-2</c:v>
                </c:pt>
                <c:pt idx="28680">
                  <c:v>-2.0168067226890699E-2</c:v>
                </c:pt>
                <c:pt idx="28681">
                  <c:v>-2.0168067226890699E-2</c:v>
                </c:pt>
                <c:pt idx="28682">
                  <c:v>-2.0168067226890699E-2</c:v>
                </c:pt>
                <c:pt idx="28683">
                  <c:v>-2.0168067226890699E-2</c:v>
                </c:pt>
                <c:pt idx="28684">
                  <c:v>-2.0168067226890699E-2</c:v>
                </c:pt>
                <c:pt idx="28685">
                  <c:v>-2.0168067226890699E-2</c:v>
                </c:pt>
                <c:pt idx="28686">
                  <c:v>-2.0168067226890699E-2</c:v>
                </c:pt>
                <c:pt idx="28687">
                  <c:v>-2.0168067226890699E-2</c:v>
                </c:pt>
                <c:pt idx="28688">
                  <c:v>-2.0168067226890699E-2</c:v>
                </c:pt>
                <c:pt idx="28689">
                  <c:v>-2.0168067226890699E-2</c:v>
                </c:pt>
                <c:pt idx="28690">
                  <c:v>-2.0168067226890699E-2</c:v>
                </c:pt>
                <c:pt idx="28691">
                  <c:v>-2.0168067226890699E-2</c:v>
                </c:pt>
                <c:pt idx="28692">
                  <c:v>-2.0168067226890699E-2</c:v>
                </c:pt>
                <c:pt idx="28693">
                  <c:v>-2.0168067226890699E-2</c:v>
                </c:pt>
                <c:pt idx="28694">
                  <c:v>-1.9327731092437E-2</c:v>
                </c:pt>
                <c:pt idx="28695">
                  <c:v>-1.9327731092437E-2</c:v>
                </c:pt>
                <c:pt idx="28696">
                  <c:v>-1.9327731092437E-2</c:v>
                </c:pt>
                <c:pt idx="28697">
                  <c:v>-1.9327731092437E-2</c:v>
                </c:pt>
                <c:pt idx="28698">
                  <c:v>-1.9327731092437E-2</c:v>
                </c:pt>
                <c:pt idx="28699">
                  <c:v>-1.9327731092437E-2</c:v>
                </c:pt>
                <c:pt idx="28700">
                  <c:v>-1.9327731092437E-2</c:v>
                </c:pt>
                <c:pt idx="28701">
                  <c:v>-1.9327731092437E-2</c:v>
                </c:pt>
                <c:pt idx="28702">
                  <c:v>-1.9327731092437E-2</c:v>
                </c:pt>
                <c:pt idx="28703">
                  <c:v>-1.9327731092437E-2</c:v>
                </c:pt>
                <c:pt idx="28704">
                  <c:v>-1.9327731092437E-2</c:v>
                </c:pt>
                <c:pt idx="28705">
                  <c:v>-1.9327731092437E-2</c:v>
                </c:pt>
                <c:pt idx="28706">
                  <c:v>-1.9327731092437E-2</c:v>
                </c:pt>
                <c:pt idx="28707">
                  <c:v>-1.9327731092437E-2</c:v>
                </c:pt>
                <c:pt idx="28708">
                  <c:v>-1.9327731092437E-2</c:v>
                </c:pt>
                <c:pt idx="28709">
                  <c:v>-1.9327731092437E-2</c:v>
                </c:pt>
                <c:pt idx="28710">
                  <c:v>-1.9327731092437E-2</c:v>
                </c:pt>
                <c:pt idx="28711">
                  <c:v>-1.9327731092437E-2</c:v>
                </c:pt>
                <c:pt idx="28712">
                  <c:v>-1.9327731092437E-2</c:v>
                </c:pt>
                <c:pt idx="28713">
                  <c:v>-1.9327731092437E-2</c:v>
                </c:pt>
                <c:pt idx="28714">
                  <c:v>-1.9327731092437E-2</c:v>
                </c:pt>
                <c:pt idx="28715">
                  <c:v>-1.9327731092437E-2</c:v>
                </c:pt>
                <c:pt idx="28716">
                  <c:v>-1.9327731092437E-2</c:v>
                </c:pt>
                <c:pt idx="28717">
                  <c:v>-1.9327731092437E-2</c:v>
                </c:pt>
                <c:pt idx="28718">
                  <c:v>-1.9327731092437E-2</c:v>
                </c:pt>
                <c:pt idx="28719">
                  <c:v>-1.9327731092437E-2</c:v>
                </c:pt>
                <c:pt idx="28720">
                  <c:v>-1.9327731092437E-2</c:v>
                </c:pt>
                <c:pt idx="28721">
                  <c:v>-1.9327731092437E-2</c:v>
                </c:pt>
                <c:pt idx="28722">
                  <c:v>-1.9327731092437E-2</c:v>
                </c:pt>
                <c:pt idx="28723">
                  <c:v>-1.9327731092437E-2</c:v>
                </c:pt>
                <c:pt idx="28724">
                  <c:v>-1.9327731092437E-2</c:v>
                </c:pt>
                <c:pt idx="28725">
                  <c:v>-1.9327731092437E-2</c:v>
                </c:pt>
                <c:pt idx="28726">
                  <c:v>-1.9327731092437E-2</c:v>
                </c:pt>
                <c:pt idx="28727">
                  <c:v>-1.9327731092437E-2</c:v>
                </c:pt>
                <c:pt idx="28728">
                  <c:v>-1.9327731092437E-2</c:v>
                </c:pt>
                <c:pt idx="28729">
                  <c:v>-1.9327731092437E-2</c:v>
                </c:pt>
                <c:pt idx="28730">
                  <c:v>-1.9327731092437E-2</c:v>
                </c:pt>
                <c:pt idx="28731">
                  <c:v>-1.9327731092437E-2</c:v>
                </c:pt>
                <c:pt idx="28732">
                  <c:v>-1.9327731092437E-2</c:v>
                </c:pt>
                <c:pt idx="28733">
                  <c:v>-1.9327731092437E-2</c:v>
                </c:pt>
                <c:pt idx="28734">
                  <c:v>-1.9327731092437E-2</c:v>
                </c:pt>
                <c:pt idx="28735">
                  <c:v>-1.9327731092437E-2</c:v>
                </c:pt>
                <c:pt idx="28736">
                  <c:v>-1.9327731092437E-2</c:v>
                </c:pt>
                <c:pt idx="28737">
                  <c:v>-1.9327731092437E-2</c:v>
                </c:pt>
                <c:pt idx="28738">
                  <c:v>-1.9327731092437E-2</c:v>
                </c:pt>
                <c:pt idx="28739">
                  <c:v>-1.9327731092437E-2</c:v>
                </c:pt>
                <c:pt idx="28740">
                  <c:v>-1.9327731092437E-2</c:v>
                </c:pt>
                <c:pt idx="28741">
                  <c:v>-1.9327731092437E-2</c:v>
                </c:pt>
                <c:pt idx="28742">
                  <c:v>-1.9327731092437E-2</c:v>
                </c:pt>
                <c:pt idx="28743">
                  <c:v>-1.9327731092437E-2</c:v>
                </c:pt>
                <c:pt idx="28744">
                  <c:v>-1.9327731092437E-2</c:v>
                </c:pt>
                <c:pt idx="28745">
                  <c:v>-1.9327731092437E-2</c:v>
                </c:pt>
                <c:pt idx="28746">
                  <c:v>-1.9327731092437E-2</c:v>
                </c:pt>
                <c:pt idx="28747">
                  <c:v>-1.9327731092437E-2</c:v>
                </c:pt>
                <c:pt idx="28748">
                  <c:v>-1.9327731092437E-2</c:v>
                </c:pt>
                <c:pt idx="28749">
                  <c:v>-1.9327731092437E-2</c:v>
                </c:pt>
                <c:pt idx="28750">
                  <c:v>-1.9327731092437E-2</c:v>
                </c:pt>
                <c:pt idx="28751">
                  <c:v>-1.9327731092437E-2</c:v>
                </c:pt>
                <c:pt idx="28752">
                  <c:v>-1.9327731092437E-2</c:v>
                </c:pt>
                <c:pt idx="28753">
                  <c:v>-1.9327731092437E-2</c:v>
                </c:pt>
                <c:pt idx="28754">
                  <c:v>-1.9327731092437E-2</c:v>
                </c:pt>
                <c:pt idx="28755">
                  <c:v>-1.9327731092437E-2</c:v>
                </c:pt>
                <c:pt idx="28756">
                  <c:v>-1.9327731092437E-2</c:v>
                </c:pt>
                <c:pt idx="28757">
                  <c:v>-1.9327731092437E-2</c:v>
                </c:pt>
                <c:pt idx="28758">
                  <c:v>-1.9327731092437E-2</c:v>
                </c:pt>
                <c:pt idx="28759">
                  <c:v>-2.0168067226890699E-2</c:v>
                </c:pt>
                <c:pt idx="28760">
                  <c:v>-2.0168067226890699E-2</c:v>
                </c:pt>
                <c:pt idx="28761">
                  <c:v>-2.0168067226890699E-2</c:v>
                </c:pt>
                <c:pt idx="28762">
                  <c:v>-2.0168067226890699E-2</c:v>
                </c:pt>
                <c:pt idx="28763">
                  <c:v>-1.9327731092437E-2</c:v>
                </c:pt>
                <c:pt idx="28764">
                  <c:v>-1.9327731092437E-2</c:v>
                </c:pt>
                <c:pt idx="28765">
                  <c:v>-1.9327731092437E-2</c:v>
                </c:pt>
                <c:pt idx="28766">
                  <c:v>-1.9327731092437E-2</c:v>
                </c:pt>
                <c:pt idx="28767">
                  <c:v>-1.9327731092437E-2</c:v>
                </c:pt>
                <c:pt idx="28768">
                  <c:v>-1.9327731092437E-2</c:v>
                </c:pt>
                <c:pt idx="28769">
                  <c:v>-1.9327731092437E-2</c:v>
                </c:pt>
                <c:pt idx="28770">
                  <c:v>-1.9327731092437E-2</c:v>
                </c:pt>
                <c:pt idx="28771">
                  <c:v>-1.9327731092437E-2</c:v>
                </c:pt>
                <c:pt idx="28772">
                  <c:v>-1.9327731092437E-2</c:v>
                </c:pt>
                <c:pt idx="28773">
                  <c:v>-1.9327731092437E-2</c:v>
                </c:pt>
                <c:pt idx="28774">
                  <c:v>-1.9327731092437E-2</c:v>
                </c:pt>
                <c:pt idx="28775">
                  <c:v>-1.9327731092437E-2</c:v>
                </c:pt>
                <c:pt idx="28776">
                  <c:v>-1.9327731092437E-2</c:v>
                </c:pt>
                <c:pt idx="28777">
                  <c:v>-1.9327731092437E-2</c:v>
                </c:pt>
                <c:pt idx="28778">
                  <c:v>-1.9327731092437E-2</c:v>
                </c:pt>
                <c:pt idx="28779">
                  <c:v>-1.9327731092437E-2</c:v>
                </c:pt>
                <c:pt idx="28780">
                  <c:v>-1.9327731092437E-2</c:v>
                </c:pt>
                <c:pt idx="28781">
                  <c:v>-1.9327731092437E-2</c:v>
                </c:pt>
                <c:pt idx="28782">
                  <c:v>-1.9327731092437E-2</c:v>
                </c:pt>
                <c:pt idx="28783">
                  <c:v>-1.9327731092437E-2</c:v>
                </c:pt>
                <c:pt idx="28784">
                  <c:v>-1.9327731092437E-2</c:v>
                </c:pt>
                <c:pt idx="28785">
                  <c:v>-1.9327731092437E-2</c:v>
                </c:pt>
                <c:pt idx="28786">
                  <c:v>-1.9327731092437E-2</c:v>
                </c:pt>
                <c:pt idx="28787">
                  <c:v>-1.9327731092437E-2</c:v>
                </c:pt>
                <c:pt idx="28788">
                  <c:v>-1.9327731092437E-2</c:v>
                </c:pt>
                <c:pt idx="28789">
                  <c:v>-1.9327731092437E-2</c:v>
                </c:pt>
                <c:pt idx="28790">
                  <c:v>-1.9327731092437E-2</c:v>
                </c:pt>
                <c:pt idx="28791">
                  <c:v>-1.9327731092437E-2</c:v>
                </c:pt>
                <c:pt idx="28792">
                  <c:v>-1.9327731092437E-2</c:v>
                </c:pt>
                <c:pt idx="28793">
                  <c:v>-1.9327731092437E-2</c:v>
                </c:pt>
                <c:pt idx="28794">
                  <c:v>-1.9327731092437E-2</c:v>
                </c:pt>
                <c:pt idx="28795">
                  <c:v>-1.9327731092437E-2</c:v>
                </c:pt>
                <c:pt idx="28796">
                  <c:v>-1.9327731092437E-2</c:v>
                </c:pt>
                <c:pt idx="28797">
                  <c:v>-1.9327731092437E-2</c:v>
                </c:pt>
                <c:pt idx="28798">
                  <c:v>-1.9327731092437E-2</c:v>
                </c:pt>
                <c:pt idx="28799">
                  <c:v>-1.9327731092437E-2</c:v>
                </c:pt>
                <c:pt idx="28800">
                  <c:v>-1.9327731092437E-2</c:v>
                </c:pt>
                <c:pt idx="28801">
                  <c:v>-1.9327731092437E-2</c:v>
                </c:pt>
                <c:pt idx="28802">
                  <c:v>-1.9327731092437E-2</c:v>
                </c:pt>
                <c:pt idx="28803">
                  <c:v>-1.9327731092437E-2</c:v>
                </c:pt>
                <c:pt idx="28804">
                  <c:v>-1.9327731092437E-2</c:v>
                </c:pt>
                <c:pt idx="28805">
                  <c:v>-1.9327731092437E-2</c:v>
                </c:pt>
                <c:pt idx="28806">
                  <c:v>-1.9327731092437E-2</c:v>
                </c:pt>
                <c:pt idx="28807">
                  <c:v>-1.9327731092437E-2</c:v>
                </c:pt>
                <c:pt idx="28808">
                  <c:v>-1.9327731092437E-2</c:v>
                </c:pt>
                <c:pt idx="28809">
                  <c:v>-1.9327731092437E-2</c:v>
                </c:pt>
                <c:pt idx="28810">
                  <c:v>-1.9327731092437E-2</c:v>
                </c:pt>
                <c:pt idx="28811">
                  <c:v>-1.9327731092437E-2</c:v>
                </c:pt>
                <c:pt idx="28812">
                  <c:v>-1.9327731092437E-2</c:v>
                </c:pt>
                <c:pt idx="28813">
                  <c:v>-1.9327731092437E-2</c:v>
                </c:pt>
                <c:pt idx="28814">
                  <c:v>-1.9327731092437E-2</c:v>
                </c:pt>
                <c:pt idx="28815">
                  <c:v>-1.9327731092437E-2</c:v>
                </c:pt>
                <c:pt idx="28816">
                  <c:v>-1.9327731092437E-2</c:v>
                </c:pt>
                <c:pt idx="28817">
                  <c:v>-1.9327731092437E-2</c:v>
                </c:pt>
                <c:pt idx="28818">
                  <c:v>-1.9327731092437E-2</c:v>
                </c:pt>
                <c:pt idx="28819">
                  <c:v>-1.9327731092437E-2</c:v>
                </c:pt>
                <c:pt idx="28820">
                  <c:v>-1.9327731092437E-2</c:v>
                </c:pt>
                <c:pt idx="28821">
                  <c:v>-1.9327731092437E-2</c:v>
                </c:pt>
                <c:pt idx="28822">
                  <c:v>-1.9327731092437E-2</c:v>
                </c:pt>
                <c:pt idx="28823">
                  <c:v>-1.9327731092437E-2</c:v>
                </c:pt>
                <c:pt idx="28824">
                  <c:v>-1.9327731092437E-2</c:v>
                </c:pt>
                <c:pt idx="28825">
                  <c:v>-1.9327731092437E-2</c:v>
                </c:pt>
                <c:pt idx="28826">
                  <c:v>-1.9327731092437E-2</c:v>
                </c:pt>
                <c:pt idx="28827">
                  <c:v>-1.9327731092437E-2</c:v>
                </c:pt>
                <c:pt idx="28828">
                  <c:v>-1.9327731092437E-2</c:v>
                </c:pt>
                <c:pt idx="28829">
                  <c:v>-1.9327731092437E-2</c:v>
                </c:pt>
                <c:pt idx="28830">
                  <c:v>-1.9327731092437E-2</c:v>
                </c:pt>
                <c:pt idx="28831">
                  <c:v>-1.9327731092437E-2</c:v>
                </c:pt>
                <c:pt idx="28832">
                  <c:v>-1.9327731092437E-2</c:v>
                </c:pt>
                <c:pt idx="28833">
                  <c:v>-1.9327731092437E-2</c:v>
                </c:pt>
                <c:pt idx="28834">
                  <c:v>-1.9327731092437E-2</c:v>
                </c:pt>
                <c:pt idx="28835">
                  <c:v>-1.9327731092437E-2</c:v>
                </c:pt>
                <c:pt idx="28836">
                  <c:v>-1.9327731092437E-2</c:v>
                </c:pt>
                <c:pt idx="28837">
                  <c:v>-1.9327731092437E-2</c:v>
                </c:pt>
                <c:pt idx="28838">
                  <c:v>-1.9327731092437E-2</c:v>
                </c:pt>
                <c:pt idx="28839">
                  <c:v>-1.9327731092437E-2</c:v>
                </c:pt>
                <c:pt idx="28840">
                  <c:v>-1.9327731092437E-2</c:v>
                </c:pt>
                <c:pt idx="28841">
                  <c:v>-1.9327731092437E-2</c:v>
                </c:pt>
                <c:pt idx="28842">
                  <c:v>-1.9327731092437E-2</c:v>
                </c:pt>
                <c:pt idx="28843">
                  <c:v>-1.9327731092437E-2</c:v>
                </c:pt>
                <c:pt idx="28844">
                  <c:v>-1.9327731092437E-2</c:v>
                </c:pt>
                <c:pt idx="28845">
                  <c:v>-1.9327731092437E-2</c:v>
                </c:pt>
                <c:pt idx="28846">
                  <c:v>-1.9327731092437E-2</c:v>
                </c:pt>
                <c:pt idx="28847">
                  <c:v>-1.9327731092437E-2</c:v>
                </c:pt>
                <c:pt idx="28848">
                  <c:v>-1.9327731092437E-2</c:v>
                </c:pt>
                <c:pt idx="28849">
                  <c:v>-1.9327731092437E-2</c:v>
                </c:pt>
                <c:pt idx="28850">
                  <c:v>-1.9327731092437E-2</c:v>
                </c:pt>
                <c:pt idx="28851">
                  <c:v>-1.9327731092437E-2</c:v>
                </c:pt>
                <c:pt idx="28852">
                  <c:v>-1.9327731092437E-2</c:v>
                </c:pt>
                <c:pt idx="28853">
                  <c:v>-1.9327731092437E-2</c:v>
                </c:pt>
                <c:pt idx="28854">
                  <c:v>-2.0168067226890699E-2</c:v>
                </c:pt>
                <c:pt idx="28855">
                  <c:v>-2.0168067226890699E-2</c:v>
                </c:pt>
                <c:pt idx="28856">
                  <c:v>-2.0168067226890699E-2</c:v>
                </c:pt>
                <c:pt idx="28857">
                  <c:v>-2.0168067226890699E-2</c:v>
                </c:pt>
                <c:pt idx="28858">
                  <c:v>-2.0168067226890699E-2</c:v>
                </c:pt>
                <c:pt idx="28859">
                  <c:v>-2.0168067226890699E-2</c:v>
                </c:pt>
                <c:pt idx="28860">
                  <c:v>-2.0168067226890699E-2</c:v>
                </c:pt>
                <c:pt idx="28861">
                  <c:v>-2.0168067226890699E-2</c:v>
                </c:pt>
                <c:pt idx="28862">
                  <c:v>-2.0168067226890699E-2</c:v>
                </c:pt>
                <c:pt idx="28863">
                  <c:v>-2.0168067226890699E-2</c:v>
                </c:pt>
                <c:pt idx="28864">
                  <c:v>-2.0168067226890699E-2</c:v>
                </c:pt>
                <c:pt idx="28865">
                  <c:v>-2.0168067226890699E-2</c:v>
                </c:pt>
                <c:pt idx="28866">
                  <c:v>-2.0168067226890699E-2</c:v>
                </c:pt>
                <c:pt idx="28867">
                  <c:v>-2.0168067226890699E-2</c:v>
                </c:pt>
                <c:pt idx="28868">
                  <c:v>-2.0168067226890699E-2</c:v>
                </c:pt>
                <c:pt idx="28869">
                  <c:v>-2.0168067226890699E-2</c:v>
                </c:pt>
                <c:pt idx="28870">
                  <c:v>-2.0168067226890699E-2</c:v>
                </c:pt>
                <c:pt idx="28871">
                  <c:v>-2.0168067226890699E-2</c:v>
                </c:pt>
                <c:pt idx="28872">
                  <c:v>-2.0168067226890699E-2</c:v>
                </c:pt>
                <c:pt idx="28873">
                  <c:v>-2.0168067226890699E-2</c:v>
                </c:pt>
                <c:pt idx="28874">
                  <c:v>-2.0168067226890699E-2</c:v>
                </c:pt>
                <c:pt idx="28875">
                  <c:v>-2.0168067226890699E-2</c:v>
                </c:pt>
                <c:pt idx="28876">
                  <c:v>-2.0168067226890699E-2</c:v>
                </c:pt>
                <c:pt idx="28877">
                  <c:v>-2.0168067226890699E-2</c:v>
                </c:pt>
                <c:pt idx="28878">
                  <c:v>-2.0168067226890699E-2</c:v>
                </c:pt>
                <c:pt idx="28879">
                  <c:v>-2.0168067226890699E-2</c:v>
                </c:pt>
                <c:pt idx="28880">
                  <c:v>-2.0168067226890699E-2</c:v>
                </c:pt>
                <c:pt idx="28881">
                  <c:v>-2.0168067226890699E-2</c:v>
                </c:pt>
                <c:pt idx="28882">
                  <c:v>-2.0168067226890699E-2</c:v>
                </c:pt>
                <c:pt idx="28883">
                  <c:v>-2.0168067226890699E-2</c:v>
                </c:pt>
                <c:pt idx="28884">
                  <c:v>-2.0168067226890699E-2</c:v>
                </c:pt>
                <c:pt idx="28885">
                  <c:v>-2.0168067226890699E-2</c:v>
                </c:pt>
                <c:pt idx="28886">
                  <c:v>-2.0168067226890699E-2</c:v>
                </c:pt>
                <c:pt idx="28887">
                  <c:v>-2.0168067226890699E-2</c:v>
                </c:pt>
                <c:pt idx="28888">
                  <c:v>-2.0168067226890699E-2</c:v>
                </c:pt>
                <c:pt idx="28889">
                  <c:v>-2.0168067226890699E-2</c:v>
                </c:pt>
                <c:pt idx="28890">
                  <c:v>-2.0168067226890699E-2</c:v>
                </c:pt>
                <c:pt idx="28891">
                  <c:v>-2.0168067226890699E-2</c:v>
                </c:pt>
                <c:pt idx="28892">
                  <c:v>-2.0168067226890699E-2</c:v>
                </c:pt>
                <c:pt idx="28893">
                  <c:v>-2.0168067226890699E-2</c:v>
                </c:pt>
                <c:pt idx="28894">
                  <c:v>-2.0168067226890699E-2</c:v>
                </c:pt>
                <c:pt idx="28895">
                  <c:v>-2.0168067226890699E-2</c:v>
                </c:pt>
                <c:pt idx="28896">
                  <c:v>-2.0168067226890699E-2</c:v>
                </c:pt>
                <c:pt idx="28897">
                  <c:v>-2.0168067226890699E-2</c:v>
                </c:pt>
                <c:pt idx="28898">
                  <c:v>-2.0168067226890699E-2</c:v>
                </c:pt>
                <c:pt idx="28899">
                  <c:v>-2.0168067226890699E-2</c:v>
                </c:pt>
                <c:pt idx="28900">
                  <c:v>-2.0168067226890699E-2</c:v>
                </c:pt>
                <c:pt idx="28901">
                  <c:v>-2.0168067226890699E-2</c:v>
                </c:pt>
                <c:pt idx="28902">
                  <c:v>-1.9327731092437E-2</c:v>
                </c:pt>
                <c:pt idx="28903">
                  <c:v>-1.9327731092437E-2</c:v>
                </c:pt>
                <c:pt idx="28904">
                  <c:v>-1.9327731092437E-2</c:v>
                </c:pt>
                <c:pt idx="28905">
                  <c:v>-1.9327731092437E-2</c:v>
                </c:pt>
                <c:pt idx="28906">
                  <c:v>-1.9327731092437E-2</c:v>
                </c:pt>
                <c:pt idx="28907">
                  <c:v>-1.9327731092437E-2</c:v>
                </c:pt>
                <c:pt idx="28908">
                  <c:v>-1.9327731092437E-2</c:v>
                </c:pt>
                <c:pt idx="28909">
                  <c:v>-1.9327731092437E-2</c:v>
                </c:pt>
                <c:pt idx="28910">
                  <c:v>-1.9327731092437E-2</c:v>
                </c:pt>
                <c:pt idx="28911">
                  <c:v>-1.9327731092437E-2</c:v>
                </c:pt>
                <c:pt idx="28912">
                  <c:v>-1.9327731092437E-2</c:v>
                </c:pt>
                <c:pt idx="28913">
                  <c:v>-1.9327731092437E-2</c:v>
                </c:pt>
                <c:pt idx="28914">
                  <c:v>-1.9327731092437E-2</c:v>
                </c:pt>
                <c:pt idx="28915">
                  <c:v>-1.9327731092437E-2</c:v>
                </c:pt>
                <c:pt idx="28916">
                  <c:v>-1.9327731092437E-2</c:v>
                </c:pt>
                <c:pt idx="28917">
                  <c:v>-1.9327731092437E-2</c:v>
                </c:pt>
                <c:pt idx="28918">
                  <c:v>-1.9327731092437E-2</c:v>
                </c:pt>
                <c:pt idx="28919">
                  <c:v>-1.9327731092437E-2</c:v>
                </c:pt>
                <c:pt idx="28920">
                  <c:v>-1.9327731092437E-2</c:v>
                </c:pt>
                <c:pt idx="28921">
                  <c:v>-1.9327731092437E-2</c:v>
                </c:pt>
                <c:pt idx="28922">
                  <c:v>-1.9327731092437E-2</c:v>
                </c:pt>
                <c:pt idx="28923">
                  <c:v>-1.9327731092437E-2</c:v>
                </c:pt>
                <c:pt idx="28924">
                  <c:v>-1.9327731092437E-2</c:v>
                </c:pt>
                <c:pt idx="28925">
                  <c:v>-1.9327731092437E-2</c:v>
                </c:pt>
                <c:pt idx="28926">
                  <c:v>-1.9327731092437E-2</c:v>
                </c:pt>
                <c:pt idx="28927">
                  <c:v>-1.9327731092437E-2</c:v>
                </c:pt>
                <c:pt idx="28928">
                  <c:v>-1.9327731092437E-2</c:v>
                </c:pt>
                <c:pt idx="28929">
                  <c:v>-1.9327731092437E-2</c:v>
                </c:pt>
                <c:pt idx="28930">
                  <c:v>-1.9327731092437E-2</c:v>
                </c:pt>
                <c:pt idx="28931">
                  <c:v>-1.9327731092437E-2</c:v>
                </c:pt>
                <c:pt idx="28932">
                  <c:v>-1.9327731092437E-2</c:v>
                </c:pt>
                <c:pt idx="28933">
                  <c:v>-1.9327731092437E-2</c:v>
                </c:pt>
                <c:pt idx="28934">
                  <c:v>-1.9327731092437E-2</c:v>
                </c:pt>
                <c:pt idx="28935">
                  <c:v>-1.9327731092437E-2</c:v>
                </c:pt>
                <c:pt idx="28936">
                  <c:v>-1.84873949579832E-2</c:v>
                </c:pt>
                <c:pt idx="28937">
                  <c:v>-1.84873949579832E-2</c:v>
                </c:pt>
                <c:pt idx="28938">
                  <c:v>-1.84873949579832E-2</c:v>
                </c:pt>
                <c:pt idx="28939">
                  <c:v>-1.84873949579832E-2</c:v>
                </c:pt>
                <c:pt idx="28940">
                  <c:v>-1.84873949579832E-2</c:v>
                </c:pt>
                <c:pt idx="28941">
                  <c:v>-1.84873949579832E-2</c:v>
                </c:pt>
                <c:pt idx="28942">
                  <c:v>-1.84873949579832E-2</c:v>
                </c:pt>
                <c:pt idx="28943">
                  <c:v>-1.84873949579832E-2</c:v>
                </c:pt>
                <c:pt idx="28944">
                  <c:v>-1.84873949579832E-2</c:v>
                </c:pt>
                <c:pt idx="28945">
                  <c:v>-1.84873949579832E-2</c:v>
                </c:pt>
                <c:pt idx="28946">
                  <c:v>-1.84873949579832E-2</c:v>
                </c:pt>
                <c:pt idx="28947">
                  <c:v>-1.84873949579832E-2</c:v>
                </c:pt>
                <c:pt idx="28948">
                  <c:v>-1.84873949579832E-2</c:v>
                </c:pt>
                <c:pt idx="28949">
                  <c:v>-1.84873949579832E-2</c:v>
                </c:pt>
                <c:pt idx="28950">
                  <c:v>-1.84873949579832E-2</c:v>
                </c:pt>
                <c:pt idx="28951">
                  <c:v>-1.84873949579832E-2</c:v>
                </c:pt>
                <c:pt idx="28952">
                  <c:v>-1.84873949579832E-2</c:v>
                </c:pt>
                <c:pt idx="28953">
                  <c:v>-1.84873949579832E-2</c:v>
                </c:pt>
                <c:pt idx="28954">
                  <c:v>-1.84873949579832E-2</c:v>
                </c:pt>
                <c:pt idx="28955">
                  <c:v>-1.84873949579832E-2</c:v>
                </c:pt>
                <c:pt idx="28956">
                  <c:v>-1.84873949579832E-2</c:v>
                </c:pt>
                <c:pt idx="28957">
                  <c:v>-1.84873949579832E-2</c:v>
                </c:pt>
                <c:pt idx="28958">
                  <c:v>-1.84873949579832E-2</c:v>
                </c:pt>
                <c:pt idx="28959">
                  <c:v>-1.84873949579832E-2</c:v>
                </c:pt>
                <c:pt idx="28960">
                  <c:v>-1.84873949579832E-2</c:v>
                </c:pt>
                <c:pt idx="28961">
                  <c:v>-1.84873949579832E-2</c:v>
                </c:pt>
                <c:pt idx="28962">
                  <c:v>-1.84873949579832E-2</c:v>
                </c:pt>
                <c:pt idx="28963">
                  <c:v>-1.84873949579832E-2</c:v>
                </c:pt>
                <c:pt idx="28964">
                  <c:v>-1.84873949579832E-2</c:v>
                </c:pt>
                <c:pt idx="28965">
                  <c:v>-1.84873949579832E-2</c:v>
                </c:pt>
                <c:pt idx="28966">
                  <c:v>-1.84873949579832E-2</c:v>
                </c:pt>
                <c:pt idx="28967">
                  <c:v>-1.84873949579832E-2</c:v>
                </c:pt>
                <c:pt idx="28968">
                  <c:v>-1.84873949579832E-2</c:v>
                </c:pt>
                <c:pt idx="28969">
                  <c:v>-1.84873949579832E-2</c:v>
                </c:pt>
                <c:pt idx="28970">
                  <c:v>-1.84873949579832E-2</c:v>
                </c:pt>
                <c:pt idx="28971">
                  <c:v>-1.84873949579832E-2</c:v>
                </c:pt>
                <c:pt idx="28972">
                  <c:v>-1.84873949579832E-2</c:v>
                </c:pt>
                <c:pt idx="28973">
                  <c:v>-1.84873949579832E-2</c:v>
                </c:pt>
                <c:pt idx="28974">
                  <c:v>-1.84873949579832E-2</c:v>
                </c:pt>
                <c:pt idx="28975">
                  <c:v>-1.84873949579832E-2</c:v>
                </c:pt>
                <c:pt idx="28976">
                  <c:v>-1.84873949579832E-2</c:v>
                </c:pt>
                <c:pt idx="28977">
                  <c:v>-1.84873949579832E-2</c:v>
                </c:pt>
                <c:pt idx="28978">
                  <c:v>-1.84873949579832E-2</c:v>
                </c:pt>
                <c:pt idx="28979">
                  <c:v>-1.84873949579832E-2</c:v>
                </c:pt>
                <c:pt idx="28980">
                  <c:v>-1.84873949579832E-2</c:v>
                </c:pt>
                <c:pt idx="28981">
                  <c:v>-1.84873949579832E-2</c:v>
                </c:pt>
                <c:pt idx="28982">
                  <c:v>-1.84873949579832E-2</c:v>
                </c:pt>
                <c:pt idx="28983">
                  <c:v>-1.84873949579832E-2</c:v>
                </c:pt>
                <c:pt idx="28984">
                  <c:v>-1.84873949579832E-2</c:v>
                </c:pt>
                <c:pt idx="28985">
                  <c:v>-1.84873949579832E-2</c:v>
                </c:pt>
                <c:pt idx="28986">
                  <c:v>-1.84873949579832E-2</c:v>
                </c:pt>
                <c:pt idx="28987">
                  <c:v>-1.84873949579832E-2</c:v>
                </c:pt>
                <c:pt idx="28988">
                  <c:v>-1.84873949579832E-2</c:v>
                </c:pt>
                <c:pt idx="28989">
                  <c:v>-1.84873949579832E-2</c:v>
                </c:pt>
                <c:pt idx="28990">
                  <c:v>-1.84873949579832E-2</c:v>
                </c:pt>
                <c:pt idx="28991">
                  <c:v>-1.84873949579832E-2</c:v>
                </c:pt>
                <c:pt idx="28992">
                  <c:v>-1.84873949579832E-2</c:v>
                </c:pt>
                <c:pt idx="28993">
                  <c:v>-1.84873949579832E-2</c:v>
                </c:pt>
                <c:pt idx="28994">
                  <c:v>-1.84873949579832E-2</c:v>
                </c:pt>
                <c:pt idx="28995">
                  <c:v>-1.84873949579832E-2</c:v>
                </c:pt>
                <c:pt idx="28996">
                  <c:v>-1.84873949579832E-2</c:v>
                </c:pt>
                <c:pt idx="28997">
                  <c:v>-1.84873949579832E-2</c:v>
                </c:pt>
                <c:pt idx="28998">
                  <c:v>-1.84873949579832E-2</c:v>
                </c:pt>
                <c:pt idx="28999">
                  <c:v>-1.84873949579832E-2</c:v>
                </c:pt>
                <c:pt idx="29000">
                  <c:v>-1.84873949579832E-2</c:v>
                </c:pt>
                <c:pt idx="29001">
                  <c:v>-1.84873949579832E-2</c:v>
                </c:pt>
                <c:pt idx="29002">
                  <c:v>-1.84873949579832E-2</c:v>
                </c:pt>
                <c:pt idx="29003">
                  <c:v>-1.84873949579832E-2</c:v>
                </c:pt>
                <c:pt idx="29004">
                  <c:v>-1.84873949579832E-2</c:v>
                </c:pt>
                <c:pt idx="29005">
                  <c:v>-1.84873949579832E-2</c:v>
                </c:pt>
                <c:pt idx="29006">
                  <c:v>-1.84873949579832E-2</c:v>
                </c:pt>
                <c:pt idx="29007">
                  <c:v>-1.84873949579832E-2</c:v>
                </c:pt>
                <c:pt idx="29008">
                  <c:v>-1.84873949579832E-2</c:v>
                </c:pt>
                <c:pt idx="29009">
                  <c:v>-1.84873949579832E-2</c:v>
                </c:pt>
                <c:pt idx="29010">
                  <c:v>-1.84873949579832E-2</c:v>
                </c:pt>
                <c:pt idx="29011">
                  <c:v>-1.84873949579832E-2</c:v>
                </c:pt>
                <c:pt idx="29012">
                  <c:v>-1.84873949579832E-2</c:v>
                </c:pt>
                <c:pt idx="29013">
                  <c:v>-1.84873949579832E-2</c:v>
                </c:pt>
                <c:pt idx="29014">
                  <c:v>-1.76470588235293E-2</c:v>
                </c:pt>
                <c:pt idx="29015">
                  <c:v>-1.76470588235293E-2</c:v>
                </c:pt>
                <c:pt idx="29016">
                  <c:v>-1.76470588235293E-2</c:v>
                </c:pt>
                <c:pt idx="29017">
                  <c:v>-1.76470588235293E-2</c:v>
                </c:pt>
                <c:pt idx="29018">
                  <c:v>-1.76470588235293E-2</c:v>
                </c:pt>
                <c:pt idx="29019">
                  <c:v>-1.76470588235293E-2</c:v>
                </c:pt>
                <c:pt idx="29020">
                  <c:v>-1.76470588235293E-2</c:v>
                </c:pt>
                <c:pt idx="29021">
                  <c:v>-1.76470588235293E-2</c:v>
                </c:pt>
                <c:pt idx="29022">
                  <c:v>-1.76470588235293E-2</c:v>
                </c:pt>
                <c:pt idx="29023">
                  <c:v>-1.76470588235293E-2</c:v>
                </c:pt>
                <c:pt idx="29024">
                  <c:v>-1.76470588235293E-2</c:v>
                </c:pt>
                <c:pt idx="29025">
                  <c:v>-1.76470588235293E-2</c:v>
                </c:pt>
                <c:pt idx="29026">
                  <c:v>-1.76470588235293E-2</c:v>
                </c:pt>
                <c:pt idx="29027">
                  <c:v>-1.76470588235293E-2</c:v>
                </c:pt>
                <c:pt idx="29028">
                  <c:v>-1.76470588235293E-2</c:v>
                </c:pt>
                <c:pt idx="29029">
                  <c:v>-1.76470588235293E-2</c:v>
                </c:pt>
                <c:pt idx="29030">
                  <c:v>-1.76470588235293E-2</c:v>
                </c:pt>
                <c:pt idx="29031">
                  <c:v>-1.76470588235293E-2</c:v>
                </c:pt>
                <c:pt idx="29032">
                  <c:v>-1.76470588235293E-2</c:v>
                </c:pt>
                <c:pt idx="29033">
                  <c:v>-1.76470588235293E-2</c:v>
                </c:pt>
                <c:pt idx="29034">
                  <c:v>-1.76470588235293E-2</c:v>
                </c:pt>
                <c:pt idx="29035">
                  <c:v>-1.76470588235293E-2</c:v>
                </c:pt>
                <c:pt idx="29036">
                  <c:v>-1.76470588235293E-2</c:v>
                </c:pt>
                <c:pt idx="29037">
                  <c:v>-1.76470588235293E-2</c:v>
                </c:pt>
                <c:pt idx="29038">
                  <c:v>-1.76470588235293E-2</c:v>
                </c:pt>
                <c:pt idx="29039">
                  <c:v>-1.76470588235293E-2</c:v>
                </c:pt>
                <c:pt idx="29040">
                  <c:v>-1.84873949579831E-2</c:v>
                </c:pt>
                <c:pt idx="29041">
                  <c:v>-1.84873949579831E-2</c:v>
                </c:pt>
                <c:pt idx="29042">
                  <c:v>-1.84873949579831E-2</c:v>
                </c:pt>
                <c:pt idx="29043">
                  <c:v>-1.84873949579831E-2</c:v>
                </c:pt>
                <c:pt idx="29044">
                  <c:v>-1.84873949579831E-2</c:v>
                </c:pt>
                <c:pt idx="29045">
                  <c:v>-1.84873949579831E-2</c:v>
                </c:pt>
                <c:pt idx="29046">
                  <c:v>-1.84873949579831E-2</c:v>
                </c:pt>
                <c:pt idx="29047">
                  <c:v>-1.84873949579831E-2</c:v>
                </c:pt>
                <c:pt idx="29048">
                  <c:v>-1.84873949579831E-2</c:v>
                </c:pt>
                <c:pt idx="29049">
                  <c:v>-1.84873949579831E-2</c:v>
                </c:pt>
                <c:pt idx="29050">
                  <c:v>-1.84873949579831E-2</c:v>
                </c:pt>
                <c:pt idx="29051">
                  <c:v>-1.84873949579831E-2</c:v>
                </c:pt>
                <c:pt idx="29052">
                  <c:v>-1.84873949579831E-2</c:v>
                </c:pt>
                <c:pt idx="29053">
                  <c:v>-1.84873949579831E-2</c:v>
                </c:pt>
                <c:pt idx="29054">
                  <c:v>-1.84873949579831E-2</c:v>
                </c:pt>
                <c:pt idx="29055">
                  <c:v>-1.84873949579831E-2</c:v>
                </c:pt>
                <c:pt idx="29056">
                  <c:v>-1.84873949579831E-2</c:v>
                </c:pt>
                <c:pt idx="29057">
                  <c:v>-1.84873949579831E-2</c:v>
                </c:pt>
                <c:pt idx="29058">
                  <c:v>-1.84873949579831E-2</c:v>
                </c:pt>
                <c:pt idx="29059">
                  <c:v>-1.84873949579831E-2</c:v>
                </c:pt>
                <c:pt idx="29060">
                  <c:v>-1.9327731092436899E-2</c:v>
                </c:pt>
                <c:pt idx="29061">
                  <c:v>-1.9327731092436899E-2</c:v>
                </c:pt>
                <c:pt idx="29062">
                  <c:v>-1.9327731092436899E-2</c:v>
                </c:pt>
                <c:pt idx="29063">
                  <c:v>-1.9327731092436899E-2</c:v>
                </c:pt>
                <c:pt idx="29064">
                  <c:v>-1.9327731092436899E-2</c:v>
                </c:pt>
                <c:pt idx="29065">
                  <c:v>-1.9327731092436899E-2</c:v>
                </c:pt>
                <c:pt idx="29066">
                  <c:v>-1.9327731092436899E-2</c:v>
                </c:pt>
                <c:pt idx="29067">
                  <c:v>-1.9327731092436899E-2</c:v>
                </c:pt>
                <c:pt idx="29068">
                  <c:v>-1.9327731092436899E-2</c:v>
                </c:pt>
                <c:pt idx="29069">
                  <c:v>-1.9327731092436899E-2</c:v>
                </c:pt>
                <c:pt idx="29070">
                  <c:v>-1.9327731092436899E-2</c:v>
                </c:pt>
                <c:pt idx="29071">
                  <c:v>-1.9327731092436899E-2</c:v>
                </c:pt>
                <c:pt idx="29072">
                  <c:v>-1.84873949579831E-2</c:v>
                </c:pt>
                <c:pt idx="29073">
                  <c:v>-1.84873949579831E-2</c:v>
                </c:pt>
                <c:pt idx="29074">
                  <c:v>-1.84873949579831E-2</c:v>
                </c:pt>
                <c:pt idx="29075">
                  <c:v>-1.84873949579831E-2</c:v>
                </c:pt>
                <c:pt idx="29076">
                  <c:v>-1.84873949579831E-2</c:v>
                </c:pt>
                <c:pt idx="29077">
                  <c:v>-1.84873949579831E-2</c:v>
                </c:pt>
                <c:pt idx="29078">
                  <c:v>-1.84873949579831E-2</c:v>
                </c:pt>
                <c:pt idx="29079">
                  <c:v>-1.84873949579831E-2</c:v>
                </c:pt>
                <c:pt idx="29080">
                  <c:v>-1.84873949579831E-2</c:v>
                </c:pt>
                <c:pt idx="29081">
                  <c:v>-1.84873949579831E-2</c:v>
                </c:pt>
                <c:pt idx="29082">
                  <c:v>-1.84873949579831E-2</c:v>
                </c:pt>
                <c:pt idx="29083">
                  <c:v>-1.84873949579831E-2</c:v>
                </c:pt>
                <c:pt idx="29084">
                  <c:v>-1.84873949579831E-2</c:v>
                </c:pt>
                <c:pt idx="29085">
                  <c:v>-1.84873949579831E-2</c:v>
                </c:pt>
                <c:pt idx="29086">
                  <c:v>-1.84873949579831E-2</c:v>
                </c:pt>
                <c:pt idx="29087">
                  <c:v>-1.84873949579831E-2</c:v>
                </c:pt>
                <c:pt idx="29088">
                  <c:v>-1.84873949579831E-2</c:v>
                </c:pt>
                <c:pt idx="29089">
                  <c:v>-1.84873949579831E-2</c:v>
                </c:pt>
                <c:pt idx="29090">
                  <c:v>-1.84873949579831E-2</c:v>
                </c:pt>
                <c:pt idx="29091">
                  <c:v>-1.84873949579831E-2</c:v>
                </c:pt>
                <c:pt idx="29092">
                  <c:v>-1.84873949579831E-2</c:v>
                </c:pt>
                <c:pt idx="29093">
                  <c:v>-1.84873949579831E-2</c:v>
                </c:pt>
                <c:pt idx="29094">
                  <c:v>-1.84873949579831E-2</c:v>
                </c:pt>
                <c:pt idx="29095">
                  <c:v>-1.84873949579831E-2</c:v>
                </c:pt>
                <c:pt idx="29096">
                  <c:v>-1.84873949579831E-2</c:v>
                </c:pt>
                <c:pt idx="29097">
                  <c:v>-1.84873949579831E-2</c:v>
                </c:pt>
                <c:pt idx="29098">
                  <c:v>-1.84873949579831E-2</c:v>
                </c:pt>
                <c:pt idx="29099">
                  <c:v>-1.84873949579831E-2</c:v>
                </c:pt>
                <c:pt idx="29100">
                  <c:v>-1.84873949579831E-2</c:v>
                </c:pt>
                <c:pt idx="29101">
                  <c:v>-1.84873949579831E-2</c:v>
                </c:pt>
                <c:pt idx="29102">
                  <c:v>-1.84873949579831E-2</c:v>
                </c:pt>
                <c:pt idx="29103">
                  <c:v>-1.84873949579831E-2</c:v>
                </c:pt>
                <c:pt idx="29104">
                  <c:v>-1.84873949579831E-2</c:v>
                </c:pt>
                <c:pt idx="29105">
                  <c:v>-1.84873949579831E-2</c:v>
                </c:pt>
                <c:pt idx="29106">
                  <c:v>-1.84873949579831E-2</c:v>
                </c:pt>
                <c:pt idx="29107">
                  <c:v>-1.84873949579831E-2</c:v>
                </c:pt>
                <c:pt idx="29108">
                  <c:v>-1.84873949579831E-2</c:v>
                </c:pt>
                <c:pt idx="29109">
                  <c:v>-1.84873949579831E-2</c:v>
                </c:pt>
                <c:pt idx="29110">
                  <c:v>-1.84873949579831E-2</c:v>
                </c:pt>
                <c:pt idx="29111">
                  <c:v>-1.84873949579831E-2</c:v>
                </c:pt>
                <c:pt idx="29112">
                  <c:v>-1.84873949579831E-2</c:v>
                </c:pt>
                <c:pt idx="29113">
                  <c:v>-1.84873949579831E-2</c:v>
                </c:pt>
                <c:pt idx="29114">
                  <c:v>-1.84873949579831E-2</c:v>
                </c:pt>
                <c:pt idx="29115">
                  <c:v>-1.84873949579831E-2</c:v>
                </c:pt>
                <c:pt idx="29116">
                  <c:v>-1.84873949579831E-2</c:v>
                </c:pt>
                <c:pt idx="29117">
                  <c:v>-1.84873949579831E-2</c:v>
                </c:pt>
                <c:pt idx="29118">
                  <c:v>-1.84873949579831E-2</c:v>
                </c:pt>
                <c:pt idx="29119">
                  <c:v>-1.84873949579831E-2</c:v>
                </c:pt>
                <c:pt idx="29120">
                  <c:v>-1.84873949579831E-2</c:v>
                </c:pt>
                <c:pt idx="29121">
                  <c:v>-1.9327731092436899E-2</c:v>
                </c:pt>
                <c:pt idx="29122">
                  <c:v>-1.9327731092436899E-2</c:v>
                </c:pt>
                <c:pt idx="29123">
                  <c:v>-1.9327731092436899E-2</c:v>
                </c:pt>
                <c:pt idx="29124">
                  <c:v>-1.9327731092436899E-2</c:v>
                </c:pt>
                <c:pt idx="29125">
                  <c:v>-1.9327731092436899E-2</c:v>
                </c:pt>
                <c:pt idx="29126">
                  <c:v>-1.9327731092436899E-2</c:v>
                </c:pt>
                <c:pt idx="29127">
                  <c:v>-1.9327731092436899E-2</c:v>
                </c:pt>
                <c:pt idx="29128">
                  <c:v>-1.9327731092436899E-2</c:v>
                </c:pt>
                <c:pt idx="29129">
                  <c:v>-1.9327731092436899E-2</c:v>
                </c:pt>
                <c:pt idx="29130">
                  <c:v>-1.9327731092436899E-2</c:v>
                </c:pt>
                <c:pt idx="29131">
                  <c:v>-1.9327731092436899E-2</c:v>
                </c:pt>
                <c:pt idx="29132">
                  <c:v>-1.9327731092436899E-2</c:v>
                </c:pt>
                <c:pt idx="29133">
                  <c:v>-1.9327731092436899E-2</c:v>
                </c:pt>
                <c:pt idx="29134">
                  <c:v>-1.9327731092436899E-2</c:v>
                </c:pt>
                <c:pt idx="29135">
                  <c:v>-1.9327731092436899E-2</c:v>
                </c:pt>
                <c:pt idx="29136">
                  <c:v>-1.9327731092436899E-2</c:v>
                </c:pt>
                <c:pt idx="29137">
                  <c:v>-1.9327731092436899E-2</c:v>
                </c:pt>
                <c:pt idx="29138">
                  <c:v>-1.9327731092436899E-2</c:v>
                </c:pt>
                <c:pt idx="29139">
                  <c:v>-1.84873949579831E-2</c:v>
                </c:pt>
                <c:pt idx="29140">
                  <c:v>-1.84873949579831E-2</c:v>
                </c:pt>
                <c:pt idx="29141">
                  <c:v>-1.84873949579831E-2</c:v>
                </c:pt>
                <c:pt idx="29142">
                  <c:v>-1.84873949579831E-2</c:v>
                </c:pt>
                <c:pt idx="29143">
                  <c:v>-1.84873949579831E-2</c:v>
                </c:pt>
                <c:pt idx="29144">
                  <c:v>-1.84873949579831E-2</c:v>
                </c:pt>
                <c:pt idx="29145">
                  <c:v>-1.84873949579831E-2</c:v>
                </c:pt>
                <c:pt idx="29146">
                  <c:v>-1.84873949579831E-2</c:v>
                </c:pt>
                <c:pt idx="29147">
                  <c:v>-1.84873949579831E-2</c:v>
                </c:pt>
                <c:pt idx="29148">
                  <c:v>-1.84873949579831E-2</c:v>
                </c:pt>
                <c:pt idx="29149">
                  <c:v>-1.84873949579831E-2</c:v>
                </c:pt>
                <c:pt idx="29150">
                  <c:v>-1.84873949579831E-2</c:v>
                </c:pt>
                <c:pt idx="29151">
                  <c:v>-1.84873949579831E-2</c:v>
                </c:pt>
                <c:pt idx="29152">
                  <c:v>-1.84873949579831E-2</c:v>
                </c:pt>
                <c:pt idx="29153">
                  <c:v>-1.84873949579831E-2</c:v>
                </c:pt>
                <c:pt idx="29154">
                  <c:v>-1.84873949579831E-2</c:v>
                </c:pt>
                <c:pt idx="29155">
                  <c:v>-1.84873949579831E-2</c:v>
                </c:pt>
                <c:pt idx="29156">
                  <c:v>-1.9327731092436899E-2</c:v>
                </c:pt>
                <c:pt idx="29157">
                  <c:v>-1.9327731092436899E-2</c:v>
                </c:pt>
                <c:pt idx="29158">
                  <c:v>-1.9327731092436899E-2</c:v>
                </c:pt>
                <c:pt idx="29159">
                  <c:v>-1.9327731092436899E-2</c:v>
                </c:pt>
                <c:pt idx="29160">
                  <c:v>-1.9327731092436899E-2</c:v>
                </c:pt>
                <c:pt idx="29161">
                  <c:v>-1.9327731092436899E-2</c:v>
                </c:pt>
                <c:pt idx="29162">
                  <c:v>-1.9327731092436899E-2</c:v>
                </c:pt>
                <c:pt idx="29163">
                  <c:v>-1.9327731092436899E-2</c:v>
                </c:pt>
                <c:pt idx="29164">
                  <c:v>-1.9327731092436899E-2</c:v>
                </c:pt>
                <c:pt idx="29165">
                  <c:v>-1.9327731092436899E-2</c:v>
                </c:pt>
                <c:pt idx="29166">
                  <c:v>-1.9327731092436899E-2</c:v>
                </c:pt>
                <c:pt idx="29167">
                  <c:v>-2.0168067226890601E-2</c:v>
                </c:pt>
                <c:pt idx="29168">
                  <c:v>-2.0168067226890601E-2</c:v>
                </c:pt>
                <c:pt idx="29169">
                  <c:v>-2.0168067226890601E-2</c:v>
                </c:pt>
                <c:pt idx="29170">
                  <c:v>-2.0168067226890601E-2</c:v>
                </c:pt>
                <c:pt idx="29171">
                  <c:v>-2.0168067226890601E-2</c:v>
                </c:pt>
                <c:pt idx="29172">
                  <c:v>-2.0168067226890601E-2</c:v>
                </c:pt>
                <c:pt idx="29173">
                  <c:v>-2.0168067226890601E-2</c:v>
                </c:pt>
                <c:pt idx="29174">
                  <c:v>-2.0168067226890601E-2</c:v>
                </c:pt>
                <c:pt idx="29175">
                  <c:v>-2.0168067226890601E-2</c:v>
                </c:pt>
                <c:pt idx="29176">
                  <c:v>-2.0168067226890601E-2</c:v>
                </c:pt>
                <c:pt idx="29177">
                  <c:v>-2.0168067226890601E-2</c:v>
                </c:pt>
                <c:pt idx="29178">
                  <c:v>-2.0168067226890601E-2</c:v>
                </c:pt>
                <c:pt idx="29179">
                  <c:v>-2.0168067226890601E-2</c:v>
                </c:pt>
                <c:pt idx="29180">
                  <c:v>-2.0168067226890601E-2</c:v>
                </c:pt>
                <c:pt idx="29181">
                  <c:v>-2.0168067226890601E-2</c:v>
                </c:pt>
                <c:pt idx="29182">
                  <c:v>-2.1008403361344401E-2</c:v>
                </c:pt>
                <c:pt idx="29183">
                  <c:v>-2.18487394957982E-2</c:v>
                </c:pt>
                <c:pt idx="29184">
                  <c:v>-2.18487394957982E-2</c:v>
                </c:pt>
                <c:pt idx="29185">
                  <c:v>-2.18487394957982E-2</c:v>
                </c:pt>
                <c:pt idx="29186">
                  <c:v>-2.18487394957982E-2</c:v>
                </c:pt>
                <c:pt idx="29187">
                  <c:v>-2.18487394957982E-2</c:v>
                </c:pt>
                <c:pt idx="29188">
                  <c:v>-2.18487394957982E-2</c:v>
                </c:pt>
                <c:pt idx="29189">
                  <c:v>-2.18487394957982E-2</c:v>
                </c:pt>
                <c:pt idx="29190">
                  <c:v>-2.18487394957982E-2</c:v>
                </c:pt>
                <c:pt idx="29191">
                  <c:v>-2.18487394957982E-2</c:v>
                </c:pt>
                <c:pt idx="29192">
                  <c:v>-2.18487394957982E-2</c:v>
                </c:pt>
                <c:pt idx="29193">
                  <c:v>-2.18487394957982E-2</c:v>
                </c:pt>
                <c:pt idx="29194">
                  <c:v>-2.18487394957982E-2</c:v>
                </c:pt>
                <c:pt idx="29195">
                  <c:v>-2.18487394957982E-2</c:v>
                </c:pt>
                <c:pt idx="29196">
                  <c:v>-2.18487394957982E-2</c:v>
                </c:pt>
                <c:pt idx="29197">
                  <c:v>-2.18487394957982E-2</c:v>
                </c:pt>
                <c:pt idx="29198">
                  <c:v>-2.18487394957982E-2</c:v>
                </c:pt>
                <c:pt idx="29199">
                  <c:v>-2.18487394957982E-2</c:v>
                </c:pt>
                <c:pt idx="29200">
                  <c:v>-2.18487394957982E-2</c:v>
                </c:pt>
                <c:pt idx="29201">
                  <c:v>-2.18487394957982E-2</c:v>
                </c:pt>
                <c:pt idx="29202">
                  <c:v>-2.18487394957982E-2</c:v>
                </c:pt>
                <c:pt idx="29203">
                  <c:v>-2.18487394957982E-2</c:v>
                </c:pt>
                <c:pt idx="29204">
                  <c:v>-2.18487394957982E-2</c:v>
                </c:pt>
                <c:pt idx="29205">
                  <c:v>-2.18487394957982E-2</c:v>
                </c:pt>
                <c:pt idx="29206">
                  <c:v>-2.18487394957982E-2</c:v>
                </c:pt>
                <c:pt idx="29207">
                  <c:v>-2.18487394957982E-2</c:v>
                </c:pt>
                <c:pt idx="29208">
                  <c:v>-2.2689075630251999E-2</c:v>
                </c:pt>
                <c:pt idx="29209">
                  <c:v>-2.2689075630251999E-2</c:v>
                </c:pt>
                <c:pt idx="29210">
                  <c:v>-2.2689075630251999E-2</c:v>
                </c:pt>
                <c:pt idx="29211">
                  <c:v>-2.2689075630251999E-2</c:v>
                </c:pt>
                <c:pt idx="29212">
                  <c:v>-2.2689075630251999E-2</c:v>
                </c:pt>
                <c:pt idx="29213">
                  <c:v>-2.2689075630251999E-2</c:v>
                </c:pt>
                <c:pt idx="29214">
                  <c:v>-2.2689075630251999E-2</c:v>
                </c:pt>
                <c:pt idx="29215">
                  <c:v>-2.2689075630251999E-2</c:v>
                </c:pt>
                <c:pt idx="29216">
                  <c:v>-2.2689075630251999E-2</c:v>
                </c:pt>
                <c:pt idx="29217">
                  <c:v>-2.2689075630251999E-2</c:v>
                </c:pt>
                <c:pt idx="29218">
                  <c:v>-2.2689075630251999E-2</c:v>
                </c:pt>
                <c:pt idx="29219">
                  <c:v>-2.2689075630251999E-2</c:v>
                </c:pt>
                <c:pt idx="29220">
                  <c:v>-2.2689075630251999E-2</c:v>
                </c:pt>
                <c:pt idx="29221">
                  <c:v>-2.2689075630251999E-2</c:v>
                </c:pt>
                <c:pt idx="29222">
                  <c:v>-2.2689075630251999E-2</c:v>
                </c:pt>
                <c:pt idx="29223">
                  <c:v>-2.2689075630251999E-2</c:v>
                </c:pt>
                <c:pt idx="29224">
                  <c:v>-2.2689075630251999E-2</c:v>
                </c:pt>
                <c:pt idx="29225">
                  <c:v>-2.2689075630251999E-2</c:v>
                </c:pt>
                <c:pt idx="29226">
                  <c:v>-2.2689075630251999E-2</c:v>
                </c:pt>
                <c:pt idx="29227">
                  <c:v>-2.2689075630251999E-2</c:v>
                </c:pt>
                <c:pt idx="29228">
                  <c:v>-2.2689075630251999E-2</c:v>
                </c:pt>
                <c:pt idx="29229">
                  <c:v>-2.2689075630251999E-2</c:v>
                </c:pt>
                <c:pt idx="29230">
                  <c:v>-2.2689075630251999E-2</c:v>
                </c:pt>
                <c:pt idx="29231">
                  <c:v>-2.2689075630251999E-2</c:v>
                </c:pt>
                <c:pt idx="29232">
                  <c:v>-2.2689075630251999E-2</c:v>
                </c:pt>
                <c:pt idx="29233">
                  <c:v>-2.2689075630251999E-2</c:v>
                </c:pt>
                <c:pt idx="29234">
                  <c:v>-2.2689075630251999E-2</c:v>
                </c:pt>
                <c:pt idx="29235">
                  <c:v>-2.2689075630251999E-2</c:v>
                </c:pt>
                <c:pt idx="29236">
                  <c:v>-2.2689075630251999E-2</c:v>
                </c:pt>
                <c:pt idx="29237">
                  <c:v>-2.2689075630251999E-2</c:v>
                </c:pt>
                <c:pt idx="29238">
                  <c:v>-2.2689075630251999E-2</c:v>
                </c:pt>
                <c:pt idx="29239">
                  <c:v>-2.2689075630251999E-2</c:v>
                </c:pt>
                <c:pt idx="29240">
                  <c:v>-2.2689075630251999E-2</c:v>
                </c:pt>
                <c:pt idx="29241">
                  <c:v>-2.2689075630251999E-2</c:v>
                </c:pt>
                <c:pt idx="29242">
                  <c:v>-2.2689075630251999E-2</c:v>
                </c:pt>
                <c:pt idx="29243">
                  <c:v>-2.2689075630251999E-2</c:v>
                </c:pt>
                <c:pt idx="29244">
                  <c:v>-2.2689075630251999E-2</c:v>
                </c:pt>
                <c:pt idx="29245">
                  <c:v>-2.2689075630251999E-2</c:v>
                </c:pt>
                <c:pt idx="29246">
                  <c:v>-2.18487394957982E-2</c:v>
                </c:pt>
                <c:pt idx="29247">
                  <c:v>-2.18487394957982E-2</c:v>
                </c:pt>
                <c:pt idx="29248">
                  <c:v>-2.18487394957982E-2</c:v>
                </c:pt>
                <c:pt idx="29249">
                  <c:v>-2.18487394957982E-2</c:v>
                </c:pt>
                <c:pt idx="29250">
                  <c:v>-2.18487394957982E-2</c:v>
                </c:pt>
                <c:pt idx="29251">
                  <c:v>-2.18487394957982E-2</c:v>
                </c:pt>
                <c:pt idx="29252">
                  <c:v>-2.18487394957982E-2</c:v>
                </c:pt>
                <c:pt idx="29253">
                  <c:v>-2.2689075630251999E-2</c:v>
                </c:pt>
                <c:pt idx="29254">
                  <c:v>-2.2689075630251999E-2</c:v>
                </c:pt>
                <c:pt idx="29255">
                  <c:v>-2.2689075630251999E-2</c:v>
                </c:pt>
                <c:pt idx="29256">
                  <c:v>-2.2689075630251999E-2</c:v>
                </c:pt>
                <c:pt idx="29257">
                  <c:v>-2.2689075630251999E-2</c:v>
                </c:pt>
                <c:pt idx="29258">
                  <c:v>-2.2689075630251999E-2</c:v>
                </c:pt>
                <c:pt idx="29259">
                  <c:v>-2.2689075630251999E-2</c:v>
                </c:pt>
                <c:pt idx="29260">
                  <c:v>-2.2689075630251999E-2</c:v>
                </c:pt>
                <c:pt idx="29261">
                  <c:v>-2.2689075630251999E-2</c:v>
                </c:pt>
                <c:pt idx="29262">
                  <c:v>-2.2689075630251999E-2</c:v>
                </c:pt>
                <c:pt idx="29263">
                  <c:v>-2.2689075630251999E-2</c:v>
                </c:pt>
                <c:pt idx="29264">
                  <c:v>-2.2689075630251999E-2</c:v>
                </c:pt>
                <c:pt idx="29265">
                  <c:v>-2.2689075630251999E-2</c:v>
                </c:pt>
                <c:pt idx="29266">
                  <c:v>-2.2689075630251999E-2</c:v>
                </c:pt>
                <c:pt idx="29267">
                  <c:v>-2.2689075630251999E-2</c:v>
                </c:pt>
                <c:pt idx="29268">
                  <c:v>-2.2689075630251999E-2</c:v>
                </c:pt>
                <c:pt idx="29269">
                  <c:v>-2.2689075630251999E-2</c:v>
                </c:pt>
                <c:pt idx="29270">
                  <c:v>-2.2689075630251999E-2</c:v>
                </c:pt>
                <c:pt idx="29271">
                  <c:v>-2.2689075630251999E-2</c:v>
                </c:pt>
                <c:pt idx="29272">
                  <c:v>-2.2689075630251999E-2</c:v>
                </c:pt>
                <c:pt idx="29273">
                  <c:v>-2.2689075630251999E-2</c:v>
                </c:pt>
                <c:pt idx="29274">
                  <c:v>-2.2689075630251999E-2</c:v>
                </c:pt>
                <c:pt idx="29275">
                  <c:v>-2.2689075630251999E-2</c:v>
                </c:pt>
                <c:pt idx="29276">
                  <c:v>-2.2689075630251999E-2</c:v>
                </c:pt>
                <c:pt idx="29277">
                  <c:v>-2.2689075630251999E-2</c:v>
                </c:pt>
                <c:pt idx="29278">
                  <c:v>-2.2689075630251999E-2</c:v>
                </c:pt>
                <c:pt idx="29279">
                  <c:v>-2.2689075630251999E-2</c:v>
                </c:pt>
                <c:pt idx="29280">
                  <c:v>-2.2689075630251999E-2</c:v>
                </c:pt>
                <c:pt idx="29281">
                  <c:v>-2.2689075630251999E-2</c:v>
                </c:pt>
                <c:pt idx="29282">
                  <c:v>-2.2689075630251999E-2</c:v>
                </c:pt>
                <c:pt idx="29283">
                  <c:v>-2.2689075630251999E-2</c:v>
                </c:pt>
                <c:pt idx="29284">
                  <c:v>-2.2689075630251999E-2</c:v>
                </c:pt>
                <c:pt idx="29285">
                  <c:v>-2.2689075630251999E-2</c:v>
                </c:pt>
                <c:pt idx="29286">
                  <c:v>-2.2689075630251999E-2</c:v>
                </c:pt>
                <c:pt idx="29287">
                  <c:v>-2.2689075630251999E-2</c:v>
                </c:pt>
                <c:pt idx="29288">
                  <c:v>-2.2689075630251999E-2</c:v>
                </c:pt>
                <c:pt idx="29289">
                  <c:v>-2.2689075630251999E-2</c:v>
                </c:pt>
                <c:pt idx="29290">
                  <c:v>-2.2689075630251999E-2</c:v>
                </c:pt>
                <c:pt idx="29291">
                  <c:v>-2.18487394957982E-2</c:v>
                </c:pt>
                <c:pt idx="29292">
                  <c:v>-2.18487394957982E-2</c:v>
                </c:pt>
                <c:pt idx="29293">
                  <c:v>-2.18487394957982E-2</c:v>
                </c:pt>
                <c:pt idx="29294">
                  <c:v>-2.18487394957982E-2</c:v>
                </c:pt>
                <c:pt idx="29295">
                  <c:v>-2.18487394957982E-2</c:v>
                </c:pt>
                <c:pt idx="29296">
                  <c:v>-2.18487394957982E-2</c:v>
                </c:pt>
                <c:pt idx="29297">
                  <c:v>-2.18487394957982E-2</c:v>
                </c:pt>
                <c:pt idx="29298">
                  <c:v>-2.18487394957982E-2</c:v>
                </c:pt>
                <c:pt idx="29299">
                  <c:v>-2.18487394957982E-2</c:v>
                </c:pt>
                <c:pt idx="29300">
                  <c:v>-2.18487394957982E-2</c:v>
                </c:pt>
                <c:pt idx="29301">
                  <c:v>-2.18487394957982E-2</c:v>
                </c:pt>
                <c:pt idx="29302">
                  <c:v>-2.18487394957982E-2</c:v>
                </c:pt>
                <c:pt idx="29303">
                  <c:v>-2.18487394957982E-2</c:v>
                </c:pt>
                <c:pt idx="29304">
                  <c:v>-2.18487394957982E-2</c:v>
                </c:pt>
                <c:pt idx="29305">
                  <c:v>-2.18487394957982E-2</c:v>
                </c:pt>
                <c:pt idx="29306">
                  <c:v>-2.18487394957982E-2</c:v>
                </c:pt>
                <c:pt idx="29307">
                  <c:v>-2.18487394957982E-2</c:v>
                </c:pt>
                <c:pt idx="29308">
                  <c:v>-2.18487394957982E-2</c:v>
                </c:pt>
                <c:pt idx="29309">
                  <c:v>-2.18487394957982E-2</c:v>
                </c:pt>
                <c:pt idx="29310">
                  <c:v>-2.18487394957982E-2</c:v>
                </c:pt>
                <c:pt idx="29311">
                  <c:v>-2.18487394957982E-2</c:v>
                </c:pt>
                <c:pt idx="29312">
                  <c:v>-2.18487394957982E-2</c:v>
                </c:pt>
                <c:pt idx="29313">
                  <c:v>-2.18487394957982E-2</c:v>
                </c:pt>
                <c:pt idx="29314">
                  <c:v>-2.18487394957982E-2</c:v>
                </c:pt>
                <c:pt idx="29315">
                  <c:v>-2.18487394957982E-2</c:v>
                </c:pt>
                <c:pt idx="29316">
                  <c:v>-2.18487394957982E-2</c:v>
                </c:pt>
                <c:pt idx="29317">
                  <c:v>-2.18487394957982E-2</c:v>
                </c:pt>
                <c:pt idx="29318">
                  <c:v>-2.18487394957982E-2</c:v>
                </c:pt>
                <c:pt idx="29319">
                  <c:v>-2.18487394957982E-2</c:v>
                </c:pt>
                <c:pt idx="29320">
                  <c:v>-2.18487394957982E-2</c:v>
                </c:pt>
                <c:pt idx="29321">
                  <c:v>-2.18487394957982E-2</c:v>
                </c:pt>
                <c:pt idx="29322">
                  <c:v>-2.18487394957982E-2</c:v>
                </c:pt>
                <c:pt idx="29323">
                  <c:v>-2.18487394957982E-2</c:v>
                </c:pt>
                <c:pt idx="29324">
                  <c:v>-2.1008403361344401E-2</c:v>
                </c:pt>
                <c:pt idx="29325">
                  <c:v>-2.1008403361344401E-2</c:v>
                </c:pt>
                <c:pt idx="29326">
                  <c:v>-2.1008403361344401E-2</c:v>
                </c:pt>
                <c:pt idx="29327">
                  <c:v>-2.1008403361344401E-2</c:v>
                </c:pt>
                <c:pt idx="29328">
                  <c:v>-2.1008403361344401E-2</c:v>
                </c:pt>
                <c:pt idx="29329">
                  <c:v>-2.1008403361344401E-2</c:v>
                </c:pt>
                <c:pt idx="29330">
                  <c:v>-2.1008403361344401E-2</c:v>
                </c:pt>
                <c:pt idx="29331">
                  <c:v>-2.1008403361344401E-2</c:v>
                </c:pt>
                <c:pt idx="29332">
                  <c:v>-2.1008403361344401E-2</c:v>
                </c:pt>
                <c:pt idx="29333">
                  <c:v>-2.1008403361344401E-2</c:v>
                </c:pt>
                <c:pt idx="29334">
                  <c:v>-2.1008403361344401E-2</c:v>
                </c:pt>
                <c:pt idx="29335">
                  <c:v>-2.1008403361344401E-2</c:v>
                </c:pt>
                <c:pt idx="29336">
                  <c:v>-2.1008403361344401E-2</c:v>
                </c:pt>
                <c:pt idx="29337">
                  <c:v>-2.1008403361344401E-2</c:v>
                </c:pt>
                <c:pt idx="29338">
                  <c:v>-2.1008403361344401E-2</c:v>
                </c:pt>
                <c:pt idx="29339">
                  <c:v>-2.1008403361344401E-2</c:v>
                </c:pt>
                <c:pt idx="29340">
                  <c:v>-2.1008403361344401E-2</c:v>
                </c:pt>
                <c:pt idx="29341">
                  <c:v>-2.1008403361344401E-2</c:v>
                </c:pt>
                <c:pt idx="29342">
                  <c:v>-2.1008403361344401E-2</c:v>
                </c:pt>
                <c:pt idx="29343">
                  <c:v>-2.1008403361344401E-2</c:v>
                </c:pt>
                <c:pt idx="29344">
                  <c:v>-2.1008403361344401E-2</c:v>
                </c:pt>
                <c:pt idx="29345">
                  <c:v>-2.1008403361344401E-2</c:v>
                </c:pt>
                <c:pt idx="29346">
                  <c:v>-2.1008403361344401E-2</c:v>
                </c:pt>
                <c:pt idx="29347">
                  <c:v>-2.1008403361344401E-2</c:v>
                </c:pt>
                <c:pt idx="29348">
                  <c:v>-2.1008403361344401E-2</c:v>
                </c:pt>
                <c:pt idx="29349">
                  <c:v>-2.1008403361344401E-2</c:v>
                </c:pt>
                <c:pt idx="29350">
                  <c:v>-2.1008403361344401E-2</c:v>
                </c:pt>
                <c:pt idx="29351">
                  <c:v>-2.1008403361344401E-2</c:v>
                </c:pt>
                <c:pt idx="29352">
                  <c:v>-2.1008403361344401E-2</c:v>
                </c:pt>
                <c:pt idx="29353">
                  <c:v>-2.1008403361344401E-2</c:v>
                </c:pt>
                <c:pt idx="29354">
                  <c:v>-2.1008403361344401E-2</c:v>
                </c:pt>
                <c:pt idx="29355">
                  <c:v>-2.1008403361344401E-2</c:v>
                </c:pt>
                <c:pt idx="29356">
                  <c:v>-2.1008403361344401E-2</c:v>
                </c:pt>
                <c:pt idx="29357">
                  <c:v>-2.0168067226890601E-2</c:v>
                </c:pt>
                <c:pt idx="29358">
                  <c:v>-2.0168067226890601E-2</c:v>
                </c:pt>
                <c:pt idx="29359">
                  <c:v>-2.0168067226890601E-2</c:v>
                </c:pt>
                <c:pt idx="29360">
                  <c:v>-2.0168067226890601E-2</c:v>
                </c:pt>
                <c:pt idx="29361">
                  <c:v>-2.0168067226890601E-2</c:v>
                </c:pt>
                <c:pt idx="29362">
                  <c:v>-2.0168067226890601E-2</c:v>
                </c:pt>
                <c:pt idx="29363">
                  <c:v>-2.0168067226890601E-2</c:v>
                </c:pt>
                <c:pt idx="29364">
                  <c:v>-2.0168067226890601E-2</c:v>
                </c:pt>
                <c:pt idx="29365">
                  <c:v>-2.0168067226890601E-2</c:v>
                </c:pt>
                <c:pt idx="29366">
                  <c:v>-2.0168067226890601E-2</c:v>
                </c:pt>
                <c:pt idx="29367">
                  <c:v>-2.0168067226890601E-2</c:v>
                </c:pt>
                <c:pt idx="29368">
                  <c:v>-2.0168067226890601E-2</c:v>
                </c:pt>
                <c:pt idx="29369">
                  <c:v>-2.0168067226890601E-2</c:v>
                </c:pt>
                <c:pt idx="29370">
                  <c:v>-2.0168067226890601E-2</c:v>
                </c:pt>
                <c:pt idx="29371">
                  <c:v>-2.0168067226890601E-2</c:v>
                </c:pt>
                <c:pt idx="29372">
                  <c:v>-2.0168067226890601E-2</c:v>
                </c:pt>
                <c:pt idx="29373">
                  <c:v>-2.0168067226890601E-2</c:v>
                </c:pt>
                <c:pt idx="29374">
                  <c:v>-2.0168067226890601E-2</c:v>
                </c:pt>
                <c:pt idx="29375">
                  <c:v>-2.0168067226890601E-2</c:v>
                </c:pt>
                <c:pt idx="29376">
                  <c:v>-2.0168067226890601E-2</c:v>
                </c:pt>
                <c:pt idx="29377">
                  <c:v>-2.0168067226890601E-2</c:v>
                </c:pt>
                <c:pt idx="29378">
                  <c:v>-2.0168067226890601E-2</c:v>
                </c:pt>
                <c:pt idx="29379">
                  <c:v>-2.0168067226890601E-2</c:v>
                </c:pt>
                <c:pt idx="29380">
                  <c:v>-2.0168067226890601E-2</c:v>
                </c:pt>
                <c:pt idx="29381">
                  <c:v>-2.0168067226890601E-2</c:v>
                </c:pt>
                <c:pt idx="29382">
                  <c:v>-2.0168067226890601E-2</c:v>
                </c:pt>
                <c:pt idx="29383">
                  <c:v>-2.0168067226890601E-2</c:v>
                </c:pt>
                <c:pt idx="29384">
                  <c:v>-2.0168067226890601E-2</c:v>
                </c:pt>
                <c:pt idx="29385">
                  <c:v>-2.1008403361344401E-2</c:v>
                </c:pt>
                <c:pt idx="29386">
                  <c:v>-2.1008403361344401E-2</c:v>
                </c:pt>
                <c:pt idx="29387">
                  <c:v>-2.1008403361344401E-2</c:v>
                </c:pt>
                <c:pt idx="29388">
                  <c:v>-2.1008403361344401E-2</c:v>
                </c:pt>
                <c:pt idx="29389">
                  <c:v>-2.1008403361344401E-2</c:v>
                </c:pt>
                <c:pt idx="29390">
                  <c:v>-2.1008403361344401E-2</c:v>
                </c:pt>
                <c:pt idx="29391">
                  <c:v>-2.1008403361344401E-2</c:v>
                </c:pt>
                <c:pt idx="29392">
                  <c:v>-2.1008403361344401E-2</c:v>
                </c:pt>
                <c:pt idx="29393">
                  <c:v>-2.1008403361344401E-2</c:v>
                </c:pt>
                <c:pt idx="29394">
                  <c:v>-2.1008403361344401E-2</c:v>
                </c:pt>
                <c:pt idx="29395">
                  <c:v>-2.1008403361344401E-2</c:v>
                </c:pt>
                <c:pt idx="29396">
                  <c:v>-2.1008403361344401E-2</c:v>
                </c:pt>
                <c:pt idx="29397">
                  <c:v>-2.1008403361344401E-2</c:v>
                </c:pt>
                <c:pt idx="29398">
                  <c:v>-2.1008403361344401E-2</c:v>
                </c:pt>
                <c:pt idx="29399">
                  <c:v>-2.1008403361344401E-2</c:v>
                </c:pt>
                <c:pt idx="29400">
                  <c:v>-2.1008403361344401E-2</c:v>
                </c:pt>
                <c:pt idx="29401">
                  <c:v>-2.1008403361344401E-2</c:v>
                </c:pt>
                <c:pt idx="29402">
                  <c:v>-2.1008403361344401E-2</c:v>
                </c:pt>
                <c:pt idx="29403">
                  <c:v>-2.1008403361344401E-2</c:v>
                </c:pt>
                <c:pt idx="29404">
                  <c:v>-2.1008403361344401E-2</c:v>
                </c:pt>
                <c:pt idx="29405">
                  <c:v>-2.1008403361344401E-2</c:v>
                </c:pt>
                <c:pt idx="29406">
                  <c:v>-2.1008403361344401E-2</c:v>
                </c:pt>
                <c:pt idx="29407">
                  <c:v>-2.1008403361344401E-2</c:v>
                </c:pt>
                <c:pt idx="29408">
                  <c:v>-2.1008403361344401E-2</c:v>
                </c:pt>
                <c:pt idx="29409">
                  <c:v>-2.1008403361344401E-2</c:v>
                </c:pt>
                <c:pt idx="29410">
                  <c:v>-2.1008403361344401E-2</c:v>
                </c:pt>
                <c:pt idx="29411">
                  <c:v>-2.1008403361344401E-2</c:v>
                </c:pt>
                <c:pt idx="29412">
                  <c:v>-2.1008403361344401E-2</c:v>
                </c:pt>
                <c:pt idx="29413">
                  <c:v>-2.1008403361344401E-2</c:v>
                </c:pt>
                <c:pt idx="29414">
                  <c:v>-2.1008403361344401E-2</c:v>
                </c:pt>
                <c:pt idx="29415">
                  <c:v>-2.1008403361344401E-2</c:v>
                </c:pt>
                <c:pt idx="29416">
                  <c:v>-2.1008403361344401E-2</c:v>
                </c:pt>
                <c:pt idx="29417">
                  <c:v>-2.1008403361344401E-2</c:v>
                </c:pt>
                <c:pt idx="29418">
                  <c:v>-2.1008403361344401E-2</c:v>
                </c:pt>
                <c:pt idx="29419">
                  <c:v>-2.1008403361344401E-2</c:v>
                </c:pt>
                <c:pt idx="29420">
                  <c:v>-2.1008403361344401E-2</c:v>
                </c:pt>
                <c:pt idx="29421">
                  <c:v>-2.1008403361344401E-2</c:v>
                </c:pt>
                <c:pt idx="29422">
                  <c:v>-2.1008403361344401E-2</c:v>
                </c:pt>
                <c:pt idx="29423">
                  <c:v>-2.1008403361344401E-2</c:v>
                </c:pt>
                <c:pt idx="29424">
                  <c:v>-2.1008403361344401E-2</c:v>
                </c:pt>
                <c:pt idx="29425">
                  <c:v>-2.1008403361344401E-2</c:v>
                </c:pt>
                <c:pt idx="29426">
                  <c:v>-2.0168067226890601E-2</c:v>
                </c:pt>
                <c:pt idx="29427">
                  <c:v>-2.0168067226890601E-2</c:v>
                </c:pt>
                <c:pt idx="29428">
                  <c:v>-2.0168067226890601E-2</c:v>
                </c:pt>
                <c:pt idx="29429">
                  <c:v>-2.0168067226890601E-2</c:v>
                </c:pt>
                <c:pt idx="29430">
                  <c:v>-2.0168067226890601E-2</c:v>
                </c:pt>
                <c:pt idx="29431">
                  <c:v>-2.0168067226890601E-2</c:v>
                </c:pt>
                <c:pt idx="29432">
                  <c:v>-2.0168067226890601E-2</c:v>
                </c:pt>
                <c:pt idx="29433">
                  <c:v>-2.0168067226890601E-2</c:v>
                </c:pt>
                <c:pt idx="29434">
                  <c:v>-2.0168067226890601E-2</c:v>
                </c:pt>
                <c:pt idx="29435">
                  <c:v>-2.0168067226890601E-2</c:v>
                </c:pt>
                <c:pt idx="29436">
                  <c:v>-2.0168067226890601E-2</c:v>
                </c:pt>
                <c:pt idx="29437">
                  <c:v>-2.0168067226890601E-2</c:v>
                </c:pt>
                <c:pt idx="29438">
                  <c:v>-2.0168067226890601E-2</c:v>
                </c:pt>
                <c:pt idx="29439">
                  <c:v>-1.9327731092436899E-2</c:v>
                </c:pt>
                <c:pt idx="29440">
                  <c:v>-1.9327731092436899E-2</c:v>
                </c:pt>
                <c:pt idx="29441">
                  <c:v>-1.9327731092436899E-2</c:v>
                </c:pt>
                <c:pt idx="29442">
                  <c:v>-1.9327731092436899E-2</c:v>
                </c:pt>
                <c:pt idx="29443">
                  <c:v>-1.9327731092436899E-2</c:v>
                </c:pt>
                <c:pt idx="29444">
                  <c:v>-1.84873949579831E-2</c:v>
                </c:pt>
                <c:pt idx="29445">
                  <c:v>-1.84873949579831E-2</c:v>
                </c:pt>
                <c:pt idx="29446">
                  <c:v>-1.84873949579831E-2</c:v>
                </c:pt>
                <c:pt idx="29447">
                  <c:v>-1.84873949579831E-2</c:v>
                </c:pt>
                <c:pt idx="29448">
                  <c:v>-1.84873949579831E-2</c:v>
                </c:pt>
                <c:pt idx="29449">
                  <c:v>-1.84873949579831E-2</c:v>
                </c:pt>
                <c:pt idx="29450">
                  <c:v>-1.84873949579831E-2</c:v>
                </c:pt>
                <c:pt idx="29451">
                  <c:v>-1.84873949579831E-2</c:v>
                </c:pt>
                <c:pt idx="29452">
                  <c:v>-1.84873949579831E-2</c:v>
                </c:pt>
                <c:pt idx="29453">
                  <c:v>-1.84873949579831E-2</c:v>
                </c:pt>
                <c:pt idx="29454">
                  <c:v>-1.84873949579831E-2</c:v>
                </c:pt>
                <c:pt idx="29455">
                  <c:v>-1.84873949579831E-2</c:v>
                </c:pt>
                <c:pt idx="29456">
                  <c:v>-1.9327731092436899E-2</c:v>
                </c:pt>
                <c:pt idx="29457">
                  <c:v>-1.9327731092436899E-2</c:v>
                </c:pt>
                <c:pt idx="29458">
                  <c:v>-1.9327731092436899E-2</c:v>
                </c:pt>
                <c:pt idx="29459">
                  <c:v>-1.9327731092436899E-2</c:v>
                </c:pt>
                <c:pt idx="29460">
                  <c:v>-1.9327731092436899E-2</c:v>
                </c:pt>
                <c:pt idx="29461">
                  <c:v>-1.9327731092436899E-2</c:v>
                </c:pt>
                <c:pt idx="29462">
                  <c:v>-1.9327731092436899E-2</c:v>
                </c:pt>
                <c:pt idx="29463">
                  <c:v>-1.9327731092436899E-2</c:v>
                </c:pt>
                <c:pt idx="29464">
                  <c:v>-1.9327731092436899E-2</c:v>
                </c:pt>
                <c:pt idx="29465">
                  <c:v>-1.9327731092436899E-2</c:v>
                </c:pt>
                <c:pt idx="29466">
                  <c:v>-1.9327731092436899E-2</c:v>
                </c:pt>
                <c:pt idx="29467">
                  <c:v>-1.9327731092436899E-2</c:v>
                </c:pt>
                <c:pt idx="29468">
                  <c:v>-1.9327731092436899E-2</c:v>
                </c:pt>
                <c:pt idx="29469">
                  <c:v>-1.9327731092436899E-2</c:v>
                </c:pt>
                <c:pt idx="29470">
                  <c:v>-1.9327731092436899E-2</c:v>
                </c:pt>
                <c:pt idx="29471">
                  <c:v>-1.9327731092436899E-2</c:v>
                </c:pt>
                <c:pt idx="29472">
                  <c:v>-1.9327731092436899E-2</c:v>
                </c:pt>
                <c:pt idx="29473">
                  <c:v>-1.9327731092436899E-2</c:v>
                </c:pt>
                <c:pt idx="29474">
                  <c:v>-1.9327731092436899E-2</c:v>
                </c:pt>
                <c:pt idx="29475">
                  <c:v>-1.9327731092436899E-2</c:v>
                </c:pt>
                <c:pt idx="29476">
                  <c:v>-1.9327731092436899E-2</c:v>
                </c:pt>
                <c:pt idx="29477">
                  <c:v>-1.9327731092436899E-2</c:v>
                </c:pt>
                <c:pt idx="29478">
                  <c:v>-1.9327731092436899E-2</c:v>
                </c:pt>
                <c:pt idx="29479">
                  <c:v>-1.9327731092436899E-2</c:v>
                </c:pt>
                <c:pt idx="29480">
                  <c:v>-1.9327731092436899E-2</c:v>
                </c:pt>
                <c:pt idx="29481">
                  <c:v>-1.9327731092436899E-2</c:v>
                </c:pt>
                <c:pt idx="29482">
                  <c:v>-1.9327731092436899E-2</c:v>
                </c:pt>
                <c:pt idx="29483">
                  <c:v>-1.9327731092436899E-2</c:v>
                </c:pt>
                <c:pt idx="29484">
                  <c:v>-1.9327731092436899E-2</c:v>
                </c:pt>
                <c:pt idx="29485">
                  <c:v>-1.9327731092436899E-2</c:v>
                </c:pt>
                <c:pt idx="29486">
                  <c:v>-1.9327731092436899E-2</c:v>
                </c:pt>
                <c:pt idx="29487">
                  <c:v>-1.9327731092436899E-2</c:v>
                </c:pt>
                <c:pt idx="29488">
                  <c:v>-1.9327731092436899E-2</c:v>
                </c:pt>
                <c:pt idx="29489">
                  <c:v>-1.9327731092436899E-2</c:v>
                </c:pt>
                <c:pt idx="29490">
                  <c:v>-1.9327731092436899E-2</c:v>
                </c:pt>
                <c:pt idx="29491">
                  <c:v>-1.9327731092436899E-2</c:v>
                </c:pt>
                <c:pt idx="29492">
                  <c:v>-1.9327731092436899E-2</c:v>
                </c:pt>
                <c:pt idx="29493">
                  <c:v>-1.9327731092436899E-2</c:v>
                </c:pt>
                <c:pt idx="29494">
                  <c:v>-1.9327731092436899E-2</c:v>
                </c:pt>
                <c:pt idx="29495">
                  <c:v>-1.9327731092436899E-2</c:v>
                </c:pt>
                <c:pt idx="29496">
                  <c:v>-1.9327731092436899E-2</c:v>
                </c:pt>
                <c:pt idx="29497">
                  <c:v>-1.9327731092436899E-2</c:v>
                </c:pt>
                <c:pt idx="29498">
                  <c:v>-1.9327731092436899E-2</c:v>
                </c:pt>
                <c:pt idx="29499">
                  <c:v>-1.9327731092436899E-2</c:v>
                </c:pt>
                <c:pt idx="29500">
                  <c:v>-1.9327731092436899E-2</c:v>
                </c:pt>
                <c:pt idx="29501">
                  <c:v>-1.9327731092436899E-2</c:v>
                </c:pt>
                <c:pt idx="29502">
                  <c:v>-1.9327731092436899E-2</c:v>
                </c:pt>
                <c:pt idx="29503">
                  <c:v>-1.9327731092436899E-2</c:v>
                </c:pt>
                <c:pt idx="29504">
                  <c:v>-1.9327731092436899E-2</c:v>
                </c:pt>
                <c:pt idx="29505">
                  <c:v>-1.9327731092436899E-2</c:v>
                </c:pt>
                <c:pt idx="29506">
                  <c:v>-1.9327731092436899E-2</c:v>
                </c:pt>
                <c:pt idx="29507">
                  <c:v>-1.9327731092436899E-2</c:v>
                </c:pt>
                <c:pt idx="29508">
                  <c:v>-1.9327731092436899E-2</c:v>
                </c:pt>
                <c:pt idx="29509">
                  <c:v>-1.9327731092436899E-2</c:v>
                </c:pt>
                <c:pt idx="29510">
                  <c:v>-1.9327731092436899E-2</c:v>
                </c:pt>
                <c:pt idx="29511">
                  <c:v>-1.9327731092436899E-2</c:v>
                </c:pt>
                <c:pt idx="29512">
                  <c:v>-1.9327731092436899E-2</c:v>
                </c:pt>
                <c:pt idx="29513">
                  <c:v>-1.84873949579831E-2</c:v>
                </c:pt>
                <c:pt idx="29514">
                  <c:v>-1.84873949579831E-2</c:v>
                </c:pt>
                <c:pt idx="29515">
                  <c:v>-1.84873949579831E-2</c:v>
                </c:pt>
                <c:pt idx="29516">
                  <c:v>-1.84873949579831E-2</c:v>
                </c:pt>
                <c:pt idx="29517">
                  <c:v>-1.84873949579831E-2</c:v>
                </c:pt>
                <c:pt idx="29518">
                  <c:v>-1.84873949579831E-2</c:v>
                </c:pt>
                <c:pt idx="29519">
                  <c:v>-1.84873949579831E-2</c:v>
                </c:pt>
                <c:pt idx="29520">
                  <c:v>-1.84873949579831E-2</c:v>
                </c:pt>
                <c:pt idx="29521">
                  <c:v>-1.84873949579831E-2</c:v>
                </c:pt>
                <c:pt idx="29522">
                  <c:v>-1.84873949579831E-2</c:v>
                </c:pt>
                <c:pt idx="29523">
                  <c:v>-1.84873949579831E-2</c:v>
                </c:pt>
                <c:pt idx="29524">
                  <c:v>-1.84873949579831E-2</c:v>
                </c:pt>
                <c:pt idx="29525">
                  <c:v>-1.84873949579831E-2</c:v>
                </c:pt>
                <c:pt idx="29526">
                  <c:v>-1.84873949579831E-2</c:v>
                </c:pt>
                <c:pt idx="29527">
                  <c:v>-1.84873949579831E-2</c:v>
                </c:pt>
                <c:pt idx="29528">
                  <c:v>-1.84873949579831E-2</c:v>
                </c:pt>
                <c:pt idx="29529">
                  <c:v>-1.84873949579831E-2</c:v>
                </c:pt>
                <c:pt idx="29530">
                  <c:v>-1.84873949579831E-2</c:v>
                </c:pt>
                <c:pt idx="29531">
                  <c:v>-1.84873949579831E-2</c:v>
                </c:pt>
                <c:pt idx="29532">
                  <c:v>-1.84873949579831E-2</c:v>
                </c:pt>
                <c:pt idx="29533">
                  <c:v>-1.84873949579831E-2</c:v>
                </c:pt>
                <c:pt idx="29534">
                  <c:v>-1.84873949579831E-2</c:v>
                </c:pt>
                <c:pt idx="29535">
                  <c:v>-1.84873949579831E-2</c:v>
                </c:pt>
                <c:pt idx="29536">
                  <c:v>-1.84873949579831E-2</c:v>
                </c:pt>
                <c:pt idx="29537">
                  <c:v>-1.84873949579831E-2</c:v>
                </c:pt>
                <c:pt idx="29538">
                  <c:v>-1.84873949579831E-2</c:v>
                </c:pt>
                <c:pt idx="29539">
                  <c:v>-1.84873949579831E-2</c:v>
                </c:pt>
                <c:pt idx="29540">
                  <c:v>-1.84873949579831E-2</c:v>
                </c:pt>
                <c:pt idx="29541">
                  <c:v>-1.84873949579831E-2</c:v>
                </c:pt>
                <c:pt idx="29542">
                  <c:v>-1.84873949579831E-2</c:v>
                </c:pt>
                <c:pt idx="29543">
                  <c:v>-1.84873949579831E-2</c:v>
                </c:pt>
                <c:pt idx="29544">
                  <c:v>-1.84873949579831E-2</c:v>
                </c:pt>
                <c:pt idx="29545">
                  <c:v>-1.84873949579831E-2</c:v>
                </c:pt>
                <c:pt idx="29546">
                  <c:v>-1.84873949579831E-2</c:v>
                </c:pt>
                <c:pt idx="29547">
                  <c:v>-1.84873949579831E-2</c:v>
                </c:pt>
                <c:pt idx="29548">
                  <c:v>-1.84873949579831E-2</c:v>
                </c:pt>
                <c:pt idx="29549">
                  <c:v>-1.84873949579831E-2</c:v>
                </c:pt>
                <c:pt idx="29550">
                  <c:v>-1.84873949579831E-2</c:v>
                </c:pt>
                <c:pt idx="29551">
                  <c:v>-1.84873949579831E-2</c:v>
                </c:pt>
                <c:pt idx="29552">
                  <c:v>-1.84873949579831E-2</c:v>
                </c:pt>
                <c:pt idx="29553">
                  <c:v>-1.84873949579831E-2</c:v>
                </c:pt>
                <c:pt idx="29554">
                  <c:v>-1.84873949579831E-2</c:v>
                </c:pt>
                <c:pt idx="29555">
                  <c:v>-1.84873949579831E-2</c:v>
                </c:pt>
                <c:pt idx="29556">
                  <c:v>-1.84873949579831E-2</c:v>
                </c:pt>
                <c:pt idx="29557">
                  <c:v>-1.84873949579831E-2</c:v>
                </c:pt>
                <c:pt idx="29558">
                  <c:v>-1.84873949579831E-2</c:v>
                </c:pt>
                <c:pt idx="29559">
                  <c:v>-1.84873949579831E-2</c:v>
                </c:pt>
                <c:pt idx="29560">
                  <c:v>-1.84873949579831E-2</c:v>
                </c:pt>
                <c:pt idx="29561">
                  <c:v>-1.84873949579831E-2</c:v>
                </c:pt>
                <c:pt idx="29562">
                  <c:v>-1.84873949579831E-2</c:v>
                </c:pt>
                <c:pt idx="29563">
                  <c:v>-1.84873949579831E-2</c:v>
                </c:pt>
                <c:pt idx="29564">
                  <c:v>-1.84873949579831E-2</c:v>
                </c:pt>
                <c:pt idx="29565">
                  <c:v>-1.84873949579831E-2</c:v>
                </c:pt>
                <c:pt idx="29566">
                  <c:v>-1.84873949579831E-2</c:v>
                </c:pt>
                <c:pt idx="29567">
                  <c:v>-1.84873949579831E-2</c:v>
                </c:pt>
                <c:pt idx="29568">
                  <c:v>-1.84873949579831E-2</c:v>
                </c:pt>
                <c:pt idx="29569">
                  <c:v>-1.84873949579831E-2</c:v>
                </c:pt>
                <c:pt idx="29570">
                  <c:v>-1.84873949579831E-2</c:v>
                </c:pt>
                <c:pt idx="29571">
                  <c:v>-1.84873949579831E-2</c:v>
                </c:pt>
                <c:pt idx="29572">
                  <c:v>-1.84873949579831E-2</c:v>
                </c:pt>
                <c:pt idx="29573">
                  <c:v>-1.84873949579831E-2</c:v>
                </c:pt>
                <c:pt idx="29574">
                  <c:v>-1.84873949579831E-2</c:v>
                </c:pt>
                <c:pt idx="29575">
                  <c:v>-1.84873949579831E-2</c:v>
                </c:pt>
                <c:pt idx="29576">
                  <c:v>-1.76470588235293E-2</c:v>
                </c:pt>
                <c:pt idx="29577">
                  <c:v>-1.76470588235293E-2</c:v>
                </c:pt>
                <c:pt idx="29578">
                  <c:v>-1.76470588235293E-2</c:v>
                </c:pt>
                <c:pt idx="29579">
                  <c:v>-1.76470588235293E-2</c:v>
                </c:pt>
                <c:pt idx="29580">
                  <c:v>-1.76470588235293E-2</c:v>
                </c:pt>
                <c:pt idx="29581">
                  <c:v>-1.76470588235293E-2</c:v>
                </c:pt>
                <c:pt idx="29582">
                  <c:v>-1.76470588235293E-2</c:v>
                </c:pt>
                <c:pt idx="29583">
                  <c:v>-1.76470588235293E-2</c:v>
                </c:pt>
                <c:pt idx="29584">
                  <c:v>-1.76470588235293E-2</c:v>
                </c:pt>
                <c:pt idx="29585">
                  <c:v>-1.76470588235293E-2</c:v>
                </c:pt>
                <c:pt idx="29586">
                  <c:v>-1.76470588235293E-2</c:v>
                </c:pt>
                <c:pt idx="29587">
                  <c:v>-1.76470588235293E-2</c:v>
                </c:pt>
                <c:pt idx="29588">
                  <c:v>-1.76470588235293E-2</c:v>
                </c:pt>
                <c:pt idx="29589">
                  <c:v>-1.76470588235293E-2</c:v>
                </c:pt>
                <c:pt idx="29590">
                  <c:v>-1.76470588235293E-2</c:v>
                </c:pt>
                <c:pt idx="29591">
                  <c:v>-1.76470588235293E-2</c:v>
                </c:pt>
                <c:pt idx="29592">
                  <c:v>-1.76470588235293E-2</c:v>
                </c:pt>
                <c:pt idx="29593">
                  <c:v>-1.76470588235293E-2</c:v>
                </c:pt>
                <c:pt idx="29594">
                  <c:v>-1.76470588235293E-2</c:v>
                </c:pt>
                <c:pt idx="29595">
                  <c:v>-1.76470588235293E-2</c:v>
                </c:pt>
                <c:pt idx="29596">
                  <c:v>-1.76470588235293E-2</c:v>
                </c:pt>
                <c:pt idx="29597">
                  <c:v>-1.76470588235293E-2</c:v>
                </c:pt>
                <c:pt idx="29598">
                  <c:v>-1.76470588235293E-2</c:v>
                </c:pt>
                <c:pt idx="29599">
                  <c:v>-1.76470588235293E-2</c:v>
                </c:pt>
                <c:pt idx="29600">
                  <c:v>-1.76470588235293E-2</c:v>
                </c:pt>
                <c:pt idx="29601">
                  <c:v>-1.76470588235293E-2</c:v>
                </c:pt>
                <c:pt idx="29602">
                  <c:v>-1.76470588235293E-2</c:v>
                </c:pt>
                <c:pt idx="29603">
                  <c:v>-1.76470588235293E-2</c:v>
                </c:pt>
                <c:pt idx="29604">
                  <c:v>-1.76470588235293E-2</c:v>
                </c:pt>
                <c:pt idx="29605">
                  <c:v>-1.76470588235293E-2</c:v>
                </c:pt>
                <c:pt idx="29606">
                  <c:v>-1.6806722689075501E-2</c:v>
                </c:pt>
                <c:pt idx="29607">
                  <c:v>-1.6806722689075501E-2</c:v>
                </c:pt>
                <c:pt idx="29608">
                  <c:v>-1.6806722689075501E-2</c:v>
                </c:pt>
                <c:pt idx="29609">
                  <c:v>-1.6806722689075501E-2</c:v>
                </c:pt>
                <c:pt idx="29610">
                  <c:v>-1.6806722689075501E-2</c:v>
                </c:pt>
                <c:pt idx="29611">
                  <c:v>-1.6806722689075501E-2</c:v>
                </c:pt>
                <c:pt idx="29612">
                  <c:v>-1.6806722689075501E-2</c:v>
                </c:pt>
                <c:pt idx="29613">
                  <c:v>-1.6806722689075501E-2</c:v>
                </c:pt>
                <c:pt idx="29614">
                  <c:v>-1.6806722689075501E-2</c:v>
                </c:pt>
                <c:pt idx="29615">
                  <c:v>-1.76470588235293E-2</c:v>
                </c:pt>
                <c:pt idx="29616">
                  <c:v>-1.76470588235293E-2</c:v>
                </c:pt>
                <c:pt idx="29617">
                  <c:v>-1.76470588235293E-2</c:v>
                </c:pt>
                <c:pt idx="29618">
                  <c:v>-1.76470588235293E-2</c:v>
                </c:pt>
                <c:pt idx="29619">
                  <c:v>-1.76470588235293E-2</c:v>
                </c:pt>
                <c:pt idx="29620">
                  <c:v>-1.76470588235293E-2</c:v>
                </c:pt>
                <c:pt idx="29621">
                  <c:v>-1.76470588235293E-2</c:v>
                </c:pt>
                <c:pt idx="29622">
                  <c:v>-1.76470588235293E-2</c:v>
                </c:pt>
                <c:pt idx="29623">
                  <c:v>-1.76470588235293E-2</c:v>
                </c:pt>
                <c:pt idx="29624">
                  <c:v>-1.76470588235293E-2</c:v>
                </c:pt>
                <c:pt idx="29625">
                  <c:v>-1.76470588235293E-2</c:v>
                </c:pt>
                <c:pt idx="29626">
                  <c:v>-1.76470588235293E-2</c:v>
                </c:pt>
                <c:pt idx="29627">
                  <c:v>-1.76470588235293E-2</c:v>
                </c:pt>
                <c:pt idx="29628">
                  <c:v>-1.76470588235293E-2</c:v>
                </c:pt>
                <c:pt idx="29629">
                  <c:v>-1.76470588235293E-2</c:v>
                </c:pt>
                <c:pt idx="29630">
                  <c:v>-1.76470588235293E-2</c:v>
                </c:pt>
                <c:pt idx="29631">
                  <c:v>-1.76470588235293E-2</c:v>
                </c:pt>
                <c:pt idx="29632">
                  <c:v>-1.76470588235293E-2</c:v>
                </c:pt>
                <c:pt idx="29633">
                  <c:v>-1.6806722689075501E-2</c:v>
                </c:pt>
                <c:pt idx="29634">
                  <c:v>-1.6806722689075501E-2</c:v>
                </c:pt>
                <c:pt idx="29635">
                  <c:v>-1.6806722689075501E-2</c:v>
                </c:pt>
                <c:pt idx="29636">
                  <c:v>-1.6806722689075501E-2</c:v>
                </c:pt>
                <c:pt idx="29637">
                  <c:v>-1.6806722689075501E-2</c:v>
                </c:pt>
                <c:pt idx="29638">
                  <c:v>-1.6806722689075501E-2</c:v>
                </c:pt>
                <c:pt idx="29639">
                  <c:v>-1.6806722689075501E-2</c:v>
                </c:pt>
                <c:pt idx="29640">
                  <c:v>-1.6806722689075501E-2</c:v>
                </c:pt>
                <c:pt idx="29641">
                  <c:v>-1.6806722689075501E-2</c:v>
                </c:pt>
                <c:pt idx="29642">
                  <c:v>-1.5966386554621698E-2</c:v>
                </c:pt>
                <c:pt idx="29643">
                  <c:v>-1.5966386554621698E-2</c:v>
                </c:pt>
                <c:pt idx="29644">
                  <c:v>-1.5966386554621698E-2</c:v>
                </c:pt>
                <c:pt idx="29645">
                  <c:v>-1.5966386554621698E-2</c:v>
                </c:pt>
                <c:pt idx="29646">
                  <c:v>-1.5966386554621698E-2</c:v>
                </c:pt>
                <c:pt idx="29647">
                  <c:v>-1.6806722689075501E-2</c:v>
                </c:pt>
                <c:pt idx="29648">
                  <c:v>-1.6806722689075501E-2</c:v>
                </c:pt>
                <c:pt idx="29649">
                  <c:v>-1.6806722689075501E-2</c:v>
                </c:pt>
                <c:pt idx="29650">
                  <c:v>-1.6806722689075501E-2</c:v>
                </c:pt>
                <c:pt idx="29651">
                  <c:v>-1.6806722689075501E-2</c:v>
                </c:pt>
                <c:pt idx="29652">
                  <c:v>-1.6806722689075501E-2</c:v>
                </c:pt>
                <c:pt idx="29653">
                  <c:v>-1.6806722689075501E-2</c:v>
                </c:pt>
                <c:pt idx="29654">
                  <c:v>-1.6806722689075501E-2</c:v>
                </c:pt>
                <c:pt idx="29655">
                  <c:v>-1.76470588235293E-2</c:v>
                </c:pt>
                <c:pt idx="29656">
                  <c:v>-1.84873949579831E-2</c:v>
                </c:pt>
                <c:pt idx="29657">
                  <c:v>-1.84873949579831E-2</c:v>
                </c:pt>
                <c:pt idx="29658">
                  <c:v>-1.84873949579831E-2</c:v>
                </c:pt>
                <c:pt idx="29659">
                  <c:v>-1.84873949579831E-2</c:v>
                </c:pt>
                <c:pt idx="29660">
                  <c:v>-1.84873949579831E-2</c:v>
                </c:pt>
                <c:pt idx="29661">
                  <c:v>-1.84873949579831E-2</c:v>
                </c:pt>
                <c:pt idx="29662">
                  <c:v>-1.84873949579831E-2</c:v>
                </c:pt>
                <c:pt idx="29663">
                  <c:v>-1.84873949579831E-2</c:v>
                </c:pt>
                <c:pt idx="29664">
                  <c:v>-1.84873949579831E-2</c:v>
                </c:pt>
                <c:pt idx="29665">
                  <c:v>-1.84873949579831E-2</c:v>
                </c:pt>
                <c:pt idx="29666">
                  <c:v>-1.84873949579831E-2</c:v>
                </c:pt>
                <c:pt idx="29667">
                  <c:v>-1.84873949579831E-2</c:v>
                </c:pt>
                <c:pt idx="29668">
                  <c:v>-1.84873949579831E-2</c:v>
                </c:pt>
                <c:pt idx="29669">
                  <c:v>-1.84873949579831E-2</c:v>
                </c:pt>
                <c:pt idx="29670">
                  <c:v>-1.84873949579831E-2</c:v>
                </c:pt>
                <c:pt idx="29671">
                  <c:v>-1.84873949579831E-2</c:v>
                </c:pt>
                <c:pt idx="29672">
                  <c:v>-1.84873949579831E-2</c:v>
                </c:pt>
                <c:pt idx="29673">
                  <c:v>-1.84873949579831E-2</c:v>
                </c:pt>
                <c:pt idx="29674">
                  <c:v>-1.84873949579831E-2</c:v>
                </c:pt>
                <c:pt idx="29675">
                  <c:v>-1.84873949579831E-2</c:v>
                </c:pt>
                <c:pt idx="29676">
                  <c:v>-1.84873949579831E-2</c:v>
                </c:pt>
                <c:pt idx="29677">
                  <c:v>-1.84873949579831E-2</c:v>
                </c:pt>
                <c:pt idx="29678">
                  <c:v>-1.84873949579831E-2</c:v>
                </c:pt>
                <c:pt idx="29679">
                  <c:v>-1.84873949579831E-2</c:v>
                </c:pt>
                <c:pt idx="29680">
                  <c:v>-1.84873949579831E-2</c:v>
                </c:pt>
                <c:pt idx="29681">
                  <c:v>-1.9327731092437E-2</c:v>
                </c:pt>
                <c:pt idx="29682">
                  <c:v>-1.9327731092437E-2</c:v>
                </c:pt>
                <c:pt idx="29683">
                  <c:v>-1.9327731092437E-2</c:v>
                </c:pt>
                <c:pt idx="29684">
                  <c:v>-1.9327731092437E-2</c:v>
                </c:pt>
                <c:pt idx="29685">
                  <c:v>-1.9327731092437E-2</c:v>
                </c:pt>
                <c:pt idx="29686">
                  <c:v>-1.9327731092437E-2</c:v>
                </c:pt>
                <c:pt idx="29687">
                  <c:v>-1.9327731092437E-2</c:v>
                </c:pt>
                <c:pt idx="29688">
                  <c:v>-1.9327731092437E-2</c:v>
                </c:pt>
                <c:pt idx="29689">
                  <c:v>-1.9327731092437E-2</c:v>
                </c:pt>
                <c:pt idx="29690">
                  <c:v>-1.9327731092437E-2</c:v>
                </c:pt>
                <c:pt idx="29691">
                  <c:v>-1.9327731092437E-2</c:v>
                </c:pt>
                <c:pt idx="29692">
                  <c:v>-1.9327731092437E-2</c:v>
                </c:pt>
                <c:pt idx="29693">
                  <c:v>-1.9327731092437E-2</c:v>
                </c:pt>
                <c:pt idx="29694">
                  <c:v>-1.9327731092437E-2</c:v>
                </c:pt>
                <c:pt idx="29695">
                  <c:v>-1.9327731092437E-2</c:v>
                </c:pt>
                <c:pt idx="29696">
                  <c:v>-1.9327731092437E-2</c:v>
                </c:pt>
                <c:pt idx="29697">
                  <c:v>-1.9327731092437E-2</c:v>
                </c:pt>
                <c:pt idx="29698">
                  <c:v>-1.9327731092437E-2</c:v>
                </c:pt>
                <c:pt idx="29699">
                  <c:v>-1.9327731092437E-2</c:v>
                </c:pt>
                <c:pt idx="29700">
                  <c:v>-1.9327731092437E-2</c:v>
                </c:pt>
                <c:pt idx="29701">
                  <c:v>-1.9327731092437E-2</c:v>
                </c:pt>
                <c:pt idx="29702">
                  <c:v>-1.9327731092437E-2</c:v>
                </c:pt>
                <c:pt idx="29703">
                  <c:v>-1.9327731092437E-2</c:v>
                </c:pt>
                <c:pt idx="29704">
                  <c:v>-1.9327731092437E-2</c:v>
                </c:pt>
                <c:pt idx="29705">
                  <c:v>-1.9327731092437E-2</c:v>
                </c:pt>
                <c:pt idx="29706">
                  <c:v>-1.9327731092437E-2</c:v>
                </c:pt>
                <c:pt idx="29707">
                  <c:v>-1.9327731092437E-2</c:v>
                </c:pt>
                <c:pt idx="29708">
                  <c:v>-1.9327731092437E-2</c:v>
                </c:pt>
                <c:pt idx="29709">
                  <c:v>-1.9327731092437E-2</c:v>
                </c:pt>
                <c:pt idx="29710">
                  <c:v>-1.9327731092437E-2</c:v>
                </c:pt>
                <c:pt idx="29711">
                  <c:v>-1.9327731092437E-2</c:v>
                </c:pt>
                <c:pt idx="29712">
                  <c:v>-1.9327731092437E-2</c:v>
                </c:pt>
                <c:pt idx="29713">
                  <c:v>-1.9327731092437E-2</c:v>
                </c:pt>
                <c:pt idx="29714">
                  <c:v>-1.9327731092437E-2</c:v>
                </c:pt>
                <c:pt idx="29715">
                  <c:v>-1.9327731092437E-2</c:v>
                </c:pt>
                <c:pt idx="29716">
                  <c:v>-1.9327731092437E-2</c:v>
                </c:pt>
                <c:pt idx="29717">
                  <c:v>-1.9327731092437E-2</c:v>
                </c:pt>
                <c:pt idx="29718">
                  <c:v>-1.9327731092437E-2</c:v>
                </c:pt>
                <c:pt idx="29719">
                  <c:v>-1.9327731092437E-2</c:v>
                </c:pt>
                <c:pt idx="29720">
                  <c:v>-1.9327731092437E-2</c:v>
                </c:pt>
                <c:pt idx="29721">
                  <c:v>-1.9327731092437E-2</c:v>
                </c:pt>
                <c:pt idx="29722">
                  <c:v>-1.9327731092437E-2</c:v>
                </c:pt>
                <c:pt idx="29723">
                  <c:v>-1.9327731092437E-2</c:v>
                </c:pt>
                <c:pt idx="29724">
                  <c:v>-1.9327731092437E-2</c:v>
                </c:pt>
                <c:pt idx="29725">
                  <c:v>-1.9327731092437E-2</c:v>
                </c:pt>
                <c:pt idx="29726">
                  <c:v>-1.9327731092437E-2</c:v>
                </c:pt>
                <c:pt idx="29727">
                  <c:v>-1.9327731092437E-2</c:v>
                </c:pt>
                <c:pt idx="29728">
                  <c:v>-1.9327731092437E-2</c:v>
                </c:pt>
                <c:pt idx="29729">
                  <c:v>-1.9327731092437E-2</c:v>
                </c:pt>
                <c:pt idx="29730">
                  <c:v>-1.9327731092437E-2</c:v>
                </c:pt>
                <c:pt idx="29731">
                  <c:v>-1.9327731092437E-2</c:v>
                </c:pt>
                <c:pt idx="29732">
                  <c:v>-1.9327731092437E-2</c:v>
                </c:pt>
                <c:pt idx="29733">
                  <c:v>-1.9327731092437E-2</c:v>
                </c:pt>
                <c:pt idx="29734">
                  <c:v>-1.9327731092437E-2</c:v>
                </c:pt>
                <c:pt idx="29735">
                  <c:v>-1.9327731092437E-2</c:v>
                </c:pt>
                <c:pt idx="29736">
                  <c:v>-1.9327731092437E-2</c:v>
                </c:pt>
                <c:pt idx="29737">
                  <c:v>-1.9327731092437E-2</c:v>
                </c:pt>
                <c:pt idx="29738">
                  <c:v>-1.9327731092437E-2</c:v>
                </c:pt>
                <c:pt idx="29739">
                  <c:v>-1.9327731092437E-2</c:v>
                </c:pt>
                <c:pt idx="29740">
                  <c:v>-1.9327731092437E-2</c:v>
                </c:pt>
                <c:pt idx="29741">
                  <c:v>-1.9327731092437E-2</c:v>
                </c:pt>
                <c:pt idx="29742">
                  <c:v>-1.9327731092437E-2</c:v>
                </c:pt>
                <c:pt idx="29743">
                  <c:v>-1.9327731092437E-2</c:v>
                </c:pt>
                <c:pt idx="29744">
                  <c:v>-1.9327731092437E-2</c:v>
                </c:pt>
                <c:pt idx="29745">
                  <c:v>-1.9327731092437E-2</c:v>
                </c:pt>
                <c:pt idx="29746">
                  <c:v>-1.9327731092437E-2</c:v>
                </c:pt>
                <c:pt idx="29747">
                  <c:v>-1.9327731092437E-2</c:v>
                </c:pt>
                <c:pt idx="29748">
                  <c:v>-2.0168067226890699E-2</c:v>
                </c:pt>
                <c:pt idx="29749">
                  <c:v>-2.0168067226890699E-2</c:v>
                </c:pt>
                <c:pt idx="29750">
                  <c:v>-2.0168067226890699E-2</c:v>
                </c:pt>
                <c:pt idx="29751">
                  <c:v>-2.0168067226890699E-2</c:v>
                </c:pt>
                <c:pt idx="29752">
                  <c:v>-2.0168067226890699E-2</c:v>
                </c:pt>
                <c:pt idx="29753">
                  <c:v>-2.0168067226890699E-2</c:v>
                </c:pt>
                <c:pt idx="29754">
                  <c:v>-2.0168067226890699E-2</c:v>
                </c:pt>
                <c:pt idx="29755">
                  <c:v>-2.0168067226890699E-2</c:v>
                </c:pt>
                <c:pt idx="29756">
                  <c:v>-2.0168067226890699E-2</c:v>
                </c:pt>
                <c:pt idx="29757">
                  <c:v>-2.0168067226890699E-2</c:v>
                </c:pt>
                <c:pt idx="29758">
                  <c:v>-2.0168067226890699E-2</c:v>
                </c:pt>
                <c:pt idx="29759">
                  <c:v>-2.0168067226890699E-2</c:v>
                </c:pt>
                <c:pt idx="29760">
                  <c:v>-2.0168067226890699E-2</c:v>
                </c:pt>
                <c:pt idx="29761">
                  <c:v>-2.0168067226890699E-2</c:v>
                </c:pt>
                <c:pt idx="29762">
                  <c:v>-2.0168067226890699E-2</c:v>
                </c:pt>
                <c:pt idx="29763">
                  <c:v>-2.0168067226890699E-2</c:v>
                </c:pt>
                <c:pt idx="29764">
                  <c:v>-2.0168067226890699E-2</c:v>
                </c:pt>
                <c:pt idx="29765">
                  <c:v>-2.0168067226890699E-2</c:v>
                </c:pt>
                <c:pt idx="29766">
                  <c:v>-2.0168067226890699E-2</c:v>
                </c:pt>
                <c:pt idx="29767">
                  <c:v>-2.1008403361344501E-2</c:v>
                </c:pt>
                <c:pt idx="29768">
                  <c:v>-2.1008403361344501E-2</c:v>
                </c:pt>
                <c:pt idx="29769">
                  <c:v>-2.1008403361344501E-2</c:v>
                </c:pt>
                <c:pt idx="29770">
                  <c:v>-2.1008403361344501E-2</c:v>
                </c:pt>
                <c:pt idx="29771">
                  <c:v>-2.1008403361344501E-2</c:v>
                </c:pt>
                <c:pt idx="29772">
                  <c:v>-2.1848739495798301E-2</c:v>
                </c:pt>
                <c:pt idx="29773">
                  <c:v>-2.1848739495798301E-2</c:v>
                </c:pt>
                <c:pt idx="29774">
                  <c:v>-2.1848739495798301E-2</c:v>
                </c:pt>
                <c:pt idx="29775">
                  <c:v>-2.1848739495798301E-2</c:v>
                </c:pt>
                <c:pt idx="29776">
                  <c:v>-2.1848739495798301E-2</c:v>
                </c:pt>
                <c:pt idx="29777">
                  <c:v>-2.1848739495798301E-2</c:v>
                </c:pt>
                <c:pt idx="29778">
                  <c:v>-2.1848739495798301E-2</c:v>
                </c:pt>
                <c:pt idx="29779">
                  <c:v>-2.1848739495798301E-2</c:v>
                </c:pt>
                <c:pt idx="29780">
                  <c:v>-2.1008403361344501E-2</c:v>
                </c:pt>
                <c:pt idx="29781">
                  <c:v>-2.1008403361344501E-2</c:v>
                </c:pt>
                <c:pt idx="29782">
                  <c:v>-2.1008403361344501E-2</c:v>
                </c:pt>
                <c:pt idx="29783">
                  <c:v>-2.1008403361344501E-2</c:v>
                </c:pt>
                <c:pt idx="29784">
                  <c:v>-2.1008403361344501E-2</c:v>
                </c:pt>
                <c:pt idx="29785">
                  <c:v>-2.1008403361344501E-2</c:v>
                </c:pt>
                <c:pt idx="29786">
                  <c:v>-2.0168067226890699E-2</c:v>
                </c:pt>
                <c:pt idx="29787">
                  <c:v>-2.0168067226890699E-2</c:v>
                </c:pt>
                <c:pt idx="29788">
                  <c:v>-2.0168067226890699E-2</c:v>
                </c:pt>
                <c:pt idx="29789">
                  <c:v>-1.9327731092437E-2</c:v>
                </c:pt>
                <c:pt idx="29790">
                  <c:v>-1.9327731092437E-2</c:v>
                </c:pt>
                <c:pt idx="29791">
                  <c:v>-1.9327731092437E-2</c:v>
                </c:pt>
                <c:pt idx="29792">
                  <c:v>-1.9327731092437E-2</c:v>
                </c:pt>
                <c:pt idx="29793">
                  <c:v>-1.9327731092437E-2</c:v>
                </c:pt>
                <c:pt idx="29794">
                  <c:v>-1.9327731092437E-2</c:v>
                </c:pt>
                <c:pt idx="29795">
                  <c:v>-1.9327731092437E-2</c:v>
                </c:pt>
                <c:pt idx="29796">
                  <c:v>-1.9327731092437E-2</c:v>
                </c:pt>
                <c:pt idx="29797">
                  <c:v>-1.9327731092437E-2</c:v>
                </c:pt>
                <c:pt idx="29798">
                  <c:v>-1.9327731092437E-2</c:v>
                </c:pt>
                <c:pt idx="29799">
                  <c:v>-1.9327731092437E-2</c:v>
                </c:pt>
                <c:pt idx="29800">
                  <c:v>-1.9327731092437E-2</c:v>
                </c:pt>
                <c:pt idx="29801">
                  <c:v>-1.9327731092437E-2</c:v>
                </c:pt>
                <c:pt idx="29802">
                  <c:v>-1.9327731092437E-2</c:v>
                </c:pt>
                <c:pt idx="29803">
                  <c:v>-1.9327731092437E-2</c:v>
                </c:pt>
                <c:pt idx="29804">
                  <c:v>-1.9327731092437E-2</c:v>
                </c:pt>
                <c:pt idx="29805">
                  <c:v>-1.9327731092437E-2</c:v>
                </c:pt>
                <c:pt idx="29806">
                  <c:v>-1.9327731092437E-2</c:v>
                </c:pt>
                <c:pt idx="29807">
                  <c:v>-1.9327731092437E-2</c:v>
                </c:pt>
                <c:pt idx="29808">
                  <c:v>-1.9327731092437E-2</c:v>
                </c:pt>
                <c:pt idx="29809">
                  <c:v>-1.9327731092437E-2</c:v>
                </c:pt>
                <c:pt idx="29810">
                  <c:v>-2.0168067226890699E-2</c:v>
                </c:pt>
                <c:pt idx="29811">
                  <c:v>-2.0168067226890699E-2</c:v>
                </c:pt>
                <c:pt idx="29812">
                  <c:v>-2.0168067226890699E-2</c:v>
                </c:pt>
                <c:pt idx="29813">
                  <c:v>-2.0168067226890699E-2</c:v>
                </c:pt>
                <c:pt idx="29814">
                  <c:v>-2.0168067226890699E-2</c:v>
                </c:pt>
                <c:pt idx="29815">
                  <c:v>-2.0168067226890699E-2</c:v>
                </c:pt>
                <c:pt idx="29816">
                  <c:v>-2.0168067226890699E-2</c:v>
                </c:pt>
                <c:pt idx="29817">
                  <c:v>-2.0168067226890699E-2</c:v>
                </c:pt>
                <c:pt idx="29818">
                  <c:v>-2.0168067226890699E-2</c:v>
                </c:pt>
                <c:pt idx="29819">
                  <c:v>-2.0168067226890699E-2</c:v>
                </c:pt>
                <c:pt idx="29820">
                  <c:v>-2.0168067226890699E-2</c:v>
                </c:pt>
                <c:pt idx="29821">
                  <c:v>-2.0168067226890699E-2</c:v>
                </c:pt>
                <c:pt idx="29822">
                  <c:v>-2.0168067226890699E-2</c:v>
                </c:pt>
                <c:pt idx="29823">
                  <c:v>-2.0168067226890699E-2</c:v>
                </c:pt>
                <c:pt idx="29824">
                  <c:v>-2.0168067226890699E-2</c:v>
                </c:pt>
                <c:pt idx="29825">
                  <c:v>-2.0168067226890699E-2</c:v>
                </c:pt>
                <c:pt idx="29826">
                  <c:v>-2.0168067226890699E-2</c:v>
                </c:pt>
                <c:pt idx="29827">
                  <c:v>-2.0168067226890699E-2</c:v>
                </c:pt>
                <c:pt idx="29828">
                  <c:v>-2.0168067226890699E-2</c:v>
                </c:pt>
                <c:pt idx="29829">
                  <c:v>-2.0168067226890699E-2</c:v>
                </c:pt>
                <c:pt idx="29830">
                  <c:v>-2.0168067226890699E-2</c:v>
                </c:pt>
                <c:pt idx="29831">
                  <c:v>-2.0168067226890699E-2</c:v>
                </c:pt>
                <c:pt idx="29832">
                  <c:v>-2.1008403361344501E-2</c:v>
                </c:pt>
                <c:pt idx="29833">
                  <c:v>-2.1008403361344501E-2</c:v>
                </c:pt>
                <c:pt idx="29834">
                  <c:v>-2.1008403361344501E-2</c:v>
                </c:pt>
                <c:pt idx="29835">
                  <c:v>-2.1008403361344501E-2</c:v>
                </c:pt>
                <c:pt idx="29836">
                  <c:v>-2.1008403361344501E-2</c:v>
                </c:pt>
                <c:pt idx="29837">
                  <c:v>-2.1008403361344501E-2</c:v>
                </c:pt>
                <c:pt idx="29838">
                  <c:v>-2.1008403361344501E-2</c:v>
                </c:pt>
                <c:pt idx="29839">
                  <c:v>-2.1008403361344501E-2</c:v>
                </c:pt>
                <c:pt idx="29840">
                  <c:v>-2.1008403361344501E-2</c:v>
                </c:pt>
                <c:pt idx="29841">
                  <c:v>-2.1008403361344501E-2</c:v>
                </c:pt>
                <c:pt idx="29842">
                  <c:v>-2.1008403361344501E-2</c:v>
                </c:pt>
                <c:pt idx="29843">
                  <c:v>-2.1008403361344501E-2</c:v>
                </c:pt>
                <c:pt idx="29844">
                  <c:v>-2.1008403361344501E-2</c:v>
                </c:pt>
                <c:pt idx="29845">
                  <c:v>-2.1008403361344501E-2</c:v>
                </c:pt>
                <c:pt idx="29846">
                  <c:v>-2.1008403361344501E-2</c:v>
                </c:pt>
                <c:pt idx="29847">
                  <c:v>-2.1008403361344501E-2</c:v>
                </c:pt>
                <c:pt idx="29848">
                  <c:v>-2.1008403361344501E-2</c:v>
                </c:pt>
                <c:pt idx="29849">
                  <c:v>-2.1008403361344501E-2</c:v>
                </c:pt>
                <c:pt idx="29850">
                  <c:v>-2.1008403361344501E-2</c:v>
                </c:pt>
                <c:pt idx="29851">
                  <c:v>-2.1008403361344501E-2</c:v>
                </c:pt>
                <c:pt idx="29852">
                  <c:v>-2.1008403361344501E-2</c:v>
                </c:pt>
                <c:pt idx="29853">
                  <c:v>-2.1008403361344501E-2</c:v>
                </c:pt>
                <c:pt idx="29854">
                  <c:v>-2.1008403361344501E-2</c:v>
                </c:pt>
                <c:pt idx="29855">
                  <c:v>-2.1008403361344501E-2</c:v>
                </c:pt>
                <c:pt idx="29856">
                  <c:v>-2.1008403361344501E-2</c:v>
                </c:pt>
                <c:pt idx="29857">
                  <c:v>-2.1008403361344501E-2</c:v>
                </c:pt>
                <c:pt idx="29858">
                  <c:v>-2.1008403361344501E-2</c:v>
                </c:pt>
                <c:pt idx="29859">
                  <c:v>-2.1008403361344501E-2</c:v>
                </c:pt>
                <c:pt idx="29860">
                  <c:v>-2.1008403361344501E-2</c:v>
                </c:pt>
                <c:pt idx="29861">
                  <c:v>-2.1008403361344501E-2</c:v>
                </c:pt>
                <c:pt idx="29862">
                  <c:v>-2.1008403361344501E-2</c:v>
                </c:pt>
                <c:pt idx="29863">
                  <c:v>-2.1008403361344501E-2</c:v>
                </c:pt>
                <c:pt idx="29864">
                  <c:v>-2.1008403361344501E-2</c:v>
                </c:pt>
                <c:pt idx="29865">
                  <c:v>-2.1008403361344501E-2</c:v>
                </c:pt>
                <c:pt idx="29866">
                  <c:v>-2.1008403361344501E-2</c:v>
                </c:pt>
                <c:pt idx="29867">
                  <c:v>-2.1008403361344501E-2</c:v>
                </c:pt>
                <c:pt idx="29868">
                  <c:v>-2.1008403361344501E-2</c:v>
                </c:pt>
                <c:pt idx="29869">
                  <c:v>-2.1008403361344501E-2</c:v>
                </c:pt>
                <c:pt idx="29870">
                  <c:v>-2.1008403361344501E-2</c:v>
                </c:pt>
                <c:pt idx="29871">
                  <c:v>-2.1008403361344501E-2</c:v>
                </c:pt>
                <c:pt idx="29872">
                  <c:v>-2.1008403361344501E-2</c:v>
                </c:pt>
                <c:pt idx="29873">
                  <c:v>-2.1008403361344501E-2</c:v>
                </c:pt>
                <c:pt idx="29874">
                  <c:v>-2.1008403361344501E-2</c:v>
                </c:pt>
                <c:pt idx="29875">
                  <c:v>-2.1008403361344501E-2</c:v>
                </c:pt>
                <c:pt idx="29876">
                  <c:v>-2.1008403361344501E-2</c:v>
                </c:pt>
                <c:pt idx="29877">
                  <c:v>-2.1008403361344501E-2</c:v>
                </c:pt>
                <c:pt idx="29878">
                  <c:v>-2.1008403361344501E-2</c:v>
                </c:pt>
                <c:pt idx="29879">
                  <c:v>-2.0168067226890699E-2</c:v>
                </c:pt>
                <c:pt idx="29880">
                  <c:v>-2.0168067226890699E-2</c:v>
                </c:pt>
                <c:pt idx="29881">
                  <c:v>-2.0168067226890699E-2</c:v>
                </c:pt>
                <c:pt idx="29882">
                  <c:v>-2.0168067226890699E-2</c:v>
                </c:pt>
                <c:pt idx="29883">
                  <c:v>-2.0168067226890699E-2</c:v>
                </c:pt>
                <c:pt idx="29884">
                  <c:v>-2.0168067226890699E-2</c:v>
                </c:pt>
                <c:pt idx="29885">
                  <c:v>-2.0168067226890699E-2</c:v>
                </c:pt>
                <c:pt idx="29886">
                  <c:v>-2.0168067226890699E-2</c:v>
                </c:pt>
                <c:pt idx="29887">
                  <c:v>-2.0168067226890699E-2</c:v>
                </c:pt>
                <c:pt idx="29888">
                  <c:v>-2.0168067226890699E-2</c:v>
                </c:pt>
                <c:pt idx="29889">
                  <c:v>-2.0168067226890699E-2</c:v>
                </c:pt>
                <c:pt idx="29890">
                  <c:v>-2.0168067226890699E-2</c:v>
                </c:pt>
                <c:pt idx="29891">
                  <c:v>-2.0168067226890699E-2</c:v>
                </c:pt>
                <c:pt idx="29892">
                  <c:v>-2.0168067226890699E-2</c:v>
                </c:pt>
                <c:pt idx="29893">
                  <c:v>-2.0168067226890699E-2</c:v>
                </c:pt>
                <c:pt idx="29894">
                  <c:v>-2.0168067226890699E-2</c:v>
                </c:pt>
                <c:pt idx="29895">
                  <c:v>-2.0168067226890699E-2</c:v>
                </c:pt>
                <c:pt idx="29896">
                  <c:v>-2.0168067226890699E-2</c:v>
                </c:pt>
                <c:pt idx="29897">
                  <c:v>-2.0168067226890699E-2</c:v>
                </c:pt>
                <c:pt idx="29898">
                  <c:v>-2.0168067226890699E-2</c:v>
                </c:pt>
                <c:pt idx="29899">
                  <c:v>-2.0168067226890699E-2</c:v>
                </c:pt>
                <c:pt idx="29900">
                  <c:v>-2.0168067226890699E-2</c:v>
                </c:pt>
                <c:pt idx="29901">
                  <c:v>-2.0168067226890699E-2</c:v>
                </c:pt>
                <c:pt idx="29902">
                  <c:v>-2.0168067226890699E-2</c:v>
                </c:pt>
                <c:pt idx="29903">
                  <c:v>-2.0168067226890699E-2</c:v>
                </c:pt>
                <c:pt idx="29904">
                  <c:v>-2.0168067226890699E-2</c:v>
                </c:pt>
                <c:pt idx="29905">
                  <c:v>-2.0168067226890699E-2</c:v>
                </c:pt>
                <c:pt idx="29906">
                  <c:v>-2.0168067226890699E-2</c:v>
                </c:pt>
                <c:pt idx="29907">
                  <c:v>-2.0168067226890699E-2</c:v>
                </c:pt>
                <c:pt idx="29908">
                  <c:v>-2.0168067226890699E-2</c:v>
                </c:pt>
                <c:pt idx="29909">
                  <c:v>-1.9327731092437E-2</c:v>
                </c:pt>
                <c:pt idx="29910">
                  <c:v>-1.9327731092437E-2</c:v>
                </c:pt>
                <c:pt idx="29911">
                  <c:v>-1.9327731092437E-2</c:v>
                </c:pt>
                <c:pt idx="29912">
                  <c:v>-1.9327731092437E-2</c:v>
                </c:pt>
                <c:pt idx="29913">
                  <c:v>-1.9327731092437E-2</c:v>
                </c:pt>
                <c:pt idx="29914">
                  <c:v>-1.9327731092437E-2</c:v>
                </c:pt>
                <c:pt idx="29915">
                  <c:v>-1.9327731092437E-2</c:v>
                </c:pt>
                <c:pt idx="29916">
                  <c:v>-1.9327731092437E-2</c:v>
                </c:pt>
                <c:pt idx="29917">
                  <c:v>-1.9327731092437E-2</c:v>
                </c:pt>
                <c:pt idx="29918">
                  <c:v>-1.9327731092437E-2</c:v>
                </c:pt>
                <c:pt idx="29919">
                  <c:v>-1.9327731092437E-2</c:v>
                </c:pt>
                <c:pt idx="29920">
                  <c:v>-1.9327731092437E-2</c:v>
                </c:pt>
                <c:pt idx="29921">
                  <c:v>-1.9327731092437E-2</c:v>
                </c:pt>
                <c:pt idx="29922">
                  <c:v>-1.9327731092437E-2</c:v>
                </c:pt>
                <c:pt idx="29923">
                  <c:v>-1.9327731092437E-2</c:v>
                </c:pt>
                <c:pt idx="29924">
                  <c:v>-1.9327731092437E-2</c:v>
                </c:pt>
                <c:pt idx="29925">
                  <c:v>-1.9327731092437E-2</c:v>
                </c:pt>
                <c:pt idx="29926">
                  <c:v>-1.9327731092437E-2</c:v>
                </c:pt>
                <c:pt idx="29927">
                  <c:v>-1.9327731092437E-2</c:v>
                </c:pt>
                <c:pt idx="29928">
                  <c:v>-1.9327731092437E-2</c:v>
                </c:pt>
                <c:pt idx="29929">
                  <c:v>-1.9327731092437E-2</c:v>
                </c:pt>
                <c:pt idx="29930">
                  <c:v>-1.9327731092437E-2</c:v>
                </c:pt>
                <c:pt idx="29931">
                  <c:v>-1.9327731092437E-2</c:v>
                </c:pt>
                <c:pt idx="29932">
                  <c:v>-1.9327731092437E-2</c:v>
                </c:pt>
                <c:pt idx="29933">
                  <c:v>-1.9327731092437E-2</c:v>
                </c:pt>
                <c:pt idx="29934">
                  <c:v>-1.9327731092437E-2</c:v>
                </c:pt>
                <c:pt idx="29935">
                  <c:v>-1.9327731092437E-2</c:v>
                </c:pt>
                <c:pt idx="29936">
                  <c:v>-1.9327731092437E-2</c:v>
                </c:pt>
                <c:pt idx="29937">
                  <c:v>-1.9327731092437E-2</c:v>
                </c:pt>
                <c:pt idx="29938">
                  <c:v>-1.9327731092437E-2</c:v>
                </c:pt>
                <c:pt idx="29939">
                  <c:v>-1.84873949579832E-2</c:v>
                </c:pt>
                <c:pt idx="29940">
                  <c:v>-1.84873949579832E-2</c:v>
                </c:pt>
                <c:pt idx="29941">
                  <c:v>-1.84873949579832E-2</c:v>
                </c:pt>
                <c:pt idx="29942">
                  <c:v>-1.84873949579832E-2</c:v>
                </c:pt>
                <c:pt idx="29943">
                  <c:v>-1.84873949579832E-2</c:v>
                </c:pt>
                <c:pt idx="29944">
                  <c:v>-1.84873949579832E-2</c:v>
                </c:pt>
                <c:pt idx="29945">
                  <c:v>-1.84873949579832E-2</c:v>
                </c:pt>
                <c:pt idx="29946">
                  <c:v>-1.84873949579832E-2</c:v>
                </c:pt>
                <c:pt idx="29947">
                  <c:v>-1.84873949579832E-2</c:v>
                </c:pt>
                <c:pt idx="29948">
                  <c:v>-1.84873949579832E-2</c:v>
                </c:pt>
                <c:pt idx="29949">
                  <c:v>-1.84873949579832E-2</c:v>
                </c:pt>
                <c:pt idx="29950">
                  <c:v>-1.84873949579832E-2</c:v>
                </c:pt>
                <c:pt idx="29951">
                  <c:v>-1.84873949579832E-2</c:v>
                </c:pt>
                <c:pt idx="29952">
                  <c:v>-1.84873949579832E-2</c:v>
                </c:pt>
                <c:pt idx="29953">
                  <c:v>-1.84873949579832E-2</c:v>
                </c:pt>
                <c:pt idx="29954">
                  <c:v>-1.84873949579832E-2</c:v>
                </c:pt>
                <c:pt idx="29955">
                  <c:v>-1.84873949579832E-2</c:v>
                </c:pt>
                <c:pt idx="29956">
                  <c:v>-1.84873949579832E-2</c:v>
                </c:pt>
                <c:pt idx="29957">
                  <c:v>-1.9327731092437E-2</c:v>
                </c:pt>
                <c:pt idx="29958">
                  <c:v>-1.9327731092437E-2</c:v>
                </c:pt>
                <c:pt idx="29959">
                  <c:v>-1.9327731092437E-2</c:v>
                </c:pt>
                <c:pt idx="29960">
                  <c:v>-1.9327731092437E-2</c:v>
                </c:pt>
                <c:pt idx="29961">
                  <c:v>-1.9327731092437E-2</c:v>
                </c:pt>
                <c:pt idx="29962">
                  <c:v>-1.9327731092437E-2</c:v>
                </c:pt>
                <c:pt idx="29963">
                  <c:v>-1.9327731092437E-2</c:v>
                </c:pt>
                <c:pt idx="29964">
                  <c:v>-1.9327731092437E-2</c:v>
                </c:pt>
                <c:pt idx="29965">
                  <c:v>-1.9327731092437E-2</c:v>
                </c:pt>
                <c:pt idx="29966">
                  <c:v>-1.9327731092437E-2</c:v>
                </c:pt>
                <c:pt idx="29967">
                  <c:v>-1.9327731092437E-2</c:v>
                </c:pt>
                <c:pt idx="29968">
                  <c:v>-1.9327731092437E-2</c:v>
                </c:pt>
                <c:pt idx="29969">
                  <c:v>-1.9327731092437E-2</c:v>
                </c:pt>
                <c:pt idx="29970">
                  <c:v>-1.9327731092437E-2</c:v>
                </c:pt>
                <c:pt idx="29971">
                  <c:v>-1.9327731092437E-2</c:v>
                </c:pt>
                <c:pt idx="29972">
                  <c:v>-1.9327731092437E-2</c:v>
                </c:pt>
                <c:pt idx="29973">
                  <c:v>-1.9327731092437E-2</c:v>
                </c:pt>
                <c:pt idx="29974">
                  <c:v>-1.9327731092437E-2</c:v>
                </c:pt>
                <c:pt idx="29975">
                  <c:v>-1.9327731092437E-2</c:v>
                </c:pt>
                <c:pt idx="29976">
                  <c:v>-1.9327731092437E-2</c:v>
                </c:pt>
                <c:pt idx="29977">
                  <c:v>-1.9327731092437E-2</c:v>
                </c:pt>
                <c:pt idx="29978">
                  <c:v>-1.9327731092437E-2</c:v>
                </c:pt>
                <c:pt idx="29979">
                  <c:v>-1.9327731092437E-2</c:v>
                </c:pt>
                <c:pt idx="29980">
                  <c:v>-1.9327731092437E-2</c:v>
                </c:pt>
                <c:pt idx="29981">
                  <c:v>-1.9327731092437E-2</c:v>
                </c:pt>
                <c:pt idx="29982">
                  <c:v>-1.9327731092437E-2</c:v>
                </c:pt>
                <c:pt idx="29983">
                  <c:v>-1.9327731092437E-2</c:v>
                </c:pt>
                <c:pt idx="29984">
                  <c:v>-1.9327731092437E-2</c:v>
                </c:pt>
                <c:pt idx="29985">
                  <c:v>-1.9327731092437E-2</c:v>
                </c:pt>
                <c:pt idx="29986">
                  <c:v>-1.9327731092437E-2</c:v>
                </c:pt>
                <c:pt idx="29987">
                  <c:v>-1.9327731092437E-2</c:v>
                </c:pt>
                <c:pt idx="29988">
                  <c:v>-1.9327731092437E-2</c:v>
                </c:pt>
                <c:pt idx="29989">
                  <c:v>-1.9327731092437E-2</c:v>
                </c:pt>
                <c:pt idx="29990">
                  <c:v>-1.9327731092437E-2</c:v>
                </c:pt>
                <c:pt idx="29991">
                  <c:v>-2.0168067226890699E-2</c:v>
                </c:pt>
                <c:pt idx="29992">
                  <c:v>-2.1008403361344501E-2</c:v>
                </c:pt>
                <c:pt idx="29993">
                  <c:v>-2.1008403361344501E-2</c:v>
                </c:pt>
                <c:pt idx="29994">
                  <c:v>-2.1008403361344501E-2</c:v>
                </c:pt>
                <c:pt idx="29995">
                  <c:v>-2.1008403361344501E-2</c:v>
                </c:pt>
                <c:pt idx="29996">
                  <c:v>-2.1008403361344501E-2</c:v>
                </c:pt>
                <c:pt idx="29997">
                  <c:v>-2.1008403361344501E-2</c:v>
                </c:pt>
                <c:pt idx="29998">
                  <c:v>-2.1008403361344501E-2</c:v>
                </c:pt>
                <c:pt idx="29999">
                  <c:v>-2.1008403361344501E-2</c:v>
                </c:pt>
                <c:pt idx="30000">
                  <c:v>-2.1008403361344501E-2</c:v>
                </c:pt>
                <c:pt idx="30001">
                  <c:v>-2.1848739495798301E-2</c:v>
                </c:pt>
                <c:pt idx="30002">
                  <c:v>-2.1848739495798301E-2</c:v>
                </c:pt>
                <c:pt idx="30003">
                  <c:v>-2.1848739495798301E-2</c:v>
                </c:pt>
                <c:pt idx="30004">
                  <c:v>-2.1848739495798301E-2</c:v>
                </c:pt>
                <c:pt idx="30005">
                  <c:v>-2.1848739495798301E-2</c:v>
                </c:pt>
                <c:pt idx="30006">
                  <c:v>-2.1848739495798301E-2</c:v>
                </c:pt>
                <c:pt idx="30007">
                  <c:v>-2.1848739495798301E-2</c:v>
                </c:pt>
                <c:pt idx="30008">
                  <c:v>-2.1848739495798301E-2</c:v>
                </c:pt>
                <c:pt idx="30009">
                  <c:v>-2.1848739495798301E-2</c:v>
                </c:pt>
                <c:pt idx="30010">
                  <c:v>-2.1848739495798301E-2</c:v>
                </c:pt>
                <c:pt idx="30011">
                  <c:v>-2.1848739495798301E-2</c:v>
                </c:pt>
                <c:pt idx="30012">
                  <c:v>-2.1848739495798301E-2</c:v>
                </c:pt>
                <c:pt idx="30013">
                  <c:v>-2.1848739495798301E-2</c:v>
                </c:pt>
                <c:pt idx="30014">
                  <c:v>-2.1848739495798301E-2</c:v>
                </c:pt>
                <c:pt idx="30015">
                  <c:v>-2.1848739495798301E-2</c:v>
                </c:pt>
                <c:pt idx="30016">
                  <c:v>-2.1848739495798301E-2</c:v>
                </c:pt>
                <c:pt idx="30017">
                  <c:v>-2.1848739495798301E-2</c:v>
                </c:pt>
                <c:pt idx="30018">
                  <c:v>-2.1848739495798301E-2</c:v>
                </c:pt>
                <c:pt idx="30019">
                  <c:v>-2.1848739495798301E-2</c:v>
                </c:pt>
                <c:pt idx="30020">
                  <c:v>-2.1848739495798301E-2</c:v>
                </c:pt>
                <c:pt idx="30021">
                  <c:v>-2.1848739495798301E-2</c:v>
                </c:pt>
                <c:pt idx="30022">
                  <c:v>-2.1848739495798301E-2</c:v>
                </c:pt>
                <c:pt idx="30023">
                  <c:v>-2.1848739495798301E-2</c:v>
                </c:pt>
                <c:pt idx="30024">
                  <c:v>-2.26890756302521E-2</c:v>
                </c:pt>
                <c:pt idx="30025">
                  <c:v>-2.26890756302521E-2</c:v>
                </c:pt>
                <c:pt idx="30026">
                  <c:v>-2.26890756302521E-2</c:v>
                </c:pt>
                <c:pt idx="30027">
                  <c:v>-2.26890756302521E-2</c:v>
                </c:pt>
                <c:pt idx="30028">
                  <c:v>-2.26890756302521E-2</c:v>
                </c:pt>
                <c:pt idx="30029">
                  <c:v>-2.26890756302521E-2</c:v>
                </c:pt>
                <c:pt idx="30030">
                  <c:v>-2.26890756302521E-2</c:v>
                </c:pt>
                <c:pt idx="30031">
                  <c:v>-2.26890756302521E-2</c:v>
                </c:pt>
                <c:pt idx="30032">
                  <c:v>-2.26890756302521E-2</c:v>
                </c:pt>
                <c:pt idx="30033">
                  <c:v>-2.26890756302521E-2</c:v>
                </c:pt>
                <c:pt idx="30034">
                  <c:v>-2.26890756302521E-2</c:v>
                </c:pt>
                <c:pt idx="30035">
                  <c:v>-2.26890756302521E-2</c:v>
                </c:pt>
                <c:pt idx="30036">
                  <c:v>-2.26890756302521E-2</c:v>
                </c:pt>
                <c:pt idx="30037">
                  <c:v>-2.26890756302521E-2</c:v>
                </c:pt>
                <c:pt idx="30038">
                  <c:v>-2.26890756302521E-2</c:v>
                </c:pt>
                <c:pt idx="30039">
                  <c:v>-2.26890756302521E-2</c:v>
                </c:pt>
                <c:pt idx="30040">
                  <c:v>-2.26890756302521E-2</c:v>
                </c:pt>
                <c:pt idx="30041">
                  <c:v>-2.26890756302521E-2</c:v>
                </c:pt>
                <c:pt idx="30042">
                  <c:v>-2.26890756302521E-2</c:v>
                </c:pt>
                <c:pt idx="30043">
                  <c:v>-2.26890756302521E-2</c:v>
                </c:pt>
                <c:pt idx="30044">
                  <c:v>-2.26890756302521E-2</c:v>
                </c:pt>
                <c:pt idx="30045">
                  <c:v>-2.26890756302521E-2</c:v>
                </c:pt>
                <c:pt idx="30046">
                  <c:v>-2.26890756302521E-2</c:v>
                </c:pt>
                <c:pt idx="30047">
                  <c:v>-2.26890756302521E-2</c:v>
                </c:pt>
                <c:pt idx="30048">
                  <c:v>-2.26890756302521E-2</c:v>
                </c:pt>
                <c:pt idx="30049">
                  <c:v>-2.26890756302521E-2</c:v>
                </c:pt>
                <c:pt idx="30050">
                  <c:v>-2.26890756302521E-2</c:v>
                </c:pt>
                <c:pt idx="30051">
                  <c:v>-2.26890756302521E-2</c:v>
                </c:pt>
                <c:pt idx="30052">
                  <c:v>-2.26890756302521E-2</c:v>
                </c:pt>
                <c:pt idx="30053">
                  <c:v>-2.26890756302521E-2</c:v>
                </c:pt>
                <c:pt idx="30054">
                  <c:v>-2.26890756302521E-2</c:v>
                </c:pt>
                <c:pt idx="30055">
                  <c:v>-2.26890756302521E-2</c:v>
                </c:pt>
                <c:pt idx="30056">
                  <c:v>-2.26890756302521E-2</c:v>
                </c:pt>
                <c:pt idx="30057">
                  <c:v>-2.26890756302521E-2</c:v>
                </c:pt>
                <c:pt idx="30058">
                  <c:v>-2.26890756302521E-2</c:v>
                </c:pt>
                <c:pt idx="30059">
                  <c:v>-2.26890756302521E-2</c:v>
                </c:pt>
                <c:pt idx="30060">
                  <c:v>-2.26890756302521E-2</c:v>
                </c:pt>
                <c:pt idx="30061">
                  <c:v>-2.26890756302521E-2</c:v>
                </c:pt>
                <c:pt idx="30062">
                  <c:v>-2.1848739495798301E-2</c:v>
                </c:pt>
                <c:pt idx="30063">
                  <c:v>-2.1848739495798301E-2</c:v>
                </c:pt>
                <c:pt idx="30064">
                  <c:v>-2.1848739495798301E-2</c:v>
                </c:pt>
                <c:pt idx="30065">
                  <c:v>-2.1848739495798301E-2</c:v>
                </c:pt>
                <c:pt idx="30066">
                  <c:v>-2.1848739495798301E-2</c:v>
                </c:pt>
                <c:pt idx="30067">
                  <c:v>-2.1848739495798301E-2</c:v>
                </c:pt>
                <c:pt idx="30068">
                  <c:v>-2.1848739495798301E-2</c:v>
                </c:pt>
                <c:pt idx="30069">
                  <c:v>-2.1848739495798301E-2</c:v>
                </c:pt>
                <c:pt idx="30070">
                  <c:v>-2.1848739495798301E-2</c:v>
                </c:pt>
                <c:pt idx="30071">
                  <c:v>-2.1848739495798301E-2</c:v>
                </c:pt>
                <c:pt idx="30072">
                  <c:v>-2.1848739495798301E-2</c:v>
                </c:pt>
                <c:pt idx="30073">
                  <c:v>-2.1848739495798301E-2</c:v>
                </c:pt>
                <c:pt idx="30074">
                  <c:v>-2.1848739495798301E-2</c:v>
                </c:pt>
                <c:pt idx="30075">
                  <c:v>-2.1848739495798301E-2</c:v>
                </c:pt>
                <c:pt idx="30076">
                  <c:v>-2.1848739495798301E-2</c:v>
                </c:pt>
                <c:pt idx="30077">
                  <c:v>-2.1848739495798301E-2</c:v>
                </c:pt>
                <c:pt idx="30078">
                  <c:v>-2.1848739495798301E-2</c:v>
                </c:pt>
                <c:pt idx="30079">
                  <c:v>-2.1848739495798301E-2</c:v>
                </c:pt>
                <c:pt idx="30080">
                  <c:v>-2.1848739495798301E-2</c:v>
                </c:pt>
                <c:pt idx="30081">
                  <c:v>-2.1848739495798301E-2</c:v>
                </c:pt>
                <c:pt idx="30082">
                  <c:v>-2.1848739495798301E-2</c:v>
                </c:pt>
                <c:pt idx="30083">
                  <c:v>-2.1848739495798301E-2</c:v>
                </c:pt>
                <c:pt idx="30084">
                  <c:v>-2.1848739495798301E-2</c:v>
                </c:pt>
                <c:pt idx="30085">
                  <c:v>-2.1848739495798301E-2</c:v>
                </c:pt>
                <c:pt idx="30086">
                  <c:v>-2.1848739495798301E-2</c:v>
                </c:pt>
                <c:pt idx="30087">
                  <c:v>-2.1848739495798301E-2</c:v>
                </c:pt>
                <c:pt idx="30088">
                  <c:v>-2.1008403361344501E-2</c:v>
                </c:pt>
                <c:pt idx="30089">
                  <c:v>-2.1008403361344501E-2</c:v>
                </c:pt>
                <c:pt idx="30090">
                  <c:v>-2.1008403361344501E-2</c:v>
                </c:pt>
                <c:pt idx="30091">
                  <c:v>-2.1008403361344501E-2</c:v>
                </c:pt>
                <c:pt idx="30092">
                  <c:v>-2.1008403361344501E-2</c:v>
                </c:pt>
                <c:pt idx="30093">
                  <c:v>-2.1008403361344501E-2</c:v>
                </c:pt>
                <c:pt idx="30094">
                  <c:v>-2.1008403361344501E-2</c:v>
                </c:pt>
                <c:pt idx="30095">
                  <c:v>-2.1008403361344501E-2</c:v>
                </c:pt>
                <c:pt idx="30096">
                  <c:v>-2.1008403361344501E-2</c:v>
                </c:pt>
                <c:pt idx="30097">
                  <c:v>-2.0168067226890699E-2</c:v>
                </c:pt>
                <c:pt idx="30098">
                  <c:v>-2.0168067226890699E-2</c:v>
                </c:pt>
                <c:pt idx="30099">
                  <c:v>-2.0168067226890699E-2</c:v>
                </c:pt>
                <c:pt idx="30100">
                  <c:v>-2.0168067226890699E-2</c:v>
                </c:pt>
                <c:pt idx="30101">
                  <c:v>-2.0168067226890699E-2</c:v>
                </c:pt>
                <c:pt idx="30102">
                  <c:v>-2.0168067226890699E-2</c:v>
                </c:pt>
                <c:pt idx="30103">
                  <c:v>-2.0168067226890699E-2</c:v>
                </c:pt>
                <c:pt idx="30104">
                  <c:v>-2.0168067226890699E-2</c:v>
                </c:pt>
                <c:pt idx="30105">
                  <c:v>-2.0168067226890699E-2</c:v>
                </c:pt>
                <c:pt idx="30106">
                  <c:v>-2.0168067226890699E-2</c:v>
                </c:pt>
                <c:pt idx="30107">
                  <c:v>-2.1008403361344501E-2</c:v>
                </c:pt>
                <c:pt idx="30108">
                  <c:v>-2.1008403361344501E-2</c:v>
                </c:pt>
                <c:pt idx="30109">
                  <c:v>-2.1008403361344501E-2</c:v>
                </c:pt>
                <c:pt idx="30110">
                  <c:v>-2.1008403361344501E-2</c:v>
                </c:pt>
                <c:pt idx="30111">
                  <c:v>-2.1008403361344501E-2</c:v>
                </c:pt>
                <c:pt idx="30112">
                  <c:v>-2.1008403361344501E-2</c:v>
                </c:pt>
                <c:pt idx="30113">
                  <c:v>-2.1008403361344501E-2</c:v>
                </c:pt>
                <c:pt idx="30114">
                  <c:v>-2.1008403361344501E-2</c:v>
                </c:pt>
                <c:pt idx="30115">
                  <c:v>-2.1008403361344501E-2</c:v>
                </c:pt>
                <c:pt idx="30116">
                  <c:v>-2.1008403361344501E-2</c:v>
                </c:pt>
                <c:pt idx="30117">
                  <c:v>-2.1008403361344501E-2</c:v>
                </c:pt>
                <c:pt idx="30118">
                  <c:v>-2.1008403361344501E-2</c:v>
                </c:pt>
                <c:pt idx="30119">
                  <c:v>-2.1008403361344501E-2</c:v>
                </c:pt>
                <c:pt idx="30120">
                  <c:v>-2.1008403361344501E-2</c:v>
                </c:pt>
                <c:pt idx="30121">
                  <c:v>-2.1008403361344501E-2</c:v>
                </c:pt>
                <c:pt idx="30122">
                  <c:v>-2.1008403361344501E-2</c:v>
                </c:pt>
                <c:pt idx="30123">
                  <c:v>-2.1008403361344501E-2</c:v>
                </c:pt>
                <c:pt idx="30124">
                  <c:v>-2.1008403361344501E-2</c:v>
                </c:pt>
                <c:pt idx="30125">
                  <c:v>-2.1008403361344501E-2</c:v>
                </c:pt>
                <c:pt idx="30126">
                  <c:v>-2.1008403361344501E-2</c:v>
                </c:pt>
                <c:pt idx="30127">
                  <c:v>-2.1008403361344501E-2</c:v>
                </c:pt>
                <c:pt idx="30128">
                  <c:v>-2.1008403361344501E-2</c:v>
                </c:pt>
                <c:pt idx="30129">
                  <c:v>-2.1008403361344501E-2</c:v>
                </c:pt>
                <c:pt idx="30130">
                  <c:v>-2.1008403361344501E-2</c:v>
                </c:pt>
                <c:pt idx="30131">
                  <c:v>-2.1008403361344501E-2</c:v>
                </c:pt>
                <c:pt idx="30132">
                  <c:v>-2.1008403361344501E-2</c:v>
                </c:pt>
                <c:pt idx="30133">
                  <c:v>-2.1008403361344501E-2</c:v>
                </c:pt>
                <c:pt idx="30134">
                  <c:v>-2.1008403361344501E-2</c:v>
                </c:pt>
                <c:pt idx="30135">
                  <c:v>-2.1008403361344501E-2</c:v>
                </c:pt>
                <c:pt idx="30136">
                  <c:v>-2.1008403361344501E-2</c:v>
                </c:pt>
                <c:pt idx="30137">
                  <c:v>-2.1008403361344501E-2</c:v>
                </c:pt>
                <c:pt idx="30138">
                  <c:v>-2.1008403361344501E-2</c:v>
                </c:pt>
                <c:pt idx="30139">
                  <c:v>-2.1008403361344501E-2</c:v>
                </c:pt>
                <c:pt idx="30140">
                  <c:v>-2.1008403361344501E-2</c:v>
                </c:pt>
                <c:pt idx="30141">
                  <c:v>-2.1008403361344501E-2</c:v>
                </c:pt>
                <c:pt idx="30142">
                  <c:v>-2.1008403361344501E-2</c:v>
                </c:pt>
                <c:pt idx="30143">
                  <c:v>-2.1008403361344501E-2</c:v>
                </c:pt>
                <c:pt idx="30144">
                  <c:v>-2.1008403361344501E-2</c:v>
                </c:pt>
                <c:pt idx="30145">
                  <c:v>-2.1008403361344501E-2</c:v>
                </c:pt>
                <c:pt idx="30146">
                  <c:v>-2.1008403361344501E-2</c:v>
                </c:pt>
                <c:pt idx="30147">
                  <c:v>-2.1008403361344501E-2</c:v>
                </c:pt>
                <c:pt idx="30148">
                  <c:v>-2.1008403361344501E-2</c:v>
                </c:pt>
                <c:pt idx="30149">
                  <c:v>-2.1008403361344501E-2</c:v>
                </c:pt>
                <c:pt idx="30150">
                  <c:v>-2.1008403361344501E-2</c:v>
                </c:pt>
                <c:pt idx="30151">
                  <c:v>-2.1008403361344501E-2</c:v>
                </c:pt>
                <c:pt idx="30152">
                  <c:v>-2.1008403361344501E-2</c:v>
                </c:pt>
                <c:pt idx="30153">
                  <c:v>-2.1008403361344501E-2</c:v>
                </c:pt>
                <c:pt idx="30154">
                  <c:v>-2.1008403361344501E-2</c:v>
                </c:pt>
                <c:pt idx="30155">
                  <c:v>-2.1008403361344501E-2</c:v>
                </c:pt>
                <c:pt idx="30156">
                  <c:v>-2.1008403361344501E-2</c:v>
                </c:pt>
                <c:pt idx="30157">
                  <c:v>-2.1008403361344501E-2</c:v>
                </c:pt>
                <c:pt idx="30158">
                  <c:v>-2.1008403361344501E-2</c:v>
                </c:pt>
                <c:pt idx="30159">
                  <c:v>-2.1008403361344501E-2</c:v>
                </c:pt>
                <c:pt idx="30160">
                  <c:v>-2.1008403361344501E-2</c:v>
                </c:pt>
                <c:pt idx="30161">
                  <c:v>-2.1008403361344501E-2</c:v>
                </c:pt>
                <c:pt idx="30162">
                  <c:v>-2.1008403361344501E-2</c:v>
                </c:pt>
                <c:pt idx="30163">
                  <c:v>-2.1008403361344501E-2</c:v>
                </c:pt>
                <c:pt idx="30164">
                  <c:v>-2.1008403361344501E-2</c:v>
                </c:pt>
                <c:pt idx="30165">
                  <c:v>-2.1008403361344501E-2</c:v>
                </c:pt>
                <c:pt idx="30166">
                  <c:v>-2.1008403361344501E-2</c:v>
                </c:pt>
                <c:pt idx="30167">
                  <c:v>-2.1008403361344501E-2</c:v>
                </c:pt>
                <c:pt idx="30168">
                  <c:v>-2.1008403361344501E-2</c:v>
                </c:pt>
                <c:pt idx="30169">
                  <c:v>-2.1008403361344501E-2</c:v>
                </c:pt>
                <c:pt idx="30170">
                  <c:v>-2.1008403361344501E-2</c:v>
                </c:pt>
                <c:pt idx="30171">
                  <c:v>-2.1008403361344501E-2</c:v>
                </c:pt>
                <c:pt idx="30172">
                  <c:v>-2.1008403361344501E-2</c:v>
                </c:pt>
                <c:pt idx="30173">
                  <c:v>-2.1008403361344501E-2</c:v>
                </c:pt>
                <c:pt idx="30174">
                  <c:v>-2.1008403361344501E-2</c:v>
                </c:pt>
                <c:pt idx="30175">
                  <c:v>-2.1008403361344501E-2</c:v>
                </c:pt>
                <c:pt idx="30176">
                  <c:v>-2.1008403361344501E-2</c:v>
                </c:pt>
                <c:pt idx="30177">
                  <c:v>-2.1008403361344501E-2</c:v>
                </c:pt>
                <c:pt idx="30178">
                  <c:v>-2.1008403361344501E-2</c:v>
                </c:pt>
                <c:pt idx="30179">
                  <c:v>-2.1008403361344501E-2</c:v>
                </c:pt>
                <c:pt idx="30180">
                  <c:v>-2.1008403361344501E-2</c:v>
                </c:pt>
                <c:pt idx="30181">
                  <c:v>-2.1008403361344501E-2</c:v>
                </c:pt>
                <c:pt idx="30182">
                  <c:v>-2.1008403361344501E-2</c:v>
                </c:pt>
                <c:pt idx="30183">
                  <c:v>-2.1008403361344501E-2</c:v>
                </c:pt>
                <c:pt idx="30184">
                  <c:v>-2.1008403361344501E-2</c:v>
                </c:pt>
                <c:pt idx="30185">
                  <c:v>-2.1008403361344501E-2</c:v>
                </c:pt>
                <c:pt idx="30186">
                  <c:v>-2.1008403361344501E-2</c:v>
                </c:pt>
                <c:pt idx="30187">
                  <c:v>-2.1008403361344501E-2</c:v>
                </c:pt>
                <c:pt idx="30188">
                  <c:v>-2.1008403361344501E-2</c:v>
                </c:pt>
                <c:pt idx="30189">
                  <c:v>-2.1008403361344501E-2</c:v>
                </c:pt>
                <c:pt idx="30190">
                  <c:v>-2.1008403361344501E-2</c:v>
                </c:pt>
                <c:pt idx="30191">
                  <c:v>-2.1008403361344501E-2</c:v>
                </c:pt>
                <c:pt idx="30192">
                  <c:v>-2.1008403361344501E-2</c:v>
                </c:pt>
                <c:pt idx="30193">
                  <c:v>-2.1008403361344501E-2</c:v>
                </c:pt>
                <c:pt idx="30194">
                  <c:v>-2.1008403361344501E-2</c:v>
                </c:pt>
                <c:pt idx="30195">
                  <c:v>-2.1008403361344501E-2</c:v>
                </c:pt>
                <c:pt idx="30196">
                  <c:v>-2.1008403361344501E-2</c:v>
                </c:pt>
                <c:pt idx="30197">
                  <c:v>-2.1008403361344501E-2</c:v>
                </c:pt>
                <c:pt idx="30198">
                  <c:v>-2.1008403361344501E-2</c:v>
                </c:pt>
                <c:pt idx="30199">
                  <c:v>-2.1008403361344501E-2</c:v>
                </c:pt>
                <c:pt idx="30200">
                  <c:v>-2.1008403361344501E-2</c:v>
                </c:pt>
                <c:pt idx="30201">
                  <c:v>-2.1008403361344501E-2</c:v>
                </c:pt>
                <c:pt idx="30202">
                  <c:v>-2.1008403361344501E-2</c:v>
                </c:pt>
                <c:pt idx="30203">
                  <c:v>-2.1008403361344501E-2</c:v>
                </c:pt>
                <c:pt idx="30204">
                  <c:v>-2.1848739495798301E-2</c:v>
                </c:pt>
                <c:pt idx="30205">
                  <c:v>-2.1848739495798301E-2</c:v>
                </c:pt>
                <c:pt idx="30206">
                  <c:v>-2.1848739495798301E-2</c:v>
                </c:pt>
                <c:pt idx="30207">
                  <c:v>-2.1848739495798301E-2</c:v>
                </c:pt>
                <c:pt idx="30208">
                  <c:v>-2.1848739495798301E-2</c:v>
                </c:pt>
                <c:pt idx="30209">
                  <c:v>-2.1008403361344501E-2</c:v>
                </c:pt>
                <c:pt idx="30210">
                  <c:v>-2.1008403361344501E-2</c:v>
                </c:pt>
                <c:pt idx="30211">
                  <c:v>-2.1008403361344501E-2</c:v>
                </c:pt>
                <c:pt idx="30212">
                  <c:v>-2.1008403361344501E-2</c:v>
                </c:pt>
                <c:pt idx="30213">
                  <c:v>-2.1008403361344501E-2</c:v>
                </c:pt>
                <c:pt idx="30214">
                  <c:v>-2.1008403361344501E-2</c:v>
                </c:pt>
                <c:pt idx="30215">
                  <c:v>-2.1008403361344501E-2</c:v>
                </c:pt>
                <c:pt idx="30216">
                  <c:v>-2.1008403361344501E-2</c:v>
                </c:pt>
                <c:pt idx="30217">
                  <c:v>-2.1008403361344501E-2</c:v>
                </c:pt>
                <c:pt idx="30218">
                  <c:v>-2.1008403361344501E-2</c:v>
                </c:pt>
                <c:pt idx="30219">
                  <c:v>-2.1008403361344501E-2</c:v>
                </c:pt>
                <c:pt idx="30220">
                  <c:v>-2.1008403361344501E-2</c:v>
                </c:pt>
                <c:pt idx="30221">
                  <c:v>-2.1008403361344501E-2</c:v>
                </c:pt>
                <c:pt idx="30222">
                  <c:v>-2.0168067226890699E-2</c:v>
                </c:pt>
                <c:pt idx="30223">
                  <c:v>-1.9327731092437E-2</c:v>
                </c:pt>
                <c:pt idx="30224">
                  <c:v>-1.9327731092437E-2</c:v>
                </c:pt>
                <c:pt idx="30225">
                  <c:v>-1.9327731092437E-2</c:v>
                </c:pt>
                <c:pt idx="30226">
                  <c:v>-1.9327731092437E-2</c:v>
                </c:pt>
                <c:pt idx="30227">
                  <c:v>-1.9327731092437E-2</c:v>
                </c:pt>
                <c:pt idx="30228">
                  <c:v>-1.9327731092437E-2</c:v>
                </c:pt>
                <c:pt idx="30229">
                  <c:v>-1.9327731092437E-2</c:v>
                </c:pt>
                <c:pt idx="30230">
                  <c:v>-1.9327731092437E-2</c:v>
                </c:pt>
                <c:pt idx="30231">
                  <c:v>-1.9327731092437E-2</c:v>
                </c:pt>
                <c:pt idx="30232">
                  <c:v>-1.9327731092437E-2</c:v>
                </c:pt>
                <c:pt idx="30233">
                  <c:v>-1.9327731092437E-2</c:v>
                </c:pt>
                <c:pt idx="30234">
                  <c:v>-1.9327731092437E-2</c:v>
                </c:pt>
                <c:pt idx="30235">
                  <c:v>-1.9327731092437E-2</c:v>
                </c:pt>
                <c:pt idx="30236">
                  <c:v>-1.9327731092437E-2</c:v>
                </c:pt>
                <c:pt idx="30237">
                  <c:v>-1.9327731092437E-2</c:v>
                </c:pt>
                <c:pt idx="30238">
                  <c:v>-1.9327731092437E-2</c:v>
                </c:pt>
                <c:pt idx="30239">
                  <c:v>-1.9327731092437E-2</c:v>
                </c:pt>
                <c:pt idx="30240">
                  <c:v>-1.9327731092437E-2</c:v>
                </c:pt>
                <c:pt idx="30241">
                  <c:v>-1.9327731092437E-2</c:v>
                </c:pt>
                <c:pt idx="30242">
                  <c:v>-1.9327731092437E-2</c:v>
                </c:pt>
                <c:pt idx="30243">
                  <c:v>-1.9327731092437E-2</c:v>
                </c:pt>
                <c:pt idx="30244">
                  <c:v>-1.9327731092437E-2</c:v>
                </c:pt>
                <c:pt idx="30245">
                  <c:v>-1.9327731092437E-2</c:v>
                </c:pt>
                <c:pt idx="30246">
                  <c:v>-1.9327731092437E-2</c:v>
                </c:pt>
                <c:pt idx="30247">
                  <c:v>-1.9327731092437E-2</c:v>
                </c:pt>
                <c:pt idx="30248">
                  <c:v>-1.9327731092437E-2</c:v>
                </c:pt>
                <c:pt idx="30249">
                  <c:v>-1.9327731092437E-2</c:v>
                </c:pt>
                <c:pt idx="30250">
                  <c:v>-1.9327731092437E-2</c:v>
                </c:pt>
                <c:pt idx="30251">
                  <c:v>-1.9327731092437E-2</c:v>
                </c:pt>
                <c:pt idx="30252">
                  <c:v>-1.9327731092437E-2</c:v>
                </c:pt>
                <c:pt idx="30253">
                  <c:v>-1.9327731092437E-2</c:v>
                </c:pt>
                <c:pt idx="30254">
                  <c:v>-1.9327731092437E-2</c:v>
                </c:pt>
                <c:pt idx="30255">
                  <c:v>-1.9327731092437E-2</c:v>
                </c:pt>
                <c:pt idx="30256">
                  <c:v>-1.9327731092437E-2</c:v>
                </c:pt>
                <c:pt idx="30257">
                  <c:v>-1.9327731092437E-2</c:v>
                </c:pt>
                <c:pt idx="30258">
                  <c:v>-1.9327731092437E-2</c:v>
                </c:pt>
                <c:pt idx="30259">
                  <c:v>-1.9327731092437E-2</c:v>
                </c:pt>
                <c:pt idx="30260">
                  <c:v>-1.9327731092437E-2</c:v>
                </c:pt>
                <c:pt idx="30261">
                  <c:v>-1.9327731092437E-2</c:v>
                </c:pt>
                <c:pt idx="30262">
                  <c:v>-1.9327731092437E-2</c:v>
                </c:pt>
                <c:pt idx="30263">
                  <c:v>-1.9327731092437E-2</c:v>
                </c:pt>
                <c:pt idx="30264">
                  <c:v>-1.9327731092437E-2</c:v>
                </c:pt>
                <c:pt idx="30265">
                  <c:v>-1.9327731092437E-2</c:v>
                </c:pt>
                <c:pt idx="30266">
                  <c:v>-1.9327731092437E-2</c:v>
                </c:pt>
                <c:pt idx="30267">
                  <c:v>-1.9327731092437E-2</c:v>
                </c:pt>
                <c:pt idx="30268">
                  <c:v>-1.9327731092437E-2</c:v>
                </c:pt>
                <c:pt idx="30269">
                  <c:v>-1.9327731092437E-2</c:v>
                </c:pt>
                <c:pt idx="30270">
                  <c:v>-1.9327731092437E-2</c:v>
                </c:pt>
                <c:pt idx="30271">
                  <c:v>-1.84873949579832E-2</c:v>
                </c:pt>
                <c:pt idx="30272">
                  <c:v>-1.84873949579832E-2</c:v>
                </c:pt>
                <c:pt idx="30273">
                  <c:v>-1.84873949579832E-2</c:v>
                </c:pt>
                <c:pt idx="30274">
                  <c:v>-1.84873949579832E-2</c:v>
                </c:pt>
                <c:pt idx="30275">
                  <c:v>-1.84873949579832E-2</c:v>
                </c:pt>
                <c:pt idx="30276">
                  <c:v>-1.84873949579832E-2</c:v>
                </c:pt>
                <c:pt idx="30277">
                  <c:v>-1.84873949579832E-2</c:v>
                </c:pt>
                <c:pt idx="30278">
                  <c:v>-1.84873949579832E-2</c:v>
                </c:pt>
                <c:pt idx="30279">
                  <c:v>-1.84873949579832E-2</c:v>
                </c:pt>
                <c:pt idx="30280">
                  <c:v>-1.84873949579832E-2</c:v>
                </c:pt>
                <c:pt idx="30281">
                  <c:v>-1.84873949579832E-2</c:v>
                </c:pt>
                <c:pt idx="30282">
                  <c:v>-1.84873949579832E-2</c:v>
                </c:pt>
                <c:pt idx="30283">
                  <c:v>-1.84873949579832E-2</c:v>
                </c:pt>
                <c:pt idx="30284">
                  <c:v>-1.84873949579832E-2</c:v>
                </c:pt>
                <c:pt idx="30285">
                  <c:v>-1.84873949579832E-2</c:v>
                </c:pt>
                <c:pt idx="30286">
                  <c:v>-1.84873949579832E-2</c:v>
                </c:pt>
                <c:pt idx="30287">
                  <c:v>-1.84873949579832E-2</c:v>
                </c:pt>
                <c:pt idx="30288">
                  <c:v>-1.84873949579832E-2</c:v>
                </c:pt>
                <c:pt idx="30289">
                  <c:v>-1.84873949579832E-2</c:v>
                </c:pt>
                <c:pt idx="30290">
                  <c:v>-1.84873949579832E-2</c:v>
                </c:pt>
                <c:pt idx="30291">
                  <c:v>-1.84873949579832E-2</c:v>
                </c:pt>
                <c:pt idx="30292">
                  <c:v>-1.84873949579832E-2</c:v>
                </c:pt>
                <c:pt idx="30293">
                  <c:v>-1.84873949579832E-2</c:v>
                </c:pt>
                <c:pt idx="30294">
                  <c:v>-1.84873949579832E-2</c:v>
                </c:pt>
                <c:pt idx="30295">
                  <c:v>-1.84873949579832E-2</c:v>
                </c:pt>
                <c:pt idx="30296">
                  <c:v>-1.84873949579832E-2</c:v>
                </c:pt>
                <c:pt idx="30297">
                  <c:v>-1.84873949579832E-2</c:v>
                </c:pt>
                <c:pt idx="30298">
                  <c:v>-1.84873949579832E-2</c:v>
                </c:pt>
                <c:pt idx="30299">
                  <c:v>-1.84873949579832E-2</c:v>
                </c:pt>
                <c:pt idx="30300">
                  <c:v>-1.84873949579832E-2</c:v>
                </c:pt>
                <c:pt idx="30301">
                  <c:v>-1.84873949579832E-2</c:v>
                </c:pt>
                <c:pt idx="30302">
                  <c:v>-1.84873949579832E-2</c:v>
                </c:pt>
                <c:pt idx="30303">
                  <c:v>-1.84873949579832E-2</c:v>
                </c:pt>
                <c:pt idx="30304">
                  <c:v>-1.84873949579832E-2</c:v>
                </c:pt>
                <c:pt idx="30305">
                  <c:v>-1.84873949579832E-2</c:v>
                </c:pt>
                <c:pt idx="30306">
                  <c:v>-1.84873949579832E-2</c:v>
                </c:pt>
                <c:pt idx="30307">
                  <c:v>-1.84873949579832E-2</c:v>
                </c:pt>
                <c:pt idx="30308">
                  <c:v>-1.84873949579832E-2</c:v>
                </c:pt>
                <c:pt idx="30309">
                  <c:v>-1.84873949579832E-2</c:v>
                </c:pt>
                <c:pt idx="30310">
                  <c:v>-1.84873949579832E-2</c:v>
                </c:pt>
                <c:pt idx="30311">
                  <c:v>-1.84873949579832E-2</c:v>
                </c:pt>
                <c:pt idx="30312">
                  <c:v>-1.84873949579832E-2</c:v>
                </c:pt>
                <c:pt idx="30313">
                  <c:v>-1.84873949579832E-2</c:v>
                </c:pt>
                <c:pt idx="30314">
                  <c:v>-1.84873949579832E-2</c:v>
                </c:pt>
                <c:pt idx="30315">
                  <c:v>-1.84873949579832E-2</c:v>
                </c:pt>
                <c:pt idx="30316">
                  <c:v>-1.84873949579832E-2</c:v>
                </c:pt>
                <c:pt idx="30317">
                  <c:v>-1.84873949579832E-2</c:v>
                </c:pt>
                <c:pt idx="30318">
                  <c:v>-1.84873949579832E-2</c:v>
                </c:pt>
                <c:pt idx="30319">
                  <c:v>-1.84873949579832E-2</c:v>
                </c:pt>
                <c:pt idx="30320">
                  <c:v>-1.84873949579832E-2</c:v>
                </c:pt>
                <c:pt idx="30321">
                  <c:v>-1.84873949579832E-2</c:v>
                </c:pt>
                <c:pt idx="30322">
                  <c:v>-1.84873949579832E-2</c:v>
                </c:pt>
                <c:pt idx="30323">
                  <c:v>-1.84873949579832E-2</c:v>
                </c:pt>
                <c:pt idx="30324">
                  <c:v>-1.84873949579832E-2</c:v>
                </c:pt>
                <c:pt idx="30325">
                  <c:v>-1.84873949579832E-2</c:v>
                </c:pt>
                <c:pt idx="30326">
                  <c:v>-1.84873949579832E-2</c:v>
                </c:pt>
                <c:pt idx="30327">
                  <c:v>-1.84873949579832E-2</c:v>
                </c:pt>
                <c:pt idx="30328">
                  <c:v>-1.84873949579832E-2</c:v>
                </c:pt>
                <c:pt idx="30329">
                  <c:v>-1.84873949579832E-2</c:v>
                </c:pt>
                <c:pt idx="30330">
                  <c:v>-1.84873949579832E-2</c:v>
                </c:pt>
                <c:pt idx="30331">
                  <c:v>-1.84873949579832E-2</c:v>
                </c:pt>
                <c:pt idx="30332">
                  <c:v>-1.84873949579832E-2</c:v>
                </c:pt>
                <c:pt idx="30333">
                  <c:v>-1.84873949579832E-2</c:v>
                </c:pt>
                <c:pt idx="30334">
                  <c:v>-1.84873949579832E-2</c:v>
                </c:pt>
                <c:pt idx="30335">
                  <c:v>-1.84873949579832E-2</c:v>
                </c:pt>
                <c:pt idx="30336">
                  <c:v>-1.84873949579832E-2</c:v>
                </c:pt>
                <c:pt idx="30337">
                  <c:v>-1.84873949579832E-2</c:v>
                </c:pt>
                <c:pt idx="30338">
                  <c:v>-1.84873949579832E-2</c:v>
                </c:pt>
                <c:pt idx="30339">
                  <c:v>-1.84873949579832E-2</c:v>
                </c:pt>
                <c:pt idx="30340">
                  <c:v>-1.84873949579832E-2</c:v>
                </c:pt>
                <c:pt idx="30341">
                  <c:v>-1.84873949579832E-2</c:v>
                </c:pt>
                <c:pt idx="30342">
                  <c:v>-1.84873949579832E-2</c:v>
                </c:pt>
                <c:pt idx="30343">
                  <c:v>-1.84873949579832E-2</c:v>
                </c:pt>
                <c:pt idx="30344">
                  <c:v>-1.84873949579832E-2</c:v>
                </c:pt>
                <c:pt idx="30345">
                  <c:v>-1.84873949579832E-2</c:v>
                </c:pt>
                <c:pt idx="30346">
                  <c:v>-1.84873949579832E-2</c:v>
                </c:pt>
                <c:pt idx="30347">
                  <c:v>-1.84873949579832E-2</c:v>
                </c:pt>
                <c:pt idx="30348">
                  <c:v>-1.84873949579832E-2</c:v>
                </c:pt>
                <c:pt idx="30349">
                  <c:v>-1.84873949579832E-2</c:v>
                </c:pt>
                <c:pt idx="30350">
                  <c:v>-1.84873949579832E-2</c:v>
                </c:pt>
                <c:pt idx="30351">
                  <c:v>-1.84873949579832E-2</c:v>
                </c:pt>
                <c:pt idx="30352">
                  <c:v>-1.84873949579832E-2</c:v>
                </c:pt>
                <c:pt idx="30353">
                  <c:v>-1.84873949579832E-2</c:v>
                </c:pt>
                <c:pt idx="30354">
                  <c:v>-1.84873949579832E-2</c:v>
                </c:pt>
                <c:pt idx="30355">
                  <c:v>-1.7647058823529401E-2</c:v>
                </c:pt>
                <c:pt idx="30356">
                  <c:v>-1.7647058823529401E-2</c:v>
                </c:pt>
                <c:pt idx="30357">
                  <c:v>-1.7647058823529401E-2</c:v>
                </c:pt>
                <c:pt idx="30358">
                  <c:v>-1.7647058823529401E-2</c:v>
                </c:pt>
                <c:pt idx="30359">
                  <c:v>-1.7647058823529401E-2</c:v>
                </c:pt>
                <c:pt idx="30360">
                  <c:v>-1.7647058823529401E-2</c:v>
                </c:pt>
                <c:pt idx="30361">
                  <c:v>-1.7647058823529401E-2</c:v>
                </c:pt>
                <c:pt idx="30362">
                  <c:v>-1.7647058823529401E-2</c:v>
                </c:pt>
                <c:pt idx="30363">
                  <c:v>-1.7647058823529401E-2</c:v>
                </c:pt>
                <c:pt idx="30364">
                  <c:v>-1.7647058823529401E-2</c:v>
                </c:pt>
                <c:pt idx="30365">
                  <c:v>-1.7647058823529401E-2</c:v>
                </c:pt>
                <c:pt idx="30366">
                  <c:v>-1.7647058823529401E-2</c:v>
                </c:pt>
                <c:pt idx="30367">
                  <c:v>-1.7647058823529401E-2</c:v>
                </c:pt>
                <c:pt idx="30368">
                  <c:v>-1.7647058823529401E-2</c:v>
                </c:pt>
                <c:pt idx="30369">
                  <c:v>-1.7647058823529401E-2</c:v>
                </c:pt>
                <c:pt idx="30370">
                  <c:v>-1.7647058823529401E-2</c:v>
                </c:pt>
                <c:pt idx="30371">
                  <c:v>-1.7647058823529401E-2</c:v>
                </c:pt>
                <c:pt idx="30372">
                  <c:v>-1.7647058823529401E-2</c:v>
                </c:pt>
                <c:pt idx="30373">
                  <c:v>-1.7647058823529401E-2</c:v>
                </c:pt>
                <c:pt idx="30374">
                  <c:v>-1.7647058823529401E-2</c:v>
                </c:pt>
                <c:pt idx="30375">
                  <c:v>-1.7647058823529401E-2</c:v>
                </c:pt>
                <c:pt idx="30376">
                  <c:v>-1.7647058823529401E-2</c:v>
                </c:pt>
                <c:pt idx="30377">
                  <c:v>-1.7647058823529401E-2</c:v>
                </c:pt>
                <c:pt idx="30378">
                  <c:v>-1.7647058823529401E-2</c:v>
                </c:pt>
                <c:pt idx="30379">
                  <c:v>-1.7647058823529401E-2</c:v>
                </c:pt>
                <c:pt idx="30380">
                  <c:v>-1.7647058823529401E-2</c:v>
                </c:pt>
                <c:pt idx="30381">
                  <c:v>-1.7647058823529401E-2</c:v>
                </c:pt>
                <c:pt idx="30382">
                  <c:v>-1.7647058823529401E-2</c:v>
                </c:pt>
                <c:pt idx="30383">
                  <c:v>-1.7647058823529401E-2</c:v>
                </c:pt>
                <c:pt idx="30384">
                  <c:v>-1.7647058823529401E-2</c:v>
                </c:pt>
                <c:pt idx="30385">
                  <c:v>-1.7647058823529401E-2</c:v>
                </c:pt>
                <c:pt idx="30386">
                  <c:v>-1.7647058823529401E-2</c:v>
                </c:pt>
                <c:pt idx="30387">
                  <c:v>-1.7647058823529401E-2</c:v>
                </c:pt>
                <c:pt idx="30388">
                  <c:v>-1.7647058823529401E-2</c:v>
                </c:pt>
                <c:pt idx="30389">
                  <c:v>-1.7647058823529401E-2</c:v>
                </c:pt>
                <c:pt idx="30390">
                  <c:v>-1.7647058823529401E-2</c:v>
                </c:pt>
                <c:pt idx="30391">
                  <c:v>-1.7647058823529401E-2</c:v>
                </c:pt>
                <c:pt idx="30392">
                  <c:v>-1.7647058823529401E-2</c:v>
                </c:pt>
                <c:pt idx="30393">
                  <c:v>-1.7647058823529401E-2</c:v>
                </c:pt>
                <c:pt idx="30394">
                  <c:v>-1.7647058823529401E-2</c:v>
                </c:pt>
                <c:pt idx="30395">
                  <c:v>-1.7647058823529401E-2</c:v>
                </c:pt>
                <c:pt idx="30396">
                  <c:v>-1.7647058823529401E-2</c:v>
                </c:pt>
                <c:pt idx="30397">
                  <c:v>-1.7647058823529401E-2</c:v>
                </c:pt>
                <c:pt idx="30398">
                  <c:v>-1.7647058823529401E-2</c:v>
                </c:pt>
                <c:pt idx="30399">
                  <c:v>-1.7647058823529401E-2</c:v>
                </c:pt>
                <c:pt idx="30400">
                  <c:v>-1.7647058823529401E-2</c:v>
                </c:pt>
                <c:pt idx="30401">
                  <c:v>-1.7647058823529401E-2</c:v>
                </c:pt>
                <c:pt idx="30402">
                  <c:v>-1.7647058823529401E-2</c:v>
                </c:pt>
                <c:pt idx="30403">
                  <c:v>-1.7647058823529401E-2</c:v>
                </c:pt>
                <c:pt idx="30404">
                  <c:v>-1.7647058823529401E-2</c:v>
                </c:pt>
                <c:pt idx="30405">
                  <c:v>-1.7647058823529401E-2</c:v>
                </c:pt>
                <c:pt idx="30406">
                  <c:v>-1.6806722689075598E-2</c:v>
                </c:pt>
                <c:pt idx="30407">
                  <c:v>-1.6806722689075598E-2</c:v>
                </c:pt>
                <c:pt idx="30408">
                  <c:v>-1.6806722689075598E-2</c:v>
                </c:pt>
                <c:pt idx="30409">
                  <c:v>-1.6806722689075598E-2</c:v>
                </c:pt>
                <c:pt idx="30410">
                  <c:v>-1.6806722689075598E-2</c:v>
                </c:pt>
                <c:pt idx="30411">
                  <c:v>-1.6806722689075598E-2</c:v>
                </c:pt>
                <c:pt idx="30412">
                  <c:v>-1.6806722689075598E-2</c:v>
                </c:pt>
                <c:pt idx="30413">
                  <c:v>-1.6806722689075598E-2</c:v>
                </c:pt>
                <c:pt idx="30414">
                  <c:v>-1.6806722689075598E-2</c:v>
                </c:pt>
                <c:pt idx="30415">
                  <c:v>-1.6806722689075598E-2</c:v>
                </c:pt>
                <c:pt idx="30416">
                  <c:v>-1.6806722689075598E-2</c:v>
                </c:pt>
                <c:pt idx="30417">
                  <c:v>-1.6806722689075598E-2</c:v>
                </c:pt>
                <c:pt idx="30418">
                  <c:v>-1.6806722689075598E-2</c:v>
                </c:pt>
                <c:pt idx="30419">
                  <c:v>-1.6806722689075598E-2</c:v>
                </c:pt>
                <c:pt idx="30420">
                  <c:v>-1.6806722689075598E-2</c:v>
                </c:pt>
                <c:pt idx="30421">
                  <c:v>-1.6806722689075598E-2</c:v>
                </c:pt>
                <c:pt idx="30422">
                  <c:v>-1.6806722689075598E-2</c:v>
                </c:pt>
                <c:pt idx="30423">
                  <c:v>-1.6806722689075598E-2</c:v>
                </c:pt>
                <c:pt idx="30424">
                  <c:v>-1.6806722689075598E-2</c:v>
                </c:pt>
                <c:pt idx="30425">
                  <c:v>-1.6806722689075598E-2</c:v>
                </c:pt>
                <c:pt idx="30426">
                  <c:v>-1.6806722689075598E-2</c:v>
                </c:pt>
                <c:pt idx="30427">
                  <c:v>-1.6806722689075598E-2</c:v>
                </c:pt>
                <c:pt idx="30428">
                  <c:v>-1.6806722689075598E-2</c:v>
                </c:pt>
                <c:pt idx="30429">
                  <c:v>-1.6806722689075598E-2</c:v>
                </c:pt>
                <c:pt idx="30430">
                  <c:v>-1.6806722689075598E-2</c:v>
                </c:pt>
                <c:pt idx="30431">
                  <c:v>-1.6806722689075598E-2</c:v>
                </c:pt>
                <c:pt idx="30432">
                  <c:v>-1.6806722689075598E-2</c:v>
                </c:pt>
                <c:pt idx="30433">
                  <c:v>-1.6806722689075598E-2</c:v>
                </c:pt>
                <c:pt idx="30434">
                  <c:v>-1.6806722689075598E-2</c:v>
                </c:pt>
                <c:pt idx="30435">
                  <c:v>-1.6806722689075598E-2</c:v>
                </c:pt>
                <c:pt idx="30436">
                  <c:v>-1.6806722689075598E-2</c:v>
                </c:pt>
                <c:pt idx="30437">
                  <c:v>-1.6806722689075598E-2</c:v>
                </c:pt>
                <c:pt idx="30438">
                  <c:v>-1.6806722689075598E-2</c:v>
                </c:pt>
                <c:pt idx="30439">
                  <c:v>-1.6806722689075598E-2</c:v>
                </c:pt>
                <c:pt idx="30440">
                  <c:v>-1.6806722689075598E-2</c:v>
                </c:pt>
                <c:pt idx="30441">
                  <c:v>-1.6806722689075598E-2</c:v>
                </c:pt>
                <c:pt idx="30442">
                  <c:v>-1.6806722689075598E-2</c:v>
                </c:pt>
                <c:pt idx="30443">
                  <c:v>-1.6806722689075598E-2</c:v>
                </c:pt>
                <c:pt idx="30444">
                  <c:v>-1.6806722689075598E-2</c:v>
                </c:pt>
                <c:pt idx="30445">
                  <c:v>-1.6806722689075598E-2</c:v>
                </c:pt>
                <c:pt idx="30446">
                  <c:v>-1.6806722689075598E-2</c:v>
                </c:pt>
                <c:pt idx="30447">
                  <c:v>-1.6806722689075598E-2</c:v>
                </c:pt>
                <c:pt idx="30448">
                  <c:v>-1.6806722689075598E-2</c:v>
                </c:pt>
                <c:pt idx="30449">
                  <c:v>-1.6806722689075598E-2</c:v>
                </c:pt>
                <c:pt idx="30450">
                  <c:v>-1.6806722689075598E-2</c:v>
                </c:pt>
                <c:pt idx="30451">
                  <c:v>-1.6806722689075598E-2</c:v>
                </c:pt>
                <c:pt idx="30452">
                  <c:v>-1.6806722689075598E-2</c:v>
                </c:pt>
                <c:pt idx="30453">
                  <c:v>-1.6806722689075598E-2</c:v>
                </c:pt>
                <c:pt idx="30454">
                  <c:v>-1.6806722689075598E-2</c:v>
                </c:pt>
                <c:pt idx="30455">
                  <c:v>-1.6806722689075598E-2</c:v>
                </c:pt>
                <c:pt idx="30456">
                  <c:v>-1.6806722689075598E-2</c:v>
                </c:pt>
                <c:pt idx="30457">
                  <c:v>-1.6806722689075598E-2</c:v>
                </c:pt>
                <c:pt idx="30458">
                  <c:v>-1.6806722689075598E-2</c:v>
                </c:pt>
                <c:pt idx="30459">
                  <c:v>-1.6806722689075598E-2</c:v>
                </c:pt>
                <c:pt idx="30460">
                  <c:v>-1.6806722689075598E-2</c:v>
                </c:pt>
                <c:pt idx="30461">
                  <c:v>-1.6806722689075598E-2</c:v>
                </c:pt>
                <c:pt idx="30462">
                  <c:v>-1.6806722689075598E-2</c:v>
                </c:pt>
                <c:pt idx="30463">
                  <c:v>-1.6806722689075598E-2</c:v>
                </c:pt>
                <c:pt idx="30464">
                  <c:v>-1.6806722689075598E-2</c:v>
                </c:pt>
                <c:pt idx="30465">
                  <c:v>-1.6806722689075598E-2</c:v>
                </c:pt>
                <c:pt idx="30466">
                  <c:v>-1.6806722689075598E-2</c:v>
                </c:pt>
                <c:pt idx="30467">
                  <c:v>-1.6806722689075598E-2</c:v>
                </c:pt>
                <c:pt idx="30468">
                  <c:v>-1.6806722689075598E-2</c:v>
                </c:pt>
                <c:pt idx="30469">
                  <c:v>-1.6806722689075598E-2</c:v>
                </c:pt>
                <c:pt idx="30470">
                  <c:v>-1.6806722689075598E-2</c:v>
                </c:pt>
                <c:pt idx="30471">
                  <c:v>-1.6806722689075598E-2</c:v>
                </c:pt>
                <c:pt idx="30472">
                  <c:v>-1.6806722689075598E-2</c:v>
                </c:pt>
                <c:pt idx="30473">
                  <c:v>-1.6806722689075598E-2</c:v>
                </c:pt>
                <c:pt idx="30474">
                  <c:v>-1.6806722689075598E-2</c:v>
                </c:pt>
                <c:pt idx="30475">
                  <c:v>-1.6806722689075598E-2</c:v>
                </c:pt>
                <c:pt idx="30476">
                  <c:v>-1.6806722689075598E-2</c:v>
                </c:pt>
                <c:pt idx="30477">
                  <c:v>-1.6806722689075598E-2</c:v>
                </c:pt>
                <c:pt idx="30478">
                  <c:v>-1.6806722689075598E-2</c:v>
                </c:pt>
                <c:pt idx="30479">
                  <c:v>-1.6806722689075598E-2</c:v>
                </c:pt>
                <c:pt idx="30480">
                  <c:v>-1.6806722689075598E-2</c:v>
                </c:pt>
                <c:pt idx="30481">
                  <c:v>-1.6806722689075598E-2</c:v>
                </c:pt>
                <c:pt idx="30482">
                  <c:v>-1.6806722689075598E-2</c:v>
                </c:pt>
                <c:pt idx="30483">
                  <c:v>-1.7647058823529401E-2</c:v>
                </c:pt>
                <c:pt idx="30484">
                  <c:v>-1.7647058823529401E-2</c:v>
                </c:pt>
                <c:pt idx="30485">
                  <c:v>-1.7647058823529401E-2</c:v>
                </c:pt>
                <c:pt idx="30486">
                  <c:v>-1.7647058823529401E-2</c:v>
                </c:pt>
                <c:pt idx="30487">
                  <c:v>-1.7647058823529401E-2</c:v>
                </c:pt>
                <c:pt idx="30488">
                  <c:v>-1.7647058823529401E-2</c:v>
                </c:pt>
                <c:pt idx="30489">
                  <c:v>-1.7647058823529401E-2</c:v>
                </c:pt>
                <c:pt idx="30490">
                  <c:v>-1.7647058823529401E-2</c:v>
                </c:pt>
                <c:pt idx="30491">
                  <c:v>-1.7647058823529401E-2</c:v>
                </c:pt>
                <c:pt idx="30492">
                  <c:v>-1.7647058823529401E-2</c:v>
                </c:pt>
                <c:pt idx="30493">
                  <c:v>-1.7647058823529401E-2</c:v>
                </c:pt>
                <c:pt idx="30494">
                  <c:v>-1.7647058823529401E-2</c:v>
                </c:pt>
                <c:pt idx="30495">
                  <c:v>-1.6806722689075598E-2</c:v>
                </c:pt>
                <c:pt idx="30496">
                  <c:v>-1.6806722689075598E-2</c:v>
                </c:pt>
                <c:pt idx="30497">
                  <c:v>-1.6806722689075598E-2</c:v>
                </c:pt>
                <c:pt idx="30498">
                  <c:v>-1.6806722689075598E-2</c:v>
                </c:pt>
                <c:pt idx="30499">
                  <c:v>-1.6806722689075598E-2</c:v>
                </c:pt>
                <c:pt idx="30500">
                  <c:v>-1.6806722689075598E-2</c:v>
                </c:pt>
                <c:pt idx="30501">
                  <c:v>-1.6806722689075598E-2</c:v>
                </c:pt>
                <c:pt idx="30502">
                  <c:v>-1.6806722689075598E-2</c:v>
                </c:pt>
                <c:pt idx="30503">
                  <c:v>-1.6806722689075598E-2</c:v>
                </c:pt>
                <c:pt idx="30504">
                  <c:v>-1.6806722689075598E-2</c:v>
                </c:pt>
                <c:pt idx="30505">
                  <c:v>-1.6806722689075598E-2</c:v>
                </c:pt>
                <c:pt idx="30506">
                  <c:v>-1.6806722689075598E-2</c:v>
                </c:pt>
                <c:pt idx="30507">
                  <c:v>-1.6806722689075598E-2</c:v>
                </c:pt>
                <c:pt idx="30508">
                  <c:v>-1.6806722689075598E-2</c:v>
                </c:pt>
                <c:pt idx="30509">
                  <c:v>-1.6806722689075598E-2</c:v>
                </c:pt>
                <c:pt idx="30510">
                  <c:v>-1.6806722689075598E-2</c:v>
                </c:pt>
                <c:pt idx="30511">
                  <c:v>-1.6806722689075598E-2</c:v>
                </c:pt>
                <c:pt idx="30512">
                  <c:v>-1.6806722689075598E-2</c:v>
                </c:pt>
                <c:pt idx="30513">
                  <c:v>-1.6806722689075598E-2</c:v>
                </c:pt>
                <c:pt idx="30514">
                  <c:v>-1.6806722689075598E-2</c:v>
                </c:pt>
                <c:pt idx="30515">
                  <c:v>-1.6806722689075598E-2</c:v>
                </c:pt>
                <c:pt idx="30516">
                  <c:v>-1.6806722689075598E-2</c:v>
                </c:pt>
                <c:pt idx="30517">
                  <c:v>-1.6806722689075598E-2</c:v>
                </c:pt>
                <c:pt idx="30518">
                  <c:v>-1.6806722689075598E-2</c:v>
                </c:pt>
                <c:pt idx="30519">
                  <c:v>-1.6806722689075598E-2</c:v>
                </c:pt>
                <c:pt idx="30520">
                  <c:v>-1.6806722689075598E-2</c:v>
                </c:pt>
                <c:pt idx="30521">
                  <c:v>-1.6806722689075598E-2</c:v>
                </c:pt>
                <c:pt idx="30522">
                  <c:v>-1.6806722689075598E-2</c:v>
                </c:pt>
                <c:pt idx="30523">
                  <c:v>-1.6806722689075598E-2</c:v>
                </c:pt>
                <c:pt idx="30524">
                  <c:v>-1.6806722689075598E-2</c:v>
                </c:pt>
                <c:pt idx="30525">
                  <c:v>-1.6806722689075598E-2</c:v>
                </c:pt>
                <c:pt idx="30526">
                  <c:v>-1.7647058823529401E-2</c:v>
                </c:pt>
                <c:pt idx="30527">
                  <c:v>-1.7647058823529401E-2</c:v>
                </c:pt>
                <c:pt idx="30528">
                  <c:v>-1.7647058823529401E-2</c:v>
                </c:pt>
                <c:pt idx="30529">
                  <c:v>-1.7647058823529401E-2</c:v>
                </c:pt>
                <c:pt idx="30530">
                  <c:v>-1.7647058823529401E-2</c:v>
                </c:pt>
                <c:pt idx="30531">
                  <c:v>-1.7647058823529401E-2</c:v>
                </c:pt>
                <c:pt idx="30532">
                  <c:v>-1.7647058823529401E-2</c:v>
                </c:pt>
                <c:pt idx="30533">
                  <c:v>-1.7647058823529401E-2</c:v>
                </c:pt>
                <c:pt idx="30534">
                  <c:v>-1.7647058823529401E-2</c:v>
                </c:pt>
                <c:pt idx="30535">
                  <c:v>-1.7647058823529401E-2</c:v>
                </c:pt>
                <c:pt idx="30536">
                  <c:v>-1.7647058823529401E-2</c:v>
                </c:pt>
                <c:pt idx="30537">
                  <c:v>-1.7647058823529401E-2</c:v>
                </c:pt>
                <c:pt idx="30538">
                  <c:v>-1.7647058823529401E-2</c:v>
                </c:pt>
                <c:pt idx="30539">
                  <c:v>-1.7647058823529401E-2</c:v>
                </c:pt>
                <c:pt idx="30540">
                  <c:v>-1.7647058823529401E-2</c:v>
                </c:pt>
                <c:pt idx="30541">
                  <c:v>-1.7647058823529401E-2</c:v>
                </c:pt>
                <c:pt idx="30542">
                  <c:v>-1.7647058823529401E-2</c:v>
                </c:pt>
                <c:pt idx="30543">
                  <c:v>-1.7647058823529401E-2</c:v>
                </c:pt>
                <c:pt idx="30544">
                  <c:v>-1.7647058823529401E-2</c:v>
                </c:pt>
                <c:pt idx="30545">
                  <c:v>-1.7647058823529401E-2</c:v>
                </c:pt>
                <c:pt idx="30546">
                  <c:v>-1.7647058823529401E-2</c:v>
                </c:pt>
                <c:pt idx="30547">
                  <c:v>-1.7647058823529401E-2</c:v>
                </c:pt>
                <c:pt idx="30548">
                  <c:v>-1.7647058823529401E-2</c:v>
                </c:pt>
                <c:pt idx="30549">
                  <c:v>-1.7647058823529401E-2</c:v>
                </c:pt>
                <c:pt idx="30550">
                  <c:v>-1.7647058823529401E-2</c:v>
                </c:pt>
                <c:pt idx="30551">
                  <c:v>-1.7647058823529401E-2</c:v>
                </c:pt>
                <c:pt idx="30552">
                  <c:v>-1.7647058823529401E-2</c:v>
                </c:pt>
                <c:pt idx="30553">
                  <c:v>-1.7647058823529401E-2</c:v>
                </c:pt>
                <c:pt idx="30554">
                  <c:v>-1.84873949579832E-2</c:v>
                </c:pt>
                <c:pt idx="30555">
                  <c:v>-1.84873949579832E-2</c:v>
                </c:pt>
                <c:pt idx="30556">
                  <c:v>-1.84873949579832E-2</c:v>
                </c:pt>
                <c:pt idx="30557">
                  <c:v>-1.84873949579832E-2</c:v>
                </c:pt>
                <c:pt idx="30558">
                  <c:v>-1.84873949579832E-2</c:v>
                </c:pt>
                <c:pt idx="30559">
                  <c:v>-1.84873949579832E-2</c:v>
                </c:pt>
                <c:pt idx="30560">
                  <c:v>-1.84873949579832E-2</c:v>
                </c:pt>
                <c:pt idx="30561">
                  <c:v>-1.84873949579832E-2</c:v>
                </c:pt>
                <c:pt idx="30562">
                  <c:v>-1.84873949579832E-2</c:v>
                </c:pt>
                <c:pt idx="30563">
                  <c:v>-1.84873949579832E-2</c:v>
                </c:pt>
                <c:pt idx="30564">
                  <c:v>-1.84873949579832E-2</c:v>
                </c:pt>
                <c:pt idx="30565">
                  <c:v>-1.84873949579832E-2</c:v>
                </c:pt>
                <c:pt idx="30566">
                  <c:v>-1.84873949579832E-2</c:v>
                </c:pt>
                <c:pt idx="30567">
                  <c:v>-1.7647058823529401E-2</c:v>
                </c:pt>
                <c:pt idx="30568">
                  <c:v>-1.7647058823529401E-2</c:v>
                </c:pt>
                <c:pt idx="30569">
                  <c:v>-1.7647058823529401E-2</c:v>
                </c:pt>
                <c:pt idx="30570">
                  <c:v>-1.7647058823529401E-2</c:v>
                </c:pt>
                <c:pt idx="30571">
                  <c:v>-1.7647058823529401E-2</c:v>
                </c:pt>
                <c:pt idx="30572">
                  <c:v>-1.7647058823529401E-2</c:v>
                </c:pt>
                <c:pt idx="30573">
                  <c:v>-1.7647058823529401E-2</c:v>
                </c:pt>
                <c:pt idx="30574">
                  <c:v>-1.7647058823529401E-2</c:v>
                </c:pt>
                <c:pt idx="30575">
                  <c:v>-1.7647058823529401E-2</c:v>
                </c:pt>
                <c:pt idx="30576">
                  <c:v>-1.7647058823529401E-2</c:v>
                </c:pt>
                <c:pt idx="30577">
                  <c:v>-1.7647058823529401E-2</c:v>
                </c:pt>
                <c:pt idx="30578">
                  <c:v>-1.7647058823529401E-2</c:v>
                </c:pt>
                <c:pt idx="30579">
                  <c:v>-1.7647058823529401E-2</c:v>
                </c:pt>
                <c:pt idx="30580">
                  <c:v>-1.7647058823529401E-2</c:v>
                </c:pt>
                <c:pt idx="30581">
                  <c:v>-1.7647058823529401E-2</c:v>
                </c:pt>
                <c:pt idx="30582">
                  <c:v>-1.7647058823529401E-2</c:v>
                </c:pt>
                <c:pt idx="30583">
                  <c:v>-1.7647058823529401E-2</c:v>
                </c:pt>
                <c:pt idx="30584">
                  <c:v>-1.7647058823529401E-2</c:v>
                </c:pt>
                <c:pt idx="30585">
                  <c:v>-1.7647058823529401E-2</c:v>
                </c:pt>
                <c:pt idx="30586">
                  <c:v>-1.7647058823529401E-2</c:v>
                </c:pt>
                <c:pt idx="30587">
                  <c:v>-1.7647058823529401E-2</c:v>
                </c:pt>
                <c:pt idx="30588">
                  <c:v>-1.7647058823529401E-2</c:v>
                </c:pt>
                <c:pt idx="30589">
                  <c:v>-1.7647058823529401E-2</c:v>
                </c:pt>
                <c:pt idx="30590">
                  <c:v>-1.7647058823529401E-2</c:v>
                </c:pt>
                <c:pt idx="30591">
                  <c:v>-1.7647058823529401E-2</c:v>
                </c:pt>
                <c:pt idx="30592">
                  <c:v>-1.7647058823529401E-2</c:v>
                </c:pt>
                <c:pt idx="30593">
                  <c:v>-1.7647058823529401E-2</c:v>
                </c:pt>
                <c:pt idx="30594">
                  <c:v>-1.7647058823529401E-2</c:v>
                </c:pt>
                <c:pt idx="30595">
                  <c:v>-1.7647058823529401E-2</c:v>
                </c:pt>
                <c:pt idx="30596">
                  <c:v>-1.6806722689075598E-2</c:v>
                </c:pt>
                <c:pt idx="30597">
                  <c:v>-1.6806722689075598E-2</c:v>
                </c:pt>
                <c:pt idx="30598">
                  <c:v>-1.6806722689075598E-2</c:v>
                </c:pt>
                <c:pt idx="30599">
                  <c:v>-1.6806722689075598E-2</c:v>
                </c:pt>
                <c:pt idx="30600">
                  <c:v>-1.6806722689075598E-2</c:v>
                </c:pt>
                <c:pt idx="30601">
                  <c:v>-1.6806722689075598E-2</c:v>
                </c:pt>
                <c:pt idx="30602">
                  <c:v>-1.6806722689075598E-2</c:v>
                </c:pt>
                <c:pt idx="30603">
                  <c:v>-1.6806722689075598E-2</c:v>
                </c:pt>
                <c:pt idx="30604">
                  <c:v>-1.6806722689075598E-2</c:v>
                </c:pt>
                <c:pt idx="30605">
                  <c:v>-1.6806722689075598E-2</c:v>
                </c:pt>
                <c:pt idx="30606">
                  <c:v>-1.6806722689075598E-2</c:v>
                </c:pt>
                <c:pt idx="30607">
                  <c:v>-1.6806722689075598E-2</c:v>
                </c:pt>
                <c:pt idx="30608">
                  <c:v>-1.6806722689075598E-2</c:v>
                </c:pt>
                <c:pt idx="30609">
                  <c:v>-1.6806722689075598E-2</c:v>
                </c:pt>
                <c:pt idx="30610">
                  <c:v>-1.6806722689075598E-2</c:v>
                </c:pt>
                <c:pt idx="30611">
                  <c:v>-1.6806722689075598E-2</c:v>
                </c:pt>
                <c:pt idx="30612">
                  <c:v>-1.6806722689075598E-2</c:v>
                </c:pt>
                <c:pt idx="30613">
                  <c:v>-1.6806722689075598E-2</c:v>
                </c:pt>
                <c:pt idx="30614">
                  <c:v>-1.6806722689075598E-2</c:v>
                </c:pt>
                <c:pt idx="30615">
                  <c:v>-1.6806722689075598E-2</c:v>
                </c:pt>
                <c:pt idx="30616">
                  <c:v>-1.6806722689075598E-2</c:v>
                </c:pt>
                <c:pt idx="30617">
                  <c:v>-1.6806722689075598E-2</c:v>
                </c:pt>
                <c:pt idx="30618">
                  <c:v>-1.6806722689075598E-2</c:v>
                </c:pt>
                <c:pt idx="30619">
                  <c:v>-1.6806722689075598E-2</c:v>
                </c:pt>
                <c:pt idx="30620">
                  <c:v>-1.6806722689075598E-2</c:v>
                </c:pt>
                <c:pt idx="30621">
                  <c:v>-1.6806722689075598E-2</c:v>
                </c:pt>
                <c:pt idx="30622">
                  <c:v>-1.6806722689075598E-2</c:v>
                </c:pt>
                <c:pt idx="30623">
                  <c:v>-1.6806722689075598E-2</c:v>
                </c:pt>
                <c:pt idx="30624">
                  <c:v>-1.6806722689075598E-2</c:v>
                </c:pt>
                <c:pt idx="30625">
                  <c:v>-1.6806722689075598E-2</c:v>
                </c:pt>
                <c:pt idx="30626">
                  <c:v>-1.6806722689075598E-2</c:v>
                </c:pt>
                <c:pt idx="30627">
                  <c:v>-1.6806722689075598E-2</c:v>
                </c:pt>
                <c:pt idx="30628">
                  <c:v>-1.6806722689075598E-2</c:v>
                </c:pt>
                <c:pt idx="30629">
                  <c:v>-1.6806722689075598E-2</c:v>
                </c:pt>
                <c:pt idx="30630">
                  <c:v>-1.6806722689075598E-2</c:v>
                </c:pt>
                <c:pt idx="30631">
                  <c:v>-1.6806722689075598E-2</c:v>
                </c:pt>
                <c:pt idx="30632">
                  <c:v>-1.6806722689075598E-2</c:v>
                </c:pt>
                <c:pt idx="30633">
                  <c:v>-1.6806722689075598E-2</c:v>
                </c:pt>
                <c:pt idx="30634">
                  <c:v>-1.6806722689075598E-2</c:v>
                </c:pt>
                <c:pt idx="30635">
                  <c:v>-1.6806722689075598E-2</c:v>
                </c:pt>
                <c:pt idx="30636">
                  <c:v>-1.59663865546219E-2</c:v>
                </c:pt>
                <c:pt idx="30637">
                  <c:v>-1.59663865546219E-2</c:v>
                </c:pt>
                <c:pt idx="30638">
                  <c:v>-1.59663865546219E-2</c:v>
                </c:pt>
                <c:pt idx="30639">
                  <c:v>-1.59663865546219E-2</c:v>
                </c:pt>
                <c:pt idx="30640">
                  <c:v>-1.59663865546219E-2</c:v>
                </c:pt>
                <c:pt idx="30641">
                  <c:v>-1.59663865546219E-2</c:v>
                </c:pt>
                <c:pt idx="30642">
                  <c:v>-1.59663865546219E-2</c:v>
                </c:pt>
                <c:pt idx="30643">
                  <c:v>-1.59663865546219E-2</c:v>
                </c:pt>
                <c:pt idx="30644">
                  <c:v>-1.59663865546219E-2</c:v>
                </c:pt>
                <c:pt idx="30645">
                  <c:v>-1.59663865546219E-2</c:v>
                </c:pt>
                <c:pt idx="30646">
                  <c:v>-1.59663865546219E-2</c:v>
                </c:pt>
                <c:pt idx="30647">
                  <c:v>-1.59663865546219E-2</c:v>
                </c:pt>
                <c:pt idx="30648">
                  <c:v>-1.59663865546219E-2</c:v>
                </c:pt>
                <c:pt idx="30649">
                  <c:v>-1.59663865546219E-2</c:v>
                </c:pt>
                <c:pt idx="30650">
                  <c:v>-1.59663865546219E-2</c:v>
                </c:pt>
                <c:pt idx="30651">
                  <c:v>-1.59663865546219E-2</c:v>
                </c:pt>
                <c:pt idx="30652">
                  <c:v>-1.59663865546219E-2</c:v>
                </c:pt>
                <c:pt idx="30653">
                  <c:v>-1.59663865546219E-2</c:v>
                </c:pt>
                <c:pt idx="30654">
                  <c:v>-1.59663865546219E-2</c:v>
                </c:pt>
                <c:pt idx="30655">
                  <c:v>-1.59663865546219E-2</c:v>
                </c:pt>
                <c:pt idx="30656">
                  <c:v>-1.59663865546219E-2</c:v>
                </c:pt>
                <c:pt idx="30657">
                  <c:v>-1.59663865546219E-2</c:v>
                </c:pt>
                <c:pt idx="30658">
                  <c:v>-1.59663865546219E-2</c:v>
                </c:pt>
                <c:pt idx="30659">
                  <c:v>-1.59663865546219E-2</c:v>
                </c:pt>
                <c:pt idx="30660">
                  <c:v>-1.59663865546219E-2</c:v>
                </c:pt>
                <c:pt idx="30661">
                  <c:v>-1.59663865546219E-2</c:v>
                </c:pt>
                <c:pt idx="30662">
                  <c:v>-1.59663865546219E-2</c:v>
                </c:pt>
                <c:pt idx="30663">
                  <c:v>-1.59663865546219E-2</c:v>
                </c:pt>
                <c:pt idx="30664">
                  <c:v>-1.59663865546219E-2</c:v>
                </c:pt>
                <c:pt idx="30665">
                  <c:v>-1.59663865546219E-2</c:v>
                </c:pt>
                <c:pt idx="30666">
                  <c:v>-1.59663865546219E-2</c:v>
                </c:pt>
                <c:pt idx="30667">
                  <c:v>-1.59663865546219E-2</c:v>
                </c:pt>
                <c:pt idx="30668">
                  <c:v>-1.59663865546219E-2</c:v>
                </c:pt>
                <c:pt idx="30669">
                  <c:v>-1.59663865546219E-2</c:v>
                </c:pt>
                <c:pt idx="30670">
                  <c:v>-1.51260504201681E-2</c:v>
                </c:pt>
                <c:pt idx="30671">
                  <c:v>-1.51260504201681E-2</c:v>
                </c:pt>
                <c:pt idx="30672">
                  <c:v>-1.51260504201681E-2</c:v>
                </c:pt>
                <c:pt idx="30673">
                  <c:v>-1.51260504201681E-2</c:v>
                </c:pt>
                <c:pt idx="30674">
                  <c:v>-1.51260504201681E-2</c:v>
                </c:pt>
                <c:pt idx="30675">
                  <c:v>-1.51260504201681E-2</c:v>
                </c:pt>
                <c:pt idx="30676">
                  <c:v>-1.51260504201681E-2</c:v>
                </c:pt>
                <c:pt idx="30677">
                  <c:v>-1.51260504201681E-2</c:v>
                </c:pt>
                <c:pt idx="30678">
                  <c:v>-1.51260504201681E-2</c:v>
                </c:pt>
                <c:pt idx="30679">
                  <c:v>-1.51260504201681E-2</c:v>
                </c:pt>
                <c:pt idx="30680">
                  <c:v>-1.51260504201681E-2</c:v>
                </c:pt>
                <c:pt idx="30681">
                  <c:v>-1.51260504201681E-2</c:v>
                </c:pt>
                <c:pt idx="30682">
                  <c:v>-1.59663865546219E-2</c:v>
                </c:pt>
                <c:pt idx="30683">
                  <c:v>-1.59663865546219E-2</c:v>
                </c:pt>
                <c:pt idx="30684">
                  <c:v>-1.59663865546219E-2</c:v>
                </c:pt>
                <c:pt idx="30685">
                  <c:v>-1.59663865546219E-2</c:v>
                </c:pt>
                <c:pt idx="30686">
                  <c:v>-1.59663865546219E-2</c:v>
                </c:pt>
                <c:pt idx="30687">
                  <c:v>-1.59663865546219E-2</c:v>
                </c:pt>
                <c:pt idx="30688">
                  <c:v>-1.59663865546219E-2</c:v>
                </c:pt>
                <c:pt idx="30689">
                  <c:v>-1.59663865546219E-2</c:v>
                </c:pt>
                <c:pt idx="30690">
                  <c:v>-1.59663865546219E-2</c:v>
                </c:pt>
                <c:pt idx="30691">
                  <c:v>-1.59663865546219E-2</c:v>
                </c:pt>
                <c:pt idx="30692">
                  <c:v>-1.59663865546219E-2</c:v>
                </c:pt>
                <c:pt idx="30693">
                  <c:v>-1.59663865546219E-2</c:v>
                </c:pt>
                <c:pt idx="30694">
                  <c:v>-1.59663865546219E-2</c:v>
                </c:pt>
                <c:pt idx="30695">
                  <c:v>-1.59663865546219E-2</c:v>
                </c:pt>
                <c:pt idx="30696">
                  <c:v>-1.59663865546219E-2</c:v>
                </c:pt>
                <c:pt idx="30697">
                  <c:v>-1.59663865546219E-2</c:v>
                </c:pt>
                <c:pt idx="30698">
                  <c:v>-1.59663865546219E-2</c:v>
                </c:pt>
                <c:pt idx="30699">
                  <c:v>-1.59663865546219E-2</c:v>
                </c:pt>
                <c:pt idx="30700">
                  <c:v>-1.59663865546219E-2</c:v>
                </c:pt>
                <c:pt idx="30701">
                  <c:v>-1.59663865546219E-2</c:v>
                </c:pt>
                <c:pt idx="30702">
                  <c:v>-1.59663865546219E-2</c:v>
                </c:pt>
                <c:pt idx="30703">
                  <c:v>-1.59663865546219E-2</c:v>
                </c:pt>
                <c:pt idx="30704">
                  <c:v>-1.59663865546219E-2</c:v>
                </c:pt>
                <c:pt idx="30705">
                  <c:v>-1.59663865546219E-2</c:v>
                </c:pt>
                <c:pt idx="30706">
                  <c:v>-1.59663865546219E-2</c:v>
                </c:pt>
                <c:pt idx="30707">
                  <c:v>-1.59663865546219E-2</c:v>
                </c:pt>
                <c:pt idx="30708">
                  <c:v>-1.59663865546219E-2</c:v>
                </c:pt>
                <c:pt idx="30709">
                  <c:v>-1.59663865546219E-2</c:v>
                </c:pt>
                <c:pt idx="30710">
                  <c:v>-1.59663865546219E-2</c:v>
                </c:pt>
                <c:pt idx="30711">
                  <c:v>-1.59663865546219E-2</c:v>
                </c:pt>
                <c:pt idx="30712">
                  <c:v>-1.59663865546219E-2</c:v>
                </c:pt>
                <c:pt idx="30713">
                  <c:v>-1.59663865546219E-2</c:v>
                </c:pt>
                <c:pt idx="30714">
                  <c:v>-1.59663865546219E-2</c:v>
                </c:pt>
                <c:pt idx="30715">
                  <c:v>-1.59663865546219E-2</c:v>
                </c:pt>
                <c:pt idx="30716">
                  <c:v>-1.59663865546219E-2</c:v>
                </c:pt>
                <c:pt idx="30717">
                  <c:v>-1.59663865546219E-2</c:v>
                </c:pt>
                <c:pt idx="30718">
                  <c:v>-1.59663865546219E-2</c:v>
                </c:pt>
                <c:pt idx="30719">
                  <c:v>-1.59663865546219E-2</c:v>
                </c:pt>
                <c:pt idx="30720">
                  <c:v>-1.59663865546219E-2</c:v>
                </c:pt>
                <c:pt idx="30721">
                  <c:v>-1.59663865546219E-2</c:v>
                </c:pt>
                <c:pt idx="30722">
                  <c:v>-1.59663865546219E-2</c:v>
                </c:pt>
                <c:pt idx="30723">
                  <c:v>-1.59663865546219E-2</c:v>
                </c:pt>
                <c:pt idx="30724">
                  <c:v>-1.51260504201681E-2</c:v>
                </c:pt>
                <c:pt idx="30725">
                  <c:v>-1.51260504201681E-2</c:v>
                </c:pt>
                <c:pt idx="30726">
                  <c:v>-1.51260504201681E-2</c:v>
                </c:pt>
                <c:pt idx="30727">
                  <c:v>-1.51260504201681E-2</c:v>
                </c:pt>
                <c:pt idx="30728">
                  <c:v>-1.51260504201681E-2</c:v>
                </c:pt>
                <c:pt idx="30729">
                  <c:v>-1.51260504201681E-2</c:v>
                </c:pt>
                <c:pt idx="30730">
                  <c:v>-1.51260504201681E-2</c:v>
                </c:pt>
                <c:pt idx="30731">
                  <c:v>-1.51260504201681E-2</c:v>
                </c:pt>
                <c:pt idx="30732">
                  <c:v>-1.51260504201681E-2</c:v>
                </c:pt>
                <c:pt idx="30733">
                  <c:v>-1.51260504201681E-2</c:v>
                </c:pt>
                <c:pt idx="30734">
                  <c:v>-1.51260504201681E-2</c:v>
                </c:pt>
                <c:pt idx="30735">
                  <c:v>-1.51260504201681E-2</c:v>
                </c:pt>
                <c:pt idx="30736">
                  <c:v>-1.51260504201681E-2</c:v>
                </c:pt>
                <c:pt idx="30737">
                  <c:v>-1.51260504201681E-2</c:v>
                </c:pt>
                <c:pt idx="30738">
                  <c:v>-1.51260504201681E-2</c:v>
                </c:pt>
                <c:pt idx="30739">
                  <c:v>-1.51260504201681E-2</c:v>
                </c:pt>
                <c:pt idx="30740">
                  <c:v>-1.51260504201681E-2</c:v>
                </c:pt>
                <c:pt idx="30741">
                  <c:v>-1.51260504201681E-2</c:v>
                </c:pt>
                <c:pt idx="30742">
                  <c:v>-1.51260504201681E-2</c:v>
                </c:pt>
                <c:pt idx="30743">
                  <c:v>-1.51260504201681E-2</c:v>
                </c:pt>
                <c:pt idx="30744">
                  <c:v>-1.51260504201681E-2</c:v>
                </c:pt>
                <c:pt idx="30745">
                  <c:v>-1.51260504201681E-2</c:v>
                </c:pt>
                <c:pt idx="30746">
                  <c:v>-1.51260504201681E-2</c:v>
                </c:pt>
                <c:pt idx="30747">
                  <c:v>-1.51260504201681E-2</c:v>
                </c:pt>
                <c:pt idx="30748">
                  <c:v>-1.51260504201681E-2</c:v>
                </c:pt>
                <c:pt idx="30749">
                  <c:v>-1.51260504201681E-2</c:v>
                </c:pt>
                <c:pt idx="30750">
                  <c:v>-1.51260504201681E-2</c:v>
                </c:pt>
                <c:pt idx="30751">
                  <c:v>-1.51260504201681E-2</c:v>
                </c:pt>
                <c:pt idx="30752">
                  <c:v>-1.51260504201681E-2</c:v>
                </c:pt>
                <c:pt idx="30753">
                  <c:v>-1.51260504201681E-2</c:v>
                </c:pt>
                <c:pt idx="30754">
                  <c:v>-1.51260504201681E-2</c:v>
                </c:pt>
                <c:pt idx="30755">
                  <c:v>-1.51260504201681E-2</c:v>
                </c:pt>
                <c:pt idx="30756">
                  <c:v>-1.59663865546219E-2</c:v>
                </c:pt>
                <c:pt idx="30757">
                  <c:v>-1.59663865546219E-2</c:v>
                </c:pt>
                <c:pt idx="30758">
                  <c:v>-1.59663865546219E-2</c:v>
                </c:pt>
                <c:pt idx="30759">
                  <c:v>-1.59663865546219E-2</c:v>
                </c:pt>
                <c:pt idx="30760">
                  <c:v>-1.59663865546219E-2</c:v>
                </c:pt>
                <c:pt idx="30761">
                  <c:v>-1.59663865546219E-2</c:v>
                </c:pt>
                <c:pt idx="30762">
                  <c:v>-1.59663865546219E-2</c:v>
                </c:pt>
                <c:pt idx="30763">
                  <c:v>-1.59663865546219E-2</c:v>
                </c:pt>
                <c:pt idx="30764">
                  <c:v>-1.59663865546219E-2</c:v>
                </c:pt>
                <c:pt idx="30765">
                  <c:v>-1.59663865546219E-2</c:v>
                </c:pt>
                <c:pt idx="30766">
                  <c:v>-1.6806722689075598E-2</c:v>
                </c:pt>
                <c:pt idx="30767">
                  <c:v>-1.6806722689075598E-2</c:v>
                </c:pt>
                <c:pt idx="30768">
                  <c:v>-1.6806722689075598E-2</c:v>
                </c:pt>
                <c:pt idx="30769">
                  <c:v>-1.6806722689075598E-2</c:v>
                </c:pt>
                <c:pt idx="30770">
                  <c:v>-1.6806722689075598E-2</c:v>
                </c:pt>
                <c:pt idx="30771">
                  <c:v>-1.6806722689075598E-2</c:v>
                </c:pt>
                <c:pt idx="30772">
                  <c:v>-1.6806722689075598E-2</c:v>
                </c:pt>
                <c:pt idx="30773">
                  <c:v>-1.6806722689075598E-2</c:v>
                </c:pt>
                <c:pt idx="30774">
                  <c:v>-1.6806722689075598E-2</c:v>
                </c:pt>
                <c:pt idx="30775">
                  <c:v>-1.6806722689075598E-2</c:v>
                </c:pt>
                <c:pt idx="30776">
                  <c:v>-1.6806722689075598E-2</c:v>
                </c:pt>
                <c:pt idx="30777">
                  <c:v>-1.6806722689075598E-2</c:v>
                </c:pt>
                <c:pt idx="30778">
                  <c:v>-1.6806722689075598E-2</c:v>
                </c:pt>
                <c:pt idx="30779">
                  <c:v>-1.6806722689075598E-2</c:v>
                </c:pt>
                <c:pt idx="30780">
                  <c:v>-1.6806722689075598E-2</c:v>
                </c:pt>
                <c:pt idx="30781">
                  <c:v>-1.6806722689075598E-2</c:v>
                </c:pt>
                <c:pt idx="30782">
                  <c:v>-1.6806722689075598E-2</c:v>
                </c:pt>
                <c:pt idx="30783">
                  <c:v>-1.6806722689075598E-2</c:v>
                </c:pt>
                <c:pt idx="30784">
                  <c:v>-1.6806722689075598E-2</c:v>
                </c:pt>
                <c:pt idx="30785">
                  <c:v>-1.6806722689075598E-2</c:v>
                </c:pt>
                <c:pt idx="30786">
                  <c:v>-1.6806722689075598E-2</c:v>
                </c:pt>
                <c:pt idx="30787">
                  <c:v>-1.6806722689075598E-2</c:v>
                </c:pt>
                <c:pt idx="30788">
                  <c:v>-1.6806722689075598E-2</c:v>
                </c:pt>
                <c:pt idx="30789">
                  <c:v>-1.6806722689075598E-2</c:v>
                </c:pt>
                <c:pt idx="30790">
                  <c:v>-1.6806722689075598E-2</c:v>
                </c:pt>
                <c:pt idx="30791">
                  <c:v>-1.6806722689075598E-2</c:v>
                </c:pt>
                <c:pt idx="30792">
                  <c:v>-1.6806722689075598E-2</c:v>
                </c:pt>
                <c:pt idx="30793">
                  <c:v>-1.6806722689075598E-2</c:v>
                </c:pt>
                <c:pt idx="30794">
                  <c:v>-1.6806722689075598E-2</c:v>
                </c:pt>
                <c:pt idx="30795">
                  <c:v>-1.6806722689075598E-2</c:v>
                </c:pt>
                <c:pt idx="30796">
                  <c:v>-1.6806722689075598E-2</c:v>
                </c:pt>
                <c:pt idx="30797">
                  <c:v>-1.6806722689075598E-2</c:v>
                </c:pt>
                <c:pt idx="30798">
                  <c:v>-1.6806722689075598E-2</c:v>
                </c:pt>
                <c:pt idx="30799">
                  <c:v>-1.6806722689075598E-2</c:v>
                </c:pt>
                <c:pt idx="30800">
                  <c:v>-1.6806722689075598E-2</c:v>
                </c:pt>
                <c:pt idx="30801">
                  <c:v>-1.6806722689075598E-2</c:v>
                </c:pt>
                <c:pt idx="30802">
                  <c:v>-1.6806722689075598E-2</c:v>
                </c:pt>
                <c:pt idx="30803">
                  <c:v>-1.6806722689075598E-2</c:v>
                </c:pt>
                <c:pt idx="30804">
                  <c:v>-1.6806722689075598E-2</c:v>
                </c:pt>
                <c:pt idx="30805">
                  <c:v>-1.6806722689075598E-2</c:v>
                </c:pt>
                <c:pt idx="30806">
                  <c:v>-1.6806722689075598E-2</c:v>
                </c:pt>
                <c:pt idx="30807">
                  <c:v>-1.6806722689075598E-2</c:v>
                </c:pt>
                <c:pt idx="30808">
                  <c:v>-1.6806722689075598E-2</c:v>
                </c:pt>
                <c:pt idx="30809">
                  <c:v>-1.6806722689075598E-2</c:v>
                </c:pt>
                <c:pt idx="30810">
                  <c:v>-1.6806722689075598E-2</c:v>
                </c:pt>
                <c:pt idx="30811">
                  <c:v>-1.7647058823529401E-2</c:v>
                </c:pt>
                <c:pt idx="30812">
                  <c:v>-1.7647058823529401E-2</c:v>
                </c:pt>
                <c:pt idx="30813">
                  <c:v>-1.7647058823529401E-2</c:v>
                </c:pt>
                <c:pt idx="30814">
                  <c:v>-1.7647058823529401E-2</c:v>
                </c:pt>
                <c:pt idx="30815">
                  <c:v>-1.7647058823529401E-2</c:v>
                </c:pt>
                <c:pt idx="30816">
                  <c:v>-1.7647058823529401E-2</c:v>
                </c:pt>
                <c:pt idx="30817">
                  <c:v>-1.7647058823529401E-2</c:v>
                </c:pt>
                <c:pt idx="30818">
                  <c:v>-1.7647058823529401E-2</c:v>
                </c:pt>
                <c:pt idx="30819">
                  <c:v>-1.7647058823529401E-2</c:v>
                </c:pt>
                <c:pt idx="30820">
                  <c:v>-1.6806722689075598E-2</c:v>
                </c:pt>
                <c:pt idx="30821">
                  <c:v>-1.6806722689075598E-2</c:v>
                </c:pt>
                <c:pt idx="30822">
                  <c:v>-1.6806722689075598E-2</c:v>
                </c:pt>
                <c:pt idx="30823">
                  <c:v>-1.6806722689075598E-2</c:v>
                </c:pt>
                <c:pt idx="30824">
                  <c:v>-1.6806722689075598E-2</c:v>
                </c:pt>
                <c:pt idx="30825">
                  <c:v>-1.6806722689075598E-2</c:v>
                </c:pt>
                <c:pt idx="30826">
                  <c:v>-1.6806722689075598E-2</c:v>
                </c:pt>
                <c:pt idx="30827">
                  <c:v>-1.6806722689075598E-2</c:v>
                </c:pt>
                <c:pt idx="30828">
                  <c:v>-1.6806722689075598E-2</c:v>
                </c:pt>
                <c:pt idx="30829">
                  <c:v>-1.6806722689075598E-2</c:v>
                </c:pt>
                <c:pt idx="30830">
                  <c:v>-1.6806722689075598E-2</c:v>
                </c:pt>
                <c:pt idx="30831">
                  <c:v>-1.6806722689075598E-2</c:v>
                </c:pt>
                <c:pt idx="30832">
                  <c:v>-1.6806722689075598E-2</c:v>
                </c:pt>
                <c:pt idx="30833">
                  <c:v>-1.6806722689075598E-2</c:v>
                </c:pt>
                <c:pt idx="30834">
                  <c:v>-1.6806722689075598E-2</c:v>
                </c:pt>
                <c:pt idx="30835">
                  <c:v>-1.6806722689075598E-2</c:v>
                </c:pt>
                <c:pt idx="30836">
                  <c:v>-1.6806722689075598E-2</c:v>
                </c:pt>
                <c:pt idx="30837">
                  <c:v>-1.6806722689075598E-2</c:v>
                </c:pt>
                <c:pt idx="30838">
                  <c:v>-1.6806722689075598E-2</c:v>
                </c:pt>
                <c:pt idx="30839">
                  <c:v>-1.5966386554621698E-2</c:v>
                </c:pt>
                <c:pt idx="30840">
                  <c:v>-1.5966386554621698E-2</c:v>
                </c:pt>
                <c:pt idx="30841">
                  <c:v>-1.5966386554621698E-2</c:v>
                </c:pt>
                <c:pt idx="30842">
                  <c:v>-1.5966386554621698E-2</c:v>
                </c:pt>
                <c:pt idx="30843">
                  <c:v>-1.5966386554621698E-2</c:v>
                </c:pt>
                <c:pt idx="30844">
                  <c:v>-1.5966386554621698E-2</c:v>
                </c:pt>
                <c:pt idx="30845">
                  <c:v>-1.5966386554621698E-2</c:v>
                </c:pt>
                <c:pt idx="30846">
                  <c:v>-1.5966386554621698E-2</c:v>
                </c:pt>
                <c:pt idx="30847">
                  <c:v>-1.5966386554621698E-2</c:v>
                </c:pt>
                <c:pt idx="30848">
                  <c:v>-1.5966386554621698E-2</c:v>
                </c:pt>
                <c:pt idx="30849">
                  <c:v>-1.5966386554621698E-2</c:v>
                </c:pt>
                <c:pt idx="30850">
                  <c:v>-1.5966386554621698E-2</c:v>
                </c:pt>
                <c:pt idx="30851">
                  <c:v>-1.6806722689075501E-2</c:v>
                </c:pt>
                <c:pt idx="30852">
                  <c:v>-1.6806722689075501E-2</c:v>
                </c:pt>
                <c:pt idx="30853">
                  <c:v>-1.6806722689075501E-2</c:v>
                </c:pt>
                <c:pt idx="30854">
                  <c:v>-1.6806722689075501E-2</c:v>
                </c:pt>
                <c:pt idx="30855">
                  <c:v>-1.6806722689075501E-2</c:v>
                </c:pt>
                <c:pt idx="30856">
                  <c:v>-1.76470588235293E-2</c:v>
                </c:pt>
                <c:pt idx="30857">
                  <c:v>-1.76470588235293E-2</c:v>
                </c:pt>
                <c:pt idx="30858">
                  <c:v>-1.76470588235293E-2</c:v>
                </c:pt>
                <c:pt idx="30859">
                  <c:v>-1.76470588235293E-2</c:v>
                </c:pt>
                <c:pt idx="30860">
                  <c:v>-1.76470588235293E-2</c:v>
                </c:pt>
                <c:pt idx="30861">
                  <c:v>-1.76470588235293E-2</c:v>
                </c:pt>
                <c:pt idx="30862">
                  <c:v>-1.76470588235293E-2</c:v>
                </c:pt>
                <c:pt idx="30863">
                  <c:v>-1.76470588235293E-2</c:v>
                </c:pt>
                <c:pt idx="30864">
                  <c:v>-1.76470588235293E-2</c:v>
                </c:pt>
                <c:pt idx="30865">
                  <c:v>-1.76470588235293E-2</c:v>
                </c:pt>
                <c:pt idx="30866">
                  <c:v>-1.76470588235293E-2</c:v>
                </c:pt>
                <c:pt idx="30867">
                  <c:v>-1.76470588235293E-2</c:v>
                </c:pt>
                <c:pt idx="30868">
                  <c:v>-1.76470588235293E-2</c:v>
                </c:pt>
                <c:pt idx="30869">
                  <c:v>-1.76470588235293E-2</c:v>
                </c:pt>
                <c:pt idx="30870">
                  <c:v>-1.76470588235293E-2</c:v>
                </c:pt>
                <c:pt idx="30871">
                  <c:v>-1.76470588235293E-2</c:v>
                </c:pt>
                <c:pt idx="30872">
                  <c:v>-1.76470588235293E-2</c:v>
                </c:pt>
                <c:pt idx="30873">
                  <c:v>-1.76470588235293E-2</c:v>
                </c:pt>
                <c:pt idx="30874">
                  <c:v>-1.76470588235293E-2</c:v>
                </c:pt>
                <c:pt idx="30875">
                  <c:v>-1.76470588235293E-2</c:v>
                </c:pt>
                <c:pt idx="30876">
                  <c:v>-1.76470588235293E-2</c:v>
                </c:pt>
                <c:pt idx="30877">
                  <c:v>-1.76470588235293E-2</c:v>
                </c:pt>
                <c:pt idx="30878">
                  <c:v>-1.6806722689075501E-2</c:v>
                </c:pt>
                <c:pt idx="30879">
                  <c:v>-1.6806722689075501E-2</c:v>
                </c:pt>
                <c:pt idx="30880">
                  <c:v>-1.6806722689075501E-2</c:v>
                </c:pt>
                <c:pt idx="30881">
                  <c:v>-1.6806722689075501E-2</c:v>
                </c:pt>
                <c:pt idx="30882">
                  <c:v>-1.6806722689075501E-2</c:v>
                </c:pt>
                <c:pt idx="30883">
                  <c:v>-1.6806722689075501E-2</c:v>
                </c:pt>
                <c:pt idx="30884">
                  <c:v>-1.6806722689075501E-2</c:v>
                </c:pt>
                <c:pt idx="30885">
                  <c:v>-1.6806722689075501E-2</c:v>
                </c:pt>
                <c:pt idx="30886">
                  <c:v>-1.6806722689075501E-2</c:v>
                </c:pt>
                <c:pt idx="30887">
                  <c:v>-1.6806722689075501E-2</c:v>
                </c:pt>
                <c:pt idx="30888">
                  <c:v>-1.6806722689075501E-2</c:v>
                </c:pt>
                <c:pt idx="30889">
                  <c:v>-1.6806722689075501E-2</c:v>
                </c:pt>
                <c:pt idx="30890">
                  <c:v>-1.6806722689075501E-2</c:v>
                </c:pt>
                <c:pt idx="30891">
                  <c:v>-1.6806722689075501E-2</c:v>
                </c:pt>
                <c:pt idx="30892">
                  <c:v>-1.6806722689075501E-2</c:v>
                </c:pt>
                <c:pt idx="30893">
                  <c:v>-1.76470588235293E-2</c:v>
                </c:pt>
                <c:pt idx="30894">
                  <c:v>-1.76470588235293E-2</c:v>
                </c:pt>
                <c:pt idx="30895">
                  <c:v>-1.76470588235293E-2</c:v>
                </c:pt>
                <c:pt idx="30896">
                  <c:v>-1.76470588235293E-2</c:v>
                </c:pt>
                <c:pt idx="30897">
                  <c:v>-1.76470588235293E-2</c:v>
                </c:pt>
                <c:pt idx="30898">
                  <c:v>-1.76470588235293E-2</c:v>
                </c:pt>
                <c:pt idx="30899">
                  <c:v>-1.76470588235293E-2</c:v>
                </c:pt>
                <c:pt idx="30900">
                  <c:v>-1.76470588235293E-2</c:v>
                </c:pt>
                <c:pt idx="30901">
                  <c:v>-1.76470588235293E-2</c:v>
                </c:pt>
                <c:pt idx="30902">
                  <c:v>-1.76470588235293E-2</c:v>
                </c:pt>
                <c:pt idx="30903">
                  <c:v>-1.76470588235293E-2</c:v>
                </c:pt>
                <c:pt idx="30904">
                  <c:v>-1.76470588235293E-2</c:v>
                </c:pt>
                <c:pt idx="30905">
                  <c:v>-1.76470588235293E-2</c:v>
                </c:pt>
                <c:pt idx="30906">
                  <c:v>-1.76470588235293E-2</c:v>
                </c:pt>
                <c:pt idx="30907">
                  <c:v>-1.76470588235293E-2</c:v>
                </c:pt>
                <c:pt idx="30908">
                  <c:v>-1.76470588235293E-2</c:v>
                </c:pt>
                <c:pt idx="30909">
                  <c:v>-1.76470588235293E-2</c:v>
                </c:pt>
                <c:pt idx="30910">
                  <c:v>-1.76470588235293E-2</c:v>
                </c:pt>
                <c:pt idx="30911">
                  <c:v>-1.76470588235293E-2</c:v>
                </c:pt>
                <c:pt idx="30912">
                  <c:v>-1.76470588235293E-2</c:v>
                </c:pt>
                <c:pt idx="30913">
                  <c:v>-1.76470588235293E-2</c:v>
                </c:pt>
                <c:pt idx="30914">
                  <c:v>-1.76470588235293E-2</c:v>
                </c:pt>
                <c:pt idx="30915">
                  <c:v>-1.76470588235293E-2</c:v>
                </c:pt>
                <c:pt idx="30916">
                  <c:v>-1.76470588235293E-2</c:v>
                </c:pt>
                <c:pt idx="30917">
                  <c:v>-1.76470588235293E-2</c:v>
                </c:pt>
                <c:pt idx="30918">
                  <c:v>-1.76470588235293E-2</c:v>
                </c:pt>
                <c:pt idx="30919">
                  <c:v>-1.76470588235293E-2</c:v>
                </c:pt>
                <c:pt idx="30920">
                  <c:v>-1.76470588235293E-2</c:v>
                </c:pt>
                <c:pt idx="30921">
                  <c:v>-1.76470588235293E-2</c:v>
                </c:pt>
                <c:pt idx="30922">
                  <c:v>-1.76470588235293E-2</c:v>
                </c:pt>
                <c:pt idx="30923">
                  <c:v>-1.76470588235293E-2</c:v>
                </c:pt>
                <c:pt idx="30924">
                  <c:v>-1.76470588235293E-2</c:v>
                </c:pt>
                <c:pt idx="30925">
                  <c:v>-1.76470588235293E-2</c:v>
                </c:pt>
                <c:pt idx="30926">
                  <c:v>-1.76470588235293E-2</c:v>
                </c:pt>
                <c:pt idx="30927">
                  <c:v>-1.76470588235293E-2</c:v>
                </c:pt>
                <c:pt idx="30928">
                  <c:v>-1.76470588235293E-2</c:v>
                </c:pt>
                <c:pt idx="30929">
                  <c:v>-1.76470588235293E-2</c:v>
                </c:pt>
                <c:pt idx="30930">
                  <c:v>-1.76470588235293E-2</c:v>
                </c:pt>
                <c:pt idx="30931">
                  <c:v>-1.76470588235293E-2</c:v>
                </c:pt>
                <c:pt idx="30932">
                  <c:v>-1.76470588235293E-2</c:v>
                </c:pt>
                <c:pt idx="30933">
                  <c:v>-1.76470588235293E-2</c:v>
                </c:pt>
                <c:pt idx="30934">
                  <c:v>-1.76470588235293E-2</c:v>
                </c:pt>
                <c:pt idx="30935">
                  <c:v>-1.76470588235293E-2</c:v>
                </c:pt>
                <c:pt idx="30936">
                  <c:v>-1.76470588235293E-2</c:v>
                </c:pt>
                <c:pt idx="30937">
                  <c:v>-1.76470588235293E-2</c:v>
                </c:pt>
                <c:pt idx="30938">
                  <c:v>-1.76470588235293E-2</c:v>
                </c:pt>
                <c:pt idx="30939">
                  <c:v>-1.76470588235293E-2</c:v>
                </c:pt>
                <c:pt idx="30940">
                  <c:v>-1.76470588235293E-2</c:v>
                </c:pt>
                <c:pt idx="30941">
                  <c:v>-1.76470588235293E-2</c:v>
                </c:pt>
                <c:pt idx="30942">
                  <c:v>-1.84873949579831E-2</c:v>
                </c:pt>
                <c:pt idx="30943">
                  <c:v>-1.84873949579831E-2</c:v>
                </c:pt>
                <c:pt idx="30944">
                  <c:v>-1.84873949579831E-2</c:v>
                </c:pt>
                <c:pt idx="30945">
                  <c:v>-1.84873949579831E-2</c:v>
                </c:pt>
                <c:pt idx="30946">
                  <c:v>-1.84873949579831E-2</c:v>
                </c:pt>
                <c:pt idx="30947">
                  <c:v>-1.84873949579831E-2</c:v>
                </c:pt>
                <c:pt idx="30948">
                  <c:v>-1.84873949579831E-2</c:v>
                </c:pt>
                <c:pt idx="30949">
                  <c:v>-1.84873949579831E-2</c:v>
                </c:pt>
                <c:pt idx="30950">
                  <c:v>-1.84873949579831E-2</c:v>
                </c:pt>
                <c:pt idx="30951">
                  <c:v>-1.84873949579831E-2</c:v>
                </c:pt>
                <c:pt idx="30952">
                  <c:v>-1.84873949579831E-2</c:v>
                </c:pt>
                <c:pt idx="30953">
                  <c:v>-1.84873949579831E-2</c:v>
                </c:pt>
                <c:pt idx="30954">
                  <c:v>-1.84873949579831E-2</c:v>
                </c:pt>
                <c:pt idx="30955">
                  <c:v>-1.84873949579831E-2</c:v>
                </c:pt>
                <c:pt idx="30956">
                  <c:v>-1.84873949579831E-2</c:v>
                </c:pt>
                <c:pt idx="30957">
                  <c:v>-1.84873949579831E-2</c:v>
                </c:pt>
                <c:pt idx="30958">
                  <c:v>-1.84873949579831E-2</c:v>
                </c:pt>
                <c:pt idx="30959">
                  <c:v>-1.84873949579831E-2</c:v>
                </c:pt>
                <c:pt idx="30960">
                  <c:v>-1.84873949579831E-2</c:v>
                </c:pt>
                <c:pt idx="30961">
                  <c:v>-1.84873949579831E-2</c:v>
                </c:pt>
                <c:pt idx="30962">
                  <c:v>-1.84873949579831E-2</c:v>
                </c:pt>
                <c:pt idx="30963">
                  <c:v>-1.84873949579831E-2</c:v>
                </c:pt>
                <c:pt idx="30964">
                  <c:v>-1.84873949579831E-2</c:v>
                </c:pt>
                <c:pt idx="30965">
                  <c:v>-1.84873949579831E-2</c:v>
                </c:pt>
                <c:pt idx="30966">
                  <c:v>-1.84873949579831E-2</c:v>
                </c:pt>
                <c:pt idx="30967">
                  <c:v>-1.84873949579831E-2</c:v>
                </c:pt>
                <c:pt idx="30968">
                  <c:v>-1.84873949579831E-2</c:v>
                </c:pt>
                <c:pt idx="30969">
                  <c:v>-1.84873949579831E-2</c:v>
                </c:pt>
                <c:pt idx="30970">
                  <c:v>-1.84873949579831E-2</c:v>
                </c:pt>
                <c:pt idx="30971">
                  <c:v>-1.84873949579831E-2</c:v>
                </c:pt>
                <c:pt idx="30972">
                  <c:v>-1.84873949579831E-2</c:v>
                </c:pt>
                <c:pt idx="30973">
                  <c:v>-1.84873949579831E-2</c:v>
                </c:pt>
                <c:pt idx="30974">
                  <c:v>-1.84873949579831E-2</c:v>
                </c:pt>
                <c:pt idx="30975">
                  <c:v>-1.84873949579831E-2</c:v>
                </c:pt>
                <c:pt idx="30976">
                  <c:v>-1.84873949579831E-2</c:v>
                </c:pt>
                <c:pt idx="30977">
                  <c:v>-1.84873949579831E-2</c:v>
                </c:pt>
                <c:pt idx="30978">
                  <c:v>-1.84873949579831E-2</c:v>
                </c:pt>
                <c:pt idx="30979">
                  <c:v>-1.84873949579831E-2</c:v>
                </c:pt>
                <c:pt idx="30980">
                  <c:v>-1.84873949579831E-2</c:v>
                </c:pt>
                <c:pt idx="30981">
                  <c:v>-1.84873949579831E-2</c:v>
                </c:pt>
                <c:pt idx="30982">
                  <c:v>-1.84873949579831E-2</c:v>
                </c:pt>
                <c:pt idx="30983">
                  <c:v>-1.84873949579831E-2</c:v>
                </c:pt>
                <c:pt idx="30984">
                  <c:v>-1.84873949579831E-2</c:v>
                </c:pt>
                <c:pt idx="30985">
                  <c:v>-1.84873949579831E-2</c:v>
                </c:pt>
                <c:pt idx="30986">
                  <c:v>-1.84873949579831E-2</c:v>
                </c:pt>
                <c:pt idx="30987">
                  <c:v>-1.84873949579831E-2</c:v>
                </c:pt>
                <c:pt idx="30988">
                  <c:v>-1.84873949579831E-2</c:v>
                </c:pt>
                <c:pt idx="30989">
                  <c:v>-1.84873949579831E-2</c:v>
                </c:pt>
                <c:pt idx="30990">
                  <c:v>-1.84873949579831E-2</c:v>
                </c:pt>
                <c:pt idx="30991">
                  <c:v>-1.84873949579831E-2</c:v>
                </c:pt>
                <c:pt idx="30992">
                  <c:v>-1.84873949579831E-2</c:v>
                </c:pt>
                <c:pt idx="30993">
                  <c:v>-1.84873949579831E-2</c:v>
                </c:pt>
                <c:pt idx="30994">
                  <c:v>-1.84873949579831E-2</c:v>
                </c:pt>
                <c:pt idx="30995">
                  <c:v>-1.84873949579831E-2</c:v>
                </c:pt>
                <c:pt idx="30996">
                  <c:v>-1.84873949579831E-2</c:v>
                </c:pt>
                <c:pt idx="30997">
                  <c:v>-1.84873949579831E-2</c:v>
                </c:pt>
                <c:pt idx="30998">
                  <c:v>-1.84873949579831E-2</c:v>
                </c:pt>
                <c:pt idx="30999">
                  <c:v>-1.76470588235293E-2</c:v>
                </c:pt>
                <c:pt idx="31000">
                  <c:v>-1.76470588235293E-2</c:v>
                </c:pt>
                <c:pt idx="31001">
                  <c:v>-1.76470588235293E-2</c:v>
                </c:pt>
                <c:pt idx="31002">
                  <c:v>-1.76470588235293E-2</c:v>
                </c:pt>
                <c:pt idx="31003">
                  <c:v>-1.76470588235293E-2</c:v>
                </c:pt>
                <c:pt idx="31004">
                  <c:v>-1.76470588235293E-2</c:v>
                </c:pt>
                <c:pt idx="31005">
                  <c:v>-1.76470588235293E-2</c:v>
                </c:pt>
                <c:pt idx="31006">
                  <c:v>-1.76470588235293E-2</c:v>
                </c:pt>
                <c:pt idx="31007">
                  <c:v>-1.76470588235293E-2</c:v>
                </c:pt>
                <c:pt idx="31008">
                  <c:v>-1.76470588235293E-2</c:v>
                </c:pt>
                <c:pt idx="31009">
                  <c:v>-1.76470588235293E-2</c:v>
                </c:pt>
                <c:pt idx="31010">
                  <c:v>-1.76470588235293E-2</c:v>
                </c:pt>
                <c:pt idx="31011">
                  <c:v>-1.76470588235293E-2</c:v>
                </c:pt>
                <c:pt idx="31012">
                  <c:v>-1.76470588235293E-2</c:v>
                </c:pt>
                <c:pt idx="31013">
                  <c:v>-1.76470588235293E-2</c:v>
                </c:pt>
                <c:pt idx="31014">
                  <c:v>-1.76470588235293E-2</c:v>
                </c:pt>
                <c:pt idx="31015">
                  <c:v>-1.76470588235293E-2</c:v>
                </c:pt>
                <c:pt idx="31016">
                  <c:v>-1.76470588235293E-2</c:v>
                </c:pt>
                <c:pt idx="31017">
                  <c:v>-1.76470588235293E-2</c:v>
                </c:pt>
                <c:pt idx="31018">
                  <c:v>-1.76470588235293E-2</c:v>
                </c:pt>
                <c:pt idx="31019">
                  <c:v>-1.76470588235293E-2</c:v>
                </c:pt>
                <c:pt idx="31020">
                  <c:v>-1.76470588235293E-2</c:v>
                </c:pt>
                <c:pt idx="31021">
                  <c:v>-1.76470588235293E-2</c:v>
                </c:pt>
                <c:pt idx="31022">
                  <c:v>-1.76470588235293E-2</c:v>
                </c:pt>
                <c:pt idx="31023">
                  <c:v>-1.76470588235293E-2</c:v>
                </c:pt>
                <c:pt idx="31024">
                  <c:v>-1.76470588235293E-2</c:v>
                </c:pt>
                <c:pt idx="31025">
                  <c:v>-1.76470588235293E-2</c:v>
                </c:pt>
                <c:pt idx="31026">
                  <c:v>-1.76470588235293E-2</c:v>
                </c:pt>
                <c:pt idx="31027">
                  <c:v>-1.76470588235293E-2</c:v>
                </c:pt>
                <c:pt idx="31028">
                  <c:v>-1.76470588235293E-2</c:v>
                </c:pt>
                <c:pt idx="31029">
                  <c:v>-1.76470588235293E-2</c:v>
                </c:pt>
                <c:pt idx="31030">
                  <c:v>-1.76470588235293E-2</c:v>
                </c:pt>
                <c:pt idx="31031">
                  <c:v>-1.76470588235293E-2</c:v>
                </c:pt>
                <c:pt idx="31032">
                  <c:v>-1.76470588235293E-2</c:v>
                </c:pt>
                <c:pt idx="31033">
                  <c:v>-1.76470588235293E-2</c:v>
                </c:pt>
                <c:pt idx="31034">
                  <c:v>-1.76470588235293E-2</c:v>
                </c:pt>
                <c:pt idx="31035">
                  <c:v>-1.76470588235293E-2</c:v>
                </c:pt>
                <c:pt idx="31036">
                  <c:v>-1.76470588235293E-2</c:v>
                </c:pt>
                <c:pt idx="31037">
                  <c:v>-1.76470588235293E-2</c:v>
                </c:pt>
                <c:pt idx="31038">
                  <c:v>-1.76470588235293E-2</c:v>
                </c:pt>
                <c:pt idx="31039">
                  <c:v>-1.76470588235293E-2</c:v>
                </c:pt>
                <c:pt idx="31040">
                  <c:v>-1.76470588235293E-2</c:v>
                </c:pt>
                <c:pt idx="31041">
                  <c:v>-1.76470588235293E-2</c:v>
                </c:pt>
                <c:pt idx="31042">
                  <c:v>-1.76470588235293E-2</c:v>
                </c:pt>
                <c:pt idx="31043">
                  <c:v>-1.76470588235293E-2</c:v>
                </c:pt>
                <c:pt idx="31044">
                  <c:v>-1.76470588235293E-2</c:v>
                </c:pt>
                <c:pt idx="31045">
                  <c:v>-1.76470588235293E-2</c:v>
                </c:pt>
                <c:pt idx="31046">
                  <c:v>-1.76470588235293E-2</c:v>
                </c:pt>
                <c:pt idx="31047">
                  <c:v>-1.76470588235293E-2</c:v>
                </c:pt>
                <c:pt idx="31048">
                  <c:v>-1.76470588235293E-2</c:v>
                </c:pt>
                <c:pt idx="31049">
                  <c:v>-1.76470588235293E-2</c:v>
                </c:pt>
                <c:pt idx="31050">
                  <c:v>-1.76470588235293E-2</c:v>
                </c:pt>
                <c:pt idx="31051">
                  <c:v>-1.76470588235293E-2</c:v>
                </c:pt>
                <c:pt idx="31052">
                  <c:v>-1.76470588235293E-2</c:v>
                </c:pt>
                <c:pt idx="31053">
                  <c:v>-1.76470588235293E-2</c:v>
                </c:pt>
                <c:pt idx="31054">
                  <c:v>-1.76470588235293E-2</c:v>
                </c:pt>
                <c:pt idx="31055">
                  <c:v>-1.76470588235293E-2</c:v>
                </c:pt>
                <c:pt idx="31056">
                  <c:v>-1.76470588235293E-2</c:v>
                </c:pt>
                <c:pt idx="31057">
                  <c:v>-1.76470588235293E-2</c:v>
                </c:pt>
                <c:pt idx="31058">
                  <c:v>-1.76470588235293E-2</c:v>
                </c:pt>
                <c:pt idx="31059">
                  <c:v>-1.76470588235293E-2</c:v>
                </c:pt>
                <c:pt idx="31060">
                  <c:v>-1.76470588235293E-2</c:v>
                </c:pt>
                <c:pt idx="31061">
                  <c:v>-1.76470588235293E-2</c:v>
                </c:pt>
                <c:pt idx="31062">
                  <c:v>-1.76470588235293E-2</c:v>
                </c:pt>
                <c:pt idx="31063">
                  <c:v>-1.76470588235293E-2</c:v>
                </c:pt>
                <c:pt idx="31064">
                  <c:v>-1.76470588235293E-2</c:v>
                </c:pt>
                <c:pt idx="31065">
                  <c:v>-1.76470588235293E-2</c:v>
                </c:pt>
                <c:pt idx="31066">
                  <c:v>-1.76470588235293E-2</c:v>
                </c:pt>
                <c:pt idx="31067">
                  <c:v>-1.76470588235293E-2</c:v>
                </c:pt>
                <c:pt idx="31068">
                  <c:v>-1.76470588235293E-2</c:v>
                </c:pt>
                <c:pt idx="31069">
                  <c:v>-1.76470588235293E-2</c:v>
                </c:pt>
                <c:pt idx="31070">
                  <c:v>-1.76470588235293E-2</c:v>
                </c:pt>
                <c:pt idx="31071">
                  <c:v>-1.76470588235293E-2</c:v>
                </c:pt>
                <c:pt idx="31072">
                  <c:v>-1.76470588235293E-2</c:v>
                </c:pt>
                <c:pt idx="31073">
                  <c:v>-1.76470588235293E-2</c:v>
                </c:pt>
                <c:pt idx="31074">
                  <c:v>-1.76470588235293E-2</c:v>
                </c:pt>
                <c:pt idx="31075">
                  <c:v>-1.76470588235293E-2</c:v>
                </c:pt>
                <c:pt idx="31076">
                  <c:v>-1.76470588235293E-2</c:v>
                </c:pt>
                <c:pt idx="31077">
                  <c:v>-1.76470588235293E-2</c:v>
                </c:pt>
                <c:pt idx="31078">
                  <c:v>-1.76470588235293E-2</c:v>
                </c:pt>
                <c:pt idx="31079">
                  <c:v>-1.76470588235293E-2</c:v>
                </c:pt>
                <c:pt idx="31080">
                  <c:v>-1.76470588235293E-2</c:v>
                </c:pt>
                <c:pt idx="31081">
                  <c:v>-1.76470588235293E-2</c:v>
                </c:pt>
                <c:pt idx="31082">
                  <c:v>-1.76470588235293E-2</c:v>
                </c:pt>
                <c:pt idx="31083">
                  <c:v>-1.76470588235293E-2</c:v>
                </c:pt>
                <c:pt idx="31084">
                  <c:v>-1.76470588235293E-2</c:v>
                </c:pt>
                <c:pt idx="31085">
                  <c:v>-1.76470588235293E-2</c:v>
                </c:pt>
                <c:pt idx="31086">
                  <c:v>-1.76470588235293E-2</c:v>
                </c:pt>
                <c:pt idx="31087">
                  <c:v>-1.76470588235293E-2</c:v>
                </c:pt>
                <c:pt idx="31088">
                  <c:v>-1.76470588235293E-2</c:v>
                </c:pt>
                <c:pt idx="31089">
                  <c:v>-1.76470588235293E-2</c:v>
                </c:pt>
                <c:pt idx="31090">
                  <c:v>-1.76470588235293E-2</c:v>
                </c:pt>
                <c:pt idx="31091">
                  <c:v>-1.76470588235293E-2</c:v>
                </c:pt>
                <c:pt idx="31092">
                  <c:v>-1.76470588235293E-2</c:v>
                </c:pt>
                <c:pt idx="31093">
                  <c:v>-1.76470588235293E-2</c:v>
                </c:pt>
                <c:pt idx="31094">
                  <c:v>-1.76470588235293E-2</c:v>
                </c:pt>
                <c:pt idx="31095">
                  <c:v>-1.76470588235293E-2</c:v>
                </c:pt>
                <c:pt idx="31096">
                  <c:v>-1.76470588235293E-2</c:v>
                </c:pt>
                <c:pt idx="31097">
                  <c:v>-1.76470588235293E-2</c:v>
                </c:pt>
                <c:pt idx="31098">
                  <c:v>-1.76470588235293E-2</c:v>
                </c:pt>
                <c:pt idx="31099">
                  <c:v>-1.76470588235293E-2</c:v>
                </c:pt>
                <c:pt idx="31100">
                  <c:v>-1.76470588235293E-2</c:v>
                </c:pt>
                <c:pt idx="31101">
                  <c:v>-1.76470588235293E-2</c:v>
                </c:pt>
                <c:pt idx="31102">
                  <c:v>-1.76470588235293E-2</c:v>
                </c:pt>
                <c:pt idx="31103">
                  <c:v>-1.76470588235293E-2</c:v>
                </c:pt>
                <c:pt idx="31104">
                  <c:v>-1.76470588235293E-2</c:v>
                </c:pt>
                <c:pt idx="31105">
                  <c:v>-1.76470588235293E-2</c:v>
                </c:pt>
                <c:pt idx="31106">
                  <c:v>-1.76470588235293E-2</c:v>
                </c:pt>
                <c:pt idx="31107">
                  <c:v>-1.76470588235293E-2</c:v>
                </c:pt>
                <c:pt idx="31108">
                  <c:v>-1.76470588235293E-2</c:v>
                </c:pt>
                <c:pt idx="31109">
                  <c:v>-1.76470588235293E-2</c:v>
                </c:pt>
                <c:pt idx="31110">
                  <c:v>-1.76470588235293E-2</c:v>
                </c:pt>
                <c:pt idx="31111">
                  <c:v>-1.76470588235293E-2</c:v>
                </c:pt>
                <c:pt idx="31112">
                  <c:v>-1.76470588235293E-2</c:v>
                </c:pt>
                <c:pt idx="31113">
                  <c:v>-1.76470588235293E-2</c:v>
                </c:pt>
                <c:pt idx="31114">
                  <c:v>-1.76470588235293E-2</c:v>
                </c:pt>
                <c:pt idx="31115">
                  <c:v>-1.76470588235293E-2</c:v>
                </c:pt>
                <c:pt idx="31116">
                  <c:v>-1.76470588235293E-2</c:v>
                </c:pt>
                <c:pt idx="31117">
                  <c:v>-1.76470588235293E-2</c:v>
                </c:pt>
                <c:pt idx="31118">
                  <c:v>-1.76470588235293E-2</c:v>
                </c:pt>
                <c:pt idx="31119">
                  <c:v>-1.76470588235293E-2</c:v>
                </c:pt>
                <c:pt idx="31120">
                  <c:v>-1.76470588235293E-2</c:v>
                </c:pt>
                <c:pt idx="31121">
                  <c:v>-1.76470588235293E-2</c:v>
                </c:pt>
                <c:pt idx="31122">
                  <c:v>-1.76470588235293E-2</c:v>
                </c:pt>
                <c:pt idx="31123">
                  <c:v>-1.76470588235293E-2</c:v>
                </c:pt>
                <c:pt idx="31124">
                  <c:v>-1.76470588235293E-2</c:v>
                </c:pt>
                <c:pt idx="31125">
                  <c:v>-1.76470588235293E-2</c:v>
                </c:pt>
                <c:pt idx="31126">
                  <c:v>-1.76470588235293E-2</c:v>
                </c:pt>
                <c:pt idx="31127">
                  <c:v>-1.76470588235293E-2</c:v>
                </c:pt>
                <c:pt idx="31128">
                  <c:v>-1.76470588235293E-2</c:v>
                </c:pt>
                <c:pt idx="31129">
                  <c:v>-1.76470588235293E-2</c:v>
                </c:pt>
                <c:pt idx="31130">
                  <c:v>-1.76470588235293E-2</c:v>
                </c:pt>
                <c:pt idx="31131">
                  <c:v>-1.76470588235293E-2</c:v>
                </c:pt>
                <c:pt idx="31132">
                  <c:v>-1.76470588235293E-2</c:v>
                </c:pt>
                <c:pt idx="31133">
                  <c:v>-1.76470588235293E-2</c:v>
                </c:pt>
                <c:pt idx="31134">
                  <c:v>-1.76470588235293E-2</c:v>
                </c:pt>
                <c:pt idx="31135">
                  <c:v>-1.76470588235293E-2</c:v>
                </c:pt>
                <c:pt idx="31136">
                  <c:v>-1.76470588235293E-2</c:v>
                </c:pt>
                <c:pt idx="31137">
                  <c:v>-1.76470588235293E-2</c:v>
                </c:pt>
                <c:pt idx="31138">
                  <c:v>-1.6806722689075501E-2</c:v>
                </c:pt>
                <c:pt idx="31139">
                  <c:v>-1.6806722689075501E-2</c:v>
                </c:pt>
                <c:pt idx="31140">
                  <c:v>-1.6806722689075501E-2</c:v>
                </c:pt>
                <c:pt idx="31141">
                  <c:v>-1.6806722689075501E-2</c:v>
                </c:pt>
                <c:pt idx="31142">
                  <c:v>-1.6806722689075501E-2</c:v>
                </c:pt>
                <c:pt idx="31143">
                  <c:v>-1.6806722689075501E-2</c:v>
                </c:pt>
                <c:pt idx="31144">
                  <c:v>-1.6806722689075501E-2</c:v>
                </c:pt>
                <c:pt idx="31145">
                  <c:v>-1.6806722689075501E-2</c:v>
                </c:pt>
                <c:pt idx="31146">
                  <c:v>-1.6806722689075501E-2</c:v>
                </c:pt>
                <c:pt idx="31147">
                  <c:v>-1.6806722689075501E-2</c:v>
                </c:pt>
                <c:pt idx="31148">
                  <c:v>-1.6806722689075501E-2</c:v>
                </c:pt>
                <c:pt idx="31149">
                  <c:v>-1.6806722689075501E-2</c:v>
                </c:pt>
                <c:pt idx="31150">
                  <c:v>-1.6806722689075501E-2</c:v>
                </c:pt>
                <c:pt idx="31151">
                  <c:v>-1.6806722689075501E-2</c:v>
                </c:pt>
                <c:pt idx="31152">
                  <c:v>-1.6806722689075501E-2</c:v>
                </c:pt>
                <c:pt idx="31153">
                  <c:v>-1.6806722689075501E-2</c:v>
                </c:pt>
                <c:pt idx="31154">
                  <c:v>-1.6806722689075501E-2</c:v>
                </c:pt>
                <c:pt idx="31155">
                  <c:v>-1.6806722689075501E-2</c:v>
                </c:pt>
                <c:pt idx="31156">
                  <c:v>-1.6806722689075501E-2</c:v>
                </c:pt>
                <c:pt idx="31157">
                  <c:v>-1.6806722689075501E-2</c:v>
                </c:pt>
                <c:pt idx="31158">
                  <c:v>-1.6806722689075501E-2</c:v>
                </c:pt>
                <c:pt idx="31159">
                  <c:v>-1.6806722689075501E-2</c:v>
                </c:pt>
                <c:pt idx="31160">
                  <c:v>-1.6806722689075501E-2</c:v>
                </c:pt>
                <c:pt idx="31161">
                  <c:v>-1.6806722689075501E-2</c:v>
                </c:pt>
                <c:pt idx="31162">
                  <c:v>-1.6806722689075501E-2</c:v>
                </c:pt>
                <c:pt idx="31163">
                  <c:v>-1.6806722689075501E-2</c:v>
                </c:pt>
                <c:pt idx="31164">
                  <c:v>-1.6806722689075501E-2</c:v>
                </c:pt>
                <c:pt idx="31165">
                  <c:v>-1.6806722689075501E-2</c:v>
                </c:pt>
                <c:pt idx="31166">
                  <c:v>-1.6806722689075501E-2</c:v>
                </c:pt>
                <c:pt idx="31167">
                  <c:v>-1.6806722689075501E-2</c:v>
                </c:pt>
                <c:pt idx="31168">
                  <c:v>-1.6806722689075501E-2</c:v>
                </c:pt>
                <c:pt idx="31169">
                  <c:v>-1.6806722689075501E-2</c:v>
                </c:pt>
                <c:pt idx="31170">
                  <c:v>-1.6806722689075501E-2</c:v>
                </c:pt>
                <c:pt idx="31171">
                  <c:v>-1.6806722689075501E-2</c:v>
                </c:pt>
                <c:pt idx="31172">
                  <c:v>-1.6806722689075501E-2</c:v>
                </c:pt>
                <c:pt idx="31173">
                  <c:v>-1.6806722689075501E-2</c:v>
                </c:pt>
                <c:pt idx="31174">
                  <c:v>-1.6806722689075501E-2</c:v>
                </c:pt>
                <c:pt idx="31175">
                  <c:v>-1.6806722689075501E-2</c:v>
                </c:pt>
                <c:pt idx="31176">
                  <c:v>-1.6806722689075501E-2</c:v>
                </c:pt>
                <c:pt idx="31177">
                  <c:v>-1.6806722689075501E-2</c:v>
                </c:pt>
                <c:pt idx="31178">
                  <c:v>-1.6806722689075501E-2</c:v>
                </c:pt>
                <c:pt idx="31179">
                  <c:v>-1.6806722689075501E-2</c:v>
                </c:pt>
                <c:pt idx="31180">
                  <c:v>-1.6806722689075501E-2</c:v>
                </c:pt>
                <c:pt idx="31181">
                  <c:v>-1.6806722689075501E-2</c:v>
                </c:pt>
                <c:pt idx="31182">
                  <c:v>-1.6806722689075501E-2</c:v>
                </c:pt>
                <c:pt idx="31183">
                  <c:v>-1.6806722689075501E-2</c:v>
                </c:pt>
                <c:pt idx="31184">
                  <c:v>-1.6806722689075501E-2</c:v>
                </c:pt>
                <c:pt idx="31185">
                  <c:v>-1.6806722689075501E-2</c:v>
                </c:pt>
                <c:pt idx="31186">
                  <c:v>-1.6806722689075501E-2</c:v>
                </c:pt>
                <c:pt idx="31187">
                  <c:v>-1.6806722689075501E-2</c:v>
                </c:pt>
                <c:pt idx="31188">
                  <c:v>-1.6806722689075501E-2</c:v>
                </c:pt>
                <c:pt idx="31189">
                  <c:v>-1.6806722689075501E-2</c:v>
                </c:pt>
                <c:pt idx="31190">
                  <c:v>-1.6806722689075501E-2</c:v>
                </c:pt>
                <c:pt idx="31191">
                  <c:v>-1.6806722689075501E-2</c:v>
                </c:pt>
                <c:pt idx="31192">
                  <c:v>-1.6806722689075501E-2</c:v>
                </c:pt>
                <c:pt idx="31193">
                  <c:v>-1.6806722689075501E-2</c:v>
                </c:pt>
                <c:pt idx="31194">
                  <c:v>-1.6806722689075501E-2</c:v>
                </c:pt>
                <c:pt idx="31195">
                  <c:v>-1.6806722689075501E-2</c:v>
                </c:pt>
                <c:pt idx="31196">
                  <c:v>-1.6806722689075501E-2</c:v>
                </c:pt>
                <c:pt idx="31197">
                  <c:v>-1.6806722689075501E-2</c:v>
                </c:pt>
                <c:pt idx="31198">
                  <c:v>-1.6806722689075501E-2</c:v>
                </c:pt>
                <c:pt idx="31199">
                  <c:v>-1.6806722689075501E-2</c:v>
                </c:pt>
                <c:pt idx="31200">
                  <c:v>-1.6806722689075501E-2</c:v>
                </c:pt>
                <c:pt idx="31201">
                  <c:v>-1.6806722689075501E-2</c:v>
                </c:pt>
                <c:pt idx="31202">
                  <c:v>-1.6806722689075501E-2</c:v>
                </c:pt>
                <c:pt idx="31203">
                  <c:v>-1.6806722689075501E-2</c:v>
                </c:pt>
                <c:pt idx="31204">
                  <c:v>-1.6806722689075501E-2</c:v>
                </c:pt>
                <c:pt idx="31205">
                  <c:v>-1.6806722689075501E-2</c:v>
                </c:pt>
                <c:pt idx="31206">
                  <c:v>-1.6806722689075501E-2</c:v>
                </c:pt>
                <c:pt idx="31207">
                  <c:v>-1.6806722689075501E-2</c:v>
                </c:pt>
                <c:pt idx="31208">
                  <c:v>-1.6806722689075501E-2</c:v>
                </c:pt>
                <c:pt idx="31209">
                  <c:v>-1.6806722689075501E-2</c:v>
                </c:pt>
                <c:pt idx="31210">
                  <c:v>-1.6806722689075501E-2</c:v>
                </c:pt>
                <c:pt idx="31211">
                  <c:v>-1.6806722689075501E-2</c:v>
                </c:pt>
                <c:pt idx="31212">
                  <c:v>-1.6806722689075501E-2</c:v>
                </c:pt>
                <c:pt idx="31213">
                  <c:v>-1.6806722689075501E-2</c:v>
                </c:pt>
                <c:pt idx="31214">
                  <c:v>-1.6806722689075501E-2</c:v>
                </c:pt>
                <c:pt idx="31215">
                  <c:v>-1.6806722689075501E-2</c:v>
                </c:pt>
                <c:pt idx="31216">
                  <c:v>-1.6806722689075501E-2</c:v>
                </c:pt>
                <c:pt idx="31217">
                  <c:v>-1.6806722689075501E-2</c:v>
                </c:pt>
                <c:pt idx="31218">
                  <c:v>-1.6806722689075501E-2</c:v>
                </c:pt>
                <c:pt idx="31219">
                  <c:v>-1.6806722689075501E-2</c:v>
                </c:pt>
                <c:pt idx="31220">
                  <c:v>-1.6806722689075501E-2</c:v>
                </c:pt>
                <c:pt idx="31221">
                  <c:v>-1.6806722689075501E-2</c:v>
                </c:pt>
                <c:pt idx="31222">
                  <c:v>-1.6806722689075501E-2</c:v>
                </c:pt>
                <c:pt idx="31223">
                  <c:v>-1.6806722689075501E-2</c:v>
                </c:pt>
                <c:pt idx="31224">
                  <c:v>-1.6806722689075501E-2</c:v>
                </c:pt>
                <c:pt idx="31225">
                  <c:v>-1.6806722689075501E-2</c:v>
                </c:pt>
                <c:pt idx="31226">
                  <c:v>-1.6806722689075501E-2</c:v>
                </c:pt>
                <c:pt idx="31227">
                  <c:v>-1.6806722689075501E-2</c:v>
                </c:pt>
                <c:pt idx="31228">
                  <c:v>-1.6806722689075501E-2</c:v>
                </c:pt>
                <c:pt idx="31229">
                  <c:v>-1.6806722689075501E-2</c:v>
                </c:pt>
                <c:pt idx="31230">
                  <c:v>-1.6806722689075501E-2</c:v>
                </c:pt>
                <c:pt idx="31231">
                  <c:v>-1.6806722689075501E-2</c:v>
                </c:pt>
                <c:pt idx="31232">
                  <c:v>-1.6806722689075501E-2</c:v>
                </c:pt>
                <c:pt idx="31233">
                  <c:v>-1.6806722689075501E-2</c:v>
                </c:pt>
                <c:pt idx="31234">
                  <c:v>-1.6806722689075501E-2</c:v>
                </c:pt>
                <c:pt idx="31235">
                  <c:v>-1.6806722689075501E-2</c:v>
                </c:pt>
                <c:pt idx="31236">
                  <c:v>-1.6806722689075501E-2</c:v>
                </c:pt>
                <c:pt idx="31237">
                  <c:v>-1.6806722689075501E-2</c:v>
                </c:pt>
                <c:pt idx="31238">
                  <c:v>-1.6806722689075501E-2</c:v>
                </c:pt>
                <c:pt idx="31239">
                  <c:v>-1.6806722689075501E-2</c:v>
                </c:pt>
                <c:pt idx="31240">
                  <c:v>-1.5966386554621698E-2</c:v>
                </c:pt>
                <c:pt idx="31241">
                  <c:v>-1.5966386554621698E-2</c:v>
                </c:pt>
                <c:pt idx="31242">
                  <c:v>-1.5966386554621698E-2</c:v>
                </c:pt>
                <c:pt idx="31243">
                  <c:v>-1.5966386554621698E-2</c:v>
                </c:pt>
                <c:pt idx="31244">
                  <c:v>-1.5966386554621698E-2</c:v>
                </c:pt>
                <c:pt idx="31245">
                  <c:v>-1.5966386554621698E-2</c:v>
                </c:pt>
                <c:pt idx="31246">
                  <c:v>-1.5966386554621698E-2</c:v>
                </c:pt>
                <c:pt idx="31247">
                  <c:v>-1.5966386554621698E-2</c:v>
                </c:pt>
                <c:pt idx="31248">
                  <c:v>-1.5966386554621698E-2</c:v>
                </c:pt>
                <c:pt idx="31249">
                  <c:v>-1.5966386554621698E-2</c:v>
                </c:pt>
                <c:pt idx="31250">
                  <c:v>-1.5966386554621698E-2</c:v>
                </c:pt>
                <c:pt idx="31251">
                  <c:v>-1.5966386554621698E-2</c:v>
                </c:pt>
                <c:pt idx="31252">
                  <c:v>-1.5966386554621698E-2</c:v>
                </c:pt>
                <c:pt idx="31253">
                  <c:v>-1.5966386554621698E-2</c:v>
                </c:pt>
                <c:pt idx="31254">
                  <c:v>-1.5966386554621698E-2</c:v>
                </c:pt>
                <c:pt idx="31255">
                  <c:v>-1.5966386554621698E-2</c:v>
                </c:pt>
                <c:pt idx="31256">
                  <c:v>-1.5966386554621698E-2</c:v>
                </c:pt>
                <c:pt idx="31257">
                  <c:v>-1.5966386554621698E-2</c:v>
                </c:pt>
                <c:pt idx="31258">
                  <c:v>-1.5966386554621698E-2</c:v>
                </c:pt>
                <c:pt idx="31259">
                  <c:v>-1.5966386554621698E-2</c:v>
                </c:pt>
                <c:pt idx="31260">
                  <c:v>-1.5966386554621698E-2</c:v>
                </c:pt>
                <c:pt idx="31261">
                  <c:v>-1.5966386554621698E-2</c:v>
                </c:pt>
                <c:pt idx="31262">
                  <c:v>-1.5966386554621698E-2</c:v>
                </c:pt>
                <c:pt idx="31263">
                  <c:v>-1.5966386554621698E-2</c:v>
                </c:pt>
                <c:pt idx="31264">
                  <c:v>-1.5966386554621698E-2</c:v>
                </c:pt>
                <c:pt idx="31265">
                  <c:v>-1.5966386554621698E-2</c:v>
                </c:pt>
                <c:pt idx="31266">
                  <c:v>-1.5966386554621698E-2</c:v>
                </c:pt>
                <c:pt idx="31267">
                  <c:v>-1.5966386554621698E-2</c:v>
                </c:pt>
                <c:pt idx="31268">
                  <c:v>-1.5966386554621698E-2</c:v>
                </c:pt>
                <c:pt idx="31269">
                  <c:v>-1.5966386554621698E-2</c:v>
                </c:pt>
                <c:pt idx="31270">
                  <c:v>-1.5966386554621698E-2</c:v>
                </c:pt>
                <c:pt idx="31271">
                  <c:v>-1.5966386554621698E-2</c:v>
                </c:pt>
                <c:pt idx="31272">
                  <c:v>-1.5966386554621698E-2</c:v>
                </c:pt>
                <c:pt idx="31273">
                  <c:v>-1.5966386554621698E-2</c:v>
                </c:pt>
                <c:pt idx="31274">
                  <c:v>-1.5966386554621698E-2</c:v>
                </c:pt>
                <c:pt idx="31275">
                  <c:v>-1.5966386554621698E-2</c:v>
                </c:pt>
                <c:pt idx="31276">
                  <c:v>-1.5966386554621698E-2</c:v>
                </c:pt>
                <c:pt idx="31277">
                  <c:v>-1.5966386554621698E-2</c:v>
                </c:pt>
                <c:pt idx="31278">
                  <c:v>-1.6806722689075501E-2</c:v>
                </c:pt>
                <c:pt idx="31279">
                  <c:v>-1.6806722689075501E-2</c:v>
                </c:pt>
                <c:pt idx="31280">
                  <c:v>-1.6806722689075501E-2</c:v>
                </c:pt>
                <c:pt idx="31281">
                  <c:v>-1.6806722689075501E-2</c:v>
                </c:pt>
                <c:pt idx="31282">
                  <c:v>-1.6806722689075501E-2</c:v>
                </c:pt>
                <c:pt idx="31283">
                  <c:v>-1.6806722689075501E-2</c:v>
                </c:pt>
                <c:pt idx="31284">
                  <c:v>-1.6806722689075501E-2</c:v>
                </c:pt>
                <c:pt idx="31285">
                  <c:v>-1.6806722689075501E-2</c:v>
                </c:pt>
                <c:pt idx="31286">
                  <c:v>-1.6806722689075501E-2</c:v>
                </c:pt>
                <c:pt idx="31287">
                  <c:v>-1.6806722689075501E-2</c:v>
                </c:pt>
                <c:pt idx="31288">
                  <c:v>-1.6806722689075501E-2</c:v>
                </c:pt>
                <c:pt idx="31289">
                  <c:v>-1.6806722689075501E-2</c:v>
                </c:pt>
                <c:pt idx="31290">
                  <c:v>-1.6806722689075501E-2</c:v>
                </c:pt>
                <c:pt idx="31291">
                  <c:v>-1.6806722689075501E-2</c:v>
                </c:pt>
                <c:pt idx="31292">
                  <c:v>-1.6806722689075501E-2</c:v>
                </c:pt>
                <c:pt idx="31293">
                  <c:v>-1.6806722689075501E-2</c:v>
                </c:pt>
                <c:pt idx="31294">
                  <c:v>-1.6806722689075501E-2</c:v>
                </c:pt>
                <c:pt idx="31295">
                  <c:v>-1.6806722689075501E-2</c:v>
                </c:pt>
                <c:pt idx="31296">
                  <c:v>-1.6806722689075501E-2</c:v>
                </c:pt>
                <c:pt idx="31297">
                  <c:v>-1.6806722689075501E-2</c:v>
                </c:pt>
                <c:pt idx="31298">
                  <c:v>-1.6806722689075501E-2</c:v>
                </c:pt>
                <c:pt idx="31299">
                  <c:v>-1.6806722689075501E-2</c:v>
                </c:pt>
                <c:pt idx="31300">
                  <c:v>-1.6806722689075501E-2</c:v>
                </c:pt>
                <c:pt idx="31301">
                  <c:v>-1.6806722689075501E-2</c:v>
                </c:pt>
                <c:pt idx="31302">
                  <c:v>-1.6806722689075501E-2</c:v>
                </c:pt>
                <c:pt idx="31303">
                  <c:v>-1.6806722689075501E-2</c:v>
                </c:pt>
                <c:pt idx="31304">
                  <c:v>-1.6806722689075501E-2</c:v>
                </c:pt>
                <c:pt idx="31305">
                  <c:v>-1.6806722689075501E-2</c:v>
                </c:pt>
                <c:pt idx="31306">
                  <c:v>-1.6806722689075501E-2</c:v>
                </c:pt>
                <c:pt idx="31307">
                  <c:v>-1.6806722689075501E-2</c:v>
                </c:pt>
                <c:pt idx="31308">
                  <c:v>-1.6806722689075501E-2</c:v>
                </c:pt>
                <c:pt idx="31309">
                  <c:v>-1.6806722689075501E-2</c:v>
                </c:pt>
                <c:pt idx="31310">
                  <c:v>-1.6806722689075501E-2</c:v>
                </c:pt>
                <c:pt idx="31311">
                  <c:v>-1.6806722689075501E-2</c:v>
                </c:pt>
                <c:pt idx="31312">
                  <c:v>-1.6806722689075501E-2</c:v>
                </c:pt>
                <c:pt idx="31313">
                  <c:v>-1.6806722689075501E-2</c:v>
                </c:pt>
                <c:pt idx="31314">
                  <c:v>-1.6806722689075501E-2</c:v>
                </c:pt>
                <c:pt idx="31315">
                  <c:v>-1.6806722689075501E-2</c:v>
                </c:pt>
                <c:pt idx="31316">
                  <c:v>-1.6806722689075501E-2</c:v>
                </c:pt>
                <c:pt idx="31317">
                  <c:v>-1.6806722689075501E-2</c:v>
                </c:pt>
                <c:pt idx="31318">
                  <c:v>-1.6806722689075501E-2</c:v>
                </c:pt>
                <c:pt idx="31319">
                  <c:v>-1.6806722689075501E-2</c:v>
                </c:pt>
                <c:pt idx="31320">
                  <c:v>-1.6806722689075501E-2</c:v>
                </c:pt>
                <c:pt idx="31321">
                  <c:v>-1.6806722689075501E-2</c:v>
                </c:pt>
                <c:pt idx="31322">
                  <c:v>-1.6806722689075501E-2</c:v>
                </c:pt>
                <c:pt idx="31323">
                  <c:v>-1.6806722689075501E-2</c:v>
                </c:pt>
                <c:pt idx="31324">
                  <c:v>-1.6806722689075501E-2</c:v>
                </c:pt>
                <c:pt idx="31325">
                  <c:v>-1.6806722689075501E-2</c:v>
                </c:pt>
                <c:pt idx="31326">
                  <c:v>-1.6806722689075501E-2</c:v>
                </c:pt>
                <c:pt idx="31327">
                  <c:v>-1.6806722689075501E-2</c:v>
                </c:pt>
                <c:pt idx="31328">
                  <c:v>-1.6806722689075501E-2</c:v>
                </c:pt>
                <c:pt idx="31329">
                  <c:v>-1.6806722689075501E-2</c:v>
                </c:pt>
                <c:pt idx="31330">
                  <c:v>-1.6806722689075501E-2</c:v>
                </c:pt>
                <c:pt idx="31331">
                  <c:v>-1.6806722689075501E-2</c:v>
                </c:pt>
                <c:pt idx="31332">
                  <c:v>-1.6806722689075501E-2</c:v>
                </c:pt>
                <c:pt idx="31333">
                  <c:v>-1.6806722689075501E-2</c:v>
                </c:pt>
                <c:pt idx="31334">
                  <c:v>-1.6806722689075501E-2</c:v>
                </c:pt>
                <c:pt idx="31335">
                  <c:v>-1.6806722689075501E-2</c:v>
                </c:pt>
                <c:pt idx="31336">
                  <c:v>-1.6806722689075501E-2</c:v>
                </c:pt>
                <c:pt idx="31337">
                  <c:v>-1.6806722689075501E-2</c:v>
                </c:pt>
                <c:pt idx="31338">
                  <c:v>-1.6806722689075501E-2</c:v>
                </c:pt>
                <c:pt idx="31339">
                  <c:v>-1.6806722689075501E-2</c:v>
                </c:pt>
                <c:pt idx="31340">
                  <c:v>-1.6806722689075501E-2</c:v>
                </c:pt>
                <c:pt idx="31341">
                  <c:v>-1.6806722689075501E-2</c:v>
                </c:pt>
                <c:pt idx="31342">
                  <c:v>-1.6806722689075501E-2</c:v>
                </c:pt>
                <c:pt idx="31343">
                  <c:v>-1.6806722689075501E-2</c:v>
                </c:pt>
                <c:pt idx="31344">
                  <c:v>-1.6806722689075501E-2</c:v>
                </c:pt>
                <c:pt idx="31345">
                  <c:v>-1.6806722689075501E-2</c:v>
                </c:pt>
                <c:pt idx="31346">
                  <c:v>-1.6806722689075501E-2</c:v>
                </c:pt>
                <c:pt idx="31347">
                  <c:v>-1.6806722689075501E-2</c:v>
                </c:pt>
                <c:pt idx="31348">
                  <c:v>-1.6806722689075501E-2</c:v>
                </c:pt>
                <c:pt idx="31349">
                  <c:v>-1.6806722689075501E-2</c:v>
                </c:pt>
                <c:pt idx="31350">
                  <c:v>-1.6806722689075501E-2</c:v>
                </c:pt>
                <c:pt idx="31351">
                  <c:v>-1.6806722689075501E-2</c:v>
                </c:pt>
                <c:pt idx="31352">
                  <c:v>-1.6806722689075501E-2</c:v>
                </c:pt>
                <c:pt idx="31353">
                  <c:v>-1.6806722689075501E-2</c:v>
                </c:pt>
                <c:pt idx="31354">
                  <c:v>-1.6806722689075501E-2</c:v>
                </c:pt>
                <c:pt idx="31355">
                  <c:v>-1.6806722689075501E-2</c:v>
                </c:pt>
                <c:pt idx="31356">
                  <c:v>-1.6806722689075501E-2</c:v>
                </c:pt>
                <c:pt idx="31357">
                  <c:v>-1.6806722689075501E-2</c:v>
                </c:pt>
                <c:pt idx="31358">
                  <c:v>-1.6806722689075501E-2</c:v>
                </c:pt>
                <c:pt idx="31359">
                  <c:v>-1.6806722689075501E-2</c:v>
                </c:pt>
                <c:pt idx="31360">
                  <c:v>-1.6806722689075501E-2</c:v>
                </c:pt>
                <c:pt idx="31361">
                  <c:v>-1.6806722689075501E-2</c:v>
                </c:pt>
                <c:pt idx="31362">
                  <c:v>-1.6806722689075501E-2</c:v>
                </c:pt>
                <c:pt idx="31363">
                  <c:v>-1.5966386554621698E-2</c:v>
                </c:pt>
                <c:pt idx="31364">
                  <c:v>-1.5966386554621698E-2</c:v>
                </c:pt>
                <c:pt idx="31365">
                  <c:v>-1.5966386554621698E-2</c:v>
                </c:pt>
                <c:pt idx="31366">
                  <c:v>-1.5966386554621698E-2</c:v>
                </c:pt>
                <c:pt idx="31367">
                  <c:v>-1.5966386554621698E-2</c:v>
                </c:pt>
                <c:pt idx="31368">
                  <c:v>-1.5966386554621698E-2</c:v>
                </c:pt>
                <c:pt idx="31369">
                  <c:v>-1.5966386554621698E-2</c:v>
                </c:pt>
                <c:pt idx="31370">
                  <c:v>-1.5966386554621698E-2</c:v>
                </c:pt>
                <c:pt idx="31371">
                  <c:v>-1.5966386554621698E-2</c:v>
                </c:pt>
                <c:pt idx="31372">
                  <c:v>-1.5966386554621698E-2</c:v>
                </c:pt>
                <c:pt idx="31373">
                  <c:v>-1.5966386554621698E-2</c:v>
                </c:pt>
                <c:pt idx="31374">
                  <c:v>-1.5966386554621698E-2</c:v>
                </c:pt>
                <c:pt idx="31375">
                  <c:v>-1.5966386554621698E-2</c:v>
                </c:pt>
                <c:pt idx="31376">
                  <c:v>-1.5966386554621698E-2</c:v>
                </c:pt>
                <c:pt idx="31377">
                  <c:v>-1.5966386554621698E-2</c:v>
                </c:pt>
                <c:pt idx="31378">
                  <c:v>-1.5966386554621698E-2</c:v>
                </c:pt>
                <c:pt idx="31379">
                  <c:v>-1.5966386554621698E-2</c:v>
                </c:pt>
                <c:pt idx="31380">
                  <c:v>-1.5966386554621698E-2</c:v>
                </c:pt>
                <c:pt idx="31381">
                  <c:v>-1.5966386554621698E-2</c:v>
                </c:pt>
                <c:pt idx="31382">
                  <c:v>-1.5966386554621698E-2</c:v>
                </c:pt>
                <c:pt idx="31383">
                  <c:v>-1.5966386554621698E-2</c:v>
                </c:pt>
                <c:pt idx="31384">
                  <c:v>-1.5966386554621698E-2</c:v>
                </c:pt>
                <c:pt idx="31385">
                  <c:v>-1.5966386554621698E-2</c:v>
                </c:pt>
                <c:pt idx="31386">
                  <c:v>-1.5966386554621698E-2</c:v>
                </c:pt>
                <c:pt idx="31387">
                  <c:v>-1.5966386554621698E-2</c:v>
                </c:pt>
                <c:pt idx="31388">
                  <c:v>-1.5966386554621698E-2</c:v>
                </c:pt>
                <c:pt idx="31389">
                  <c:v>-1.5966386554621698E-2</c:v>
                </c:pt>
                <c:pt idx="31390">
                  <c:v>-1.5966386554621698E-2</c:v>
                </c:pt>
                <c:pt idx="31391">
                  <c:v>-1.5966386554621698E-2</c:v>
                </c:pt>
                <c:pt idx="31392">
                  <c:v>-1.5966386554621698E-2</c:v>
                </c:pt>
                <c:pt idx="31393">
                  <c:v>-1.5966386554621698E-2</c:v>
                </c:pt>
                <c:pt idx="31394">
                  <c:v>-1.5966386554621698E-2</c:v>
                </c:pt>
                <c:pt idx="31395">
                  <c:v>-1.5966386554621698E-2</c:v>
                </c:pt>
                <c:pt idx="31396">
                  <c:v>-1.5966386554621698E-2</c:v>
                </c:pt>
                <c:pt idx="31397">
                  <c:v>-1.5966386554621698E-2</c:v>
                </c:pt>
                <c:pt idx="31398">
                  <c:v>-1.5966386554621698E-2</c:v>
                </c:pt>
                <c:pt idx="31399">
                  <c:v>-1.5966386554621698E-2</c:v>
                </c:pt>
                <c:pt idx="31400">
                  <c:v>-1.5966386554621698E-2</c:v>
                </c:pt>
                <c:pt idx="31401">
                  <c:v>-1.5966386554621698E-2</c:v>
                </c:pt>
                <c:pt idx="31402">
                  <c:v>-1.5966386554621698E-2</c:v>
                </c:pt>
                <c:pt idx="31403">
                  <c:v>-1.5966386554621698E-2</c:v>
                </c:pt>
                <c:pt idx="31404">
                  <c:v>-1.5966386554621698E-2</c:v>
                </c:pt>
                <c:pt idx="31405">
                  <c:v>-1.5966386554621698E-2</c:v>
                </c:pt>
                <c:pt idx="31406">
                  <c:v>-1.5966386554621698E-2</c:v>
                </c:pt>
                <c:pt idx="31407">
                  <c:v>-1.5966386554621698E-2</c:v>
                </c:pt>
                <c:pt idx="31408">
                  <c:v>-1.5966386554621698E-2</c:v>
                </c:pt>
                <c:pt idx="31409">
                  <c:v>-1.5966386554621698E-2</c:v>
                </c:pt>
                <c:pt idx="31410">
                  <c:v>-1.5966386554621698E-2</c:v>
                </c:pt>
                <c:pt idx="31411">
                  <c:v>-1.5966386554621698E-2</c:v>
                </c:pt>
                <c:pt idx="31412">
                  <c:v>-1.5966386554621698E-2</c:v>
                </c:pt>
                <c:pt idx="31413">
                  <c:v>-1.5966386554621698E-2</c:v>
                </c:pt>
                <c:pt idx="31414">
                  <c:v>-1.5966386554621698E-2</c:v>
                </c:pt>
                <c:pt idx="31415">
                  <c:v>-1.6806722689075501E-2</c:v>
                </c:pt>
                <c:pt idx="31416">
                  <c:v>-1.6806722689075501E-2</c:v>
                </c:pt>
                <c:pt idx="31417">
                  <c:v>-1.6806722689075501E-2</c:v>
                </c:pt>
                <c:pt idx="31418">
                  <c:v>-1.6806722689075501E-2</c:v>
                </c:pt>
                <c:pt idx="31419">
                  <c:v>-1.6806722689075501E-2</c:v>
                </c:pt>
                <c:pt idx="31420">
                  <c:v>-1.6806722689075501E-2</c:v>
                </c:pt>
                <c:pt idx="31421">
                  <c:v>-1.6806722689075501E-2</c:v>
                </c:pt>
                <c:pt idx="31422">
                  <c:v>-1.6806722689075501E-2</c:v>
                </c:pt>
                <c:pt idx="31423">
                  <c:v>-1.6806722689075501E-2</c:v>
                </c:pt>
                <c:pt idx="31424">
                  <c:v>-1.6806722689075501E-2</c:v>
                </c:pt>
                <c:pt idx="31425">
                  <c:v>-1.6806722689075501E-2</c:v>
                </c:pt>
                <c:pt idx="31426">
                  <c:v>-1.5966386554621698E-2</c:v>
                </c:pt>
                <c:pt idx="31427">
                  <c:v>-1.5966386554621698E-2</c:v>
                </c:pt>
                <c:pt idx="31428">
                  <c:v>-1.5966386554621698E-2</c:v>
                </c:pt>
                <c:pt idx="31429">
                  <c:v>-1.5966386554621698E-2</c:v>
                </c:pt>
                <c:pt idx="31430">
                  <c:v>-1.5966386554621698E-2</c:v>
                </c:pt>
                <c:pt idx="31431">
                  <c:v>-1.5966386554621698E-2</c:v>
                </c:pt>
                <c:pt idx="31432">
                  <c:v>-1.5966386554621698E-2</c:v>
                </c:pt>
                <c:pt idx="31433">
                  <c:v>-1.5966386554621698E-2</c:v>
                </c:pt>
                <c:pt idx="31434">
                  <c:v>-1.5966386554621698E-2</c:v>
                </c:pt>
                <c:pt idx="31435">
                  <c:v>-1.5966386554621698E-2</c:v>
                </c:pt>
                <c:pt idx="31436">
                  <c:v>-1.5966386554621698E-2</c:v>
                </c:pt>
                <c:pt idx="31437">
                  <c:v>-1.5966386554621698E-2</c:v>
                </c:pt>
                <c:pt idx="31438">
                  <c:v>-1.5966386554621698E-2</c:v>
                </c:pt>
                <c:pt idx="31439">
                  <c:v>-1.5966386554621698E-2</c:v>
                </c:pt>
                <c:pt idx="31440">
                  <c:v>-1.5966386554621698E-2</c:v>
                </c:pt>
                <c:pt idx="31441">
                  <c:v>-1.5966386554621698E-2</c:v>
                </c:pt>
                <c:pt idx="31442">
                  <c:v>-1.5966386554621698E-2</c:v>
                </c:pt>
                <c:pt idx="31443">
                  <c:v>-1.5966386554621698E-2</c:v>
                </c:pt>
                <c:pt idx="31444">
                  <c:v>-1.5966386554621698E-2</c:v>
                </c:pt>
                <c:pt idx="31445">
                  <c:v>-1.5966386554621698E-2</c:v>
                </c:pt>
                <c:pt idx="31446">
                  <c:v>-1.5966386554621698E-2</c:v>
                </c:pt>
                <c:pt idx="31447">
                  <c:v>-1.5966386554621698E-2</c:v>
                </c:pt>
                <c:pt idx="31448">
                  <c:v>-1.5966386554621698E-2</c:v>
                </c:pt>
                <c:pt idx="31449">
                  <c:v>-1.5966386554621698E-2</c:v>
                </c:pt>
                <c:pt idx="31450">
                  <c:v>-1.5966386554621698E-2</c:v>
                </c:pt>
                <c:pt idx="31451">
                  <c:v>-1.5966386554621698E-2</c:v>
                </c:pt>
                <c:pt idx="31452">
                  <c:v>-1.5966386554621698E-2</c:v>
                </c:pt>
                <c:pt idx="31453">
                  <c:v>-1.5966386554621698E-2</c:v>
                </c:pt>
                <c:pt idx="31454">
                  <c:v>-1.5966386554621698E-2</c:v>
                </c:pt>
                <c:pt idx="31455">
                  <c:v>-1.5966386554621698E-2</c:v>
                </c:pt>
                <c:pt idx="31456">
                  <c:v>-1.5966386554621698E-2</c:v>
                </c:pt>
                <c:pt idx="31457">
                  <c:v>-1.5966386554621698E-2</c:v>
                </c:pt>
                <c:pt idx="31458">
                  <c:v>-1.5966386554621698E-2</c:v>
                </c:pt>
                <c:pt idx="31459">
                  <c:v>-1.5966386554621698E-2</c:v>
                </c:pt>
                <c:pt idx="31460">
                  <c:v>-1.5966386554621698E-2</c:v>
                </c:pt>
                <c:pt idx="31461">
                  <c:v>-1.5966386554621698E-2</c:v>
                </c:pt>
                <c:pt idx="31462">
                  <c:v>-1.5966386554621698E-2</c:v>
                </c:pt>
                <c:pt idx="31463">
                  <c:v>-1.5966386554621698E-2</c:v>
                </c:pt>
                <c:pt idx="31464">
                  <c:v>-1.5966386554621698E-2</c:v>
                </c:pt>
                <c:pt idx="31465">
                  <c:v>-1.5966386554621698E-2</c:v>
                </c:pt>
                <c:pt idx="31466">
                  <c:v>-1.5966386554621698E-2</c:v>
                </c:pt>
                <c:pt idx="31467">
                  <c:v>-1.5966386554621698E-2</c:v>
                </c:pt>
                <c:pt idx="31468">
                  <c:v>-1.5966386554621698E-2</c:v>
                </c:pt>
                <c:pt idx="31469">
                  <c:v>-1.5966386554621698E-2</c:v>
                </c:pt>
                <c:pt idx="31470">
                  <c:v>-1.5966386554621698E-2</c:v>
                </c:pt>
                <c:pt idx="31471">
                  <c:v>-1.5966386554621698E-2</c:v>
                </c:pt>
                <c:pt idx="31472">
                  <c:v>-1.5966386554621698E-2</c:v>
                </c:pt>
                <c:pt idx="31473">
                  <c:v>-1.5966386554621698E-2</c:v>
                </c:pt>
                <c:pt idx="31474">
                  <c:v>-1.5966386554621698E-2</c:v>
                </c:pt>
                <c:pt idx="31475">
                  <c:v>-1.5966386554621698E-2</c:v>
                </c:pt>
                <c:pt idx="31476">
                  <c:v>-1.5966386554621698E-2</c:v>
                </c:pt>
                <c:pt idx="31477">
                  <c:v>-1.5966386554621698E-2</c:v>
                </c:pt>
                <c:pt idx="31478">
                  <c:v>-1.5966386554621698E-2</c:v>
                </c:pt>
                <c:pt idx="31479">
                  <c:v>-1.5966386554621698E-2</c:v>
                </c:pt>
                <c:pt idx="31480">
                  <c:v>-1.5966386554621698E-2</c:v>
                </c:pt>
                <c:pt idx="31481">
                  <c:v>-1.5966386554621698E-2</c:v>
                </c:pt>
                <c:pt idx="31482">
                  <c:v>-1.5966386554621698E-2</c:v>
                </c:pt>
                <c:pt idx="31483">
                  <c:v>-1.5966386554621698E-2</c:v>
                </c:pt>
                <c:pt idx="31484">
                  <c:v>-1.5966386554621698E-2</c:v>
                </c:pt>
                <c:pt idx="31485">
                  <c:v>-1.5966386554621698E-2</c:v>
                </c:pt>
                <c:pt idx="31486">
                  <c:v>-1.5966386554621698E-2</c:v>
                </c:pt>
                <c:pt idx="31487">
                  <c:v>-1.5966386554621698E-2</c:v>
                </c:pt>
                <c:pt idx="31488">
                  <c:v>-1.5966386554621698E-2</c:v>
                </c:pt>
                <c:pt idx="31489">
                  <c:v>-1.5966386554621698E-2</c:v>
                </c:pt>
                <c:pt idx="31490">
                  <c:v>-1.5966386554621698E-2</c:v>
                </c:pt>
                <c:pt idx="31491">
                  <c:v>-1.5966386554621698E-2</c:v>
                </c:pt>
                <c:pt idx="31492">
                  <c:v>-1.5966386554621698E-2</c:v>
                </c:pt>
                <c:pt idx="31493">
                  <c:v>-1.5966386554621698E-2</c:v>
                </c:pt>
                <c:pt idx="31494">
                  <c:v>-1.5966386554621698E-2</c:v>
                </c:pt>
                <c:pt idx="31495">
                  <c:v>-1.5966386554621698E-2</c:v>
                </c:pt>
                <c:pt idx="31496">
                  <c:v>-1.5966386554621698E-2</c:v>
                </c:pt>
                <c:pt idx="31497">
                  <c:v>-1.5966386554621698E-2</c:v>
                </c:pt>
                <c:pt idx="31498">
                  <c:v>-1.5966386554621698E-2</c:v>
                </c:pt>
                <c:pt idx="31499">
                  <c:v>-1.5966386554621698E-2</c:v>
                </c:pt>
                <c:pt idx="31500">
                  <c:v>-1.5966386554621698E-2</c:v>
                </c:pt>
                <c:pt idx="31501">
                  <c:v>-1.5966386554621698E-2</c:v>
                </c:pt>
                <c:pt idx="31502">
                  <c:v>-1.5966386554621698E-2</c:v>
                </c:pt>
                <c:pt idx="31503">
                  <c:v>-1.5966386554621698E-2</c:v>
                </c:pt>
                <c:pt idx="31504">
                  <c:v>-1.5966386554621698E-2</c:v>
                </c:pt>
                <c:pt idx="31505">
                  <c:v>-1.5966386554621698E-2</c:v>
                </c:pt>
                <c:pt idx="31506">
                  <c:v>-1.5966386554621698E-2</c:v>
                </c:pt>
                <c:pt idx="31507">
                  <c:v>-1.5966386554621698E-2</c:v>
                </c:pt>
                <c:pt idx="31508">
                  <c:v>-1.5966386554621698E-2</c:v>
                </c:pt>
                <c:pt idx="31509">
                  <c:v>-1.5966386554621698E-2</c:v>
                </c:pt>
                <c:pt idx="31510">
                  <c:v>-1.5966386554621698E-2</c:v>
                </c:pt>
                <c:pt idx="31511">
                  <c:v>-1.5966386554621698E-2</c:v>
                </c:pt>
                <c:pt idx="31512">
                  <c:v>-1.5966386554621698E-2</c:v>
                </c:pt>
                <c:pt idx="31513">
                  <c:v>-1.5966386554621698E-2</c:v>
                </c:pt>
                <c:pt idx="31514">
                  <c:v>-1.5966386554621698E-2</c:v>
                </c:pt>
                <c:pt idx="31515">
                  <c:v>-1.5966386554621698E-2</c:v>
                </c:pt>
                <c:pt idx="31516">
                  <c:v>-1.5966386554621698E-2</c:v>
                </c:pt>
                <c:pt idx="31517">
                  <c:v>-1.5966386554621698E-2</c:v>
                </c:pt>
                <c:pt idx="31518">
                  <c:v>-1.5966386554621698E-2</c:v>
                </c:pt>
                <c:pt idx="31519">
                  <c:v>-1.5966386554621698E-2</c:v>
                </c:pt>
                <c:pt idx="31520">
                  <c:v>-1.5966386554621698E-2</c:v>
                </c:pt>
                <c:pt idx="31521">
                  <c:v>-1.5966386554621698E-2</c:v>
                </c:pt>
                <c:pt idx="31522">
                  <c:v>-1.5966386554621698E-2</c:v>
                </c:pt>
                <c:pt idx="31523">
                  <c:v>-1.5966386554621698E-2</c:v>
                </c:pt>
                <c:pt idx="31524">
                  <c:v>-1.5966386554621698E-2</c:v>
                </c:pt>
                <c:pt idx="31525">
                  <c:v>-1.5966386554621698E-2</c:v>
                </c:pt>
                <c:pt idx="31526">
                  <c:v>-1.5966386554621698E-2</c:v>
                </c:pt>
                <c:pt idx="31527">
                  <c:v>-1.5966386554621698E-2</c:v>
                </c:pt>
                <c:pt idx="31528">
                  <c:v>-1.5966386554621698E-2</c:v>
                </c:pt>
                <c:pt idx="31529">
                  <c:v>-1.5966386554621698E-2</c:v>
                </c:pt>
                <c:pt idx="31530">
                  <c:v>-1.5966386554621698E-2</c:v>
                </c:pt>
                <c:pt idx="31531">
                  <c:v>-1.5966386554621698E-2</c:v>
                </c:pt>
                <c:pt idx="31532">
                  <c:v>-1.5966386554621698E-2</c:v>
                </c:pt>
                <c:pt idx="31533">
                  <c:v>-1.5966386554621698E-2</c:v>
                </c:pt>
                <c:pt idx="31534">
                  <c:v>-1.5966386554621698E-2</c:v>
                </c:pt>
                <c:pt idx="31535">
                  <c:v>-1.5966386554621698E-2</c:v>
                </c:pt>
                <c:pt idx="31536">
                  <c:v>-1.5966386554621698E-2</c:v>
                </c:pt>
                <c:pt idx="31537">
                  <c:v>-1.5966386554621698E-2</c:v>
                </c:pt>
                <c:pt idx="31538">
                  <c:v>-1.5966386554621698E-2</c:v>
                </c:pt>
                <c:pt idx="31539">
                  <c:v>-1.5966386554621698E-2</c:v>
                </c:pt>
                <c:pt idx="31540">
                  <c:v>-1.5966386554621698E-2</c:v>
                </c:pt>
                <c:pt idx="31541">
                  <c:v>-1.5966386554621698E-2</c:v>
                </c:pt>
                <c:pt idx="31542">
                  <c:v>-1.5966386554621698E-2</c:v>
                </c:pt>
                <c:pt idx="31543">
                  <c:v>-1.5966386554621698E-2</c:v>
                </c:pt>
                <c:pt idx="31544">
                  <c:v>-1.5966386554621698E-2</c:v>
                </c:pt>
                <c:pt idx="31545">
                  <c:v>-1.5966386554621698E-2</c:v>
                </c:pt>
                <c:pt idx="31546">
                  <c:v>-1.5966386554621698E-2</c:v>
                </c:pt>
                <c:pt idx="31547">
                  <c:v>-1.5126050420168E-2</c:v>
                </c:pt>
                <c:pt idx="31548">
                  <c:v>-1.5126050420168E-2</c:v>
                </c:pt>
                <c:pt idx="31549">
                  <c:v>-1.5126050420168E-2</c:v>
                </c:pt>
                <c:pt idx="31550">
                  <c:v>-1.5126050420168E-2</c:v>
                </c:pt>
                <c:pt idx="31551">
                  <c:v>-1.5126050420168E-2</c:v>
                </c:pt>
                <c:pt idx="31552">
                  <c:v>-1.5126050420168E-2</c:v>
                </c:pt>
                <c:pt idx="31553">
                  <c:v>-1.5126050420168E-2</c:v>
                </c:pt>
                <c:pt idx="31554">
                  <c:v>-1.5126050420168E-2</c:v>
                </c:pt>
                <c:pt idx="31555">
                  <c:v>-1.5126050420168E-2</c:v>
                </c:pt>
                <c:pt idx="31556">
                  <c:v>-1.5126050420168E-2</c:v>
                </c:pt>
                <c:pt idx="31557">
                  <c:v>-1.5126050420168E-2</c:v>
                </c:pt>
                <c:pt idx="31558">
                  <c:v>-1.5126050420168E-2</c:v>
                </c:pt>
                <c:pt idx="31559">
                  <c:v>-1.42857142857142E-2</c:v>
                </c:pt>
                <c:pt idx="31560">
                  <c:v>-1.42857142857142E-2</c:v>
                </c:pt>
                <c:pt idx="31561">
                  <c:v>-1.42857142857142E-2</c:v>
                </c:pt>
                <c:pt idx="31562">
                  <c:v>-1.42857142857142E-2</c:v>
                </c:pt>
                <c:pt idx="31563">
                  <c:v>-1.42857142857142E-2</c:v>
                </c:pt>
                <c:pt idx="31564">
                  <c:v>-1.3445378151260399E-2</c:v>
                </c:pt>
                <c:pt idx="31565">
                  <c:v>-1.3445378151260399E-2</c:v>
                </c:pt>
                <c:pt idx="31566">
                  <c:v>-1.3445378151260399E-2</c:v>
                </c:pt>
                <c:pt idx="31567">
                  <c:v>-1.3445378151260399E-2</c:v>
                </c:pt>
                <c:pt idx="31568">
                  <c:v>-1.3445378151260399E-2</c:v>
                </c:pt>
                <c:pt idx="31569">
                  <c:v>-1.3445378151260399E-2</c:v>
                </c:pt>
                <c:pt idx="31570">
                  <c:v>-1.3445378151260399E-2</c:v>
                </c:pt>
                <c:pt idx="31571">
                  <c:v>-1.3445378151260399E-2</c:v>
                </c:pt>
                <c:pt idx="31572">
                  <c:v>-1.3445378151260399E-2</c:v>
                </c:pt>
                <c:pt idx="31573">
                  <c:v>-1.3445378151260399E-2</c:v>
                </c:pt>
                <c:pt idx="31574">
                  <c:v>-1.3445378151260399E-2</c:v>
                </c:pt>
                <c:pt idx="31575">
                  <c:v>-1.3445378151260399E-2</c:v>
                </c:pt>
                <c:pt idx="31576">
                  <c:v>-1.3445378151260399E-2</c:v>
                </c:pt>
                <c:pt idx="31577">
                  <c:v>-1.3445378151260399E-2</c:v>
                </c:pt>
                <c:pt idx="31578">
                  <c:v>-1.3445378151260399E-2</c:v>
                </c:pt>
                <c:pt idx="31579">
                  <c:v>-1.3445378151260399E-2</c:v>
                </c:pt>
                <c:pt idx="31580">
                  <c:v>-1.3445378151260399E-2</c:v>
                </c:pt>
                <c:pt idx="31581">
                  <c:v>-1.3445378151260399E-2</c:v>
                </c:pt>
                <c:pt idx="31582">
                  <c:v>-1.3445378151260399E-2</c:v>
                </c:pt>
                <c:pt idx="31583">
                  <c:v>-1.3445378151260399E-2</c:v>
                </c:pt>
                <c:pt idx="31584">
                  <c:v>-1.3445378151260399E-2</c:v>
                </c:pt>
                <c:pt idx="31585">
                  <c:v>-1.3445378151260399E-2</c:v>
                </c:pt>
                <c:pt idx="31586">
                  <c:v>-1.3445378151260399E-2</c:v>
                </c:pt>
                <c:pt idx="31587">
                  <c:v>-1.3445378151260399E-2</c:v>
                </c:pt>
                <c:pt idx="31588">
                  <c:v>-1.42857142857142E-2</c:v>
                </c:pt>
                <c:pt idx="31589">
                  <c:v>-1.42857142857142E-2</c:v>
                </c:pt>
                <c:pt idx="31590">
                  <c:v>-1.42857142857142E-2</c:v>
                </c:pt>
                <c:pt idx="31591">
                  <c:v>-1.42857142857142E-2</c:v>
                </c:pt>
                <c:pt idx="31592">
                  <c:v>-1.42857142857142E-2</c:v>
                </c:pt>
                <c:pt idx="31593">
                  <c:v>-1.42857142857142E-2</c:v>
                </c:pt>
                <c:pt idx="31594">
                  <c:v>-1.42857142857142E-2</c:v>
                </c:pt>
                <c:pt idx="31595">
                  <c:v>-1.42857142857142E-2</c:v>
                </c:pt>
                <c:pt idx="31596">
                  <c:v>-1.42857142857142E-2</c:v>
                </c:pt>
                <c:pt idx="31597">
                  <c:v>-1.42857142857142E-2</c:v>
                </c:pt>
                <c:pt idx="31598">
                  <c:v>-1.42857142857142E-2</c:v>
                </c:pt>
                <c:pt idx="31599">
                  <c:v>-1.42857142857142E-2</c:v>
                </c:pt>
                <c:pt idx="31600">
                  <c:v>-1.42857142857142E-2</c:v>
                </c:pt>
                <c:pt idx="31601">
                  <c:v>-1.42857142857142E-2</c:v>
                </c:pt>
                <c:pt idx="31602">
                  <c:v>-1.42857142857142E-2</c:v>
                </c:pt>
                <c:pt idx="31603">
                  <c:v>-1.42857142857142E-2</c:v>
                </c:pt>
                <c:pt idx="31604">
                  <c:v>-1.42857142857142E-2</c:v>
                </c:pt>
                <c:pt idx="31605">
                  <c:v>-1.42857142857142E-2</c:v>
                </c:pt>
                <c:pt idx="31606">
                  <c:v>-1.42857142857142E-2</c:v>
                </c:pt>
                <c:pt idx="31607">
                  <c:v>-1.42857142857142E-2</c:v>
                </c:pt>
                <c:pt idx="31608">
                  <c:v>-1.42857142857142E-2</c:v>
                </c:pt>
                <c:pt idx="31609">
                  <c:v>-1.42857142857142E-2</c:v>
                </c:pt>
                <c:pt idx="31610">
                  <c:v>-1.42857142857142E-2</c:v>
                </c:pt>
                <c:pt idx="31611">
                  <c:v>-1.5126050420168E-2</c:v>
                </c:pt>
                <c:pt idx="31612">
                  <c:v>-1.5126050420168E-2</c:v>
                </c:pt>
                <c:pt idx="31613">
                  <c:v>-1.5126050420168E-2</c:v>
                </c:pt>
                <c:pt idx="31614">
                  <c:v>-1.5126050420168E-2</c:v>
                </c:pt>
                <c:pt idx="31615">
                  <c:v>-1.42857142857142E-2</c:v>
                </c:pt>
                <c:pt idx="31616">
                  <c:v>-1.42857142857142E-2</c:v>
                </c:pt>
                <c:pt idx="31617">
                  <c:v>-1.42857142857142E-2</c:v>
                </c:pt>
                <c:pt idx="31618">
                  <c:v>-1.42857142857142E-2</c:v>
                </c:pt>
                <c:pt idx="31619">
                  <c:v>-1.42857142857142E-2</c:v>
                </c:pt>
                <c:pt idx="31620">
                  <c:v>-1.42857142857142E-2</c:v>
                </c:pt>
                <c:pt idx="31621">
                  <c:v>-1.42857142857142E-2</c:v>
                </c:pt>
                <c:pt idx="31622">
                  <c:v>-1.42857142857142E-2</c:v>
                </c:pt>
                <c:pt idx="31623">
                  <c:v>-1.42857142857142E-2</c:v>
                </c:pt>
                <c:pt idx="31624">
                  <c:v>-1.42857142857142E-2</c:v>
                </c:pt>
                <c:pt idx="31625">
                  <c:v>-1.42857142857142E-2</c:v>
                </c:pt>
                <c:pt idx="31626">
                  <c:v>-1.42857142857142E-2</c:v>
                </c:pt>
                <c:pt idx="31627">
                  <c:v>-1.42857142857142E-2</c:v>
                </c:pt>
                <c:pt idx="31628">
                  <c:v>-1.42857142857142E-2</c:v>
                </c:pt>
                <c:pt idx="31629">
                  <c:v>-1.42857142857142E-2</c:v>
                </c:pt>
                <c:pt idx="31630">
                  <c:v>-1.42857142857142E-2</c:v>
                </c:pt>
                <c:pt idx="31631">
                  <c:v>-1.42857142857142E-2</c:v>
                </c:pt>
                <c:pt idx="31632">
                  <c:v>-1.42857142857142E-2</c:v>
                </c:pt>
                <c:pt idx="31633">
                  <c:v>-1.42857142857142E-2</c:v>
                </c:pt>
                <c:pt idx="31634">
                  <c:v>-1.42857142857142E-2</c:v>
                </c:pt>
                <c:pt idx="31635">
                  <c:v>-1.42857142857142E-2</c:v>
                </c:pt>
                <c:pt idx="31636">
                  <c:v>-1.42857142857142E-2</c:v>
                </c:pt>
                <c:pt idx="31637">
                  <c:v>-1.42857142857142E-2</c:v>
                </c:pt>
                <c:pt idx="31638">
                  <c:v>-1.42857142857142E-2</c:v>
                </c:pt>
                <c:pt idx="31639">
                  <c:v>-1.42857142857142E-2</c:v>
                </c:pt>
                <c:pt idx="31640">
                  <c:v>-1.42857142857142E-2</c:v>
                </c:pt>
                <c:pt idx="31641">
                  <c:v>-1.42857142857142E-2</c:v>
                </c:pt>
                <c:pt idx="31642">
                  <c:v>-1.42857142857142E-2</c:v>
                </c:pt>
                <c:pt idx="31643">
                  <c:v>-1.42857142857142E-2</c:v>
                </c:pt>
                <c:pt idx="31644">
                  <c:v>-1.42857142857142E-2</c:v>
                </c:pt>
                <c:pt idx="31645">
                  <c:v>-1.42857142857142E-2</c:v>
                </c:pt>
                <c:pt idx="31646">
                  <c:v>-1.42857142857142E-2</c:v>
                </c:pt>
                <c:pt idx="31647">
                  <c:v>-1.42857142857142E-2</c:v>
                </c:pt>
                <c:pt idx="31648">
                  <c:v>-1.42857142857142E-2</c:v>
                </c:pt>
                <c:pt idx="31649">
                  <c:v>-1.42857142857142E-2</c:v>
                </c:pt>
                <c:pt idx="31650">
                  <c:v>-1.42857142857142E-2</c:v>
                </c:pt>
                <c:pt idx="31651">
                  <c:v>-1.42857142857142E-2</c:v>
                </c:pt>
                <c:pt idx="31652">
                  <c:v>-1.42857142857142E-2</c:v>
                </c:pt>
                <c:pt idx="31653">
                  <c:v>-1.42857142857142E-2</c:v>
                </c:pt>
                <c:pt idx="31654">
                  <c:v>-1.42857142857142E-2</c:v>
                </c:pt>
                <c:pt idx="31655">
                  <c:v>-1.42857142857142E-2</c:v>
                </c:pt>
                <c:pt idx="31656">
                  <c:v>-1.42857142857142E-2</c:v>
                </c:pt>
                <c:pt idx="31657">
                  <c:v>-1.42857142857142E-2</c:v>
                </c:pt>
                <c:pt idx="31658">
                  <c:v>-1.42857142857142E-2</c:v>
                </c:pt>
                <c:pt idx="31659">
                  <c:v>-1.5126050420168E-2</c:v>
                </c:pt>
                <c:pt idx="31660">
                  <c:v>-1.5126050420168E-2</c:v>
                </c:pt>
                <c:pt idx="31661">
                  <c:v>-1.5126050420168E-2</c:v>
                </c:pt>
                <c:pt idx="31662">
                  <c:v>-1.5126050420168E-2</c:v>
                </c:pt>
                <c:pt idx="31663">
                  <c:v>-1.5126050420168E-2</c:v>
                </c:pt>
                <c:pt idx="31664">
                  <c:v>-1.5126050420168E-2</c:v>
                </c:pt>
                <c:pt idx="31665">
                  <c:v>-1.5126050420168E-2</c:v>
                </c:pt>
                <c:pt idx="31666">
                  <c:v>-1.5126050420168E-2</c:v>
                </c:pt>
                <c:pt idx="31667">
                  <c:v>-1.5126050420168E-2</c:v>
                </c:pt>
                <c:pt idx="31668">
                  <c:v>-1.5126050420168E-2</c:v>
                </c:pt>
                <c:pt idx="31669">
                  <c:v>-1.5126050420168E-2</c:v>
                </c:pt>
                <c:pt idx="31670">
                  <c:v>-1.5126050420168E-2</c:v>
                </c:pt>
                <c:pt idx="31671">
                  <c:v>-1.5126050420168E-2</c:v>
                </c:pt>
                <c:pt idx="31672">
                  <c:v>-1.5126050420168E-2</c:v>
                </c:pt>
                <c:pt idx="31673">
                  <c:v>-1.5126050420168E-2</c:v>
                </c:pt>
                <c:pt idx="31674">
                  <c:v>-1.5126050420168E-2</c:v>
                </c:pt>
                <c:pt idx="31675">
                  <c:v>-1.5126050420168E-2</c:v>
                </c:pt>
                <c:pt idx="31676">
                  <c:v>-1.5126050420168E-2</c:v>
                </c:pt>
                <c:pt idx="31677">
                  <c:v>-1.5126050420168E-2</c:v>
                </c:pt>
                <c:pt idx="31678">
                  <c:v>-1.5126050420168E-2</c:v>
                </c:pt>
                <c:pt idx="31679">
                  <c:v>-1.5126050420168E-2</c:v>
                </c:pt>
                <c:pt idx="31680">
                  <c:v>-1.5126050420168E-2</c:v>
                </c:pt>
                <c:pt idx="31681">
                  <c:v>-1.5126050420168E-2</c:v>
                </c:pt>
                <c:pt idx="31682">
                  <c:v>-1.5126050420168E-2</c:v>
                </c:pt>
                <c:pt idx="31683">
                  <c:v>-1.5126050420168E-2</c:v>
                </c:pt>
                <c:pt idx="31684">
                  <c:v>-1.5126050420168E-2</c:v>
                </c:pt>
                <c:pt idx="31685">
                  <c:v>-1.5126050420168E-2</c:v>
                </c:pt>
                <c:pt idx="31686">
                  <c:v>-1.5126050420168E-2</c:v>
                </c:pt>
                <c:pt idx="31687">
                  <c:v>-1.5126050420168E-2</c:v>
                </c:pt>
                <c:pt idx="31688">
                  <c:v>-1.5126050420168E-2</c:v>
                </c:pt>
                <c:pt idx="31689">
                  <c:v>-1.5126050420168E-2</c:v>
                </c:pt>
                <c:pt idx="31690">
                  <c:v>-1.5126050420168E-2</c:v>
                </c:pt>
                <c:pt idx="31691">
                  <c:v>-1.5126050420168E-2</c:v>
                </c:pt>
                <c:pt idx="31692">
                  <c:v>-1.5126050420168E-2</c:v>
                </c:pt>
                <c:pt idx="31693">
                  <c:v>-1.5126050420168E-2</c:v>
                </c:pt>
                <c:pt idx="31694">
                  <c:v>-1.5126050420168E-2</c:v>
                </c:pt>
                <c:pt idx="31695">
                  <c:v>-1.5126050420168E-2</c:v>
                </c:pt>
                <c:pt idx="31696">
                  <c:v>-1.5126050420168E-2</c:v>
                </c:pt>
                <c:pt idx="31697">
                  <c:v>-1.5126050420168E-2</c:v>
                </c:pt>
                <c:pt idx="31698">
                  <c:v>-1.5126050420168E-2</c:v>
                </c:pt>
                <c:pt idx="31699">
                  <c:v>-1.5126050420168E-2</c:v>
                </c:pt>
                <c:pt idx="31700">
                  <c:v>-1.5126050420168E-2</c:v>
                </c:pt>
                <c:pt idx="31701">
                  <c:v>-1.5126050420168E-2</c:v>
                </c:pt>
                <c:pt idx="31702">
                  <c:v>-1.5126050420168E-2</c:v>
                </c:pt>
                <c:pt idx="31703">
                  <c:v>-1.5126050420168E-2</c:v>
                </c:pt>
                <c:pt idx="31704">
                  <c:v>-1.5126050420168E-2</c:v>
                </c:pt>
                <c:pt idx="31705">
                  <c:v>-1.5126050420168E-2</c:v>
                </c:pt>
                <c:pt idx="31706">
                  <c:v>-1.42857142857142E-2</c:v>
                </c:pt>
                <c:pt idx="31707">
                  <c:v>-1.42857142857142E-2</c:v>
                </c:pt>
                <c:pt idx="31708">
                  <c:v>-1.42857142857142E-2</c:v>
                </c:pt>
                <c:pt idx="31709">
                  <c:v>-1.3445378151260399E-2</c:v>
                </c:pt>
                <c:pt idx="31710">
                  <c:v>-1.3445378151260399E-2</c:v>
                </c:pt>
                <c:pt idx="31711">
                  <c:v>-1.3445378151260399E-2</c:v>
                </c:pt>
                <c:pt idx="31712">
                  <c:v>-1.3445378151260399E-2</c:v>
                </c:pt>
                <c:pt idx="31713">
                  <c:v>-1.3445378151260399E-2</c:v>
                </c:pt>
                <c:pt idx="31714">
                  <c:v>-1.3445378151260399E-2</c:v>
                </c:pt>
                <c:pt idx="31715">
                  <c:v>-1.3445378151260399E-2</c:v>
                </c:pt>
                <c:pt idx="31716">
                  <c:v>-1.3445378151260399E-2</c:v>
                </c:pt>
                <c:pt idx="31717">
                  <c:v>-1.3445378151260399E-2</c:v>
                </c:pt>
                <c:pt idx="31718">
                  <c:v>-1.3445378151260399E-2</c:v>
                </c:pt>
                <c:pt idx="31719">
                  <c:v>-1.3445378151260399E-2</c:v>
                </c:pt>
                <c:pt idx="31720">
                  <c:v>-1.3445378151260399E-2</c:v>
                </c:pt>
                <c:pt idx="31721">
                  <c:v>-1.3445378151260399E-2</c:v>
                </c:pt>
                <c:pt idx="31722">
                  <c:v>-1.3445378151260399E-2</c:v>
                </c:pt>
                <c:pt idx="31723">
                  <c:v>-1.3445378151260399E-2</c:v>
                </c:pt>
                <c:pt idx="31724">
                  <c:v>-1.3445378151260399E-2</c:v>
                </c:pt>
                <c:pt idx="31725">
                  <c:v>-1.3445378151260399E-2</c:v>
                </c:pt>
                <c:pt idx="31726">
                  <c:v>-1.3445378151260399E-2</c:v>
                </c:pt>
                <c:pt idx="31727">
                  <c:v>-1.3445378151260399E-2</c:v>
                </c:pt>
                <c:pt idx="31728">
                  <c:v>-1.3445378151260399E-2</c:v>
                </c:pt>
                <c:pt idx="31729">
                  <c:v>-1.3445378151260399E-2</c:v>
                </c:pt>
                <c:pt idx="31730">
                  <c:v>-1.3445378151260399E-2</c:v>
                </c:pt>
                <c:pt idx="31731">
                  <c:v>-1.3445378151260399E-2</c:v>
                </c:pt>
                <c:pt idx="31732">
                  <c:v>-1.3445378151260399E-2</c:v>
                </c:pt>
                <c:pt idx="31733">
                  <c:v>-1.3445378151260399E-2</c:v>
                </c:pt>
                <c:pt idx="31734">
                  <c:v>-1.26050420168066E-2</c:v>
                </c:pt>
                <c:pt idx="31735">
                  <c:v>-1.26050420168066E-2</c:v>
                </c:pt>
                <c:pt idx="31736">
                  <c:v>-1.26050420168066E-2</c:v>
                </c:pt>
                <c:pt idx="31737">
                  <c:v>-1.26050420168066E-2</c:v>
                </c:pt>
                <c:pt idx="31738">
                  <c:v>-1.26050420168066E-2</c:v>
                </c:pt>
                <c:pt idx="31739">
                  <c:v>-1.26050420168066E-2</c:v>
                </c:pt>
                <c:pt idx="31740">
                  <c:v>-1.26050420168066E-2</c:v>
                </c:pt>
                <c:pt idx="31741">
                  <c:v>-1.26050420168066E-2</c:v>
                </c:pt>
                <c:pt idx="31742">
                  <c:v>-1.26050420168066E-2</c:v>
                </c:pt>
                <c:pt idx="31743">
                  <c:v>-1.26050420168066E-2</c:v>
                </c:pt>
                <c:pt idx="31744">
                  <c:v>-1.26050420168066E-2</c:v>
                </c:pt>
                <c:pt idx="31745">
                  <c:v>-1.26050420168066E-2</c:v>
                </c:pt>
                <c:pt idx="31746">
                  <c:v>-1.26050420168066E-2</c:v>
                </c:pt>
                <c:pt idx="31747">
                  <c:v>-1.26050420168066E-2</c:v>
                </c:pt>
                <c:pt idx="31748">
                  <c:v>-1.26050420168066E-2</c:v>
                </c:pt>
                <c:pt idx="31749">
                  <c:v>-1.26050420168066E-2</c:v>
                </c:pt>
                <c:pt idx="31750">
                  <c:v>-1.26050420168066E-2</c:v>
                </c:pt>
                <c:pt idx="31751">
                  <c:v>-1.26050420168066E-2</c:v>
                </c:pt>
                <c:pt idx="31752">
                  <c:v>-1.26050420168066E-2</c:v>
                </c:pt>
                <c:pt idx="31753">
                  <c:v>-1.26050420168066E-2</c:v>
                </c:pt>
                <c:pt idx="31754">
                  <c:v>-1.26050420168066E-2</c:v>
                </c:pt>
                <c:pt idx="31755">
                  <c:v>-1.26050420168066E-2</c:v>
                </c:pt>
                <c:pt idx="31756">
                  <c:v>-1.26050420168066E-2</c:v>
                </c:pt>
                <c:pt idx="31757">
                  <c:v>-1.26050420168066E-2</c:v>
                </c:pt>
                <c:pt idx="31758">
                  <c:v>-1.26050420168066E-2</c:v>
                </c:pt>
                <c:pt idx="31759">
                  <c:v>-1.26050420168066E-2</c:v>
                </c:pt>
                <c:pt idx="31760">
                  <c:v>-1.26050420168066E-2</c:v>
                </c:pt>
                <c:pt idx="31761">
                  <c:v>-1.26050420168066E-2</c:v>
                </c:pt>
                <c:pt idx="31762">
                  <c:v>-1.26050420168066E-2</c:v>
                </c:pt>
                <c:pt idx="31763">
                  <c:v>-1.26050420168066E-2</c:v>
                </c:pt>
                <c:pt idx="31764">
                  <c:v>-1.26050420168066E-2</c:v>
                </c:pt>
                <c:pt idx="31765">
                  <c:v>-1.26050420168066E-2</c:v>
                </c:pt>
                <c:pt idx="31766">
                  <c:v>-1.26050420168066E-2</c:v>
                </c:pt>
                <c:pt idx="31767">
                  <c:v>-1.26050420168066E-2</c:v>
                </c:pt>
                <c:pt idx="31768">
                  <c:v>-1.26050420168066E-2</c:v>
                </c:pt>
                <c:pt idx="31769">
                  <c:v>-1.26050420168066E-2</c:v>
                </c:pt>
                <c:pt idx="31770">
                  <c:v>-1.26050420168066E-2</c:v>
                </c:pt>
                <c:pt idx="31771">
                  <c:v>-1.26050420168066E-2</c:v>
                </c:pt>
                <c:pt idx="31772">
                  <c:v>-1.26050420168066E-2</c:v>
                </c:pt>
                <c:pt idx="31773">
                  <c:v>-1.26050420168066E-2</c:v>
                </c:pt>
                <c:pt idx="31774">
                  <c:v>-1.26050420168066E-2</c:v>
                </c:pt>
                <c:pt idx="31775">
                  <c:v>-1.26050420168066E-2</c:v>
                </c:pt>
                <c:pt idx="31776">
                  <c:v>-1.26050420168066E-2</c:v>
                </c:pt>
                <c:pt idx="31777">
                  <c:v>-1.26050420168066E-2</c:v>
                </c:pt>
                <c:pt idx="31778">
                  <c:v>-1.26050420168066E-2</c:v>
                </c:pt>
                <c:pt idx="31779">
                  <c:v>-1.26050420168066E-2</c:v>
                </c:pt>
                <c:pt idx="31780">
                  <c:v>-1.26050420168066E-2</c:v>
                </c:pt>
                <c:pt idx="31781">
                  <c:v>-1.26050420168066E-2</c:v>
                </c:pt>
                <c:pt idx="31782">
                  <c:v>-1.26050420168066E-2</c:v>
                </c:pt>
                <c:pt idx="31783">
                  <c:v>-1.26050420168066E-2</c:v>
                </c:pt>
                <c:pt idx="31784">
                  <c:v>-1.26050420168066E-2</c:v>
                </c:pt>
                <c:pt idx="31785">
                  <c:v>-1.26050420168066E-2</c:v>
                </c:pt>
                <c:pt idx="31786">
                  <c:v>-1.26050420168066E-2</c:v>
                </c:pt>
                <c:pt idx="31787">
                  <c:v>-1.26050420168066E-2</c:v>
                </c:pt>
                <c:pt idx="31788">
                  <c:v>-1.26050420168066E-2</c:v>
                </c:pt>
                <c:pt idx="31789">
                  <c:v>-1.26050420168066E-2</c:v>
                </c:pt>
                <c:pt idx="31790">
                  <c:v>-1.26050420168066E-2</c:v>
                </c:pt>
                <c:pt idx="31791">
                  <c:v>-1.26050420168066E-2</c:v>
                </c:pt>
                <c:pt idx="31792">
                  <c:v>-1.26050420168066E-2</c:v>
                </c:pt>
                <c:pt idx="31793">
                  <c:v>-1.26050420168066E-2</c:v>
                </c:pt>
                <c:pt idx="31794">
                  <c:v>-1.26050420168066E-2</c:v>
                </c:pt>
                <c:pt idx="31795">
                  <c:v>-1.26050420168066E-2</c:v>
                </c:pt>
                <c:pt idx="31796">
                  <c:v>-1.26050420168066E-2</c:v>
                </c:pt>
                <c:pt idx="31797">
                  <c:v>-1.26050420168066E-2</c:v>
                </c:pt>
                <c:pt idx="31798">
                  <c:v>-1.26050420168066E-2</c:v>
                </c:pt>
                <c:pt idx="31799">
                  <c:v>-1.26050420168066E-2</c:v>
                </c:pt>
                <c:pt idx="31800">
                  <c:v>-1.26050420168066E-2</c:v>
                </c:pt>
                <c:pt idx="31801">
                  <c:v>-1.26050420168066E-2</c:v>
                </c:pt>
                <c:pt idx="31802">
                  <c:v>-1.3445378151260399E-2</c:v>
                </c:pt>
                <c:pt idx="31803">
                  <c:v>-1.3445378151260399E-2</c:v>
                </c:pt>
                <c:pt idx="31804">
                  <c:v>-1.3445378151260399E-2</c:v>
                </c:pt>
                <c:pt idx="31805">
                  <c:v>-1.3445378151260399E-2</c:v>
                </c:pt>
                <c:pt idx="31806">
                  <c:v>-1.3445378151260399E-2</c:v>
                </c:pt>
                <c:pt idx="31807">
                  <c:v>-1.3445378151260399E-2</c:v>
                </c:pt>
                <c:pt idx="31808">
                  <c:v>-1.3445378151260399E-2</c:v>
                </c:pt>
                <c:pt idx="31809">
                  <c:v>-1.3445378151260399E-2</c:v>
                </c:pt>
                <c:pt idx="31810">
                  <c:v>-1.3445378151260399E-2</c:v>
                </c:pt>
                <c:pt idx="31811">
                  <c:v>-1.3445378151260399E-2</c:v>
                </c:pt>
                <c:pt idx="31812">
                  <c:v>-1.3445378151260399E-2</c:v>
                </c:pt>
                <c:pt idx="31813">
                  <c:v>-1.3445378151260399E-2</c:v>
                </c:pt>
                <c:pt idx="31814">
                  <c:v>-1.3445378151260399E-2</c:v>
                </c:pt>
                <c:pt idx="31815">
                  <c:v>-1.3445378151260399E-2</c:v>
                </c:pt>
                <c:pt idx="31816">
                  <c:v>-1.3445378151260399E-2</c:v>
                </c:pt>
                <c:pt idx="31817">
                  <c:v>-1.3445378151260399E-2</c:v>
                </c:pt>
                <c:pt idx="31818">
                  <c:v>-1.3445378151260399E-2</c:v>
                </c:pt>
                <c:pt idx="31819">
                  <c:v>-1.3445378151260399E-2</c:v>
                </c:pt>
                <c:pt idx="31820">
                  <c:v>-1.3445378151260399E-2</c:v>
                </c:pt>
                <c:pt idx="31821">
                  <c:v>-1.3445378151260399E-2</c:v>
                </c:pt>
                <c:pt idx="31822">
                  <c:v>-1.3445378151260399E-2</c:v>
                </c:pt>
                <c:pt idx="31823">
                  <c:v>-1.3445378151260399E-2</c:v>
                </c:pt>
                <c:pt idx="31824">
                  <c:v>-1.3445378151260399E-2</c:v>
                </c:pt>
                <c:pt idx="31825">
                  <c:v>-1.3445378151260399E-2</c:v>
                </c:pt>
                <c:pt idx="31826">
                  <c:v>-1.3445378151260399E-2</c:v>
                </c:pt>
                <c:pt idx="31827">
                  <c:v>-1.3445378151260399E-2</c:v>
                </c:pt>
                <c:pt idx="31828">
                  <c:v>-1.3445378151260399E-2</c:v>
                </c:pt>
                <c:pt idx="31829">
                  <c:v>-1.3445378151260399E-2</c:v>
                </c:pt>
                <c:pt idx="31830">
                  <c:v>-1.3445378151260399E-2</c:v>
                </c:pt>
                <c:pt idx="31831">
                  <c:v>-1.3445378151260399E-2</c:v>
                </c:pt>
                <c:pt idx="31832">
                  <c:v>-1.3445378151260399E-2</c:v>
                </c:pt>
                <c:pt idx="31833">
                  <c:v>-1.3445378151260399E-2</c:v>
                </c:pt>
                <c:pt idx="31834">
                  <c:v>-1.3445378151260399E-2</c:v>
                </c:pt>
                <c:pt idx="31835">
                  <c:v>-1.3445378151260399E-2</c:v>
                </c:pt>
                <c:pt idx="31836">
                  <c:v>-1.3445378151260399E-2</c:v>
                </c:pt>
                <c:pt idx="31837">
                  <c:v>-1.3445378151260399E-2</c:v>
                </c:pt>
                <c:pt idx="31838">
                  <c:v>-1.3445378151260399E-2</c:v>
                </c:pt>
                <c:pt idx="31839">
                  <c:v>-1.3445378151260399E-2</c:v>
                </c:pt>
                <c:pt idx="31840">
                  <c:v>-1.3445378151260399E-2</c:v>
                </c:pt>
                <c:pt idx="31841">
                  <c:v>-1.3445378151260399E-2</c:v>
                </c:pt>
                <c:pt idx="31842">
                  <c:v>-1.3445378151260399E-2</c:v>
                </c:pt>
                <c:pt idx="31843">
                  <c:v>-1.3445378151260399E-2</c:v>
                </c:pt>
                <c:pt idx="31844">
                  <c:v>-1.3445378151260399E-2</c:v>
                </c:pt>
                <c:pt idx="31845">
                  <c:v>-1.3445378151260399E-2</c:v>
                </c:pt>
                <c:pt idx="31846">
                  <c:v>-1.3445378151260399E-2</c:v>
                </c:pt>
                <c:pt idx="31847">
                  <c:v>-1.3445378151260399E-2</c:v>
                </c:pt>
                <c:pt idx="31848">
                  <c:v>-1.3445378151260399E-2</c:v>
                </c:pt>
                <c:pt idx="31849">
                  <c:v>-1.3445378151260399E-2</c:v>
                </c:pt>
                <c:pt idx="31850">
                  <c:v>-1.3445378151260399E-2</c:v>
                </c:pt>
                <c:pt idx="31851">
                  <c:v>-1.3445378151260399E-2</c:v>
                </c:pt>
                <c:pt idx="31852">
                  <c:v>-1.3445378151260399E-2</c:v>
                </c:pt>
                <c:pt idx="31853">
                  <c:v>-1.3445378151260399E-2</c:v>
                </c:pt>
                <c:pt idx="31854">
                  <c:v>-1.3445378151260399E-2</c:v>
                </c:pt>
                <c:pt idx="31855">
                  <c:v>-1.3445378151260399E-2</c:v>
                </c:pt>
                <c:pt idx="31856">
                  <c:v>-1.3445378151260399E-2</c:v>
                </c:pt>
                <c:pt idx="31857">
                  <c:v>-1.3445378151260399E-2</c:v>
                </c:pt>
                <c:pt idx="31858">
                  <c:v>-1.3445378151260399E-2</c:v>
                </c:pt>
                <c:pt idx="31859">
                  <c:v>-1.3445378151260399E-2</c:v>
                </c:pt>
                <c:pt idx="31860">
                  <c:v>-1.3445378151260399E-2</c:v>
                </c:pt>
                <c:pt idx="31861">
                  <c:v>-1.3445378151260399E-2</c:v>
                </c:pt>
                <c:pt idx="31862">
                  <c:v>-1.3445378151260399E-2</c:v>
                </c:pt>
                <c:pt idx="31863">
                  <c:v>-1.3445378151260399E-2</c:v>
                </c:pt>
                <c:pt idx="31864">
                  <c:v>-1.3445378151260399E-2</c:v>
                </c:pt>
                <c:pt idx="31865">
                  <c:v>-1.3445378151260399E-2</c:v>
                </c:pt>
                <c:pt idx="31866">
                  <c:v>-1.3445378151260399E-2</c:v>
                </c:pt>
                <c:pt idx="31867">
                  <c:v>-1.3445378151260399E-2</c:v>
                </c:pt>
                <c:pt idx="31868">
                  <c:v>-1.3445378151260399E-2</c:v>
                </c:pt>
                <c:pt idx="31869">
                  <c:v>-1.3445378151260399E-2</c:v>
                </c:pt>
                <c:pt idx="31870">
                  <c:v>-1.3445378151260399E-2</c:v>
                </c:pt>
                <c:pt idx="31871">
                  <c:v>-1.3445378151260399E-2</c:v>
                </c:pt>
                <c:pt idx="31872">
                  <c:v>-1.3445378151260399E-2</c:v>
                </c:pt>
                <c:pt idx="31873">
                  <c:v>-1.3445378151260399E-2</c:v>
                </c:pt>
                <c:pt idx="31874">
                  <c:v>-1.3445378151260399E-2</c:v>
                </c:pt>
                <c:pt idx="31875">
                  <c:v>-1.3445378151260399E-2</c:v>
                </c:pt>
                <c:pt idx="31876">
                  <c:v>-1.3445378151260399E-2</c:v>
                </c:pt>
                <c:pt idx="31877">
                  <c:v>-1.3445378151260399E-2</c:v>
                </c:pt>
                <c:pt idx="31878">
                  <c:v>-1.3445378151260399E-2</c:v>
                </c:pt>
                <c:pt idx="31879">
                  <c:v>-1.3445378151260399E-2</c:v>
                </c:pt>
                <c:pt idx="31880">
                  <c:v>-1.3445378151260399E-2</c:v>
                </c:pt>
                <c:pt idx="31881">
                  <c:v>-1.3445378151260399E-2</c:v>
                </c:pt>
                <c:pt idx="31882">
                  <c:v>-1.3445378151260399E-2</c:v>
                </c:pt>
                <c:pt idx="31883">
                  <c:v>-1.3445378151260399E-2</c:v>
                </c:pt>
                <c:pt idx="31884">
                  <c:v>-1.3445378151260399E-2</c:v>
                </c:pt>
                <c:pt idx="31885">
                  <c:v>-1.3445378151260399E-2</c:v>
                </c:pt>
                <c:pt idx="31886">
                  <c:v>-1.3445378151260399E-2</c:v>
                </c:pt>
                <c:pt idx="31887">
                  <c:v>-1.3445378151260399E-2</c:v>
                </c:pt>
                <c:pt idx="31888">
                  <c:v>-1.3445378151260399E-2</c:v>
                </c:pt>
                <c:pt idx="31889">
                  <c:v>-1.3445378151260399E-2</c:v>
                </c:pt>
                <c:pt idx="31890">
                  <c:v>-1.3445378151260399E-2</c:v>
                </c:pt>
                <c:pt idx="31891">
                  <c:v>-1.3445378151260399E-2</c:v>
                </c:pt>
                <c:pt idx="31892">
                  <c:v>-1.3445378151260399E-2</c:v>
                </c:pt>
                <c:pt idx="31893">
                  <c:v>-1.3445378151260399E-2</c:v>
                </c:pt>
                <c:pt idx="31894">
                  <c:v>-1.3445378151260399E-2</c:v>
                </c:pt>
                <c:pt idx="31895">
                  <c:v>-1.3445378151260399E-2</c:v>
                </c:pt>
                <c:pt idx="31896">
                  <c:v>-1.3445378151260399E-2</c:v>
                </c:pt>
                <c:pt idx="31897">
                  <c:v>-1.3445378151260399E-2</c:v>
                </c:pt>
                <c:pt idx="31898">
                  <c:v>-1.3445378151260399E-2</c:v>
                </c:pt>
                <c:pt idx="31899">
                  <c:v>-1.3445378151260399E-2</c:v>
                </c:pt>
                <c:pt idx="31900">
                  <c:v>-1.3445378151260399E-2</c:v>
                </c:pt>
                <c:pt idx="31901">
                  <c:v>-1.3445378151260399E-2</c:v>
                </c:pt>
                <c:pt idx="31902">
                  <c:v>-1.3445378151260399E-2</c:v>
                </c:pt>
                <c:pt idx="31903">
                  <c:v>-1.3445378151260399E-2</c:v>
                </c:pt>
                <c:pt idx="31904">
                  <c:v>-1.3445378151260399E-2</c:v>
                </c:pt>
                <c:pt idx="31905">
                  <c:v>-1.3445378151260399E-2</c:v>
                </c:pt>
                <c:pt idx="31906">
                  <c:v>-1.3445378151260399E-2</c:v>
                </c:pt>
                <c:pt idx="31907">
                  <c:v>-1.3445378151260399E-2</c:v>
                </c:pt>
                <c:pt idx="31908">
                  <c:v>-1.3445378151260399E-2</c:v>
                </c:pt>
                <c:pt idx="31909">
                  <c:v>-1.3445378151260399E-2</c:v>
                </c:pt>
                <c:pt idx="31910">
                  <c:v>-1.3445378151260399E-2</c:v>
                </c:pt>
                <c:pt idx="31911">
                  <c:v>-1.3445378151260399E-2</c:v>
                </c:pt>
                <c:pt idx="31912">
                  <c:v>-1.3445378151260399E-2</c:v>
                </c:pt>
                <c:pt idx="31913">
                  <c:v>-1.3445378151260399E-2</c:v>
                </c:pt>
                <c:pt idx="31914">
                  <c:v>-1.3445378151260399E-2</c:v>
                </c:pt>
                <c:pt idx="31915">
                  <c:v>-1.3445378151260399E-2</c:v>
                </c:pt>
                <c:pt idx="31916">
                  <c:v>-1.3445378151260399E-2</c:v>
                </c:pt>
                <c:pt idx="31917">
                  <c:v>-1.3445378151260399E-2</c:v>
                </c:pt>
                <c:pt idx="31918">
                  <c:v>-1.3445378151260399E-2</c:v>
                </c:pt>
                <c:pt idx="31919">
                  <c:v>-1.3445378151260399E-2</c:v>
                </c:pt>
                <c:pt idx="31920">
                  <c:v>-1.3445378151260399E-2</c:v>
                </c:pt>
                <c:pt idx="31921">
                  <c:v>-1.3445378151260399E-2</c:v>
                </c:pt>
                <c:pt idx="31922">
                  <c:v>-1.3445378151260399E-2</c:v>
                </c:pt>
                <c:pt idx="31923">
                  <c:v>-1.3445378151260399E-2</c:v>
                </c:pt>
                <c:pt idx="31924">
                  <c:v>-1.3445378151260399E-2</c:v>
                </c:pt>
                <c:pt idx="31925">
                  <c:v>-1.3445378151260399E-2</c:v>
                </c:pt>
                <c:pt idx="31926">
                  <c:v>-1.3445378151260399E-2</c:v>
                </c:pt>
                <c:pt idx="31927">
                  <c:v>-1.3445378151260399E-2</c:v>
                </c:pt>
                <c:pt idx="31928">
                  <c:v>-1.3445378151260399E-2</c:v>
                </c:pt>
                <c:pt idx="31929">
                  <c:v>-1.3445378151260399E-2</c:v>
                </c:pt>
                <c:pt idx="31930">
                  <c:v>-1.3445378151260399E-2</c:v>
                </c:pt>
                <c:pt idx="31931">
                  <c:v>-1.3445378151260399E-2</c:v>
                </c:pt>
                <c:pt idx="31932">
                  <c:v>-1.3445378151260399E-2</c:v>
                </c:pt>
                <c:pt idx="31933">
                  <c:v>-1.3445378151260399E-2</c:v>
                </c:pt>
                <c:pt idx="31934">
                  <c:v>-1.3445378151260399E-2</c:v>
                </c:pt>
                <c:pt idx="31935">
                  <c:v>-1.3445378151260399E-2</c:v>
                </c:pt>
                <c:pt idx="31936">
                  <c:v>-1.3445378151260399E-2</c:v>
                </c:pt>
                <c:pt idx="31937">
                  <c:v>-1.3445378151260399E-2</c:v>
                </c:pt>
                <c:pt idx="31938">
                  <c:v>-1.3445378151260399E-2</c:v>
                </c:pt>
                <c:pt idx="31939">
                  <c:v>-1.3445378151260399E-2</c:v>
                </c:pt>
                <c:pt idx="31940">
                  <c:v>-1.3445378151260399E-2</c:v>
                </c:pt>
                <c:pt idx="31941">
                  <c:v>-1.3445378151260399E-2</c:v>
                </c:pt>
                <c:pt idx="31942">
                  <c:v>-1.3445378151260399E-2</c:v>
                </c:pt>
                <c:pt idx="31943">
                  <c:v>-1.3445378151260399E-2</c:v>
                </c:pt>
                <c:pt idx="31944">
                  <c:v>-1.3445378151260399E-2</c:v>
                </c:pt>
                <c:pt idx="31945">
                  <c:v>-1.3445378151260399E-2</c:v>
                </c:pt>
                <c:pt idx="31946">
                  <c:v>-1.3445378151260399E-2</c:v>
                </c:pt>
                <c:pt idx="31947">
                  <c:v>-1.3445378151260399E-2</c:v>
                </c:pt>
                <c:pt idx="31948">
                  <c:v>-1.3445378151260399E-2</c:v>
                </c:pt>
                <c:pt idx="31949">
                  <c:v>-1.3445378151260399E-2</c:v>
                </c:pt>
                <c:pt idx="31950">
                  <c:v>-1.3445378151260399E-2</c:v>
                </c:pt>
                <c:pt idx="31951">
                  <c:v>-1.3445378151260399E-2</c:v>
                </c:pt>
                <c:pt idx="31952">
                  <c:v>-1.3445378151260399E-2</c:v>
                </c:pt>
                <c:pt idx="31953">
                  <c:v>-1.3445378151260399E-2</c:v>
                </c:pt>
                <c:pt idx="31954">
                  <c:v>-1.3445378151260399E-2</c:v>
                </c:pt>
                <c:pt idx="31955">
                  <c:v>-1.3445378151260399E-2</c:v>
                </c:pt>
                <c:pt idx="31956">
                  <c:v>-1.3445378151260399E-2</c:v>
                </c:pt>
                <c:pt idx="31957">
                  <c:v>-1.3445378151260399E-2</c:v>
                </c:pt>
                <c:pt idx="31958">
                  <c:v>-1.3445378151260399E-2</c:v>
                </c:pt>
                <c:pt idx="31959">
                  <c:v>-1.3445378151260399E-2</c:v>
                </c:pt>
                <c:pt idx="31960">
                  <c:v>-1.3445378151260399E-2</c:v>
                </c:pt>
                <c:pt idx="31961">
                  <c:v>-1.3445378151260399E-2</c:v>
                </c:pt>
                <c:pt idx="31962">
                  <c:v>-1.3445378151260399E-2</c:v>
                </c:pt>
                <c:pt idx="31963">
                  <c:v>-1.3445378151260399E-2</c:v>
                </c:pt>
                <c:pt idx="31964">
                  <c:v>-1.3445378151260399E-2</c:v>
                </c:pt>
                <c:pt idx="31965">
                  <c:v>-1.3445378151260399E-2</c:v>
                </c:pt>
                <c:pt idx="31966">
                  <c:v>-1.3445378151260399E-2</c:v>
                </c:pt>
                <c:pt idx="31967">
                  <c:v>-1.3445378151260399E-2</c:v>
                </c:pt>
                <c:pt idx="31968">
                  <c:v>-1.3445378151260399E-2</c:v>
                </c:pt>
                <c:pt idx="31969">
                  <c:v>-1.3445378151260399E-2</c:v>
                </c:pt>
                <c:pt idx="31970">
                  <c:v>-1.3445378151260399E-2</c:v>
                </c:pt>
                <c:pt idx="31971">
                  <c:v>-1.3445378151260399E-2</c:v>
                </c:pt>
                <c:pt idx="31972">
                  <c:v>-1.3445378151260399E-2</c:v>
                </c:pt>
                <c:pt idx="31973">
                  <c:v>-1.3445378151260399E-2</c:v>
                </c:pt>
                <c:pt idx="31974">
                  <c:v>-1.3445378151260399E-2</c:v>
                </c:pt>
                <c:pt idx="31975">
                  <c:v>-1.3445378151260399E-2</c:v>
                </c:pt>
                <c:pt idx="31976">
                  <c:v>-1.3445378151260399E-2</c:v>
                </c:pt>
                <c:pt idx="31977">
                  <c:v>-1.3445378151260399E-2</c:v>
                </c:pt>
                <c:pt idx="31978">
                  <c:v>-1.3445378151260399E-2</c:v>
                </c:pt>
                <c:pt idx="31979">
                  <c:v>-1.3445378151260399E-2</c:v>
                </c:pt>
                <c:pt idx="31980">
                  <c:v>-1.3445378151260399E-2</c:v>
                </c:pt>
                <c:pt idx="31981">
                  <c:v>-1.3445378151260399E-2</c:v>
                </c:pt>
                <c:pt idx="31982">
                  <c:v>-1.3445378151260399E-2</c:v>
                </c:pt>
                <c:pt idx="31983">
                  <c:v>-1.3445378151260399E-2</c:v>
                </c:pt>
                <c:pt idx="31984">
                  <c:v>-1.3445378151260399E-2</c:v>
                </c:pt>
                <c:pt idx="31985">
                  <c:v>-1.3445378151260399E-2</c:v>
                </c:pt>
                <c:pt idx="31986">
                  <c:v>-1.3445378151260399E-2</c:v>
                </c:pt>
                <c:pt idx="31987">
                  <c:v>-1.3445378151260399E-2</c:v>
                </c:pt>
                <c:pt idx="31988">
                  <c:v>-1.3445378151260399E-2</c:v>
                </c:pt>
                <c:pt idx="31989">
                  <c:v>-1.3445378151260399E-2</c:v>
                </c:pt>
                <c:pt idx="31990">
                  <c:v>-1.3445378151260399E-2</c:v>
                </c:pt>
                <c:pt idx="31991">
                  <c:v>-1.3445378151260399E-2</c:v>
                </c:pt>
                <c:pt idx="31992">
                  <c:v>-1.3445378151260399E-2</c:v>
                </c:pt>
                <c:pt idx="31993">
                  <c:v>-1.3445378151260399E-2</c:v>
                </c:pt>
                <c:pt idx="31994">
                  <c:v>-1.3445378151260399E-2</c:v>
                </c:pt>
                <c:pt idx="31995">
                  <c:v>-1.3445378151260399E-2</c:v>
                </c:pt>
                <c:pt idx="31996">
                  <c:v>-1.3445378151260399E-2</c:v>
                </c:pt>
                <c:pt idx="31997">
                  <c:v>-1.3445378151260399E-2</c:v>
                </c:pt>
                <c:pt idx="31998">
                  <c:v>-1.3445378151260399E-2</c:v>
                </c:pt>
                <c:pt idx="31999">
                  <c:v>-1.3445378151260399E-2</c:v>
                </c:pt>
                <c:pt idx="32000">
                  <c:v>-1.3445378151260399E-2</c:v>
                </c:pt>
                <c:pt idx="32001">
                  <c:v>-1.3445378151260399E-2</c:v>
                </c:pt>
                <c:pt idx="32002">
                  <c:v>-1.3445378151260399E-2</c:v>
                </c:pt>
                <c:pt idx="32003">
                  <c:v>-1.3445378151260399E-2</c:v>
                </c:pt>
                <c:pt idx="32004">
                  <c:v>-1.3445378151260399E-2</c:v>
                </c:pt>
                <c:pt idx="32005">
                  <c:v>-1.3445378151260399E-2</c:v>
                </c:pt>
                <c:pt idx="32006">
                  <c:v>-1.3445378151260399E-2</c:v>
                </c:pt>
                <c:pt idx="32007">
                  <c:v>-1.3445378151260399E-2</c:v>
                </c:pt>
                <c:pt idx="32008">
                  <c:v>-1.3445378151260399E-2</c:v>
                </c:pt>
                <c:pt idx="32009">
                  <c:v>-1.3445378151260399E-2</c:v>
                </c:pt>
                <c:pt idx="32010">
                  <c:v>-1.3445378151260399E-2</c:v>
                </c:pt>
                <c:pt idx="32011">
                  <c:v>-1.3445378151260399E-2</c:v>
                </c:pt>
                <c:pt idx="32012">
                  <c:v>-1.3445378151260399E-2</c:v>
                </c:pt>
                <c:pt idx="32013">
                  <c:v>-1.3445378151260399E-2</c:v>
                </c:pt>
                <c:pt idx="32014">
                  <c:v>-1.3445378151260399E-2</c:v>
                </c:pt>
                <c:pt idx="32015">
                  <c:v>-1.3445378151260399E-2</c:v>
                </c:pt>
                <c:pt idx="32016">
                  <c:v>-1.3445378151260399E-2</c:v>
                </c:pt>
                <c:pt idx="32017">
                  <c:v>-1.3445378151260399E-2</c:v>
                </c:pt>
                <c:pt idx="32018">
                  <c:v>-1.3445378151260399E-2</c:v>
                </c:pt>
                <c:pt idx="32019">
                  <c:v>-1.3445378151260399E-2</c:v>
                </c:pt>
                <c:pt idx="32020">
                  <c:v>-1.3445378151260399E-2</c:v>
                </c:pt>
                <c:pt idx="32021">
                  <c:v>-1.3445378151260399E-2</c:v>
                </c:pt>
                <c:pt idx="32022">
                  <c:v>-1.3445378151260399E-2</c:v>
                </c:pt>
                <c:pt idx="32023">
                  <c:v>-1.3445378151260399E-2</c:v>
                </c:pt>
                <c:pt idx="32024">
                  <c:v>-1.3445378151260399E-2</c:v>
                </c:pt>
                <c:pt idx="32025">
                  <c:v>-1.26050420168066E-2</c:v>
                </c:pt>
                <c:pt idx="32026">
                  <c:v>-1.3445378151260399E-2</c:v>
                </c:pt>
                <c:pt idx="32027">
                  <c:v>-1.3445378151260399E-2</c:v>
                </c:pt>
                <c:pt idx="32028">
                  <c:v>-1.3445378151260399E-2</c:v>
                </c:pt>
                <c:pt idx="32029">
                  <c:v>-1.3445378151260399E-2</c:v>
                </c:pt>
                <c:pt idx="32030">
                  <c:v>-1.3445378151260399E-2</c:v>
                </c:pt>
                <c:pt idx="32031">
                  <c:v>-1.3445378151260399E-2</c:v>
                </c:pt>
                <c:pt idx="32032">
                  <c:v>-1.3445378151260399E-2</c:v>
                </c:pt>
                <c:pt idx="32033">
                  <c:v>-1.3445378151260399E-2</c:v>
                </c:pt>
                <c:pt idx="32034">
                  <c:v>-1.3445378151260399E-2</c:v>
                </c:pt>
                <c:pt idx="32035">
                  <c:v>-1.3445378151260399E-2</c:v>
                </c:pt>
                <c:pt idx="32036">
                  <c:v>-1.3445378151260399E-2</c:v>
                </c:pt>
                <c:pt idx="32037">
                  <c:v>-1.3445378151260399E-2</c:v>
                </c:pt>
                <c:pt idx="32038">
                  <c:v>-1.3445378151260399E-2</c:v>
                </c:pt>
                <c:pt idx="32039">
                  <c:v>-1.3445378151260399E-2</c:v>
                </c:pt>
                <c:pt idx="32040">
                  <c:v>-1.3445378151260399E-2</c:v>
                </c:pt>
                <c:pt idx="32041">
                  <c:v>-1.3445378151260399E-2</c:v>
                </c:pt>
                <c:pt idx="32042">
                  <c:v>-1.3445378151260399E-2</c:v>
                </c:pt>
                <c:pt idx="32043">
                  <c:v>-1.3445378151260399E-2</c:v>
                </c:pt>
                <c:pt idx="32044">
                  <c:v>-1.3445378151260399E-2</c:v>
                </c:pt>
                <c:pt idx="32045">
                  <c:v>-1.3445378151260399E-2</c:v>
                </c:pt>
                <c:pt idx="32046">
                  <c:v>-1.3445378151260399E-2</c:v>
                </c:pt>
                <c:pt idx="32047">
                  <c:v>-1.3445378151260399E-2</c:v>
                </c:pt>
                <c:pt idx="32048">
                  <c:v>-1.3445378151260399E-2</c:v>
                </c:pt>
                <c:pt idx="32049">
                  <c:v>-1.3445378151260399E-2</c:v>
                </c:pt>
                <c:pt idx="32050">
                  <c:v>-1.3445378151260399E-2</c:v>
                </c:pt>
                <c:pt idx="32051">
                  <c:v>-1.3445378151260399E-2</c:v>
                </c:pt>
                <c:pt idx="32052">
                  <c:v>-1.3445378151260399E-2</c:v>
                </c:pt>
                <c:pt idx="32053">
                  <c:v>-1.3445378151260399E-2</c:v>
                </c:pt>
                <c:pt idx="32054">
                  <c:v>-1.3445378151260399E-2</c:v>
                </c:pt>
                <c:pt idx="32055">
                  <c:v>-1.3445378151260399E-2</c:v>
                </c:pt>
                <c:pt idx="32056">
                  <c:v>-1.3445378151260399E-2</c:v>
                </c:pt>
                <c:pt idx="32057">
                  <c:v>-1.3445378151260399E-2</c:v>
                </c:pt>
                <c:pt idx="32058">
                  <c:v>-1.3445378151260399E-2</c:v>
                </c:pt>
                <c:pt idx="32059">
                  <c:v>-1.26050420168066E-2</c:v>
                </c:pt>
                <c:pt idx="32060">
                  <c:v>-1.26050420168066E-2</c:v>
                </c:pt>
                <c:pt idx="32061">
                  <c:v>-1.26050420168066E-2</c:v>
                </c:pt>
                <c:pt idx="32062">
                  <c:v>-1.26050420168066E-2</c:v>
                </c:pt>
                <c:pt idx="32063">
                  <c:v>-1.26050420168066E-2</c:v>
                </c:pt>
                <c:pt idx="32064">
                  <c:v>-1.26050420168066E-2</c:v>
                </c:pt>
                <c:pt idx="32065">
                  <c:v>-1.26050420168066E-2</c:v>
                </c:pt>
                <c:pt idx="32066">
                  <c:v>-1.26050420168066E-2</c:v>
                </c:pt>
                <c:pt idx="32067">
                  <c:v>-1.26050420168066E-2</c:v>
                </c:pt>
                <c:pt idx="32068">
                  <c:v>-1.26050420168066E-2</c:v>
                </c:pt>
                <c:pt idx="32069">
                  <c:v>-1.26050420168066E-2</c:v>
                </c:pt>
                <c:pt idx="32070">
                  <c:v>-1.26050420168066E-2</c:v>
                </c:pt>
                <c:pt idx="32071">
                  <c:v>-1.26050420168066E-2</c:v>
                </c:pt>
                <c:pt idx="32072">
                  <c:v>-1.26050420168066E-2</c:v>
                </c:pt>
                <c:pt idx="32073">
                  <c:v>-1.26050420168066E-2</c:v>
                </c:pt>
                <c:pt idx="32074">
                  <c:v>-1.26050420168066E-2</c:v>
                </c:pt>
                <c:pt idx="32075">
                  <c:v>-1.26050420168066E-2</c:v>
                </c:pt>
                <c:pt idx="32076">
                  <c:v>-1.26050420168066E-2</c:v>
                </c:pt>
                <c:pt idx="32077">
                  <c:v>-1.26050420168066E-2</c:v>
                </c:pt>
                <c:pt idx="32078">
                  <c:v>-1.26050420168066E-2</c:v>
                </c:pt>
                <c:pt idx="32079">
                  <c:v>-1.26050420168066E-2</c:v>
                </c:pt>
                <c:pt idx="32080">
                  <c:v>-1.26050420168066E-2</c:v>
                </c:pt>
                <c:pt idx="32081">
                  <c:v>-1.26050420168066E-2</c:v>
                </c:pt>
                <c:pt idx="32082">
                  <c:v>-1.26050420168066E-2</c:v>
                </c:pt>
                <c:pt idx="32083">
                  <c:v>-1.26050420168066E-2</c:v>
                </c:pt>
                <c:pt idx="32084">
                  <c:v>-1.26050420168066E-2</c:v>
                </c:pt>
                <c:pt idx="32085">
                  <c:v>-1.26050420168066E-2</c:v>
                </c:pt>
                <c:pt idx="32086">
                  <c:v>-1.26050420168066E-2</c:v>
                </c:pt>
                <c:pt idx="32087">
                  <c:v>-1.26050420168066E-2</c:v>
                </c:pt>
                <c:pt idx="32088">
                  <c:v>-1.26050420168066E-2</c:v>
                </c:pt>
                <c:pt idx="32089">
                  <c:v>-1.26050420168066E-2</c:v>
                </c:pt>
                <c:pt idx="32090">
                  <c:v>-1.26050420168066E-2</c:v>
                </c:pt>
                <c:pt idx="32091">
                  <c:v>-1.26050420168066E-2</c:v>
                </c:pt>
                <c:pt idx="32092">
                  <c:v>-1.26050420168066E-2</c:v>
                </c:pt>
                <c:pt idx="32093">
                  <c:v>-1.26050420168066E-2</c:v>
                </c:pt>
                <c:pt idx="32094">
                  <c:v>-1.26050420168066E-2</c:v>
                </c:pt>
                <c:pt idx="32095">
                  <c:v>-1.26050420168066E-2</c:v>
                </c:pt>
                <c:pt idx="32096">
                  <c:v>-1.26050420168066E-2</c:v>
                </c:pt>
                <c:pt idx="32097">
                  <c:v>-1.26050420168066E-2</c:v>
                </c:pt>
                <c:pt idx="32098">
                  <c:v>-1.26050420168066E-2</c:v>
                </c:pt>
                <c:pt idx="32099">
                  <c:v>-1.26050420168066E-2</c:v>
                </c:pt>
                <c:pt idx="32100">
                  <c:v>-1.26050420168066E-2</c:v>
                </c:pt>
                <c:pt idx="32101">
                  <c:v>-1.26050420168066E-2</c:v>
                </c:pt>
                <c:pt idx="32102">
                  <c:v>-1.26050420168066E-2</c:v>
                </c:pt>
                <c:pt idx="32103">
                  <c:v>-1.26050420168066E-2</c:v>
                </c:pt>
                <c:pt idx="32104">
                  <c:v>-1.26050420168066E-2</c:v>
                </c:pt>
                <c:pt idx="32105">
                  <c:v>-1.26050420168066E-2</c:v>
                </c:pt>
                <c:pt idx="32106">
                  <c:v>-1.26050420168066E-2</c:v>
                </c:pt>
                <c:pt idx="32107">
                  <c:v>-1.26050420168066E-2</c:v>
                </c:pt>
                <c:pt idx="32108">
                  <c:v>-1.26050420168066E-2</c:v>
                </c:pt>
                <c:pt idx="32109">
                  <c:v>-1.26050420168066E-2</c:v>
                </c:pt>
                <c:pt idx="32110">
                  <c:v>-1.26050420168066E-2</c:v>
                </c:pt>
                <c:pt idx="32111">
                  <c:v>-1.26050420168066E-2</c:v>
                </c:pt>
                <c:pt idx="32112">
                  <c:v>-1.26050420168066E-2</c:v>
                </c:pt>
                <c:pt idx="32113">
                  <c:v>-1.26050420168066E-2</c:v>
                </c:pt>
                <c:pt idx="32114">
                  <c:v>-1.26050420168066E-2</c:v>
                </c:pt>
                <c:pt idx="32115">
                  <c:v>-1.26050420168066E-2</c:v>
                </c:pt>
                <c:pt idx="32116">
                  <c:v>-1.26050420168066E-2</c:v>
                </c:pt>
                <c:pt idx="32117">
                  <c:v>-1.26050420168066E-2</c:v>
                </c:pt>
                <c:pt idx="32118">
                  <c:v>-1.26050420168066E-2</c:v>
                </c:pt>
                <c:pt idx="32119">
                  <c:v>-1.26050420168066E-2</c:v>
                </c:pt>
                <c:pt idx="32120">
                  <c:v>-1.26050420168066E-2</c:v>
                </c:pt>
                <c:pt idx="32121">
                  <c:v>-1.26050420168066E-2</c:v>
                </c:pt>
                <c:pt idx="32122">
                  <c:v>-1.26050420168066E-2</c:v>
                </c:pt>
                <c:pt idx="32123">
                  <c:v>-1.26050420168066E-2</c:v>
                </c:pt>
                <c:pt idx="32124">
                  <c:v>-1.26050420168066E-2</c:v>
                </c:pt>
                <c:pt idx="32125">
                  <c:v>-1.26050420168066E-2</c:v>
                </c:pt>
                <c:pt idx="32126">
                  <c:v>-1.26050420168066E-2</c:v>
                </c:pt>
                <c:pt idx="32127">
                  <c:v>-1.26050420168066E-2</c:v>
                </c:pt>
                <c:pt idx="32128">
                  <c:v>-1.26050420168066E-2</c:v>
                </c:pt>
                <c:pt idx="32129">
                  <c:v>-1.26050420168066E-2</c:v>
                </c:pt>
                <c:pt idx="32130">
                  <c:v>-1.26050420168066E-2</c:v>
                </c:pt>
                <c:pt idx="32131">
                  <c:v>-1.26050420168066E-2</c:v>
                </c:pt>
                <c:pt idx="32132">
                  <c:v>-1.26050420168066E-2</c:v>
                </c:pt>
                <c:pt idx="32133">
                  <c:v>-1.26050420168066E-2</c:v>
                </c:pt>
                <c:pt idx="32134">
                  <c:v>-1.26050420168066E-2</c:v>
                </c:pt>
                <c:pt idx="32135">
                  <c:v>-1.26050420168066E-2</c:v>
                </c:pt>
                <c:pt idx="32136">
                  <c:v>-1.26050420168066E-2</c:v>
                </c:pt>
                <c:pt idx="32137">
                  <c:v>-1.26050420168066E-2</c:v>
                </c:pt>
                <c:pt idx="32138">
                  <c:v>-1.26050420168066E-2</c:v>
                </c:pt>
                <c:pt idx="32139">
                  <c:v>-1.26050420168066E-2</c:v>
                </c:pt>
                <c:pt idx="32140">
                  <c:v>-1.26050420168066E-2</c:v>
                </c:pt>
                <c:pt idx="32141">
                  <c:v>-1.26050420168066E-2</c:v>
                </c:pt>
                <c:pt idx="32142">
                  <c:v>-1.26050420168066E-2</c:v>
                </c:pt>
                <c:pt idx="32143">
                  <c:v>-1.26050420168066E-2</c:v>
                </c:pt>
                <c:pt idx="32144">
                  <c:v>-1.26050420168066E-2</c:v>
                </c:pt>
                <c:pt idx="32145">
                  <c:v>-1.26050420168066E-2</c:v>
                </c:pt>
                <c:pt idx="32146">
                  <c:v>-1.26050420168066E-2</c:v>
                </c:pt>
                <c:pt idx="32147">
                  <c:v>-1.26050420168066E-2</c:v>
                </c:pt>
                <c:pt idx="32148">
                  <c:v>-1.26050420168066E-2</c:v>
                </c:pt>
                <c:pt idx="32149">
                  <c:v>-1.26050420168066E-2</c:v>
                </c:pt>
                <c:pt idx="32150">
                  <c:v>-1.26050420168066E-2</c:v>
                </c:pt>
                <c:pt idx="32151">
                  <c:v>-1.26050420168066E-2</c:v>
                </c:pt>
                <c:pt idx="32152">
                  <c:v>-1.26050420168066E-2</c:v>
                </c:pt>
                <c:pt idx="32153">
                  <c:v>-1.26050420168066E-2</c:v>
                </c:pt>
                <c:pt idx="32154">
                  <c:v>-1.26050420168066E-2</c:v>
                </c:pt>
                <c:pt idx="32155">
                  <c:v>-1.26050420168066E-2</c:v>
                </c:pt>
                <c:pt idx="32156">
                  <c:v>-1.26050420168066E-2</c:v>
                </c:pt>
                <c:pt idx="32157">
                  <c:v>-1.1764705882352899E-2</c:v>
                </c:pt>
                <c:pt idx="32158">
                  <c:v>-1.1764705882352899E-2</c:v>
                </c:pt>
                <c:pt idx="32159">
                  <c:v>-1.1764705882352899E-2</c:v>
                </c:pt>
                <c:pt idx="32160">
                  <c:v>-1.1764705882352899E-2</c:v>
                </c:pt>
                <c:pt idx="32161">
                  <c:v>-1.1764705882352899E-2</c:v>
                </c:pt>
                <c:pt idx="32162">
                  <c:v>-1.1764705882352899E-2</c:v>
                </c:pt>
                <c:pt idx="32163">
                  <c:v>-1.1764705882352899E-2</c:v>
                </c:pt>
                <c:pt idx="32164">
                  <c:v>-1.1764705882352899E-2</c:v>
                </c:pt>
                <c:pt idx="32165">
                  <c:v>-1.1764705882352899E-2</c:v>
                </c:pt>
                <c:pt idx="32166">
                  <c:v>-1.1764705882352899E-2</c:v>
                </c:pt>
                <c:pt idx="32167">
                  <c:v>-1.1764705882352899E-2</c:v>
                </c:pt>
                <c:pt idx="32168">
                  <c:v>-1.1764705882352899E-2</c:v>
                </c:pt>
                <c:pt idx="32169">
                  <c:v>-1.26050420168066E-2</c:v>
                </c:pt>
                <c:pt idx="32170">
                  <c:v>-1.26050420168066E-2</c:v>
                </c:pt>
                <c:pt idx="32171">
                  <c:v>-1.26050420168066E-2</c:v>
                </c:pt>
                <c:pt idx="32172">
                  <c:v>-1.26050420168066E-2</c:v>
                </c:pt>
                <c:pt idx="32173">
                  <c:v>-1.26050420168066E-2</c:v>
                </c:pt>
                <c:pt idx="32174">
                  <c:v>-1.26050420168066E-2</c:v>
                </c:pt>
                <c:pt idx="32175">
                  <c:v>-1.26050420168066E-2</c:v>
                </c:pt>
                <c:pt idx="32176">
                  <c:v>-1.26050420168066E-2</c:v>
                </c:pt>
                <c:pt idx="32177">
                  <c:v>-1.26050420168066E-2</c:v>
                </c:pt>
                <c:pt idx="32178">
                  <c:v>-1.26050420168066E-2</c:v>
                </c:pt>
                <c:pt idx="32179">
                  <c:v>-1.26050420168066E-2</c:v>
                </c:pt>
                <c:pt idx="32180">
                  <c:v>-1.26050420168066E-2</c:v>
                </c:pt>
                <c:pt idx="32181">
                  <c:v>-1.26050420168066E-2</c:v>
                </c:pt>
                <c:pt idx="32182">
                  <c:v>-1.26050420168066E-2</c:v>
                </c:pt>
                <c:pt idx="32183">
                  <c:v>-1.26050420168066E-2</c:v>
                </c:pt>
                <c:pt idx="32184">
                  <c:v>-1.26050420168066E-2</c:v>
                </c:pt>
                <c:pt idx="32185">
                  <c:v>-1.26050420168066E-2</c:v>
                </c:pt>
                <c:pt idx="32186">
                  <c:v>-1.26050420168066E-2</c:v>
                </c:pt>
                <c:pt idx="32187">
                  <c:v>-1.26050420168066E-2</c:v>
                </c:pt>
                <c:pt idx="32188">
                  <c:v>-1.26050420168066E-2</c:v>
                </c:pt>
                <c:pt idx="32189">
                  <c:v>-1.26050420168066E-2</c:v>
                </c:pt>
                <c:pt idx="32190">
                  <c:v>-1.26050420168066E-2</c:v>
                </c:pt>
                <c:pt idx="32191">
                  <c:v>-1.26050420168066E-2</c:v>
                </c:pt>
                <c:pt idx="32192">
                  <c:v>-1.26050420168066E-2</c:v>
                </c:pt>
                <c:pt idx="32193">
                  <c:v>-1.1764705882352899E-2</c:v>
                </c:pt>
                <c:pt idx="32194">
                  <c:v>-1.1764705882352899E-2</c:v>
                </c:pt>
                <c:pt idx="32195">
                  <c:v>-1.1764705882352899E-2</c:v>
                </c:pt>
                <c:pt idx="32196">
                  <c:v>-1.1764705882352899E-2</c:v>
                </c:pt>
                <c:pt idx="32197">
                  <c:v>-1.1764705882352899E-2</c:v>
                </c:pt>
                <c:pt idx="32198">
                  <c:v>-1.1764705882352899E-2</c:v>
                </c:pt>
                <c:pt idx="32199">
                  <c:v>-1.1764705882352899E-2</c:v>
                </c:pt>
                <c:pt idx="32200">
                  <c:v>-1.1764705882352899E-2</c:v>
                </c:pt>
                <c:pt idx="32201">
                  <c:v>-1.1764705882352899E-2</c:v>
                </c:pt>
                <c:pt idx="32202">
                  <c:v>-1.1764705882352899E-2</c:v>
                </c:pt>
                <c:pt idx="32203">
                  <c:v>-1.1764705882352899E-2</c:v>
                </c:pt>
                <c:pt idx="32204">
                  <c:v>-1.1764705882352899E-2</c:v>
                </c:pt>
                <c:pt idx="32205">
                  <c:v>-1.1764705882352899E-2</c:v>
                </c:pt>
                <c:pt idx="32206">
                  <c:v>-1.1764705882352899E-2</c:v>
                </c:pt>
                <c:pt idx="32207">
                  <c:v>-1.1764705882352899E-2</c:v>
                </c:pt>
                <c:pt idx="32208">
                  <c:v>-1.1764705882352899E-2</c:v>
                </c:pt>
                <c:pt idx="32209">
                  <c:v>-1.1764705882352899E-2</c:v>
                </c:pt>
                <c:pt idx="32210">
                  <c:v>-1.1764705882352899E-2</c:v>
                </c:pt>
                <c:pt idx="32211">
                  <c:v>-1.1764705882352899E-2</c:v>
                </c:pt>
                <c:pt idx="32212">
                  <c:v>-1.1764705882352899E-2</c:v>
                </c:pt>
                <c:pt idx="32213">
                  <c:v>-1.1764705882352899E-2</c:v>
                </c:pt>
                <c:pt idx="32214">
                  <c:v>-1.1764705882352899E-2</c:v>
                </c:pt>
                <c:pt idx="32215">
                  <c:v>-1.1764705882352899E-2</c:v>
                </c:pt>
                <c:pt idx="32216">
                  <c:v>-1.1764705882352899E-2</c:v>
                </c:pt>
                <c:pt idx="32217">
                  <c:v>-1.1764705882352899E-2</c:v>
                </c:pt>
                <c:pt idx="32218">
                  <c:v>-1.1764705882352899E-2</c:v>
                </c:pt>
                <c:pt idx="32219">
                  <c:v>-1.1764705882352899E-2</c:v>
                </c:pt>
                <c:pt idx="32220">
                  <c:v>-1.1764705882352899E-2</c:v>
                </c:pt>
                <c:pt idx="32221">
                  <c:v>-1.1764705882352899E-2</c:v>
                </c:pt>
                <c:pt idx="32222">
                  <c:v>-1.1764705882352899E-2</c:v>
                </c:pt>
                <c:pt idx="32223">
                  <c:v>-1.1764705882352899E-2</c:v>
                </c:pt>
                <c:pt idx="32224">
                  <c:v>-1.1764705882352899E-2</c:v>
                </c:pt>
                <c:pt idx="32225">
                  <c:v>-1.1764705882352899E-2</c:v>
                </c:pt>
                <c:pt idx="32226">
                  <c:v>-1.1764705882352899E-2</c:v>
                </c:pt>
                <c:pt idx="32227">
                  <c:v>-1.1764705882352899E-2</c:v>
                </c:pt>
                <c:pt idx="32228">
                  <c:v>-1.1764705882352899E-2</c:v>
                </c:pt>
                <c:pt idx="32229">
                  <c:v>-1.1764705882352899E-2</c:v>
                </c:pt>
                <c:pt idx="32230">
                  <c:v>-1.1764705882352899E-2</c:v>
                </c:pt>
                <c:pt idx="32231">
                  <c:v>-1.1764705882352899E-2</c:v>
                </c:pt>
                <c:pt idx="32232">
                  <c:v>-1.1764705882352899E-2</c:v>
                </c:pt>
                <c:pt idx="32233">
                  <c:v>-1.1764705882352899E-2</c:v>
                </c:pt>
                <c:pt idx="32234">
                  <c:v>-1.1764705882352899E-2</c:v>
                </c:pt>
                <c:pt idx="32235">
                  <c:v>-1.1764705882352899E-2</c:v>
                </c:pt>
                <c:pt idx="32236">
                  <c:v>-1.1764705882352899E-2</c:v>
                </c:pt>
                <c:pt idx="32237">
                  <c:v>-1.1764705882352899E-2</c:v>
                </c:pt>
                <c:pt idx="32238">
                  <c:v>-1.1764705882352899E-2</c:v>
                </c:pt>
                <c:pt idx="32239">
                  <c:v>-1.1764705882352899E-2</c:v>
                </c:pt>
                <c:pt idx="32240">
                  <c:v>-1.1764705882352899E-2</c:v>
                </c:pt>
                <c:pt idx="32241">
                  <c:v>-1.1764705882352899E-2</c:v>
                </c:pt>
                <c:pt idx="32242">
                  <c:v>-1.1764705882352899E-2</c:v>
                </c:pt>
                <c:pt idx="32243">
                  <c:v>-1.1764705882352899E-2</c:v>
                </c:pt>
                <c:pt idx="32244">
                  <c:v>-1.1764705882352899E-2</c:v>
                </c:pt>
                <c:pt idx="32245">
                  <c:v>-1.1764705882352899E-2</c:v>
                </c:pt>
                <c:pt idx="32246">
                  <c:v>-1.1764705882352899E-2</c:v>
                </c:pt>
                <c:pt idx="32247">
                  <c:v>-1.1764705882352899E-2</c:v>
                </c:pt>
                <c:pt idx="32248">
                  <c:v>-1.1764705882352899E-2</c:v>
                </c:pt>
                <c:pt idx="32249">
                  <c:v>-1.1764705882352899E-2</c:v>
                </c:pt>
                <c:pt idx="32250">
                  <c:v>-1.1764705882352899E-2</c:v>
                </c:pt>
                <c:pt idx="32251">
                  <c:v>-1.1764705882352899E-2</c:v>
                </c:pt>
                <c:pt idx="32252">
                  <c:v>-1.1764705882352899E-2</c:v>
                </c:pt>
                <c:pt idx="32253">
                  <c:v>-1.1764705882352899E-2</c:v>
                </c:pt>
                <c:pt idx="32254">
                  <c:v>-1.26050420168066E-2</c:v>
                </c:pt>
                <c:pt idx="32255">
                  <c:v>-1.26050420168066E-2</c:v>
                </c:pt>
                <c:pt idx="32256">
                  <c:v>-1.26050420168066E-2</c:v>
                </c:pt>
                <c:pt idx="32257">
                  <c:v>-1.26050420168066E-2</c:v>
                </c:pt>
                <c:pt idx="32258">
                  <c:v>-1.26050420168066E-2</c:v>
                </c:pt>
                <c:pt idx="32259">
                  <c:v>-1.3445378151260399E-2</c:v>
                </c:pt>
                <c:pt idx="32260">
                  <c:v>-1.3445378151260399E-2</c:v>
                </c:pt>
                <c:pt idx="32261">
                  <c:v>-1.3445378151260399E-2</c:v>
                </c:pt>
                <c:pt idx="32262">
                  <c:v>-1.3445378151260399E-2</c:v>
                </c:pt>
                <c:pt idx="32263">
                  <c:v>-1.3445378151260399E-2</c:v>
                </c:pt>
                <c:pt idx="32264">
                  <c:v>-1.3445378151260399E-2</c:v>
                </c:pt>
                <c:pt idx="32265">
                  <c:v>-1.3445378151260399E-2</c:v>
                </c:pt>
                <c:pt idx="32266">
                  <c:v>-1.3445378151260399E-2</c:v>
                </c:pt>
                <c:pt idx="32267">
                  <c:v>-1.3445378151260399E-2</c:v>
                </c:pt>
                <c:pt idx="32268">
                  <c:v>-1.3445378151260399E-2</c:v>
                </c:pt>
                <c:pt idx="32269">
                  <c:v>-1.3445378151260399E-2</c:v>
                </c:pt>
                <c:pt idx="32270">
                  <c:v>-1.3445378151260399E-2</c:v>
                </c:pt>
                <c:pt idx="32271">
                  <c:v>-1.3445378151260399E-2</c:v>
                </c:pt>
                <c:pt idx="32272">
                  <c:v>-1.3445378151260399E-2</c:v>
                </c:pt>
                <c:pt idx="32273">
                  <c:v>-1.3445378151260399E-2</c:v>
                </c:pt>
                <c:pt idx="32274">
                  <c:v>-1.3445378151260399E-2</c:v>
                </c:pt>
                <c:pt idx="32275">
                  <c:v>-1.3445378151260399E-2</c:v>
                </c:pt>
                <c:pt idx="32276">
                  <c:v>-1.3445378151260399E-2</c:v>
                </c:pt>
                <c:pt idx="32277">
                  <c:v>-1.3445378151260399E-2</c:v>
                </c:pt>
                <c:pt idx="32278">
                  <c:v>-1.3445378151260399E-2</c:v>
                </c:pt>
                <c:pt idx="32279">
                  <c:v>-1.3445378151260399E-2</c:v>
                </c:pt>
                <c:pt idx="32280">
                  <c:v>-1.3445378151260399E-2</c:v>
                </c:pt>
                <c:pt idx="32281">
                  <c:v>-1.3445378151260399E-2</c:v>
                </c:pt>
                <c:pt idx="32282">
                  <c:v>-1.3445378151260399E-2</c:v>
                </c:pt>
                <c:pt idx="32283">
                  <c:v>-1.3445378151260399E-2</c:v>
                </c:pt>
                <c:pt idx="32284">
                  <c:v>-1.3445378151260399E-2</c:v>
                </c:pt>
                <c:pt idx="32285">
                  <c:v>-1.3445378151260399E-2</c:v>
                </c:pt>
                <c:pt idx="32286">
                  <c:v>-1.3445378151260399E-2</c:v>
                </c:pt>
                <c:pt idx="32287">
                  <c:v>-1.3445378151260399E-2</c:v>
                </c:pt>
                <c:pt idx="32288">
                  <c:v>-1.3445378151260399E-2</c:v>
                </c:pt>
                <c:pt idx="32289">
                  <c:v>-1.3445378151260399E-2</c:v>
                </c:pt>
                <c:pt idx="32290">
                  <c:v>-1.3445378151260399E-2</c:v>
                </c:pt>
                <c:pt idx="32291">
                  <c:v>-1.3445378151260399E-2</c:v>
                </c:pt>
                <c:pt idx="32292">
                  <c:v>-1.3445378151260399E-2</c:v>
                </c:pt>
                <c:pt idx="32293">
                  <c:v>-1.3445378151260399E-2</c:v>
                </c:pt>
                <c:pt idx="32294">
                  <c:v>-1.3445378151260399E-2</c:v>
                </c:pt>
                <c:pt idx="32295">
                  <c:v>-1.3445378151260399E-2</c:v>
                </c:pt>
                <c:pt idx="32296">
                  <c:v>-1.3445378151260399E-2</c:v>
                </c:pt>
                <c:pt idx="32297">
                  <c:v>-1.3445378151260399E-2</c:v>
                </c:pt>
                <c:pt idx="32298">
                  <c:v>-1.3445378151260399E-2</c:v>
                </c:pt>
                <c:pt idx="32299">
                  <c:v>-1.3445378151260399E-2</c:v>
                </c:pt>
                <c:pt idx="32300">
                  <c:v>-1.3445378151260399E-2</c:v>
                </c:pt>
                <c:pt idx="32301">
                  <c:v>-1.3445378151260399E-2</c:v>
                </c:pt>
                <c:pt idx="32302">
                  <c:v>-1.3445378151260399E-2</c:v>
                </c:pt>
                <c:pt idx="32303">
                  <c:v>-1.3445378151260399E-2</c:v>
                </c:pt>
                <c:pt idx="32304">
                  <c:v>-1.3445378151260399E-2</c:v>
                </c:pt>
                <c:pt idx="32305">
                  <c:v>-1.3445378151260399E-2</c:v>
                </c:pt>
                <c:pt idx="32306">
                  <c:v>-1.3445378151260399E-2</c:v>
                </c:pt>
                <c:pt idx="32307">
                  <c:v>-1.3445378151260399E-2</c:v>
                </c:pt>
                <c:pt idx="32308">
                  <c:v>-1.3445378151260399E-2</c:v>
                </c:pt>
                <c:pt idx="32309">
                  <c:v>-1.3445378151260399E-2</c:v>
                </c:pt>
                <c:pt idx="32310">
                  <c:v>-1.3445378151260399E-2</c:v>
                </c:pt>
                <c:pt idx="32311">
                  <c:v>-1.3445378151260399E-2</c:v>
                </c:pt>
                <c:pt idx="32312">
                  <c:v>-1.3445378151260399E-2</c:v>
                </c:pt>
                <c:pt idx="32313">
                  <c:v>-1.3445378151260399E-2</c:v>
                </c:pt>
                <c:pt idx="32314">
                  <c:v>-1.3445378151260399E-2</c:v>
                </c:pt>
                <c:pt idx="32315">
                  <c:v>-1.3445378151260399E-2</c:v>
                </c:pt>
                <c:pt idx="32316">
                  <c:v>-1.3445378151260399E-2</c:v>
                </c:pt>
                <c:pt idx="32317">
                  <c:v>-1.3445378151260399E-2</c:v>
                </c:pt>
                <c:pt idx="32318">
                  <c:v>-1.3445378151260399E-2</c:v>
                </c:pt>
                <c:pt idx="32319">
                  <c:v>-1.3445378151260399E-2</c:v>
                </c:pt>
                <c:pt idx="32320">
                  <c:v>-1.3445378151260399E-2</c:v>
                </c:pt>
                <c:pt idx="32321">
                  <c:v>-1.3445378151260399E-2</c:v>
                </c:pt>
                <c:pt idx="32322">
                  <c:v>-1.3445378151260399E-2</c:v>
                </c:pt>
                <c:pt idx="32323">
                  <c:v>-1.3445378151260399E-2</c:v>
                </c:pt>
                <c:pt idx="32324">
                  <c:v>-1.3445378151260399E-2</c:v>
                </c:pt>
                <c:pt idx="32325">
                  <c:v>-1.3445378151260399E-2</c:v>
                </c:pt>
                <c:pt idx="32326">
                  <c:v>-1.3445378151260399E-2</c:v>
                </c:pt>
                <c:pt idx="32327">
                  <c:v>-1.3445378151260399E-2</c:v>
                </c:pt>
                <c:pt idx="32328">
                  <c:v>-1.3445378151260399E-2</c:v>
                </c:pt>
                <c:pt idx="32329">
                  <c:v>-1.3445378151260399E-2</c:v>
                </c:pt>
                <c:pt idx="32330">
                  <c:v>-1.3445378151260399E-2</c:v>
                </c:pt>
                <c:pt idx="32331">
                  <c:v>-1.3445378151260399E-2</c:v>
                </c:pt>
                <c:pt idx="32332">
                  <c:v>-1.3445378151260399E-2</c:v>
                </c:pt>
                <c:pt idx="32333">
                  <c:v>-1.3445378151260399E-2</c:v>
                </c:pt>
                <c:pt idx="32334">
                  <c:v>-1.3445378151260399E-2</c:v>
                </c:pt>
                <c:pt idx="32335">
                  <c:v>-1.3445378151260399E-2</c:v>
                </c:pt>
                <c:pt idx="32336">
                  <c:v>-1.3445378151260399E-2</c:v>
                </c:pt>
                <c:pt idx="32337">
                  <c:v>-1.3445378151260399E-2</c:v>
                </c:pt>
                <c:pt idx="32338">
                  <c:v>-1.3445378151260399E-2</c:v>
                </c:pt>
                <c:pt idx="32339">
                  <c:v>-1.3445378151260399E-2</c:v>
                </c:pt>
                <c:pt idx="32340">
                  <c:v>-1.3445378151260399E-2</c:v>
                </c:pt>
                <c:pt idx="32341">
                  <c:v>-1.3445378151260399E-2</c:v>
                </c:pt>
                <c:pt idx="32342">
                  <c:v>-1.3445378151260399E-2</c:v>
                </c:pt>
                <c:pt idx="32343">
                  <c:v>-1.3445378151260399E-2</c:v>
                </c:pt>
                <c:pt idx="32344">
                  <c:v>-1.3445378151260399E-2</c:v>
                </c:pt>
                <c:pt idx="32345">
                  <c:v>-1.3445378151260399E-2</c:v>
                </c:pt>
                <c:pt idx="32346">
                  <c:v>-1.3445378151260399E-2</c:v>
                </c:pt>
                <c:pt idx="32347">
                  <c:v>-1.3445378151260399E-2</c:v>
                </c:pt>
                <c:pt idx="32348">
                  <c:v>-1.3445378151260399E-2</c:v>
                </c:pt>
                <c:pt idx="32349">
                  <c:v>-1.3445378151260399E-2</c:v>
                </c:pt>
                <c:pt idx="32350">
                  <c:v>-1.3445378151260399E-2</c:v>
                </c:pt>
                <c:pt idx="32351">
                  <c:v>-1.3445378151260399E-2</c:v>
                </c:pt>
                <c:pt idx="32352">
                  <c:v>-1.3445378151260399E-2</c:v>
                </c:pt>
                <c:pt idx="32353">
                  <c:v>-1.3445378151260399E-2</c:v>
                </c:pt>
                <c:pt idx="32354">
                  <c:v>-1.3445378151260399E-2</c:v>
                </c:pt>
                <c:pt idx="32355">
                  <c:v>-1.3445378151260399E-2</c:v>
                </c:pt>
                <c:pt idx="32356">
                  <c:v>-1.3445378151260399E-2</c:v>
                </c:pt>
                <c:pt idx="32357">
                  <c:v>-1.26050420168066E-2</c:v>
                </c:pt>
                <c:pt idx="32358">
                  <c:v>-1.26050420168066E-2</c:v>
                </c:pt>
                <c:pt idx="32359">
                  <c:v>-1.26050420168066E-2</c:v>
                </c:pt>
                <c:pt idx="32360">
                  <c:v>-1.26050420168066E-2</c:v>
                </c:pt>
                <c:pt idx="32361">
                  <c:v>-1.26050420168066E-2</c:v>
                </c:pt>
                <c:pt idx="32362">
                  <c:v>-1.26050420168066E-2</c:v>
                </c:pt>
                <c:pt idx="32363">
                  <c:v>-1.26050420168066E-2</c:v>
                </c:pt>
                <c:pt idx="32364">
                  <c:v>-1.26050420168066E-2</c:v>
                </c:pt>
                <c:pt idx="32365">
                  <c:v>-1.26050420168066E-2</c:v>
                </c:pt>
                <c:pt idx="32366">
                  <c:v>-1.26050420168066E-2</c:v>
                </c:pt>
                <c:pt idx="32367">
                  <c:v>-1.1764705882352899E-2</c:v>
                </c:pt>
                <c:pt idx="32368">
                  <c:v>-1.1764705882352899E-2</c:v>
                </c:pt>
                <c:pt idx="32369">
                  <c:v>-1.1764705882352899E-2</c:v>
                </c:pt>
                <c:pt idx="32370">
                  <c:v>-1.1764705882352899E-2</c:v>
                </c:pt>
                <c:pt idx="32371">
                  <c:v>-1.1764705882352899E-2</c:v>
                </c:pt>
                <c:pt idx="32372">
                  <c:v>-1.1764705882352899E-2</c:v>
                </c:pt>
                <c:pt idx="32373">
                  <c:v>-1.1764705882352899E-2</c:v>
                </c:pt>
                <c:pt idx="32374">
                  <c:v>-1.1764705882352899E-2</c:v>
                </c:pt>
                <c:pt idx="32375">
                  <c:v>-1.1764705882352899E-2</c:v>
                </c:pt>
                <c:pt idx="32376">
                  <c:v>-1.1764705882352899E-2</c:v>
                </c:pt>
                <c:pt idx="32377">
                  <c:v>-1.1764705882352899E-2</c:v>
                </c:pt>
                <c:pt idx="32378">
                  <c:v>-1.1764705882352899E-2</c:v>
                </c:pt>
                <c:pt idx="32379">
                  <c:v>-1.1764705882352899E-2</c:v>
                </c:pt>
                <c:pt idx="32380">
                  <c:v>-1.1764705882352899E-2</c:v>
                </c:pt>
                <c:pt idx="32381">
                  <c:v>-1.1764705882352899E-2</c:v>
                </c:pt>
                <c:pt idx="32382">
                  <c:v>-1.1764705882352899E-2</c:v>
                </c:pt>
                <c:pt idx="32383">
                  <c:v>-1.1764705882352899E-2</c:v>
                </c:pt>
                <c:pt idx="32384">
                  <c:v>-1.1764705882352899E-2</c:v>
                </c:pt>
                <c:pt idx="32385">
                  <c:v>-1.1764705882352899E-2</c:v>
                </c:pt>
                <c:pt idx="32386">
                  <c:v>-1.09243697478991E-2</c:v>
                </c:pt>
                <c:pt idx="32387">
                  <c:v>-1.09243697478991E-2</c:v>
                </c:pt>
                <c:pt idx="32388">
                  <c:v>-1.09243697478991E-2</c:v>
                </c:pt>
                <c:pt idx="32389">
                  <c:v>-1.09243697478991E-2</c:v>
                </c:pt>
                <c:pt idx="32390">
                  <c:v>-1.09243697478991E-2</c:v>
                </c:pt>
                <c:pt idx="32391">
                  <c:v>-1.09243697478991E-2</c:v>
                </c:pt>
                <c:pt idx="32392">
                  <c:v>-1.09243697478991E-2</c:v>
                </c:pt>
                <c:pt idx="32393">
                  <c:v>-1.09243697478991E-2</c:v>
                </c:pt>
                <c:pt idx="32394">
                  <c:v>-1.09243697478991E-2</c:v>
                </c:pt>
                <c:pt idx="32395">
                  <c:v>-1.09243697478991E-2</c:v>
                </c:pt>
                <c:pt idx="32396">
                  <c:v>-1.09243697478991E-2</c:v>
                </c:pt>
                <c:pt idx="32397">
                  <c:v>-1.09243697478991E-2</c:v>
                </c:pt>
                <c:pt idx="32398">
                  <c:v>-1.09243697478991E-2</c:v>
                </c:pt>
                <c:pt idx="32399">
                  <c:v>-1.09243697478991E-2</c:v>
                </c:pt>
                <c:pt idx="32400">
                  <c:v>-1.09243697478991E-2</c:v>
                </c:pt>
                <c:pt idx="32401">
                  <c:v>-1.09243697478991E-2</c:v>
                </c:pt>
                <c:pt idx="32402">
                  <c:v>-1.09243697478991E-2</c:v>
                </c:pt>
                <c:pt idx="32403">
                  <c:v>-1.09243697478991E-2</c:v>
                </c:pt>
                <c:pt idx="32404">
                  <c:v>-1.09243697478991E-2</c:v>
                </c:pt>
                <c:pt idx="32405">
                  <c:v>-1.09243697478991E-2</c:v>
                </c:pt>
                <c:pt idx="32406">
                  <c:v>-1.09243697478991E-2</c:v>
                </c:pt>
                <c:pt idx="32407">
                  <c:v>-1.09243697478991E-2</c:v>
                </c:pt>
                <c:pt idx="32408">
                  <c:v>-1.09243697478991E-2</c:v>
                </c:pt>
                <c:pt idx="32409">
                  <c:v>-1.09243697478991E-2</c:v>
                </c:pt>
                <c:pt idx="32410">
                  <c:v>-1.09243697478991E-2</c:v>
                </c:pt>
                <c:pt idx="32411">
                  <c:v>-1.09243697478991E-2</c:v>
                </c:pt>
                <c:pt idx="32412">
                  <c:v>-1.09243697478991E-2</c:v>
                </c:pt>
                <c:pt idx="32413">
                  <c:v>-1.09243697478991E-2</c:v>
                </c:pt>
                <c:pt idx="32414">
                  <c:v>-1.09243697478991E-2</c:v>
                </c:pt>
                <c:pt idx="32415">
                  <c:v>-1.09243697478991E-2</c:v>
                </c:pt>
                <c:pt idx="32416">
                  <c:v>-1.09243697478991E-2</c:v>
                </c:pt>
                <c:pt idx="32417">
                  <c:v>-1.1764705882352899E-2</c:v>
                </c:pt>
                <c:pt idx="32418">
                  <c:v>-1.1764705882352899E-2</c:v>
                </c:pt>
                <c:pt idx="32419">
                  <c:v>-1.1764705882352899E-2</c:v>
                </c:pt>
                <c:pt idx="32420">
                  <c:v>-1.1764705882352899E-2</c:v>
                </c:pt>
                <c:pt idx="32421">
                  <c:v>-1.1764705882352899E-2</c:v>
                </c:pt>
                <c:pt idx="32422">
                  <c:v>-1.1764705882352899E-2</c:v>
                </c:pt>
                <c:pt idx="32423">
                  <c:v>-1.1764705882352899E-2</c:v>
                </c:pt>
                <c:pt idx="32424">
                  <c:v>-1.1764705882352899E-2</c:v>
                </c:pt>
                <c:pt idx="32425">
                  <c:v>-1.1764705882352899E-2</c:v>
                </c:pt>
                <c:pt idx="32426">
                  <c:v>-1.1764705882352899E-2</c:v>
                </c:pt>
                <c:pt idx="32427">
                  <c:v>-1.1764705882352899E-2</c:v>
                </c:pt>
                <c:pt idx="32428">
                  <c:v>-1.1764705882352899E-2</c:v>
                </c:pt>
                <c:pt idx="32429">
                  <c:v>-1.1764705882352899E-2</c:v>
                </c:pt>
                <c:pt idx="32430">
                  <c:v>-1.1764705882352899E-2</c:v>
                </c:pt>
                <c:pt idx="32431">
                  <c:v>-1.1764705882352899E-2</c:v>
                </c:pt>
                <c:pt idx="32432">
                  <c:v>-1.1764705882352899E-2</c:v>
                </c:pt>
                <c:pt idx="32433">
                  <c:v>-1.1764705882352899E-2</c:v>
                </c:pt>
                <c:pt idx="32434">
                  <c:v>-1.1764705882352899E-2</c:v>
                </c:pt>
                <c:pt idx="32435">
                  <c:v>-1.1764705882352899E-2</c:v>
                </c:pt>
                <c:pt idx="32436">
                  <c:v>-1.1764705882352899E-2</c:v>
                </c:pt>
                <c:pt idx="32437">
                  <c:v>-1.1764705882352899E-2</c:v>
                </c:pt>
                <c:pt idx="32438">
                  <c:v>-1.26050420168066E-2</c:v>
                </c:pt>
                <c:pt idx="32439">
                  <c:v>-1.26050420168066E-2</c:v>
                </c:pt>
                <c:pt idx="32440">
                  <c:v>-1.26050420168066E-2</c:v>
                </c:pt>
                <c:pt idx="32441">
                  <c:v>-1.26050420168066E-2</c:v>
                </c:pt>
                <c:pt idx="32442">
                  <c:v>-1.26050420168066E-2</c:v>
                </c:pt>
                <c:pt idx="32443">
                  <c:v>-1.26050420168066E-2</c:v>
                </c:pt>
                <c:pt idx="32444">
                  <c:v>-1.26050420168066E-2</c:v>
                </c:pt>
                <c:pt idx="32445">
                  <c:v>-1.26050420168066E-2</c:v>
                </c:pt>
                <c:pt idx="32446">
                  <c:v>-1.26050420168066E-2</c:v>
                </c:pt>
                <c:pt idx="32447">
                  <c:v>-1.26050420168066E-2</c:v>
                </c:pt>
                <c:pt idx="32448">
                  <c:v>-1.3445378151260399E-2</c:v>
                </c:pt>
                <c:pt idx="32449">
                  <c:v>-1.3445378151260399E-2</c:v>
                </c:pt>
                <c:pt idx="32450">
                  <c:v>-1.3445378151260399E-2</c:v>
                </c:pt>
                <c:pt idx="32451">
                  <c:v>-1.3445378151260399E-2</c:v>
                </c:pt>
                <c:pt idx="32452">
                  <c:v>-1.3445378151260399E-2</c:v>
                </c:pt>
                <c:pt idx="32453">
                  <c:v>-1.3445378151260399E-2</c:v>
                </c:pt>
                <c:pt idx="32454">
                  <c:v>-1.3445378151260399E-2</c:v>
                </c:pt>
                <c:pt idx="32455">
                  <c:v>-1.3445378151260399E-2</c:v>
                </c:pt>
                <c:pt idx="32456">
                  <c:v>-1.3445378151260399E-2</c:v>
                </c:pt>
                <c:pt idx="32457">
                  <c:v>-1.3445378151260399E-2</c:v>
                </c:pt>
                <c:pt idx="32458">
                  <c:v>-1.3445378151260399E-2</c:v>
                </c:pt>
                <c:pt idx="32459">
                  <c:v>-1.3445378151260399E-2</c:v>
                </c:pt>
                <c:pt idx="32460">
                  <c:v>-1.3445378151260399E-2</c:v>
                </c:pt>
                <c:pt idx="32461">
                  <c:v>-1.3445378151260399E-2</c:v>
                </c:pt>
                <c:pt idx="32462">
                  <c:v>-1.3445378151260399E-2</c:v>
                </c:pt>
                <c:pt idx="32463">
                  <c:v>-1.3445378151260399E-2</c:v>
                </c:pt>
                <c:pt idx="32464">
                  <c:v>-1.3445378151260399E-2</c:v>
                </c:pt>
                <c:pt idx="32465">
                  <c:v>-1.3445378151260399E-2</c:v>
                </c:pt>
                <c:pt idx="32466">
                  <c:v>-1.3445378151260399E-2</c:v>
                </c:pt>
                <c:pt idx="32467">
                  <c:v>-1.3445378151260399E-2</c:v>
                </c:pt>
                <c:pt idx="32468">
                  <c:v>-1.3445378151260399E-2</c:v>
                </c:pt>
                <c:pt idx="32469">
                  <c:v>-1.3445378151260399E-2</c:v>
                </c:pt>
                <c:pt idx="32470">
                  <c:v>-1.3445378151260399E-2</c:v>
                </c:pt>
                <c:pt idx="32471">
                  <c:v>-1.3445378151260399E-2</c:v>
                </c:pt>
                <c:pt idx="32472">
                  <c:v>-1.3445378151260399E-2</c:v>
                </c:pt>
                <c:pt idx="32473">
                  <c:v>-1.3445378151260399E-2</c:v>
                </c:pt>
                <c:pt idx="32474">
                  <c:v>-1.3445378151260399E-2</c:v>
                </c:pt>
                <c:pt idx="32475">
                  <c:v>-1.3445378151260399E-2</c:v>
                </c:pt>
                <c:pt idx="32476">
                  <c:v>-1.3445378151260399E-2</c:v>
                </c:pt>
                <c:pt idx="32477">
                  <c:v>-1.3445378151260399E-2</c:v>
                </c:pt>
                <c:pt idx="32478">
                  <c:v>-1.3445378151260399E-2</c:v>
                </c:pt>
                <c:pt idx="32479">
                  <c:v>-1.3445378151260399E-2</c:v>
                </c:pt>
                <c:pt idx="32480">
                  <c:v>-1.3445378151260399E-2</c:v>
                </c:pt>
                <c:pt idx="32481">
                  <c:v>-1.3445378151260399E-2</c:v>
                </c:pt>
                <c:pt idx="32482">
                  <c:v>-1.3445378151260399E-2</c:v>
                </c:pt>
                <c:pt idx="32483">
                  <c:v>-1.3445378151260399E-2</c:v>
                </c:pt>
                <c:pt idx="32484">
                  <c:v>-1.3445378151260399E-2</c:v>
                </c:pt>
                <c:pt idx="32485">
                  <c:v>-1.3445378151260399E-2</c:v>
                </c:pt>
                <c:pt idx="32486">
                  <c:v>-1.3445378151260399E-2</c:v>
                </c:pt>
                <c:pt idx="32487">
                  <c:v>-1.3445378151260399E-2</c:v>
                </c:pt>
                <c:pt idx="32488">
                  <c:v>-1.3445378151260399E-2</c:v>
                </c:pt>
                <c:pt idx="32489">
                  <c:v>-1.3445378151260399E-2</c:v>
                </c:pt>
                <c:pt idx="32490">
                  <c:v>-1.3445378151260399E-2</c:v>
                </c:pt>
                <c:pt idx="32491">
                  <c:v>-1.3445378151260399E-2</c:v>
                </c:pt>
                <c:pt idx="32492">
                  <c:v>-1.3445378151260399E-2</c:v>
                </c:pt>
                <c:pt idx="32493">
                  <c:v>-1.3445378151260399E-2</c:v>
                </c:pt>
                <c:pt idx="32494">
                  <c:v>-1.3445378151260399E-2</c:v>
                </c:pt>
                <c:pt idx="32495">
                  <c:v>-1.3445378151260399E-2</c:v>
                </c:pt>
                <c:pt idx="32496">
                  <c:v>-1.3445378151260399E-2</c:v>
                </c:pt>
                <c:pt idx="32497">
                  <c:v>-1.3445378151260399E-2</c:v>
                </c:pt>
                <c:pt idx="32498">
                  <c:v>-1.3445378151260399E-2</c:v>
                </c:pt>
                <c:pt idx="32499">
                  <c:v>-1.3445378151260399E-2</c:v>
                </c:pt>
                <c:pt idx="32500">
                  <c:v>-1.3445378151260399E-2</c:v>
                </c:pt>
                <c:pt idx="32501">
                  <c:v>-1.3445378151260399E-2</c:v>
                </c:pt>
                <c:pt idx="32502">
                  <c:v>-1.3445378151260399E-2</c:v>
                </c:pt>
                <c:pt idx="32503">
                  <c:v>-1.3445378151260399E-2</c:v>
                </c:pt>
                <c:pt idx="32504">
                  <c:v>-1.3445378151260399E-2</c:v>
                </c:pt>
                <c:pt idx="32505">
                  <c:v>-1.3445378151260399E-2</c:v>
                </c:pt>
                <c:pt idx="32506">
                  <c:v>-1.3445378151260399E-2</c:v>
                </c:pt>
                <c:pt idx="32507">
                  <c:v>-1.3445378151260399E-2</c:v>
                </c:pt>
                <c:pt idx="32508">
                  <c:v>-1.3445378151260399E-2</c:v>
                </c:pt>
                <c:pt idx="32509">
                  <c:v>-1.3445378151260399E-2</c:v>
                </c:pt>
                <c:pt idx="32510">
                  <c:v>-1.3445378151260399E-2</c:v>
                </c:pt>
                <c:pt idx="32511">
                  <c:v>-1.3445378151260399E-2</c:v>
                </c:pt>
                <c:pt idx="32512">
                  <c:v>-1.3445378151260399E-2</c:v>
                </c:pt>
                <c:pt idx="32513">
                  <c:v>-1.3445378151260399E-2</c:v>
                </c:pt>
                <c:pt idx="32514">
                  <c:v>-1.3445378151260399E-2</c:v>
                </c:pt>
                <c:pt idx="32515">
                  <c:v>-1.3445378151260399E-2</c:v>
                </c:pt>
                <c:pt idx="32516">
                  <c:v>-1.3445378151260399E-2</c:v>
                </c:pt>
                <c:pt idx="32517">
                  <c:v>-1.3445378151260399E-2</c:v>
                </c:pt>
                <c:pt idx="32518">
                  <c:v>-1.3445378151260399E-2</c:v>
                </c:pt>
                <c:pt idx="32519">
                  <c:v>-1.3445378151260399E-2</c:v>
                </c:pt>
                <c:pt idx="32520">
                  <c:v>-1.3445378151260399E-2</c:v>
                </c:pt>
                <c:pt idx="32521">
                  <c:v>-1.3445378151260399E-2</c:v>
                </c:pt>
                <c:pt idx="32522">
                  <c:v>-1.3445378151260399E-2</c:v>
                </c:pt>
                <c:pt idx="32523">
                  <c:v>-1.3445378151260399E-2</c:v>
                </c:pt>
                <c:pt idx="32524">
                  <c:v>-1.3445378151260399E-2</c:v>
                </c:pt>
                <c:pt idx="32525">
                  <c:v>-1.3445378151260399E-2</c:v>
                </c:pt>
                <c:pt idx="32526">
                  <c:v>-1.3445378151260399E-2</c:v>
                </c:pt>
                <c:pt idx="32527">
                  <c:v>-1.3445378151260399E-2</c:v>
                </c:pt>
                <c:pt idx="32528">
                  <c:v>-1.3445378151260399E-2</c:v>
                </c:pt>
                <c:pt idx="32529">
                  <c:v>-1.3445378151260399E-2</c:v>
                </c:pt>
                <c:pt idx="32530">
                  <c:v>-1.3445378151260399E-2</c:v>
                </c:pt>
                <c:pt idx="32531">
                  <c:v>-1.3445378151260399E-2</c:v>
                </c:pt>
                <c:pt idx="32532">
                  <c:v>-1.3445378151260399E-2</c:v>
                </c:pt>
                <c:pt idx="32533">
                  <c:v>-1.3445378151260399E-2</c:v>
                </c:pt>
                <c:pt idx="32534">
                  <c:v>-1.3445378151260399E-2</c:v>
                </c:pt>
                <c:pt idx="32535">
                  <c:v>-1.3445378151260399E-2</c:v>
                </c:pt>
                <c:pt idx="32536">
                  <c:v>-1.3445378151260399E-2</c:v>
                </c:pt>
                <c:pt idx="32537">
                  <c:v>-1.3445378151260399E-2</c:v>
                </c:pt>
                <c:pt idx="32538">
                  <c:v>-1.3445378151260399E-2</c:v>
                </c:pt>
                <c:pt idx="32539">
                  <c:v>-1.3445378151260399E-2</c:v>
                </c:pt>
                <c:pt idx="32540">
                  <c:v>-1.3445378151260399E-2</c:v>
                </c:pt>
                <c:pt idx="32541">
                  <c:v>-1.3445378151260399E-2</c:v>
                </c:pt>
                <c:pt idx="32542">
                  <c:v>-1.3445378151260399E-2</c:v>
                </c:pt>
                <c:pt idx="32543">
                  <c:v>-1.3445378151260399E-2</c:v>
                </c:pt>
                <c:pt idx="32544">
                  <c:v>-1.3445378151260399E-2</c:v>
                </c:pt>
                <c:pt idx="32545">
                  <c:v>-1.3445378151260399E-2</c:v>
                </c:pt>
                <c:pt idx="32546">
                  <c:v>-1.3445378151260399E-2</c:v>
                </c:pt>
                <c:pt idx="32547">
                  <c:v>-1.3445378151260399E-2</c:v>
                </c:pt>
                <c:pt idx="32548">
                  <c:v>-1.3445378151260399E-2</c:v>
                </c:pt>
                <c:pt idx="32549">
                  <c:v>-1.3445378151260399E-2</c:v>
                </c:pt>
                <c:pt idx="32550">
                  <c:v>-1.3445378151260399E-2</c:v>
                </c:pt>
                <c:pt idx="32551">
                  <c:v>-1.3445378151260399E-2</c:v>
                </c:pt>
                <c:pt idx="32552">
                  <c:v>-1.3445378151260399E-2</c:v>
                </c:pt>
                <c:pt idx="32553">
                  <c:v>-1.3445378151260399E-2</c:v>
                </c:pt>
                <c:pt idx="32554">
                  <c:v>-1.3445378151260399E-2</c:v>
                </c:pt>
                <c:pt idx="32555">
                  <c:v>-1.3445378151260399E-2</c:v>
                </c:pt>
                <c:pt idx="32556">
                  <c:v>-1.3445378151260399E-2</c:v>
                </c:pt>
                <c:pt idx="32557">
                  <c:v>-1.3445378151260399E-2</c:v>
                </c:pt>
                <c:pt idx="32558">
                  <c:v>-1.3445378151260399E-2</c:v>
                </c:pt>
                <c:pt idx="32559">
                  <c:v>-1.3445378151260399E-2</c:v>
                </c:pt>
                <c:pt idx="32560">
                  <c:v>-1.3445378151260399E-2</c:v>
                </c:pt>
                <c:pt idx="32561">
                  <c:v>-1.3445378151260399E-2</c:v>
                </c:pt>
                <c:pt idx="32562">
                  <c:v>-1.3445378151260399E-2</c:v>
                </c:pt>
                <c:pt idx="32563">
                  <c:v>-1.3445378151260399E-2</c:v>
                </c:pt>
                <c:pt idx="32564">
                  <c:v>-1.3445378151260399E-2</c:v>
                </c:pt>
                <c:pt idx="32565">
                  <c:v>-1.3445378151260399E-2</c:v>
                </c:pt>
                <c:pt idx="32566">
                  <c:v>-1.3445378151260399E-2</c:v>
                </c:pt>
                <c:pt idx="32567">
                  <c:v>-1.3445378151260399E-2</c:v>
                </c:pt>
                <c:pt idx="32568">
                  <c:v>-1.3445378151260399E-2</c:v>
                </c:pt>
                <c:pt idx="32569">
                  <c:v>-1.3445378151260399E-2</c:v>
                </c:pt>
                <c:pt idx="32570">
                  <c:v>-1.3445378151260399E-2</c:v>
                </c:pt>
                <c:pt idx="32571">
                  <c:v>-1.3445378151260399E-2</c:v>
                </c:pt>
                <c:pt idx="32572">
                  <c:v>-1.3445378151260399E-2</c:v>
                </c:pt>
                <c:pt idx="32573">
                  <c:v>-1.3445378151260399E-2</c:v>
                </c:pt>
                <c:pt idx="32574">
                  <c:v>-1.3445378151260399E-2</c:v>
                </c:pt>
                <c:pt idx="32575">
                  <c:v>-1.3445378151260399E-2</c:v>
                </c:pt>
                <c:pt idx="32576">
                  <c:v>-1.3445378151260399E-2</c:v>
                </c:pt>
                <c:pt idx="32577">
                  <c:v>-1.3445378151260399E-2</c:v>
                </c:pt>
                <c:pt idx="32578">
                  <c:v>-1.4285714285714299E-2</c:v>
                </c:pt>
                <c:pt idx="32579">
                  <c:v>-1.4285714285714299E-2</c:v>
                </c:pt>
                <c:pt idx="32580">
                  <c:v>-1.4285714285714299E-2</c:v>
                </c:pt>
                <c:pt idx="32581">
                  <c:v>-1.4285714285714299E-2</c:v>
                </c:pt>
                <c:pt idx="32582">
                  <c:v>-1.4285714285714299E-2</c:v>
                </c:pt>
                <c:pt idx="32583">
                  <c:v>-1.4285714285714299E-2</c:v>
                </c:pt>
                <c:pt idx="32584">
                  <c:v>-1.4285714285714299E-2</c:v>
                </c:pt>
                <c:pt idx="32585">
                  <c:v>-1.4285714285714299E-2</c:v>
                </c:pt>
                <c:pt idx="32586">
                  <c:v>-1.4285714285714299E-2</c:v>
                </c:pt>
                <c:pt idx="32587">
                  <c:v>-1.4285714285714299E-2</c:v>
                </c:pt>
                <c:pt idx="32588">
                  <c:v>-1.4285714285714299E-2</c:v>
                </c:pt>
                <c:pt idx="32589">
                  <c:v>-1.4285714285714299E-2</c:v>
                </c:pt>
                <c:pt idx="32590">
                  <c:v>-1.4285714285714299E-2</c:v>
                </c:pt>
                <c:pt idx="32591">
                  <c:v>-1.4285714285714299E-2</c:v>
                </c:pt>
                <c:pt idx="32592">
                  <c:v>-1.4285714285714299E-2</c:v>
                </c:pt>
                <c:pt idx="32593">
                  <c:v>-1.4285714285714299E-2</c:v>
                </c:pt>
                <c:pt idx="32594">
                  <c:v>-1.4285714285714299E-2</c:v>
                </c:pt>
                <c:pt idx="32595">
                  <c:v>-1.4285714285714299E-2</c:v>
                </c:pt>
                <c:pt idx="32596">
                  <c:v>-1.4285714285714299E-2</c:v>
                </c:pt>
                <c:pt idx="32597">
                  <c:v>-1.4285714285714299E-2</c:v>
                </c:pt>
                <c:pt idx="32598">
                  <c:v>-1.4285714285714299E-2</c:v>
                </c:pt>
                <c:pt idx="32599">
                  <c:v>-1.4285714285714299E-2</c:v>
                </c:pt>
                <c:pt idx="32600">
                  <c:v>-1.4285714285714299E-2</c:v>
                </c:pt>
                <c:pt idx="32601">
                  <c:v>-1.4285714285714299E-2</c:v>
                </c:pt>
                <c:pt idx="32602">
                  <c:v>-1.4285714285714299E-2</c:v>
                </c:pt>
                <c:pt idx="32603">
                  <c:v>-1.4285714285714299E-2</c:v>
                </c:pt>
                <c:pt idx="32604">
                  <c:v>-1.4285714285714299E-2</c:v>
                </c:pt>
                <c:pt idx="32605">
                  <c:v>-1.4285714285714299E-2</c:v>
                </c:pt>
                <c:pt idx="32606">
                  <c:v>-1.4285714285714299E-2</c:v>
                </c:pt>
                <c:pt idx="32607">
                  <c:v>-1.4285714285714299E-2</c:v>
                </c:pt>
                <c:pt idx="32608">
                  <c:v>-1.4285714285714299E-2</c:v>
                </c:pt>
                <c:pt idx="32609">
                  <c:v>-1.4285714285714299E-2</c:v>
                </c:pt>
                <c:pt idx="32610">
                  <c:v>-1.4285714285714299E-2</c:v>
                </c:pt>
                <c:pt idx="32611">
                  <c:v>-1.4285714285714299E-2</c:v>
                </c:pt>
                <c:pt idx="32612">
                  <c:v>-1.4285714285714299E-2</c:v>
                </c:pt>
                <c:pt idx="32613">
                  <c:v>-1.4285714285714299E-2</c:v>
                </c:pt>
                <c:pt idx="32614">
                  <c:v>-1.34453781512605E-2</c:v>
                </c:pt>
                <c:pt idx="32615">
                  <c:v>-1.34453781512605E-2</c:v>
                </c:pt>
                <c:pt idx="32616">
                  <c:v>-1.34453781512605E-2</c:v>
                </c:pt>
                <c:pt idx="32617">
                  <c:v>-1.34453781512605E-2</c:v>
                </c:pt>
                <c:pt idx="32618">
                  <c:v>-1.34453781512605E-2</c:v>
                </c:pt>
                <c:pt idx="32619">
                  <c:v>-1.34453781512605E-2</c:v>
                </c:pt>
                <c:pt idx="32620">
                  <c:v>-1.34453781512605E-2</c:v>
                </c:pt>
                <c:pt idx="32621">
                  <c:v>-1.34453781512605E-2</c:v>
                </c:pt>
                <c:pt idx="32622">
                  <c:v>-1.34453781512605E-2</c:v>
                </c:pt>
                <c:pt idx="32623">
                  <c:v>-1.34453781512605E-2</c:v>
                </c:pt>
                <c:pt idx="32624">
                  <c:v>-1.34453781512605E-2</c:v>
                </c:pt>
                <c:pt idx="32625">
                  <c:v>-1.34453781512605E-2</c:v>
                </c:pt>
                <c:pt idx="32626">
                  <c:v>-1.34453781512605E-2</c:v>
                </c:pt>
                <c:pt idx="32627">
                  <c:v>-1.34453781512605E-2</c:v>
                </c:pt>
                <c:pt idx="32628">
                  <c:v>-1.34453781512605E-2</c:v>
                </c:pt>
                <c:pt idx="32629">
                  <c:v>-1.34453781512605E-2</c:v>
                </c:pt>
                <c:pt idx="32630">
                  <c:v>-1.34453781512605E-2</c:v>
                </c:pt>
                <c:pt idx="32631">
                  <c:v>-1.34453781512605E-2</c:v>
                </c:pt>
                <c:pt idx="32632">
                  <c:v>-1.34453781512605E-2</c:v>
                </c:pt>
                <c:pt idx="32633">
                  <c:v>-1.34453781512605E-2</c:v>
                </c:pt>
                <c:pt idx="32634">
                  <c:v>-1.34453781512605E-2</c:v>
                </c:pt>
                <c:pt idx="32635">
                  <c:v>-1.34453781512605E-2</c:v>
                </c:pt>
                <c:pt idx="32636">
                  <c:v>-1.34453781512605E-2</c:v>
                </c:pt>
                <c:pt idx="32637">
                  <c:v>-1.34453781512605E-2</c:v>
                </c:pt>
                <c:pt idx="32638">
                  <c:v>-1.4285714285714299E-2</c:v>
                </c:pt>
                <c:pt idx="32639">
                  <c:v>-1.4285714285714299E-2</c:v>
                </c:pt>
                <c:pt idx="32640">
                  <c:v>-1.4285714285714299E-2</c:v>
                </c:pt>
                <c:pt idx="32641">
                  <c:v>-1.4285714285714299E-2</c:v>
                </c:pt>
                <c:pt idx="32642">
                  <c:v>-1.4285714285714299E-2</c:v>
                </c:pt>
                <c:pt idx="32643">
                  <c:v>-1.4285714285714299E-2</c:v>
                </c:pt>
                <c:pt idx="32644">
                  <c:v>-1.4285714285714299E-2</c:v>
                </c:pt>
                <c:pt idx="32645">
                  <c:v>-1.4285714285714299E-2</c:v>
                </c:pt>
                <c:pt idx="32646">
                  <c:v>-1.4285714285714299E-2</c:v>
                </c:pt>
                <c:pt idx="32647">
                  <c:v>-1.4285714285714299E-2</c:v>
                </c:pt>
                <c:pt idx="32648">
                  <c:v>-1.4285714285714299E-2</c:v>
                </c:pt>
                <c:pt idx="32649">
                  <c:v>-1.4285714285714299E-2</c:v>
                </c:pt>
                <c:pt idx="32650">
                  <c:v>-1.4285714285714299E-2</c:v>
                </c:pt>
                <c:pt idx="32651">
                  <c:v>-1.4285714285714299E-2</c:v>
                </c:pt>
                <c:pt idx="32652">
                  <c:v>-1.4285714285714299E-2</c:v>
                </c:pt>
                <c:pt idx="32653">
                  <c:v>-1.4285714285714299E-2</c:v>
                </c:pt>
                <c:pt idx="32654">
                  <c:v>-1.4285714285714299E-2</c:v>
                </c:pt>
                <c:pt idx="32655">
                  <c:v>-1.4285714285714299E-2</c:v>
                </c:pt>
                <c:pt idx="32656">
                  <c:v>-1.4285714285714299E-2</c:v>
                </c:pt>
                <c:pt idx="32657">
                  <c:v>-1.4285714285714299E-2</c:v>
                </c:pt>
                <c:pt idx="32658">
                  <c:v>-1.4285714285714299E-2</c:v>
                </c:pt>
                <c:pt idx="32659">
                  <c:v>-1.4285714285714299E-2</c:v>
                </c:pt>
                <c:pt idx="32660">
                  <c:v>-1.4285714285714299E-2</c:v>
                </c:pt>
                <c:pt idx="32661">
                  <c:v>-1.4285714285714299E-2</c:v>
                </c:pt>
                <c:pt idx="32662">
                  <c:v>-1.4285714285714299E-2</c:v>
                </c:pt>
                <c:pt idx="32663">
                  <c:v>-1.4285714285714299E-2</c:v>
                </c:pt>
                <c:pt idx="32664">
                  <c:v>-1.4285714285714299E-2</c:v>
                </c:pt>
                <c:pt idx="32665">
                  <c:v>-1.4285714285714299E-2</c:v>
                </c:pt>
                <c:pt idx="32666">
                  <c:v>-1.4285714285714299E-2</c:v>
                </c:pt>
                <c:pt idx="32667">
                  <c:v>-1.4285714285714299E-2</c:v>
                </c:pt>
                <c:pt idx="32668">
                  <c:v>-1.4285714285714299E-2</c:v>
                </c:pt>
                <c:pt idx="32669">
                  <c:v>-1.4285714285714299E-2</c:v>
                </c:pt>
                <c:pt idx="32670">
                  <c:v>-1.4285714285714299E-2</c:v>
                </c:pt>
                <c:pt idx="32671">
                  <c:v>-1.4285714285714299E-2</c:v>
                </c:pt>
                <c:pt idx="32672">
                  <c:v>-1.4285714285714299E-2</c:v>
                </c:pt>
                <c:pt idx="32673">
                  <c:v>-1.4285714285714299E-2</c:v>
                </c:pt>
                <c:pt idx="32674">
                  <c:v>-1.4285714285714299E-2</c:v>
                </c:pt>
                <c:pt idx="32675">
                  <c:v>-1.4285714285714299E-2</c:v>
                </c:pt>
                <c:pt idx="32676">
                  <c:v>-1.4285714285714299E-2</c:v>
                </c:pt>
                <c:pt idx="32677">
                  <c:v>-1.4285714285714299E-2</c:v>
                </c:pt>
                <c:pt idx="32678">
                  <c:v>-1.4285714285714299E-2</c:v>
                </c:pt>
                <c:pt idx="32679">
                  <c:v>-1.4285714285714299E-2</c:v>
                </c:pt>
                <c:pt idx="32680">
                  <c:v>-1.4285714285714299E-2</c:v>
                </c:pt>
                <c:pt idx="32681">
                  <c:v>-1.4285714285714299E-2</c:v>
                </c:pt>
                <c:pt idx="32682">
                  <c:v>-1.4285714285714299E-2</c:v>
                </c:pt>
                <c:pt idx="32683">
                  <c:v>-1.4285714285714299E-2</c:v>
                </c:pt>
                <c:pt idx="32684">
                  <c:v>-1.4285714285714299E-2</c:v>
                </c:pt>
                <c:pt idx="32685">
                  <c:v>-1.4285714285714299E-2</c:v>
                </c:pt>
                <c:pt idx="32686">
                  <c:v>-1.4285714285714299E-2</c:v>
                </c:pt>
                <c:pt idx="32687">
                  <c:v>-1.4285714285714299E-2</c:v>
                </c:pt>
                <c:pt idx="32688">
                  <c:v>-1.4285714285714299E-2</c:v>
                </c:pt>
                <c:pt idx="32689">
                  <c:v>-1.4285714285714299E-2</c:v>
                </c:pt>
                <c:pt idx="32690">
                  <c:v>-1.4285714285714299E-2</c:v>
                </c:pt>
                <c:pt idx="32691">
                  <c:v>-1.4285714285714299E-2</c:v>
                </c:pt>
                <c:pt idx="32692">
                  <c:v>-1.4285714285714299E-2</c:v>
                </c:pt>
                <c:pt idx="32693">
                  <c:v>-1.4285714285714299E-2</c:v>
                </c:pt>
                <c:pt idx="32694">
                  <c:v>-1.4285714285714299E-2</c:v>
                </c:pt>
                <c:pt idx="32695">
                  <c:v>-1.4285714285714299E-2</c:v>
                </c:pt>
                <c:pt idx="32696">
                  <c:v>-1.4285714285714299E-2</c:v>
                </c:pt>
                <c:pt idx="32697">
                  <c:v>-1.4285714285714299E-2</c:v>
                </c:pt>
                <c:pt idx="32698">
                  <c:v>-1.4285714285714299E-2</c:v>
                </c:pt>
                <c:pt idx="32699">
                  <c:v>-1.4285714285714299E-2</c:v>
                </c:pt>
                <c:pt idx="32700">
                  <c:v>-1.4285714285714299E-2</c:v>
                </c:pt>
                <c:pt idx="32701">
                  <c:v>-1.4285714285714299E-2</c:v>
                </c:pt>
                <c:pt idx="32702">
                  <c:v>-1.4285714285714299E-2</c:v>
                </c:pt>
                <c:pt idx="32703">
                  <c:v>-1.4285714285714299E-2</c:v>
                </c:pt>
                <c:pt idx="32704">
                  <c:v>-1.4285714285714299E-2</c:v>
                </c:pt>
                <c:pt idx="32705">
                  <c:v>-1.4285714285714299E-2</c:v>
                </c:pt>
                <c:pt idx="32706">
                  <c:v>-1.4285714285714299E-2</c:v>
                </c:pt>
                <c:pt idx="32707">
                  <c:v>-1.4285714285714299E-2</c:v>
                </c:pt>
                <c:pt idx="32708">
                  <c:v>-1.4285714285714299E-2</c:v>
                </c:pt>
                <c:pt idx="32709">
                  <c:v>-1.4285714285714299E-2</c:v>
                </c:pt>
                <c:pt idx="32710">
                  <c:v>-1.4285714285714299E-2</c:v>
                </c:pt>
                <c:pt idx="32711">
                  <c:v>-1.4285714285714299E-2</c:v>
                </c:pt>
                <c:pt idx="32712">
                  <c:v>-1.4285714285714299E-2</c:v>
                </c:pt>
                <c:pt idx="32713">
                  <c:v>-1.4285714285714299E-2</c:v>
                </c:pt>
                <c:pt idx="32714">
                  <c:v>-1.4285714285714299E-2</c:v>
                </c:pt>
                <c:pt idx="32715">
                  <c:v>-1.4285714285714299E-2</c:v>
                </c:pt>
                <c:pt idx="32716">
                  <c:v>-1.4285714285714299E-2</c:v>
                </c:pt>
                <c:pt idx="32717">
                  <c:v>-1.4285714285714299E-2</c:v>
                </c:pt>
                <c:pt idx="32718">
                  <c:v>-1.4285714285714299E-2</c:v>
                </c:pt>
                <c:pt idx="32719">
                  <c:v>-1.4285714285714299E-2</c:v>
                </c:pt>
                <c:pt idx="32720">
                  <c:v>-1.4285714285714299E-2</c:v>
                </c:pt>
                <c:pt idx="32721">
                  <c:v>-1.4285714285714299E-2</c:v>
                </c:pt>
                <c:pt idx="32722">
                  <c:v>-1.4285714285714299E-2</c:v>
                </c:pt>
                <c:pt idx="32723">
                  <c:v>-1.4285714285714299E-2</c:v>
                </c:pt>
                <c:pt idx="32724">
                  <c:v>-1.4285714285714299E-2</c:v>
                </c:pt>
                <c:pt idx="32725">
                  <c:v>-1.4285714285714299E-2</c:v>
                </c:pt>
                <c:pt idx="32726">
                  <c:v>-1.4285714285714299E-2</c:v>
                </c:pt>
                <c:pt idx="32727">
                  <c:v>-1.34453781512605E-2</c:v>
                </c:pt>
                <c:pt idx="32728">
                  <c:v>-1.34453781512605E-2</c:v>
                </c:pt>
                <c:pt idx="32729">
                  <c:v>-1.34453781512605E-2</c:v>
                </c:pt>
                <c:pt idx="32730">
                  <c:v>-1.34453781512605E-2</c:v>
                </c:pt>
                <c:pt idx="32731">
                  <c:v>-1.34453781512605E-2</c:v>
                </c:pt>
                <c:pt idx="32732">
                  <c:v>-1.34453781512605E-2</c:v>
                </c:pt>
                <c:pt idx="32733">
                  <c:v>-1.34453781512605E-2</c:v>
                </c:pt>
                <c:pt idx="32734">
                  <c:v>-1.34453781512605E-2</c:v>
                </c:pt>
                <c:pt idx="32735">
                  <c:v>-1.34453781512605E-2</c:v>
                </c:pt>
                <c:pt idx="32736">
                  <c:v>-1.34453781512605E-2</c:v>
                </c:pt>
                <c:pt idx="32737">
                  <c:v>-1.34453781512605E-2</c:v>
                </c:pt>
                <c:pt idx="32738">
                  <c:v>-1.34453781512605E-2</c:v>
                </c:pt>
                <c:pt idx="32739">
                  <c:v>-1.34453781512605E-2</c:v>
                </c:pt>
                <c:pt idx="32740">
                  <c:v>-1.34453781512605E-2</c:v>
                </c:pt>
                <c:pt idx="32741">
                  <c:v>-1.34453781512605E-2</c:v>
                </c:pt>
                <c:pt idx="32742">
                  <c:v>-1.34453781512605E-2</c:v>
                </c:pt>
                <c:pt idx="32743">
                  <c:v>-1.34453781512605E-2</c:v>
                </c:pt>
                <c:pt idx="32744">
                  <c:v>-1.34453781512605E-2</c:v>
                </c:pt>
                <c:pt idx="32745">
                  <c:v>-1.34453781512605E-2</c:v>
                </c:pt>
                <c:pt idx="32746">
                  <c:v>-1.34453781512605E-2</c:v>
                </c:pt>
                <c:pt idx="32747">
                  <c:v>-1.34453781512605E-2</c:v>
                </c:pt>
                <c:pt idx="32748">
                  <c:v>-1.34453781512605E-2</c:v>
                </c:pt>
                <c:pt idx="32749">
                  <c:v>-1.34453781512605E-2</c:v>
                </c:pt>
                <c:pt idx="32750">
                  <c:v>-1.34453781512605E-2</c:v>
                </c:pt>
                <c:pt idx="32751">
                  <c:v>-1.34453781512605E-2</c:v>
                </c:pt>
                <c:pt idx="32752">
                  <c:v>-1.34453781512605E-2</c:v>
                </c:pt>
                <c:pt idx="32753">
                  <c:v>-1.34453781512605E-2</c:v>
                </c:pt>
                <c:pt idx="32754">
                  <c:v>-1.34453781512605E-2</c:v>
                </c:pt>
                <c:pt idx="32755">
                  <c:v>-1.34453781512605E-2</c:v>
                </c:pt>
                <c:pt idx="32756">
                  <c:v>-1.34453781512605E-2</c:v>
                </c:pt>
                <c:pt idx="32757">
                  <c:v>-1.34453781512605E-2</c:v>
                </c:pt>
                <c:pt idx="32758">
                  <c:v>-1.34453781512605E-2</c:v>
                </c:pt>
                <c:pt idx="32759">
                  <c:v>-1.4285714285714299E-2</c:v>
                </c:pt>
                <c:pt idx="32760">
                  <c:v>-1.4285714285714299E-2</c:v>
                </c:pt>
                <c:pt idx="32761">
                  <c:v>-1.4285714285714299E-2</c:v>
                </c:pt>
                <c:pt idx="32762">
                  <c:v>-1.4285714285714299E-2</c:v>
                </c:pt>
                <c:pt idx="32763">
                  <c:v>-1.4285714285714299E-2</c:v>
                </c:pt>
                <c:pt idx="32764">
                  <c:v>-1.4285714285714299E-2</c:v>
                </c:pt>
                <c:pt idx="32765">
                  <c:v>-1.4285714285714299E-2</c:v>
                </c:pt>
                <c:pt idx="32766">
                  <c:v>-1.4285714285714299E-2</c:v>
                </c:pt>
                <c:pt idx="32767">
                  <c:v>-1.4285714285714299E-2</c:v>
                </c:pt>
                <c:pt idx="32768">
                  <c:v>-1.4285714285714299E-2</c:v>
                </c:pt>
                <c:pt idx="32769">
                  <c:v>-1.4285714285714299E-2</c:v>
                </c:pt>
                <c:pt idx="32770">
                  <c:v>-1.4285714285714299E-2</c:v>
                </c:pt>
                <c:pt idx="32771">
                  <c:v>-1.4285714285714299E-2</c:v>
                </c:pt>
                <c:pt idx="32772">
                  <c:v>-1.4285714285714299E-2</c:v>
                </c:pt>
                <c:pt idx="32773">
                  <c:v>-1.4285714285714299E-2</c:v>
                </c:pt>
                <c:pt idx="32774">
                  <c:v>-1.4285714285714299E-2</c:v>
                </c:pt>
                <c:pt idx="32775">
                  <c:v>-1.4285714285714299E-2</c:v>
                </c:pt>
                <c:pt idx="32776">
                  <c:v>-1.4285714285714299E-2</c:v>
                </c:pt>
                <c:pt idx="32777">
                  <c:v>-1.4285714285714299E-2</c:v>
                </c:pt>
                <c:pt idx="32778">
                  <c:v>-1.4285714285714299E-2</c:v>
                </c:pt>
                <c:pt idx="32779">
                  <c:v>-1.4285714285714299E-2</c:v>
                </c:pt>
                <c:pt idx="32780">
                  <c:v>-1.4285714285714299E-2</c:v>
                </c:pt>
                <c:pt idx="32781">
                  <c:v>-1.4285714285714299E-2</c:v>
                </c:pt>
                <c:pt idx="32782">
                  <c:v>-1.4285714285714299E-2</c:v>
                </c:pt>
                <c:pt idx="32783">
                  <c:v>-1.4285714285714299E-2</c:v>
                </c:pt>
                <c:pt idx="32784">
                  <c:v>-1.34453781512605E-2</c:v>
                </c:pt>
                <c:pt idx="32785">
                  <c:v>-1.34453781512605E-2</c:v>
                </c:pt>
                <c:pt idx="32786">
                  <c:v>-1.34453781512605E-2</c:v>
                </c:pt>
                <c:pt idx="32787">
                  <c:v>-1.34453781512605E-2</c:v>
                </c:pt>
                <c:pt idx="32788">
                  <c:v>-1.34453781512605E-2</c:v>
                </c:pt>
                <c:pt idx="32789">
                  <c:v>-1.34453781512605E-2</c:v>
                </c:pt>
                <c:pt idx="32790">
                  <c:v>-1.34453781512605E-2</c:v>
                </c:pt>
                <c:pt idx="32791">
                  <c:v>-1.34453781512605E-2</c:v>
                </c:pt>
                <c:pt idx="32792">
                  <c:v>-1.34453781512605E-2</c:v>
                </c:pt>
                <c:pt idx="32793">
                  <c:v>-1.34453781512605E-2</c:v>
                </c:pt>
                <c:pt idx="32794">
                  <c:v>-1.34453781512605E-2</c:v>
                </c:pt>
                <c:pt idx="32795">
                  <c:v>-1.34453781512605E-2</c:v>
                </c:pt>
                <c:pt idx="32796">
                  <c:v>-1.34453781512605E-2</c:v>
                </c:pt>
                <c:pt idx="32797">
                  <c:v>-1.34453781512605E-2</c:v>
                </c:pt>
                <c:pt idx="32798">
                  <c:v>-1.34453781512605E-2</c:v>
                </c:pt>
                <c:pt idx="32799">
                  <c:v>-1.34453781512605E-2</c:v>
                </c:pt>
                <c:pt idx="32800">
                  <c:v>-1.34453781512605E-2</c:v>
                </c:pt>
                <c:pt idx="32801">
                  <c:v>-1.34453781512605E-2</c:v>
                </c:pt>
                <c:pt idx="32802">
                  <c:v>-1.34453781512605E-2</c:v>
                </c:pt>
                <c:pt idx="32803">
                  <c:v>-1.4285714285714299E-2</c:v>
                </c:pt>
                <c:pt idx="32804">
                  <c:v>-1.4285714285714299E-2</c:v>
                </c:pt>
                <c:pt idx="32805">
                  <c:v>-1.4285714285714299E-2</c:v>
                </c:pt>
                <c:pt idx="32806">
                  <c:v>-1.4285714285714299E-2</c:v>
                </c:pt>
                <c:pt idx="32807">
                  <c:v>-1.4285714285714299E-2</c:v>
                </c:pt>
                <c:pt idx="32808">
                  <c:v>-1.4285714285714299E-2</c:v>
                </c:pt>
                <c:pt idx="32809">
                  <c:v>-1.4285714285714299E-2</c:v>
                </c:pt>
                <c:pt idx="32810">
                  <c:v>-1.4285714285714299E-2</c:v>
                </c:pt>
                <c:pt idx="32811">
                  <c:v>-1.4285714285714299E-2</c:v>
                </c:pt>
                <c:pt idx="32812">
                  <c:v>-1.4285714285714299E-2</c:v>
                </c:pt>
                <c:pt idx="32813">
                  <c:v>-1.4285714285714299E-2</c:v>
                </c:pt>
                <c:pt idx="32814">
                  <c:v>-1.4285714285714299E-2</c:v>
                </c:pt>
                <c:pt idx="32815">
                  <c:v>-1.4285714285714299E-2</c:v>
                </c:pt>
                <c:pt idx="32816">
                  <c:v>-1.4285714285714299E-2</c:v>
                </c:pt>
                <c:pt idx="32817">
                  <c:v>-1.4285714285714299E-2</c:v>
                </c:pt>
                <c:pt idx="32818">
                  <c:v>-1.4285714285714299E-2</c:v>
                </c:pt>
                <c:pt idx="32819">
                  <c:v>-1.4285714285714299E-2</c:v>
                </c:pt>
                <c:pt idx="32820">
                  <c:v>-1.4285714285714299E-2</c:v>
                </c:pt>
                <c:pt idx="32821">
                  <c:v>-1.51260504201681E-2</c:v>
                </c:pt>
                <c:pt idx="32822">
                  <c:v>-1.51260504201681E-2</c:v>
                </c:pt>
                <c:pt idx="32823">
                  <c:v>-1.51260504201681E-2</c:v>
                </c:pt>
                <c:pt idx="32824">
                  <c:v>-1.51260504201681E-2</c:v>
                </c:pt>
                <c:pt idx="32825">
                  <c:v>-1.51260504201681E-2</c:v>
                </c:pt>
                <c:pt idx="32826">
                  <c:v>-1.51260504201681E-2</c:v>
                </c:pt>
                <c:pt idx="32827">
                  <c:v>-1.51260504201681E-2</c:v>
                </c:pt>
                <c:pt idx="32828">
                  <c:v>-1.51260504201681E-2</c:v>
                </c:pt>
                <c:pt idx="32829">
                  <c:v>-1.51260504201681E-2</c:v>
                </c:pt>
                <c:pt idx="32830">
                  <c:v>-1.51260504201681E-2</c:v>
                </c:pt>
                <c:pt idx="32831">
                  <c:v>-1.51260504201681E-2</c:v>
                </c:pt>
                <c:pt idx="32832">
                  <c:v>-1.51260504201681E-2</c:v>
                </c:pt>
                <c:pt idx="32833">
                  <c:v>-1.51260504201681E-2</c:v>
                </c:pt>
                <c:pt idx="32834">
                  <c:v>-1.51260504201681E-2</c:v>
                </c:pt>
                <c:pt idx="32835">
                  <c:v>-1.51260504201681E-2</c:v>
                </c:pt>
                <c:pt idx="32836">
                  <c:v>-1.51260504201681E-2</c:v>
                </c:pt>
                <c:pt idx="32837">
                  <c:v>-1.51260504201681E-2</c:v>
                </c:pt>
                <c:pt idx="32838">
                  <c:v>-1.51260504201681E-2</c:v>
                </c:pt>
                <c:pt idx="32839">
                  <c:v>-1.51260504201681E-2</c:v>
                </c:pt>
                <c:pt idx="32840">
                  <c:v>-1.51260504201681E-2</c:v>
                </c:pt>
                <c:pt idx="32841">
                  <c:v>-1.51260504201681E-2</c:v>
                </c:pt>
                <c:pt idx="32842">
                  <c:v>-1.51260504201681E-2</c:v>
                </c:pt>
                <c:pt idx="32843">
                  <c:v>-1.51260504201681E-2</c:v>
                </c:pt>
                <c:pt idx="32844">
                  <c:v>-1.51260504201681E-2</c:v>
                </c:pt>
                <c:pt idx="32845">
                  <c:v>-1.51260504201681E-2</c:v>
                </c:pt>
                <c:pt idx="32846">
                  <c:v>-1.51260504201681E-2</c:v>
                </c:pt>
                <c:pt idx="32847">
                  <c:v>-1.59663865546219E-2</c:v>
                </c:pt>
                <c:pt idx="32848">
                  <c:v>-1.59663865546219E-2</c:v>
                </c:pt>
                <c:pt idx="32849">
                  <c:v>-1.59663865546219E-2</c:v>
                </c:pt>
                <c:pt idx="32850">
                  <c:v>-1.59663865546219E-2</c:v>
                </c:pt>
                <c:pt idx="32851">
                  <c:v>-1.59663865546219E-2</c:v>
                </c:pt>
                <c:pt idx="32852">
                  <c:v>-1.59663865546219E-2</c:v>
                </c:pt>
                <c:pt idx="32853">
                  <c:v>-1.59663865546219E-2</c:v>
                </c:pt>
                <c:pt idx="32854">
                  <c:v>-1.59663865546219E-2</c:v>
                </c:pt>
                <c:pt idx="32855">
                  <c:v>-1.59663865546219E-2</c:v>
                </c:pt>
                <c:pt idx="32856">
                  <c:v>-1.59663865546219E-2</c:v>
                </c:pt>
                <c:pt idx="32857">
                  <c:v>-1.59663865546219E-2</c:v>
                </c:pt>
                <c:pt idx="32858">
                  <c:v>-1.59663865546219E-2</c:v>
                </c:pt>
                <c:pt idx="32859">
                  <c:v>-1.59663865546219E-2</c:v>
                </c:pt>
                <c:pt idx="32860">
                  <c:v>-1.59663865546219E-2</c:v>
                </c:pt>
                <c:pt idx="32861">
                  <c:v>-1.59663865546219E-2</c:v>
                </c:pt>
                <c:pt idx="32862">
                  <c:v>-1.59663865546219E-2</c:v>
                </c:pt>
                <c:pt idx="32863">
                  <c:v>-1.59663865546219E-2</c:v>
                </c:pt>
                <c:pt idx="32864">
                  <c:v>-1.59663865546219E-2</c:v>
                </c:pt>
                <c:pt idx="32865">
                  <c:v>-1.59663865546219E-2</c:v>
                </c:pt>
                <c:pt idx="32866">
                  <c:v>-1.59663865546219E-2</c:v>
                </c:pt>
                <c:pt idx="32867">
                  <c:v>-1.59663865546219E-2</c:v>
                </c:pt>
                <c:pt idx="32868">
                  <c:v>-1.59663865546219E-2</c:v>
                </c:pt>
                <c:pt idx="32869">
                  <c:v>-1.59663865546219E-2</c:v>
                </c:pt>
                <c:pt idx="32870">
                  <c:v>-1.59663865546219E-2</c:v>
                </c:pt>
                <c:pt idx="32871">
                  <c:v>-1.59663865546219E-2</c:v>
                </c:pt>
                <c:pt idx="32872">
                  <c:v>-1.59663865546219E-2</c:v>
                </c:pt>
                <c:pt idx="32873">
                  <c:v>-1.59663865546219E-2</c:v>
                </c:pt>
                <c:pt idx="32874">
                  <c:v>-1.59663865546219E-2</c:v>
                </c:pt>
                <c:pt idx="32875">
                  <c:v>-1.59663865546219E-2</c:v>
                </c:pt>
                <c:pt idx="32876">
                  <c:v>-1.59663865546219E-2</c:v>
                </c:pt>
                <c:pt idx="32877">
                  <c:v>-1.59663865546219E-2</c:v>
                </c:pt>
                <c:pt idx="32878">
                  <c:v>-1.59663865546219E-2</c:v>
                </c:pt>
                <c:pt idx="32879">
                  <c:v>-1.59663865546219E-2</c:v>
                </c:pt>
                <c:pt idx="32880">
                  <c:v>-1.59663865546219E-2</c:v>
                </c:pt>
                <c:pt idx="32881">
                  <c:v>-1.59663865546219E-2</c:v>
                </c:pt>
                <c:pt idx="32882">
                  <c:v>-1.59663865546219E-2</c:v>
                </c:pt>
                <c:pt idx="32883">
                  <c:v>-1.59663865546219E-2</c:v>
                </c:pt>
                <c:pt idx="32884">
                  <c:v>-1.59663865546219E-2</c:v>
                </c:pt>
                <c:pt idx="32885">
                  <c:v>-1.59663865546219E-2</c:v>
                </c:pt>
                <c:pt idx="32886">
                  <c:v>-1.59663865546219E-2</c:v>
                </c:pt>
                <c:pt idx="32887">
                  <c:v>-1.6806722689075598E-2</c:v>
                </c:pt>
                <c:pt idx="32888">
                  <c:v>-1.6806722689075598E-2</c:v>
                </c:pt>
                <c:pt idx="32889">
                  <c:v>-1.6806722689075598E-2</c:v>
                </c:pt>
                <c:pt idx="32890">
                  <c:v>-1.6806722689075598E-2</c:v>
                </c:pt>
                <c:pt idx="32891">
                  <c:v>-1.6806722689075598E-2</c:v>
                </c:pt>
                <c:pt idx="32892">
                  <c:v>-1.6806722689075598E-2</c:v>
                </c:pt>
                <c:pt idx="32893">
                  <c:v>-1.6806722689075598E-2</c:v>
                </c:pt>
                <c:pt idx="32894">
                  <c:v>-1.6806722689075598E-2</c:v>
                </c:pt>
                <c:pt idx="32895">
                  <c:v>-1.6806722689075598E-2</c:v>
                </c:pt>
                <c:pt idx="32896">
                  <c:v>-1.6806722689075598E-2</c:v>
                </c:pt>
                <c:pt idx="32897">
                  <c:v>-1.6806722689075598E-2</c:v>
                </c:pt>
                <c:pt idx="32898">
                  <c:v>-1.6806722689075598E-2</c:v>
                </c:pt>
                <c:pt idx="32899">
                  <c:v>-1.6806722689075598E-2</c:v>
                </c:pt>
                <c:pt idx="32900">
                  <c:v>-1.6806722689075598E-2</c:v>
                </c:pt>
                <c:pt idx="32901">
                  <c:v>-1.6806722689075598E-2</c:v>
                </c:pt>
                <c:pt idx="32902">
                  <c:v>-1.6806722689075598E-2</c:v>
                </c:pt>
                <c:pt idx="32903">
                  <c:v>-1.6806722689075598E-2</c:v>
                </c:pt>
                <c:pt idx="32904">
                  <c:v>-1.6806722689075598E-2</c:v>
                </c:pt>
                <c:pt idx="32905">
                  <c:v>-1.6806722689075598E-2</c:v>
                </c:pt>
                <c:pt idx="32906">
                  <c:v>-1.6806722689075598E-2</c:v>
                </c:pt>
                <c:pt idx="32907">
                  <c:v>-1.6806722689075598E-2</c:v>
                </c:pt>
                <c:pt idx="32908">
                  <c:v>-1.6806722689075598E-2</c:v>
                </c:pt>
                <c:pt idx="32909">
                  <c:v>-1.6806722689075598E-2</c:v>
                </c:pt>
                <c:pt idx="32910">
                  <c:v>-1.6806722689075598E-2</c:v>
                </c:pt>
                <c:pt idx="32911">
                  <c:v>-1.6806722689075598E-2</c:v>
                </c:pt>
                <c:pt idx="32912">
                  <c:v>-1.6806722689075598E-2</c:v>
                </c:pt>
                <c:pt idx="32913">
                  <c:v>-1.6806722689075598E-2</c:v>
                </c:pt>
                <c:pt idx="32914">
                  <c:v>-1.6806722689075598E-2</c:v>
                </c:pt>
                <c:pt idx="32915">
                  <c:v>-1.6806722689075598E-2</c:v>
                </c:pt>
                <c:pt idx="32916">
                  <c:v>-1.6806722689075598E-2</c:v>
                </c:pt>
                <c:pt idx="32917">
                  <c:v>-1.6806722689075598E-2</c:v>
                </c:pt>
                <c:pt idx="32918">
                  <c:v>-1.6806722689075598E-2</c:v>
                </c:pt>
                <c:pt idx="32919">
                  <c:v>-1.6806722689075598E-2</c:v>
                </c:pt>
                <c:pt idx="32920">
                  <c:v>-1.6806722689075598E-2</c:v>
                </c:pt>
                <c:pt idx="32921">
                  <c:v>-1.6806722689075598E-2</c:v>
                </c:pt>
                <c:pt idx="32922">
                  <c:v>-1.6806722689075598E-2</c:v>
                </c:pt>
                <c:pt idx="32923">
                  <c:v>-1.59663865546219E-2</c:v>
                </c:pt>
                <c:pt idx="32924">
                  <c:v>-1.59663865546219E-2</c:v>
                </c:pt>
                <c:pt idx="32925">
                  <c:v>-1.59663865546219E-2</c:v>
                </c:pt>
                <c:pt idx="32926">
                  <c:v>-1.59663865546219E-2</c:v>
                </c:pt>
                <c:pt idx="32927">
                  <c:v>-1.59663865546219E-2</c:v>
                </c:pt>
                <c:pt idx="32928">
                  <c:v>-1.59663865546219E-2</c:v>
                </c:pt>
                <c:pt idx="32929">
                  <c:v>-1.59663865546219E-2</c:v>
                </c:pt>
                <c:pt idx="32930">
                  <c:v>-1.59663865546219E-2</c:v>
                </c:pt>
                <c:pt idx="32931">
                  <c:v>-1.59663865546219E-2</c:v>
                </c:pt>
                <c:pt idx="32932">
                  <c:v>-1.59663865546219E-2</c:v>
                </c:pt>
                <c:pt idx="32933">
                  <c:v>-1.59663865546219E-2</c:v>
                </c:pt>
                <c:pt idx="32934">
                  <c:v>-1.59663865546219E-2</c:v>
                </c:pt>
                <c:pt idx="32935">
                  <c:v>-1.59663865546219E-2</c:v>
                </c:pt>
                <c:pt idx="32936">
                  <c:v>-1.59663865546219E-2</c:v>
                </c:pt>
                <c:pt idx="32937">
                  <c:v>-1.59663865546219E-2</c:v>
                </c:pt>
                <c:pt idx="32938">
                  <c:v>-1.59663865546219E-2</c:v>
                </c:pt>
                <c:pt idx="32939">
                  <c:v>-1.59663865546219E-2</c:v>
                </c:pt>
                <c:pt idx="32940">
                  <c:v>-1.59663865546219E-2</c:v>
                </c:pt>
                <c:pt idx="32941">
                  <c:v>-1.59663865546219E-2</c:v>
                </c:pt>
                <c:pt idx="32942">
                  <c:v>-1.59663865546219E-2</c:v>
                </c:pt>
                <c:pt idx="32943">
                  <c:v>-1.59663865546219E-2</c:v>
                </c:pt>
                <c:pt idx="32944">
                  <c:v>-1.59663865546219E-2</c:v>
                </c:pt>
                <c:pt idx="32945">
                  <c:v>-1.59663865546219E-2</c:v>
                </c:pt>
                <c:pt idx="32946">
                  <c:v>-1.59663865546219E-2</c:v>
                </c:pt>
                <c:pt idx="32947">
                  <c:v>-1.59663865546219E-2</c:v>
                </c:pt>
                <c:pt idx="32948">
                  <c:v>-1.59663865546219E-2</c:v>
                </c:pt>
                <c:pt idx="32949">
                  <c:v>-1.59663865546219E-2</c:v>
                </c:pt>
                <c:pt idx="32950">
                  <c:v>-1.59663865546219E-2</c:v>
                </c:pt>
                <c:pt idx="32951">
                  <c:v>-1.59663865546219E-2</c:v>
                </c:pt>
                <c:pt idx="32952">
                  <c:v>-1.59663865546219E-2</c:v>
                </c:pt>
                <c:pt idx="32953">
                  <c:v>-1.59663865546219E-2</c:v>
                </c:pt>
                <c:pt idx="32954">
                  <c:v>-1.59663865546219E-2</c:v>
                </c:pt>
                <c:pt idx="32955">
                  <c:v>-1.59663865546219E-2</c:v>
                </c:pt>
                <c:pt idx="32956">
                  <c:v>-1.59663865546219E-2</c:v>
                </c:pt>
                <c:pt idx="32957">
                  <c:v>-1.59663865546219E-2</c:v>
                </c:pt>
                <c:pt idx="32958">
                  <c:v>-1.59663865546219E-2</c:v>
                </c:pt>
                <c:pt idx="32959">
                  <c:v>-1.59663865546219E-2</c:v>
                </c:pt>
                <c:pt idx="32960">
                  <c:v>-1.59663865546219E-2</c:v>
                </c:pt>
                <c:pt idx="32961">
                  <c:v>-1.59663865546219E-2</c:v>
                </c:pt>
                <c:pt idx="32962">
                  <c:v>-1.59663865546219E-2</c:v>
                </c:pt>
                <c:pt idx="32963">
                  <c:v>-1.59663865546219E-2</c:v>
                </c:pt>
                <c:pt idx="32964">
                  <c:v>-1.59663865546219E-2</c:v>
                </c:pt>
                <c:pt idx="32965">
                  <c:v>-1.59663865546219E-2</c:v>
                </c:pt>
                <c:pt idx="32966">
                  <c:v>-1.59663865546219E-2</c:v>
                </c:pt>
                <c:pt idx="32967">
                  <c:v>-1.59663865546219E-2</c:v>
                </c:pt>
                <c:pt idx="32968">
                  <c:v>-1.59663865546219E-2</c:v>
                </c:pt>
                <c:pt idx="32969">
                  <c:v>-1.59663865546219E-2</c:v>
                </c:pt>
                <c:pt idx="32970">
                  <c:v>-1.59663865546219E-2</c:v>
                </c:pt>
                <c:pt idx="32971">
                  <c:v>-1.59663865546219E-2</c:v>
                </c:pt>
                <c:pt idx="32972">
                  <c:v>-1.59663865546219E-2</c:v>
                </c:pt>
                <c:pt idx="32973">
                  <c:v>-1.59663865546219E-2</c:v>
                </c:pt>
                <c:pt idx="32974">
                  <c:v>-1.59663865546219E-2</c:v>
                </c:pt>
                <c:pt idx="32975">
                  <c:v>-1.59663865546219E-2</c:v>
                </c:pt>
                <c:pt idx="32976">
                  <c:v>-1.59663865546219E-2</c:v>
                </c:pt>
                <c:pt idx="32977">
                  <c:v>-1.59663865546219E-2</c:v>
                </c:pt>
                <c:pt idx="32978">
                  <c:v>-1.59663865546219E-2</c:v>
                </c:pt>
                <c:pt idx="32979">
                  <c:v>-1.59663865546219E-2</c:v>
                </c:pt>
                <c:pt idx="32980">
                  <c:v>-1.59663865546219E-2</c:v>
                </c:pt>
                <c:pt idx="32981">
                  <c:v>-1.59663865546219E-2</c:v>
                </c:pt>
                <c:pt idx="32982">
                  <c:v>-1.59663865546219E-2</c:v>
                </c:pt>
                <c:pt idx="32983">
                  <c:v>-1.59663865546219E-2</c:v>
                </c:pt>
                <c:pt idx="32984">
                  <c:v>-1.59663865546219E-2</c:v>
                </c:pt>
                <c:pt idx="32985">
                  <c:v>-1.59663865546219E-2</c:v>
                </c:pt>
                <c:pt idx="32986">
                  <c:v>-1.59663865546219E-2</c:v>
                </c:pt>
                <c:pt idx="32987">
                  <c:v>-1.59663865546219E-2</c:v>
                </c:pt>
                <c:pt idx="32988">
                  <c:v>-1.59663865546219E-2</c:v>
                </c:pt>
                <c:pt idx="32989">
                  <c:v>-1.59663865546219E-2</c:v>
                </c:pt>
                <c:pt idx="32990">
                  <c:v>-1.59663865546219E-2</c:v>
                </c:pt>
                <c:pt idx="32991">
                  <c:v>-1.59663865546219E-2</c:v>
                </c:pt>
                <c:pt idx="32992">
                  <c:v>-1.59663865546219E-2</c:v>
                </c:pt>
                <c:pt idx="32993">
                  <c:v>-1.59663865546219E-2</c:v>
                </c:pt>
                <c:pt idx="32994">
                  <c:v>-1.59663865546219E-2</c:v>
                </c:pt>
                <c:pt idx="32995">
                  <c:v>-1.59663865546219E-2</c:v>
                </c:pt>
                <c:pt idx="32996">
                  <c:v>-1.59663865546219E-2</c:v>
                </c:pt>
                <c:pt idx="32997">
                  <c:v>-1.59663865546219E-2</c:v>
                </c:pt>
                <c:pt idx="32998">
                  <c:v>-1.59663865546219E-2</c:v>
                </c:pt>
                <c:pt idx="32999">
                  <c:v>-1.59663865546219E-2</c:v>
                </c:pt>
                <c:pt idx="33000">
                  <c:v>-1.59663865546219E-2</c:v>
                </c:pt>
                <c:pt idx="33001">
                  <c:v>-1.59663865546219E-2</c:v>
                </c:pt>
                <c:pt idx="33002">
                  <c:v>-1.59663865546219E-2</c:v>
                </c:pt>
                <c:pt idx="33003">
                  <c:v>-1.59663865546219E-2</c:v>
                </c:pt>
                <c:pt idx="33004">
                  <c:v>-1.59663865546219E-2</c:v>
                </c:pt>
                <c:pt idx="33005">
                  <c:v>-1.59663865546219E-2</c:v>
                </c:pt>
                <c:pt idx="33006">
                  <c:v>-1.59663865546219E-2</c:v>
                </c:pt>
                <c:pt idx="33007">
                  <c:v>-1.6806722689075598E-2</c:v>
                </c:pt>
                <c:pt idx="33008">
                  <c:v>-1.6806722689075598E-2</c:v>
                </c:pt>
                <c:pt idx="33009">
                  <c:v>-1.6806722689075598E-2</c:v>
                </c:pt>
                <c:pt idx="33010">
                  <c:v>-1.6806722689075598E-2</c:v>
                </c:pt>
                <c:pt idx="33011">
                  <c:v>-1.6806722689075598E-2</c:v>
                </c:pt>
                <c:pt idx="33012">
                  <c:v>-1.6806722689075598E-2</c:v>
                </c:pt>
                <c:pt idx="33013">
                  <c:v>-1.6806722689075598E-2</c:v>
                </c:pt>
                <c:pt idx="33014">
                  <c:v>-1.6806722689075598E-2</c:v>
                </c:pt>
                <c:pt idx="33015">
                  <c:v>-1.6806722689075598E-2</c:v>
                </c:pt>
                <c:pt idx="33016">
                  <c:v>-1.6806722689075598E-2</c:v>
                </c:pt>
                <c:pt idx="33017">
                  <c:v>-1.6806722689075598E-2</c:v>
                </c:pt>
                <c:pt idx="33018">
                  <c:v>-1.6806722689075598E-2</c:v>
                </c:pt>
                <c:pt idx="33019">
                  <c:v>-1.6806722689075598E-2</c:v>
                </c:pt>
                <c:pt idx="33020">
                  <c:v>-1.6806722689075598E-2</c:v>
                </c:pt>
                <c:pt idx="33021">
                  <c:v>-1.6806722689075598E-2</c:v>
                </c:pt>
                <c:pt idx="33022">
                  <c:v>-1.6806722689075598E-2</c:v>
                </c:pt>
                <c:pt idx="33023">
                  <c:v>-1.6806722689075598E-2</c:v>
                </c:pt>
                <c:pt idx="33024">
                  <c:v>-1.6806722689075598E-2</c:v>
                </c:pt>
                <c:pt idx="33025">
                  <c:v>-1.6806722689075598E-2</c:v>
                </c:pt>
                <c:pt idx="33026">
                  <c:v>-1.6806722689075598E-2</c:v>
                </c:pt>
                <c:pt idx="33027">
                  <c:v>-1.6806722689075598E-2</c:v>
                </c:pt>
                <c:pt idx="33028">
                  <c:v>-1.6806722689075598E-2</c:v>
                </c:pt>
                <c:pt idx="33029">
                  <c:v>-1.6806722689075598E-2</c:v>
                </c:pt>
                <c:pt idx="33030">
                  <c:v>-1.6806722689075598E-2</c:v>
                </c:pt>
                <c:pt idx="33031">
                  <c:v>-1.6806722689075598E-2</c:v>
                </c:pt>
                <c:pt idx="33032">
                  <c:v>-1.6806722689075598E-2</c:v>
                </c:pt>
                <c:pt idx="33033">
                  <c:v>-1.6806722689075598E-2</c:v>
                </c:pt>
                <c:pt idx="33034">
                  <c:v>-1.6806722689075598E-2</c:v>
                </c:pt>
                <c:pt idx="33035">
                  <c:v>-1.6806722689075598E-2</c:v>
                </c:pt>
                <c:pt idx="33036">
                  <c:v>-1.6806722689075598E-2</c:v>
                </c:pt>
                <c:pt idx="33037">
                  <c:v>-1.6806722689075598E-2</c:v>
                </c:pt>
                <c:pt idx="33038">
                  <c:v>-1.6806722689075598E-2</c:v>
                </c:pt>
                <c:pt idx="33039">
                  <c:v>-1.6806722689075598E-2</c:v>
                </c:pt>
                <c:pt idx="33040">
                  <c:v>-1.6806722689075598E-2</c:v>
                </c:pt>
                <c:pt idx="33041">
                  <c:v>-1.6806722689075598E-2</c:v>
                </c:pt>
                <c:pt idx="33042">
                  <c:v>-1.6806722689075598E-2</c:v>
                </c:pt>
                <c:pt idx="33043">
                  <c:v>-1.6806722689075598E-2</c:v>
                </c:pt>
                <c:pt idx="33044">
                  <c:v>-1.6806722689075598E-2</c:v>
                </c:pt>
                <c:pt idx="33045">
                  <c:v>-1.6806722689075598E-2</c:v>
                </c:pt>
                <c:pt idx="33046">
                  <c:v>-1.6806722689075598E-2</c:v>
                </c:pt>
                <c:pt idx="33047">
                  <c:v>-1.6806722689075598E-2</c:v>
                </c:pt>
                <c:pt idx="33048">
                  <c:v>-1.6806722689075598E-2</c:v>
                </c:pt>
                <c:pt idx="33049">
                  <c:v>-1.6806722689075598E-2</c:v>
                </c:pt>
                <c:pt idx="33050">
                  <c:v>-1.6806722689075598E-2</c:v>
                </c:pt>
                <c:pt idx="33051">
                  <c:v>-1.6806722689075598E-2</c:v>
                </c:pt>
                <c:pt idx="33052">
                  <c:v>-1.6806722689075598E-2</c:v>
                </c:pt>
                <c:pt idx="33053">
                  <c:v>-1.6806722689075598E-2</c:v>
                </c:pt>
                <c:pt idx="33054">
                  <c:v>-1.6806722689075598E-2</c:v>
                </c:pt>
                <c:pt idx="33055">
                  <c:v>-1.6806722689075598E-2</c:v>
                </c:pt>
                <c:pt idx="33056">
                  <c:v>-1.6806722689075598E-2</c:v>
                </c:pt>
                <c:pt idx="33057">
                  <c:v>-1.6806722689075598E-2</c:v>
                </c:pt>
                <c:pt idx="33058">
                  <c:v>-1.6806722689075598E-2</c:v>
                </c:pt>
                <c:pt idx="33059">
                  <c:v>-1.6806722689075598E-2</c:v>
                </c:pt>
                <c:pt idx="33060">
                  <c:v>-1.6806722689075598E-2</c:v>
                </c:pt>
                <c:pt idx="33061">
                  <c:v>-1.6806722689075598E-2</c:v>
                </c:pt>
                <c:pt idx="33062">
                  <c:v>-1.6806722689075598E-2</c:v>
                </c:pt>
                <c:pt idx="33063">
                  <c:v>-1.6806722689075598E-2</c:v>
                </c:pt>
                <c:pt idx="33064">
                  <c:v>-1.6806722689075598E-2</c:v>
                </c:pt>
                <c:pt idx="33065">
                  <c:v>-1.59663865546219E-2</c:v>
                </c:pt>
                <c:pt idx="33066">
                  <c:v>-1.59663865546219E-2</c:v>
                </c:pt>
                <c:pt idx="33067">
                  <c:v>-1.59663865546219E-2</c:v>
                </c:pt>
                <c:pt idx="33068">
                  <c:v>-1.59663865546219E-2</c:v>
                </c:pt>
                <c:pt idx="33069">
                  <c:v>-1.59663865546219E-2</c:v>
                </c:pt>
                <c:pt idx="33070">
                  <c:v>-1.59663865546219E-2</c:v>
                </c:pt>
                <c:pt idx="33071">
                  <c:v>-1.59663865546219E-2</c:v>
                </c:pt>
                <c:pt idx="33072">
                  <c:v>-1.59663865546219E-2</c:v>
                </c:pt>
                <c:pt idx="33073">
                  <c:v>-1.59663865546219E-2</c:v>
                </c:pt>
                <c:pt idx="33074">
                  <c:v>-1.59663865546219E-2</c:v>
                </c:pt>
                <c:pt idx="33075">
                  <c:v>-1.59663865546219E-2</c:v>
                </c:pt>
                <c:pt idx="33076">
                  <c:v>-1.59663865546219E-2</c:v>
                </c:pt>
                <c:pt idx="33077">
                  <c:v>-1.59663865546219E-2</c:v>
                </c:pt>
                <c:pt idx="33078">
                  <c:v>-1.59663865546219E-2</c:v>
                </c:pt>
                <c:pt idx="33079">
                  <c:v>-1.59663865546219E-2</c:v>
                </c:pt>
                <c:pt idx="33080">
                  <c:v>-1.59663865546219E-2</c:v>
                </c:pt>
                <c:pt idx="33081">
                  <c:v>-1.59663865546219E-2</c:v>
                </c:pt>
                <c:pt idx="33082">
                  <c:v>-1.59663865546219E-2</c:v>
                </c:pt>
                <c:pt idx="33083">
                  <c:v>-1.59663865546219E-2</c:v>
                </c:pt>
                <c:pt idx="33084">
                  <c:v>-1.6806722689075598E-2</c:v>
                </c:pt>
                <c:pt idx="33085">
                  <c:v>-1.6806722689075598E-2</c:v>
                </c:pt>
                <c:pt idx="33086">
                  <c:v>-1.6806722689075598E-2</c:v>
                </c:pt>
                <c:pt idx="33087">
                  <c:v>-1.6806722689075598E-2</c:v>
                </c:pt>
                <c:pt idx="33088">
                  <c:v>-1.6806722689075598E-2</c:v>
                </c:pt>
                <c:pt idx="33089">
                  <c:v>-1.6806722689075598E-2</c:v>
                </c:pt>
                <c:pt idx="33090">
                  <c:v>-1.6806722689075598E-2</c:v>
                </c:pt>
                <c:pt idx="33091">
                  <c:v>-1.6806722689075598E-2</c:v>
                </c:pt>
                <c:pt idx="33092">
                  <c:v>-1.6806722689075598E-2</c:v>
                </c:pt>
                <c:pt idx="33093">
                  <c:v>-1.6806722689075598E-2</c:v>
                </c:pt>
                <c:pt idx="33094">
                  <c:v>-1.6806722689075598E-2</c:v>
                </c:pt>
                <c:pt idx="33095">
                  <c:v>-1.6806722689075598E-2</c:v>
                </c:pt>
                <c:pt idx="33096">
                  <c:v>-1.6806722689075598E-2</c:v>
                </c:pt>
                <c:pt idx="33097">
                  <c:v>-1.6806722689075598E-2</c:v>
                </c:pt>
                <c:pt idx="33098">
                  <c:v>-1.6806722689075598E-2</c:v>
                </c:pt>
                <c:pt idx="33099">
                  <c:v>-1.6806722689075598E-2</c:v>
                </c:pt>
                <c:pt idx="33100">
                  <c:v>-1.6806722689075598E-2</c:v>
                </c:pt>
                <c:pt idx="33101">
                  <c:v>-1.6806722689075598E-2</c:v>
                </c:pt>
                <c:pt idx="33102">
                  <c:v>-1.6806722689075598E-2</c:v>
                </c:pt>
                <c:pt idx="33103">
                  <c:v>-1.6806722689075598E-2</c:v>
                </c:pt>
                <c:pt idx="33104">
                  <c:v>-1.6806722689075598E-2</c:v>
                </c:pt>
                <c:pt idx="33105">
                  <c:v>-1.6806722689075598E-2</c:v>
                </c:pt>
                <c:pt idx="33106">
                  <c:v>-1.6806722689075598E-2</c:v>
                </c:pt>
                <c:pt idx="33107">
                  <c:v>-1.6806722689075598E-2</c:v>
                </c:pt>
                <c:pt idx="33108">
                  <c:v>-1.6806722689075598E-2</c:v>
                </c:pt>
                <c:pt idx="33109">
                  <c:v>-1.6806722689075598E-2</c:v>
                </c:pt>
                <c:pt idx="33110">
                  <c:v>-1.6806722689075598E-2</c:v>
                </c:pt>
                <c:pt idx="33111">
                  <c:v>-1.6806722689075598E-2</c:v>
                </c:pt>
                <c:pt idx="33112">
                  <c:v>-1.6806722689075598E-2</c:v>
                </c:pt>
                <c:pt idx="33113">
                  <c:v>-1.6806722689075598E-2</c:v>
                </c:pt>
                <c:pt idx="33114">
                  <c:v>-1.6806722689075598E-2</c:v>
                </c:pt>
                <c:pt idx="33115">
                  <c:v>-1.6806722689075598E-2</c:v>
                </c:pt>
                <c:pt idx="33116">
                  <c:v>-1.6806722689075598E-2</c:v>
                </c:pt>
                <c:pt idx="33117">
                  <c:v>-1.6806722689075598E-2</c:v>
                </c:pt>
                <c:pt idx="33118">
                  <c:v>-1.6806722689075598E-2</c:v>
                </c:pt>
                <c:pt idx="33119">
                  <c:v>-1.6806722689075598E-2</c:v>
                </c:pt>
                <c:pt idx="33120">
                  <c:v>-1.6806722689075598E-2</c:v>
                </c:pt>
                <c:pt idx="33121">
                  <c:v>-1.7647058823529401E-2</c:v>
                </c:pt>
                <c:pt idx="33122">
                  <c:v>-1.7647058823529401E-2</c:v>
                </c:pt>
                <c:pt idx="33123">
                  <c:v>-1.7647058823529401E-2</c:v>
                </c:pt>
                <c:pt idx="33124">
                  <c:v>-1.7647058823529401E-2</c:v>
                </c:pt>
                <c:pt idx="33125">
                  <c:v>-1.7647058823529401E-2</c:v>
                </c:pt>
                <c:pt idx="33126">
                  <c:v>-1.7647058823529401E-2</c:v>
                </c:pt>
                <c:pt idx="33127">
                  <c:v>-1.7647058823529401E-2</c:v>
                </c:pt>
                <c:pt idx="33128">
                  <c:v>-1.7647058823529401E-2</c:v>
                </c:pt>
                <c:pt idx="33129">
                  <c:v>-1.7647058823529401E-2</c:v>
                </c:pt>
                <c:pt idx="33130">
                  <c:v>-1.6806722689075598E-2</c:v>
                </c:pt>
                <c:pt idx="33131">
                  <c:v>-1.6806722689075598E-2</c:v>
                </c:pt>
                <c:pt idx="33132">
                  <c:v>-1.6806722689075598E-2</c:v>
                </c:pt>
                <c:pt idx="33133">
                  <c:v>-1.6806722689075598E-2</c:v>
                </c:pt>
                <c:pt idx="33134">
                  <c:v>-1.6806722689075598E-2</c:v>
                </c:pt>
                <c:pt idx="33135">
                  <c:v>-1.6806722689075598E-2</c:v>
                </c:pt>
                <c:pt idx="33136">
                  <c:v>-1.6806722689075598E-2</c:v>
                </c:pt>
                <c:pt idx="33137">
                  <c:v>-1.6806722689075598E-2</c:v>
                </c:pt>
                <c:pt idx="33138">
                  <c:v>-1.6806722689075598E-2</c:v>
                </c:pt>
                <c:pt idx="33139">
                  <c:v>-1.6806722689075598E-2</c:v>
                </c:pt>
                <c:pt idx="33140">
                  <c:v>-1.6806722689075598E-2</c:v>
                </c:pt>
                <c:pt idx="33141">
                  <c:v>-1.6806722689075598E-2</c:v>
                </c:pt>
                <c:pt idx="33142">
                  <c:v>-1.6806722689075598E-2</c:v>
                </c:pt>
                <c:pt idx="33143">
                  <c:v>-1.6806722689075598E-2</c:v>
                </c:pt>
                <c:pt idx="33144">
                  <c:v>-1.6806722689075598E-2</c:v>
                </c:pt>
                <c:pt idx="33145">
                  <c:v>-1.6806722689075598E-2</c:v>
                </c:pt>
                <c:pt idx="33146">
                  <c:v>-1.6806722689075598E-2</c:v>
                </c:pt>
                <c:pt idx="33147">
                  <c:v>-1.6806722689075598E-2</c:v>
                </c:pt>
                <c:pt idx="33148">
                  <c:v>-1.6806722689075598E-2</c:v>
                </c:pt>
                <c:pt idx="33149">
                  <c:v>-1.6806722689075598E-2</c:v>
                </c:pt>
                <c:pt idx="33150">
                  <c:v>-1.6806722689075598E-2</c:v>
                </c:pt>
                <c:pt idx="33151">
                  <c:v>-1.6806722689075598E-2</c:v>
                </c:pt>
                <c:pt idx="33152">
                  <c:v>-1.6806722689075598E-2</c:v>
                </c:pt>
                <c:pt idx="33153">
                  <c:v>-1.6806722689075598E-2</c:v>
                </c:pt>
                <c:pt idx="33154">
                  <c:v>-1.6806722689075598E-2</c:v>
                </c:pt>
                <c:pt idx="33155">
                  <c:v>-1.6806722689075598E-2</c:v>
                </c:pt>
                <c:pt idx="33156">
                  <c:v>-1.6806722689075598E-2</c:v>
                </c:pt>
                <c:pt idx="33157">
                  <c:v>-1.6806722689075598E-2</c:v>
                </c:pt>
                <c:pt idx="33158">
                  <c:v>-1.6806722689075598E-2</c:v>
                </c:pt>
                <c:pt idx="33159">
                  <c:v>-1.6806722689075598E-2</c:v>
                </c:pt>
                <c:pt idx="33160">
                  <c:v>-1.6806722689075598E-2</c:v>
                </c:pt>
                <c:pt idx="33161">
                  <c:v>-1.6806722689075598E-2</c:v>
                </c:pt>
                <c:pt idx="33162">
                  <c:v>-1.6806722689075598E-2</c:v>
                </c:pt>
                <c:pt idx="33163">
                  <c:v>-1.6806722689075598E-2</c:v>
                </c:pt>
                <c:pt idx="33164">
                  <c:v>-1.6806722689075598E-2</c:v>
                </c:pt>
                <c:pt idx="33165">
                  <c:v>-1.6806722689075598E-2</c:v>
                </c:pt>
                <c:pt idx="33166">
                  <c:v>-1.6806722689075598E-2</c:v>
                </c:pt>
                <c:pt idx="33167">
                  <c:v>-1.6806722689075598E-2</c:v>
                </c:pt>
                <c:pt idx="33168">
                  <c:v>-1.6806722689075598E-2</c:v>
                </c:pt>
                <c:pt idx="33169">
                  <c:v>-1.6806722689075598E-2</c:v>
                </c:pt>
                <c:pt idx="33170">
                  <c:v>-1.6806722689075598E-2</c:v>
                </c:pt>
                <c:pt idx="33171">
                  <c:v>-1.6806722689075598E-2</c:v>
                </c:pt>
                <c:pt idx="33172">
                  <c:v>-1.6806722689075598E-2</c:v>
                </c:pt>
                <c:pt idx="33173">
                  <c:v>-1.6806722689075598E-2</c:v>
                </c:pt>
                <c:pt idx="33174">
                  <c:v>-1.6806722689075598E-2</c:v>
                </c:pt>
                <c:pt idx="33175">
                  <c:v>-1.6806722689075598E-2</c:v>
                </c:pt>
                <c:pt idx="33176">
                  <c:v>-1.6806722689075598E-2</c:v>
                </c:pt>
                <c:pt idx="33177">
                  <c:v>-1.6806722689075598E-2</c:v>
                </c:pt>
                <c:pt idx="33178">
                  <c:v>-1.6806722689075598E-2</c:v>
                </c:pt>
                <c:pt idx="33179">
                  <c:v>-1.6806722689075598E-2</c:v>
                </c:pt>
                <c:pt idx="33180">
                  <c:v>-1.6806722689075598E-2</c:v>
                </c:pt>
                <c:pt idx="33181">
                  <c:v>-1.6806722689075598E-2</c:v>
                </c:pt>
                <c:pt idx="33182">
                  <c:v>-1.6806722689075598E-2</c:v>
                </c:pt>
                <c:pt idx="33183">
                  <c:v>-1.6806722689075598E-2</c:v>
                </c:pt>
                <c:pt idx="33184">
                  <c:v>-1.6806722689075598E-2</c:v>
                </c:pt>
                <c:pt idx="33185">
                  <c:v>-1.6806722689075598E-2</c:v>
                </c:pt>
                <c:pt idx="33186">
                  <c:v>-1.6806722689075598E-2</c:v>
                </c:pt>
                <c:pt idx="33187">
                  <c:v>-1.6806722689075598E-2</c:v>
                </c:pt>
                <c:pt idx="33188">
                  <c:v>-1.6806722689075598E-2</c:v>
                </c:pt>
                <c:pt idx="33189">
                  <c:v>-1.6806722689075598E-2</c:v>
                </c:pt>
                <c:pt idx="33190">
                  <c:v>-1.6806722689075598E-2</c:v>
                </c:pt>
                <c:pt idx="33191">
                  <c:v>-1.6806722689075598E-2</c:v>
                </c:pt>
                <c:pt idx="33192">
                  <c:v>-1.6806722689075598E-2</c:v>
                </c:pt>
                <c:pt idx="33193">
                  <c:v>-1.6806722689075598E-2</c:v>
                </c:pt>
                <c:pt idx="33194">
                  <c:v>-1.6806722689075598E-2</c:v>
                </c:pt>
                <c:pt idx="33195">
                  <c:v>-1.6806722689075598E-2</c:v>
                </c:pt>
                <c:pt idx="33196">
                  <c:v>-1.6806722689075598E-2</c:v>
                </c:pt>
                <c:pt idx="33197">
                  <c:v>-1.6806722689075598E-2</c:v>
                </c:pt>
                <c:pt idx="33198">
                  <c:v>-1.6806722689075598E-2</c:v>
                </c:pt>
                <c:pt idx="33199">
                  <c:v>-1.59663865546219E-2</c:v>
                </c:pt>
                <c:pt idx="33200">
                  <c:v>-1.59663865546219E-2</c:v>
                </c:pt>
                <c:pt idx="33201">
                  <c:v>-1.59663865546219E-2</c:v>
                </c:pt>
                <c:pt idx="33202">
                  <c:v>-1.59663865546219E-2</c:v>
                </c:pt>
                <c:pt idx="33203">
                  <c:v>-1.59663865546219E-2</c:v>
                </c:pt>
                <c:pt idx="33204">
                  <c:v>-1.59663865546219E-2</c:v>
                </c:pt>
                <c:pt idx="33205">
                  <c:v>-1.59663865546219E-2</c:v>
                </c:pt>
                <c:pt idx="33206">
                  <c:v>-1.59663865546219E-2</c:v>
                </c:pt>
                <c:pt idx="33207">
                  <c:v>-1.59663865546219E-2</c:v>
                </c:pt>
                <c:pt idx="33208">
                  <c:v>-1.59663865546219E-2</c:v>
                </c:pt>
                <c:pt idx="33209">
                  <c:v>-1.59663865546219E-2</c:v>
                </c:pt>
                <c:pt idx="33210">
                  <c:v>-1.59663865546219E-2</c:v>
                </c:pt>
                <c:pt idx="33211">
                  <c:v>-1.59663865546219E-2</c:v>
                </c:pt>
                <c:pt idx="33212">
                  <c:v>-1.59663865546219E-2</c:v>
                </c:pt>
                <c:pt idx="33213">
                  <c:v>-1.59663865546219E-2</c:v>
                </c:pt>
                <c:pt idx="33214">
                  <c:v>-1.59663865546219E-2</c:v>
                </c:pt>
                <c:pt idx="33215">
                  <c:v>-1.59663865546219E-2</c:v>
                </c:pt>
                <c:pt idx="33216">
                  <c:v>-1.51260504201681E-2</c:v>
                </c:pt>
                <c:pt idx="33217">
                  <c:v>-1.51260504201681E-2</c:v>
                </c:pt>
                <c:pt idx="33218">
                  <c:v>-1.51260504201681E-2</c:v>
                </c:pt>
                <c:pt idx="33219">
                  <c:v>-1.59663865546219E-2</c:v>
                </c:pt>
                <c:pt idx="33220">
                  <c:v>-1.59663865546219E-2</c:v>
                </c:pt>
                <c:pt idx="33221">
                  <c:v>-1.59663865546219E-2</c:v>
                </c:pt>
                <c:pt idx="33222">
                  <c:v>-1.59663865546219E-2</c:v>
                </c:pt>
                <c:pt idx="33223">
                  <c:v>-1.59663865546219E-2</c:v>
                </c:pt>
                <c:pt idx="33224">
                  <c:v>-1.59663865546219E-2</c:v>
                </c:pt>
                <c:pt idx="33225">
                  <c:v>-1.59663865546219E-2</c:v>
                </c:pt>
                <c:pt idx="33226">
                  <c:v>-1.59663865546219E-2</c:v>
                </c:pt>
                <c:pt idx="33227">
                  <c:v>-1.59663865546219E-2</c:v>
                </c:pt>
                <c:pt idx="33228">
                  <c:v>-1.59663865546219E-2</c:v>
                </c:pt>
                <c:pt idx="33229">
                  <c:v>-1.59663865546219E-2</c:v>
                </c:pt>
                <c:pt idx="33230">
                  <c:v>-1.59663865546219E-2</c:v>
                </c:pt>
                <c:pt idx="33231">
                  <c:v>-1.59663865546219E-2</c:v>
                </c:pt>
                <c:pt idx="33232">
                  <c:v>-1.59663865546219E-2</c:v>
                </c:pt>
                <c:pt idx="33233">
                  <c:v>-1.59663865546219E-2</c:v>
                </c:pt>
                <c:pt idx="33234">
                  <c:v>-1.59663865546219E-2</c:v>
                </c:pt>
                <c:pt idx="33235">
                  <c:v>-1.59663865546219E-2</c:v>
                </c:pt>
                <c:pt idx="33236">
                  <c:v>-1.59663865546219E-2</c:v>
                </c:pt>
                <c:pt idx="33237">
                  <c:v>-1.59663865546219E-2</c:v>
                </c:pt>
                <c:pt idx="33238">
                  <c:v>-1.59663865546219E-2</c:v>
                </c:pt>
                <c:pt idx="33239">
                  <c:v>-1.59663865546219E-2</c:v>
                </c:pt>
                <c:pt idx="33240">
                  <c:v>-1.59663865546219E-2</c:v>
                </c:pt>
                <c:pt idx="33241">
                  <c:v>-1.51260504201681E-2</c:v>
                </c:pt>
                <c:pt idx="33242">
                  <c:v>-1.51260504201681E-2</c:v>
                </c:pt>
                <c:pt idx="33243">
                  <c:v>-1.51260504201681E-2</c:v>
                </c:pt>
                <c:pt idx="33244">
                  <c:v>-1.51260504201681E-2</c:v>
                </c:pt>
                <c:pt idx="33245">
                  <c:v>-1.51260504201681E-2</c:v>
                </c:pt>
                <c:pt idx="33246">
                  <c:v>-1.51260504201681E-2</c:v>
                </c:pt>
                <c:pt idx="33247">
                  <c:v>-1.51260504201681E-2</c:v>
                </c:pt>
                <c:pt idx="33248">
                  <c:v>-1.51260504201681E-2</c:v>
                </c:pt>
                <c:pt idx="33249">
                  <c:v>-1.4285714285714299E-2</c:v>
                </c:pt>
                <c:pt idx="33250">
                  <c:v>-1.4285714285714299E-2</c:v>
                </c:pt>
                <c:pt idx="33251">
                  <c:v>-1.4285714285714299E-2</c:v>
                </c:pt>
                <c:pt idx="33252">
                  <c:v>-1.4285714285714299E-2</c:v>
                </c:pt>
                <c:pt idx="33253">
                  <c:v>-1.4285714285714299E-2</c:v>
                </c:pt>
                <c:pt idx="33254">
                  <c:v>-1.4285714285714299E-2</c:v>
                </c:pt>
                <c:pt idx="33255">
                  <c:v>-1.4285714285714299E-2</c:v>
                </c:pt>
                <c:pt idx="33256">
                  <c:v>-1.4285714285714299E-2</c:v>
                </c:pt>
                <c:pt idx="33257">
                  <c:v>-1.4285714285714299E-2</c:v>
                </c:pt>
                <c:pt idx="33258">
                  <c:v>-1.51260504201681E-2</c:v>
                </c:pt>
                <c:pt idx="33259">
                  <c:v>-1.51260504201681E-2</c:v>
                </c:pt>
                <c:pt idx="33260">
                  <c:v>-1.51260504201681E-2</c:v>
                </c:pt>
                <c:pt idx="33261">
                  <c:v>-1.51260504201681E-2</c:v>
                </c:pt>
                <c:pt idx="33262">
                  <c:v>-1.51260504201681E-2</c:v>
                </c:pt>
                <c:pt idx="33263">
                  <c:v>-1.51260504201681E-2</c:v>
                </c:pt>
                <c:pt idx="33264">
                  <c:v>-1.51260504201681E-2</c:v>
                </c:pt>
                <c:pt idx="33265">
                  <c:v>-1.51260504201681E-2</c:v>
                </c:pt>
                <c:pt idx="33266">
                  <c:v>-1.51260504201681E-2</c:v>
                </c:pt>
                <c:pt idx="33267">
                  <c:v>-1.51260504201681E-2</c:v>
                </c:pt>
                <c:pt idx="33268">
                  <c:v>-1.51260504201681E-2</c:v>
                </c:pt>
                <c:pt idx="33269">
                  <c:v>-1.51260504201681E-2</c:v>
                </c:pt>
                <c:pt idx="33270">
                  <c:v>-1.59663865546219E-2</c:v>
                </c:pt>
                <c:pt idx="33271">
                  <c:v>-1.59663865546219E-2</c:v>
                </c:pt>
                <c:pt idx="33272">
                  <c:v>-1.59663865546219E-2</c:v>
                </c:pt>
                <c:pt idx="33273">
                  <c:v>-1.59663865546219E-2</c:v>
                </c:pt>
                <c:pt idx="33274">
                  <c:v>-1.6806722689075598E-2</c:v>
                </c:pt>
                <c:pt idx="33275">
                  <c:v>-1.6806722689075598E-2</c:v>
                </c:pt>
                <c:pt idx="33276">
                  <c:v>-1.6806722689075598E-2</c:v>
                </c:pt>
                <c:pt idx="33277">
                  <c:v>-1.6806722689075598E-2</c:v>
                </c:pt>
                <c:pt idx="33278">
                  <c:v>-1.6806722689075598E-2</c:v>
                </c:pt>
                <c:pt idx="33279">
                  <c:v>-1.6806722689075598E-2</c:v>
                </c:pt>
                <c:pt idx="33280">
                  <c:v>-1.6806722689075598E-2</c:v>
                </c:pt>
                <c:pt idx="33281">
                  <c:v>-1.6806722689075598E-2</c:v>
                </c:pt>
                <c:pt idx="33282">
                  <c:v>-1.6806722689075598E-2</c:v>
                </c:pt>
                <c:pt idx="33283">
                  <c:v>-1.6806722689075598E-2</c:v>
                </c:pt>
                <c:pt idx="33284">
                  <c:v>-1.6806722689075598E-2</c:v>
                </c:pt>
                <c:pt idx="33285">
                  <c:v>-1.6806722689075598E-2</c:v>
                </c:pt>
                <c:pt idx="33286">
                  <c:v>-1.6806722689075598E-2</c:v>
                </c:pt>
                <c:pt idx="33287">
                  <c:v>-1.6806722689075598E-2</c:v>
                </c:pt>
                <c:pt idx="33288">
                  <c:v>-1.6806722689075598E-2</c:v>
                </c:pt>
                <c:pt idx="33289">
                  <c:v>-1.6806722689075598E-2</c:v>
                </c:pt>
                <c:pt idx="33290">
                  <c:v>-1.6806722689075598E-2</c:v>
                </c:pt>
                <c:pt idx="33291">
                  <c:v>-1.6806722689075598E-2</c:v>
                </c:pt>
                <c:pt idx="33292">
                  <c:v>-1.6806722689075598E-2</c:v>
                </c:pt>
                <c:pt idx="33293">
                  <c:v>-1.6806722689075598E-2</c:v>
                </c:pt>
                <c:pt idx="33294">
                  <c:v>-1.6806722689075598E-2</c:v>
                </c:pt>
                <c:pt idx="33295">
                  <c:v>-1.6806722689075598E-2</c:v>
                </c:pt>
                <c:pt idx="33296">
                  <c:v>-1.6806722689075598E-2</c:v>
                </c:pt>
                <c:pt idx="33297">
                  <c:v>-1.6806722689075598E-2</c:v>
                </c:pt>
                <c:pt idx="33298">
                  <c:v>-1.6806722689075598E-2</c:v>
                </c:pt>
                <c:pt idx="33299">
                  <c:v>-1.6806722689075598E-2</c:v>
                </c:pt>
                <c:pt idx="33300">
                  <c:v>-1.6806722689075598E-2</c:v>
                </c:pt>
                <c:pt idx="33301">
                  <c:v>-1.6806722689075598E-2</c:v>
                </c:pt>
                <c:pt idx="33302">
                  <c:v>-1.6806722689075598E-2</c:v>
                </c:pt>
                <c:pt idx="33303">
                  <c:v>-1.6806722689075598E-2</c:v>
                </c:pt>
                <c:pt idx="33304">
                  <c:v>-1.6806722689075598E-2</c:v>
                </c:pt>
                <c:pt idx="33305">
                  <c:v>-1.6806722689075598E-2</c:v>
                </c:pt>
                <c:pt idx="33306">
                  <c:v>-1.6806722689075598E-2</c:v>
                </c:pt>
                <c:pt idx="33307">
                  <c:v>-1.6806722689075598E-2</c:v>
                </c:pt>
                <c:pt idx="33308">
                  <c:v>-1.6806722689075598E-2</c:v>
                </c:pt>
                <c:pt idx="33309">
                  <c:v>-1.6806722689075598E-2</c:v>
                </c:pt>
                <c:pt idx="33310">
                  <c:v>-1.6806722689075598E-2</c:v>
                </c:pt>
                <c:pt idx="33311">
                  <c:v>-1.6806722689075598E-2</c:v>
                </c:pt>
                <c:pt idx="33312">
                  <c:v>-1.6806722689075598E-2</c:v>
                </c:pt>
                <c:pt idx="33313">
                  <c:v>-1.6806722689075598E-2</c:v>
                </c:pt>
                <c:pt idx="33314">
                  <c:v>-1.6806722689075598E-2</c:v>
                </c:pt>
                <c:pt idx="33315">
                  <c:v>-1.6806722689075598E-2</c:v>
                </c:pt>
                <c:pt idx="33316">
                  <c:v>-1.6806722689075598E-2</c:v>
                </c:pt>
                <c:pt idx="33317">
                  <c:v>-1.6806722689075598E-2</c:v>
                </c:pt>
                <c:pt idx="33318">
                  <c:v>-1.6806722689075598E-2</c:v>
                </c:pt>
                <c:pt idx="33319">
                  <c:v>-1.6806722689075598E-2</c:v>
                </c:pt>
                <c:pt idx="33320">
                  <c:v>-1.6806722689075598E-2</c:v>
                </c:pt>
                <c:pt idx="33321">
                  <c:v>-1.6806722689075598E-2</c:v>
                </c:pt>
                <c:pt idx="33322">
                  <c:v>-1.6806722689075598E-2</c:v>
                </c:pt>
                <c:pt idx="33323">
                  <c:v>-1.6806722689075598E-2</c:v>
                </c:pt>
                <c:pt idx="33324">
                  <c:v>-1.6806722689075598E-2</c:v>
                </c:pt>
                <c:pt idx="33325">
                  <c:v>-1.6806722689075598E-2</c:v>
                </c:pt>
                <c:pt idx="33326">
                  <c:v>-1.6806722689075598E-2</c:v>
                </c:pt>
                <c:pt idx="33327">
                  <c:v>-1.6806722689075598E-2</c:v>
                </c:pt>
                <c:pt idx="33328">
                  <c:v>-1.6806722689075598E-2</c:v>
                </c:pt>
                <c:pt idx="33329">
                  <c:v>-1.6806722689075598E-2</c:v>
                </c:pt>
                <c:pt idx="33330">
                  <c:v>-1.6806722689075598E-2</c:v>
                </c:pt>
                <c:pt idx="33331">
                  <c:v>-1.6806722689075598E-2</c:v>
                </c:pt>
                <c:pt idx="33332">
                  <c:v>-1.6806722689075598E-2</c:v>
                </c:pt>
                <c:pt idx="33333">
                  <c:v>-1.6806722689075598E-2</c:v>
                </c:pt>
                <c:pt idx="33334">
                  <c:v>-1.7647058823529401E-2</c:v>
                </c:pt>
                <c:pt idx="33335">
                  <c:v>-1.7647058823529401E-2</c:v>
                </c:pt>
                <c:pt idx="33336">
                  <c:v>-1.7647058823529401E-2</c:v>
                </c:pt>
                <c:pt idx="33337">
                  <c:v>-1.7647058823529401E-2</c:v>
                </c:pt>
                <c:pt idx="33338">
                  <c:v>-1.7647058823529401E-2</c:v>
                </c:pt>
                <c:pt idx="33339">
                  <c:v>-1.7647058823529401E-2</c:v>
                </c:pt>
                <c:pt idx="33340">
                  <c:v>-1.7647058823529401E-2</c:v>
                </c:pt>
                <c:pt idx="33341">
                  <c:v>-1.7647058823529401E-2</c:v>
                </c:pt>
                <c:pt idx="33342">
                  <c:v>-1.7647058823529401E-2</c:v>
                </c:pt>
                <c:pt idx="33343">
                  <c:v>-1.7647058823529401E-2</c:v>
                </c:pt>
                <c:pt idx="33344">
                  <c:v>-1.7647058823529401E-2</c:v>
                </c:pt>
                <c:pt idx="33345">
                  <c:v>-1.7647058823529401E-2</c:v>
                </c:pt>
                <c:pt idx="33346">
                  <c:v>-1.7647058823529401E-2</c:v>
                </c:pt>
                <c:pt idx="33347">
                  <c:v>-1.7647058823529401E-2</c:v>
                </c:pt>
                <c:pt idx="33348">
                  <c:v>-1.7647058823529401E-2</c:v>
                </c:pt>
                <c:pt idx="33349">
                  <c:v>-1.7647058823529401E-2</c:v>
                </c:pt>
                <c:pt idx="33350">
                  <c:v>-1.7647058823529401E-2</c:v>
                </c:pt>
                <c:pt idx="33351">
                  <c:v>-1.7647058823529401E-2</c:v>
                </c:pt>
                <c:pt idx="33352">
                  <c:v>-1.7647058823529401E-2</c:v>
                </c:pt>
                <c:pt idx="33353">
                  <c:v>-1.7647058823529401E-2</c:v>
                </c:pt>
                <c:pt idx="33354">
                  <c:v>-1.7647058823529401E-2</c:v>
                </c:pt>
                <c:pt idx="33355">
                  <c:v>-1.7647058823529401E-2</c:v>
                </c:pt>
                <c:pt idx="33356">
                  <c:v>-1.7647058823529401E-2</c:v>
                </c:pt>
                <c:pt idx="33357">
                  <c:v>-1.7647058823529401E-2</c:v>
                </c:pt>
                <c:pt idx="33358">
                  <c:v>-1.7647058823529401E-2</c:v>
                </c:pt>
                <c:pt idx="33359">
                  <c:v>-1.84873949579832E-2</c:v>
                </c:pt>
                <c:pt idx="33360">
                  <c:v>-1.84873949579832E-2</c:v>
                </c:pt>
                <c:pt idx="33361">
                  <c:v>-1.84873949579832E-2</c:v>
                </c:pt>
                <c:pt idx="33362">
                  <c:v>-1.84873949579832E-2</c:v>
                </c:pt>
                <c:pt idx="33363">
                  <c:v>-1.84873949579832E-2</c:v>
                </c:pt>
                <c:pt idx="33364">
                  <c:v>-1.84873949579832E-2</c:v>
                </c:pt>
                <c:pt idx="33365">
                  <c:v>-1.84873949579832E-2</c:v>
                </c:pt>
                <c:pt idx="33366">
                  <c:v>-1.84873949579832E-2</c:v>
                </c:pt>
                <c:pt idx="33367">
                  <c:v>-1.84873949579832E-2</c:v>
                </c:pt>
                <c:pt idx="33368">
                  <c:v>-1.84873949579832E-2</c:v>
                </c:pt>
                <c:pt idx="33369">
                  <c:v>-1.84873949579832E-2</c:v>
                </c:pt>
                <c:pt idx="33370">
                  <c:v>-1.84873949579832E-2</c:v>
                </c:pt>
                <c:pt idx="33371">
                  <c:v>-1.84873949579832E-2</c:v>
                </c:pt>
                <c:pt idx="33372">
                  <c:v>-1.84873949579832E-2</c:v>
                </c:pt>
                <c:pt idx="33373">
                  <c:v>-1.84873949579832E-2</c:v>
                </c:pt>
                <c:pt idx="33374">
                  <c:v>-1.84873949579832E-2</c:v>
                </c:pt>
                <c:pt idx="33375">
                  <c:v>-1.84873949579832E-2</c:v>
                </c:pt>
                <c:pt idx="33376">
                  <c:v>-1.84873949579832E-2</c:v>
                </c:pt>
                <c:pt idx="33377">
                  <c:v>-1.84873949579832E-2</c:v>
                </c:pt>
                <c:pt idx="33378">
                  <c:v>-1.84873949579832E-2</c:v>
                </c:pt>
                <c:pt idx="33379">
                  <c:v>-1.84873949579832E-2</c:v>
                </c:pt>
                <c:pt idx="33380">
                  <c:v>-1.84873949579832E-2</c:v>
                </c:pt>
                <c:pt idx="33381">
                  <c:v>-1.84873949579832E-2</c:v>
                </c:pt>
                <c:pt idx="33382">
                  <c:v>-1.84873949579832E-2</c:v>
                </c:pt>
                <c:pt idx="33383">
                  <c:v>-1.84873949579832E-2</c:v>
                </c:pt>
                <c:pt idx="33384">
                  <c:v>-1.84873949579832E-2</c:v>
                </c:pt>
                <c:pt idx="33385">
                  <c:v>-1.84873949579832E-2</c:v>
                </c:pt>
                <c:pt idx="33386">
                  <c:v>-1.84873949579832E-2</c:v>
                </c:pt>
                <c:pt idx="33387">
                  <c:v>-1.84873949579832E-2</c:v>
                </c:pt>
                <c:pt idx="33388">
                  <c:v>-1.84873949579832E-2</c:v>
                </c:pt>
                <c:pt idx="33389">
                  <c:v>-1.84873949579832E-2</c:v>
                </c:pt>
                <c:pt idx="33390">
                  <c:v>-1.84873949579832E-2</c:v>
                </c:pt>
                <c:pt idx="33391">
                  <c:v>-1.84873949579832E-2</c:v>
                </c:pt>
                <c:pt idx="33392">
                  <c:v>-1.84873949579832E-2</c:v>
                </c:pt>
                <c:pt idx="33393">
                  <c:v>-1.84873949579832E-2</c:v>
                </c:pt>
                <c:pt idx="33394">
                  <c:v>-1.84873949579832E-2</c:v>
                </c:pt>
                <c:pt idx="33395">
                  <c:v>-1.84873949579832E-2</c:v>
                </c:pt>
                <c:pt idx="33396">
                  <c:v>-1.84873949579832E-2</c:v>
                </c:pt>
                <c:pt idx="33397">
                  <c:v>-1.84873949579832E-2</c:v>
                </c:pt>
                <c:pt idx="33398">
                  <c:v>-1.84873949579832E-2</c:v>
                </c:pt>
                <c:pt idx="33399">
                  <c:v>-1.84873949579832E-2</c:v>
                </c:pt>
                <c:pt idx="33400">
                  <c:v>-1.84873949579832E-2</c:v>
                </c:pt>
                <c:pt idx="33401">
                  <c:v>-1.84873949579832E-2</c:v>
                </c:pt>
                <c:pt idx="33402">
                  <c:v>-1.84873949579832E-2</c:v>
                </c:pt>
                <c:pt idx="33403">
                  <c:v>-1.84873949579832E-2</c:v>
                </c:pt>
                <c:pt idx="33404">
                  <c:v>-1.84873949579832E-2</c:v>
                </c:pt>
                <c:pt idx="33405">
                  <c:v>-1.84873949579832E-2</c:v>
                </c:pt>
                <c:pt idx="33406">
                  <c:v>-1.84873949579832E-2</c:v>
                </c:pt>
                <c:pt idx="33407">
                  <c:v>-1.84873949579832E-2</c:v>
                </c:pt>
                <c:pt idx="33408">
                  <c:v>-1.84873949579832E-2</c:v>
                </c:pt>
                <c:pt idx="33409">
                  <c:v>-1.84873949579832E-2</c:v>
                </c:pt>
                <c:pt idx="33410">
                  <c:v>-1.84873949579832E-2</c:v>
                </c:pt>
                <c:pt idx="33411">
                  <c:v>-1.84873949579832E-2</c:v>
                </c:pt>
                <c:pt idx="33412">
                  <c:v>-1.84873949579832E-2</c:v>
                </c:pt>
                <c:pt idx="33413">
                  <c:v>-1.84873949579832E-2</c:v>
                </c:pt>
                <c:pt idx="33414">
                  <c:v>-1.84873949579832E-2</c:v>
                </c:pt>
                <c:pt idx="33415">
                  <c:v>-1.84873949579832E-2</c:v>
                </c:pt>
                <c:pt idx="33416">
                  <c:v>-1.84873949579832E-2</c:v>
                </c:pt>
                <c:pt idx="33417">
                  <c:v>-1.84873949579832E-2</c:v>
                </c:pt>
                <c:pt idx="33418">
                  <c:v>-1.84873949579832E-2</c:v>
                </c:pt>
                <c:pt idx="33419">
                  <c:v>-1.84873949579832E-2</c:v>
                </c:pt>
                <c:pt idx="33420">
                  <c:v>-1.84873949579832E-2</c:v>
                </c:pt>
                <c:pt idx="33421">
                  <c:v>-1.84873949579832E-2</c:v>
                </c:pt>
                <c:pt idx="33422">
                  <c:v>-1.84873949579832E-2</c:v>
                </c:pt>
                <c:pt idx="33423">
                  <c:v>-1.84873949579832E-2</c:v>
                </c:pt>
                <c:pt idx="33424">
                  <c:v>-1.84873949579832E-2</c:v>
                </c:pt>
                <c:pt idx="33425">
                  <c:v>-1.7647058823529401E-2</c:v>
                </c:pt>
                <c:pt idx="33426">
                  <c:v>-1.7647058823529401E-2</c:v>
                </c:pt>
                <c:pt idx="33427">
                  <c:v>-1.7647058823529401E-2</c:v>
                </c:pt>
                <c:pt idx="33428">
                  <c:v>-1.7647058823529401E-2</c:v>
                </c:pt>
                <c:pt idx="33429">
                  <c:v>-1.7647058823529401E-2</c:v>
                </c:pt>
                <c:pt idx="33430">
                  <c:v>-1.7647058823529401E-2</c:v>
                </c:pt>
                <c:pt idx="33431">
                  <c:v>-1.7647058823529401E-2</c:v>
                </c:pt>
                <c:pt idx="33432">
                  <c:v>-1.7647058823529401E-2</c:v>
                </c:pt>
                <c:pt idx="33433">
                  <c:v>-1.7647058823529401E-2</c:v>
                </c:pt>
                <c:pt idx="33434">
                  <c:v>-1.7647058823529401E-2</c:v>
                </c:pt>
                <c:pt idx="33435">
                  <c:v>-1.7647058823529401E-2</c:v>
                </c:pt>
                <c:pt idx="33436">
                  <c:v>-1.7647058823529401E-2</c:v>
                </c:pt>
                <c:pt idx="33437">
                  <c:v>-1.7647058823529401E-2</c:v>
                </c:pt>
                <c:pt idx="33438">
                  <c:v>-1.7647058823529401E-2</c:v>
                </c:pt>
                <c:pt idx="33439">
                  <c:v>-1.7647058823529401E-2</c:v>
                </c:pt>
                <c:pt idx="33440">
                  <c:v>-1.7647058823529401E-2</c:v>
                </c:pt>
                <c:pt idx="33441">
                  <c:v>-1.7647058823529401E-2</c:v>
                </c:pt>
                <c:pt idx="33442">
                  <c:v>-1.7647058823529401E-2</c:v>
                </c:pt>
                <c:pt idx="33443">
                  <c:v>-1.7647058823529401E-2</c:v>
                </c:pt>
                <c:pt idx="33444">
                  <c:v>-1.7647058823529401E-2</c:v>
                </c:pt>
                <c:pt idx="33445">
                  <c:v>-1.7647058823529401E-2</c:v>
                </c:pt>
                <c:pt idx="33446">
                  <c:v>-1.7647058823529401E-2</c:v>
                </c:pt>
                <c:pt idx="33447">
                  <c:v>-1.7647058823529401E-2</c:v>
                </c:pt>
                <c:pt idx="33448">
                  <c:v>-1.7647058823529401E-2</c:v>
                </c:pt>
                <c:pt idx="33449">
                  <c:v>-1.7647058823529401E-2</c:v>
                </c:pt>
                <c:pt idx="33450">
                  <c:v>-1.7647058823529401E-2</c:v>
                </c:pt>
                <c:pt idx="33451">
                  <c:v>-1.7647058823529401E-2</c:v>
                </c:pt>
                <c:pt idx="33452">
                  <c:v>-1.7647058823529401E-2</c:v>
                </c:pt>
                <c:pt idx="33453">
                  <c:v>-1.7647058823529401E-2</c:v>
                </c:pt>
                <c:pt idx="33454">
                  <c:v>-1.7647058823529401E-2</c:v>
                </c:pt>
                <c:pt idx="33455">
                  <c:v>-1.7647058823529401E-2</c:v>
                </c:pt>
                <c:pt idx="33456">
                  <c:v>-1.7647058823529401E-2</c:v>
                </c:pt>
                <c:pt idx="33457">
                  <c:v>-1.7647058823529401E-2</c:v>
                </c:pt>
                <c:pt idx="33458">
                  <c:v>-1.7647058823529401E-2</c:v>
                </c:pt>
                <c:pt idx="33459">
                  <c:v>-1.7647058823529401E-2</c:v>
                </c:pt>
                <c:pt idx="33460">
                  <c:v>-1.7647058823529401E-2</c:v>
                </c:pt>
                <c:pt idx="33461">
                  <c:v>-1.7647058823529401E-2</c:v>
                </c:pt>
                <c:pt idx="33462">
                  <c:v>-1.7647058823529401E-2</c:v>
                </c:pt>
                <c:pt idx="33463">
                  <c:v>-1.7647058823529401E-2</c:v>
                </c:pt>
                <c:pt idx="33464">
                  <c:v>-1.7647058823529401E-2</c:v>
                </c:pt>
                <c:pt idx="33465">
                  <c:v>-1.7647058823529401E-2</c:v>
                </c:pt>
                <c:pt idx="33466">
                  <c:v>-1.7647058823529401E-2</c:v>
                </c:pt>
                <c:pt idx="33467">
                  <c:v>-1.7647058823529401E-2</c:v>
                </c:pt>
                <c:pt idx="33468">
                  <c:v>-1.7647058823529401E-2</c:v>
                </c:pt>
                <c:pt idx="33469">
                  <c:v>-1.7647058823529401E-2</c:v>
                </c:pt>
                <c:pt idx="33470">
                  <c:v>-1.7647058823529401E-2</c:v>
                </c:pt>
                <c:pt idx="33471">
                  <c:v>-1.7647058823529401E-2</c:v>
                </c:pt>
                <c:pt idx="33472">
                  <c:v>-1.7647058823529401E-2</c:v>
                </c:pt>
                <c:pt idx="33473">
                  <c:v>-1.7647058823529401E-2</c:v>
                </c:pt>
                <c:pt idx="33474">
                  <c:v>-1.7647058823529401E-2</c:v>
                </c:pt>
                <c:pt idx="33475">
                  <c:v>-1.7647058823529401E-2</c:v>
                </c:pt>
                <c:pt idx="33476">
                  <c:v>-1.7647058823529401E-2</c:v>
                </c:pt>
                <c:pt idx="33477">
                  <c:v>-1.7647058823529401E-2</c:v>
                </c:pt>
                <c:pt idx="33478">
                  <c:v>-1.7647058823529401E-2</c:v>
                </c:pt>
                <c:pt idx="33479">
                  <c:v>-1.7647058823529401E-2</c:v>
                </c:pt>
                <c:pt idx="33480">
                  <c:v>-1.7647058823529401E-2</c:v>
                </c:pt>
                <c:pt idx="33481">
                  <c:v>-1.7647058823529401E-2</c:v>
                </c:pt>
                <c:pt idx="33482">
                  <c:v>-1.7647058823529401E-2</c:v>
                </c:pt>
                <c:pt idx="33483">
                  <c:v>-1.7647058823529401E-2</c:v>
                </c:pt>
                <c:pt idx="33484">
                  <c:v>-1.7647058823529401E-2</c:v>
                </c:pt>
                <c:pt idx="33485">
                  <c:v>-1.7647058823529401E-2</c:v>
                </c:pt>
                <c:pt idx="33486">
                  <c:v>-1.7647058823529401E-2</c:v>
                </c:pt>
                <c:pt idx="33487">
                  <c:v>-1.7647058823529401E-2</c:v>
                </c:pt>
                <c:pt idx="33488">
                  <c:v>-1.7647058823529401E-2</c:v>
                </c:pt>
                <c:pt idx="33489">
                  <c:v>-1.7647058823529401E-2</c:v>
                </c:pt>
                <c:pt idx="33490">
                  <c:v>-1.7647058823529401E-2</c:v>
                </c:pt>
                <c:pt idx="33491">
                  <c:v>-1.7647058823529401E-2</c:v>
                </c:pt>
                <c:pt idx="33492">
                  <c:v>-1.7647058823529401E-2</c:v>
                </c:pt>
                <c:pt idx="33493">
                  <c:v>-1.7647058823529401E-2</c:v>
                </c:pt>
                <c:pt idx="33494">
                  <c:v>-1.7647058823529401E-2</c:v>
                </c:pt>
                <c:pt idx="33495">
                  <c:v>-1.7647058823529401E-2</c:v>
                </c:pt>
                <c:pt idx="33496">
                  <c:v>-1.7647058823529401E-2</c:v>
                </c:pt>
                <c:pt idx="33497">
                  <c:v>-1.7647058823529401E-2</c:v>
                </c:pt>
                <c:pt idx="33498">
                  <c:v>-1.7647058823529401E-2</c:v>
                </c:pt>
                <c:pt idx="33499">
                  <c:v>-1.7647058823529401E-2</c:v>
                </c:pt>
                <c:pt idx="33500">
                  <c:v>-1.7647058823529401E-2</c:v>
                </c:pt>
                <c:pt idx="33501">
                  <c:v>-1.7647058823529401E-2</c:v>
                </c:pt>
                <c:pt idx="33502">
                  <c:v>-1.7647058823529401E-2</c:v>
                </c:pt>
                <c:pt idx="33503">
                  <c:v>-1.7647058823529401E-2</c:v>
                </c:pt>
                <c:pt idx="33504">
                  <c:v>-1.7647058823529401E-2</c:v>
                </c:pt>
                <c:pt idx="33505">
                  <c:v>-1.7647058823529401E-2</c:v>
                </c:pt>
                <c:pt idx="33506">
                  <c:v>-1.7647058823529401E-2</c:v>
                </c:pt>
                <c:pt idx="33507">
                  <c:v>-1.7647058823529401E-2</c:v>
                </c:pt>
                <c:pt idx="33508">
                  <c:v>-1.7647058823529401E-2</c:v>
                </c:pt>
                <c:pt idx="33509">
                  <c:v>-1.7647058823529401E-2</c:v>
                </c:pt>
                <c:pt idx="33510">
                  <c:v>-1.7647058823529401E-2</c:v>
                </c:pt>
                <c:pt idx="33511">
                  <c:v>-1.7647058823529401E-2</c:v>
                </c:pt>
                <c:pt idx="33512">
                  <c:v>-1.7647058823529401E-2</c:v>
                </c:pt>
                <c:pt idx="33513">
                  <c:v>-1.7647058823529401E-2</c:v>
                </c:pt>
                <c:pt idx="33514">
                  <c:v>-1.7647058823529401E-2</c:v>
                </c:pt>
                <c:pt idx="33515">
                  <c:v>-1.7647058823529401E-2</c:v>
                </c:pt>
                <c:pt idx="33516">
                  <c:v>-1.7647058823529401E-2</c:v>
                </c:pt>
                <c:pt idx="33517">
                  <c:v>-1.7647058823529401E-2</c:v>
                </c:pt>
                <c:pt idx="33518">
                  <c:v>-1.7647058823529401E-2</c:v>
                </c:pt>
                <c:pt idx="33519">
                  <c:v>-1.84873949579832E-2</c:v>
                </c:pt>
                <c:pt idx="33520">
                  <c:v>-1.84873949579832E-2</c:v>
                </c:pt>
                <c:pt idx="33521">
                  <c:v>-1.84873949579832E-2</c:v>
                </c:pt>
                <c:pt idx="33522">
                  <c:v>-1.84873949579832E-2</c:v>
                </c:pt>
                <c:pt idx="33523">
                  <c:v>-1.84873949579832E-2</c:v>
                </c:pt>
                <c:pt idx="33524">
                  <c:v>-1.84873949579832E-2</c:v>
                </c:pt>
                <c:pt idx="33525">
                  <c:v>-1.84873949579832E-2</c:v>
                </c:pt>
                <c:pt idx="33526">
                  <c:v>-1.84873949579832E-2</c:v>
                </c:pt>
                <c:pt idx="33527">
                  <c:v>-1.84873949579832E-2</c:v>
                </c:pt>
                <c:pt idx="33528">
                  <c:v>-1.84873949579832E-2</c:v>
                </c:pt>
                <c:pt idx="33529">
                  <c:v>-1.84873949579832E-2</c:v>
                </c:pt>
                <c:pt idx="33530">
                  <c:v>-1.84873949579832E-2</c:v>
                </c:pt>
                <c:pt idx="33531">
                  <c:v>-1.84873949579832E-2</c:v>
                </c:pt>
                <c:pt idx="33532">
                  <c:v>-1.84873949579832E-2</c:v>
                </c:pt>
                <c:pt idx="33533">
                  <c:v>-1.84873949579832E-2</c:v>
                </c:pt>
                <c:pt idx="33534">
                  <c:v>-1.84873949579832E-2</c:v>
                </c:pt>
                <c:pt idx="33535">
                  <c:v>-1.84873949579832E-2</c:v>
                </c:pt>
                <c:pt idx="33536">
                  <c:v>-1.84873949579832E-2</c:v>
                </c:pt>
                <c:pt idx="33537">
                  <c:v>-1.84873949579832E-2</c:v>
                </c:pt>
                <c:pt idx="33538">
                  <c:v>-1.84873949579832E-2</c:v>
                </c:pt>
                <c:pt idx="33539">
                  <c:v>-1.84873949579832E-2</c:v>
                </c:pt>
                <c:pt idx="33540">
                  <c:v>-1.84873949579832E-2</c:v>
                </c:pt>
                <c:pt idx="33541">
                  <c:v>-1.84873949579832E-2</c:v>
                </c:pt>
                <c:pt idx="33542">
                  <c:v>-1.84873949579832E-2</c:v>
                </c:pt>
                <c:pt idx="33543">
                  <c:v>-1.84873949579832E-2</c:v>
                </c:pt>
                <c:pt idx="33544">
                  <c:v>-1.84873949579832E-2</c:v>
                </c:pt>
                <c:pt idx="33545">
                  <c:v>-1.84873949579832E-2</c:v>
                </c:pt>
                <c:pt idx="33546">
                  <c:v>-1.84873949579832E-2</c:v>
                </c:pt>
                <c:pt idx="33547">
                  <c:v>-1.84873949579832E-2</c:v>
                </c:pt>
                <c:pt idx="33548">
                  <c:v>-1.84873949579832E-2</c:v>
                </c:pt>
                <c:pt idx="33549">
                  <c:v>-1.84873949579832E-2</c:v>
                </c:pt>
                <c:pt idx="33550">
                  <c:v>-1.84873949579832E-2</c:v>
                </c:pt>
                <c:pt idx="33551">
                  <c:v>-1.84873949579832E-2</c:v>
                </c:pt>
                <c:pt idx="33552">
                  <c:v>-1.84873949579832E-2</c:v>
                </c:pt>
                <c:pt idx="33553">
                  <c:v>-1.84873949579832E-2</c:v>
                </c:pt>
                <c:pt idx="33554">
                  <c:v>-1.84873949579832E-2</c:v>
                </c:pt>
                <c:pt idx="33555">
                  <c:v>-1.84873949579832E-2</c:v>
                </c:pt>
                <c:pt idx="33556">
                  <c:v>-1.84873949579832E-2</c:v>
                </c:pt>
                <c:pt idx="33557">
                  <c:v>-1.84873949579832E-2</c:v>
                </c:pt>
                <c:pt idx="33558">
                  <c:v>-1.84873949579832E-2</c:v>
                </c:pt>
                <c:pt idx="33559">
                  <c:v>-1.84873949579832E-2</c:v>
                </c:pt>
                <c:pt idx="33560">
                  <c:v>-1.84873949579832E-2</c:v>
                </c:pt>
                <c:pt idx="33561">
                  <c:v>-1.84873949579832E-2</c:v>
                </c:pt>
                <c:pt idx="33562">
                  <c:v>-1.84873949579832E-2</c:v>
                </c:pt>
                <c:pt idx="33563">
                  <c:v>-1.84873949579832E-2</c:v>
                </c:pt>
                <c:pt idx="33564">
                  <c:v>-1.84873949579832E-2</c:v>
                </c:pt>
                <c:pt idx="33565">
                  <c:v>-1.84873949579832E-2</c:v>
                </c:pt>
                <c:pt idx="33566">
                  <c:v>-1.84873949579832E-2</c:v>
                </c:pt>
                <c:pt idx="33567">
                  <c:v>-1.84873949579832E-2</c:v>
                </c:pt>
                <c:pt idx="33568">
                  <c:v>-1.84873949579832E-2</c:v>
                </c:pt>
                <c:pt idx="33569">
                  <c:v>-1.84873949579832E-2</c:v>
                </c:pt>
                <c:pt idx="33570">
                  <c:v>-1.84873949579832E-2</c:v>
                </c:pt>
                <c:pt idx="33571">
                  <c:v>-1.84873949579832E-2</c:v>
                </c:pt>
                <c:pt idx="33572">
                  <c:v>-1.84873949579832E-2</c:v>
                </c:pt>
                <c:pt idx="33573">
                  <c:v>-1.84873949579832E-2</c:v>
                </c:pt>
                <c:pt idx="33574">
                  <c:v>-1.84873949579832E-2</c:v>
                </c:pt>
                <c:pt idx="33575">
                  <c:v>-1.84873949579832E-2</c:v>
                </c:pt>
                <c:pt idx="33576">
                  <c:v>-1.84873949579832E-2</c:v>
                </c:pt>
                <c:pt idx="33577">
                  <c:v>-1.84873949579832E-2</c:v>
                </c:pt>
                <c:pt idx="33578">
                  <c:v>-1.84873949579832E-2</c:v>
                </c:pt>
                <c:pt idx="33579">
                  <c:v>-1.84873949579832E-2</c:v>
                </c:pt>
                <c:pt idx="33580">
                  <c:v>-1.84873949579832E-2</c:v>
                </c:pt>
                <c:pt idx="33581">
                  <c:v>-1.84873949579832E-2</c:v>
                </c:pt>
                <c:pt idx="33582">
                  <c:v>-1.84873949579832E-2</c:v>
                </c:pt>
                <c:pt idx="33583">
                  <c:v>-1.84873949579832E-2</c:v>
                </c:pt>
                <c:pt idx="33584">
                  <c:v>-1.84873949579832E-2</c:v>
                </c:pt>
                <c:pt idx="33585">
                  <c:v>-1.84873949579832E-2</c:v>
                </c:pt>
                <c:pt idx="33586">
                  <c:v>-1.84873949579832E-2</c:v>
                </c:pt>
                <c:pt idx="33587">
                  <c:v>-1.84873949579832E-2</c:v>
                </c:pt>
                <c:pt idx="33588">
                  <c:v>-1.84873949579832E-2</c:v>
                </c:pt>
                <c:pt idx="33589">
                  <c:v>-1.84873949579832E-2</c:v>
                </c:pt>
                <c:pt idx="33590">
                  <c:v>-1.84873949579832E-2</c:v>
                </c:pt>
                <c:pt idx="33591">
                  <c:v>-1.84873949579832E-2</c:v>
                </c:pt>
                <c:pt idx="33592">
                  <c:v>-1.84873949579832E-2</c:v>
                </c:pt>
                <c:pt idx="33593">
                  <c:v>-1.84873949579832E-2</c:v>
                </c:pt>
                <c:pt idx="33594">
                  <c:v>-1.84873949579832E-2</c:v>
                </c:pt>
                <c:pt idx="33595">
                  <c:v>-1.84873949579832E-2</c:v>
                </c:pt>
                <c:pt idx="33596">
                  <c:v>-1.84873949579832E-2</c:v>
                </c:pt>
                <c:pt idx="33597">
                  <c:v>-1.84873949579832E-2</c:v>
                </c:pt>
                <c:pt idx="33598">
                  <c:v>-1.84873949579832E-2</c:v>
                </c:pt>
                <c:pt idx="33599">
                  <c:v>-1.84873949579832E-2</c:v>
                </c:pt>
                <c:pt idx="33600">
                  <c:v>-1.84873949579832E-2</c:v>
                </c:pt>
                <c:pt idx="33601">
                  <c:v>-1.84873949579832E-2</c:v>
                </c:pt>
                <c:pt idx="33602">
                  <c:v>-1.84873949579832E-2</c:v>
                </c:pt>
                <c:pt idx="33603">
                  <c:v>-1.84873949579832E-2</c:v>
                </c:pt>
                <c:pt idx="33604">
                  <c:v>-1.84873949579832E-2</c:v>
                </c:pt>
                <c:pt idx="33605">
                  <c:v>-1.84873949579832E-2</c:v>
                </c:pt>
                <c:pt idx="33606">
                  <c:v>-1.84873949579832E-2</c:v>
                </c:pt>
                <c:pt idx="33607">
                  <c:v>-1.84873949579832E-2</c:v>
                </c:pt>
                <c:pt idx="33608">
                  <c:v>-1.84873949579832E-2</c:v>
                </c:pt>
                <c:pt idx="33609">
                  <c:v>-1.84873949579832E-2</c:v>
                </c:pt>
                <c:pt idx="33610">
                  <c:v>-1.84873949579832E-2</c:v>
                </c:pt>
                <c:pt idx="33611">
                  <c:v>-1.84873949579832E-2</c:v>
                </c:pt>
                <c:pt idx="33612">
                  <c:v>-1.84873949579832E-2</c:v>
                </c:pt>
                <c:pt idx="33613">
                  <c:v>-1.84873949579832E-2</c:v>
                </c:pt>
                <c:pt idx="33614">
                  <c:v>-1.84873949579832E-2</c:v>
                </c:pt>
                <c:pt idx="33615">
                  <c:v>-1.84873949579832E-2</c:v>
                </c:pt>
                <c:pt idx="33616">
                  <c:v>-1.84873949579832E-2</c:v>
                </c:pt>
                <c:pt idx="33617">
                  <c:v>-1.84873949579832E-2</c:v>
                </c:pt>
                <c:pt idx="33618">
                  <c:v>-1.84873949579832E-2</c:v>
                </c:pt>
                <c:pt idx="33619">
                  <c:v>-1.84873949579832E-2</c:v>
                </c:pt>
                <c:pt idx="33620">
                  <c:v>-1.84873949579832E-2</c:v>
                </c:pt>
                <c:pt idx="33621">
                  <c:v>-1.84873949579832E-2</c:v>
                </c:pt>
                <c:pt idx="33622">
                  <c:v>-1.84873949579832E-2</c:v>
                </c:pt>
                <c:pt idx="33623">
                  <c:v>-1.84873949579832E-2</c:v>
                </c:pt>
                <c:pt idx="33624">
                  <c:v>-1.84873949579832E-2</c:v>
                </c:pt>
                <c:pt idx="33625">
                  <c:v>-1.84873949579832E-2</c:v>
                </c:pt>
                <c:pt idx="33626">
                  <c:v>-1.84873949579832E-2</c:v>
                </c:pt>
                <c:pt idx="33627">
                  <c:v>-1.84873949579832E-2</c:v>
                </c:pt>
                <c:pt idx="33628">
                  <c:v>-1.84873949579832E-2</c:v>
                </c:pt>
                <c:pt idx="33629">
                  <c:v>-1.84873949579832E-2</c:v>
                </c:pt>
                <c:pt idx="33630">
                  <c:v>-1.84873949579832E-2</c:v>
                </c:pt>
                <c:pt idx="33631">
                  <c:v>-1.84873949579832E-2</c:v>
                </c:pt>
                <c:pt idx="33632">
                  <c:v>-1.84873949579832E-2</c:v>
                </c:pt>
                <c:pt idx="33633">
                  <c:v>-1.84873949579832E-2</c:v>
                </c:pt>
                <c:pt idx="33634">
                  <c:v>-1.84873949579832E-2</c:v>
                </c:pt>
                <c:pt idx="33635">
                  <c:v>-1.84873949579832E-2</c:v>
                </c:pt>
                <c:pt idx="33636">
                  <c:v>-1.84873949579832E-2</c:v>
                </c:pt>
                <c:pt idx="33637">
                  <c:v>-1.84873949579832E-2</c:v>
                </c:pt>
                <c:pt idx="33638">
                  <c:v>-1.84873949579832E-2</c:v>
                </c:pt>
                <c:pt idx="33639">
                  <c:v>-1.84873949579832E-2</c:v>
                </c:pt>
                <c:pt idx="33640">
                  <c:v>-1.84873949579832E-2</c:v>
                </c:pt>
                <c:pt idx="33641">
                  <c:v>-1.84873949579832E-2</c:v>
                </c:pt>
                <c:pt idx="33642">
                  <c:v>-1.84873949579832E-2</c:v>
                </c:pt>
                <c:pt idx="33643">
                  <c:v>-1.84873949579832E-2</c:v>
                </c:pt>
                <c:pt idx="33644">
                  <c:v>-1.84873949579832E-2</c:v>
                </c:pt>
                <c:pt idx="33645">
                  <c:v>-1.84873949579832E-2</c:v>
                </c:pt>
                <c:pt idx="33646">
                  <c:v>-1.84873949579832E-2</c:v>
                </c:pt>
                <c:pt idx="33647">
                  <c:v>-1.84873949579832E-2</c:v>
                </c:pt>
                <c:pt idx="33648">
                  <c:v>-1.84873949579832E-2</c:v>
                </c:pt>
                <c:pt idx="33649">
                  <c:v>-1.84873949579832E-2</c:v>
                </c:pt>
                <c:pt idx="33650">
                  <c:v>-1.84873949579832E-2</c:v>
                </c:pt>
                <c:pt idx="33651">
                  <c:v>-1.84873949579832E-2</c:v>
                </c:pt>
                <c:pt idx="33652">
                  <c:v>-1.84873949579832E-2</c:v>
                </c:pt>
                <c:pt idx="33653">
                  <c:v>-1.84873949579832E-2</c:v>
                </c:pt>
                <c:pt idx="33654">
                  <c:v>-1.84873949579832E-2</c:v>
                </c:pt>
                <c:pt idx="33655">
                  <c:v>-1.84873949579832E-2</c:v>
                </c:pt>
                <c:pt idx="33656">
                  <c:v>-1.84873949579832E-2</c:v>
                </c:pt>
                <c:pt idx="33657">
                  <c:v>-1.84873949579832E-2</c:v>
                </c:pt>
                <c:pt idx="33658">
                  <c:v>-1.84873949579832E-2</c:v>
                </c:pt>
                <c:pt idx="33659">
                  <c:v>-1.84873949579832E-2</c:v>
                </c:pt>
                <c:pt idx="33660">
                  <c:v>-1.84873949579832E-2</c:v>
                </c:pt>
                <c:pt idx="33661">
                  <c:v>-1.84873949579832E-2</c:v>
                </c:pt>
                <c:pt idx="33662">
                  <c:v>-1.84873949579832E-2</c:v>
                </c:pt>
                <c:pt idx="33663">
                  <c:v>-1.84873949579832E-2</c:v>
                </c:pt>
                <c:pt idx="33664">
                  <c:v>-1.84873949579832E-2</c:v>
                </c:pt>
                <c:pt idx="33665">
                  <c:v>-1.84873949579832E-2</c:v>
                </c:pt>
                <c:pt idx="33666">
                  <c:v>-1.84873949579832E-2</c:v>
                </c:pt>
                <c:pt idx="33667">
                  <c:v>-1.84873949579832E-2</c:v>
                </c:pt>
                <c:pt idx="33668">
                  <c:v>-1.7647058823529401E-2</c:v>
                </c:pt>
                <c:pt idx="33669">
                  <c:v>-1.7647058823529401E-2</c:v>
                </c:pt>
                <c:pt idx="33670">
                  <c:v>-1.7647058823529401E-2</c:v>
                </c:pt>
                <c:pt idx="33671">
                  <c:v>-1.7647058823529401E-2</c:v>
                </c:pt>
                <c:pt idx="33672">
                  <c:v>-1.7647058823529401E-2</c:v>
                </c:pt>
                <c:pt idx="33673">
                  <c:v>-1.7647058823529401E-2</c:v>
                </c:pt>
                <c:pt idx="33674">
                  <c:v>-1.7647058823529401E-2</c:v>
                </c:pt>
                <c:pt idx="33675">
                  <c:v>-1.7647058823529401E-2</c:v>
                </c:pt>
                <c:pt idx="33676">
                  <c:v>-1.7647058823529401E-2</c:v>
                </c:pt>
                <c:pt idx="33677">
                  <c:v>-1.6806722689075598E-2</c:v>
                </c:pt>
                <c:pt idx="33678">
                  <c:v>-1.6806722689075598E-2</c:v>
                </c:pt>
                <c:pt idx="33679">
                  <c:v>-1.6806722689075598E-2</c:v>
                </c:pt>
                <c:pt idx="33680">
                  <c:v>-1.6806722689075598E-2</c:v>
                </c:pt>
                <c:pt idx="33681">
                  <c:v>-1.6806722689075598E-2</c:v>
                </c:pt>
                <c:pt idx="33682">
                  <c:v>-1.6806722689075598E-2</c:v>
                </c:pt>
                <c:pt idx="33683">
                  <c:v>-1.6806722689075598E-2</c:v>
                </c:pt>
                <c:pt idx="33684">
                  <c:v>-1.6806722689075598E-2</c:v>
                </c:pt>
                <c:pt idx="33685">
                  <c:v>-1.6806722689075598E-2</c:v>
                </c:pt>
                <c:pt idx="33686">
                  <c:v>-1.6806722689075598E-2</c:v>
                </c:pt>
                <c:pt idx="33687">
                  <c:v>-1.6806722689075598E-2</c:v>
                </c:pt>
                <c:pt idx="33688">
                  <c:v>-1.6806722689075598E-2</c:v>
                </c:pt>
                <c:pt idx="33689">
                  <c:v>-1.6806722689075598E-2</c:v>
                </c:pt>
                <c:pt idx="33690">
                  <c:v>-1.6806722689075598E-2</c:v>
                </c:pt>
                <c:pt idx="33691">
                  <c:v>-1.6806722689075598E-2</c:v>
                </c:pt>
                <c:pt idx="33692">
                  <c:v>-1.6806722689075598E-2</c:v>
                </c:pt>
                <c:pt idx="33693">
                  <c:v>-1.6806722689075598E-2</c:v>
                </c:pt>
                <c:pt idx="33694">
                  <c:v>-1.6806722689075598E-2</c:v>
                </c:pt>
                <c:pt idx="33695">
                  <c:v>-1.6806722689075598E-2</c:v>
                </c:pt>
                <c:pt idx="33696">
                  <c:v>-1.6806722689075598E-2</c:v>
                </c:pt>
                <c:pt idx="33697">
                  <c:v>-1.6806722689075598E-2</c:v>
                </c:pt>
                <c:pt idx="33698">
                  <c:v>-1.6806722689075598E-2</c:v>
                </c:pt>
                <c:pt idx="33699">
                  <c:v>-1.6806722689075598E-2</c:v>
                </c:pt>
                <c:pt idx="33700">
                  <c:v>-1.6806722689075598E-2</c:v>
                </c:pt>
                <c:pt idx="33701">
                  <c:v>-1.6806722689075598E-2</c:v>
                </c:pt>
                <c:pt idx="33702">
                  <c:v>-1.6806722689075598E-2</c:v>
                </c:pt>
                <c:pt idx="33703">
                  <c:v>-1.6806722689075598E-2</c:v>
                </c:pt>
                <c:pt idx="33704">
                  <c:v>-1.6806722689075598E-2</c:v>
                </c:pt>
                <c:pt idx="33705">
                  <c:v>-1.6806722689075598E-2</c:v>
                </c:pt>
                <c:pt idx="33706">
                  <c:v>-1.6806722689075598E-2</c:v>
                </c:pt>
                <c:pt idx="33707">
                  <c:v>-1.6806722689075598E-2</c:v>
                </c:pt>
                <c:pt idx="33708">
                  <c:v>-1.6806722689075598E-2</c:v>
                </c:pt>
                <c:pt idx="33709">
                  <c:v>-1.6806722689075598E-2</c:v>
                </c:pt>
                <c:pt idx="33710">
                  <c:v>-1.6806722689075598E-2</c:v>
                </c:pt>
                <c:pt idx="33711">
                  <c:v>-1.6806722689075598E-2</c:v>
                </c:pt>
                <c:pt idx="33712">
                  <c:v>-1.6806722689075598E-2</c:v>
                </c:pt>
                <c:pt idx="33713">
                  <c:v>-1.6806722689075598E-2</c:v>
                </c:pt>
                <c:pt idx="33714">
                  <c:v>-1.6806722689075598E-2</c:v>
                </c:pt>
                <c:pt idx="33715">
                  <c:v>-1.6806722689075598E-2</c:v>
                </c:pt>
                <c:pt idx="33716">
                  <c:v>-1.6806722689075598E-2</c:v>
                </c:pt>
                <c:pt idx="33717">
                  <c:v>-1.6806722689075598E-2</c:v>
                </c:pt>
                <c:pt idx="33718">
                  <c:v>-1.6806722689075598E-2</c:v>
                </c:pt>
                <c:pt idx="33719">
                  <c:v>-1.6806722689075598E-2</c:v>
                </c:pt>
                <c:pt idx="33720">
                  <c:v>-1.6806722689075598E-2</c:v>
                </c:pt>
                <c:pt idx="33721">
                  <c:v>-1.6806722689075598E-2</c:v>
                </c:pt>
                <c:pt idx="33722">
                  <c:v>-1.7647058823529401E-2</c:v>
                </c:pt>
                <c:pt idx="33723">
                  <c:v>-1.7647058823529401E-2</c:v>
                </c:pt>
                <c:pt idx="33724">
                  <c:v>-1.7647058823529401E-2</c:v>
                </c:pt>
                <c:pt idx="33725">
                  <c:v>-1.7647058823529401E-2</c:v>
                </c:pt>
                <c:pt idx="33726">
                  <c:v>-1.7647058823529401E-2</c:v>
                </c:pt>
                <c:pt idx="33727">
                  <c:v>-1.7647058823529401E-2</c:v>
                </c:pt>
                <c:pt idx="33728">
                  <c:v>-1.7647058823529401E-2</c:v>
                </c:pt>
                <c:pt idx="33729">
                  <c:v>-1.7647058823529401E-2</c:v>
                </c:pt>
                <c:pt idx="33730">
                  <c:v>-1.7647058823529401E-2</c:v>
                </c:pt>
                <c:pt idx="33731">
                  <c:v>-1.7647058823529401E-2</c:v>
                </c:pt>
                <c:pt idx="33732">
                  <c:v>-1.7647058823529401E-2</c:v>
                </c:pt>
                <c:pt idx="33733">
                  <c:v>-1.7647058823529401E-2</c:v>
                </c:pt>
                <c:pt idx="33734">
                  <c:v>-1.7647058823529401E-2</c:v>
                </c:pt>
                <c:pt idx="33735">
                  <c:v>-1.7647058823529401E-2</c:v>
                </c:pt>
                <c:pt idx="33736">
                  <c:v>-1.7647058823529401E-2</c:v>
                </c:pt>
                <c:pt idx="33737">
                  <c:v>-1.7647058823529401E-2</c:v>
                </c:pt>
                <c:pt idx="33738">
                  <c:v>-1.7647058823529401E-2</c:v>
                </c:pt>
                <c:pt idx="33739">
                  <c:v>-1.7647058823529401E-2</c:v>
                </c:pt>
                <c:pt idx="33740">
                  <c:v>-1.7647058823529401E-2</c:v>
                </c:pt>
                <c:pt idx="33741">
                  <c:v>-1.7647058823529401E-2</c:v>
                </c:pt>
                <c:pt idx="33742">
                  <c:v>-1.7647058823529401E-2</c:v>
                </c:pt>
                <c:pt idx="33743">
                  <c:v>-1.7647058823529401E-2</c:v>
                </c:pt>
                <c:pt idx="33744">
                  <c:v>-1.7647058823529401E-2</c:v>
                </c:pt>
                <c:pt idx="33745">
                  <c:v>-1.7647058823529401E-2</c:v>
                </c:pt>
                <c:pt idx="33746">
                  <c:v>-1.7647058823529401E-2</c:v>
                </c:pt>
                <c:pt idx="33747">
                  <c:v>-1.7647058823529401E-2</c:v>
                </c:pt>
                <c:pt idx="33748">
                  <c:v>-1.7647058823529401E-2</c:v>
                </c:pt>
                <c:pt idx="33749">
                  <c:v>-1.7647058823529401E-2</c:v>
                </c:pt>
                <c:pt idx="33750">
                  <c:v>-1.7647058823529401E-2</c:v>
                </c:pt>
                <c:pt idx="33751">
                  <c:v>-1.84873949579832E-2</c:v>
                </c:pt>
                <c:pt idx="33752">
                  <c:v>-1.84873949579832E-2</c:v>
                </c:pt>
                <c:pt idx="33753">
                  <c:v>-1.84873949579832E-2</c:v>
                </c:pt>
                <c:pt idx="33754">
                  <c:v>-1.84873949579832E-2</c:v>
                </c:pt>
                <c:pt idx="33755">
                  <c:v>-1.84873949579832E-2</c:v>
                </c:pt>
                <c:pt idx="33756">
                  <c:v>-1.84873949579832E-2</c:v>
                </c:pt>
                <c:pt idx="33757">
                  <c:v>-1.84873949579832E-2</c:v>
                </c:pt>
                <c:pt idx="33758">
                  <c:v>-1.84873949579832E-2</c:v>
                </c:pt>
                <c:pt idx="33759">
                  <c:v>-1.84873949579832E-2</c:v>
                </c:pt>
                <c:pt idx="33760">
                  <c:v>-1.84873949579832E-2</c:v>
                </c:pt>
                <c:pt idx="33761">
                  <c:v>-1.84873949579832E-2</c:v>
                </c:pt>
                <c:pt idx="33762">
                  <c:v>-1.84873949579832E-2</c:v>
                </c:pt>
                <c:pt idx="33763">
                  <c:v>-1.84873949579832E-2</c:v>
                </c:pt>
                <c:pt idx="33764">
                  <c:v>-1.84873949579832E-2</c:v>
                </c:pt>
                <c:pt idx="33765">
                  <c:v>-1.84873949579832E-2</c:v>
                </c:pt>
                <c:pt idx="33766">
                  <c:v>-1.84873949579832E-2</c:v>
                </c:pt>
                <c:pt idx="33767">
                  <c:v>-1.84873949579832E-2</c:v>
                </c:pt>
                <c:pt idx="33768">
                  <c:v>-1.84873949579832E-2</c:v>
                </c:pt>
                <c:pt idx="33769">
                  <c:v>-1.84873949579832E-2</c:v>
                </c:pt>
                <c:pt idx="33770">
                  <c:v>-1.84873949579832E-2</c:v>
                </c:pt>
                <c:pt idx="33771">
                  <c:v>-1.84873949579832E-2</c:v>
                </c:pt>
                <c:pt idx="33772">
                  <c:v>-1.84873949579832E-2</c:v>
                </c:pt>
                <c:pt idx="33773">
                  <c:v>-1.84873949579832E-2</c:v>
                </c:pt>
                <c:pt idx="33774">
                  <c:v>-1.84873949579832E-2</c:v>
                </c:pt>
                <c:pt idx="33775">
                  <c:v>-1.84873949579832E-2</c:v>
                </c:pt>
                <c:pt idx="33776">
                  <c:v>-1.84873949579832E-2</c:v>
                </c:pt>
                <c:pt idx="33777">
                  <c:v>-1.84873949579832E-2</c:v>
                </c:pt>
                <c:pt idx="33778">
                  <c:v>-1.84873949579832E-2</c:v>
                </c:pt>
                <c:pt idx="33779">
                  <c:v>-1.84873949579832E-2</c:v>
                </c:pt>
                <c:pt idx="33780">
                  <c:v>-1.84873949579832E-2</c:v>
                </c:pt>
                <c:pt idx="33781">
                  <c:v>-1.84873949579832E-2</c:v>
                </c:pt>
                <c:pt idx="33782">
                  <c:v>-1.84873949579832E-2</c:v>
                </c:pt>
                <c:pt idx="33783">
                  <c:v>-1.84873949579832E-2</c:v>
                </c:pt>
                <c:pt idx="33784">
                  <c:v>-1.84873949579832E-2</c:v>
                </c:pt>
                <c:pt idx="33785">
                  <c:v>-1.7647058823529401E-2</c:v>
                </c:pt>
                <c:pt idx="33786">
                  <c:v>-1.7647058823529401E-2</c:v>
                </c:pt>
                <c:pt idx="33787">
                  <c:v>-1.7647058823529401E-2</c:v>
                </c:pt>
                <c:pt idx="33788">
                  <c:v>-1.7647058823529401E-2</c:v>
                </c:pt>
                <c:pt idx="33789">
                  <c:v>-1.7647058823529401E-2</c:v>
                </c:pt>
                <c:pt idx="33790">
                  <c:v>-1.7647058823529401E-2</c:v>
                </c:pt>
                <c:pt idx="33791">
                  <c:v>-1.7647058823529401E-2</c:v>
                </c:pt>
                <c:pt idx="33792">
                  <c:v>-1.7647058823529401E-2</c:v>
                </c:pt>
                <c:pt idx="33793">
                  <c:v>-1.7647058823529401E-2</c:v>
                </c:pt>
                <c:pt idx="33794">
                  <c:v>-1.7647058823529401E-2</c:v>
                </c:pt>
                <c:pt idx="33795">
                  <c:v>-1.7647058823529401E-2</c:v>
                </c:pt>
                <c:pt idx="33796">
                  <c:v>-1.7647058823529401E-2</c:v>
                </c:pt>
                <c:pt idx="33797">
                  <c:v>-1.84873949579832E-2</c:v>
                </c:pt>
                <c:pt idx="33798">
                  <c:v>-1.84873949579832E-2</c:v>
                </c:pt>
                <c:pt idx="33799">
                  <c:v>-1.84873949579832E-2</c:v>
                </c:pt>
                <c:pt idx="33800">
                  <c:v>-1.84873949579832E-2</c:v>
                </c:pt>
                <c:pt idx="33801">
                  <c:v>-1.84873949579832E-2</c:v>
                </c:pt>
                <c:pt idx="33802">
                  <c:v>-1.84873949579832E-2</c:v>
                </c:pt>
                <c:pt idx="33803">
                  <c:v>-1.84873949579832E-2</c:v>
                </c:pt>
                <c:pt idx="33804">
                  <c:v>-1.9327731092437E-2</c:v>
                </c:pt>
                <c:pt idx="33805">
                  <c:v>-1.9327731092437E-2</c:v>
                </c:pt>
                <c:pt idx="33806">
                  <c:v>-1.9327731092437E-2</c:v>
                </c:pt>
                <c:pt idx="33807">
                  <c:v>-1.9327731092437E-2</c:v>
                </c:pt>
                <c:pt idx="33808">
                  <c:v>-1.9327731092437E-2</c:v>
                </c:pt>
                <c:pt idx="33809">
                  <c:v>-1.9327731092437E-2</c:v>
                </c:pt>
                <c:pt idx="33810">
                  <c:v>-2.0168067226890699E-2</c:v>
                </c:pt>
                <c:pt idx="33811">
                  <c:v>-2.0168067226890699E-2</c:v>
                </c:pt>
                <c:pt idx="33812">
                  <c:v>-2.0168067226890699E-2</c:v>
                </c:pt>
                <c:pt idx="33813">
                  <c:v>-2.0168067226890699E-2</c:v>
                </c:pt>
                <c:pt idx="33814">
                  <c:v>-1.9327731092437E-2</c:v>
                </c:pt>
                <c:pt idx="33815">
                  <c:v>-1.9327731092437E-2</c:v>
                </c:pt>
                <c:pt idx="33816">
                  <c:v>-1.9327731092437E-2</c:v>
                </c:pt>
                <c:pt idx="33817">
                  <c:v>-1.9327731092437E-2</c:v>
                </c:pt>
                <c:pt idx="33818">
                  <c:v>-1.9327731092437E-2</c:v>
                </c:pt>
                <c:pt idx="33819">
                  <c:v>-1.9327731092437E-2</c:v>
                </c:pt>
                <c:pt idx="33820">
                  <c:v>-1.9327731092437E-2</c:v>
                </c:pt>
                <c:pt idx="33821">
                  <c:v>-1.9327731092437E-2</c:v>
                </c:pt>
                <c:pt idx="33822">
                  <c:v>-1.9327731092437E-2</c:v>
                </c:pt>
                <c:pt idx="33823">
                  <c:v>-1.9327731092437E-2</c:v>
                </c:pt>
                <c:pt idx="33824">
                  <c:v>-1.9327731092437E-2</c:v>
                </c:pt>
                <c:pt idx="33825">
                  <c:v>-1.9327731092437E-2</c:v>
                </c:pt>
                <c:pt idx="33826">
                  <c:v>-1.9327731092437E-2</c:v>
                </c:pt>
                <c:pt idx="33827">
                  <c:v>-1.9327731092437E-2</c:v>
                </c:pt>
                <c:pt idx="33828">
                  <c:v>-1.9327731092437E-2</c:v>
                </c:pt>
                <c:pt idx="33829">
                  <c:v>-1.9327731092437E-2</c:v>
                </c:pt>
                <c:pt idx="33830">
                  <c:v>-1.9327731092437E-2</c:v>
                </c:pt>
                <c:pt idx="33831">
                  <c:v>-1.9327731092437E-2</c:v>
                </c:pt>
                <c:pt idx="33832">
                  <c:v>-1.9327731092437E-2</c:v>
                </c:pt>
                <c:pt idx="33833">
                  <c:v>-1.9327731092437E-2</c:v>
                </c:pt>
                <c:pt idx="33834">
                  <c:v>-1.9327731092437E-2</c:v>
                </c:pt>
                <c:pt idx="33835">
                  <c:v>-1.9327731092437E-2</c:v>
                </c:pt>
                <c:pt idx="33836">
                  <c:v>-1.9327731092437E-2</c:v>
                </c:pt>
                <c:pt idx="33837">
                  <c:v>-1.9327731092437E-2</c:v>
                </c:pt>
                <c:pt idx="33838">
                  <c:v>-1.9327731092437E-2</c:v>
                </c:pt>
                <c:pt idx="33839">
                  <c:v>-1.9327731092437E-2</c:v>
                </c:pt>
                <c:pt idx="33840">
                  <c:v>-1.9327731092437E-2</c:v>
                </c:pt>
                <c:pt idx="33841">
                  <c:v>-1.9327731092437E-2</c:v>
                </c:pt>
                <c:pt idx="33842">
                  <c:v>-1.9327731092437E-2</c:v>
                </c:pt>
                <c:pt idx="33843">
                  <c:v>-1.9327731092437E-2</c:v>
                </c:pt>
                <c:pt idx="33844">
                  <c:v>-1.9327731092437E-2</c:v>
                </c:pt>
                <c:pt idx="33845">
                  <c:v>-1.9327731092437E-2</c:v>
                </c:pt>
                <c:pt idx="33846">
                  <c:v>-1.9327731092437E-2</c:v>
                </c:pt>
                <c:pt idx="33847">
                  <c:v>-1.9327731092437E-2</c:v>
                </c:pt>
                <c:pt idx="33848">
                  <c:v>-1.9327731092437E-2</c:v>
                </c:pt>
                <c:pt idx="33849">
                  <c:v>-1.9327731092437E-2</c:v>
                </c:pt>
                <c:pt idx="33850">
                  <c:v>-1.9327731092437E-2</c:v>
                </c:pt>
                <c:pt idx="33851">
                  <c:v>-1.9327731092437E-2</c:v>
                </c:pt>
                <c:pt idx="33852">
                  <c:v>-1.9327731092437E-2</c:v>
                </c:pt>
                <c:pt idx="33853">
                  <c:v>-1.9327731092437E-2</c:v>
                </c:pt>
                <c:pt idx="33854">
                  <c:v>-1.9327731092437E-2</c:v>
                </c:pt>
                <c:pt idx="33855">
                  <c:v>-1.9327731092437E-2</c:v>
                </c:pt>
                <c:pt idx="33856">
                  <c:v>-1.9327731092437E-2</c:v>
                </c:pt>
                <c:pt idx="33857">
                  <c:v>-1.9327731092437E-2</c:v>
                </c:pt>
                <c:pt idx="33858">
                  <c:v>-1.9327731092437E-2</c:v>
                </c:pt>
                <c:pt idx="33859">
                  <c:v>-1.9327731092437E-2</c:v>
                </c:pt>
                <c:pt idx="33860">
                  <c:v>-1.9327731092437E-2</c:v>
                </c:pt>
                <c:pt idx="33861">
                  <c:v>-1.9327731092437E-2</c:v>
                </c:pt>
                <c:pt idx="33862">
                  <c:v>-1.9327731092437E-2</c:v>
                </c:pt>
                <c:pt idx="33863">
                  <c:v>-1.9327731092437E-2</c:v>
                </c:pt>
                <c:pt idx="33864">
                  <c:v>-1.9327731092437E-2</c:v>
                </c:pt>
                <c:pt idx="33865">
                  <c:v>-1.9327731092437E-2</c:v>
                </c:pt>
                <c:pt idx="33866">
                  <c:v>-1.9327731092437E-2</c:v>
                </c:pt>
                <c:pt idx="33867">
                  <c:v>-1.9327731092437E-2</c:v>
                </c:pt>
                <c:pt idx="33868">
                  <c:v>-1.9327731092437E-2</c:v>
                </c:pt>
                <c:pt idx="33869">
                  <c:v>-1.9327731092437E-2</c:v>
                </c:pt>
                <c:pt idx="33870">
                  <c:v>-1.9327731092437E-2</c:v>
                </c:pt>
                <c:pt idx="33871">
                  <c:v>-1.9327731092437E-2</c:v>
                </c:pt>
                <c:pt idx="33872">
                  <c:v>-1.9327731092437E-2</c:v>
                </c:pt>
                <c:pt idx="33873">
                  <c:v>-1.9327731092437E-2</c:v>
                </c:pt>
                <c:pt idx="33874">
                  <c:v>-1.9327731092437E-2</c:v>
                </c:pt>
                <c:pt idx="33875">
                  <c:v>-1.9327731092437E-2</c:v>
                </c:pt>
                <c:pt idx="33876">
                  <c:v>-1.9327731092437E-2</c:v>
                </c:pt>
                <c:pt idx="33877">
                  <c:v>-1.9327731092437E-2</c:v>
                </c:pt>
                <c:pt idx="33878">
                  <c:v>-1.9327731092437E-2</c:v>
                </c:pt>
                <c:pt idx="33879">
                  <c:v>-1.84873949579832E-2</c:v>
                </c:pt>
                <c:pt idx="33880">
                  <c:v>-1.84873949579832E-2</c:v>
                </c:pt>
                <c:pt idx="33881">
                  <c:v>-1.84873949579832E-2</c:v>
                </c:pt>
                <c:pt idx="33882">
                  <c:v>-1.84873949579832E-2</c:v>
                </c:pt>
                <c:pt idx="33883">
                  <c:v>-1.84873949579832E-2</c:v>
                </c:pt>
                <c:pt idx="33884">
                  <c:v>-1.84873949579832E-2</c:v>
                </c:pt>
                <c:pt idx="33885">
                  <c:v>-1.84873949579832E-2</c:v>
                </c:pt>
                <c:pt idx="33886">
                  <c:v>-1.84873949579832E-2</c:v>
                </c:pt>
                <c:pt idx="33887">
                  <c:v>-1.84873949579832E-2</c:v>
                </c:pt>
                <c:pt idx="33888">
                  <c:v>-1.84873949579832E-2</c:v>
                </c:pt>
                <c:pt idx="33889">
                  <c:v>-1.84873949579832E-2</c:v>
                </c:pt>
                <c:pt idx="33890">
                  <c:v>-1.84873949579832E-2</c:v>
                </c:pt>
                <c:pt idx="33891">
                  <c:v>-1.84873949579832E-2</c:v>
                </c:pt>
                <c:pt idx="33892">
                  <c:v>-1.84873949579832E-2</c:v>
                </c:pt>
                <c:pt idx="33893">
                  <c:v>-1.84873949579832E-2</c:v>
                </c:pt>
                <c:pt idx="33894">
                  <c:v>-1.84873949579832E-2</c:v>
                </c:pt>
                <c:pt idx="33895">
                  <c:v>-1.84873949579832E-2</c:v>
                </c:pt>
                <c:pt idx="33896">
                  <c:v>-1.84873949579832E-2</c:v>
                </c:pt>
                <c:pt idx="33897">
                  <c:v>-1.76470588235293E-2</c:v>
                </c:pt>
                <c:pt idx="33898">
                  <c:v>-1.76470588235293E-2</c:v>
                </c:pt>
                <c:pt idx="33899">
                  <c:v>-1.76470588235293E-2</c:v>
                </c:pt>
                <c:pt idx="33900">
                  <c:v>-1.76470588235293E-2</c:v>
                </c:pt>
                <c:pt idx="33901">
                  <c:v>-1.76470588235293E-2</c:v>
                </c:pt>
                <c:pt idx="33902">
                  <c:v>-1.76470588235293E-2</c:v>
                </c:pt>
                <c:pt idx="33903">
                  <c:v>-1.76470588235293E-2</c:v>
                </c:pt>
                <c:pt idx="33904">
                  <c:v>-1.76470588235293E-2</c:v>
                </c:pt>
                <c:pt idx="33905">
                  <c:v>-1.76470588235293E-2</c:v>
                </c:pt>
                <c:pt idx="33906">
                  <c:v>-1.76470588235293E-2</c:v>
                </c:pt>
                <c:pt idx="33907">
                  <c:v>-1.76470588235293E-2</c:v>
                </c:pt>
                <c:pt idx="33908">
                  <c:v>-1.76470588235293E-2</c:v>
                </c:pt>
                <c:pt idx="33909">
                  <c:v>-1.76470588235293E-2</c:v>
                </c:pt>
                <c:pt idx="33910">
                  <c:v>-1.76470588235293E-2</c:v>
                </c:pt>
                <c:pt idx="33911">
                  <c:v>-1.76470588235293E-2</c:v>
                </c:pt>
                <c:pt idx="33912">
                  <c:v>-1.76470588235293E-2</c:v>
                </c:pt>
                <c:pt idx="33913">
                  <c:v>-1.76470588235293E-2</c:v>
                </c:pt>
                <c:pt idx="33914">
                  <c:v>-1.76470588235293E-2</c:v>
                </c:pt>
                <c:pt idx="33915">
                  <c:v>-1.76470588235293E-2</c:v>
                </c:pt>
                <c:pt idx="33916">
                  <c:v>-1.76470588235293E-2</c:v>
                </c:pt>
                <c:pt idx="33917">
                  <c:v>-1.76470588235293E-2</c:v>
                </c:pt>
                <c:pt idx="33918">
                  <c:v>-1.76470588235293E-2</c:v>
                </c:pt>
                <c:pt idx="33919">
                  <c:v>-1.76470588235293E-2</c:v>
                </c:pt>
                <c:pt idx="33920">
                  <c:v>-1.76470588235293E-2</c:v>
                </c:pt>
                <c:pt idx="33921">
                  <c:v>-1.76470588235293E-2</c:v>
                </c:pt>
                <c:pt idx="33922">
                  <c:v>-1.76470588235293E-2</c:v>
                </c:pt>
                <c:pt idx="33923">
                  <c:v>-1.76470588235293E-2</c:v>
                </c:pt>
                <c:pt idx="33924">
                  <c:v>-1.76470588235293E-2</c:v>
                </c:pt>
                <c:pt idx="33925">
                  <c:v>-1.76470588235293E-2</c:v>
                </c:pt>
                <c:pt idx="33926">
                  <c:v>-1.76470588235293E-2</c:v>
                </c:pt>
                <c:pt idx="33927">
                  <c:v>-1.76470588235293E-2</c:v>
                </c:pt>
                <c:pt idx="33928">
                  <c:v>-1.76470588235293E-2</c:v>
                </c:pt>
                <c:pt idx="33929">
                  <c:v>-1.76470588235293E-2</c:v>
                </c:pt>
                <c:pt idx="33930">
                  <c:v>-1.76470588235293E-2</c:v>
                </c:pt>
                <c:pt idx="33931">
                  <c:v>-1.76470588235293E-2</c:v>
                </c:pt>
                <c:pt idx="33932">
                  <c:v>-1.76470588235293E-2</c:v>
                </c:pt>
                <c:pt idx="33933">
                  <c:v>-1.76470588235293E-2</c:v>
                </c:pt>
                <c:pt idx="33934">
                  <c:v>-1.76470588235293E-2</c:v>
                </c:pt>
                <c:pt idx="33935">
                  <c:v>-1.76470588235293E-2</c:v>
                </c:pt>
                <c:pt idx="33936">
                  <c:v>-1.76470588235293E-2</c:v>
                </c:pt>
                <c:pt idx="33937">
                  <c:v>-1.76470588235293E-2</c:v>
                </c:pt>
                <c:pt idx="33938">
                  <c:v>-1.76470588235293E-2</c:v>
                </c:pt>
                <c:pt idx="33939">
                  <c:v>-1.76470588235293E-2</c:v>
                </c:pt>
                <c:pt idx="33940">
                  <c:v>-1.76470588235293E-2</c:v>
                </c:pt>
                <c:pt idx="33941">
                  <c:v>-1.76470588235293E-2</c:v>
                </c:pt>
                <c:pt idx="33942">
                  <c:v>-1.76470588235293E-2</c:v>
                </c:pt>
                <c:pt idx="33943">
                  <c:v>-1.76470588235293E-2</c:v>
                </c:pt>
                <c:pt idx="33944">
                  <c:v>-1.76470588235293E-2</c:v>
                </c:pt>
                <c:pt idx="33945">
                  <c:v>-1.76470588235293E-2</c:v>
                </c:pt>
                <c:pt idx="33946">
                  <c:v>-1.76470588235293E-2</c:v>
                </c:pt>
                <c:pt idx="33947">
                  <c:v>-1.76470588235293E-2</c:v>
                </c:pt>
                <c:pt idx="33948">
                  <c:v>-1.76470588235293E-2</c:v>
                </c:pt>
                <c:pt idx="33949">
                  <c:v>-1.76470588235293E-2</c:v>
                </c:pt>
                <c:pt idx="33950">
                  <c:v>-1.76470588235293E-2</c:v>
                </c:pt>
                <c:pt idx="33951">
                  <c:v>-1.76470588235293E-2</c:v>
                </c:pt>
                <c:pt idx="33952">
                  <c:v>-1.76470588235293E-2</c:v>
                </c:pt>
                <c:pt idx="33953">
                  <c:v>-1.76470588235293E-2</c:v>
                </c:pt>
                <c:pt idx="33954">
                  <c:v>-1.76470588235293E-2</c:v>
                </c:pt>
                <c:pt idx="33955">
                  <c:v>-1.76470588235293E-2</c:v>
                </c:pt>
                <c:pt idx="33956">
                  <c:v>-1.76470588235293E-2</c:v>
                </c:pt>
                <c:pt idx="33957">
                  <c:v>-1.76470588235293E-2</c:v>
                </c:pt>
                <c:pt idx="33958">
                  <c:v>-1.76470588235293E-2</c:v>
                </c:pt>
                <c:pt idx="33959">
                  <c:v>-1.76470588235293E-2</c:v>
                </c:pt>
                <c:pt idx="33960">
                  <c:v>-1.76470588235293E-2</c:v>
                </c:pt>
                <c:pt idx="33961">
                  <c:v>-1.76470588235293E-2</c:v>
                </c:pt>
                <c:pt idx="33962">
                  <c:v>-1.76470588235293E-2</c:v>
                </c:pt>
                <c:pt idx="33963">
                  <c:v>-1.76470588235293E-2</c:v>
                </c:pt>
                <c:pt idx="33964">
                  <c:v>-1.76470588235293E-2</c:v>
                </c:pt>
                <c:pt idx="33965">
                  <c:v>-1.76470588235293E-2</c:v>
                </c:pt>
                <c:pt idx="33966">
                  <c:v>-1.76470588235293E-2</c:v>
                </c:pt>
                <c:pt idx="33967">
                  <c:v>-1.76470588235293E-2</c:v>
                </c:pt>
                <c:pt idx="33968">
                  <c:v>-1.76470588235293E-2</c:v>
                </c:pt>
                <c:pt idx="33969">
                  <c:v>-1.76470588235293E-2</c:v>
                </c:pt>
                <c:pt idx="33970">
                  <c:v>-1.76470588235293E-2</c:v>
                </c:pt>
                <c:pt idx="33971">
                  <c:v>-1.76470588235293E-2</c:v>
                </c:pt>
                <c:pt idx="33972">
                  <c:v>-1.76470588235293E-2</c:v>
                </c:pt>
                <c:pt idx="33973">
                  <c:v>-1.76470588235293E-2</c:v>
                </c:pt>
                <c:pt idx="33974">
                  <c:v>-1.76470588235293E-2</c:v>
                </c:pt>
                <c:pt idx="33975">
                  <c:v>-1.76470588235293E-2</c:v>
                </c:pt>
                <c:pt idx="33976">
                  <c:v>-1.76470588235293E-2</c:v>
                </c:pt>
                <c:pt idx="33977">
                  <c:v>-1.76470588235293E-2</c:v>
                </c:pt>
                <c:pt idx="33978">
                  <c:v>-1.84873949579831E-2</c:v>
                </c:pt>
                <c:pt idx="33979">
                  <c:v>-1.84873949579831E-2</c:v>
                </c:pt>
                <c:pt idx="33980">
                  <c:v>-1.84873949579831E-2</c:v>
                </c:pt>
                <c:pt idx="33981">
                  <c:v>-1.84873949579831E-2</c:v>
                </c:pt>
                <c:pt idx="33982">
                  <c:v>-1.76470588235293E-2</c:v>
                </c:pt>
                <c:pt idx="33983">
                  <c:v>-1.76470588235293E-2</c:v>
                </c:pt>
                <c:pt idx="33984">
                  <c:v>-1.76470588235293E-2</c:v>
                </c:pt>
                <c:pt idx="33985">
                  <c:v>-1.76470588235293E-2</c:v>
                </c:pt>
                <c:pt idx="33986">
                  <c:v>-1.76470588235293E-2</c:v>
                </c:pt>
                <c:pt idx="33987">
                  <c:v>-1.76470588235293E-2</c:v>
                </c:pt>
                <c:pt idx="33988">
                  <c:v>-1.76470588235293E-2</c:v>
                </c:pt>
                <c:pt idx="33989">
                  <c:v>-1.76470588235293E-2</c:v>
                </c:pt>
                <c:pt idx="33990">
                  <c:v>-1.76470588235293E-2</c:v>
                </c:pt>
                <c:pt idx="33991">
                  <c:v>-1.76470588235293E-2</c:v>
                </c:pt>
                <c:pt idx="33992">
                  <c:v>-1.76470588235293E-2</c:v>
                </c:pt>
                <c:pt idx="33993">
                  <c:v>-1.76470588235293E-2</c:v>
                </c:pt>
                <c:pt idx="33994">
                  <c:v>-1.76470588235293E-2</c:v>
                </c:pt>
                <c:pt idx="33995">
                  <c:v>-1.76470588235293E-2</c:v>
                </c:pt>
                <c:pt idx="33996">
                  <c:v>-1.76470588235293E-2</c:v>
                </c:pt>
                <c:pt idx="33997">
                  <c:v>-1.76470588235293E-2</c:v>
                </c:pt>
                <c:pt idx="33998">
                  <c:v>-1.76470588235293E-2</c:v>
                </c:pt>
                <c:pt idx="33999">
                  <c:v>-1.76470588235293E-2</c:v>
                </c:pt>
                <c:pt idx="34000">
                  <c:v>-1.76470588235293E-2</c:v>
                </c:pt>
                <c:pt idx="34001">
                  <c:v>-1.76470588235293E-2</c:v>
                </c:pt>
                <c:pt idx="34002">
                  <c:v>-1.76470588235293E-2</c:v>
                </c:pt>
                <c:pt idx="34003">
                  <c:v>-1.76470588235293E-2</c:v>
                </c:pt>
                <c:pt idx="34004">
                  <c:v>-1.76470588235293E-2</c:v>
                </c:pt>
                <c:pt idx="34005">
                  <c:v>-1.76470588235293E-2</c:v>
                </c:pt>
                <c:pt idx="34006">
                  <c:v>-1.76470588235293E-2</c:v>
                </c:pt>
                <c:pt idx="34007">
                  <c:v>-1.76470588235293E-2</c:v>
                </c:pt>
                <c:pt idx="34008">
                  <c:v>-1.84873949579831E-2</c:v>
                </c:pt>
                <c:pt idx="34009">
                  <c:v>-1.84873949579831E-2</c:v>
                </c:pt>
                <c:pt idx="34010">
                  <c:v>-1.84873949579831E-2</c:v>
                </c:pt>
                <c:pt idx="34011">
                  <c:v>-1.84873949579831E-2</c:v>
                </c:pt>
                <c:pt idx="34012">
                  <c:v>-1.84873949579831E-2</c:v>
                </c:pt>
                <c:pt idx="34013">
                  <c:v>-1.84873949579831E-2</c:v>
                </c:pt>
                <c:pt idx="34014">
                  <c:v>-1.84873949579831E-2</c:v>
                </c:pt>
                <c:pt idx="34015">
                  <c:v>-1.84873949579831E-2</c:v>
                </c:pt>
                <c:pt idx="34016">
                  <c:v>-1.84873949579831E-2</c:v>
                </c:pt>
                <c:pt idx="34017">
                  <c:v>-1.84873949579831E-2</c:v>
                </c:pt>
                <c:pt idx="34018">
                  <c:v>-1.84873949579831E-2</c:v>
                </c:pt>
                <c:pt idx="34019">
                  <c:v>-1.84873949579831E-2</c:v>
                </c:pt>
                <c:pt idx="34020">
                  <c:v>-1.84873949579831E-2</c:v>
                </c:pt>
                <c:pt idx="34021">
                  <c:v>-1.84873949579831E-2</c:v>
                </c:pt>
                <c:pt idx="34022">
                  <c:v>-1.84873949579831E-2</c:v>
                </c:pt>
                <c:pt idx="34023">
                  <c:v>-1.84873949579831E-2</c:v>
                </c:pt>
                <c:pt idx="34024">
                  <c:v>-1.84873949579831E-2</c:v>
                </c:pt>
                <c:pt idx="34025">
                  <c:v>-1.84873949579831E-2</c:v>
                </c:pt>
                <c:pt idx="34026">
                  <c:v>-1.84873949579831E-2</c:v>
                </c:pt>
                <c:pt idx="34027">
                  <c:v>-1.84873949579831E-2</c:v>
                </c:pt>
                <c:pt idx="34028">
                  <c:v>-1.84873949579831E-2</c:v>
                </c:pt>
                <c:pt idx="34029">
                  <c:v>-1.84873949579831E-2</c:v>
                </c:pt>
                <c:pt idx="34030">
                  <c:v>-1.84873949579831E-2</c:v>
                </c:pt>
                <c:pt idx="34031">
                  <c:v>-1.84873949579831E-2</c:v>
                </c:pt>
                <c:pt idx="34032">
                  <c:v>-1.84873949579831E-2</c:v>
                </c:pt>
                <c:pt idx="34033">
                  <c:v>-1.84873949579831E-2</c:v>
                </c:pt>
                <c:pt idx="34034">
                  <c:v>-1.84873949579831E-2</c:v>
                </c:pt>
                <c:pt idx="34035">
                  <c:v>-1.84873949579831E-2</c:v>
                </c:pt>
                <c:pt idx="34036">
                  <c:v>-1.84873949579831E-2</c:v>
                </c:pt>
                <c:pt idx="34037">
                  <c:v>-1.84873949579831E-2</c:v>
                </c:pt>
                <c:pt idx="34038">
                  <c:v>-1.84873949579831E-2</c:v>
                </c:pt>
                <c:pt idx="34039">
                  <c:v>-1.84873949579831E-2</c:v>
                </c:pt>
                <c:pt idx="34040">
                  <c:v>-1.84873949579831E-2</c:v>
                </c:pt>
                <c:pt idx="34041">
                  <c:v>-1.84873949579831E-2</c:v>
                </c:pt>
                <c:pt idx="34042">
                  <c:v>-1.84873949579831E-2</c:v>
                </c:pt>
                <c:pt idx="34043">
                  <c:v>-1.84873949579831E-2</c:v>
                </c:pt>
                <c:pt idx="34044">
                  <c:v>-1.84873949579831E-2</c:v>
                </c:pt>
                <c:pt idx="34045">
                  <c:v>-1.84873949579831E-2</c:v>
                </c:pt>
                <c:pt idx="34046">
                  <c:v>-1.84873949579831E-2</c:v>
                </c:pt>
                <c:pt idx="34047">
                  <c:v>-1.84873949579831E-2</c:v>
                </c:pt>
                <c:pt idx="34048">
                  <c:v>-1.84873949579831E-2</c:v>
                </c:pt>
                <c:pt idx="34049">
                  <c:v>-1.84873949579831E-2</c:v>
                </c:pt>
                <c:pt idx="34050">
                  <c:v>-1.84873949579831E-2</c:v>
                </c:pt>
                <c:pt idx="34051">
                  <c:v>-1.84873949579831E-2</c:v>
                </c:pt>
                <c:pt idx="34052">
                  <c:v>-1.84873949579831E-2</c:v>
                </c:pt>
                <c:pt idx="34053">
                  <c:v>-1.84873949579831E-2</c:v>
                </c:pt>
                <c:pt idx="34054">
                  <c:v>-1.84873949579831E-2</c:v>
                </c:pt>
                <c:pt idx="34055">
                  <c:v>-1.84873949579831E-2</c:v>
                </c:pt>
                <c:pt idx="34056">
                  <c:v>-1.84873949579831E-2</c:v>
                </c:pt>
                <c:pt idx="34057">
                  <c:v>-1.84873949579831E-2</c:v>
                </c:pt>
                <c:pt idx="34058">
                  <c:v>-1.9327731092436899E-2</c:v>
                </c:pt>
                <c:pt idx="34059">
                  <c:v>-1.9327731092436899E-2</c:v>
                </c:pt>
                <c:pt idx="34060">
                  <c:v>-1.9327731092436899E-2</c:v>
                </c:pt>
                <c:pt idx="34061">
                  <c:v>-1.9327731092436899E-2</c:v>
                </c:pt>
                <c:pt idx="34062">
                  <c:v>-1.9327731092436899E-2</c:v>
                </c:pt>
                <c:pt idx="34063">
                  <c:v>-1.9327731092436899E-2</c:v>
                </c:pt>
                <c:pt idx="34064">
                  <c:v>-1.9327731092436899E-2</c:v>
                </c:pt>
                <c:pt idx="34065">
                  <c:v>-1.9327731092436899E-2</c:v>
                </c:pt>
                <c:pt idx="34066">
                  <c:v>-1.9327731092436899E-2</c:v>
                </c:pt>
                <c:pt idx="34067">
                  <c:v>-1.9327731092436899E-2</c:v>
                </c:pt>
                <c:pt idx="34068">
                  <c:v>-1.9327731092436899E-2</c:v>
                </c:pt>
                <c:pt idx="34069">
                  <c:v>-1.9327731092436899E-2</c:v>
                </c:pt>
                <c:pt idx="34070">
                  <c:v>-1.9327731092436899E-2</c:v>
                </c:pt>
                <c:pt idx="34071">
                  <c:v>-1.9327731092436899E-2</c:v>
                </c:pt>
                <c:pt idx="34072">
                  <c:v>-1.9327731092436899E-2</c:v>
                </c:pt>
                <c:pt idx="34073">
                  <c:v>-1.9327731092436899E-2</c:v>
                </c:pt>
                <c:pt idx="34074">
                  <c:v>-1.9327731092436899E-2</c:v>
                </c:pt>
                <c:pt idx="34075">
                  <c:v>-1.9327731092436899E-2</c:v>
                </c:pt>
                <c:pt idx="34076">
                  <c:v>-1.9327731092436899E-2</c:v>
                </c:pt>
                <c:pt idx="34077">
                  <c:v>-1.9327731092436899E-2</c:v>
                </c:pt>
                <c:pt idx="34078">
                  <c:v>-1.9327731092436899E-2</c:v>
                </c:pt>
                <c:pt idx="34079">
                  <c:v>-1.9327731092436899E-2</c:v>
                </c:pt>
                <c:pt idx="34080">
                  <c:v>-1.9327731092436899E-2</c:v>
                </c:pt>
                <c:pt idx="34081">
                  <c:v>-1.9327731092436899E-2</c:v>
                </c:pt>
                <c:pt idx="34082">
                  <c:v>-1.9327731092436899E-2</c:v>
                </c:pt>
                <c:pt idx="34083">
                  <c:v>-1.9327731092436899E-2</c:v>
                </c:pt>
                <c:pt idx="34084">
                  <c:v>-1.9327731092436899E-2</c:v>
                </c:pt>
                <c:pt idx="34085">
                  <c:v>-1.9327731092436899E-2</c:v>
                </c:pt>
                <c:pt idx="34086">
                  <c:v>-1.9327731092436899E-2</c:v>
                </c:pt>
                <c:pt idx="34087">
                  <c:v>-1.9327731092436899E-2</c:v>
                </c:pt>
                <c:pt idx="34088">
                  <c:v>-1.9327731092436899E-2</c:v>
                </c:pt>
                <c:pt idx="34089">
                  <c:v>-1.9327731092436899E-2</c:v>
                </c:pt>
                <c:pt idx="34090">
                  <c:v>-1.9327731092436899E-2</c:v>
                </c:pt>
                <c:pt idx="34091">
                  <c:v>-1.9327731092436899E-2</c:v>
                </c:pt>
                <c:pt idx="34092">
                  <c:v>-1.9327731092436899E-2</c:v>
                </c:pt>
                <c:pt idx="34093">
                  <c:v>-1.9327731092436899E-2</c:v>
                </c:pt>
                <c:pt idx="34094">
                  <c:v>-1.9327731092436899E-2</c:v>
                </c:pt>
                <c:pt idx="34095">
                  <c:v>-1.9327731092436899E-2</c:v>
                </c:pt>
                <c:pt idx="34096">
                  <c:v>-1.9327731092436899E-2</c:v>
                </c:pt>
                <c:pt idx="34097">
                  <c:v>-2.0168067226890601E-2</c:v>
                </c:pt>
                <c:pt idx="34098">
                  <c:v>-2.0168067226890601E-2</c:v>
                </c:pt>
                <c:pt idx="34099">
                  <c:v>-2.0168067226890601E-2</c:v>
                </c:pt>
                <c:pt idx="34100">
                  <c:v>-2.0168067226890601E-2</c:v>
                </c:pt>
                <c:pt idx="34101">
                  <c:v>-2.0168067226890601E-2</c:v>
                </c:pt>
                <c:pt idx="34102">
                  <c:v>-2.0168067226890601E-2</c:v>
                </c:pt>
                <c:pt idx="34103">
                  <c:v>-2.0168067226890601E-2</c:v>
                </c:pt>
                <c:pt idx="34104">
                  <c:v>-2.0168067226890601E-2</c:v>
                </c:pt>
                <c:pt idx="34105">
                  <c:v>-2.0168067226890601E-2</c:v>
                </c:pt>
                <c:pt idx="34106">
                  <c:v>-2.0168067226890601E-2</c:v>
                </c:pt>
                <c:pt idx="34107">
                  <c:v>-2.0168067226890601E-2</c:v>
                </c:pt>
                <c:pt idx="34108">
                  <c:v>-2.0168067226890601E-2</c:v>
                </c:pt>
                <c:pt idx="34109">
                  <c:v>-2.0168067226890601E-2</c:v>
                </c:pt>
                <c:pt idx="34110">
                  <c:v>-2.0168067226890601E-2</c:v>
                </c:pt>
                <c:pt idx="34111">
                  <c:v>-2.0168067226890601E-2</c:v>
                </c:pt>
                <c:pt idx="34112">
                  <c:v>-2.0168067226890601E-2</c:v>
                </c:pt>
                <c:pt idx="34113">
                  <c:v>-2.0168067226890601E-2</c:v>
                </c:pt>
                <c:pt idx="34114">
                  <c:v>-2.0168067226890601E-2</c:v>
                </c:pt>
                <c:pt idx="34115">
                  <c:v>-2.0168067226890601E-2</c:v>
                </c:pt>
                <c:pt idx="34116">
                  <c:v>-2.0168067226890601E-2</c:v>
                </c:pt>
                <c:pt idx="34117">
                  <c:v>-2.0168067226890601E-2</c:v>
                </c:pt>
                <c:pt idx="34118">
                  <c:v>-2.0168067226890601E-2</c:v>
                </c:pt>
                <c:pt idx="34119">
                  <c:v>-2.0168067226890601E-2</c:v>
                </c:pt>
                <c:pt idx="34120">
                  <c:v>-2.0168067226890601E-2</c:v>
                </c:pt>
                <c:pt idx="34121">
                  <c:v>-1.9327731092436899E-2</c:v>
                </c:pt>
                <c:pt idx="34122">
                  <c:v>-1.9327731092436899E-2</c:v>
                </c:pt>
                <c:pt idx="34123">
                  <c:v>-1.9327731092436899E-2</c:v>
                </c:pt>
                <c:pt idx="34124">
                  <c:v>-1.9327731092436899E-2</c:v>
                </c:pt>
                <c:pt idx="34125">
                  <c:v>-1.9327731092436899E-2</c:v>
                </c:pt>
                <c:pt idx="34126">
                  <c:v>-1.9327731092436899E-2</c:v>
                </c:pt>
                <c:pt idx="34127">
                  <c:v>-1.9327731092436899E-2</c:v>
                </c:pt>
                <c:pt idx="34128">
                  <c:v>-1.9327731092436899E-2</c:v>
                </c:pt>
                <c:pt idx="34129">
                  <c:v>-1.9327731092436899E-2</c:v>
                </c:pt>
                <c:pt idx="34130">
                  <c:v>-1.9327731092436899E-2</c:v>
                </c:pt>
                <c:pt idx="34131">
                  <c:v>-1.9327731092436899E-2</c:v>
                </c:pt>
                <c:pt idx="34132">
                  <c:v>-1.9327731092436899E-2</c:v>
                </c:pt>
                <c:pt idx="34133">
                  <c:v>-1.9327731092436899E-2</c:v>
                </c:pt>
                <c:pt idx="34134">
                  <c:v>-1.9327731092436899E-2</c:v>
                </c:pt>
                <c:pt idx="34135">
                  <c:v>-1.9327731092436899E-2</c:v>
                </c:pt>
                <c:pt idx="34136">
                  <c:v>-1.9327731092436899E-2</c:v>
                </c:pt>
                <c:pt idx="34137">
                  <c:v>-1.9327731092436899E-2</c:v>
                </c:pt>
                <c:pt idx="34138">
                  <c:v>-1.9327731092436899E-2</c:v>
                </c:pt>
                <c:pt idx="34139">
                  <c:v>-1.9327731092436899E-2</c:v>
                </c:pt>
                <c:pt idx="34140">
                  <c:v>-1.9327731092436899E-2</c:v>
                </c:pt>
                <c:pt idx="34141">
                  <c:v>-1.9327731092436899E-2</c:v>
                </c:pt>
                <c:pt idx="34142">
                  <c:v>-1.9327731092436899E-2</c:v>
                </c:pt>
                <c:pt idx="34143">
                  <c:v>-1.9327731092436899E-2</c:v>
                </c:pt>
                <c:pt idx="34144">
                  <c:v>-1.9327731092436899E-2</c:v>
                </c:pt>
                <c:pt idx="34145">
                  <c:v>-1.9327731092436899E-2</c:v>
                </c:pt>
                <c:pt idx="34146">
                  <c:v>-1.9327731092436899E-2</c:v>
                </c:pt>
                <c:pt idx="34147">
                  <c:v>-1.9327731092436899E-2</c:v>
                </c:pt>
                <c:pt idx="34148">
                  <c:v>-1.9327731092436899E-2</c:v>
                </c:pt>
                <c:pt idx="34149">
                  <c:v>-1.9327731092436899E-2</c:v>
                </c:pt>
                <c:pt idx="34150">
                  <c:v>-1.84873949579831E-2</c:v>
                </c:pt>
                <c:pt idx="34151">
                  <c:v>-1.84873949579831E-2</c:v>
                </c:pt>
                <c:pt idx="34152">
                  <c:v>-1.84873949579831E-2</c:v>
                </c:pt>
                <c:pt idx="34153">
                  <c:v>-1.84873949579831E-2</c:v>
                </c:pt>
                <c:pt idx="34154">
                  <c:v>-1.84873949579831E-2</c:v>
                </c:pt>
                <c:pt idx="34155">
                  <c:v>-1.84873949579831E-2</c:v>
                </c:pt>
                <c:pt idx="34156">
                  <c:v>-1.84873949579831E-2</c:v>
                </c:pt>
                <c:pt idx="34157">
                  <c:v>-1.84873949579831E-2</c:v>
                </c:pt>
                <c:pt idx="34158">
                  <c:v>-1.84873949579831E-2</c:v>
                </c:pt>
                <c:pt idx="34159">
                  <c:v>-1.84873949579831E-2</c:v>
                </c:pt>
                <c:pt idx="34160">
                  <c:v>-1.84873949579831E-2</c:v>
                </c:pt>
                <c:pt idx="34161">
                  <c:v>-1.84873949579831E-2</c:v>
                </c:pt>
                <c:pt idx="34162">
                  <c:v>-1.84873949579831E-2</c:v>
                </c:pt>
                <c:pt idx="34163">
                  <c:v>-1.84873949579831E-2</c:v>
                </c:pt>
                <c:pt idx="34164">
                  <c:v>-1.84873949579831E-2</c:v>
                </c:pt>
                <c:pt idx="34165">
                  <c:v>-1.84873949579831E-2</c:v>
                </c:pt>
                <c:pt idx="34166">
                  <c:v>-1.84873949579831E-2</c:v>
                </c:pt>
                <c:pt idx="34167">
                  <c:v>-1.84873949579831E-2</c:v>
                </c:pt>
                <c:pt idx="34168">
                  <c:v>-1.84873949579831E-2</c:v>
                </c:pt>
                <c:pt idx="34169">
                  <c:v>-1.84873949579831E-2</c:v>
                </c:pt>
                <c:pt idx="34170">
                  <c:v>-1.84873949579831E-2</c:v>
                </c:pt>
                <c:pt idx="34171">
                  <c:v>-1.84873949579831E-2</c:v>
                </c:pt>
                <c:pt idx="34172">
                  <c:v>-1.84873949579831E-2</c:v>
                </c:pt>
                <c:pt idx="34173">
                  <c:v>-1.84873949579831E-2</c:v>
                </c:pt>
                <c:pt idx="34174">
                  <c:v>-1.84873949579831E-2</c:v>
                </c:pt>
                <c:pt idx="34175">
                  <c:v>-1.84873949579831E-2</c:v>
                </c:pt>
                <c:pt idx="34176">
                  <c:v>-1.84873949579831E-2</c:v>
                </c:pt>
                <c:pt idx="34177">
                  <c:v>-1.84873949579831E-2</c:v>
                </c:pt>
                <c:pt idx="34178">
                  <c:v>-1.84873949579831E-2</c:v>
                </c:pt>
                <c:pt idx="34179">
                  <c:v>-1.84873949579831E-2</c:v>
                </c:pt>
                <c:pt idx="34180">
                  <c:v>-1.84873949579831E-2</c:v>
                </c:pt>
                <c:pt idx="34181">
                  <c:v>-1.84873949579831E-2</c:v>
                </c:pt>
                <c:pt idx="34182">
                  <c:v>-1.84873949579831E-2</c:v>
                </c:pt>
                <c:pt idx="34183">
                  <c:v>-1.84873949579831E-2</c:v>
                </c:pt>
                <c:pt idx="34184">
                  <c:v>-1.84873949579831E-2</c:v>
                </c:pt>
                <c:pt idx="34185">
                  <c:v>-1.84873949579831E-2</c:v>
                </c:pt>
                <c:pt idx="34186">
                  <c:v>-1.84873949579831E-2</c:v>
                </c:pt>
                <c:pt idx="34187">
                  <c:v>-1.84873949579831E-2</c:v>
                </c:pt>
                <c:pt idx="34188">
                  <c:v>-1.84873949579831E-2</c:v>
                </c:pt>
                <c:pt idx="34189">
                  <c:v>-1.84873949579831E-2</c:v>
                </c:pt>
                <c:pt idx="34190">
                  <c:v>-1.84873949579831E-2</c:v>
                </c:pt>
                <c:pt idx="34191">
                  <c:v>-1.84873949579831E-2</c:v>
                </c:pt>
                <c:pt idx="34192">
                  <c:v>-1.84873949579831E-2</c:v>
                </c:pt>
                <c:pt idx="34193">
                  <c:v>-1.84873949579831E-2</c:v>
                </c:pt>
                <c:pt idx="34194">
                  <c:v>-1.84873949579831E-2</c:v>
                </c:pt>
                <c:pt idx="34195">
                  <c:v>-1.84873949579831E-2</c:v>
                </c:pt>
                <c:pt idx="34196">
                  <c:v>-1.84873949579831E-2</c:v>
                </c:pt>
                <c:pt idx="34197">
                  <c:v>-1.84873949579831E-2</c:v>
                </c:pt>
                <c:pt idx="34198">
                  <c:v>-1.84873949579831E-2</c:v>
                </c:pt>
                <c:pt idx="34199">
                  <c:v>-1.84873949579831E-2</c:v>
                </c:pt>
                <c:pt idx="34200">
                  <c:v>-1.84873949579831E-2</c:v>
                </c:pt>
                <c:pt idx="34201">
                  <c:v>-1.84873949579831E-2</c:v>
                </c:pt>
                <c:pt idx="34202">
                  <c:v>-1.84873949579831E-2</c:v>
                </c:pt>
                <c:pt idx="34203">
                  <c:v>-1.84873949579831E-2</c:v>
                </c:pt>
                <c:pt idx="34204">
                  <c:v>-1.84873949579831E-2</c:v>
                </c:pt>
                <c:pt idx="34205">
                  <c:v>-1.84873949579831E-2</c:v>
                </c:pt>
                <c:pt idx="34206">
                  <c:v>-1.84873949579831E-2</c:v>
                </c:pt>
                <c:pt idx="34207">
                  <c:v>-1.84873949579831E-2</c:v>
                </c:pt>
                <c:pt idx="34208">
                  <c:v>-1.84873949579831E-2</c:v>
                </c:pt>
                <c:pt idx="34209">
                  <c:v>-1.84873949579831E-2</c:v>
                </c:pt>
                <c:pt idx="34210">
                  <c:v>-1.84873949579831E-2</c:v>
                </c:pt>
                <c:pt idx="34211">
                  <c:v>-1.84873949579831E-2</c:v>
                </c:pt>
                <c:pt idx="34212">
                  <c:v>-1.84873949579831E-2</c:v>
                </c:pt>
                <c:pt idx="34213">
                  <c:v>-1.84873949579831E-2</c:v>
                </c:pt>
                <c:pt idx="34214">
                  <c:v>-1.84873949579831E-2</c:v>
                </c:pt>
                <c:pt idx="34215">
                  <c:v>-1.84873949579831E-2</c:v>
                </c:pt>
                <c:pt idx="34216">
                  <c:v>-1.84873949579831E-2</c:v>
                </c:pt>
                <c:pt idx="34217">
                  <c:v>-1.84873949579831E-2</c:v>
                </c:pt>
                <c:pt idx="34218">
                  <c:v>-1.84873949579831E-2</c:v>
                </c:pt>
                <c:pt idx="34219">
                  <c:v>-1.84873949579831E-2</c:v>
                </c:pt>
                <c:pt idx="34220">
                  <c:v>-1.84873949579831E-2</c:v>
                </c:pt>
                <c:pt idx="34221">
                  <c:v>-1.84873949579831E-2</c:v>
                </c:pt>
                <c:pt idx="34222">
                  <c:v>-1.84873949579831E-2</c:v>
                </c:pt>
                <c:pt idx="34223">
                  <c:v>-1.84873949579831E-2</c:v>
                </c:pt>
                <c:pt idx="34224">
                  <c:v>-1.84873949579831E-2</c:v>
                </c:pt>
                <c:pt idx="34225">
                  <c:v>-1.84873949579831E-2</c:v>
                </c:pt>
                <c:pt idx="34226">
                  <c:v>-1.84873949579831E-2</c:v>
                </c:pt>
                <c:pt idx="34227">
                  <c:v>-1.84873949579831E-2</c:v>
                </c:pt>
                <c:pt idx="34228">
                  <c:v>-1.84873949579831E-2</c:v>
                </c:pt>
                <c:pt idx="34229">
                  <c:v>-1.84873949579831E-2</c:v>
                </c:pt>
                <c:pt idx="34230">
                  <c:v>-1.84873949579831E-2</c:v>
                </c:pt>
                <c:pt idx="34231">
                  <c:v>-1.84873949579831E-2</c:v>
                </c:pt>
                <c:pt idx="34232">
                  <c:v>-1.84873949579831E-2</c:v>
                </c:pt>
                <c:pt idx="34233">
                  <c:v>-1.84873949579831E-2</c:v>
                </c:pt>
                <c:pt idx="34234">
                  <c:v>-1.84873949579831E-2</c:v>
                </c:pt>
                <c:pt idx="34235">
                  <c:v>-1.84873949579831E-2</c:v>
                </c:pt>
                <c:pt idx="34236">
                  <c:v>-1.84873949579831E-2</c:v>
                </c:pt>
                <c:pt idx="34237">
                  <c:v>-1.84873949579831E-2</c:v>
                </c:pt>
                <c:pt idx="34238">
                  <c:v>-1.84873949579831E-2</c:v>
                </c:pt>
                <c:pt idx="34239">
                  <c:v>-1.84873949579831E-2</c:v>
                </c:pt>
                <c:pt idx="34240">
                  <c:v>-1.84873949579831E-2</c:v>
                </c:pt>
                <c:pt idx="34241">
                  <c:v>-1.84873949579831E-2</c:v>
                </c:pt>
                <c:pt idx="34242">
                  <c:v>-1.84873949579831E-2</c:v>
                </c:pt>
                <c:pt idx="34243">
                  <c:v>-1.84873949579831E-2</c:v>
                </c:pt>
                <c:pt idx="34244">
                  <c:v>-1.84873949579831E-2</c:v>
                </c:pt>
                <c:pt idx="34245">
                  <c:v>-1.84873949579831E-2</c:v>
                </c:pt>
                <c:pt idx="34246">
                  <c:v>-1.84873949579831E-2</c:v>
                </c:pt>
                <c:pt idx="34247">
                  <c:v>-1.84873949579831E-2</c:v>
                </c:pt>
                <c:pt idx="34248">
                  <c:v>-1.84873949579831E-2</c:v>
                </c:pt>
                <c:pt idx="34249">
                  <c:v>-1.84873949579831E-2</c:v>
                </c:pt>
                <c:pt idx="34250">
                  <c:v>-1.84873949579831E-2</c:v>
                </c:pt>
                <c:pt idx="34251">
                  <c:v>-1.84873949579831E-2</c:v>
                </c:pt>
                <c:pt idx="34252">
                  <c:v>-1.84873949579831E-2</c:v>
                </c:pt>
                <c:pt idx="34253">
                  <c:v>-1.84873949579831E-2</c:v>
                </c:pt>
                <c:pt idx="34254">
                  <c:v>-1.84873949579831E-2</c:v>
                </c:pt>
                <c:pt idx="34255">
                  <c:v>-1.76470588235293E-2</c:v>
                </c:pt>
                <c:pt idx="34256">
                  <c:v>-1.76470588235293E-2</c:v>
                </c:pt>
                <c:pt idx="34257">
                  <c:v>-1.76470588235293E-2</c:v>
                </c:pt>
                <c:pt idx="34258">
                  <c:v>-1.76470588235293E-2</c:v>
                </c:pt>
                <c:pt idx="34259">
                  <c:v>-1.76470588235293E-2</c:v>
                </c:pt>
                <c:pt idx="34260">
                  <c:v>-1.76470588235293E-2</c:v>
                </c:pt>
                <c:pt idx="34261">
                  <c:v>-1.76470588235293E-2</c:v>
                </c:pt>
                <c:pt idx="34262">
                  <c:v>-1.76470588235293E-2</c:v>
                </c:pt>
                <c:pt idx="34263">
                  <c:v>-1.76470588235293E-2</c:v>
                </c:pt>
                <c:pt idx="34264">
                  <c:v>-1.76470588235293E-2</c:v>
                </c:pt>
                <c:pt idx="34265">
                  <c:v>-1.76470588235293E-2</c:v>
                </c:pt>
                <c:pt idx="34266">
                  <c:v>-1.6806722689075501E-2</c:v>
                </c:pt>
                <c:pt idx="34267">
                  <c:v>-1.6806722689075501E-2</c:v>
                </c:pt>
                <c:pt idx="34268">
                  <c:v>-1.6806722689075501E-2</c:v>
                </c:pt>
                <c:pt idx="34269">
                  <c:v>-1.6806722689075501E-2</c:v>
                </c:pt>
                <c:pt idx="34270">
                  <c:v>-1.6806722689075501E-2</c:v>
                </c:pt>
                <c:pt idx="34271">
                  <c:v>-1.6806722689075501E-2</c:v>
                </c:pt>
                <c:pt idx="34272">
                  <c:v>-1.6806722689075501E-2</c:v>
                </c:pt>
                <c:pt idx="34273">
                  <c:v>-1.6806722689075501E-2</c:v>
                </c:pt>
                <c:pt idx="34274">
                  <c:v>-1.6806722689075501E-2</c:v>
                </c:pt>
                <c:pt idx="34275">
                  <c:v>-1.6806722689075501E-2</c:v>
                </c:pt>
                <c:pt idx="34276">
                  <c:v>-1.6806722689075501E-2</c:v>
                </c:pt>
                <c:pt idx="34277">
                  <c:v>-1.6806722689075501E-2</c:v>
                </c:pt>
                <c:pt idx="34278">
                  <c:v>-1.6806722689075501E-2</c:v>
                </c:pt>
                <c:pt idx="34279">
                  <c:v>-1.5966386554621698E-2</c:v>
                </c:pt>
                <c:pt idx="34280">
                  <c:v>-1.5126050420168E-2</c:v>
                </c:pt>
                <c:pt idx="34281">
                  <c:v>-1.5126050420168E-2</c:v>
                </c:pt>
                <c:pt idx="34282">
                  <c:v>-1.5126050420168E-2</c:v>
                </c:pt>
                <c:pt idx="34283">
                  <c:v>-1.5126050420168E-2</c:v>
                </c:pt>
                <c:pt idx="34284">
                  <c:v>-1.5126050420168E-2</c:v>
                </c:pt>
                <c:pt idx="34285">
                  <c:v>-1.5126050420168E-2</c:v>
                </c:pt>
                <c:pt idx="34286">
                  <c:v>-1.5126050420168E-2</c:v>
                </c:pt>
                <c:pt idx="34287">
                  <c:v>-1.5126050420168E-2</c:v>
                </c:pt>
                <c:pt idx="34288">
                  <c:v>-1.5126050420168E-2</c:v>
                </c:pt>
                <c:pt idx="34289">
                  <c:v>-1.5126050420168E-2</c:v>
                </c:pt>
                <c:pt idx="34290">
                  <c:v>-1.5126050420168E-2</c:v>
                </c:pt>
                <c:pt idx="34291">
                  <c:v>-1.5126050420168E-2</c:v>
                </c:pt>
                <c:pt idx="34292">
                  <c:v>-1.5126050420168E-2</c:v>
                </c:pt>
                <c:pt idx="34293">
                  <c:v>-1.5126050420168E-2</c:v>
                </c:pt>
                <c:pt idx="34294">
                  <c:v>-1.5126050420168E-2</c:v>
                </c:pt>
                <c:pt idx="34295">
                  <c:v>-1.5126050420168E-2</c:v>
                </c:pt>
                <c:pt idx="34296">
                  <c:v>-1.5126050420168E-2</c:v>
                </c:pt>
                <c:pt idx="34297">
                  <c:v>-1.5126050420168E-2</c:v>
                </c:pt>
                <c:pt idx="34298">
                  <c:v>-1.5126050420168E-2</c:v>
                </c:pt>
                <c:pt idx="34299">
                  <c:v>-1.5126050420168E-2</c:v>
                </c:pt>
                <c:pt idx="34300">
                  <c:v>-1.5126050420168E-2</c:v>
                </c:pt>
                <c:pt idx="34301">
                  <c:v>-1.5126050420168E-2</c:v>
                </c:pt>
                <c:pt idx="34302">
                  <c:v>-1.5126050420168E-2</c:v>
                </c:pt>
                <c:pt idx="34303">
                  <c:v>-1.5126050420168E-2</c:v>
                </c:pt>
                <c:pt idx="34304">
                  <c:v>-1.5126050420168E-2</c:v>
                </c:pt>
                <c:pt idx="34305">
                  <c:v>-1.5126050420168E-2</c:v>
                </c:pt>
                <c:pt idx="34306">
                  <c:v>-1.5126050420168E-2</c:v>
                </c:pt>
                <c:pt idx="34307">
                  <c:v>-1.5126050420168E-2</c:v>
                </c:pt>
                <c:pt idx="34308">
                  <c:v>-1.5126050420168E-2</c:v>
                </c:pt>
                <c:pt idx="34309">
                  <c:v>-1.5126050420168E-2</c:v>
                </c:pt>
                <c:pt idx="34310">
                  <c:v>-1.5126050420168E-2</c:v>
                </c:pt>
                <c:pt idx="34311">
                  <c:v>-1.5126050420168E-2</c:v>
                </c:pt>
                <c:pt idx="34312">
                  <c:v>-1.5126050420168E-2</c:v>
                </c:pt>
                <c:pt idx="34313">
                  <c:v>-1.5126050420168E-2</c:v>
                </c:pt>
                <c:pt idx="34314">
                  <c:v>-1.5126050420168E-2</c:v>
                </c:pt>
                <c:pt idx="34315">
                  <c:v>-1.5126050420168E-2</c:v>
                </c:pt>
                <c:pt idx="34316">
                  <c:v>-1.5126050420168E-2</c:v>
                </c:pt>
                <c:pt idx="34317">
                  <c:v>-1.5126050420168E-2</c:v>
                </c:pt>
                <c:pt idx="34318">
                  <c:v>-1.5126050420168E-2</c:v>
                </c:pt>
                <c:pt idx="34319">
                  <c:v>-1.5126050420168E-2</c:v>
                </c:pt>
                <c:pt idx="34320">
                  <c:v>-1.5126050420168E-2</c:v>
                </c:pt>
                <c:pt idx="34321">
                  <c:v>-1.5126050420168E-2</c:v>
                </c:pt>
                <c:pt idx="34322">
                  <c:v>-1.5126050420168E-2</c:v>
                </c:pt>
                <c:pt idx="34323">
                  <c:v>-1.5126050420168E-2</c:v>
                </c:pt>
                <c:pt idx="34324">
                  <c:v>-1.5126050420168E-2</c:v>
                </c:pt>
                <c:pt idx="34325">
                  <c:v>-1.5126050420168E-2</c:v>
                </c:pt>
                <c:pt idx="34326">
                  <c:v>-1.5126050420168E-2</c:v>
                </c:pt>
                <c:pt idx="34327">
                  <c:v>-1.5126050420168E-2</c:v>
                </c:pt>
                <c:pt idx="34328">
                  <c:v>-1.5126050420168E-2</c:v>
                </c:pt>
                <c:pt idx="34329">
                  <c:v>-1.5126050420168E-2</c:v>
                </c:pt>
                <c:pt idx="34330">
                  <c:v>-1.5126050420168E-2</c:v>
                </c:pt>
                <c:pt idx="34331">
                  <c:v>-1.5126050420168E-2</c:v>
                </c:pt>
                <c:pt idx="34332">
                  <c:v>-1.5126050420168E-2</c:v>
                </c:pt>
                <c:pt idx="34333">
                  <c:v>-1.5126050420168E-2</c:v>
                </c:pt>
                <c:pt idx="34334">
                  <c:v>-1.5126050420168E-2</c:v>
                </c:pt>
                <c:pt idx="34335">
                  <c:v>-1.5126050420168E-2</c:v>
                </c:pt>
                <c:pt idx="34336">
                  <c:v>-1.5126050420168E-2</c:v>
                </c:pt>
                <c:pt idx="34337">
                  <c:v>-1.5126050420168E-2</c:v>
                </c:pt>
                <c:pt idx="34338">
                  <c:v>-1.5126050420168E-2</c:v>
                </c:pt>
                <c:pt idx="34339">
                  <c:v>-1.5126050420168E-2</c:v>
                </c:pt>
                <c:pt idx="34340">
                  <c:v>-1.5126050420168E-2</c:v>
                </c:pt>
                <c:pt idx="34341">
                  <c:v>-1.5126050420168E-2</c:v>
                </c:pt>
                <c:pt idx="34342">
                  <c:v>-1.5126050420168E-2</c:v>
                </c:pt>
                <c:pt idx="34343">
                  <c:v>-1.5126050420168E-2</c:v>
                </c:pt>
                <c:pt idx="34344">
                  <c:v>-1.5126050420168E-2</c:v>
                </c:pt>
                <c:pt idx="34345">
                  <c:v>-1.42857142857142E-2</c:v>
                </c:pt>
                <c:pt idx="34346">
                  <c:v>-1.42857142857142E-2</c:v>
                </c:pt>
                <c:pt idx="34347">
                  <c:v>-1.42857142857142E-2</c:v>
                </c:pt>
                <c:pt idx="34348">
                  <c:v>-1.42857142857142E-2</c:v>
                </c:pt>
                <c:pt idx="34349">
                  <c:v>-1.42857142857142E-2</c:v>
                </c:pt>
                <c:pt idx="34350">
                  <c:v>-1.42857142857142E-2</c:v>
                </c:pt>
                <c:pt idx="34351">
                  <c:v>-1.42857142857142E-2</c:v>
                </c:pt>
                <c:pt idx="34352">
                  <c:v>-1.42857142857142E-2</c:v>
                </c:pt>
                <c:pt idx="34353">
                  <c:v>-1.42857142857142E-2</c:v>
                </c:pt>
                <c:pt idx="34354">
                  <c:v>-1.42857142857142E-2</c:v>
                </c:pt>
                <c:pt idx="34355">
                  <c:v>-1.42857142857142E-2</c:v>
                </c:pt>
                <c:pt idx="34356">
                  <c:v>-1.42857142857142E-2</c:v>
                </c:pt>
                <c:pt idx="34357">
                  <c:v>-1.42857142857142E-2</c:v>
                </c:pt>
                <c:pt idx="34358">
                  <c:v>-1.42857142857142E-2</c:v>
                </c:pt>
                <c:pt idx="34359">
                  <c:v>-1.42857142857142E-2</c:v>
                </c:pt>
                <c:pt idx="34360">
                  <c:v>-1.42857142857142E-2</c:v>
                </c:pt>
                <c:pt idx="34361">
                  <c:v>-1.42857142857142E-2</c:v>
                </c:pt>
                <c:pt idx="34362">
                  <c:v>-1.42857142857142E-2</c:v>
                </c:pt>
                <c:pt idx="34363">
                  <c:v>-1.42857142857142E-2</c:v>
                </c:pt>
                <c:pt idx="34364">
                  <c:v>-1.42857142857142E-2</c:v>
                </c:pt>
                <c:pt idx="34365">
                  <c:v>-1.42857142857142E-2</c:v>
                </c:pt>
                <c:pt idx="34366">
                  <c:v>-1.42857142857142E-2</c:v>
                </c:pt>
                <c:pt idx="34367">
                  <c:v>-1.42857142857142E-2</c:v>
                </c:pt>
                <c:pt idx="34368">
                  <c:v>-1.42857142857142E-2</c:v>
                </c:pt>
                <c:pt idx="34369">
                  <c:v>-1.42857142857142E-2</c:v>
                </c:pt>
                <c:pt idx="34370">
                  <c:v>-1.42857142857142E-2</c:v>
                </c:pt>
                <c:pt idx="34371">
                  <c:v>-1.5126050420168E-2</c:v>
                </c:pt>
                <c:pt idx="34372">
                  <c:v>-1.5126050420168E-2</c:v>
                </c:pt>
                <c:pt idx="34373">
                  <c:v>-1.5126050420168E-2</c:v>
                </c:pt>
                <c:pt idx="34374">
                  <c:v>-1.5126050420168E-2</c:v>
                </c:pt>
                <c:pt idx="34375">
                  <c:v>-1.5126050420168E-2</c:v>
                </c:pt>
                <c:pt idx="34376">
                  <c:v>-1.5126050420168E-2</c:v>
                </c:pt>
                <c:pt idx="34377">
                  <c:v>-1.5126050420168E-2</c:v>
                </c:pt>
                <c:pt idx="34378">
                  <c:v>-1.5126050420168E-2</c:v>
                </c:pt>
                <c:pt idx="34379">
                  <c:v>-1.5126050420168E-2</c:v>
                </c:pt>
                <c:pt idx="34380">
                  <c:v>-1.5126050420168E-2</c:v>
                </c:pt>
                <c:pt idx="34381">
                  <c:v>-1.5126050420168E-2</c:v>
                </c:pt>
                <c:pt idx="34382">
                  <c:v>-1.5126050420168E-2</c:v>
                </c:pt>
                <c:pt idx="34383">
                  <c:v>-1.5126050420168E-2</c:v>
                </c:pt>
                <c:pt idx="34384">
                  <c:v>-1.5126050420168E-2</c:v>
                </c:pt>
                <c:pt idx="34385">
                  <c:v>-1.5126050420168E-2</c:v>
                </c:pt>
                <c:pt idx="34386">
                  <c:v>-1.5126050420168E-2</c:v>
                </c:pt>
                <c:pt idx="34387">
                  <c:v>-1.5126050420168E-2</c:v>
                </c:pt>
                <c:pt idx="34388">
                  <c:v>-1.5126050420168E-2</c:v>
                </c:pt>
                <c:pt idx="34389">
                  <c:v>-1.5126050420168E-2</c:v>
                </c:pt>
                <c:pt idx="34390">
                  <c:v>-1.5126050420168E-2</c:v>
                </c:pt>
                <c:pt idx="34391">
                  <c:v>-1.5126050420168E-2</c:v>
                </c:pt>
                <c:pt idx="34392">
                  <c:v>-1.5126050420168E-2</c:v>
                </c:pt>
                <c:pt idx="34393">
                  <c:v>-1.5126050420168E-2</c:v>
                </c:pt>
                <c:pt idx="34394">
                  <c:v>-1.5126050420168E-2</c:v>
                </c:pt>
                <c:pt idx="34395">
                  <c:v>-1.5126050420168E-2</c:v>
                </c:pt>
                <c:pt idx="34396">
                  <c:v>-1.5126050420168E-2</c:v>
                </c:pt>
                <c:pt idx="34397">
                  <c:v>-1.5126050420168E-2</c:v>
                </c:pt>
                <c:pt idx="34398">
                  <c:v>-1.5126050420168E-2</c:v>
                </c:pt>
                <c:pt idx="34399">
                  <c:v>-1.5126050420168E-2</c:v>
                </c:pt>
                <c:pt idx="34400">
                  <c:v>-1.5126050420168E-2</c:v>
                </c:pt>
                <c:pt idx="34401">
                  <c:v>-1.5126050420168E-2</c:v>
                </c:pt>
                <c:pt idx="34402">
                  <c:v>-1.5126050420168E-2</c:v>
                </c:pt>
                <c:pt idx="34403">
                  <c:v>-1.5126050420168E-2</c:v>
                </c:pt>
                <c:pt idx="34404">
                  <c:v>-1.5126050420168E-2</c:v>
                </c:pt>
                <c:pt idx="34405">
                  <c:v>-1.5126050420168E-2</c:v>
                </c:pt>
                <c:pt idx="34406">
                  <c:v>-1.5126050420168E-2</c:v>
                </c:pt>
                <c:pt idx="34407">
                  <c:v>-1.5126050420168E-2</c:v>
                </c:pt>
                <c:pt idx="34408">
                  <c:v>-1.5126050420168E-2</c:v>
                </c:pt>
                <c:pt idx="34409">
                  <c:v>-1.5126050420168E-2</c:v>
                </c:pt>
                <c:pt idx="34410">
                  <c:v>-1.5126050420168E-2</c:v>
                </c:pt>
                <c:pt idx="34411">
                  <c:v>-1.5126050420168E-2</c:v>
                </c:pt>
                <c:pt idx="34412">
                  <c:v>-1.5126050420168E-2</c:v>
                </c:pt>
                <c:pt idx="34413">
                  <c:v>-1.5126050420168E-2</c:v>
                </c:pt>
                <c:pt idx="34414">
                  <c:v>-1.5126050420168E-2</c:v>
                </c:pt>
                <c:pt idx="34415">
                  <c:v>-1.5126050420168E-2</c:v>
                </c:pt>
                <c:pt idx="34416">
                  <c:v>-1.5126050420168E-2</c:v>
                </c:pt>
                <c:pt idx="34417">
                  <c:v>-1.5126050420168E-2</c:v>
                </c:pt>
                <c:pt idx="34418">
                  <c:v>-1.5126050420168E-2</c:v>
                </c:pt>
                <c:pt idx="34419">
                  <c:v>-1.5126050420168E-2</c:v>
                </c:pt>
                <c:pt idx="34420">
                  <c:v>-1.5126050420168E-2</c:v>
                </c:pt>
                <c:pt idx="34421">
                  <c:v>-1.5126050420168E-2</c:v>
                </c:pt>
                <c:pt idx="34422">
                  <c:v>-1.5126050420168E-2</c:v>
                </c:pt>
                <c:pt idx="34423">
                  <c:v>-1.5126050420168E-2</c:v>
                </c:pt>
                <c:pt idx="34424">
                  <c:v>-1.5126050420168E-2</c:v>
                </c:pt>
                <c:pt idx="34425">
                  <c:v>-1.5126050420168E-2</c:v>
                </c:pt>
                <c:pt idx="34426">
                  <c:v>-1.5126050420168E-2</c:v>
                </c:pt>
                <c:pt idx="34427">
                  <c:v>-1.5126050420168E-2</c:v>
                </c:pt>
                <c:pt idx="34428">
                  <c:v>-1.5126050420168E-2</c:v>
                </c:pt>
                <c:pt idx="34429">
                  <c:v>-1.5126050420168E-2</c:v>
                </c:pt>
                <c:pt idx="34430">
                  <c:v>-1.5126050420168E-2</c:v>
                </c:pt>
                <c:pt idx="34431">
                  <c:v>-1.5126050420168E-2</c:v>
                </c:pt>
                <c:pt idx="34432">
                  <c:v>-1.5126050420168E-2</c:v>
                </c:pt>
                <c:pt idx="34433">
                  <c:v>-1.5126050420168E-2</c:v>
                </c:pt>
                <c:pt idx="34434">
                  <c:v>-1.5126050420168E-2</c:v>
                </c:pt>
                <c:pt idx="34435">
                  <c:v>-1.5126050420168E-2</c:v>
                </c:pt>
                <c:pt idx="34436">
                  <c:v>-1.5126050420168E-2</c:v>
                </c:pt>
                <c:pt idx="34437">
                  <c:v>-1.5126050420168E-2</c:v>
                </c:pt>
                <c:pt idx="34438">
                  <c:v>-1.5126050420168E-2</c:v>
                </c:pt>
                <c:pt idx="34439">
                  <c:v>-1.5126050420168E-2</c:v>
                </c:pt>
                <c:pt idx="34440">
                  <c:v>-1.5126050420168E-2</c:v>
                </c:pt>
                <c:pt idx="34441">
                  <c:v>-1.5126050420168E-2</c:v>
                </c:pt>
                <c:pt idx="34442">
                  <c:v>-1.5126050420168E-2</c:v>
                </c:pt>
                <c:pt idx="34443">
                  <c:v>-1.5126050420168E-2</c:v>
                </c:pt>
                <c:pt idx="34444">
                  <c:v>-1.5126050420168E-2</c:v>
                </c:pt>
                <c:pt idx="34445">
                  <c:v>-1.5126050420168E-2</c:v>
                </c:pt>
                <c:pt idx="34446">
                  <c:v>-1.5126050420168E-2</c:v>
                </c:pt>
                <c:pt idx="34447">
                  <c:v>-1.5126050420168E-2</c:v>
                </c:pt>
                <c:pt idx="34448">
                  <c:v>-1.5126050420168E-2</c:v>
                </c:pt>
                <c:pt idx="34449">
                  <c:v>-1.5126050420168E-2</c:v>
                </c:pt>
                <c:pt idx="34450">
                  <c:v>-1.5126050420168E-2</c:v>
                </c:pt>
                <c:pt idx="34451">
                  <c:v>-1.5126050420168E-2</c:v>
                </c:pt>
                <c:pt idx="34452">
                  <c:v>-1.5126050420168E-2</c:v>
                </c:pt>
                <c:pt idx="34453">
                  <c:v>-1.5126050420168E-2</c:v>
                </c:pt>
                <c:pt idx="34454">
                  <c:v>-1.5126050420168E-2</c:v>
                </c:pt>
                <c:pt idx="34455">
                  <c:v>-1.5126050420168E-2</c:v>
                </c:pt>
                <c:pt idx="34456">
                  <c:v>-1.5126050420168E-2</c:v>
                </c:pt>
                <c:pt idx="34457">
                  <c:v>-1.5126050420168E-2</c:v>
                </c:pt>
                <c:pt idx="34458">
                  <c:v>-1.5126050420168E-2</c:v>
                </c:pt>
                <c:pt idx="34459">
                  <c:v>-1.5126050420168E-2</c:v>
                </c:pt>
                <c:pt idx="34460">
                  <c:v>-1.5126050420168E-2</c:v>
                </c:pt>
                <c:pt idx="34461">
                  <c:v>-1.5126050420168E-2</c:v>
                </c:pt>
                <c:pt idx="34462">
                  <c:v>-1.5126050420168E-2</c:v>
                </c:pt>
                <c:pt idx="34463">
                  <c:v>-1.5966386554621698E-2</c:v>
                </c:pt>
                <c:pt idx="34464">
                  <c:v>-1.5966386554621698E-2</c:v>
                </c:pt>
                <c:pt idx="34465">
                  <c:v>-1.5966386554621698E-2</c:v>
                </c:pt>
                <c:pt idx="34466">
                  <c:v>-1.5966386554621698E-2</c:v>
                </c:pt>
                <c:pt idx="34467">
                  <c:v>-1.5966386554621698E-2</c:v>
                </c:pt>
                <c:pt idx="34468">
                  <c:v>-1.5966386554621698E-2</c:v>
                </c:pt>
                <c:pt idx="34469">
                  <c:v>-1.5966386554621698E-2</c:v>
                </c:pt>
                <c:pt idx="34470">
                  <c:v>-1.5126050420168E-2</c:v>
                </c:pt>
                <c:pt idx="34471">
                  <c:v>-1.5126050420168E-2</c:v>
                </c:pt>
                <c:pt idx="34472">
                  <c:v>-1.5126050420168E-2</c:v>
                </c:pt>
                <c:pt idx="34473">
                  <c:v>-1.5126050420168E-2</c:v>
                </c:pt>
                <c:pt idx="34474">
                  <c:v>-1.5126050420168E-2</c:v>
                </c:pt>
                <c:pt idx="34475">
                  <c:v>-1.5126050420168E-2</c:v>
                </c:pt>
                <c:pt idx="34476">
                  <c:v>-1.5126050420168E-2</c:v>
                </c:pt>
                <c:pt idx="34477">
                  <c:v>-1.5126050420168E-2</c:v>
                </c:pt>
                <c:pt idx="34478">
                  <c:v>-1.5126050420168E-2</c:v>
                </c:pt>
                <c:pt idx="34479">
                  <c:v>-1.5126050420168E-2</c:v>
                </c:pt>
                <c:pt idx="34480">
                  <c:v>-1.5126050420168E-2</c:v>
                </c:pt>
                <c:pt idx="34481">
                  <c:v>-1.5126050420168E-2</c:v>
                </c:pt>
                <c:pt idx="34482">
                  <c:v>-1.5126050420168E-2</c:v>
                </c:pt>
                <c:pt idx="34483">
                  <c:v>-1.5126050420168E-2</c:v>
                </c:pt>
                <c:pt idx="34484">
                  <c:v>-1.5126050420168E-2</c:v>
                </c:pt>
                <c:pt idx="34485">
                  <c:v>-1.5126050420168E-2</c:v>
                </c:pt>
                <c:pt idx="34486">
                  <c:v>-1.5126050420168E-2</c:v>
                </c:pt>
                <c:pt idx="34487">
                  <c:v>-1.5126050420168E-2</c:v>
                </c:pt>
                <c:pt idx="34488">
                  <c:v>-1.5126050420168E-2</c:v>
                </c:pt>
                <c:pt idx="34489">
                  <c:v>-1.5126050420168E-2</c:v>
                </c:pt>
                <c:pt idx="34490">
                  <c:v>-1.5126050420168E-2</c:v>
                </c:pt>
                <c:pt idx="34491">
                  <c:v>-1.5126050420168E-2</c:v>
                </c:pt>
                <c:pt idx="34492">
                  <c:v>-1.5126050420168E-2</c:v>
                </c:pt>
                <c:pt idx="34493">
                  <c:v>-1.5126050420168E-2</c:v>
                </c:pt>
                <c:pt idx="34494">
                  <c:v>-1.5126050420168E-2</c:v>
                </c:pt>
                <c:pt idx="34495">
                  <c:v>-1.5126050420168E-2</c:v>
                </c:pt>
                <c:pt idx="34496">
                  <c:v>-1.5126050420168E-2</c:v>
                </c:pt>
                <c:pt idx="34497">
                  <c:v>-1.5126050420168E-2</c:v>
                </c:pt>
                <c:pt idx="34498">
                  <c:v>-1.5126050420168E-2</c:v>
                </c:pt>
                <c:pt idx="34499">
                  <c:v>-1.5126050420168E-2</c:v>
                </c:pt>
                <c:pt idx="34500">
                  <c:v>-1.5126050420168E-2</c:v>
                </c:pt>
                <c:pt idx="34501">
                  <c:v>-1.5126050420168E-2</c:v>
                </c:pt>
                <c:pt idx="34502">
                  <c:v>-1.5126050420168E-2</c:v>
                </c:pt>
                <c:pt idx="34503">
                  <c:v>-1.5126050420168E-2</c:v>
                </c:pt>
                <c:pt idx="34504">
                  <c:v>-1.5126050420168E-2</c:v>
                </c:pt>
                <c:pt idx="34505">
                  <c:v>-1.5126050420168E-2</c:v>
                </c:pt>
                <c:pt idx="34506">
                  <c:v>-1.5126050420168E-2</c:v>
                </c:pt>
                <c:pt idx="34507">
                  <c:v>-1.5126050420168E-2</c:v>
                </c:pt>
                <c:pt idx="34508">
                  <c:v>-1.5126050420168E-2</c:v>
                </c:pt>
                <c:pt idx="34509">
                  <c:v>-1.5126050420168E-2</c:v>
                </c:pt>
                <c:pt idx="34510">
                  <c:v>-1.5126050420168E-2</c:v>
                </c:pt>
                <c:pt idx="34511">
                  <c:v>-1.5126050420168E-2</c:v>
                </c:pt>
                <c:pt idx="34512">
                  <c:v>-1.5126050420168E-2</c:v>
                </c:pt>
                <c:pt idx="34513">
                  <c:v>-1.5126050420168E-2</c:v>
                </c:pt>
                <c:pt idx="34514">
                  <c:v>-1.5126050420168E-2</c:v>
                </c:pt>
                <c:pt idx="34515">
                  <c:v>-1.5126050420168E-2</c:v>
                </c:pt>
                <c:pt idx="34516">
                  <c:v>-1.5126050420168E-2</c:v>
                </c:pt>
                <c:pt idx="34517">
                  <c:v>-1.5126050420168E-2</c:v>
                </c:pt>
                <c:pt idx="34518">
                  <c:v>-1.5126050420168E-2</c:v>
                </c:pt>
                <c:pt idx="34519">
                  <c:v>-1.5126050420168E-2</c:v>
                </c:pt>
                <c:pt idx="34520">
                  <c:v>-1.5126050420168E-2</c:v>
                </c:pt>
                <c:pt idx="34521">
                  <c:v>-1.5126050420168E-2</c:v>
                </c:pt>
                <c:pt idx="34522">
                  <c:v>-1.5126050420168E-2</c:v>
                </c:pt>
                <c:pt idx="34523">
                  <c:v>-1.5126050420168E-2</c:v>
                </c:pt>
                <c:pt idx="34524">
                  <c:v>-1.5126050420168E-2</c:v>
                </c:pt>
                <c:pt idx="34525">
                  <c:v>-1.5126050420168E-2</c:v>
                </c:pt>
                <c:pt idx="34526">
                  <c:v>-1.5126050420168E-2</c:v>
                </c:pt>
                <c:pt idx="34527">
                  <c:v>-1.5126050420168E-2</c:v>
                </c:pt>
                <c:pt idx="34528">
                  <c:v>-1.5126050420168E-2</c:v>
                </c:pt>
                <c:pt idx="34529">
                  <c:v>-1.5126050420168E-2</c:v>
                </c:pt>
                <c:pt idx="34530">
                  <c:v>-1.5126050420168E-2</c:v>
                </c:pt>
                <c:pt idx="34531">
                  <c:v>-1.5126050420168E-2</c:v>
                </c:pt>
                <c:pt idx="34532">
                  <c:v>-1.5126050420168E-2</c:v>
                </c:pt>
                <c:pt idx="34533">
                  <c:v>-1.5126050420168E-2</c:v>
                </c:pt>
                <c:pt idx="34534">
                  <c:v>-1.5126050420168E-2</c:v>
                </c:pt>
                <c:pt idx="34535">
                  <c:v>-1.5126050420168E-2</c:v>
                </c:pt>
                <c:pt idx="34536">
                  <c:v>-1.5126050420168E-2</c:v>
                </c:pt>
                <c:pt idx="34537">
                  <c:v>-1.42857142857142E-2</c:v>
                </c:pt>
                <c:pt idx="34538">
                  <c:v>-1.42857142857142E-2</c:v>
                </c:pt>
                <c:pt idx="34539">
                  <c:v>-1.42857142857142E-2</c:v>
                </c:pt>
                <c:pt idx="34540">
                  <c:v>-1.42857142857142E-2</c:v>
                </c:pt>
                <c:pt idx="34541">
                  <c:v>-1.42857142857142E-2</c:v>
                </c:pt>
                <c:pt idx="34542">
                  <c:v>-1.42857142857142E-2</c:v>
                </c:pt>
                <c:pt idx="34543">
                  <c:v>-1.42857142857142E-2</c:v>
                </c:pt>
                <c:pt idx="34544">
                  <c:v>-1.42857142857142E-2</c:v>
                </c:pt>
                <c:pt idx="34545">
                  <c:v>-1.42857142857142E-2</c:v>
                </c:pt>
                <c:pt idx="34546">
                  <c:v>-1.42857142857142E-2</c:v>
                </c:pt>
                <c:pt idx="34547">
                  <c:v>-1.42857142857142E-2</c:v>
                </c:pt>
                <c:pt idx="34548">
                  <c:v>-1.42857142857142E-2</c:v>
                </c:pt>
                <c:pt idx="34549">
                  <c:v>-1.42857142857142E-2</c:v>
                </c:pt>
                <c:pt idx="34550">
                  <c:v>-1.42857142857142E-2</c:v>
                </c:pt>
                <c:pt idx="34551">
                  <c:v>-1.42857142857142E-2</c:v>
                </c:pt>
                <c:pt idx="34552">
                  <c:v>-1.42857142857142E-2</c:v>
                </c:pt>
                <c:pt idx="34553">
                  <c:v>-1.42857142857142E-2</c:v>
                </c:pt>
                <c:pt idx="34554">
                  <c:v>-1.42857142857142E-2</c:v>
                </c:pt>
                <c:pt idx="34555">
                  <c:v>-1.42857142857142E-2</c:v>
                </c:pt>
                <c:pt idx="34556">
                  <c:v>-1.42857142857142E-2</c:v>
                </c:pt>
                <c:pt idx="34557">
                  <c:v>-1.42857142857142E-2</c:v>
                </c:pt>
                <c:pt idx="34558">
                  <c:v>-1.42857142857142E-2</c:v>
                </c:pt>
                <c:pt idx="34559">
                  <c:v>-1.42857142857142E-2</c:v>
                </c:pt>
                <c:pt idx="34560">
                  <c:v>-1.42857142857142E-2</c:v>
                </c:pt>
                <c:pt idx="34561">
                  <c:v>-1.42857142857142E-2</c:v>
                </c:pt>
                <c:pt idx="34562">
                  <c:v>-1.42857142857142E-2</c:v>
                </c:pt>
                <c:pt idx="34563">
                  <c:v>-1.42857142857142E-2</c:v>
                </c:pt>
                <c:pt idx="34564">
                  <c:v>-1.42857142857142E-2</c:v>
                </c:pt>
                <c:pt idx="34565">
                  <c:v>-1.42857142857142E-2</c:v>
                </c:pt>
                <c:pt idx="34566">
                  <c:v>-1.42857142857142E-2</c:v>
                </c:pt>
                <c:pt idx="34567">
                  <c:v>-1.42857142857142E-2</c:v>
                </c:pt>
                <c:pt idx="34568">
                  <c:v>-1.42857142857142E-2</c:v>
                </c:pt>
                <c:pt idx="34569">
                  <c:v>-1.42857142857142E-2</c:v>
                </c:pt>
                <c:pt idx="34570">
                  <c:v>-1.42857142857142E-2</c:v>
                </c:pt>
                <c:pt idx="34571">
                  <c:v>-1.42857142857142E-2</c:v>
                </c:pt>
                <c:pt idx="34572">
                  <c:v>-1.42857142857142E-2</c:v>
                </c:pt>
                <c:pt idx="34573">
                  <c:v>-1.42857142857142E-2</c:v>
                </c:pt>
                <c:pt idx="34574">
                  <c:v>-1.42857142857142E-2</c:v>
                </c:pt>
                <c:pt idx="34575">
                  <c:v>-1.42857142857142E-2</c:v>
                </c:pt>
                <c:pt idx="34576">
                  <c:v>-1.42857142857142E-2</c:v>
                </c:pt>
                <c:pt idx="34577">
                  <c:v>-1.42857142857142E-2</c:v>
                </c:pt>
                <c:pt idx="34578">
                  <c:v>-1.42857142857142E-2</c:v>
                </c:pt>
                <c:pt idx="34579">
                  <c:v>-1.42857142857142E-2</c:v>
                </c:pt>
                <c:pt idx="34580">
                  <c:v>-1.42857142857142E-2</c:v>
                </c:pt>
                <c:pt idx="34581">
                  <c:v>-1.42857142857142E-2</c:v>
                </c:pt>
                <c:pt idx="34582">
                  <c:v>-1.42857142857142E-2</c:v>
                </c:pt>
                <c:pt idx="34583">
                  <c:v>-1.42857142857142E-2</c:v>
                </c:pt>
                <c:pt idx="34584">
                  <c:v>-1.42857142857142E-2</c:v>
                </c:pt>
                <c:pt idx="34585">
                  <c:v>-1.42857142857142E-2</c:v>
                </c:pt>
                <c:pt idx="34586">
                  <c:v>-1.42857142857142E-2</c:v>
                </c:pt>
                <c:pt idx="34587">
                  <c:v>-1.42857142857142E-2</c:v>
                </c:pt>
                <c:pt idx="34588">
                  <c:v>-1.42857142857142E-2</c:v>
                </c:pt>
                <c:pt idx="34589">
                  <c:v>-1.42857142857142E-2</c:v>
                </c:pt>
                <c:pt idx="34590">
                  <c:v>-1.42857142857142E-2</c:v>
                </c:pt>
                <c:pt idx="34591">
                  <c:v>-1.42857142857142E-2</c:v>
                </c:pt>
                <c:pt idx="34592">
                  <c:v>-1.42857142857142E-2</c:v>
                </c:pt>
                <c:pt idx="34593">
                  <c:v>-1.42857142857142E-2</c:v>
                </c:pt>
                <c:pt idx="34594">
                  <c:v>-1.42857142857142E-2</c:v>
                </c:pt>
                <c:pt idx="34595">
                  <c:v>-1.42857142857142E-2</c:v>
                </c:pt>
                <c:pt idx="34596">
                  <c:v>-1.42857142857142E-2</c:v>
                </c:pt>
                <c:pt idx="34597">
                  <c:v>-1.42857142857142E-2</c:v>
                </c:pt>
                <c:pt idx="34598">
                  <c:v>-1.42857142857142E-2</c:v>
                </c:pt>
                <c:pt idx="34599">
                  <c:v>-1.42857142857142E-2</c:v>
                </c:pt>
                <c:pt idx="34600">
                  <c:v>-1.42857142857142E-2</c:v>
                </c:pt>
                <c:pt idx="34601">
                  <c:v>-1.42857142857142E-2</c:v>
                </c:pt>
                <c:pt idx="34602">
                  <c:v>-1.42857142857142E-2</c:v>
                </c:pt>
                <c:pt idx="34603">
                  <c:v>-1.42857142857142E-2</c:v>
                </c:pt>
                <c:pt idx="34604">
                  <c:v>-1.42857142857142E-2</c:v>
                </c:pt>
                <c:pt idx="34605">
                  <c:v>-1.42857142857142E-2</c:v>
                </c:pt>
                <c:pt idx="34606">
                  <c:v>-1.42857142857142E-2</c:v>
                </c:pt>
                <c:pt idx="34607">
                  <c:v>-1.42857142857142E-2</c:v>
                </c:pt>
                <c:pt idx="34608">
                  <c:v>-1.42857142857142E-2</c:v>
                </c:pt>
                <c:pt idx="34609">
                  <c:v>-1.42857142857142E-2</c:v>
                </c:pt>
                <c:pt idx="34610">
                  <c:v>-1.42857142857142E-2</c:v>
                </c:pt>
                <c:pt idx="34611">
                  <c:v>-1.42857142857142E-2</c:v>
                </c:pt>
                <c:pt idx="34612">
                  <c:v>-1.42857142857142E-2</c:v>
                </c:pt>
                <c:pt idx="34613">
                  <c:v>-1.42857142857142E-2</c:v>
                </c:pt>
                <c:pt idx="34614">
                  <c:v>-1.42857142857142E-2</c:v>
                </c:pt>
                <c:pt idx="34615">
                  <c:v>-1.42857142857142E-2</c:v>
                </c:pt>
                <c:pt idx="34616">
                  <c:v>-1.42857142857142E-2</c:v>
                </c:pt>
                <c:pt idx="34617">
                  <c:v>-1.42857142857142E-2</c:v>
                </c:pt>
                <c:pt idx="34618">
                  <c:v>-1.42857142857142E-2</c:v>
                </c:pt>
                <c:pt idx="34619">
                  <c:v>-1.42857142857142E-2</c:v>
                </c:pt>
                <c:pt idx="34620">
                  <c:v>-1.42857142857142E-2</c:v>
                </c:pt>
                <c:pt idx="34621">
                  <c:v>-1.42857142857142E-2</c:v>
                </c:pt>
                <c:pt idx="34622">
                  <c:v>-1.42857142857142E-2</c:v>
                </c:pt>
                <c:pt idx="34623">
                  <c:v>-1.42857142857142E-2</c:v>
                </c:pt>
                <c:pt idx="34624">
                  <c:v>-1.42857142857142E-2</c:v>
                </c:pt>
                <c:pt idx="34625">
                  <c:v>-1.42857142857142E-2</c:v>
                </c:pt>
                <c:pt idx="34626">
                  <c:v>-1.42857142857142E-2</c:v>
                </c:pt>
                <c:pt idx="34627">
                  <c:v>-1.42857142857142E-2</c:v>
                </c:pt>
                <c:pt idx="34628">
                  <c:v>-1.42857142857142E-2</c:v>
                </c:pt>
                <c:pt idx="34629">
                  <c:v>-1.42857142857142E-2</c:v>
                </c:pt>
                <c:pt idx="34630">
                  <c:v>-1.42857142857142E-2</c:v>
                </c:pt>
                <c:pt idx="34631">
                  <c:v>-1.42857142857142E-2</c:v>
                </c:pt>
                <c:pt idx="34632">
                  <c:v>-1.42857142857142E-2</c:v>
                </c:pt>
                <c:pt idx="34633">
                  <c:v>-1.42857142857142E-2</c:v>
                </c:pt>
                <c:pt idx="34634">
                  <c:v>-1.42857142857142E-2</c:v>
                </c:pt>
                <c:pt idx="34635">
                  <c:v>-1.42857142857142E-2</c:v>
                </c:pt>
                <c:pt idx="34636">
                  <c:v>-1.42857142857142E-2</c:v>
                </c:pt>
                <c:pt idx="34637">
                  <c:v>-1.42857142857142E-2</c:v>
                </c:pt>
                <c:pt idx="34638">
                  <c:v>-1.42857142857142E-2</c:v>
                </c:pt>
                <c:pt idx="34639">
                  <c:v>-1.42857142857142E-2</c:v>
                </c:pt>
                <c:pt idx="34640">
                  <c:v>-1.42857142857142E-2</c:v>
                </c:pt>
                <c:pt idx="34641">
                  <c:v>-1.42857142857142E-2</c:v>
                </c:pt>
                <c:pt idx="34642">
                  <c:v>-1.42857142857142E-2</c:v>
                </c:pt>
                <c:pt idx="34643">
                  <c:v>-1.42857142857142E-2</c:v>
                </c:pt>
                <c:pt idx="34644">
                  <c:v>-1.42857142857142E-2</c:v>
                </c:pt>
                <c:pt idx="34645">
                  <c:v>-1.42857142857142E-2</c:v>
                </c:pt>
                <c:pt idx="34646">
                  <c:v>-1.42857142857142E-2</c:v>
                </c:pt>
                <c:pt idx="34647">
                  <c:v>-1.42857142857142E-2</c:v>
                </c:pt>
                <c:pt idx="34648">
                  <c:v>-1.42857142857142E-2</c:v>
                </c:pt>
                <c:pt idx="34649">
                  <c:v>-1.42857142857142E-2</c:v>
                </c:pt>
                <c:pt idx="34650">
                  <c:v>-1.42857142857142E-2</c:v>
                </c:pt>
                <c:pt idx="34651">
                  <c:v>-1.42857142857142E-2</c:v>
                </c:pt>
                <c:pt idx="34652">
                  <c:v>-1.42857142857142E-2</c:v>
                </c:pt>
                <c:pt idx="34653">
                  <c:v>-1.42857142857142E-2</c:v>
                </c:pt>
                <c:pt idx="34654">
                  <c:v>-1.42857142857142E-2</c:v>
                </c:pt>
                <c:pt idx="34655">
                  <c:v>-1.42857142857142E-2</c:v>
                </c:pt>
                <c:pt idx="34656">
                  <c:v>-1.42857142857142E-2</c:v>
                </c:pt>
                <c:pt idx="34657">
                  <c:v>-1.42857142857142E-2</c:v>
                </c:pt>
                <c:pt idx="34658">
                  <c:v>-1.42857142857142E-2</c:v>
                </c:pt>
                <c:pt idx="34659">
                  <c:v>-1.42857142857142E-2</c:v>
                </c:pt>
                <c:pt idx="34660">
                  <c:v>-1.5126050420168E-2</c:v>
                </c:pt>
                <c:pt idx="34661">
                  <c:v>-1.5126050420168E-2</c:v>
                </c:pt>
                <c:pt idx="34662">
                  <c:v>-1.5126050420168E-2</c:v>
                </c:pt>
                <c:pt idx="34663">
                  <c:v>-1.5126050420168E-2</c:v>
                </c:pt>
                <c:pt idx="34664">
                  <c:v>-1.5126050420168E-2</c:v>
                </c:pt>
                <c:pt idx="34665">
                  <c:v>-1.5126050420168E-2</c:v>
                </c:pt>
                <c:pt idx="34666">
                  <c:v>-1.5126050420168E-2</c:v>
                </c:pt>
                <c:pt idx="34667">
                  <c:v>-1.5126050420168E-2</c:v>
                </c:pt>
                <c:pt idx="34668">
                  <c:v>-1.5126050420168E-2</c:v>
                </c:pt>
                <c:pt idx="34669">
                  <c:v>-1.5126050420168E-2</c:v>
                </c:pt>
                <c:pt idx="34670">
                  <c:v>-1.5126050420168E-2</c:v>
                </c:pt>
                <c:pt idx="34671">
                  <c:v>-1.5126050420168E-2</c:v>
                </c:pt>
                <c:pt idx="34672">
                  <c:v>-1.5126050420168E-2</c:v>
                </c:pt>
                <c:pt idx="34673">
                  <c:v>-1.5126050420168E-2</c:v>
                </c:pt>
                <c:pt idx="34674">
                  <c:v>-1.5126050420168E-2</c:v>
                </c:pt>
                <c:pt idx="34675">
                  <c:v>-1.5126050420168E-2</c:v>
                </c:pt>
                <c:pt idx="34676">
                  <c:v>-1.5126050420168E-2</c:v>
                </c:pt>
                <c:pt idx="34677">
                  <c:v>-1.5126050420168E-2</c:v>
                </c:pt>
                <c:pt idx="34678">
                  <c:v>-1.5126050420168E-2</c:v>
                </c:pt>
                <c:pt idx="34679">
                  <c:v>-1.5126050420168E-2</c:v>
                </c:pt>
                <c:pt idx="34680">
                  <c:v>-1.5126050420168E-2</c:v>
                </c:pt>
                <c:pt idx="34681">
                  <c:v>-1.42857142857142E-2</c:v>
                </c:pt>
                <c:pt idx="34682">
                  <c:v>-1.42857142857142E-2</c:v>
                </c:pt>
                <c:pt idx="34683">
                  <c:v>-1.42857142857142E-2</c:v>
                </c:pt>
                <c:pt idx="34684">
                  <c:v>-1.42857142857142E-2</c:v>
                </c:pt>
                <c:pt idx="34685">
                  <c:v>-1.42857142857142E-2</c:v>
                </c:pt>
                <c:pt idx="34686">
                  <c:v>-1.42857142857142E-2</c:v>
                </c:pt>
                <c:pt idx="34687">
                  <c:v>-1.42857142857142E-2</c:v>
                </c:pt>
                <c:pt idx="34688">
                  <c:v>-1.42857142857142E-2</c:v>
                </c:pt>
                <c:pt idx="34689">
                  <c:v>-1.42857142857142E-2</c:v>
                </c:pt>
                <c:pt idx="34690">
                  <c:v>-1.42857142857142E-2</c:v>
                </c:pt>
                <c:pt idx="34691">
                  <c:v>-1.42857142857142E-2</c:v>
                </c:pt>
                <c:pt idx="34692">
                  <c:v>-1.42857142857142E-2</c:v>
                </c:pt>
                <c:pt idx="34693">
                  <c:v>-1.42857142857142E-2</c:v>
                </c:pt>
                <c:pt idx="34694">
                  <c:v>-1.42857142857142E-2</c:v>
                </c:pt>
                <c:pt idx="34695">
                  <c:v>-1.42857142857142E-2</c:v>
                </c:pt>
                <c:pt idx="34696">
                  <c:v>-1.42857142857142E-2</c:v>
                </c:pt>
                <c:pt idx="34697">
                  <c:v>-1.42857142857142E-2</c:v>
                </c:pt>
                <c:pt idx="34698">
                  <c:v>-1.42857142857142E-2</c:v>
                </c:pt>
                <c:pt idx="34699">
                  <c:v>-1.42857142857142E-2</c:v>
                </c:pt>
                <c:pt idx="34700">
                  <c:v>-1.42857142857142E-2</c:v>
                </c:pt>
                <c:pt idx="34701">
                  <c:v>-1.42857142857142E-2</c:v>
                </c:pt>
                <c:pt idx="34702">
                  <c:v>-1.42857142857142E-2</c:v>
                </c:pt>
                <c:pt idx="34703">
                  <c:v>-1.42857142857142E-2</c:v>
                </c:pt>
                <c:pt idx="34704">
                  <c:v>-1.42857142857142E-2</c:v>
                </c:pt>
                <c:pt idx="34705">
                  <c:v>-1.42857142857142E-2</c:v>
                </c:pt>
                <c:pt idx="34706">
                  <c:v>-1.42857142857142E-2</c:v>
                </c:pt>
                <c:pt idx="34707">
                  <c:v>-1.42857142857142E-2</c:v>
                </c:pt>
                <c:pt idx="34708">
                  <c:v>-1.42857142857142E-2</c:v>
                </c:pt>
                <c:pt idx="34709">
                  <c:v>-1.42857142857142E-2</c:v>
                </c:pt>
                <c:pt idx="34710">
                  <c:v>-1.3445378151260399E-2</c:v>
                </c:pt>
                <c:pt idx="34711">
                  <c:v>-1.3445378151260399E-2</c:v>
                </c:pt>
                <c:pt idx="34712">
                  <c:v>-1.3445378151260399E-2</c:v>
                </c:pt>
                <c:pt idx="34713">
                  <c:v>-1.3445378151260399E-2</c:v>
                </c:pt>
                <c:pt idx="34714">
                  <c:v>-1.3445378151260399E-2</c:v>
                </c:pt>
                <c:pt idx="34715">
                  <c:v>-1.3445378151260399E-2</c:v>
                </c:pt>
                <c:pt idx="34716">
                  <c:v>-1.3445378151260399E-2</c:v>
                </c:pt>
                <c:pt idx="34717">
                  <c:v>-1.26050420168066E-2</c:v>
                </c:pt>
                <c:pt idx="34718">
                  <c:v>-1.1764705882352899E-2</c:v>
                </c:pt>
                <c:pt idx="34719">
                  <c:v>-1.1764705882352899E-2</c:v>
                </c:pt>
                <c:pt idx="34720">
                  <c:v>-1.1764705882352899E-2</c:v>
                </c:pt>
                <c:pt idx="34721">
                  <c:v>-1.1764705882352899E-2</c:v>
                </c:pt>
                <c:pt idx="34722">
                  <c:v>-1.1764705882352899E-2</c:v>
                </c:pt>
                <c:pt idx="34723">
                  <c:v>-1.1764705882352899E-2</c:v>
                </c:pt>
                <c:pt idx="34724">
                  <c:v>-1.1764705882352899E-2</c:v>
                </c:pt>
                <c:pt idx="34725">
                  <c:v>-1.1764705882352899E-2</c:v>
                </c:pt>
                <c:pt idx="34726">
                  <c:v>-1.1764705882352899E-2</c:v>
                </c:pt>
                <c:pt idx="34727">
                  <c:v>-1.1764705882352899E-2</c:v>
                </c:pt>
                <c:pt idx="34728">
                  <c:v>-1.1764705882352899E-2</c:v>
                </c:pt>
                <c:pt idx="34729">
                  <c:v>-1.1764705882352899E-2</c:v>
                </c:pt>
                <c:pt idx="34730">
                  <c:v>-1.1764705882352899E-2</c:v>
                </c:pt>
                <c:pt idx="34731">
                  <c:v>-1.1764705882352899E-2</c:v>
                </c:pt>
                <c:pt idx="34732">
                  <c:v>-1.1764705882352899E-2</c:v>
                </c:pt>
                <c:pt idx="34733">
                  <c:v>-1.1764705882352899E-2</c:v>
                </c:pt>
                <c:pt idx="34734">
                  <c:v>-1.1764705882352899E-2</c:v>
                </c:pt>
                <c:pt idx="34735">
                  <c:v>-1.1764705882352899E-2</c:v>
                </c:pt>
                <c:pt idx="34736">
                  <c:v>-1.1764705882352899E-2</c:v>
                </c:pt>
                <c:pt idx="34737">
                  <c:v>-1.1764705882352899E-2</c:v>
                </c:pt>
                <c:pt idx="34738">
                  <c:v>-1.1764705882352899E-2</c:v>
                </c:pt>
                <c:pt idx="34739">
                  <c:v>-1.1764705882352899E-2</c:v>
                </c:pt>
                <c:pt idx="34740">
                  <c:v>-1.1764705882352899E-2</c:v>
                </c:pt>
                <c:pt idx="34741">
                  <c:v>-1.09243697478991E-2</c:v>
                </c:pt>
                <c:pt idx="34742">
                  <c:v>-1.09243697478991E-2</c:v>
                </c:pt>
                <c:pt idx="34743">
                  <c:v>-1.09243697478991E-2</c:v>
                </c:pt>
                <c:pt idx="34744">
                  <c:v>-1.09243697478991E-2</c:v>
                </c:pt>
                <c:pt idx="34745">
                  <c:v>-1.09243697478991E-2</c:v>
                </c:pt>
                <c:pt idx="34746">
                  <c:v>-1.09243697478991E-2</c:v>
                </c:pt>
                <c:pt idx="34747">
                  <c:v>-1.09243697478991E-2</c:v>
                </c:pt>
                <c:pt idx="34748">
                  <c:v>-1.09243697478991E-2</c:v>
                </c:pt>
                <c:pt idx="34749">
                  <c:v>-1.09243697478991E-2</c:v>
                </c:pt>
                <c:pt idx="34750">
                  <c:v>-1.09243697478991E-2</c:v>
                </c:pt>
                <c:pt idx="34751">
                  <c:v>-1.09243697478991E-2</c:v>
                </c:pt>
                <c:pt idx="34752">
                  <c:v>-1.09243697478991E-2</c:v>
                </c:pt>
                <c:pt idx="34753">
                  <c:v>-1.09243697478991E-2</c:v>
                </c:pt>
                <c:pt idx="34754">
                  <c:v>-1.09243697478991E-2</c:v>
                </c:pt>
                <c:pt idx="34755">
                  <c:v>-1.09243697478991E-2</c:v>
                </c:pt>
                <c:pt idx="34756">
                  <c:v>-1.09243697478991E-2</c:v>
                </c:pt>
                <c:pt idx="34757">
                  <c:v>-1.09243697478991E-2</c:v>
                </c:pt>
                <c:pt idx="34758">
                  <c:v>-1.09243697478991E-2</c:v>
                </c:pt>
                <c:pt idx="34759">
                  <c:v>-1.09243697478991E-2</c:v>
                </c:pt>
                <c:pt idx="34760">
                  <c:v>-1.09243697478991E-2</c:v>
                </c:pt>
                <c:pt idx="34761">
                  <c:v>-1.09243697478991E-2</c:v>
                </c:pt>
                <c:pt idx="34762">
                  <c:v>-1.09243697478991E-2</c:v>
                </c:pt>
                <c:pt idx="34763">
                  <c:v>-1.09243697478991E-2</c:v>
                </c:pt>
                <c:pt idx="34764">
                  <c:v>-1.09243697478991E-2</c:v>
                </c:pt>
                <c:pt idx="34765">
                  <c:v>-1.09243697478991E-2</c:v>
                </c:pt>
                <c:pt idx="34766">
                  <c:v>-1.09243697478991E-2</c:v>
                </c:pt>
                <c:pt idx="34767">
                  <c:v>-1.09243697478991E-2</c:v>
                </c:pt>
                <c:pt idx="34768">
                  <c:v>-1.09243697478991E-2</c:v>
                </c:pt>
                <c:pt idx="34769">
                  <c:v>-1.09243697478991E-2</c:v>
                </c:pt>
                <c:pt idx="34770">
                  <c:v>-1.09243697478991E-2</c:v>
                </c:pt>
                <c:pt idx="34771">
                  <c:v>-1.09243697478991E-2</c:v>
                </c:pt>
                <c:pt idx="34772">
                  <c:v>-1.09243697478991E-2</c:v>
                </c:pt>
                <c:pt idx="34773">
                  <c:v>-1.09243697478991E-2</c:v>
                </c:pt>
                <c:pt idx="34774">
                  <c:v>-1.09243697478991E-2</c:v>
                </c:pt>
                <c:pt idx="34775">
                  <c:v>-1.09243697478991E-2</c:v>
                </c:pt>
                <c:pt idx="34776">
                  <c:v>-1.09243697478991E-2</c:v>
                </c:pt>
                <c:pt idx="34777">
                  <c:v>-1.09243697478991E-2</c:v>
                </c:pt>
                <c:pt idx="34778">
                  <c:v>-1.09243697478991E-2</c:v>
                </c:pt>
                <c:pt idx="34779">
                  <c:v>-1.09243697478991E-2</c:v>
                </c:pt>
                <c:pt idx="34780">
                  <c:v>-1.09243697478991E-2</c:v>
                </c:pt>
                <c:pt idx="34781">
                  <c:v>-1.09243697478991E-2</c:v>
                </c:pt>
                <c:pt idx="34782">
                  <c:v>-1.09243697478991E-2</c:v>
                </c:pt>
                <c:pt idx="34783">
                  <c:v>-1.09243697478991E-2</c:v>
                </c:pt>
                <c:pt idx="34784">
                  <c:v>-1.09243697478991E-2</c:v>
                </c:pt>
                <c:pt idx="34785">
                  <c:v>-1.09243697478991E-2</c:v>
                </c:pt>
                <c:pt idx="34786">
                  <c:v>-1.09243697478991E-2</c:v>
                </c:pt>
                <c:pt idx="34787">
                  <c:v>-1.09243697478991E-2</c:v>
                </c:pt>
                <c:pt idx="34788">
                  <c:v>-1.09243697478991E-2</c:v>
                </c:pt>
                <c:pt idx="34789">
                  <c:v>-1.09243697478991E-2</c:v>
                </c:pt>
                <c:pt idx="34790">
                  <c:v>-1.09243697478991E-2</c:v>
                </c:pt>
                <c:pt idx="34791">
                  <c:v>-1.09243697478991E-2</c:v>
                </c:pt>
                <c:pt idx="34792">
                  <c:v>-1.09243697478991E-2</c:v>
                </c:pt>
                <c:pt idx="34793">
                  <c:v>-1.09243697478991E-2</c:v>
                </c:pt>
                <c:pt idx="34794">
                  <c:v>-1.09243697478991E-2</c:v>
                </c:pt>
                <c:pt idx="34795">
                  <c:v>-1.09243697478991E-2</c:v>
                </c:pt>
                <c:pt idx="34796">
                  <c:v>-1.09243697478991E-2</c:v>
                </c:pt>
                <c:pt idx="34797">
                  <c:v>-1.0084033613445301E-2</c:v>
                </c:pt>
                <c:pt idx="34798">
                  <c:v>-1.0084033613445301E-2</c:v>
                </c:pt>
                <c:pt idx="34799">
                  <c:v>-1.0084033613445301E-2</c:v>
                </c:pt>
                <c:pt idx="34800">
                  <c:v>-1.0084033613445301E-2</c:v>
                </c:pt>
                <c:pt idx="34801">
                  <c:v>-1.0084033613445301E-2</c:v>
                </c:pt>
                <c:pt idx="34802">
                  <c:v>-1.0084033613445301E-2</c:v>
                </c:pt>
                <c:pt idx="34803">
                  <c:v>-1.0084033613445301E-2</c:v>
                </c:pt>
                <c:pt idx="34804">
                  <c:v>-1.0084033613445301E-2</c:v>
                </c:pt>
                <c:pt idx="34805">
                  <c:v>-1.0084033613445301E-2</c:v>
                </c:pt>
                <c:pt idx="34806">
                  <c:v>-1.0084033613445301E-2</c:v>
                </c:pt>
                <c:pt idx="34807">
                  <c:v>-1.0084033613445301E-2</c:v>
                </c:pt>
                <c:pt idx="34808">
                  <c:v>-1.0084033613445301E-2</c:v>
                </c:pt>
                <c:pt idx="34809">
                  <c:v>-1.0084033613445301E-2</c:v>
                </c:pt>
                <c:pt idx="34810">
                  <c:v>-1.0084033613445301E-2</c:v>
                </c:pt>
                <c:pt idx="34811">
                  <c:v>-1.0084033613445301E-2</c:v>
                </c:pt>
                <c:pt idx="34812">
                  <c:v>-1.0084033613445301E-2</c:v>
                </c:pt>
                <c:pt idx="34813">
                  <c:v>-1.0084033613445301E-2</c:v>
                </c:pt>
                <c:pt idx="34814">
                  <c:v>-1.0084033613445301E-2</c:v>
                </c:pt>
                <c:pt idx="34815">
                  <c:v>-9.2436974789915603E-3</c:v>
                </c:pt>
                <c:pt idx="34816">
                  <c:v>-9.2436974789915603E-3</c:v>
                </c:pt>
                <c:pt idx="34817">
                  <c:v>-9.2436974789915603E-3</c:v>
                </c:pt>
                <c:pt idx="34818">
                  <c:v>-9.2436974789915603E-3</c:v>
                </c:pt>
                <c:pt idx="34819">
                  <c:v>-9.2436974789915603E-3</c:v>
                </c:pt>
                <c:pt idx="34820">
                  <c:v>-9.2436974789915603E-3</c:v>
                </c:pt>
                <c:pt idx="34821">
                  <c:v>-1.0084033613445301E-2</c:v>
                </c:pt>
                <c:pt idx="34822">
                  <c:v>-9.2436974789915603E-3</c:v>
                </c:pt>
                <c:pt idx="34823">
                  <c:v>-9.2436974789915603E-3</c:v>
                </c:pt>
                <c:pt idx="34824">
                  <c:v>-9.2436974789915603E-3</c:v>
                </c:pt>
                <c:pt idx="34825">
                  <c:v>-9.2436974789915603E-3</c:v>
                </c:pt>
                <c:pt idx="34826">
                  <c:v>-9.2436974789915603E-3</c:v>
                </c:pt>
                <c:pt idx="34827">
                  <c:v>-9.2436974789915603E-3</c:v>
                </c:pt>
                <c:pt idx="34828">
                  <c:v>-9.2436974789915603E-3</c:v>
                </c:pt>
                <c:pt idx="34829">
                  <c:v>-9.2436974789915603E-3</c:v>
                </c:pt>
                <c:pt idx="34830">
                  <c:v>-9.2436974789915603E-3</c:v>
                </c:pt>
                <c:pt idx="34831">
                  <c:v>-9.2436974789915603E-3</c:v>
                </c:pt>
                <c:pt idx="34832">
                  <c:v>-9.2436974789915603E-3</c:v>
                </c:pt>
                <c:pt idx="34833">
                  <c:v>-9.2436974789915603E-3</c:v>
                </c:pt>
                <c:pt idx="34834">
                  <c:v>-9.2436974789915603E-3</c:v>
                </c:pt>
                <c:pt idx="34835">
                  <c:v>-9.2436974789915603E-3</c:v>
                </c:pt>
                <c:pt idx="34836">
                  <c:v>-9.2436974789915603E-3</c:v>
                </c:pt>
                <c:pt idx="34837">
                  <c:v>-9.2436974789915603E-3</c:v>
                </c:pt>
                <c:pt idx="34838">
                  <c:v>-9.2436974789915603E-3</c:v>
                </c:pt>
                <c:pt idx="34839">
                  <c:v>-9.2436974789915603E-3</c:v>
                </c:pt>
                <c:pt idx="34840">
                  <c:v>-9.2436974789915603E-3</c:v>
                </c:pt>
                <c:pt idx="34841">
                  <c:v>-9.2436974789915603E-3</c:v>
                </c:pt>
                <c:pt idx="34842">
                  <c:v>-9.2436974789915603E-3</c:v>
                </c:pt>
                <c:pt idx="34843">
                  <c:v>-9.2436974789915603E-3</c:v>
                </c:pt>
                <c:pt idx="34844">
                  <c:v>-9.2436974789915603E-3</c:v>
                </c:pt>
                <c:pt idx="34845">
                  <c:v>-9.2436974789915603E-3</c:v>
                </c:pt>
                <c:pt idx="34846">
                  <c:v>-9.2436974789915603E-3</c:v>
                </c:pt>
                <c:pt idx="34847">
                  <c:v>-9.2436974789915603E-3</c:v>
                </c:pt>
                <c:pt idx="34848">
                  <c:v>-9.2436974789915603E-3</c:v>
                </c:pt>
                <c:pt idx="34849">
                  <c:v>-9.2436974789915603E-3</c:v>
                </c:pt>
                <c:pt idx="34850">
                  <c:v>-9.2436974789915603E-3</c:v>
                </c:pt>
                <c:pt idx="34851">
                  <c:v>-9.2436974789915603E-3</c:v>
                </c:pt>
                <c:pt idx="34852">
                  <c:v>-9.2436974789915603E-3</c:v>
                </c:pt>
                <c:pt idx="34853">
                  <c:v>-9.2436974789915603E-3</c:v>
                </c:pt>
                <c:pt idx="34854">
                  <c:v>-8.4033613445377801E-3</c:v>
                </c:pt>
                <c:pt idx="34855">
                  <c:v>-8.4033613445377801E-3</c:v>
                </c:pt>
                <c:pt idx="34856">
                  <c:v>-8.4033613445377801E-3</c:v>
                </c:pt>
                <c:pt idx="34857">
                  <c:v>-8.4033613445377801E-3</c:v>
                </c:pt>
                <c:pt idx="34858">
                  <c:v>-8.4033613445377801E-3</c:v>
                </c:pt>
                <c:pt idx="34859">
                  <c:v>-8.4033613445377801E-3</c:v>
                </c:pt>
                <c:pt idx="34860">
                  <c:v>-8.4033613445377801E-3</c:v>
                </c:pt>
                <c:pt idx="34861">
                  <c:v>-8.4033613445377801E-3</c:v>
                </c:pt>
                <c:pt idx="34862">
                  <c:v>-8.4033613445377801E-3</c:v>
                </c:pt>
                <c:pt idx="34863">
                  <c:v>-8.4033613445377801E-3</c:v>
                </c:pt>
                <c:pt idx="34864">
                  <c:v>-8.4033613445377801E-3</c:v>
                </c:pt>
                <c:pt idx="34865">
                  <c:v>-8.4033613445377801E-3</c:v>
                </c:pt>
                <c:pt idx="34866">
                  <c:v>-8.4033613445377801E-3</c:v>
                </c:pt>
                <c:pt idx="34867">
                  <c:v>-8.4033613445377801E-3</c:v>
                </c:pt>
                <c:pt idx="34868">
                  <c:v>-8.4033613445377801E-3</c:v>
                </c:pt>
                <c:pt idx="34869">
                  <c:v>-8.4033613445377801E-3</c:v>
                </c:pt>
                <c:pt idx="34870">
                  <c:v>-8.4033613445377801E-3</c:v>
                </c:pt>
                <c:pt idx="34871">
                  <c:v>-7.5630252100839998E-3</c:v>
                </c:pt>
                <c:pt idx="34872">
                  <c:v>-7.5630252100839998E-3</c:v>
                </c:pt>
                <c:pt idx="34873">
                  <c:v>-7.5630252100839998E-3</c:v>
                </c:pt>
                <c:pt idx="34874">
                  <c:v>-7.5630252100839998E-3</c:v>
                </c:pt>
                <c:pt idx="34875">
                  <c:v>-7.5630252100839998E-3</c:v>
                </c:pt>
                <c:pt idx="34876">
                  <c:v>-7.5630252100839998E-3</c:v>
                </c:pt>
                <c:pt idx="34877">
                  <c:v>-7.5630252100839998E-3</c:v>
                </c:pt>
                <c:pt idx="34878">
                  <c:v>-7.5630252100839998E-3</c:v>
                </c:pt>
                <c:pt idx="34879">
                  <c:v>-7.5630252100839998E-3</c:v>
                </c:pt>
                <c:pt idx="34880">
                  <c:v>-7.5630252100839998E-3</c:v>
                </c:pt>
                <c:pt idx="34881">
                  <c:v>-7.5630252100839998E-3</c:v>
                </c:pt>
                <c:pt idx="34882">
                  <c:v>-7.5630252100839998E-3</c:v>
                </c:pt>
                <c:pt idx="34883">
                  <c:v>-7.5630252100839998E-3</c:v>
                </c:pt>
                <c:pt idx="34884">
                  <c:v>-7.5630252100839998E-3</c:v>
                </c:pt>
                <c:pt idx="34885">
                  <c:v>-7.5630252100839998E-3</c:v>
                </c:pt>
                <c:pt idx="34886">
                  <c:v>-7.5630252100839998E-3</c:v>
                </c:pt>
                <c:pt idx="34887">
                  <c:v>-7.5630252100839998E-3</c:v>
                </c:pt>
                <c:pt idx="34888">
                  <c:v>-7.5630252100839998E-3</c:v>
                </c:pt>
                <c:pt idx="34889">
                  <c:v>-7.5630252100839998E-3</c:v>
                </c:pt>
                <c:pt idx="34890">
                  <c:v>-7.5630252100839998E-3</c:v>
                </c:pt>
                <c:pt idx="34891">
                  <c:v>-7.5630252100839998E-3</c:v>
                </c:pt>
                <c:pt idx="34892">
                  <c:v>-7.5630252100839998E-3</c:v>
                </c:pt>
                <c:pt idx="34893">
                  <c:v>-7.5630252100839998E-3</c:v>
                </c:pt>
                <c:pt idx="34894">
                  <c:v>-7.5630252100839998E-3</c:v>
                </c:pt>
                <c:pt idx="34895">
                  <c:v>-7.5630252100839998E-3</c:v>
                </c:pt>
                <c:pt idx="34896">
                  <c:v>-7.5630252100839998E-3</c:v>
                </c:pt>
                <c:pt idx="34897">
                  <c:v>-7.5630252100839998E-3</c:v>
                </c:pt>
                <c:pt idx="34898">
                  <c:v>-7.5630252100839998E-3</c:v>
                </c:pt>
                <c:pt idx="34899">
                  <c:v>-7.5630252100839998E-3</c:v>
                </c:pt>
                <c:pt idx="34900">
                  <c:v>-7.5630252100839998E-3</c:v>
                </c:pt>
                <c:pt idx="34901">
                  <c:v>-7.5630252100839998E-3</c:v>
                </c:pt>
                <c:pt idx="34902">
                  <c:v>-7.5630252100839998E-3</c:v>
                </c:pt>
                <c:pt idx="34903">
                  <c:v>-7.5630252100839998E-3</c:v>
                </c:pt>
                <c:pt idx="34904">
                  <c:v>-7.5630252100839998E-3</c:v>
                </c:pt>
                <c:pt idx="34905">
                  <c:v>-7.5630252100839998E-3</c:v>
                </c:pt>
                <c:pt idx="34906">
                  <c:v>-7.5630252100839998E-3</c:v>
                </c:pt>
                <c:pt idx="34907">
                  <c:v>-7.5630252100839998E-3</c:v>
                </c:pt>
                <c:pt idx="34908">
                  <c:v>-7.5630252100839998E-3</c:v>
                </c:pt>
                <c:pt idx="34909">
                  <c:v>-7.5630252100839998E-3</c:v>
                </c:pt>
                <c:pt idx="34910">
                  <c:v>-7.5630252100839998E-3</c:v>
                </c:pt>
                <c:pt idx="34911">
                  <c:v>-7.5630252100839998E-3</c:v>
                </c:pt>
                <c:pt idx="34912">
                  <c:v>-7.5630252100839998E-3</c:v>
                </c:pt>
                <c:pt idx="34913">
                  <c:v>-7.5630252100839998E-3</c:v>
                </c:pt>
                <c:pt idx="34914">
                  <c:v>-7.5630252100839998E-3</c:v>
                </c:pt>
                <c:pt idx="34915">
                  <c:v>-7.5630252100839998E-3</c:v>
                </c:pt>
                <c:pt idx="34916">
                  <c:v>-7.5630252100839998E-3</c:v>
                </c:pt>
                <c:pt idx="34917">
                  <c:v>-7.5630252100839998E-3</c:v>
                </c:pt>
                <c:pt idx="34918">
                  <c:v>-7.5630252100839998E-3</c:v>
                </c:pt>
                <c:pt idx="34919">
                  <c:v>-7.5630252100839998E-3</c:v>
                </c:pt>
                <c:pt idx="34920">
                  <c:v>-7.5630252100839998E-3</c:v>
                </c:pt>
                <c:pt idx="34921">
                  <c:v>-7.5630252100839998E-3</c:v>
                </c:pt>
                <c:pt idx="34922">
                  <c:v>-7.5630252100839998E-3</c:v>
                </c:pt>
                <c:pt idx="34923">
                  <c:v>-8.4033613445377801E-3</c:v>
                </c:pt>
                <c:pt idx="34924">
                  <c:v>-8.4033613445377801E-3</c:v>
                </c:pt>
                <c:pt idx="34925">
                  <c:v>-8.4033613445377801E-3</c:v>
                </c:pt>
                <c:pt idx="34926">
                  <c:v>-8.4033613445377801E-3</c:v>
                </c:pt>
                <c:pt idx="34927">
                  <c:v>-8.4033613445377801E-3</c:v>
                </c:pt>
                <c:pt idx="34928">
                  <c:v>-8.4033613445377801E-3</c:v>
                </c:pt>
                <c:pt idx="34929">
                  <c:v>-8.4033613445377801E-3</c:v>
                </c:pt>
                <c:pt idx="34930">
                  <c:v>-8.4033613445377801E-3</c:v>
                </c:pt>
                <c:pt idx="34931">
                  <c:v>-8.4033613445377801E-3</c:v>
                </c:pt>
                <c:pt idx="34932">
                  <c:v>-8.4033613445377801E-3</c:v>
                </c:pt>
                <c:pt idx="34933">
                  <c:v>-8.4033613445377801E-3</c:v>
                </c:pt>
                <c:pt idx="34934">
                  <c:v>-8.4033613445377801E-3</c:v>
                </c:pt>
                <c:pt idx="34935">
                  <c:v>-8.4033613445377801E-3</c:v>
                </c:pt>
                <c:pt idx="34936">
                  <c:v>-8.4033613445377801E-3</c:v>
                </c:pt>
                <c:pt idx="34937">
                  <c:v>-8.4033613445377801E-3</c:v>
                </c:pt>
                <c:pt idx="34938">
                  <c:v>-9.2436974789915603E-3</c:v>
                </c:pt>
                <c:pt idx="34939">
                  <c:v>-9.2436974789915603E-3</c:v>
                </c:pt>
                <c:pt idx="34940">
                  <c:v>-9.2436974789915603E-3</c:v>
                </c:pt>
                <c:pt idx="34941">
                  <c:v>-9.2436974789915603E-3</c:v>
                </c:pt>
                <c:pt idx="34942">
                  <c:v>-9.2436974789915603E-3</c:v>
                </c:pt>
                <c:pt idx="34943">
                  <c:v>-8.4033613445377801E-3</c:v>
                </c:pt>
                <c:pt idx="34944">
                  <c:v>-8.4033613445377801E-3</c:v>
                </c:pt>
                <c:pt idx="34945">
                  <c:v>-8.4033613445377801E-3</c:v>
                </c:pt>
                <c:pt idx="34946">
                  <c:v>-8.4033613445377801E-3</c:v>
                </c:pt>
                <c:pt idx="34947">
                  <c:v>-8.4033613445377801E-3</c:v>
                </c:pt>
                <c:pt idx="34948">
                  <c:v>-8.4033613445377801E-3</c:v>
                </c:pt>
                <c:pt idx="34949">
                  <c:v>-8.4033613445377801E-3</c:v>
                </c:pt>
                <c:pt idx="34950">
                  <c:v>-8.4033613445377801E-3</c:v>
                </c:pt>
                <c:pt idx="34951">
                  <c:v>-8.4033613445377801E-3</c:v>
                </c:pt>
                <c:pt idx="34952">
                  <c:v>-8.4033613445377801E-3</c:v>
                </c:pt>
                <c:pt idx="34953">
                  <c:v>-8.4033613445377801E-3</c:v>
                </c:pt>
                <c:pt idx="34954">
                  <c:v>-8.4033613445377801E-3</c:v>
                </c:pt>
                <c:pt idx="34955">
                  <c:v>-9.2436974789915603E-3</c:v>
                </c:pt>
                <c:pt idx="34956">
                  <c:v>-9.2436974789915603E-3</c:v>
                </c:pt>
                <c:pt idx="34957">
                  <c:v>-9.2436974789915603E-3</c:v>
                </c:pt>
                <c:pt idx="34958">
                  <c:v>-9.2436974789915603E-3</c:v>
                </c:pt>
                <c:pt idx="34959">
                  <c:v>-9.2436974789915603E-3</c:v>
                </c:pt>
                <c:pt idx="34960">
                  <c:v>-9.2436974789915603E-3</c:v>
                </c:pt>
                <c:pt idx="34961">
                  <c:v>-8.4033613445377801E-3</c:v>
                </c:pt>
                <c:pt idx="34962">
                  <c:v>-7.5630252100839998E-3</c:v>
                </c:pt>
                <c:pt idx="34963">
                  <c:v>-7.5630252100839998E-3</c:v>
                </c:pt>
                <c:pt idx="34964">
                  <c:v>-7.5630252100839998E-3</c:v>
                </c:pt>
                <c:pt idx="34965">
                  <c:v>-7.5630252100839998E-3</c:v>
                </c:pt>
                <c:pt idx="34966">
                  <c:v>-7.5630252100839998E-3</c:v>
                </c:pt>
                <c:pt idx="34967">
                  <c:v>-7.5630252100839998E-3</c:v>
                </c:pt>
                <c:pt idx="34968">
                  <c:v>-7.5630252100839998E-3</c:v>
                </c:pt>
                <c:pt idx="34969">
                  <c:v>-7.5630252100839998E-3</c:v>
                </c:pt>
                <c:pt idx="34970">
                  <c:v>-7.5630252100839998E-3</c:v>
                </c:pt>
                <c:pt idx="34971">
                  <c:v>-8.4033613445377801E-3</c:v>
                </c:pt>
                <c:pt idx="34972">
                  <c:v>-8.4033613445377801E-3</c:v>
                </c:pt>
                <c:pt idx="34973">
                  <c:v>-9.2436974789915603E-3</c:v>
                </c:pt>
                <c:pt idx="34974">
                  <c:v>-9.2436974789915603E-3</c:v>
                </c:pt>
                <c:pt idx="34975">
                  <c:v>-9.2436974789915603E-3</c:v>
                </c:pt>
                <c:pt idx="34976">
                  <c:v>-9.2436974789915603E-3</c:v>
                </c:pt>
                <c:pt idx="34977">
                  <c:v>-9.2436974789915603E-3</c:v>
                </c:pt>
                <c:pt idx="34978">
                  <c:v>-9.2436974789915603E-3</c:v>
                </c:pt>
                <c:pt idx="34979">
                  <c:v>-9.2436974789915603E-3</c:v>
                </c:pt>
                <c:pt idx="34980">
                  <c:v>-9.2436974789915603E-3</c:v>
                </c:pt>
                <c:pt idx="34981">
                  <c:v>-9.2436974789915603E-3</c:v>
                </c:pt>
                <c:pt idx="34982">
                  <c:v>-9.2436974789915603E-3</c:v>
                </c:pt>
                <c:pt idx="34983">
                  <c:v>-9.2436974789915603E-3</c:v>
                </c:pt>
                <c:pt idx="34984">
                  <c:v>-9.2436974789915603E-3</c:v>
                </c:pt>
                <c:pt idx="34985">
                  <c:v>-9.2436974789915603E-3</c:v>
                </c:pt>
                <c:pt idx="34986">
                  <c:v>-9.2436974789915603E-3</c:v>
                </c:pt>
                <c:pt idx="34987">
                  <c:v>-9.2436974789915603E-3</c:v>
                </c:pt>
                <c:pt idx="34988">
                  <c:v>-8.4033613445377801E-3</c:v>
                </c:pt>
                <c:pt idx="34989">
                  <c:v>-8.4033613445377801E-3</c:v>
                </c:pt>
                <c:pt idx="34990">
                  <c:v>-8.4033613445377801E-3</c:v>
                </c:pt>
                <c:pt idx="34991">
                  <c:v>-8.4033613445377801E-3</c:v>
                </c:pt>
                <c:pt idx="34992">
                  <c:v>-8.4033613445377801E-3</c:v>
                </c:pt>
                <c:pt idx="34993">
                  <c:v>-8.4033613445377801E-3</c:v>
                </c:pt>
                <c:pt idx="34994">
                  <c:v>-8.4033613445377801E-3</c:v>
                </c:pt>
                <c:pt idx="34995">
                  <c:v>-8.4033613445377801E-3</c:v>
                </c:pt>
                <c:pt idx="34996">
                  <c:v>-8.4033613445377801E-3</c:v>
                </c:pt>
                <c:pt idx="34997">
                  <c:v>-8.4033613445377801E-3</c:v>
                </c:pt>
                <c:pt idx="34998">
                  <c:v>-8.4033613445377801E-3</c:v>
                </c:pt>
                <c:pt idx="34999">
                  <c:v>-8.4033613445377801E-3</c:v>
                </c:pt>
                <c:pt idx="35000">
                  <c:v>-8.4033613445377801E-3</c:v>
                </c:pt>
                <c:pt idx="35001">
                  <c:v>-8.4033613445377801E-3</c:v>
                </c:pt>
                <c:pt idx="35002">
                  <c:v>-8.4033613445377801E-3</c:v>
                </c:pt>
                <c:pt idx="35003">
                  <c:v>-8.4033613445377801E-3</c:v>
                </c:pt>
                <c:pt idx="35004">
                  <c:v>-8.4033613445377801E-3</c:v>
                </c:pt>
                <c:pt idx="35005">
                  <c:v>-8.4033613445377801E-3</c:v>
                </c:pt>
                <c:pt idx="35006">
                  <c:v>-8.4033613445377801E-3</c:v>
                </c:pt>
                <c:pt idx="35007">
                  <c:v>-8.4033613445377801E-3</c:v>
                </c:pt>
                <c:pt idx="35008">
                  <c:v>-8.4033613445377801E-3</c:v>
                </c:pt>
                <c:pt idx="35009">
                  <c:v>-8.4033613445377801E-3</c:v>
                </c:pt>
                <c:pt idx="35010">
                  <c:v>-8.4033613445377801E-3</c:v>
                </c:pt>
                <c:pt idx="35011">
                  <c:v>-8.4033613445377801E-3</c:v>
                </c:pt>
                <c:pt idx="35012">
                  <c:v>-8.4033613445377801E-3</c:v>
                </c:pt>
                <c:pt idx="35013">
                  <c:v>-8.4033613445377801E-3</c:v>
                </c:pt>
                <c:pt idx="35014">
                  <c:v>-8.4033613445377801E-3</c:v>
                </c:pt>
                <c:pt idx="35015">
                  <c:v>-8.4033613445377801E-3</c:v>
                </c:pt>
                <c:pt idx="35016">
                  <c:v>-8.4033613445377801E-3</c:v>
                </c:pt>
                <c:pt idx="35017">
                  <c:v>-8.4033613445377801E-3</c:v>
                </c:pt>
                <c:pt idx="35018">
                  <c:v>-8.4033613445377801E-3</c:v>
                </c:pt>
                <c:pt idx="35019">
                  <c:v>-7.5630252100839998E-3</c:v>
                </c:pt>
                <c:pt idx="35020">
                  <c:v>-7.5630252100839998E-3</c:v>
                </c:pt>
                <c:pt idx="35021">
                  <c:v>-7.5630252100839998E-3</c:v>
                </c:pt>
                <c:pt idx="35022">
                  <c:v>-7.5630252100839998E-3</c:v>
                </c:pt>
                <c:pt idx="35023">
                  <c:v>-7.5630252100839998E-3</c:v>
                </c:pt>
                <c:pt idx="35024">
                  <c:v>-7.5630252100839998E-3</c:v>
                </c:pt>
                <c:pt idx="35025">
                  <c:v>-7.5630252100839998E-3</c:v>
                </c:pt>
                <c:pt idx="35026">
                  <c:v>-7.5630252100839998E-3</c:v>
                </c:pt>
                <c:pt idx="35027">
                  <c:v>-7.5630252100839998E-3</c:v>
                </c:pt>
                <c:pt idx="35028">
                  <c:v>-7.5630252100839998E-3</c:v>
                </c:pt>
                <c:pt idx="35029">
                  <c:v>-7.5630252100839998E-3</c:v>
                </c:pt>
                <c:pt idx="35030">
                  <c:v>-7.5630252100839998E-3</c:v>
                </c:pt>
                <c:pt idx="35031">
                  <c:v>-7.5630252100839998E-3</c:v>
                </c:pt>
                <c:pt idx="35032">
                  <c:v>-7.5630252100839998E-3</c:v>
                </c:pt>
                <c:pt idx="35033">
                  <c:v>-7.5630252100839998E-3</c:v>
                </c:pt>
                <c:pt idx="35034">
                  <c:v>-7.5630252100839998E-3</c:v>
                </c:pt>
                <c:pt idx="35035">
                  <c:v>-7.5630252100839998E-3</c:v>
                </c:pt>
                <c:pt idx="35036">
                  <c:v>-7.5630252100839998E-3</c:v>
                </c:pt>
                <c:pt idx="35037">
                  <c:v>-7.5630252100839998E-3</c:v>
                </c:pt>
                <c:pt idx="35038">
                  <c:v>-7.5630252100839998E-3</c:v>
                </c:pt>
                <c:pt idx="35039">
                  <c:v>-7.5630252100839998E-3</c:v>
                </c:pt>
                <c:pt idx="35040">
                  <c:v>-7.5630252100839998E-3</c:v>
                </c:pt>
                <c:pt idx="35041">
                  <c:v>-7.5630252100839998E-3</c:v>
                </c:pt>
                <c:pt idx="35042">
                  <c:v>-7.5630252100839998E-3</c:v>
                </c:pt>
                <c:pt idx="35043">
                  <c:v>-7.5630252100839998E-3</c:v>
                </c:pt>
                <c:pt idx="35044">
                  <c:v>-7.5630252100839998E-3</c:v>
                </c:pt>
                <c:pt idx="35045">
                  <c:v>-7.5630252100839998E-3</c:v>
                </c:pt>
                <c:pt idx="35046">
                  <c:v>-7.5630252100839998E-3</c:v>
                </c:pt>
                <c:pt idx="35047">
                  <c:v>-7.5630252100839998E-3</c:v>
                </c:pt>
                <c:pt idx="35048">
                  <c:v>-7.5630252100839998E-3</c:v>
                </c:pt>
                <c:pt idx="35049">
                  <c:v>-7.5630252100839998E-3</c:v>
                </c:pt>
                <c:pt idx="35050">
                  <c:v>-7.5630252100839998E-3</c:v>
                </c:pt>
                <c:pt idx="35051">
                  <c:v>-7.5630252100839998E-3</c:v>
                </c:pt>
                <c:pt idx="35052">
                  <c:v>-7.5630252100839998E-3</c:v>
                </c:pt>
                <c:pt idx="35053">
                  <c:v>-7.5630252100839998E-3</c:v>
                </c:pt>
                <c:pt idx="35054">
                  <c:v>-7.5630252100839998E-3</c:v>
                </c:pt>
                <c:pt idx="35055">
                  <c:v>-7.5630252100839998E-3</c:v>
                </c:pt>
                <c:pt idx="35056">
                  <c:v>-7.5630252100839998E-3</c:v>
                </c:pt>
                <c:pt idx="35057">
                  <c:v>-7.5630252100839998E-3</c:v>
                </c:pt>
                <c:pt idx="35058">
                  <c:v>-7.5630252100839998E-3</c:v>
                </c:pt>
                <c:pt idx="35059">
                  <c:v>-7.5630252100839998E-3</c:v>
                </c:pt>
                <c:pt idx="35060">
                  <c:v>-7.5630252100839998E-3</c:v>
                </c:pt>
                <c:pt idx="35061">
                  <c:v>-7.5630252100839998E-3</c:v>
                </c:pt>
                <c:pt idx="35062">
                  <c:v>-8.4033613445377801E-3</c:v>
                </c:pt>
                <c:pt idx="35063">
                  <c:v>-8.4033613445377801E-3</c:v>
                </c:pt>
                <c:pt idx="35064">
                  <c:v>-8.4033613445377801E-3</c:v>
                </c:pt>
                <c:pt idx="35065">
                  <c:v>-8.4033613445377801E-3</c:v>
                </c:pt>
                <c:pt idx="35066">
                  <c:v>-8.4033613445377801E-3</c:v>
                </c:pt>
                <c:pt idx="35067">
                  <c:v>-8.4033613445377801E-3</c:v>
                </c:pt>
                <c:pt idx="35068">
                  <c:v>-8.4033613445377801E-3</c:v>
                </c:pt>
                <c:pt idx="35069">
                  <c:v>-8.4033613445377801E-3</c:v>
                </c:pt>
                <c:pt idx="35070">
                  <c:v>-8.4033613445377801E-3</c:v>
                </c:pt>
                <c:pt idx="35071">
                  <c:v>-8.4033613445377801E-3</c:v>
                </c:pt>
                <c:pt idx="35072">
                  <c:v>-8.4033613445377801E-3</c:v>
                </c:pt>
                <c:pt idx="35073">
                  <c:v>-8.4033613445377801E-3</c:v>
                </c:pt>
                <c:pt idx="35074">
                  <c:v>-8.4033613445377801E-3</c:v>
                </c:pt>
                <c:pt idx="35075">
                  <c:v>-8.4033613445377801E-3</c:v>
                </c:pt>
                <c:pt idx="35076">
                  <c:v>-8.4033613445377801E-3</c:v>
                </c:pt>
                <c:pt idx="35077">
                  <c:v>-8.4033613445377801E-3</c:v>
                </c:pt>
                <c:pt idx="35078">
                  <c:v>-8.4033613445377801E-3</c:v>
                </c:pt>
                <c:pt idx="35079">
                  <c:v>-7.5630252100839998E-3</c:v>
                </c:pt>
                <c:pt idx="35080">
                  <c:v>-7.5630252100839998E-3</c:v>
                </c:pt>
                <c:pt idx="35081">
                  <c:v>-8.4033613445377801E-3</c:v>
                </c:pt>
                <c:pt idx="35082">
                  <c:v>-8.4033613445377801E-3</c:v>
                </c:pt>
                <c:pt idx="35083">
                  <c:v>-8.4033613445377801E-3</c:v>
                </c:pt>
                <c:pt idx="35084">
                  <c:v>-8.4033613445377801E-3</c:v>
                </c:pt>
                <c:pt idx="35085">
                  <c:v>-8.4033613445377801E-3</c:v>
                </c:pt>
                <c:pt idx="35086">
                  <c:v>-8.4033613445377801E-3</c:v>
                </c:pt>
                <c:pt idx="35087">
                  <c:v>-8.4033613445377801E-3</c:v>
                </c:pt>
                <c:pt idx="35088">
                  <c:v>-8.4033613445377801E-3</c:v>
                </c:pt>
                <c:pt idx="35089">
                  <c:v>-8.4033613445377801E-3</c:v>
                </c:pt>
                <c:pt idx="35090">
                  <c:v>-8.4033613445377801E-3</c:v>
                </c:pt>
                <c:pt idx="35091">
                  <c:v>-8.4033613445377801E-3</c:v>
                </c:pt>
                <c:pt idx="35092">
                  <c:v>-8.4033613445377801E-3</c:v>
                </c:pt>
                <c:pt idx="35093">
                  <c:v>-8.4033613445377801E-3</c:v>
                </c:pt>
                <c:pt idx="35094">
                  <c:v>-8.4033613445377801E-3</c:v>
                </c:pt>
                <c:pt idx="35095">
                  <c:v>-8.4033613445377801E-3</c:v>
                </c:pt>
                <c:pt idx="35096">
                  <c:v>-8.4033613445377801E-3</c:v>
                </c:pt>
                <c:pt idx="35097">
                  <c:v>-8.4033613445377801E-3</c:v>
                </c:pt>
                <c:pt idx="35098">
                  <c:v>-8.4033613445377801E-3</c:v>
                </c:pt>
                <c:pt idx="35099">
                  <c:v>-8.4033613445377801E-3</c:v>
                </c:pt>
                <c:pt idx="35100">
                  <c:v>-8.4033613445377801E-3</c:v>
                </c:pt>
                <c:pt idx="35101">
                  <c:v>-8.4033613445377801E-3</c:v>
                </c:pt>
                <c:pt idx="35102">
                  <c:v>-8.4033613445377801E-3</c:v>
                </c:pt>
                <c:pt idx="35103">
                  <c:v>-8.4033613445377801E-3</c:v>
                </c:pt>
                <c:pt idx="35104">
                  <c:v>-8.4033613445377801E-3</c:v>
                </c:pt>
                <c:pt idx="35105">
                  <c:v>-8.4033613445377801E-3</c:v>
                </c:pt>
                <c:pt idx="35106">
                  <c:v>-8.4033613445377801E-3</c:v>
                </c:pt>
                <c:pt idx="35107">
                  <c:v>-8.4033613445377801E-3</c:v>
                </c:pt>
                <c:pt idx="35108">
                  <c:v>-8.4033613445377801E-3</c:v>
                </c:pt>
                <c:pt idx="35109">
                  <c:v>-8.4033613445377801E-3</c:v>
                </c:pt>
                <c:pt idx="35110">
                  <c:v>-8.4033613445377801E-3</c:v>
                </c:pt>
                <c:pt idx="35111">
                  <c:v>-8.4033613445377801E-3</c:v>
                </c:pt>
                <c:pt idx="35112">
                  <c:v>-8.4033613445377801E-3</c:v>
                </c:pt>
                <c:pt idx="35113">
                  <c:v>-8.4033613445377801E-3</c:v>
                </c:pt>
                <c:pt idx="35114">
                  <c:v>-8.4033613445377801E-3</c:v>
                </c:pt>
                <c:pt idx="35115">
                  <c:v>-8.4033613445377801E-3</c:v>
                </c:pt>
                <c:pt idx="35116">
                  <c:v>-8.4033613445377801E-3</c:v>
                </c:pt>
                <c:pt idx="35117">
                  <c:v>-8.4033613445377801E-3</c:v>
                </c:pt>
                <c:pt idx="35118">
                  <c:v>-8.4033613445377801E-3</c:v>
                </c:pt>
                <c:pt idx="35119">
                  <c:v>-8.4033613445377801E-3</c:v>
                </c:pt>
                <c:pt idx="35120">
                  <c:v>-8.4033613445377801E-3</c:v>
                </c:pt>
                <c:pt idx="35121">
                  <c:v>-8.4033613445377801E-3</c:v>
                </c:pt>
                <c:pt idx="35122">
                  <c:v>-8.4033613445377801E-3</c:v>
                </c:pt>
                <c:pt idx="35123">
                  <c:v>-8.4033613445377801E-3</c:v>
                </c:pt>
                <c:pt idx="35124">
                  <c:v>-8.4033613445377801E-3</c:v>
                </c:pt>
                <c:pt idx="35125">
                  <c:v>-8.4033613445377801E-3</c:v>
                </c:pt>
                <c:pt idx="35126">
                  <c:v>-8.4033613445377801E-3</c:v>
                </c:pt>
                <c:pt idx="35127">
                  <c:v>-8.4033613445377801E-3</c:v>
                </c:pt>
                <c:pt idx="35128">
                  <c:v>-8.4033613445377801E-3</c:v>
                </c:pt>
                <c:pt idx="35129">
                  <c:v>-8.4033613445377801E-3</c:v>
                </c:pt>
                <c:pt idx="35130">
                  <c:v>-7.5630252100839998E-3</c:v>
                </c:pt>
                <c:pt idx="35131">
                  <c:v>-7.5630252100839998E-3</c:v>
                </c:pt>
                <c:pt idx="35132">
                  <c:v>-7.5630252100839998E-3</c:v>
                </c:pt>
                <c:pt idx="35133">
                  <c:v>-7.5630252100839998E-3</c:v>
                </c:pt>
                <c:pt idx="35134">
                  <c:v>-7.5630252100839998E-3</c:v>
                </c:pt>
                <c:pt idx="35135">
                  <c:v>-7.5630252100839998E-3</c:v>
                </c:pt>
                <c:pt idx="35136">
                  <c:v>-7.5630252100839998E-3</c:v>
                </c:pt>
                <c:pt idx="35137">
                  <c:v>-7.5630252100839998E-3</c:v>
                </c:pt>
                <c:pt idx="35138">
                  <c:v>-7.5630252100839998E-3</c:v>
                </c:pt>
                <c:pt idx="35139">
                  <c:v>-7.5630252100839998E-3</c:v>
                </c:pt>
                <c:pt idx="35140">
                  <c:v>-7.5630252100839998E-3</c:v>
                </c:pt>
                <c:pt idx="35141">
                  <c:v>-7.5630252100839998E-3</c:v>
                </c:pt>
                <c:pt idx="35142">
                  <c:v>-7.5630252100839998E-3</c:v>
                </c:pt>
                <c:pt idx="35143">
                  <c:v>-7.5630252100839998E-3</c:v>
                </c:pt>
                <c:pt idx="35144">
                  <c:v>-7.5630252100839998E-3</c:v>
                </c:pt>
                <c:pt idx="35145">
                  <c:v>-7.5630252100839998E-3</c:v>
                </c:pt>
                <c:pt idx="35146">
                  <c:v>-7.5630252100839998E-3</c:v>
                </c:pt>
                <c:pt idx="35147">
                  <c:v>-7.5630252100839998E-3</c:v>
                </c:pt>
                <c:pt idx="35148">
                  <c:v>-7.5630252100839998E-3</c:v>
                </c:pt>
                <c:pt idx="35149">
                  <c:v>-7.5630252100839998E-3</c:v>
                </c:pt>
                <c:pt idx="35150">
                  <c:v>-7.5630252100839998E-3</c:v>
                </c:pt>
                <c:pt idx="35151">
                  <c:v>-7.5630252100839998E-3</c:v>
                </c:pt>
                <c:pt idx="35152">
                  <c:v>-7.5630252100839998E-3</c:v>
                </c:pt>
                <c:pt idx="35153">
                  <c:v>-7.5630252100839998E-3</c:v>
                </c:pt>
                <c:pt idx="35154">
                  <c:v>-7.5630252100839998E-3</c:v>
                </c:pt>
                <c:pt idx="35155">
                  <c:v>-8.4033613445378894E-3</c:v>
                </c:pt>
                <c:pt idx="35156">
                  <c:v>-8.4033613445378894E-3</c:v>
                </c:pt>
                <c:pt idx="35157">
                  <c:v>-8.4033613445378894E-3</c:v>
                </c:pt>
                <c:pt idx="35158">
                  <c:v>-8.4033613445378894E-3</c:v>
                </c:pt>
                <c:pt idx="35159">
                  <c:v>-8.4033613445378894E-3</c:v>
                </c:pt>
                <c:pt idx="35160">
                  <c:v>-8.4033613445378894E-3</c:v>
                </c:pt>
                <c:pt idx="35161">
                  <c:v>-8.4033613445378894E-3</c:v>
                </c:pt>
                <c:pt idx="35162">
                  <c:v>-8.4033613445378894E-3</c:v>
                </c:pt>
                <c:pt idx="35163">
                  <c:v>-8.4033613445378894E-3</c:v>
                </c:pt>
                <c:pt idx="35164">
                  <c:v>-8.4033613445378894E-3</c:v>
                </c:pt>
                <c:pt idx="35165">
                  <c:v>-8.4033613445378894E-3</c:v>
                </c:pt>
                <c:pt idx="35166">
                  <c:v>-8.4033613445378894E-3</c:v>
                </c:pt>
                <c:pt idx="35167">
                  <c:v>-8.4033613445378894E-3</c:v>
                </c:pt>
                <c:pt idx="35168">
                  <c:v>-8.4033613445378894E-3</c:v>
                </c:pt>
                <c:pt idx="35169">
                  <c:v>-8.4033613445378894E-3</c:v>
                </c:pt>
                <c:pt idx="35170">
                  <c:v>-8.4033613445378894E-3</c:v>
                </c:pt>
                <c:pt idx="35171">
                  <c:v>-8.4033613445378894E-3</c:v>
                </c:pt>
                <c:pt idx="35172">
                  <c:v>-8.4033613445378894E-3</c:v>
                </c:pt>
                <c:pt idx="35173">
                  <c:v>-8.4033613445378894E-3</c:v>
                </c:pt>
                <c:pt idx="35174">
                  <c:v>-8.4033613445378894E-3</c:v>
                </c:pt>
                <c:pt idx="35175">
                  <c:v>-8.4033613445378894E-3</c:v>
                </c:pt>
                <c:pt idx="35176">
                  <c:v>-8.4033613445378894E-3</c:v>
                </c:pt>
                <c:pt idx="35177">
                  <c:v>-8.4033613445378894E-3</c:v>
                </c:pt>
                <c:pt idx="35178">
                  <c:v>-7.56302521008411E-3</c:v>
                </c:pt>
                <c:pt idx="35179">
                  <c:v>-7.56302521008411E-3</c:v>
                </c:pt>
                <c:pt idx="35180">
                  <c:v>-7.56302521008411E-3</c:v>
                </c:pt>
                <c:pt idx="35181">
                  <c:v>-7.56302521008411E-3</c:v>
                </c:pt>
                <c:pt idx="35182">
                  <c:v>-7.56302521008411E-3</c:v>
                </c:pt>
                <c:pt idx="35183">
                  <c:v>-7.56302521008411E-3</c:v>
                </c:pt>
                <c:pt idx="35184">
                  <c:v>-8.4033613445378894E-3</c:v>
                </c:pt>
                <c:pt idx="35185">
                  <c:v>-9.2436974789916696E-3</c:v>
                </c:pt>
                <c:pt idx="35186">
                  <c:v>-9.2436974789916696E-3</c:v>
                </c:pt>
                <c:pt idx="35187">
                  <c:v>-9.2436974789916696E-3</c:v>
                </c:pt>
                <c:pt idx="35188">
                  <c:v>-9.2436974789916696E-3</c:v>
                </c:pt>
                <c:pt idx="35189">
                  <c:v>-9.2436974789916696E-3</c:v>
                </c:pt>
                <c:pt idx="35190">
                  <c:v>-9.2436974789916696E-3</c:v>
                </c:pt>
                <c:pt idx="35191">
                  <c:v>-9.2436974789916696E-3</c:v>
                </c:pt>
                <c:pt idx="35192">
                  <c:v>-9.2436974789916696E-3</c:v>
                </c:pt>
                <c:pt idx="35193">
                  <c:v>-9.2436974789916696E-3</c:v>
                </c:pt>
                <c:pt idx="35194">
                  <c:v>-9.2436974789916696E-3</c:v>
                </c:pt>
                <c:pt idx="35195">
                  <c:v>-9.2436974789916696E-3</c:v>
                </c:pt>
                <c:pt idx="35196">
                  <c:v>-9.2436974789916696E-3</c:v>
                </c:pt>
                <c:pt idx="35197">
                  <c:v>-9.2436974789916696E-3</c:v>
                </c:pt>
                <c:pt idx="35198">
                  <c:v>-9.2436974789916696E-3</c:v>
                </c:pt>
                <c:pt idx="35199">
                  <c:v>-9.2436974789916696E-3</c:v>
                </c:pt>
                <c:pt idx="35200">
                  <c:v>-9.2436974789916696E-3</c:v>
                </c:pt>
                <c:pt idx="35201">
                  <c:v>-9.2436974789916696E-3</c:v>
                </c:pt>
                <c:pt idx="35202">
                  <c:v>-9.2436974789916696E-3</c:v>
                </c:pt>
                <c:pt idx="35203">
                  <c:v>-9.2436974789916696E-3</c:v>
                </c:pt>
                <c:pt idx="35204">
                  <c:v>-9.2436974789916696E-3</c:v>
                </c:pt>
                <c:pt idx="35205">
                  <c:v>-9.2436974789916696E-3</c:v>
                </c:pt>
                <c:pt idx="35206">
                  <c:v>-9.2436974789916696E-3</c:v>
                </c:pt>
                <c:pt idx="35207">
                  <c:v>-9.2436974789916696E-3</c:v>
                </c:pt>
                <c:pt idx="35208">
                  <c:v>-9.2436974789916696E-3</c:v>
                </c:pt>
                <c:pt idx="35209">
                  <c:v>-9.2436974789916696E-3</c:v>
                </c:pt>
                <c:pt idx="35210">
                  <c:v>-9.2436974789916696E-3</c:v>
                </c:pt>
                <c:pt idx="35211">
                  <c:v>-9.2436974789916696E-3</c:v>
                </c:pt>
                <c:pt idx="35212">
                  <c:v>-9.2436974789916696E-3</c:v>
                </c:pt>
                <c:pt idx="35213">
                  <c:v>-9.2436974789916696E-3</c:v>
                </c:pt>
                <c:pt idx="35214">
                  <c:v>-9.2436974789916696E-3</c:v>
                </c:pt>
                <c:pt idx="35215">
                  <c:v>-9.2436974789916696E-3</c:v>
                </c:pt>
                <c:pt idx="35216">
                  <c:v>-9.2436974789916696E-3</c:v>
                </c:pt>
                <c:pt idx="35217">
                  <c:v>-9.2436974789916696E-3</c:v>
                </c:pt>
                <c:pt idx="35218">
                  <c:v>-9.2436974789916696E-3</c:v>
                </c:pt>
                <c:pt idx="35219">
                  <c:v>-9.2436974789916696E-3</c:v>
                </c:pt>
                <c:pt idx="35220">
                  <c:v>-9.2436974789916696E-3</c:v>
                </c:pt>
                <c:pt idx="35221">
                  <c:v>-9.2436974789916696E-3</c:v>
                </c:pt>
                <c:pt idx="35222">
                  <c:v>-9.2436974789916696E-3</c:v>
                </c:pt>
                <c:pt idx="35223">
                  <c:v>-9.2436974789916696E-3</c:v>
                </c:pt>
                <c:pt idx="35224">
                  <c:v>-9.2436974789916696E-3</c:v>
                </c:pt>
                <c:pt idx="35225">
                  <c:v>-9.2436974789916696E-3</c:v>
                </c:pt>
                <c:pt idx="35226">
                  <c:v>-9.2436974789916696E-3</c:v>
                </c:pt>
                <c:pt idx="35227">
                  <c:v>-9.2436974789916696E-3</c:v>
                </c:pt>
                <c:pt idx="35228">
                  <c:v>-9.2436974789916696E-3</c:v>
                </c:pt>
                <c:pt idx="35229">
                  <c:v>-9.2436974789916696E-3</c:v>
                </c:pt>
                <c:pt idx="35230">
                  <c:v>-9.2436974789916696E-3</c:v>
                </c:pt>
                <c:pt idx="35231">
                  <c:v>-9.2436974789916696E-3</c:v>
                </c:pt>
                <c:pt idx="35232">
                  <c:v>-9.2436974789916696E-3</c:v>
                </c:pt>
                <c:pt idx="35233">
                  <c:v>-9.2436974789916696E-3</c:v>
                </c:pt>
                <c:pt idx="35234">
                  <c:v>-9.2436974789916696E-3</c:v>
                </c:pt>
                <c:pt idx="35235">
                  <c:v>-9.2436974789916696E-3</c:v>
                </c:pt>
                <c:pt idx="35236">
                  <c:v>-9.2436974789916696E-3</c:v>
                </c:pt>
                <c:pt idx="35237">
                  <c:v>-9.2436974789916696E-3</c:v>
                </c:pt>
                <c:pt idx="35238">
                  <c:v>-9.2436974789916696E-3</c:v>
                </c:pt>
                <c:pt idx="35239">
                  <c:v>-9.2436974789916696E-3</c:v>
                </c:pt>
                <c:pt idx="35240">
                  <c:v>-9.2436974789916696E-3</c:v>
                </c:pt>
                <c:pt idx="35241">
                  <c:v>-9.2436974789916696E-3</c:v>
                </c:pt>
                <c:pt idx="35242">
                  <c:v>-9.2436974789916696E-3</c:v>
                </c:pt>
                <c:pt idx="35243">
                  <c:v>-9.2436974789916696E-3</c:v>
                </c:pt>
                <c:pt idx="35244">
                  <c:v>-9.2436974789916696E-3</c:v>
                </c:pt>
                <c:pt idx="35245">
                  <c:v>-9.2436974789916696E-3</c:v>
                </c:pt>
                <c:pt idx="35246">
                  <c:v>-9.2436974789916696E-3</c:v>
                </c:pt>
                <c:pt idx="35247">
                  <c:v>-9.2436974789916696E-3</c:v>
                </c:pt>
                <c:pt idx="35248">
                  <c:v>-9.2436974789916696E-3</c:v>
                </c:pt>
                <c:pt idx="35249">
                  <c:v>-9.2436974789916696E-3</c:v>
                </c:pt>
                <c:pt idx="35250">
                  <c:v>-9.2436974789916696E-3</c:v>
                </c:pt>
                <c:pt idx="35251">
                  <c:v>-9.2436974789916696E-3</c:v>
                </c:pt>
                <c:pt idx="35252">
                  <c:v>-9.2436974789916696E-3</c:v>
                </c:pt>
                <c:pt idx="35253">
                  <c:v>-1.00840336134454E-2</c:v>
                </c:pt>
                <c:pt idx="35254">
                  <c:v>-1.00840336134454E-2</c:v>
                </c:pt>
                <c:pt idx="35255">
                  <c:v>-1.00840336134454E-2</c:v>
                </c:pt>
                <c:pt idx="35256">
                  <c:v>-1.00840336134454E-2</c:v>
                </c:pt>
                <c:pt idx="35257">
                  <c:v>-1.00840336134454E-2</c:v>
                </c:pt>
                <c:pt idx="35258">
                  <c:v>-1.00840336134454E-2</c:v>
                </c:pt>
                <c:pt idx="35259">
                  <c:v>-1.00840336134454E-2</c:v>
                </c:pt>
                <c:pt idx="35260">
                  <c:v>-1.00840336134454E-2</c:v>
                </c:pt>
                <c:pt idx="35261">
                  <c:v>-1.00840336134454E-2</c:v>
                </c:pt>
                <c:pt idx="35262">
                  <c:v>-1.00840336134454E-2</c:v>
                </c:pt>
                <c:pt idx="35263">
                  <c:v>-1.00840336134454E-2</c:v>
                </c:pt>
                <c:pt idx="35264">
                  <c:v>-1.00840336134454E-2</c:v>
                </c:pt>
                <c:pt idx="35265">
                  <c:v>-1.00840336134454E-2</c:v>
                </c:pt>
                <c:pt idx="35266">
                  <c:v>-1.00840336134454E-2</c:v>
                </c:pt>
                <c:pt idx="35267">
                  <c:v>-1.00840336134454E-2</c:v>
                </c:pt>
                <c:pt idx="35268">
                  <c:v>-1.00840336134454E-2</c:v>
                </c:pt>
                <c:pt idx="35269">
                  <c:v>-1.00840336134454E-2</c:v>
                </c:pt>
                <c:pt idx="35270">
                  <c:v>-1.00840336134454E-2</c:v>
                </c:pt>
                <c:pt idx="35271">
                  <c:v>-1.00840336134454E-2</c:v>
                </c:pt>
                <c:pt idx="35272">
                  <c:v>-1.00840336134454E-2</c:v>
                </c:pt>
                <c:pt idx="35273">
                  <c:v>-1.00840336134454E-2</c:v>
                </c:pt>
                <c:pt idx="35274">
                  <c:v>-1.00840336134454E-2</c:v>
                </c:pt>
                <c:pt idx="35275">
                  <c:v>-1.00840336134454E-2</c:v>
                </c:pt>
                <c:pt idx="35276">
                  <c:v>-1.00840336134454E-2</c:v>
                </c:pt>
                <c:pt idx="35277">
                  <c:v>-1.00840336134454E-2</c:v>
                </c:pt>
                <c:pt idx="35278">
                  <c:v>-1.00840336134454E-2</c:v>
                </c:pt>
                <c:pt idx="35279">
                  <c:v>-1.00840336134454E-2</c:v>
                </c:pt>
                <c:pt idx="35280">
                  <c:v>-1.00840336134454E-2</c:v>
                </c:pt>
                <c:pt idx="35281">
                  <c:v>-1.00840336134454E-2</c:v>
                </c:pt>
                <c:pt idx="35282">
                  <c:v>-1.00840336134454E-2</c:v>
                </c:pt>
                <c:pt idx="35283">
                  <c:v>-1.00840336134454E-2</c:v>
                </c:pt>
                <c:pt idx="35284">
                  <c:v>-1.00840336134454E-2</c:v>
                </c:pt>
                <c:pt idx="35285">
                  <c:v>-1.00840336134454E-2</c:v>
                </c:pt>
                <c:pt idx="35286">
                  <c:v>-1.00840336134454E-2</c:v>
                </c:pt>
                <c:pt idx="35287">
                  <c:v>-1.00840336134454E-2</c:v>
                </c:pt>
                <c:pt idx="35288">
                  <c:v>-1.00840336134454E-2</c:v>
                </c:pt>
                <c:pt idx="35289">
                  <c:v>-1.00840336134454E-2</c:v>
                </c:pt>
                <c:pt idx="35290">
                  <c:v>-1.00840336134454E-2</c:v>
                </c:pt>
                <c:pt idx="35291">
                  <c:v>-1.00840336134454E-2</c:v>
                </c:pt>
                <c:pt idx="35292">
                  <c:v>-1.00840336134454E-2</c:v>
                </c:pt>
                <c:pt idx="35293">
                  <c:v>-1.00840336134454E-2</c:v>
                </c:pt>
                <c:pt idx="35294">
                  <c:v>-1.00840336134454E-2</c:v>
                </c:pt>
                <c:pt idx="35295">
                  <c:v>-1.00840336134454E-2</c:v>
                </c:pt>
                <c:pt idx="35296">
                  <c:v>-1.00840336134454E-2</c:v>
                </c:pt>
                <c:pt idx="35297">
                  <c:v>-1.00840336134454E-2</c:v>
                </c:pt>
                <c:pt idx="35298">
                  <c:v>-1.00840336134454E-2</c:v>
                </c:pt>
                <c:pt idx="35299">
                  <c:v>-1.0924369747899201E-2</c:v>
                </c:pt>
                <c:pt idx="35300">
                  <c:v>-1.0924369747899201E-2</c:v>
                </c:pt>
                <c:pt idx="35301">
                  <c:v>-1.0924369747899201E-2</c:v>
                </c:pt>
                <c:pt idx="35302">
                  <c:v>-1.0924369747899201E-2</c:v>
                </c:pt>
                <c:pt idx="35303">
                  <c:v>-1.0924369747899201E-2</c:v>
                </c:pt>
                <c:pt idx="35304">
                  <c:v>-1.0924369747899201E-2</c:v>
                </c:pt>
                <c:pt idx="35305">
                  <c:v>-1.0924369747899201E-2</c:v>
                </c:pt>
                <c:pt idx="35306">
                  <c:v>-1.0924369747899201E-2</c:v>
                </c:pt>
                <c:pt idx="35307">
                  <c:v>-1.0924369747899201E-2</c:v>
                </c:pt>
                <c:pt idx="35308">
                  <c:v>-1.0924369747899201E-2</c:v>
                </c:pt>
                <c:pt idx="35309">
                  <c:v>-1.0924369747899201E-2</c:v>
                </c:pt>
                <c:pt idx="35310">
                  <c:v>-1.0924369747899201E-2</c:v>
                </c:pt>
                <c:pt idx="35311">
                  <c:v>-1.0924369747899201E-2</c:v>
                </c:pt>
                <c:pt idx="35312">
                  <c:v>-1.0924369747899201E-2</c:v>
                </c:pt>
                <c:pt idx="35313">
                  <c:v>-1.0924369747899201E-2</c:v>
                </c:pt>
                <c:pt idx="35314">
                  <c:v>-1.0924369747899201E-2</c:v>
                </c:pt>
                <c:pt idx="35315">
                  <c:v>-1.0924369747899201E-2</c:v>
                </c:pt>
                <c:pt idx="35316">
                  <c:v>-1.0924369747899201E-2</c:v>
                </c:pt>
                <c:pt idx="35317">
                  <c:v>-1.0924369747899201E-2</c:v>
                </c:pt>
                <c:pt idx="35318">
                  <c:v>-1.0924369747899201E-2</c:v>
                </c:pt>
                <c:pt idx="35319">
                  <c:v>-1.0924369747899201E-2</c:v>
                </c:pt>
                <c:pt idx="35320">
                  <c:v>-1.0924369747899201E-2</c:v>
                </c:pt>
                <c:pt idx="35321">
                  <c:v>-1.0924369747899201E-2</c:v>
                </c:pt>
                <c:pt idx="35322">
                  <c:v>-1.0924369747899201E-2</c:v>
                </c:pt>
                <c:pt idx="35323">
                  <c:v>-1.0924369747899201E-2</c:v>
                </c:pt>
                <c:pt idx="35324">
                  <c:v>-1.0924369747899201E-2</c:v>
                </c:pt>
                <c:pt idx="35325">
                  <c:v>-1.1764705882353E-2</c:v>
                </c:pt>
                <c:pt idx="35326">
                  <c:v>-1.1764705882353E-2</c:v>
                </c:pt>
                <c:pt idx="35327">
                  <c:v>-1.1764705882353E-2</c:v>
                </c:pt>
                <c:pt idx="35328">
                  <c:v>-1.1764705882353E-2</c:v>
                </c:pt>
                <c:pt idx="35329">
                  <c:v>-1.1764705882353E-2</c:v>
                </c:pt>
                <c:pt idx="35330">
                  <c:v>-1.1764705882353E-2</c:v>
                </c:pt>
                <c:pt idx="35331">
                  <c:v>-1.1764705882353E-2</c:v>
                </c:pt>
                <c:pt idx="35332">
                  <c:v>-1.1764705882353E-2</c:v>
                </c:pt>
                <c:pt idx="35333">
                  <c:v>-1.1764705882353E-2</c:v>
                </c:pt>
                <c:pt idx="35334">
                  <c:v>-1.1764705882353E-2</c:v>
                </c:pt>
                <c:pt idx="35335">
                  <c:v>-1.1764705882353E-2</c:v>
                </c:pt>
                <c:pt idx="35336">
                  <c:v>-1.1764705882353E-2</c:v>
                </c:pt>
                <c:pt idx="35337">
                  <c:v>-1.1764705882353E-2</c:v>
                </c:pt>
                <c:pt idx="35338">
                  <c:v>-1.1764705882353E-2</c:v>
                </c:pt>
                <c:pt idx="35339">
                  <c:v>-1.1764705882353E-2</c:v>
                </c:pt>
                <c:pt idx="35340">
                  <c:v>-1.1764705882353E-2</c:v>
                </c:pt>
                <c:pt idx="35341">
                  <c:v>-1.1764705882353E-2</c:v>
                </c:pt>
                <c:pt idx="35342">
                  <c:v>-1.1764705882353E-2</c:v>
                </c:pt>
                <c:pt idx="35343">
                  <c:v>-1.1764705882353E-2</c:v>
                </c:pt>
                <c:pt idx="35344">
                  <c:v>-1.1764705882353E-2</c:v>
                </c:pt>
                <c:pt idx="35345">
                  <c:v>-1.1764705882353E-2</c:v>
                </c:pt>
                <c:pt idx="35346">
                  <c:v>-1.1764705882353E-2</c:v>
                </c:pt>
                <c:pt idx="35347">
                  <c:v>-1.1764705882353E-2</c:v>
                </c:pt>
                <c:pt idx="35348">
                  <c:v>-1.1764705882353E-2</c:v>
                </c:pt>
                <c:pt idx="35349">
                  <c:v>-1.1764705882353E-2</c:v>
                </c:pt>
                <c:pt idx="35350">
                  <c:v>-1.26050420168067E-2</c:v>
                </c:pt>
                <c:pt idx="35351">
                  <c:v>-1.26050420168067E-2</c:v>
                </c:pt>
                <c:pt idx="35352">
                  <c:v>-1.26050420168067E-2</c:v>
                </c:pt>
                <c:pt idx="35353">
                  <c:v>-1.26050420168067E-2</c:v>
                </c:pt>
                <c:pt idx="35354">
                  <c:v>-1.26050420168067E-2</c:v>
                </c:pt>
                <c:pt idx="35355">
                  <c:v>-1.26050420168067E-2</c:v>
                </c:pt>
                <c:pt idx="35356">
                  <c:v>-1.26050420168067E-2</c:v>
                </c:pt>
                <c:pt idx="35357">
                  <c:v>-1.26050420168067E-2</c:v>
                </c:pt>
                <c:pt idx="35358">
                  <c:v>-1.34453781512605E-2</c:v>
                </c:pt>
                <c:pt idx="35359">
                  <c:v>-1.34453781512605E-2</c:v>
                </c:pt>
                <c:pt idx="35360">
                  <c:v>-1.34453781512605E-2</c:v>
                </c:pt>
                <c:pt idx="35361">
                  <c:v>-1.34453781512605E-2</c:v>
                </c:pt>
                <c:pt idx="35362">
                  <c:v>-1.34453781512605E-2</c:v>
                </c:pt>
                <c:pt idx="35363">
                  <c:v>-1.34453781512605E-2</c:v>
                </c:pt>
                <c:pt idx="35364">
                  <c:v>-1.34453781512605E-2</c:v>
                </c:pt>
                <c:pt idx="35365">
                  <c:v>-1.34453781512605E-2</c:v>
                </c:pt>
                <c:pt idx="35366">
                  <c:v>-1.34453781512605E-2</c:v>
                </c:pt>
                <c:pt idx="35367">
                  <c:v>-1.34453781512605E-2</c:v>
                </c:pt>
                <c:pt idx="35368">
                  <c:v>-1.34453781512605E-2</c:v>
                </c:pt>
                <c:pt idx="35369">
                  <c:v>-1.34453781512605E-2</c:v>
                </c:pt>
                <c:pt idx="35370">
                  <c:v>-1.34453781512605E-2</c:v>
                </c:pt>
                <c:pt idx="35371">
                  <c:v>-1.34453781512605E-2</c:v>
                </c:pt>
                <c:pt idx="35372">
                  <c:v>-1.34453781512605E-2</c:v>
                </c:pt>
                <c:pt idx="35373">
                  <c:v>-1.26050420168067E-2</c:v>
                </c:pt>
                <c:pt idx="35374">
                  <c:v>-1.26050420168067E-2</c:v>
                </c:pt>
                <c:pt idx="35375">
                  <c:v>-1.26050420168067E-2</c:v>
                </c:pt>
                <c:pt idx="35376">
                  <c:v>-1.26050420168067E-2</c:v>
                </c:pt>
                <c:pt idx="35377">
                  <c:v>-1.26050420168067E-2</c:v>
                </c:pt>
                <c:pt idx="35378">
                  <c:v>-1.26050420168067E-2</c:v>
                </c:pt>
                <c:pt idx="35379">
                  <c:v>-1.26050420168067E-2</c:v>
                </c:pt>
                <c:pt idx="35380">
                  <c:v>-1.34453781512605E-2</c:v>
                </c:pt>
                <c:pt idx="35381">
                  <c:v>-1.34453781512605E-2</c:v>
                </c:pt>
                <c:pt idx="35382">
                  <c:v>-1.34453781512605E-2</c:v>
                </c:pt>
                <c:pt idx="35383">
                  <c:v>-1.34453781512605E-2</c:v>
                </c:pt>
                <c:pt idx="35384">
                  <c:v>-1.34453781512605E-2</c:v>
                </c:pt>
                <c:pt idx="35385">
                  <c:v>-1.34453781512605E-2</c:v>
                </c:pt>
                <c:pt idx="35386">
                  <c:v>-1.34453781512605E-2</c:v>
                </c:pt>
                <c:pt idx="35387">
                  <c:v>-1.34453781512605E-2</c:v>
                </c:pt>
                <c:pt idx="35388">
                  <c:v>-1.34453781512605E-2</c:v>
                </c:pt>
                <c:pt idx="35389">
                  <c:v>-1.34453781512605E-2</c:v>
                </c:pt>
                <c:pt idx="35390">
                  <c:v>-1.26050420168067E-2</c:v>
                </c:pt>
                <c:pt idx="35391">
                  <c:v>-1.26050420168067E-2</c:v>
                </c:pt>
                <c:pt idx="35392">
                  <c:v>-1.26050420168067E-2</c:v>
                </c:pt>
                <c:pt idx="35393">
                  <c:v>-1.26050420168067E-2</c:v>
                </c:pt>
                <c:pt idx="35394">
                  <c:v>-1.26050420168067E-2</c:v>
                </c:pt>
                <c:pt idx="35395">
                  <c:v>-1.1764705882353E-2</c:v>
                </c:pt>
                <c:pt idx="35396">
                  <c:v>-1.1764705882353E-2</c:v>
                </c:pt>
                <c:pt idx="35397">
                  <c:v>-1.1764705882353E-2</c:v>
                </c:pt>
                <c:pt idx="35398">
                  <c:v>-1.1764705882353E-2</c:v>
                </c:pt>
                <c:pt idx="35399">
                  <c:v>-1.1764705882353E-2</c:v>
                </c:pt>
                <c:pt idx="35400">
                  <c:v>-1.1764705882353E-2</c:v>
                </c:pt>
                <c:pt idx="35401">
                  <c:v>-1.1764705882353E-2</c:v>
                </c:pt>
                <c:pt idx="35402">
                  <c:v>-1.1764705882353E-2</c:v>
                </c:pt>
                <c:pt idx="35403">
                  <c:v>-1.1764705882353E-2</c:v>
                </c:pt>
                <c:pt idx="35404">
                  <c:v>-1.1764705882353E-2</c:v>
                </c:pt>
                <c:pt idx="35405">
                  <c:v>-1.1764705882353E-2</c:v>
                </c:pt>
                <c:pt idx="35406">
                  <c:v>-1.1764705882353E-2</c:v>
                </c:pt>
                <c:pt idx="35407">
                  <c:v>-1.1764705882353E-2</c:v>
                </c:pt>
                <c:pt idx="35408">
                  <c:v>-1.1764705882353E-2</c:v>
                </c:pt>
                <c:pt idx="35409">
                  <c:v>-1.0924369747899201E-2</c:v>
                </c:pt>
                <c:pt idx="35410">
                  <c:v>-1.0924369747899201E-2</c:v>
                </c:pt>
                <c:pt idx="35411">
                  <c:v>-1.0924369747899201E-2</c:v>
                </c:pt>
                <c:pt idx="35412">
                  <c:v>-1.0924369747899201E-2</c:v>
                </c:pt>
                <c:pt idx="35413">
                  <c:v>-1.0924369747899201E-2</c:v>
                </c:pt>
                <c:pt idx="35414">
                  <c:v>-1.0924369747899201E-2</c:v>
                </c:pt>
                <c:pt idx="35415">
                  <c:v>-1.0924369747899201E-2</c:v>
                </c:pt>
                <c:pt idx="35416">
                  <c:v>-1.0924369747899201E-2</c:v>
                </c:pt>
                <c:pt idx="35417">
                  <c:v>-1.0924369747899201E-2</c:v>
                </c:pt>
                <c:pt idx="35418">
                  <c:v>-1.1764705882353E-2</c:v>
                </c:pt>
                <c:pt idx="35419">
                  <c:v>-1.1764705882353E-2</c:v>
                </c:pt>
                <c:pt idx="35420">
                  <c:v>-1.1764705882353E-2</c:v>
                </c:pt>
                <c:pt idx="35421">
                  <c:v>-1.1764705882353E-2</c:v>
                </c:pt>
                <c:pt idx="35422">
                  <c:v>-1.1764705882353E-2</c:v>
                </c:pt>
                <c:pt idx="35423">
                  <c:v>-1.1764705882353E-2</c:v>
                </c:pt>
                <c:pt idx="35424">
                  <c:v>-1.1764705882353E-2</c:v>
                </c:pt>
                <c:pt idx="35425">
                  <c:v>-1.1764705882353E-2</c:v>
                </c:pt>
                <c:pt idx="35426">
                  <c:v>-1.1764705882353E-2</c:v>
                </c:pt>
                <c:pt idx="35427">
                  <c:v>-1.1764705882353E-2</c:v>
                </c:pt>
                <c:pt idx="35428">
                  <c:v>-1.1764705882353E-2</c:v>
                </c:pt>
                <c:pt idx="35429">
                  <c:v>-1.1764705882353E-2</c:v>
                </c:pt>
                <c:pt idx="35430">
                  <c:v>-1.1764705882353E-2</c:v>
                </c:pt>
                <c:pt idx="35431">
                  <c:v>-1.1764705882353E-2</c:v>
                </c:pt>
                <c:pt idx="35432">
                  <c:v>-1.1764705882353E-2</c:v>
                </c:pt>
                <c:pt idx="35433">
                  <c:v>-1.1764705882353E-2</c:v>
                </c:pt>
                <c:pt idx="35434">
                  <c:v>-1.1764705882353E-2</c:v>
                </c:pt>
                <c:pt idx="35435">
                  <c:v>-1.1764705882353E-2</c:v>
                </c:pt>
                <c:pt idx="35436">
                  <c:v>-1.1764705882353E-2</c:v>
                </c:pt>
                <c:pt idx="35437">
                  <c:v>-1.1764705882353E-2</c:v>
                </c:pt>
                <c:pt idx="35438">
                  <c:v>-1.1764705882353E-2</c:v>
                </c:pt>
                <c:pt idx="35439">
                  <c:v>-1.1764705882353E-2</c:v>
                </c:pt>
                <c:pt idx="35440">
                  <c:v>-1.1764705882353E-2</c:v>
                </c:pt>
                <c:pt idx="35441">
                  <c:v>-1.1764705882353E-2</c:v>
                </c:pt>
                <c:pt idx="35442">
                  <c:v>-1.1764705882353E-2</c:v>
                </c:pt>
                <c:pt idx="35443">
                  <c:v>-1.1764705882353E-2</c:v>
                </c:pt>
                <c:pt idx="35444">
                  <c:v>-1.1764705882353E-2</c:v>
                </c:pt>
                <c:pt idx="35445">
                  <c:v>-1.1764705882353E-2</c:v>
                </c:pt>
                <c:pt idx="35446">
                  <c:v>-1.1764705882353E-2</c:v>
                </c:pt>
                <c:pt idx="35447">
                  <c:v>-1.1764705882353E-2</c:v>
                </c:pt>
                <c:pt idx="35448">
                  <c:v>-1.1764705882353E-2</c:v>
                </c:pt>
                <c:pt idx="35449">
                  <c:v>-1.1764705882353E-2</c:v>
                </c:pt>
                <c:pt idx="35450">
                  <c:v>-1.1764705882353E-2</c:v>
                </c:pt>
                <c:pt idx="35451">
                  <c:v>-1.1764705882353E-2</c:v>
                </c:pt>
                <c:pt idx="35452">
                  <c:v>-1.1764705882353E-2</c:v>
                </c:pt>
                <c:pt idx="35453">
                  <c:v>-1.1764705882353E-2</c:v>
                </c:pt>
                <c:pt idx="35454">
                  <c:v>-1.1764705882353E-2</c:v>
                </c:pt>
                <c:pt idx="35455">
                  <c:v>-1.1764705882353E-2</c:v>
                </c:pt>
                <c:pt idx="35456">
                  <c:v>-1.1764705882353E-2</c:v>
                </c:pt>
                <c:pt idx="35457">
                  <c:v>-1.26050420168067E-2</c:v>
                </c:pt>
                <c:pt idx="35458">
                  <c:v>-1.26050420168067E-2</c:v>
                </c:pt>
                <c:pt idx="35459">
                  <c:v>-1.26050420168067E-2</c:v>
                </c:pt>
                <c:pt idx="35460">
                  <c:v>-1.26050420168067E-2</c:v>
                </c:pt>
                <c:pt idx="35461">
                  <c:v>-1.26050420168067E-2</c:v>
                </c:pt>
                <c:pt idx="35462">
                  <c:v>-1.26050420168067E-2</c:v>
                </c:pt>
                <c:pt idx="35463">
                  <c:v>-1.26050420168067E-2</c:v>
                </c:pt>
                <c:pt idx="35464">
                  <c:v>-1.26050420168067E-2</c:v>
                </c:pt>
                <c:pt idx="35465">
                  <c:v>-1.26050420168067E-2</c:v>
                </c:pt>
                <c:pt idx="35466">
                  <c:v>-1.26050420168067E-2</c:v>
                </c:pt>
                <c:pt idx="35467">
                  <c:v>-1.26050420168067E-2</c:v>
                </c:pt>
                <c:pt idx="35468">
                  <c:v>-1.26050420168067E-2</c:v>
                </c:pt>
                <c:pt idx="35469">
                  <c:v>-1.1764705882353E-2</c:v>
                </c:pt>
                <c:pt idx="35470">
                  <c:v>-1.1764705882353E-2</c:v>
                </c:pt>
                <c:pt idx="35471">
                  <c:v>-1.1764705882353E-2</c:v>
                </c:pt>
                <c:pt idx="35472">
                  <c:v>-1.1764705882353E-2</c:v>
                </c:pt>
                <c:pt idx="35473">
                  <c:v>-1.1764705882353E-2</c:v>
                </c:pt>
                <c:pt idx="35474">
                  <c:v>-1.1764705882353E-2</c:v>
                </c:pt>
                <c:pt idx="35475">
                  <c:v>-1.1764705882353E-2</c:v>
                </c:pt>
                <c:pt idx="35476">
                  <c:v>-1.1764705882353E-2</c:v>
                </c:pt>
                <c:pt idx="35477">
                  <c:v>-1.1764705882353E-2</c:v>
                </c:pt>
                <c:pt idx="35478">
                  <c:v>-1.1764705882353E-2</c:v>
                </c:pt>
                <c:pt idx="35479">
                  <c:v>-1.1764705882353E-2</c:v>
                </c:pt>
                <c:pt idx="35480">
                  <c:v>-1.1764705882353E-2</c:v>
                </c:pt>
                <c:pt idx="35481">
                  <c:v>-1.1764705882353E-2</c:v>
                </c:pt>
                <c:pt idx="35482">
                  <c:v>-1.1764705882353E-2</c:v>
                </c:pt>
                <c:pt idx="35483">
                  <c:v>-1.1764705882353E-2</c:v>
                </c:pt>
                <c:pt idx="35484">
                  <c:v>-1.1764705882353E-2</c:v>
                </c:pt>
                <c:pt idx="35485">
                  <c:v>-1.1764705882353E-2</c:v>
                </c:pt>
                <c:pt idx="35486">
                  <c:v>-1.1764705882353E-2</c:v>
                </c:pt>
                <c:pt idx="35487">
                  <c:v>-1.1764705882353E-2</c:v>
                </c:pt>
                <c:pt idx="35488">
                  <c:v>-1.1764705882353E-2</c:v>
                </c:pt>
                <c:pt idx="35489">
                  <c:v>-1.1764705882353E-2</c:v>
                </c:pt>
                <c:pt idx="35490">
                  <c:v>-1.1764705882353E-2</c:v>
                </c:pt>
                <c:pt idx="35491">
                  <c:v>-1.1764705882353E-2</c:v>
                </c:pt>
                <c:pt idx="35492">
                  <c:v>-1.1764705882353E-2</c:v>
                </c:pt>
                <c:pt idx="35493">
                  <c:v>-1.1764705882353E-2</c:v>
                </c:pt>
                <c:pt idx="35494">
                  <c:v>-1.1764705882353E-2</c:v>
                </c:pt>
                <c:pt idx="35495">
                  <c:v>-1.1764705882353E-2</c:v>
                </c:pt>
                <c:pt idx="35496">
                  <c:v>-1.1764705882353E-2</c:v>
                </c:pt>
                <c:pt idx="35497">
                  <c:v>-1.1764705882353E-2</c:v>
                </c:pt>
                <c:pt idx="35498">
                  <c:v>-1.1764705882353E-2</c:v>
                </c:pt>
                <c:pt idx="35499">
                  <c:v>-1.1764705882353E-2</c:v>
                </c:pt>
                <c:pt idx="35500">
                  <c:v>-1.1764705882353E-2</c:v>
                </c:pt>
                <c:pt idx="35501">
                  <c:v>-1.1764705882353E-2</c:v>
                </c:pt>
                <c:pt idx="35502">
                  <c:v>-1.1764705882353E-2</c:v>
                </c:pt>
                <c:pt idx="35503">
                  <c:v>-1.0924369747899201E-2</c:v>
                </c:pt>
                <c:pt idx="35504">
                  <c:v>-1.0924369747899201E-2</c:v>
                </c:pt>
                <c:pt idx="35505">
                  <c:v>-1.0924369747899201E-2</c:v>
                </c:pt>
                <c:pt idx="35506">
                  <c:v>-1.0924369747899201E-2</c:v>
                </c:pt>
                <c:pt idx="35507">
                  <c:v>-1.0924369747899201E-2</c:v>
                </c:pt>
                <c:pt idx="35508">
                  <c:v>-1.0924369747899201E-2</c:v>
                </c:pt>
                <c:pt idx="35509">
                  <c:v>-1.0924369747899201E-2</c:v>
                </c:pt>
                <c:pt idx="35510">
                  <c:v>-1.0924369747899201E-2</c:v>
                </c:pt>
                <c:pt idx="35511">
                  <c:v>-1.0924369747899201E-2</c:v>
                </c:pt>
                <c:pt idx="35512">
                  <c:v>-1.0924369747899201E-2</c:v>
                </c:pt>
                <c:pt idx="35513">
                  <c:v>-1.0924369747899201E-2</c:v>
                </c:pt>
                <c:pt idx="35514">
                  <c:v>-1.0924369747899201E-2</c:v>
                </c:pt>
                <c:pt idx="35515">
                  <c:v>-1.0924369747899201E-2</c:v>
                </c:pt>
                <c:pt idx="35516">
                  <c:v>-1.0924369747899201E-2</c:v>
                </c:pt>
                <c:pt idx="35517">
                  <c:v>-1.0924369747899201E-2</c:v>
                </c:pt>
                <c:pt idx="35518">
                  <c:v>-1.0924369747899201E-2</c:v>
                </c:pt>
                <c:pt idx="35519">
                  <c:v>-1.0924369747899201E-2</c:v>
                </c:pt>
                <c:pt idx="35520">
                  <c:v>-1.0924369747899201E-2</c:v>
                </c:pt>
                <c:pt idx="35521">
                  <c:v>-1.0924369747899201E-2</c:v>
                </c:pt>
                <c:pt idx="35522">
                  <c:v>-1.0924369747899201E-2</c:v>
                </c:pt>
                <c:pt idx="35523">
                  <c:v>-1.0924369747899201E-2</c:v>
                </c:pt>
                <c:pt idx="35524">
                  <c:v>-1.0924369747899201E-2</c:v>
                </c:pt>
                <c:pt idx="35525">
                  <c:v>-1.0924369747899201E-2</c:v>
                </c:pt>
                <c:pt idx="35526">
                  <c:v>-1.0924369747899201E-2</c:v>
                </c:pt>
                <c:pt idx="35527">
                  <c:v>-1.0924369747899201E-2</c:v>
                </c:pt>
                <c:pt idx="35528">
                  <c:v>-1.0924369747899201E-2</c:v>
                </c:pt>
                <c:pt idx="35529">
                  <c:v>-1.0924369747899201E-2</c:v>
                </c:pt>
                <c:pt idx="35530">
                  <c:v>-1.0924369747899201E-2</c:v>
                </c:pt>
                <c:pt idx="35531">
                  <c:v>-1.0924369747899201E-2</c:v>
                </c:pt>
                <c:pt idx="35532">
                  <c:v>-1.0924369747899201E-2</c:v>
                </c:pt>
                <c:pt idx="35533">
                  <c:v>-1.0924369747899201E-2</c:v>
                </c:pt>
                <c:pt idx="35534">
                  <c:v>-1.0924369747899201E-2</c:v>
                </c:pt>
                <c:pt idx="35535">
                  <c:v>-1.0924369747899201E-2</c:v>
                </c:pt>
                <c:pt idx="35536">
                  <c:v>-1.0924369747899201E-2</c:v>
                </c:pt>
                <c:pt idx="35537">
                  <c:v>-1.0924369747899201E-2</c:v>
                </c:pt>
                <c:pt idx="35538">
                  <c:v>-1.0924369747899201E-2</c:v>
                </c:pt>
                <c:pt idx="35539">
                  <c:v>-1.0924369747899201E-2</c:v>
                </c:pt>
                <c:pt idx="35540">
                  <c:v>-1.0924369747899201E-2</c:v>
                </c:pt>
                <c:pt idx="35541">
                  <c:v>-1.0924369747899201E-2</c:v>
                </c:pt>
                <c:pt idx="35542">
                  <c:v>-1.0924369747899201E-2</c:v>
                </c:pt>
                <c:pt idx="35543">
                  <c:v>-1.0924369747899201E-2</c:v>
                </c:pt>
                <c:pt idx="35544">
                  <c:v>-1.0924369747899201E-2</c:v>
                </c:pt>
                <c:pt idx="35545">
                  <c:v>-1.1764705882353E-2</c:v>
                </c:pt>
                <c:pt idx="35546">
                  <c:v>-1.1764705882353E-2</c:v>
                </c:pt>
                <c:pt idx="35547">
                  <c:v>-1.1764705882353E-2</c:v>
                </c:pt>
                <c:pt idx="35548">
                  <c:v>-1.1764705882353E-2</c:v>
                </c:pt>
                <c:pt idx="35549">
                  <c:v>-1.1764705882353E-2</c:v>
                </c:pt>
                <c:pt idx="35550">
                  <c:v>-1.1764705882353E-2</c:v>
                </c:pt>
                <c:pt idx="35551">
                  <c:v>-1.1764705882353E-2</c:v>
                </c:pt>
                <c:pt idx="35552">
                  <c:v>-1.1764705882353E-2</c:v>
                </c:pt>
                <c:pt idx="35553">
                  <c:v>-1.1764705882353E-2</c:v>
                </c:pt>
                <c:pt idx="35554">
                  <c:v>-1.1764705882353E-2</c:v>
                </c:pt>
                <c:pt idx="35555">
                  <c:v>-1.1764705882353E-2</c:v>
                </c:pt>
                <c:pt idx="35556">
                  <c:v>-1.1764705882353E-2</c:v>
                </c:pt>
                <c:pt idx="35557">
                  <c:v>-1.1764705882353E-2</c:v>
                </c:pt>
                <c:pt idx="35558">
                  <c:v>-1.1764705882353E-2</c:v>
                </c:pt>
                <c:pt idx="35559">
                  <c:v>-1.1764705882353E-2</c:v>
                </c:pt>
                <c:pt idx="35560">
                  <c:v>-1.1764705882353E-2</c:v>
                </c:pt>
                <c:pt idx="35561">
                  <c:v>-1.1764705882353E-2</c:v>
                </c:pt>
                <c:pt idx="35562">
                  <c:v>-1.1764705882353E-2</c:v>
                </c:pt>
                <c:pt idx="35563">
                  <c:v>-1.1764705882353E-2</c:v>
                </c:pt>
                <c:pt idx="35564">
                  <c:v>-1.1764705882353E-2</c:v>
                </c:pt>
                <c:pt idx="35565">
                  <c:v>-1.1764705882353E-2</c:v>
                </c:pt>
                <c:pt idx="35566">
                  <c:v>-1.0924369747899201E-2</c:v>
                </c:pt>
                <c:pt idx="35567">
                  <c:v>-1.0924369747899201E-2</c:v>
                </c:pt>
                <c:pt idx="35568">
                  <c:v>-1.0924369747899201E-2</c:v>
                </c:pt>
                <c:pt idx="35569">
                  <c:v>-1.0924369747899201E-2</c:v>
                </c:pt>
                <c:pt idx="35570">
                  <c:v>-1.0924369747899201E-2</c:v>
                </c:pt>
                <c:pt idx="35571">
                  <c:v>-1.0924369747899201E-2</c:v>
                </c:pt>
                <c:pt idx="35572">
                  <c:v>-1.0924369747899201E-2</c:v>
                </c:pt>
                <c:pt idx="35573">
                  <c:v>-1.0924369747899201E-2</c:v>
                </c:pt>
                <c:pt idx="35574">
                  <c:v>-1.0924369747899201E-2</c:v>
                </c:pt>
                <c:pt idx="35575">
                  <c:v>-1.0924369747899201E-2</c:v>
                </c:pt>
                <c:pt idx="35576">
                  <c:v>-1.0924369747899201E-2</c:v>
                </c:pt>
                <c:pt idx="35577">
                  <c:v>-1.0924369747899201E-2</c:v>
                </c:pt>
                <c:pt idx="35578">
                  <c:v>-1.0924369747899201E-2</c:v>
                </c:pt>
                <c:pt idx="35579">
                  <c:v>-1.0924369747899201E-2</c:v>
                </c:pt>
                <c:pt idx="35580">
                  <c:v>-1.0924369747899201E-2</c:v>
                </c:pt>
                <c:pt idx="35581">
                  <c:v>-1.0924369747899201E-2</c:v>
                </c:pt>
                <c:pt idx="35582">
                  <c:v>-1.0924369747899201E-2</c:v>
                </c:pt>
                <c:pt idx="35583">
                  <c:v>-1.0924369747899201E-2</c:v>
                </c:pt>
                <c:pt idx="35584">
                  <c:v>-1.0924369747899201E-2</c:v>
                </c:pt>
                <c:pt idx="35585">
                  <c:v>-1.0924369747899201E-2</c:v>
                </c:pt>
                <c:pt idx="35586">
                  <c:v>-1.0924369747899201E-2</c:v>
                </c:pt>
                <c:pt idx="35587">
                  <c:v>-1.0924369747899201E-2</c:v>
                </c:pt>
                <c:pt idx="35588">
                  <c:v>-1.0924369747899201E-2</c:v>
                </c:pt>
                <c:pt idx="35589">
                  <c:v>-1.0924369747899201E-2</c:v>
                </c:pt>
                <c:pt idx="35590">
                  <c:v>-1.0924369747899201E-2</c:v>
                </c:pt>
                <c:pt idx="35591">
                  <c:v>-1.0924369747899201E-2</c:v>
                </c:pt>
                <c:pt idx="35592">
                  <c:v>-1.0924369747899201E-2</c:v>
                </c:pt>
                <c:pt idx="35593">
                  <c:v>-1.0924369747899201E-2</c:v>
                </c:pt>
                <c:pt idx="35594">
                  <c:v>-1.0924369747899201E-2</c:v>
                </c:pt>
                <c:pt idx="35595">
                  <c:v>-1.0924369747899201E-2</c:v>
                </c:pt>
                <c:pt idx="35596">
                  <c:v>-1.0924369747899201E-2</c:v>
                </c:pt>
                <c:pt idx="35597">
                  <c:v>-1.0924369747899201E-2</c:v>
                </c:pt>
                <c:pt idx="35598">
                  <c:v>-1.0924369747899201E-2</c:v>
                </c:pt>
                <c:pt idx="35599">
                  <c:v>-1.0924369747899201E-2</c:v>
                </c:pt>
                <c:pt idx="35600">
                  <c:v>-1.0924369747899201E-2</c:v>
                </c:pt>
                <c:pt idx="35601">
                  <c:v>-1.0924369747899201E-2</c:v>
                </c:pt>
                <c:pt idx="35602">
                  <c:v>-1.0924369747899201E-2</c:v>
                </c:pt>
                <c:pt idx="35603">
                  <c:v>-1.0924369747899201E-2</c:v>
                </c:pt>
                <c:pt idx="35604">
                  <c:v>-1.0924369747899201E-2</c:v>
                </c:pt>
                <c:pt idx="35605">
                  <c:v>-1.0924369747899201E-2</c:v>
                </c:pt>
                <c:pt idx="35606">
                  <c:v>-1.0924369747899201E-2</c:v>
                </c:pt>
                <c:pt idx="35607">
                  <c:v>-1.0924369747899201E-2</c:v>
                </c:pt>
                <c:pt idx="35608">
                  <c:v>-1.0924369747899201E-2</c:v>
                </c:pt>
                <c:pt idx="35609">
                  <c:v>-1.0924369747899201E-2</c:v>
                </c:pt>
                <c:pt idx="35610">
                  <c:v>-1.0924369747899201E-2</c:v>
                </c:pt>
                <c:pt idx="35611">
                  <c:v>-1.0924369747899201E-2</c:v>
                </c:pt>
                <c:pt idx="35612">
                  <c:v>-1.0924369747899201E-2</c:v>
                </c:pt>
                <c:pt idx="35613">
                  <c:v>-1.0924369747899201E-2</c:v>
                </c:pt>
                <c:pt idx="35614">
                  <c:v>-1.0924369747899201E-2</c:v>
                </c:pt>
                <c:pt idx="35615">
                  <c:v>-1.0924369747899201E-2</c:v>
                </c:pt>
                <c:pt idx="35616">
                  <c:v>-1.0924369747899201E-2</c:v>
                </c:pt>
                <c:pt idx="35617">
                  <c:v>-1.0924369747899201E-2</c:v>
                </c:pt>
                <c:pt idx="35618">
                  <c:v>-1.0924369747899201E-2</c:v>
                </c:pt>
                <c:pt idx="35619">
                  <c:v>-1.0924369747899201E-2</c:v>
                </c:pt>
                <c:pt idx="35620">
                  <c:v>-1.0924369747899201E-2</c:v>
                </c:pt>
                <c:pt idx="35621">
                  <c:v>-1.1764705882353E-2</c:v>
                </c:pt>
                <c:pt idx="35622">
                  <c:v>-1.1764705882353E-2</c:v>
                </c:pt>
                <c:pt idx="35623">
                  <c:v>-1.1764705882353E-2</c:v>
                </c:pt>
                <c:pt idx="35624">
                  <c:v>-1.1764705882353E-2</c:v>
                </c:pt>
                <c:pt idx="35625">
                  <c:v>-1.1764705882353E-2</c:v>
                </c:pt>
                <c:pt idx="35626">
                  <c:v>-1.1764705882353E-2</c:v>
                </c:pt>
                <c:pt idx="35627">
                  <c:v>-1.0924369747899201E-2</c:v>
                </c:pt>
                <c:pt idx="35628">
                  <c:v>-1.0924369747899201E-2</c:v>
                </c:pt>
                <c:pt idx="35629">
                  <c:v>-1.0924369747899201E-2</c:v>
                </c:pt>
                <c:pt idx="35630">
                  <c:v>-1.0924369747899201E-2</c:v>
                </c:pt>
                <c:pt idx="35631">
                  <c:v>-1.0924369747899201E-2</c:v>
                </c:pt>
                <c:pt idx="35632">
                  <c:v>-1.0924369747899201E-2</c:v>
                </c:pt>
                <c:pt idx="35633">
                  <c:v>-1.0924369747899201E-2</c:v>
                </c:pt>
                <c:pt idx="35634">
                  <c:v>-1.0924369747899201E-2</c:v>
                </c:pt>
                <c:pt idx="35635">
                  <c:v>-1.0924369747899201E-2</c:v>
                </c:pt>
                <c:pt idx="35636">
                  <c:v>-1.0924369747899201E-2</c:v>
                </c:pt>
                <c:pt idx="35637">
                  <c:v>-1.0924369747899201E-2</c:v>
                </c:pt>
                <c:pt idx="35638">
                  <c:v>-1.0924369747899201E-2</c:v>
                </c:pt>
                <c:pt idx="35639">
                  <c:v>-1.0924369747899201E-2</c:v>
                </c:pt>
                <c:pt idx="35640">
                  <c:v>-1.0924369747899201E-2</c:v>
                </c:pt>
                <c:pt idx="35641">
                  <c:v>-1.0924369747899201E-2</c:v>
                </c:pt>
                <c:pt idx="35642">
                  <c:v>-1.0924369747899201E-2</c:v>
                </c:pt>
                <c:pt idx="35643">
                  <c:v>-1.0924369747899201E-2</c:v>
                </c:pt>
                <c:pt idx="35644">
                  <c:v>-1.0924369747899201E-2</c:v>
                </c:pt>
                <c:pt idx="35645">
                  <c:v>-1.0924369747899201E-2</c:v>
                </c:pt>
                <c:pt idx="35646">
                  <c:v>-1.0924369747899201E-2</c:v>
                </c:pt>
                <c:pt idx="35647">
                  <c:v>-1.0924369747899201E-2</c:v>
                </c:pt>
                <c:pt idx="35648">
                  <c:v>-1.0924369747899201E-2</c:v>
                </c:pt>
                <c:pt idx="35649">
                  <c:v>-1.0924369747899201E-2</c:v>
                </c:pt>
                <c:pt idx="35650">
                  <c:v>-1.0084033613445301E-2</c:v>
                </c:pt>
                <c:pt idx="35651">
                  <c:v>-1.0084033613445301E-2</c:v>
                </c:pt>
                <c:pt idx="35652">
                  <c:v>-1.0084033613445301E-2</c:v>
                </c:pt>
                <c:pt idx="35653">
                  <c:v>-1.0084033613445301E-2</c:v>
                </c:pt>
                <c:pt idx="35654">
                  <c:v>-1.0084033613445301E-2</c:v>
                </c:pt>
                <c:pt idx="35655">
                  <c:v>-1.0084033613445301E-2</c:v>
                </c:pt>
                <c:pt idx="35656">
                  <c:v>-1.0084033613445301E-2</c:v>
                </c:pt>
                <c:pt idx="35657">
                  <c:v>-1.0084033613445301E-2</c:v>
                </c:pt>
                <c:pt idx="35658">
                  <c:v>-1.0084033613445301E-2</c:v>
                </c:pt>
                <c:pt idx="35659">
                  <c:v>-1.0084033613445301E-2</c:v>
                </c:pt>
                <c:pt idx="35660">
                  <c:v>-1.0084033613445301E-2</c:v>
                </c:pt>
                <c:pt idx="35661">
                  <c:v>-1.0084033613445301E-2</c:v>
                </c:pt>
                <c:pt idx="35662">
                  <c:v>-1.0084033613445301E-2</c:v>
                </c:pt>
                <c:pt idx="35663">
                  <c:v>-1.0084033613445301E-2</c:v>
                </c:pt>
                <c:pt idx="35664">
                  <c:v>-1.0084033613445301E-2</c:v>
                </c:pt>
                <c:pt idx="35665">
                  <c:v>-1.0084033613445301E-2</c:v>
                </c:pt>
                <c:pt idx="35666">
                  <c:v>-1.0084033613445301E-2</c:v>
                </c:pt>
                <c:pt idx="35667">
                  <c:v>-1.0084033613445301E-2</c:v>
                </c:pt>
                <c:pt idx="35668">
                  <c:v>-1.0084033613445301E-2</c:v>
                </c:pt>
                <c:pt idx="35669">
                  <c:v>-1.0084033613445301E-2</c:v>
                </c:pt>
                <c:pt idx="35670">
                  <c:v>-1.0084033613445301E-2</c:v>
                </c:pt>
                <c:pt idx="35671">
                  <c:v>-1.0084033613445301E-2</c:v>
                </c:pt>
                <c:pt idx="35672">
                  <c:v>-1.0084033613445301E-2</c:v>
                </c:pt>
                <c:pt idx="35673">
                  <c:v>-1.0084033613445301E-2</c:v>
                </c:pt>
                <c:pt idx="35674">
                  <c:v>-1.0084033613445301E-2</c:v>
                </c:pt>
                <c:pt idx="35675">
                  <c:v>-1.0084033613445301E-2</c:v>
                </c:pt>
                <c:pt idx="35676">
                  <c:v>-1.0084033613445301E-2</c:v>
                </c:pt>
                <c:pt idx="35677">
                  <c:v>-1.0084033613445301E-2</c:v>
                </c:pt>
                <c:pt idx="35678">
                  <c:v>-1.0084033613445301E-2</c:v>
                </c:pt>
                <c:pt idx="35679">
                  <c:v>-9.2436974789915603E-3</c:v>
                </c:pt>
                <c:pt idx="35680">
                  <c:v>-9.2436974789915603E-3</c:v>
                </c:pt>
                <c:pt idx="35681">
                  <c:v>-9.2436974789915603E-3</c:v>
                </c:pt>
                <c:pt idx="35682">
                  <c:v>-9.2436974789915603E-3</c:v>
                </c:pt>
                <c:pt idx="35683">
                  <c:v>-9.2436974789915603E-3</c:v>
                </c:pt>
                <c:pt idx="35684">
                  <c:v>-9.2436974789915603E-3</c:v>
                </c:pt>
                <c:pt idx="35685">
                  <c:v>-9.2436974789915603E-3</c:v>
                </c:pt>
                <c:pt idx="35686">
                  <c:v>-9.2436974789915603E-3</c:v>
                </c:pt>
                <c:pt idx="35687">
                  <c:v>-9.2436974789915603E-3</c:v>
                </c:pt>
                <c:pt idx="35688">
                  <c:v>-9.2436974789915603E-3</c:v>
                </c:pt>
                <c:pt idx="35689">
                  <c:v>-9.2436974789915603E-3</c:v>
                </c:pt>
                <c:pt idx="35690">
                  <c:v>-9.2436974789915603E-3</c:v>
                </c:pt>
                <c:pt idx="35691">
                  <c:v>-9.2436974789915603E-3</c:v>
                </c:pt>
                <c:pt idx="35692">
                  <c:v>-9.2436974789915603E-3</c:v>
                </c:pt>
                <c:pt idx="35693">
                  <c:v>-9.2436974789915603E-3</c:v>
                </c:pt>
                <c:pt idx="35694">
                  <c:v>-9.2436974789915603E-3</c:v>
                </c:pt>
                <c:pt idx="35695">
                  <c:v>-9.2436974789915603E-3</c:v>
                </c:pt>
                <c:pt idx="35696">
                  <c:v>-9.2436974789915603E-3</c:v>
                </c:pt>
                <c:pt idx="35697">
                  <c:v>-9.2436974789915603E-3</c:v>
                </c:pt>
                <c:pt idx="35698">
                  <c:v>-9.2436974789915603E-3</c:v>
                </c:pt>
                <c:pt idx="35699">
                  <c:v>-9.2436974789915603E-3</c:v>
                </c:pt>
                <c:pt idx="35700">
                  <c:v>-9.2436974789915603E-3</c:v>
                </c:pt>
                <c:pt idx="35701">
                  <c:v>-9.2436974789915603E-3</c:v>
                </c:pt>
                <c:pt idx="35702">
                  <c:v>-9.2436974789915603E-3</c:v>
                </c:pt>
                <c:pt idx="35703">
                  <c:v>-9.2436974789915603E-3</c:v>
                </c:pt>
                <c:pt idx="35704">
                  <c:v>-9.2436974789915603E-3</c:v>
                </c:pt>
                <c:pt idx="35705">
                  <c:v>-9.2436974789915603E-3</c:v>
                </c:pt>
                <c:pt idx="35706">
                  <c:v>-9.2436974789915603E-3</c:v>
                </c:pt>
                <c:pt idx="35707">
                  <c:v>-9.2436974789915603E-3</c:v>
                </c:pt>
                <c:pt idx="35708">
                  <c:v>-9.2436974789915603E-3</c:v>
                </c:pt>
                <c:pt idx="35709">
                  <c:v>-9.2436974789915603E-3</c:v>
                </c:pt>
                <c:pt idx="35710">
                  <c:v>-9.2436974789915603E-3</c:v>
                </c:pt>
                <c:pt idx="35711">
                  <c:v>-9.2436974789915603E-3</c:v>
                </c:pt>
                <c:pt idx="35712">
                  <c:v>-9.2436974789915603E-3</c:v>
                </c:pt>
                <c:pt idx="35713">
                  <c:v>-9.2436974789915603E-3</c:v>
                </c:pt>
                <c:pt idx="35714">
                  <c:v>-9.2436974789915603E-3</c:v>
                </c:pt>
                <c:pt idx="35715">
                  <c:v>-9.2436974789915603E-3</c:v>
                </c:pt>
                <c:pt idx="35716">
                  <c:v>-9.2436974789915603E-3</c:v>
                </c:pt>
                <c:pt idx="35717">
                  <c:v>-9.2436974789915603E-3</c:v>
                </c:pt>
                <c:pt idx="35718">
                  <c:v>-9.2436974789915603E-3</c:v>
                </c:pt>
                <c:pt idx="35719">
                  <c:v>-9.2436974789915603E-3</c:v>
                </c:pt>
                <c:pt idx="35720">
                  <c:v>-9.2436974789915603E-3</c:v>
                </c:pt>
                <c:pt idx="35721">
                  <c:v>-9.2436974789915603E-3</c:v>
                </c:pt>
                <c:pt idx="35722">
                  <c:v>-9.2436974789915603E-3</c:v>
                </c:pt>
                <c:pt idx="35723">
                  <c:v>-9.2436974789915603E-3</c:v>
                </c:pt>
                <c:pt idx="35724">
                  <c:v>-9.2436974789915603E-3</c:v>
                </c:pt>
                <c:pt idx="35725">
                  <c:v>-9.2436974789915603E-3</c:v>
                </c:pt>
                <c:pt idx="35726">
                  <c:v>-1.0084033613445301E-2</c:v>
                </c:pt>
                <c:pt idx="35727">
                  <c:v>-1.0084033613445301E-2</c:v>
                </c:pt>
                <c:pt idx="35728">
                  <c:v>-1.0084033613445301E-2</c:v>
                </c:pt>
                <c:pt idx="35729">
                  <c:v>-1.0084033613445301E-2</c:v>
                </c:pt>
                <c:pt idx="35730">
                  <c:v>-1.0084033613445301E-2</c:v>
                </c:pt>
                <c:pt idx="35731">
                  <c:v>-1.0084033613445301E-2</c:v>
                </c:pt>
                <c:pt idx="35732">
                  <c:v>-1.0084033613445301E-2</c:v>
                </c:pt>
                <c:pt idx="35733">
                  <c:v>-1.0084033613445301E-2</c:v>
                </c:pt>
                <c:pt idx="35734">
                  <c:v>-1.0084033613445301E-2</c:v>
                </c:pt>
                <c:pt idx="35735">
                  <c:v>-1.0084033613445301E-2</c:v>
                </c:pt>
                <c:pt idx="35736">
                  <c:v>-1.0084033613445301E-2</c:v>
                </c:pt>
                <c:pt idx="35737">
                  <c:v>-1.0084033613445301E-2</c:v>
                </c:pt>
                <c:pt idx="35738">
                  <c:v>-1.0084033613445301E-2</c:v>
                </c:pt>
                <c:pt idx="35739">
                  <c:v>-1.0084033613445301E-2</c:v>
                </c:pt>
                <c:pt idx="35740">
                  <c:v>-1.0084033613445301E-2</c:v>
                </c:pt>
                <c:pt idx="35741">
                  <c:v>-1.0084033613445301E-2</c:v>
                </c:pt>
                <c:pt idx="35742">
                  <c:v>-1.0084033613445301E-2</c:v>
                </c:pt>
                <c:pt idx="35743">
                  <c:v>-1.0084033613445301E-2</c:v>
                </c:pt>
                <c:pt idx="35744">
                  <c:v>-1.0084033613445301E-2</c:v>
                </c:pt>
                <c:pt idx="35745">
                  <c:v>-1.0084033613445301E-2</c:v>
                </c:pt>
                <c:pt idx="35746">
                  <c:v>-1.0084033613445301E-2</c:v>
                </c:pt>
                <c:pt idx="35747">
                  <c:v>-1.0084033613445301E-2</c:v>
                </c:pt>
                <c:pt idx="35748">
                  <c:v>-1.0084033613445301E-2</c:v>
                </c:pt>
                <c:pt idx="35749">
                  <c:v>-1.0084033613445301E-2</c:v>
                </c:pt>
                <c:pt idx="35750">
                  <c:v>-1.0084033613445301E-2</c:v>
                </c:pt>
                <c:pt idx="35751">
                  <c:v>-1.0084033613445301E-2</c:v>
                </c:pt>
                <c:pt idx="35752">
                  <c:v>-1.0084033613445301E-2</c:v>
                </c:pt>
                <c:pt idx="35753">
                  <c:v>-1.0084033613445301E-2</c:v>
                </c:pt>
                <c:pt idx="35754">
                  <c:v>-1.0084033613445301E-2</c:v>
                </c:pt>
                <c:pt idx="35755">
                  <c:v>-1.0084033613445301E-2</c:v>
                </c:pt>
                <c:pt idx="35756">
                  <c:v>-1.0084033613445301E-2</c:v>
                </c:pt>
                <c:pt idx="35757">
                  <c:v>-1.0084033613445301E-2</c:v>
                </c:pt>
                <c:pt idx="35758">
                  <c:v>-1.0084033613445301E-2</c:v>
                </c:pt>
                <c:pt idx="35759">
                  <c:v>-1.0084033613445301E-2</c:v>
                </c:pt>
                <c:pt idx="35760">
                  <c:v>-1.0084033613445301E-2</c:v>
                </c:pt>
                <c:pt idx="35761">
                  <c:v>-1.0084033613445301E-2</c:v>
                </c:pt>
                <c:pt idx="35762">
                  <c:v>-1.0084033613445301E-2</c:v>
                </c:pt>
                <c:pt idx="35763">
                  <c:v>-1.0084033613445301E-2</c:v>
                </c:pt>
                <c:pt idx="35764">
                  <c:v>-1.0084033613445301E-2</c:v>
                </c:pt>
                <c:pt idx="35765">
                  <c:v>-1.0084033613445301E-2</c:v>
                </c:pt>
                <c:pt idx="35766">
                  <c:v>-1.0084033613445301E-2</c:v>
                </c:pt>
                <c:pt idx="35767">
                  <c:v>-1.0084033613445301E-2</c:v>
                </c:pt>
                <c:pt idx="35768">
                  <c:v>-1.09243697478991E-2</c:v>
                </c:pt>
                <c:pt idx="35769">
                  <c:v>-1.09243697478991E-2</c:v>
                </c:pt>
                <c:pt idx="35770">
                  <c:v>-1.09243697478991E-2</c:v>
                </c:pt>
                <c:pt idx="35771">
                  <c:v>-1.09243697478991E-2</c:v>
                </c:pt>
                <c:pt idx="35772">
                  <c:v>-1.09243697478991E-2</c:v>
                </c:pt>
                <c:pt idx="35773">
                  <c:v>-1.09243697478991E-2</c:v>
                </c:pt>
                <c:pt idx="35774">
                  <c:v>-1.09243697478991E-2</c:v>
                </c:pt>
                <c:pt idx="35775">
                  <c:v>-1.09243697478991E-2</c:v>
                </c:pt>
                <c:pt idx="35776">
                  <c:v>-1.09243697478991E-2</c:v>
                </c:pt>
                <c:pt idx="35777">
                  <c:v>-1.09243697478991E-2</c:v>
                </c:pt>
                <c:pt idx="35778">
                  <c:v>-1.09243697478991E-2</c:v>
                </c:pt>
                <c:pt idx="35779">
                  <c:v>-1.09243697478991E-2</c:v>
                </c:pt>
                <c:pt idx="35780">
                  <c:v>-1.09243697478991E-2</c:v>
                </c:pt>
                <c:pt idx="35781">
                  <c:v>-1.09243697478991E-2</c:v>
                </c:pt>
                <c:pt idx="35782">
                  <c:v>-1.09243697478991E-2</c:v>
                </c:pt>
                <c:pt idx="35783">
                  <c:v>-1.09243697478991E-2</c:v>
                </c:pt>
                <c:pt idx="35784">
                  <c:v>-1.09243697478991E-2</c:v>
                </c:pt>
                <c:pt idx="35785">
                  <c:v>-1.09243697478991E-2</c:v>
                </c:pt>
                <c:pt idx="35786">
                  <c:v>-1.09243697478991E-2</c:v>
                </c:pt>
                <c:pt idx="35787">
                  <c:v>-1.09243697478991E-2</c:v>
                </c:pt>
                <c:pt idx="35788">
                  <c:v>-1.09243697478991E-2</c:v>
                </c:pt>
                <c:pt idx="35789">
                  <c:v>-1.09243697478991E-2</c:v>
                </c:pt>
                <c:pt idx="35790">
                  <c:v>-1.09243697478991E-2</c:v>
                </c:pt>
                <c:pt idx="35791">
                  <c:v>-1.09243697478991E-2</c:v>
                </c:pt>
                <c:pt idx="35792">
                  <c:v>-1.1764705882352899E-2</c:v>
                </c:pt>
                <c:pt idx="35793">
                  <c:v>-1.1764705882352899E-2</c:v>
                </c:pt>
                <c:pt idx="35794">
                  <c:v>-1.1764705882352899E-2</c:v>
                </c:pt>
                <c:pt idx="35795">
                  <c:v>-1.1764705882352899E-2</c:v>
                </c:pt>
                <c:pt idx="35796">
                  <c:v>-1.1764705882352899E-2</c:v>
                </c:pt>
                <c:pt idx="35797">
                  <c:v>-1.1764705882352899E-2</c:v>
                </c:pt>
                <c:pt idx="35798">
                  <c:v>-1.1764705882352899E-2</c:v>
                </c:pt>
                <c:pt idx="35799">
                  <c:v>-1.1764705882352899E-2</c:v>
                </c:pt>
                <c:pt idx="35800">
                  <c:v>-1.1764705882352899E-2</c:v>
                </c:pt>
                <c:pt idx="35801">
                  <c:v>-1.1764705882352899E-2</c:v>
                </c:pt>
                <c:pt idx="35802">
                  <c:v>-1.1764705882352899E-2</c:v>
                </c:pt>
                <c:pt idx="35803">
                  <c:v>-1.1764705882352899E-2</c:v>
                </c:pt>
                <c:pt idx="35804">
                  <c:v>-1.1764705882352899E-2</c:v>
                </c:pt>
                <c:pt idx="35805">
                  <c:v>-1.1764705882352899E-2</c:v>
                </c:pt>
                <c:pt idx="35806">
                  <c:v>-1.1764705882352899E-2</c:v>
                </c:pt>
                <c:pt idx="35807">
                  <c:v>-1.1764705882352899E-2</c:v>
                </c:pt>
                <c:pt idx="35808">
                  <c:v>-1.1764705882352899E-2</c:v>
                </c:pt>
                <c:pt idx="35809">
                  <c:v>-1.1764705882352899E-2</c:v>
                </c:pt>
                <c:pt idx="35810">
                  <c:v>-1.1764705882352899E-2</c:v>
                </c:pt>
                <c:pt idx="35811">
                  <c:v>-1.1764705882352899E-2</c:v>
                </c:pt>
                <c:pt idx="35812">
                  <c:v>-1.1764705882352899E-2</c:v>
                </c:pt>
                <c:pt idx="35813">
                  <c:v>-1.1764705882352899E-2</c:v>
                </c:pt>
                <c:pt idx="35814">
                  <c:v>-1.1764705882352899E-2</c:v>
                </c:pt>
                <c:pt idx="35815">
                  <c:v>-1.1764705882352899E-2</c:v>
                </c:pt>
                <c:pt idx="35816">
                  <c:v>-1.1764705882352899E-2</c:v>
                </c:pt>
                <c:pt idx="35817">
                  <c:v>-1.1764705882352899E-2</c:v>
                </c:pt>
                <c:pt idx="35818">
                  <c:v>-1.1764705882352899E-2</c:v>
                </c:pt>
                <c:pt idx="35819">
                  <c:v>-1.1764705882352899E-2</c:v>
                </c:pt>
                <c:pt idx="35820">
                  <c:v>-1.1764705882352899E-2</c:v>
                </c:pt>
                <c:pt idx="35821">
                  <c:v>-1.1764705882352899E-2</c:v>
                </c:pt>
                <c:pt idx="35822">
                  <c:v>-1.1764705882352899E-2</c:v>
                </c:pt>
                <c:pt idx="35823">
                  <c:v>-1.1764705882352899E-2</c:v>
                </c:pt>
                <c:pt idx="35824">
                  <c:v>-1.1764705882352899E-2</c:v>
                </c:pt>
                <c:pt idx="35825">
                  <c:v>-1.1764705882352899E-2</c:v>
                </c:pt>
                <c:pt idx="35826">
                  <c:v>-1.1764705882352899E-2</c:v>
                </c:pt>
                <c:pt idx="35827">
                  <c:v>-1.1764705882352899E-2</c:v>
                </c:pt>
                <c:pt idx="35828">
                  <c:v>-1.1764705882352899E-2</c:v>
                </c:pt>
                <c:pt idx="35829">
                  <c:v>-1.1764705882352899E-2</c:v>
                </c:pt>
                <c:pt idx="35830">
                  <c:v>-1.1764705882352899E-2</c:v>
                </c:pt>
                <c:pt idx="35831">
                  <c:v>-1.1764705882352899E-2</c:v>
                </c:pt>
                <c:pt idx="35832">
                  <c:v>-1.1764705882352899E-2</c:v>
                </c:pt>
                <c:pt idx="35833">
                  <c:v>-1.1764705882352899E-2</c:v>
                </c:pt>
                <c:pt idx="35834">
                  <c:v>-1.1764705882352899E-2</c:v>
                </c:pt>
                <c:pt idx="35835">
                  <c:v>-1.1764705882352899E-2</c:v>
                </c:pt>
                <c:pt idx="35836">
                  <c:v>-1.1764705882352899E-2</c:v>
                </c:pt>
                <c:pt idx="35837">
                  <c:v>-1.1764705882352899E-2</c:v>
                </c:pt>
                <c:pt idx="35838">
                  <c:v>-1.1764705882352899E-2</c:v>
                </c:pt>
                <c:pt idx="35839">
                  <c:v>-1.1764705882352899E-2</c:v>
                </c:pt>
                <c:pt idx="35840">
                  <c:v>-1.1764705882352899E-2</c:v>
                </c:pt>
                <c:pt idx="35841">
                  <c:v>-1.1764705882352899E-2</c:v>
                </c:pt>
                <c:pt idx="35842">
                  <c:v>-1.1764705882352899E-2</c:v>
                </c:pt>
                <c:pt idx="35843">
                  <c:v>-1.1764705882352899E-2</c:v>
                </c:pt>
                <c:pt idx="35844">
                  <c:v>-1.1764705882352899E-2</c:v>
                </c:pt>
                <c:pt idx="35845">
                  <c:v>-1.1764705882352899E-2</c:v>
                </c:pt>
                <c:pt idx="35846">
                  <c:v>-1.1764705882352899E-2</c:v>
                </c:pt>
                <c:pt idx="35847">
                  <c:v>-1.26050420168066E-2</c:v>
                </c:pt>
                <c:pt idx="35848">
                  <c:v>-1.26050420168066E-2</c:v>
                </c:pt>
                <c:pt idx="35849">
                  <c:v>-1.26050420168066E-2</c:v>
                </c:pt>
                <c:pt idx="35850">
                  <c:v>-1.26050420168066E-2</c:v>
                </c:pt>
                <c:pt idx="35851">
                  <c:v>-1.26050420168066E-2</c:v>
                </c:pt>
                <c:pt idx="35852">
                  <c:v>-1.26050420168066E-2</c:v>
                </c:pt>
                <c:pt idx="35853">
                  <c:v>-1.26050420168066E-2</c:v>
                </c:pt>
                <c:pt idx="35854">
                  <c:v>-1.26050420168066E-2</c:v>
                </c:pt>
                <c:pt idx="35855">
                  <c:v>-1.26050420168066E-2</c:v>
                </c:pt>
                <c:pt idx="35856">
                  <c:v>-1.26050420168066E-2</c:v>
                </c:pt>
                <c:pt idx="35857">
                  <c:v>-1.26050420168066E-2</c:v>
                </c:pt>
                <c:pt idx="35858">
                  <c:v>-1.26050420168066E-2</c:v>
                </c:pt>
                <c:pt idx="35859">
                  <c:v>-1.26050420168066E-2</c:v>
                </c:pt>
                <c:pt idx="35860">
                  <c:v>-1.26050420168066E-2</c:v>
                </c:pt>
                <c:pt idx="35861">
                  <c:v>-1.26050420168066E-2</c:v>
                </c:pt>
                <c:pt idx="35862">
                  <c:v>-1.26050420168066E-2</c:v>
                </c:pt>
                <c:pt idx="35863">
                  <c:v>-1.26050420168066E-2</c:v>
                </c:pt>
                <c:pt idx="35864">
                  <c:v>-1.26050420168066E-2</c:v>
                </c:pt>
                <c:pt idx="35865">
                  <c:v>-1.26050420168066E-2</c:v>
                </c:pt>
                <c:pt idx="35866">
                  <c:v>-1.26050420168066E-2</c:v>
                </c:pt>
                <c:pt idx="35867">
                  <c:v>-1.26050420168066E-2</c:v>
                </c:pt>
                <c:pt idx="35868">
                  <c:v>-1.26050420168066E-2</c:v>
                </c:pt>
                <c:pt idx="35869">
                  <c:v>-1.26050420168066E-2</c:v>
                </c:pt>
                <c:pt idx="35870">
                  <c:v>-1.26050420168066E-2</c:v>
                </c:pt>
                <c:pt idx="35871">
                  <c:v>-1.26050420168066E-2</c:v>
                </c:pt>
                <c:pt idx="35872">
                  <c:v>-1.26050420168066E-2</c:v>
                </c:pt>
                <c:pt idx="35873">
                  <c:v>-1.26050420168066E-2</c:v>
                </c:pt>
                <c:pt idx="35874">
                  <c:v>-1.26050420168066E-2</c:v>
                </c:pt>
                <c:pt idx="35875">
                  <c:v>-1.26050420168066E-2</c:v>
                </c:pt>
                <c:pt idx="35876">
                  <c:v>-1.26050420168066E-2</c:v>
                </c:pt>
                <c:pt idx="35877">
                  <c:v>-1.26050420168066E-2</c:v>
                </c:pt>
                <c:pt idx="35878">
                  <c:v>-1.26050420168066E-2</c:v>
                </c:pt>
                <c:pt idx="35879">
                  <c:v>-1.26050420168066E-2</c:v>
                </c:pt>
                <c:pt idx="35880">
                  <c:v>-1.26050420168066E-2</c:v>
                </c:pt>
                <c:pt idx="35881">
                  <c:v>-1.26050420168066E-2</c:v>
                </c:pt>
                <c:pt idx="35882">
                  <c:v>-1.26050420168066E-2</c:v>
                </c:pt>
                <c:pt idx="35883">
                  <c:v>-1.26050420168066E-2</c:v>
                </c:pt>
                <c:pt idx="35884">
                  <c:v>-1.26050420168066E-2</c:v>
                </c:pt>
                <c:pt idx="35885">
                  <c:v>-1.26050420168066E-2</c:v>
                </c:pt>
                <c:pt idx="35886">
                  <c:v>-1.26050420168066E-2</c:v>
                </c:pt>
                <c:pt idx="35887">
                  <c:v>-1.26050420168066E-2</c:v>
                </c:pt>
                <c:pt idx="35888">
                  <c:v>-1.26050420168066E-2</c:v>
                </c:pt>
                <c:pt idx="35889">
                  <c:v>-1.26050420168066E-2</c:v>
                </c:pt>
                <c:pt idx="35890">
                  <c:v>-1.26050420168066E-2</c:v>
                </c:pt>
                <c:pt idx="35891">
                  <c:v>-1.26050420168066E-2</c:v>
                </c:pt>
                <c:pt idx="35892">
                  <c:v>-1.26050420168066E-2</c:v>
                </c:pt>
                <c:pt idx="35893">
                  <c:v>-1.26050420168066E-2</c:v>
                </c:pt>
                <c:pt idx="35894">
                  <c:v>-1.26050420168066E-2</c:v>
                </c:pt>
                <c:pt idx="35895">
                  <c:v>-1.26050420168066E-2</c:v>
                </c:pt>
                <c:pt idx="35896">
                  <c:v>-1.26050420168066E-2</c:v>
                </c:pt>
                <c:pt idx="35897">
                  <c:v>-1.26050420168066E-2</c:v>
                </c:pt>
                <c:pt idx="35898">
                  <c:v>-1.26050420168066E-2</c:v>
                </c:pt>
                <c:pt idx="35899">
                  <c:v>-1.26050420168066E-2</c:v>
                </c:pt>
                <c:pt idx="35900">
                  <c:v>-1.26050420168066E-2</c:v>
                </c:pt>
                <c:pt idx="35901">
                  <c:v>-1.26050420168066E-2</c:v>
                </c:pt>
                <c:pt idx="35902">
                  <c:v>-1.26050420168066E-2</c:v>
                </c:pt>
                <c:pt idx="35903">
                  <c:v>-1.26050420168066E-2</c:v>
                </c:pt>
                <c:pt idx="35904">
                  <c:v>-1.26050420168066E-2</c:v>
                </c:pt>
                <c:pt idx="35905">
                  <c:v>-1.26050420168066E-2</c:v>
                </c:pt>
                <c:pt idx="35906">
                  <c:v>-1.26050420168066E-2</c:v>
                </c:pt>
                <c:pt idx="35907">
                  <c:v>-1.26050420168066E-2</c:v>
                </c:pt>
                <c:pt idx="35908">
                  <c:v>-1.26050420168066E-2</c:v>
                </c:pt>
                <c:pt idx="35909">
                  <c:v>-1.26050420168066E-2</c:v>
                </c:pt>
                <c:pt idx="35910">
                  <c:v>-1.26050420168066E-2</c:v>
                </c:pt>
                <c:pt idx="35911">
                  <c:v>-1.26050420168066E-2</c:v>
                </c:pt>
                <c:pt idx="35912">
                  <c:v>-1.26050420168066E-2</c:v>
                </c:pt>
                <c:pt idx="35913">
                  <c:v>-1.26050420168066E-2</c:v>
                </c:pt>
                <c:pt idx="35914">
                  <c:v>-1.26050420168066E-2</c:v>
                </c:pt>
                <c:pt idx="35915">
                  <c:v>-1.26050420168066E-2</c:v>
                </c:pt>
                <c:pt idx="35916">
                  <c:v>-1.26050420168066E-2</c:v>
                </c:pt>
                <c:pt idx="35917">
                  <c:v>-1.26050420168066E-2</c:v>
                </c:pt>
                <c:pt idx="35918">
                  <c:v>-1.26050420168066E-2</c:v>
                </c:pt>
                <c:pt idx="35919">
                  <c:v>-1.26050420168066E-2</c:v>
                </c:pt>
                <c:pt idx="35920">
                  <c:v>-1.26050420168066E-2</c:v>
                </c:pt>
                <c:pt idx="35921">
                  <c:v>-1.26050420168066E-2</c:v>
                </c:pt>
                <c:pt idx="35922">
                  <c:v>-1.26050420168066E-2</c:v>
                </c:pt>
                <c:pt idx="35923">
                  <c:v>-1.26050420168066E-2</c:v>
                </c:pt>
                <c:pt idx="35924">
                  <c:v>-1.26050420168066E-2</c:v>
                </c:pt>
                <c:pt idx="35925">
                  <c:v>-1.26050420168066E-2</c:v>
                </c:pt>
                <c:pt idx="35926">
                  <c:v>-1.26050420168066E-2</c:v>
                </c:pt>
                <c:pt idx="35927">
                  <c:v>-1.26050420168066E-2</c:v>
                </c:pt>
                <c:pt idx="35928">
                  <c:v>-1.26050420168066E-2</c:v>
                </c:pt>
                <c:pt idx="35929">
                  <c:v>-1.26050420168066E-2</c:v>
                </c:pt>
                <c:pt idx="35930">
                  <c:v>-1.26050420168066E-2</c:v>
                </c:pt>
                <c:pt idx="35931">
                  <c:v>-1.26050420168066E-2</c:v>
                </c:pt>
                <c:pt idx="35932">
                  <c:v>-1.26050420168066E-2</c:v>
                </c:pt>
                <c:pt idx="35933">
                  <c:v>-1.3445378151260399E-2</c:v>
                </c:pt>
                <c:pt idx="35934">
                  <c:v>-1.3445378151260399E-2</c:v>
                </c:pt>
                <c:pt idx="35935">
                  <c:v>-1.3445378151260399E-2</c:v>
                </c:pt>
                <c:pt idx="35936">
                  <c:v>-1.3445378151260399E-2</c:v>
                </c:pt>
                <c:pt idx="35937">
                  <c:v>-1.3445378151260399E-2</c:v>
                </c:pt>
                <c:pt idx="35938">
                  <c:v>-1.3445378151260399E-2</c:v>
                </c:pt>
                <c:pt idx="35939">
                  <c:v>-1.3445378151260399E-2</c:v>
                </c:pt>
                <c:pt idx="35940">
                  <c:v>-1.3445378151260399E-2</c:v>
                </c:pt>
                <c:pt idx="35941">
                  <c:v>-1.3445378151260399E-2</c:v>
                </c:pt>
                <c:pt idx="35942">
                  <c:v>-1.3445378151260399E-2</c:v>
                </c:pt>
                <c:pt idx="35943">
                  <c:v>-1.3445378151260399E-2</c:v>
                </c:pt>
                <c:pt idx="35944">
                  <c:v>-1.3445378151260399E-2</c:v>
                </c:pt>
                <c:pt idx="35945">
                  <c:v>-1.3445378151260399E-2</c:v>
                </c:pt>
                <c:pt idx="35946">
                  <c:v>-1.3445378151260399E-2</c:v>
                </c:pt>
                <c:pt idx="35947">
                  <c:v>-1.3445378151260399E-2</c:v>
                </c:pt>
                <c:pt idx="35948">
                  <c:v>-1.3445378151260399E-2</c:v>
                </c:pt>
                <c:pt idx="35949">
                  <c:v>-1.3445378151260399E-2</c:v>
                </c:pt>
                <c:pt idx="35950">
                  <c:v>-1.3445378151260399E-2</c:v>
                </c:pt>
                <c:pt idx="35951">
                  <c:v>-1.3445378151260399E-2</c:v>
                </c:pt>
                <c:pt idx="35952">
                  <c:v>-1.3445378151260399E-2</c:v>
                </c:pt>
                <c:pt idx="35953">
                  <c:v>-1.3445378151260399E-2</c:v>
                </c:pt>
                <c:pt idx="35954">
                  <c:v>-1.3445378151260399E-2</c:v>
                </c:pt>
                <c:pt idx="35955">
                  <c:v>-1.3445378151260399E-2</c:v>
                </c:pt>
                <c:pt idx="35956">
                  <c:v>-1.3445378151260399E-2</c:v>
                </c:pt>
                <c:pt idx="35957">
                  <c:v>-1.3445378151260399E-2</c:v>
                </c:pt>
                <c:pt idx="35958">
                  <c:v>-1.3445378151260399E-2</c:v>
                </c:pt>
                <c:pt idx="35959">
                  <c:v>-1.3445378151260399E-2</c:v>
                </c:pt>
                <c:pt idx="35960">
                  <c:v>-1.3445378151260399E-2</c:v>
                </c:pt>
                <c:pt idx="35961">
                  <c:v>-1.3445378151260399E-2</c:v>
                </c:pt>
                <c:pt idx="35962">
                  <c:v>-1.26050420168066E-2</c:v>
                </c:pt>
                <c:pt idx="35963">
                  <c:v>-1.26050420168066E-2</c:v>
                </c:pt>
                <c:pt idx="35964">
                  <c:v>-1.26050420168066E-2</c:v>
                </c:pt>
                <c:pt idx="35965">
                  <c:v>-1.26050420168066E-2</c:v>
                </c:pt>
                <c:pt idx="35966">
                  <c:v>-1.26050420168066E-2</c:v>
                </c:pt>
                <c:pt idx="35967">
                  <c:v>-1.26050420168066E-2</c:v>
                </c:pt>
                <c:pt idx="35968">
                  <c:v>-1.26050420168066E-2</c:v>
                </c:pt>
                <c:pt idx="35969">
                  <c:v>-1.26050420168066E-2</c:v>
                </c:pt>
                <c:pt idx="35970">
                  <c:v>-1.26050420168066E-2</c:v>
                </c:pt>
                <c:pt idx="35971">
                  <c:v>-1.26050420168066E-2</c:v>
                </c:pt>
                <c:pt idx="35972">
                  <c:v>-1.26050420168066E-2</c:v>
                </c:pt>
                <c:pt idx="35973">
                  <c:v>-1.26050420168066E-2</c:v>
                </c:pt>
                <c:pt idx="35974">
                  <c:v>-1.26050420168066E-2</c:v>
                </c:pt>
                <c:pt idx="35975">
                  <c:v>-1.26050420168066E-2</c:v>
                </c:pt>
                <c:pt idx="35976">
                  <c:v>-1.26050420168066E-2</c:v>
                </c:pt>
                <c:pt idx="35977">
                  <c:v>-1.26050420168066E-2</c:v>
                </c:pt>
                <c:pt idx="35978">
                  <c:v>-1.26050420168066E-2</c:v>
                </c:pt>
                <c:pt idx="35979">
                  <c:v>-1.26050420168066E-2</c:v>
                </c:pt>
                <c:pt idx="35980">
                  <c:v>-1.26050420168066E-2</c:v>
                </c:pt>
                <c:pt idx="35981">
                  <c:v>-1.26050420168066E-2</c:v>
                </c:pt>
                <c:pt idx="35982">
                  <c:v>-1.26050420168066E-2</c:v>
                </c:pt>
                <c:pt idx="35983">
                  <c:v>-1.26050420168066E-2</c:v>
                </c:pt>
                <c:pt idx="35984">
                  <c:v>-1.26050420168066E-2</c:v>
                </c:pt>
                <c:pt idx="35985">
                  <c:v>-1.26050420168066E-2</c:v>
                </c:pt>
                <c:pt idx="35986">
                  <c:v>-1.26050420168066E-2</c:v>
                </c:pt>
                <c:pt idx="35987">
                  <c:v>-1.26050420168066E-2</c:v>
                </c:pt>
                <c:pt idx="35988">
                  <c:v>-1.26050420168066E-2</c:v>
                </c:pt>
                <c:pt idx="35989">
                  <c:v>-1.26050420168066E-2</c:v>
                </c:pt>
                <c:pt idx="35990">
                  <c:v>-1.26050420168066E-2</c:v>
                </c:pt>
                <c:pt idx="35991">
                  <c:v>-1.26050420168066E-2</c:v>
                </c:pt>
                <c:pt idx="35992">
                  <c:v>-1.26050420168066E-2</c:v>
                </c:pt>
                <c:pt idx="35993">
                  <c:v>-1.26050420168066E-2</c:v>
                </c:pt>
                <c:pt idx="35994">
                  <c:v>-1.26050420168066E-2</c:v>
                </c:pt>
                <c:pt idx="35995">
                  <c:v>-1.26050420168066E-2</c:v>
                </c:pt>
                <c:pt idx="35996">
                  <c:v>-1.26050420168066E-2</c:v>
                </c:pt>
                <c:pt idx="35997">
                  <c:v>-1.26050420168066E-2</c:v>
                </c:pt>
                <c:pt idx="35998">
                  <c:v>-1.26050420168066E-2</c:v>
                </c:pt>
                <c:pt idx="35999">
                  <c:v>-1.26050420168066E-2</c:v>
                </c:pt>
                <c:pt idx="36000">
                  <c:v>-1.26050420168066E-2</c:v>
                </c:pt>
                <c:pt idx="36001">
                  <c:v>-1.26050420168066E-2</c:v>
                </c:pt>
                <c:pt idx="36002">
                  <c:v>-1.26050420168066E-2</c:v>
                </c:pt>
                <c:pt idx="36003">
                  <c:v>-1.26050420168066E-2</c:v>
                </c:pt>
                <c:pt idx="36004">
                  <c:v>-1.26050420168066E-2</c:v>
                </c:pt>
                <c:pt idx="36005">
                  <c:v>-1.26050420168066E-2</c:v>
                </c:pt>
                <c:pt idx="36006">
                  <c:v>-1.26050420168066E-2</c:v>
                </c:pt>
                <c:pt idx="36007">
                  <c:v>-1.26050420168066E-2</c:v>
                </c:pt>
                <c:pt idx="36008">
                  <c:v>-1.26050420168066E-2</c:v>
                </c:pt>
                <c:pt idx="36009">
                  <c:v>-1.26050420168066E-2</c:v>
                </c:pt>
                <c:pt idx="36010">
                  <c:v>-1.26050420168066E-2</c:v>
                </c:pt>
                <c:pt idx="36011">
                  <c:v>-1.26050420168066E-2</c:v>
                </c:pt>
                <c:pt idx="36012">
                  <c:v>-1.26050420168066E-2</c:v>
                </c:pt>
                <c:pt idx="36013">
                  <c:v>-1.26050420168066E-2</c:v>
                </c:pt>
                <c:pt idx="36014">
                  <c:v>-1.26050420168066E-2</c:v>
                </c:pt>
                <c:pt idx="36015">
                  <c:v>-1.26050420168066E-2</c:v>
                </c:pt>
                <c:pt idx="36016">
                  <c:v>-1.26050420168066E-2</c:v>
                </c:pt>
                <c:pt idx="36017">
                  <c:v>-1.26050420168066E-2</c:v>
                </c:pt>
                <c:pt idx="36018">
                  <c:v>-1.26050420168066E-2</c:v>
                </c:pt>
                <c:pt idx="36019">
                  <c:v>-1.26050420168066E-2</c:v>
                </c:pt>
                <c:pt idx="36020">
                  <c:v>-1.26050420168066E-2</c:v>
                </c:pt>
                <c:pt idx="36021">
                  <c:v>-1.26050420168066E-2</c:v>
                </c:pt>
                <c:pt idx="36022">
                  <c:v>-1.26050420168066E-2</c:v>
                </c:pt>
                <c:pt idx="36023">
                  <c:v>-1.26050420168066E-2</c:v>
                </c:pt>
                <c:pt idx="36024">
                  <c:v>-1.26050420168066E-2</c:v>
                </c:pt>
                <c:pt idx="36025">
                  <c:v>-1.26050420168066E-2</c:v>
                </c:pt>
                <c:pt idx="36026">
                  <c:v>-1.26050420168066E-2</c:v>
                </c:pt>
                <c:pt idx="36027">
                  <c:v>-1.26050420168066E-2</c:v>
                </c:pt>
                <c:pt idx="36028">
                  <c:v>-1.26050420168066E-2</c:v>
                </c:pt>
                <c:pt idx="36029">
                  <c:v>-1.26050420168066E-2</c:v>
                </c:pt>
                <c:pt idx="36030">
                  <c:v>-1.26050420168066E-2</c:v>
                </c:pt>
                <c:pt idx="36031">
                  <c:v>-1.26050420168066E-2</c:v>
                </c:pt>
                <c:pt idx="36032">
                  <c:v>-1.26050420168066E-2</c:v>
                </c:pt>
                <c:pt idx="36033">
                  <c:v>-1.26050420168066E-2</c:v>
                </c:pt>
                <c:pt idx="36034">
                  <c:v>-1.26050420168066E-2</c:v>
                </c:pt>
                <c:pt idx="36035">
                  <c:v>-1.26050420168066E-2</c:v>
                </c:pt>
                <c:pt idx="36036">
                  <c:v>-1.26050420168066E-2</c:v>
                </c:pt>
                <c:pt idx="36037">
                  <c:v>-1.26050420168066E-2</c:v>
                </c:pt>
                <c:pt idx="36038">
                  <c:v>-1.3445378151260399E-2</c:v>
                </c:pt>
                <c:pt idx="36039">
                  <c:v>-1.3445378151260399E-2</c:v>
                </c:pt>
                <c:pt idx="36040">
                  <c:v>-1.3445378151260399E-2</c:v>
                </c:pt>
                <c:pt idx="36041">
                  <c:v>-1.3445378151260399E-2</c:v>
                </c:pt>
                <c:pt idx="36042">
                  <c:v>-1.3445378151260399E-2</c:v>
                </c:pt>
                <c:pt idx="36043">
                  <c:v>-1.3445378151260399E-2</c:v>
                </c:pt>
                <c:pt idx="36044">
                  <c:v>-1.3445378151260399E-2</c:v>
                </c:pt>
                <c:pt idx="36045">
                  <c:v>-1.3445378151260399E-2</c:v>
                </c:pt>
                <c:pt idx="36046">
                  <c:v>-1.3445378151260399E-2</c:v>
                </c:pt>
                <c:pt idx="36047">
                  <c:v>-1.3445378151260399E-2</c:v>
                </c:pt>
                <c:pt idx="36048">
                  <c:v>-1.42857142857142E-2</c:v>
                </c:pt>
                <c:pt idx="36049">
                  <c:v>-1.42857142857142E-2</c:v>
                </c:pt>
                <c:pt idx="36050">
                  <c:v>-1.42857142857142E-2</c:v>
                </c:pt>
                <c:pt idx="36051">
                  <c:v>-1.42857142857142E-2</c:v>
                </c:pt>
                <c:pt idx="36052">
                  <c:v>-1.42857142857142E-2</c:v>
                </c:pt>
                <c:pt idx="36053">
                  <c:v>-1.42857142857142E-2</c:v>
                </c:pt>
                <c:pt idx="36054">
                  <c:v>-1.42857142857142E-2</c:v>
                </c:pt>
                <c:pt idx="36055">
                  <c:v>-1.42857142857142E-2</c:v>
                </c:pt>
                <c:pt idx="36056">
                  <c:v>-1.42857142857142E-2</c:v>
                </c:pt>
                <c:pt idx="36057">
                  <c:v>-1.42857142857142E-2</c:v>
                </c:pt>
                <c:pt idx="36058">
                  <c:v>-1.42857142857142E-2</c:v>
                </c:pt>
                <c:pt idx="36059">
                  <c:v>-1.42857142857142E-2</c:v>
                </c:pt>
                <c:pt idx="36060">
                  <c:v>-1.42857142857142E-2</c:v>
                </c:pt>
                <c:pt idx="36061">
                  <c:v>-1.42857142857142E-2</c:v>
                </c:pt>
                <c:pt idx="36062">
                  <c:v>-1.42857142857142E-2</c:v>
                </c:pt>
                <c:pt idx="36063">
                  <c:v>-1.42857142857142E-2</c:v>
                </c:pt>
                <c:pt idx="36064">
                  <c:v>-1.42857142857142E-2</c:v>
                </c:pt>
                <c:pt idx="36065">
                  <c:v>-1.42857142857142E-2</c:v>
                </c:pt>
                <c:pt idx="36066">
                  <c:v>-1.42857142857142E-2</c:v>
                </c:pt>
                <c:pt idx="36067">
                  <c:v>-1.42857142857142E-2</c:v>
                </c:pt>
                <c:pt idx="36068">
                  <c:v>-1.42857142857142E-2</c:v>
                </c:pt>
                <c:pt idx="36069">
                  <c:v>-1.42857142857142E-2</c:v>
                </c:pt>
                <c:pt idx="36070">
                  <c:v>-1.42857142857142E-2</c:v>
                </c:pt>
                <c:pt idx="36071">
                  <c:v>-1.42857142857142E-2</c:v>
                </c:pt>
                <c:pt idx="36072">
                  <c:v>-1.42857142857142E-2</c:v>
                </c:pt>
                <c:pt idx="36073">
                  <c:v>-1.42857142857142E-2</c:v>
                </c:pt>
                <c:pt idx="36074">
                  <c:v>-1.42857142857142E-2</c:v>
                </c:pt>
                <c:pt idx="36075">
                  <c:v>-1.42857142857142E-2</c:v>
                </c:pt>
                <c:pt idx="36076">
                  <c:v>-1.42857142857142E-2</c:v>
                </c:pt>
                <c:pt idx="36077">
                  <c:v>-1.42857142857142E-2</c:v>
                </c:pt>
                <c:pt idx="36078">
                  <c:v>-1.42857142857142E-2</c:v>
                </c:pt>
                <c:pt idx="36079">
                  <c:v>-1.42857142857142E-2</c:v>
                </c:pt>
                <c:pt idx="36080">
                  <c:v>-1.42857142857142E-2</c:v>
                </c:pt>
                <c:pt idx="36081">
                  <c:v>-1.42857142857142E-2</c:v>
                </c:pt>
                <c:pt idx="36082">
                  <c:v>-1.42857142857142E-2</c:v>
                </c:pt>
                <c:pt idx="36083">
                  <c:v>-1.42857142857142E-2</c:v>
                </c:pt>
                <c:pt idx="36084">
                  <c:v>-1.42857142857142E-2</c:v>
                </c:pt>
                <c:pt idx="36085">
                  <c:v>-1.42857142857142E-2</c:v>
                </c:pt>
                <c:pt idx="36086">
                  <c:v>-1.42857142857142E-2</c:v>
                </c:pt>
                <c:pt idx="36087">
                  <c:v>-1.42857142857142E-2</c:v>
                </c:pt>
                <c:pt idx="36088">
                  <c:v>-1.42857142857142E-2</c:v>
                </c:pt>
                <c:pt idx="36089">
                  <c:v>-1.42857142857142E-2</c:v>
                </c:pt>
                <c:pt idx="36090">
                  <c:v>-1.42857142857142E-2</c:v>
                </c:pt>
                <c:pt idx="36091">
                  <c:v>-1.42857142857142E-2</c:v>
                </c:pt>
                <c:pt idx="36092">
                  <c:v>-1.42857142857142E-2</c:v>
                </c:pt>
                <c:pt idx="36093">
                  <c:v>-1.42857142857142E-2</c:v>
                </c:pt>
                <c:pt idx="36094">
                  <c:v>-1.42857142857142E-2</c:v>
                </c:pt>
                <c:pt idx="36095">
                  <c:v>-1.42857142857142E-2</c:v>
                </c:pt>
                <c:pt idx="36096">
                  <c:v>-1.42857142857142E-2</c:v>
                </c:pt>
                <c:pt idx="36097">
                  <c:v>-1.42857142857142E-2</c:v>
                </c:pt>
                <c:pt idx="36098">
                  <c:v>-1.42857142857142E-2</c:v>
                </c:pt>
                <c:pt idx="36099">
                  <c:v>-1.42857142857142E-2</c:v>
                </c:pt>
                <c:pt idx="36100">
                  <c:v>-1.42857142857142E-2</c:v>
                </c:pt>
                <c:pt idx="36101">
                  <c:v>-1.42857142857142E-2</c:v>
                </c:pt>
                <c:pt idx="36102">
                  <c:v>-1.42857142857142E-2</c:v>
                </c:pt>
                <c:pt idx="36103">
                  <c:v>-1.42857142857142E-2</c:v>
                </c:pt>
                <c:pt idx="36104">
                  <c:v>-1.42857142857142E-2</c:v>
                </c:pt>
                <c:pt idx="36105">
                  <c:v>-1.42857142857142E-2</c:v>
                </c:pt>
                <c:pt idx="36106">
                  <c:v>-1.42857142857142E-2</c:v>
                </c:pt>
                <c:pt idx="36107">
                  <c:v>-1.42857142857142E-2</c:v>
                </c:pt>
                <c:pt idx="36108">
                  <c:v>-1.5126050420168E-2</c:v>
                </c:pt>
                <c:pt idx="36109">
                  <c:v>-1.5126050420168E-2</c:v>
                </c:pt>
                <c:pt idx="36110">
                  <c:v>-1.5126050420168E-2</c:v>
                </c:pt>
                <c:pt idx="36111">
                  <c:v>-1.5126050420168E-2</c:v>
                </c:pt>
                <c:pt idx="36112">
                  <c:v>-1.5126050420168E-2</c:v>
                </c:pt>
                <c:pt idx="36113">
                  <c:v>-1.5126050420168E-2</c:v>
                </c:pt>
                <c:pt idx="36114">
                  <c:v>-1.5126050420168E-2</c:v>
                </c:pt>
                <c:pt idx="36115">
                  <c:v>-1.5126050420168E-2</c:v>
                </c:pt>
                <c:pt idx="36116">
                  <c:v>-1.5126050420168E-2</c:v>
                </c:pt>
                <c:pt idx="36117">
                  <c:v>-1.5126050420168E-2</c:v>
                </c:pt>
                <c:pt idx="36118">
                  <c:v>-1.5126050420168E-2</c:v>
                </c:pt>
                <c:pt idx="36119">
                  <c:v>-1.5126050420168E-2</c:v>
                </c:pt>
                <c:pt idx="36120">
                  <c:v>-1.5126050420168E-2</c:v>
                </c:pt>
                <c:pt idx="36121">
                  <c:v>-1.5126050420168E-2</c:v>
                </c:pt>
                <c:pt idx="36122">
                  <c:v>-1.5126050420168E-2</c:v>
                </c:pt>
                <c:pt idx="36123">
                  <c:v>-1.5126050420168E-2</c:v>
                </c:pt>
                <c:pt idx="36124">
                  <c:v>-1.5126050420168E-2</c:v>
                </c:pt>
                <c:pt idx="36125">
                  <c:v>-1.5126050420168E-2</c:v>
                </c:pt>
                <c:pt idx="36126">
                  <c:v>-1.5126050420168E-2</c:v>
                </c:pt>
                <c:pt idx="36127">
                  <c:v>-1.5126050420168E-2</c:v>
                </c:pt>
                <c:pt idx="36128">
                  <c:v>-1.5126050420168E-2</c:v>
                </c:pt>
                <c:pt idx="36129">
                  <c:v>-1.5126050420168E-2</c:v>
                </c:pt>
                <c:pt idx="36130">
                  <c:v>-1.5126050420168E-2</c:v>
                </c:pt>
                <c:pt idx="36131">
                  <c:v>-1.5126050420168E-2</c:v>
                </c:pt>
                <c:pt idx="36132">
                  <c:v>-1.5126050420168E-2</c:v>
                </c:pt>
                <c:pt idx="36133">
                  <c:v>-1.5126050420168E-2</c:v>
                </c:pt>
                <c:pt idx="36134">
                  <c:v>-1.5966386554621698E-2</c:v>
                </c:pt>
                <c:pt idx="36135">
                  <c:v>-1.5966386554621698E-2</c:v>
                </c:pt>
                <c:pt idx="36136">
                  <c:v>-1.5966386554621698E-2</c:v>
                </c:pt>
                <c:pt idx="36137">
                  <c:v>-1.5966386554621698E-2</c:v>
                </c:pt>
                <c:pt idx="36138">
                  <c:v>-1.5966386554621698E-2</c:v>
                </c:pt>
                <c:pt idx="36139">
                  <c:v>-1.5966386554621698E-2</c:v>
                </c:pt>
                <c:pt idx="36140">
                  <c:v>-1.5966386554621698E-2</c:v>
                </c:pt>
                <c:pt idx="36141">
                  <c:v>-1.5966386554621698E-2</c:v>
                </c:pt>
                <c:pt idx="36142">
                  <c:v>-1.5126050420168E-2</c:v>
                </c:pt>
                <c:pt idx="36143">
                  <c:v>-1.5126050420168E-2</c:v>
                </c:pt>
                <c:pt idx="36144">
                  <c:v>-1.5126050420168E-2</c:v>
                </c:pt>
                <c:pt idx="36145">
                  <c:v>-1.5126050420168E-2</c:v>
                </c:pt>
                <c:pt idx="36146">
                  <c:v>-1.5126050420168E-2</c:v>
                </c:pt>
                <c:pt idx="36147">
                  <c:v>-1.5126050420168E-2</c:v>
                </c:pt>
                <c:pt idx="36148">
                  <c:v>-1.42857142857142E-2</c:v>
                </c:pt>
                <c:pt idx="36149">
                  <c:v>-1.42857142857142E-2</c:v>
                </c:pt>
                <c:pt idx="36150">
                  <c:v>-1.42857142857142E-2</c:v>
                </c:pt>
                <c:pt idx="36151">
                  <c:v>-1.42857142857142E-2</c:v>
                </c:pt>
                <c:pt idx="36152">
                  <c:v>-1.42857142857142E-2</c:v>
                </c:pt>
                <c:pt idx="36153">
                  <c:v>-1.42857142857142E-2</c:v>
                </c:pt>
                <c:pt idx="36154">
                  <c:v>-1.42857142857142E-2</c:v>
                </c:pt>
                <c:pt idx="36155">
                  <c:v>-1.42857142857142E-2</c:v>
                </c:pt>
                <c:pt idx="36156">
                  <c:v>-1.42857142857142E-2</c:v>
                </c:pt>
                <c:pt idx="36157">
                  <c:v>-1.42857142857142E-2</c:v>
                </c:pt>
                <c:pt idx="36158">
                  <c:v>-1.42857142857142E-2</c:v>
                </c:pt>
                <c:pt idx="36159">
                  <c:v>-1.42857142857142E-2</c:v>
                </c:pt>
                <c:pt idx="36160">
                  <c:v>-1.42857142857142E-2</c:v>
                </c:pt>
                <c:pt idx="36161">
                  <c:v>-1.42857142857142E-2</c:v>
                </c:pt>
                <c:pt idx="36162">
                  <c:v>-1.42857142857142E-2</c:v>
                </c:pt>
                <c:pt idx="36163">
                  <c:v>-1.42857142857142E-2</c:v>
                </c:pt>
                <c:pt idx="36164">
                  <c:v>-1.42857142857142E-2</c:v>
                </c:pt>
                <c:pt idx="36165">
                  <c:v>-1.42857142857142E-2</c:v>
                </c:pt>
                <c:pt idx="36166">
                  <c:v>-1.42857142857142E-2</c:v>
                </c:pt>
                <c:pt idx="36167">
                  <c:v>-1.42857142857142E-2</c:v>
                </c:pt>
                <c:pt idx="36168">
                  <c:v>-1.42857142857142E-2</c:v>
                </c:pt>
                <c:pt idx="36169">
                  <c:v>-1.42857142857142E-2</c:v>
                </c:pt>
                <c:pt idx="36170">
                  <c:v>-1.42857142857142E-2</c:v>
                </c:pt>
                <c:pt idx="36171">
                  <c:v>-1.42857142857142E-2</c:v>
                </c:pt>
                <c:pt idx="36172">
                  <c:v>-1.42857142857142E-2</c:v>
                </c:pt>
                <c:pt idx="36173">
                  <c:v>-1.42857142857142E-2</c:v>
                </c:pt>
                <c:pt idx="36174">
                  <c:v>-1.42857142857142E-2</c:v>
                </c:pt>
                <c:pt idx="36175">
                  <c:v>-1.42857142857142E-2</c:v>
                </c:pt>
                <c:pt idx="36176">
                  <c:v>-1.42857142857142E-2</c:v>
                </c:pt>
                <c:pt idx="36177">
                  <c:v>-1.42857142857142E-2</c:v>
                </c:pt>
                <c:pt idx="36178">
                  <c:v>-1.42857142857142E-2</c:v>
                </c:pt>
                <c:pt idx="36179">
                  <c:v>-1.42857142857142E-2</c:v>
                </c:pt>
                <c:pt idx="36180">
                  <c:v>-1.42857142857142E-2</c:v>
                </c:pt>
                <c:pt idx="36181">
                  <c:v>-1.42857142857142E-2</c:v>
                </c:pt>
                <c:pt idx="36182">
                  <c:v>-1.42857142857142E-2</c:v>
                </c:pt>
                <c:pt idx="36183">
                  <c:v>-1.42857142857142E-2</c:v>
                </c:pt>
                <c:pt idx="36184">
                  <c:v>-1.42857142857142E-2</c:v>
                </c:pt>
                <c:pt idx="36185">
                  <c:v>-1.42857142857142E-2</c:v>
                </c:pt>
                <c:pt idx="36186">
                  <c:v>-1.42857142857142E-2</c:v>
                </c:pt>
                <c:pt idx="36187">
                  <c:v>-1.42857142857142E-2</c:v>
                </c:pt>
                <c:pt idx="36188">
                  <c:v>-1.42857142857142E-2</c:v>
                </c:pt>
                <c:pt idx="36189">
                  <c:v>-1.42857142857142E-2</c:v>
                </c:pt>
                <c:pt idx="36190">
                  <c:v>-1.42857142857142E-2</c:v>
                </c:pt>
                <c:pt idx="36191">
                  <c:v>-1.42857142857142E-2</c:v>
                </c:pt>
                <c:pt idx="36192">
                  <c:v>-1.42857142857142E-2</c:v>
                </c:pt>
                <c:pt idx="36193">
                  <c:v>-1.42857142857142E-2</c:v>
                </c:pt>
                <c:pt idx="36194">
                  <c:v>-1.42857142857142E-2</c:v>
                </c:pt>
                <c:pt idx="36195">
                  <c:v>-1.42857142857142E-2</c:v>
                </c:pt>
                <c:pt idx="36196">
                  <c:v>-1.42857142857142E-2</c:v>
                </c:pt>
                <c:pt idx="36197">
                  <c:v>-1.42857142857142E-2</c:v>
                </c:pt>
                <c:pt idx="36198">
                  <c:v>-1.42857142857142E-2</c:v>
                </c:pt>
                <c:pt idx="36199">
                  <c:v>-1.42857142857142E-2</c:v>
                </c:pt>
                <c:pt idx="36200">
                  <c:v>-1.42857142857142E-2</c:v>
                </c:pt>
                <c:pt idx="36201">
                  <c:v>-1.42857142857142E-2</c:v>
                </c:pt>
                <c:pt idx="36202">
                  <c:v>-1.42857142857142E-2</c:v>
                </c:pt>
                <c:pt idx="36203">
                  <c:v>-1.42857142857142E-2</c:v>
                </c:pt>
                <c:pt idx="36204">
                  <c:v>-1.42857142857142E-2</c:v>
                </c:pt>
                <c:pt idx="36205">
                  <c:v>-1.42857142857142E-2</c:v>
                </c:pt>
                <c:pt idx="36206">
                  <c:v>-1.42857142857142E-2</c:v>
                </c:pt>
                <c:pt idx="36207">
                  <c:v>-1.42857142857142E-2</c:v>
                </c:pt>
                <c:pt idx="36208">
                  <c:v>-1.42857142857142E-2</c:v>
                </c:pt>
                <c:pt idx="36209">
                  <c:v>-1.42857142857142E-2</c:v>
                </c:pt>
                <c:pt idx="36210">
                  <c:v>-1.42857142857142E-2</c:v>
                </c:pt>
                <c:pt idx="36211">
                  <c:v>-1.42857142857142E-2</c:v>
                </c:pt>
                <c:pt idx="36212">
                  <c:v>-1.42857142857142E-2</c:v>
                </c:pt>
                <c:pt idx="36213">
                  <c:v>-1.42857142857142E-2</c:v>
                </c:pt>
                <c:pt idx="36214">
                  <c:v>-1.42857142857142E-2</c:v>
                </c:pt>
                <c:pt idx="36215">
                  <c:v>-1.42857142857142E-2</c:v>
                </c:pt>
                <c:pt idx="36216">
                  <c:v>-1.42857142857142E-2</c:v>
                </c:pt>
                <c:pt idx="36217">
                  <c:v>-1.42857142857142E-2</c:v>
                </c:pt>
                <c:pt idx="36218">
                  <c:v>-1.42857142857142E-2</c:v>
                </c:pt>
                <c:pt idx="36219">
                  <c:v>-1.42857142857142E-2</c:v>
                </c:pt>
                <c:pt idx="36220">
                  <c:v>-1.42857142857142E-2</c:v>
                </c:pt>
                <c:pt idx="36221">
                  <c:v>-1.42857142857142E-2</c:v>
                </c:pt>
                <c:pt idx="36222">
                  <c:v>-1.42857142857142E-2</c:v>
                </c:pt>
                <c:pt idx="36223">
                  <c:v>-1.42857142857142E-2</c:v>
                </c:pt>
                <c:pt idx="36224">
                  <c:v>-1.42857142857142E-2</c:v>
                </c:pt>
                <c:pt idx="36225">
                  <c:v>-1.42857142857142E-2</c:v>
                </c:pt>
                <c:pt idx="36226">
                  <c:v>-1.42857142857142E-2</c:v>
                </c:pt>
                <c:pt idx="36227">
                  <c:v>-1.42857142857142E-2</c:v>
                </c:pt>
                <c:pt idx="36228">
                  <c:v>-1.42857142857142E-2</c:v>
                </c:pt>
                <c:pt idx="36229">
                  <c:v>-1.42857142857142E-2</c:v>
                </c:pt>
                <c:pt idx="36230">
                  <c:v>-1.42857142857142E-2</c:v>
                </c:pt>
                <c:pt idx="36231">
                  <c:v>-1.42857142857142E-2</c:v>
                </c:pt>
                <c:pt idx="36232">
                  <c:v>-1.42857142857142E-2</c:v>
                </c:pt>
                <c:pt idx="36233">
                  <c:v>-1.42857142857142E-2</c:v>
                </c:pt>
                <c:pt idx="36234">
                  <c:v>-1.42857142857142E-2</c:v>
                </c:pt>
                <c:pt idx="36235">
                  <c:v>-1.42857142857142E-2</c:v>
                </c:pt>
                <c:pt idx="36236">
                  <c:v>-1.42857142857142E-2</c:v>
                </c:pt>
                <c:pt idx="36237">
                  <c:v>-1.42857142857142E-2</c:v>
                </c:pt>
                <c:pt idx="36238">
                  <c:v>-1.42857142857142E-2</c:v>
                </c:pt>
                <c:pt idx="36239">
                  <c:v>-1.42857142857142E-2</c:v>
                </c:pt>
                <c:pt idx="36240">
                  <c:v>-1.42857142857142E-2</c:v>
                </c:pt>
                <c:pt idx="36241">
                  <c:v>-1.42857142857142E-2</c:v>
                </c:pt>
                <c:pt idx="36242">
                  <c:v>-1.42857142857142E-2</c:v>
                </c:pt>
                <c:pt idx="36243">
                  <c:v>-1.42857142857142E-2</c:v>
                </c:pt>
                <c:pt idx="36244">
                  <c:v>-1.42857142857142E-2</c:v>
                </c:pt>
                <c:pt idx="36245">
                  <c:v>-1.42857142857142E-2</c:v>
                </c:pt>
                <c:pt idx="36246">
                  <c:v>-1.42857142857142E-2</c:v>
                </c:pt>
                <c:pt idx="36247">
                  <c:v>-1.42857142857142E-2</c:v>
                </c:pt>
                <c:pt idx="36248">
                  <c:v>-1.42857142857142E-2</c:v>
                </c:pt>
                <c:pt idx="36249">
                  <c:v>-1.42857142857142E-2</c:v>
                </c:pt>
                <c:pt idx="36250">
                  <c:v>-1.42857142857142E-2</c:v>
                </c:pt>
                <c:pt idx="36251">
                  <c:v>-1.42857142857142E-2</c:v>
                </c:pt>
                <c:pt idx="36252">
                  <c:v>-1.42857142857142E-2</c:v>
                </c:pt>
                <c:pt idx="36253">
                  <c:v>-1.42857142857142E-2</c:v>
                </c:pt>
                <c:pt idx="36254">
                  <c:v>-1.42857142857142E-2</c:v>
                </c:pt>
                <c:pt idx="36255">
                  <c:v>-1.42857142857142E-2</c:v>
                </c:pt>
                <c:pt idx="36256">
                  <c:v>-1.42857142857142E-2</c:v>
                </c:pt>
                <c:pt idx="36257">
                  <c:v>-1.42857142857142E-2</c:v>
                </c:pt>
                <c:pt idx="36258">
                  <c:v>-1.42857142857142E-2</c:v>
                </c:pt>
                <c:pt idx="36259">
                  <c:v>-1.42857142857142E-2</c:v>
                </c:pt>
                <c:pt idx="36260">
                  <c:v>-1.42857142857142E-2</c:v>
                </c:pt>
                <c:pt idx="36261">
                  <c:v>-1.42857142857142E-2</c:v>
                </c:pt>
                <c:pt idx="36262">
                  <c:v>-1.42857142857142E-2</c:v>
                </c:pt>
                <c:pt idx="36263">
                  <c:v>-1.42857142857142E-2</c:v>
                </c:pt>
                <c:pt idx="36264">
                  <c:v>-1.42857142857142E-2</c:v>
                </c:pt>
                <c:pt idx="36265">
                  <c:v>-1.42857142857142E-2</c:v>
                </c:pt>
                <c:pt idx="36266">
                  <c:v>-1.42857142857142E-2</c:v>
                </c:pt>
                <c:pt idx="36267">
                  <c:v>-1.42857142857142E-2</c:v>
                </c:pt>
                <c:pt idx="36268">
                  <c:v>-1.42857142857142E-2</c:v>
                </c:pt>
                <c:pt idx="36269">
                  <c:v>-1.42857142857142E-2</c:v>
                </c:pt>
                <c:pt idx="36270">
                  <c:v>-1.42857142857142E-2</c:v>
                </c:pt>
                <c:pt idx="36271">
                  <c:v>-1.42857142857142E-2</c:v>
                </c:pt>
                <c:pt idx="36272">
                  <c:v>-1.42857142857142E-2</c:v>
                </c:pt>
                <c:pt idx="36273">
                  <c:v>-1.42857142857142E-2</c:v>
                </c:pt>
                <c:pt idx="36274">
                  <c:v>-1.42857142857142E-2</c:v>
                </c:pt>
                <c:pt idx="36275">
                  <c:v>-1.42857142857142E-2</c:v>
                </c:pt>
                <c:pt idx="36276">
                  <c:v>-1.42857142857142E-2</c:v>
                </c:pt>
                <c:pt idx="36277">
                  <c:v>-1.42857142857142E-2</c:v>
                </c:pt>
                <c:pt idx="36278">
                  <c:v>-1.42857142857142E-2</c:v>
                </c:pt>
                <c:pt idx="36279">
                  <c:v>-1.42857142857142E-2</c:v>
                </c:pt>
                <c:pt idx="36280">
                  <c:v>-1.3445378151260399E-2</c:v>
                </c:pt>
                <c:pt idx="36281">
                  <c:v>-1.3445378151260399E-2</c:v>
                </c:pt>
                <c:pt idx="36282">
                  <c:v>-1.3445378151260399E-2</c:v>
                </c:pt>
                <c:pt idx="36283">
                  <c:v>-1.3445378151260399E-2</c:v>
                </c:pt>
                <c:pt idx="36284">
                  <c:v>-1.3445378151260399E-2</c:v>
                </c:pt>
                <c:pt idx="36285">
                  <c:v>-1.3445378151260399E-2</c:v>
                </c:pt>
                <c:pt idx="36286">
                  <c:v>-1.3445378151260399E-2</c:v>
                </c:pt>
                <c:pt idx="36287">
                  <c:v>-1.3445378151260399E-2</c:v>
                </c:pt>
                <c:pt idx="36288">
                  <c:v>-1.3445378151260399E-2</c:v>
                </c:pt>
                <c:pt idx="36289">
                  <c:v>-1.3445378151260399E-2</c:v>
                </c:pt>
                <c:pt idx="36290">
                  <c:v>-1.26050420168066E-2</c:v>
                </c:pt>
                <c:pt idx="36291">
                  <c:v>-1.26050420168066E-2</c:v>
                </c:pt>
                <c:pt idx="36292">
                  <c:v>-1.26050420168066E-2</c:v>
                </c:pt>
                <c:pt idx="36293">
                  <c:v>-1.26050420168066E-2</c:v>
                </c:pt>
                <c:pt idx="36294">
                  <c:v>-1.26050420168066E-2</c:v>
                </c:pt>
                <c:pt idx="36295">
                  <c:v>-1.26050420168066E-2</c:v>
                </c:pt>
                <c:pt idx="36296">
                  <c:v>-1.26050420168066E-2</c:v>
                </c:pt>
                <c:pt idx="36297">
                  <c:v>-1.26050420168066E-2</c:v>
                </c:pt>
                <c:pt idx="36298">
                  <c:v>-1.26050420168066E-2</c:v>
                </c:pt>
                <c:pt idx="36299">
                  <c:v>-1.1764705882352899E-2</c:v>
                </c:pt>
                <c:pt idx="36300">
                  <c:v>-1.1764705882352899E-2</c:v>
                </c:pt>
                <c:pt idx="36301">
                  <c:v>-1.1764705882352899E-2</c:v>
                </c:pt>
                <c:pt idx="36302">
                  <c:v>-1.1764705882352899E-2</c:v>
                </c:pt>
                <c:pt idx="36303">
                  <c:v>-1.1764705882352899E-2</c:v>
                </c:pt>
                <c:pt idx="36304">
                  <c:v>-1.1764705882352899E-2</c:v>
                </c:pt>
                <c:pt idx="36305">
                  <c:v>-1.1764705882352899E-2</c:v>
                </c:pt>
                <c:pt idx="36306">
                  <c:v>-1.1764705882352899E-2</c:v>
                </c:pt>
                <c:pt idx="36307">
                  <c:v>-1.1764705882352899E-2</c:v>
                </c:pt>
                <c:pt idx="36308">
                  <c:v>-1.1764705882352899E-2</c:v>
                </c:pt>
                <c:pt idx="36309">
                  <c:v>-1.1764705882352899E-2</c:v>
                </c:pt>
                <c:pt idx="36310">
                  <c:v>-1.1764705882352899E-2</c:v>
                </c:pt>
                <c:pt idx="36311">
                  <c:v>-1.1764705882352899E-2</c:v>
                </c:pt>
                <c:pt idx="36312">
                  <c:v>-1.1764705882352899E-2</c:v>
                </c:pt>
                <c:pt idx="36313">
                  <c:v>-1.1764705882352899E-2</c:v>
                </c:pt>
                <c:pt idx="36314">
                  <c:v>-1.1764705882352899E-2</c:v>
                </c:pt>
                <c:pt idx="36315">
                  <c:v>-1.1764705882352899E-2</c:v>
                </c:pt>
                <c:pt idx="36316">
                  <c:v>-1.1764705882352899E-2</c:v>
                </c:pt>
                <c:pt idx="36317">
                  <c:v>-1.1764705882352899E-2</c:v>
                </c:pt>
                <c:pt idx="36318">
                  <c:v>-1.1764705882352899E-2</c:v>
                </c:pt>
                <c:pt idx="36319">
                  <c:v>-1.1764705882352899E-2</c:v>
                </c:pt>
                <c:pt idx="36320">
                  <c:v>-1.1764705882352899E-2</c:v>
                </c:pt>
                <c:pt idx="36321">
                  <c:v>-1.1764705882352899E-2</c:v>
                </c:pt>
                <c:pt idx="36322">
                  <c:v>-1.1764705882352899E-2</c:v>
                </c:pt>
                <c:pt idx="36323">
                  <c:v>-1.1764705882352899E-2</c:v>
                </c:pt>
                <c:pt idx="36324">
                  <c:v>-1.1764705882352899E-2</c:v>
                </c:pt>
                <c:pt idx="36325">
                  <c:v>-1.1764705882352899E-2</c:v>
                </c:pt>
                <c:pt idx="36326">
                  <c:v>-1.1764705882352899E-2</c:v>
                </c:pt>
                <c:pt idx="36327">
                  <c:v>-1.1764705882352899E-2</c:v>
                </c:pt>
                <c:pt idx="36328">
                  <c:v>-1.1764705882352899E-2</c:v>
                </c:pt>
                <c:pt idx="36329">
                  <c:v>-1.1764705882352899E-2</c:v>
                </c:pt>
                <c:pt idx="36330">
                  <c:v>-1.1764705882352899E-2</c:v>
                </c:pt>
                <c:pt idx="36331">
                  <c:v>-1.09243697478991E-2</c:v>
                </c:pt>
                <c:pt idx="36332">
                  <c:v>-1.09243697478991E-2</c:v>
                </c:pt>
                <c:pt idx="36333">
                  <c:v>-1.09243697478991E-2</c:v>
                </c:pt>
                <c:pt idx="36334">
                  <c:v>-1.09243697478991E-2</c:v>
                </c:pt>
                <c:pt idx="36335">
                  <c:v>-1.09243697478991E-2</c:v>
                </c:pt>
                <c:pt idx="36336">
                  <c:v>-1.09243697478991E-2</c:v>
                </c:pt>
                <c:pt idx="36337">
                  <c:v>-1.09243697478991E-2</c:v>
                </c:pt>
                <c:pt idx="36338">
                  <c:v>-1.09243697478991E-2</c:v>
                </c:pt>
                <c:pt idx="36339">
                  <c:v>-1.09243697478991E-2</c:v>
                </c:pt>
                <c:pt idx="36340">
                  <c:v>-1.09243697478991E-2</c:v>
                </c:pt>
                <c:pt idx="36341">
                  <c:v>-1.09243697478991E-2</c:v>
                </c:pt>
                <c:pt idx="36342">
                  <c:v>-1.09243697478991E-2</c:v>
                </c:pt>
                <c:pt idx="36343">
                  <c:v>-1.09243697478991E-2</c:v>
                </c:pt>
                <c:pt idx="36344">
                  <c:v>-1.09243697478991E-2</c:v>
                </c:pt>
                <c:pt idx="36345">
                  <c:v>-1.09243697478991E-2</c:v>
                </c:pt>
                <c:pt idx="36346">
                  <c:v>-1.09243697478991E-2</c:v>
                </c:pt>
                <c:pt idx="36347">
                  <c:v>-1.09243697478991E-2</c:v>
                </c:pt>
                <c:pt idx="36348">
                  <c:v>-1.09243697478991E-2</c:v>
                </c:pt>
                <c:pt idx="36349">
                  <c:v>-1.09243697478991E-2</c:v>
                </c:pt>
                <c:pt idx="36350">
                  <c:v>-1.09243697478991E-2</c:v>
                </c:pt>
                <c:pt idx="36351">
                  <c:v>-1.09243697478991E-2</c:v>
                </c:pt>
                <c:pt idx="36352">
                  <c:v>-1.09243697478991E-2</c:v>
                </c:pt>
                <c:pt idx="36353">
                  <c:v>-1.09243697478991E-2</c:v>
                </c:pt>
                <c:pt idx="36354">
                  <c:v>-1.09243697478991E-2</c:v>
                </c:pt>
                <c:pt idx="36355">
                  <c:v>-1.09243697478991E-2</c:v>
                </c:pt>
                <c:pt idx="36356">
                  <c:v>-1.09243697478991E-2</c:v>
                </c:pt>
                <c:pt idx="36357">
                  <c:v>-1.09243697478991E-2</c:v>
                </c:pt>
                <c:pt idx="36358">
                  <c:v>-1.09243697478991E-2</c:v>
                </c:pt>
                <c:pt idx="36359">
                  <c:v>-1.09243697478991E-2</c:v>
                </c:pt>
                <c:pt idx="36360">
                  <c:v>-1.09243697478991E-2</c:v>
                </c:pt>
                <c:pt idx="36361">
                  <c:v>-1.09243697478991E-2</c:v>
                </c:pt>
                <c:pt idx="36362">
                  <c:v>-1.09243697478991E-2</c:v>
                </c:pt>
                <c:pt idx="36363">
                  <c:v>-1.09243697478991E-2</c:v>
                </c:pt>
                <c:pt idx="36364">
                  <c:v>-1.09243697478991E-2</c:v>
                </c:pt>
                <c:pt idx="36365">
                  <c:v>-1.09243697478991E-2</c:v>
                </c:pt>
                <c:pt idx="36366">
                  <c:v>-1.09243697478991E-2</c:v>
                </c:pt>
                <c:pt idx="36367">
                  <c:v>-1.09243697478991E-2</c:v>
                </c:pt>
                <c:pt idx="36368">
                  <c:v>-1.09243697478991E-2</c:v>
                </c:pt>
                <c:pt idx="36369">
                  <c:v>-1.09243697478991E-2</c:v>
                </c:pt>
                <c:pt idx="36370">
                  <c:v>-1.09243697478991E-2</c:v>
                </c:pt>
                <c:pt idx="36371">
                  <c:v>-1.09243697478991E-2</c:v>
                </c:pt>
                <c:pt idx="36372">
                  <c:v>-1.09243697478991E-2</c:v>
                </c:pt>
                <c:pt idx="36373">
                  <c:v>-1.09243697478991E-2</c:v>
                </c:pt>
                <c:pt idx="36374">
                  <c:v>-1.09243697478991E-2</c:v>
                </c:pt>
                <c:pt idx="36375">
                  <c:v>-1.09243697478991E-2</c:v>
                </c:pt>
                <c:pt idx="36376">
                  <c:v>-1.09243697478991E-2</c:v>
                </c:pt>
                <c:pt idx="36377">
                  <c:v>-1.09243697478991E-2</c:v>
                </c:pt>
                <c:pt idx="36378">
                  <c:v>-1.09243697478991E-2</c:v>
                </c:pt>
                <c:pt idx="36379">
                  <c:v>-1.09243697478991E-2</c:v>
                </c:pt>
                <c:pt idx="36380">
                  <c:v>-1.09243697478991E-2</c:v>
                </c:pt>
                <c:pt idx="36381">
                  <c:v>-1.09243697478991E-2</c:v>
                </c:pt>
                <c:pt idx="36382">
                  <c:v>-1.09243697478991E-2</c:v>
                </c:pt>
                <c:pt idx="36383">
                  <c:v>-1.09243697478991E-2</c:v>
                </c:pt>
                <c:pt idx="36384">
                  <c:v>-1.09243697478991E-2</c:v>
                </c:pt>
                <c:pt idx="36385">
                  <c:v>-1.09243697478991E-2</c:v>
                </c:pt>
                <c:pt idx="36386">
                  <c:v>-1.09243697478991E-2</c:v>
                </c:pt>
                <c:pt idx="36387">
                  <c:v>-1.09243697478991E-2</c:v>
                </c:pt>
                <c:pt idx="36388">
                  <c:v>-1.09243697478991E-2</c:v>
                </c:pt>
                <c:pt idx="36389">
                  <c:v>-1.09243697478991E-2</c:v>
                </c:pt>
                <c:pt idx="36390">
                  <c:v>-1.09243697478991E-2</c:v>
                </c:pt>
                <c:pt idx="36391">
                  <c:v>-1.09243697478991E-2</c:v>
                </c:pt>
                <c:pt idx="36392">
                  <c:v>-1.09243697478991E-2</c:v>
                </c:pt>
                <c:pt idx="36393">
                  <c:v>-1.09243697478991E-2</c:v>
                </c:pt>
                <c:pt idx="36394">
                  <c:v>-1.09243697478991E-2</c:v>
                </c:pt>
                <c:pt idx="36395">
                  <c:v>-1.09243697478991E-2</c:v>
                </c:pt>
                <c:pt idx="36396">
                  <c:v>-1.09243697478991E-2</c:v>
                </c:pt>
                <c:pt idx="36397">
                  <c:v>-1.09243697478991E-2</c:v>
                </c:pt>
                <c:pt idx="36398">
                  <c:v>-1.09243697478991E-2</c:v>
                </c:pt>
                <c:pt idx="36399">
                  <c:v>-1.09243697478991E-2</c:v>
                </c:pt>
                <c:pt idx="36400">
                  <c:v>-1.09243697478991E-2</c:v>
                </c:pt>
                <c:pt idx="36401">
                  <c:v>-1.09243697478991E-2</c:v>
                </c:pt>
                <c:pt idx="36402">
                  <c:v>-1.09243697478991E-2</c:v>
                </c:pt>
                <c:pt idx="36403">
                  <c:v>-1.09243697478991E-2</c:v>
                </c:pt>
                <c:pt idx="36404">
                  <c:v>-1.09243697478991E-2</c:v>
                </c:pt>
                <c:pt idx="36405">
                  <c:v>-1.09243697478991E-2</c:v>
                </c:pt>
                <c:pt idx="36406">
                  <c:v>-1.09243697478991E-2</c:v>
                </c:pt>
                <c:pt idx="36407">
                  <c:v>-1.09243697478991E-2</c:v>
                </c:pt>
                <c:pt idx="36408">
                  <c:v>-1.09243697478991E-2</c:v>
                </c:pt>
                <c:pt idx="36409">
                  <c:v>-1.09243697478991E-2</c:v>
                </c:pt>
                <c:pt idx="36410">
                  <c:v>-1.09243697478991E-2</c:v>
                </c:pt>
                <c:pt idx="36411">
                  <c:v>-1.09243697478991E-2</c:v>
                </c:pt>
                <c:pt idx="36412">
                  <c:v>-1.09243697478991E-2</c:v>
                </c:pt>
                <c:pt idx="36413">
                  <c:v>-1.09243697478991E-2</c:v>
                </c:pt>
                <c:pt idx="36414">
                  <c:v>-1.09243697478991E-2</c:v>
                </c:pt>
                <c:pt idx="36415">
                  <c:v>-1.09243697478991E-2</c:v>
                </c:pt>
                <c:pt idx="36416">
                  <c:v>-1.09243697478991E-2</c:v>
                </c:pt>
                <c:pt idx="36417">
                  <c:v>-1.09243697478991E-2</c:v>
                </c:pt>
                <c:pt idx="36418">
                  <c:v>-1.09243697478991E-2</c:v>
                </c:pt>
                <c:pt idx="36419">
                  <c:v>-1.09243697478991E-2</c:v>
                </c:pt>
                <c:pt idx="36420">
                  <c:v>-1.09243697478991E-2</c:v>
                </c:pt>
                <c:pt idx="36421">
                  <c:v>-1.09243697478991E-2</c:v>
                </c:pt>
                <c:pt idx="36422">
                  <c:v>-1.09243697478991E-2</c:v>
                </c:pt>
                <c:pt idx="36423">
                  <c:v>-1.09243697478991E-2</c:v>
                </c:pt>
                <c:pt idx="36424">
                  <c:v>-1.09243697478991E-2</c:v>
                </c:pt>
                <c:pt idx="36425">
                  <c:v>-1.09243697478991E-2</c:v>
                </c:pt>
                <c:pt idx="36426">
                  <c:v>-1.09243697478991E-2</c:v>
                </c:pt>
                <c:pt idx="36427">
                  <c:v>-1.09243697478991E-2</c:v>
                </c:pt>
                <c:pt idx="36428">
                  <c:v>-1.09243697478991E-2</c:v>
                </c:pt>
                <c:pt idx="36429">
                  <c:v>-1.09243697478991E-2</c:v>
                </c:pt>
                <c:pt idx="36430">
                  <c:v>-1.09243697478991E-2</c:v>
                </c:pt>
                <c:pt idx="36431">
                  <c:v>-1.09243697478991E-2</c:v>
                </c:pt>
                <c:pt idx="36432">
                  <c:v>-1.09243697478991E-2</c:v>
                </c:pt>
                <c:pt idx="36433">
                  <c:v>-1.09243697478991E-2</c:v>
                </c:pt>
                <c:pt idx="36434">
                  <c:v>-1.09243697478991E-2</c:v>
                </c:pt>
                <c:pt idx="36435">
                  <c:v>-1.09243697478991E-2</c:v>
                </c:pt>
                <c:pt idx="36436">
                  <c:v>-1.09243697478991E-2</c:v>
                </c:pt>
                <c:pt idx="36437">
                  <c:v>-1.0084033613445301E-2</c:v>
                </c:pt>
                <c:pt idx="36438">
                  <c:v>-1.0084033613445301E-2</c:v>
                </c:pt>
                <c:pt idx="36439">
                  <c:v>-1.0084033613445301E-2</c:v>
                </c:pt>
                <c:pt idx="36440">
                  <c:v>-1.0084033613445301E-2</c:v>
                </c:pt>
                <c:pt idx="36441">
                  <c:v>-1.0084033613445301E-2</c:v>
                </c:pt>
                <c:pt idx="36442">
                  <c:v>-1.0084033613445301E-2</c:v>
                </c:pt>
                <c:pt idx="36443">
                  <c:v>-1.0084033613445301E-2</c:v>
                </c:pt>
                <c:pt idx="36444">
                  <c:v>-1.0084033613445301E-2</c:v>
                </c:pt>
                <c:pt idx="36445">
                  <c:v>-1.0084033613445301E-2</c:v>
                </c:pt>
                <c:pt idx="36446">
                  <c:v>-1.0084033613445301E-2</c:v>
                </c:pt>
                <c:pt idx="36447">
                  <c:v>-1.0084033613445301E-2</c:v>
                </c:pt>
                <c:pt idx="36448">
                  <c:v>-1.0084033613445301E-2</c:v>
                </c:pt>
                <c:pt idx="36449">
                  <c:v>-1.0084033613445301E-2</c:v>
                </c:pt>
                <c:pt idx="36450">
                  <c:v>-1.0084033613445301E-2</c:v>
                </c:pt>
                <c:pt idx="36451">
                  <c:v>-1.0084033613445301E-2</c:v>
                </c:pt>
                <c:pt idx="36452">
                  <c:v>-1.0084033613445301E-2</c:v>
                </c:pt>
                <c:pt idx="36453">
                  <c:v>-1.0084033613445301E-2</c:v>
                </c:pt>
                <c:pt idx="36454">
                  <c:v>-1.0084033613445301E-2</c:v>
                </c:pt>
                <c:pt idx="36455">
                  <c:v>-1.0084033613445301E-2</c:v>
                </c:pt>
                <c:pt idx="36456">
                  <c:v>-1.0084033613445301E-2</c:v>
                </c:pt>
                <c:pt idx="36457">
                  <c:v>-1.0084033613445301E-2</c:v>
                </c:pt>
                <c:pt idx="36458">
                  <c:v>-1.0084033613445301E-2</c:v>
                </c:pt>
                <c:pt idx="36459">
                  <c:v>-1.0084033613445301E-2</c:v>
                </c:pt>
                <c:pt idx="36460">
                  <c:v>-1.0084033613445301E-2</c:v>
                </c:pt>
                <c:pt idx="36461">
                  <c:v>-1.0084033613445301E-2</c:v>
                </c:pt>
                <c:pt idx="36462">
                  <c:v>-1.0084033613445301E-2</c:v>
                </c:pt>
                <c:pt idx="36463">
                  <c:v>-1.0084033613445301E-2</c:v>
                </c:pt>
                <c:pt idx="36464">
                  <c:v>-1.0084033613445301E-2</c:v>
                </c:pt>
                <c:pt idx="36465">
                  <c:v>-1.0084033613445301E-2</c:v>
                </c:pt>
                <c:pt idx="36466">
                  <c:v>-1.0084033613445301E-2</c:v>
                </c:pt>
                <c:pt idx="36467">
                  <c:v>-1.0084033613445301E-2</c:v>
                </c:pt>
                <c:pt idx="36468">
                  <c:v>-1.0084033613445301E-2</c:v>
                </c:pt>
                <c:pt idx="36469">
                  <c:v>-1.0084033613445301E-2</c:v>
                </c:pt>
                <c:pt idx="36470">
                  <c:v>-1.0084033613445301E-2</c:v>
                </c:pt>
                <c:pt idx="36471">
                  <c:v>-1.0084033613445301E-2</c:v>
                </c:pt>
                <c:pt idx="36472">
                  <c:v>-1.0084033613445301E-2</c:v>
                </c:pt>
                <c:pt idx="36473">
                  <c:v>-1.0084033613445301E-2</c:v>
                </c:pt>
                <c:pt idx="36474">
                  <c:v>-1.0084033613445301E-2</c:v>
                </c:pt>
                <c:pt idx="36475">
                  <c:v>-1.0084033613445301E-2</c:v>
                </c:pt>
                <c:pt idx="36476">
                  <c:v>-1.0084033613445301E-2</c:v>
                </c:pt>
                <c:pt idx="36477">
                  <c:v>-1.0084033613445301E-2</c:v>
                </c:pt>
                <c:pt idx="36478">
                  <c:v>-1.0084033613445301E-2</c:v>
                </c:pt>
                <c:pt idx="36479">
                  <c:v>-1.0084033613445301E-2</c:v>
                </c:pt>
                <c:pt idx="36480">
                  <c:v>-1.0084033613445301E-2</c:v>
                </c:pt>
                <c:pt idx="36481">
                  <c:v>-1.0084033613445301E-2</c:v>
                </c:pt>
                <c:pt idx="36482">
                  <c:v>-1.0084033613445301E-2</c:v>
                </c:pt>
                <c:pt idx="36483">
                  <c:v>-1.0084033613445301E-2</c:v>
                </c:pt>
                <c:pt idx="36484">
                  <c:v>-1.0084033613445301E-2</c:v>
                </c:pt>
                <c:pt idx="36485">
                  <c:v>-1.0084033613445301E-2</c:v>
                </c:pt>
                <c:pt idx="36486">
                  <c:v>-1.0084033613445301E-2</c:v>
                </c:pt>
                <c:pt idx="36487">
                  <c:v>-1.0084033613445301E-2</c:v>
                </c:pt>
                <c:pt idx="36488">
                  <c:v>-1.0084033613445301E-2</c:v>
                </c:pt>
                <c:pt idx="36489">
                  <c:v>-1.0084033613445301E-2</c:v>
                </c:pt>
                <c:pt idx="36490">
                  <c:v>-1.0084033613445301E-2</c:v>
                </c:pt>
                <c:pt idx="36491">
                  <c:v>-1.0084033613445301E-2</c:v>
                </c:pt>
                <c:pt idx="36492">
                  <c:v>-1.0084033613445301E-2</c:v>
                </c:pt>
                <c:pt idx="36493">
                  <c:v>-1.0084033613445301E-2</c:v>
                </c:pt>
                <c:pt idx="36494">
                  <c:v>-1.0084033613445301E-2</c:v>
                </c:pt>
                <c:pt idx="36495">
                  <c:v>-1.0084033613445301E-2</c:v>
                </c:pt>
                <c:pt idx="36496">
                  <c:v>-1.0084033613445301E-2</c:v>
                </c:pt>
                <c:pt idx="36497">
                  <c:v>-1.0084033613445301E-2</c:v>
                </c:pt>
                <c:pt idx="36498">
                  <c:v>-1.0084033613445301E-2</c:v>
                </c:pt>
                <c:pt idx="36499">
                  <c:v>-1.0084033613445301E-2</c:v>
                </c:pt>
                <c:pt idx="36500">
                  <c:v>-1.0084033613445301E-2</c:v>
                </c:pt>
                <c:pt idx="36501">
                  <c:v>-1.0084033613445301E-2</c:v>
                </c:pt>
                <c:pt idx="36502">
                  <c:v>-1.0084033613445301E-2</c:v>
                </c:pt>
                <c:pt idx="36503">
                  <c:v>-1.0084033613445301E-2</c:v>
                </c:pt>
                <c:pt idx="36504">
                  <c:v>-1.0084033613445301E-2</c:v>
                </c:pt>
                <c:pt idx="36505">
                  <c:v>-1.0084033613445301E-2</c:v>
                </c:pt>
                <c:pt idx="36506">
                  <c:v>-1.09243697478991E-2</c:v>
                </c:pt>
                <c:pt idx="36507">
                  <c:v>-1.09243697478991E-2</c:v>
                </c:pt>
                <c:pt idx="36508">
                  <c:v>-1.09243697478991E-2</c:v>
                </c:pt>
                <c:pt idx="36509">
                  <c:v>-1.09243697478991E-2</c:v>
                </c:pt>
                <c:pt idx="36510">
                  <c:v>-1.09243697478991E-2</c:v>
                </c:pt>
                <c:pt idx="36511">
                  <c:v>-1.09243697478991E-2</c:v>
                </c:pt>
                <c:pt idx="36512">
                  <c:v>-1.09243697478991E-2</c:v>
                </c:pt>
                <c:pt idx="36513">
                  <c:v>-1.09243697478991E-2</c:v>
                </c:pt>
                <c:pt idx="36514">
                  <c:v>-1.09243697478991E-2</c:v>
                </c:pt>
                <c:pt idx="36515">
                  <c:v>-1.09243697478991E-2</c:v>
                </c:pt>
                <c:pt idx="36516">
                  <c:v>-1.09243697478991E-2</c:v>
                </c:pt>
                <c:pt idx="36517">
                  <c:v>-1.09243697478991E-2</c:v>
                </c:pt>
                <c:pt idx="36518">
                  <c:v>-1.09243697478991E-2</c:v>
                </c:pt>
                <c:pt idx="36519">
                  <c:v>-1.09243697478991E-2</c:v>
                </c:pt>
                <c:pt idx="36520">
                  <c:v>-1.09243697478991E-2</c:v>
                </c:pt>
                <c:pt idx="36521">
                  <c:v>-1.09243697478991E-2</c:v>
                </c:pt>
                <c:pt idx="36522">
                  <c:v>-1.09243697478991E-2</c:v>
                </c:pt>
                <c:pt idx="36523">
                  <c:v>-1.09243697478991E-2</c:v>
                </c:pt>
                <c:pt idx="36524">
                  <c:v>-1.09243697478991E-2</c:v>
                </c:pt>
                <c:pt idx="36525">
                  <c:v>-1.09243697478991E-2</c:v>
                </c:pt>
                <c:pt idx="36526">
                  <c:v>-1.09243697478991E-2</c:v>
                </c:pt>
                <c:pt idx="36527">
                  <c:v>-1.09243697478991E-2</c:v>
                </c:pt>
                <c:pt idx="36528">
                  <c:v>-1.09243697478991E-2</c:v>
                </c:pt>
                <c:pt idx="36529">
                  <c:v>-1.09243697478991E-2</c:v>
                </c:pt>
                <c:pt idx="36530">
                  <c:v>-1.09243697478991E-2</c:v>
                </c:pt>
                <c:pt idx="36531">
                  <c:v>-1.09243697478991E-2</c:v>
                </c:pt>
                <c:pt idx="36532">
                  <c:v>-1.09243697478991E-2</c:v>
                </c:pt>
                <c:pt idx="36533">
                  <c:v>-1.09243697478991E-2</c:v>
                </c:pt>
                <c:pt idx="36534">
                  <c:v>-1.09243697478991E-2</c:v>
                </c:pt>
                <c:pt idx="36535">
                  <c:v>-1.09243697478991E-2</c:v>
                </c:pt>
                <c:pt idx="36536">
                  <c:v>-1.0084033613445301E-2</c:v>
                </c:pt>
                <c:pt idx="36537">
                  <c:v>-1.0084033613445301E-2</c:v>
                </c:pt>
                <c:pt idx="36538">
                  <c:v>-1.0084033613445301E-2</c:v>
                </c:pt>
                <c:pt idx="36539">
                  <c:v>-1.0084033613445301E-2</c:v>
                </c:pt>
                <c:pt idx="36540">
                  <c:v>-1.0084033613445301E-2</c:v>
                </c:pt>
                <c:pt idx="36541">
                  <c:v>-1.0084033613445301E-2</c:v>
                </c:pt>
                <c:pt idx="36542">
                  <c:v>-1.0084033613445301E-2</c:v>
                </c:pt>
                <c:pt idx="36543">
                  <c:v>-1.0084033613445301E-2</c:v>
                </c:pt>
                <c:pt idx="36544">
                  <c:v>-1.0084033613445301E-2</c:v>
                </c:pt>
                <c:pt idx="36545">
                  <c:v>-1.0084033613445301E-2</c:v>
                </c:pt>
                <c:pt idx="36546">
                  <c:v>-1.0084033613445301E-2</c:v>
                </c:pt>
                <c:pt idx="36547">
                  <c:v>-1.0084033613445301E-2</c:v>
                </c:pt>
                <c:pt idx="36548">
                  <c:v>-1.0084033613445301E-2</c:v>
                </c:pt>
                <c:pt idx="36549">
                  <c:v>-1.0084033613445301E-2</c:v>
                </c:pt>
                <c:pt idx="36550">
                  <c:v>-1.0084033613445301E-2</c:v>
                </c:pt>
                <c:pt idx="36551">
                  <c:v>-1.0084033613445301E-2</c:v>
                </c:pt>
                <c:pt idx="36552">
                  <c:v>-1.0084033613445301E-2</c:v>
                </c:pt>
                <c:pt idx="36553">
                  <c:v>-1.0084033613445301E-2</c:v>
                </c:pt>
                <c:pt idx="36554">
                  <c:v>-1.0084033613445301E-2</c:v>
                </c:pt>
                <c:pt idx="36555">
                  <c:v>-1.0084033613445301E-2</c:v>
                </c:pt>
                <c:pt idx="36556">
                  <c:v>-1.0084033613445301E-2</c:v>
                </c:pt>
                <c:pt idx="36557">
                  <c:v>-1.0084033613445301E-2</c:v>
                </c:pt>
                <c:pt idx="36558">
                  <c:v>-1.0084033613445301E-2</c:v>
                </c:pt>
                <c:pt idx="36559">
                  <c:v>-1.0084033613445301E-2</c:v>
                </c:pt>
                <c:pt idx="36560">
                  <c:v>-1.0084033613445301E-2</c:v>
                </c:pt>
                <c:pt idx="36561">
                  <c:v>-1.0084033613445301E-2</c:v>
                </c:pt>
                <c:pt idx="36562">
                  <c:v>-1.0084033613445301E-2</c:v>
                </c:pt>
                <c:pt idx="36563">
                  <c:v>-1.0084033613445301E-2</c:v>
                </c:pt>
                <c:pt idx="36564">
                  <c:v>-1.0084033613445301E-2</c:v>
                </c:pt>
                <c:pt idx="36565">
                  <c:v>-1.0084033613445301E-2</c:v>
                </c:pt>
                <c:pt idx="36566">
                  <c:v>-1.0084033613445301E-2</c:v>
                </c:pt>
                <c:pt idx="36567">
                  <c:v>-1.0084033613445301E-2</c:v>
                </c:pt>
                <c:pt idx="36568">
                  <c:v>-1.0084033613445301E-2</c:v>
                </c:pt>
                <c:pt idx="36569">
                  <c:v>-1.0084033613445301E-2</c:v>
                </c:pt>
                <c:pt idx="36570">
                  <c:v>-1.0084033613445301E-2</c:v>
                </c:pt>
                <c:pt idx="36571">
                  <c:v>-1.0084033613445301E-2</c:v>
                </c:pt>
                <c:pt idx="36572">
                  <c:v>-1.0084033613445301E-2</c:v>
                </c:pt>
                <c:pt idx="36573">
                  <c:v>-1.0084033613445301E-2</c:v>
                </c:pt>
                <c:pt idx="36574">
                  <c:v>-1.0084033613445301E-2</c:v>
                </c:pt>
                <c:pt idx="36575">
                  <c:v>-1.0084033613445301E-2</c:v>
                </c:pt>
                <c:pt idx="36576">
                  <c:v>-1.0084033613445301E-2</c:v>
                </c:pt>
                <c:pt idx="36577">
                  <c:v>-1.0084033613445301E-2</c:v>
                </c:pt>
                <c:pt idx="36578">
                  <c:v>-9.2436974789915603E-3</c:v>
                </c:pt>
                <c:pt idx="36579">
                  <c:v>-9.2436974789915603E-3</c:v>
                </c:pt>
                <c:pt idx="36580">
                  <c:v>-9.2436974789915603E-3</c:v>
                </c:pt>
                <c:pt idx="36581">
                  <c:v>-9.2436974789915603E-3</c:v>
                </c:pt>
                <c:pt idx="36582">
                  <c:v>-9.2436974789915603E-3</c:v>
                </c:pt>
                <c:pt idx="36583">
                  <c:v>-9.2436974789915603E-3</c:v>
                </c:pt>
                <c:pt idx="36584">
                  <c:v>-9.2436974789915603E-3</c:v>
                </c:pt>
                <c:pt idx="36585">
                  <c:v>-9.2436974789915603E-3</c:v>
                </c:pt>
                <c:pt idx="36586">
                  <c:v>-9.2436974789915603E-3</c:v>
                </c:pt>
                <c:pt idx="36587">
                  <c:v>-9.2436974789915603E-3</c:v>
                </c:pt>
                <c:pt idx="36588">
                  <c:v>-9.2436974789915603E-3</c:v>
                </c:pt>
                <c:pt idx="36589">
                  <c:v>-9.2436974789915603E-3</c:v>
                </c:pt>
                <c:pt idx="36590">
                  <c:v>-9.2436974789915603E-3</c:v>
                </c:pt>
                <c:pt idx="36591">
                  <c:v>-9.2436974789915603E-3</c:v>
                </c:pt>
                <c:pt idx="36592">
                  <c:v>-9.2436974789915603E-3</c:v>
                </c:pt>
                <c:pt idx="36593">
                  <c:v>-9.2436974789915603E-3</c:v>
                </c:pt>
                <c:pt idx="36594">
                  <c:v>-9.2436974789915603E-3</c:v>
                </c:pt>
                <c:pt idx="36595">
                  <c:v>-9.2436974789915603E-3</c:v>
                </c:pt>
                <c:pt idx="36596">
                  <c:v>-9.2436974789915603E-3</c:v>
                </c:pt>
                <c:pt idx="36597">
                  <c:v>-9.2436974789915603E-3</c:v>
                </c:pt>
                <c:pt idx="36598">
                  <c:v>-9.2436974789915603E-3</c:v>
                </c:pt>
                <c:pt idx="36599">
                  <c:v>-9.2436974789915603E-3</c:v>
                </c:pt>
                <c:pt idx="36600">
                  <c:v>-9.2436974789915603E-3</c:v>
                </c:pt>
                <c:pt idx="36601">
                  <c:v>-9.2436974789915603E-3</c:v>
                </c:pt>
                <c:pt idx="36602">
                  <c:v>-9.2436974789915603E-3</c:v>
                </c:pt>
                <c:pt idx="36603">
                  <c:v>-9.2436974789915603E-3</c:v>
                </c:pt>
                <c:pt idx="36604">
                  <c:v>-9.2436974789915603E-3</c:v>
                </c:pt>
                <c:pt idx="36605">
                  <c:v>-9.2436974789915603E-3</c:v>
                </c:pt>
                <c:pt idx="36606">
                  <c:v>-9.2436974789915603E-3</c:v>
                </c:pt>
                <c:pt idx="36607">
                  <c:v>-9.2436974789915603E-3</c:v>
                </c:pt>
                <c:pt idx="36608">
                  <c:v>-9.2436974789915603E-3</c:v>
                </c:pt>
                <c:pt idx="36609">
                  <c:v>-9.2436974789915603E-3</c:v>
                </c:pt>
                <c:pt idx="36610">
                  <c:v>-9.2436974789915603E-3</c:v>
                </c:pt>
                <c:pt idx="36611">
                  <c:v>-8.4033613445377801E-3</c:v>
                </c:pt>
                <c:pt idx="36612">
                  <c:v>-8.4033613445377801E-3</c:v>
                </c:pt>
                <c:pt idx="36613">
                  <c:v>-8.4033613445377801E-3</c:v>
                </c:pt>
                <c:pt idx="36614">
                  <c:v>-8.4033613445377801E-3</c:v>
                </c:pt>
                <c:pt idx="36615">
                  <c:v>-8.4033613445377801E-3</c:v>
                </c:pt>
                <c:pt idx="36616">
                  <c:v>-9.2436974789915603E-3</c:v>
                </c:pt>
                <c:pt idx="36617">
                  <c:v>-9.2436974789915603E-3</c:v>
                </c:pt>
                <c:pt idx="36618">
                  <c:v>-9.2436974789915603E-3</c:v>
                </c:pt>
                <c:pt idx="36619">
                  <c:v>-9.2436974789915603E-3</c:v>
                </c:pt>
                <c:pt idx="36620">
                  <c:v>-9.2436974789915603E-3</c:v>
                </c:pt>
                <c:pt idx="36621">
                  <c:v>-9.2436974789915603E-3</c:v>
                </c:pt>
                <c:pt idx="36622">
                  <c:v>-9.2436974789915603E-3</c:v>
                </c:pt>
                <c:pt idx="36623">
                  <c:v>-9.2436974789915603E-3</c:v>
                </c:pt>
                <c:pt idx="36624">
                  <c:v>-9.2436974789915603E-3</c:v>
                </c:pt>
                <c:pt idx="36625">
                  <c:v>-9.2436974789915603E-3</c:v>
                </c:pt>
                <c:pt idx="36626">
                  <c:v>-9.2436974789915603E-3</c:v>
                </c:pt>
                <c:pt idx="36627">
                  <c:v>-9.2436974789915603E-3</c:v>
                </c:pt>
                <c:pt idx="36628">
                  <c:v>-9.2436974789915603E-3</c:v>
                </c:pt>
                <c:pt idx="36629">
                  <c:v>-9.2436974789915603E-3</c:v>
                </c:pt>
                <c:pt idx="36630">
                  <c:v>-9.2436974789915603E-3</c:v>
                </c:pt>
                <c:pt idx="36631">
                  <c:v>-9.2436974789915603E-3</c:v>
                </c:pt>
                <c:pt idx="36632">
                  <c:v>-9.2436974789915603E-3</c:v>
                </c:pt>
                <c:pt idx="36633">
                  <c:v>-9.2436974789915603E-3</c:v>
                </c:pt>
                <c:pt idx="36634">
                  <c:v>-9.2436974789915603E-3</c:v>
                </c:pt>
                <c:pt idx="36635">
                  <c:v>-9.2436974789915603E-3</c:v>
                </c:pt>
                <c:pt idx="36636">
                  <c:v>-9.2436974789915603E-3</c:v>
                </c:pt>
                <c:pt idx="36637">
                  <c:v>-9.2436974789915603E-3</c:v>
                </c:pt>
                <c:pt idx="36638">
                  <c:v>-9.2436974789915603E-3</c:v>
                </c:pt>
                <c:pt idx="36639">
                  <c:v>-9.2436974789915603E-3</c:v>
                </c:pt>
                <c:pt idx="36640">
                  <c:v>-9.2436974789915603E-3</c:v>
                </c:pt>
                <c:pt idx="36641">
                  <c:v>-9.2436974789915603E-3</c:v>
                </c:pt>
                <c:pt idx="36642">
                  <c:v>-9.2436974789915603E-3</c:v>
                </c:pt>
                <c:pt idx="36643">
                  <c:v>-9.2436974789915603E-3</c:v>
                </c:pt>
                <c:pt idx="36644">
                  <c:v>-9.2436974789915603E-3</c:v>
                </c:pt>
                <c:pt idx="36645">
                  <c:v>-8.4033613445377801E-3</c:v>
                </c:pt>
                <c:pt idx="36646">
                  <c:v>-8.4033613445377801E-3</c:v>
                </c:pt>
                <c:pt idx="36647">
                  <c:v>-8.4033613445377801E-3</c:v>
                </c:pt>
                <c:pt idx="36648">
                  <c:v>-8.4033613445377801E-3</c:v>
                </c:pt>
                <c:pt idx="36649">
                  <c:v>-8.4033613445377801E-3</c:v>
                </c:pt>
                <c:pt idx="36650">
                  <c:v>-8.4033613445377801E-3</c:v>
                </c:pt>
                <c:pt idx="36651">
                  <c:v>-8.4033613445377801E-3</c:v>
                </c:pt>
                <c:pt idx="36652">
                  <c:v>-8.4033613445377801E-3</c:v>
                </c:pt>
                <c:pt idx="36653">
                  <c:v>-8.4033613445377801E-3</c:v>
                </c:pt>
                <c:pt idx="36654">
                  <c:v>-8.4033613445377801E-3</c:v>
                </c:pt>
                <c:pt idx="36655">
                  <c:v>-8.4033613445377801E-3</c:v>
                </c:pt>
                <c:pt idx="36656">
                  <c:v>-8.4033613445377801E-3</c:v>
                </c:pt>
                <c:pt idx="36657">
                  <c:v>-8.4033613445377801E-3</c:v>
                </c:pt>
                <c:pt idx="36658">
                  <c:v>-8.4033613445377801E-3</c:v>
                </c:pt>
                <c:pt idx="36659">
                  <c:v>-8.4033613445377801E-3</c:v>
                </c:pt>
                <c:pt idx="36660">
                  <c:v>-8.4033613445377801E-3</c:v>
                </c:pt>
                <c:pt idx="36661">
                  <c:v>-8.4033613445377801E-3</c:v>
                </c:pt>
                <c:pt idx="36662">
                  <c:v>-8.4033613445377801E-3</c:v>
                </c:pt>
                <c:pt idx="36663">
                  <c:v>-8.4033613445377801E-3</c:v>
                </c:pt>
                <c:pt idx="36664">
                  <c:v>-8.4033613445377801E-3</c:v>
                </c:pt>
                <c:pt idx="36665">
                  <c:v>-8.4033613445377801E-3</c:v>
                </c:pt>
                <c:pt idx="36666">
                  <c:v>-8.4033613445377801E-3</c:v>
                </c:pt>
                <c:pt idx="36667">
                  <c:v>-8.4033613445377801E-3</c:v>
                </c:pt>
                <c:pt idx="36668">
                  <c:v>-8.4033613445377801E-3</c:v>
                </c:pt>
                <c:pt idx="36669">
                  <c:v>-8.4033613445377801E-3</c:v>
                </c:pt>
                <c:pt idx="36670">
                  <c:v>-8.4033613445377801E-3</c:v>
                </c:pt>
                <c:pt idx="36671">
                  <c:v>-8.4033613445377801E-3</c:v>
                </c:pt>
                <c:pt idx="36672">
                  <c:v>-8.4033613445377801E-3</c:v>
                </c:pt>
                <c:pt idx="36673">
                  <c:v>-8.4033613445377801E-3</c:v>
                </c:pt>
                <c:pt idx="36674">
                  <c:v>-8.4033613445377801E-3</c:v>
                </c:pt>
                <c:pt idx="36675">
                  <c:v>-8.4033613445377801E-3</c:v>
                </c:pt>
                <c:pt idx="36676">
                  <c:v>-8.4033613445377801E-3</c:v>
                </c:pt>
                <c:pt idx="36677">
                  <c:v>-8.4033613445377801E-3</c:v>
                </c:pt>
                <c:pt idx="36678">
                  <c:v>-8.4033613445377801E-3</c:v>
                </c:pt>
                <c:pt idx="36679">
                  <c:v>-8.4033613445377801E-3</c:v>
                </c:pt>
                <c:pt idx="36680">
                  <c:v>-8.4033613445377801E-3</c:v>
                </c:pt>
                <c:pt idx="36681">
                  <c:v>-8.4033613445377801E-3</c:v>
                </c:pt>
                <c:pt idx="36682">
                  <c:v>-8.4033613445377801E-3</c:v>
                </c:pt>
                <c:pt idx="36683">
                  <c:v>-8.4033613445377801E-3</c:v>
                </c:pt>
                <c:pt idx="36684">
                  <c:v>-8.4033613445377801E-3</c:v>
                </c:pt>
                <c:pt idx="36685">
                  <c:v>-8.4033613445377801E-3</c:v>
                </c:pt>
                <c:pt idx="36686">
                  <c:v>-8.4033613445377801E-3</c:v>
                </c:pt>
                <c:pt idx="36687">
                  <c:v>-8.4033613445377801E-3</c:v>
                </c:pt>
                <c:pt idx="36688">
                  <c:v>-8.4033613445377801E-3</c:v>
                </c:pt>
                <c:pt idx="36689">
                  <c:v>-9.2436974789915603E-3</c:v>
                </c:pt>
                <c:pt idx="36690">
                  <c:v>-9.2436974789915603E-3</c:v>
                </c:pt>
                <c:pt idx="36691">
                  <c:v>-9.2436974789915603E-3</c:v>
                </c:pt>
                <c:pt idx="36692">
                  <c:v>-9.2436974789915603E-3</c:v>
                </c:pt>
                <c:pt idx="36693">
                  <c:v>-9.2436974789915603E-3</c:v>
                </c:pt>
                <c:pt idx="36694">
                  <c:v>-9.2436974789915603E-3</c:v>
                </c:pt>
                <c:pt idx="36695">
                  <c:v>-9.2436974789915603E-3</c:v>
                </c:pt>
                <c:pt idx="36696">
                  <c:v>-9.2436974789915603E-3</c:v>
                </c:pt>
                <c:pt idx="36697">
                  <c:v>-9.2436974789915603E-3</c:v>
                </c:pt>
                <c:pt idx="36698">
                  <c:v>-9.2436974789915603E-3</c:v>
                </c:pt>
                <c:pt idx="36699">
                  <c:v>-9.2436974789915603E-3</c:v>
                </c:pt>
                <c:pt idx="36700">
                  <c:v>-9.2436974789915603E-3</c:v>
                </c:pt>
                <c:pt idx="36701">
                  <c:v>-9.2436974789915603E-3</c:v>
                </c:pt>
                <c:pt idx="36702">
                  <c:v>-9.2436974789915603E-3</c:v>
                </c:pt>
                <c:pt idx="36703">
                  <c:v>-9.2436974789915603E-3</c:v>
                </c:pt>
                <c:pt idx="36704">
                  <c:v>-9.2436974789915603E-3</c:v>
                </c:pt>
                <c:pt idx="36705">
                  <c:v>-9.2436974789915603E-3</c:v>
                </c:pt>
                <c:pt idx="36706">
                  <c:v>-9.2436974789915603E-3</c:v>
                </c:pt>
                <c:pt idx="36707">
                  <c:v>-9.2436974789915603E-3</c:v>
                </c:pt>
                <c:pt idx="36708">
                  <c:v>-9.2436974789915603E-3</c:v>
                </c:pt>
                <c:pt idx="36709">
                  <c:v>-9.2436974789915603E-3</c:v>
                </c:pt>
                <c:pt idx="36710">
                  <c:v>-9.2436974789915603E-3</c:v>
                </c:pt>
                <c:pt idx="36711">
                  <c:v>-9.2436974789915603E-3</c:v>
                </c:pt>
                <c:pt idx="36712">
                  <c:v>-9.2436974789915603E-3</c:v>
                </c:pt>
                <c:pt idx="36713">
                  <c:v>-9.2436974789915603E-3</c:v>
                </c:pt>
                <c:pt idx="36714">
                  <c:v>-9.2436974789915603E-3</c:v>
                </c:pt>
                <c:pt idx="36715">
                  <c:v>-9.2436974789915603E-3</c:v>
                </c:pt>
                <c:pt idx="36716">
                  <c:v>-9.2436974789915603E-3</c:v>
                </c:pt>
                <c:pt idx="36717">
                  <c:v>-9.2436974789915603E-3</c:v>
                </c:pt>
                <c:pt idx="36718">
                  <c:v>-9.2436974789915603E-3</c:v>
                </c:pt>
                <c:pt idx="36719">
                  <c:v>-9.2436974789915603E-3</c:v>
                </c:pt>
                <c:pt idx="36720">
                  <c:v>-9.2436974789915603E-3</c:v>
                </c:pt>
                <c:pt idx="36721">
                  <c:v>-9.2436974789915603E-3</c:v>
                </c:pt>
                <c:pt idx="36722">
                  <c:v>-9.2436974789915603E-3</c:v>
                </c:pt>
                <c:pt idx="36723">
                  <c:v>-1.0084033613445301E-2</c:v>
                </c:pt>
                <c:pt idx="36724">
                  <c:v>-1.0084033613445301E-2</c:v>
                </c:pt>
                <c:pt idx="36725">
                  <c:v>-1.0084033613445301E-2</c:v>
                </c:pt>
                <c:pt idx="36726">
                  <c:v>-1.0084033613445301E-2</c:v>
                </c:pt>
                <c:pt idx="36727">
                  <c:v>-1.0084033613445301E-2</c:v>
                </c:pt>
                <c:pt idx="36728">
                  <c:v>-1.0084033613445301E-2</c:v>
                </c:pt>
                <c:pt idx="36729">
                  <c:v>-1.0084033613445301E-2</c:v>
                </c:pt>
                <c:pt idx="36730">
                  <c:v>-1.0084033613445301E-2</c:v>
                </c:pt>
                <c:pt idx="36731">
                  <c:v>-1.0084033613445301E-2</c:v>
                </c:pt>
                <c:pt idx="36732">
                  <c:v>-1.0084033613445301E-2</c:v>
                </c:pt>
                <c:pt idx="36733">
                  <c:v>-1.0084033613445301E-2</c:v>
                </c:pt>
                <c:pt idx="36734">
                  <c:v>-1.0084033613445301E-2</c:v>
                </c:pt>
                <c:pt idx="36735">
                  <c:v>-1.0084033613445301E-2</c:v>
                </c:pt>
                <c:pt idx="36736">
                  <c:v>-1.0084033613445301E-2</c:v>
                </c:pt>
                <c:pt idx="36737">
                  <c:v>-1.0084033613445301E-2</c:v>
                </c:pt>
                <c:pt idx="36738">
                  <c:v>-1.0084033613445301E-2</c:v>
                </c:pt>
                <c:pt idx="36739">
                  <c:v>-1.0084033613445301E-2</c:v>
                </c:pt>
                <c:pt idx="36740">
                  <c:v>-1.0084033613445301E-2</c:v>
                </c:pt>
                <c:pt idx="36741">
                  <c:v>-1.0084033613445301E-2</c:v>
                </c:pt>
                <c:pt idx="36742">
                  <c:v>-1.0084033613445301E-2</c:v>
                </c:pt>
                <c:pt idx="36743">
                  <c:v>-1.09243697478991E-2</c:v>
                </c:pt>
                <c:pt idx="36744">
                  <c:v>-1.09243697478991E-2</c:v>
                </c:pt>
                <c:pt idx="36745">
                  <c:v>-1.09243697478991E-2</c:v>
                </c:pt>
                <c:pt idx="36746">
                  <c:v>-1.09243697478991E-2</c:v>
                </c:pt>
                <c:pt idx="36747">
                  <c:v>-1.09243697478991E-2</c:v>
                </c:pt>
                <c:pt idx="36748">
                  <c:v>-1.09243697478991E-2</c:v>
                </c:pt>
                <c:pt idx="36749">
                  <c:v>-1.09243697478991E-2</c:v>
                </c:pt>
                <c:pt idx="36750">
                  <c:v>-1.09243697478991E-2</c:v>
                </c:pt>
                <c:pt idx="36751">
                  <c:v>-1.09243697478991E-2</c:v>
                </c:pt>
                <c:pt idx="36752">
                  <c:v>-1.09243697478991E-2</c:v>
                </c:pt>
                <c:pt idx="36753">
                  <c:v>-1.09243697478991E-2</c:v>
                </c:pt>
                <c:pt idx="36754">
                  <c:v>-1.09243697478991E-2</c:v>
                </c:pt>
                <c:pt idx="36755">
                  <c:v>-1.09243697478991E-2</c:v>
                </c:pt>
                <c:pt idx="36756">
                  <c:v>-1.09243697478991E-2</c:v>
                </c:pt>
                <c:pt idx="36757">
                  <c:v>-1.09243697478991E-2</c:v>
                </c:pt>
                <c:pt idx="36758">
                  <c:v>-1.09243697478991E-2</c:v>
                </c:pt>
                <c:pt idx="36759">
                  <c:v>-1.09243697478991E-2</c:v>
                </c:pt>
                <c:pt idx="36760">
                  <c:v>-1.09243697478991E-2</c:v>
                </c:pt>
                <c:pt idx="36761">
                  <c:v>-1.09243697478991E-2</c:v>
                </c:pt>
                <c:pt idx="36762">
                  <c:v>-1.09243697478991E-2</c:v>
                </c:pt>
                <c:pt idx="36763">
                  <c:v>-1.09243697478991E-2</c:v>
                </c:pt>
                <c:pt idx="36764">
                  <c:v>-1.09243697478991E-2</c:v>
                </c:pt>
                <c:pt idx="36765">
                  <c:v>-1.09243697478991E-2</c:v>
                </c:pt>
                <c:pt idx="36766">
                  <c:v>-1.09243697478991E-2</c:v>
                </c:pt>
                <c:pt idx="36767">
                  <c:v>-1.09243697478991E-2</c:v>
                </c:pt>
                <c:pt idx="36768">
                  <c:v>-1.09243697478991E-2</c:v>
                </c:pt>
                <c:pt idx="36769">
                  <c:v>-1.09243697478991E-2</c:v>
                </c:pt>
                <c:pt idx="36770">
                  <c:v>-1.09243697478991E-2</c:v>
                </c:pt>
                <c:pt idx="36771">
                  <c:v>-1.09243697478991E-2</c:v>
                </c:pt>
                <c:pt idx="36772">
                  <c:v>-1.09243697478991E-2</c:v>
                </c:pt>
                <c:pt idx="36773">
                  <c:v>-1.09243697478991E-2</c:v>
                </c:pt>
                <c:pt idx="36774">
                  <c:v>-1.09243697478991E-2</c:v>
                </c:pt>
                <c:pt idx="36775">
                  <c:v>-1.09243697478991E-2</c:v>
                </c:pt>
                <c:pt idx="36776">
                  <c:v>-1.09243697478991E-2</c:v>
                </c:pt>
                <c:pt idx="36777">
                  <c:v>-1.09243697478991E-2</c:v>
                </c:pt>
                <c:pt idx="36778">
                  <c:v>-1.09243697478991E-2</c:v>
                </c:pt>
                <c:pt idx="36779">
                  <c:v>-1.09243697478991E-2</c:v>
                </c:pt>
                <c:pt idx="36780">
                  <c:v>-1.09243697478991E-2</c:v>
                </c:pt>
                <c:pt idx="36781">
                  <c:v>-1.09243697478991E-2</c:v>
                </c:pt>
                <c:pt idx="36782">
                  <c:v>-1.09243697478991E-2</c:v>
                </c:pt>
                <c:pt idx="36783">
                  <c:v>-1.09243697478991E-2</c:v>
                </c:pt>
                <c:pt idx="36784">
                  <c:v>-1.09243697478991E-2</c:v>
                </c:pt>
                <c:pt idx="36785">
                  <c:v>-1.09243697478991E-2</c:v>
                </c:pt>
                <c:pt idx="36786">
                  <c:v>-1.09243697478991E-2</c:v>
                </c:pt>
                <c:pt idx="36787">
                  <c:v>-1.09243697478991E-2</c:v>
                </c:pt>
                <c:pt idx="36788">
                  <c:v>-1.09243697478991E-2</c:v>
                </c:pt>
                <c:pt idx="36789">
                  <c:v>-1.09243697478991E-2</c:v>
                </c:pt>
                <c:pt idx="36790">
                  <c:v>-1.09243697478991E-2</c:v>
                </c:pt>
                <c:pt idx="36791">
                  <c:v>-1.09243697478991E-2</c:v>
                </c:pt>
                <c:pt idx="36792">
                  <c:v>-1.09243697478991E-2</c:v>
                </c:pt>
                <c:pt idx="36793">
                  <c:v>-1.09243697478991E-2</c:v>
                </c:pt>
                <c:pt idx="36794">
                  <c:v>-1.09243697478991E-2</c:v>
                </c:pt>
                <c:pt idx="36795">
                  <c:v>-1.09243697478991E-2</c:v>
                </c:pt>
                <c:pt idx="36796">
                  <c:v>-1.09243697478991E-2</c:v>
                </c:pt>
                <c:pt idx="36797">
                  <c:v>-1.09243697478991E-2</c:v>
                </c:pt>
                <c:pt idx="36798">
                  <c:v>-1.09243697478991E-2</c:v>
                </c:pt>
                <c:pt idx="36799">
                  <c:v>-1.09243697478991E-2</c:v>
                </c:pt>
                <c:pt idx="36800">
                  <c:v>-1.09243697478991E-2</c:v>
                </c:pt>
                <c:pt idx="36801">
                  <c:v>-1.09243697478991E-2</c:v>
                </c:pt>
                <c:pt idx="36802">
                  <c:v>-1.09243697478991E-2</c:v>
                </c:pt>
                <c:pt idx="36803">
                  <c:v>-1.09243697478991E-2</c:v>
                </c:pt>
                <c:pt idx="36804">
                  <c:v>-1.09243697478991E-2</c:v>
                </c:pt>
                <c:pt idx="36805">
                  <c:v>-1.09243697478991E-2</c:v>
                </c:pt>
                <c:pt idx="36806">
                  <c:v>-1.09243697478991E-2</c:v>
                </c:pt>
                <c:pt idx="36807">
                  <c:v>-1.09243697478991E-2</c:v>
                </c:pt>
                <c:pt idx="36808">
                  <c:v>-1.09243697478991E-2</c:v>
                </c:pt>
                <c:pt idx="36809">
                  <c:v>-1.09243697478991E-2</c:v>
                </c:pt>
                <c:pt idx="36810">
                  <c:v>-1.09243697478991E-2</c:v>
                </c:pt>
                <c:pt idx="36811">
                  <c:v>-1.09243697478991E-2</c:v>
                </c:pt>
                <c:pt idx="36812">
                  <c:v>-1.09243697478991E-2</c:v>
                </c:pt>
                <c:pt idx="36813">
                  <c:v>-1.09243697478991E-2</c:v>
                </c:pt>
                <c:pt idx="36814">
                  <c:v>-1.09243697478991E-2</c:v>
                </c:pt>
                <c:pt idx="36815">
                  <c:v>-1.09243697478991E-2</c:v>
                </c:pt>
                <c:pt idx="36816">
                  <c:v>-1.09243697478991E-2</c:v>
                </c:pt>
                <c:pt idx="36817">
                  <c:v>-1.09243697478991E-2</c:v>
                </c:pt>
                <c:pt idx="36818">
                  <c:v>-1.09243697478991E-2</c:v>
                </c:pt>
                <c:pt idx="36819">
                  <c:v>-1.09243697478991E-2</c:v>
                </c:pt>
                <c:pt idx="36820">
                  <c:v>-1.09243697478991E-2</c:v>
                </c:pt>
                <c:pt idx="36821">
                  <c:v>-1.09243697478991E-2</c:v>
                </c:pt>
                <c:pt idx="36822">
                  <c:v>-1.09243697478991E-2</c:v>
                </c:pt>
                <c:pt idx="36823">
                  <c:v>-1.09243697478991E-2</c:v>
                </c:pt>
                <c:pt idx="36824">
                  <c:v>-1.09243697478991E-2</c:v>
                </c:pt>
                <c:pt idx="36825">
                  <c:v>-1.09243697478991E-2</c:v>
                </c:pt>
                <c:pt idx="36826">
                  <c:v>-1.09243697478991E-2</c:v>
                </c:pt>
                <c:pt idx="36827">
                  <c:v>-1.09243697478991E-2</c:v>
                </c:pt>
                <c:pt idx="36828">
                  <c:v>-1.09243697478991E-2</c:v>
                </c:pt>
                <c:pt idx="36829">
                  <c:v>-1.09243697478991E-2</c:v>
                </c:pt>
                <c:pt idx="36830">
                  <c:v>-1.09243697478991E-2</c:v>
                </c:pt>
                <c:pt idx="36831">
                  <c:v>-1.09243697478991E-2</c:v>
                </c:pt>
                <c:pt idx="36832">
                  <c:v>-1.09243697478991E-2</c:v>
                </c:pt>
                <c:pt idx="36833">
                  <c:v>-1.09243697478991E-2</c:v>
                </c:pt>
                <c:pt idx="36834">
                  <c:v>-1.09243697478991E-2</c:v>
                </c:pt>
                <c:pt idx="36835">
                  <c:v>-1.09243697478991E-2</c:v>
                </c:pt>
                <c:pt idx="36836">
                  <c:v>-1.09243697478991E-2</c:v>
                </c:pt>
                <c:pt idx="36837">
                  <c:v>-1.09243697478991E-2</c:v>
                </c:pt>
                <c:pt idx="36838">
                  <c:v>-1.09243697478991E-2</c:v>
                </c:pt>
                <c:pt idx="36839">
                  <c:v>-1.09243697478991E-2</c:v>
                </c:pt>
                <c:pt idx="36840">
                  <c:v>-1.09243697478991E-2</c:v>
                </c:pt>
                <c:pt idx="36841">
                  <c:v>-1.09243697478991E-2</c:v>
                </c:pt>
                <c:pt idx="36842">
                  <c:v>-1.09243697478991E-2</c:v>
                </c:pt>
                <c:pt idx="36843">
                  <c:v>-1.09243697478991E-2</c:v>
                </c:pt>
                <c:pt idx="36844">
                  <c:v>-1.09243697478991E-2</c:v>
                </c:pt>
                <c:pt idx="36845">
                  <c:v>-1.09243697478991E-2</c:v>
                </c:pt>
                <c:pt idx="36846">
                  <c:v>-1.09243697478991E-2</c:v>
                </c:pt>
                <c:pt idx="36847">
                  <c:v>-1.09243697478991E-2</c:v>
                </c:pt>
                <c:pt idx="36848">
                  <c:v>-1.09243697478991E-2</c:v>
                </c:pt>
                <c:pt idx="36849">
                  <c:v>-1.09243697478991E-2</c:v>
                </c:pt>
                <c:pt idx="36850">
                  <c:v>-1.09243697478991E-2</c:v>
                </c:pt>
                <c:pt idx="36851">
                  <c:v>-1.09243697478991E-2</c:v>
                </c:pt>
                <c:pt idx="36852">
                  <c:v>-1.09243697478991E-2</c:v>
                </c:pt>
                <c:pt idx="36853">
                  <c:v>-1.09243697478991E-2</c:v>
                </c:pt>
                <c:pt idx="36854">
                  <c:v>-1.09243697478991E-2</c:v>
                </c:pt>
                <c:pt idx="36855">
                  <c:v>-1.09243697478991E-2</c:v>
                </c:pt>
                <c:pt idx="36856">
                  <c:v>-1.09243697478991E-2</c:v>
                </c:pt>
                <c:pt idx="36857">
                  <c:v>-1.09243697478991E-2</c:v>
                </c:pt>
                <c:pt idx="36858">
                  <c:v>-1.09243697478991E-2</c:v>
                </c:pt>
                <c:pt idx="36859">
                  <c:v>-1.09243697478991E-2</c:v>
                </c:pt>
                <c:pt idx="36860">
                  <c:v>-1.09243697478991E-2</c:v>
                </c:pt>
                <c:pt idx="36861">
                  <c:v>-1.09243697478991E-2</c:v>
                </c:pt>
                <c:pt idx="36862">
                  <c:v>-1.09243697478991E-2</c:v>
                </c:pt>
                <c:pt idx="36863">
                  <c:v>-1.09243697478991E-2</c:v>
                </c:pt>
                <c:pt idx="36864">
                  <c:v>-1.09243697478991E-2</c:v>
                </c:pt>
                <c:pt idx="36865">
                  <c:v>-1.09243697478991E-2</c:v>
                </c:pt>
                <c:pt idx="36866">
                  <c:v>-1.09243697478991E-2</c:v>
                </c:pt>
                <c:pt idx="36867">
                  <c:v>-1.09243697478991E-2</c:v>
                </c:pt>
                <c:pt idx="36868">
                  <c:v>-1.09243697478991E-2</c:v>
                </c:pt>
                <c:pt idx="36869">
                  <c:v>-1.09243697478991E-2</c:v>
                </c:pt>
                <c:pt idx="36870">
                  <c:v>-1.09243697478991E-2</c:v>
                </c:pt>
                <c:pt idx="36871">
                  <c:v>-1.09243697478991E-2</c:v>
                </c:pt>
                <c:pt idx="36872">
                  <c:v>-1.09243697478991E-2</c:v>
                </c:pt>
                <c:pt idx="36873">
                  <c:v>-1.09243697478991E-2</c:v>
                </c:pt>
                <c:pt idx="36874">
                  <c:v>-1.09243697478991E-2</c:v>
                </c:pt>
                <c:pt idx="36875">
                  <c:v>-1.09243697478991E-2</c:v>
                </c:pt>
                <c:pt idx="36876">
                  <c:v>-1.09243697478991E-2</c:v>
                </c:pt>
                <c:pt idx="36877">
                  <c:v>-1.09243697478991E-2</c:v>
                </c:pt>
                <c:pt idx="36878">
                  <c:v>-1.09243697478991E-2</c:v>
                </c:pt>
                <c:pt idx="36879">
                  <c:v>-1.09243697478991E-2</c:v>
                </c:pt>
                <c:pt idx="36880">
                  <c:v>-1.09243697478991E-2</c:v>
                </c:pt>
                <c:pt idx="36881">
                  <c:v>-1.09243697478991E-2</c:v>
                </c:pt>
                <c:pt idx="36882">
                  <c:v>-1.09243697478991E-2</c:v>
                </c:pt>
                <c:pt idx="36883">
                  <c:v>-1.09243697478991E-2</c:v>
                </c:pt>
                <c:pt idx="36884">
                  <c:v>-1.09243697478991E-2</c:v>
                </c:pt>
                <c:pt idx="36885">
                  <c:v>-1.09243697478991E-2</c:v>
                </c:pt>
                <c:pt idx="36886">
                  <c:v>-1.09243697478991E-2</c:v>
                </c:pt>
                <c:pt idx="36887">
                  <c:v>-1.09243697478991E-2</c:v>
                </c:pt>
                <c:pt idx="36888">
                  <c:v>-1.09243697478991E-2</c:v>
                </c:pt>
                <c:pt idx="36889">
                  <c:v>-1.09243697478991E-2</c:v>
                </c:pt>
                <c:pt idx="36890">
                  <c:v>-1.09243697478991E-2</c:v>
                </c:pt>
                <c:pt idx="36891">
                  <c:v>-1.09243697478991E-2</c:v>
                </c:pt>
                <c:pt idx="36892">
                  <c:v>-1.09243697478991E-2</c:v>
                </c:pt>
                <c:pt idx="36893">
                  <c:v>-1.09243697478991E-2</c:v>
                </c:pt>
                <c:pt idx="36894">
                  <c:v>-1.09243697478991E-2</c:v>
                </c:pt>
                <c:pt idx="36895">
                  <c:v>-1.09243697478991E-2</c:v>
                </c:pt>
                <c:pt idx="36896">
                  <c:v>-1.09243697478991E-2</c:v>
                </c:pt>
                <c:pt idx="36897">
                  <c:v>-1.09243697478991E-2</c:v>
                </c:pt>
                <c:pt idx="36898">
                  <c:v>-1.09243697478991E-2</c:v>
                </c:pt>
                <c:pt idx="36899">
                  <c:v>-1.1764705882352899E-2</c:v>
                </c:pt>
                <c:pt idx="36900">
                  <c:v>-1.1764705882352899E-2</c:v>
                </c:pt>
                <c:pt idx="36901">
                  <c:v>-1.1764705882352899E-2</c:v>
                </c:pt>
                <c:pt idx="36902">
                  <c:v>-1.1764705882352899E-2</c:v>
                </c:pt>
                <c:pt idx="36903">
                  <c:v>-1.1764705882352899E-2</c:v>
                </c:pt>
                <c:pt idx="36904">
                  <c:v>-1.1764705882352899E-2</c:v>
                </c:pt>
                <c:pt idx="36905">
                  <c:v>-1.1764705882352899E-2</c:v>
                </c:pt>
                <c:pt idx="36906">
                  <c:v>-1.09243697478991E-2</c:v>
                </c:pt>
                <c:pt idx="36907">
                  <c:v>-1.09243697478991E-2</c:v>
                </c:pt>
                <c:pt idx="36908">
                  <c:v>-1.09243697478991E-2</c:v>
                </c:pt>
                <c:pt idx="36909">
                  <c:v>-1.09243697478991E-2</c:v>
                </c:pt>
                <c:pt idx="36910">
                  <c:v>-1.09243697478991E-2</c:v>
                </c:pt>
                <c:pt idx="36911">
                  <c:v>-1.09243697478991E-2</c:v>
                </c:pt>
                <c:pt idx="36912">
                  <c:v>-1.09243697478991E-2</c:v>
                </c:pt>
                <c:pt idx="36913">
                  <c:v>-1.09243697478991E-2</c:v>
                </c:pt>
                <c:pt idx="36914">
                  <c:v>-1.09243697478991E-2</c:v>
                </c:pt>
                <c:pt idx="36915">
                  <c:v>-1.09243697478991E-2</c:v>
                </c:pt>
                <c:pt idx="36916">
                  <c:v>-1.09243697478991E-2</c:v>
                </c:pt>
                <c:pt idx="36917">
                  <c:v>-1.09243697478991E-2</c:v>
                </c:pt>
                <c:pt idx="36918">
                  <c:v>-1.09243697478991E-2</c:v>
                </c:pt>
                <c:pt idx="36919">
                  <c:v>-1.09243697478991E-2</c:v>
                </c:pt>
                <c:pt idx="36920">
                  <c:v>-1.1764705882352899E-2</c:v>
                </c:pt>
                <c:pt idx="36921">
                  <c:v>-1.1764705882352899E-2</c:v>
                </c:pt>
                <c:pt idx="36922">
                  <c:v>-1.1764705882352899E-2</c:v>
                </c:pt>
                <c:pt idx="36923">
                  <c:v>-1.1764705882352899E-2</c:v>
                </c:pt>
                <c:pt idx="36924">
                  <c:v>-1.1764705882352899E-2</c:v>
                </c:pt>
                <c:pt idx="36925">
                  <c:v>-1.1764705882352899E-2</c:v>
                </c:pt>
                <c:pt idx="36926">
                  <c:v>-1.1764705882352899E-2</c:v>
                </c:pt>
                <c:pt idx="36927">
                  <c:v>-1.1764705882352899E-2</c:v>
                </c:pt>
                <c:pt idx="36928">
                  <c:v>-1.1764705882352899E-2</c:v>
                </c:pt>
                <c:pt idx="36929">
                  <c:v>-1.1764705882352899E-2</c:v>
                </c:pt>
                <c:pt idx="36930">
                  <c:v>-1.1764705882352899E-2</c:v>
                </c:pt>
                <c:pt idx="36931">
                  <c:v>-1.1764705882352899E-2</c:v>
                </c:pt>
                <c:pt idx="36932">
                  <c:v>-1.1764705882352899E-2</c:v>
                </c:pt>
                <c:pt idx="36933">
                  <c:v>-1.1764705882352899E-2</c:v>
                </c:pt>
                <c:pt idx="36934">
                  <c:v>-1.1764705882352899E-2</c:v>
                </c:pt>
                <c:pt idx="36935">
                  <c:v>-1.1764705882352899E-2</c:v>
                </c:pt>
                <c:pt idx="36936">
                  <c:v>-1.1764705882352899E-2</c:v>
                </c:pt>
                <c:pt idx="36937">
                  <c:v>-1.1764705882352899E-2</c:v>
                </c:pt>
                <c:pt idx="36938">
                  <c:v>-1.1764705882352899E-2</c:v>
                </c:pt>
                <c:pt idx="36939">
                  <c:v>-1.1764705882352899E-2</c:v>
                </c:pt>
                <c:pt idx="36940">
                  <c:v>-1.1764705882352899E-2</c:v>
                </c:pt>
                <c:pt idx="36941">
                  <c:v>-1.1764705882352899E-2</c:v>
                </c:pt>
                <c:pt idx="36942">
                  <c:v>-1.1764705882352899E-2</c:v>
                </c:pt>
                <c:pt idx="36943">
                  <c:v>-1.1764705882352899E-2</c:v>
                </c:pt>
                <c:pt idx="36944">
                  <c:v>-1.1764705882352899E-2</c:v>
                </c:pt>
                <c:pt idx="36945">
                  <c:v>-1.1764705882352899E-2</c:v>
                </c:pt>
                <c:pt idx="36946">
                  <c:v>-1.1764705882352899E-2</c:v>
                </c:pt>
                <c:pt idx="36947">
                  <c:v>-1.1764705882352899E-2</c:v>
                </c:pt>
                <c:pt idx="36948">
                  <c:v>-1.1764705882352899E-2</c:v>
                </c:pt>
                <c:pt idx="36949">
                  <c:v>-1.1764705882352899E-2</c:v>
                </c:pt>
                <c:pt idx="36950">
                  <c:v>-1.1764705882352899E-2</c:v>
                </c:pt>
                <c:pt idx="36951">
                  <c:v>-1.1764705882352899E-2</c:v>
                </c:pt>
                <c:pt idx="36952">
                  <c:v>-1.1764705882352899E-2</c:v>
                </c:pt>
                <c:pt idx="36953">
                  <c:v>-1.1764705882352899E-2</c:v>
                </c:pt>
                <c:pt idx="36954">
                  <c:v>-1.1764705882352899E-2</c:v>
                </c:pt>
                <c:pt idx="36955">
                  <c:v>-1.1764705882352899E-2</c:v>
                </c:pt>
                <c:pt idx="36956">
                  <c:v>-1.1764705882352899E-2</c:v>
                </c:pt>
                <c:pt idx="36957">
                  <c:v>-1.1764705882352899E-2</c:v>
                </c:pt>
                <c:pt idx="36958">
                  <c:v>-1.1764705882352899E-2</c:v>
                </c:pt>
                <c:pt idx="36959">
                  <c:v>-1.1764705882352899E-2</c:v>
                </c:pt>
                <c:pt idx="36960">
                  <c:v>-1.1764705882352899E-2</c:v>
                </c:pt>
                <c:pt idx="36961">
                  <c:v>-1.1764705882352899E-2</c:v>
                </c:pt>
                <c:pt idx="36962">
                  <c:v>-1.1764705882352899E-2</c:v>
                </c:pt>
                <c:pt idx="36963">
                  <c:v>-1.1764705882352899E-2</c:v>
                </c:pt>
                <c:pt idx="36964">
                  <c:v>-1.1764705882352899E-2</c:v>
                </c:pt>
                <c:pt idx="36965">
                  <c:v>-1.1764705882352899E-2</c:v>
                </c:pt>
                <c:pt idx="36966">
                  <c:v>-1.1764705882352899E-2</c:v>
                </c:pt>
                <c:pt idx="36967">
                  <c:v>-1.1764705882352899E-2</c:v>
                </c:pt>
                <c:pt idx="36968">
                  <c:v>-1.1764705882352899E-2</c:v>
                </c:pt>
                <c:pt idx="36969">
                  <c:v>-1.1764705882352899E-2</c:v>
                </c:pt>
                <c:pt idx="36970">
                  <c:v>-1.1764705882352899E-2</c:v>
                </c:pt>
                <c:pt idx="36971">
                  <c:v>-1.1764705882352899E-2</c:v>
                </c:pt>
                <c:pt idx="36972">
                  <c:v>-1.1764705882352899E-2</c:v>
                </c:pt>
                <c:pt idx="36973">
                  <c:v>-1.26050420168066E-2</c:v>
                </c:pt>
                <c:pt idx="36974">
                  <c:v>-1.26050420168066E-2</c:v>
                </c:pt>
                <c:pt idx="36975">
                  <c:v>-1.26050420168066E-2</c:v>
                </c:pt>
                <c:pt idx="36976">
                  <c:v>-1.26050420168066E-2</c:v>
                </c:pt>
                <c:pt idx="36977">
                  <c:v>-1.26050420168066E-2</c:v>
                </c:pt>
                <c:pt idx="36978">
                  <c:v>-1.26050420168066E-2</c:v>
                </c:pt>
                <c:pt idx="36979">
                  <c:v>-1.26050420168066E-2</c:v>
                </c:pt>
                <c:pt idx="36980">
                  <c:v>-1.26050420168066E-2</c:v>
                </c:pt>
                <c:pt idx="36981">
                  <c:v>-1.26050420168066E-2</c:v>
                </c:pt>
                <c:pt idx="36982">
                  <c:v>-1.26050420168066E-2</c:v>
                </c:pt>
                <c:pt idx="36983">
                  <c:v>-1.26050420168066E-2</c:v>
                </c:pt>
                <c:pt idx="36984">
                  <c:v>-1.26050420168066E-2</c:v>
                </c:pt>
                <c:pt idx="36985">
                  <c:v>-1.26050420168066E-2</c:v>
                </c:pt>
                <c:pt idx="36986">
                  <c:v>-1.26050420168066E-2</c:v>
                </c:pt>
                <c:pt idx="36987">
                  <c:v>-1.26050420168066E-2</c:v>
                </c:pt>
                <c:pt idx="36988">
                  <c:v>-1.26050420168066E-2</c:v>
                </c:pt>
                <c:pt idx="36989">
                  <c:v>-1.26050420168066E-2</c:v>
                </c:pt>
                <c:pt idx="36990">
                  <c:v>-1.26050420168066E-2</c:v>
                </c:pt>
                <c:pt idx="36991">
                  <c:v>-1.26050420168066E-2</c:v>
                </c:pt>
                <c:pt idx="36992">
                  <c:v>-1.26050420168066E-2</c:v>
                </c:pt>
                <c:pt idx="36993">
                  <c:v>-1.26050420168066E-2</c:v>
                </c:pt>
                <c:pt idx="36994">
                  <c:v>-1.26050420168066E-2</c:v>
                </c:pt>
                <c:pt idx="36995">
                  <c:v>-1.26050420168066E-2</c:v>
                </c:pt>
                <c:pt idx="36996">
                  <c:v>-1.26050420168066E-2</c:v>
                </c:pt>
                <c:pt idx="36997">
                  <c:v>-1.26050420168066E-2</c:v>
                </c:pt>
                <c:pt idx="36998">
                  <c:v>-1.26050420168066E-2</c:v>
                </c:pt>
                <c:pt idx="36999">
                  <c:v>-1.26050420168066E-2</c:v>
                </c:pt>
                <c:pt idx="37000">
                  <c:v>-1.26050420168066E-2</c:v>
                </c:pt>
                <c:pt idx="37001">
                  <c:v>-1.26050420168066E-2</c:v>
                </c:pt>
                <c:pt idx="37002">
                  <c:v>-1.26050420168066E-2</c:v>
                </c:pt>
                <c:pt idx="37003">
                  <c:v>-1.26050420168066E-2</c:v>
                </c:pt>
                <c:pt idx="37004">
                  <c:v>-1.26050420168066E-2</c:v>
                </c:pt>
                <c:pt idx="37005">
                  <c:v>-1.26050420168066E-2</c:v>
                </c:pt>
                <c:pt idx="37006">
                  <c:v>-1.3445378151260399E-2</c:v>
                </c:pt>
                <c:pt idx="37007">
                  <c:v>-1.3445378151260399E-2</c:v>
                </c:pt>
                <c:pt idx="37008">
                  <c:v>-1.3445378151260399E-2</c:v>
                </c:pt>
                <c:pt idx="37009">
                  <c:v>-1.3445378151260399E-2</c:v>
                </c:pt>
                <c:pt idx="37010">
                  <c:v>-1.3445378151260399E-2</c:v>
                </c:pt>
                <c:pt idx="37011">
                  <c:v>-1.3445378151260399E-2</c:v>
                </c:pt>
                <c:pt idx="37012">
                  <c:v>-1.3445378151260399E-2</c:v>
                </c:pt>
                <c:pt idx="37013">
                  <c:v>-1.3445378151260399E-2</c:v>
                </c:pt>
                <c:pt idx="37014">
                  <c:v>-1.3445378151260399E-2</c:v>
                </c:pt>
                <c:pt idx="37015">
                  <c:v>-1.3445378151260399E-2</c:v>
                </c:pt>
                <c:pt idx="37016">
                  <c:v>-1.3445378151260399E-2</c:v>
                </c:pt>
                <c:pt idx="37017">
                  <c:v>-1.3445378151260399E-2</c:v>
                </c:pt>
                <c:pt idx="37018">
                  <c:v>-1.3445378151260399E-2</c:v>
                </c:pt>
                <c:pt idx="37019">
                  <c:v>-1.3445378151260399E-2</c:v>
                </c:pt>
                <c:pt idx="37020">
                  <c:v>-1.3445378151260399E-2</c:v>
                </c:pt>
                <c:pt idx="37021">
                  <c:v>-1.3445378151260399E-2</c:v>
                </c:pt>
                <c:pt idx="37022">
                  <c:v>-1.3445378151260399E-2</c:v>
                </c:pt>
                <c:pt idx="37023">
                  <c:v>-1.3445378151260399E-2</c:v>
                </c:pt>
                <c:pt idx="37024">
                  <c:v>-1.3445378151260399E-2</c:v>
                </c:pt>
                <c:pt idx="37025">
                  <c:v>-1.3445378151260399E-2</c:v>
                </c:pt>
                <c:pt idx="37026">
                  <c:v>-1.3445378151260399E-2</c:v>
                </c:pt>
                <c:pt idx="37027">
                  <c:v>-1.3445378151260399E-2</c:v>
                </c:pt>
                <c:pt idx="37028">
                  <c:v>-1.3445378151260399E-2</c:v>
                </c:pt>
                <c:pt idx="37029">
                  <c:v>-1.3445378151260399E-2</c:v>
                </c:pt>
                <c:pt idx="37030">
                  <c:v>-1.3445378151260399E-2</c:v>
                </c:pt>
                <c:pt idx="37031">
                  <c:v>-1.3445378151260399E-2</c:v>
                </c:pt>
                <c:pt idx="37032">
                  <c:v>-1.3445378151260399E-2</c:v>
                </c:pt>
                <c:pt idx="37033">
                  <c:v>-1.3445378151260399E-2</c:v>
                </c:pt>
                <c:pt idx="37034">
                  <c:v>-1.3445378151260399E-2</c:v>
                </c:pt>
                <c:pt idx="37035">
                  <c:v>-1.3445378151260399E-2</c:v>
                </c:pt>
                <c:pt idx="37036">
                  <c:v>-1.3445378151260399E-2</c:v>
                </c:pt>
                <c:pt idx="37037">
                  <c:v>-1.3445378151260399E-2</c:v>
                </c:pt>
                <c:pt idx="37038">
                  <c:v>-1.3445378151260399E-2</c:v>
                </c:pt>
                <c:pt idx="37039">
                  <c:v>-1.3445378151260399E-2</c:v>
                </c:pt>
                <c:pt idx="37040">
                  <c:v>-1.3445378151260399E-2</c:v>
                </c:pt>
                <c:pt idx="37041">
                  <c:v>-1.3445378151260399E-2</c:v>
                </c:pt>
                <c:pt idx="37042">
                  <c:v>-1.3445378151260399E-2</c:v>
                </c:pt>
                <c:pt idx="37043">
                  <c:v>-1.3445378151260399E-2</c:v>
                </c:pt>
                <c:pt idx="37044">
                  <c:v>-1.3445378151260399E-2</c:v>
                </c:pt>
                <c:pt idx="37045">
                  <c:v>-1.3445378151260399E-2</c:v>
                </c:pt>
                <c:pt idx="37046">
                  <c:v>-1.3445378151260399E-2</c:v>
                </c:pt>
                <c:pt idx="37047">
                  <c:v>-1.26050420168066E-2</c:v>
                </c:pt>
                <c:pt idx="37048">
                  <c:v>-1.26050420168066E-2</c:v>
                </c:pt>
                <c:pt idx="37049">
                  <c:v>-1.26050420168066E-2</c:v>
                </c:pt>
                <c:pt idx="37050">
                  <c:v>-1.26050420168066E-2</c:v>
                </c:pt>
                <c:pt idx="37051">
                  <c:v>-1.26050420168066E-2</c:v>
                </c:pt>
                <c:pt idx="37052">
                  <c:v>-1.26050420168066E-2</c:v>
                </c:pt>
                <c:pt idx="37053">
                  <c:v>-1.26050420168066E-2</c:v>
                </c:pt>
                <c:pt idx="37054">
                  <c:v>-1.26050420168066E-2</c:v>
                </c:pt>
                <c:pt idx="37055">
                  <c:v>-1.26050420168066E-2</c:v>
                </c:pt>
                <c:pt idx="37056">
                  <c:v>-1.26050420168066E-2</c:v>
                </c:pt>
                <c:pt idx="37057">
                  <c:v>-1.26050420168066E-2</c:v>
                </c:pt>
                <c:pt idx="37058">
                  <c:v>-1.26050420168066E-2</c:v>
                </c:pt>
                <c:pt idx="37059">
                  <c:v>-1.26050420168066E-2</c:v>
                </c:pt>
                <c:pt idx="37060">
                  <c:v>-1.26050420168066E-2</c:v>
                </c:pt>
                <c:pt idx="37061">
                  <c:v>-1.26050420168066E-2</c:v>
                </c:pt>
                <c:pt idx="37062">
                  <c:v>-1.26050420168066E-2</c:v>
                </c:pt>
                <c:pt idx="37063">
                  <c:v>-1.26050420168066E-2</c:v>
                </c:pt>
                <c:pt idx="37064">
                  <c:v>-1.26050420168066E-2</c:v>
                </c:pt>
                <c:pt idx="37065">
                  <c:v>-1.26050420168066E-2</c:v>
                </c:pt>
                <c:pt idx="37066">
                  <c:v>-1.26050420168066E-2</c:v>
                </c:pt>
                <c:pt idx="37067">
                  <c:v>-1.26050420168066E-2</c:v>
                </c:pt>
                <c:pt idx="37068">
                  <c:v>-1.26050420168066E-2</c:v>
                </c:pt>
                <c:pt idx="37069">
                  <c:v>-1.26050420168066E-2</c:v>
                </c:pt>
                <c:pt idx="37070">
                  <c:v>-1.26050420168066E-2</c:v>
                </c:pt>
                <c:pt idx="37071">
                  <c:v>-1.26050420168066E-2</c:v>
                </c:pt>
                <c:pt idx="37072">
                  <c:v>-1.26050420168066E-2</c:v>
                </c:pt>
                <c:pt idx="37073">
                  <c:v>-1.26050420168066E-2</c:v>
                </c:pt>
                <c:pt idx="37074">
                  <c:v>-1.26050420168066E-2</c:v>
                </c:pt>
                <c:pt idx="37075">
                  <c:v>-1.26050420168066E-2</c:v>
                </c:pt>
                <c:pt idx="37076">
                  <c:v>-1.26050420168066E-2</c:v>
                </c:pt>
                <c:pt idx="37077">
                  <c:v>-1.26050420168066E-2</c:v>
                </c:pt>
                <c:pt idx="37078">
                  <c:v>-1.26050420168066E-2</c:v>
                </c:pt>
                <c:pt idx="37079">
                  <c:v>-1.26050420168066E-2</c:v>
                </c:pt>
                <c:pt idx="37080">
                  <c:v>-1.26050420168066E-2</c:v>
                </c:pt>
                <c:pt idx="37081">
                  <c:v>-1.26050420168066E-2</c:v>
                </c:pt>
                <c:pt idx="37082">
                  <c:v>-1.26050420168066E-2</c:v>
                </c:pt>
                <c:pt idx="37083">
                  <c:v>-1.26050420168066E-2</c:v>
                </c:pt>
                <c:pt idx="37084">
                  <c:v>-1.26050420168066E-2</c:v>
                </c:pt>
                <c:pt idx="37085">
                  <c:v>-1.26050420168066E-2</c:v>
                </c:pt>
                <c:pt idx="37086">
                  <c:v>-1.26050420168066E-2</c:v>
                </c:pt>
                <c:pt idx="37087">
                  <c:v>-1.26050420168066E-2</c:v>
                </c:pt>
                <c:pt idx="37088">
                  <c:v>-1.26050420168066E-2</c:v>
                </c:pt>
                <c:pt idx="37089">
                  <c:v>-1.26050420168066E-2</c:v>
                </c:pt>
                <c:pt idx="37090">
                  <c:v>-1.26050420168066E-2</c:v>
                </c:pt>
                <c:pt idx="37091">
                  <c:v>-1.26050420168066E-2</c:v>
                </c:pt>
                <c:pt idx="37092">
                  <c:v>-1.26050420168066E-2</c:v>
                </c:pt>
                <c:pt idx="37093">
                  <c:v>-1.26050420168066E-2</c:v>
                </c:pt>
                <c:pt idx="37094">
                  <c:v>-1.26050420168066E-2</c:v>
                </c:pt>
                <c:pt idx="37095">
                  <c:v>-1.26050420168066E-2</c:v>
                </c:pt>
                <c:pt idx="37096">
                  <c:v>-1.26050420168066E-2</c:v>
                </c:pt>
                <c:pt idx="37097">
                  <c:v>-1.26050420168066E-2</c:v>
                </c:pt>
                <c:pt idx="37098">
                  <c:v>-1.26050420168066E-2</c:v>
                </c:pt>
                <c:pt idx="37099">
                  <c:v>-1.26050420168066E-2</c:v>
                </c:pt>
                <c:pt idx="37100">
                  <c:v>-1.26050420168066E-2</c:v>
                </c:pt>
                <c:pt idx="37101">
                  <c:v>-1.26050420168066E-2</c:v>
                </c:pt>
                <c:pt idx="37102">
                  <c:v>-1.26050420168066E-2</c:v>
                </c:pt>
                <c:pt idx="37103">
                  <c:v>-1.26050420168066E-2</c:v>
                </c:pt>
                <c:pt idx="37104">
                  <c:v>-1.26050420168066E-2</c:v>
                </c:pt>
                <c:pt idx="37105">
                  <c:v>-1.26050420168066E-2</c:v>
                </c:pt>
                <c:pt idx="37106">
                  <c:v>-1.26050420168066E-2</c:v>
                </c:pt>
                <c:pt idx="37107">
                  <c:v>-1.26050420168066E-2</c:v>
                </c:pt>
                <c:pt idx="37108">
                  <c:v>-1.26050420168066E-2</c:v>
                </c:pt>
                <c:pt idx="37109">
                  <c:v>-1.26050420168066E-2</c:v>
                </c:pt>
                <c:pt idx="37110">
                  <c:v>-1.26050420168066E-2</c:v>
                </c:pt>
                <c:pt idx="37111">
                  <c:v>-1.26050420168066E-2</c:v>
                </c:pt>
                <c:pt idx="37112">
                  <c:v>-1.26050420168066E-2</c:v>
                </c:pt>
                <c:pt idx="37113">
                  <c:v>-1.26050420168066E-2</c:v>
                </c:pt>
                <c:pt idx="37114">
                  <c:v>-1.26050420168066E-2</c:v>
                </c:pt>
                <c:pt idx="37115">
                  <c:v>-1.26050420168066E-2</c:v>
                </c:pt>
                <c:pt idx="37116">
                  <c:v>-1.26050420168066E-2</c:v>
                </c:pt>
                <c:pt idx="37117">
                  <c:v>-1.26050420168066E-2</c:v>
                </c:pt>
                <c:pt idx="37118">
                  <c:v>-1.26050420168066E-2</c:v>
                </c:pt>
                <c:pt idx="37119">
                  <c:v>-1.26050420168066E-2</c:v>
                </c:pt>
                <c:pt idx="37120">
                  <c:v>-1.26050420168066E-2</c:v>
                </c:pt>
                <c:pt idx="37121">
                  <c:v>-1.26050420168066E-2</c:v>
                </c:pt>
                <c:pt idx="37122">
                  <c:v>-1.26050420168066E-2</c:v>
                </c:pt>
                <c:pt idx="37123">
                  <c:v>-1.26050420168066E-2</c:v>
                </c:pt>
                <c:pt idx="37124">
                  <c:v>-1.26050420168066E-2</c:v>
                </c:pt>
                <c:pt idx="37125">
                  <c:v>-1.26050420168066E-2</c:v>
                </c:pt>
                <c:pt idx="37126">
                  <c:v>-1.26050420168066E-2</c:v>
                </c:pt>
                <c:pt idx="37127">
                  <c:v>-1.26050420168066E-2</c:v>
                </c:pt>
                <c:pt idx="37128">
                  <c:v>-1.26050420168066E-2</c:v>
                </c:pt>
                <c:pt idx="37129">
                  <c:v>-1.26050420168066E-2</c:v>
                </c:pt>
                <c:pt idx="37130">
                  <c:v>-1.26050420168066E-2</c:v>
                </c:pt>
                <c:pt idx="37131">
                  <c:v>-1.26050420168066E-2</c:v>
                </c:pt>
                <c:pt idx="37132">
                  <c:v>-1.26050420168066E-2</c:v>
                </c:pt>
                <c:pt idx="37133">
                  <c:v>-1.26050420168066E-2</c:v>
                </c:pt>
                <c:pt idx="37134">
                  <c:v>-1.26050420168066E-2</c:v>
                </c:pt>
                <c:pt idx="37135">
                  <c:v>-1.26050420168066E-2</c:v>
                </c:pt>
                <c:pt idx="37136">
                  <c:v>-1.26050420168066E-2</c:v>
                </c:pt>
                <c:pt idx="37137">
                  <c:v>-1.26050420168066E-2</c:v>
                </c:pt>
                <c:pt idx="37138">
                  <c:v>-1.26050420168066E-2</c:v>
                </c:pt>
                <c:pt idx="37139">
                  <c:v>-1.26050420168066E-2</c:v>
                </c:pt>
                <c:pt idx="37140">
                  <c:v>-1.26050420168066E-2</c:v>
                </c:pt>
                <c:pt idx="37141">
                  <c:v>-1.26050420168066E-2</c:v>
                </c:pt>
                <c:pt idx="37142">
                  <c:v>-1.26050420168066E-2</c:v>
                </c:pt>
                <c:pt idx="37143">
                  <c:v>-1.26050420168066E-2</c:v>
                </c:pt>
                <c:pt idx="37144">
                  <c:v>-1.26050420168066E-2</c:v>
                </c:pt>
                <c:pt idx="37145">
                  <c:v>-1.26050420168066E-2</c:v>
                </c:pt>
                <c:pt idx="37146">
                  <c:v>-1.26050420168066E-2</c:v>
                </c:pt>
                <c:pt idx="37147">
                  <c:v>-1.26050420168066E-2</c:v>
                </c:pt>
                <c:pt idx="37148">
                  <c:v>-1.26050420168066E-2</c:v>
                </c:pt>
                <c:pt idx="37149">
                  <c:v>-1.26050420168066E-2</c:v>
                </c:pt>
                <c:pt idx="37150">
                  <c:v>-1.26050420168066E-2</c:v>
                </c:pt>
                <c:pt idx="37151">
                  <c:v>-1.26050420168066E-2</c:v>
                </c:pt>
                <c:pt idx="37152">
                  <c:v>-1.26050420168066E-2</c:v>
                </c:pt>
                <c:pt idx="37153">
                  <c:v>-1.1764705882352899E-2</c:v>
                </c:pt>
                <c:pt idx="37154">
                  <c:v>-1.1764705882352899E-2</c:v>
                </c:pt>
                <c:pt idx="37155">
                  <c:v>-1.1764705882352899E-2</c:v>
                </c:pt>
                <c:pt idx="37156">
                  <c:v>-1.1764705882352899E-2</c:v>
                </c:pt>
                <c:pt idx="37157">
                  <c:v>-1.1764705882352899E-2</c:v>
                </c:pt>
                <c:pt idx="37158">
                  <c:v>-1.1764705882352899E-2</c:v>
                </c:pt>
                <c:pt idx="37159">
                  <c:v>-1.1764705882352899E-2</c:v>
                </c:pt>
                <c:pt idx="37160">
                  <c:v>-1.1764705882352899E-2</c:v>
                </c:pt>
                <c:pt idx="37161">
                  <c:v>-1.1764705882352899E-2</c:v>
                </c:pt>
                <c:pt idx="37162">
                  <c:v>-1.1764705882352899E-2</c:v>
                </c:pt>
                <c:pt idx="37163">
                  <c:v>-1.1764705882352899E-2</c:v>
                </c:pt>
                <c:pt idx="37164">
                  <c:v>-1.1764705882352899E-2</c:v>
                </c:pt>
                <c:pt idx="37165">
                  <c:v>-1.1764705882352899E-2</c:v>
                </c:pt>
                <c:pt idx="37166">
                  <c:v>-1.1764705882352899E-2</c:v>
                </c:pt>
                <c:pt idx="37167">
                  <c:v>-1.1764705882352899E-2</c:v>
                </c:pt>
                <c:pt idx="37168">
                  <c:v>-1.1764705882352899E-2</c:v>
                </c:pt>
                <c:pt idx="37169">
                  <c:v>-1.1764705882352899E-2</c:v>
                </c:pt>
                <c:pt idx="37170">
                  <c:v>-1.1764705882352899E-2</c:v>
                </c:pt>
                <c:pt idx="37171">
                  <c:v>-1.1764705882352899E-2</c:v>
                </c:pt>
                <c:pt idx="37172">
                  <c:v>-1.1764705882352899E-2</c:v>
                </c:pt>
                <c:pt idx="37173">
                  <c:v>-1.1764705882352899E-2</c:v>
                </c:pt>
                <c:pt idx="37174">
                  <c:v>-1.1764705882352899E-2</c:v>
                </c:pt>
                <c:pt idx="37175">
                  <c:v>-1.1764705882352899E-2</c:v>
                </c:pt>
                <c:pt idx="37176">
                  <c:v>-1.1764705882352899E-2</c:v>
                </c:pt>
                <c:pt idx="37177">
                  <c:v>-1.1764705882352899E-2</c:v>
                </c:pt>
                <c:pt idx="37178">
                  <c:v>-1.1764705882352899E-2</c:v>
                </c:pt>
                <c:pt idx="37179">
                  <c:v>-1.1764705882352899E-2</c:v>
                </c:pt>
                <c:pt idx="37180">
                  <c:v>-1.1764705882352899E-2</c:v>
                </c:pt>
                <c:pt idx="37181">
                  <c:v>-1.1764705882352899E-2</c:v>
                </c:pt>
                <c:pt idx="37182">
                  <c:v>-1.1764705882352899E-2</c:v>
                </c:pt>
                <c:pt idx="37183">
                  <c:v>-1.1764705882352899E-2</c:v>
                </c:pt>
                <c:pt idx="37184">
                  <c:v>-1.1764705882352899E-2</c:v>
                </c:pt>
                <c:pt idx="37185">
                  <c:v>-1.1764705882352899E-2</c:v>
                </c:pt>
                <c:pt idx="37186">
                  <c:v>-1.1764705882352899E-2</c:v>
                </c:pt>
                <c:pt idx="37187">
                  <c:v>-1.1764705882352899E-2</c:v>
                </c:pt>
                <c:pt idx="37188">
                  <c:v>-1.1764705882352899E-2</c:v>
                </c:pt>
                <c:pt idx="37189">
                  <c:v>-1.1764705882352899E-2</c:v>
                </c:pt>
                <c:pt idx="37190">
                  <c:v>-1.1764705882352899E-2</c:v>
                </c:pt>
                <c:pt idx="37191">
                  <c:v>-1.1764705882352899E-2</c:v>
                </c:pt>
                <c:pt idx="37192">
                  <c:v>-1.1764705882352899E-2</c:v>
                </c:pt>
                <c:pt idx="37193">
                  <c:v>-1.1764705882352899E-2</c:v>
                </c:pt>
                <c:pt idx="37194">
                  <c:v>-1.1764705882352899E-2</c:v>
                </c:pt>
                <c:pt idx="37195">
                  <c:v>-1.1764705882352899E-2</c:v>
                </c:pt>
                <c:pt idx="37196">
                  <c:v>-1.1764705882352899E-2</c:v>
                </c:pt>
                <c:pt idx="37197">
                  <c:v>-1.1764705882352899E-2</c:v>
                </c:pt>
                <c:pt idx="37198">
                  <c:v>-1.1764705882352899E-2</c:v>
                </c:pt>
                <c:pt idx="37199">
                  <c:v>-1.1764705882352899E-2</c:v>
                </c:pt>
                <c:pt idx="37200">
                  <c:v>-1.1764705882352899E-2</c:v>
                </c:pt>
                <c:pt idx="37201">
                  <c:v>-1.1764705882352899E-2</c:v>
                </c:pt>
                <c:pt idx="37202">
                  <c:v>-1.1764705882352899E-2</c:v>
                </c:pt>
                <c:pt idx="37203">
                  <c:v>-1.1764705882352899E-2</c:v>
                </c:pt>
                <c:pt idx="37204">
                  <c:v>-1.1764705882352899E-2</c:v>
                </c:pt>
                <c:pt idx="37205">
                  <c:v>-1.1764705882352899E-2</c:v>
                </c:pt>
                <c:pt idx="37206">
                  <c:v>-1.1764705882352899E-2</c:v>
                </c:pt>
                <c:pt idx="37207">
                  <c:v>-1.1764705882352899E-2</c:v>
                </c:pt>
                <c:pt idx="37208">
                  <c:v>-1.1764705882352899E-2</c:v>
                </c:pt>
                <c:pt idx="37209">
                  <c:v>-1.1764705882352899E-2</c:v>
                </c:pt>
                <c:pt idx="37210">
                  <c:v>-1.1764705882352899E-2</c:v>
                </c:pt>
                <c:pt idx="37211">
                  <c:v>-1.1764705882352899E-2</c:v>
                </c:pt>
                <c:pt idx="37212">
                  <c:v>-1.1764705882352899E-2</c:v>
                </c:pt>
                <c:pt idx="37213">
                  <c:v>-1.1764705882352899E-2</c:v>
                </c:pt>
                <c:pt idx="37214">
                  <c:v>-1.26050420168066E-2</c:v>
                </c:pt>
                <c:pt idx="37215">
                  <c:v>-1.26050420168066E-2</c:v>
                </c:pt>
                <c:pt idx="37216">
                  <c:v>-1.26050420168066E-2</c:v>
                </c:pt>
                <c:pt idx="37217">
                  <c:v>-1.26050420168066E-2</c:v>
                </c:pt>
                <c:pt idx="37218">
                  <c:v>-1.26050420168066E-2</c:v>
                </c:pt>
                <c:pt idx="37219">
                  <c:v>-1.26050420168066E-2</c:v>
                </c:pt>
                <c:pt idx="37220">
                  <c:v>-1.26050420168066E-2</c:v>
                </c:pt>
                <c:pt idx="37221">
                  <c:v>-1.26050420168066E-2</c:v>
                </c:pt>
                <c:pt idx="37222">
                  <c:v>-1.26050420168066E-2</c:v>
                </c:pt>
                <c:pt idx="37223">
                  <c:v>-1.26050420168066E-2</c:v>
                </c:pt>
                <c:pt idx="37224">
                  <c:v>-1.26050420168066E-2</c:v>
                </c:pt>
                <c:pt idx="37225">
                  <c:v>-1.26050420168066E-2</c:v>
                </c:pt>
                <c:pt idx="37226">
                  <c:v>-1.26050420168066E-2</c:v>
                </c:pt>
                <c:pt idx="37227">
                  <c:v>-1.1764705882352899E-2</c:v>
                </c:pt>
                <c:pt idx="37228">
                  <c:v>-1.1764705882352899E-2</c:v>
                </c:pt>
                <c:pt idx="37229">
                  <c:v>-1.1764705882352899E-2</c:v>
                </c:pt>
                <c:pt idx="37230">
                  <c:v>-1.1764705882352899E-2</c:v>
                </c:pt>
                <c:pt idx="37231">
                  <c:v>-1.1764705882352899E-2</c:v>
                </c:pt>
                <c:pt idx="37232">
                  <c:v>-1.1764705882352899E-2</c:v>
                </c:pt>
                <c:pt idx="37233">
                  <c:v>-1.1764705882352899E-2</c:v>
                </c:pt>
                <c:pt idx="37234">
                  <c:v>-1.1764705882352899E-2</c:v>
                </c:pt>
                <c:pt idx="37235">
                  <c:v>-1.1764705882352899E-2</c:v>
                </c:pt>
                <c:pt idx="37236">
                  <c:v>-1.1764705882352899E-2</c:v>
                </c:pt>
                <c:pt idx="37237">
                  <c:v>-1.1764705882352899E-2</c:v>
                </c:pt>
                <c:pt idx="37238">
                  <c:v>-1.1764705882352899E-2</c:v>
                </c:pt>
                <c:pt idx="37239">
                  <c:v>-1.1764705882352899E-2</c:v>
                </c:pt>
                <c:pt idx="37240">
                  <c:v>-1.1764705882352899E-2</c:v>
                </c:pt>
                <c:pt idx="37241">
                  <c:v>-1.1764705882352899E-2</c:v>
                </c:pt>
                <c:pt idx="37242">
                  <c:v>-1.1764705882352899E-2</c:v>
                </c:pt>
                <c:pt idx="37243">
                  <c:v>-1.1764705882352899E-2</c:v>
                </c:pt>
                <c:pt idx="37244">
                  <c:v>-1.1764705882352899E-2</c:v>
                </c:pt>
                <c:pt idx="37245">
                  <c:v>-1.1764705882352899E-2</c:v>
                </c:pt>
                <c:pt idx="37246">
                  <c:v>-1.1764705882352899E-2</c:v>
                </c:pt>
                <c:pt idx="37247">
                  <c:v>-1.1764705882352899E-2</c:v>
                </c:pt>
                <c:pt idx="37248">
                  <c:v>-1.1764705882352899E-2</c:v>
                </c:pt>
                <c:pt idx="37249">
                  <c:v>-1.1764705882352899E-2</c:v>
                </c:pt>
                <c:pt idx="37250">
                  <c:v>-1.1764705882352899E-2</c:v>
                </c:pt>
                <c:pt idx="37251">
                  <c:v>-1.1764705882352899E-2</c:v>
                </c:pt>
                <c:pt idx="37252">
                  <c:v>-1.1764705882352899E-2</c:v>
                </c:pt>
                <c:pt idx="37253">
                  <c:v>-1.1764705882352899E-2</c:v>
                </c:pt>
                <c:pt idx="37254">
                  <c:v>-1.1764705882352899E-2</c:v>
                </c:pt>
                <c:pt idx="37255">
                  <c:v>-1.1764705882352899E-2</c:v>
                </c:pt>
                <c:pt idx="37256">
                  <c:v>-1.1764705882352899E-2</c:v>
                </c:pt>
                <c:pt idx="37257">
                  <c:v>-1.1764705882352899E-2</c:v>
                </c:pt>
                <c:pt idx="37258">
                  <c:v>-1.1764705882352899E-2</c:v>
                </c:pt>
                <c:pt idx="37259">
                  <c:v>-1.1764705882352899E-2</c:v>
                </c:pt>
                <c:pt idx="37260">
                  <c:v>-1.26050420168066E-2</c:v>
                </c:pt>
                <c:pt idx="37261">
                  <c:v>-1.26050420168066E-2</c:v>
                </c:pt>
                <c:pt idx="37262">
                  <c:v>-1.26050420168066E-2</c:v>
                </c:pt>
                <c:pt idx="37263">
                  <c:v>-1.26050420168066E-2</c:v>
                </c:pt>
                <c:pt idx="37264">
                  <c:v>-1.26050420168066E-2</c:v>
                </c:pt>
                <c:pt idx="37265">
                  <c:v>-1.26050420168066E-2</c:v>
                </c:pt>
                <c:pt idx="37266">
                  <c:v>-1.26050420168066E-2</c:v>
                </c:pt>
                <c:pt idx="37267">
                  <c:v>-1.26050420168066E-2</c:v>
                </c:pt>
                <c:pt idx="37268">
                  <c:v>-1.26050420168066E-2</c:v>
                </c:pt>
                <c:pt idx="37269">
                  <c:v>-1.26050420168066E-2</c:v>
                </c:pt>
                <c:pt idx="37270">
                  <c:v>-1.26050420168066E-2</c:v>
                </c:pt>
                <c:pt idx="37271">
                  <c:v>-1.26050420168066E-2</c:v>
                </c:pt>
                <c:pt idx="37272">
                  <c:v>-1.26050420168066E-2</c:v>
                </c:pt>
                <c:pt idx="37273">
                  <c:v>-1.26050420168066E-2</c:v>
                </c:pt>
                <c:pt idx="37274">
                  <c:v>-1.26050420168066E-2</c:v>
                </c:pt>
                <c:pt idx="37275">
                  <c:v>-1.26050420168066E-2</c:v>
                </c:pt>
                <c:pt idx="37276">
                  <c:v>-1.26050420168066E-2</c:v>
                </c:pt>
                <c:pt idx="37277">
                  <c:v>-1.26050420168066E-2</c:v>
                </c:pt>
                <c:pt idx="37278">
                  <c:v>-1.26050420168066E-2</c:v>
                </c:pt>
                <c:pt idx="37279">
                  <c:v>-1.26050420168066E-2</c:v>
                </c:pt>
                <c:pt idx="37280">
                  <c:v>-1.26050420168066E-2</c:v>
                </c:pt>
                <c:pt idx="37281">
                  <c:v>-1.26050420168066E-2</c:v>
                </c:pt>
                <c:pt idx="37282">
                  <c:v>-1.26050420168066E-2</c:v>
                </c:pt>
                <c:pt idx="37283">
                  <c:v>-1.26050420168066E-2</c:v>
                </c:pt>
                <c:pt idx="37284">
                  <c:v>-1.26050420168066E-2</c:v>
                </c:pt>
                <c:pt idx="37285">
                  <c:v>-1.26050420168066E-2</c:v>
                </c:pt>
                <c:pt idx="37286">
                  <c:v>-1.26050420168066E-2</c:v>
                </c:pt>
                <c:pt idx="37287">
                  <c:v>-1.26050420168066E-2</c:v>
                </c:pt>
                <c:pt idx="37288">
                  <c:v>-1.1764705882352899E-2</c:v>
                </c:pt>
                <c:pt idx="37289">
                  <c:v>-1.1764705882352899E-2</c:v>
                </c:pt>
                <c:pt idx="37290">
                  <c:v>-1.1764705882352899E-2</c:v>
                </c:pt>
                <c:pt idx="37291">
                  <c:v>-1.1764705882352899E-2</c:v>
                </c:pt>
                <c:pt idx="37292">
                  <c:v>-1.1764705882352899E-2</c:v>
                </c:pt>
                <c:pt idx="37293">
                  <c:v>-1.1764705882352899E-2</c:v>
                </c:pt>
                <c:pt idx="37294">
                  <c:v>-1.1764705882352899E-2</c:v>
                </c:pt>
                <c:pt idx="37295">
                  <c:v>-1.1764705882352899E-2</c:v>
                </c:pt>
                <c:pt idx="37296">
                  <c:v>-1.1764705882352899E-2</c:v>
                </c:pt>
                <c:pt idx="37297">
                  <c:v>-1.1764705882352899E-2</c:v>
                </c:pt>
                <c:pt idx="37298">
                  <c:v>-1.1764705882352899E-2</c:v>
                </c:pt>
                <c:pt idx="37299">
                  <c:v>-1.1764705882352899E-2</c:v>
                </c:pt>
                <c:pt idx="37300">
                  <c:v>-1.1764705882352899E-2</c:v>
                </c:pt>
                <c:pt idx="37301">
                  <c:v>-1.1764705882352899E-2</c:v>
                </c:pt>
                <c:pt idx="37302">
                  <c:v>-1.1764705882352899E-2</c:v>
                </c:pt>
                <c:pt idx="37303">
                  <c:v>-1.1764705882352899E-2</c:v>
                </c:pt>
                <c:pt idx="37304">
                  <c:v>-1.1764705882352899E-2</c:v>
                </c:pt>
                <c:pt idx="37305">
                  <c:v>-1.1764705882352899E-2</c:v>
                </c:pt>
                <c:pt idx="37306">
                  <c:v>-1.1764705882352899E-2</c:v>
                </c:pt>
                <c:pt idx="37307">
                  <c:v>-1.1764705882352899E-2</c:v>
                </c:pt>
                <c:pt idx="37308">
                  <c:v>-1.1764705882352899E-2</c:v>
                </c:pt>
                <c:pt idx="37309">
                  <c:v>-1.1764705882352899E-2</c:v>
                </c:pt>
                <c:pt idx="37310">
                  <c:v>-1.1764705882352899E-2</c:v>
                </c:pt>
                <c:pt idx="37311">
                  <c:v>-1.1764705882352899E-2</c:v>
                </c:pt>
                <c:pt idx="37312">
                  <c:v>-1.1764705882352899E-2</c:v>
                </c:pt>
                <c:pt idx="37313">
                  <c:v>-1.1764705882352899E-2</c:v>
                </c:pt>
                <c:pt idx="37314">
                  <c:v>-1.1764705882352899E-2</c:v>
                </c:pt>
                <c:pt idx="37315">
                  <c:v>-1.1764705882352899E-2</c:v>
                </c:pt>
                <c:pt idx="37316">
                  <c:v>-1.1764705882352899E-2</c:v>
                </c:pt>
                <c:pt idx="37317">
                  <c:v>-1.1764705882352899E-2</c:v>
                </c:pt>
                <c:pt idx="37318">
                  <c:v>-1.1764705882352899E-2</c:v>
                </c:pt>
                <c:pt idx="37319">
                  <c:v>-1.1764705882352899E-2</c:v>
                </c:pt>
                <c:pt idx="37320">
                  <c:v>-1.1764705882352899E-2</c:v>
                </c:pt>
                <c:pt idx="37321">
                  <c:v>-1.1764705882352899E-2</c:v>
                </c:pt>
                <c:pt idx="37322">
                  <c:v>-1.1764705882352899E-2</c:v>
                </c:pt>
                <c:pt idx="37323">
                  <c:v>-1.1764705882352899E-2</c:v>
                </c:pt>
                <c:pt idx="37324">
                  <c:v>-1.1764705882352899E-2</c:v>
                </c:pt>
                <c:pt idx="37325">
                  <c:v>-1.1764705882352899E-2</c:v>
                </c:pt>
                <c:pt idx="37326">
                  <c:v>-1.1764705882352899E-2</c:v>
                </c:pt>
                <c:pt idx="37327">
                  <c:v>-1.1764705882352899E-2</c:v>
                </c:pt>
                <c:pt idx="37328">
                  <c:v>-1.1764705882352899E-2</c:v>
                </c:pt>
                <c:pt idx="37329">
                  <c:v>-1.1764705882352899E-2</c:v>
                </c:pt>
                <c:pt idx="37330">
                  <c:v>-1.1764705882352899E-2</c:v>
                </c:pt>
                <c:pt idx="37331">
                  <c:v>-1.1764705882352899E-2</c:v>
                </c:pt>
                <c:pt idx="37332">
                  <c:v>-1.1764705882352899E-2</c:v>
                </c:pt>
                <c:pt idx="37333">
                  <c:v>-1.1764705882352899E-2</c:v>
                </c:pt>
                <c:pt idx="37334">
                  <c:v>-1.1764705882352899E-2</c:v>
                </c:pt>
                <c:pt idx="37335">
                  <c:v>-1.1764705882352899E-2</c:v>
                </c:pt>
                <c:pt idx="37336">
                  <c:v>-1.1764705882352899E-2</c:v>
                </c:pt>
                <c:pt idx="37337">
                  <c:v>-1.1764705882352899E-2</c:v>
                </c:pt>
                <c:pt idx="37338">
                  <c:v>-1.1764705882352899E-2</c:v>
                </c:pt>
                <c:pt idx="37339">
                  <c:v>-1.1764705882352899E-2</c:v>
                </c:pt>
                <c:pt idx="37340">
                  <c:v>-1.1764705882352899E-2</c:v>
                </c:pt>
                <c:pt idx="37341">
                  <c:v>-1.1764705882352899E-2</c:v>
                </c:pt>
                <c:pt idx="37342">
                  <c:v>-1.1764705882352899E-2</c:v>
                </c:pt>
                <c:pt idx="37343">
                  <c:v>-1.1764705882352899E-2</c:v>
                </c:pt>
                <c:pt idx="37344">
                  <c:v>-1.1764705882352899E-2</c:v>
                </c:pt>
                <c:pt idx="37345">
                  <c:v>-1.1764705882352899E-2</c:v>
                </c:pt>
                <c:pt idx="37346">
                  <c:v>-1.1764705882352899E-2</c:v>
                </c:pt>
                <c:pt idx="37347">
                  <c:v>-1.1764705882352899E-2</c:v>
                </c:pt>
                <c:pt idx="37348">
                  <c:v>-1.1764705882352899E-2</c:v>
                </c:pt>
                <c:pt idx="37349">
                  <c:v>-1.1764705882352899E-2</c:v>
                </c:pt>
                <c:pt idx="37350">
                  <c:v>-1.1764705882352899E-2</c:v>
                </c:pt>
                <c:pt idx="37351">
                  <c:v>-1.1764705882352899E-2</c:v>
                </c:pt>
                <c:pt idx="37352">
                  <c:v>-1.1764705882352899E-2</c:v>
                </c:pt>
                <c:pt idx="37353">
                  <c:v>-1.1764705882352899E-2</c:v>
                </c:pt>
                <c:pt idx="37354">
                  <c:v>-1.1764705882352899E-2</c:v>
                </c:pt>
                <c:pt idx="37355">
                  <c:v>-1.1764705882352899E-2</c:v>
                </c:pt>
                <c:pt idx="37356">
                  <c:v>-1.1764705882352899E-2</c:v>
                </c:pt>
                <c:pt idx="37357">
                  <c:v>-1.1764705882352899E-2</c:v>
                </c:pt>
                <c:pt idx="37358">
                  <c:v>-1.1764705882352899E-2</c:v>
                </c:pt>
                <c:pt idx="37359">
                  <c:v>-1.1764705882352899E-2</c:v>
                </c:pt>
                <c:pt idx="37360">
                  <c:v>-1.1764705882352899E-2</c:v>
                </c:pt>
                <c:pt idx="37361">
                  <c:v>-1.1764705882352899E-2</c:v>
                </c:pt>
                <c:pt idx="37362">
                  <c:v>-1.1764705882352899E-2</c:v>
                </c:pt>
                <c:pt idx="37363">
                  <c:v>-1.1764705882352899E-2</c:v>
                </c:pt>
                <c:pt idx="37364">
                  <c:v>-1.1764705882352899E-2</c:v>
                </c:pt>
                <c:pt idx="37365">
                  <c:v>-1.1764705882352899E-2</c:v>
                </c:pt>
                <c:pt idx="37366">
                  <c:v>-1.1764705882352899E-2</c:v>
                </c:pt>
                <c:pt idx="37367">
                  <c:v>-1.1764705882352899E-2</c:v>
                </c:pt>
                <c:pt idx="37368">
                  <c:v>-1.1764705882352899E-2</c:v>
                </c:pt>
                <c:pt idx="37369">
                  <c:v>-1.1764705882352899E-2</c:v>
                </c:pt>
                <c:pt idx="37370">
                  <c:v>-1.1764705882352899E-2</c:v>
                </c:pt>
                <c:pt idx="37371">
                  <c:v>-1.1764705882352899E-2</c:v>
                </c:pt>
                <c:pt idx="37372">
                  <c:v>-1.1764705882352899E-2</c:v>
                </c:pt>
                <c:pt idx="37373">
                  <c:v>-1.1764705882352899E-2</c:v>
                </c:pt>
                <c:pt idx="37374">
                  <c:v>-1.1764705882352899E-2</c:v>
                </c:pt>
                <c:pt idx="37375">
                  <c:v>-1.1764705882352899E-2</c:v>
                </c:pt>
                <c:pt idx="37376">
                  <c:v>-1.1764705882352899E-2</c:v>
                </c:pt>
                <c:pt idx="37377">
                  <c:v>-1.1764705882352899E-2</c:v>
                </c:pt>
                <c:pt idx="37378">
                  <c:v>-1.1764705882352899E-2</c:v>
                </c:pt>
                <c:pt idx="37379">
                  <c:v>-1.1764705882352899E-2</c:v>
                </c:pt>
                <c:pt idx="37380">
                  <c:v>-1.1764705882352899E-2</c:v>
                </c:pt>
                <c:pt idx="37381">
                  <c:v>-1.1764705882352899E-2</c:v>
                </c:pt>
                <c:pt idx="37382">
                  <c:v>-1.1764705882352899E-2</c:v>
                </c:pt>
                <c:pt idx="37383">
                  <c:v>-1.1764705882352899E-2</c:v>
                </c:pt>
                <c:pt idx="37384">
                  <c:v>-1.1764705882352899E-2</c:v>
                </c:pt>
                <c:pt idx="37385">
                  <c:v>-1.1764705882352899E-2</c:v>
                </c:pt>
                <c:pt idx="37386">
                  <c:v>-1.1764705882352899E-2</c:v>
                </c:pt>
                <c:pt idx="37387">
                  <c:v>-1.26050420168066E-2</c:v>
                </c:pt>
                <c:pt idx="37388">
                  <c:v>-1.26050420168066E-2</c:v>
                </c:pt>
                <c:pt idx="37389">
                  <c:v>-1.26050420168066E-2</c:v>
                </c:pt>
                <c:pt idx="37390">
                  <c:v>-1.26050420168066E-2</c:v>
                </c:pt>
                <c:pt idx="37391">
                  <c:v>-1.26050420168066E-2</c:v>
                </c:pt>
                <c:pt idx="37392">
                  <c:v>-1.26050420168066E-2</c:v>
                </c:pt>
                <c:pt idx="37393">
                  <c:v>-1.26050420168066E-2</c:v>
                </c:pt>
                <c:pt idx="37394">
                  <c:v>-1.26050420168066E-2</c:v>
                </c:pt>
                <c:pt idx="37395">
                  <c:v>-1.26050420168066E-2</c:v>
                </c:pt>
                <c:pt idx="37396">
                  <c:v>-1.26050420168066E-2</c:v>
                </c:pt>
                <c:pt idx="37397">
                  <c:v>-1.26050420168066E-2</c:v>
                </c:pt>
                <c:pt idx="37398">
                  <c:v>-1.26050420168066E-2</c:v>
                </c:pt>
                <c:pt idx="37399">
                  <c:v>-1.26050420168066E-2</c:v>
                </c:pt>
                <c:pt idx="37400">
                  <c:v>-1.26050420168066E-2</c:v>
                </c:pt>
                <c:pt idx="37401">
                  <c:v>-1.26050420168066E-2</c:v>
                </c:pt>
                <c:pt idx="37402">
                  <c:v>-1.26050420168066E-2</c:v>
                </c:pt>
                <c:pt idx="37403">
                  <c:v>-1.26050420168066E-2</c:v>
                </c:pt>
                <c:pt idx="37404">
                  <c:v>-1.26050420168066E-2</c:v>
                </c:pt>
                <c:pt idx="37405">
                  <c:v>-1.26050420168066E-2</c:v>
                </c:pt>
                <c:pt idx="37406">
                  <c:v>-1.26050420168066E-2</c:v>
                </c:pt>
                <c:pt idx="37407">
                  <c:v>-1.26050420168066E-2</c:v>
                </c:pt>
                <c:pt idx="37408">
                  <c:v>-1.26050420168066E-2</c:v>
                </c:pt>
                <c:pt idx="37409">
                  <c:v>-1.26050420168066E-2</c:v>
                </c:pt>
                <c:pt idx="37410">
                  <c:v>-1.26050420168066E-2</c:v>
                </c:pt>
                <c:pt idx="37411">
                  <c:v>-1.26050420168066E-2</c:v>
                </c:pt>
                <c:pt idx="37412">
                  <c:v>-1.26050420168066E-2</c:v>
                </c:pt>
                <c:pt idx="37413">
                  <c:v>-1.26050420168066E-2</c:v>
                </c:pt>
                <c:pt idx="37414">
                  <c:v>-1.26050420168066E-2</c:v>
                </c:pt>
                <c:pt idx="37415">
                  <c:v>-1.26050420168066E-2</c:v>
                </c:pt>
                <c:pt idx="37416">
                  <c:v>-1.1764705882352899E-2</c:v>
                </c:pt>
                <c:pt idx="37417">
                  <c:v>-1.1764705882352899E-2</c:v>
                </c:pt>
                <c:pt idx="37418">
                  <c:v>-1.1764705882352899E-2</c:v>
                </c:pt>
                <c:pt idx="37419">
                  <c:v>-1.1764705882352899E-2</c:v>
                </c:pt>
                <c:pt idx="37420">
                  <c:v>-1.1764705882352899E-2</c:v>
                </c:pt>
                <c:pt idx="37421">
                  <c:v>-1.1764705882352899E-2</c:v>
                </c:pt>
                <c:pt idx="37422">
                  <c:v>-1.1764705882352899E-2</c:v>
                </c:pt>
                <c:pt idx="37423">
                  <c:v>-1.1764705882352899E-2</c:v>
                </c:pt>
                <c:pt idx="37424">
                  <c:v>-1.1764705882352899E-2</c:v>
                </c:pt>
                <c:pt idx="37425">
                  <c:v>-1.1764705882352899E-2</c:v>
                </c:pt>
                <c:pt idx="37426">
                  <c:v>-1.1764705882352899E-2</c:v>
                </c:pt>
                <c:pt idx="37427">
                  <c:v>-1.1764705882352899E-2</c:v>
                </c:pt>
                <c:pt idx="37428">
                  <c:v>-1.1764705882352899E-2</c:v>
                </c:pt>
                <c:pt idx="37429">
                  <c:v>-1.1764705882352899E-2</c:v>
                </c:pt>
                <c:pt idx="37430">
                  <c:v>-1.1764705882352899E-2</c:v>
                </c:pt>
                <c:pt idx="37431">
                  <c:v>-1.1764705882352899E-2</c:v>
                </c:pt>
                <c:pt idx="37432">
                  <c:v>-1.1764705882352899E-2</c:v>
                </c:pt>
                <c:pt idx="37433">
                  <c:v>-1.1764705882352899E-2</c:v>
                </c:pt>
                <c:pt idx="37434">
                  <c:v>-1.1764705882352899E-2</c:v>
                </c:pt>
                <c:pt idx="37435">
                  <c:v>-1.1764705882352899E-2</c:v>
                </c:pt>
                <c:pt idx="37436">
                  <c:v>-1.1764705882352899E-2</c:v>
                </c:pt>
                <c:pt idx="37437">
                  <c:v>-1.1764705882352899E-2</c:v>
                </c:pt>
                <c:pt idx="37438">
                  <c:v>-1.1764705882352899E-2</c:v>
                </c:pt>
                <c:pt idx="37439">
                  <c:v>-1.1764705882352899E-2</c:v>
                </c:pt>
                <c:pt idx="37440">
                  <c:v>-1.1764705882352899E-2</c:v>
                </c:pt>
                <c:pt idx="37441">
                  <c:v>-1.1764705882352899E-2</c:v>
                </c:pt>
                <c:pt idx="37442">
                  <c:v>-1.1764705882352899E-2</c:v>
                </c:pt>
                <c:pt idx="37443">
                  <c:v>-1.1764705882352899E-2</c:v>
                </c:pt>
                <c:pt idx="37444">
                  <c:v>-1.1764705882352899E-2</c:v>
                </c:pt>
                <c:pt idx="37445">
                  <c:v>-1.1764705882352899E-2</c:v>
                </c:pt>
                <c:pt idx="37446">
                  <c:v>-1.1764705882352899E-2</c:v>
                </c:pt>
                <c:pt idx="37447">
                  <c:v>-1.1764705882352899E-2</c:v>
                </c:pt>
                <c:pt idx="37448">
                  <c:v>-1.1764705882352899E-2</c:v>
                </c:pt>
                <c:pt idx="37449">
                  <c:v>-1.1764705882352899E-2</c:v>
                </c:pt>
                <c:pt idx="37450">
                  <c:v>-1.1764705882352899E-2</c:v>
                </c:pt>
                <c:pt idx="37451">
                  <c:v>-1.1764705882352899E-2</c:v>
                </c:pt>
                <c:pt idx="37452">
                  <c:v>-1.1764705882352899E-2</c:v>
                </c:pt>
                <c:pt idx="37453">
                  <c:v>-1.1764705882352899E-2</c:v>
                </c:pt>
                <c:pt idx="37454">
                  <c:v>-1.1764705882352899E-2</c:v>
                </c:pt>
                <c:pt idx="37455">
                  <c:v>-1.1764705882352899E-2</c:v>
                </c:pt>
                <c:pt idx="37456">
                  <c:v>-1.1764705882352899E-2</c:v>
                </c:pt>
                <c:pt idx="37457">
                  <c:v>-1.1764705882352899E-2</c:v>
                </c:pt>
                <c:pt idx="37458">
                  <c:v>-1.1764705882352899E-2</c:v>
                </c:pt>
                <c:pt idx="37459">
                  <c:v>-1.1764705882352899E-2</c:v>
                </c:pt>
                <c:pt idx="37460">
                  <c:v>-1.1764705882352899E-2</c:v>
                </c:pt>
                <c:pt idx="37461">
                  <c:v>-1.1764705882352899E-2</c:v>
                </c:pt>
                <c:pt idx="37462">
                  <c:v>-1.1764705882352899E-2</c:v>
                </c:pt>
                <c:pt idx="37463">
                  <c:v>-1.1764705882352899E-2</c:v>
                </c:pt>
                <c:pt idx="37464">
                  <c:v>-1.1764705882352899E-2</c:v>
                </c:pt>
                <c:pt idx="37465">
                  <c:v>-1.1764705882352899E-2</c:v>
                </c:pt>
                <c:pt idx="37466">
                  <c:v>-1.1764705882352899E-2</c:v>
                </c:pt>
                <c:pt idx="37467">
                  <c:v>-1.1764705882352899E-2</c:v>
                </c:pt>
                <c:pt idx="37468">
                  <c:v>-1.1764705882352899E-2</c:v>
                </c:pt>
                <c:pt idx="37469">
                  <c:v>-1.1764705882352899E-2</c:v>
                </c:pt>
                <c:pt idx="37470">
                  <c:v>-1.1764705882352899E-2</c:v>
                </c:pt>
                <c:pt idx="37471">
                  <c:v>-1.1764705882352899E-2</c:v>
                </c:pt>
                <c:pt idx="37472">
                  <c:v>-1.1764705882352899E-2</c:v>
                </c:pt>
                <c:pt idx="37473">
                  <c:v>-1.1764705882352899E-2</c:v>
                </c:pt>
                <c:pt idx="37474">
                  <c:v>-1.1764705882352899E-2</c:v>
                </c:pt>
                <c:pt idx="37475">
                  <c:v>-1.1764705882352899E-2</c:v>
                </c:pt>
                <c:pt idx="37476">
                  <c:v>-1.1764705882352899E-2</c:v>
                </c:pt>
                <c:pt idx="37477">
                  <c:v>-1.1764705882352899E-2</c:v>
                </c:pt>
                <c:pt idx="37478">
                  <c:v>-1.1764705882352899E-2</c:v>
                </c:pt>
                <c:pt idx="37479">
                  <c:v>-1.1764705882352899E-2</c:v>
                </c:pt>
                <c:pt idx="37480">
                  <c:v>-1.1764705882352899E-2</c:v>
                </c:pt>
                <c:pt idx="37481">
                  <c:v>-1.1764705882352899E-2</c:v>
                </c:pt>
                <c:pt idx="37482">
                  <c:v>-1.1764705882352899E-2</c:v>
                </c:pt>
                <c:pt idx="37483">
                  <c:v>-1.1764705882352899E-2</c:v>
                </c:pt>
                <c:pt idx="37484">
                  <c:v>-1.1764705882352899E-2</c:v>
                </c:pt>
                <c:pt idx="37485">
                  <c:v>-1.1764705882352899E-2</c:v>
                </c:pt>
                <c:pt idx="37486">
                  <c:v>-1.1764705882352899E-2</c:v>
                </c:pt>
                <c:pt idx="37487">
                  <c:v>-1.1764705882352899E-2</c:v>
                </c:pt>
                <c:pt idx="37488">
                  <c:v>-1.1764705882352899E-2</c:v>
                </c:pt>
                <c:pt idx="37489">
                  <c:v>-1.1764705882352899E-2</c:v>
                </c:pt>
                <c:pt idx="37490">
                  <c:v>-1.1764705882352899E-2</c:v>
                </c:pt>
                <c:pt idx="37491">
                  <c:v>-1.1764705882352899E-2</c:v>
                </c:pt>
                <c:pt idx="37492">
                  <c:v>-1.1764705882352899E-2</c:v>
                </c:pt>
                <c:pt idx="37493">
                  <c:v>-1.1764705882352899E-2</c:v>
                </c:pt>
                <c:pt idx="37494">
                  <c:v>-1.1764705882352899E-2</c:v>
                </c:pt>
                <c:pt idx="37495">
                  <c:v>-1.1764705882352899E-2</c:v>
                </c:pt>
                <c:pt idx="37496">
                  <c:v>-1.1764705882352899E-2</c:v>
                </c:pt>
                <c:pt idx="37497">
                  <c:v>-1.1764705882352899E-2</c:v>
                </c:pt>
                <c:pt idx="37498">
                  <c:v>-1.1764705882352899E-2</c:v>
                </c:pt>
                <c:pt idx="37499">
                  <c:v>-1.1764705882352899E-2</c:v>
                </c:pt>
                <c:pt idx="37500">
                  <c:v>-1.1764705882352899E-2</c:v>
                </c:pt>
                <c:pt idx="37501">
                  <c:v>-1.1764705882352899E-2</c:v>
                </c:pt>
                <c:pt idx="37502">
                  <c:v>-1.1764705882352899E-2</c:v>
                </c:pt>
                <c:pt idx="37503">
                  <c:v>-1.1764705882352899E-2</c:v>
                </c:pt>
                <c:pt idx="37504">
                  <c:v>-1.1764705882352899E-2</c:v>
                </c:pt>
                <c:pt idx="37505">
                  <c:v>-1.1764705882352899E-2</c:v>
                </c:pt>
                <c:pt idx="37506">
                  <c:v>-1.1764705882352899E-2</c:v>
                </c:pt>
                <c:pt idx="37507">
                  <c:v>-1.1764705882352899E-2</c:v>
                </c:pt>
                <c:pt idx="37508">
                  <c:v>-1.1764705882352899E-2</c:v>
                </c:pt>
                <c:pt idx="37509">
                  <c:v>-1.1764705882352899E-2</c:v>
                </c:pt>
                <c:pt idx="37510">
                  <c:v>-1.1764705882352899E-2</c:v>
                </c:pt>
                <c:pt idx="37511">
                  <c:v>-1.1764705882352899E-2</c:v>
                </c:pt>
                <c:pt idx="37512">
                  <c:v>-1.1764705882352899E-2</c:v>
                </c:pt>
                <c:pt idx="37513">
                  <c:v>-1.1764705882352899E-2</c:v>
                </c:pt>
                <c:pt idx="37514">
                  <c:v>-1.1764705882352899E-2</c:v>
                </c:pt>
                <c:pt idx="37515">
                  <c:v>-1.1764705882352899E-2</c:v>
                </c:pt>
                <c:pt idx="37516">
                  <c:v>-1.1764705882352899E-2</c:v>
                </c:pt>
                <c:pt idx="37517">
                  <c:v>-1.1764705882352899E-2</c:v>
                </c:pt>
                <c:pt idx="37518">
                  <c:v>-1.1764705882352899E-2</c:v>
                </c:pt>
                <c:pt idx="37519">
                  <c:v>-1.1764705882352899E-2</c:v>
                </c:pt>
                <c:pt idx="37520">
                  <c:v>-1.1764705882352899E-2</c:v>
                </c:pt>
                <c:pt idx="37521">
                  <c:v>-1.1764705882352899E-2</c:v>
                </c:pt>
                <c:pt idx="37522">
                  <c:v>-1.1764705882352899E-2</c:v>
                </c:pt>
                <c:pt idx="37523">
                  <c:v>-1.1764705882352899E-2</c:v>
                </c:pt>
                <c:pt idx="37524">
                  <c:v>-1.1764705882352899E-2</c:v>
                </c:pt>
                <c:pt idx="37525">
                  <c:v>-1.09243697478991E-2</c:v>
                </c:pt>
                <c:pt idx="37526">
                  <c:v>-1.09243697478991E-2</c:v>
                </c:pt>
                <c:pt idx="37527">
                  <c:v>-1.09243697478991E-2</c:v>
                </c:pt>
                <c:pt idx="37528">
                  <c:v>-1.09243697478991E-2</c:v>
                </c:pt>
                <c:pt idx="37529">
                  <c:v>-1.09243697478991E-2</c:v>
                </c:pt>
                <c:pt idx="37530">
                  <c:v>-1.09243697478991E-2</c:v>
                </c:pt>
                <c:pt idx="37531">
                  <c:v>-1.09243697478991E-2</c:v>
                </c:pt>
                <c:pt idx="37532">
                  <c:v>-1.09243697478991E-2</c:v>
                </c:pt>
                <c:pt idx="37533">
                  <c:v>-1.09243697478991E-2</c:v>
                </c:pt>
                <c:pt idx="37534">
                  <c:v>-1.09243697478991E-2</c:v>
                </c:pt>
                <c:pt idx="37535">
                  <c:v>-1.1764705882352899E-2</c:v>
                </c:pt>
                <c:pt idx="37536">
                  <c:v>-1.1764705882352899E-2</c:v>
                </c:pt>
                <c:pt idx="37537">
                  <c:v>-1.1764705882352899E-2</c:v>
                </c:pt>
                <c:pt idx="37538">
                  <c:v>-1.1764705882352899E-2</c:v>
                </c:pt>
                <c:pt idx="37539">
                  <c:v>-1.1764705882352899E-2</c:v>
                </c:pt>
                <c:pt idx="37540">
                  <c:v>-1.1764705882352899E-2</c:v>
                </c:pt>
                <c:pt idx="37541">
                  <c:v>-1.1764705882352899E-2</c:v>
                </c:pt>
                <c:pt idx="37542">
                  <c:v>-1.1764705882352899E-2</c:v>
                </c:pt>
                <c:pt idx="37543">
                  <c:v>-1.1764705882352899E-2</c:v>
                </c:pt>
                <c:pt idx="37544">
                  <c:v>-1.1764705882352899E-2</c:v>
                </c:pt>
                <c:pt idx="37545">
                  <c:v>-1.1764705882352899E-2</c:v>
                </c:pt>
                <c:pt idx="37546">
                  <c:v>-1.1764705882352899E-2</c:v>
                </c:pt>
                <c:pt idx="37547">
                  <c:v>-1.1764705882352899E-2</c:v>
                </c:pt>
                <c:pt idx="37548">
                  <c:v>-1.1764705882352899E-2</c:v>
                </c:pt>
                <c:pt idx="37549">
                  <c:v>-1.1764705882352899E-2</c:v>
                </c:pt>
                <c:pt idx="37550">
                  <c:v>-1.1764705882352899E-2</c:v>
                </c:pt>
                <c:pt idx="37551">
                  <c:v>-1.1764705882352899E-2</c:v>
                </c:pt>
                <c:pt idx="37552">
                  <c:v>-1.1764705882352899E-2</c:v>
                </c:pt>
                <c:pt idx="37553">
                  <c:v>-1.1764705882352899E-2</c:v>
                </c:pt>
                <c:pt idx="37554">
                  <c:v>-1.1764705882352899E-2</c:v>
                </c:pt>
                <c:pt idx="37555">
                  <c:v>-1.26050420168066E-2</c:v>
                </c:pt>
                <c:pt idx="37556">
                  <c:v>-1.26050420168066E-2</c:v>
                </c:pt>
                <c:pt idx="37557">
                  <c:v>-1.26050420168066E-2</c:v>
                </c:pt>
                <c:pt idx="37558">
                  <c:v>-1.26050420168066E-2</c:v>
                </c:pt>
                <c:pt idx="37559">
                  <c:v>-1.26050420168066E-2</c:v>
                </c:pt>
                <c:pt idx="37560">
                  <c:v>-1.26050420168066E-2</c:v>
                </c:pt>
                <c:pt idx="37561">
                  <c:v>-1.26050420168066E-2</c:v>
                </c:pt>
                <c:pt idx="37562">
                  <c:v>-1.26050420168066E-2</c:v>
                </c:pt>
                <c:pt idx="37563">
                  <c:v>-1.26050420168066E-2</c:v>
                </c:pt>
                <c:pt idx="37564">
                  <c:v>-1.26050420168066E-2</c:v>
                </c:pt>
                <c:pt idx="37565">
                  <c:v>-1.26050420168066E-2</c:v>
                </c:pt>
                <c:pt idx="37566">
                  <c:v>-1.26050420168066E-2</c:v>
                </c:pt>
                <c:pt idx="37567">
                  <c:v>-1.26050420168066E-2</c:v>
                </c:pt>
                <c:pt idx="37568">
                  <c:v>-1.26050420168066E-2</c:v>
                </c:pt>
                <c:pt idx="37569">
                  <c:v>-1.26050420168066E-2</c:v>
                </c:pt>
                <c:pt idx="37570">
                  <c:v>-1.26050420168066E-2</c:v>
                </c:pt>
                <c:pt idx="37571">
                  <c:v>-1.26050420168066E-2</c:v>
                </c:pt>
                <c:pt idx="37572">
                  <c:v>-1.26050420168066E-2</c:v>
                </c:pt>
                <c:pt idx="37573">
                  <c:v>-1.26050420168066E-2</c:v>
                </c:pt>
                <c:pt idx="37574">
                  <c:v>-1.26050420168066E-2</c:v>
                </c:pt>
                <c:pt idx="37575">
                  <c:v>-1.26050420168066E-2</c:v>
                </c:pt>
                <c:pt idx="37576">
                  <c:v>-1.26050420168066E-2</c:v>
                </c:pt>
                <c:pt idx="37577">
                  <c:v>-1.26050420168066E-2</c:v>
                </c:pt>
                <c:pt idx="37578">
                  <c:v>-1.26050420168066E-2</c:v>
                </c:pt>
                <c:pt idx="37579">
                  <c:v>-1.26050420168066E-2</c:v>
                </c:pt>
                <c:pt idx="37580">
                  <c:v>-1.26050420168066E-2</c:v>
                </c:pt>
                <c:pt idx="37581">
                  <c:v>-1.26050420168066E-2</c:v>
                </c:pt>
                <c:pt idx="37582">
                  <c:v>-1.26050420168066E-2</c:v>
                </c:pt>
                <c:pt idx="37583">
                  <c:v>-1.26050420168066E-2</c:v>
                </c:pt>
                <c:pt idx="37584">
                  <c:v>-1.26050420168066E-2</c:v>
                </c:pt>
                <c:pt idx="37585">
                  <c:v>-1.1764705882352899E-2</c:v>
                </c:pt>
                <c:pt idx="37586">
                  <c:v>-1.1764705882352899E-2</c:v>
                </c:pt>
                <c:pt idx="37587">
                  <c:v>-1.1764705882352899E-2</c:v>
                </c:pt>
                <c:pt idx="37588">
                  <c:v>-1.1764705882352899E-2</c:v>
                </c:pt>
                <c:pt idx="37589">
                  <c:v>-1.1764705882352899E-2</c:v>
                </c:pt>
                <c:pt idx="37590">
                  <c:v>-1.1764705882352899E-2</c:v>
                </c:pt>
                <c:pt idx="37591">
                  <c:v>-1.1764705882352899E-2</c:v>
                </c:pt>
                <c:pt idx="37592">
                  <c:v>-1.1764705882352899E-2</c:v>
                </c:pt>
                <c:pt idx="37593">
                  <c:v>-1.1764705882352899E-2</c:v>
                </c:pt>
                <c:pt idx="37594">
                  <c:v>-1.1764705882352899E-2</c:v>
                </c:pt>
                <c:pt idx="37595">
                  <c:v>-1.1764705882352899E-2</c:v>
                </c:pt>
                <c:pt idx="37596">
                  <c:v>-1.1764705882352899E-2</c:v>
                </c:pt>
                <c:pt idx="37597">
                  <c:v>-1.1764705882352899E-2</c:v>
                </c:pt>
                <c:pt idx="37598">
                  <c:v>-1.1764705882352899E-2</c:v>
                </c:pt>
                <c:pt idx="37599">
                  <c:v>-1.1764705882352899E-2</c:v>
                </c:pt>
                <c:pt idx="37600">
                  <c:v>-1.1764705882352899E-2</c:v>
                </c:pt>
                <c:pt idx="37601">
                  <c:v>-1.1764705882352899E-2</c:v>
                </c:pt>
                <c:pt idx="37602">
                  <c:v>-1.1764705882352899E-2</c:v>
                </c:pt>
                <c:pt idx="37603">
                  <c:v>-1.1764705882352899E-2</c:v>
                </c:pt>
                <c:pt idx="37604">
                  <c:v>-1.1764705882352899E-2</c:v>
                </c:pt>
                <c:pt idx="37605">
                  <c:v>-1.1764705882352899E-2</c:v>
                </c:pt>
                <c:pt idx="37606">
                  <c:v>-1.1764705882352899E-2</c:v>
                </c:pt>
                <c:pt idx="37607">
                  <c:v>-1.1764705882352899E-2</c:v>
                </c:pt>
                <c:pt idx="37608">
                  <c:v>-1.1764705882352899E-2</c:v>
                </c:pt>
                <c:pt idx="37609">
                  <c:v>-1.1764705882352899E-2</c:v>
                </c:pt>
                <c:pt idx="37610">
                  <c:v>-1.1764705882352899E-2</c:v>
                </c:pt>
                <c:pt idx="37611">
                  <c:v>-1.1764705882352899E-2</c:v>
                </c:pt>
                <c:pt idx="37612">
                  <c:v>-1.1764705882352899E-2</c:v>
                </c:pt>
                <c:pt idx="37613">
                  <c:v>-1.1764705882352899E-2</c:v>
                </c:pt>
                <c:pt idx="37614">
                  <c:v>-1.1764705882352899E-2</c:v>
                </c:pt>
                <c:pt idx="37615">
                  <c:v>-1.1764705882352899E-2</c:v>
                </c:pt>
                <c:pt idx="37616">
                  <c:v>-1.1764705882352899E-2</c:v>
                </c:pt>
                <c:pt idx="37617">
                  <c:v>-1.1764705882352899E-2</c:v>
                </c:pt>
                <c:pt idx="37618">
                  <c:v>-1.1764705882352899E-2</c:v>
                </c:pt>
                <c:pt idx="37619">
                  <c:v>-1.1764705882352899E-2</c:v>
                </c:pt>
                <c:pt idx="37620">
                  <c:v>-1.1764705882352899E-2</c:v>
                </c:pt>
                <c:pt idx="37621">
                  <c:v>-1.1764705882352899E-2</c:v>
                </c:pt>
                <c:pt idx="37622">
                  <c:v>-1.1764705882352899E-2</c:v>
                </c:pt>
                <c:pt idx="37623">
                  <c:v>-1.1764705882352899E-2</c:v>
                </c:pt>
                <c:pt idx="37624">
                  <c:v>-1.1764705882352899E-2</c:v>
                </c:pt>
                <c:pt idx="37625">
                  <c:v>-1.1764705882352899E-2</c:v>
                </c:pt>
                <c:pt idx="37626">
                  <c:v>-1.1764705882352899E-2</c:v>
                </c:pt>
                <c:pt idx="37627">
                  <c:v>-1.09243697478991E-2</c:v>
                </c:pt>
                <c:pt idx="37628">
                  <c:v>-1.09243697478991E-2</c:v>
                </c:pt>
                <c:pt idx="37629">
                  <c:v>-1.09243697478991E-2</c:v>
                </c:pt>
                <c:pt idx="37630">
                  <c:v>-1.09243697478991E-2</c:v>
                </c:pt>
                <c:pt idx="37631">
                  <c:v>-1.09243697478991E-2</c:v>
                </c:pt>
                <c:pt idx="37632">
                  <c:v>-1.09243697478991E-2</c:v>
                </c:pt>
                <c:pt idx="37633">
                  <c:v>-1.09243697478991E-2</c:v>
                </c:pt>
                <c:pt idx="37634">
                  <c:v>-1.09243697478991E-2</c:v>
                </c:pt>
                <c:pt idx="37635">
                  <c:v>-1.09243697478991E-2</c:v>
                </c:pt>
                <c:pt idx="37636">
                  <c:v>-1.09243697478991E-2</c:v>
                </c:pt>
                <c:pt idx="37637">
                  <c:v>-1.09243697478991E-2</c:v>
                </c:pt>
                <c:pt idx="37638">
                  <c:v>-1.09243697478991E-2</c:v>
                </c:pt>
                <c:pt idx="37639">
                  <c:v>-1.09243697478991E-2</c:v>
                </c:pt>
                <c:pt idx="37640">
                  <c:v>-1.09243697478991E-2</c:v>
                </c:pt>
                <c:pt idx="37641">
                  <c:v>-1.09243697478991E-2</c:v>
                </c:pt>
                <c:pt idx="37642">
                  <c:v>-1.09243697478991E-2</c:v>
                </c:pt>
                <c:pt idx="37643">
                  <c:v>-1.09243697478991E-2</c:v>
                </c:pt>
                <c:pt idx="37644">
                  <c:v>-1.09243697478991E-2</c:v>
                </c:pt>
                <c:pt idx="37645">
                  <c:v>-1.09243697478991E-2</c:v>
                </c:pt>
                <c:pt idx="37646">
                  <c:v>-1.09243697478991E-2</c:v>
                </c:pt>
                <c:pt idx="37647">
                  <c:v>-1.09243697478991E-2</c:v>
                </c:pt>
                <c:pt idx="37648">
                  <c:v>-1.09243697478991E-2</c:v>
                </c:pt>
                <c:pt idx="37649">
                  <c:v>-1.09243697478991E-2</c:v>
                </c:pt>
                <c:pt idx="37650">
                  <c:v>-1.09243697478991E-2</c:v>
                </c:pt>
                <c:pt idx="37651">
                  <c:v>-1.09243697478991E-2</c:v>
                </c:pt>
                <c:pt idx="37652">
                  <c:v>-1.09243697478991E-2</c:v>
                </c:pt>
                <c:pt idx="37653">
                  <c:v>-1.09243697478991E-2</c:v>
                </c:pt>
                <c:pt idx="37654">
                  <c:v>-1.09243697478991E-2</c:v>
                </c:pt>
                <c:pt idx="37655">
                  <c:v>-1.09243697478991E-2</c:v>
                </c:pt>
                <c:pt idx="37656">
                  <c:v>-1.09243697478991E-2</c:v>
                </c:pt>
                <c:pt idx="37657">
                  <c:v>-1.09243697478991E-2</c:v>
                </c:pt>
                <c:pt idx="37658">
                  <c:v>-1.09243697478991E-2</c:v>
                </c:pt>
                <c:pt idx="37659">
                  <c:v>-1.09243697478991E-2</c:v>
                </c:pt>
                <c:pt idx="37660">
                  <c:v>-1.09243697478991E-2</c:v>
                </c:pt>
                <c:pt idx="37661">
                  <c:v>-1.09243697478991E-2</c:v>
                </c:pt>
                <c:pt idx="37662">
                  <c:v>-1.09243697478991E-2</c:v>
                </c:pt>
                <c:pt idx="37663">
                  <c:v>-1.09243697478991E-2</c:v>
                </c:pt>
                <c:pt idx="37664">
                  <c:v>-1.09243697478991E-2</c:v>
                </c:pt>
                <c:pt idx="37665">
                  <c:v>-1.09243697478991E-2</c:v>
                </c:pt>
                <c:pt idx="37666">
                  <c:v>-1.09243697478991E-2</c:v>
                </c:pt>
                <c:pt idx="37667">
                  <c:v>-1.09243697478991E-2</c:v>
                </c:pt>
                <c:pt idx="37668">
                  <c:v>-1.09243697478991E-2</c:v>
                </c:pt>
                <c:pt idx="37669">
                  <c:v>-1.09243697478991E-2</c:v>
                </c:pt>
                <c:pt idx="37670">
                  <c:v>-1.09243697478991E-2</c:v>
                </c:pt>
                <c:pt idx="37671">
                  <c:v>-1.09243697478991E-2</c:v>
                </c:pt>
                <c:pt idx="37672">
                  <c:v>-1.09243697478991E-2</c:v>
                </c:pt>
                <c:pt idx="37673">
                  <c:v>-1.09243697478991E-2</c:v>
                </c:pt>
                <c:pt idx="37674">
                  <c:v>-1.09243697478991E-2</c:v>
                </c:pt>
                <c:pt idx="37675">
                  <c:v>-1.09243697478991E-2</c:v>
                </c:pt>
                <c:pt idx="37676">
                  <c:v>-1.09243697478991E-2</c:v>
                </c:pt>
                <c:pt idx="37677">
                  <c:v>-1.09243697478991E-2</c:v>
                </c:pt>
                <c:pt idx="37678">
                  <c:v>-1.09243697478991E-2</c:v>
                </c:pt>
                <c:pt idx="37679">
                  <c:v>-1.09243697478991E-2</c:v>
                </c:pt>
                <c:pt idx="37680">
                  <c:v>-1.09243697478991E-2</c:v>
                </c:pt>
                <c:pt idx="37681">
                  <c:v>-1.09243697478991E-2</c:v>
                </c:pt>
                <c:pt idx="37682">
                  <c:v>-1.09243697478991E-2</c:v>
                </c:pt>
                <c:pt idx="37683">
                  <c:v>-1.09243697478991E-2</c:v>
                </c:pt>
                <c:pt idx="37684">
                  <c:v>-1.09243697478991E-2</c:v>
                </c:pt>
                <c:pt idx="37685">
                  <c:v>-1.09243697478991E-2</c:v>
                </c:pt>
                <c:pt idx="37686">
                  <c:v>-1.09243697478991E-2</c:v>
                </c:pt>
                <c:pt idx="37687">
                  <c:v>-1.09243697478991E-2</c:v>
                </c:pt>
                <c:pt idx="37688">
                  <c:v>-1.09243697478991E-2</c:v>
                </c:pt>
                <c:pt idx="37689">
                  <c:v>-1.09243697478991E-2</c:v>
                </c:pt>
                <c:pt idx="37690">
                  <c:v>-1.09243697478991E-2</c:v>
                </c:pt>
                <c:pt idx="37691">
                  <c:v>-1.09243697478991E-2</c:v>
                </c:pt>
                <c:pt idx="37692">
                  <c:v>-1.09243697478991E-2</c:v>
                </c:pt>
                <c:pt idx="37693">
                  <c:v>-1.09243697478991E-2</c:v>
                </c:pt>
                <c:pt idx="37694">
                  <c:v>-1.09243697478991E-2</c:v>
                </c:pt>
                <c:pt idx="37695">
                  <c:v>-1.09243697478991E-2</c:v>
                </c:pt>
                <c:pt idx="37696">
                  <c:v>-1.09243697478991E-2</c:v>
                </c:pt>
                <c:pt idx="37697">
                  <c:v>-1.09243697478991E-2</c:v>
                </c:pt>
                <c:pt idx="37698">
                  <c:v>-1.09243697478991E-2</c:v>
                </c:pt>
                <c:pt idx="37699">
                  <c:v>-1.09243697478991E-2</c:v>
                </c:pt>
                <c:pt idx="37700">
                  <c:v>-1.09243697478991E-2</c:v>
                </c:pt>
                <c:pt idx="37701">
                  <c:v>-1.09243697478991E-2</c:v>
                </c:pt>
                <c:pt idx="37702">
                  <c:v>-1.09243697478991E-2</c:v>
                </c:pt>
                <c:pt idx="37703">
                  <c:v>-1.09243697478991E-2</c:v>
                </c:pt>
                <c:pt idx="37704">
                  <c:v>-1.09243697478991E-2</c:v>
                </c:pt>
                <c:pt idx="37705">
                  <c:v>-1.09243697478991E-2</c:v>
                </c:pt>
                <c:pt idx="37706">
                  <c:v>-1.09243697478991E-2</c:v>
                </c:pt>
                <c:pt idx="37707">
                  <c:v>-1.09243697478991E-2</c:v>
                </c:pt>
                <c:pt idx="37708">
                  <c:v>-1.09243697478991E-2</c:v>
                </c:pt>
                <c:pt idx="37709">
                  <c:v>-1.09243697478991E-2</c:v>
                </c:pt>
                <c:pt idx="37710">
                  <c:v>-1.09243697478991E-2</c:v>
                </c:pt>
                <c:pt idx="37711">
                  <c:v>-1.09243697478991E-2</c:v>
                </c:pt>
                <c:pt idx="37712">
                  <c:v>-1.09243697478991E-2</c:v>
                </c:pt>
                <c:pt idx="37713">
                  <c:v>-1.09243697478991E-2</c:v>
                </c:pt>
                <c:pt idx="37714">
                  <c:v>-1.09243697478991E-2</c:v>
                </c:pt>
                <c:pt idx="37715">
                  <c:v>-1.09243697478991E-2</c:v>
                </c:pt>
                <c:pt idx="37716">
                  <c:v>-1.09243697478991E-2</c:v>
                </c:pt>
                <c:pt idx="37717">
                  <c:v>-1.09243697478991E-2</c:v>
                </c:pt>
                <c:pt idx="37718">
                  <c:v>-1.09243697478991E-2</c:v>
                </c:pt>
                <c:pt idx="37719">
                  <c:v>-1.09243697478991E-2</c:v>
                </c:pt>
                <c:pt idx="37720">
                  <c:v>-1.09243697478991E-2</c:v>
                </c:pt>
                <c:pt idx="37721">
                  <c:v>-1.0084033613445301E-2</c:v>
                </c:pt>
                <c:pt idx="37722">
                  <c:v>-1.0084033613445301E-2</c:v>
                </c:pt>
                <c:pt idx="37723">
                  <c:v>-1.0084033613445301E-2</c:v>
                </c:pt>
                <c:pt idx="37724">
                  <c:v>-1.0084033613445301E-2</c:v>
                </c:pt>
                <c:pt idx="37725">
                  <c:v>-1.0084033613445301E-2</c:v>
                </c:pt>
                <c:pt idx="37726">
                  <c:v>-1.0084033613445301E-2</c:v>
                </c:pt>
                <c:pt idx="37727">
                  <c:v>-1.0084033613445301E-2</c:v>
                </c:pt>
                <c:pt idx="37728">
                  <c:v>-1.0084033613445301E-2</c:v>
                </c:pt>
                <c:pt idx="37729">
                  <c:v>-1.0084033613445301E-2</c:v>
                </c:pt>
                <c:pt idx="37730">
                  <c:v>-1.0084033613445301E-2</c:v>
                </c:pt>
                <c:pt idx="37731">
                  <c:v>-1.0084033613445301E-2</c:v>
                </c:pt>
                <c:pt idx="37732">
                  <c:v>-1.0084033613445301E-2</c:v>
                </c:pt>
                <c:pt idx="37733">
                  <c:v>-1.0084033613445301E-2</c:v>
                </c:pt>
                <c:pt idx="37734">
                  <c:v>-1.0084033613445301E-2</c:v>
                </c:pt>
                <c:pt idx="37735">
                  <c:v>-1.0084033613445301E-2</c:v>
                </c:pt>
                <c:pt idx="37736">
                  <c:v>-1.0084033613445301E-2</c:v>
                </c:pt>
                <c:pt idx="37737">
                  <c:v>-1.0084033613445301E-2</c:v>
                </c:pt>
                <c:pt idx="37738">
                  <c:v>-1.0084033613445301E-2</c:v>
                </c:pt>
                <c:pt idx="37739">
                  <c:v>-1.0084033613445301E-2</c:v>
                </c:pt>
                <c:pt idx="37740">
                  <c:v>-1.0084033613445301E-2</c:v>
                </c:pt>
                <c:pt idx="37741">
                  <c:v>-1.0084033613445301E-2</c:v>
                </c:pt>
                <c:pt idx="37742">
                  <c:v>-1.0084033613445301E-2</c:v>
                </c:pt>
                <c:pt idx="37743">
                  <c:v>-1.0084033613445301E-2</c:v>
                </c:pt>
                <c:pt idx="37744">
                  <c:v>-1.0084033613445301E-2</c:v>
                </c:pt>
                <c:pt idx="37745">
                  <c:v>-1.0084033613445301E-2</c:v>
                </c:pt>
                <c:pt idx="37746">
                  <c:v>-1.0084033613445301E-2</c:v>
                </c:pt>
                <c:pt idx="37747">
                  <c:v>-1.0084033613445301E-2</c:v>
                </c:pt>
                <c:pt idx="37748">
                  <c:v>-1.0084033613445301E-2</c:v>
                </c:pt>
                <c:pt idx="37749">
                  <c:v>-1.0084033613445301E-2</c:v>
                </c:pt>
                <c:pt idx="37750">
                  <c:v>-1.0084033613445301E-2</c:v>
                </c:pt>
                <c:pt idx="37751">
                  <c:v>-1.0084033613445301E-2</c:v>
                </c:pt>
                <c:pt idx="37752">
                  <c:v>-1.0084033613445301E-2</c:v>
                </c:pt>
                <c:pt idx="37753">
                  <c:v>-1.0084033613445301E-2</c:v>
                </c:pt>
                <c:pt idx="37754">
                  <c:v>-1.0084033613445301E-2</c:v>
                </c:pt>
                <c:pt idx="37755">
                  <c:v>-1.0084033613445301E-2</c:v>
                </c:pt>
                <c:pt idx="37756">
                  <c:v>-1.0084033613445301E-2</c:v>
                </c:pt>
                <c:pt idx="37757">
                  <c:v>-1.0084033613445301E-2</c:v>
                </c:pt>
                <c:pt idx="37758">
                  <c:v>-1.0084033613445301E-2</c:v>
                </c:pt>
                <c:pt idx="37759">
                  <c:v>-1.0084033613445301E-2</c:v>
                </c:pt>
                <c:pt idx="37760">
                  <c:v>-1.0084033613445301E-2</c:v>
                </c:pt>
                <c:pt idx="37761">
                  <c:v>-1.0084033613445301E-2</c:v>
                </c:pt>
                <c:pt idx="37762">
                  <c:v>-1.0084033613445301E-2</c:v>
                </c:pt>
                <c:pt idx="37763">
                  <c:v>-1.0084033613445301E-2</c:v>
                </c:pt>
                <c:pt idx="37764">
                  <c:v>-1.0084033613445301E-2</c:v>
                </c:pt>
                <c:pt idx="37765">
                  <c:v>-1.0084033613445301E-2</c:v>
                </c:pt>
                <c:pt idx="37766">
                  <c:v>-1.0084033613445301E-2</c:v>
                </c:pt>
                <c:pt idx="37767">
                  <c:v>-1.0084033613445301E-2</c:v>
                </c:pt>
                <c:pt idx="37768">
                  <c:v>-1.0084033613445301E-2</c:v>
                </c:pt>
                <c:pt idx="37769">
                  <c:v>-1.0084033613445301E-2</c:v>
                </c:pt>
                <c:pt idx="37770">
                  <c:v>-1.0084033613445301E-2</c:v>
                </c:pt>
                <c:pt idx="37771">
                  <c:v>-1.0084033613445301E-2</c:v>
                </c:pt>
                <c:pt idx="37772">
                  <c:v>-1.0084033613445301E-2</c:v>
                </c:pt>
                <c:pt idx="37773">
                  <c:v>-1.0084033613445301E-2</c:v>
                </c:pt>
                <c:pt idx="37774">
                  <c:v>-1.0084033613445301E-2</c:v>
                </c:pt>
                <c:pt idx="37775">
                  <c:v>-1.0084033613445301E-2</c:v>
                </c:pt>
                <c:pt idx="37776">
                  <c:v>-1.0084033613445301E-2</c:v>
                </c:pt>
                <c:pt idx="37777">
                  <c:v>-1.0084033613445301E-2</c:v>
                </c:pt>
                <c:pt idx="37778">
                  <c:v>-1.0084033613445301E-2</c:v>
                </c:pt>
                <c:pt idx="37779">
                  <c:v>-1.0084033613445301E-2</c:v>
                </c:pt>
                <c:pt idx="37780">
                  <c:v>-1.0084033613445301E-2</c:v>
                </c:pt>
                <c:pt idx="37781">
                  <c:v>-1.0084033613445301E-2</c:v>
                </c:pt>
                <c:pt idx="37782">
                  <c:v>-1.0084033613445301E-2</c:v>
                </c:pt>
                <c:pt idx="37783">
                  <c:v>-1.0084033613445301E-2</c:v>
                </c:pt>
                <c:pt idx="37784">
                  <c:v>-1.0084033613445301E-2</c:v>
                </c:pt>
                <c:pt idx="37785">
                  <c:v>-1.0084033613445301E-2</c:v>
                </c:pt>
                <c:pt idx="37786">
                  <c:v>-1.0084033613445301E-2</c:v>
                </c:pt>
                <c:pt idx="37787">
                  <c:v>-1.0084033613445301E-2</c:v>
                </c:pt>
                <c:pt idx="37788">
                  <c:v>-1.0084033613445301E-2</c:v>
                </c:pt>
                <c:pt idx="37789">
                  <c:v>-1.0084033613445301E-2</c:v>
                </c:pt>
                <c:pt idx="37790">
                  <c:v>-1.0084033613445301E-2</c:v>
                </c:pt>
                <c:pt idx="37791">
                  <c:v>-1.0084033613445301E-2</c:v>
                </c:pt>
                <c:pt idx="37792">
                  <c:v>-1.0084033613445301E-2</c:v>
                </c:pt>
                <c:pt idx="37793">
                  <c:v>-1.0084033613445301E-2</c:v>
                </c:pt>
                <c:pt idx="37794">
                  <c:v>-1.0084033613445301E-2</c:v>
                </c:pt>
                <c:pt idx="37795">
                  <c:v>-1.0084033613445301E-2</c:v>
                </c:pt>
                <c:pt idx="37796">
                  <c:v>-1.0084033613445301E-2</c:v>
                </c:pt>
                <c:pt idx="37797">
                  <c:v>-1.0084033613445301E-2</c:v>
                </c:pt>
                <c:pt idx="37798">
                  <c:v>-1.0084033613445301E-2</c:v>
                </c:pt>
                <c:pt idx="37799">
                  <c:v>-1.0084033613445301E-2</c:v>
                </c:pt>
                <c:pt idx="37800">
                  <c:v>-1.0084033613445301E-2</c:v>
                </c:pt>
                <c:pt idx="37801">
                  <c:v>-1.0084033613445301E-2</c:v>
                </c:pt>
                <c:pt idx="37802">
                  <c:v>-1.0084033613445301E-2</c:v>
                </c:pt>
                <c:pt idx="37803">
                  <c:v>-1.0084033613445301E-2</c:v>
                </c:pt>
                <c:pt idx="37804">
                  <c:v>-1.0084033613445301E-2</c:v>
                </c:pt>
                <c:pt idx="37805">
                  <c:v>-1.0084033613445301E-2</c:v>
                </c:pt>
                <c:pt idx="37806">
                  <c:v>-1.0084033613445301E-2</c:v>
                </c:pt>
                <c:pt idx="37807">
                  <c:v>-1.0084033613445301E-2</c:v>
                </c:pt>
                <c:pt idx="37808">
                  <c:v>-1.0084033613445301E-2</c:v>
                </c:pt>
                <c:pt idx="37809">
                  <c:v>-1.0084033613445301E-2</c:v>
                </c:pt>
                <c:pt idx="37810">
                  <c:v>-1.0084033613445301E-2</c:v>
                </c:pt>
                <c:pt idx="37811">
                  <c:v>-1.0084033613445301E-2</c:v>
                </c:pt>
                <c:pt idx="37812">
                  <c:v>-1.0084033613445301E-2</c:v>
                </c:pt>
                <c:pt idx="37813">
                  <c:v>-1.0084033613445301E-2</c:v>
                </c:pt>
                <c:pt idx="37814">
                  <c:v>-1.0084033613445301E-2</c:v>
                </c:pt>
                <c:pt idx="37815">
                  <c:v>-1.0084033613445301E-2</c:v>
                </c:pt>
                <c:pt idx="37816">
                  <c:v>-1.0084033613445301E-2</c:v>
                </c:pt>
                <c:pt idx="37817">
                  <c:v>-9.2436974789915603E-3</c:v>
                </c:pt>
                <c:pt idx="37818">
                  <c:v>-9.2436974789915603E-3</c:v>
                </c:pt>
                <c:pt idx="37819">
                  <c:v>-9.2436974789915603E-3</c:v>
                </c:pt>
                <c:pt idx="37820">
                  <c:v>-9.2436974789915603E-3</c:v>
                </c:pt>
                <c:pt idx="37821">
                  <c:v>-9.2436974789915603E-3</c:v>
                </c:pt>
                <c:pt idx="37822">
                  <c:v>-9.2436974789915603E-3</c:v>
                </c:pt>
                <c:pt idx="37823">
                  <c:v>-9.2436974789915603E-3</c:v>
                </c:pt>
                <c:pt idx="37824">
                  <c:v>-9.2436974789915603E-3</c:v>
                </c:pt>
                <c:pt idx="37825">
                  <c:v>-9.2436974789915603E-3</c:v>
                </c:pt>
                <c:pt idx="37826">
                  <c:v>-9.2436974789915603E-3</c:v>
                </c:pt>
                <c:pt idx="37827">
                  <c:v>-9.2436974789915603E-3</c:v>
                </c:pt>
                <c:pt idx="37828">
                  <c:v>-9.2436974789915603E-3</c:v>
                </c:pt>
                <c:pt idx="37829">
                  <c:v>-9.2436974789915603E-3</c:v>
                </c:pt>
                <c:pt idx="37830">
                  <c:v>-9.2436974789915603E-3</c:v>
                </c:pt>
                <c:pt idx="37831">
                  <c:v>-9.2436974789915603E-3</c:v>
                </c:pt>
                <c:pt idx="37832">
                  <c:v>-9.2436974789915603E-3</c:v>
                </c:pt>
                <c:pt idx="37833">
                  <c:v>-9.2436974789915603E-3</c:v>
                </c:pt>
                <c:pt idx="37834">
                  <c:v>-9.2436974789915603E-3</c:v>
                </c:pt>
                <c:pt idx="37835">
                  <c:v>-9.2436974789915603E-3</c:v>
                </c:pt>
                <c:pt idx="37836">
                  <c:v>-9.2436974789915603E-3</c:v>
                </c:pt>
                <c:pt idx="37837">
                  <c:v>-9.2436974789915603E-3</c:v>
                </c:pt>
                <c:pt idx="37838">
                  <c:v>-9.2436974789915603E-3</c:v>
                </c:pt>
                <c:pt idx="37839">
                  <c:v>-9.2436974789915603E-3</c:v>
                </c:pt>
                <c:pt idx="37840">
                  <c:v>-9.2436974789915603E-3</c:v>
                </c:pt>
                <c:pt idx="37841">
                  <c:v>-9.2436974789915603E-3</c:v>
                </c:pt>
                <c:pt idx="37842">
                  <c:v>-9.2436974789915603E-3</c:v>
                </c:pt>
                <c:pt idx="37843">
                  <c:v>-9.2436974789915603E-3</c:v>
                </c:pt>
                <c:pt idx="37844">
                  <c:v>-9.2436974789915603E-3</c:v>
                </c:pt>
                <c:pt idx="37845">
                  <c:v>-9.2436974789915603E-3</c:v>
                </c:pt>
                <c:pt idx="37846">
                  <c:v>-8.4033613445377801E-3</c:v>
                </c:pt>
                <c:pt idx="37847">
                  <c:v>-8.4033613445377801E-3</c:v>
                </c:pt>
                <c:pt idx="37848">
                  <c:v>-8.4033613445377801E-3</c:v>
                </c:pt>
                <c:pt idx="37849">
                  <c:v>-8.4033613445377801E-3</c:v>
                </c:pt>
                <c:pt idx="37850">
                  <c:v>-8.4033613445377801E-3</c:v>
                </c:pt>
                <c:pt idx="37851">
                  <c:v>-8.4033613445377801E-3</c:v>
                </c:pt>
                <c:pt idx="37852">
                  <c:v>-8.4033613445377801E-3</c:v>
                </c:pt>
                <c:pt idx="37853">
                  <c:v>-8.4033613445377801E-3</c:v>
                </c:pt>
                <c:pt idx="37854">
                  <c:v>-8.4033613445377801E-3</c:v>
                </c:pt>
                <c:pt idx="37855">
                  <c:v>-8.4033613445377801E-3</c:v>
                </c:pt>
                <c:pt idx="37856">
                  <c:v>-7.5630252100839998E-3</c:v>
                </c:pt>
                <c:pt idx="37857">
                  <c:v>-7.5630252100839998E-3</c:v>
                </c:pt>
                <c:pt idx="37858">
                  <c:v>-7.5630252100839998E-3</c:v>
                </c:pt>
                <c:pt idx="37859">
                  <c:v>-7.5630252100839998E-3</c:v>
                </c:pt>
                <c:pt idx="37860">
                  <c:v>-7.5630252100839998E-3</c:v>
                </c:pt>
                <c:pt idx="37861">
                  <c:v>-7.5630252100839998E-3</c:v>
                </c:pt>
                <c:pt idx="37862">
                  <c:v>-7.5630252100839998E-3</c:v>
                </c:pt>
                <c:pt idx="37863">
                  <c:v>-7.5630252100839998E-3</c:v>
                </c:pt>
                <c:pt idx="37864">
                  <c:v>-7.5630252100839998E-3</c:v>
                </c:pt>
                <c:pt idx="37865">
                  <c:v>-7.5630252100839998E-3</c:v>
                </c:pt>
                <c:pt idx="37866">
                  <c:v>-7.5630252100839998E-3</c:v>
                </c:pt>
                <c:pt idx="37867">
                  <c:v>-7.5630252100839998E-3</c:v>
                </c:pt>
                <c:pt idx="37868">
                  <c:v>-7.5630252100839998E-3</c:v>
                </c:pt>
                <c:pt idx="37869">
                  <c:v>-7.5630252100839998E-3</c:v>
                </c:pt>
                <c:pt idx="37870">
                  <c:v>-7.5630252100839998E-3</c:v>
                </c:pt>
                <c:pt idx="37871">
                  <c:v>-7.5630252100839998E-3</c:v>
                </c:pt>
                <c:pt idx="37872">
                  <c:v>-7.5630252100839998E-3</c:v>
                </c:pt>
                <c:pt idx="37873">
                  <c:v>-7.5630252100839998E-3</c:v>
                </c:pt>
                <c:pt idx="37874">
                  <c:v>-7.5630252100839998E-3</c:v>
                </c:pt>
                <c:pt idx="37875">
                  <c:v>-7.5630252100839998E-3</c:v>
                </c:pt>
                <c:pt idx="37876">
                  <c:v>-7.5630252100839998E-3</c:v>
                </c:pt>
                <c:pt idx="37877">
                  <c:v>-7.5630252100839998E-3</c:v>
                </c:pt>
                <c:pt idx="37878">
                  <c:v>-7.5630252100839998E-3</c:v>
                </c:pt>
                <c:pt idx="37879">
                  <c:v>-7.5630252100839998E-3</c:v>
                </c:pt>
                <c:pt idx="37880">
                  <c:v>-7.5630252100839998E-3</c:v>
                </c:pt>
                <c:pt idx="37881">
                  <c:v>-7.5630252100839998E-3</c:v>
                </c:pt>
                <c:pt idx="37882">
                  <c:v>-7.5630252100839998E-3</c:v>
                </c:pt>
                <c:pt idx="37883">
                  <c:v>-7.5630252100839998E-3</c:v>
                </c:pt>
                <c:pt idx="37884">
                  <c:v>-7.5630252100839998E-3</c:v>
                </c:pt>
                <c:pt idx="37885">
                  <c:v>-7.5630252100839998E-3</c:v>
                </c:pt>
                <c:pt idx="37886">
                  <c:v>-6.7226890756302204E-3</c:v>
                </c:pt>
                <c:pt idx="37887">
                  <c:v>-6.7226890756302204E-3</c:v>
                </c:pt>
                <c:pt idx="37888">
                  <c:v>-6.7226890756302204E-3</c:v>
                </c:pt>
                <c:pt idx="37889">
                  <c:v>-6.7226890756302204E-3</c:v>
                </c:pt>
                <c:pt idx="37890">
                  <c:v>-6.7226890756302204E-3</c:v>
                </c:pt>
                <c:pt idx="37891">
                  <c:v>-6.7226890756302204E-3</c:v>
                </c:pt>
                <c:pt idx="37892">
                  <c:v>-6.7226890756302204E-3</c:v>
                </c:pt>
                <c:pt idx="37893">
                  <c:v>-6.7226890756302204E-3</c:v>
                </c:pt>
                <c:pt idx="37894">
                  <c:v>-6.7226890756302204E-3</c:v>
                </c:pt>
                <c:pt idx="37895">
                  <c:v>-6.7226890756302204E-3</c:v>
                </c:pt>
                <c:pt idx="37896">
                  <c:v>-6.7226890756302204E-3</c:v>
                </c:pt>
                <c:pt idx="37897">
                  <c:v>-6.7226890756302204E-3</c:v>
                </c:pt>
                <c:pt idx="37898">
                  <c:v>-6.7226890756302204E-3</c:v>
                </c:pt>
                <c:pt idx="37899">
                  <c:v>-6.7226890756302204E-3</c:v>
                </c:pt>
                <c:pt idx="37900">
                  <c:v>-6.7226890756302204E-3</c:v>
                </c:pt>
                <c:pt idx="37901">
                  <c:v>-6.7226890756302204E-3</c:v>
                </c:pt>
                <c:pt idx="37902">
                  <c:v>-6.7226890756302204E-3</c:v>
                </c:pt>
                <c:pt idx="37903">
                  <c:v>-6.7226890756302204E-3</c:v>
                </c:pt>
                <c:pt idx="37904">
                  <c:v>-6.7226890756302204E-3</c:v>
                </c:pt>
                <c:pt idx="37905">
                  <c:v>-6.7226890756302204E-3</c:v>
                </c:pt>
                <c:pt idx="37906">
                  <c:v>-6.7226890756302204E-3</c:v>
                </c:pt>
                <c:pt idx="37907">
                  <c:v>-6.7226890756302204E-3</c:v>
                </c:pt>
                <c:pt idx="37908">
                  <c:v>-6.7226890756302204E-3</c:v>
                </c:pt>
                <c:pt idx="37909">
                  <c:v>-6.7226890756302204E-3</c:v>
                </c:pt>
                <c:pt idx="37910">
                  <c:v>-6.7226890756302204E-3</c:v>
                </c:pt>
                <c:pt idx="37911">
                  <c:v>-6.7226890756302204E-3</c:v>
                </c:pt>
                <c:pt idx="37912">
                  <c:v>-6.7226890756302204E-3</c:v>
                </c:pt>
                <c:pt idx="37913">
                  <c:v>-6.7226890756302204E-3</c:v>
                </c:pt>
                <c:pt idx="37914">
                  <c:v>-6.7226890756302204E-3</c:v>
                </c:pt>
                <c:pt idx="37915">
                  <c:v>-6.7226890756302204E-3</c:v>
                </c:pt>
                <c:pt idx="37916">
                  <c:v>-7.5630252100839998E-3</c:v>
                </c:pt>
                <c:pt idx="37917">
                  <c:v>-7.5630252100839998E-3</c:v>
                </c:pt>
                <c:pt idx="37918">
                  <c:v>-7.5630252100839998E-3</c:v>
                </c:pt>
                <c:pt idx="37919">
                  <c:v>-7.5630252100839998E-3</c:v>
                </c:pt>
                <c:pt idx="37920">
                  <c:v>-7.5630252100839998E-3</c:v>
                </c:pt>
                <c:pt idx="37921">
                  <c:v>-7.5630252100839998E-3</c:v>
                </c:pt>
                <c:pt idx="37922">
                  <c:v>-7.5630252100839998E-3</c:v>
                </c:pt>
                <c:pt idx="37923">
                  <c:v>-7.5630252100839998E-3</c:v>
                </c:pt>
                <c:pt idx="37924">
                  <c:v>-7.5630252100839998E-3</c:v>
                </c:pt>
                <c:pt idx="37925">
                  <c:v>-7.5630252100839998E-3</c:v>
                </c:pt>
                <c:pt idx="37926">
                  <c:v>-7.5630252100839998E-3</c:v>
                </c:pt>
                <c:pt idx="37927">
                  <c:v>-8.4033613445377801E-3</c:v>
                </c:pt>
                <c:pt idx="37928">
                  <c:v>-8.4033613445377801E-3</c:v>
                </c:pt>
                <c:pt idx="37929">
                  <c:v>-8.4033613445377801E-3</c:v>
                </c:pt>
                <c:pt idx="37930">
                  <c:v>-8.4033613445377801E-3</c:v>
                </c:pt>
                <c:pt idx="37931">
                  <c:v>-8.4033613445377801E-3</c:v>
                </c:pt>
                <c:pt idx="37932">
                  <c:v>-8.4033613445377801E-3</c:v>
                </c:pt>
                <c:pt idx="37933">
                  <c:v>-8.4033613445377801E-3</c:v>
                </c:pt>
                <c:pt idx="37934">
                  <c:v>-8.4033613445377801E-3</c:v>
                </c:pt>
                <c:pt idx="37935">
                  <c:v>-9.2436974789916696E-3</c:v>
                </c:pt>
                <c:pt idx="37936">
                  <c:v>-9.2436974789916696E-3</c:v>
                </c:pt>
                <c:pt idx="37937">
                  <c:v>-9.2436974789916696E-3</c:v>
                </c:pt>
                <c:pt idx="37938">
                  <c:v>-9.2436974789916696E-3</c:v>
                </c:pt>
                <c:pt idx="37939">
                  <c:v>-9.2436974789916696E-3</c:v>
                </c:pt>
                <c:pt idx="37940">
                  <c:v>-9.2436974789916696E-3</c:v>
                </c:pt>
                <c:pt idx="37941">
                  <c:v>-9.2436974789916696E-3</c:v>
                </c:pt>
                <c:pt idx="37942">
                  <c:v>-9.2436974789916696E-3</c:v>
                </c:pt>
                <c:pt idx="37943">
                  <c:v>-9.2436974789916696E-3</c:v>
                </c:pt>
                <c:pt idx="37944">
                  <c:v>-9.2436974789916696E-3</c:v>
                </c:pt>
                <c:pt idx="37945">
                  <c:v>-9.2436974789916696E-3</c:v>
                </c:pt>
                <c:pt idx="37946">
                  <c:v>-9.2436974789916696E-3</c:v>
                </c:pt>
                <c:pt idx="37947">
                  <c:v>-9.2436974789916696E-3</c:v>
                </c:pt>
                <c:pt idx="37948">
                  <c:v>-9.2436974789916696E-3</c:v>
                </c:pt>
                <c:pt idx="37949">
                  <c:v>-9.2436974789916696E-3</c:v>
                </c:pt>
                <c:pt idx="37950">
                  <c:v>-9.2436974789916696E-3</c:v>
                </c:pt>
                <c:pt idx="37951">
                  <c:v>-9.2436974789916696E-3</c:v>
                </c:pt>
                <c:pt idx="37952">
                  <c:v>-9.2436974789916696E-3</c:v>
                </c:pt>
                <c:pt idx="37953">
                  <c:v>-9.2436974789916696E-3</c:v>
                </c:pt>
                <c:pt idx="37954">
                  <c:v>-9.2436974789916696E-3</c:v>
                </c:pt>
                <c:pt idx="37955">
                  <c:v>-9.2436974789916696E-3</c:v>
                </c:pt>
                <c:pt idx="37956">
                  <c:v>-9.2436974789916696E-3</c:v>
                </c:pt>
                <c:pt idx="37957">
                  <c:v>-9.2436974789916696E-3</c:v>
                </c:pt>
                <c:pt idx="37958">
                  <c:v>-9.2436974789916696E-3</c:v>
                </c:pt>
                <c:pt idx="37959">
                  <c:v>-9.2436974789916696E-3</c:v>
                </c:pt>
                <c:pt idx="37960">
                  <c:v>-9.2436974789916696E-3</c:v>
                </c:pt>
                <c:pt idx="37961">
                  <c:v>-9.2436974789916696E-3</c:v>
                </c:pt>
                <c:pt idx="37962">
                  <c:v>-9.2436974789916696E-3</c:v>
                </c:pt>
                <c:pt idx="37963">
                  <c:v>-9.2436974789916696E-3</c:v>
                </c:pt>
                <c:pt idx="37964">
                  <c:v>-9.2436974789916696E-3</c:v>
                </c:pt>
                <c:pt idx="37965">
                  <c:v>-9.2436974789916696E-3</c:v>
                </c:pt>
                <c:pt idx="37966">
                  <c:v>-9.2436974789916696E-3</c:v>
                </c:pt>
                <c:pt idx="37967">
                  <c:v>-9.2436974789916696E-3</c:v>
                </c:pt>
                <c:pt idx="37968">
                  <c:v>-9.2436974789916696E-3</c:v>
                </c:pt>
                <c:pt idx="37969">
                  <c:v>-9.2436974789916696E-3</c:v>
                </c:pt>
                <c:pt idx="37970">
                  <c:v>-9.2436974789916696E-3</c:v>
                </c:pt>
                <c:pt idx="37971">
                  <c:v>-9.2436974789916696E-3</c:v>
                </c:pt>
                <c:pt idx="37972">
                  <c:v>-9.2436974789916696E-3</c:v>
                </c:pt>
                <c:pt idx="37973">
                  <c:v>-9.2436974789916696E-3</c:v>
                </c:pt>
                <c:pt idx="37974">
                  <c:v>-9.2436974789916696E-3</c:v>
                </c:pt>
                <c:pt idx="37975">
                  <c:v>-9.2436974789916696E-3</c:v>
                </c:pt>
                <c:pt idx="37976">
                  <c:v>-9.2436974789916696E-3</c:v>
                </c:pt>
                <c:pt idx="37977">
                  <c:v>-9.2436974789916696E-3</c:v>
                </c:pt>
                <c:pt idx="37978">
                  <c:v>-1.00840336134454E-2</c:v>
                </c:pt>
                <c:pt idx="37979">
                  <c:v>-1.00840336134454E-2</c:v>
                </c:pt>
                <c:pt idx="37980">
                  <c:v>-1.00840336134454E-2</c:v>
                </c:pt>
                <c:pt idx="37981">
                  <c:v>-1.00840336134454E-2</c:v>
                </c:pt>
                <c:pt idx="37982">
                  <c:v>-1.00840336134454E-2</c:v>
                </c:pt>
                <c:pt idx="37983">
                  <c:v>-1.00840336134454E-2</c:v>
                </c:pt>
                <c:pt idx="37984">
                  <c:v>-1.00840336134454E-2</c:v>
                </c:pt>
                <c:pt idx="37985">
                  <c:v>-1.00840336134454E-2</c:v>
                </c:pt>
                <c:pt idx="37986">
                  <c:v>-1.00840336134454E-2</c:v>
                </c:pt>
                <c:pt idx="37987">
                  <c:v>-1.00840336134454E-2</c:v>
                </c:pt>
                <c:pt idx="37988">
                  <c:v>-1.00840336134454E-2</c:v>
                </c:pt>
                <c:pt idx="37989">
                  <c:v>-1.00840336134454E-2</c:v>
                </c:pt>
                <c:pt idx="37990">
                  <c:v>-1.00840336134454E-2</c:v>
                </c:pt>
                <c:pt idx="37991">
                  <c:v>-1.00840336134454E-2</c:v>
                </c:pt>
                <c:pt idx="37992">
                  <c:v>-1.00840336134454E-2</c:v>
                </c:pt>
                <c:pt idx="37993">
                  <c:v>-1.00840336134454E-2</c:v>
                </c:pt>
                <c:pt idx="37994">
                  <c:v>-1.00840336134454E-2</c:v>
                </c:pt>
                <c:pt idx="37995">
                  <c:v>-1.00840336134454E-2</c:v>
                </c:pt>
                <c:pt idx="37996">
                  <c:v>-1.00840336134454E-2</c:v>
                </c:pt>
                <c:pt idx="37997">
                  <c:v>-1.00840336134454E-2</c:v>
                </c:pt>
                <c:pt idx="37998">
                  <c:v>-1.00840336134454E-2</c:v>
                </c:pt>
                <c:pt idx="37999">
                  <c:v>-1.00840336134454E-2</c:v>
                </c:pt>
                <c:pt idx="38000">
                  <c:v>-1.00840336134454E-2</c:v>
                </c:pt>
                <c:pt idx="38001">
                  <c:v>-1.00840336134454E-2</c:v>
                </c:pt>
                <c:pt idx="38002">
                  <c:v>-1.00840336134454E-2</c:v>
                </c:pt>
                <c:pt idx="38003">
                  <c:v>-1.00840336134454E-2</c:v>
                </c:pt>
                <c:pt idx="38004">
                  <c:v>-1.00840336134454E-2</c:v>
                </c:pt>
                <c:pt idx="38005">
                  <c:v>-1.00840336134454E-2</c:v>
                </c:pt>
                <c:pt idx="38006">
                  <c:v>-1.00840336134454E-2</c:v>
                </c:pt>
                <c:pt idx="38007">
                  <c:v>-1.00840336134454E-2</c:v>
                </c:pt>
                <c:pt idx="38008">
                  <c:v>-1.00840336134454E-2</c:v>
                </c:pt>
                <c:pt idx="38009">
                  <c:v>-1.00840336134454E-2</c:v>
                </c:pt>
                <c:pt idx="38010">
                  <c:v>-1.00840336134454E-2</c:v>
                </c:pt>
                <c:pt idx="38011">
                  <c:v>-1.00840336134454E-2</c:v>
                </c:pt>
                <c:pt idx="38012">
                  <c:v>-1.00840336134454E-2</c:v>
                </c:pt>
                <c:pt idx="38013">
                  <c:v>-1.00840336134454E-2</c:v>
                </c:pt>
                <c:pt idx="38014">
                  <c:v>-1.00840336134454E-2</c:v>
                </c:pt>
                <c:pt idx="38015">
                  <c:v>-1.00840336134454E-2</c:v>
                </c:pt>
                <c:pt idx="38016">
                  <c:v>-1.00840336134454E-2</c:v>
                </c:pt>
                <c:pt idx="38017">
                  <c:v>-1.00840336134454E-2</c:v>
                </c:pt>
                <c:pt idx="38018">
                  <c:v>-1.00840336134454E-2</c:v>
                </c:pt>
                <c:pt idx="38019">
                  <c:v>-1.00840336134454E-2</c:v>
                </c:pt>
                <c:pt idx="38020">
                  <c:v>-1.00840336134454E-2</c:v>
                </c:pt>
                <c:pt idx="38021">
                  <c:v>-1.00840336134454E-2</c:v>
                </c:pt>
                <c:pt idx="38022">
                  <c:v>-1.00840336134454E-2</c:v>
                </c:pt>
                <c:pt idx="38023">
                  <c:v>-1.00840336134454E-2</c:v>
                </c:pt>
                <c:pt idx="38024">
                  <c:v>-1.00840336134454E-2</c:v>
                </c:pt>
                <c:pt idx="38025">
                  <c:v>-1.00840336134454E-2</c:v>
                </c:pt>
                <c:pt idx="38026">
                  <c:v>-1.00840336134454E-2</c:v>
                </c:pt>
                <c:pt idx="38027">
                  <c:v>-1.00840336134454E-2</c:v>
                </c:pt>
                <c:pt idx="38028">
                  <c:v>-1.00840336134454E-2</c:v>
                </c:pt>
                <c:pt idx="38029">
                  <c:v>-1.00840336134454E-2</c:v>
                </c:pt>
                <c:pt idx="38030">
                  <c:v>-1.00840336134454E-2</c:v>
                </c:pt>
                <c:pt idx="38031">
                  <c:v>-1.00840336134454E-2</c:v>
                </c:pt>
                <c:pt idx="38032">
                  <c:v>-1.00840336134454E-2</c:v>
                </c:pt>
                <c:pt idx="38033">
                  <c:v>-1.00840336134454E-2</c:v>
                </c:pt>
                <c:pt idx="38034">
                  <c:v>-1.00840336134454E-2</c:v>
                </c:pt>
                <c:pt idx="38035">
                  <c:v>-1.00840336134454E-2</c:v>
                </c:pt>
                <c:pt idx="38036">
                  <c:v>-1.00840336134454E-2</c:v>
                </c:pt>
                <c:pt idx="38037">
                  <c:v>-1.00840336134454E-2</c:v>
                </c:pt>
                <c:pt idx="38038">
                  <c:v>-1.00840336134454E-2</c:v>
                </c:pt>
                <c:pt idx="38039">
                  <c:v>-1.00840336134454E-2</c:v>
                </c:pt>
                <c:pt idx="38040">
                  <c:v>-1.00840336134454E-2</c:v>
                </c:pt>
                <c:pt idx="38041">
                  <c:v>-1.00840336134454E-2</c:v>
                </c:pt>
                <c:pt idx="38042">
                  <c:v>-1.00840336134454E-2</c:v>
                </c:pt>
                <c:pt idx="38043">
                  <c:v>-1.00840336134454E-2</c:v>
                </c:pt>
                <c:pt idx="38044">
                  <c:v>-1.00840336134454E-2</c:v>
                </c:pt>
                <c:pt idx="38045">
                  <c:v>-1.00840336134454E-2</c:v>
                </c:pt>
                <c:pt idx="38046">
                  <c:v>-1.00840336134454E-2</c:v>
                </c:pt>
                <c:pt idx="38047">
                  <c:v>-1.00840336134454E-2</c:v>
                </c:pt>
                <c:pt idx="38048">
                  <c:v>-1.00840336134454E-2</c:v>
                </c:pt>
                <c:pt idx="38049">
                  <c:v>-1.00840336134454E-2</c:v>
                </c:pt>
                <c:pt idx="38050">
                  <c:v>-1.00840336134454E-2</c:v>
                </c:pt>
                <c:pt idx="38051">
                  <c:v>-1.00840336134454E-2</c:v>
                </c:pt>
                <c:pt idx="38052">
                  <c:v>-1.00840336134454E-2</c:v>
                </c:pt>
                <c:pt idx="38053">
                  <c:v>-1.00840336134454E-2</c:v>
                </c:pt>
                <c:pt idx="38054">
                  <c:v>-1.00840336134454E-2</c:v>
                </c:pt>
                <c:pt idx="38055">
                  <c:v>-1.00840336134454E-2</c:v>
                </c:pt>
                <c:pt idx="38056">
                  <c:v>-1.00840336134454E-2</c:v>
                </c:pt>
                <c:pt idx="38057">
                  <c:v>-1.00840336134454E-2</c:v>
                </c:pt>
                <c:pt idx="38058">
                  <c:v>-1.00840336134454E-2</c:v>
                </c:pt>
                <c:pt idx="38059">
                  <c:v>-1.00840336134454E-2</c:v>
                </c:pt>
                <c:pt idx="38060">
                  <c:v>-1.00840336134454E-2</c:v>
                </c:pt>
                <c:pt idx="38061">
                  <c:v>-1.00840336134454E-2</c:v>
                </c:pt>
                <c:pt idx="38062">
                  <c:v>-1.00840336134454E-2</c:v>
                </c:pt>
                <c:pt idx="38063">
                  <c:v>-1.00840336134454E-2</c:v>
                </c:pt>
                <c:pt idx="38064">
                  <c:v>-1.00840336134454E-2</c:v>
                </c:pt>
                <c:pt idx="38065">
                  <c:v>-1.00840336134454E-2</c:v>
                </c:pt>
                <c:pt idx="38066">
                  <c:v>-1.00840336134454E-2</c:v>
                </c:pt>
                <c:pt idx="38067">
                  <c:v>-1.00840336134454E-2</c:v>
                </c:pt>
                <c:pt idx="38068">
                  <c:v>-1.00840336134454E-2</c:v>
                </c:pt>
                <c:pt idx="38069">
                  <c:v>-1.00840336134454E-2</c:v>
                </c:pt>
                <c:pt idx="38070">
                  <c:v>-1.00840336134454E-2</c:v>
                </c:pt>
                <c:pt idx="38071">
                  <c:v>-1.00840336134454E-2</c:v>
                </c:pt>
                <c:pt idx="38072">
                  <c:v>-1.00840336134454E-2</c:v>
                </c:pt>
                <c:pt idx="38073">
                  <c:v>-1.00840336134454E-2</c:v>
                </c:pt>
                <c:pt idx="38074">
                  <c:v>-1.00840336134454E-2</c:v>
                </c:pt>
                <c:pt idx="38075">
                  <c:v>-1.00840336134454E-2</c:v>
                </c:pt>
                <c:pt idx="38076">
                  <c:v>-1.00840336134454E-2</c:v>
                </c:pt>
                <c:pt idx="38077">
                  <c:v>-1.00840336134454E-2</c:v>
                </c:pt>
                <c:pt idx="38078">
                  <c:v>-1.00840336134454E-2</c:v>
                </c:pt>
                <c:pt idx="38079">
                  <c:v>-1.00840336134454E-2</c:v>
                </c:pt>
                <c:pt idx="38080">
                  <c:v>-1.00840336134454E-2</c:v>
                </c:pt>
                <c:pt idx="38081">
                  <c:v>-1.00840336134454E-2</c:v>
                </c:pt>
                <c:pt idx="38082">
                  <c:v>-1.00840336134454E-2</c:v>
                </c:pt>
                <c:pt idx="38083">
                  <c:v>-1.00840336134454E-2</c:v>
                </c:pt>
                <c:pt idx="38084">
                  <c:v>-1.00840336134454E-2</c:v>
                </c:pt>
                <c:pt idx="38085">
                  <c:v>-1.00840336134454E-2</c:v>
                </c:pt>
                <c:pt idx="38086">
                  <c:v>-1.00840336134454E-2</c:v>
                </c:pt>
                <c:pt idx="38087">
                  <c:v>-1.00840336134454E-2</c:v>
                </c:pt>
                <c:pt idx="38088">
                  <c:v>-9.2436974789916696E-3</c:v>
                </c:pt>
                <c:pt idx="38089">
                  <c:v>-9.2436974789916696E-3</c:v>
                </c:pt>
                <c:pt idx="38090">
                  <c:v>-9.2436974789916696E-3</c:v>
                </c:pt>
                <c:pt idx="38091">
                  <c:v>-9.2436974789916696E-3</c:v>
                </c:pt>
                <c:pt idx="38092">
                  <c:v>-9.2436974789916696E-3</c:v>
                </c:pt>
                <c:pt idx="38093">
                  <c:v>-9.2436974789916696E-3</c:v>
                </c:pt>
                <c:pt idx="38094">
                  <c:v>-9.2436974789916696E-3</c:v>
                </c:pt>
                <c:pt idx="38095">
                  <c:v>-9.2436974789916696E-3</c:v>
                </c:pt>
                <c:pt idx="38096">
                  <c:v>-9.2436974789916696E-3</c:v>
                </c:pt>
                <c:pt idx="38097">
                  <c:v>-9.2436974789916696E-3</c:v>
                </c:pt>
                <c:pt idx="38098">
                  <c:v>-9.2436974789916696E-3</c:v>
                </c:pt>
                <c:pt idx="38099">
                  <c:v>-9.2436974789916696E-3</c:v>
                </c:pt>
                <c:pt idx="38100">
                  <c:v>-1.00840336134454E-2</c:v>
                </c:pt>
                <c:pt idx="38101">
                  <c:v>-1.00840336134454E-2</c:v>
                </c:pt>
                <c:pt idx="38102">
                  <c:v>-1.00840336134454E-2</c:v>
                </c:pt>
                <c:pt idx="38103">
                  <c:v>-1.00840336134454E-2</c:v>
                </c:pt>
                <c:pt idx="38104">
                  <c:v>-1.00840336134454E-2</c:v>
                </c:pt>
                <c:pt idx="38105">
                  <c:v>-1.00840336134454E-2</c:v>
                </c:pt>
                <c:pt idx="38106">
                  <c:v>-1.00840336134454E-2</c:v>
                </c:pt>
                <c:pt idx="38107">
                  <c:v>-1.00840336134454E-2</c:v>
                </c:pt>
                <c:pt idx="38108">
                  <c:v>-1.00840336134454E-2</c:v>
                </c:pt>
                <c:pt idx="38109">
                  <c:v>-1.00840336134454E-2</c:v>
                </c:pt>
                <c:pt idx="38110">
                  <c:v>-1.00840336134454E-2</c:v>
                </c:pt>
                <c:pt idx="38111">
                  <c:v>-1.00840336134454E-2</c:v>
                </c:pt>
                <c:pt idx="38112">
                  <c:v>-1.00840336134454E-2</c:v>
                </c:pt>
                <c:pt idx="38113">
                  <c:v>-1.00840336134454E-2</c:v>
                </c:pt>
                <c:pt idx="38114">
                  <c:v>-1.00840336134454E-2</c:v>
                </c:pt>
                <c:pt idx="38115">
                  <c:v>-1.00840336134454E-2</c:v>
                </c:pt>
                <c:pt idx="38116">
                  <c:v>-1.00840336134454E-2</c:v>
                </c:pt>
                <c:pt idx="38117">
                  <c:v>-1.00840336134454E-2</c:v>
                </c:pt>
                <c:pt idx="38118">
                  <c:v>-1.00840336134454E-2</c:v>
                </c:pt>
                <c:pt idx="38119">
                  <c:v>-1.00840336134454E-2</c:v>
                </c:pt>
                <c:pt idx="38120">
                  <c:v>-1.00840336134454E-2</c:v>
                </c:pt>
                <c:pt idx="38121">
                  <c:v>-1.00840336134454E-2</c:v>
                </c:pt>
                <c:pt idx="38122">
                  <c:v>-1.00840336134454E-2</c:v>
                </c:pt>
                <c:pt idx="38123">
                  <c:v>-1.00840336134454E-2</c:v>
                </c:pt>
                <c:pt idx="38124">
                  <c:v>-1.00840336134454E-2</c:v>
                </c:pt>
                <c:pt idx="38125">
                  <c:v>-1.00840336134454E-2</c:v>
                </c:pt>
                <c:pt idx="38126">
                  <c:v>-1.00840336134454E-2</c:v>
                </c:pt>
                <c:pt idx="38127">
                  <c:v>-1.00840336134454E-2</c:v>
                </c:pt>
                <c:pt idx="38128">
                  <c:v>-1.00840336134454E-2</c:v>
                </c:pt>
                <c:pt idx="38129">
                  <c:v>-1.00840336134454E-2</c:v>
                </c:pt>
                <c:pt idx="38130">
                  <c:v>-1.00840336134454E-2</c:v>
                </c:pt>
                <c:pt idx="38131">
                  <c:v>-1.00840336134454E-2</c:v>
                </c:pt>
                <c:pt idx="38132">
                  <c:v>-1.00840336134454E-2</c:v>
                </c:pt>
                <c:pt idx="38133">
                  <c:v>-1.00840336134454E-2</c:v>
                </c:pt>
                <c:pt idx="38134">
                  <c:v>-1.00840336134454E-2</c:v>
                </c:pt>
                <c:pt idx="38135">
                  <c:v>-1.00840336134454E-2</c:v>
                </c:pt>
                <c:pt idx="38136">
                  <c:v>-1.00840336134454E-2</c:v>
                </c:pt>
                <c:pt idx="38137">
                  <c:v>-1.00840336134454E-2</c:v>
                </c:pt>
                <c:pt idx="38138">
                  <c:v>-1.00840336134454E-2</c:v>
                </c:pt>
                <c:pt idx="38139">
                  <c:v>-1.00840336134454E-2</c:v>
                </c:pt>
                <c:pt idx="38140">
                  <c:v>-1.00840336134454E-2</c:v>
                </c:pt>
                <c:pt idx="38141">
                  <c:v>-1.00840336134454E-2</c:v>
                </c:pt>
                <c:pt idx="38142">
                  <c:v>-1.00840336134454E-2</c:v>
                </c:pt>
                <c:pt idx="38143">
                  <c:v>-1.00840336134454E-2</c:v>
                </c:pt>
                <c:pt idx="38144">
                  <c:v>-1.00840336134454E-2</c:v>
                </c:pt>
                <c:pt idx="38145">
                  <c:v>-1.00840336134454E-2</c:v>
                </c:pt>
                <c:pt idx="38146">
                  <c:v>-1.00840336134454E-2</c:v>
                </c:pt>
                <c:pt idx="38147">
                  <c:v>-1.00840336134454E-2</c:v>
                </c:pt>
                <c:pt idx="38148">
                  <c:v>-1.00840336134454E-2</c:v>
                </c:pt>
                <c:pt idx="38149">
                  <c:v>-1.00840336134454E-2</c:v>
                </c:pt>
                <c:pt idx="38150">
                  <c:v>-1.00840336134454E-2</c:v>
                </c:pt>
                <c:pt idx="38151">
                  <c:v>-1.00840336134454E-2</c:v>
                </c:pt>
                <c:pt idx="38152">
                  <c:v>-1.00840336134454E-2</c:v>
                </c:pt>
                <c:pt idx="38153">
                  <c:v>-1.00840336134454E-2</c:v>
                </c:pt>
                <c:pt idx="38154">
                  <c:v>-1.00840336134454E-2</c:v>
                </c:pt>
                <c:pt idx="38155">
                  <c:v>-1.00840336134454E-2</c:v>
                </c:pt>
                <c:pt idx="38156">
                  <c:v>-1.00840336134454E-2</c:v>
                </c:pt>
                <c:pt idx="38157">
                  <c:v>-1.00840336134454E-2</c:v>
                </c:pt>
                <c:pt idx="38158">
                  <c:v>-1.00840336134454E-2</c:v>
                </c:pt>
                <c:pt idx="38159">
                  <c:v>-1.00840336134454E-2</c:v>
                </c:pt>
                <c:pt idx="38160">
                  <c:v>-1.00840336134454E-2</c:v>
                </c:pt>
                <c:pt idx="38161">
                  <c:v>-1.00840336134454E-2</c:v>
                </c:pt>
                <c:pt idx="38162">
                  <c:v>-1.00840336134454E-2</c:v>
                </c:pt>
                <c:pt idx="38163">
                  <c:v>-1.00840336134454E-2</c:v>
                </c:pt>
                <c:pt idx="38164">
                  <c:v>-1.00840336134454E-2</c:v>
                </c:pt>
                <c:pt idx="38165">
                  <c:v>-1.00840336134454E-2</c:v>
                </c:pt>
                <c:pt idx="38166">
                  <c:v>-1.00840336134454E-2</c:v>
                </c:pt>
                <c:pt idx="38167">
                  <c:v>-1.00840336134454E-2</c:v>
                </c:pt>
                <c:pt idx="38168">
                  <c:v>-1.00840336134454E-2</c:v>
                </c:pt>
                <c:pt idx="38169">
                  <c:v>-1.00840336134454E-2</c:v>
                </c:pt>
                <c:pt idx="38170">
                  <c:v>-1.00840336134454E-2</c:v>
                </c:pt>
                <c:pt idx="38171">
                  <c:v>-1.00840336134454E-2</c:v>
                </c:pt>
                <c:pt idx="38172">
                  <c:v>-1.00840336134454E-2</c:v>
                </c:pt>
                <c:pt idx="38173">
                  <c:v>-1.00840336134454E-2</c:v>
                </c:pt>
                <c:pt idx="38174">
                  <c:v>-1.00840336134454E-2</c:v>
                </c:pt>
                <c:pt idx="38175">
                  <c:v>-1.00840336134454E-2</c:v>
                </c:pt>
                <c:pt idx="38176">
                  <c:v>-1.00840336134454E-2</c:v>
                </c:pt>
                <c:pt idx="38177">
                  <c:v>-1.00840336134454E-2</c:v>
                </c:pt>
                <c:pt idx="38178">
                  <c:v>-1.00840336134454E-2</c:v>
                </c:pt>
                <c:pt idx="38179">
                  <c:v>-1.00840336134454E-2</c:v>
                </c:pt>
                <c:pt idx="38180">
                  <c:v>-1.00840336134454E-2</c:v>
                </c:pt>
                <c:pt idx="38181">
                  <c:v>-1.00840336134454E-2</c:v>
                </c:pt>
                <c:pt idx="38182">
                  <c:v>-1.00840336134454E-2</c:v>
                </c:pt>
                <c:pt idx="38183">
                  <c:v>-1.00840336134454E-2</c:v>
                </c:pt>
                <c:pt idx="38184">
                  <c:v>-1.00840336134454E-2</c:v>
                </c:pt>
                <c:pt idx="38185">
                  <c:v>-1.00840336134454E-2</c:v>
                </c:pt>
                <c:pt idx="38186">
                  <c:v>-1.00840336134454E-2</c:v>
                </c:pt>
                <c:pt idx="38187">
                  <c:v>-1.00840336134454E-2</c:v>
                </c:pt>
                <c:pt idx="38188">
                  <c:v>-1.00840336134454E-2</c:v>
                </c:pt>
                <c:pt idx="38189">
                  <c:v>-1.00840336134454E-2</c:v>
                </c:pt>
                <c:pt idx="38190">
                  <c:v>-1.00840336134454E-2</c:v>
                </c:pt>
                <c:pt idx="38191">
                  <c:v>-1.00840336134454E-2</c:v>
                </c:pt>
                <c:pt idx="38192">
                  <c:v>-1.00840336134454E-2</c:v>
                </c:pt>
                <c:pt idx="38193">
                  <c:v>-1.00840336134454E-2</c:v>
                </c:pt>
                <c:pt idx="38194">
                  <c:v>-1.00840336134454E-2</c:v>
                </c:pt>
                <c:pt idx="38195">
                  <c:v>-1.00840336134454E-2</c:v>
                </c:pt>
                <c:pt idx="38196">
                  <c:v>-1.00840336134454E-2</c:v>
                </c:pt>
                <c:pt idx="38197">
                  <c:v>-1.00840336134454E-2</c:v>
                </c:pt>
                <c:pt idx="38198">
                  <c:v>-1.00840336134454E-2</c:v>
                </c:pt>
                <c:pt idx="38199">
                  <c:v>-1.00840336134454E-2</c:v>
                </c:pt>
                <c:pt idx="38200">
                  <c:v>-1.00840336134454E-2</c:v>
                </c:pt>
                <c:pt idx="38201">
                  <c:v>-1.00840336134454E-2</c:v>
                </c:pt>
                <c:pt idx="38202">
                  <c:v>-1.0924369747899201E-2</c:v>
                </c:pt>
                <c:pt idx="38203">
                  <c:v>-1.0924369747899201E-2</c:v>
                </c:pt>
                <c:pt idx="38204">
                  <c:v>-1.0924369747899201E-2</c:v>
                </c:pt>
                <c:pt idx="38205">
                  <c:v>-1.0924369747899201E-2</c:v>
                </c:pt>
                <c:pt idx="38206">
                  <c:v>-1.0924369747899201E-2</c:v>
                </c:pt>
                <c:pt idx="38207">
                  <c:v>-1.0924369747899201E-2</c:v>
                </c:pt>
                <c:pt idx="38208">
                  <c:v>-1.0924369747899201E-2</c:v>
                </c:pt>
                <c:pt idx="38209">
                  <c:v>-1.0924369747899201E-2</c:v>
                </c:pt>
                <c:pt idx="38210">
                  <c:v>-1.0924369747899201E-2</c:v>
                </c:pt>
                <c:pt idx="38211">
                  <c:v>-1.0924369747899201E-2</c:v>
                </c:pt>
                <c:pt idx="38212">
                  <c:v>-1.0924369747899201E-2</c:v>
                </c:pt>
                <c:pt idx="38213">
                  <c:v>-1.0924369747899201E-2</c:v>
                </c:pt>
                <c:pt idx="38214">
                  <c:v>-1.0924369747899201E-2</c:v>
                </c:pt>
                <c:pt idx="38215">
                  <c:v>-1.0924369747899201E-2</c:v>
                </c:pt>
                <c:pt idx="38216">
                  <c:v>-1.0924369747899201E-2</c:v>
                </c:pt>
                <c:pt idx="38217">
                  <c:v>-1.0924369747899201E-2</c:v>
                </c:pt>
                <c:pt idx="38218">
                  <c:v>-1.0924369747899201E-2</c:v>
                </c:pt>
                <c:pt idx="38219">
                  <c:v>-1.0924369747899201E-2</c:v>
                </c:pt>
                <c:pt idx="38220">
                  <c:v>-1.0924369747899201E-2</c:v>
                </c:pt>
                <c:pt idx="38221">
                  <c:v>-1.0924369747899201E-2</c:v>
                </c:pt>
                <c:pt idx="38222">
                  <c:v>-1.0924369747899201E-2</c:v>
                </c:pt>
                <c:pt idx="38223">
                  <c:v>-1.0924369747899201E-2</c:v>
                </c:pt>
                <c:pt idx="38224">
                  <c:v>-1.0924369747899201E-2</c:v>
                </c:pt>
                <c:pt idx="38225">
                  <c:v>-1.0924369747899201E-2</c:v>
                </c:pt>
                <c:pt idx="38226">
                  <c:v>-1.0924369747899201E-2</c:v>
                </c:pt>
                <c:pt idx="38227">
                  <c:v>-1.0924369747899201E-2</c:v>
                </c:pt>
                <c:pt idx="38228">
                  <c:v>-1.0924369747899201E-2</c:v>
                </c:pt>
                <c:pt idx="38229">
                  <c:v>-1.0924369747899201E-2</c:v>
                </c:pt>
                <c:pt idx="38230">
                  <c:v>-1.0924369747899201E-2</c:v>
                </c:pt>
                <c:pt idx="38231">
                  <c:v>-1.0924369747899201E-2</c:v>
                </c:pt>
                <c:pt idx="38232">
                  <c:v>-1.0924369747899201E-2</c:v>
                </c:pt>
                <c:pt idx="38233">
                  <c:v>-1.0924369747899201E-2</c:v>
                </c:pt>
                <c:pt idx="38234">
                  <c:v>-1.0924369747899201E-2</c:v>
                </c:pt>
                <c:pt idx="38235">
                  <c:v>-1.0924369747899201E-2</c:v>
                </c:pt>
                <c:pt idx="38236">
                  <c:v>-1.0924369747899201E-2</c:v>
                </c:pt>
                <c:pt idx="38237">
                  <c:v>-1.0924369747899201E-2</c:v>
                </c:pt>
                <c:pt idx="38238">
                  <c:v>-1.0924369747899201E-2</c:v>
                </c:pt>
                <c:pt idx="38239">
                  <c:v>-1.0924369747899201E-2</c:v>
                </c:pt>
                <c:pt idx="38240">
                  <c:v>-1.0924369747899201E-2</c:v>
                </c:pt>
                <c:pt idx="38241">
                  <c:v>-1.0924369747899201E-2</c:v>
                </c:pt>
                <c:pt idx="38242">
                  <c:v>-1.0924369747899201E-2</c:v>
                </c:pt>
                <c:pt idx="38243">
                  <c:v>-1.0924369747899201E-2</c:v>
                </c:pt>
                <c:pt idx="38244">
                  <c:v>-1.0924369747899201E-2</c:v>
                </c:pt>
                <c:pt idx="38245">
                  <c:v>-1.0924369747899201E-2</c:v>
                </c:pt>
                <c:pt idx="38246">
                  <c:v>-1.0924369747899201E-2</c:v>
                </c:pt>
                <c:pt idx="38247">
                  <c:v>-1.0924369747899201E-2</c:v>
                </c:pt>
                <c:pt idx="38248">
                  <c:v>-1.0924369747899201E-2</c:v>
                </c:pt>
                <c:pt idx="38249">
                  <c:v>-1.0924369747899201E-2</c:v>
                </c:pt>
                <c:pt idx="38250">
                  <c:v>-1.0924369747899201E-2</c:v>
                </c:pt>
                <c:pt idx="38251">
                  <c:v>-1.0924369747899201E-2</c:v>
                </c:pt>
                <c:pt idx="38252">
                  <c:v>-1.0924369747899201E-2</c:v>
                </c:pt>
                <c:pt idx="38253">
                  <c:v>-1.0924369747899201E-2</c:v>
                </c:pt>
                <c:pt idx="38254">
                  <c:v>-1.0924369747899201E-2</c:v>
                </c:pt>
                <c:pt idx="38255">
                  <c:v>-1.0924369747899201E-2</c:v>
                </c:pt>
                <c:pt idx="38256">
                  <c:v>-1.0924369747899201E-2</c:v>
                </c:pt>
                <c:pt idx="38257">
                  <c:v>-1.0924369747899201E-2</c:v>
                </c:pt>
                <c:pt idx="38258">
                  <c:v>-1.0924369747899201E-2</c:v>
                </c:pt>
                <c:pt idx="38259">
                  <c:v>-1.0924369747899201E-2</c:v>
                </c:pt>
                <c:pt idx="38260">
                  <c:v>-1.0924369747899201E-2</c:v>
                </c:pt>
                <c:pt idx="38261">
                  <c:v>-1.0924369747899201E-2</c:v>
                </c:pt>
                <c:pt idx="38262">
                  <c:v>-1.0924369747899201E-2</c:v>
                </c:pt>
                <c:pt idx="38263">
                  <c:v>-1.0924369747899201E-2</c:v>
                </c:pt>
                <c:pt idx="38264">
                  <c:v>-1.0924369747899201E-2</c:v>
                </c:pt>
                <c:pt idx="38265">
                  <c:v>-1.0924369747899201E-2</c:v>
                </c:pt>
                <c:pt idx="38266">
                  <c:v>-1.0924369747899201E-2</c:v>
                </c:pt>
                <c:pt idx="38267">
                  <c:v>-1.0924369747899201E-2</c:v>
                </c:pt>
                <c:pt idx="38268">
                  <c:v>-1.0924369747899201E-2</c:v>
                </c:pt>
                <c:pt idx="38269">
                  <c:v>-1.0924369747899201E-2</c:v>
                </c:pt>
                <c:pt idx="38270">
                  <c:v>-1.0924369747899201E-2</c:v>
                </c:pt>
                <c:pt idx="38271">
                  <c:v>-1.0924369747899201E-2</c:v>
                </c:pt>
                <c:pt idx="38272">
                  <c:v>-1.0924369747899201E-2</c:v>
                </c:pt>
                <c:pt idx="38273">
                  <c:v>-1.0924369747899201E-2</c:v>
                </c:pt>
                <c:pt idx="38274">
                  <c:v>-1.0924369747899201E-2</c:v>
                </c:pt>
                <c:pt idx="38275">
                  <c:v>-1.0924369747899201E-2</c:v>
                </c:pt>
                <c:pt idx="38276">
                  <c:v>-1.0924369747899201E-2</c:v>
                </c:pt>
                <c:pt idx="38277">
                  <c:v>-1.0924369747899201E-2</c:v>
                </c:pt>
                <c:pt idx="38278">
                  <c:v>-1.0924369747899201E-2</c:v>
                </c:pt>
                <c:pt idx="38279">
                  <c:v>-1.0924369747899201E-2</c:v>
                </c:pt>
                <c:pt idx="38280">
                  <c:v>-1.0924369747899201E-2</c:v>
                </c:pt>
                <c:pt idx="38281">
                  <c:v>-1.0924369747899201E-2</c:v>
                </c:pt>
                <c:pt idx="38282">
                  <c:v>-1.0924369747899201E-2</c:v>
                </c:pt>
                <c:pt idx="38283">
                  <c:v>-1.0924369747899201E-2</c:v>
                </c:pt>
                <c:pt idx="38284">
                  <c:v>-1.0924369747899201E-2</c:v>
                </c:pt>
                <c:pt idx="38285">
                  <c:v>-1.0924369747899201E-2</c:v>
                </c:pt>
                <c:pt idx="38286">
                  <c:v>-1.0924369747899201E-2</c:v>
                </c:pt>
                <c:pt idx="38287">
                  <c:v>-1.0924369747899201E-2</c:v>
                </c:pt>
                <c:pt idx="38288">
                  <c:v>-1.0924369747899201E-2</c:v>
                </c:pt>
                <c:pt idx="38289">
                  <c:v>-1.0924369747899201E-2</c:v>
                </c:pt>
                <c:pt idx="38290">
                  <c:v>-1.0924369747899201E-2</c:v>
                </c:pt>
                <c:pt idx="38291">
                  <c:v>-1.0924369747899201E-2</c:v>
                </c:pt>
                <c:pt idx="38292">
                  <c:v>-1.0924369747899201E-2</c:v>
                </c:pt>
                <c:pt idx="38293">
                  <c:v>-1.0924369747899201E-2</c:v>
                </c:pt>
                <c:pt idx="38294">
                  <c:v>-1.0924369747899201E-2</c:v>
                </c:pt>
                <c:pt idx="38295">
                  <c:v>-1.0924369747899201E-2</c:v>
                </c:pt>
                <c:pt idx="38296">
                  <c:v>-1.0924369747899201E-2</c:v>
                </c:pt>
                <c:pt idx="38297">
                  <c:v>-1.0924369747899201E-2</c:v>
                </c:pt>
                <c:pt idx="38298">
                  <c:v>-1.0924369747899201E-2</c:v>
                </c:pt>
                <c:pt idx="38299">
                  <c:v>-1.0924369747899201E-2</c:v>
                </c:pt>
                <c:pt idx="38300">
                  <c:v>-1.0924369747899201E-2</c:v>
                </c:pt>
                <c:pt idx="38301">
                  <c:v>-1.0924369747899201E-2</c:v>
                </c:pt>
                <c:pt idx="38302">
                  <c:v>-1.0924369747899201E-2</c:v>
                </c:pt>
                <c:pt idx="38303">
                  <c:v>-1.0924369747899201E-2</c:v>
                </c:pt>
                <c:pt idx="38304">
                  <c:v>-1.0924369747899201E-2</c:v>
                </c:pt>
                <c:pt idx="38305">
                  <c:v>-1.0924369747899201E-2</c:v>
                </c:pt>
                <c:pt idx="38306">
                  <c:v>-1.0924369747899201E-2</c:v>
                </c:pt>
                <c:pt idx="38307">
                  <c:v>-1.0924369747899201E-2</c:v>
                </c:pt>
                <c:pt idx="38308">
                  <c:v>-1.0924369747899201E-2</c:v>
                </c:pt>
                <c:pt idx="38309">
                  <c:v>-1.0924369747899201E-2</c:v>
                </c:pt>
                <c:pt idx="38310">
                  <c:v>-1.0924369747899201E-2</c:v>
                </c:pt>
                <c:pt idx="38311">
                  <c:v>-1.0924369747899201E-2</c:v>
                </c:pt>
                <c:pt idx="38312">
                  <c:v>-1.0924369747899201E-2</c:v>
                </c:pt>
                <c:pt idx="38313">
                  <c:v>-1.0924369747899201E-2</c:v>
                </c:pt>
                <c:pt idx="38314">
                  <c:v>-1.0924369747899201E-2</c:v>
                </c:pt>
                <c:pt idx="38315">
                  <c:v>-1.0924369747899201E-2</c:v>
                </c:pt>
                <c:pt idx="38316">
                  <c:v>-1.0924369747899201E-2</c:v>
                </c:pt>
                <c:pt idx="38317">
                  <c:v>-1.0924369747899201E-2</c:v>
                </c:pt>
                <c:pt idx="38318">
                  <c:v>-1.0924369747899201E-2</c:v>
                </c:pt>
                <c:pt idx="38319">
                  <c:v>-1.0924369747899201E-2</c:v>
                </c:pt>
                <c:pt idx="38320">
                  <c:v>-1.0924369747899201E-2</c:v>
                </c:pt>
                <c:pt idx="38321">
                  <c:v>-1.0924369747899201E-2</c:v>
                </c:pt>
                <c:pt idx="38322">
                  <c:v>-1.0924369747899201E-2</c:v>
                </c:pt>
                <c:pt idx="38323">
                  <c:v>-1.0924369747899201E-2</c:v>
                </c:pt>
                <c:pt idx="38324">
                  <c:v>-1.0924369747899201E-2</c:v>
                </c:pt>
                <c:pt idx="38325">
                  <c:v>-1.0924369747899201E-2</c:v>
                </c:pt>
                <c:pt idx="38326">
                  <c:v>-1.0924369747899201E-2</c:v>
                </c:pt>
                <c:pt idx="38327">
                  <c:v>-1.0924369747899201E-2</c:v>
                </c:pt>
                <c:pt idx="38328">
                  <c:v>-1.0924369747899201E-2</c:v>
                </c:pt>
                <c:pt idx="38329">
                  <c:v>-1.0924369747899201E-2</c:v>
                </c:pt>
                <c:pt idx="38330">
                  <c:v>-1.0924369747899201E-2</c:v>
                </c:pt>
                <c:pt idx="38331">
                  <c:v>-1.0924369747899201E-2</c:v>
                </c:pt>
                <c:pt idx="38332">
                  <c:v>-1.0924369747899201E-2</c:v>
                </c:pt>
                <c:pt idx="38333">
                  <c:v>-1.0924369747899201E-2</c:v>
                </c:pt>
                <c:pt idx="38334">
                  <c:v>-1.0924369747899201E-2</c:v>
                </c:pt>
                <c:pt idx="38335">
                  <c:v>-1.0924369747899201E-2</c:v>
                </c:pt>
                <c:pt idx="38336">
                  <c:v>-1.0924369747899201E-2</c:v>
                </c:pt>
                <c:pt idx="38337">
                  <c:v>-1.0924369747899201E-2</c:v>
                </c:pt>
                <c:pt idx="38338">
                  <c:v>-1.0924369747899201E-2</c:v>
                </c:pt>
                <c:pt idx="38339">
                  <c:v>-1.0924369747899201E-2</c:v>
                </c:pt>
                <c:pt idx="38340">
                  <c:v>-1.0924369747899201E-2</c:v>
                </c:pt>
                <c:pt idx="38341">
                  <c:v>-1.0924369747899201E-2</c:v>
                </c:pt>
                <c:pt idx="38342">
                  <c:v>-1.0924369747899201E-2</c:v>
                </c:pt>
                <c:pt idx="38343">
                  <c:v>-1.0924369747899201E-2</c:v>
                </c:pt>
                <c:pt idx="38344">
                  <c:v>-1.0924369747899201E-2</c:v>
                </c:pt>
                <c:pt idx="38345">
                  <c:v>-1.0924369747899201E-2</c:v>
                </c:pt>
                <c:pt idx="38346">
                  <c:v>-1.0924369747899201E-2</c:v>
                </c:pt>
                <c:pt idx="38347">
                  <c:v>-1.0924369747899201E-2</c:v>
                </c:pt>
                <c:pt idx="38348">
                  <c:v>-1.0924369747899201E-2</c:v>
                </c:pt>
                <c:pt idx="38349">
                  <c:v>-1.0924369747899201E-2</c:v>
                </c:pt>
                <c:pt idx="38350">
                  <c:v>-1.0924369747899201E-2</c:v>
                </c:pt>
                <c:pt idx="38351">
                  <c:v>-1.0924369747899201E-2</c:v>
                </c:pt>
                <c:pt idx="38352">
                  <c:v>-1.00840336134454E-2</c:v>
                </c:pt>
                <c:pt idx="38353">
                  <c:v>-1.00840336134454E-2</c:v>
                </c:pt>
                <c:pt idx="38354">
                  <c:v>-1.00840336134454E-2</c:v>
                </c:pt>
                <c:pt idx="38355">
                  <c:v>-1.00840336134454E-2</c:v>
                </c:pt>
                <c:pt idx="38356">
                  <c:v>-1.00840336134454E-2</c:v>
                </c:pt>
                <c:pt idx="38357">
                  <c:v>-1.00840336134454E-2</c:v>
                </c:pt>
                <c:pt idx="38358">
                  <c:v>-1.00840336134454E-2</c:v>
                </c:pt>
                <c:pt idx="38359">
                  <c:v>-1.00840336134454E-2</c:v>
                </c:pt>
                <c:pt idx="38360">
                  <c:v>-1.00840336134454E-2</c:v>
                </c:pt>
                <c:pt idx="38361">
                  <c:v>-1.00840336134454E-2</c:v>
                </c:pt>
                <c:pt idx="38362">
                  <c:v>-1.00840336134454E-2</c:v>
                </c:pt>
                <c:pt idx="38363">
                  <c:v>-1.00840336134454E-2</c:v>
                </c:pt>
                <c:pt idx="38364">
                  <c:v>-1.00840336134454E-2</c:v>
                </c:pt>
                <c:pt idx="38365">
                  <c:v>-1.00840336134454E-2</c:v>
                </c:pt>
                <c:pt idx="38366">
                  <c:v>-1.00840336134454E-2</c:v>
                </c:pt>
                <c:pt idx="38367">
                  <c:v>-1.00840336134454E-2</c:v>
                </c:pt>
                <c:pt idx="38368">
                  <c:v>-1.00840336134454E-2</c:v>
                </c:pt>
                <c:pt idx="38369">
                  <c:v>-1.00840336134454E-2</c:v>
                </c:pt>
                <c:pt idx="38370">
                  <c:v>-1.00840336134454E-2</c:v>
                </c:pt>
                <c:pt idx="38371">
                  <c:v>-1.00840336134454E-2</c:v>
                </c:pt>
                <c:pt idx="38372">
                  <c:v>-1.00840336134454E-2</c:v>
                </c:pt>
                <c:pt idx="38373">
                  <c:v>-1.00840336134454E-2</c:v>
                </c:pt>
                <c:pt idx="38374">
                  <c:v>-1.00840336134454E-2</c:v>
                </c:pt>
                <c:pt idx="38375">
                  <c:v>-1.00840336134454E-2</c:v>
                </c:pt>
                <c:pt idx="38376">
                  <c:v>-1.00840336134454E-2</c:v>
                </c:pt>
                <c:pt idx="38377">
                  <c:v>-1.00840336134454E-2</c:v>
                </c:pt>
                <c:pt idx="38378">
                  <c:v>-1.00840336134454E-2</c:v>
                </c:pt>
                <c:pt idx="38379">
                  <c:v>-1.00840336134454E-2</c:v>
                </c:pt>
                <c:pt idx="38380">
                  <c:v>-1.00840336134454E-2</c:v>
                </c:pt>
                <c:pt idx="38381">
                  <c:v>-1.00840336134454E-2</c:v>
                </c:pt>
                <c:pt idx="38382">
                  <c:v>-1.00840336134454E-2</c:v>
                </c:pt>
                <c:pt idx="38383">
                  <c:v>-1.00840336134454E-2</c:v>
                </c:pt>
                <c:pt idx="38384">
                  <c:v>-1.00840336134454E-2</c:v>
                </c:pt>
                <c:pt idx="38385">
                  <c:v>-1.00840336134454E-2</c:v>
                </c:pt>
                <c:pt idx="38386">
                  <c:v>-1.00840336134454E-2</c:v>
                </c:pt>
                <c:pt idx="38387">
                  <c:v>-1.00840336134454E-2</c:v>
                </c:pt>
                <c:pt idx="38388">
                  <c:v>-1.00840336134454E-2</c:v>
                </c:pt>
                <c:pt idx="38389">
                  <c:v>-1.00840336134454E-2</c:v>
                </c:pt>
                <c:pt idx="38390">
                  <c:v>-1.00840336134454E-2</c:v>
                </c:pt>
                <c:pt idx="38391">
                  <c:v>-1.00840336134454E-2</c:v>
                </c:pt>
                <c:pt idx="38392">
                  <c:v>-1.00840336134454E-2</c:v>
                </c:pt>
                <c:pt idx="38393">
                  <c:v>-1.00840336134454E-2</c:v>
                </c:pt>
                <c:pt idx="38394">
                  <c:v>-1.00840336134454E-2</c:v>
                </c:pt>
                <c:pt idx="38395">
                  <c:v>-1.00840336134454E-2</c:v>
                </c:pt>
                <c:pt idx="38396">
                  <c:v>-1.00840336134454E-2</c:v>
                </c:pt>
                <c:pt idx="38397">
                  <c:v>-1.0924369747899201E-2</c:v>
                </c:pt>
                <c:pt idx="38398">
                  <c:v>-1.0924369747899201E-2</c:v>
                </c:pt>
                <c:pt idx="38399">
                  <c:v>-1.0924369747899201E-2</c:v>
                </c:pt>
                <c:pt idx="38400">
                  <c:v>-1.0924369747899201E-2</c:v>
                </c:pt>
                <c:pt idx="38401">
                  <c:v>-1.0924369747899201E-2</c:v>
                </c:pt>
                <c:pt idx="38402">
                  <c:v>-1.0924369747899201E-2</c:v>
                </c:pt>
                <c:pt idx="38403">
                  <c:v>-1.0924369747899201E-2</c:v>
                </c:pt>
                <c:pt idx="38404">
                  <c:v>-1.0924369747899201E-2</c:v>
                </c:pt>
                <c:pt idx="38405">
                  <c:v>-1.0924369747899201E-2</c:v>
                </c:pt>
                <c:pt idx="38406">
                  <c:v>-1.0924369747899201E-2</c:v>
                </c:pt>
                <c:pt idx="38407">
                  <c:v>-1.0924369747899201E-2</c:v>
                </c:pt>
                <c:pt idx="38408">
                  <c:v>-1.0924369747899201E-2</c:v>
                </c:pt>
                <c:pt idx="38409">
                  <c:v>-1.0924369747899201E-2</c:v>
                </c:pt>
                <c:pt idx="38410">
                  <c:v>-1.0924369747899201E-2</c:v>
                </c:pt>
                <c:pt idx="38411">
                  <c:v>-1.0924369747899201E-2</c:v>
                </c:pt>
                <c:pt idx="38412">
                  <c:v>-1.0924369747899201E-2</c:v>
                </c:pt>
                <c:pt idx="38413">
                  <c:v>-1.0924369747899201E-2</c:v>
                </c:pt>
                <c:pt idx="38414">
                  <c:v>-1.0924369747899201E-2</c:v>
                </c:pt>
                <c:pt idx="38415">
                  <c:v>-1.0924369747899201E-2</c:v>
                </c:pt>
                <c:pt idx="38416">
                  <c:v>-1.0924369747899201E-2</c:v>
                </c:pt>
                <c:pt idx="38417">
                  <c:v>-1.0924369747899201E-2</c:v>
                </c:pt>
                <c:pt idx="38418">
                  <c:v>-1.0924369747899201E-2</c:v>
                </c:pt>
                <c:pt idx="38419">
                  <c:v>-1.0924369747899201E-2</c:v>
                </c:pt>
                <c:pt idx="38420">
                  <c:v>-1.0924369747899201E-2</c:v>
                </c:pt>
                <c:pt idx="38421">
                  <c:v>-1.0924369747899201E-2</c:v>
                </c:pt>
                <c:pt idx="38422">
                  <c:v>-1.0924369747899201E-2</c:v>
                </c:pt>
                <c:pt idx="38423">
                  <c:v>-1.0924369747899201E-2</c:v>
                </c:pt>
                <c:pt idx="38424">
                  <c:v>-1.0924369747899201E-2</c:v>
                </c:pt>
                <c:pt idx="38425">
                  <c:v>-1.0924369747899201E-2</c:v>
                </c:pt>
                <c:pt idx="38426">
                  <c:v>-1.0924369747899201E-2</c:v>
                </c:pt>
                <c:pt idx="38427">
                  <c:v>-1.0924369747899201E-2</c:v>
                </c:pt>
                <c:pt idx="38428">
                  <c:v>-1.0924369747899201E-2</c:v>
                </c:pt>
                <c:pt idx="38429">
                  <c:v>-1.0924369747899201E-2</c:v>
                </c:pt>
                <c:pt idx="38430">
                  <c:v>-1.0924369747899201E-2</c:v>
                </c:pt>
                <c:pt idx="38431">
                  <c:v>-1.0924369747899201E-2</c:v>
                </c:pt>
                <c:pt idx="38432">
                  <c:v>-1.0924369747899201E-2</c:v>
                </c:pt>
                <c:pt idx="38433">
                  <c:v>-1.0924369747899201E-2</c:v>
                </c:pt>
                <c:pt idx="38434">
                  <c:v>-1.0924369747899201E-2</c:v>
                </c:pt>
                <c:pt idx="38435">
                  <c:v>-1.0924369747899201E-2</c:v>
                </c:pt>
                <c:pt idx="38436">
                  <c:v>-1.0924369747899201E-2</c:v>
                </c:pt>
                <c:pt idx="38437">
                  <c:v>-1.0924369747899201E-2</c:v>
                </c:pt>
                <c:pt idx="38438">
                  <c:v>-1.0924369747899201E-2</c:v>
                </c:pt>
                <c:pt idx="38439">
                  <c:v>-1.0924369747899201E-2</c:v>
                </c:pt>
                <c:pt idx="38440">
                  <c:v>-1.0924369747899201E-2</c:v>
                </c:pt>
                <c:pt idx="38441">
                  <c:v>-1.0924369747899201E-2</c:v>
                </c:pt>
                <c:pt idx="38442">
                  <c:v>-1.0924369747899201E-2</c:v>
                </c:pt>
                <c:pt idx="38443">
                  <c:v>-1.0924369747899201E-2</c:v>
                </c:pt>
                <c:pt idx="38444">
                  <c:v>-1.0924369747899201E-2</c:v>
                </c:pt>
                <c:pt idx="38445">
                  <c:v>-1.0924369747899201E-2</c:v>
                </c:pt>
                <c:pt idx="38446">
                  <c:v>-1.00840336134454E-2</c:v>
                </c:pt>
                <c:pt idx="38447">
                  <c:v>-1.00840336134454E-2</c:v>
                </c:pt>
                <c:pt idx="38448">
                  <c:v>-1.00840336134454E-2</c:v>
                </c:pt>
                <c:pt idx="38449">
                  <c:v>-1.00840336134454E-2</c:v>
                </c:pt>
                <c:pt idx="38450">
                  <c:v>-1.00840336134454E-2</c:v>
                </c:pt>
                <c:pt idx="38451">
                  <c:v>-1.00840336134454E-2</c:v>
                </c:pt>
                <c:pt idx="38452">
                  <c:v>-1.00840336134454E-2</c:v>
                </c:pt>
                <c:pt idx="38453">
                  <c:v>-1.00840336134454E-2</c:v>
                </c:pt>
                <c:pt idx="38454">
                  <c:v>-1.00840336134454E-2</c:v>
                </c:pt>
                <c:pt idx="38455">
                  <c:v>-1.00840336134454E-2</c:v>
                </c:pt>
                <c:pt idx="38456">
                  <c:v>-1.00840336134454E-2</c:v>
                </c:pt>
                <c:pt idx="38457">
                  <c:v>-1.00840336134454E-2</c:v>
                </c:pt>
                <c:pt idx="38458">
                  <c:v>-1.00840336134454E-2</c:v>
                </c:pt>
                <c:pt idx="38459">
                  <c:v>-1.00840336134454E-2</c:v>
                </c:pt>
                <c:pt idx="38460">
                  <c:v>-1.00840336134454E-2</c:v>
                </c:pt>
                <c:pt idx="38461">
                  <c:v>-1.00840336134454E-2</c:v>
                </c:pt>
                <c:pt idx="38462">
                  <c:v>-1.00840336134454E-2</c:v>
                </c:pt>
                <c:pt idx="38463">
                  <c:v>-1.00840336134454E-2</c:v>
                </c:pt>
                <c:pt idx="38464">
                  <c:v>-1.00840336134454E-2</c:v>
                </c:pt>
                <c:pt idx="38465">
                  <c:v>-9.2436974789916696E-3</c:v>
                </c:pt>
                <c:pt idx="38466">
                  <c:v>-9.2436974789916696E-3</c:v>
                </c:pt>
                <c:pt idx="38467">
                  <c:v>-9.2436974789916696E-3</c:v>
                </c:pt>
                <c:pt idx="38468">
                  <c:v>-9.2436974789916696E-3</c:v>
                </c:pt>
                <c:pt idx="38469">
                  <c:v>-9.2436974789916696E-3</c:v>
                </c:pt>
                <c:pt idx="38470">
                  <c:v>-9.2436974789916696E-3</c:v>
                </c:pt>
                <c:pt idx="38471">
                  <c:v>-9.2436974789916696E-3</c:v>
                </c:pt>
                <c:pt idx="38472">
                  <c:v>-9.2436974789916696E-3</c:v>
                </c:pt>
                <c:pt idx="38473">
                  <c:v>-9.2436974789916696E-3</c:v>
                </c:pt>
                <c:pt idx="38474">
                  <c:v>-9.2436974789916696E-3</c:v>
                </c:pt>
                <c:pt idx="38475">
                  <c:v>-9.2436974789916696E-3</c:v>
                </c:pt>
                <c:pt idx="38476">
                  <c:v>-9.2436974789916696E-3</c:v>
                </c:pt>
                <c:pt idx="38477">
                  <c:v>-9.2436974789916696E-3</c:v>
                </c:pt>
                <c:pt idx="38478">
                  <c:v>-9.2436974789916696E-3</c:v>
                </c:pt>
                <c:pt idx="38479">
                  <c:v>-9.2436974789916696E-3</c:v>
                </c:pt>
                <c:pt idx="38480">
                  <c:v>-9.2436974789916696E-3</c:v>
                </c:pt>
                <c:pt idx="38481">
                  <c:v>-9.2436974789916696E-3</c:v>
                </c:pt>
                <c:pt idx="38482">
                  <c:v>-9.2436974789916696E-3</c:v>
                </c:pt>
                <c:pt idx="38483">
                  <c:v>-9.2436974789916696E-3</c:v>
                </c:pt>
                <c:pt idx="38484">
                  <c:v>-9.2436974789916696E-3</c:v>
                </c:pt>
                <c:pt idx="38485">
                  <c:v>-9.2436974789916696E-3</c:v>
                </c:pt>
                <c:pt idx="38486">
                  <c:v>-9.2436974789916696E-3</c:v>
                </c:pt>
                <c:pt idx="38487">
                  <c:v>-9.2436974789916696E-3</c:v>
                </c:pt>
                <c:pt idx="38488">
                  <c:v>-9.2436974789916696E-3</c:v>
                </c:pt>
                <c:pt idx="38489">
                  <c:v>-9.2436974789916696E-3</c:v>
                </c:pt>
                <c:pt idx="38490">
                  <c:v>-9.2436974789916696E-3</c:v>
                </c:pt>
                <c:pt idx="38491">
                  <c:v>-9.2436974789916696E-3</c:v>
                </c:pt>
                <c:pt idx="38492">
                  <c:v>-9.2436974789916696E-3</c:v>
                </c:pt>
                <c:pt idx="38493">
                  <c:v>-9.2436974789916696E-3</c:v>
                </c:pt>
                <c:pt idx="38494">
                  <c:v>-9.2436974789916696E-3</c:v>
                </c:pt>
                <c:pt idx="38495">
                  <c:v>-9.2436974789916696E-3</c:v>
                </c:pt>
                <c:pt idx="38496">
                  <c:v>-9.2436974789916696E-3</c:v>
                </c:pt>
                <c:pt idx="38497">
                  <c:v>-9.2436974789916696E-3</c:v>
                </c:pt>
                <c:pt idx="38498">
                  <c:v>-9.2436974789916696E-3</c:v>
                </c:pt>
                <c:pt idx="38499">
                  <c:v>-9.2436974789916696E-3</c:v>
                </c:pt>
                <c:pt idx="38500">
                  <c:v>-9.2436974789916696E-3</c:v>
                </c:pt>
                <c:pt idx="38501">
                  <c:v>-9.2436974789916696E-3</c:v>
                </c:pt>
                <c:pt idx="38502">
                  <c:v>-9.2436974789916696E-3</c:v>
                </c:pt>
                <c:pt idx="38503">
                  <c:v>-9.2436974789916696E-3</c:v>
                </c:pt>
                <c:pt idx="38504">
                  <c:v>-9.2436974789916696E-3</c:v>
                </c:pt>
                <c:pt idx="38505">
                  <c:v>-9.2436974789916696E-3</c:v>
                </c:pt>
                <c:pt idx="38506">
                  <c:v>-9.2436974789916696E-3</c:v>
                </c:pt>
                <c:pt idx="38507">
                  <c:v>-9.2436974789916696E-3</c:v>
                </c:pt>
                <c:pt idx="38508">
                  <c:v>-9.2436974789916696E-3</c:v>
                </c:pt>
                <c:pt idx="38509">
                  <c:v>-9.2436974789916696E-3</c:v>
                </c:pt>
                <c:pt idx="38510">
                  <c:v>-9.2436974789916696E-3</c:v>
                </c:pt>
                <c:pt idx="38511">
                  <c:v>-9.2436974789916696E-3</c:v>
                </c:pt>
                <c:pt idx="38512">
                  <c:v>-9.2436974789916696E-3</c:v>
                </c:pt>
                <c:pt idx="38513">
                  <c:v>-9.2436974789916696E-3</c:v>
                </c:pt>
                <c:pt idx="38514">
                  <c:v>-9.2436974789916696E-3</c:v>
                </c:pt>
                <c:pt idx="38515">
                  <c:v>-9.2436974789916696E-3</c:v>
                </c:pt>
                <c:pt idx="38516">
                  <c:v>-9.2436974789916696E-3</c:v>
                </c:pt>
                <c:pt idx="38517">
                  <c:v>-9.2436974789916696E-3</c:v>
                </c:pt>
                <c:pt idx="38518">
                  <c:v>-9.2436974789916696E-3</c:v>
                </c:pt>
                <c:pt idx="38519">
                  <c:v>-9.2436974789916696E-3</c:v>
                </c:pt>
                <c:pt idx="38520">
                  <c:v>-9.2436974789916696E-3</c:v>
                </c:pt>
                <c:pt idx="38521">
                  <c:v>-9.2436974789916696E-3</c:v>
                </c:pt>
                <c:pt idx="38522">
                  <c:v>-9.2436974789916696E-3</c:v>
                </c:pt>
                <c:pt idx="38523">
                  <c:v>-9.2436974789916696E-3</c:v>
                </c:pt>
                <c:pt idx="38524">
                  <c:v>-9.2436974789916696E-3</c:v>
                </c:pt>
                <c:pt idx="38525">
                  <c:v>-9.2436974789916696E-3</c:v>
                </c:pt>
                <c:pt idx="38526">
                  <c:v>-9.2436974789916696E-3</c:v>
                </c:pt>
                <c:pt idx="38527">
                  <c:v>-9.2436974789916696E-3</c:v>
                </c:pt>
                <c:pt idx="38528">
                  <c:v>-9.2436974789916696E-3</c:v>
                </c:pt>
                <c:pt idx="38529">
                  <c:v>-9.2436974789916696E-3</c:v>
                </c:pt>
                <c:pt idx="38530">
                  <c:v>-9.2436974789916696E-3</c:v>
                </c:pt>
                <c:pt idx="38531">
                  <c:v>-9.2436974789916696E-3</c:v>
                </c:pt>
                <c:pt idx="38532">
                  <c:v>-9.2436974789916696E-3</c:v>
                </c:pt>
                <c:pt idx="38533">
                  <c:v>-9.2436974789916696E-3</c:v>
                </c:pt>
                <c:pt idx="38534">
                  <c:v>-9.2436974789916696E-3</c:v>
                </c:pt>
                <c:pt idx="38535">
                  <c:v>-9.2436974789916696E-3</c:v>
                </c:pt>
                <c:pt idx="38536">
                  <c:v>-9.2436974789916696E-3</c:v>
                </c:pt>
                <c:pt idx="38537">
                  <c:v>-9.2436974789916696E-3</c:v>
                </c:pt>
                <c:pt idx="38538">
                  <c:v>-9.2436974789916696E-3</c:v>
                </c:pt>
                <c:pt idx="38539">
                  <c:v>-9.2436974789916696E-3</c:v>
                </c:pt>
                <c:pt idx="38540">
                  <c:v>-9.2436974789916696E-3</c:v>
                </c:pt>
                <c:pt idx="38541">
                  <c:v>-9.2436974789916696E-3</c:v>
                </c:pt>
                <c:pt idx="38542">
                  <c:v>-9.2436974789916696E-3</c:v>
                </c:pt>
                <c:pt idx="38543">
                  <c:v>-9.2436974789916696E-3</c:v>
                </c:pt>
                <c:pt idx="38544">
                  <c:v>-9.2436974789916696E-3</c:v>
                </c:pt>
                <c:pt idx="38545">
                  <c:v>-9.2436974789916696E-3</c:v>
                </c:pt>
                <c:pt idx="38546">
                  <c:v>-9.2436974789916696E-3</c:v>
                </c:pt>
                <c:pt idx="38547">
                  <c:v>-9.2436974789916696E-3</c:v>
                </c:pt>
                <c:pt idx="38548">
                  <c:v>-9.2436974789916696E-3</c:v>
                </c:pt>
                <c:pt idx="38549">
                  <c:v>-9.2436974789916696E-3</c:v>
                </c:pt>
                <c:pt idx="38550">
                  <c:v>-9.2436974789916696E-3</c:v>
                </c:pt>
                <c:pt idx="38551">
                  <c:v>-9.2436974789916696E-3</c:v>
                </c:pt>
                <c:pt idx="38552">
                  <c:v>-9.2436974789916696E-3</c:v>
                </c:pt>
                <c:pt idx="38553">
                  <c:v>-9.2436974789916696E-3</c:v>
                </c:pt>
                <c:pt idx="38554">
                  <c:v>-9.2436974789916696E-3</c:v>
                </c:pt>
                <c:pt idx="38555">
                  <c:v>-9.2436974789916696E-3</c:v>
                </c:pt>
                <c:pt idx="38556">
                  <c:v>-9.2436974789916696E-3</c:v>
                </c:pt>
                <c:pt idx="38557">
                  <c:v>-9.2436974789916696E-3</c:v>
                </c:pt>
                <c:pt idx="38558">
                  <c:v>-9.2436974789916696E-3</c:v>
                </c:pt>
                <c:pt idx="38559">
                  <c:v>-9.2436974789916696E-3</c:v>
                </c:pt>
                <c:pt idx="38560">
                  <c:v>-9.2436974789916696E-3</c:v>
                </c:pt>
                <c:pt idx="38561">
                  <c:v>-9.2436974789916696E-3</c:v>
                </c:pt>
                <c:pt idx="38562">
                  <c:v>-9.2436974789916696E-3</c:v>
                </c:pt>
                <c:pt idx="38563">
                  <c:v>-9.2436974789916696E-3</c:v>
                </c:pt>
                <c:pt idx="38564">
                  <c:v>-9.2436974789916696E-3</c:v>
                </c:pt>
                <c:pt idx="38565">
                  <c:v>-9.2436974789916696E-3</c:v>
                </c:pt>
                <c:pt idx="38566">
                  <c:v>-9.2436974789916696E-3</c:v>
                </c:pt>
                <c:pt idx="38567">
                  <c:v>-9.2436974789916696E-3</c:v>
                </c:pt>
                <c:pt idx="38568">
                  <c:v>-9.2436974789916696E-3</c:v>
                </c:pt>
                <c:pt idx="38569">
                  <c:v>-9.2436974789916696E-3</c:v>
                </c:pt>
                <c:pt idx="38570">
                  <c:v>-9.2436974789916696E-3</c:v>
                </c:pt>
                <c:pt idx="38571">
                  <c:v>-1.00840336134454E-2</c:v>
                </c:pt>
                <c:pt idx="38572">
                  <c:v>-1.00840336134454E-2</c:v>
                </c:pt>
                <c:pt idx="38573">
                  <c:v>-1.00840336134454E-2</c:v>
                </c:pt>
                <c:pt idx="38574">
                  <c:v>-1.00840336134454E-2</c:v>
                </c:pt>
                <c:pt idx="38575">
                  <c:v>-1.00840336134454E-2</c:v>
                </c:pt>
                <c:pt idx="38576">
                  <c:v>-1.00840336134454E-2</c:v>
                </c:pt>
                <c:pt idx="38577">
                  <c:v>-1.00840336134454E-2</c:v>
                </c:pt>
                <c:pt idx="38578">
                  <c:v>-1.00840336134454E-2</c:v>
                </c:pt>
                <c:pt idx="38579">
                  <c:v>-1.0924369747899201E-2</c:v>
                </c:pt>
                <c:pt idx="38580">
                  <c:v>-1.0924369747899201E-2</c:v>
                </c:pt>
                <c:pt idx="38581">
                  <c:v>-1.0924369747899201E-2</c:v>
                </c:pt>
                <c:pt idx="38582">
                  <c:v>-1.0924369747899201E-2</c:v>
                </c:pt>
                <c:pt idx="38583">
                  <c:v>-1.0924369747899201E-2</c:v>
                </c:pt>
                <c:pt idx="38584">
                  <c:v>-1.0924369747899201E-2</c:v>
                </c:pt>
                <c:pt idx="38585">
                  <c:v>-1.0924369747899201E-2</c:v>
                </c:pt>
                <c:pt idx="38586">
                  <c:v>-1.0924369747899201E-2</c:v>
                </c:pt>
                <c:pt idx="38587">
                  <c:v>-1.0924369747899201E-2</c:v>
                </c:pt>
                <c:pt idx="38588">
                  <c:v>-1.0924369747899201E-2</c:v>
                </c:pt>
                <c:pt idx="38589">
                  <c:v>-1.00840336134454E-2</c:v>
                </c:pt>
                <c:pt idx="38590">
                  <c:v>-1.00840336134454E-2</c:v>
                </c:pt>
                <c:pt idx="38591">
                  <c:v>-1.00840336134454E-2</c:v>
                </c:pt>
                <c:pt idx="38592">
                  <c:v>-1.00840336134454E-2</c:v>
                </c:pt>
                <c:pt idx="38593">
                  <c:v>-1.00840336134454E-2</c:v>
                </c:pt>
                <c:pt idx="38594">
                  <c:v>-1.00840336134454E-2</c:v>
                </c:pt>
                <c:pt idx="38595">
                  <c:v>-1.00840336134454E-2</c:v>
                </c:pt>
                <c:pt idx="38596">
                  <c:v>-1.00840336134454E-2</c:v>
                </c:pt>
                <c:pt idx="38597">
                  <c:v>-1.00840336134454E-2</c:v>
                </c:pt>
                <c:pt idx="38598">
                  <c:v>-1.00840336134454E-2</c:v>
                </c:pt>
                <c:pt idx="38599">
                  <c:v>-1.00840336134454E-2</c:v>
                </c:pt>
                <c:pt idx="38600">
                  <c:v>-1.00840336134454E-2</c:v>
                </c:pt>
                <c:pt idx="38601">
                  <c:v>-1.00840336134454E-2</c:v>
                </c:pt>
                <c:pt idx="38602">
                  <c:v>-1.00840336134454E-2</c:v>
                </c:pt>
                <c:pt idx="38603">
                  <c:v>-1.00840336134454E-2</c:v>
                </c:pt>
                <c:pt idx="38604">
                  <c:v>-1.00840336134454E-2</c:v>
                </c:pt>
                <c:pt idx="38605">
                  <c:v>-1.00840336134454E-2</c:v>
                </c:pt>
                <c:pt idx="38606">
                  <c:v>-1.00840336134454E-2</c:v>
                </c:pt>
                <c:pt idx="38607">
                  <c:v>-1.00840336134454E-2</c:v>
                </c:pt>
                <c:pt idx="38608">
                  <c:v>-1.00840336134454E-2</c:v>
                </c:pt>
                <c:pt idx="38609">
                  <c:v>-1.00840336134454E-2</c:v>
                </c:pt>
                <c:pt idx="38610">
                  <c:v>-1.00840336134454E-2</c:v>
                </c:pt>
                <c:pt idx="38611">
                  <c:v>-1.00840336134454E-2</c:v>
                </c:pt>
                <c:pt idx="38612">
                  <c:v>-1.00840336134454E-2</c:v>
                </c:pt>
                <c:pt idx="38613">
                  <c:v>-1.00840336134454E-2</c:v>
                </c:pt>
                <c:pt idx="38614">
                  <c:v>-9.2436974789916696E-3</c:v>
                </c:pt>
                <c:pt idx="38615">
                  <c:v>-9.2436974789916696E-3</c:v>
                </c:pt>
                <c:pt idx="38616">
                  <c:v>-9.2436974789916696E-3</c:v>
                </c:pt>
                <c:pt idx="38617">
                  <c:v>-9.2436974789916696E-3</c:v>
                </c:pt>
                <c:pt idx="38618">
                  <c:v>-9.2436974789916696E-3</c:v>
                </c:pt>
                <c:pt idx="38619">
                  <c:v>-9.2436974789916696E-3</c:v>
                </c:pt>
                <c:pt idx="38620">
                  <c:v>-9.2436974789916696E-3</c:v>
                </c:pt>
                <c:pt idx="38621">
                  <c:v>-9.2436974789916696E-3</c:v>
                </c:pt>
                <c:pt idx="38622">
                  <c:v>-9.2436974789916696E-3</c:v>
                </c:pt>
                <c:pt idx="38623">
                  <c:v>-9.2436974789916696E-3</c:v>
                </c:pt>
                <c:pt idx="38624">
                  <c:v>-9.2436974789916696E-3</c:v>
                </c:pt>
                <c:pt idx="38625">
                  <c:v>-9.2436974789916696E-3</c:v>
                </c:pt>
                <c:pt idx="38626">
                  <c:v>-9.2436974789916696E-3</c:v>
                </c:pt>
                <c:pt idx="38627">
                  <c:v>-9.2436974789916696E-3</c:v>
                </c:pt>
                <c:pt idx="38628">
                  <c:v>-9.2436974789916696E-3</c:v>
                </c:pt>
                <c:pt idx="38629">
                  <c:v>-9.2436974789916696E-3</c:v>
                </c:pt>
                <c:pt idx="38630">
                  <c:v>-9.2436974789916696E-3</c:v>
                </c:pt>
                <c:pt idx="38631">
                  <c:v>-9.2436974789916696E-3</c:v>
                </c:pt>
                <c:pt idx="38632">
                  <c:v>-9.2436974789916696E-3</c:v>
                </c:pt>
                <c:pt idx="38633">
                  <c:v>-9.2436974789916696E-3</c:v>
                </c:pt>
                <c:pt idx="38634">
                  <c:v>-9.2436974789916696E-3</c:v>
                </c:pt>
                <c:pt idx="38635">
                  <c:v>-9.2436974789916696E-3</c:v>
                </c:pt>
                <c:pt idx="38636">
                  <c:v>-9.2436974789916696E-3</c:v>
                </c:pt>
                <c:pt idx="38637">
                  <c:v>-1.00840336134454E-2</c:v>
                </c:pt>
                <c:pt idx="38638">
                  <c:v>-1.00840336134454E-2</c:v>
                </c:pt>
                <c:pt idx="38639">
                  <c:v>-1.00840336134454E-2</c:v>
                </c:pt>
                <c:pt idx="38640">
                  <c:v>-1.00840336134454E-2</c:v>
                </c:pt>
                <c:pt idx="38641">
                  <c:v>-1.00840336134454E-2</c:v>
                </c:pt>
                <c:pt idx="38642">
                  <c:v>-1.00840336134454E-2</c:v>
                </c:pt>
                <c:pt idx="38643">
                  <c:v>-1.00840336134454E-2</c:v>
                </c:pt>
                <c:pt idx="38644">
                  <c:v>-1.00840336134454E-2</c:v>
                </c:pt>
                <c:pt idx="38645">
                  <c:v>-1.00840336134454E-2</c:v>
                </c:pt>
                <c:pt idx="38646">
                  <c:v>-1.00840336134454E-2</c:v>
                </c:pt>
                <c:pt idx="38647">
                  <c:v>-1.00840336134454E-2</c:v>
                </c:pt>
                <c:pt idx="38648">
                  <c:v>-1.00840336134454E-2</c:v>
                </c:pt>
                <c:pt idx="38649">
                  <c:v>-1.00840336134454E-2</c:v>
                </c:pt>
                <c:pt idx="38650">
                  <c:v>-1.00840336134454E-2</c:v>
                </c:pt>
                <c:pt idx="38651">
                  <c:v>-1.00840336134454E-2</c:v>
                </c:pt>
                <c:pt idx="38652">
                  <c:v>-1.00840336134454E-2</c:v>
                </c:pt>
                <c:pt idx="38653">
                  <c:v>-1.00840336134454E-2</c:v>
                </c:pt>
                <c:pt idx="38654">
                  <c:v>-1.00840336134454E-2</c:v>
                </c:pt>
                <c:pt idx="38655">
                  <c:v>-1.00840336134454E-2</c:v>
                </c:pt>
                <c:pt idx="38656">
                  <c:v>-1.00840336134454E-2</c:v>
                </c:pt>
                <c:pt idx="38657">
                  <c:v>-1.00840336134454E-2</c:v>
                </c:pt>
                <c:pt idx="38658">
                  <c:v>-1.00840336134454E-2</c:v>
                </c:pt>
                <c:pt idx="38659">
                  <c:v>-1.00840336134454E-2</c:v>
                </c:pt>
                <c:pt idx="38660">
                  <c:v>-1.00840336134454E-2</c:v>
                </c:pt>
                <c:pt idx="38661">
                  <c:v>-1.00840336134454E-2</c:v>
                </c:pt>
                <c:pt idx="38662">
                  <c:v>-1.00840336134454E-2</c:v>
                </c:pt>
                <c:pt idx="38663">
                  <c:v>-1.00840336134454E-2</c:v>
                </c:pt>
                <c:pt idx="38664">
                  <c:v>-1.00840336134454E-2</c:v>
                </c:pt>
                <c:pt idx="38665">
                  <c:v>-1.00840336134454E-2</c:v>
                </c:pt>
                <c:pt idx="38666">
                  <c:v>-1.00840336134454E-2</c:v>
                </c:pt>
                <c:pt idx="38667">
                  <c:v>-1.00840336134454E-2</c:v>
                </c:pt>
                <c:pt idx="38668">
                  <c:v>-1.00840336134454E-2</c:v>
                </c:pt>
                <c:pt idx="38669">
                  <c:v>-1.00840336134454E-2</c:v>
                </c:pt>
                <c:pt idx="38670">
                  <c:v>-1.00840336134454E-2</c:v>
                </c:pt>
                <c:pt idx="38671">
                  <c:v>-1.00840336134454E-2</c:v>
                </c:pt>
                <c:pt idx="38672">
                  <c:v>-1.00840336134454E-2</c:v>
                </c:pt>
                <c:pt idx="38673">
                  <c:v>-1.00840336134454E-2</c:v>
                </c:pt>
                <c:pt idx="38674">
                  <c:v>-1.00840336134454E-2</c:v>
                </c:pt>
                <c:pt idx="38675">
                  <c:v>-1.00840336134454E-2</c:v>
                </c:pt>
                <c:pt idx="38676">
                  <c:v>-1.00840336134454E-2</c:v>
                </c:pt>
                <c:pt idx="38677">
                  <c:v>-1.00840336134454E-2</c:v>
                </c:pt>
                <c:pt idx="38678">
                  <c:v>-1.00840336134454E-2</c:v>
                </c:pt>
                <c:pt idx="38679">
                  <c:v>-1.00840336134454E-2</c:v>
                </c:pt>
                <c:pt idx="38680">
                  <c:v>-1.00840336134454E-2</c:v>
                </c:pt>
                <c:pt idx="38681">
                  <c:v>-1.00840336134454E-2</c:v>
                </c:pt>
                <c:pt idx="38682">
                  <c:v>-1.00840336134454E-2</c:v>
                </c:pt>
                <c:pt idx="38683">
                  <c:v>-1.00840336134454E-2</c:v>
                </c:pt>
                <c:pt idx="38684">
                  <c:v>-1.00840336134454E-2</c:v>
                </c:pt>
                <c:pt idx="38685">
                  <c:v>-1.00840336134454E-2</c:v>
                </c:pt>
                <c:pt idx="38686">
                  <c:v>-1.00840336134454E-2</c:v>
                </c:pt>
                <c:pt idx="38687">
                  <c:v>-1.00840336134454E-2</c:v>
                </c:pt>
                <c:pt idx="38688">
                  <c:v>-1.00840336134454E-2</c:v>
                </c:pt>
                <c:pt idx="38689">
                  <c:v>-1.00840336134454E-2</c:v>
                </c:pt>
                <c:pt idx="38690">
                  <c:v>-1.00840336134454E-2</c:v>
                </c:pt>
                <c:pt idx="38691">
                  <c:v>-1.00840336134454E-2</c:v>
                </c:pt>
                <c:pt idx="38692">
                  <c:v>-1.00840336134454E-2</c:v>
                </c:pt>
                <c:pt idx="38693">
                  <c:v>-1.00840336134454E-2</c:v>
                </c:pt>
                <c:pt idx="38694">
                  <c:v>-1.00840336134454E-2</c:v>
                </c:pt>
                <c:pt idx="38695">
                  <c:v>-1.00840336134454E-2</c:v>
                </c:pt>
                <c:pt idx="38696">
                  <c:v>-1.00840336134454E-2</c:v>
                </c:pt>
                <c:pt idx="38697">
                  <c:v>-1.00840336134454E-2</c:v>
                </c:pt>
                <c:pt idx="38698">
                  <c:v>-1.00840336134454E-2</c:v>
                </c:pt>
                <c:pt idx="38699">
                  <c:v>-1.00840336134454E-2</c:v>
                </c:pt>
                <c:pt idx="38700">
                  <c:v>-1.00840336134454E-2</c:v>
                </c:pt>
                <c:pt idx="38701">
                  <c:v>-1.00840336134454E-2</c:v>
                </c:pt>
                <c:pt idx="38702">
                  <c:v>-1.00840336134454E-2</c:v>
                </c:pt>
                <c:pt idx="38703">
                  <c:v>-1.00840336134454E-2</c:v>
                </c:pt>
                <c:pt idx="38704">
                  <c:v>-1.00840336134454E-2</c:v>
                </c:pt>
                <c:pt idx="38705">
                  <c:v>-1.00840336134454E-2</c:v>
                </c:pt>
                <c:pt idx="38706">
                  <c:v>-1.00840336134454E-2</c:v>
                </c:pt>
                <c:pt idx="38707">
                  <c:v>-1.00840336134454E-2</c:v>
                </c:pt>
                <c:pt idx="38708">
                  <c:v>-1.00840336134454E-2</c:v>
                </c:pt>
                <c:pt idx="38709">
                  <c:v>-1.00840336134454E-2</c:v>
                </c:pt>
                <c:pt idx="38710">
                  <c:v>-1.00840336134454E-2</c:v>
                </c:pt>
                <c:pt idx="38711">
                  <c:v>-1.00840336134454E-2</c:v>
                </c:pt>
                <c:pt idx="38712">
                  <c:v>-1.00840336134454E-2</c:v>
                </c:pt>
                <c:pt idx="38713">
                  <c:v>-1.00840336134454E-2</c:v>
                </c:pt>
                <c:pt idx="38714">
                  <c:v>-1.00840336134454E-2</c:v>
                </c:pt>
                <c:pt idx="38715">
                  <c:v>-1.00840336134454E-2</c:v>
                </c:pt>
                <c:pt idx="38716">
                  <c:v>-1.00840336134454E-2</c:v>
                </c:pt>
                <c:pt idx="38717">
                  <c:v>-1.00840336134454E-2</c:v>
                </c:pt>
                <c:pt idx="38718">
                  <c:v>-1.00840336134454E-2</c:v>
                </c:pt>
                <c:pt idx="38719">
                  <c:v>-1.00840336134454E-2</c:v>
                </c:pt>
                <c:pt idx="38720">
                  <c:v>-1.00840336134454E-2</c:v>
                </c:pt>
                <c:pt idx="38721">
                  <c:v>-1.00840336134454E-2</c:v>
                </c:pt>
                <c:pt idx="38722">
                  <c:v>-1.00840336134454E-2</c:v>
                </c:pt>
                <c:pt idx="38723">
                  <c:v>-1.00840336134454E-2</c:v>
                </c:pt>
                <c:pt idx="38724">
                  <c:v>-1.00840336134454E-2</c:v>
                </c:pt>
                <c:pt idx="38725">
                  <c:v>-1.00840336134454E-2</c:v>
                </c:pt>
                <c:pt idx="38726">
                  <c:v>-1.00840336134454E-2</c:v>
                </c:pt>
                <c:pt idx="38727">
                  <c:v>-1.00840336134454E-2</c:v>
                </c:pt>
                <c:pt idx="38728">
                  <c:v>-1.00840336134454E-2</c:v>
                </c:pt>
                <c:pt idx="38729">
                  <c:v>-1.00840336134454E-2</c:v>
                </c:pt>
                <c:pt idx="38730">
                  <c:v>-1.00840336134454E-2</c:v>
                </c:pt>
                <c:pt idx="38731">
                  <c:v>-1.00840336134454E-2</c:v>
                </c:pt>
                <c:pt idx="38732">
                  <c:v>-1.00840336134454E-2</c:v>
                </c:pt>
                <c:pt idx="38733">
                  <c:v>-1.00840336134454E-2</c:v>
                </c:pt>
                <c:pt idx="38734">
                  <c:v>-1.00840336134454E-2</c:v>
                </c:pt>
                <c:pt idx="38735">
                  <c:v>-1.00840336134454E-2</c:v>
                </c:pt>
                <c:pt idx="38736">
                  <c:v>-1.00840336134454E-2</c:v>
                </c:pt>
                <c:pt idx="38737">
                  <c:v>-1.00840336134454E-2</c:v>
                </c:pt>
                <c:pt idx="38738">
                  <c:v>-1.00840336134454E-2</c:v>
                </c:pt>
                <c:pt idx="38739">
                  <c:v>-1.00840336134454E-2</c:v>
                </c:pt>
                <c:pt idx="38740">
                  <c:v>-1.00840336134454E-2</c:v>
                </c:pt>
                <c:pt idx="38741">
                  <c:v>-1.00840336134454E-2</c:v>
                </c:pt>
                <c:pt idx="38742">
                  <c:v>-1.00840336134454E-2</c:v>
                </c:pt>
                <c:pt idx="38743">
                  <c:v>-1.00840336134454E-2</c:v>
                </c:pt>
                <c:pt idx="38744">
                  <c:v>-1.00840336134454E-2</c:v>
                </c:pt>
                <c:pt idx="38745">
                  <c:v>-1.00840336134454E-2</c:v>
                </c:pt>
                <c:pt idx="38746">
                  <c:v>-1.00840336134454E-2</c:v>
                </c:pt>
                <c:pt idx="38747">
                  <c:v>-1.00840336134454E-2</c:v>
                </c:pt>
                <c:pt idx="38748">
                  <c:v>-1.00840336134454E-2</c:v>
                </c:pt>
                <c:pt idx="38749">
                  <c:v>-1.00840336134454E-2</c:v>
                </c:pt>
                <c:pt idx="38750">
                  <c:v>-1.00840336134454E-2</c:v>
                </c:pt>
                <c:pt idx="38751">
                  <c:v>-1.00840336134454E-2</c:v>
                </c:pt>
                <c:pt idx="38752">
                  <c:v>-1.00840336134454E-2</c:v>
                </c:pt>
                <c:pt idx="38753">
                  <c:v>-1.00840336134454E-2</c:v>
                </c:pt>
                <c:pt idx="38754">
                  <c:v>-1.00840336134454E-2</c:v>
                </c:pt>
                <c:pt idx="38755">
                  <c:v>-1.00840336134454E-2</c:v>
                </c:pt>
                <c:pt idx="38756">
                  <c:v>-1.00840336134454E-2</c:v>
                </c:pt>
                <c:pt idx="38757">
                  <c:v>-1.00840336134454E-2</c:v>
                </c:pt>
                <c:pt idx="38758">
                  <c:v>-1.00840336134454E-2</c:v>
                </c:pt>
                <c:pt idx="38759">
                  <c:v>-1.00840336134454E-2</c:v>
                </c:pt>
                <c:pt idx="38760">
                  <c:v>-1.00840336134454E-2</c:v>
                </c:pt>
                <c:pt idx="38761">
                  <c:v>-1.00840336134454E-2</c:v>
                </c:pt>
                <c:pt idx="38762">
                  <c:v>-1.00840336134454E-2</c:v>
                </c:pt>
                <c:pt idx="38763">
                  <c:v>-1.00840336134454E-2</c:v>
                </c:pt>
                <c:pt idx="38764">
                  <c:v>-1.00840336134454E-2</c:v>
                </c:pt>
                <c:pt idx="38765">
                  <c:v>-1.00840336134454E-2</c:v>
                </c:pt>
                <c:pt idx="38766">
                  <c:v>-1.00840336134454E-2</c:v>
                </c:pt>
                <c:pt idx="38767">
                  <c:v>-1.00840336134454E-2</c:v>
                </c:pt>
                <c:pt idx="38768">
                  <c:v>-9.2436974789916696E-3</c:v>
                </c:pt>
                <c:pt idx="38769">
                  <c:v>-9.2436974789916696E-3</c:v>
                </c:pt>
                <c:pt idx="38770">
                  <c:v>-9.2436974789916696E-3</c:v>
                </c:pt>
                <c:pt idx="38771">
                  <c:v>-9.2436974789916696E-3</c:v>
                </c:pt>
                <c:pt idx="38772">
                  <c:v>-9.2436974789916696E-3</c:v>
                </c:pt>
                <c:pt idx="38773">
                  <c:v>-9.2436974789916696E-3</c:v>
                </c:pt>
                <c:pt idx="38774">
                  <c:v>-9.2436974789916696E-3</c:v>
                </c:pt>
                <c:pt idx="38775">
                  <c:v>-9.2436974789916696E-3</c:v>
                </c:pt>
                <c:pt idx="38776">
                  <c:v>-9.2436974789916696E-3</c:v>
                </c:pt>
                <c:pt idx="38777">
                  <c:v>-9.2436974789916696E-3</c:v>
                </c:pt>
                <c:pt idx="38778">
                  <c:v>-9.2436974789916696E-3</c:v>
                </c:pt>
                <c:pt idx="38779">
                  <c:v>-9.2436974789916696E-3</c:v>
                </c:pt>
                <c:pt idx="38780">
                  <c:v>-9.2436974789916696E-3</c:v>
                </c:pt>
                <c:pt idx="38781">
                  <c:v>-9.2436974789916696E-3</c:v>
                </c:pt>
                <c:pt idx="38782">
                  <c:v>-9.2436974789916696E-3</c:v>
                </c:pt>
                <c:pt idx="38783">
                  <c:v>-9.2436974789916696E-3</c:v>
                </c:pt>
                <c:pt idx="38784">
                  <c:v>-9.2436974789916696E-3</c:v>
                </c:pt>
                <c:pt idx="38785">
                  <c:v>-9.2436974789916696E-3</c:v>
                </c:pt>
                <c:pt idx="38786">
                  <c:v>-9.2436974789916696E-3</c:v>
                </c:pt>
                <c:pt idx="38787">
                  <c:v>-9.2436974789916696E-3</c:v>
                </c:pt>
                <c:pt idx="38788">
                  <c:v>-8.4033613445378894E-3</c:v>
                </c:pt>
                <c:pt idx="38789">
                  <c:v>-8.4033613445378894E-3</c:v>
                </c:pt>
                <c:pt idx="38790">
                  <c:v>-8.4033613445378894E-3</c:v>
                </c:pt>
                <c:pt idx="38791">
                  <c:v>-8.4033613445378894E-3</c:v>
                </c:pt>
                <c:pt idx="38792">
                  <c:v>-8.4033613445378894E-3</c:v>
                </c:pt>
                <c:pt idx="38793">
                  <c:v>-8.4033613445378894E-3</c:v>
                </c:pt>
                <c:pt idx="38794">
                  <c:v>-8.4033613445378894E-3</c:v>
                </c:pt>
                <c:pt idx="38795">
                  <c:v>-7.56302521008411E-3</c:v>
                </c:pt>
                <c:pt idx="38796">
                  <c:v>-7.56302521008411E-3</c:v>
                </c:pt>
                <c:pt idx="38797">
                  <c:v>-7.56302521008411E-3</c:v>
                </c:pt>
                <c:pt idx="38798">
                  <c:v>-7.56302521008411E-3</c:v>
                </c:pt>
                <c:pt idx="38799">
                  <c:v>-7.56302521008411E-3</c:v>
                </c:pt>
                <c:pt idx="38800">
                  <c:v>-7.56302521008411E-3</c:v>
                </c:pt>
                <c:pt idx="38801">
                  <c:v>-7.56302521008411E-3</c:v>
                </c:pt>
                <c:pt idx="38802">
                  <c:v>-7.56302521008411E-3</c:v>
                </c:pt>
                <c:pt idx="38803">
                  <c:v>-7.56302521008411E-3</c:v>
                </c:pt>
                <c:pt idx="38804">
                  <c:v>-7.56302521008411E-3</c:v>
                </c:pt>
                <c:pt idx="38805">
                  <c:v>-7.56302521008411E-3</c:v>
                </c:pt>
                <c:pt idx="38806">
                  <c:v>-7.56302521008411E-3</c:v>
                </c:pt>
                <c:pt idx="38807">
                  <c:v>-7.56302521008411E-3</c:v>
                </c:pt>
                <c:pt idx="38808">
                  <c:v>-7.56302521008411E-3</c:v>
                </c:pt>
                <c:pt idx="38809">
                  <c:v>-7.56302521008411E-3</c:v>
                </c:pt>
                <c:pt idx="38810">
                  <c:v>-7.56302521008411E-3</c:v>
                </c:pt>
                <c:pt idx="38811">
                  <c:v>-7.56302521008411E-3</c:v>
                </c:pt>
                <c:pt idx="38812">
                  <c:v>-7.56302521008411E-3</c:v>
                </c:pt>
                <c:pt idx="38813">
                  <c:v>-7.56302521008411E-3</c:v>
                </c:pt>
                <c:pt idx="38814">
                  <c:v>-7.56302521008411E-3</c:v>
                </c:pt>
                <c:pt idx="38815">
                  <c:v>-7.56302521008411E-3</c:v>
                </c:pt>
                <c:pt idx="38816">
                  <c:v>-7.56302521008411E-3</c:v>
                </c:pt>
                <c:pt idx="38817">
                  <c:v>-7.56302521008411E-3</c:v>
                </c:pt>
                <c:pt idx="38818">
                  <c:v>-7.56302521008411E-3</c:v>
                </c:pt>
                <c:pt idx="38819">
                  <c:v>-7.56302521008411E-3</c:v>
                </c:pt>
                <c:pt idx="38820">
                  <c:v>-7.56302521008411E-3</c:v>
                </c:pt>
                <c:pt idx="38821">
                  <c:v>-7.56302521008411E-3</c:v>
                </c:pt>
                <c:pt idx="38822">
                  <c:v>-7.56302521008411E-3</c:v>
                </c:pt>
                <c:pt idx="38823">
                  <c:v>-7.56302521008411E-3</c:v>
                </c:pt>
                <c:pt idx="38824">
                  <c:v>-7.56302521008411E-3</c:v>
                </c:pt>
                <c:pt idx="38825">
                  <c:v>-7.56302521008411E-3</c:v>
                </c:pt>
                <c:pt idx="38826">
                  <c:v>-7.56302521008411E-3</c:v>
                </c:pt>
                <c:pt idx="38827">
                  <c:v>-7.56302521008411E-3</c:v>
                </c:pt>
                <c:pt idx="38828">
                  <c:v>-7.56302521008411E-3</c:v>
                </c:pt>
                <c:pt idx="38829">
                  <c:v>-7.56302521008411E-3</c:v>
                </c:pt>
                <c:pt idx="38830">
                  <c:v>-7.56302521008411E-3</c:v>
                </c:pt>
                <c:pt idx="38831">
                  <c:v>-7.56302521008411E-3</c:v>
                </c:pt>
                <c:pt idx="38832">
                  <c:v>-7.56302521008411E-3</c:v>
                </c:pt>
                <c:pt idx="38833">
                  <c:v>-7.56302521008411E-3</c:v>
                </c:pt>
                <c:pt idx="38834">
                  <c:v>-6.7226890756303297E-3</c:v>
                </c:pt>
                <c:pt idx="38835">
                  <c:v>-6.7226890756303297E-3</c:v>
                </c:pt>
                <c:pt idx="38836">
                  <c:v>-6.7226890756303297E-3</c:v>
                </c:pt>
                <c:pt idx="38837">
                  <c:v>-6.7226890756303297E-3</c:v>
                </c:pt>
                <c:pt idx="38838">
                  <c:v>-6.7226890756303297E-3</c:v>
                </c:pt>
                <c:pt idx="38839">
                  <c:v>-6.7226890756303297E-3</c:v>
                </c:pt>
                <c:pt idx="38840">
                  <c:v>-6.7226890756303297E-3</c:v>
                </c:pt>
                <c:pt idx="38841">
                  <c:v>-6.7226890756303297E-3</c:v>
                </c:pt>
                <c:pt idx="38842">
                  <c:v>-6.7226890756303297E-3</c:v>
                </c:pt>
                <c:pt idx="38843">
                  <c:v>-6.7226890756303297E-3</c:v>
                </c:pt>
                <c:pt idx="38844">
                  <c:v>-6.7226890756303297E-3</c:v>
                </c:pt>
                <c:pt idx="38845">
                  <c:v>-6.7226890756303297E-3</c:v>
                </c:pt>
                <c:pt idx="38846">
                  <c:v>-6.7226890756303297E-3</c:v>
                </c:pt>
                <c:pt idx="38847">
                  <c:v>-6.7226890756303297E-3</c:v>
                </c:pt>
                <c:pt idx="38848">
                  <c:v>-6.7226890756303297E-3</c:v>
                </c:pt>
                <c:pt idx="38849">
                  <c:v>-6.7226890756303297E-3</c:v>
                </c:pt>
                <c:pt idx="38850">
                  <c:v>-6.7226890756303297E-3</c:v>
                </c:pt>
                <c:pt idx="38851">
                  <c:v>-6.7226890756303297E-3</c:v>
                </c:pt>
                <c:pt idx="38852">
                  <c:v>-6.7226890756303297E-3</c:v>
                </c:pt>
                <c:pt idx="38853">
                  <c:v>-6.7226890756303297E-3</c:v>
                </c:pt>
                <c:pt idx="38854">
                  <c:v>-6.7226890756303297E-3</c:v>
                </c:pt>
                <c:pt idx="38855">
                  <c:v>-6.7226890756303297E-3</c:v>
                </c:pt>
                <c:pt idx="38856">
                  <c:v>-6.7226890756303297E-3</c:v>
                </c:pt>
                <c:pt idx="38857">
                  <c:v>-6.7226890756303297E-3</c:v>
                </c:pt>
                <c:pt idx="38858">
                  <c:v>-6.7226890756303297E-3</c:v>
                </c:pt>
                <c:pt idx="38859">
                  <c:v>-6.7226890756303297E-3</c:v>
                </c:pt>
                <c:pt idx="38860">
                  <c:v>-6.7226890756303297E-3</c:v>
                </c:pt>
                <c:pt idx="38861">
                  <c:v>-6.7226890756303297E-3</c:v>
                </c:pt>
                <c:pt idx="38862">
                  <c:v>-6.7226890756303297E-3</c:v>
                </c:pt>
                <c:pt idx="38863">
                  <c:v>-6.7226890756303297E-3</c:v>
                </c:pt>
                <c:pt idx="38864">
                  <c:v>-6.7226890756303297E-3</c:v>
                </c:pt>
                <c:pt idx="38865">
                  <c:v>-6.7226890756303297E-3</c:v>
                </c:pt>
                <c:pt idx="38866">
                  <c:v>-6.7226890756303297E-3</c:v>
                </c:pt>
                <c:pt idx="38867">
                  <c:v>-6.7226890756303297E-3</c:v>
                </c:pt>
                <c:pt idx="38868">
                  <c:v>-6.7226890756303297E-3</c:v>
                </c:pt>
                <c:pt idx="38869">
                  <c:v>-6.7226890756303297E-3</c:v>
                </c:pt>
                <c:pt idx="38870">
                  <c:v>-6.7226890756303297E-3</c:v>
                </c:pt>
                <c:pt idx="38871">
                  <c:v>-6.7226890756303297E-3</c:v>
                </c:pt>
                <c:pt idx="38872">
                  <c:v>-6.7226890756303297E-3</c:v>
                </c:pt>
                <c:pt idx="38873">
                  <c:v>-6.7226890756303297E-3</c:v>
                </c:pt>
                <c:pt idx="38874">
                  <c:v>-6.7226890756303297E-3</c:v>
                </c:pt>
                <c:pt idx="38875">
                  <c:v>-6.7226890756303297E-3</c:v>
                </c:pt>
                <c:pt idx="38876">
                  <c:v>-6.7226890756303297E-3</c:v>
                </c:pt>
                <c:pt idx="38877">
                  <c:v>-6.7226890756303297E-3</c:v>
                </c:pt>
                <c:pt idx="38878">
                  <c:v>-6.7226890756303297E-3</c:v>
                </c:pt>
                <c:pt idx="38879">
                  <c:v>-6.7226890756303297E-3</c:v>
                </c:pt>
                <c:pt idx="38880">
                  <c:v>-6.7226890756303297E-3</c:v>
                </c:pt>
                <c:pt idx="38881">
                  <c:v>-6.7226890756303297E-3</c:v>
                </c:pt>
                <c:pt idx="38882">
                  <c:v>-6.7226890756303297E-3</c:v>
                </c:pt>
                <c:pt idx="38883">
                  <c:v>-6.7226890756303297E-3</c:v>
                </c:pt>
                <c:pt idx="38884">
                  <c:v>-6.7226890756303297E-3</c:v>
                </c:pt>
                <c:pt idx="38885">
                  <c:v>-6.7226890756303297E-3</c:v>
                </c:pt>
                <c:pt idx="38886">
                  <c:v>-6.7226890756303297E-3</c:v>
                </c:pt>
                <c:pt idx="38887">
                  <c:v>-6.7226890756303297E-3</c:v>
                </c:pt>
                <c:pt idx="38888">
                  <c:v>-6.7226890756303297E-3</c:v>
                </c:pt>
                <c:pt idx="38889">
                  <c:v>-6.7226890756303297E-3</c:v>
                </c:pt>
                <c:pt idx="38890">
                  <c:v>-6.7226890756303297E-3</c:v>
                </c:pt>
                <c:pt idx="38891">
                  <c:v>-6.7226890756303297E-3</c:v>
                </c:pt>
                <c:pt idx="38892">
                  <c:v>-6.7226890756303297E-3</c:v>
                </c:pt>
                <c:pt idx="38893">
                  <c:v>-6.7226890756303297E-3</c:v>
                </c:pt>
                <c:pt idx="38894">
                  <c:v>-6.7226890756303297E-3</c:v>
                </c:pt>
                <c:pt idx="38895">
                  <c:v>-6.7226890756303297E-3</c:v>
                </c:pt>
                <c:pt idx="38896">
                  <c:v>-7.56302521008411E-3</c:v>
                </c:pt>
                <c:pt idx="38897">
                  <c:v>-7.56302521008411E-3</c:v>
                </c:pt>
                <c:pt idx="38898">
                  <c:v>-7.56302521008411E-3</c:v>
                </c:pt>
                <c:pt idx="38899">
                  <c:v>-7.56302521008411E-3</c:v>
                </c:pt>
                <c:pt idx="38900">
                  <c:v>-7.56302521008411E-3</c:v>
                </c:pt>
                <c:pt idx="38901">
                  <c:v>-7.56302521008411E-3</c:v>
                </c:pt>
                <c:pt idx="38902">
                  <c:v>-7.56302521008411E-3</c:v>
                </c:pt>
                <c:pt idx="38903">
                  <c:v>-7.56302521008411E-3</c:v>
                </c:pt>
                <c:pt idx="38904">
                  <c:v>-7.56302521008411E-3</c:v>
                </c:pt>
                <c:pt idx="38905">
                  <c:v>-7.56302521008411E-3</c:v>
                </c:pt>
                <c:pt idx="38906">
                  <c:v>-7.56302521008411E-3</c:v>
                </c:pt>
                <c:pt idx="38907">
                  <c:v>-6.7226890756302204E-3</c:v>
                </c:pt>
                <c:pt idx="38908">
                  <c:v>-6.7226890756302204E-3</c:v>
                </c:pt>
                <c:pt idx="38909">
                  <c:v>-6.7226890756302204E-3</c:v>
                </c:pt>
                <c:pt idx="38910">
                  <c:v>-6.7226890756302204E-3</c:v>
                </c:pt>
                <c:pt idx="38911">
                  <c:v>-6.7226890756302204E-3</c:v>
                </c:pt>
                <c:pt idx="38912">
                  <c:v>-6.7226890756302204E-3</c:v>
                </c:pt>
                <c:pt idx="38913">
                  <c:v>-6.7226890756302204E-3</c:v>
                </c:pt>
                <c:pt idx="38914">
                  <c:v>-6.7226890756302204E-3</c:v>
                </c:pt>
                <c:pt idx="38915">
                  <c:v>-6.7226890756302204E-3</c:v>
                </c:pt>
                <c:pt idx="38916">
                  <c:v>-6.7226890756302204E-3</c:v>
                </c:pt>
                <c:pt idx="38917">
                  <c:v>-6.7226890756302204E-3</c:v>
                </c:pt>
                <c:pt idx="38918">
                  <c:v>-6.7226890756302204E-3</c:v>
                </c:pt>
                <c:pt idx="38919">
                  <c:v>-6.7226890756302204E-3</c:v>
                </c:pt>
                <c:pt idx="38920">
                  <c:v>-6.7226890756302204E-3</c:v>
                </c:pt>
                <c:pt idx="38921">
                  <c:v>-6.7226890756302204E-3</c:v>
                </c:pt>
                <c:pt idx="38922">
                  <c:v>-6.7226890756302204E-3</c:v>
                </c:pt>
                <c:pt idx="38923">
                  <c:v>-6.7226890756302204E-3</c:v>
                </c:pt>
                <c:pt idx="38924">
                  <c:v>-6.7226890756302204E-3</c:v>
                </c:pt>
                <c:pt idx="38925">
                  <c:v>-6.7226890756302204E-3</c:v>
                </c:pt>
                <c:pt idx="38926">
                  <c:v>-6.7226890756302204E-3</c:v>
                </c:pt>
                <c:pt idx="38927">
                  <c:v>-6.7226890756302204E-3</c:v>
                </c:pt>
                <c:pt idx="38928">
                  <c:v>-6.7226890756302204E-3</c:v>
                </c:pt>
                <c:pt idx="38929">
                  <c:v>-6.7226890756302204E-3</c:v>
                </c:pt>
                <c:pt idx="38930">
                  <c:v>-6.7226890756302204E-3</c:v>
                </c:pt>
                <c:pt idx="38931">
                  <c:v>-6.7226890756302204E-3</c:v>
                </c:pt>
                <c:pt idx="38932">
                  <c:v>-6.7226890756302204E-3</c:v>
                </c:pt>
                <c:pt idx="38933">
                  <c:v>-6.7226890756302204E-3</c:v>
                </c:pt>
                <c:pt idx="38934">
                  <c:v>-6.7226890756302204E-3</c:v>
                </c:pt>
                <c:pt idx="38935">
                  <c:v>-6.7226890756302204E-3</c:v>
                </c:pt>
                <c:pt idx="38936">
                  <c:v>-6.7226890756302204E-3</c:v>
                </c:pt>
                <c:pt idx="38937">
                  <c:v>-6.7226890756302204E-3</c:v>
                </c:pt>
                <c:pt idx="38938">
                  <c:v>-6.7226890756302204E-3</c:v>
                </c:pt>
                <c:pt idx="38939">
                  <c:v>-6.7226890756302204E-3</c:v>
                </c:pt>
                <c:pt idx="38940">
                  <c:v>-7.5630252100839998E-3</c:v>
                </c:pt>
                <c:pt idx="38941">
                  <c:v>-7.5630252100839998E-3</c:v>
                </c:pt>
                <c:pt idx="38942">
                  <c:v>-7.5630252100839998E-3</c:v>
                </c:pt>
                <c:pt idx="38943">
                  <c:v>-7.5630252100839998E-3</c:v>
                </c:pt>
                <c:pt idx="38944">
                  <c:v>-7.5630252100839998E-3</c:v>
                </c:pt>
                <c:pt idx="38945">
                  <c:v>-7.5630252100839998E-3</c:v>
                </c:pt>
                <c:pt idx="38946">
                  <c:v>-7.5630252100839998E-3</c:v>
                </c:pt>
                <c:pt idx="38947">
                  <c:v>-7.5630252100839998E-3</c:v>
                </c:pt>
                <c:pt idx="38948">
                  <c:v>-7.5630252100839998E-3</c:v>
                </c:pt>
                <c:pt idx="38949">
                  <c:v>-7.5630252100839998E-3</c:v>
                </c:pt>
                <c:pt idx="38950">
                  <c:v>-7.5630252100839998E-3</c:v>
                </c:pt>
                <c:pt idx="38951">
                  <c:v>-7.5630252100839998E-3</c:v>
                </c:pt>
                <c:pt idx="38952">
                  <c:v>-7.5630252100839998E-3</c:v>
                </c:pt>
                <c:pt idx="38953">
                  <c:v>-7.5630252100839998E-3</c:v>
                </c:pt>
                <c:pt idx="38954">
                  <c:v>-7.5630252100839998E-3</c:v>
                </c:pt>
                <c:pt idx="38955">
                  <c:v>-7.5630252100839998E-3</c:v>
                </c:pt>
                <c:pt idx="38956">
                  <c:v>-7.5630252100839998E-3</c:v>
                </c:pt>
                <c:pt idx="38957">
                  <c:v>-7.5630252100839998E-3</c:v>
                </c:pt>
                <c:pt idx="38958">
                  <c:v>-7.5630252100839998E-3</c:v>
                </c:pt>
                <c:pt idx="38959">
                  <c:v>-7.5630252100839998E-3</c:v>
                </c:pt>
                <c:pt idx="38960">
                  <c:v>-7.5630252100839998E-3</c:v>
                </c:pt>
                <c:pt idx="38961">
                  <c:v>-7.5630252100839998E-3</c:v>
                </c:pt>
                <c:pt idx="38962">
                  <c:v>-7.5630252100839998E-3</c:v>
                </c:pt>
                <c:pt idx="38963">
                  <c:v>-7.5630252100839998E-3</c:v>
                </c:pt>
                <c:pt idx="38964">
                  <c:v>-7.5630252100839998E-3</c:v>
                </c:pt>
                <c:pt idx="38965">
                  <c:v>-7.5630252100839998E-3</c:v>
                </c:pt>
                <c:pt idx="38966">
                  <c:v>-7.5630252100839998E-3</c:v>
                </c:pt>
                <c:pt idx="38967">
                  <c:v>-7.5630252100839998E-3</c:v>
                </c:pt>
                <c:pt idx="38968">
                  <c:v>-7.5630252100839998E-3</c:v>
                </c:pt>
                <c:pt idx="38969">
                  <c:v>-7.5630252100839998E-3</c:v>
                </c:pt>
                <c:pt idx="38970">
                  <c:v>-7.5630252100839998E-3</c:v>
                </c:pt>
                <c:pt idx="38971">
                  <c:v>-7.5630252100839998E-3</c:v>
                </c:pt>
                <c:pt idx="38972">
                  <c:v>-7.5630252100839998E-3</c:v>
                </c:pt>
                <c:pt idx="38973">
                  <c:v>-7.5630252100839998E-3</c:v>
                </c:pt>
                <c:pt idx="38974">
                  <c:v>-7.5630252100839998E-3</c:v>
                </c:pt>
                <c:pt idx="38975">
                  <c:v>-7.5630252100839998E-3</c:v>
                </c:pt>
                <c:pt idx="38976">
                  <c:v>-7.5630252100839998E-3</c:v>
                </c:pt>
                <c:pt idx="38977">
                  <c:v>-7.5630252100839998E-3</c:v>
                </c:pt>
                <c:pt idx="38978">
                  <c:v>-7.5630252100839998E-3</c:v>
                </c:pt>
                <c:pt idx="38979">
                  <c:v>-7.5630252100839998E-3</c:v>
                </c:pt>
                <c:pt idx="38980">
                  <c:v>-7.5630252100839998E-3</c:v>
                </c:pt>
                <c:pt idx="38981">
                  <c:v>-7.5630252100839998E-3</c:v>
                </c:pt>
                <c:pt idx="38982">
                  <c:v>-7.5630252100839998E-3</c:v>
                </c:pt>
                <c:pt idx="38983">
                  <c:v>-7.5630252100839998E-3</c:v>
                </c:pt>
                <c:pt idx="38984">
                  <c:v>-7.5630252100839998E-3</c:v>
                </c:pt>
                <c:pt idx="38985">
                  <c:v>-7.5630252100839998E-3</c:v>
                </c:pt>
                <c:pt idx="38986">
                  <c:v>-7.5630252100839998E-3</c:v>
                </c:pt>
                <c:pt idx="38987">
                  <c:v>-7.5630252100839998E-3</c:v>
                </c:pt>
                <c:pt idx="38988">
                  <c:v>-7.5630252100839998E-3</c:v>
                </c:pt>
                <c:pt idx="38989">
                  <c:v>-7.5630252100839998E-3</c:v>
                </c:pt>
                <c:pt idx="38990">
                  <c:v>-7.5630252100839998E-3</c:v>
                </c:pt>
                <c:pt idx="38991">
                  <c:v>-7.5630252100839998E-3</c:v>
                </c:pt>
                <c:pt idx="38992">
                  <c:v>-7.5630252100839998E-3</c:v>
                </c:pt>
                <c:pt idx="38993">
                  <c:v>-7.5630252100839998E-3</c:v>
                </c:pt>
                <c:pt idx="38994">
                  <c:v>-7.5630252100839998E-3</c:v>
                </c:pt>
                <c:pt idx="38995">
                  <c:v>-7.5630252100839998E-3</c:v>
                </c:pt>
                <c:pt idx="38996">
                  <c:v>-7.5630252100839998E-3</c:v>
                </c:pt>
                <c:pt idx="38997">
                  <c:v>-7.5630252100839998E-3</c:v>
                </c:pt>
                <c:pt idx="38998">
                  <c:v>-7.5630252100839998E-3</c:v>
                </c:pt>
                <c:pt idx="38999">
                  <c:v>-7.5630252100839998E-3</c:v>
                </c:pt>
                <c:pt idx="39000">
                  <c:v>-7.5630252100839998E-3</c:v>
                </c:pt>
                <c:pt idx="39001">
                  <c:v>-7.5630252100839998E-3</c:v>
                </c:pt>
                <c:pt idx="39002">
                  <c:v>-7.5630252100839998E-3</c:v>
                </c:pt>
                <c:pt idx="39003">
                  <c:v>-7.5630252100839998E-3</c:v>
                </c:pt>
                <c:pt idx="39004">
                  <c:v>-7.5630252100839998E-3</c:v>
                </c:pt>
                <c:pt idx="39005">
                  <c:v>-7.5630252100839998E-3</c:v>
                </c:pt>
                <c:pt idx="39006">
                  <c:v>-7.5630252100839998E-3</c:v>
                </c:pt>
                <c:pt idx="39007">
                  <c:v>-7.5630252100839998E-3</c:v>
                </c:pt>
                <c:pt idx="39008">
                  <c:v>-7.5630252100839998E-3</c:v>
                </c:pt>
                <c:pt idx="39009">
                  <c:v>-7.5630252100839998E-3</c:v>
                </c:pt>
                <c:pt idx="39010">
                  <c:v>-7.5630252100839998E-3</c:v>
                </c:pt>
                <c:pt idx="39011">
                  <c:v>-7.5630252100839998E-3</c:v>
                </c:pt>
                <c:pt idx="39012">
                  <c:v>-7.5630252100839998E-3</c:v>
                </c:pt>
                <c:pt idx="39013">
                  <c:v>-7.5630252100839998E-3</c:v>
                </c:pt>
                <c:pt idx="39014">
                  <c:v>-7.5630252100839998E-3</c:v>
                </c:pt>
                <c:pt idx="39015">
                  <c:v>-7.5630252100839998E-3</c:v>
                </c:pt>
                <c:pt idx="39016">
                  <c:v>-7.5630252100839998E-3</c:v>
                </c:pt>
                <c:pt idx="39017">
                  <c:v>-7.5630252100839998E-3</c:v>
                </c:pt>
                <c:pt idx="39018">
                  <c:v>-7.5630252100839998E-3</c:v>
                </c:pt>
                <c:pt idx="39019">
                  <c:v>-7.5630252100839998E-3</c:v>
                </c:pt>
                <c:pt idx="39020">
                  <c:v>-7.5630252100839998E-3</c:v>
                </c:pt>
                <c:pt idx="39021">
                  <c:v>-7.5630252100839998E-3</c:v>
                </c:pt>
                <c:pt idx="39022">
                  <c:v>-7.5630252100839998E-3</c:v>
                </c:pt>
                <c:pt idx="39023">
                  <c:v>-7.5630252100839998E-3</c:v>
                </c:pt>
                <c:pt idx="39024">
                  <c:v>-7.5630252100839998E-3</c:v>
                </c:pt>
                <c:pt idx="39025">
                  <c:v>-7.5630252100839998E-3</c:v>
                </c:pt>
                <c:pt idx="39026">
                  <c:v>-7.5630252100839998E-3</c:v>
                </c:pt>
                <c:pt idx="39027">
                  <c:v>-7.5630252100839998E-3</c:v>
                </c:pt>
                <c:pt idx="39028">
                  <c:v>-7.5630252100839998E-3</c:v>
                </c:pt>
                <c:pt idx="39029">
                  <c:v>-7.5630252100839998E-3</c:v>
                </c:pt>
                <c:pt idx="39030">
                  <c:v>-7.5630252100839998E-3</c:v>
                </c:pt>
                <c:pt idx="39031">
                  <c:v>-7.5630252100839998E-3</c:v>
                </c:pt>
                <c:pt idx="39032">
                  <c:v>-7.5630252100839998E-3</c:v>
                </c:pt>
                <c:pt idx="39033">
                  <c:v>-7.5630252100839998E-3</c:v>
                </c:pt>
                <c:pt idx="39034">
                  <c:v>-7.5630252100839998E-3</c:v>
                </c:pt>
                <c:pt idx="39035">
                  <c:v>-7.5630252100839998E-3</c:v>
                </c:pt>
                <c:pt idx="39036">
                  <c:v>-7.5630252100839998E-3</c:v>
                </c:pt>
                <c:pt idx="39037">
                  <c:v>-7.5630252100839998E-3</c:v>
                </c:pt>
                <c:pt idx="39038">
                  <c:v>-7.5630252100839998E-3</c:v>
                </c:pt>
                <c:pt idx="39039">
                  <c:v>-7.5630252100839998E-3</c:v>
                </c:pt>
                <c:pt idx="39040">
                  <c:v>-7.5630252100839998E-3</c:v>
                </c:pt>
                <c:pt idx="39041">
                  <c:v>-7.5630252100839998E-3</c:v>
                </c:pt>
                <c:pt idx="39042">
                  <c:v>-7.5630252100839998E-3</c:v>
                </c:pt>
                <c:pt idx="39043">
                  <c:v>-7.5630252100839998E-3</c:v>
                </c:pt>
                <c:pt idx="39044">
                  <c:v>-7.5630252100839998E-3</c:v>
                </c:pt>
                <c:pt idx="39045">
                  <c:v>-7.5630252100839998E-3</c:v>
                </c:pt>
                <c:pt idx="39046">
                  <c:v>-7.5630252100839998E-3</c:v>
                </c:pt>
                <c:pt idx="39047">
                  <c:v>-7.5630252100839998E-3</c:v>
                </c:pt>
                <c:pt idx="39048">
                  <c:v>-7.5630252100839998E-3</c:v>
                </c:pt>
                <c:pt idx="39049">
                  <c:v>-7.5630252100839998E-3</c:v>
                </c:pt>
                <c:pt idx="39050">
                  <c:v>-7.5630252100839998E-3</c:v>
                </c:pt>
                <c:pt idx="39051">
                  <c:v>-7.5630252100839998E-3</c:v>
                </c:pt>
                <c:pt idx="39052">
                  <c:v>-7.5630252100839998E-3</c:v>
                </c:pt>
                <c:pt idx="39053">
                  <c:v>-7.5630252100839998E-3</c:v>
                </c:pt>
                <c:pt idx="39054">
                  <c:v>-7.5630252100839998E-3</c:v>
                </c:pt>
                <c:pt idx="39055">
                  <c:v>-7.5630252100839998E-3</c:v>
                </c:pt>
                <c:pt idx="39056">
                  <c:v>-7.5630252100839998E-3</c:v>
                </c:pt>
                <c:pt idx="39057">
                  <c:v>-7.5630252100839998E-3</c:v>
                </c:pt>
                <c:pt idx="39058">
                  <c:v>-7.5630252100839998E-3</c:v>
                </c:pt>
                <c:pt idx="39059">
                  <c:v>-7.5630252100839998E-3</c:v>
                </c:pt>
                <c:pt idx="39060">
                  <c:v>-7.5630252100839998E-3</c:v>
                </c:pt>
                <c:pt idx="39061">
                  <c:v>-7.5630252100839998E-3</c:v>
                </c:pt>
                <c:pt idx="39062">
                  <c:v>-7.5630252100839998E-3</c:v>
                </c:pt>
                <c:pt idx="39063">
                  <c:v>-7.5630252100839998E-3</c:v>
                </c:pt>
                <c:pt idx="39064">
                  <c:v>-7.5630252100839998E-3</c:v>
                </c:pt>
                <c:pt idx="39065">
                  <c:v>-7.5630252100839998E-3</c:v>
                </c:pt>
                <c:pt idx="39066">
                  <c:v>-7.5630252100839998E-3</c:v>
                </c:pt>
                <c:pt idx="39067">
                  <c:v>-7.5630252100839998E-3</c:v>
                </c:pt>
                <c:pt idx="39068">
                  <c:v>-7.5630252100839998E-3</c:v>
                </c:pt>
                <c:pt idx="39069">
                  <c:v>-7.5630252100839998E-3</c:v>
                </c:pt>
                <c:pt idx="39070">
                  <c:v>-7.5630252100839998E-3</c:v>
                </c:pt>
                <c:pt idx="39071">
                  <c:v>-7.5630252100839998E-3</c:v>
                </c:pt>
                <c:pt idx="39072">
                  <c:v>-7.5630252100839998E-3</c:v>
                </c:pt>
                <c:pt idx="39073">
                  <c:v>-7.5630252100839998E-3</c:v>
                </c:pt>
                <c:pt idx="39074">
                  <c:v>-7.5630252100839998E-3</c:v>
                </c:pt>
                <c:pt idx="39075">
                  <c:v>-7.5630252100839998E-3</c:v>
                </c:pt>
                <c:pt idx="39076">
                  <c:v>-7.5630252100839998E-3</c:v>
                </c:pt>
                <c:pt idx="39077">
                  <c:v>-7.5630252100839998E-3</c:v>
                </c:pt>
                <c:pt idx="39078">
                  <c:v>-7.5630252100839998E-3</c:v>
                </c:pt>
                <c:pt idx="39079">
                  <c:v>-7.5630252100839998E-3</c:v>
                </c:pt>
                <c:pt idx="39080">
                  <c:v>-7.5630252100839998E-3</c:v>
                </c:pt>
                <c:pt idx="39081">
                  <c:v>-7.5630252100839998E-3</c:v>
                </c:pt>
                <c:pt idx="39082">
                  <c:v>-7.5630252100839998E-3</c:v>
                </c:pt>
                <c:pt idx="39083">
                  <c:v>-7.5630252100839998E-3</c:v>
                </c:pt>
                <c:pt idx="39084">
                  <c:v>-7.5630252100839998E-3</c:v>
                </c:pt>
                <c:pt idx="39085">
                  <c:v>-7.5630252100839998E-3</c:v>
                </c:pt>
                <c:pt idx="39086">
                  <c:v>-7.5630252100839998E-3</c:v>
                </c:pt>
                <c:pt idx="39087">
                  <c:v>-7.5630252100839998E-3</c:v>
                </c:pt>
                <c:pt idx="39088">
                  <c:v>-7.5630252100839998E-3</c:v>
                </c:pt>
                <c:pt idx="39089">
                  <c:v>-7.5630252100839998E-3</c:v>
                </c:pt>
                <c:pt idx="39090">
                  <c:v>-7.5630252100839998E-3</c:v>
                </c:pt>
                <c:pt idx="39091">
                  <c:v>-7.5630252100839998E-3</c:v>
                </c:pt>
                <c:pt idx="39092">
                  <c:v>-7.5630252100839998E-3</c:v>
                </c:pt>
                <c:pt idx="39093">
                  <c:v>-7.5630252100839998E-3</c:v>
                </c:pt>
                <c:pt idx="39094">
                  <c:v>-7.5630252100839998E-3</c:v>
                </c:pt>
                <c:pt idx="39095">
                  <c:v>-7.5630252100839998E-3</c:v>
                </c:pt>
                <c:pt idx="39096">
                  <c:v>-7.5630252100839998E-3</c:v>
                </c:pt>
                <c:pt idx="39097">
                  <c:v>-7.5630252100839998E-3</c:v>
                </c:pt>
                <c:pt idx="39098">
                  <c:v>-7.5630252100839998E-3</c:v>
                </c:pt>
                <c:pt idx="39099">
                  <c:v>-7.5630252100839998E-3</c:v>
                </c:pt>
                <c:pt idx="39100">
                  <c:v>-7.5630252100839998E-3</c:v>
                </c:pt>
                <c:pt idx="39101">
                  <c:v>-6.7226890756302204E-3</c:v>
                </c:pt>
                <c:pt idx="39102">
                  <c:v>-6.7226890756302204E-3</c:v>
                </c:pt>
                <c:pt idx="39103">
                  <c:v>-6.7226890756302204E-3</c:v>
                </c:pt>
                <c:pt idx="39104">
                  <c:v>-6.7226890756302204E-3</c:v>
                </c:pt>
                <c:pt idx="39105">
                  <c:v>-6.7226890756302204E-3</c:v>
                </c:pt>
                <c:pt idx="39106">
                  <c:v>-6.7226890756302204E-3</c:v>
                </c:pt>
                <c:pt idx="39107">
                  <c:v>-6.7226890756302204E-3</c:v>
                </c:pt>
                <c:pt idx="39108">
                  <c:v>-6.7226890756302204E-3</c:v>
                </c:pt>
                <c:pt idx="39109">
                  <c:v>-6.7226890756302204E-3</c:v>
                </c:pt>
                <c:pt idx="39110">
                  <c:v>-6.7226890756302204E-3</c:v>
                </c:pt>
                <c:pt idx="39111">
                  <c:v>-6.7226890756302204E-3</c:v>
                </c:pt>
                <c:pt idx="39112">
                  <c:v>-6.7226890756302204E-3</c:v>
                </c:pt>
                <c:pt idx="39113">
                  <c:v>-6.7226890756302204E-3</c:v>
                </c:pt>
                <c:pt idx="39114">
                  <c:v>-6.7226890756302204E-3</c:v>
                </c:pt>
                <c:pt idx="39115">
                  <c:v>-6.7226890756302204E-3</c:v>
                </c:pt>
                <c:pt idx="39116">
                  <c:v>-6.7226890756302204E-3</c:v>
                </c:pt>
                <c:pt idx="39117">
                  <c:v>-6.7226890756302204E-3</c:v>
                </c:pt>
                <c:pt idx="39118">
                  <c:v>-6.7226890756302204E-3</c:v>
                </c:pt>
                <c:pt idx="39119">
                  <c:v>-6.7226890756302204E-3</c:v>
                </c:pt>
                <c:pt idx="39120">
                  <c:v>-6.7226890756302204E-3</c:v>
                </c:pt>
                <c:pt idx="39121">
                  <c:v>-6.7226890756302204E-3</c:v>
                </c:pt>
                <c:pt idx="39122">
                  <c:v>-6.7226890756302204E-3</c:v>
                </c:pt>
                <c:pt idx="39123">
                  <c:v>-6.7226890756302204E-3</c:v>
                </c:pt>
                <c:pt idx="39124">
                  <c:v>-6.7226890756302204E-3</c:v>
                </c:pt>
                <c:pt idx="39125">
                  <c:v>-6.7226890756302204E-3</c:v>
                </c:pt>
                <c:pt idx="39126">
                  <c:v>-6.7226890756302204E-3</c:v>
                </c:pt>
                <c:pt idx="39127">
                  <c:v>-6.7226890756302204E-3</c:v>
                </c:pt>
                <c:pt idx="39128">
                  <c:v>-6.7226890756302204E-3</c:v>
                </c:pt>
                <c:pt idx="39129">
                  <c:v>-6.7226890756302204E-3</c:v>
                </c:pt>
                <c:pt idx="39130">
                  <c:v>-6.7226890756302204E-3</c:v>
                </c:pt>
                <c:pt idx="39131">
                  <c:v>-6.7226890756302204E-3</c:v>
                </c:pt>
                <c:pt idx="39132">
                  <c:v>-6.7226890756302204E-3</c:v>
                </c:pt>
                <c:pt idx="39133">
                  <c:v>-6.7226890756302204E-3</c:v>
                </c:pt>
                <c:pt idx="39134">
                  <c:v>-6.7226890756302204E-3</c:v>
                </c:pt>
                <c:pt idx="39135">
                  <c:v>-6.7226890756302204E-3</c:v>
                </c:pt>
                <c:pt idx="39136">
                  <c:v>-6.7226890756302204E-3</c:v>
                </c:pt>
                <c:pt idx="39137">
                  <c:v>-6.7226890756302204E-3</c:v>
                </c:pt>
                <c:pt idx="39138">
                  <c:v>-6.7226890756302204E-3</c:v>
                </c:pt>
                <c:pt idx="39139">
                  <c:v>-6.7226890756302204E-3</c:v>
                </c:pt>
                <c:pt idx="39140">
                  <c:v>-6.7226890756302204E-3</c:v>
                </c:pt>
                <c:pt idx="39141">
                  <c:v>-6.7226890756302204E-3</c:v>
                </c:pt>
                <c:pt idx="39142">
                  <c:v>-6.7226890756302204E-3</c:v>
                </c:pt>
                <c:pt idx="39143">
                  <c:v>-6.7226890756302204E-3</c:v>
                </c:pt>
                <c:pt idx="39144">
                  <c:v>-6.7226890756302204E-3</c:v>
                </c:pt>
                <c:pt idx="39145">
                  <c:v>-6.7226890756302204E-3</c:v>
                </c:pt>
                <c:pt idx="39146">
                  <c:v>-6.7226890756302204E-3</c:v>
                </c:pt>
                <c:pt idx="39147">
                  <c:v>-6.7226890756302204E-3</c:v>
                </c:pt>
                <c:pt idx="39148">
                  <c:v>-6.7226890756302204E-3</c:v>
                </c:pt>
                <c:pt idx="39149">
                  <c:v>-6.7226890756302204E-3</c:v>
                </c:pt>
                <c:pt idx="39150">
                  <c:v>-6.7226890756302204E-3</c:v>
                </c:pt>
                <c:pt idx="39151">
                  <c:v>-6.7226890756302204E-3</c:v>
                </c:pt>
                <c:pt idx="39152">
                  <c:v>-6.7226890756302204E-3</c:v>
                </c:pt>
                <c:pt idx="39153">
                  <c:v>-6.7226890756302204E-3</c:v>
                </c:pt>
                <c:pt idx="39154">
                  <c:v>-5.8823529411764497E-3</c:v>
                </c:pt>
                <c:pt idx="39155">
                  <c:v>-5.8823529411764497E-3</c:v>
                </c:pt>
                <c:pt idx="39156">
                  <c:v>-5.8823529411764497E-3</c:v>
                </c:pt>
                <c:pt idx="39157">
                  <c:v>-5.8823529411764497E-3</c:v>
                </c:pt>
                <c:pt idx="39158">
                  <c:v>-5.8823529411764497E-3</c:v>
                </c:pt>
                <c:pt idx="39159">
                  <c:v>-5.8823529411764497E-3</c:v>
                </c:pt>
                <c:pt idx="39160">
                  <c:v>-5.8823529411764497E-3</c:v>
                </c:pt>
                <c:pt idx="39161">
                  <c:v>-5.8823529411764497E-3</c:v>
                </c:pt>
                <c:pt idx="39162">
                  <c:v>-5.8823529411764497E-3</c:v>
                </c:pt>
                <c:pt idx="39163">
                  <c:v>-5.8823529411764497E-3</c:v>
                </c:pt>
                <c:pt idx="39164">
                  <c:v>-5.8823529411764497E-3</c:v>
                </c:pt>
                <c:pt idx="39165">
                  <c:v>-5.8823529411764497E-3</c:v>
                </c:pt>
                <c:pt idx="39166">
                  <c:v>-5.8823529411764497E-3</c:v>
                </c:pt>
                <c:pt idx="39167">
                  <c:v>-5.8823529411764497E-3</c:v>
                </c:pt>
                <c:pt idx="39168">
                  <c:v>-5.8823529411764497E-3</c:v>
                </c:pt>
                <c:pt idx="39169">
                  <c:v>-5.8823529411764497E-3</c:v>
                </c:pt>
                <c:pt idx="39170">
                  <c:v>-5.8823529411764497E-3</c:v>
                </c:pt>
                <c:pt idx="39171">
                  <c:v>-5.8823529411764497E-3</c:v>
                </c:pt>
                <c:pt idx="39172">
                  <c:v>-6.7226890756302204E-3</c:v>
                </c:pt>
                <c:pt idx="39173">
                  <c:v>-6.7226890756302204E-3</c:v>
                </c:pt>
                <c:pt idx="39174">
                  <c:v>-6.7226890756302204E-3</c:v>
                </c:pt>
                <c:pt idx="39175">
                  <c:v>-6.7226890756302204E-3</c:v>
                </c:pt>
                <c:pt idx="39176">
                  <c:v>-6.7226890756302204E-3</c:v>
                </c:pt>
                <c:pt idx="39177">
                  <c:v>-6.7226890756302204E-3</c:v>
                </c:pt>
                <c:pt idx="39178">
                  <c:v>-6.7226890756302204E-3</c:v>
                </c:pt>
                <c:pt idx="39179">
                  <c:v>-6.7226890756302204E-3</c:v>
                </c:pt>
                <c:pt idx="39180">
                  <c:v>-6.7226890756302204E-3</c:v>
                </c:pt>
                <c:pt idx="39181">
                  <c:v>-6.7226890756302204E-3</c:v>
                </c:pt>
                <c:pt idx="39182">
                  <c:v>-6.7226890756302204E-3</c:v>
                </c:pt>
                <c:pt idx="39183">
                  <c:v>-6.7226890756302204E-3</c:v>
                </c:pt>
                <c:pt idx="39184">
                  <c:v>-5.8823529411764497E-3</c:v>
                </c:pt>
                <c:pt idx="39185">
                  <c:v>-5.8823529411764497E-3</c:v>
                </c:pt>
                <c:pt idx="39186">
                  <c:v>-5.8823529411764497E-3</c:v>
                </c:pt>
                <c:pt idx="39187">
                  <c:v>-5.8823529411764497E-3</c:v>
                </c:pt>
                <c:pt idx="39188">
                  <c:v>-5.8823529411764497E-3</c:v>
                </c:pt>
                <c:pt idx="39189">
                  <c:v>-5.8823529411764497E-3</c:v>
                </c:pt>
                <c:pt idx="39190">
                  <c:v>-5.8823529411764497E-3</c:v>
                </c:pt>
                <c:pt idx="39191">
                  <c:v>-5.8823529411764497E-3</c:v>
                </c:pt>
                <c:pt idx="39192">
                  <c:v>-5.8823529411764497E-3</c:v>
                </c:pt>
                <c:pt idx="39193">
                  <c:v>-5.8823529411764497E-3</c:v>
                </c:pt>
                <c:pt idx="39194">
                  <c:v>-5.8823529411764497E-3</c:v>
                </c:pt>
                <c:pt idx="39195">
                  <c:v>-5.8823529411764497E-3</c:v>
                </c:pt>
                <c:pt idx="39196">
                  <c:v>-5.8823529411764497E-3</c:v>
                </c:pt>
                <c:pt idx="39197">
                  <c:v>-5.8823529411764497E-3</c:v>
                </c:pt>
                <c:pt idx="39198">
                  <c:v>-5.8823529411764497E-3</c:v>
                </c:pt>
                <c:pt idx="39199">
                  <c:v>-5.8823529411764497E-3</c:v>
                </c:pt>
                <c:pt idx="39200">
                  <c:v>-5.8823529411764497E-3</c:v>
                </c:pt>
                <c:pt idx="39201">
                  <c:v>-5.8823529411764497E-3</c:v>
                </c:pt>
                <c:pt idx="39202">
                  <c:v>-6.7226890756302204E-3</c:v>
                </c:pt>
                <c:pt idx="39203">
                  <c:v>-6.7226890756302204E-3</c:v>
                </c:pt>
                <c:pt idx="39204">
                  <c:v>-6.7226890756302204E-3</c:v>
                </c:pt>
                <c:pt idx="39205">
                  <c:v>-6.7226890756302204E-3</c:v>
                </c:pt>
                <c:pt idx="39206">
                  <c:v>-6.7226890756302204E-3</c:v>
                </c:pt>
                <c:pt idx="39207">
                  <c:v>-6.7226890756302204E-3</c:v>
                </c:pt>
                <c:pt idx="39208">
                  <c:v>-6.7226890756302204E-3</c:v>
                </c:pt>
                <c:pt idx="39209">
                  <c:v>-6.7226890756302204E-3</c:v>
                </c:pt>
                <c:pt idx="39210">
                  <c:v>-6.7226890756302204E-3</c:v>
                </c:pt>
                <c:pt idx="39211">
                  <c:v>-6.7226890756302204E-3</c:v>
                </c:pt>
                <c:pt idx="39212">
                  <c:v>-6.7226890756302204E-3</c:v>
                </c:pt>
                <c:pt idx="39213">
                  <c:v>-6.7226890756302204E-3</c:v>
                </c:pt>
                <c:pt idx="39214">
                  <c:v>-6.7226890756302204E-3</c:v>
                </c:pt>
                <c:pt idx="39215">
                  <c:v>-6.7226890756302204E-3</c:v>
                </c:pt>
                <c:pt idx="39216">
                  <c:v>-7.5630252100839998E-3</c:v>
                </c:pt>
                <c:pt idx="39217">
                  <c:v>-7.5630252100839998E-3</c:v>
                </c:pt>
                <c:pt idx="39218">
                  <c:v>-7.5630252100839998E-3</c:v>
                </c:pt>
                <c:pt idx="39219">
                  <c:v>-7.5630252100839998E-3</c:v>
                </c:pt>
                <c:pt idx="39220">
                  <c:v>-7.5630252100839998E-3</c:v>
                </c:pt>
                <c:pt idx="39221">
                  <c:v>-7.5630252100839998E-3</c:v>
                </c:pt>
                <c:pt idx="39222">
                  <c:v>-7.5630252100839998E-3</c:v>
                </c:pt>
                <c:pt idx="39223">
                  <c:v>-7.5630252100839998E-3</c:v>
                </c:pt>
                <c:pt idx="39224">
                  <c:v>-7.5630252100839998E-3</c:v>
                </c:pt>
                <c:pt idx="39225">
                  <c:v>-7.5630252100839998E-3</c:v>
                </c:pt>
                <c:pt idx="39226">
                  <c:v>-7.5630252100839998E-3</c:v>
                </c:pt>
                <c:pt idx="39227">
                  <c:v>-7.5630252100839998E-3</c:v>
                </c:pt>
                <c:pt idx="39228">
                  <c:v>-7.5630252100839998E-3</c:v>
                </c:pt>
                <c:pt idx="39229">
                  <c:v>-7.5630252100839998E-3</c:v>
                </c:pt>
                <c:pt idx="39230">
                  <c:v>-7.5630252100839998E-3</c:v>
                </c:pt>
                <c:pt idx="39231">
                  <c:v>-7.5630252100839998E-3</c:v>
                </c:pt>
                <c:pt idx="39232">
                  <c:v>-7.5630252100839998E-3</c:v>
                </c:pt>
                <c:pt idx="39233">
                  <c:v>-7.5630252100839998E-3</c:v>
                </c:pt>
                <c:pt idx="39234">
                  <c:v>-7.5630252100839998E-3</c:v>
                </c:pt>
                <c:pt idx="39235">
                  <c:v>-7.5630252100839998E-3</c:v>
                </c:pt>
                <c:pt idx="39236">
                  <c:v>-7.5630252100839998E-3</c:v>
                </c:pt>
                <c:pt idx="39237">
                  <c:v>-7.5630252100839998E-3</c:v>
                </c:pt>
                <c:pt idx="39238">
                  <c:v>-7.5630252100839998E-3</c:v>
                </c:pt>
                <c:pt idx="39239">
                  <c:v>-7.5630252100839998E-3</c:v>
                </c:pt>
                <c:pt idx="39240">
                  <c:v>-7.5630252100839998E-3</c:v>
                </c:pt>
                <c:pt idx="39241">
                  <c:v>-7.5630252100839998E-3</c:v>
                </c:pt>
                <c:pt idx="39242">
                  <c:v>-7.5630252100839998E-3</c:v>
                </c:pt>
                <c:pt idx="39243">
                  <c:v>-7.5630252100839998E-3</c:v>
                </c:pt>
                <c:pt idx="39244">
                  <c:v>-7.5630252100839998E-3</c:v>
                </c:pt>
                <c:pt idx="39245">
                  <c:v>-7.5630252100839998E-3</c:v>
                </c:pt>
                <c:pt idx="39246">
                  <c:v>-7.5630252100839998E-3</c:v>
                </c:pt>
                <c:pt idx="39247">
                  <c:v>-7.5630252100839998E-3</c:v>
                </c:pt>
                <c:pt idx="39248">
                  <c:v>-7.5630252100839998E-3</c:v>
                </c:pt>
                <c:pt idx="39249">
                  <c:v>-7.5630252100839998E-3</c:v>
                </c:pt>
                <c:pt idx="39250">
                  <c:v>-7.5630252100839998E-3</c:v>
                </c:pt>
                <c:pt idx="39251">
                  <c:v>-7.5630252100839998E-3</c:v>
                </c:pt>
                <c:pt idx="39252">
                  <c:v>-7.5630252100839998E-3</c:v>
                </c:pt>
                <c:pt idx="39253">
                  <c:v>-7.5630252100839998E-3</c:v>
                </c:pt>
                <c:pt idx="39254">
                  <c:v>-7.5630252100839998E-3</c:v>
                </c:pt>
                <c:pt idx="39255">
                  <c:v>-7.5630252100839998E-3</c:v>
                </c:pt>
                <c:pt idx="39256">
                  <c:v>-7.5630252100839998E-3</c:v>
                </c:pt>
                <c:pt idx="39257">
                  <c:v>-7.5630252100839998E-3</c:v>
                </c:pt>
                <c:pt idx="39258">
                  <c:v>-7.5630252100839998E-3</c:v>
                </c:pt>
                <c:pt idx="39259">
                  <c:v>-7.5630252100839998E-3</c:v>
                </c:pt>
                <c:pt idx="39260">
                  <c:v>-7.5630252100839998E-3</c:v>
                </c:pt>
                <c:pt idx="39261">
                  <c:v>-7.5630252100839998E-3</c:v>
                </c:pt>
                <c:pt idx="39262">
                  <c:v>-7.5630252100839998E-3</c:v>
                </c:pt>
                <c:pt idx="39263">
                  <c:v>-7.5630252100839998E-3</c:v>
                </c:pt>
                <c:pt idx="39264">
                  <c:v>-7.5630252100839998E-3</c:v>
                </c:pt>
                <c:pt idx="39265">
                  <c:v>-7.5630252100839998E-3</c:v>
                </c:pt>
                <c:pt idx="39266">
                  <c:v>-7.5630252100839998E-3</c:v>
                </c:pt>
                <c:pt idx="39267">
                  <c:v>-7.5630252100839998E-3</c:v>
                </c:pt>
                <c:pt idx="39268">
                  <c:v>-7.5630252100839998E-3</c:v>
                </c:pt>
                <c:pt idx="39269">
                  <c:v>-7.5630252100839998E-3</c:v>
                </c:pt>
                <c:pt idx="39270">
                  <c:v>-7.5630252100839998E-3</c:v>
                </c:pt>
                <c:pt idx="39271">
                  <c:v>-7.5630252100839998E-3</c:v>
                </c:pt>
                <c:pt idx="39272">
                  <c:v>-7.5630252100839998E-3</c:v>
                </c:pt>
                <c:pt idx="39273">
                  <c:v>-7.5630252100839998E-3</c:v>
                </c:pt>
                <c:pt idx="39274">
                  <c:v>-7.5630252100839998E-3</c:v>
                </c:pt>
                <c:pt idx="39275">
                  <c:v>-7.5630252100839998E-3</c:v>
                </c:pt>
                <c:pt idx="39276">
                  <c:v>-7.5630252100839998E-3</c:v>
                </c:pt>
                <c:pt idx="39277">
                  <c:v>-7.5630252100839998E-3</c:v>
                </c:pt>
                <c:pt idx="39278">
                  <c:v>-7.5630252100839998E-3</c:v>
                </c:pt>
                <c:pt idx="39279">
                  <c:v>-7.5630252100839998E-3</c:v>
                </c:pt>
                <c:pt idx="39280">
                  <c:v>-7.5630252100839998E-3</c:v>
                </c:pt>
                <c:pt idx="39281">
                  <c:v>-7.5630252100839998E-3</c:v>
                </c:pt>
                <c:pt idx="39282">
                  <c:v>-7.5630252100839998E-3</c:v>
                </c:pt>
                <c:pt idx="39283">
                  <c:v>-7.5630252100839998E-3</c:v>
                </c:pt>
                <c:pt idx="39284">
                  <c:v>-7.5630252100839998E-3</c:v>
                </c:pt>
                <c:pt idx="39285">
                  <c:v>-7.5630252100839998E-3</c:v>
                </c:pt>
                <c:pt idx="39286">
                  <c:v>-7.5630252100839998E-3</c:v>
                </c:pt>
                <c:pt idx="39287">
                  <c:v>-7.5630252100839998E-3</c:v>
                </c:pt>
                <c:pt idx="39288">
                  <c:v>-7.5630252100839998E-3</c:v>
                </c:pt>
                <c:pt idx="39289">
                  <c:v>-7.5630252100839998E-3</c:v>
                </c:pt>
                <c:pt idx="39290">
                  <c:v>-7.5630252100839998E-3</c:v>
                </c:pt>
                <c:pt idx="39291">
                  <c:v>-6.7226890756302204E-3</c:v>
                </c:pt>
                <c:pt idx="39292">
                  <c:v>-6.7226890756302204E-3</c:v>
                </c:pt>
                <c:pt idx="39293">
                  <c:v>-6.7226890756302204E-3</c:v>
                </c:pt>
                <c:pt idx="39294">
                  <c:v>-6.7226890756302204E-3</c:v>
                </c:pt>
                <c:pt idx="39295">
                  <c:v>-6.7226890756302204E-3</c:v>
                </c:pt>
                <c:pt idx="39296">
                  <c:v>-6.7226890756302204E-3</c:v>
                </c:pt>
                <c:pt idx="39297">
                  <c:v>-6.7226890756302204E-3</c:v>
                </c:pt>
                <c:pt idx="39298">
                  <c:v>-6.7226890756302204E-3</c:v>
                </c:pt>
                <c:pt idx="39299">
                  <c:v>-6.7226890756302204E-3</c:v>
                </c:pt>
                <c:pt idx="39300">
                  <c:v>-6.7226890756302204E-3</c:v>
                </c:pt>
                <c:pt idx="39301">
                  <c:v>-6.7226890756302204E-3</c:v>
                </c:pt>
                <c:pt idx="39302">
                  <c:v>-6.7226890756302204E-3</c:v>
                </c:pt>
                <c:pt idx="39303">
                  <c:v>-6.7226890756302204E-3</c:v>
                </c:pt>
                <c:pt idx="39304">
                  <c:v>-6.7226890756302204E-3</c:v>
                </c:pt>
                <c:pt idx="39305">
                  <c:v>-6.7226890756302204E-3</c:v>
                </c:pt>
                <c:pt idx="39306">
                  <c:v>-6.7226890756302204E-3</c:v>
                </c:pt>
                <c:pt idx="39307">
                  <c:v>-6.7226890756302204E-3</c:v>
                </c:pt>
                <c:pt idx="39308">
                  <c:v>-6.7226890756302204E-3</c:v>
                </c:pt>
                <c:pt idx="39309">
                  <c:v>-6.7226890756302204E-3</c:v>
                </c:pt>
                <c:pt idx="39310">
                  <c:v>-6.7226890756302204E-3</c:v>
                </c:pt>
                <c:pt idx="39311">
                  <c:v>-6.7226890756302204E-3</c:v>
                </c:pt>
                <c:pt idx="39312">
                  <c:v>-6.7226890756302204E-3</c:v>
                </c:pt>
                <c:pt idx="39313">
                  <c:v>-6.7226890756302204E-3</c:v>
                </c:pt>
                <c:pt idx="39314">
                  <c:v>-6.7226890756302204E-3</c:v>
                </c:pt>
                <c:pt idx="39315">
                  <c:v>-6.7226890756302204E-3</c:v>
                </c:pt>
                <c:pt idx="39316">
                  <c:v>-6.7226890756302204E-3</c:v>
                </c:pt>
                <c:pt idx="39317">
                  <c:v>-6.7226890756302204E-3</c:v>
                </c:pt>
                <c:pt idx="39318">
                  <c:v>-6.7226890756302204E-3</c:v>
                </c:pt>
                <c:pt idx="39319">
                  <c:v>-6.7226890756302204E-3</c:v>
                </c:pt>
                <c:pt idx="39320">
                  <c:v>-6.7226890756302204E-3</c:v>
                </c:pt>
                <c:pt idx="39321">
                  <c:v>-6.7226890756302204E-3</c:v>
                </c:pt>
                <c:pt idx="39322">
                  <c:v>-6.7226890756302204E-3</c:v>
                </c:pt>
                <c:pt idx="39323">
                  <c:v>-6.7226890756302204E-3</c:v>
                </c:pt>
                <c:pt idx="39324">
                  <c:v>-6.7226890756302204E-3</c:v>
                </c:pt>
                <c:pt idx="39325">
                  <c:v>-6.7226890756302204E-3</c:v>
                </c:pt>
                <c:pt idx="39326">
                  <c:v>-6.7226890756302204E-3</c:v>
                </c:pt>
                <c:pt idx="39327">
                  <c:v>-6.7226890756302204E-3</c:v>
                </c:pt>
                <c:pt idx="39328">
                  <c:v>-6.7226890756302204E-3</c:v>
                </c:pt>
                <c:pt idx="39329">
                  <c:v>-6.7226890756302204E-3</c:v>
                </c:pt>
                <c:pt idx="39330">
                  <c:v>-6.7226890756302204E-3</c:v>
                </c:pt>
                <c:pt idx="39331">
                  <c:v>-6.7226890756302204E-3</c:v>
                </c:pt>
                <c:pt idx="39332">
                  <c:v>-6.7226890756302204E-3</c:v>
                </c:pt>
                <c:pt idx="39333">
                  <c:v>-6.7226890756302204E-3</c:v>
                </c:pt>
                <c:pt idx="39334">
                  <c:v>-6.7226890756302204E-3</c:v>
                </c:pt>
                <c:pt idx="39335">
                  <c:v>-6.7226890756302204E-3</c:v>
                </c:pt>
                <c:pt idx="39336">
                  <c:v>-6.7226890756302204E-3</c:v>
                </c:pt>
                <c:pt idx="39337">
                  <c:v>-6.7226890756302204E-3</c:v>
                </c:pt>
                <c:pt idx="39338">
                  <c:v>-6.7226890756302204E-3</c:v>
                </c:pt>
                <c:pt idx="39339">
                  <c:v>-6.7226890756302204E-3</c:v>
                </c:pt>
                <c:pt idx="39340">
                  <c:v>-6.7226890756302204E-3</c:v>
                </c:pt>
                <c:pt idx="39341">
                  <c:v>-6.7226890756302204E-3</c:v>
                </c:pt>
                <c:pt idx="39342">
                  <c:v>-6.7226890756302204E-3</c:v>
                </c:pt>
                <c:pt idx="39343">
                  <c:v>-6.7226890756302204E-3</c:v>
                </c:pt>
                <c:pt idx="39344">
                  <c:v>-6.7226890756302204E-3</c:v>
                </c:pt>
                <c:pt idx="39345">
                  <c:v>-6.7226890756302204E-3</c:v>
                </c:pt>
                <c:pt idx="39346">
                  <c:v>-6.7226890756302204E-3</c:v>
                </c:pt>
                <c:pt idx="39347">
                  <c:v>-6.7226890756302204E-3</c:v>
                </c:pt>
                <c:pt idx="39348">
                  <c:v>-6.7226890756302204E-3</c:v>
                </c:pt>
                <c:pt idx="39349">
                  <c:v>-6.7226890756302204E-3</c:v>
                </c:pt>
                <c:pt idx="39350">
                  <c:v>-6.7226890756302204E-3</c:v>
                </c:pt>
                <c:pt idx="39351">
                  <c:v>-7.5630252100839998E-3</c:v>
                </c:pt>
                <c:pt idx="39352">
                  <c:v>-7.5630252100839998E-3</c:v>
                </c:pt>
                <c:pt idx="39353">
                  <c:v>-7.5630252100839998E-3</c:v>
                </c:pt>
                <c:pt idx="39354">
                  <c:v>-7.5630252100839998E-3</c:v>
                </c:pt>
                <c:pt idx="39355">
                  <c:v>-7.5630252100839998E-3</c:v>
                </c:pt>
                <c:pt idx="39356">
                  <c:v>-7.5630252100839998E-3</c:v>
                </c:pt>
                <c:pt idx="39357">
                  <c:v>-7.5630252100839998E-3</c:v>
                </c:pt>
                <c:pt idx="39358">
                  <c:v>-7.5630252100839998E-3</c:v>
                </c:pt>
                <c:pt idx="39359">
                  <c:v>-7.5630252100839998E-3</c:v>
                </c:pt>
                <c:pt idx="39360">
                  <c:v>-7.5630252100839998E-3</c:v>
                </c:pt>
                <c:pt idx="39361">
                  <c:v>-7.5630252100839998E-3</c:v>
                </c:pt>
                <c:pt idx="39362">
                  <c:v>-7.5630252100839998E-3</c:v>
                </c:pt>
                <c:pt idx="39363">
                  <c:v>-7.5630252100839998E-3</c:v>
                </c:pt>
                <c:pt idx="39364">
                  <c:v>-7.5630252100839998E-3</c:v>
                </c:pt>
                <c:pt idx="39365">
                  <c:v>-7.5630252100839998E-3</c:v>
                </c:pt>
                <c:pt idx="39366">
                  <c:v>-6.7226890756302204E-3</c:v>
                </c:pt>
                <c:pt idx="39367">
                  <c:v>-6.7226890756302204E-3</c:v>
                </c:pt>
                <c:pt idx="39368">
                  <c:v>-6.7226890756302204E-3</c:v>
                </c:pt>
                <c:pt idx="39369">
                  <c:v>-6.7226890756302204E-3</c:v>
                </c:pt>
                <c:pt idx="39370">
                  <c:v>-6.7226890756302204E-3</c:v>
                </c:pt>
                <c:pt idx="39371">
                  <c:v>-6.7226890756302204E-3</c:v>
                </c:pt>
                <c:pt idx="39372">
                  <c:v>-6.7226890756302204E-3</c:v>
                </c:pt>
                <c:pt idx="39373">
                  <c:v>-6.7226890756302204E-3</c:v>
                </c:pt>
                <c:pt idx="39374">
                  <c:v>-6.7226890756302204E-3</c:v>
                </c:pt>
                <c:pt idx="39375">
                  <c:v>-6.7226890756302204E-3</c:v>
                </c:pt>
                <c:pt idx="39376">
                  <c:v>-6.7226890756302204E-3</c:v>
                </c:pt>
                <c:pt idx="39377">
                  <c:v>-6.7226890756302204E-3</c:v>
                </c:pt>
                <c:pt idx="39378">
                  <c:v>-6.7226890756302204E-3</c:v>
                </c:pt>
                <c:pt idx="39379">
                  <c:v>-6.7226890756302204E-3</c:v>
                </c:pt>
                <c:pt idx="39380">
                  <c:v>-6.7226890756302204E-3</c:v>
                </c:pt>
                <c:pt idx="39381">
                  <c:v>-6.7226890756302204E-3</c:v>
                </c:pt>
                <c:pt idx="39382">
                  <c:v>-6.7226890756302204E-3</c:v>
                </c:pt>
                <c:pt idx="39383">
                  <c:v>-6.7226890756302204E-3</c:v>
                </c:pt>
                <c:pt idx="39384">
                  <c:v>-6.7226890756302204E-3</c:v>
                </c:pt>
                <c:pt idx="39385">
                  <c:v>-6.7226890756302204E-3</c:v>
                </c:pt>
                <c:pt idx="39386">
                  <c:v>-6.7226890756302204E-3</c:v>
                </c:pt>
                <c:pt idx="39387">
                  <c:v>-6.7226890756302204E-3</c:v>
                </c:pt>
                <c:pt idx="39388">
                  <c:v>-6.7226890756302204E-3</c:v>
                </c:pt>
                <c:pt idx="39389">
                  <c:v>-6.7226890756302204E-3</c:v>
                </c:pt>
                <c:pt idx="39390">
                  <c:v>-6.7226890756302204E-3</c:v>
                </c:pt>
                <c:pt idx="39391">
                  <c:v>-6.7226890756302204E-3</c:v>
                </c:pt>
                <c:pt idx="39392">
                  <c:v>-6.7226890756302204E-3</c:v>
                </c:pt>
                <c:pt idx="39393">
                  <c:v>-6.7226890756302204E-3</c:v>
                </c:pt>
                <c:pt idx="39394">
                  <c:v>-6.7226890756302204E-3</c:v>
                </c:pt>
                <c:pt idx="39395">
                  <c:v>-6.7226890756302204E-3</c:v>
                </c:pt>
                <c:pt idx="39396">
                  <c:v>-6.7226890756302204E-3</c:v>
                </c:pt>
                <c:pt idx="39397">
                  <c:v>-6.7226890756302204E-3</c:v>
                </c:pt>
                <c:pt idx="39398">
                  <c:v>-6.7226890756302204E-3</c:v>
                </c:pt>
                <c:pt idx="39399">
                  <c:v>-6.7226890756302204E-3</c:v>
                </c:pt>
                <c:pt idx="39400">
                  <c:v>-5.8823529411764497E-3</c:v>
                </c:pt>
                <c:pt idx="39401">
                  <c:v>-5.8823529411764497E-3</c:v>
                </c:pt>
                <c:pt idx="39402">
                  <c:v>-5.8823529411764497E-3</c:v>
                </c:pt>
                <c:pt idx="39403">
                  <c:v>-5.8823529411764497E-3</c:v>
                </c:pt>
                <c:pt idx="39404">
                  <c:v>-5.0420168067226703E-3</c:v>
                </c:pt>
                <c:pt idx="39405">
                  <c:v>-5.0420168067226703E-3</c:v>
                </c:pt>
                <c:pt idx="39406">
                  <c:v>-5.0420168067226703E-3</c:v>
                </c:pt>
                <c:pt idx="39407">
                  <c:v>-5.0420168067226703E-3</c:v>
                </c:pt>
                <c:pt idx="39408">
                  <c:v>-5.0420168067226703E-3</c:v>
                </c:pt>
                <c:pt idx="39409">
                  <c:v>-5.0420168067226703E-3</c:v>
                </c:pt>
                <c:pt idx="39410">
                  <c:v>-5.0420168067226703E-3</c:v>
                </c:pt>
                <c:pt idx="39411">
                  <c:v>-5.0420168067226703E-3</c:v>
                </c:pt>
                <c:pt idx="39412">
                  <c:v>-5.0420168067226703E-3</c:v>
                </c:pt>
                <c:pt idx="39413">
                  <c:v>-5.0420168067226703E-3</c:v>
                </c:pt>
                <c:pt idx="39414">
                  <c:v>-5.0420168067226703E-3</c:v>
                </c:pt>
                <c:pt idx="39415">
                  <c:v>-5.0420168067226703E-3</c:v>
                </c:pt>
                <c:pt idx="39416">
                  <c:v>-5.0420168067226703E-3</c:v>
                </c:pt>
                <c:pt idx="39417">
                  <c:v>-5.0420168067226703E-3</c:v>
                </c:pt>
                <c:pt idx="39418">
                  <c:v>-5.0420168067226703E-3</c:v>
                </c:pt>
                <c:pt idx="39419">
                  <c:v>-5.0420168067226703E-3</c:v>
                </c:pt>
                <c:pt idx="39420">
                  <c:v>-5.0420168067226703E-3</c:v>
                </c:pt>
                <c:pt idx="39421">
                  <c:v>-5.0420168067226703E-3</c:v>
                </c:pt>
                <c:pt idx="39422">
                  <c:v>-5.0420168067226703E-3</c:v>
                </c:pt>
                <c:pt idx="39423">
                  <c:v>-5.0420168067226703E-3</c:v>
                </c:pt>
                <c:pt idx="39424">
                  <c:v>-5.0420168067226703E-3</c:v>
                </c:pt>
                <c:pt idx="39425">
                  <c:v>-5.0420168067226703E-3</c:v>
                </c:pt>
                <c:pt idx="39426">
                  <c:v>-5.0420168067226703E-3</c:v>
                </c:pt>
                <c:pt idx="39427">
                  <c:v>-5.0420168067226703E-3</c:v>
                </c:pt>
                <c:pt idx="39428">
                  <c:v>-5.0420168067226703E-3</c:v>
                </c:pt>
                <c:pt idx="39429">
                  <c:v>-5.0420168067226703E-3</c:v>
                </c:pt>
                <c:pt idx="39430">
                  <c:v>-5.0420168067226703E-3</c:v>
                </c:pt>
                <c:pt idx="39431">
                  <c:v>-5.0420168067226703E-3</c:v>
                </c:pt>
                <c:pt idx="39432">
                  <c:v>-5.0420168067226703E-3</c:v>
                </c:pt>
                <c:pt idx="39433">
                  <c:v>-5.0420168067226703E-3</c:v>
                </c:pt>
                <c:pt idx="39434">
                  <c:v>-5.0420168067226703E-3</c:v>
                </c:pt>
                <c:pt idx="39435">
                  <c:v>-5.0420168067226703E-3</c:v>
                </c:pt>
                <c:pt idx="39436">
                  <c:v>-5.0420168067226703E-3</c:v>
                </c:pt>
                <c:pt idx="39437">
                  <c:v>-5.0420168067226703E-3</c:v>
                </c:pt>
                <c:pt idx="39438">
                  <c:v>-5.0420168067226703E-3</c:v>
                </c:pt>
                <c:pt idx="39439">
                  <c:v>-5.0420168067226703E-3</c:v>
                </c:pt>
                <c:pt idx="39440">
                  <c:v>-5.0420168067226703E-3</c:v>
                </c:pt>
                <c:pt idx="39441">
                  <c:v>-5.8823529411764497E-3</c:v>
                </c:pt>
                <c:pt idx="39442">
                  <c:v>-5.8823529411764497E-3</c:v>
                </c:pt>
                <c:pt idx="39443">
                  <c:v>-5.8823529411764497E-3</c:v>
                </c:pt>
                <c:pt idx="39444">
                  <c:v>-5.8823529411764497E-3</c:v>
                </c:pt>
                <c:pt idx="39445">
                  <c:v>-5.8823529411764497E-3</c:v>
                </c:pt>
                <c:pt idx="39446">
                  <c:v>-5.8823529411764497E-3</c:v>
                </c:pt>
                <c:pt idx="39447">
                  <c:v>-5.8823529411764497E-3</c:v>
                </c:pt>
                <c:pt idx="39448">
                  <c:v>-5.8823529411764497E-3</c:v>
                </c:pt>
                <c:pt idx="39449">
                  <c:v>-5.8823529411764497E-3</c:v>
                </c:pt>
                <c:pt idx="39450">
                  <c:v>-5.8823529411764497E-3</c:v>
                </c:pt>
                <c:pt idx="39451">
                  <c:v>-5.8823529411764497E-3</c:v>
                </c:pt>
                <c:pt idx="39452">
                  <c:v>-5.8823529411764497E-3</c:v>
                </c:pt>
                <c:pt idx="39453">
                  <c:v>-5.8823529411764497E-3</c:v>
                </c:pt>
                <c:pt idx="39454">
                  <c:v>-5.8823529411764497E-3</c:v>
                </c:pt>
                <c:pt idx="39455">
                  <c:v>-5.8823529411764497E-3</c:v>
                </c:pt>
                <c:pt idx="39456">
                  <c:v>-5.8823529411764497E-3</c:v>
                </c:pt>
                <c:pt idx="39457">
                  <c:v>-5.8823529411764497E-3</c:v>
                </c:pt>
                <c:pt idx="39458">
                  <c:v>-5.8823529411764497E-3</c:v>
                </c:pt>
                <c:pt idx="39459">
                  <c:v>-5.8823529411764497E-3</c:v>
                </c:pt>
                <c:pt idx="39460">
                  <c:v>-5.8823529411764497E-3</c:v>
                </c:pt>
                <c:pt idx="39461">
                  <c:v>-6.7226890756302204E-3</c:v>
                </c:pt>
                <c:pt idx="39462">
                  <c:v>-6.7226890756302204E-3</c:v>
                </c:pt>
                <c:pt idx="39463">
                  <c:v>-6.7226890756302204E-3</c:v>
                </c:pt>
                <c:pt idx="39464">
                  <c:v>-6.7226890756302204E-3</c:v>
                </c:pt>
                <c:pt idx="39465">
                  <c:v>-6.7226890756302204E-3</c:v>
                </c:pt>
                <c:pt idx="39466">
                  <c:v>-6.7226890756302204E-3</c:v>
                </c:pt>
                <c:pt idx="39467">
                  <c:v>-6.7226890756302204E-3</c:v>
                </c:pt>
                <c:pt idx="39468">
                  <c:v>-6.7226890756302204E-3</c:v>
                </c:pt>
                <c:pt idx="39469">
                  <c:v>-6.7226890756302204E-3</c:v>
                </c:pt>
                <c:pt idx="39470">
                  <c:v>-6.7226890756302204E-3</c:v>
                </c:pt>
                <c:pt idx="39471">
                  <c:v>-5.8823529411764497E-3</c:v>
                </c:pt>
                <c:pt idx="39472">
                  <c:v>-5.8823529411764497E-3</c:v>
                </c:pt>
                <c:pt idx="39473">
                  <c:v>-5.8823529411764497E-3</c:v>
                </c:pt>
                <c:pt idx="39474">
                  <c:v>-5.8823529411764497E-3</c:v>
                </c:pt>
                <c:pt idx="39475">
                  <c:v>-5.8823529411764497E-3</c:v>
                </c:pt>
                <c:pt idx="39476">
                  <c:v>-5.8823529411764497E-3</c:v>
                </c:pt>
                <c:pt idx="39477">
                  <c:v>-5.8823529411764497E-3</c:v>
                </c:pt>
                <c:pt idx="39478">
                  <c:v>-5.8823529411764497E-3</c:v>
                </c:pt>
                <c:pt idx="39479">
                  <c:v>-5.8823529411764497E-3</c:v>
                </c:pt>
                <c:pt idx="39480">
                  <c:v>-5.8823529411764497E-3</c:v>
                </c:pt>
                <c:pt idx="39481">
                  <c:v>-5.8823529411764497E-3</c:v>
                </c:pt>
                <c:pt idx="39482">
                  <c:v>-5.8823529411764497E-3</c:v>
                </c:pt>
                <c:pt idx="39483">
                  <c:v>-5.8823529411764497E-3</c:v>
                </c:pt>
                <c:pt idx="39484">
                  <c:v>-5.8823529411764497E-3</c:v>
                </c:pt>
                <c:pt idx="39485">
                  <c:v>-5.8823529411764497E-3</c:v>
                </c:pt>
                <c:pt idx="39486">
                  <c:v>-5.8823529411764497E-3</c:v>
                </c:pt>
                <c:pt idx="39487">
                  <c:v>-5.8823529411764497E-3</c:v>
                </c:pt>
                <c:pt idx="39488">
                  <c:v>-5.8823529411764497E-3</c:v>
                </c:pt>
                <c:pt idx="39489">
                  <c:v>-5.8823529411764497E-3</c:v>
                </c:pt>
                <c:pt idx="39490">
                  <c:v>-5.8823529411764497E-3</c:v>
                </c:pt>
                <c:pt idx="39491">
                  <c:v>-5.8823529411764497E-3</c:v>
                </c:pt>
                <c:pt idx="39492">
                  <c:v>-5.8823529411764497E-3</c:v>
                </c:pt>
                <c:pt idx="39493">
                  <c:v>-5.8823529411764497E-3</c:v>
                </c:pt>
                <c:pt idx="39494">
                  <c:v>-5.8823529411764497E-3</c:v>
                </c:pt>
                <c:pt idx="39495">
                  <c:v>-5.8823529411764497E-3</c:v>
                </c:pt>
                <c:pt idx="39496">
                  <c:v>-5.8823529411764497E-3</c:v>
                </c:pt>
                <c:pt idx="39497">
                  <c:v>-5.8823529411764497E-3</c:v>
                </c:pt>
                <c:pt idx="39498">
                  <c:v>-5.8823529411764497E-3</c:v>
                </c:pt>
                <c:pt idx="39499">
                  <c:v>-5.8823529411764497E-3</c:v>
                </c:pt>
                <c:pt idx="39500">
                  <c:v>-5.8823529411764497E-3</c:v>
                </c:pt>
                <c:pt idx="39501">
                  <c:v>-5.8823529411764497E-3</c:v>
                </c:pt>
                <c:pt idx="39502">
                  <c:v>-5.8823529411764497E-3</c:v>
                </c:pt>
                <c:pt idx="39503">
                  <c:v>-5.8823529411764497E-3</c:v>
                </c:pt>
                <c:pt idx="39504">
                  <c:v>-5.8823529411764497E-3</c:v>
                </c:pt>
                <c:pt idx="39505">
                  <c:v>-5.8823529411764497E-3</c:v>
                </c:pt>
                <c:pt idx="39506">
                  <c:v>-5.8823529411764497E-3</c:v>
                </c:pt>
                <c:pt idx="39507">
                  <c:v>-5.8823529411764497E-3</c:v>
                </c:pt>
                <c:pt idx="39508">
                  <c:v>-5.8823529411764497E-3</c:v>
                </c:pt>
                <c:pt idx="39509">
                  <c:v>-6.7226890756302204E-3</c:v>
                </c:pt>
                <c:pt idx="39510">
                  <c:v>-6.7226890756302204E-3</c:v>
                </c:pt>
                <c:pt idx="39511">
                  <c:v>-6.7226890756302204E-3</c:v>
                </c:pt>
                <c:pt idx="39512">
                  <c:v>-6.7226890756302204E-3</c:v>
                </c:pt>
                <c:pt idx="39513">
                  <c:v>-6.7226890756302204E-3</c:v>
                </c:pt>
                <c:pt idx="39514">
                  <c:v>-6.7226890756302204E-3</c:v>
                </c:pt>
                <c:pt idx="39515">
                  <c:v>-6.7226890756302204E-3</c:v>
                </c:pt>
                <c:pt idx="39516">
                  <c:v>-6.7226890756302204E-3</c:v>
                </c:pt>
                <c:pt idx="39517">
                  <c:v>-6.7226890756302204E-3</c:v>
                </c:pt>
                <c:pt idx="39518">
                  <c:v>-6.7226890756302204E-3</c:v>
                </c:pt>
                <c:pt idx="39519">
                  <c:v>-6.7226890756302204E-3</c:v>
                </c:pt>
                <c:pt idx="39520">
                  <c:v>-6.7226890756302204E-3</c:v>
                </c:pt>
                <c:pt idx="39521">
                  <c:v>-6.7226890756302204E-3</c:v>
                </c:pt>
                <c:pt idx="39522">
                  <c:v>-6.7226890756302204E-3</c:v>
                </c:pt>
                <c:pt idx="39523">
                  <c:v>-6.7226890756302204E-3</c:v>
                </c:pt>
                <c:pt idx="39524">
                  <c:v>-6.7226890756302204E-3</c:v>
                </c:pt>
                <c:pt idx="39525">
                  <c:v>-6.7226890756302204E-3</c:v>
                </c:pt>
                <c:pt idx="39526">
                  <c:v>-6.7226890756302204E-3</c:v>
                </c:pt>
                <c:pt idx="39527">
                  <c:v>-6.7226890756302204E-3</c:v>
                </c:pt>
                <c:pt idx="39528">
                  <c:v>-6.7226890756302204E-3</c:v>
                </c:pt>
                <c:pt idx="39529">
                  <c:v>-6.7226890756302204E-3</c:v>
                </c:pt>
                <c:pt idx="39530">
                  <c:v>-6.7226890756302204E-3</c:v>
                </c:pt>
                <c:pt idx="39531">
                  <c:v>-6.7226890756302204E-3</c:v>
                </c:pt>
                <c:pt idx="39532">
                  <c:v>-6.7226890756302204E-3</c:v>
                </c:pt>
                <c:pt idx="39533">
                  <c:v>-6.7226890756302204E-3</c:v>
                </c:pt>
                <c:pt idx="39534">
                  <c:v>-6.7226890756302204E-3</c:v>
                </c:pt>
                <c:pt idx="39535">
                  <c:v>-6.7226890756302204E-3</c:v>
                </c:pt>
                <c:pt idx="39536">
                  <c:v>-6.7226890756302204E-3</c:v>
                </c:pt>
                <c:pt idx="39537">
                  <c:v>-6.7226890756302204E-3</c:v>
                </c:pt>
                <c:pt idx="39538">
                  <c:v>-6.7226890756302204E-3</c:v>
                </c:pt>
                <c:pt idx="39539">
                  <c:v>-6.7226890756302204E-3</c:v>
                </c:pt>
                <c:pt idx="39540">
                  <c:v>-6.7226890756302204E-3</c:v>
                </c:pt>
                <c:pt idx="39541">
                  <c:v>-6.7226890756302204E-3</c:v>
                </c:pt>
                <c:pt idx="39542">
                  <c:v>-6.7226890756302204E-3</c:v>
                </c:pt>
                <c:pt idx="39543">
                  <c:v>-6.7226890756302204E-3</c:v>
                </c:pt>
                <c:pt idx="39544">
                  <c:v>-6.7226890756302204E-3</c:v>
                </c:pt>
                <c:pt idx="39545">
                  <c:v>-6.7226890756302204E-3</c:v>
                </c:pt>
                <c:pt idx="39546">
                  <c:v>-6.7226890756302204E-3</c:v>
                </c:pt>
                <c:pt idx="39547">
                  <c:v>-6.7226890756302204E-3</c:v>
                </c:pt>
                <c:pt idx="39548">
                  <c:v>-6.7226890756302204E-3</c:v>
                </c:pt>
                <c:pt idx="39549">
                  <c:v>-6.7226890756302204E-3</c:v>
                </c:pt>
                <c:pt idx="39550">
                  <c:v>-6.7226890756302204E-3</c:v>
                </c:pt>
                <c:pt idx="39551">
                  <c:v>-6.7226890756302204E-3</c:v>
                </c:pt>
                <c:pt idx="39552">
                  <c:v>-6.7226890756302204E-3</c:v>
                </c:pt>
                <c:pt idx="39553">
                  <c:v>-6.7226890756302204E-3</c:v>
                </c:pt>
                <c:pt idx="39554">
                  <c:v>-6.7226890756302204E-3</c:v>
                </c:pt>
                <c:pt idx="39555">
                  <c:v>-6.7226890756302204E-3</c:v>
                </c:pt>
                <c:pt idx="39556">
                  <c:v>-6.7226890756302204E-3</c:v>
                </c:pt>
                <c:pt idx="39557">
                  <c:v>-6.7226890756302204E-3</c:v>
                </c:pt>
                <c:pt idx="39558">
                  <c:v>-6.7226890756302204E-3</c:v>
                </c:pt>
                <c:pt idx="39559">
                  <c:v>-6.7226890756302204E-3</c:v>
                </c:pt>
                <c:pt idx="39560">
                  <c:v>-6.7226890756302204E-3</c:v>
                </c:pt>
                <c:pt idx="39561">
                  <c:v>-6.7226890756302204E-3</c:v>
                </c:pt>
                <c:pt idx="39562">
                  <c:v>-6.7226890756302204E-3</c:v>
                </c:pt>
                <c:pt idx="39563">
                  <c:v>-6.7226890756302204E-3</c:v>
                </c:pt>
                <c:pt idx="39564">
                  <c:v>-6.7226890756302204E-3</c:v>
                </c:pt>
                <c:pt idx="39565">
                  <c:v>-6.7226890756302204E-3</c:v>
                </c:pt>
                <c:pt idx="39566">
                  <c:v>-6.7226890756302204E-3</c:v>
                </c:pt>
                <c:pt idx="39567">
                  <c:v>-6.7226890756302204E-3</c:v>
                </c:pt>
                <c:pt idx="39568">
                  <c:v>-6.7226890756302204E-3</c:v>
                </c:pt>
                <c:pt idx="39569">
                  <c:v>-6.7226890756302204E-3</c:v>
                </c:pt>
                <c:pt idx="39570">
                  <c:v>-6.7226890756302204E-3</c:v>
                </c:pt>
                <c:pt idx="39571">
                  <c:v>-6.7226890756302204E-3</c:v>
                </c:pt>
                <c:pt idx="39572">
                  <c:v>-6.7226890756302204E-3</c:v>
                </c:pt>
                <c:pt idx="39573">
                  <c:v>-6.7226890756302204E-3</c:v>
                </c:pt>
                <c:pt idx="39574">
                  <c:v>-6.7226890756302204E-3</c:v>
                </c:pt>
                <c:pt idx="39575">
                  <c:v>-6.7226890756302204E-3</c:v>
                </c:pt>
                <c:pt idx="39576">
                  <c:v>-6.7226890756302204E-3</c:v>
                </c:pt>
                <c:pt idx="39577">
                  <c:v>-6.7226890756302204E-3</c:v>
                </c:pt>
                <c:pt idx="39578">
                  <c:v>-6.7226890756302204E-3</c:v>
                </c:pt>
                <c:pt idx="39579">
                  <c:v>-5.8823529411764497E-3</c:v>
                </c:pt>
                <c:pt idx="39580">
                  <c:v>-5.8823529411764497E-3</c:v>
                </c:pt>
                <c:pt idx="39581">
                  <c:v>-5.8823529411764497E-3</c:v>
                </c:pt>
                <c:pt idx="39582">
                  <c:v>-5.8823529411764497E-3</c:v>
                </c:pt>
                <c:pt idx="39583">
                  <c:v>-5.8823529411764497E-3</c:v>
                </c:pt>
                <c:pt idx="39584">
                  <c:v>-5.8823529411764497E-3</c:v>
                </c:pt>
                <c:pt idx="39585">
                  <c:v>-5.8823529411764497E-3</c:v>
                </c:pt>
                <c:pt idx="39586">
                  <c:v>-5.8823529411764497E-3</c:v>
                </c:pt>
                <c:pt idx="39587">
                  <c:v>-5.8823529411764497E-3</c:v>
                </c:pt>
                <c:pt idx="39588">
                  <c:v>-5.8823529411764497E-3</c:v>
                </c:pt>
                <c:pt idx="39589">
                  <c:v>-5.8823529411764497E-3</c:v>
                </c:pt>
                <c:pt idx="39590">
                  <c:v>-5.8823529411764497E-3</c:v>
                </c:pt>
                <c:pt idx="39591">
                  <c:v>-5.8823529411764497E-3</c:v>
                </c:pt>
                <c:pt idx="39592">
                  <c:v>-5.8823529411764497E-3</c:v>
                </c:pt>
                <c:pt idx="39593">
                  <c:v>-5.8823529411764497E-3</c:v>
                </c:pt>
                <c:pt idx="39594">
                  <c:v>-5.8823529411764497E-3</c:v>
                </c:pt>
                <c:pt idx="39595">
                  <c:v>-5.8823529411764497E-3</c:v>
                </c:pt>
                <c:pt idx="39596">
                  <c:v>-5.8823529411764497E-3</c:v>
                </c:pt>
                <c:pt idx="39597">
                  <c:v>-5.8823529411764497E-3</c:v>
                </c:pt>
                <c:pt idx="39598">
                  <c:v>-5.8823529411764497E-3</c:v>
                </c:pt>
                <c:pt idx="39599">
                  <c:v>-5.8823529411764497E-3</c:v>
                </c:pt>
                <c:pt idx="39600">
                  <c:v>-5.8823529411764497E-3</c:v>
                </c:pt>
                <c:pt idx="39601">
                  <c:v>-5.8823529411764497E-3</c:v>
                </c:pt>
                <c:pt idx="39602">
                  <c:v>-5.8823529411764497E-3</c:v>
                </c:pt>
                <c:pt idx="39603">
                  <c:v>-5.8823529411764497E-3</c:v>
                </c:pt>
                <c:pt idx="39604">
                  <c:v>-5.8823529411764497E-3</c:v>
                </c:pt>
                <c:pt idx="39605">
                  <c:v>-5.8823529411764497E-3</c:v>
                </c:pt>
                <c:pt idx="39606">
                  <c:v>-5.8823529411764497E-3</c:v>
                </c:pt>
                <c:pt idx="39607">
                  <c:v>-5.8823529411764497E-3</c:v>
                </c:pt>
                <c:pt idx="39608">
                  <c:v>-5.8823529411764497E-3</c:v>
                </c:pt>
                <c:pt idx="39609">
                  <c:v>-5.8823529411764497E-3</c:v>
                </c:pt>
                <c:pt idx="39610">
                  <c:v>-5.8823529411764497E-3</c:v>
                </c:pt>
                <c:pt idx="39611">
                  <c:v>-5.8823529411764497E-3</c:v>
                </c:pt>
                <c:pt idx="39612">
                  <c:v>-5.8823529411764497E-3</c:v>
                </c:pt>
                <c:pt idx="39613">
                  <c:v>-5.8823529411764497E-3</c:v>
                </c:pt>
                <c:pt idx="39614">
                  <c:v>-5.8823529411764497E-3</c:v>
                </c:pt>
                <c:pt idx="39615">
                  <c:v>-5.8823529411764497E-3</c:v>
                </c:pt>
                <c:pt idx="39616">
                  <c:v>-5.8823529411764497E-3</c:v>
                </c:pt>
                <c:pt idx="39617">
                  <c:v>-5.8823529411764497E-3</c:v>
                </c:pt>
                <c:pt idx="39618">
                  <c:v>-5.8823529411764497E-3</c:v>
                </c:pt>
                <c:pt idx="39619">
                  <c:v>-5.0420168067226703E-3</c:v>
                </c:pt>
                <c:pt idx="39620">
                  <c:v>-5.0420168067226703E-3</c:v>
                </c:pt>
                <c:pt idx="39621">
                  <c:v>-5.0420168067226703E-3</c:v>
                </c:pt>
                <c:pt idx="39622">
                  <c:v>-5.0420168067226703E-3</c:v>
                </c:pt>
                <c:pt idx="39623">
                  <c:v>-5.0420168067226703E-3</c:v>
                </c:pt>
                <c:pt idx="39624">
                  <c:v>-5.0420168067226703E-3</c:v>
                </c:pt>
                <c:pt idx="39625">
                  <c:v>-5.0420168067226703E-3</c:v>
                </c:pt>
                <c:pt idx="39626">
                  <c:v>-5.0420168067226703E-3</c:v>
                </c:pt>
                <c:pt idx="39627">
                  <c:v>-5.0420168067226703E-3</c:v>
                </c:pt>
                <c:pt idx="39628">
                  <c:v>-5.0420168067226703E-3</c:v>
                </c:pt>
                <c:pt idx="39629">
                  <c:v>-5.8823529411764497E-3</c:v>
                </c:pt>
                <c:pt idx="39630">
                  <c:v>-5.8823529411764497E-3</c:v>
                </c:pt>
                <c:pt idx="39631">
                  <c:v>-5.8823529411764497E-3</c:v>
                </c:pt>
                <c:pt idx="39632">
                  <c:v>-5.8823529411764497E-3</c:v>
                </c:pt>
                <c:pt idx="39633">
                  <c:v>-5.8823529411764497E-3</c:v>
                </c:pt>
                <c:pt idx="39634">
                  <c:v>-5.8823529411764497E-3</c:v>
                </c:pt>
                <c:pt idx="39635">
                  <c:v>-5.8823529411764497E-3</c:v>
                </c:pt>
                <c:pt idx="39636">
                  <c:v>-5.8823529411764497E-3</c:v>
                </c:pt>
                <c:pt idx="39637">
                  <c:v>-5.8823529411764497E-3</c:v>
                </c:pt>
                <c:pt idx="39638">
                  <c:v>-5.8823529411764497E-3</c:v>
                </c:pt>
                <c:pt idx="39639">
                  <c:v>-5.8823529411764497E-3</c:v>
                </c:pt>
                <c:pt idx="39640">
                  <c:v>-5.8823529411764497E-3</c:v>
                </c:pt>
                <c:pt idx="39641">
                  <c:v>-5.8823529411764497E-3</c:v>
                </c:pt>
                <c:pt idx="39642">
                  <c:v>-5.8823529411764497E-3</c:v>
                </c:pt>
                <c:pt idx="39643">
                  <c:v>-5.8823529411764497E-3</c:v>
                </c:pt>
                <c:pt idx="39644">
                  <c:v>-5.8823529411764497E-3</c:v>
                </c:pt>
                <c:pt idx="39645">
                  <c:v>-5.8823529411764497E-3</c:v>
                </c:pt>
                <c:pt idx="39646">
                  <c:v>-5.8823529411764497E-3</c:v>
                </c:pt>
                <c:pt idx="39647">
                  <c:v>-5.8823529411764497E-3</c:v>
                </c:pt>
                <c:pt idx="39648">
                  <c:v>-5.8823529411764497E-3</c:v>
                </c:pt>
                <c:pt idx="39649">
                  <c:v>-5.8823529411764497E-3</c:v>
                </c:pt>
                <c:pt idx="39650">
                  <c:v>-5.8823529411764497E-3</c:v>
                </c:pt>
                <c:pt idx="39651">
                  <c:v>-5.8823529411764497E-3</c:v>
                </c:pt>
                <c:pt idx="39652">
                  <c:v>-5.8823529411764497E-3</c:v>
                </c:pt>
                <c:pt idx="39653">
                  <c:v>-5.0420168067226703E-3</c:v>
                </c:pt>
                <c:pt idx="39654">
                  <c:v>-5.0420168067226703E-3</c:v>
                </c:pt>
                <c:pt idx="39655">
                  <c:v>-5.0420168067226703E-3</c:v>
                </c:pt>
                <c:pt idx="39656">
                  <c:v>-5.0420168067226703E-3</c:v>
                </c:pt>
                <c:pt idx="39657">
                  <c:v>-5.0420168067226703E-3</c:v>
                </c:pt>
                <c:pt idx="39658">
                  <c:v>-5.0420168067226703E-3</c:v>
                </c:pt>
                <c:pt idx="39659">
                  <c:v>-5.0420168067226703E-3</c:v>
                </c:pt>
                <c:pt idx="39660">
                  <c:v>-5.0420168067226703E-3</c:v>
                </c:pt>
                <c:pt idx="39661">
                  <c:v>-5.0420168067226703E-3</c:v>
                </c:pt>
                <c:pt idx="39662">
                  <c:v>-5.0420168067226703E-3</c:v>
                </c:pt>
                <c:pt idx="39663">
                  <c:v>-5.0420168067226703E-3</c:v>
                </c:pt>
                <c:pt idx="39664">
                  <c:v>-5.8823529411764497E-3</c:v>
                </c:pt>
                <c:pt idx="39665">
                  <c:v>-5.8823529411764497E-3</c:v>
                </c:pt>
                <c:pt idx="39666">
                  <c:v>-5.8823529411764497E-3</c:v>
                </c:pt>
                <c:pt idx="39667">
                  <c:v>-5.8823529411764497E-3</c:v>
                </c:pt>
                <c:pt idx="39668">
                  <c:v>-5.8823529411764497E-3</c:v>
                </c:pt>
                <c:pt idx="39669">
                  <c:v>-5.8823529411764497E-3</c:v>
                </c:pt>
                <c:pt idx="39670">
                  <c:v>-5.8823529411764497E-3</c:v>
                </c:pt>
                <c:pt idx="39671">
                  <c:v>-5.8823529411764497E-3</c:v>
                </c:pt>
                <c:pt idx="39672">
                  <c:v>-5.8823529411764497E-3</c:v>
                </c:pt>
                <c:pt idx="39673">
                  <c:v>-5.8823529411764497E-3</c:v>
                </c:pt>
                <c:pt idx="39674">
                  <c:v>-5.8823529411764497E-3</c:v>
                </c:pt>
                <c:pt idx="39675">
                  <c:v>-5.8823529411764497E-3</c:v>
                </c:pt>
                <c:pt idx="39676">
                  <c:v>-5.8823529411764497E-3</c:v>
                </c:pt>
                <c:pt idx="39677">
                  <c:v>-5.8823529411764497E-3</c:v>
                </c:pt>
                <c:pt idx="39678">
                  <c:v>-5.8823529411764497E-3</c:v>
                </c:pt>
                <c:pt idx="39679">
                  <c:v>-5.8823529411764497E-3</c:v>
                </c:pt>
                <c:pt idx="39680">
                  <c:v>-5.8823529411764497E-3</c:v>
                </c:pt>
                <c:pt idx="39681">
                  <c:v>-5.8823529411764497E-3</c:v>
                </c:pt>
                <c:pt idx="39682">
                  <c:v>-5.8823529411764497E-3</c:v>
                </c:pt>
                <c:pt idx="39683">
                  <c:v>-5.8823529411764497E-3</c:v>
                </c:pt>
                <c:pt idx="39684">
                  <c:v>-5.8823529411764497E-3</c:v>
                </c:pt>
                <c:pt idx="39685">
                  <c:v>-5.8823529411764497E-3</c:v>
                </c:pt>
                <c:pt idx="39686">
                  <c:v>-5.8823529411764497E-3</c:v>
                </c:pt>
                <c:pt idx="39687">
                  <c:v>-5.8823529411764497E-3</c:v>
                </c:pt>
                <c:pt idx="39688">
                  <c:v>-5.8823529411764497E-3</c:v>
                </c:pt>
                <c:pt idx="39689">
                  <c:v>-5.8823529411764497E-3</c:v>
                </c:pt>
                <c:pt idx="39690">
                  <c:v>-5.8823529411764497E-3</c:v>
                </c:pt>
                <c:pt idx="39691">
                  <c:v>-5.8823529411764497E-3</c:v>
                </c:pt>
                <c:pt idx="39692">
                  <c:v>-5.8823529411764497E-3</c:v>
                </c:pt>
                <c:pt idx="39693">
                  <c:v>-5.8823529411764497E-3</c:v>
                </c:pt>
                <c:pt idx="39694">
                  <c:v>-5.8823529411764497E-3</c:v>
                </c:pt>
                <c:pt idx="39695">
                  <c:v>-5.8823529411764497E-3</c:v>
                </c:pt>
                <c:pt idx="39696">
                  <c:v>-5.8823529411764497E-3</c:v>
                </c:pt>
                <c:pt idx="39697">
                  <c:v>-5.8823529411764497E-3</c:v>
                </c:pt>
                <c:pt idx="39698">
                  <c:v>-5.8823529411764497E-3</c:v>
                </c:pt>
                <c:pt idx="39699">
                  <c:v>-5.8823529411764497E-3</c:v>
                </c:pt>
                <c:pt idx="39700">
                  <c:v>-5.8823529411764497E-3</c:v>
                </c:pt>
                <c:pt idx="39701">
                  <c:v>-5.8823529411764497E-3</c:v>
                </c:pt>
                <c:pt idx="39702">
                  <c:v>-5.8823529411764497E-3</c:v>
                </c:pt>
                <c:pt idx="39703">
                  <c:v>-5.8823529411764497E-3</c:v>
                </c:pt>
                <c:pt idx="39704">
                  <c:v>-5.8823529411764497E-3</c:v>
                </c:pt>
                <c:pt idx="39705">
                  <c:v>-5.8823529411764497E-3</c:v>
                </c:pt>
                <c:pt idx="39706">
                  <c:v>-5.8823529411764497E-3</c:v>
                </c:pt>
                <c:pt idx="39707">
                  <c:v>-5.8823529411764497E-3</c:v>
                </c:pt>
                <c:pt idx="39708">
                  <c:v>-5.8823529411764497E-3</c:v>
                </c:pt>
                <c:pt idx="39709">
                  <c:v>-5.8823529411764497E-3</c:v>
                </c:pt>
                <c:pt idx="39710">
                  <c:v>-5.8823529411764497E-3</c:v>
                </c:pt>
                <c:pt idx="39711">
                  <c:v>-5.8823529411764497E-3</c:v>
                </c:pt>
                <c:pt idx="39712">
                  <c:v>-5.8823529411764497E-3</c:v>
                </c:pt>
                <c:pt idx="39713">
                  <c:v>-5.8823529411764497E-3</c:v>
                </c:pt>
                <c:pt idx="39714">
                  <c:v>-5.8823529411764497E-3</c:v>
                </c:pt>
                <c:pt idx="39715">
                  <c:v>-5.8823529411764497E-3</c:v>
                </c:pt>
                <c:pt idx="39716">
                  <c:v>-5.8823529411764497E-3</c:v>
                </c:pt>
                <c:pt idx="39717">
                  <c:v>-5.8823529411764497E-3</c:v>
                </c:pt>
                <c:pt idx="39718">
                  <c:v>-5.8823529411764497E-3</c:v>
                </c:pt>
                <c:pt idx="39719">
                  <c:v>-5.8823529411764497E-3</c:v>
                </c:pt>
                <c:pt idx="39720">
                  <c:v>-5.8823529411764497E-3</c:v>
                </c:pt>
                <c:pt idx="39721">
                  <c:v>-5.8823529411764497E-3</c:v>
                </c:pt>
                <c:pt idx="39722">
                  <c:v>-5.8823529411764497E-3</c:v>
                </c:pt>
                <c:pt idx="39723">
                  <c:v>-5.8823529411764497E-3</c:v>
                </c:pt>
                <c:pt idx="39724">
                  <c:v>-5.8823529411764497E-3</c:v>
                </c:pt>
                <c:pt idx="39725">
                  <c:v>-5.8823529411764497E-3</c:v>
                </c:pt>
                <c:pt idx="39726">
                  <c:v>-5.8823529411764497E-3</c:v>
                </c:pt>
                <c:pt idx="39727">
                  <c:v>-5.8823529411764497E-3</c:v>
                </c:pt>
                <c:pt idx="39728">
                  <c:v>-5.8823529411764497E-3</c:v>
                </c:pt>
                <c:pt idx="39729">
                  <c:v>-5.8823529411764497E-3</c:v>
                </c:pt>
                <c:pt idx="39730">
                  <c:v>-5.8823529411764497E-3</c:v>
                </c:pt>
                <c:pt idx="39731">
                  <c:v>-5.8823529411764497E-3</c:v>
                </c:pt>
                <c:pt idx="39732">
                  <c:v>-5.8823529411764497E-3</c:v>
                </c:pt>
                <c:pt idx="39733">
                  <c:v>-5.8823529411764497E-3</c:v>
                </c:pt>
                <c:pt idx="39734">
                  <c:v>-5.8823529411764497E-3</c:v>
                </c:pt>
                <c:pt idx="39735">
                  <c:v>-5.8823529411764497E-3</c:v>
                </c:pt>
                <c:pt idx="39736">
                  <c:v>-5.8823529411764497E-3</c:v>
                </c:pt>
                <c:pt idx="39737">
                  <c:v>-5.8823529411764497E-3</c:v>
                </c:pt>
                <c:pt idx="39738">
                  <c:v>-5.8823529411764497E-3</c:v>
                </c:pt>
                <c:pt idx="39739">
                  <c:v>-5.8823529411764497E-3</c:v>
                </c:pt>
                <c:pt idx="39740">
                  <c:v>-5.8823529411764497E-3</c:v>
                </c:pt>
                <c:pt idx="39741">
                  <c:v>-5.8823529411764497E-3</c:v>
                </c:pt>
                <c:pt idx="39742">
                  <c:v>-5.8823529411764497E-3</c:v>
                </c:pt>
                <c:pt idx="39743">
                  <c:v>-5.8823529411764497E-3</c:v>
                </c:pt>
                <c:pt idx="39744">
                  <c:v>-5.8823529411764497E-3</c:v>
                </c:pt>
                <c:pt idx="39745">
                  <c:v>-5.8823529411764497E-3</c:v>
                </c:pt>
                <c:pt idx="39746">
                  <c:v>-5.8823529411764497E-3</c:v>
                </c:pt>
                <c:pt idx="39747">
                  <c:v>-5.8823529411764497E-3</c:v>
                </c:pt>
                <c:pt idx="39748">
                  <c:v>-5.8823529411764497E-3</c:v>
                </c:pt>
                <c:pt idx="39749">
                  <c:v>-5.0420168067226703E-3</c:v>
                </c:pt>
                <c:pt idx="39750">
                  <c:v>-5.0420168067226703E-3</c:v>
                </c:pt>
                <c:pt idx="39751">
                  <c:v>-5.0420168067226703E-3</c:v>
                </c:pt>
                <c:pt idx="39752">
                  <c:v>-5.0420168067226703E-3</c:v>
                </c:pt>
                <c:pt idx="39753">
                  <c:v>-5.0420168067226703E-3</c:v>
                </c:pt>
                <c:pt idx="39754">
                  <c:v>-5.0420168067226703E-3</c:v>
                </c:pt>
                <c:pt idx="39755">
                  <c:v>-5.0420168067226703E-3</c:v>
                </c:pt>
                <c:pt idx="39756">
                  <c:v>-5.0420168067226703E-3</c:v>
                </c:pt>
                <c:pt idx="39757">
                  <c:v>-5.0420168067226703E-3</c:v>
                </c:pt>
                <c:pt idx="39758">
                  <c:v>-5.0420168067226703E-3</c:v>
                </c:pt>
                <c:pt idx="39759">
                  <c:v>-5.0420168067226703E-3</c:v>
                </c:pt>
                <c:pt idx="39760">
                  <c:v>-5.0420168067226703E-3</c:v>
                </c:pt>
                <c:pt idx="39761">
                  <c:v>-5.0420168067226703E-3</c:v>
                </c:pt>
                <c:pt idx="39762">
                  <c:v>-5.0420168067226703E-3</c:v>
                </c:pt>
                <c:pt idx="39763">
                  <c:v>-5.0420168067226703E-3</c:v>
                </c:pt>
                <c:pt idx="39764">
                  <c:v>-5.0420168067226703E-3</c:v>
                </c:pt>
                <c:pt idx="39765">
                  <c:v>-5.0420168067226703E-3</c:v>
                </c:pt>
                <c:pt idx="39766">
                  <c:v>-5.0420168067226703E-3</c:v>
                </c:pt>
                <c:pt idx="39767">
                  <c:v>-5.0420168067226703E-3</c:v>
                </c:pt>
                <c:pt idx="39768">
                  <c:v>-5.0420168067226703E-3</c:v>
                </c:pt>
                <c:pt idx="39769">
                  <c:v>-5.0420168067226703E-3</c:v>
                </c:pt>
                <c:pt idx="39770">
                  <c:v>-5.0420168067226703E-3</c:v>
                </c:pt>
                <c:pt idx="39771">
                  <c:v>-5.0420168067226703E-3</c:v>
                </c:pt>
                <c:pt idx="39772">
                  <c:v>-5.0420168067226703E-3</c:v>
                </c:pt>
                <c:pt idx="39773">
                  <c:v>-5.0420168067226703E-3</c:v>
                </c:pt>
                <c:pt idx="39774">
                  <c:v>-5.0420168067226703E-3</c:v>
                </c:pt>
                <c:pt idx="39775">
                  <c:v>-5.0420168067226703E-3</c:v>
                </c:pt>
                <c:pt idx="39776">
                  <c:v>-5.0420168067226703E-3</c:v>
                </c:pt>
                <c:pt idx="39777">
                  <c:v>-5.0420168067226703E-3</c:v>
                </c:pt>
                <c:pt idx="39778">
                  <c:v>-5.0420168067226703E-3</c:v>
                </c:pt>
                <c:pt idx="39779">
                  <c:v>-5.0420168067226703E-3</c:v>
                </c:pt>
                <c:pt idx="39780">
                  <c:v>-5.0420168067226703E-3</c:v>
                </c:pt>
                <c:pt idx="39781">
                  <c:v>-5.0420168067226703E-3</c:v>
                </c:pt>
                <c:pt idx="39782">
                  <c:v>-5.0420168067226703E-3</c:v>
                </c:pt>
                <c:pt idx="39783">
                  <c:v>-5.0420168067226703E-3</c:v>
                </c:pt>
                <c:pt idx="39784">
                  <c:v>-5.0420168067226703E-3</c:v>
                </c:pt>
                <c:pt idx="39785">
                  <c:v>-5.8823529411764497E-3</c:v>
                </c:pt>
                <c:pt idx="39786">
                  <c:v>-5.8823529411764497E-3</c:v>
                </c:pt>
                <c:pt idx="39787">
                  <c:v>-5.8823529411764497E-3</c:v>
                </c:pt>
                <c:pt idx="39788">
                  <c:v>-5.8823529411764497E-3</c:v>
                </c:pt>
                <c:pt idx="39789">
                  <c:v>-5.8823529411764497E-3</c:v>
                </c:pt>
                <c:pt idx="39790">
                  <c:v>-5.8823529411764497E-3</c:v>
                </c:pt>
                <c:pt idx="39791">
                  <c:v>-5.8823529411764497E-3</c:v>
                </c:pt>
                <c:pt idx="39792">
                  <c:v>-5.8823529411764497E-3</c:v>
                </c:pt>
                <c:pt idx="39793">
                  <c:v>-5.8823529411764497E-3</c:v>
                </c:pt>
                <c:pt idx="39794">
                  <c:v>-5.0420168067226703E-3</c:v>
                </c:pt>
                <c:pt idx="39795">
                  <c:v>-5.0420168067226703E-3</c:v>
                </c:pt>
                <c:pt idx="39796">
                  <c:v>-5.0420168067226703E-3</c:v>
                </c:pt>
                <c:pt idx="39797">
                  <c:v>-5.0420168067226703E-3</c:v>
                </c:pt>
                <c:pt idx="39798">
                  <c:v>-5.0420168067226703E-3</c:v>
                </c:pt>
                <c:pt idx="39799">
                  <c:v>-5.0420168067226703E-3</c:v>
                </c:pt>
                <c:pt idx="39800">
                  <c:v>-5.0420168067226703E-3</c:v>
                </c:pt>
                <c:pt idx="39801">
                  <c:v>-5.0420168067226703E-3</c:v>
                </c:pt>
                <c:pt idx="39802">
                  <c:v>-5.0420168067226703E-3</c:v>
                </c:pt>
                <c:pt idx="39803">
                  <c:v>-5.0420168067226703E-3</c:v>
                </c:pt>
                <c:pt idx="39804">
                  <c:v>-5.0420168067226703E-3</c:v>
                </c:pt>
                <c:pt idx="39805">
                  <c:v>-5.0420168067226703E-3</c:v>
                </c:pt>
                <c:pt idx="39806">
                  <c:v>-5.0420168067226703E-3</c:v>
                </c:pt>
                <c:pt idx="39807">
                  <c:v>-5.0420168067226703E-3</c:v>
                </c:pt>
                <c:pt idx="39808">
                  <c:v>-5.0420168067226703E-3</c:v>
                </c:pt>
                <c:pt idx="39809">
                  <c:v>-5.0420168067226703E-3</c:v>
                </c:pt>
                <c:pt idx="39810">
                  <c:v>-5.0420168067226703E-3</c:v>
                </c:pt>
                <c:pt idx="39811">
                  <c:v>-5.0420168067226703E-3</c:v>
                </c:pt>
                <c:pt idx="39812">
                  <c:v>-5.0420168067226703E-3</c:v>
                </c:pt>
                <c:pt idx="39813">
                  <c:v>-5.0420168067226703E-3</c:v>
                </c:pt>
                <c:pt idx="39814">
                  <c:v>-5.0420168067226703E-3</c:v>
                </c:pt>
                <c:pt idx="39815">
                  <c:v>-5.0420168067226703E-3</c:v>
                </c:pt>
                <c:pt idx="39816">
                  <c:v>-5.0420168067226703E-3</c:v>
                </c:pt>
                <c:pt idx="39817">
                  <c:v>-5.0420168067226703E-3</c:v>
                </c:pt>
                <c:pt idx="39818">
                  <c:v>-5.0420168067226703E-3</c:v>
                </c:pt>
                <c:pt idx="39819">
                  <c:v>-5.0420168067226703E-3</c:v>
                </c:pt>
                <c:pt idx="39820">
                  <c:v>-5.0420168067226703E-3</c:v>
                </c:pt>
                <c:pt idx="39821">
                  <c:v>-5.0420168067226703E-3</c:v>
                </c:pt>
                <c:pt idx="39822">
                  <c:v>-5.0420168067226703E-3</c:v>
                </c:pt>
                <c:pt idx="39823">
                  <c:v>-5.0420168067226703E-3</c:v>
                </c:pt>
                <c:pt idx="39824">
                  <c:v>-5.0420168067226703E-3</c:v>
                </c:pt>
                <c:pt idx="39825">
                  <c:v>-5.0420168067226703E-3</c:v>
                </c:pt>
                <c:pt idx="39826">
                  <c:v>-5.0420168067226703E-3</c:v>
                </c:pt>
                <c:pt idx="39827">
                  <c:v>-5.0420168067226703E-3</c:v>
                </c:pt>
                <c:pt idx="39828">
                  <c:v>-5.0420168067226703E-3</c:v>
                </c:pt>
                <c:pt idx="39829">
                  <c:v>-5.0420168067226703E-3</c:v>
                </c:pt>
                <c:pt idx="39830">
                  <c:v>-5.0420168067226703E-3</c:v>
                </c:pt>
                <c:pt idx="39831">
                  <c:v>-5.0420168067226703E-3</c:v>
                </c:pt>
                <c:pt idx="39832">
                  <c:v>-5.0420168067226703E-3</c:v>
                </c:pt>
                <c:pt idx="39833">
                  <c:v>-5.8823529411764497E-3</c:v>
                </c:pt>
                <c:pt idx="39834">
                  <c:v>-5.8823529411764497E-3</c:v>
                </c:pt>
                <c:pt idx="39835">
                  <c:v>-5.8823529411764497E-3</c:v>
                </c:pt>
                <c:pt idx="39836">
                  <c:v>-5.8823529411764497E-3</c:v>
                </c:pt>
                <c:pt idx="39837">
                  <c:v>-5.8823529411764497E-3</c:v>
                </c:pt>
                <c:pt idx="39838">
                  <c:v>-5.8823529411764497E-3</c:v>
                </c:pt>
                <c:pt idx="39839">
                  <c:v>-5.8823529411764497E-3</c:v>
                </c:pt>
                <c:pt idx="39840">
                  <c:v>-5.8823529411764497E-3</c:v>
                </c:pt>
                <c:pt idx="39841">
                  <c:v>-5.8823529411764497E-3</c:v>
                </c:pt>
                <c:pt idx="39842">
                  <c:v>-5.8823529411764497E-3</c:v>
                </c:pt>
                <c:pt idx="39843">
                  <c:v>-5.8823529411764497E-3</c:v>
                </c:pt>
                <c:pt idx="39844">
                  <c:v>-5.8823529411764497E-3</c:v>
                </c:pt>
                <c:pt idx="39845">
                  <c:v>-5.8823529411764497E-3</c:v>
                </c:pt>
                <c:pt idx="39846">
                  <c:v>-5.8823529411764497E-3</c:v>
                </c:pt>
                <c:pt idx="39847">
                  <c:v>-5.8823529411764497E-3</c:v>
                </c:pt>
                <c:pt idx="39848">
                  <c:v>-5.8823529411764497E-3</c:v>
                </c:pt>
                <c:pt idx="39849">
                  <c:v>-5.8823529411764497E-3</c:v>
                </c:pt>
                <c:pt idx="39850">
                  <c:v>-5.8823529411764497E-3</c:v>
                </c:pt>
                <c:pt idx="39851">
                  <c:v>-5.8823529411764497E-3</c:v>
                </c:pt>
                <c:pt idx="39852">
                  <c:v>-5.8823529411764497E-3</c:v>
                </c:pt>
                <c:pt idx="39853">
                  <c:v>-5.8823529411764497E-3</c:v>
                </c:pt>
                <c:pt idx="39854">
                  <c:v>-5.8823529411764497E-3</c:v>
                </c:pt>
                <c:pt idx="39855">
                  <c:v>-5.8823529411764497E-3</c:v>
                </c:pt>
                <c:pt idx="39856">
                  <c:v>-5.8823529411764497E-3</c:v>
                </c:pt>
                <c:pt idx="39857">
                  <c:v>-5.8823529411764497E-3</c:v>
                </c:pt>
                <c:pt idx="39858">
                  <c:v>-5.8823529411764497E-3</c:v>
                </c:pt>
                <c:pt idx="39859">
                  <c:v>-5.8823529411764497E-3</c:v>
                </c:pt>
                <c:pt idx="39860">
                  <c:v>-5.8823529411764497E-3</c:v>
                </c:pt>
                <c:pt idx="39861">
                  <c:v>-5.8823529411764497E-3</c:v>
                </c:pt>
                <c:pt idx="39862">
                  <c:v>-5.8823529411764497E-3</c:v>
                </c:pt>
                <c:pt idx="39863">
                  <c:v>-5.8823529411764497E-3</c:v>
                </c:pt>
                <c:pt idx="39864">
                  <c:v>-5.8823529411764497E-3</c:v>
                </c:pt>
                <c:pt idx="39865">
                  <c:v>-5.8823529411764497E-3</c:v>
                </c:pt>
                <c:pt idx="39866">
                  <c:v>-5.8823529411764497E-3</c:v>
                </c:pt>
                <c:pt idx="39867">
                  <c:v>-5.8823529411764497E-3</c:v>
                </c:pt>
                <c:pt idx="39868">
                  <c:v>-5.8823529411764497E-3</c:v>
                </c:pt>
                <c:pt idx="39869">
                  <c:v>-5.8823529411764497E-3</c:v>
                </c:pt>
                <c:pt idx="39870">
                  <c:v>-5.8823529411764497E-3</c:v>
                </c:pt>
                <c:pt idx="39871">
                  <c:v>-5.8823529411764497E-3</c:v>
                </c:pt>
                <c:pt idx="39872">
                  <c:v>-5.8823529411764497E-3</c:v>
                </c:pt>
                <c:pt idx="39873">
                  <c:v>-5.8823529411764497E-3</c:v>
                </c:pt>
                <c:pt idx="39874">
                  <c:v>-5.8823529411764497E-3</c:v>
                </c:pt>
                <c:pt idx="39875">
                  <c:v>-5.8823529411764497E-3</c:v>
                </c:pt>
                <c:pt idx="39876">
                  <c:v>-5.8823529411764497E-3</c:v>
                </c:pt>
                <c:pt idx="39877">
                  <c:v>-5.8823529411764497E-3</c:v>
                </c:pt>
                <c:pt idx="39878">
                  <c:v>-5.8823529411764497E-3</c:v>
                </c:pt>
                <c:pt idx="39879">
                  <c:v>-5.8823529411764497E-3</c:v>
                </c:pt>
                <c:pt idx="39880">
                  <c:v>-5.8823529411764497E-3</c:v>
                </c:pt>
                <c:pt idx="39881">
                  <c:v>-5.8823529411764497E-3</c:v>
                </c:pt>
                <c:pt idx="39882">
                  <c:v>-5.8823529411764497E-3</c:v>
                </c:pt>
                <c:pt idx="39883">
                  <c:v>-5.8823529411764497E-3</c:v>
                </c:pt>
                <c:pt idx="39884">
                  <c:v>-5.8823529411764497E-3</c:v>
                </c:pt>
                <c:pt idx="39885">
                  <c:v>-5.8823529411764497E-3</c:v>
                </c:pt>
                <c:pt idx="39886">
                  <c:v>-5.8823529411764497E-3</c:v>
                </c:pt>
                <c:pt idx="39887">
                  <c:v>-5.8823529411764497E-3</c:v>
                </c:pt>
                <c:pt idx="39888">
                  <c:v>-5.8823529411764497E-3</c:v>
                </c:pt>
                <c:pt idx="39889">
                  <c:v>-5.8823529411764497E-3</c:v>
                </c:pt>
                <c:pt idx="39890">
                  <c:v>-5.0420168067226703E-3</c:v>
                </c:pt>
                <c:pt idx="39891">
                  <c:v>-5.0420168067226703E-3</c:v>
                </c:pt>
                <c:pt idx="39892">
                  <c:v>-5.0420168067226703E-3</c:v>
                </c:pt>
                <c:pt idx="39893">
                  <c:v>-5.0420168067226703E-3</c:v>
                </c:pt>
                <c:pt idx="39894">
                  <c:v>-5.0420168067226703E-3</c:v>
                </c:pt>
                <c:pt idx="39895">
                  <c:v>-5.0420168067226703E-3</c:v>
                </c:pt>
                <c:pt idx="39896">
                  <c:v>-5.0420168067226703E-3</c:v>
                </c:pt>
                <c:pt idx="39897">
                  <c:v>-5.0420168067226703E-3</c:v>
                </c:pt>
                <c:pt idx="39898">
                  <c:v>-5.0420168067226703E-3</c:v>
                </c:pt>
                <c:pt idx="39899">
                  <c:v>-5.0420168067226703E-3</c:v>
                </c:pt>
                <c:pt idx="39900">
                  <c:v>-5.0420168067226703E-3</c:v>
                </c:pt>
                <c:pt idx="39901">
                  <c:v>-5.0420168067226703E-3</c:v>
                </c:pt>
                <c:pt idx="39902">
                  <c:v>-5.0420168067226703E-3</c:v>
                </c:pt>
                <c:pt idx="39903">
                  <c:v>-5.0420168067226703E-3</c:v>
                </c:pt>
                <c:pt idx="39904">
                  <c:v>-5.0420168067226703E-3</c:v>
                </c:pt>
                <c:pt idx="39905">
                  <c:v>-5.0420168067226703E-3</c:v>
                </c:pt>
                <c:pt idx="39906">
                  <c:v>-5.0420168067226703E-3</c:v>
                </c:pt>
                <c:pt idx="39907">
                  <c:v>-5.0420168067226703E-3</c:v>
                </c:pt>
                <c:pt idx="39908">
                  <c:v>-5.0420168067226703E-3</c:v>
                </c:pt>
                <c:pt idx="39909">
                  <c:v>-5.0420168067226703E-3</c:v>
                </c:pt>
                <c:pt idx="39910">
                  <c:v>-5.0420168067226703E-3</c:v>
                </c:pt>
                <c:pt idx="39911">
                  <c:v>-5.0420168067226703E-3</c:v>
                </c:pt>
                <c:pt idx="39912">
                  <c:v>-5.0420168067226703E-3</c:v>
                </c:pt>
                <c:pt idx="39913">
                  <c:v>-5.0420168067226703E-3</c:v>
                </c:pt>
                <c:pt idx="39914">
                  <c:v>-5.0420168067226703E-3</c:v>
                </c:pt>
                <c:pt idx="39915">
                  <c:v>-5.0420168067226703E-3</c:v>
                </c:pt>
                <c:pt idx="39916">
                  <c:v>-5.0420168067226703E-3</c:v>
                </c:pt>
                <c:pt idx="39917">
                  <c:v>-5.0420168067226703E-3</c:v>
                </c:pt>
                <c:pt idx="39918">
                  <c:v>-5.0420168067226703E-3</c:v>
                </c:pt>
                <c:pt idx="39919">
                  <c:v>-5.0420168067226703E-3</c:v>
                </c:pt>
                <c:pt idx="39920">
                  <c:v>-5.0420168067226703E-3</c:v>
                </c:pt>
                <c:pt idx="39921">
                  <c:v>-5.0420168067226703E-3</c:v>
                </c:pt>
                <c:pt idx="39922">
                  <c:v>-5.0420168067226703E-3</c:v>
                </c:pt>
                <c:pt idx="39923">
                  <c:v>-5.0420168067226703E-3</c:v>
                </c:pt>
                <c:pt idx="39924">
                  <c:v>-5.0420168067226703E-3</c:v>
                </c:pt>
                <c:pt idx="39925">
                  <c:v>-5.0420168067226703E-3</c:v>
                </c:pt>
                <c:pt idx="39926">
                  <c:v>-5.0420168067226703E-3</c:v>
                </c:pt>
                <c:pt idx="39927">
                  <c:v>-5.0420168067226703E-3</c:v>
                </c:pt>
                <c:pt idx="39928">
                  <c:v>-5.0420168067226703E-3</c:v>
                </c:pt>
                <c:pt idx="39929">
                  <c:v>-5.0420168067226703E-3</c:v>
                </c:pt>
                <c:pt idx="39930">
                  <c:v>-5.0420168067226703E-3</c:v>
                </c:pt>
                <c:pt idx="39931">
                  <c:v>-5.0420168067226703E-3</c:v>
                </c:pt>
                <c:pt idx="39932">
                  <c:v>-5.0420168067226703E-3</c:v>
                </c:pt>
                <c:pt idx="39933">
                  <c:v>-5.0420168067226703E-3</c:v>
                </c:pt>
                <c:pt idx="39934">
                  <c:v>-5.0420168067226703E-3</c:v>
                </c:pt>
                <c:pt idx="39935">
                  <c:v>-5.0420168067226703E-3</c:v>
                </c:pt>
                <c:pt idx="39936">
                  <c:v>-5.0420168067226703E-3</c:v>
                </c:pt>
                <c:pt idx="39937">
                  <c:v>-5.0420168067226703E-3</c:v>
                </c:pt>
                <c:pt idx="39938">
                  <c:v>-5.0420168067226703E-3</c:v>
                </c:pt>
                <c:pt idx="39939">
                  <c:v>-5.0420168067226703E-3</c:v>
                </c:pt>
                <c:pt idx="39940">
                  <c:v>-5.0420168067226703E-3</c:v>
                </c:pt>
                <c:pt idx="39941">
                  <c:v>-5.0420168067226703E-3</c:v>
                </c:pt>
                <c:pt idx="39942">
                  <c:v>-5.0420168067226703E-3</c:v>
                </c:pt>
                <c:pt idx="39943">
                  <c:v>-5.0420168067226703E-3</c:v>
                </c:pt>
                <c:pt idx="39944">
                  <c:v>-5.0420168067226703E-3</c:v>
                </c:pt>
                <c:pt idx="39945">
                  <c:v>-5.0420168067226703E-3</c:v>
                </c:pt>
                <c:pt idx="39946">
                  <c:v>-5.0420168067226703E-3</c:v>
                </c:pt>
                <c:pt idx="39947">
                  <c:v>-5.0420168067226703E-3</c:v>
                </c:pt>
                <c:pt idx="39948">
                  <c:v>-5.0420168067226703E-3</c:v>
                </c:pt>
                <c:pt idx="39949">
                  <c:v>-5.0420168067226703E-3</c:v>
                </c:pt>
                <c:pt idx="39950">
                  <c:v>-5.0420168067226703E-3</c:v>
                </c:pt>
                <c:pt idx="39951">
                  <c:v>-5.0420168067226703E-3</c:v>
                </c:pt>
                <c:pt idx="39952">
                  <c:v>-5.0420168067226703E-3</c:v>
                </c:pt>
                <c:pt idx="39953">
                  <c:v>-5.0420168067226703E-3</c:v>
                </c:pt>
                <c:pt idx="39954">
                  <c:v>-5.0420168067226703E-3</c:v>
                </c:pt>
                <c:pt idx="39955">
                  <c:v>-5.0420168067226703E-3</c:v>
                </c:pt>
                <c:pt idx="39956">
                  <c:v>-5.0420168067226703E-3</c:v>
                </c:pt>
                <c:pt idx="39957">
                  <c:v>-5.0420168067226703E-3</c:v>
                </c:pt>
                <c:pt idx="39958">
                  <c:v>-5.0420168067226703E-3</c:v>
                </c:pt>
                <c:pt idx="39959">
                  <c:v>-5.0420168067226703E-3</c:v>
                </c:pt>
                <c:pt idx="39960">
                  <c:v>-5.0420168067226703E-3</c:v>
                </c:pt>
                <c:pt idx="39961">
                  <c:v>-5.0420168067226703E-3</c:v>
                </c:pt>
                <c:pt idx="39962">
                  <c:v>-5.0420168067226703E-3</c:v>
                </c:pt>
                <c:pt idx="39963">
                  <c:v>-5.0420168067226703E-3</c:v>
                </c:pt>
                <c:pt idx="39964">
                  <c:v>-5.0420168067226703E-3</c:v>
                </c:pt>
                <c:pt idx="39965">
                  <c:v>-5.0420168067226703E-3</c:v>
                </c:pt>
                <c:pt idx="39966">
                  <c:v>-5.0420168067226703E-3</c:v>
                </c:pt>
                <c:pt idx="39967">
                  <c:v>-5.0420168067226703E-3</c:v>
                </c:pt>
                <c:pt idx="39968">
                  <c:v>-5.0420168067226703E-3</c:v>
                </c:pt>
                <c:pt idx="39969">
                  <c:v>-5.0420168067226703E-3</c:v>
                </c:pt>
                <c:pt idx="39970">
                  <c:v>-5.0420168067226703E-3</c:v>
                </c:pt>
                <c:pt idx="39971">
                  <c:v>-5.0420168067226703E-3</c:v>
                </c:pt>
                <c:pt idx="39972">
                  <c:v>-5.0420168067226703E-3</c:v>
                </c:pt>
                <c:pt idx="39973">
                  <c:v>-5.0420168067226703E-3</c:v>
                </c:pt>
                <c:pt idx="39974">
                  <c:v>-5.8823529411764497E-3</c:v>
                </c:pt>
                <c:pt idx="39975">
                  <c:v>-5.8823529411764497E-3</c:v>
                </c:pt>
                <c:pt idx="39976">
                  <c:v>-5.8823529411764497E-3</c:v>
                </c:pt>
                <c:pt idx="39977">
                  <c:v>-5.8823529411764497E-3</c:v>
                </c:pt>
                <c:pt idx="39978">
                  <c:v>-5.8823529411764497E-3</c:v>
                </c:pt>
                <c:pt idx="39979">
                  <c:v>-5.8823529411764497E-3</c:v>
                </c:pt>
                <c:pt idx="39980">
                  <c:v>-5.8823529411764497E-3</c:v>
                </c:pt>
                <c:pt idx="39981">
                  <c:v>-5.8823529411764497E-3</c:v>
                </c:pt>
                <c:pt idx="39982">
                  <c:v>-5.8823529411764497E-3</c:v>
                </c:pt>
                <c:pt idx="39983">
                  <c:v>-5.8823529411764497E-3</c:v>
                </c:pt>
                <c:pt idx="39984">
                  <c:v>-5.8823529411764497E-3</c:v>
                </c:pt>
                <c:pt idx="39985">
                  <c:v>-5.8823529411764497E-3</c:v>
                </c:pt>
                <c:pt idx="39986">
                  <c:v>-5.8823529411764497E-3</c:v>
                </c:pt>
                <c:pt idx="39987">
                  <c:v>-5.8823529411764497E-3</c:v>
                </c:pt>
                <c:pt idx="39988">
                  <c:v>-5.8823529411764497E-3</c:v>
                </c:pt>
                <c:pt idx="39989">
                  <c:v>-5.8823529411764497E-3</c:v>
                </c:pt>
                <c:pt idx="39990">
                  <c:v>-5.8823529411764497E-3</c:v>
                </c:pt>
                <c:pt idx="39991">
                  <c:v>-5.8823529411764497E-3</c:v>
                </c:pt>
                <c:pt idx="39992">
                  <c:v>-5.8823529411764497E-3</c:v>
                </c:pt>
                <c:pt idx="39993">
                  <c:v>-5.8823529411764497E-3</c:v>
                </c:pt>
                <c:pt idx="39994">
                  <c:v>-5.8823529411764497E-3</c:v>
                </c:pt>
                <c:pt idx="39995">
                  <c:v>-5.8823529411764497E-3</c:v>
                </c:pt>
                <c:pt idx="39996">
                  <c:v>-5.8823529411764497E-3</c:v>
                </c:pt>
                <c:pt idx="39997">
                  <c:v>-5.8823529411764497E-3</c:v>
                </c:pt>
                <c:pt idx="39998">
                  <c:v>-5.8823529411764497E-3</c:v>
                </c:pt>
                <c:pt idx="39999">
                  <c:v>-5.8823529411764497E-3</c:v>
                </c:pt>
                <c:pt idx="40000">
                  <c:v>-5.8823529411764497E-3</c:v>
                </c:pt>
                <c:pt idx="40001">
                  <c:v>-5.8823529411764497E-3</c:v>
                </c:pt>
                <c:pt idx="40002">
                  <c:v>-5.8823529411764497E-3</c:v>
                </c:pt>
                <c:pt idx="40003">
                  <c:v>-5.8823529411764497E-3</c:v>
                </c:pt>
                <c:pt idx="40004">
                  <c:v>-5.8823529411764497E-3</c:v>
                </c:pt>
                <c:pt idx="40005">
                  <c:v>-5.8823529411764497E-3</c:v>
                </c:pt>
                <c:pt idx="40006">
                  <c:v>-5.8823529411764497E-3</c:v>
                </c:pt>
                <c:pt idx="40007">
                  <c:v>-5.8823529411764497E-3</c:v>
                </c:pt>
                <c:pt idx="40008">
                  <c:v>-5.8823529411764497E-3</c:v>
                </c:pt>
                <c:pt idx="40009">
                  <c:v>-5.8823529411764497E-3</c:v>
                </c:pt>
                <c:pt idx="40010">
                  <c:v>-5.0420168067226703E-3</c:v>
                </c:pt>
                <c:pt idx="40011">
                  <c:v>-5.0420168067226703E-3</c:v>
                </c:pt>
                <c:pt idx="40012">
                  <c:v>-5.0420168067226703E-3</c:v>
                </c:pt>
                <c:pt idx="40013">
                  <c:v>-5.0420168067226703E-3</c:v>
                </c:pt>
                <c:pt idx="40014">
                  <c:v>-5.0420168067226703E-3</c:v>
                </c:pt>
                <c:pt idx="40015">
                  <c:v>-5.0420168067226703E-3</c:v>
                </c:pt>
                <c:pt idx="40016">
                  <c:v>-5.0420168067226703E-3</c:v>
                </c:pt>
                <c:pt idx="40017">
                  <c:v>-5.0420168067226703E-3</c:v>
                </c:pt>
                <c:pt idx="40018">
                  <c:v>-5.0420168067226703E-3</c:v>
                </c:pt>
                <c:pt idx="40019">
                  <c:v>-5.0420168067226703E-3</c:v>
                </c:pt>
                <c:pt idx="40020">
                  <c:v>-5.0420168067226703E-3</c:v>
                </c:pt>
                <c:pt idx="40021">
                  <c:v>-4.20168067226889E-3</c:v>
                </c:pt>
                <c:pt idx="40022">
                  <c:v>-3.3613445378151102E-3</c:v>
                </c:pt>
                <c:pt idx="40023">
                  <c:v>-3.3613445378151102E-3</c:v>
                </c:pt>
                <c:pt idx="40024">
                  <c:v>-3.3613445378151102E-3</c:v>
                </c:pt>
                <c:pt idx="40025">
                  <c:v>-3.3613445378151102E-3</c:v>
                </c:pt>
                <c:pt idx="40026">
                  <c:v>-3.3613445378151102E-3</c:v>
                </c:pt>
                <c:pt idx="40027">
                  <c:v>-3.3613445378151102E-3</c:v>
                </c:pt>
                <c:pt idx="40028">
                  <c:v>-3.3613445378151102E-3</c:v>
                </c:pt>
                <c:pt idx="40029">
                  <c:v>-3.3613445378151102E-3</c:v>
                </c:pt>
                <c:pt idx="40030">
                  <c:v>-3.3613445378151102E-3</c:v>
                </c:pt>
                <c:pt idx="40031">
                  <c:v>-3.3613445378151102E-3</c:v>
                </c:pt>
                <c:pt idx="40032">
                  <c:v>-3.3613445378151102E-3</c:v>
                </c:pt>
                <c:pt idx="40033">
                  <c:v>-3.3613445378151102E-3</c:v>
                </c:pt>
                <c:pt idx="40034">
                  <c:v>-3.3613445378151102E-3</c:v>
                </c:pt>
                <c:pt idx="40035">
                  <c:v>-3.3613445378151102E-3</c:v>
                </c:pt>
                <c:pt idx="40036">
                  <c:v>-3.3613445378151102E-3</c:v>
                </c:pt>
                <c:pt idx="40037">
                  <c:v>-3.3613445378151102E-3</c:v>
                </c:pt>
                <c:pt idx="40038">
                  <c:v>-3.3613445378151102E-3</c:v>
                </c:pt>
                <c:pt idx="40039">
                  <c:v>-3.3613445378151102E-3</c:v>
                </c:pt>
                <c:pt idx="40040">
                  <c:v>-3.3613445378151102E-3</c:v>
                </c:pt>
                <c:pt idx="40041">
                  <c:v>-3.3613445378151102E-3</c:v>
                </c:pt>
                <c:pt idx="40042">
                  <c:v>-3.3613445378151102E-3</c:v>
                </c:pt>
                <c:pt idx="40043">
                  <c:v>-3.3613445378151102E-3</c:v>
                </c:pt>
                <c:pt idx="40044">
                  <c:v>-3.3613445378151102E-3</c:v>
                </c:pt>
                <c:pt idx="40045">
                  <c:v>-3.3613445378151102E-3</c:v>
                </c:pt>
                <c:pt idx="40046">
                  <c:v>-3.3613445378151102E-3</c:v>
                </c:pt>
                <c:pt idx="40047">
                  <c:v>-3.3613445378151102E-3</c:v>
                </c:pt>
                <c:pt idx="40048">
                  <c:v>-3.3613445378151102E-3</c:v>
                </c:pt>
                <c:pt idx="40049">
                  <c:v>-3.3613445378151102E-3</c:v>
                </c:pt>
                <c:pt idx="40050">
                  <c:v>-3.3613445378151102E-3</c:v>
                </c:pt>
                <c:pt idx="40051">
                  <c:v>-3.3613445378151102E-3</c:v>
                </c:pt>
                <c:pt idx="40052">
                  <c:v>-3.3613445378151102E-3</c:v>
                </c:pt>
                <c:pt idx="40053">
                  <c:v>-3.3613445378151102E-3</c:v>
                </c:pt>
                <c:pt idx="40054">
                  <c:v>-3.3613445378151102E-3</c:v>
                </c:pt>
                <c:pt idx="40055">
                  <c:v>-3.3613445378151102E-3</c:v>
                </c:pt>
                <c:pt idx="40056">
                  <c:v>-3.3613445378151102E-3</c:v>
                </c:pt>
                <c:pt idx="40057">
                  <c:v>-3.3613445378151102E-3</c:v>
                </c:pt>
                <c:pt idx="40058">
                  <c:v>-3.3613445378151102E-3</c:v>
                </c:pt>
                <c:pt idx="40059">
                  <c:v>-3.3613445378151102E-3</c:v>
                </c:pt>
                <c:pt idx="40060">
                  <c:v>-3.3613445378151102E-3</c:v>
                </c:pt>
                <c:pt idx="40061">
                  <c:v>-3.3613445378151102E-3</c:v>
                </c:pt>
                <c:pt idx="40062">
                  <c:v>-3.3613445378151102E-3</c:v>
                </c:pt>
                <c:pt idx="40063">
                  <c:v>-3.3613445378151102E-3</c:v>
                </c:pt>
                <c:pt idx="40064">
                  <c:v>-3.3613445378151102E-3</c:v>
                </c:pt>
                <c:pt idx="40065">
                  <c:v>-3.3613445378151102E-3</c:v>
                </c:pt>
                <c:pt idx="40066">
                  <c:v>-3.3613445378151102E-3</c:v>
                </c:pt>
                <c:pt idx="40067">
                  <c:v>-3.3613445378151102E-3</c:v>
                </c:pt>
                <c:pt idx="40068">
                  <c:v>-3.3613445378151102E-3</c:v>
                </c:pt>
                <c:pt idx="40069">
                  <c:v>-3.3613445378151102E-3</c:v>
                </c:pt>
                <c:pt idx="40070">
                  <c:v>-3.3613445378151102E-3</c:v>
                </c:pt>
                <c:pt idx="40071">
                  <c:v>-3.3613445378151102E-3</c:v>
                </c:pt>
                <c:pt idx="40072">
                  <c:v>-3.3613445378151102E-3</c:v>
                </c:pt>
                <c:pt idx="40073">
                  <c:v>-3.3613445378151102E-3</c:v>
                </c:pt>
                <c:pt idx="40074">
                  <c:v>-3.3613445378151102E-3</c:v>
                </c:pt>
                <c:pt idx="40075">
                  <c:v>-3.3613445378151102E-3</c:v>
                </c:pt>
                <c:pt idx="40076">
                  <c:v>-3.3613445378151102E-3</c:v>
                </c:pt>
                <c:pt idx="40077">
                  <c:v>-3.3613445378151102E-3</c:v>
                </c:pt>
                <c:pt idx="40078">
                  <c:v>-3.3613445378151102E-3</c:v>
                </c:pt>
                <c:pt idx="40079">
                  <c:v>-3.3613445378151102E-3</c:v>
                </c:pt>
                <c:pt idx="40080">
                  <c:v>-3.3613445378151102E-3</c:v>
                </c:pt>
                <c:pt idx="40081">
                  <c:v>-3.3613445378151102E-3</c:v>
                </c:pt>
                <c:pt idx="40082">
                  <c:v>-3.3613445378151102E-3</c:v>
                </c:pt>
                <c:pt idx="40083">
                  <c:v>-3.3613445378151102E-3</c:v>
                </c:pt>
                <c:pt idx="40084">
                  <c:v>-3.3613445378151102E-3</c:v>
                </c:pt>
                <c:pt idx="40085">
                  <c:v>-3.3613445378151102E-3</c:v>
                </c:pt>
                <c:pt idx="40086">
                  <c:v>-3.3613445378151102E-3</c:v>
                </c:pt>
                <c:pt idx="40087">
                  <c:v>-3.3613445378151102E-3</c:v>
                </c:pt>
                <c:pt idx="40088">
                  <c:v>-3.3613445378151102E-3</c:v>
                </c:pt>
                <c:pt idx="40089">
                  <c:v>-3.3613445378151102E-3</c:v>
                </c:pt>
                <c:pt idx="40090">
                  <c:v>-3.3613445378151102E-3</c:v>
                </c:pt>
                <c:pt idx="40091">
                  <c:v>-3.3613445378151102E-3</c:v>
                </c:pt>
                <c:pt idx="40092">
                  <c:v>-3.3613445378151102E-3</c:v>
                </c:pt>
                <c:pt idx="40093">
                  <c:v>-3.3613445378151102E-3</c:v>
                </c:pt>
                <c:pt idx="40094">
                  <c:v>-3.3613445378151102E-3</c:v>
                </c:pt>
                <c:pt idx="40095">
                  <c:v>-3.3613445378151102E-3</c:v>
                </c:pt>
                <c:pt idx="40096">
                  <c:v>-2.5210084033613299E-3</c:v>
                </c:pt>
                <c:pt idx="40097">
                  <c:v>-2.5210084033613299E-3</c:v>
                </c:pt>
                <c:pt idx="40098">
                  <c:v>-2.5210084033613299E-3</c:v>
                </c:pt>
                <c:pt idx="40099">
                  <c:v>-2.5210084033613299E-3</c:v>
                </c:pt>
                <c:pt idx="40100">
                  <c:v>-2.5210084033613299E-3</c:v>
                </c:pt>
                <c:pt idx="40101">
                  <c:v>-2.5210084033613299E-3</c:v>
                </c:pt>
                <c:pt idx="40102">
                  <c:v>-2.5210084033613299E-3</c:v>
                </c:pt>
                <c:pt idx="40103">
                  <c:v>-2.5210084033613299E-3</c:v>
                </c:pt>
                <c:pt idx="40104">
                  <c:v>-2.5210084033613299E-3</c:v>
                </c:pt>
                <c:pt idx="40105">
                  <c:v>-2.5210084033613299E-3</c:v>
                </c:pt>
                <c:pt idx="40106">
                  <c:v>-2.5210084033613299E-3</c:v>
                </c:pt>
                <c:pt idx="40107">
                  <c:v>-2.5210084033613299E-3</c:v>
                </c:pt>
                <c:pt idx="40108">
                  <c:v>-2.5210084033613299E-3</c:v>
                </c:pt>
                <c:pt idx="40109">
                  <c:v>-2.5210084033613299E-3</c:v>
                </c:pt>
                <c:pt idx="40110">
                  <c:v>-2.5210084033613299E-3</c:v>
                </c:pt>
                <c:pt idx="40111">
                  <c:v>-2.5210084033613299E-3</c:v>
                </c:pt>
                <c:pt idx="40112">
                  <c:v>-1.6806722689075499E-3</c:v>
                </c:pt>
                <c:pt idx="40113">
                  <c:v>-1.6806722689075499E-3</c:v>
                </c:pt>
                <c:pt idx="40114">
                  <c:v>-1.6806722689075499E-3</c:v>
                </c:pt>
                <c:pt idx="40115">
                  <c:v>-1.6806722689075499E-3</c:v>
                </c:pt>
                <c:pt idx="40116">
                  <c:v>-1.6806722689075499E-3</c:v>
                </c:pt>
                <c:pt idx="40117">
                  <c:v>-1.6806722689075499E-3</c:v>
                </c:pt>
                <c:pt idx="40118">
                  <c:v>-1.6806722689075499E-3</c:v>
                </c:pt>
                <c:pt idx="40119">
                  <c:v>-1.6806722689075499E-3</c:v>
                </c:pt>
                <c:pt idx="40120">
                  <c:v>-1.6806722689075499E-3</c:v>
                </c:pt>
                <c:pt idx="40121">
                  <c:v>-1.6806722689075499E-3</c:v>
                </c:pt>
                <c:pt idx="40122">
                  <c:v>-1.6806722689075499E-3</c:v>
                </c:pt>
                <c:pt idx="40123">
                  <c:v>-1.6806722689075499E-3</c:v>
                </c:pt>
                <c:pt idx="40124">
                  <c:v>-1.6806722689075499E-3</c:v>
                </c:pt>
                <c:pt idx="40125">
                  <c:v>-1.6806722689075499E-3</c:v>
                </c:pt>
                <c:pt idx="40126">
                  <c:v>-1.6806722689075499E-3</c:v>
                </c:pt>
                <c:pt idx="40127">
                  <c:v>-1.6806722689075499E-3</c:v>
                </c:pt>
                <c:pt idx="40128">
                  <c:v>-1.6806722689075499E-3</c:v>
                </c:pt>
                <c:pt idx="40129">
                  <c:v>-1.6806722689075499E-3</c:v>
                </c:pt>
                <c:pt idx="40130">
                  <c:v>-1.6806722689075499E-3</c:v>
                </c:pt>
                <c:pt idx="40131">
                  <c:v>-1.6806722689075499E-3</c:v>
                </c:pt>
                <c:pt idx="40132">
                  <c:v>-1.6806722689075499E-3</c:v>
                </c:pt>
                <c:pt idx="40133">
                  <c:v>-1.6806722689075499E-3</c:v>
                </c:pt>
                <c:pt idx="40134">
                  <c:v>-1.6806722689075499E-3</c:v>
                </c:pt>
                <c:pt idx="40135">
                  <c:v>-1.6806722689075499E-3</c:v>
                </c:pt>
                <c:pt idx="40136">
                  <c:v>-1.6806722689075499E-3</c:v>
                </c:pt>
                <c:pt idx="40137">
                  <c:v>-1.6806722689075499E-3</c:v>
                </c:pt>
                <c:pt idx="40138">
                  <c:v>-1.6806722689075499E-3</c:v>
                </c:pt>
                <c:pt idx="40139">
                  <c:v>-1.6806722689075499E-3</c:v>
                </c:pt>
                <c:pt idx="40140">
                  <c:v>-1.6806722689075499E-3</c:v>
                </c:pt>
                <c:pt idx="40141">
                  <c:v>-1.6806722689075499E-3</c:v>
                </c:pt>
                <c:pt idx="40142">
                  <c:v>-1.6806722689075499E-3</c:v>
                </c:pt>
                <c:pt idx="40143">
                  <c:v>-1.6806722689075499E-3</c:v>
                </c:pt>
                <c:pt idx="40144">
                  <c:v>-1.6806722689075499E-3</c:v>
                </c:pt>
                <c:pt idx="40145">
                  <c:v>-1.6806722689075499E-3</c:v>
                </c:pt>
                <c:pt idx="40146">
                  <c:v>-1.6806722689075499E-3</c:v>
                </c:pt>
                <c:pt idx="40147">
                  <c:v>-1.6806722689075499E-3</c:v>
                </c:pt>
                <c:pt idx="40148">
                  <c:v>-1.6806722689075499E-3</c:v>
                </c:pt>
                <c:pt idx="40149">
                  <c:v>-1.6806722689075499E-3</c:v>
                </c:pt>
                <c:pt idx="40150">
                  <c:v>-1.6806722689075499E-3</c:v>
                </c:pt>
                <c:pt idx="40151">
                  <c:v>-1.6806722689075499E-3</c:v>
                </c:pt>
                <c:pt idx="40152">
                  <c:v>-1.6806722689075499E-3</c:v>
                </c:pt>
                <c:pt idx="40153">
                  <c:v>-1.6806722689075499E-3</c:v>
                </c:pt>
                <c:pt idx="40154">
                  <c:v>-1.6806722689075499E-3</c:v>
                </c:pt>
                <c:pt idx="40155">
                  <c:v>-1.6806722689075499E-3</c:v>
                </c:pt>
                <c:pt idx="40156">
                  <c:v>-1.6806722689075499E-3</c:v>
                </c:pt>
                <c:pt idx="40157">
                  <c:v>-1.6806722689075499E-3</c:v>
                </c:pt>
                <c:pt idx="40158">
                  <c:v>-1.6806722689075499E-3</c:v>
                </c:pt>
                <c:pt idx="40159">
                  <c:v>-1.6806722689075499E-3</c:v>
                </c:pt>
                <c:pt idx="40160">
                  <c:v>-2.5210084033613299E-3</c:v>
                </c:pt>
                <c:pt idx="40161">
                  <c:v>-2.5210084033613299E-3</c:v>
                </c:pt>
                <c:pt idx="40162">
                  <c:v>-2.5210084033613299E-3</c:v>
                </c:pt>
                <c:pt idx="40163">
                  <c:v>-2.5210084033613299E-3</c:v>
                </c:pt>
                <c:pt idx="40164">
                  <c:v>-2.5210084033613299E-3</c:v>
                </c:pt>
                <c:pt idx="40165">
                  <c:v>-2.5210084033613299E-3</c:v>
                </c:pt>
                <c:pt idx="40166">
                  <c:v>-2.5210084033613299E-3</c:v>
                </c:pt>
                <c:pt idx="40167">
                  <c:v>-2.5210084033613299E-3</c:v>
                </c:pt>
                <c:pt idx="40168">
                  <c:v>-2.5210084033613299E-3</c:v>
                </c:pt>
                <c:pt idx="40169">
                  <c:v>-2.5210084033613299E-3</c:v>
                </c:pt>
                <c:pt idx="40170">
                  <c:v>-2.5210084033613299E-3</c:v>
                </c:pt>
                <c:pt idx="40171">
                  <c:v>-1.6806722689075499E-3</c:v>
                </c:pt>
                <c:pt idx="40172">
                  <c:v>-1.6806722689075499E-3</c:v>
                </c:pt>
                <c:pt idx="40173">
                  <c:v>-1.6806722689075499E-3</c:v>
                </c:pt>
                <c:pt idx="40174">
                  <c:v>-1.6806722689075499E-3</c:v>
                </c:pt>
                <c:pt idx="40175">
                  <c:v>-1.6806722689075499E-3</c:v>
                </c:pt>
                <c:pt idx="40176">
                  <c:v>-1.6806722689075499E-3</c:v>
                </c:pt>
                <c:pt idx="40177">
                  <c:v>-1.6806722689075499E-3</c:v>
                </c:pt>
                <c:pt idx="40178">
                  <c:v>-1.6806722689075499E-3</c:v>
                </c:pt>
                <c:pt idx="40179">
                  <c:v>-1.6806722689075499E-3</c:v>
                </c:pt>
                <c:pt idx="40180">
                  <c:v>-1.6806722689075499E-3</c:v>
                </c:pt>
                <c:pt idx="40181">
                  <c:v>-1.6806722689075499E-3</c:v>
                </c:pt>
                <c:pt idx="40182">
                  <c:v>-1.6806722689075499E-3</c:v>
                </c:pt>
                <c:pt idx="40183">
                  <c:v>-1.6806722689075499E-3</c:v>
                </c:pt>
                <c:pt idx="40184">
                  <c:v>-1.6806722689075499E-3</c:v>
                </c:pt>
                <c:pt idx="40185">
                  <c:v>-1.6806722689075499E-3</c:v>
                </c:pt>
                <c:pt idx="40186">
                  <c:v>-1.6806722689075499E-3</c:v>
                </c:pt>
                <c:pt idx="40187">
                  <c:v>-1.6806722689075499E-3</c:v>
                </c:pt>
                <c:pt idx="40188">
                  <c:v>-1.6806722689075499E-3</c:v>
                </c:pt>
                <c:pt idx="40189">
                  <c:v>-1.6806722689075499E-3</c:v>
                </c:pt>
                <c:pt idx="40190">
                  <c:v>-1.6806722689075499E-3</c:v>
                </c:pt>
                <c:pt idx="40191">
                  <c:v>-1.6806722689075499E-3</c:v>
                </c:pt>
                <c:pt idx="40192">
                  <c:v>-1.6806722689075499E-3</c:v>
                </c:pt>
                <c:pt idx="40193">
                  <c:v>-1.6806722689075499E-3</c:v>
                </c:pt>
                <c:pt idx="40194">
                  <c:v>-1.6806722689075499E-3</c:v>
                </c:pt>
                <c:pt idx="40195">
                  <c:v>-1.6806722689075499E-3</c:v>
                </c:pt>
                <c:pt idx="40196">
                  <c:v>-1.6806722689075499E-3</c:v>
                </c:pt>
                <c:pt idx="40197">
                  <c:v>-1.6806722689075499E-3</c:v>
                </c:pt>
                <c:pt idx="40198">
                  <c:v>-8.4033613445377799E-4</c:v>
                </c:pt>
                <c:pt idx="40199">
                  <c:v>-8.4033613445377799E-4</c:v>
                </c:pt>
                <c:pt idx="40200">
                  <c:v>-8.4033613445377799E-4</c:v>
                </c:pt>
                <c:pt idx="40201">
                  <c:v>-8.4033613445377799E-4</c:v>
                </c:pt>
                <c:pt idx="40202">
                  <c:v>-8.4033613445377799E-4</c:v>
                </c:pt>
                <c:pt idx="40203">
                  <c:v>-8.4033613445377799E-4</c:v>
                </c:pt>
                <c:pt idx="40204">
                  <c:v>-8.4033613445377799E-4</c:v>
                </c:pt>
                <c:pt idx="40205">
                  <c:v>-8.4033613445377799E-4</c:v>
                </c:pt>
                <c:pt idx="40206">
                  <c:v>-8.4033613445377799E-4</c:v>
                </c:pt>
                <c:pt idx="40207">
                  <c:v>-8.4033613445377799E-4</c:v>
                </c:pt>
                <c:pt idx="40208">
                  <c:v>-8.4033613445377799E-4</c:v>
                </c:pt>
                <c:pt idx="40209">
                  <c:v>-8.4033613445377799E-4</c:v>
                </c:pt>
                <c:pt idx="40210">
                  <c:v>-8.4033613445377799E-4</c:v>
                </c:pt>
                <c:pt idx="40211">
                  <c:v>-8.4033613445377799E-4</c:v>
                </c:pt>
                <c:pt idx="40212">
                  <c:v>-8.4033613445377799E-4</c:v>
                </c:pt>
                <c:pt idx="40213">
                  <c:v>-8.4033613445377799E-4</c:v>
                </c:pt>
                <c:pt idx="40214">
                  <c:v>-8.4033613445377799E-4</c:v>
                </c:pt>
                <c:pt idx="40215">
                  <c:v>-8.4033613445377799E-4</c:v>
                </c:pt>
                <c:pt idx="40216">
                  <c:v>-8.4033613445377799E-4</c:v>
                </c:pt>
                <c:pt idx="40217">
                  <c:v>-8.4033613445377799E-4</c:v>
                </c:pt>
                <c:pt idx="40218">
                  <c:v>-8.4033613445377799E-4</c:v>
                </c:pt>
                <c:pt idx="40219">
                  <c:v>-8.4033613445377799E-4</c:v>
                </c:pt>
                <c:pt idx="40220">
                  <c:v>-8.4033613445377799E-4</c:v>
                </c:pt>
                <c:pt idx="40221">
                  <c:v>-8.4033613445377799E-4</c:v>
                </c:pt>
                <c:pt idx="40222">
                  <c:v>-8.4033613445377799E-4</c:v>
                </c:pt>
                <c:pt idx="40223">
                  <c:v>-8.4033613445377799E-4</c:v>
                </c:pt>
                <c:pt idx="40224">
                  <c:v>-8.4033613445377799E-4</c:v>
                </c:pt>
                <c:pt idx="40225">
                  <c:v>-8.4033613445377799E-4</c:v>
                </c:pt>
                <c:pt idx="40226">
                  <c:v>-8.4033613445377799E-4</c:v>
                </c:pt>
                <c:pt idx="40227">
                  <c:v>-8.4033613445377799E-4</c:v>
                </c:pt>
                <c:pt idx="40228">
                  <c:v>-8.4033613445377799E-4</c:v>
                </c:pt>
                <c:pt idx="40229">
                  <c:v>-8.4033613445377799E-4</c:v>
                </c:pt>
                <c:pt idx="40230">
                  <c:v>-8.4033613445377799E-4</c:v>
                </c:pt>
                <c:pt idx="40231">
                  <c:v>-8.4033613445377799E-4</c:v>
                </c:pt>
                <c:pt idx="40232">
                  <c:v>-8.4033613445377799E-4</c:v>
                </c:pt>
                <c:pt idx="40233">
                  <c:v>-8.4033613445377799E-4</c:v>
                </c:pt>
                <c:pt idx="40234">
                  <c:v>-8.4033613445377799E-4</c:v>
                </c:pt>
                <c:pt idx="40235">
                  <c:v>-8.4033613445377799E-4</c:v>
                </c:pt>
                <c:pt idx="40236">
                  <c:v>0</c:v>
                </c:pt>
                <c:pt idx="40237">
                  <c:v>0</c:v>
                </c:pt>
                <c:pt idx="40238">
                  <c:v>0</c:v>
                </c:pt>
                <c:pt idx="40239">
                  <c:v>0</c:v>
                </c:pt>
                <c:pt idx="40240">
                  <c:v>0</c:v>
                </c:pt>
                <c:pt idx="40241">
                  <c:v>0</c:v>
                </c:pt>
                <c:pt idx="40242">
                  <c:v>0</c:v>
                </c:pt>
                <c:pt idx="40243">
                  <c:v>0</c:v>
                </c:pt>
                <c:pt idx="40244">
                  <c:v>0</c:v>
                </c:pt>
                <c:pt idx="40245">
                  <c:v>0</c:v>
                </c:pt>
                <c:pt idx="40246">
                  <c:v>0</c:v>
                </c:pt>
                <c:pt idx="40247">
                  <c:v>0</c:v>
                </c:pt>
                <c:pt idx="40248">
                  <c:v>0</c:v>
                </c:pt>
                <c:pt idx="40249">
                  <c:v>0</c:v>
                </c:pt>
                <c:pt idx="40250">
                  <c:v>0</c:v>
                </c:pt>
                <c:pt idx="40251">
                  <c:v>0</c:v>
                </c:pt>
                <c:pt idx="40252">
                  <c:v>0</c:v>
                </c:pt>
                <c:pt idx="40253">
                  <c:v>0</c:v>
                </c:pt>
                <c:pt idx="40254">
                  <c:v>0</c:v>
                </c:pt>
                <c:pt idx="40255">
                  <c:v>0</c:v>
                </c:pt>
                <c:pt idx="40256">
                  <c:v>0</c:v>
                </c:pt>
                <c:pt idx="40257">
                  <c:v>0</c:v>
                </c:pt>
                <c:pt idx="40258">
                  <c:v>0</c:v>
                </c:pt>
                <c:pt idx="40259">
                  <c:v>8.4033613445377799E-4</c:v>
                </c:pt>
                <c:pt idx="40260">
                  <c:v>8.4033613445377799E-4</c:v>
                </c:pt>
                <c:pt idx="40261">
                  <c:v>8.4033613445377799E-4</c:v>
                </c:pt>
                <c:pt idx="40262">
                  <c:v>8.4033613445377799E-4</c:v>
                </c:pt>
                <c:pt idx="40263">
                  <c:v>8.4033613445377799E-4</c:v>
                </c:pt>
                <c:pt idx="40264">
                  <c:v>8.4033613445377799E-4</c:v>
                </c:pt>
                <c:pt idx="40265">
                  <c:v>8.4033613445377799E-4</c:v>
                </c:pt>
                <c:pt idx="40266">
                  <c:v>8.4033613445377799E-4</c:v>
                </c:pt>
                <c:pt idx="40267">
                  <c:v>8.4033613445377799E-4</c:v>
                </c:pt>
                <c:pt idx="40268">
                  <c:v>8.4033613445377799E-4</c:v>
                </c:pt>
                <c:pt idx="40269">
                  <c:v>0</c:v>
                </c:pt>
                <c:pt idx="40270">
                  <c:v>0</c:v>
                </c:pt>
                <c:pt idx="40271">
                  <c:v>0</c:v>
                </c:pt>
                <c:pt idx="40272">
                  <c:v>0</c:v>
                </c:pt>
                <c:pt idx="40273">
                  <c:v>0</c:v>
                </c:pt>
                <c:pt idx="40274">
                  <c:v>0</c:v>
                </c:pt>
                <c:pt idx="40275">
                  <c:v>0</c:v>
                </c:pt>
                <c:pt idx="40276">
                  <c:v>0</c:v>
                </c:pt>
                <c:pt idx="40277">
                  <c:v>0</c:v>
                </c:pt>
                <c:pt idx="40278">
                  <c:v>0</c:v>
                </c:pt>
                <c:pt idx="40279">
                  <c:v>8.4033613445377799E-4</c:v>
                </c:pt>
                <c:pt idx="40280">
                  <c:v>8.4033613445377799E-4</c:v>
                </c:pt>
                <c:pt idx="40281">
                  <c:v>8.4033613445377799E-4</c:v>
                </c:pt>
                <c:pt idx="40282">
                  <c:v>8.4033613445377799E-4</c:v>
                </c:pt>
                <c:pt idx="40283">
                  <c:v>8.4033613445377799E-4</c:v>
                </c:pt>
                <c:pt idx="40284">
                  <c:v>8.4033613445377799E-4</c:v>
                </c:pt>
                <c:pt idx="40285">
                  <c:v>8.4033613445377799E-4</c:v>
                </c:pt>
                <c:pt idx="40286">
                  <c:v>8.4033613445377799E-4</c:v>
                </c:pt>
                <c:pt idx="40287">
                  <c:v>8.4033613445377799E-4</c:v>
                </c:pt>
                <c:pt idx="40288">
                  <c:v>8.4033613445377799E-4</c:v>
                </c:pt>
                <c:pt idx="40289">
                  <c:v>8.4033613445377799E-4</c:v>
                </c:pt>
                <c:pt idx="40290">
                  <c:v>8.4033613445377799E-4</c:v>
                </c:pt>
                <c:pt idx="40291">
                  <c:v>8.4033613445377799E-4</c:v>
                </c:pt>
                <c:pt idx="40292">
                  <c:v>8.4033613445377799E-4</c:v>
                </c:pt>
                <c:pt idx="40293">
                  <c:v>8.4033613445377799E-4</c:v>
                </c:pt>
                <c:pt idx="40294">
                  <c:v>8.4033613445377799E-4</c:v>
                </c:pt>
                <c:pt idx="40295">
                  <c:v>8.4033613445377799E-4</c:v>
                </c:pt>
                <c:pt idx="40296">
                  <c:v>8.4033613445377799E-4</c:v>
                </c:pt>
                <c:pt idx="40297">
                  <c:v>8.4033613445377799E-4</c:v>
                </c:pt>
                <c:pt idx="40298">
                  <c:v>8.4033613445377799E-4</c:v>
                </c:pt>
                <c:pt idx="40299">
                  <c:v>8.4033613445377799E-4</c:v>
                </c:pt>
                <c:pt idx="40300">
                  <c:v>8.4033613445377799E-4</c:v>
                </c:pt>
                <c:pt idx="40301">
                  <c:v>8.4033613445377799E-4</c:v>
                </c:pt>
                <c:pt idx="40302">
                  <c:v>8.4033613445377799E-4</c:v>
                </c:pt>
                <c:pt idx="40303">
                  <c:v>8.4033613445377799E-4</c:v>
                </c:pt>
                <c:pt idx="40304">
                  <c:v>8.4033613445377799E-4</c:v>
                </c:pt>
                <c:pt idx="40305">
                  <c:v>8.4033613445377799E-4</c:v>
                </c:pt>
                <c:pt idx="40306">
                  <c:v>8.4033613445377799E-4</c:v>
                </c:pt>
                <c:pt idx="40307">
                  <c:v>8.4033613445377799E-4</c:v>
                </c:pt>
                <c:pt idx="40308">
                  <c:v>8.4033613445377799E-4</c:v>
                </c:pt>
                <c:pt idx="40309">
                  <c:v>8.4033613445377799E-4</c:v>
                </c:pt>
                <c:pt idx="40310">
                  <c:v>8.4033613445377799E-4</c:v>
                </c:pt>
                <c:pt idx="40311">
                  <c:v>8.4033613445377799E-4</c:v>
                </c:pt>
                <c:pt idx="40312">
                  <c:v>8.4033613445377799E-4</c:v>
                </c:pt>
                <c:pt idx="40313">
                  <c:v>8.4033613445377799E-4</c:v>
                </c:pt>
                <c:pt idx="40314">
                  <c:v>8.4033613445377799E-4</c:v>
                </c:pt>
                <c:pt idx="40315">
                  <c:v>8.4033613445377799E-4</c:v>
                </c:pt>
                <c:pt idx="40316">
                  <c:v>8.4033613445377799E-4</c:v>
                </c:pt>
                <c:pt idx="40317">
                  <c:v>8.4033613445377799E-4</c:v>
                </c:pt>
                <c:pt idx="40318">
                  <c:v>8.4033613445377799E-4</c:v>
                </c:pt>
                <c:pt idx="40319">
                  <c:v>8.4033613445377799E-4</c:v>
                </c:pt>
                <c:pt idx="40320">
                  <c:v>8.4033613445377799E-4</c:v>
                </c:pt>
                <c:pt idx="40321">
                  <c:v>8.4033613445377799E-4</c:v>
                </c:pt>
                <c:pt idx="40322">
                  <c:v>8.4033613445377799E-4</c:v>
                </c:pt>
                <c:pt idx="40323">
                  <c:v>8.4033613445377799E-4</c:v>
                </c:pt>
                <c:pt idx="40324">
                  <c:v>8.4033613445377799E-4</c:v>
                </c:pt>
                <c:pt idx="40325">
                  <c:v>8.4033613445377799E-4</c:v>
                </c:pt>
                <c:pt idx="40326">
                  <c:v>8.4033613445377799E-4</c:v>
                </c:pt>
                <c:pt idx="40327">
                  <c:v>8.4033613445377799E-4</c:v>
                </c:pt>
                <c:pt idx="40328">
                  <c:v>0</c:v>
                </c:pt>
                <c:pt idx="40329">
                  <c:v>0</c:v>
                </c:pt>
                <c:pt idx="40330">
                  <c:v>0</c:v>
                </c:pt>
                <c:pt idx="40331">
                  <c:v>0</c:v>
                </c:pt>
                <c:pt idx="40332">
                  <c:v>0</c:v>
                </c:pt>
                <c:pt idx="40333">
                  <c:v>0</c:v>
                </c:pt>
                <c:pt idx="40334">
                  <c:v>0</c:v>
                </c:pt>
                <c:pt idx="40335">
                  <c:v>0</c:v>
                </c:pt>
                <c:pt idx="40336">
                  <c:v>0</c:v>
                </c:pt>
                <c:pt idx="40337">
                  <c:v>0</c:v>
                </c:pt>
                <c:pt idx="40338">
                  <c:v>0</c:v>
                </c:pt>
                <c:pt idx="40339">
                  <c:v>0</c:v>
                </c:pt>
                <c:pt idx="40340">
                  <c:v>0</c:v>
                </c:pt>
                <c:pt idx="40341">
                  <c:v>0</c:v>
                </c:pt>
                <c:pt idx="40342">
                  <c:v>0</c:v>
                </c:pt>
                <c:pt idx="40343">
                  <c:v>0</c:v>
                </c:pt>
                <c:pt idx="40344">
                  <c:v>0</c:v>
                </c:pt>
                <c:pt idx="40345">
                  <c:v>0</c:v>
                </c:pt>
                <c:pt idx="40346">
                  <c:v>0</c:v>
                </c:pt>
                <c:pt idx="40347">
                  <c:v>0</c:v>
                </c:pt>
                <c:pt idx="40348">
                  <c:v>0</c:v>
                </c:pt>
                <c:pt idx="40349">
                  <c:v>0</c:v>
                </c:pt>
                <c:pt idx="40350">
                  <c:v>0</c:v>
                </c:pt>
                <c:pt idx="40351">
                  <c:v>0</c:v>
                </c:pt>
                <c:pt idx="40352">
                  <c:v>0</c:v>
                </c:pt>
                <c:pt idx="40353">
                  <c:v>0</c:v>
                </c:pt>
                <c:pt idx="40354">
                  <c:v>0</c:v>
                </c:pt>
                <c:pt idx="40355">
                  <c:v>0</c:v>
                </c:pt>
                <c:pt idx="40356">
                  <c:v>0</c:v>
                </c:pt>
                <c:pt idx="40357">
                  <c:v>0</c:v>
                </c:pt>
                <c:pt idx="40358">
                  <c:v>0</c:v>
                </c:pt>
                <c:pt idx="40359">
                  <c:v>0</c:v>
                </c:pt>
                <c:pt idx="40360">
                  <c:v>0</c:v>
                </c:pt>
                <c:pt idx="40361">
                  <c:v>0</c:v>
                </c:pt>
                <c:pt idx="40362">
                  <c:v>0</c:v>
                </c:pt>
                <c:pt idx="40363">
                  <c:v>0</c:v>
                </c:pt>
                <c:pt idx="40364">
                  <c:v>0</c:v>
                </c:pt>
                <c:pt idx="40365">
                  <c:v>0</c:v>
                </c:pt>
                <c:pt idx="40366">
                  <c:v>0</c:v>
                </c:pt>
                <c:pt idx="40367">
                  <c:v>0</c:v>
                </c:pt>
                <c:pt idx="40368">
                  <c:v>0</c:v>
                </c:pt>
                <c:pt idx="40369">
                  <c:v>0</c:v>
                </c:pt>
                <c:pt idx="40370">
                  <c:v>0</c:v>
                </c:pt>
                <c:pt idx="40371">
                  <c:v>0</c:v>
                </c:pt>
                <c:pt idx="40372">
                  <c:v>0</c:v>
                </c:pt>
                <c:pt idx="40373">
                  <c:v>0</c:v>
                </c:pt>
                <c:pt idx="40374">
                  <c:v>0</c:v>
                </c:pt>
                <c:pt idx="40375">
                  <c:v>0</c:v>
                </c:pt>
                <c:pt idx="40376">
                  <c:v>0</c:v>
                </c:pt>
                <c:pt idx="40377">
                  <c:v>0</c:v>
                </c:pt>
                <c:pt idx="40378">
                  <c:v>0</c:v>
                </c:pt>
                <c:pt idx="40379">
                  <c:v>0</c:v>
                </c:pt>
                <c:pt idx="40380">
                  <c:v>0</c:v>
                </c:pt>
                <c:pt idx="40381">
                  <c:v>0</c:v>
                </c:pt>
                <c:pt idx="40382">
                  <c:v>0</c:v>
                </c:pt>
                <c:pt idx="40383">
                  <c:v>0</c:v>
                </c:pt>
                <c:pt idx="40384">
                  <c:v>0</c:v>
                </c:pt>
                <c:pt idx="40385">
                  <c:v>0</c:v>
                </c:pt>
                <c:pt idx="40386">
                  <c:v>0</c:v>
                </c:pt>
                <c:pt idx="40387">
                  <c:v>0</c:v>
                </c:pt>
                <c:pt idx="40388">
                  <c:v>0</c:v>
                </c:pt>
                <c:pt idx="40389">
                  <c:v>0</c:v>
                </c:pt>
                <c:pt idx="40390">
                  <c:v>0</c:v>
                </c:pt>
                <c:pt idx="40391">
                  <c:v>0</c:v>
                </c:pt>
                <c:pt idx="40392">
                  <c:v>0</c:v>
                </c:pt>
                <c:pt idx="40393">
                  <c:v>0</c:v>
                </c:pt>
                <c:pt idx="40394">
                  <c:v>0</c:v>
                </c:pt>
                <c:pt idx="40395">
                  <c:v>0</c:v>
                </c:pt>
                <c:pt idx="40396">
                  <c:v>0</c:v>
                </c:pt>
                <c:pt idx="40397">
                  <c:v>0</c:v>
                </c:pt>
                <c:pt idx="40398">
                  <c:v>0</c:v>
                </c:pt>
                <c:pt idx="40399">
                  <c:v>0</c:v>
                </c:pt>
                <c:pt idx="40400">
                  <c:v>0</c:v>
                </c:pt>
                <c:pt idx="40401">
                  <c:v>0</c:v>
                </c:pt>
                <c:pt idx="40402">
                  <c:v>0</c:v>
                </c:pt>
                <c:pt idx="40403">
                  <c:v>0</c:v>
                </c:pt>
                <c:pt idx="40404">
                  <c:v>0</c:v>
                </c:pt>
                <c:pt idx="40405">
                  <c:v>0</c:v>
                </c:pt>
                <c:pt idx="40406">
                  <c:v>0</c:v>
                </c:pt>
                <c:pt idx="40407">
                  <c:v>0</c:v>
                </c:pt>
                <c:pt idx="40408">
                  <c:v>0</c:v>
                </c:pt>
                <c:pt idx="40409">
                  <c:v>0</c:v>
                </c:pt>
                <c:pt idx="40410">
                  <c:v>0</c:v>
                </c:pt>
                <c:pt idx="40411">
                  <c:v>0</c:v>
                </c:pt>
                <c:pt idx="40412">
                  <c:v>0</c:v>
                </c:pt>
                <c:pt idx="40413">
                  <c:v>0</c:v>
                </c:pt>
                <c:pt idx="40414">
                  <c:v>0</c:v>
                </c:pt>
                <c:pt idx="40415">
                  <c:v>0</c:v>
                </c:pt>
                <c:pt idx="40416">
                  <c:v>0</c:v>
                </c:pt>
                <c:pt idx="40417">
                  <c:v>0</c:v>
                </c:pt>
                <c:pt idx="40418">
                  <c:v>0</c:v>
                </c:pt>
                <c:pt idx="40419">
                  <c:v>0</c:v>
                </c:pt>
                <c:pt idx="40420">
                  <c:v>0</c:v>
                </c:pt>
                <c:pt idx="40421">
                  <c:v>0</c:v>
                </c:pt>
                <c:pt idx="40422">
                  <c:v>0</c:v>
                </c:pt>
                <c:pt idx="40423">
                  <c:v>0</c:v>
                </c:pt>
                <c:pt idx="40424">
                  <c:v>0</c:v>
                </c:pt>
                <c:pt idx="40425">
                  <c:v>0</c:v>
                </c:pt>
                <c:pt idx="40426">
                  <c:v>0</c:v>
                </c:pt>
                <c:pt idx="40427">
                  <c:v>0</c:v>
                </c:pt>
                <c:pt idx="40428">
                  <c:v>0</c:v>
                </c:pt>
                <c:pt idx="40429">
                  <c:v>0</c:v>
                </c:pt>
                <c:pt idx="40430">
                  <c:v>0</c:v>
                </c:pt>
                <c:pt idx="40431">
                  <c:v>0</c:v>
                </c:pt>
                <c:pt idx="40432">
                  <c:v>0</c:v>
                </c:pt>
                <c:pt idx="40433">
                  <c:v>0</c:v>
                </c:pt>
                <c:pt idx="40434">
                  <c:v>0</c:v>
                </c:pt>
                <c:pt idx="40435">
                  <c:v>0</c:v>
                </c:pt>
                <c:pt idx="40436">
                  <c:v>0</c:v>
                </c:pt>
                <c:pt idx="40437">
                  <c:v>0</c:v>
                </c:pt>
                <c:pt idx="40438">
                  <c:v>0</c:v>
                </c:pt>
                <c:pt idx="40439">
                  <c:v>0</c:v>
                </c:pt>
                <c:pt idx="40440">
                  <c:v>-8.4033613445377799E-4</c:v>
                </c:pt>
                <c:pt idx="40441">
                  <c:v>-8.4033613445377799E-4</c:v>
                </c:pt>
                <c:pt idx="40442">
                  <c:v>-8.4033613445377799E-4</c:v>
                </c:pt>
                <c:pt idx="40443">
                  <c:v>-8.4033613445377799E-4</c:v>
                </c:pt>
                <c:pt idx="40444">
                  <c:v>-8.4033613445377799E-4</c:v>
                </c:pt>
                <c:pt idx="40445">
                  <c:v>-8.4033613445377799E-4</c:v>
                </c:pt>
                <c:pt idx="40446">
                  <c:v>-8.4033613445377799E-4</c:v>
                </c:pt>
                <c:pt idx="40447">
                  <c:v>-8.4033613445377799E-4</c:v>
                </c:pt>
                <c:pt idx="40448">
                  <c:v>-8.4033613445377799E-4</c:v>
                </c:pt>
                <c:pt idx="40449">
                  <c:v>-8.4033613445377799E-4</c:v>
                </c:pt>
                <c:pt idx="40450">
                  <c:v>-8.4033613445377799E-4</c:v>
                </c:pt>
                <c:pt idx="40451">
                  <c:v>-8.4033613445377799E-4</c:v>
                </c:pt>
                <c:pt idx="40452">
                  <c:v>-8.4033613445377799E-4</c:v>
                </c:pt>
                <c:pt idx="40453">
                  <c:v>-8.4033613445377799E-4</c:v>
                </c:pt>
                <c:pt idx="40454">
                  <c:v>-8.4033613445377799E-4</c:v>
                </c:pt>
                <c:pt idx="40455">
                  <c:v>-8.4033613445377799E-4</c:v>
                </c:pt>
                <c:pt idx="40456">
                  <c:v>-8.4033613445377799E-4</c:v>
                </c:pt>
                <c:pt idx="40457">
                  <c:v>-8.4033613445377799E-4</c:v>
                </c:pt>
                <c:pt idx="40458">
                  <c:v>-8.4033613445377799E-4</c:v>
                </c:pt>
                <c:pt idx="40459">
                  <c:v>-8.4033613445377799E-4</c:v>
                </c:pt>
                <c:pt idx="40460">
                  <c:v>-8.4033613445377799E-4</c:v>
                </c:pt>
                <c:pt idx="40461">
                  <c:v>-8.4033613445377799E-4</c:v>
                </c:pt>
                <c:pt idx="40462">
                  <c:v>-8.4033613445377799E-4</c:v>
                </c:pt>
                <c:pt idx="40463">
                  <c:v>-8.4033613445377799E-4</c:v>
                </c:pt>
                <c:pt idx="40464">
                  <c:v>-8.4033613445377799E-4</c:v>
                </c:pt>
                <c:pt idx="40465">
                  <c:v>-8.4033613445377799E-4</c:v>
                </c:pt>
                <c:pt idx="40466">
                  <c:v>-8.4033613445377799E-4</c:v>
                </c:pt>
                <c:pt idx="40467">
                  <c:v>-8.4033613445377799E-4</c:v>
                </c:pt>
                <c:pt idx="40468">
                  <c:v>-8.4033613445377799E-4</c:v>
                </c:pt>
                <c:pt idx="40469">
                  <c:v>-8.4033613445377799E-4</c:v>
                </c:pt>
                <c:pt idx="40470">
                  <c:v>-8.4033613445377799E-4</c:v>
                </c:pt>
                <c:pt idx="40471">
                  <c:v>-8.4033613445377799E-4</c:v>
                </c:pt>
                <c:pt idx="40472">
                  <c:v>-8.4033613445377799E-4</c:v>
                </c:pt>
                <c:pt idx="40473">
                  <c:v>-8.4033613445377799E-4</c:v>
                </c:pt>
                <c:pt idx="40474">
                  <c:v>-8.4033613445377799E-4</c:v>
                </c:pt>
                <c:pt idx="40475">
                  <c:v>-8.4033613445377799E-4</c:v>
                </c:pt>
                <c:pt idx="40476">
                  <c:v>-8.4033613445377799E-4</c:v>
                </c:pt>
                <c:pt idx="40477">
                  <c:v>-8.4033613445377799E-4</c:v>
                </c:pt>
                <c:pt idx="40478">
                  <c:v>-8.4033613445377799E-4</c:v>
                </c:pt>
                <c:pt idx="40479">
                  <c:v>-8.4033613445377799E-4</c:v>
                </c:pt>
                <c:pt idx="40480">
                  <c:v>-8.4033613445377799E-4</c:v>
                </c:pt>
                <c:pt idx="40481">
                  <c:v>-8.4033613445377799E-4</c:v>
                </c:pt>
                <c:pt idx="40482">
                  <c:v>-8.4033613445377799E-4</c:v>
                </c:pt>
                <c:pt idx="40483">
                  <c:v>-8.4033613445377799E-4</c:v>
                </c:pt>
                <c:pt idx="40484">
                  <c:v>-8.4033613445377799E-4</c:v>
                </c:pt>
                <c:pt idx="40485">
                  <c:v>-8.4033613445377799E-4</c:v>
                </c:pt>
                <c:pt idx="40486">
                  <c:v>-8.4033613445377799E-4</c:v>
                </c:pt>
                <c:pt idx="40487">
                  <c:v>-8.4033613445377799E-4</c:v>
                </c:pt>
                <c:pt idx="40488">
                  <c:v>-8.4033613445377799E-4</c:v>
                </c:pt>
                <c:pt idx="40489">
                  <c:v>-8.4033613445377799E-4</c:v>
                </c:pt>
                <c:pt idx="40490">
                  <c:v>-8.4033613445377799E-4</c:v>
                </c:pt>
                <c:pt idx="40491">
                  <c:v>-8.4033613445377799E-4</c:v>
                </c:pt>
                <c:pt idx="40492">
                  <c:v>-8.4033613445377799E-4</c:v>
                </c:pt>
                <c:pt idx="40493">
                  <c:v>-8.4033613445377799E-4</c:v>
                </c:pt>
                <c:pt idx="40494">
                  <c:v>-8.4033613445377799E-4</c:v>
                </c:pt>
                <c:pt idx="40495">
                  <c:v>-8.4033613445377799E-4</c:v>
                </c:pt>
                <c:pt idx="40496">
                  <c:v>-8.4033613445377799E-4</c:v>
                </c:pt>
                <c:pt idx="40497">
                  <c:v>-8.4033613445377799E-4</c:v>
                </c:pt>
                <c:pt idx="40498">
                  <c:v>-8.4033613445377799E-4</c:v>
                </c:pt>
                <c:pt idx="40499">
                  <c:v>-8.4033613445377799E-4</c:v>
                </c:pt>
                <c:pt idx="40500">
                  <c:v>-8.4033613445377799E-4</c:v>
                </c:pt>
                <c:pt idx="40501">
                  <c:v>-8.4033613445377799E-4</c:v>
                </c:pt>
                <c:pt idx="40502">
                  <c:v>-8.4033613445377799E-4</c:v>
                </c:pt>
                <c:pt idx="40503">
                  <c:v>-8.4033613445377799E-4</c:v>
                </c:pt>
                <c:pt idx="40504">
                  <c:v>-8.4033613445377799E-4</c:v>
                </c:pt>
                <c:pt idx="40505">
                  <c:v>-8.4033613445377799E-4</c:v>
                </c:pt>
                <c:pt idx="40506">
                  <c:v>-8.4033613445377799E-4</c:v>
                </c:pt>
                <c:pt idx="40507">
                  <c:v>-8.4033613445377799E-4</c:v>
                </c:pt>
                <c:pt idx="40508">
                  <c:v>-8.4033613445377799E-4</c:v>
                </c:pt>
                <c:pt idx="40509">
                  <c:v>-8.4033613445377799E-4</c:v>
                </c:pt>
                <c:pt idx="40510">
                  <c:v>-8.4033613445377799E-4</c:v>
                </c:pt>
                <c:pt idx="40511">
                  <c:v>-8.4033613445377799E-4</c:v>
                </c:pt>
                <c:pt idx="40512">
                  <c:v>-8.4033613445377799E-4</c:v>
                </c:pt>
                <c:pt idx="40513">
                  <c:v>-8.4033613445377799E-4</c:v>
                </c:pt>
                <c:pt idx="40514">
                  <c:v>-8.4033613445377799E-4</c:v>
                </c:pt>
                <c:pt idx="40515">
                  <c:v>-8.4033613445377799E-4</c:v>
                </c:pt>
                <c:pt idx="40516">
                  <c:v>-8.4033613445377799E-4</c:v>
                </c:pt>
                <c:pt idx="40517">
                  <c:v>-8.4033613445377799E-4</c:v>
                </c:pt>
                <c:pt idx="40518">
                  <c:v>-8.4033613445377799E-4</c:v>
                </c:pt>
                <c:pt idx="40519">
                  <c:v>-8.4033613445377799E-4</c:v>
                </c:pt>
                <c:pt idx="40520">
                  <c:v>-8.4033613445377799E-4</c:v>
                </c:pt>
                <c:pt idx="40521">
                  <c:v>-8.4033613445377799E-4</c:v>
                </c:pt>
                <c:pt idx="40522">
                  <c:v>-8.4033613445377799E-4</c:v>
                </c:pt>
                <c:pt idx="40523">
                  <c:v>-8.4033613445377799E-4</c:v>
                </c:pt>
                <c:pt idx="40524">
                  <c:v>-8.4033613445377799E-4</c:v>
                </c:pt>
                <c:pt idx="40525">
                  <c:v>-8.4033613445377799E-4</c:v>
                </c:pt>
                <c:pt idx="40526">
                  <c:v>-8.4033613445377799E-4</c:v>
                </c:pt>
                <c:pt idx="40527">
                  <c:v>-8.4033613445377799E-4</c:v>
                </c:pt>
                <c:pt idx="40528">
                  <c:v>-8.4033613445377799E-4</c:v>
                </c:pt>
                <c:pt idx="40529">
                  <c:v>-8.4033613445377799E-4</c:v>
                </c:pt>
                <c:pt idx="40530">
                  <c:v>-8.4033613445377799E-4</c:v>
                </c:pt>
                <c:pt idx="40531">
                  <c:v>-8.4033613445377799E-4</c:v>
                </c:pt>
                <c:pt idx="40532">
                  <c:v>-8.4033613445377799E-4</c:v>
                </c:pt>
                <c:pt idx="40533">
                  <c:v>-8.4033613445377799E-4</c:v>
                </c:pt>
                <c:pt idx="40534">
                  <c:v>-8.4033613445377799E-4</c:v>
                </c:pt>
                <c:pt idx="40535">
                  <c:v>-8.4033613445377799E-4</c:v>
                </c:pt>
                <c:pt idx="40536">
                  <c:v>-8.4033613445377799E-4</c:v>
                </c:pt>
                <c:pt idx="40537">
                  <c:v>-8.4033613445377799E-4</c:v>
                </c:pt>
                <c:pt idx="40538">
                  <c:v>-8.4033613445377799E-4</c:v>
                </c:pt>
                <c:pt idx="40539">
                  <c:v>-8.4033613445377799E-4</c:v>
                </c:pt>
                <c:pt idx="40540">
                  <c:v>-8.4033613445377799E-4</c:v>
                </c:pt>
                <c:pt idx="40541">
                  <c:v>-8.4033613445377799E-4</c:v>
                </c:pt>
                <c:pt idx="40542">
                  <c:v>-8.4033613445377799E-4</c:v>
                </c:pt>
                <c:pt idx="40543">
                  <c:v>-8.4033613445377799E-4</c:v>
                </c:pt>
                <c:pt idx="40544">
                  <c:v>-8.4033613445377799E-4</c:v>
                </c:pt>
                <c:pt idx="40545">
                  <c:v>-8.4033613445377799E-4</c:v>
                </c:pt>
                <c:pt idx="40546">
                  <c:v>-8.4033613445377799E-4</c:v>
                </c:pt>
                <c:pt idx="40547">
                  <c:v>-8.4033613445377799E-4</c:v>
                </c:pt>
                <c:pt idx="40548">
                  <c:v>-8.4033613445377799E-4</c:v>
                </c:pt>
                <c:pt idx="40549">
                  <c:v>-8.4033613445377799E-4</c:v>
                </c:pt>
                <c:pt idx="40550">
                  <c:v>-8.4033613445377799E-4</c:v>
                </c:pt>
                <c:pt idx="40551">
                  <c:v>-8.4033613445377799E-4</c:v>
                </c:pt>
                <c:pt idx="40552">
                  <c:v>-8.4033613445377799E-4</c:v>
                </c:pt>
                <c:pt idx="40553">
                  <c:v>-8.4033613445377799E-4</c:v>
                </c:pt>
                <c:pt idx="40554">
                  <c:v>-8.4033613445377799E-4</c:v>
                </c:pt>
                <c:pt idx="40555">
                  <c:v>-8.4033613445377799E-4</c:v>
                </c:pt>
                <c:pt idx="40556">
                  <c:v>-8.4033613445377799E-4</c:v>
                </c:pt>
                <c:pt idx="40557">
                  <c:v>-8.4033613445377799E-4</c:v>
                </c:pt>
                <c:pt idx="40558">
                  <c:v>-8.4033613445377799E-4</c:v>
                </c:pt>
                <c:pt idx="40559">
                  <c:v>-8.4033613445377799E-4</c:v>
                </c:pt>
                <c:pt idx="40560">
                  <c:v>-8.4033613445377799E-4</c:v>
                </c:pt>
                <c:pt idx="40561">
                  <c:v>-8.4033613445377799E-4</c:v>
                </c:pt>
                <c:pt idx="40562">
                  <c:v>-8.4033613445377799E-4</c:v>
                </c:pt>
                <c:pt idx="40563">
                  <c:v>-8.4033613445377799E-4</c:v>
                </c:pt>
                <c:pt idx="40564">
                  <c:v>-8.4033613445377799E-4</c:v>
                </c:pt>
                <c:pt idx="40565">
                  <c:v>-8.4033613445377799E-4</c:v>
                </c:pt>
                <c:pt idx="40566">
                  <c:v>-8.4033613445377799E-4</c:v>
                </c:pt>
                <c:pt idx="40567">
                  <c:v>-8.4033613445377799E-4</c:v>
                </c:pt>
                <c:pt idx="40568">
                  <c:v>-8.4033613445377799E-4</c:v>
                </c:pt>
                <c:pt idx="40569">
                  <c:v>-8.4033613445377799E-4</c:v>
                </c:pt>
                <c:pt idx="40570">
                  <c:v>-8.4033613445377799E-4</c:v>
                </c:pt>
                <c:pt idx="40571">
                  <c:v>-8.4033613445377799E-4</c:v>
                </c:pt>
                <c:pt idx="40572">
                  <c:v>-8.4033613445377799E-4</c:v>
                </c:pt>
                <c:pt idx="40573">
                  <c:v>-8.4033613445377799E-4</c:v>
                </c:pt>
                <c:pt idx="40574">
                  <c:v>-8.4033613445377799E-4</c:v>
                </c:pt>
                <c:pt idx="40575">
                  <c:v>-8.4033613445377799E-4</c:v>
                </c:pt>
                <c:pt idx="40576">
                  <c:v>-8.4033613445377799E-4</c:v>
                </c:pt>
                <c:pt idx="40577">
                  <c:v>-8.4033613445377799E-4</c:v>
                </c:pt>
                <c:pt idx="40578">
                  <c:v>-8.4033613445377799E-4</c:v>
                </c:pt>
                <c:pt idx="40579">
                  <c:v>-8.4033613445377799E-4</c:v>
                </c:pt>
                <c:pt idx="40580">
                  <c:v>-8.4033613445377799E-4</c:v>
                </c:pt>
                <c:pt idx="40581">
                  <c:v>-8.4033613445377799E-4</c:v>
                </c:pt>
                <c:pt idx="40582">
                  <c:v>-8.4033613445377799E-4</c:v>
                </c:pt>
                <c:pt idx="40583">
                  <c:v>-8.4033613445377799E-4</c:v>
                </c:pt>
                <c:pt idx="40584">
                  <c:v>-8.4033613445377799E-4</c:v>
                </c:pt>
                <c:pt idx="40585">
                  <c:v>-8.4033613445377799E-4</c:v>
                </c:pt>
                <c:pt idx="40586">
                  <c:v>-8.4033613445377799E-4</c:v>
                </c:pt>
                <c:pt idx="40587">
                  <c:v>-8.4033613445377799E-4</c:v>
                </c:pt>
                <c:pt idx="40588">
                  <c:v>-8.4033613445377799E-4</c:v>
                </c:pt>
                <c:pt idx="40589">
                  <c:v>-8.4033613445377799E-4</c:v>
                </c:pt>
                <c:pt idx="40590">
                  <c:v>-8.4033613445377799E-4</c:v>
                </c:pt>
                <c:pt idx="40591">
                  <c:v>-8.4033613445377799E-4</c:v>
                </c:pt>
                <c:pt idx="40592">
                  <c:v>-8.4033613445377799E-4</c:v>
                </c:pt>
                <c:pt idx="40593">
                  <c:v>-8.4033613445377799E-4</c:v>
                </c:pt>
                <c:pt idx="40594">
                  <c:v>-8.4033613445377799E-4</c:v>
                </c:pt>
                <c:pt idx="40595">
                  <c:v>-8.4033613445377799E-4</c:v>
                </c:pt>
                <c:pt idx="40596">
                  <c:v>-8.4033613445377799E-4</c:v>
                </c:pt>
                <c:pt idx="40597">
                  <c:v>-8.4033613445377799E-4</c:v>
                </c:pt>
                <c:pt idx="40598">
                  <c:v>-8.4033613445377799E-4</c:v>
                </c:pt>
                <c:pt idx="40599">
                  <c:v>-8.4033613445377799E-4</c:v>
                </c:pt>
                <c:pt idx="40600">
                  <c:v>-8.4033613445377799E-4</c:v>
                </c:pt>
                <c:pt idx="40601">
                  <c:v>-8.4033613445377799E-4</c:v>
                </c:pt>
                <c:pt idx="40602">
                  <c:v>-8.4033613445377799E-4</c:v>
                </c:pt>
                <c:pt idx="40603">
                  <c:v>-8.4033613445377799E-4</c:v>
                </c:pt>
                <c:pt idx="40604">
                  <c:v>-8.4033613445377799E-4</c:v>
                </c:pt>
                <c:pt idx="40605">
                  <c:v>-8.4033613445377799E-4</c:v>
                </c:pt>
                <c:pt idx="40606">
                  <c:v>-8.4033613445377799E-4</c:v>
                </c:pt>
                <c:pt idx="40607">
                  <c:v>-8.4033613445377799E-4</c:v>
                </c:pt>
                <c:pt idx="40608">
                  <c:v>-8.4033613445377799E-4</c:v>
                </c:pt>
                <c:pt idx="40609">
                  <c:v>-8.4033613445377799E-4</c:v>
                </c:pt>
                <c:pt idx="40610">
                  <c:v>-8.4033613445377799E-4</c:v>
                </c:pt>
                <c:pt idx="40611">
                  <c:v>-8.4033613445377799E-4</c:v>
                </c:pt>
                <c:pt idx="40612">
                  <c:v>-8.4033613445377799E-4</c:v>
                </c:pt>
                <c:pt idx="40613">
                  <c:v>-8.4033613445377799E-4</c:v>
                </c:pt>
                <c:pt idx="40614">
                  <c:v>-8.4033613445377799E-4</c:v>
                </c:pt>
                <c:pt idx="40615">
                  <c:v>-8.4033613445377799E-4</c:v>
                </c:pt>
                <c:pt idx="40616">
                  <c:v>-8.4033613445377799E-4</c:v>
                </c:pt>
                <c:pt idx="40617">
                  <c:v>-8.4033613445377799E-4</c:v>
                </c:pt>
                <c:pt idx="40618">
                  <c:v>-8.4033613445377799E-4</c:v>
                </c:pt>
                <c:pt idx="40619">
                  <c:v>-8.4033613445377799E-4</c:v>
                </c:pt>
                <c:pt idx="40620">
                  <c:v>-8.4033613445377799E-4</c:v>
                </c:pt>
                <c:pt idx="40621">
                  <c:v>-8.4033613445377799E-4</c:v>
                </c:pt>
                <c:pt idx="40622">
                  <c:v>-8.4033613445377799E-4</c:v>
                </c:pt>
                <c:pt idx="40623">
                  <c:v>-8.4033613445377799E-4</c:v>
                </c:pt>
                <c:pt idx="40624">
                  <c:v>-8.4033613445377799E-4</c:v>
                </c:pt>
                <c:pt idx="40625">
                  <c:v>-8.4033613445377799E-4</c:v>
                </c:pt>
                <c:pt idx="40626">
                  <c:v>-8.4033613445377799E-4</c:v>
                </c:pt>
                <c:pt idx="40627">
                  <c:v>-8.4033613445377799E-4</c:v>
                </c:pt>
                <c:pt idx="40628">
                  <c:v>-8.4033613445377799E-4</c:v>
                </c:pt>
                <c:pt idx="40629">
                  <c:v>-8.4033613445377799E-4</c:v>
                </c:pt>
                <c:pt idx="40630">
                  <c:v>-8.4033613445377799E-4</c:v>
                </c:pt>
                <c:pt idx="40631">
                  <c:v>-8.4033613445377799E-4</c:v>
                </c:pt>
                <c:pt idx="40632">
                  <c:v>-8.4033613445377799E-4</c:v>
                </c:pt>
                <c:pt idx="40633">
                  <c:v>-8.4033613445377799E-4</c:v>
                </c:pt>
                <c:pt idx="40634">
                  <c:v>-8.4033613445377799E-4</c:v>
                </c:pt>
                <c:pt idx="40635">
                  <c:v>-8.4033613445377799E-4</c:v>
                </c:pt>
                <c:pt idx="40636">
                  <c:v>-8.4033613445377799E-4</c:v>
                </c:pt>
                <c:pt idx="40637">
                  <c:v>-8.4033613445377799E-4</c:v>
                </c:pt>
                <c:pt idx="40638">
                  <c:v>-8.4033613445377799E-4</c:v>
                </c:pt>
                <c:pt idx="40639">
                  <c:v>-8.4033613445377799E-4</c:v>
                </c:pt>
                <c:pt idx="40640">
                  <c:v>-8.4033613445377799E-4</c:v>
                </c:pt>
                <c:pt idx="40641">
                  <c:v>-8.4033613445377799E-4</c:v>
                </c:pt>
                <c:pt idx="40642">
                  <c:v>-8.4033613445377799E-4</c:v>
                </c:pt>
                <c:pt idx="40643">
                  <c:v>-8.4033613445377799E-4</c:v>
                </c:pt>
                <c:pt idx="40644">
                  <c:v>-8.4033613445377799E-4</c:v>
                </c:pt>
                <c:pt idx="40645">
                  <c:v>-8.4033613445377799E-4</c:v>
                </c:pt>
                <c:pt idx="40646">
                  <c:v>-8.4033613445377799E-4</c:v>
                </c:pt>
                <c:pt idx="40647">
                  <c:v>-8.4033613445377799E-4</c:v>
                </c:pt>
                <c:pt idx="40648">
                  <c:v>-8.4033613445377799E-4</c:v>
                </c:pt>
                <c:pt idx="40649">
                  <c:v>-8.4033613445377799E-4</c:v>
                </c:pt>
                <c:pt idx="40650">
                  <c:v>-8.4033613445377799E-4</c:v>
                </c:pt>
                <c:pt idx="40651">
                  <c:v>-8.4033613445377799E-4</c:v>
                </c:pt>
                <c:pt idx="40652">
                  <c:v>-8.4033613445377799E-4</c:v>
                </c:pt>
                <c:pt idx="40653">
                  <c:v>-8.4033613445377799E-4</c:v>
                </c:pt>
                <c:pt idx="40654">
                  <c:v>-8.4033613445377799E-4</c:v>
                </c:pt>
                <c:pt idx="40655">
                  <c:v>-8.4033613445377799E-4</c:v>
                </c:pt>
                <c:pt idx="40656">
                  <c:v>-1.6806722689075499E-3</c:v>
                </c:pt>
                <c:pt idx="40657">
                  <c:v>-1.6806722689075499E-3</c:v>
                </c:pt>
                <c:pt idx="40658">
                  <c:v>-1.6806722689075499E-3</c:v>
                </c:pt>
                <c:pt idx="40659">
                  <c:v>-1.6806722689075499E-3</c:v>
                </c:pt>
                <c:pt idx="40660">
                  <c:v>-1.6806722689075499E-3</c:v>
                </c:pt>
                <c:pt idx="40661">
                  <c:v>-1.6806722689075499E-3</c:v>
                </c:pt>
                <c:pt idx="40662">
                  <c:v>-2.5210084033613299E-3</c:v>
                </c:pt>
                <c:pt idx="40663">
                  <c:v>-2.5210084033613299E-3</c:v>
                </c:pt>
                <c:pt idx="40664">
                  <c:v>-2.5210084033613299E-3</c:v>
                </c:pt>
                <c:pt idx="40665">
                  <c:v>-2.5210084033613299E-3</c:v>
                </c:pt>
                <c:pt idx="40666">
                  <c:v>-2.5210084033613299E-3</c:v>
                </c:pt>
                <c:pt idx="40667">
                  <c:v>-2.5210084033613299E-3</c:v>
                </c:pt>
                <c:pt idx="40668">
                  <c:v>-2.5210084033613299E-3</c:v>
                </c:pt>
                <c:pt idx="40669">
                  <c:v>-2.5210084033613299E-3</c:v>
                </c:pt>
                <c:pt idx="40670">
                  <c:v>-2.5210084033613299E-3</c:v>
                </c:pt>
                <c:pt idx="40671">
                  <c:v>-2.5210084033613299E-3</c:v>
                </c:pt>
                <c:pt idx="40672">
                  <c:v>-2.5210084033613299E-3</c:v>
                </c:pt>
                <c:pt idx="40673">
                  <c:v>-2.5210084033613299E-3</c:v>
                </c:pt>
                <c:pt idx="40674">
                  <c:v>-2.5210084033613299E-3</c:v>
                </c:pt>
                <c:pt idx="40675">
                  <c:v>-2.5210084033613299E-3</c:v>
                </c:pt>
                <c:pt idx="40676">
                  <c:v>-2.5210084033613299E-3</c:v>
                </c:pt>
                <c:pt idx="40677">
                  <c:v>-2.5210084033613299E-3</c:v>
                </c:pt>
                <c:pt idx="40678">
                  <c:v>-2.5210084033613299E-3</c:v>
                </c:pt>
                <c:pt idx="40679">
                  <c:v>-2.5210084033613299E-3</c:v>
                </c:pt>
                <c:pt idx="40680">
                  <c:v>-2.5210084033613299E-3</c:v>
                </c:pt>
                <c:pt idx="40681">
                  <c:v>-2.5210084033613299E-3</c:v>
                </c:pt>
                <c:pt idx="40682">
                  <c:v>-2.5210084033613299E-3</c:v>
                </c:pt>
                <c:pt idx="40683">
                  <c:v>-2.5210084033613299E-3</c:v>
                </c:pt>
                <c:pt idx="40684">
                  <c:v>-2.5210084033613299E-3</c:v>
                </c:pt>
                <c:pt idx="40685">
                  <c:v>-2.5210084033613299E-3</c:v>
                </c:pt>
                <c:pt idx="40686">
                  <c:v>-2.5210084033613299E-3</c:v>
                </c:pt>
                <c:pt idx="40687">
                  <c:v>-2.5210084033613299E-3</c:v>
                </c:pt>
                <c:pt idx="40688">
                  <c:v>-2.5210084033613299E-3</c:v>
                </c:pt>
                <c:pt idx="40689">
                  <c:v>-2.5210084033613299E-3</c:v>
                </c:pt>
                <c:pt idx="40690">
                  <c:v>-2.5210084033613299E-3</c:v>
                </c:pt>
                <c:pt idx="40691">
                  <c:v>-2.5210084033613299E-3</c:v>
                </c:pt>
                <c:pt idx="40692">
                  <c:v>-2.5210084033613299E-3</c:v>
                </c:pt>
                <c:pt idx="40693">
                  <c:v>-2.5210084033613299E-3</c:v>
                </c:pt>
                <c:pt idx="40694">
                  <c:v>-2.5210084033613299E-3</c:v>
                </c:pt>
                <c:pt idx="40695">
                  <c:v>-2.5210084033613299E-3</c:v>
                </c:pt>
                <c:pt idx="40696">
                  <c:v>-2.5210084033613299E-3</c:v>
                </c:pt>
                <c:pt idx="40697">
                  <c:v>-2.5210084033613299E-3</c:v>
                </c:pt>
                <c:pt idx="40698">
                  <c:v>-2.5210084033613299E-3</c:v>
                </c:pt>
                <c:pt idx="40699">
                  <c:v>-2.5210084033613299E-3</c:v>
                </c:pt>
                <c:pt idx="40700">
                  <c:v>-2.5210084033613299E-3</c:v>
                </c:pt>
                <c:pt idx="40701">
                  <c:v>-2.5210084033613299E-3</c:v>
                </c:pt>
                <c:pt idx="40702">
                  <c:v>-1.6806722689075499E-3</c:v>
                </c:pt>
                <c:pt idx="40703">
                  <c:v>-1.6806722689075499E-3</c:v>
                </c:pt>
                <c:pt idx="40704">
                  <c:v>-1.6806722689075499E-3</c:v>
                </c:pt>
                <c:pt idx="40705">
                  <c:v>-1.6806722689075499E-3</c:v>
                </c:pt>
                <c:pt idx="40706">
                  <c:v>-1.6806722689075499E-3</c:v>
                </c:pt>
                <c:pt idx="40707">
                  <c:v>-1.6806722689075499E-3</c:v>
                </c:pt>
                <c:pt idx="40708">
                  <c:v>-1.6806722689075499E-3</c:v>
                </c:pt>
                <c:pt idx="40709">
                  <c:v>-1.6806722689075499E-3</c:v>
                </c:pt>
                <c:pt idx="40710">
                  <c:v>-1.6806722689075499E-3</c:v>
                </c:pt>
                <c:pt idx="40711">
                  <c:v>-1.6806722689075499E-3</c:v>
                </c:pt>
                <c:pt idx="40712">
                  <c:v>-1.6806722689075499E-3</c:v>
                </c:pt>
                <c:pt idx="40713">
                  <c:v>-1.6806722689075499E-3</c:v>
                </c:pt>
                <c:pt idx="40714">
                  <c:v>-1.6806722689075499E-3</c:v>
                </c:pt>
                <c:pt idx="40715">
                  <c:v>-1.6806722689075499E-3</c:v>
                </c:pt>
                <c:pt idx="40716">
                  <c:v>-1.6806722689075499E-3</c:v>
                </c:pt>
                <c:pt idx="40717">
                  <c:v>-1.6806722689075499E-3</c:v>
                </c:pt>
                <c:pt idx="40718">
                  <c:v>-1.6806722689075499E-3</c:v>
                </c:pt>
                <c:pt idx="40719">
                  <c:v>-1.6806722689075499E-3</c:v>
                </c:pt>
                <c:pt idx="40720">
                  <c:v>-1.6806722689075499E-3</c:v>
                </c:pt>
                <c:pt idx="40721">
                  <c:v>-1.6806722689075499E-3</c:v>
                </c:pt>
                <c:pt idx="40722">
                  <c:v>-1.6806722689075499E-3</c:v>
                </c:pt>
                <c:pt idx="40723">
                  <c:v>-1.6806722689075499E-3</c:v>
                </c:pt>
                <c:pt idx="40724">
                  <c:v>-1.6806722689075499E-3</c:v>
                </c:pt>
                <c:pt idx="40725">
                  <c:v>-1.6806722689075499E-3</c:v>
                </c:pt>
                <c:pt idx="40726">
                  <c:v>-1.6806722689075499E-3</c:v>
                </c:pt>
                <c:pt idx="40727">
                  <c:v>-1.6806722689075499E-3</c:v>
                </c:pt>
                <c:pt idx="40728">
                  <c:v>-1.6806722689075499E-3</c:v>
                </c:pt>
                <c:pt idx="40729">
                  <c:v>-1.6806722689075499E-3</c:v>
                </c:pt>
                <c:pt idx="40730">
                  <c:v>-1.6806722689075499E-3</c:v>
                </c:pt>
                <c:pt idx="40731">
                  <c:v>-1.6806722689075499E-3</c:v>
                </c:pt>
                <c:pt idx="40732">
                  <c:v>-1.6806722689075499E-3</c:v>
                </c:pt>
                <c:pt idx="40733">
                  <c:v>-1.6806722689075499E-3</c:v>
                </c:pt>
                <c:pt idx="40734">
                  <c:v>-1.6806722689075499E-3</c:v>
                </c:pt>
                <c:pt idx="40735">
                  <c:v>-1.6806722689075499E-3</c:v>
                </c:pt>
                <c:pt idx="40736">
                  <c:v>-1.6806722689075499E-3</c:v>
                </c:pt>
                <c:pt idx="40737">
                  <c:v>-1.6806722689075499E-3</c:v>
                </c:pt>
                <c:pt idx="40738">
                  <c:v>-1.6806722689075499E-3</c:v>
                </c:pt>
                <c:pt idx="40739">
                  <c:v>-1.6806722689075499E-3</c:v>
                </c:pt>
                <c:pt idx="40740">
                  <c:v>-1.6806722689075499E-3</c:v>
                </c:pt>
                <c:pt idx="40741">
                  <c:v>-8.4033613445377799E-4</c:v>
                </c:pt>
                <c:pt idx="40742">
                  <c:v>-8.4033613445377799E-4</c:v>
                </c:pt>
                <c:pt idx="40743">
                  <c:v>-8.4033613445377799E-4</c:v>
                </c:pt>
                <c:pt idx="40744">
                  <c:v>-8.4033613445377799E-4</c:v>
                </c:pt>
                <c:pt idx="40745">
                  <c:v>-8.4033613445377799E-4</c:v>
                </c:pt>
                <c:pt idx="40746">
                  <c:v>-8.4033613445377799E-4</c:v>
                </c:pt>
                <c:pt idx="40747">
                  <c:v>-8.4033613445377799E-4</c:v>
                </c:pt>
                <c:pt idx="40748">
                  <c:v>-8.4033613445377799E-4</c:v>
                </c:pt>
                <c:pt idx="40749">
                  <c:v>-8.4033613445377799E-4</c:v>
                </c:pt>
                <c:pt idx="40750">
                  <c:v>-8.4033613445377799E-4</c:v>
                </c:pt>
                <c:pt idx="40751">
                  <c:v>-8.4033613445377799E-4</c:v>
                </c:pt>
                <c:pt idx="40752">
                  <c:v>-1.6806722689075499E-3</c:v>
                </c:pt>
                <c:pt idx="40753">
                  <c:v>-1.6806722689075499E-3</c:v>
                </c:pt>
                <c:pt idx="40754">
                  <c:v>-1.6806722689075499E-3</c:v>
                </c:pt>
                <c:pt idx="40755">
                  <c:v>-1.6806722689075499E-3</c:v>
                </c:pt>
                <c:pt idx="40756">
                  <c:v>-1.6806722689075499E-3</c:v>
                </c:pt>
                <c:pt idx="40757">
                  <c:v>-1.6806722689075499E-3</c:v>
                </c:pt>
                <c:pt idx="40758">
                  <c:v>-1.6806722689075499E-3</c:v>
                </c:pt>
                <c:pt idx="40759">
                  <c:v>-1.6806722689075499E-3</c:v>
                </c:pt>
                <c:pt idx="40760">
                  <c:v>-1.6806722689075499E-3</c:v>
                </c:pt>
                <c:pt idx="40761">
                  <c:v>-1.6806722689075499E-3</c:v>
                </c:pt>
                <c:pt idx="40762">
                  <c:v>-1.6806722689075499E-3</c:v>
                </c:pt>
                <c:pt idx="40763">
                  <c:v>-1.6806722689075499E-3</c:v>
                </c:pt>
                <c:pt idx="40764">
                  <c:v>-1.6806722689075499E-3</c:v>
                </c:pt>
                <c:pt idx="40765">
                  <c:v>-1.6806722689075499E-3</c:v>
                </c:pt>
                <c:pt idx="40766">
                  <c:v>-1.6806722689075499E-3</c:v>
                </c:pt>
                <c:pt idx="40767">
                  <c:v>-1.6806722689075499E-3</c:v>
                </c:pt>
                <c:pt idx="40768">
                  <c:v>-1.6806722689075499E-3</c:v>
                </c:pt>
                <c:pt idx="40769">
                  <c:v>-1.6806722689075499E-3</c:v>
                </c:pt>
                <c:pt idx="40770">
                  <c:v>-1.6806722689075499E-3</c:v>
                </c:pt>
                <c:pt idx="40771">
                  <c:v>-1.6806722689075499E-3</c:v>
                </c:pt>
                <c:pt idx="40772">
                  <c:v>-1.6806722689075499E-3</c:v>
                </c:pt>
                <c:pt idx="40773">
                  <c:v>-1.6806722689075499E-3</c:v>
                </c:pt>
                <c:pt idx="40774">
                  <c:v>-1.6806722689075499E-3</c:v>
                </c:pt>
                <c:pt idx="40775">
                  <c:v>-1.6806722689075499E-3</c:v>
                </c:pt>
                <c:pt idx="40776">
                  <c:v>-1.6806722689075499E-3</c:v>
                </c:pt>
                <c:pt idx="40777">
                  <c:v>-1.6806722689075499E-3</c:v>
                </c:pt>
                <c:pt idx="40778">
                  <c:v>-1.6806722689075499E-3</c:v>
                </c:pt>
                <c:pt idx="40779">
                  <c:v>-1.6806722689075499E-3</c:v>
                </c:pt>
                <c:pt idx="40780">
                  <c:v>-1.6806722689075499E-3</c:v>
                </c:pt>
                <c:pt idx="40781">
                  <c:v>-1.6806722689075499E-3</c:v>
                </c:pt>
                <c:pt idx="40782">
                  <c:v>-1.6806722689075499E-3</c:v>
                </c:pt>
                <c:pt idx="40783">
                  <c:v>-1.6806722689075499E-3</c:v>
                </c:pt>
                <c:pt idx="40784">
                  <c:v>-1.6806722689075499E-3</c:v>
                </c:pt>
                <c:pt idx="40785">
                  <c:v>-1.6806722689075499E-3</c:v>
                </c:pt>
                <c:pt idx="40786">
                  <c:v>-1.6806722689075499E-3</c:v>
                </c:pt>
                <c:pt idx="40787">
                  <c:v>-1.6806722689075499E-3</c:v>
                </c:pt>
                <c:pt idx="40788">
                  <c:v>-1.6806722689075499E-3</c:v>
                </c:pt>
                <c:pt idx="40789">
                  <c:v>-1.6806722689075499E-3</c:v>
                </c:pt>
                <c:pt idx="40790">
                  <c:v>-1.6806722689075499E-3</c:v>
                </c:pt>
                <c:pt idx="40791">
                  <c:v>-1.6806722689075499E-3</c:v>
                </c:pt>
                <c:pt idx="40792">
                  <c:v>-1.6806722689075499E-3</c:v>
                </c:pt>
                <c:pt idx="40793">
                  <c:v>-1.6806722689075499E-3</c:v>
                </c:pt>
                <c:pt idx="40794">
                  <c:v>-1.6806722689075499E-3</c:v>
                </c:pt>
                <c:pt idx="40795">
                  <c:v>-1.6806722689075499E-3</c:v>
                </c:pt>
                <c:pt idx="40796">
                  <c:v>-1.6806722689075499E-3</c:v>
                </c:pt>
                <c:pt idx="40797">
                  <c:v>-2.5210084033613299E-3</c:v>
                </c:pt>
                <c:pt idx="40798">
                  <c:v>-2.5210084033613299E-3</c:v>
                </c:pt>
                <c:pt idx="40799">
                  <c:v>-2.5210084033613299E-3</c:v>
                </c:pt>
                <c:pt idx="40800">
                  <c:v>-2.5210084033613299E-3</c:v>
                </c:pt>
                <c:pt idx="40801">
                  <c:v>-2.5210084033613299E-3</c:v>
                </c:pt>
                <c:pt idx="40802">
                  <c:v>-2.5210084033613299E-3</c:v>
                </c:pt>
                <c:pt idx="40803">
                  <c:v>-2.5210084033613299E-3</c:v>
                </c:pt>
                <c:pt idx="40804">
                  <c:v>-2.5210084033613299E-3</c:v>
                </c:pt>
                <c:pt idx="40805">
                  <c:v>-2.5210084033613299E-3</c:v>
                </c:pt>
                <c:pt idx="40806">
                  <c:v>-2.5210084033613299E-3</c:v>
                </c:pt>
                <c:pt idx="40807">
                  <c:v>-2.5210084033613299E-3</c:v>
                </c:pt>
                <c:pt idx="40808">
                  <c:v>-2.5210084033613299E-3</c:v>
                </c:pt>
                <c:pt idx="40809">
                  <c:v>-2.5210084033613299E-3</c:v>
                </c:pt>
                <c:pt idx="40810">
                  <c:v>-2.5210084033613299E-3</c:v>
                </c:pt>
                <c:pt idx="40811">
                  <c:v>-2.5210084033613299E-3</c:v>
                </c:pt>
                <c:pt idx="40812">
                  <c:v>-2.5210084033613299E-3</c:v>
                </c:pt>
                <c:pt idx="40813">
                  <c:v>-2.5210084033613299E-3</c:v>
                </c:pt>
                <c:pt idx="40814">
                  <c:v>-2.5210084033613299E-3</c:v>
                </c:pt>
                <c:pt idx="40815">
                  <c:v>-2.5210084033613299E-3</c:v>
                </c:pt>
                <c:pt idx="40816">
                  <c:v>-2.5210084033613299E-3</c:v>
                </c:pt>
                <c:pt idx="40817">
                  <c:v>-2.5210084033613299E-3</c:v>
                </c:pt>
                <c:pt idx="40818">
                  <c:v>-2.5210084033613299E-3</c:v>
                </c:pt>
                <c:pt idx="40819">
                  <c:v>-2.5210084033613299E-3</c:v>
                </c:pt>
                <c:pt idx="40820">
                  <c:v>-2.5210084033613299E-3</c:v>
                </c:pt>
                <c:pt idx="40821">
                  <c:v>-2.5210084033613299E-3</c:v>
                </c:pt>
                <c:pt idx="40822">
                  <c:v>-2.5210084033613299E-3</c:v>
                </c:pt>
                <c:pt idx="40823">
                  <c:v>-1.6806722689075499E-3</c:v>
                </c:pt>
                <c:pt idx="40824">
                  <c:v>-1.6806722689075499E-3</c:v>
                </c:pt>
                <c:pt idx="40825">
                  <c:v>-1.6806722689075499E-3</c:v>
                </c:pt>
                <c:pt idx="40826">
                  <c:v>-1.6806722689075499E-3</c:v>
                </c:pt>
                <c:pt idx="40827">
                  <c:v>-1.6806722689075499E-3</c:v>
                </c:pt>
                <c:pt idx="40828">
                  <c:v>-1.6806722689075499E-3</c:v>
                </c:pt>
                <c:pt idx="40829">
                  <c:v>-1.6806722689075499E-3</c:v>
                </c:pt>
                <c:pt idx="40830">
                  <c:v>-1.6806722689075499E-3</c:v>
                </c:pt>
                <c:pt idx="40831">
                  <c:v>-1.6806722689075499E-3</c:v>
                </c:pt>
                <c:pt idx="40832">
                  <c:v>-1.6806722689075499E-3</c:v>
                </c:pt>
                <c:pt idx="40833">
                  <c:v>-1.6806722689075499E-3</c:v>
                </c:pt>
                <c:pt idx="40834">
                  <c:v>-1.6806722689075499E-3</c:v>
                </c:pt>
                <c:pt idx="40835">
                  <c:v>-1.6806722689075499E-3</c:v>
                </c:pt>
                <c:pt idx="40836">
                  <c:v>-1.6806722689075499E-3</c:v>
                </c:pt>
                <c:pt idx="40837">
                  <c:v>-1.6806722689075499E-3</c:v>
                </c:pt>
                <c:pt idx="40838">
                  <c:v>-1.6806722689075499E-3</c:v>
                </c:pt>
                <c:pt idx="40839">
                  <c:v>-1.6806722689075499E-3</c:v>
                </c:pt>
                <c:pt idx="40840">
                  <c:v>-1.6806722689075499E-3</c:v>
                </c:pt>
                <c:pt idx="40841">
                  <c:v>-1.6806722689075499E-3</c:v>
                </c:pt>
                <c:pt idx="40842">
                  <c:v>-1.6806722689075499E-3</c:v>
                </c:pt>
                <c:pt idx="40843">
                  <c:v>-1.6806722689075499E-3</c:v>
                </c:pt>
                <c:pt idx="40844">
                  <c:v>-1.6806722689075499E-3</c:v>
                </c:pt>
                <c:pt idx="40845">
                  <c:v>-1.6806722689075499E-3</c:v>
                </c:pt>
                <c:pt idx="40846">
                  <c:v>-1.6806722689075499E-3</c:v>
                </c:pt>
                <c:pt idx="40847">
                  <c:v>-1.6806722689075499E-3</c:v>
                </c:pt>
                <c:pt idx="40848">
                  <c:v>-1.6806722689075499E-3</c:v>
                </c:pt>
                <c:pt idx="40849">
                  <c:v>-1.6806722689075499E-3</c:v>
                </c:pt>
                <c:pt idx="40850">
                  <c:v>-1.6806722689075499E-3</c:v>
                </c:pt>
                <c:pt idx="40851">
                  <c:v>-1.6806722689075499E-3</c:v>
                </c:pt>
                <c:pt idx="40852">
                  <c:v>-1.6806722689075499E-3</c:v>
                </c:pt>
                <c:pt idx="40853">
                  <c:v>-1.6806722689075499E-3</c:v>
                </c:pt>
                <c:pt idx="40854">
                  <c:v>-1.6806722689075499E-3</c:v>
                </c:pt>
                <c:pt idx="40855">
                  <c:v>-1.6806722689075499E-3</c:v>
                </c:pt>
                <c:pt idx="40856">
                  <c:v>-1.6806722689075499E-3</c:v>
                </c:pt>
                <c:pt idx="40857">
                  <c:v>-1.6806722689075499E-3</c:v>
                </c:pt>
                <c:pt idx="40858">
                  <c:v>-1.6806722689075499E-3</c:v>
                </c:pt>
                <c:pt idx="40859">
                  <c:v>-1.6806722689075499E-3</c:v>
                </c:pt>
                <c:pt idx="40860">
                  <c:v>-1.6806722689075499E-3</c:v>
                </c:pt>
                <c:pt idx="40861">
                  <c:v>-2.5210084033613299E-3</c:v>
                </c:pt>
                <c:pt idx="40862">
                  <c:v>-2.5210084033613299E-3</c:v>
                </c:pt>
                <c:pt idx="40863">
                  <c:v>-2.5210084033613299E-3</c:v>
                </c:pt>
                <c:pt idx="40864">
                  <c:v>-2.5210084033613299E-3</c:v>
                </c:pt>
                <c:pt idx="40865">
                  <c:v>-2.5210084033613299E-3</c:v>
                </c:pt>
                <c:pt idx="40866">
                  <c:v>-2.5210084033613299E-3</c:v>
                </c:pt>
                <c:pt idx="40867">
                  <c:v>-2.5210084033613299E-3</c:v>
                </c:pt>
                <c:pt idx="40868">
                  <c:v>-2.5210084033613299E-3</c:v>
                </c:pt>
                <c:pt idx="40869">
                  <c:v>-2.5210084033613299E-3</c:v>
                </c:pt>
                <c:pt idx="40870">
                  <c:v>-2.5210084033613299E-3</c:v>
                </c:pt>
                <c:pt idx="40871">
                  <c:v>-2.5210084033613299E-3</c:v>
                </c:pt>
                <c:pt idx="40872">
                  <c:v>-2.5210084033613299E-3</c:v>
                </c:pt>
                <c:pt idx="40873">
                  <c:v>-2.5210084033613299E-3</c:v>
                </c:pt>
                <c:pt idx="40874">
                  <c:v>-2.5210084033613299E-3</c:v>
                </c:pt>
                <c:pt idx="40875">
                  <c:v>-2.5210084033613299E-3</c:v>
                </c:pt>
                <c:pt idx="40876">
                  <c:v>-2.5210084033613299E-3</c:v>
                </c:pt>
                <c:pt idx="40877">
                  <c:v>-2.5210084033613299E-3</c:v>
                </c:pt>
                <c:pt idx="40878">
                  <c:v>-2.5210084033613299E-3</c:v>
                </c:pt>
                <c:pt idx="40879">
                  <c:v>-2.5210084033613299E-3</c:v>
                </c:pt>
                <c:pt idx="40880">
                  <c:v>-2.5210084033613299E-3</c:v>
                </c:pt>
                <c:pt idx="40881">
                  <c:v>-2.5210084033613299E-3</c:v>
                </c:pt>
                <c:pt idx="40882">
                  <c:v>-2.5210084033613299E-3</c:v>
                </c:pt>
                <c:pt idx="40883">
                  <c:v>-2.5210084033613299E-3</c:v>
                </c:pt>
                <c:pt idx="40884">
                  <c:v>-2.5210084033613299E-3</c:v>
                </c:pt>
                <c:pt idx="40885">
                  <c:v>-2.5210084033613299E-3</c:v>
                </c:pt>
                <c:pt idx="40886">
                  <c:v>-2.5210084033613299E-3</c:v>
                </c:pt>
                <c:pt idx="40887">
                  <c:v>-2.5210084033613299E-3</c:v>
                </c:pt>
                <c:pt idx="40888">
                  <c:v>-2.5210084033613299E-3</c:v>
                </c:pt>
                <c:pt idx="40889">
                  <c:v>-2.5210084033613299E-3</c:v>
                </c:pt>
                <c:pt idx="40890">
                  <c:v>-2.5210084033613299E-3</c:v>
                </c:pt>
                <c:pt idx="40891">
                  <c:v>-2.5210084033613299E-3</c:v>
                </c:pt>
                <c:pt idx="40892">
                  <c:v>-2.5210084033613299E-3</c:v>
                </c:pt>
                <c:pt idx="40893">
                  <c:v>-2.5210084033613299E-3</c:v>
                </c:pt>
                <c:pt idx="40894">
                  <c:v>-2.5210084033613299E-3</c:v>
                </c:pt>
                <c:pt idx="40895">
                  <c:v>-2.5210084033613299E-3</c:v>
                </c:pt>
                <c:pt idx="40896">
                  <c:v>-2.5210084033613299E-3</c:v>
                </c:pt>
                <c:pt idx="40897">
                  <c:v>-2.5210084033613299E-3</c:v>
                </c:pt>
                <c:pt idx="40898">
                  <c:v>-2.5210084033613299E-3</c:v>
                </c:pt>
                <c:pt idx="40899">
                  <c:v>-2.5210084033613299E-3</c:v>
                </c:pt>
                <c:pt idx="40900">
                  <c:v>-2.5210084033613299E-3</c:v>
                </c:pt>
                <c:pt idx="40901">
                  <c:v>-2.5210084033613299E-3</c:v>
                </c:pt>
                <c:pt idx="40902">
                  <c:v>-2.5210084033613299E-3</c:v>
                </c:pt>
                <c:pt idx="40903">
                  <c:v>-2.5210084033613299E-3</c:v>
                </c:pt>
                <c:pt idx="40904">
                  <c:v>-2.5210084033613299E-3</c:v>
                </c:pt>
                <c:pt idx="40905">
                  <c:v>-2.5210084033613299E-3</c:v>
                </c:pt>
                <c:pt idx="40906">
                  <c:v>-2.5210084033613299E-3</c:v>
                </c:pt>
                <c:pt idx="40907">
                  <c:v>-2.5210084033613299E-3</c:v>
                </c:pt>
                <c:pt idx="40908">
                  <c:v>-2.5210084033613299E-3</c:v>
                </c:pt>
                <c:pt idx="40909">
                  <c:v>-2.5210084033613299E-3</c:v>
                </c:pt>
                <c:pt idx="40910">
                  <c:v>-2.5210084033613299E-3</c:v>
                </c:pt>
                <c:pt idx="40911">
                  <c:v>-2.5210084033613299E-3</c:v>
                </c:pt>
                <c:pt idx="40912">
                  <c:v>-2.5210084033613299E-3</c:v>
                </c:pt>
                <c:pt idx="40913">
                  <c:v>-2.5210084033613299E-3</c:v>
                </c:pt>
                <c:pt idx="40914">
                  <c:v>-2.5210084033613299E-3</c:v>
                </c:pt>
                <c:pt idx="40915">
                  <c:v>-2.5210084033613299E-3</c:v>
                </c:pt>
                <c:pt idx="40916">
                  <c:v>-2.5210084033613299E-3</c:v>
                </c:pt>
                <c:pt idx="40917">
                  <c:v>-2.5210084033613299E-3</c:v>
                </c:pt>
                <c:pt idx="40918">
                  <c:v>-2.5210084033613299E-3</c:v>
                </c:pt>
                <c:pt idx="40919">
                  <c:v>-2.5210084033613299E-3</c:v>
                </c:pt>
                <c:pt idx="40920">
                  <c:v>-2.5210084033613299E-3</c:v>
                </c:pt>
                <c:pt idx="40921">
                  <c:v>-2.5210084033613299E-3</c:v>
                </c:pt>
                <c:pt idx="40922">
                  <c:v>-2.5210084033613299E-3</c:v>
                </c:pt>
                <c:pt idx="40923">
                  <c:v>-2.5210084033613299E-3</c:v>
                </c:pt>
                <c:pt idx="40924">
                  <c:v>-2.5210084033613299E-3</c:v>
                </c:pt>
                <c:pt idx="40925">
                  <c:v>-2.5210084033613299E-3</c:v>
                </c:pt>
                <c:pt idx="40926">
                  <c:v>-2.5210084033613299E-3</c:v>
                </c:pt>
                <c:pt idx="40927">
                  <c:v>-2.5210084033613299E-3</c:v>
                </c:pt>
                <c:pt idx="40928">
                  <c:v>-2.5210084033613299E-3</c:v>
                </c:pt>
                <c:pt idx="40929">
                  <c:v>-2.5210084033613299E-3</c:v>
                </c:pt>
                <c:pt idx="40930">
                  <c:v>-2.5210084033613299E-3</c:v>
                </c:pt>
                <c:pt idx="40931">
                  <c:v>-2.5210084033613299E-3</c:v>
                </c:pt>
                <c:pt idx="40932">
                  <c:v>-2.5210084033613299E-3</c:v>
                </c:pt>
                <c:pt idx="40933">
                  <c:v>-1.6806722689075499E-3</c:v>
                </c:pt>
                <c:pt idx="40934">
                  <c:v>-1.6806722689075499E-3</c:v>
                </c:pt>
                <c:pt idx="40935">
                  <c:v>-1.6806722689075499E-3</c:v>
                </c:pt>
                <c:pt idx="40936">
                  <c:v>-1.6806722689075499E-3</c:v>
                </c:pt>
                <c:pt idx="40937">
                  <c:v>-1.6806722689075499E-3</c:v>
                </c:pt>
                <c:pt idx="40938">
                  <c:v>-1.6806722689075499E-3</c:v>
                </c:pt>
                <c:pt idx="40939">
                  <c:v>-1.6806722689075499E-3</c:v>
                </c:pt>
                <c:pt idx="40940">
                  <c:v>-1.6806722689075499E-3</c:v>
                </c:pt>
                <c:pt idx="40941">
                  <c:v>-1.6806722689075499E-3</c:v>
                </c:pt>
                <c:pt idx="40942">
                  <c:v>-1.6806722689075499E-3</c:v>
                </c:pt>
                <c:pt idx="40943">
                  <c:v>-1.6806722689075499E-3</c:v>
                </c:pt>
                <c:pt idx="40944">
                  <c:v>-1.6806722689075499E-3</c:v>
                </c:pt>
                <c:pt idx="40945">
                  <c:v>-1.6806722689075499E-3</c:v>
                </c:pt>
                <c:pt idx="40946">
                  <c:v>-1.6806722689075499E-3</c:v>
                </c:pt>
                <c:pt idx="40947">
                  <c:v>-1.6806722689075499E-3</c:v>
                </c:pt>
                <c:pt idx="40948">
                  <c:v>-1.6806722689075499E-3</c:v>
                </c:pt>
                <c:pt idx="40949">
                  <c:v>-1.6806722689075499E-3</c:v>
                </c:pt>
                <c:pt idx="40950">
                  <c:v>-1.6806722689075499E-3</c:v>
                </c:pt>
                <c:pt idx="40951">
                  <c:v>-1.6806722689075499E-3</c:v>
                </c:pt>
                <c:pt idx="40952">
                  <c:v>-1.6806722689075499E-3</c:v>
                </c:pt>
                <c:pt idx="40953">
                  <c:v>-1.6806722689075499E-3</c:v>
                </c:pt>
                <c:pt idx="40954">
                  <c:v>-1.6806722689075499E-3</c:v>
                </c:pt>
                <c:pt idx="40955">
                  <c:v>-1.6806722689075499E-3</c:v>
                </c:pt>
                <c:pt idx="40956">
                  <c:v>-1.6806722689075499E-3</c:v>
                </c:pt>
                <c:pt idx="40957">
                  <c:v>-1.6806722689075499E-3</c:v>
                </c:pt>
                <c:pt idx="40958">
                  <c:v>-1.6806722689075499E-3</c:v>
                </c:pt>
                <c:pt idx="40959">
                  <c:v>-1.6806722689075499E-3</c:v>
                </c:pt>
                <c:pt idx="40960">
                  <c:v>-1.6806722689075499E-3</c:v>
                </c:pt>
                <c:pt idx="40961">
                  <c:v>-1.6806722689075499E-3</c:v>
                </c:pt>
                <c:pt idx="40962">
                  <c:v>-1.6806722689075499E-3</c:v>
                </c:pt>
                <c:pt idx="40963">
                  <c:v>-1.6806722689075499E-3</c:v>
                </c:pt>
                <c:pt idx="40964">
                  <c:v>-1.6806722689075499E-3</c:v>
                </c:pt>
                <c:pt idx="40965">
                  <c:v>-1.6806722689075499E-3</c:v>
                </c:pt>
                <c:pt idx="40966">
                  <c:v>-1.6806722689075499E-3</c:v>
                </c:pt>
                <c:pt idx="40967">
                  <c:v>-1.6806722689075499E-3</c:v>
                </c:pt>
                <c:pt idx="40968">
                  <c:v>-1.6806722689075499E-3</c:v>
                </c:pt>
                <c:pt idx="40969">
                  <c:v>-1.6806722689075499E-3</c:v>
                </c:pt>
                <c:pt idx="40970">
                  <c:v>-1.6806722689075499E-3</c:v>
                </c:pt>
                <c:pt idx="40971">
                  <c:v>-1.6806722689075499E-3</c:v>
                </c:pt>
                <c:pt idx="40972">
                  <c:v>-1.6806722689075499E-3</c:v>
                </c:pt>
                <c:pt idx="40973">
                  <c:v>-1.6806722689075499E-3</c:v>
                </c:pt>
                <c:pt idx="40974">
                  <c:v>-1.6806722689075499E-3</c:v>
                </c:pt>
                <c:pt idx="40975">
                  <c:v>-1.6806722689075499E-3</c:v>
                </c:pt>
                <c:pt idx="40976">
                  <c:v>-1.6806722689075499E-3</c:v>
                </c:pt>
                <c:pt idx="40977">
                  <c:v>-1.6806722689075499E-3</c:v>
                </c:pt>
                <c:pt idx="40978">
                  <c:v>-1.6806722689075499E-3</c:v>
                </c:pt>
                <c:pt idx="40979">
                  <c:v>-1.6806722689075499E-3</c:v>
                </c:pt>
                <c:pt idx="40980">
                  <c:v>-1.6806722689075499E-3</c:v>
                </c:pt>
                <c:pt idx="40981">
                  <c:v>-1.6806722689075499E-3</c:v>
                </c:pt>
                <c:pt idx="40982">
                  <c:v>-1.6806722689075499E-3</c:v>
                </c:pt>
                <c:pt idx="40983">
                  <c:v>-1.6806722689075499E-3</c:v>
                </c:pt>
                <c:pt idx="40984">
                  <c:v>-1.6806722689075499E-3</c:v>
                </c:pt>
                <c:pt idx="40985">
                  <c:v>-1.6806722689075499E-3</c:v>
                </c:pt>
                <c:pt idx="40986">
                  <c:v>-1.6806722689075499E-3</c:v>
                </c:pt>
                <c:pt idx="40987">
                  <c:v>-1.6806722689075499E-3</c:v>
                </c:pt>
                <c:pt idx="40988">
                  <c:v>-1.6806722689075499E-3</c:v>
                </c:pt>
                <c:pt idx="40989">
                  <c:v>-1.6806722689075499E-3</c:v>
                </c:pt>
                <c:pt idx="40990">
                  <c:v>-1.6806722689075499E-3</c:v>
                </c:pt>
                <c:pt idx="40991">
                  <c:v>-8.4033613445377799E-4</c:v>
                </c:pt>
                <c:pt idx="40992">
                  <c:v>-8.4033613445377799E-4</c:v>
                </c:pt>
                <c:pt idx="40993">
                  <c:v>-8.4033613445377799E-4</c:v>
                </c:pt>
                <c:pt idx="40994">
                  <c:v>-8.4033613445377799E-4</c:v>
                </c:pt>
                <c:pt idx="40995">
                  <c:v>-8.4033613445377799E-4</c:v>
                </c:pt>
                <c:pt idx="40996">
                  <c:v>-8.4033613445377799E-4</c:v>
                </c:pt>
                <c:pt idx="40997">
                  <c:v>-8.4033613445377799E-4</c:v>
                </c:pt>
                <c:pt idx="40998">
                  <c:v>-8.4033613445377799E-4</c:v>
                </c:pt>
                <c:pt idx="40999">
                  <c:v>-8.4033613445377799E-4</c:v>
                </c:pt>
                <c:pt idx="41000">
                  <c:v>-8.4033613445377799E-4</c:v>
                </c:pt>
                <c:pt idx="41001">
                  <c:v>0</c:v>
                </c:pt>
                <c:pt idx="41002">
                  <c:v>0</c:v>
                </c:pt>
                <c:pt idx="41003">
                  <c:v>0</c:v>
                </c:pt>
                <c:pt idx="41004">
                  <c:v>0</c:v>
                </c:pt>
                <c:pt idx="41005">
                  <c:v>0</c:v>
                </c:pt>
                <c:pt idx="41006">
                  <c:v>0</c:v>
                </c:pt>
                <c:pt idx="41007">
                  <c:v>0</c:v>
                </c:pt>
                <c:pt idx="41008">
                  <c:v>0</c:v>
                </c:pt>
                <c:pt idx="41009">
                  <c:v>0</c:v>
                </c:pt>
                <c:pt idx="41010">
                  <c:v>0</c:v>
                </c:pt>
                <c:pt idx="41011">
                  <c:v>-8.4033613445377799E-4</c:v>
                </c:pt>
                <c:pt idx="41012">
                  <c:v>-8.4033613445377799E-4</c:v>
                </c:pt>
                <c:pt idx="41013">
                  <c:v>-8.4033613445377799E-4</c:v>
                </c:pt>
                <c:pt idx="41014">
                  <c:v>-8.4033613445377799E-4</c:v>
                </c:pt>
                <c:pt idx="41015">
                  <c:v>-8.4033613445377799E-4</c:v>
                </c:pt>
                <c:pt idx="41016">
                  <c:v>-8.4033613445377799E-4</c:v>
                </c:pt>
                <c:pt idx="41017">
                  <c:v>-8.4033613445377799E-4</c:v>
                </c:pt>
                <c:pt idx="41018">
                  <c:v>-8.4033613445377799E-4</c:v>
                </c:pt>
                <c:pt idx="41019">
                  <c:v>-8.4033613445377799E-4</c:v>
                </c:pt>
                <c:pt idx="41020">
                  <c:v>-8.4033613445377799E-4</c:v>
                </c:pt>
                <c:pt idx="41021">
                  <c:v>-8.4033613445377799E-4</c:v>
                </c:pt>
                <c:pt idx="41022">
                  <c:v>-8.4033613445377799E-4</c:v>
                </c:pt>
                <c:pt idx="41023">
                  <c:v>-8.4033613445377799E-4</c:v>
                </c:pt>
                <c:pt idx="41024">
                  <c:v>-8.4033613445377799E-4</c:v>
                </c:pt>
                <c:pt idx="41025">
                  <c:v>-8.4033613445377799E-4</c:v>
                </c:pt>
                <c:pt idx="41026">
                  <c:v>-8.4033613445377799E-4</c:v>
                </c:pt>
                <c:pt idx="41027">
                  <c:v>-8.4033613445377799E-4</c:v>
                </c:pt>
                <c:pt idx="41028">
                  <c:v>-8.4033613445377799E-4</c:v>
                </c:pt>
                <c:pt idx="41029">
                  <c:v>-8.4033613445377799E-4</c:v>
                </c:pt>
                <c:pt idx="41030">
                  <c:v>-8.4033613445377799E-4</c:v>
                </c:pt>
                <c:pt idx="41031">
                  <c:v>-8.4033613445377799E-4</c:v>
                </c:pt>
                <c:pt idx="41032">
                  <c:v>-8.4033613445377799E-4</c:v>
                </c:pt>
                <c:pt idx="41033">
                  <c:v>-8.4033613445377799E-4</c:v>
                </c:pt>
                <c:pt idx="41034">
                  <c:v>-8.4033613445377799E-4</c:v>
                </c:pt>
                <c:pt idx="41035">
                  <c:v>-8.4033613445377799E-4</c:v>
                </c:pt>
                <c:pt idx="41036">
                  <c:v>-8.4033613445377799E-4</c:v>
                </c:pt>
                <c:pt idx="41037">
                  <c:v>-8.4033613445377799E-4</c:v>
                </c:pt>
                <c:pt idx="41038">
                  <c:v>-8.4033613445377799E-4</c:v>
                </c:pt>
                <c:pt idx="41039">
                  <c:v>-8.4033613445377799E-4</c:v>
                </c:pt>
                <c:pt idx="41040">
                  <c:v>-8.4033613445377799E-4</c:v>
                </c:pt>
                <c:pt idx="41041">
                  <c:v>-8.4033613445377799E-4</c:v>
                </c:pt>
                <c:pt idx="41042">
                  <c:v>-8.4033613445377799E-4</c:v>
                </c:pt>
                <c:pt idx="41043">
                  <c:v>-8.4033613445377799E-4</c:v>
                </c:pt>
                <c:pt idx="41044">
                  <c:v>-8.4033613445377799E-4</c:v>
                </c:pt>
                <c:pt idx="41045">
                  <c:v>-8.4033613445377799E-4</c:v>
                </c:pt>
                <c:pt idx="41046">
                  <c:v>-8.4033613445377799E-4</c:v>
                </c:pt>
                <c:pt idx="41047">
                  <c:v>-8.4033613445377799E-4</c:v>
                </c:pt>
                <c:pt idx="41048">
                  <c:v>-8.4033613445377799E-4</c:v>
                </c:pt>
                <c:pt idx="41049">
                  <c:v>-8.4033613445377799E-4</c:v>
                </c:pt>
                <c:pt idx="41050">
                  <c:v>-8.4033613445377799E-4</c:v>
                </c:pt>
                <c:pt idx="41051">
                  <c:v>-8.4033613445377799E-4</c:v>
                </c:pt>
                <c:pt idx="41052">
                  <c:v>-8.4033613445377799E-4</c:v>
                </c:pt>
                <c:pt idx="41053">
                  <c:v>-8.4033613445377799E-4</c:v>
                </c:pt>
                <c:pt idx="41054">
                  <c:v>-8.4033613445377799E-4</c:v>
                </c:pt>
                <c:pt idx="41055">
                  <c:v>-8.4033613445377799E-4</c:v>
                </c:pt>
                <c:pt idx="41056">
                  <c:v>-8.4033613445377799E-4</c:v>
                </c:pt>
                <c:pt idx="41057">
                  <c:v>-8.4033613445377799E-4</c:v>
                </c:pt>
                <c:pt idx="41058">
                  <c:v>-8.4033613445377799E-4</c:v>
                </c:pt>
                <c:pt idx="41059">
                  <c:v>-8.4033613445377799E-4</c:v>
                </c:pt>
                <c:pt idx="41060">
                  <c:v>-8.4033613445377799E-4</c:v>
                </c:pt>
                <c:pt idx="41061">
                  <c:v>-8.4033613445377799E-4</c:v>
                </c:pt>
                <c:pt idx="41062">
                  <c:v>-8.4033613445377799E-4</c:v>
                </c:pt>
                <c:pt idx="41063">
                  <c:v>-8.4033613445377799E-4</c:v>
                </c:pt>
                <c:pt idx="41064">
                  <c:v>-8.4033613445377799E-4</c:v>
                </c:pt>
                <c:pt idx="41065">
                  <c:v>-8.4033613445377799E-4</c:v>
                </c:pt>
                <c:pt idx="41066">
                  <c:v>-8.4033613445377799E-4</c:v>
                </c:pt>
                <c:pt idx="41067">
                  <c:v>-8.4033613445377799E-4</c:v>
                </c:pt>
                <c:pt idx="41068">
                  <c:v>-8.4033613445377799E-4</c:v>
                </c:pt>
                <c:pt idx="41069">
                  <c:v>-8.4033613445377799E-4</c:v>
                </c:pt>
                <c:pt idx="41070">
                  <c:v>-8.4033613445377799E-4</c:v>
                </c:pt>
                <c:pt idx="41071">
                  <c:v>-8.4033613445377799E-4</c:v>
                </c:pt>
                <c:pt idx="41072">
                  <c:v>-8.4033613445377799E-4</c:v>
                </c:pt>
                <c:pt idx="41073">
                  <c:v>-8.4033613445377799E-4</c:v>
                </c:pt>
                <c:pt idx="41074">
                  <c:v>-8.4033613445377799E-4</c:v>
                </c:pt>
                <c:pt idx="41075">
                  <c:v>-8.4033613445377799E-4</c:v>
                </c:pt>
                <c:pt idx="41076">
                  <c:v>-8.4033613445377799E-4</c:v>
                </c:pt>
                <c:pt idx="41077">
                  <c:v>-8.4033613445377799E-4</c:v>
                </c:pt>
                <c:pt idx="41078">
                  <c:v>-8.4033613445377799E-4</c:v>
                </c:pt>
                <c:pt idx="41079">
                  <c:v>-8.4033613445377799E-4</c:v>
                </c:pt>
                <c:pt idx="41080">
                  <c:v>-8.4033613445377799E-4</c:v>
                </c:pt>
                <c:pt idx="41081">
                  <c:v>-8.4033613445377799E-4</c:v>
                </c:pt>
                <c:pt idx="41082">
                  <c:v>-8.4033613445377799E-4</c:v>
                </c:pt>
                <c:pt idx="41083">
                  <c:v>-8.4033613445377799E-4</c:v>
                </c:pt>
                <c:pt idx="41084">
                  <c:v>-8.4033613445377799E-4</c:v>
                </c:pt>
                <c:pt idx="41085">
                  <c:v>-8.4033613445377799E-4</c:v>
                </c:pt>
                <c:pt idx="41086">
                  <c:v>-8.4033613445377799E-4</c:v>
                </c:pt>
                <c:pt idx="41087">
                  <c:v>-8.4033613445377799E-4</c:v>
                </c:pt>
                <c:pt idx="41088">
                  <c:v>-8.4033613445377799E-4</c:v>
                </c:pt>
                <c:pt idx="41089">
                  <c:v>-8.4033613445377799E-4</c:v>
                </c:pt>
                <c:pt idx="41090">
                  <c:v>-8.4033613445377799E-4</c:v>
                </c:pt>
                <c:pt idx="41091">
                  <c:v>-8.4033613445377799E-4</c:v>
                </c:pt>
                <c:pt idx="41092">
                  <c:v>-8.4033613445377799E-4</c:v>
                </c:pt>
                <c:pt idx="41093">
                  <c:v>-8.4033613445377799E-4</c:v>
                </c:pt>
                <c:pt idx="41094">
                  <c:v>-8.4033613445377799E-4</c:v>
                </c:pt>
                <c:pt idx="41095">
                  <c:v>-8.4033613445377799E-4</c:v>
                </c:pt>
                <c:pt idx="41096">
                  <c:v>-8.4033613445377799E-4</c:v>
                </c:pt>
                <c:pt idx="41097">
                  <c:v>-8.4033613445377799E-4</c:v>
                </c:pt>
                <c:pt idx="41098">
                  <c:v>-8.4033613445377799E-4</c:v>
                </c:pt>
                <c:pt idx="41099">
                  <c:v>-8.4033613445377799E-4</c:v>
                </c:pt>
                <c:pt idx="41100">
                  <c:v>-8.4033613445377799E-4</c:v>
                </c:pt>
                <c:pt idx="41101">
                  <c:v>-8.4033613445377799E-4</c:v>
                </c:pt>
                <c:pt idx="41102">
                  <c:v>-8.4033613445377799E-4</c:v>
                </c:pt>
                <c:pt idx="41103">
                  <c:v>-8.4033613445377799E-4</c:v>
                </c:pt>
                <c:pt idx="41104">
                  <c:v>-8.4033613445377799E-4</c:v>
                </c:pt>
                <c:pt idx="41105">
                  <c:v>-8.4033613445377799E-4</c:v>
                </c:pt>
                <c:pt idx="41106">
                  <c:v>-8.4033613445377799E-4</c:v>
                </c:pt>
                <c:pt idx="41107">
                  <c:v>-8.4033613445377799E-4</c:v>
                </c:pt>
                <c:pt idx="41108">
                  <c:v>-8.4033613445377799E-4</c:v>
                </c:pt>
                <c:pt idx="41109">
                  <c:v>-8.4033613445377799E-4</c:v>
                </c:pt>
                <c:pt idx="41110">
                  <c:v>-8.4033613445377799E-4</c:v>
                </c:pt>
                <c:pt idx="41111">
                  <c:v>-8.4033613445377799E-4</c:v>
                </c:pt>
                <c:pt idx="41112">
                  <c:v>-8.4033613445377799E-4</c:v>
                </c:pt>
                <c:pt idx="41113">
                  <c:v>-8.4033613445377799E-4</c:v>
                </c:pt>
                <c:pt idx="41114">
                  <c:v>-8.4033613445377799E-4</c:v>
                </c:pt>
                <c:pt idx="41115">
                  <c:v>-8.4033613445377799E-4</c:v>
                </c:pt>
                <c:pt idx="41116">
                  <c:v>-8.4033613445377799E-4</c:v>
                </c:pt>
                <c:pt idx="41117">
                  <c:v>-8.4033613445377799E-4</c:v>
                </c:pt>
                <c:pt idx="41118">
                  <c:v>-8.4033613445377799E-4</c:v>
                </c:pt>
                <c:pt idx="41119">
                  <c:v>-8.4033613445377799E-4</c:v>
                </c:pt>
                <c:pt idx="41120">
                  <c:v>-8.4033613445377799E-4</c:v>
                </c:pt>
                <c:pt idx="41121">
                  <c:v>-8.4033613445377799E-4</c:v>
                </c:pt>
                <c:pt idx="41122">
                  <c:v>-8.4033613445377799E-4</c:v>
                </c:pt>
                <c:pt idx="41123">
                  <c:v>-8.4033613445377799E-4</c:v>
                </c:pt>
                <c:pt idx="41124">
                  <c:v>-8.4033613445377799E-4</c:v>
                </c:pt>
                <c:pt idx="41125">
                  <c:v>-8.4033613445377799E-4</c:v>
                </c:pt>
                <c:pt idx="41126">
                  <c:v>-8.4033613445377799E-4</c:v>
                </c:pt>
                <c:pt idx="41127">
                  <c:v>-8.4033613445377799E-4</c:v>
                </c:pt>
                <c:pt idx="41128">
                  <c:v>-8.4033613445377799E-4</c:v>
                </c:pt>
                <c:pt idx="41129">
                  <c:v>0</c:v>
                </c:pt>
                <c:pt idx="41130">
                  <c:v>0</c:v>
                </c:pt>
                <c:pt idx="41131">
                  <c:v>0</c:v>
                </c:pt>
                <c:pt idx="41132">
                  <c:v>0</c:v>
                </c:pt>
                <c:pt idx="41133">
                  <c:v>0</c:v>
                </c:pt>
                <c:pt idx="41134">
                  <c:v>0</c:v>
                </c:pt>
                <c:pt idx="41135">
                  <c:v>0</c:v>
                </c:pt>
                <c:pt idx="41136">
                  <c:v>0</c:v>
                </c:pt>
                <c:pt idx="41137">
                  <c:v>0</c:v>
                </c:pt>
                <c:pt idx="41138">
                  <c:v>0</c:v>
                </c:pt>
                <c:pt idx="41139">
                  <c:v>0</c:v>
                </c:pt>
                <c:pt idx="41140">
                  <c:v>0</c:v>
                </c:pt>
                <c:pt idx="41141">
                  <c:v>0</c:v>
                </c:pt>
                <c:pt idx="41142">
                  <c:v>0</c:v>
                </c:pt>
                <c:pt idx="41143">
                  <c:v>0</c:v>
                </c:pt>
                <c:pt idx="41144">
                  <c:v>0</c:v>
                </c:pt>
                <c:pt idx="41145">
                  <c:v>0</c:v>
                </c:pt>
                <c:pt idx="41146">
                  <c:v>0</c:v>
                </c:pt>
                <c:pt idx="41147">
                  <c:v>0</c:v>
                </c:pt>
                <c:pt idx="41148">
                  <c:v>0</c:v>
                </c:pt>
                <c:pt idx="41149">
                  <c:v>0</c:v>
                </c:pt>
                <c:pt idx="41150">
                  <c:v>0</c:v>
                </c:pt>
                <c:pt idx="41151">
                  <c:v>0</c:v>
                </c:pt>
                <c:pt idx="41152">
                  <c:v>0</c:v>
                </c:pt>
                <c:pt idx="41153">
                  <c:v>0</c:v>
                </c:pt>
                <c:pt idx="41154">
                  <c:v>0</c:v>
                </c:pt>
                <c:pt idx="41155">
                  <c:v>0</c:v>
                </c:pt>
                <c:pt idx="41156">
                  <c:v>0</c:v>
                </c:pt>
                <c:pt idx="41157">
                  <c:v>0</c:v>
                </c:pt>
                <c:pt idx="41158">
                  <c:v>0</c:v>
                </c:pt>
                <c:pt idx="41159">
                  <c:v>0</c:v>
                </c:pt>
                <c:pt idx="41160">
                  <c:v>0</c:v>
                </c:pt>
                <c:pt idx="41161">
                  <c:v>0</c:v>
                </c:pt>
                <c:pt idx="41162">
                  <c:v>0</c:v>
                </c:pt>
                <c:pt idx="41163">
                  <c:v>0</c:v>
                </c:pt>
                <c:pt idx="41164">
                  <c:v>0</c:v>
                </c:pt>
                <c:pt idx="41165">
                  <c:v>0</c:v>
                </c:pt>
                <c:pt idx="41166">
                  <c:v>0</c:v>
                </c:pt>
                <c:pt idx="41167">
                  <c:v>0</c:v>
                </c:pt>
                <c:pt idx="41168">
                  <c:v>0</c:v>
                </c:pt>
                <c:pt idx="41169">
                  <c:v>0</c:v>
                </c:pt>
                <c:pt idx="41170">
                  <c:v>0</c:v>
                </c:pt>
                <c:pt idx="41171">
                  <c:v>0</c:v>
                </c:pt>
                <c:pt idx="41172">
                  <c:v>0</c:v>
                </c:pt>
                <c:pt idx="41173">
                  <c:v>0</c:v>
                </c:pt>
                <c:pt idx="41174">
                  <c:v>0</c:v>
                </c:pt>
                <c:pt idx="41175">
                  <c:v>0</c:v>
                </c:pt>
                <c:pt idx="41176">
                  <c:v>0</c:v>
                </c:pt>
                <c:pt idx="41177">
                  <c:v>0</c:v>
                </c:pt>
                <c:pt idx="41178">
                  <c:v>0</c:v>
                </c:pt>
                <c:pt idx="41179">
                  <c:v>0</c:v>
                </c:pt>
                <c:pt idx="41180">
                  <c:v>0</c:v>
                </c:pt>
                <c:pt idx="41181">
                  <c:v>0</c:v>
                </c:pt>
                <c:pt idx="41182">
                  <c:v>0</c:v>
                </c:pt>
                <c:pt idx="41183">
                  <c:v>0</c:v>
                </c:pt>
                <c:pt idx="41184">
                  <c:v>0</c:v>
                </c:pt>
                <c:pt idx="41185">
                  <c:v>0</c:v>
                </c:pt>
                <c:pt idx="41186">
                  <c:v>0</c:v>
                </c:pt>
                <c:pt idx="41187">
                  <c:v>0</c:v>
                </c:pt>
                <c:pt idx="41188">
                  <c:v>0</c:v>
                </c:pt>
                <c:pt idx="41189">
                  <c:v>0</c:v>
                </c:pt>
                <c:pt idx="41190">
                  <c:v>0</c:v>
                </c:pt>
                <c:pt idx="41191">
                  <c:v>0</c:v>
                </c:pt>
                <c:pt idx="41192">
                  <c:v>0</c:v>
                </c:pt>
                <c:pt idx="41193">
                  <c:v>0</c:v>
                </c:pt>
                <c:pt idx="41194">
                  <c:v>0</c:v>
                </c:pt>
                <c:pt idx="41195">
                  <c:v>0</c:v>
                </c:pt>
                <c:pt idx="41196">
                  <c:v>0</c:v>
                </c:pt>
                <c:pt idx="41197">
                  <c:v>0</c:v>
                </c:pt>
                <c:pt idx="41198">
                  <c:v>0</c:v>
                </c:pt>
                <c:pt idx="41199">
                  <c:v>0</c:v>
                </c:pt>
                <c:pt idx="41200">
                  <c:v>0</c:v>
                </c:pt>
                <c:pt idx="41201">
                  <c:v>0</c:v>
                </c:pt>
                <c:pt idx="41202">
                  <c:v>0</c:v>
                </c:pt>
                <c:pt idx="41203">
                  <c:v>0</c:v>
                </c:pt>
                <c:pt idx="41204">
                  <c:v>0</c:v>
                </c:pt>
                <c:pt idx="41205">
                  <c:v>0</c:v>
                </c:pt>
                <c:pt idx="41206">
                  <c:v>0</c:v>
                </c:pt>
                <c:pt idx="41207">
                  <c:v>0</c:v>
                </c:pt>
                <c:pt idx="41208">
                  <c:v>0</c:v>
                </c:pt>
                <c:pt idx="41209">
                  <c:v>0</c:v>
                </c:pt>
                <c:pt idx="41210">
                  <c:v>0</c:v>
                </c:pt>
                <c:pt idx="41211">
                  <c:v>0</c:v>
                </c:pt>
                <c:pt idx="41212">
                  <c:v>0</c:v>
                </c:pt>
                <c:pt idx="41213">
                  <c:v>0</c:v>
                </c:pt>
                <c:pt idx="41214">
                  <c:v>0</c:v>
                </c:pt>
                <c:pt idx="41215">
                  <c:v>0</c:v>
                </c:pt>
                <c:pt idx="41216">
                  <c:v>0</c:v>
                </c:pt>
                <c:pt idx="41217">
                  <c:v>0</c:v>
                </c:pt>
                <c:pt idx="41218">
                  <c:v>0</c:v>
                </c:pt>
                <c:pt idx="41219">
                  <c:v>0</c:v>
                </c:pt>
                <c:pt idx="41220">
                  <c:v>0</c:v>
                </c:pt>
                <c:pt idx="41221">
                  <c:v>0</c:v>
                </c:pt>
                <c:pt idx="41222">
                  <c:v>0</c:v>
                </c:pt>
                <c:pt idx="41223">
                  <c:v>0</c:v>
                </c:pt>
                <c:pt idx="41224">
                  <c:v>0</c:v>
                </c:pt>
                <c:pt idx="41225">
                  <c:v>0</c:v>
                </c:pt>
                <c:pt idx="41226">
                  <c:v>0</c:v>
                </c:pt>
                <c:pt idx="41227">
                  <c:v>8.4033613445377799E-4</c:v>
                </c:pt>
                <c:pt idx="41228">
                  <c:v>8.4033613445377799E-4</c:v>
                </c:pt>
                <c:pt idx="41229">
                  <c:v>8.4033613445377799E-4</c:v>
                </c:pt>
                <c:pt idx="41230">
                  <c:v>8.4033613445377799E-4</c:v>
                </c:pt>
                <c:pt idx="41231">
                  <c:v>8.4033613445377799E-4</c:v>
                </c:pt>
                <c:pt idx="41232">
                  <c:v>8.4033613445377799E-4</c:v>
                </c:pt>
                <c:pt idx="41233">
                  <c:v>8.4033613445377799E-4</c:v>
                </c:pt>
                <c:pt idx="41234">
                  <c:v>8.4033613445377799E-4</c:v>
                </c:pt>
                <c:pt idx="41235">
                  <c:v>8.4033613445377799E-4</c:v>
                </c:pt>
                <c:pt idx="41236">
                  <c:v>8.4033613445377799E-4</c:v>
                </c:pt>
                <c:pt idx="41237">
                  <c:v>8.4033613445377799E-4</c:v>
                </c:pt>
                <c:pt idx="41238">
                  <c:v>8.4033613445377799E-4</c:v>
                </c:pt>
                <c:pt idx="41239">
                  <c:v>8.4033613445377799E-4</c:v>
                </c:pt>
                <c:pt idx="41240">
                  <c:v>8.4033613445377799E-4</c:v>
                </c:pt>
                <c:pt idx="41241">
                  <c:v>8.4033613445377799E-4</c:v>
                </c:pt>
                <c:pt idx="41242">
                  <c:v>8.4033613445377799E-4</c:v>
                </c:pt>
                <c:pt idx="41243">
                  <c:v>8.4033613445377799E-4</c:v>
                </c:pt>
                <c:pt idx="41244">
                  <c:v>8.4033613445377799E-4</c:v>
                </c:pt>
                <c:pt idx="41245">
                  <c:v>8.4033613445377799E-4</c:v>
                </c:pt>
                <c:pt idx="41246">
                  <c:v>8.4033613445377799E-4</c:v>
                </c:pt>
                <c:pt idx="41247">
                  <c:v>8.4033613445377799E-4</c:v>
                </c:pt>
                <c:pt idx="41248">
                  <c:v>8.4033613445377799E-4</c:v>
                </c:pt>
                <c:pt idx="41249">
                  <c:v>8.4033613445377799E-4</c:v>
                </c:pt>
                <c:pt idx="41250">
                  <c:v>8.4033613445377799E-4</c:v>
                </c:pt>
                <c:pt idx="41251">
                  <c:v>8.4033613445377799E-4</c:v>
                </c:pt>
                <c:pt idx="41252">
                  <c:v>8.4033613445377799E-4</c:v>
                </c:pt>
                <c:pt idx="41253">
                  <c:v>8.4033613445377799E-4</c:v>
                </c:pt>
                <c:pt idx="41254">
                  <c:v>8.4033613445377799E-4</c:v>
                </c:pt>
                <c:pt idx="41255">
                  <c:v>8.4033613445377799E-4</c:v>
                </c:pt>
                <c:pt idx="41256">
                  <c:v>8.4033613445377799E-4</c:v>
                </c:pt>
                <c:pt idx="41257">
                  <c:v>8.4033613445377799E-4</c:v>
                </c:pt>
                <c:pt idx="41258">
                  <c:v>8.4033613445377799E-4</c:v>
                </c:pt>
                <c:pt idx="41259">
                  <c:v>8.4033613445377799E-4</c:v>
                </c:pt>
                <c:pt idx="41260">
                  <c:v>8.4033613445377799E-4</c:v>
                </c:pt>
                <c:pt idx="41261">
                  <c:v>8.4033613445377799E-4</c:v>
                </c:pt>
                <c:pt idx="41262">
                  <c:v>8.4033613445377799E-4</c:v>
                </c:pt>
                <c:pt idx="41263">
                  <c:v>8.4033613445377799E-4</c:v>
                </c:pt>
                <c:pt idx="41264">
                  <c:v>8.4033613445377799E-4</c:v>
                </c:pt>
                <c:pt idx="41265">
                  <c:v>8.4033613445377799E-4</c:v>
                </c:pt>
                <c:pt idx="41266">
                  <c:v>8.4033613445377799E-4</c:v>
                </c:pt>
                <c:pt idx="41267">
                  <c:v>8.4033613445377799E-4</c:v>
                </c:pt>
                <c:pt idx="41268">
                  <c:v>8.4033613445377799E-4</c:v>
                </c:pt>
                <c:pt idx="41269">
                  <c:v>8.4033613445377799E-4</c:v>
                </c:pt>
                <c:pt idx="41270">
                  <c:v>8.4033613445377799E-4</c:v>
                </c:pt>
                <c:pt idx="41271">
                  <c:v>8.4033613445377799E-4</c:v>
                </c:pt>
                <c:pt idx="41272">
                  <c:v>8.4033613445377799E-4</c:v>
                </c:pt>
                <c:pt idx="41273">
                  <c:v>8.4033613445377799E-4</c:v>
                </c:pt>
                <c:pt idx="41274">
                  <c:v>8.4033613445377799E-4</c:v>
                </c:pt>
                <c:pt idx="41275">
                  <c:v>8.4033613445377799E-4</c:v>
                </c:pt>
                <c:pt idx="41276">
                  <c:v>8.4033613445377799E-4</c:v>
                </c:pt>
                <c:pt idx="41277">
                  <c:v>8.4033613445377799E-4</c:v>
                </c:pt>
                <c:pt idx="41278">
                  <c:v>8.4033613445377799E-4</c:v>
                </c:pt>
                <c:pt idx="41279">
                  <c:v>8.4033613445377799E-4</c:v>
                </c:pt>
                <c:pt idx="41280">
                  <c:v>8.4033613445377799E-4</c:v>
                </c:pt>
                <c:pt idx="41281">
                  <c:v>8.4033613445377799E-4</c:v>
                </c:pt>
                <c:pt idx="41282">
                  <c:v>8.4033613445377799E-4</c:v>
                </c:pt>
                <c:pt idx="41283">
                  <c:v>8.4033613445377799E-4</c:v>
                </c:pt>
                <c:pt idx="41284">
                  <c:v>1.6806722689075499E-3</c:v>
                </c:pt>
                <c:pt idx="41285">
                  <c:v>1.6806722689075499E-3</c:v>
                </c:pt>
                <c:pt idx="41286">
                  <c:v>1.6806722689075499E-3</c:v>
                </c:pt>
                <c:pt idx="41287">
                  <c:v>1.6806722689075499E-3</c:v>
                </c:pt>
                <c:pt idx="41288">
                  <c:v>1.6806722689075499E-3</c:v>
                </c:pt>
                <c:pt idx="41289">
                  <c:v>1.6806722689075499E-3</c:v>
                </c:pt>
                <c:pt idx="41290">
                  <c:v>1.6806722689075499E-3</c:v>
                </c:pt>
                <c:pt idx="41291">
                  <c:v>1.6806722689075499E-3</c:v>
                </c:pt>
                <c:pt idx="41292">
                  <c:v>1.6806722689075499E-3</c:v>
                </c:pt>
                <c:pt idx="41293">
                  <c:v>1.6806722689075499E-3</c:v>
                </c:pt>
                <c:pt idx="41294">
                  <c:v>1.6806722689075499E-3</c:v>
                </c:pt>
                <c:pt idx="41295">
                  <c:v>1.6806722689075499E-3</c:v>
                </c:pt>
                <c:pt idx="41296">
                  <c:v>1.6806722689075499E-3</c:v>
                </c:pt>
                <c:pt idx="41297">
                  <c:v>1.6806722689075499E-3</c:v>
                </c:pt>
                <c:pt idx="41298">
                  <c:v>1.6806722689075499E-3</c:v>
                </c:pt>
                <c:pt idx="41299">
                  <c:v>1.6806722689075499E-3</c:v>
                </c:pt>
                <c:pt idx="41300">
                  <c:v>1.6806722689075499E-3</c:v>
                </c:pt>
                <c:pt idx="41301">
                  <c:v>1.6806722689075499E-3</c:v>
                </c:pt>
                <c:pt idx="41302">
                  <c:v>1.6806722689075499E-3</c:v>
                </c:pt>
                <c:pt idx="41303">
                  <c:v>1.6806722689075499E-3</c:v>
                </c:pt>
                <c:pt idx="41304">
                  <c:v>1.6806722689075499E-3</c:v>
                </c:pt>
                <c:pt idx="41305">
                  <c:v>1.6806722689075499E-3</c:v>
                </c:pt>
                <c:pt idx="41306">
                  <c:v>1.6806722689075499E-3</c:v>
                </c:pt>
                <c:pt idx="41307">
                  <c:v>1.6806722689075499E-3</c:v>
                </c:pt>
                <c:pt idx="41308">
                  <c:v>1.6806722689075499E-3</c:v>
                </c:pt>
                <c:pt idx="41309">
                  <c:v>1.6806722689075499E-3</c:v>
                </c:pt>
                <c:pt idx="41310">
                  <c:v>1.6806722689075499E-3</c:v>
                </c:pt>
                <c:pt idx="41311">
                  <c:v>1.6806722689075499E-3</c:v>
                </c:pt>
                <c:pt idx="41312">
                  <c:v>1.6806722689075499E-3</c:v>
                </c:pt>
                <c:pt idx="41313">
                  <c:v>1.6806722689075499E-3</c:v>
                </c:pt>
                <c:pt idx="41314">
                  <c:v>1.6806722689075499E-3</c:v>
                </c:pt>
                <c:pt idx="41315">
                  <c:v>1.6806722689075499E-3</c:v>
                </c:pt>
                <c:pt idx="41316">
                  <c:v>1.6806722689075499E-3</c:v>
                </c:pt>
                <c:pt idx="41317">
                  <c:v>1.6806722689075499E-3</c:v>
                </c:pt>
                <c:pt idx="41318">
                  <c:v>1.6806722689075499E-3</c:v>
                </c:pt>
                <c:pt idx="41319">
                  <c:v>1.6806722689075499E-3</c:v>
                </c:pt>
                <c:pt idx="41320">
                  <c:v>1.6806722689075499E-3</c:v>
                </c:pt>
                <c:pt idx="41321">
                  <c:v>1.6806722689075499E-3</c:v>
                </c:pt>
                <c:pt idx="41322">
                  <c:v>1.6806722689075499E-3</c:v>
                </c:pt>
                <c:pt idx="41323">
                  <c:v>1.6806722689075499E-3</c:v>
                </c:pt>
                <c:pt idx="41324">
                  <c:v>1.6806722689075499E-3</c:v>
                </c:pt>
                <c:pt idx="41325">
                  <c:v>1.6806722689075499E-3</c:v>
                </c:pt>
                <c:pt idx="41326">
                  <c:v>1.6806722689075499E-3</c:v>
                </c:pt>
                <c:pt idx="41327">
                  <c:v>1.6806722689075499E-3</c:v>
                </c:pt>
                <c:pt idx="41328">
                  <c:v>1.6806722689075499E-3</c:v>
                </c:pt>
                <c:pt idx="41329">
                  <c:v>1.6806722689075499E-3</c:v>
                </c:pt>
                <c:pt idx="41330">
                  <c:v>1.6806722689075499E-3</c:v>
                </c:pt>
                <c:pt idx="41331">
                  <c:v>1.6806722689075499E-3</c:v>
                </c:pt>
                <c:pt idx="41332">
                  <c:v>1.6806722689075499E-3</c:v>
                </c:pt>
                <c:pt idx="41333">
                  <c:v>1.6806722689075499E-3</c:v>
                </c:pt>
                <c:pt idx="41334">
                  <c:v>1.6806722689075499E-3</c:v>
                </c:pt>
                <c:pt idx="41335">
                  <c:v>1.6806722689075499E-3</c:v>
                </c:pt>
                <c:pt idx="41336">
                  <c:v>1.6806722689075499E-3</c:v>
                </c:pt>
                <c:pt idx="41337">
                  <c:v>1.6806722689075499E-3</c:v>
                </c:pt>
                <c:pt idx="41338">
                  <c:v>1.6806722689075499E-3</c:v>
                </c:pt>
                <c:pt idx="41339">
                  <c:v>1.6806722689075499E-3</c:v>
                </c:pt>
                <c:pt idx="41340">
                  <c:v>1.6806722689075499E-3</c:v>
                </c:pt>
                <c:pt idx="41341">
                  <c:v>1.6806722689075499E-3</c:v>
                </c:pt>
                <c:pt idx="41342">
                  <c:v>1.6806722689075499E-3</c:v>
                </c:pt>
                <c:pt idx="41343">
                  <c:v>1.6806722689075499E-3</c:v>
                </c:pt>
                <c:pt idx="41344">
                  <c:v>1.6806722689075499E-3</c:v>
                </c:pt>
                <c:pt idx="41345">
                  <c:v>1.6806722689075499E-3</c:v>
                </c:pt>
                <c:pt idx="41346">
                  <c:v>1.6806722689075499E-3</c:v>
                </c:pt>
                <c:pt idx="41347">
                  <c:v>1.6806722689075499E-3</c:v>
                </c:pt>
                <c:pt idx="41348">
                  <c:v>1.6806722689075499E-3</c:v>
                </c:pt>
                <c:pt idx="41349">
                  <c:v>1.6806722689075499E-3</c:v>
                </c:pt>
                <c:pt idx="41350">
                  <c:v>1.6806722689075499E-3</c:v>
                </c:pt>
                <c:pt idx="41351">
                  <c:v>1.6806722689075499E-3</c:v>
                </c:pt>
                <c:pt idx="41352">
                  <c:v>1.6806722689075499E-3</c:v>
                </c:pt>
                <c:pt idx="41353">
                  <c:v>1.6806722689075499E-3</c:v>
                </c:pt>
                <c:pt idx="41354">
                  <c:v>1.6806722689075499E-3</c:v>
                </c:pt>
                <c:pt idx="41355">
                  <c:v>1.6806722689075499E-3</c:v>
                </c:pt>
                <c:pt idx="41356">
                  <c:v>1.6806722689075499E-3</c:v>
                </c:pt>
                <c:pt idx="41357">
                  <c:v>1.6806722689075499E-3</c:v>
                </c:pt>
                <c:pt idx="41358">
                  <c:v>1.6806722689075499E-3</c:v>
                </c:pt>
                <c:pt idx="41359">
                  <c:v>1.6806722689075499E-3</c:v>
                </c:pt>
                <c:pt idx="41360">
                  <c:v>1.6806722689075499E-3</c:v>
                </c:pt>
                <c:pt idx="41361">
                  <c:v>1.6806722689075499E-3</c:v>
                </c:pt>
                <c:pt idx="41362">
                  <c:v>1.6806722689075499E-3</c:v>
                </c:pt>
                <c:pt idx="41363">
                  <c:v>1.6806722689075499E-3</c:v>
                </c:pt>
                <c:pt idx="41364">
                  <c:v>1.6806722689075499E-3</c:v>
                </c:pt>
                <c:pt idx="41365">
                  <c:v>1.6806722689075499E-3</c:v>
                </c:pt>
                <c:pt idx="41366">
                  <c:v>1.6806722689075499E-3</c:v>
                </c:pt>
                <c:pt idx="41367">
                  <c:v>1.6806722689075499E-3</c:v>
                </c:pt>
                <c:pt idx="41368">
                  <c:v>1.6806722689075499E-3</c:v>
                </c:pt>
                <c:pt idx="41369">
                  <c:v>1.6806722689075499E-3</c:v>
                </c:pt>
                <c:pt idx="41370">
                  <c:v>1.6806722689075499E-3</c:v>
                </c:pt>
                <c:pt idx="41371">
                  <c:v>1.6806722689075499E-3</c:v>
                </c:pt>
                <c:pt idx="41372">
                  <c:v>1.6806722689075499E-3</c:v>
                </c:pt>
                <c:pt idx="41373">
                  <c:v>1.6806722689075499E-3</c:v>
                </c:pt>
                <c:pt idx="41374">
                  <c:v>1.6806722689075499E-3</c:v>
                </c:pt>
                <c:pt idx="41375">
                  <c:v>1.6806722689075499E-3</c:v>
                </c:pt>
                <c:pt idx="41376">
                  <c:v>1.6806722689075499E-3</c:v>
                </c:pt>
                <c:pt idx="41377">
                  <c:v>1.6806722689075499E-3</c:v>
                </c:pt>
                <c:pt idx="41378">
                  <c:v>1.6806722689075499E-3</c:v>
                </c:pt>
                <c:pt idx="41379">
                  <c:v>1.6806722689075499E-3</c:v>
                </c:pt>
                <c:pt idx="41380">
                  <c:v>1.6806722689075499E-3</c:v>
                </c:pt>
                <c:pt idx="41381">
                  <c:v>1.6806722689075499E-3</c:v>
                </c:pt>
                <c:pt idx="41382">
                  <c:v>2.5210084033613299E-3</c:v>
                </c:pt>
                <c:pt idx="41383">
                  <c:v>2.5210084033613299E-3</c:v>
                </c:pt>
                <c:pt idx="41384">
                  <c:v>2.5210084033613299E-3</c:v>
                </c:pt>
                <c:pt idx="41385">
                  <c:v>2.5210084033613299E-3</c:v>
                </c:pt>
                <c:pt idx="41386">
                  <c:v>2.5210084033613299E-3</c:v>
                </c:pt>
                <c:pt idx="41387">
                  <c:v>2.5210084033613299E-3</c:v>
                </c:pt>
                <c:pt idx="41388">
                  <c:v>2.5210084033613299E-3</c:v>
                </c:pt>
                <c:pt idx="41389">
                  <c:v>2.5210084033613299E-3</c:v>
                </c:pt>
                <c:pt idx="41390">
                  <c:v>2.5210084033613299E-3</c:v>
                </c:pt>
                <c:pt idx="41391">
                  <c:v>2.5210084033613299E-3</c:v>
                </c:pt>
                <c:pt idx="41392">
                  <c:v>2.5210084033613299E-3</c:v>
                </c:pt>
                <c:pt idx="41393">
                  <c:v>2.5210084033613299E-3</c:v>
                </c:pt>
                <c:pt idx="41394">
                  <c:v>2.5210084033613299E-3</c:v>
                </c:pt>
                <c:pt idx="41395">
                  <c:v>2.5210084033613299E-3</c:v>
                </c:pt>
                <c:pt idx="41396">
                  <c:v>2.5210084033613299E-3</c:v>
                </c:pt>
                <c:pt idx="41397">
                  <c:v>2.5210084033613299E-3</c:v>
                </c:pt>
                <c:pt idx="41398">
                  <c:v>2.5210084033613299E-3</c:v>
                </c:pt>
                <c:pt idx="41399">
                  <c:v>2.5210084033613299E-3</c:v>
                </c:pt>
                <c:pt idx="41400">
                  <c:v>2.5210084033613299E-3</c:v>
                </c:pt>
                <c:pt idx="41401">
                  <c:v>2.5210084033613299E-3</c:v>
                </c:pt>
                <c:pt idx="41402">
                  <c:v>2.5210084033613299E-3</c:v>
                </c:pt>
                <c:pt idx="41403">
                  <c:v>2.5210084033613299E-3</c:v>
                </c:pt>
                <c:pt idx="41404">
                  <c:v>2.5210084033613299E-3</c:v>
                </c:pt>
                <c:pt idx="41405">
                  <c:v>2.5210084033613299E-3</c:v>
                </c:pt>
                <c:pt idx="41406">
                  <c:v>2.5210084033613299E-3</c:v>
                </c:pt>
                <c:pt idx="41407">
                  <c:v>2.5210084033613299E-3</c:v>
                </c:pt>
                <c:pt idx="41408">
                  <c:v>2.5210084033613299E-3</c:v>
                </c:pt>
                <c:pt idx="41409">
                  <c:v>2.5210084033613299E-3</c:v>
                </c:pt>
                <c:pt idx="41410">
                  <c:v>2.5210084033613299E-3</c:v>
                </c:pt>
                <c:pt idx="41411">
                  <c:v>2.5210084033613299E-3</c:v>
                </c:pt>
                <c:pt idx="41412">
                  <c:v>2.5210084033613299E-3</c:v>
                </c:pt>
                <c:pt idx="41413">
                  <c:v>2.5210084033613299E-3</c:v>
                </c:pt>
                <c:pt idx="41414">
                  <c:v>2.5210084033613299E-3</c:v>
                </c:pt>
                <c:pt idx="41415">
                  <c:v>2.5210084033613299E-3</c:v>
                </c:pt>
                <c:pt idx="41416">
                  <c:v>2.5210084033613299E-3</c:v>
                </c:pt>
                <c:pt idx="41417">
                  <c:v>2.5210084033613299E-3</c:v>
                </c:pt>
                <c:pt idx="41418">
                  <c:v>2.5210084033613299E-3</c:v>
                </c:pt>
                <c:pt idx="41419">
                  <c:v>2.5210084033613299E-3</c:v>
                </c:pt>
                <c:pt idx="41420">
                  <c:v>2.5210084033613299E-3</c:v>
                </c:pt>
                <c:pt idx="41421">
                  <c:v>2.5210084033613299E-3</c:v>
                </c:pt>
                <c:pt idx="41422">
                  <c:v>2.5210084033613299E-3</c:v>
                </c:pt>
                <c:pt idx="41423">
                  <c:v>2.5210084033613299E-3</c:v>
                </c:pt>
                <c:pt idx="41424">
                  <c:v>2.5210084033613299E-3</c:v>
                </c:pt>
                <c:pt idx="41425">
                  <c:v>2.5210084033613299E-3</c:v>
                </c:pt>
                <c:pt idx="41426">
                  <c:v>2.5210084033613299E-3</c:v>
                </c:pt>
                <c:pt idx="41427">
                  <c:v>2.5210084033613299E-3</c:v>
                </c:pt>
                <c:pt idx="41428">
                  <c:v>3.3613445378151102E-3</c:v>
                </c:pt>
                <c:pt idx="41429">
                  <c:v>3.3613445378151102E-3</c:v>
                </c:pt>
                <c:pt idx="41430">
                  <c:v>3.3613445378151102E-3</c:v>
                </c:pt>
                <c:pt idx="41431">
                  <c:v>3.3613445378151102E-3</c:v>
                </c:pt>
                <c:pt idx="41432">
                  <c:v>3.3613445378151102E-3</c:v>
                </c:pt>
                <c:pt idx="41433">
                  <c:v>3.3613445378151102E-3</c:v>
                </c:pt>
                <c:pt idx="41434">
                  <c:v>2.5210084033613299E-3</c:v>
                </c:pt>
                <c:pt idx="41435">
                  <c:v>2.5210084033613299E-3</c:v>
                </c:pt>
                <c:pt idx="41436">
                  <c:v>2.5210084033613299E-3</c:v>
                </c:pt>
                <c:pt idx="41437">
                  <c:v>2.5210084033613299E-3</c:v>
                </c:pt>
                <c:pt idx="41438">
                  <c:v>2.5210084033613299E-3</c:v>
                </c:pt>
                <c:pt idx="41439">
                  <c:v>2.5210084033613299E-3</c:v>
                </c:pt>
                <c:pt idx="41440">
                  <c:v>2.5210084033613299E-3</c:v>
                </c:pt>
                <c:pt idx="41441">
                  <c:v>2.5210084033613299E-3</c:v>
                </c:pt>
                <c:pt idx="41442">
                  <c:v>2.5210084033613299E-3</c:v>
                </c:pt>
                <c:pt idx="41443">
                  <c:v>2.5210084033613299E-3</c:v>
                </c:pt>
                <c:pt idx="41444">
                  <c:v>2.5210084033613299E-3</c:v>
                </c:pt>
                <c:pt idx="41445">
                  <c:v>2.5210084033613299E-3</c:v>
                </c:pt>
                <c:pt idx="41446">
                  <c:v>2.5210084033613299E-3</c:v>
                </c:pt>
                <c:pt idx="41447">
                  <c:v>2.5210084033613299E-3</c:v>
                </c:pt>
                <c:pt idx="41448">
                  <c:v>2.5210084033613299E-3</c:v>
                </c:pt>
                <c:pt idx="41449">
                  <c:v>2.5210084033613299E-3</c:v>
                </c:pt>
                <c:pt idx="41450">
                  <c:v>2.5210084033613299E-3</c:v>
                </c:pt>
                <c:pt idx="41451">
                  <c:v>2.5210084033613299E-3</c:v>
                </c:pt>
                <c:pt idx="41452">
                  <c:v>2.5210084033613299E-3</c:v>
                </c:pt>
                <c:pt idx="41453">
                  <c:v>2.5210084033613299E-3</c:v>
                </c:pt>
                <c:pt idx="41454">
                  <c:v>2.5210084033613299E-3</c:v>
                </c:pt>
                <c:pt idx="41455">
                  <c:v>2.5210084033613299E-3</c:v>
                </c:pt>
                <c:pt idx="41456">
                  <c:v>2.5210084033613299E-3</c:v>
                </c:pt>
                <c:pt idx="41457">
                  <c:v>2.5210084033613299E-3</c:v>
                </c:pt>
                <c:pt idx="41458">
                  <c:v>2.5210084033613299E-3</c:v>
                </c:pt>
                <c:pt idx="41459">
                  <c:v>2.5210084033613299E-3</c:v>
                </c:pt>
                <c:pt idx="41460">
                  <c:v>2.5210084033613299E-3</c:v>
                </c:pt>
                <c:pt idx="41461">
                  <c:v>2.5210084033613299E-3</c:v>
                </c:pt>
                <c:pt idx="41462">
                  <c:v>2.5210084033613299E-3</c:v>
                </c:pt>
                <c:pt idx="41463">
                  <c:v>2.5210084033613299E-3</c:v>
                </c:pt>
                <c:pt idx="41464">
                  <c:v>2.5210084033613299E-3</c:v>
                </c:pt>
                <c:pt idx="41465">
                  <c:v>2.5210084033613299E-3</c:v>
                </c:pt>
                <c:pt idx="41466">
                  <c:v>2.5210084033613299E-3</c:v>
                </c:pt>
                <c:pt idx="41467">
                  <c:v>2.5210084033613299E-3</c:v>
                </c:pt>
                <c:pt idx="41468">
                  <c:v>2.5210084033613299E-3</c:v>
                </c:pt>
                <c:pt idx="41469">
                  <c:v>2.5210084033613299E-3</c:v>
                </c:pt>
                <c:pt idx="41470">
                  <c:v>2.5210084033613299E-3</c:v>
                </c:pt>
                <c:pt idx="41471">
                  <c:v>2.5210084033613299E-3</c:v>
                </c:pt>
                <c:pt idx="41472">
                  <c:v>3.3613445378151102E-3</c:v>
                </c:pt>
                <c:pt idx="41473">
                  <c:v>3.3613445378151102E-3</c:v>
                </c:pt>
                <c:pt idx="41474">
                  <c:v>3.3613445378151102E-3</c:v>
                </c:pt>
                <c:pt idx="41475">
                  <c:v>3.3613445378151102E-3</c:v>
                </c:pt>
                <c:pt idx="41476">
                  <c:v>3.3613445378151102E-3</c:v>
                </c:pt>
                <c:pt idx="41477">
                  <c:v>3.3613445378151102E-3</c:v>
                </c:pt>
                <c:pt idx="41478">
                  <c:v>3.3613445378151102E-3</c:v>
                </c:pt>
                <c:pt idx="41479">
                  <c:v>3.3613445378151102E-3</c:v>
                </c:pt>
                <c:pt idx="41480">
                  <c:v>3.3613445378151102E-3</c:v>
                </c:pt>
                <c:pt idx="41481">
                  <c:v>3.3613445378151102E-3</c:v>
                </c:pt>
                <c:pt idx="41482">
                  <c:v>3.3613445378151102E-3</c:v>
                </c:pt>
                <c:pt idx="41483">
                  <c:v>3.3613445378151102E-3</c:v>
                </c:pt>
                <c:pt idx="41484">
                  <c:v>3.3613445378151102E-3</c:v>
                </c:pt>
                <c:pt idx="41485">
                  <c:v>3.3613445378151102E-3</c:v>
                </c:pt>
                <c:pt idx="41486">
                  <c:v>3.3613445378151102E-3</c:v>
                </c:pt>
                <c:pt idx="41487">
                  <c:v>3.3613445378151102E-3</c:v>
                </c:pt>
                <c:pt idx="41488">
                  <c:v>3.3613445378151102E-3</c:v>
                </c:pt>
                <c:pt idx="41489">
                  <c:v>3.3613445378151102E-3</c:v>
                </c:pt>
                <c:pt idx="41490">
                  <c:v>3.3613445378151102E-3</c:v>
                </c:pt>
                <c:pt idx="41491">
                  <c:v>3.3613445378151102E-3</c:v>
                </c:pt>
                <c:pt idx="41492">
                  <c:v>3.3613445378151102E-3</c:v>
                </c:pt>
                <c:pt idx="41493">
                  <c:v>3.3613445378151102E-3</c:v>
                </c:pt>
                <c:pt idx="41494">
                  <c:v>3.3613445378151102E-3</c:v>
                </c:pt>
                <c:pt idx="41495">
                  <c:v>3.3613445378151102E-3</c:v>
                </c:pt>
                <c:pt idx="41496">
                  <c:v>3.3613445378151102E-3</c:v>
                </c:pt>
                <c:pt idx="41497">
                  <c:v>3.3613445378151102E-3</c:v>
                </c:pt>
                <c:pt idx="41498">
                  <c:v>3.3613445378151102E-3</c:v>
                </c:pt>
                <c:pt idx="41499">
                  <c:v>3.3613445378151102E-3</c:v>
                </c:pt>
                <c:pt idx="41500">
                  <c:v>3.3613445378151102E-3</c:v>
                </c:pt>
                <c:pt idx="41501">
                  <c:v>3.3613445378151102E-3</c:v>
                </c:pt>
                <c:pt idx="41502">
                  <c:v>3.3613445378151102E-3</c:v>
                </c:pt>
                <c:pt idx="41503">
                  <c:v>3.3613445378151102E-3</c:v>
                </c:pt>
                <c:pt idx="41504">
                  <c:v>3.3613445378151102E-3</c:v>
                </c:pt>
                <c:pt idx="41505">
                  <c:v>3.3613445378151102E-3</c:v>
                </c:pt>
                <c:pt idx="41506">
                  <c:v>3.3613445378151102E-3</c:v>
                </c:pt>
                <c:pt idx="41507">
                  <c:v>3.3613445378151102E-3</c:v>
                </c:pt>
                <c:pt idx="41508">
                  <c:v>3.3613445378151102E-3</c:v>
                </c:pt>
                <c:pt idx="41509">
                  <c:v>3.3613445378151102E-3</c:v>
                </c:pt>
                <c:pt idx="41510">
                  <c:v>3.3613445378151102E-3</c:v>
                </c:pt>
                <c:pt idx="41511">
                  <c:v>3.3613445378151102E-3</c:v>
                </c:pt>
                <c:pt idx="41512">
                  <c:v>3.3613445378151102E-3</c:v>
                </c:pt>
                <c:pt idx="41513">
                  <c:v>3.3613445378151102E-3</c:v>
                </c:pt>
                <c:pt idx="41514">
                  <c:v>3.3613445378151102E-3</c:v>
                </c:pt>
                <c:pt idx="41515">
                  <c:v>3.3613445378151102E-3</c:v>
                </c:pt>
                <c:pt idx="41516">
                  <c:v>3.3613445378151102E-3</c:v>
                </c:pt>
                <c:pt idx="41517">
                  <c:v>3.3613445378151102E-3</c:v>
                </c:pt>
                <c:pt idx="41518">
                  <c:v>3.3613445378151102E-3</c:v>
                </c:pt>
                <c:pt idx="41519">
                  <c:v>3.3613445378151102E-3</c:v>
                </c:pt>
                <c:pt idx="41520">
                  <c:v>3.3613445378151102E-3</c:v>
                </c:pt>
                <c:pt idx="41521">
                  <c:v>3.3613445378151102E-3</c:v>
                </c:pt>
                <c:pt idx="41522">
                  <c:v>3.3613445378151102E-3</c:v>
                </c:pt>
                <c:pt idx="41523">
                  <c:v>3.3613445378151102E-3</c:v>
                </c:pt>
                <c:pt idx="41524">
                  <c:v>3.3613445378151102E-3</c:v>
                </c:pt>
                <c:pt idx="41525">
                  <c:v>3.3613445378151102E-3</c:v>
                </c:pt>
                <c:pt idx="41526">
                  <c:v>3.3613445378151102E-3</c:v>
                </c:pt>
                <c:pt idx="41527">
                  <c:v>3.3613445378151102E-3</c:v>
                </c:pt>
                <c:pt idx="41528">
                  <c:v>3.3613445378151102E-3</c:v>
                </c:pt>
                <c:pt idx="41529">
                  <c:v>3.3613445378151102E-3</c:v>
                </c:pt>
                <c:pt idx="41530">
                  <c:v>3.3613445378151102E-3</c:v>
                </c:pt>
                <c:pt idx="41531">
                  <c:v>3.3613445378151102E-3</c:v>
                </c:pt>
                <c:pt idx="41532">
                  <c:v>3.3613445378151102E-3</c:v>
                </c:pt>
                <c:pt idx="41533">
                  <c:v>3.3613445378151102E-3</c:v>
                </c:pt>
                <c:pt idx="41534">
                  <c:v>3.3613445378151102E-3</c:v>
                </c:pt>
                <c:pt idx="41535">
                  <c:v>3.3613445378151102E-3</c:v>
                </c:pt>
                <c:pt idx="41536">
                  <c:v>3.3613445378151102E-3</c:v>
                </c:pt>
                <c:pt idx="41537">
                  <c:v>3.3613445378151102E-3</c:v>
                </c:pt>
                <c:pt idx="41538">
                  <c:v>3.3613445378151102E-3</c:v>
                </c:pt>
                <c:pt idx="41539">
                  <c:v>3.3613445378151102E-3</c:v>
                </c:pt>
                <c:pt idx="41540">
                  <c:v>3.3613445378151102E-3</c:v>
                </c:pt>
                <c:pt idx="41541">
                  <c:v>3.3613445378151102E-3</c:v>
                </c:pt>
                <c:pt idx="41542">
                  <c:v>3.3613445378151102E-3</c:v>
                </c:pt>
                <c:pt idx="41543">
                  <c:v>3.3613445378151102E-3</c:v>
                </c:pt>
                <c:pt idx="41544">
                  <c:v>3.3613445378151102E-3</c:v>
                </c:pt>
                <c:pt idx="41545">
                  <c:v>3.3613445378151102E-3</c:v>
                </c:pt>
                <c:pt idx="41546">
                  <c:v>3.3613445378151102E-3</c:v>
                </c:pt>
                <c:pt idx="41547">
                  <c:v>3.3613445378151102E-3</c:v>
                </c:pt>
                <c:pt idx="41548">
                  <c:v>3.3613445378151102E-3</c:v>
                </c:pt>
                <c:pt idx="41549">
                  <c:v>3.3613445378151102E-3</c:v>
                </c:pt>
                <c:pt idx="41550">
                  <c:v>3.3613445378151102E-3</c:v>
                </c:pt>
                <c:pt idx="41551">
                  <c:v>3.3613445378151102E-3</c:v>
                </c:pt>
                <c:pt idx="41552">
                  <c:v>3.3613445378151102E-3</c:v>
                </c:pt>
                <c:pt idx="41553">
                  <c:v>3.3613445378151102E-3</c:v>
                </c:pt>
                <c:pt idx="41554">
                  <c:v>3.3613445378151102E-3</c:v>
                </c:pt>
                <c:pt idx="41555">
                  <c:v>3.3613445378151102E-3</c:v>
                </c:pt>
                <c:pt idx="41556">
                  <c:v>3.3613445378151102E-3</c:v>
                </c:pt>
                <c:pt idx="41557">
                  <c:v>3.3613445378151102E-3</c:v>
                </c:pt>
                <c:pt idx="41558">
                  <c:v>3.3613445378151102E-3</c:v>
                </c:pt>
                <c:pt idx="41559">
                  <c:v>3.3613445378151102E-3</c:v>
                </c:pt>
                <c:pt idx="41560">
                  <c:v>3.3613445378151102E-3</c:v>
                </c:pt>
                <c:pt idx="41561">
                  <c:v>3.3613445378151102E-3</c:v>
                </c:pt>
                <c:pt idx="41562">
                  <c:v>3.3613445378151102E-3</c:v>
                </c:pt>
                <c:pt idx="41563">
                  <c:v>3.3613445378151102E-3</c:v>
                </c:pt>
                <c:pt idx="41564">
                  <c:v>3.3613445378151102E-3</c:v>
                </c:pt>
                <c:pt idx="41565">
                  <c:v>3.3613445378151102E-3</c:v>
                </c:pt>
                <c:pt idx="41566">
                  <c:v>3.3613445378151102E-3</c:v>
                </c:pt>
                <c:pt idx="41567">
                  <c:v>3.3613445378151102E-3</c:v>
                </c:pt>
                <c:pt idx="41568">
                  <c:v>3.3613445378151102E-3</c:v>
                </c:pt>
                <c:pt idx="41569">
                  <c:v>3.3613445378151102E-3</c:v>
                </c:pt>
                <c:pt idx="41570">
                  <c:v>3.3613445378151102E-3</c:v>
                </c:pt>
                <c:pt idx="41571">
                  <c:v>3.3613445378151102E-3</c:v>
                </c:pt>
                <c:pt idx="41572">
                  <c:v>3.3613445378151102E-3</c:v>
                </c:pt>
                <c:pt idx="41573">
                  <c:v>3.3613445378151102E-3</c:v>
                </c:pt>
                <c:pt idx="41574">
                  <c:v>3.3613445378151102E-3</c:v>
                </c:pt>
                <c:pt idx="41575">
                  <c:v>3.3613445378151102E-3</c:v>
                </c:pt>
                <c:pt idx="41576">
                  <c:v>3.3613445378151102E-3</c:v>
                </c:pt>
                <c:pt idx="41577">
                  <c:v>3.3613445378151102E-3</c:v>
                </c:pt>
                <c:pt idx="41578">
                  <c:v>3.3613445378151102E-3</c:v>
                </c:pt>
                <c:pt idx="41579">
                  <c:v>3.3613445378151102E-3</c:v>
                </c:pt>
                <c:pt idx="41580">
                  <c:v>3.3613445378151102E-3</c:v>
                </c:pt>
                <c:pt idx="41581">
                  <c:v>3.3613445378151102E-3</c:v>
                </c:pt>
                <c:pt idx="41582">
                  <c:v>3.3613445378151102E-3</c:v>
                </c:pt>
                <c:pt idx="41583">
                  <c:v>3.3613445378151102E-3</c:v>
                </c:pt>
                <c:pt idx="41584">
                  <c:v>3.3613445378151102E-3</c:v>
                </c:pt>
                <c:pt idx="41585">
                  <c:v>3.3613445378151102E-3</c:v>
                </c:pt>
                <c:pt idx="41586">
                  <c:v>3.3613445378151102E-3</c:v>
                </c:pt>
                <c:pt idx="41587">
                  <c:v>3.3613445378151102E-3</c:v>
                </c:pt>
                <c:pt idx="41588">
                  <c:v>3.3613445378151102E-3</c:v>
                </c:pt>
                <c:pt idx="41589">
                  <c:v>3.3613445378151102E-3</c:v>
                </c:pt>
                <c:pt idx="41590">
                  <c:v>3.3613445378151102E-3</c:v>
                </c:pt>
                <c:pt idx="41591">
                  <c:v>3.3613445378151102E-3</c:v>
                </c:pt>
                <c:pt idx="41592">
                  <c:v>3.3613445378151102E-3</c:v>
                </c:pt>
                <c:pt idx="41593">
                  <c:v>3.3613445378151102E-3</c:v>
                </c:pt>
                <c:pt idx="41594">
                  <c:v>3.3613445378151102E-3</c:v>
                </c:pt>
                <c:pt idx="41595">
                  <c:v>3.3613445378151102E-3</c:v>
                </c:pt>
                <c:pt idx="41596">
                  <c:v>3.3613445378151102E-3</c:v>
                </c:pt>
                <c:pt idx="41597">
                  <c:v>3.3613445378151102E-3</c:v>
                </c:pt>
                <c:pt idx="41598">
                  <c:v>3.3613445378151102E-3</c:v>
                </c:pt>
                <c:pt idx="41599">
                  <c:v>3.3613445378151102E-3</c:v>
                </c:pt>
                <c:pt idx="41600">
                  <c:v>3.3613445378151102E-3</c:v>
                </c:pt>
                <c:pt idx="41601">
                  <c:v>3.3613445378151102E-3</c:v>
                </c:pt>
                <c:pt idx="41602">
                  <c:v>3.3613445378151102E-3</c:v>
                </c:pt>
                <c:pt idx="41603">
                  <c:v>3.3613445378151102E-3</c:v>
                </c:pt>
                <c:pt idx="41604">
                  <c:v>3.3613445378151102E-3</c:v>
                </c:pt>
                <c:pt idx="41605">
                  <c:v>3.3613445378151102E-3</c:v>
                </c:pt>
                <c:pt idx="41606">
                  <c:v>2.5210084033613299E-3</c:v>
                </c:pt>
                <c:pt idx="41607">
                  <c:v>2.5210084033613299E-3</c:v>
                </c:pt>
                <c:pt idx="41608">
                  <c:v>2.5210084033613299E-3</c:v>
                </c:pt>
                <c:pt idx="41609">
                  <c:v>2.5210084033613299E-3</c:v>
                </c:pt>
                <c:pt idx="41610">
                  <c:v>2.5210084033613299E-3</c:v>
                </c:pt>
                <c:pt idx="41611">
                  <c:v>2.5210084033613299E-3</c:v>
                </c:pt>
                <c:pt idx="41612">
                  <c:v>2.5210084033613299E-3</c:v>
                </c:pt>
                <c:pt idx="41613">
                  <c:v>2.5210084033613299E-3</c:v>
                </c:pt>
                <c:pt idx="41614">
                  <c:v>2.5210084033613299E-3</c:v>
                </c:pt>
                <c:pt idx="41615">
                  <c:v>2.5210084033613299E-3</c:v>
                </c:pt>
                <c:pt idx="41616">
                  <c:v>2.5210084033613299E-3</c:v>
                </c:pt>
                <c:pt idx="41617">
                  <c:v>2.5210084033613299E-3</c:v>
                </c:pt>
                <c:pt idx="41618">
                  <c:v>2.5210084033613299E-3</c:v>
                </c:pt>
                <c:pt idx="41619">
                  <c:v>2.5210084033613299E-3</c:v>
                </c:pt>
                <c:pt idx="41620">
                  <c:v>2.5210084033613299E-3</c:v>
                </c:pt>
                <c:pt idx="41621">
                  <c:v>2.5210084033613299E-3</c:v>
                </c:pt>
                <c:pt idx="41622">
                  <c:v>2.5210084033613299E-3</c:v>
                </c:pt>
                <c:pt idx="41623">
                  <c:v>2.5210084033613299E-3</c:v>
                </c:pt>
                <c:pt idx="41624">
                  <c:v>2.5210084033613299E-3</c:v>
                </c:pt>
                <c:pt idx="41625">
                  <c:v>2.5210084033613299E-3</c:v>
                </c:pt>
                <c:pt idx="41626">
                  <c:v>2.5210084033613299E-3</c:v>
                </c:pt>
                <c:pt idx="41627">
                  <c:v>2.5210084033613299E-3</c:v>
                </c:pt>
                <c:pt idx="41628">
                  <c:v>2.5210084033613299E-3</c:v>
                </c:pt>
                <c:pt idx="41629">
                  <c:v>2.5210084033613299E-3</c:v>
                </c:pt>
                <c:pt idx="41630">
                  <c:v>2.5210084033613299E-3</c:v>
                </c:pt>
                <c:pt idx="41631">
                  <c:v>2.5210084033613299E-3</c:v>
                </c:pt>
                <c:pt idx="41632">
                  <c:v>2.5210084033613299E-3</c:v>
                </c:pt>
                <c:pt idx="41633">
                  <c:v>2.5210084033613299E-3</c:v>
                </c:pt>
                <c:pt idx="41634">
                  <c:v>2.5210084033613299E-3</c:v>
                </c:pt>
                <c:pt idx="41635">
                  <c:v>2.5210084033613299E-3</c:v>
                </c:pt>
                <c:pt idx="41636">
                  <c:v>2.5210084033613299E-3</c:v>
                </c:pt>
                <c:pt idx="41637">
                  <c:v>2.5210084033613299E-3</c:v>
                </c:pt>
                <c:pt idx="41638">
                  <c:v>2.5210084033613299E-3</c:v>
                </c:pt>
                <c:pt idx="41639">
                  <c:v>2.5210084033613299E-3</c:v>
                </c:pt>
                <c:pt idx="41640">
                  <c:v>2.5210084033613299E-3</c:v>
                </c:pt>
                <c:pt idx="41641">
                  <c:v>2.5210084033613299E-3</c:v>
                </c:pt>
                <c:pt idx="41642">
                  <c:v>2.5210084033613299E-3</c:v>
                </c:pt>
                <c:pt idx="41643">
                  <c:v>2.5210084033613299E-3</c:v>
                </c:pt>
                <c:pt idx="41644">
                  <c:v>2.5210084033613299E-3</c:v>
                </c:pt>
                <c:pt idx="41645">
                  <c:v>2.5210084033613299E-3</c:v>
                </c:pt>
                <c:pt idx="41646">
                  <c:v>2.5210084033613299E-3</c:v>
                </c:pt>
                <c:pt idx="41647">
                  <c:v>2.5210084033613299E-3</c:v>
                </c:pt>
                <c:pt idx="41648">
                  <c:v>2.5210084033613299E-3</c:v>
                </c:pt>
                <c:pt idx="41649">
                  <c:v>2.5210084033613299E-3</c:v>
                </c:pt>
                <c:pt idx="41650">
                  <c:v>2.5210084033613299E-3</c:v>
                </c:pt>
                <c:pt idx="41651">
                  <c:v>2.5210084033613299E-3</c:v>
                </c:pt>
                <c:pt idx="41652">
                  <c:v>2.5210084033613299E-3</c:v>
                </c:pt>
                <c:pt idx="41653">
                  <c:v>2.5210084033613299E-3</c:v>
                </c:pt>
                <c:pt idx="41654">
                  <c:v>2.5210084033613299E-3</c:v>
                </c:pt>
                <c:pt idx="41655">
                  <c:v>2.5210084033613299E-3</c:v>
                </c:pt>
                <c:pt idx="41656">
                  <c:v>2.5210084033613299E-3</c:v>
                </c:pt>
                <c:pt idx="41657">
                  <c:v>2.5210084033613299E-3</c:v>
                </c:pt>
                <c:pt idx="41658">
                  <c:v>2.5210084033613299E-3</c:v>
                </c:pt>
                <c:pt idx="41659">
                  <c:v>2.5210084033613299E-3</c:v>
                </c:pt>
                <c:pt idx="41660">
                  <c:v>2.5210084033613299E-3</c:v>
                </c:pt>
                <c:pt idx="41661">
                  <c:v>2.5210084033613299E-3</c:v>
                </c:pt>
                <c:pt idx="41662">
                  <c:v>2.5210084033613299E-3</c:v>
                </c:pt>
                <c:pt idx="41663">
                  <c:v>2.5210084033613299E-3</c:v>
                </c:pt>
                <c:pt idx="41664">
                  <c:v>1.6806722689075499E-3</c:v>
                </c:pt>
                <c:pt idx="41665">
                  <c:v>1.6806722689075499E-3</c:v>
                </c:pt>
                <c:pt idx="41666">
                  <c:v>1.6806722689075499E-3</c:v>
                </c:pt>
                <c:pt idx="41667">
                  <c:v>1.6806722689075499E-3</c:v>
                </c:pt>
                <c:pt idx="41668">
                  <c:v>1.6806722689075499E-3</c:v>
                </c:pt>
                <c:pt idx="41669">
                  <c:v>1.6806722689075499E-3</c:v>
                </c:pt>
                <c:pt idx="41670">
                  <c:v>1.6806722689075499E-3</c:v>
                </c:pt>
                <c:pt idx="41671">
                  <c:v>1.6806722689075499E-3</c:v>
                </c:pt>
                <c:pt idx="41672">
                  <c:v>1.6806722689075499E-3</c:v>
                </c:pt>
                <c:pt idx="41673">
                  <c:v>1.6806722689075499E-3</c:v>
                </c:pt>
                <c:pt idx="41674">
                  <c:v>1.6806722689075499E-3</c:v>
                </c:pt>
                <c:pt idx="41675">
                  <c:v>1.6806722689075499E-3</c:v>
                </c:pt>
                <c:pt idx="41676">
                  <c:v>1.6806722689075499E-3</c:v>
                </c:pt>
                <c:pt idx="41677">
                  <c:v>1.6806722689075499E-3</c:v>
                </c:pt>
                <c:pt idx="41678">
                  <c:v>1.6806722689075499E-3</c:v>
                </c:pt>
                <c:pt idx="41679">
                  <c:v>1.6806722689075499E-3</c:v>
                </c:pt>
                <c:pt idx="41680">
                  <c:v>1.6806722689075499E-3</c:v>
                </c:pt>
                <c:pt idx="41681">
                  <c:v>1.6806722689075499E-3</c:v>
                </c:pt>
                <c:pt idx="41682">
                  <c:v>1.6806722689075499E-3</c:v>
                </c:pt>
                <c:pt idx="41683">
                  <c:v>1.6806722689075499E-3</c:v>
                </c:pt>
                <c:pt idx="41684">
                  <c:v>1.6806722689075499E-3</c:v>
                </c:pt>
                <c:pt idx="41685">
                  <c:v>1.6806722689075499E-3</c:v>
                </c:pt>
                <c:pt idx="41686">
                  <c:v>1.6806722689075499E-3</c:v>
                </c:pt>
                <c:pt idx="41687">
                  <c:v>1.6806722689075499E-3</c:v>
                </c:pt>
                <c:pt idx="41688">
                  <c:v>1.6806722689075499E-3</c:v>
                </c:pt>
                <c:pt idx="41689">
                  <c:v>1.6806722689075499E-3</c:v>
                </c:pt>
                <c:pt idx="41690">
                  <c:v>1.6806722689075499E-3</c:v>
                </c:pt>
                <c:pt idx="41691">
                  <c:v>1.6806722689075499E-3</c:v>
                </c:pt>
                <c:pt idx="41692">
                  <c:v>1.6806722689075499E-3</c:v>
                </c:pt>
                <c:pt idx="41693">
                  <c:v>1.6806722689075499E-3</c:v>
                </c:pt>
                <c:pt idx="41694">
                  <c:v>1.6806722689075499E-3</c:v>
                </c:pt>
                <c:pt idx="41695">
                  <c:v>1.6806722689075499E-3</c:v>
                </c:pt>
                <c:pt idx="41696">
                  <c:v>1.6806722689075499E-3</c:v>
                </c:pt>
                <c:pt idx="41697">
                  <c:v>1.6806722689075499E-3</c:v>
                </c:pt>
                <c:pt idx="41698">
                  <c:v>1.6806722689075499E-3</c:v>
                </c:pt>
                <c:pt idx="41699">
                  <c:v>1.6806722689075499E-3</c:v>
                </c:pt>
                <c:pt idx="41700">
                  <c:v>1.6806722689075499E-3</c:v>
                </c:pt>
                <c:pt idx="41701">
                  <c:v>1.6806722689075499E-3</c:v>
                </c:pt>
                <c:pt idx="41702">
                  <c:v>1.6806722689075499E-3</c:v>
                </c:pt>
                <c:pt idx="41703">
                  <c:v>1.6806722689075499E-3</c:v>
                </c:pt>
                <c:pt idx="41704">
                  <c:v>1.6806722689075499E-3</c:v>
                </c:pt>
                <c:pt idx="41705">
                  <c:v>1.6806722689075499E-3</c:v>
                </c:pt>
                <c:pt idx="41706">
                  <c:v>1.6806722689075499E-3</c:v>
                </c:pt>
                <c:pt idx="41707">
                  <c:v>1.6806722689075499E-3</c:v>
                </c:pt>
                <c:pt idx="41708">
                  <c:v>1.6806722689075499E-3</c:v>
                </c:pt>
                <c:pt idx="41709">
                  <c:v>1.6806722689075499E-3</c:v>
                </c:pt>
                <c:pt idx="41710">
                  <c:v>1.6806722689075499E-3</c:v>
                </c:pt>
                <c:pt idx="41711">
                  <c:v>1.6806722689075499E-3</c:v>
                </c:pt>
                <c:pt idx="41712">
                  <c:v>1.6806722689075499E-3</c:v>
                </c:pt>
                <c:pt idx="41713">
                  <c:v>1.6806722689075499E-3</c:v>
                </c:pt>
                <c:pt idx="41714">
                  <c:v>1.6806722689075499E-3</c:v>
                </c:pt>
                <c:pt idx="41715">
                  <c:v>1.6806722689075499E-3</c:v>
                </c:pt>
                <c:pt idx="41716">
                  <c:v>1.6806722689075499E-3</c:v>
                </c:pt>
                <c:pt idx="41717">
                  <c:v>1.6806722689075499E-3</c:v>
                </c:pt>
                <c:pt idx="41718">
                  <c:v>1.6806722689075499E-3</c:v>
                </c:pt>
                <c:pt idx="41719">
                  <c:v>1.6806722689075499E-3</c:v>
                </c:pt>
                <c:pt idx="41720">
                  <c:v>1.6806722689075499E-3</c:v>
                </c:pt>
                <c:pt idx="41721">
                  <c:v>1.6806722689075499E-3</c:v>
                </c:pt>
                <c:pt idx="41722">
                  <c:v>1.6806722689075499E-3</c:v>
                </c:pt>
                <c:pt idx="41723">
                  <c:v>1.6806722689075499E-3</c:v>
                </c:pt>
                <c:pt idx="41724">
                  <c:v>1.6806722689075499E-3</c:v>
                </c:pt>
                <c:pt idx="41725">
                  <c:v>1.6806722689075499E-3</c:v>
                </c:pt>
                <c:pt idx="41726">
                  <c:v>1.6806722689075499E-3</c:v>
                </c:pt>
                <c:pt idx="41727">
                  <c:v>1.6806722689075499E-3</c:v>
                </c:pt>
                <c:pt idx="41728">
                  <c:v>1.6806722689075499E-3</c:v>
                </c:pt>
                <c:pt idx="41729">
                  <c:v>1.6806722689075499E-3</c:v>
                </c:pt>
                <c:pt idx="41730">
                  <c:v>1.6806722689075499E-3</c:v>
                </c:pt>
                <c:pt idx="41731">
                  <c:v>1.6806722689075499E-3</c:v>
                </c:pt>
                <c:pt idx="41732">
                  <c:v>1.6806722689075499E-3</c:v>
                </c:pt>
                <c:pt idx="41733">
                  <c:v>1.6806722689075499E-3</c:v>
                </c:pt>
                <c:pt idx="41734">
                  <c:v>1.6806722689075499E-3</c:v>
                </c:pt>
                <c:pt idx="41735">
                  <c:v>1.6806722689075499E-3</c:v>
                </c:pt>
                <c:pt idx="41736">
                  <c:v>1.6806722689075499E-3</c:v>
                </c:pt>
                <c:pt idx="41737">
                  <c:v>1.6806722689075499E-3</c:v>
                </c:pt>
                <c:pt idx="41738">
                  <c:v>1.6806722689075499E-3</c:v>
                </c:pt>
                <c:pt idx="41739">
                  <c:v>1.6806722689075499E-3</c:v>
                </c:pt>
                <c:pt idx="41740">
                  <c:v>1.6806722689075499E-3</c:v>
                </c:pt>
                <c:pt idx="41741">
                  <c:v>1.6806722689075499E-3</c:v>
                </c:pt>
                <c:pt idx="41742">
                  <c:v>1.6806722689075499E-3</c:v>
                </c:pt>
                <c:pt idx="41743">
                  <c:v>1.6806722689075499E-3</c:v>
                </c:pt>
                <c:pt idx="41744">
                  <c:v>1.6806722689075499E-3</c:v>
                </c:pt>
                <c:pt idx="41745">
                  <c:v>1.6806722689075499E-3</c:v>
                </c:pt>
                <c:pt idx="41746">
                  <c:v>1.6806722689075499E-3</c:v>
                </c:pt>
                <c:pt idx="41747">
                  <c:v>1.6806722689075499E-3</c:v>
                </c:pt>
                <c:pt idx="41748">
                  <c:v>1.6806722689075499E-3</c:v>
                </c:pt>
                <c:pt idx="41749">
                  <c:v>1.6806722689075499E-3</c:v>
                </c:pt>
                <c:pt idx="41750">
                  <c:v>1.6806722689075499E-3</c:v>
                </c:pt>
                <c:pt idx="41751">
                  <c:v>1.6806722689075499E-3</c:v>
                </c:pt>
                <c:pt idx="41752">
                  <c:v>1.6806722689075499E-3</c:v>
                </c:pt>
                <c:pt idx="41753">
                  <c:v>1.6806722689075499E-3</c:v>
                </c:pt>
                <c:pt idx="41754">
                  <c:v>1.6806722689075499E-3</c:v>
                </c:pt>
                <c:pt idx="41755">
                  <c:v>1.6806722689075499E-3</c:v>
                </c:pt>
                <c:pt idx="41756">
                  <c:v>1.6806722689075499E-3</c:v>
                </c:pt>
                <c:pt idx="41757">
                  <c:v>1.6806722689075499E-3</c:v>
                </c:pt>
                <c:pt idx="41758">
                  <c:v>1.6806722689075499E-3</c:v>
                </c:pt>
                <c:pt idx="41759">
                  <c:v>1.6806722689075499E-3</c:v>
                </c:pt>
                <c:pt idx="41760">
                  <c:v>1.6806722689075499E-3</c:v>
                </c:pt>
                <c:pt idx="41761">
                  <c:v>1.6806722689075499E-3</c:v>
                </c:pt>
                <c:pt idx="41762">
                  <c:v>1.6806722689075499E-3</c:v>
                </c:pt>
                <c:pt idx="41763">
                  <c:v>1.6806722689075499E-3</c:v>
                </c:pt>
                <c:pt idx="41764">
                  <c:v>1.6806722689075499E-3</c:v>
                </c:pt>
                <c:pt idx="41765">
                  <c:v>1.6806722689075499E-3</c:v>
                </c:pt>
                <c:pt idx="41766">
                  <c:v>1.6806722689075499E-3</c:v>
                </c:pt>
                <c:pt idx="41767">
                  <c:v>1.6806722689075499E-3</c:v>
                </c:pt>
                <c:pt idx="41768">
                  <c:v>1.6806722689075499E-3</c:v>
                </c:pt>
                <c:pt idx="41769">
                  <c:v>1.6806722689075499E-3</c:v>
                </c:pt>
                <c:pt idx="41770">
                  <c:v>1.6806722689075499E-3</c:v>
                </c:pt>
                <c:pt idx="41771">
                  <c:v>1.6806722689075499E-3</c:v>
                </c:pt>
                <c:pt idx="41772">
                  <c:v>1.6806722689075499E-3</c:v>
                </c:pt>
                <c:pt idx="41773">
                  <c:v>1.6806722689075499E-3</c:v>
                </c:pt>
                <c:pt idx="41774">
                  <c:v>1.6806722689075499E-3</c:v>
                </c:pt>
                <c:pt idx="41775">
                  <c:v>1.6806722689075499E-3</c:v>
                </c:pt>
                <c:pt idx="41776">
                  <c:v>1.6806722689075499E-3</c:v>
                </c:pt>
                <c:pt idx="41777">
                  <c:v>1.6806722689075499E-3</c:v>
                </c:pt>
                <c:pt idx="41778">
                  <c:v>1.6806722689075499E-3</c:v>
                </c:pt>
                <c:pt idx="41779">
                  <c:v>1.6806722689075499E-3</c:v>
                </c:pt>
                <c:pt idx="41780">
                  <c:v>1.6806722689075499E-3</c:v>
                </c:pt>
                <c:pt idx="41781">
                  <c:v>1.6806722689075499E-3</c:v>
                </c:pt>
                <c:pt idx="41782">
                  <c:v>1.6806722689075499E-3</c:v>
                </c:pt>
                <c:pt idx="41783">
                  <c:v>1.6806722689075499E-3</c:v>
                </c:pt>
                <c:pt idx="41784">
                  <c:v>1.6806722689075499E-3</c:v>
                </c:pt>
                <c:pt idx="41785">
                  <c:v>1.6806722689075499E-3</c:v>
                </c:pt>
                <c:pt idx="41786">
                  <c:v>1.6806722689075499E-3</c:v>
                </c:pt>
                <c:pt idx="41787">
                  <c:v>1.6806722689075499E-3</c:v>
                </c:pt>
                <c:pt idx="41788">
                  <c:v>2.5210084033614401E-3</c:v>
                </c:pt>
                <c:pt idx="41789">
                  <c:v>2.5210084033614401E-3</c:v>
                </c:pt>
                <c:pt idx="41790">
                  <c:v>2.5210084033614401E-3</c:v>
                </c:pt>
                <c:pt idx="41791">
                  <c:v>2.5210084033614401E-3</c:v>
                </c:pt>
                <c:pt idx="41792">
                  <c:v>2.5210084033614401E-3</c:v>
                </c:pt>
                <c:pt idx="41793">
                  <c:v>2.5210084033614401E-3</c:v>
                </c:pt>
                <c:pt idx="41794">
                  <c:v>2.5210084033614401E-3</c:v>
                </c:pt>
                <c:pt idx="41795">
                  <c:v>2.5210084033614401E-3</c:v>
                </c:pt>
                <c:pt idx="41796">
                  <c:v>2.5210084033614401E-3</c:v>
                </c:pt>
                <c:pt idx="41797">
                  <c:v>2.5210084033614401E-3</c:v>
                </c:pt>
                <c:pt idx="41798">
                  <c:v>2.5210084033614401E-3</c:v>
                </c:pt>
                <c:pt idx="41799">
                  <c:v>2.5210084033614401E-3</c:v>
                </c:pt>
                <c:pt idx="41800">
                  <c:v>2.5210084033614401E-3</c:v>
                </c:pt>
                <c:pt idx="41801">
                  <c:v>2.5210084033614401E-3</c:v>
                </c:pt>
                <c:pt idx="41802">
                  <c:v>2.5210084033614401E-3</c:v>
                </c:pt>
                <c:pt idx="41803">
                  <c:v>2.5210084033614401E-3</c:v>
                </c:pt>
                <c:pt idx="41804">
                  <c:v>2.5210084033614401E-3</c:v>
                </c:pt>
                <c:pt idx="41805">
                  <c:v>2.5210084033614401E-3</c:v>
                </c:pt>
                <c:pt idx="41806">
                  <c:v>2.5210084033614401E-3</c:v>
                </c:pt>
                <c:pt idx="41807">
                  <c:v>2.5210084033614401E-3</c:v>
                </c:pt>
                <c:pt idx="41808">
                  <c:v>2.5210084033614401E-3</c:v>
                </c:pt>
                <c:pt idx="41809">
                  <c:v>2.5210084033614401E-3</c:v>
                </c:pt>
                <c:pt idx="41810">
                  <c:v>2.5210084033614401E-3</c:v>
                </c:pt>
                <c:pt idx="41811">
                  <c:v>2.5210084033614401E-3</c:v>
                </c:pt>
                <c:pt idx="41812">
                  <c:v>2.5210084033614401E-3</c:v>
                </c:pt>
                <c:pt idx="41813">
                  <c:v>2.5210084033614401E-3</c:v>
                </c:pt>
                <c:pt idx="41814">
                  <c:v>2.5210084033614401E-3</c:v>
                </c:pt>
                <c:pt idx="41815">
                  <c:v>2.5210084033614401E-3</c:v>
                </c:pt>
                <c:pt idx="41816">
                  <c:v>2.5210084033614401E-3</c:v>
                </c:pt>
                <c:pt idx="41817">
                  <c:v>3.3613445378152199E-3</c:v>
                </c:pt>
                <c:pt idx="41818">
                  <c:v>3.3613445378152199E-3</c:v>
                </c:pt>
                <c:pt idx="41819">
                  <c:v>3.3613445378152199E-3</c:v>
                </c:pt>
                <c:pt idx="41820">
                  <c:v>3.3613445378152199E-3</c:v>
                </c:pt>
                <c:pt idx="41821">
                  <c:v>3.3613445378152199E-3</c:v>
                </c:pt>
                <c:pt idx="41822">
                  <c:v>3.3613445378152199E-3</c:v>
                </c:pt>
                <c:pt idx="41823">
                  <c:v>3.3613445378152199E-3</c:v>
                </c:pt>
                <c:pt idx="41824">
                  <c:v>3.3613445378152199E-3</c:v>
                </c:pt>
                <c:pt idx="41825">
                  <c:v>2.5210084033614401E-3</c:v>
                </c:pt>
                <c:pt idx="41826">
                  <c:v>2.5210084033614401E-3</c:v>
                </c:pt>
                <c:pt idx="41827">
                  <c:v>2.5210084033614401E-3</c:v>
                </c:pt>
                <c:pt idx="41828">
                  <c:v>2.5210084033614401E-3</c:v>
                </c:pt>
                <c:pt idx="41829">
                  <c:v>2.5210084033614401E-3</c:v>
                </c:pt>
                <c:pt idx="41830">
                  <c:v>2.5210084033614401E-3</c:v>
                </c:pt>
                <c:pt idx="41831">
                  <c:v>2.5210084033614401E-3</c:v>
                </c:pt>
                <c:pt idx="41832">
                  <c:v>2.5210084033614401E-3</c:v>
                </c:pt>
                <c:pt idx="41833">
                  <c:v>2.5210084033614401E-3</c:v>
                </c:pt>
                <c:pt idx="41834">
                  <c:v>2.5210084033614401E-3</c:v>
                </c:pt>
                <c:pt idx="41835">
                  <c:v>2.5210084033614401E-3</c:v>
                </c:pt>
                <c:pt idx="41836">
                  <c:v>2.5210084033614401E-3</c:v>
                </c:pt>
                <c:pt idx="41837">
                  <c:v>2.5210084033614401E-3</c:v>
                </c:pt>
                <c:pt idx="41838">
                  <c:v>2.5210084033614401E-3</c:v>
                </c:pt>
                <c:pt idx="41839">
                  <c:v>2.5210084033614401E-3</c:v>
                </c:pt>
                <c:pt idx="41840">
                  <c:v>2.5210084033614401E-3</c:v>
                </c:pt>
                <c:pt idx="41841">
                  <c:v>3.3613445378152199E-3</c:v>
                </c:pt>
                <c:pt idx="41842">
                  <c:v>2.5210084033614401E-3</c:v>
                </c:pt>
                <c:pt idx="41843">
                  <c:v>2.5210084033614401E-3</c:v>
                </c:pt>
                <c:pt idx="41844">
                  <c:v>2.5210084033614401E-3</c:v>
                </c:pt>
                <c:pt idx="41845">
                  <c:v>2.5210084033614401E-3</c:v>
                </c:pt>
                <c:pt idx="41846">
                  <c:v>2.5210084033614401E-3</c:v>
                </c:pt>
                <c:pt idx="41847">
                  <c:v>2.5210084033614401E-3</c:v>
                </c:pt>
                <c:pt idx="41848">
                  <c:v>2.5210084033614401E-3</c:v>
                </c:pt>
                <c:pt idx="41849">
                  <c:v>2.5210084033614401E-3</c:v>
                </c:pt>
                <c:pt idx="41850">
                  <c:v>2.5210084033614401E-3</c:v>
                </c:pt>
                <c:pt idx="41851">
                  <c:v>2.5210084033614401E-3</c:v>
                </c:pt>
                <c:pt idx="41852">
                  <c:v>2.5210084033614401E-3</c:v>
                </c:pt>
                <c:pt idx="41853">
                  <c:v>2.5210084033614401E-3</c:v>
                </c:pt>
                <c:pt idx="41854">
                  <c:v>2.5210084033614401E-3</c:v>
                </c:pt>
                <c:pt idx="41855">
                  <c:v>2.5210084033614401E-3</c:v>
                </c:pt>
                <c:pt idx="41856">
                  <c:v>2.5210084033614401E-3</c:v>
                </c:pt>
                <c:pt idx="41857">
                  <c:v>2.5210084033614401E-3</c:v>
                </c:pt>
                <c:pt idx="41858">
                  <c:v>2.5210084033614401E-3</c:v>
                </c:pt>
                <c:pt idx="41859">
                  <c:v>2.5210084033614401E-3</c:v>
                </c:pt>
                <c:pt idx="41860">
                  <c:v>2.5210084033614401E-3</c:v>
                </c:pt>
                <c:pt idx="41861">
                  <c:v>2.5210084033614401E-3</c:v>
                </c:pt>
                <c:pt idx="41862">
                  <c:v>2.5210084033614401E-3</c:v>
                </c:pt>
                <c:pt idx="41863">
                  <c:v>2.5210084033614401E-3</c:v>
                </c:pt>
                <c:pt idx="41864">
                  <c:v>2.5210084033614401E-3</c:v>
                </c:pt>
                <c:pt idx="41865">
                  <c:v>2.5210084033614401E-3</c:v>
                </c:pt>
                <c:pt idx="41866">
                  <c:v>2.5210084033614401E-3</c:v>
                </c:pt>
                <c:pt idx="41867">
                  <c:v>2.5210084033614401E-3</c:v>
                </c:pt>
                <c:pt idx="41868">
                  <c:v>2.5210084033614401E-3</c:v>
                </c:pt>
                <c:pt idx="41869">
                  <c:v>2.5210084033614401E-3</c:v>
                </c:pt>
                <c:pt idx="41870">
                  <c:v>2.5210084033614401E-3</c:v>
                </c:pt>
                <c:pt idx="41871">
                  <c:v>2.5210084033614401E-3</c:v>
                </c:pt>
                <c:pt idx="41872">
                  <c:v>2.5210084033614401E-3</c:v>
                </c:pt>
                <c:pt idx="41873">
                  <c:v>2.5210084033614401E-3</c:v>
                </c:pt>
                <c:pt idx="41874">
                  <c:v>2.5210084033614401E-3</c:v>
                </c:pt>
                <c:pt idx="41875">
                  <c:v>2.5210084033614401E-3</c:v>
                </c:pt>
                <c:pt idx="41876">
                  <c:v>2.5210084033614401E-3</c:v>
                </c:pt>
                <c:pt idx="41877">
                  <c:v>2.5210084033614401E-3</c:v>
                </c:pt>
                <c:pt idx="41878">
                  <c:v>2.5210084033614401E-3</c:v>
                </c:pt>
                <c:pt idx="41879">
                  <c:v>2.5210084033614401E-3</c:v>
                </c:pt>
                <c:pt idx="41880">
                  <c:v>2.5210084033614401E-3</c:v>
                </c:pt>
                <c:pt idx="41881">
                  <c:v>2.5210084033614401E-3</c:v>
                </c:pt>
                <c:pt idx="41882">
                  <c:v>2.5210084033614401E-3</c:v>
                </c:pt>
                <c:pt idx="41883">
                  <c:v>2.5210084033614401E-3</c:v>
                </c:pt>
                <c:pt idx="41884">
                  <c:v>2.5210084033614401E-3</c:v>
                </c:pt>
                <c:pt idx="41885">
                  <c:v>2.5210084033614401E-3</c:v>
                </c:pt>
                <c:pt idx="41886">
                  <c:v>2.5210084033614401E-3</c:v>
                </c:pt>
                <c:pt idx="41887">
                  <c:v>1.6806722689075499E-3</c:v>
                </c:pt>
                <c:pt idx="41888">
                  <c:v>1.6806722689075499E-3</c:v>
                </c:pt>
                <c:pt idx="41889">
                  <c:v>1.6806722689075499E-3</c:v>
                </c:pt>
                <c:pt idx="41890">
                  <c:v>1.6806722689075499E-3</c:v>
                </c:pt>
                <c:pt idx="41891">
                  <c:v>1.6806722689075499E-3</c:v>
                </c:pt>
                <c:pt idx="41892">
                  <c:v>1.6806722689075499E-3</c:v>
                </c:pt>
                <c:pt idx="41893">
                  <c:v>1.6806722689075499E-3</c:v>
                </c:pt>
                <c:pt idx="41894">
                  <c:v>1.6806722689075499E-3</c:v>
                </c:pt>
                <c:pt idx="41895">
                  <c:v>1.6806722689075499E-3</c:v>
                </c:pt>
                <c:pt idx="41896">
                  <c:v>1.6806722689075499E-3</c:v>
                </c:pt>
                <c:pt idx="41897">
                  <c:v>1.6806722689075499E-3</c:v>
                </c:pt>
                <c:pt idx="41898">
                  <c:v>1.6806722689075499E-3</c:v>
                </c:pt>
                <c:pt idx="41899">
                  <c:v>1.6806722689075499E-3</c:v>
                </c:pt>
                <c:pt idx="41900">
                  <c:v>1.6806722689075499E-3</c:v>
                </c:pt>
                <c:pt idx="41901">
                  <c:v>1.6806722689075499E-3</c:v>
                </c:pt>
                <c:pt idx="41902">
                  <c:v>1.6806722689075499E-3</c:v>
                </c:pt>
                <c:pt idx="41903">
                  <c:v>1.6806722689075499E-3</c:v>
                </c:pt>
                <c:pt idx="41904">
                  <c:v>1.6806722689075499E-3</c:v>
                </c:pt>
                <c:pt idx="41905">
                  <c:v>1.6806722689075499E-3</c:v>
                </c:pt>
                <c:pt idx="41906">
                  <c:v>1.6806722689075499E-3</c:v>
                </c:pt>
                <c:pt idx="41907">
                  <c:v>1.6806722689075499E-3</c:v>
                </c:pt>
                <c:pt idx="41908">
                  <c:v>1.6806722689075499E-3</c:v>
                </c:pt>
                <c:pt idx="41909">
                  <c:v>1.6806722689075499E-3</c:v>
                </c:pt>
                <c:pt idx="41910">
                  <c:v>1.6806722689075499E-3</c:v>
                </c:pt>
                <c:pt idx="41911">
                  <c:v>1.6806722689075499E-3</c:v>
                </c:pt>
                <c:pt idx="41912">
                  <c:v>1.6806722689075499E-3</c:v>
                </c:pt>
                <c:pt idx="41913">
                  <c:v>2.5210084033613299E-3</c:v>
                </c:pt>
                <c:pt idx="41914">
                  <c:v>2.5210084033613299E-3</c:v>
                </c:pt>
                <c:pt idx="41915">
                  <c:v>2.5210084033613299E-3</c:v>
                </c:pt>
                <c:pt idx="41916">
                  <c:v>2.5210084033613299E-3</c:v>
                </c:pt>
                <c:pt idx="41917">
                  <c:v>2.5210084033613299E-3</c:v>
                </c:pt>
                <c:pt idx="41918">
                  <c:v>2.5210084033613299E-3</c:v>
                </c:pt>
                <c:pt idx="41919">
                  <c:v>2.5210084033613299E-3</c:v>
                </c:pt>
                <c:pt idx="41920">
                  <c:v>2.5210084033613299E-3</c:v>
                </c:pt>
                <c:pt idx="41921">
                  <c:v>2.5210084033613299E-3</c:v>
                </c:pt>
                <c:pt idx="41922">
                  <c:v>2.5210084033613299E-3</c:v>
                </c:pt>
                <c:pt idx="41923">
                  <c:v>2.5210084033613299E-3</c:v>
                </c:pt>
                <c:pt idx="41924">
                  <c:v>2.5210084033613299E-3</c:v>
                </c:pt>
                <c:pt idx="41925">
                  <c:v>2.5210084033613299E-3</c:v>
                </c:pt>
                <c:pt idx="41926">
                  <c:v>2.5210084033613299E-3</c:v>
                </c:pt>
                <c:pt idx="41927">
                  <c:v>2.5210084033613299E-3</c:v>
                </c:pt>
                <c:pt idx="41928">
                  <c:v>2.5210084033613299E-3</c:v>
                </c:pt>
                <c:pt idx="41929">
                  <c:v>2.5210084033613299E-3</c:v>
                </c:pt>
                <c:pt idx="41930">
                  <c:v>2.5210084033613299E-3</c:v>
                </c:pt>
                <c:pt idx="41931">
                  <c:v>2.5210084033613299E-3</c:v>
                </c:pt>
                <c:pt idx="41932">
                  <c:v>2.5210084033613299E-3</c:v>
                </c:pt>
                <c:pt idx="41933">
                  <c:v>2.5210084033613299E-3</c:v>
                </c:pt>
                <c:pt idx="41934">
                  <c:v>2.5210084033613299E-3</c:v>
                </c:pt>
                <c:pt idx="41935">
                  <c:v>2.5210084033613299E-3</c:v>
                </c:pt>
                <c:pt idx="41936">
                  <c:v>2.5210084033613299E-3</c:v>
                </c:pt>
                <c:pt idx="41937">
                  <c:v>2.5210084033613299E-3</c:v>
                </c:pt>
                <c:pt idx="41938">
                  <c:v>2.5210084033613299E-3</c:v>
                </c:pt>
                <c:pt idx="41939">
                  <c:v>2.5210084033613299E-3</c:v>
                </c:pt>
                <c:pt idx="41940">
                  <c:v>2.5210084033613299E-3</c:v>
                </c:pt>
                <c:pt idx="41941">
                  <c:v>2.5210084033613299E-3</c:v>
                </c:pt>
                <c:pt idx="41942">
                  <c:v>2.5210084033613299E-3</c:v>
                </c:pt>
                <c:pt idx="41943">
                  <c:v>2.5210084033613299E-3</c:v>
                </c:pt>
                <c:pt idx="41944">
                  <c:v>2.5210084033613299E-3</c:v>
                </c:pt>
                <c:pt idx="41945">
                  <c:v>2.5210084033613299E-3</c:v>
                </c:pt>
                <c:pt idx="41946">
                  <c:v>2.5210084033613299E-3</c:v>
                </c:pt>
                <c:pt idx="41947">
                  <c:v>2.5210084033613299E-3</c:v>
                </c:pt>
                <c:pt idx="41948">
                  <c:v>2.5210084033613299E-3</c:v>
                </c:pt>
                <c:pt idx="41949">
                  <c:v>2.5210084033613299E-3</c:v>
                </c:pt>
                <c:pt idx="41950">
                  <c:v>2.5210084033613299E-3</c:v>
                </c:pt>
                <c:pt idx="41951">
                  <c:v>2.5210084033613299E-3</c:v>
                </c:pt>
                <c:pt idx="41952">
                  <c:v>2.5210084033613299E-3</c:v>
                </c:pt>
                <c:pt idx="41953">
                  <c:v>2.5210084033613299E-3</c:v>
                </c:pt>
                <c:pt idx="41954">
                  <c:v>2.5210084033613299E-3</c:v>
                </c:pt>
                <c:pt idx="41955">
                  <c:v>2.5210084033613299E-3</c:v>
                </c:pt>
                <c:pt idx="41956">
                  <c:v>2.5210084033613299E-3</c:v>
                </c:pt>
                <c:pt idx="41957">
                  <c:v>2.5210084033613299E-3</c:v>
                </c:pt>
                <c:pt idx="41958">
                  <c:v>2.5210084033613299E-3</c:v>
                </c:pt>
                <c:pt idx="41959">
                  <c:v>2.5210084033613299E-3</c:v>
                </c:pt>
                <c:pt idx="41960">
                  <c:v>2.5210084033613299E-3</c:v>
                </c:pt>
                <c:pt idx="41961">
                  <c:v>2.5210084033613299E-3</c:v>
                </c:pt>
                <c:pt idx="41962">
                  <c:v>2.5210084033613299E-3</c:v>
                </c:pt>
                <c:pt idx="41963">
                  <c:v>2.5210084033613299E-3</c:v>
                </c:pt>
                <c:pt idx="41964">
                  <c:v>2.5210084033613299E-3</c:v>
                </c:pt>
                <c:pt idx="41965">
                  <c:v>2.5210084033613299E-3</c:v>
                </c:pt>
                <c:pt idx="41966">
                  <c:v>2.5210084033613299E-3</c:v>
                </c:pt>
                <c:pt idx="41967">
                  <c:v>2.5210084033613299E-3</c:v>
                </c:pt>
                <c:pt idx="41968">
                  <c:v>2.5210084033613299E-3</c:v>
                </c:pt>
                <c:pt idx="41969">
                  <c:v>2.5210084033613299E-3</c:v>
                </c:pt>
                <c:pt idx="41970">
                  <c:v>2.5210084033613299E-3</c:v>
                </c:pt>
                <c:pt idx="41971">
                  <c:v>2.5210084033613299E-3</c:v>
                </c:pt>
                <c:pt idx="41972">
                  <c:v>2.5210084033613299E-3</c:v>
                </c:pt>
                <c:pt idx="41973">
                  <c:v>2.5210084033613299E-3</c:v>
                </c:pt>
                <c:pt idx="41974">
                  <c:v>2.5210084033613299E-3</c:v>
                </c:pt>
                <c:pt idx="41975">
                  <c:v>2.5210084033613299E-3</c:v>
                </c:pt>
                <c:pt idx="41976">
                  <c:v>2.5210084033613299E-3</c:v>
                </c:pt>
                <c:pt idx="41977">
                  <c:v>2.5210084033613299E-3</c:v>
                </c:pt>
                <c:pt idx="41978">
                  <c:v>2.5210084033613299E-3</c:v>
                </c:pt>
                <c:pt idx="41979">
                  <c:v>2.5210084033613299E-3</c:v>
                </c:pt>
                <c:pt idx="41980">
                  <c:v>2.5210084033613299E-3</c:v>
                </c:pt>
                <c:pt idx="41981">
                  <c:v>2.5210084033613299E-3</c:v>
                </c:pt>
                <c:pt idx="41982">
                  <c:v>2.5210084033613299E-3</c:v>
                </c:pt>
                <c:pt idx="41983">
                  <c:v>1.6806722689075499E-3</c:v>
                </c:pt>
                <c:pt idx="41984">
                  <c:v>1.6806722689075499E-3</c:v>
                </c:pt>
                <c:pt idx="41985">
                  <c:v>1.6806722689075499E-3</c:v>
                </c:pt>
                <c:pt idx="41986">
                  <c:v>1.6806722689075499E-3</c:v>
                </c:pt>
                <c:pt idx="41987">
                  <c:v>1.6806722689075499E-3</c:v>
                </c:pt>
                <c:pt idx="41988">
                  <c:v>1.6806722689075499E-3</c:v>
                </c:pt>
                <c:pt idx="41989">
                  <c:v>1.6806722689075499E-3</c:v>
                </c:pt>
                <c:pt idx="41990">
                  <c:v>1.6806722689075499E-3</c:v>
                </c:pt>
                <c:pt idx="41991">
                  <c:v>1.6806722689075499E-3</c:v>
                </c:pt>
                <c:pt idx="41992">
                  <c:v>1.6806722689075499E-3</c:v>
                </c:pt>
                <c:pt idx="41993">
                  <c:v>1.6806722689075499E-3</c:v>
                </c:pt>
                <c:pt idx="41994">
                  <c:v>1.6806722689075499E-3</c:v>
                </c:pt>
                <c:pt idx="41995">
                  <c:v>2.5210084033613299E-3</c:v>
                </c:pt>
                <c:pt idx="41996">
                  <c:v>2.5210084033613299E-3</c:v>
                </c:pt>
                <c:pt idx="41997">
                  <c:v>2.5210084033613299E-3</c:v>
                </c:pt>
                <c:pt idx="41998">
                  <c:v>2.5210084033613299E-3</c:v>
                </c:pt>
                <c:pt idx="41999">
                  <c:v>2.5210084033613299E-3</c:v>
                </c:pt>
                <c:pt idx="42000">
                  <c:v>2.5210084033613299E-3</c:v>
                </c:pt>
                <c:pt idx="42001">
                  <c:v>2.5210084033613299E-3</c:v>
                </c:pt>
                <c:pt idx="42002">
                  <c:v>2.5210084033613299E-3</c:v>
                </c:pt>
                <c:pt idx="42003">
                  <c:v>2.5210084033613299E-3</c:v>
                </c:pt>
                <c:pt idx="42004">
                  <c:v>2.5210084033613299E-3</c:v>
                </c:pt>
                <c:pt idx="42005">
                  <c:v>2.5210084033613299E-3</c:v>
                </c:pt>
                <c:pt idx="42006">
                  <c:v>2.5210084033613299E-3</c:v>
                </c:pt>
                <c:pt idx="42007">
                  <c:v>2.5210084033613299E-3</c:v>
                </c:pt>
                <c:pt idx="42008">
                  <c:v>2.5210084033613299E-3</c:v>
                </c:pt>
                <c:pt idx="42009">
                  <c:v>2.5210084033613299E-3</c:v>
                </c:pt>
                <c:pt idx="42010">
                  <c:v>2.5210084033613299E-3</c:v>
                </c:pt>
                <c:pt idx="42011">
                  <c:v>2.5210084033613299E-3</c:v>
                </c:pt>
                <c:pt idx="42012">
                  <c:v>2.5210084033613299E-3</c:v>
                </c:pt>
                <c:pt idx="42013">
                  <c:v>2.5210084033613299E-3</c:v>
                </c:pt>
                <c:pt idx="42014">
                  <c:v>2.5210084033613299E-3</c:v>
                </c:pt>
                <c:pt idx="42015">
                  <c:v>2.5210084033613299E-3</c:v>
                </c:pt>
                <c:pt idx="42016">
                  <c:v>3.3613445378151102E-3</c:v>
                </c:pt>
                <c:pt idx="42017">
                  <c:v>3.3613445378151102E-3</c:v>
                </c:pt>
                <c:pt idx="42018">
                  <c:v>3.3613445378151102E-3</c:v>
                </c:pt>
                <c:pt idx="42019">
                  <c:v>3.3613445378151102E-3</c:v>
                </c:pt>
                <c:pt idx="42020">
                  <c:v>3.3613445378151102E-3</c:v>
                </c:pt>
                <c:pt idx="42021">
                  <c:v>3.3613445378151102E-3</c:v>
                </c:pt>
                <c:pt idx="42022">
                  <c:v>3.3613445378151102E-3</c:v>
                </c:pt>
                <c:pt idx="42023">
                  <c:v>3.3613445378151102E-3</c:v>
                </c:pt>
                <c:pt idx="42024">
                  <c:v>3.3613445378151102E-3</c:v>
                </c:pt>
                <c:pt idx="42025">
                  <c:v>3.3613445378151102E-3</c:v>
                </c:pt>
                <c:pt idx="42026">
                  <c:v>3.3613445378151102E-3</c:v>
                </c:pt>
                <c:pt idx="42027">
                  <c:v>3.3613445378151102E-3</c:v>
                </c:pt>
                <c:pt idx="42028">
                  <c:v>3.3613445378151102E-3</c:v>
                </c:pt>
                <c:pt idx="42029">
                  <c:v>3.3613445378151102E-3</c:v>
                </c:pt>
                <c:pt idx="42030">
                  <c:v>3.3613445378151102E-3</c:v>
                </c:pt>
                <c:pt idx="42031">
                  <c:v>3.3613445378151102E-3</c:v>
                </c:pt>
                <c:pt idx="42032">
                  <c:v>3.3613445378151102E-3</c:v>
                </c:pt>
                <c:pt idx="42033">
                  <c:v>3.3613445378151102E-3</c:v>
                </c:pt>
                <c:pt idx="42034">
                  <c:v>3.3613445378151102E-3</c:v>
                </c:pt>
                <c:pt idx="42035">
                  <c:v>3.3613445378151102E-3</c:v>
                </c:pt>
                <c:pt idx="42036">
                  <c:v>3.3613445378151102E-3</c:v>
                </c:pt>
                <c:pt idx="42037">
                  <c:v>3.3613445378151102E-3</c:v>
                </c:pt>
                <c:pt idx="42038">
                  <c:v>3.3613445378151102E-3</c:v>
                </c:pt>
                <c:pt idx="42039">
                  <c:v>3.3613445378151102E-3</c:v>
                </c:pt>
                <c:pt idx="42040">
                  <c:v>3.3613445378151102E-3</c:v>
                </c:pt>
                <c:pt idx="42041">
                  <c:v>3.3613445378151102E-3</c:v>
                </c:pt>
                <c:pt idx="42042">
                  <c:v>3.3613445378151102E-3</c:v>
                </c:pt>
                <c:pt idx="42043">
                  <c:v>3.3613445378151102E-3</c:v>
                </c:pt>
                <c:pt idx="42044">
                  <c:v>3.3613445378151102E-3</c:v>
                </c:pt>
                <c:pt idx="42045">
                  <c:v>3.3613445378151102E-3</c:v>
                </c:pt>
                <c:pt idx="42046">
                  <c:v>3.3613445378151102E-3</c:v>
                </c:pt>
                <c:pt idx="42047">
                  <c:v>3.3613445378151102E-3</c:v>
                </c:pt>
                <c:pt idx="42048">
                  <c:v>3.3613445378151102E-3</c:v>
                </c:pt>
                <c:pt idx="42049">
                  <c:v>3.3613445378151102E-3</c:v>
                </c:pt>
                <c:pt idx="42050">
                  <c:v>3.3613445378151102E-3</c:v>
                </c:pt>
                <c:pt idx="42051">
                  <c:v>3.3613445378151102E-3</c:v>
                </c:pt>
                <c:pt idx="42052">
                  <c:v>3.3613445378151102E-3</c:v>
                </c:pt>
                <c:pt idx="42053">
                  <c:v>3.3613445378151102E-3</c:v>
                </c:pt>
                <c:pt idx="42054">
                  <c:v>3.3613445378151102E-3</c:v>
                </c:pt>
                <c:pt idx="42055">
                  <c:v>3.3613445378151102E-3</c:v>
                </c:pt>
                <c:pt idx="42056">
                  <c:v>3.3613445378151102E-3</c:v>
                </c:pt>
                <c:pt idx="42057">
                  <c:v>3.3613445378151102E-3</c:v>
                </c:pt>
                <c:pt idx="42058">
                  <c:v>3.3613445378151102E-3</c:v>
                </c:pt>
                <c:pt idx="42059">
                  <c:v>3.3613445378151102E-3</c:v>
                </c:pt>
                <c:pt idx="42060">
                  <c:v>3.3613445378151102E-3</c:v>
                </c:pt>
                <c:pt idx="42061">
                  <c:v>3.3613445378151102E-3</c:v>
                </c:pt>
                <c:pt idx="42062">
                  <c:v>3.3613445378151102E-3</c:v>
                </c:pt>
                <c:pt idx="42063">
                  <c:v>3.3613445378151102E-3</c:v>
                </c:pt>
                <c:pt idx="42064">
                  <c:v>3.3613445378151102E-3</c:v>
                </c:pt>
                <c:pt idx="42065">
                  <c:v>3.3613445378151102E-3</c:v>
                </c:pt>
                <c:pt idx="42066">
                  <c:v>3.3613445378151102E-3</c:v>
                </c:pt>
                <c:pt idx="42067">
                  <c:v>3.3613445378151102E-3</c:v>
                </c:pt>
                <c:pt idx="42068">
                  <c:v>3.3613445378151102E-3</c:v>
                </c:pt>
                <c:pt idx="42069">
                  <c:v>3.3613445378151102E-3</c:v>
                </c:pt>
                <c:pt idx="42070">
                  <c:v>3.3613445378151102E-3</c:v>
                </c:pt>
                <c:pt idx="42071">
                  <c:v>3.3613445378151102E-3</c:v>
                </c:pt>
                <c:pt idx="42072">
                  <c:v>3.3613445378151102E-3</c:v>
                </c:pt>
                <c:pt idx="42073">
                  <c:v>3.3613445378151102E-3</c:v>
                </c:pt>
                <c:pt idx="42074">
                  <c:v>3.3613445378151102E-3</c:v>
                </c:pt>
                <c:pt idx="42075">
                  <c:v>3.3613445378151102E-3</c:v>
                </c:pt>
                <c:pt idx="42076">
                  <c:v>3.3613445378151102E-3</c:v>
                </c:pt>
                <c:pt idx="42077">
                  <c:v>3.3613445378151102E-3</c:v>
                </c:pt>
                <c:pt idx="42078">
                  <c:v>3.3613445378151102E-3</c:v>
                </c:pt>
                <c:pt idx="42079">
                  <c:v>3.3613445378151102E-3</c:v>
                </c:pt>
                <c:pt idx="42080">
                  <c:v>3.3613445378151102E-3</c:v>
                </c:pt>
                <c:pt idx="42081">
                  <c:v>3.3613445378151102E-3</c:v>
                </c:pt>
                <c:pt idx="42082">
                  <c:v>3.3613445378151102E-3</c:v>
                </c:pt>
                <c:pt idx="42083">
                  <c:v>3.3613445378151102E-3</c:v>
                </c:pt>
                <c:pt idx="42084">
                  <c:v>3.3613445378151102E-3</c:v>
                </c:pt>
                <c:pt idx="42085">
                  <c:v>3.3613445378151102E-3</c:v>
                </c:pt>
                <c:pt idx="42086">
                  <c:v>3.3613445378151102E-3</c:v>
                </c:pt>
                <c:pt idx="42087">
                  <c:v>3.3613445378151102E-3</c:v>
                </c:pt>
                <c:pt idx="42088">
                  <c:v>3.3613445378151102E-3</c:v>
                </c:pt>
                <c:pt idx="42089">
                  <c:v>3.3613445378151102E-3</c:v>
                </c:pt>
                <c:pt idx="42090">
                  <c:v>3.3613445378151102E-3</c:v>
                </c:pt>
                <c:pt idx="42091">
                  <c:v>2.5210084033613299E-3</c:v>
                </c:pt>
                <c:pt idx="42092">
                  <c:v>2.5210084033613299E-3</c:v>
                </c:pt>
                <c:pt idx="42093">
                  <c:v>2.5210084033613299E-3</c:v>
                </c:pt>
                <c:pt idx="42094">
                  <c:v>2.5210084033613299E-3</c:v>
                </c:pt>
                <c:pt idx="42095">
                  <c:v>2.5210084033613299E-3</c:v>
                </c:pt>
                <c:pt idx="42096">
                  <c:v>2.5210084033613299E-3</c:v>
                </c:pt>
                <c:pt idx="42097">
                  <c:v>2.5210084033613299E-3</c:v>
                </c:pt>
                <c:pt idx="42098">
                  <c:v>2.5210084033613299E-3</c:v>
                </c:pt>
                <c:pt idx="42099">
                  <c:v>2.5210084033613299E-3</c:v>
                </c:pt>
                <c:pt idx="42100">
                  <c:v>2.5210084033613299E-3</c:v>
                </c:pt>
                <c:pt idx="42101">
                  <c:v>2.5210084033613299E-3</c:v>
                </c:pt>
                <c:pt idx="42102">
                  <c:v>2.5210084033613299E-3</c:v>
                </c:pt>
                <c:pt idx="42103">
                  <c:v>2.5210084033613299E-3</c:v>
                </c:pt>
                <c:pt idx="42104">
                  <c:v>2.5210084033613299E-3</c:v>
                </c:pt>
                <c:pt idx="42105">
                  <c:v>2.5210084033613299E-3</c:v>
                </c:pt>
                <c:pt idx="42106">
                  <c:v>2.5210084033613299E-3</c:v>
                </c:pt>
                <c:pt idx="42107">
                  <c:v>2.5210084033613299E-3</c:v>
                </c:pt>
                <c:pt idx="42108">
                  <c:v>2.5210084033613299E-3</c:v>
                </c:pt>
                <c:pt idx="42109">
                  <c:v>2.5210084033613299E-3</c:v>
                </c:pt>
                <c:pt idx="42110">
                  <c:v>1.6806722689075499E-3</c:v>
                </c:pt>
                <c:pt idx="42111">
                  <c:v>1.6806722689075499E-3</c:v>
                </c:pt>
                <c:pt idx="42112">
                  <c:v>1.6806722689075499E-3</c:v>
                </c:pt>
                <c:pt idx="42113">
                  <c:v>1.6806722689075499E-3</c:v>
                </c:pt>
                <c:pt idx="42114">
                  <c:v>1.6806722689075499E-3</c:v>
                </c:pt>
                <c:pt idx="42115">
                  <c:v>1.6806722689075499E-3</c:v>
                </c:pt>
                <c:pt idx="42116">
                  <c:v>1.6806722689075499E-3</c:v>
                </c:pt>
                <c:pt idx="42117">
                  <c:v>1.6806722689075499E-3</c:v>
                </c:pt>
                <c:pt idx="42118">
                  <c:v>1.6806722689075499E-3</c:v>
                </c:pt>
                <c:pt idx="42119">
                  <c:v>1.6806722689075499E-3</c:v>
                </c:pt>
                <c:pt idx="42120">
                  <c:v>1.6806722689075499E-3</c:v>
                </c:pt>
                <c:pt idx="42121">
                  <c:v>8.4033613445377799E-4</c:v>
                </c:pt>
                <c:pt idx="42122">
                  <c:v>8.4033613445377799E-4</c:v>
                </c:pt>
                <c:pt idx="42123">
                  <c:v>8.4033613445377799E-4</c:v>
                </c:pt>
                <c:pt idx="42124">
                  <c:v>8.4033613445377799E-4</c:v>
                </c:pt>
                <c:pt idx="42125">
                  <c:v>8.4033613445377799E-4</c:v>
                </c:pt>
                <c:pt idx="42126">
                  <c:v>8.4033613445377799E-4</c:v>
                </c:pt>
                <c:pt idx="42127">
                  <c:v>8.4033613445377799E-4</c:v>
                </c:pt>
                <c:pt idx="42128">
                  <c:v>8.4033613445377799E-4</c:v>
                </c:pt>
                <c:pt idx="42129">
                  <c:v>8.4033613445377799E-4</c:v>
                </c:pt>
                <c:pt idx="42130">
                  <c:v>8.4033613445377799E-4</c:v>
                </c:pt>
                <c:pt idx="42131">
                  <c:v>8.4033613445377799E-4</c:v>
                </c:pt>
                <c:pt idx="42132">
                  <c:v>8.4033613445377799E-4</c:v>
                </c:pt>
                <c:pt idx="42133">
                  <c:v>8.4033613445377799E-4</c:v>
                </c:pt>
                <c:pt idx="42134">
                  <c:v>8.4033613445377799E-4</c:v>
                </c:pt>
                <c:pt idx="42135">
                  <c:v>8.4033613445377799E-4</c:v>
                </c:pt>
                <c:pt idx="42136">
                  <c:v>8.4033613445377799E-4</c:v>
                </c:pt>
                <c:pt idx="42137">
                  <c:v>8.4033613445377799E-4</c:v>
                </c:pt>
                <c:pt idx="42138">
                  <c:v>8.4033613445377799E-4</c:v>
                </c:pt>
                <c:pt idx="42139">
                  <c:v>8.4033613445377799E-4</c:v>
                </c:pt>
                <c:pt idx="42140">
                  <c:v>8.4033613445377799E-4</c:v>
                </c:pt>
                <c:pt idx="42141">
                  <c:v>8.4033613445377799E-4</c:v>
                </c:pt>
                <c:pt idx="42142">
                  <c:v>8.4033613445377799E-4</c:v>
                </c:pt>
                <c:pt idx="42143">
                  <c:v>8.4033613445377799E-4</c:v>
                </c:pt>
                <c:pt idx="42144">
                  <c:v>8.4033613445377799E-4</c:v>
                </c:pt>
                <c:pt idx="42145">
                  <c:v>8.4033613445377799E-4</c:v>
                </c:pt>
                <c:pt idx="42146">
                  <c:v>8.4033613445377799E-4</c:v>
                </c:pt>
                <c:pt idx="42147">
                  <c:v>8.4033613445377799E-4</c:v>
                </c:pt>
                <c:pt idx="42148">
                  <c:v>8.4033613445377799E-4</c:v>
                </c:pt>
                <c:pt idx="42149">
                  <c:v>8.4033613445377799E-4</c:v>
                </c:pt>
                <c:pt idx="42150">
                  <c:v>8.4033613445377799E-4</c:v>
                </c:pt>
                <c:pt idx="42151">
                  <c:v>8.4033613445377799E-4</c:v>
                </c:pt>
                <c:pt idx="42152">
                  <c:v>8.4033613445377799E-4</c:v>
                </c:pt>
                <c:pt idx="42153">
                  <c:v>8.4033613445377799E-4</c:v>
                </c:pt>
                <c:pt idx="42154">
                  <c:v>8.4033613445377799E-4</c:v>
                </c:pt>
                <c:pt idx="42155">
                  <c:v>8.4033613445377799E-4</c:v>
                </c:pt>
                <c:pt idx="42156">
                  <c:v>8.4033613445377799E-4</c:v>
                </c:pt>
                <c:pt idx="42157">
                  <c:v>8.4033613445377799E-4</c:v>
                </c:pt>
                <c:pt idx="42158">
                  <c:v>8.4033613445377799E-4</c:v>
                </c:pt>
                <c:pt idx="42159">
                  <c:v>8.4033613445377799E-4</c:v>
                </c:pt>
                <c:pt idx="42160">
                  <c:v>8.4033613445377799E-4</c:v>
                </c:pt>
                <c:pt idx="42161">
                  <c:v>8.4033613445377799E-4</c:v>
                </c:pt>
                <c:pt idx="42162">
                  <c:v>8.4033613445377799E-4</c:v>
                </c:pt>
                <c:pt idx="42163">
                  <c:v>1.6806722689075499E-3</c:v>
                </c:pt>
                <c:pt idx="42164">
                  <c:v>1.6806722689075499E-3</c:v>
                </c:pt>
                <c:pt idx="42165">
                  <c:v>1.6806722689075499E-3</c:v>
                </c:pt>
                <c:pt idx="42166">
                  <c:v>1.6806722689075499E-3</c:v>
                </c:pt>
                <c:pt idx="42167">
                  <c:v>1.6806722689075499E-3</c:v>
                </c:pt>
                <c:pt idx="42168">
                  <c:v>1.6806722689075499E-3</c:v>
                </c:pt>
                <c:pt idx="42169">
                  <c:v>1.6806722689075499E-3</c:v>
                </c:pt>
                <c:pt idx="42170">
                  <c:v>1.6806722689075499E-3</c:v>
                </c:pt>
                <c:pt idx="42171">
                  <c:v>1.6806722689075499E-3</c:v>
                </c:pt>
                <c:pt idx="42172">
                  <c:v>1.6806722689075499E-3</c:v>
                </c:pt>
                <c:pt idx="42173">
                  <c:v>1.6806722689075499E-3</c:v>
                </c:pt>
                <c:pt idx="42174">
                  <c:v>1.6806722689075499E-3</c:v>
                </c:pt>
                <c:pt idx="42175">
                  <c:v>1.6806722689075499E-3</c:v>
                </c:pt>
                <c:pt idx="42176">
                  <c:v>1.6806722689075499E-3</c:v>
                </c:pt>
                <c:pt idx="42177">
                  <c:v>1.6806722689075499E-3</c:v>
                </c:pt>
                <c:pt idx="42178">
                  <c:v>1.6806722689075499E-3</c:v>
                </c:pt>
                <c:pt idx="42179">
                  <c:v>1.6806722689075499E-3</c:v>
                </c:pt>
                <c:pt idx="42180">
                  <c:v>1.6806722689075499E-3</c:v>
                </c:pt>
                <c:pt idx="42181">
                  <c:v>1.6806722689075499E-3</c:v>
                </c:pt>
                <c:pt idx="42182">
                  <c:v>1.6806722689075499E-3</c:v>
                </c:pt>
                <c:pt idx="42183">
                  <c:v>1.6806722689075499E-3</c:v>
                </c:pt>
                <c:pt idx="42184">
                  <c:v>1.6806722689075499E-3</c:v>
                </c:pt>
                <c:pt idx="42185">
                  <c:v>1.6806722689075499E-3</c:v>
                </c:pt>
                <c:pt idx="42186">
                  <c:v>1.6806722689075499E-3</c:v>
                </c:pt>
                <c:pt idx="42187">
                  <c:v>1.6806722689075499E-3</c:v>
                </c:pt>
                <c:pt idx="42188">
                  <c:v>1.6806722689075499E-3</c:v>
                </c:pt>
                <c:pt idx="42189">
                  <c:v>1.6806722689075499E-3</c:v>
                </c:pt>
                <c:pt idx="42190">
                  <c:v>1.6806722689075499E-3</c:v>
                </c:pt>
                <c:pt idx="42191">
                  <c:v>1.6806722689075499E-3</c:v>
                </c:pt>
                <c:pt idx="42192">
                  <c:v>1.6806722689075499E-3</c:v>
                </c:pt>
                <c:pt idx="42193">
                  <c:v>1.6806722689075499E-3</c:v>
                </c:pt>
                <c:pt idx="42194">
                  <c:v>1.6806722689075499E-3</c:v>
                </c:pt>
                <c:pt idx="42195">
                  <c:v>1.6806722689075499E-3</c:v>
                </c:pt>
                <c:pt idx="42196">
                  <c:v>1.6806722689075499E-3</c:v>
                </c:pt>
                <c:pt idx="42197">
                  <c:v>1.6806722689075499E-3</c:v>
                </c:pt>
                <c:pt idx="42198">
                  <c:v>1.6806722689075499E-3</c:v>
                </c:pt>
                <c:pt idx="42199">
                  <c:v>1.6806722689075499E-3</c:v>
                </c:pt>
                <c:pt idx="42200">
                  <c:v>1.6806722689075499E-3</c:v>
                </c:pt>
                <c:pt idx="42201">
                  <c:v>1.6806722689075499E-3</c:v>
                </c:pt>
                <c:pt idx="42202">
                  <c:v>1.6806722689075499E-3</c:v>
                </c:pt>
                <c:pt idx="42203">
                  <c:v>1.6806722689075499E-3</c:v>
                </c:pt>
                <c:pt idx="42204">
                  <c:v>8.4033613445377799E-4</c:v>
                </c:pt>
                <c:pt idx="42205">
                  <c:v>8.4033613445377799E-4</c:v>
                </c:pt>
                <c:pt idx="42206">
                  <c:v>8.4033613445377799E-4</c:v>
                </c:pt>
                <c:pt idx="42207">
                  <c:v>8.4033613445377799E-4</c:v>
                </c:pt>
                <c:pt idx="42208">
                  <c:v>8.4033613445377799E-4</c:v>
                </c:pt>
                <c:pt idx="42209">
                  <c:v>8.4033613445377799E-4</c:v>
                </c:pt>
                <c:pt idx="42210">
                  <c:v>8.4033613445377799E-4</c:v>
                </c:pt>
                <c:pt idx="42211">
                  <c:v>8.4033613445377799E-4</c:v>
                </c:pt>
                <c:pt idx="42212">
                  <c:v>8.4033613445377799E-4</c:v>
                </c:pt>
                <c:pt idx="42213">
                  <c:v>8.4033613445377799E-4</c:v>
                </c:pt>
                <c:pt idx="42214">
                  <c:v>8.4033613445377799E-4</c:v>
                </c:pt>
                <c:pt idx="42215">
                  <c:v>8.4033613445377799E-4</c:v>
                </c:pt>
                <c:pt idx="42216">
                  <c:v>8.4033613445377799E-4</c:v>
                </c:pt>
                <c:pt idx="42217">
                  <c:v>8.4033613445377799E-4</c:v>
                </c:pt>
                <c:pt idx="42218">
                  <c:v>8.4033613445377799E-4</c:v>
                </c:pt>
                <c:pt idx="42219">
                  <c:v>8.4033613445377799E-4</c:v>
                </c:pt>
                <c:pt idx="42220">
                  <c:v>8.4033613445377799E-4</c:v>
                </c:pt>
                <c:pt idx="42221">
                  <c:v>8.4033613445377799E-4</c:v>
                </c:pt>
                <c:pt idx="42222">
                  <c:v>8.4033613445377799E-4</c:v>
                </c:pt>
                <c:pt idx="42223">
                  <c:v>8.4033613445377799E-4</c:v>
                </c:pt>
                <c:pt idx="42224">
                  <c:v>8.4033613445377799E-4</c:v>
                </c:pt>
                <c:pt idx="42225">
                  <c:v>8.4033613445377799E-4</c:v>
                </c:pt>
                <c:pt idx="42226">
                  <c:v>8.4033613445377799E-4</c:v>
                </c:pt>
                <c:pt idx="42227">
                  <c:v>8.4033613445377799E-4</c:v>
                </c:pt>
                <c:pt idx="42228">
                  <c:v>8.4033613445377799E-4</c:v>
                </c:pt>
                <c:pt idx="42229">
                  <c:v>8.4033613445377799E-4</c:v>
                </c:pt>
                <c:pt idx="42230">
                  <c:v>8.4033613445377799E-4</c:v>
                </c:pt>
                <c:pt idx="42231">
                  <c:v>8.4033613445377799E-4</c:v>
                </c:pt>
                <c:pt idx="42232">
                  <c:v>8.4033613445377799E-4</c:v>
                </c:pt>
                <c:pt idx="42233">
                  <c:v>8.4033613445377799E-4</c:v>
                </c:pt>
                <c:pt idx="42234">
                  <c:v>8.4033613445377799E-4</c:v>
                </c:pt>
                <c:pt idx="42235">
                  <c:v>8.4033613445377799E-4</c:v>
                </c:pt>
                <c:pt idx="42236">
                  <c:v>8.4033613445377799E-4</c:v>
                </c:pt>
                <c:pt idx="42237">
                  <c:v>8.4033613445377799E-4</c:v>
                </c:pt>
                <c:pt idx="42238">
                  <c:v>8.4033613445377799E-4</c:v>
                </c:pt>
                <c:pt idx="42239">
                  <c:v>8.4033613445377799E-4</c:v>
                </c:pt>
                <c:pt idx="42240">
                  <c:v>8.4033613445377799E-4</c:v>
                </c:pt>
                <c:pt idx="42241">
                  <c:v>8.4033613445377799E-4</c:v>
                </c:pt>
                <c:pt idx="42242">
                  <c:v>8.4033613445377799E-4</c:v>
                </c:pt>
                <c:pt idx="42243">
                  <c:v>8.4033613445377799E-4</c:v>
                </c:pt>
                <c:pt idx="42244">
                  <c:v>8.4033613445377799E-4</c:v>
                </c:pt>
                <c:pt idx="42245">
                  <c:v>8.4033613445377799E-4</c:v>
                </c:pt>
                <c:pt idx="42246">
                  <c:v>8.4033613445377799E-4</c:v>
                </c:pt>
                <c:pt idx="42247">
                  <c:v>8.4033613445377799E-4</c:v>
                </c:pt>
                <c:pt idx="42248">
                  <c:v>8.4033613445377799E-4</c:v>
                </c:pt>
                <c:pt idx="42249">
                  <c:v>8.4033613445377799E-4</c:v>
                </c:pt>
                <c:pt idx="42250">
                  <c:v>8.4033613445377799E-4</c:v>
                </c:pt>
                <c:pt idx="42251">
                  <c:v>8.4033613445377799E-4</c:v>
                </c:pt>
                <c:pt idx="42252">
                  <c:v>8.4033613445377799E-4</c:v>
                </c:pt>
                <c:pt idx="42253">
                  <c:v>8.4033613445377799E-4</c:v>
                </c:pt>
                <c:pt idx="42254">
                  <c:v>8.4033613445377799E-4</c:v>
                </c:pt>
                <c:pt idx="42255">
                  <c:v>8.4033613445377799E-4</c:v>
                </c:pt>
                <c:pt idx="42256">
                  <c:v>8.4033613445377799E-4</c:v>
                </c:pt>
                <c:pt idx="42257">
                  <c:v>8.4033613445377799E-4</c:v>
                </c:pt>
                <c:pt idx="42258">
                  <c:v>8.4033613445377799E-4</c:v>
                </c:pt>
                <c:pt idx="42259">
                  <c:v>8.4033613445377799E-4</c:v>
                </c:pt>
                <c:pt idx="42260">
                  <c:v>8.4033613445377799E-4</c:v>
                </c:pt>
                <c:pt idx="42261">
                  <c:v>8.4033613445377799E-4</c:v>
                </c:pt>
                <c:pt idx="42262">
                  <c:v>8.4033613445377799E-4</c:v>
                </c:pt>
                <c:pt idx="42263">
                  <c:v>8.4033613445377799E-4</c:v>
                </c:pt>
                <c:pt idx="42264">
                  <c:v>8.4033613445377799E-4</c:v>
                </c:pt>
                <c:pt idx="42265">
                  <c:v>8.4033613445377799E-4</c:v>
                </c:pt>
                <c:pt idx="42266">
                  <c:v>0</c:v>
                </c:pt>
                <c:pt idx="42267">
                  <c:v>0</c:v>
                </c:pt>
                <c:pt idx="42268">
                  <c:v>0</c:v>
                </c:pt>
                <c:pt idx="42269">
                  <c:v>0</c:v>
                </c:pt>
                <c:pt idx="42270">
                  <c:v>8.4033613445377799E-4</c:v>
                </c:pt>
                <c:pt idx="42271">
                  <c:v>8.4033613445377799E-4</c:v>
                </c:pt>
                <c:pt idx="42272">
                  <c:v>8.4033613445377799E-4</c:v>
                </c:pt>
                <c:pt idx="42273">
                  <c:v>8.4033613445377799E-4</c:v>
                </c:pt>
                <c:pt idx="42274">
                  <c:v>8.4033613445377799E-4</c:v>
                </c:pt>
                <c:pt idx="42275">
                  <c:v>8.4033613445377799E-4</c:v>
                </c:pt>
                <c:pt idx="42276">
                  <c:v>8.4033613445377799E-4</c:v>
                </c:pt>
                <c:pt idx="42277">
                  <c:v>8.4033613445377799E-4</c:v>
                </c:pt>
                <c:pt idx="42278">
                  <c:v>8.4033613445377799E-4</c:v>
                </c:pt>
                <c:pt idx="42279">
                  <c:v>8.4033613445377799E-4</c:v>
                </c:pt>
                <c:pt idx="42280">
                  <c:v>8.4033613445377799E-4</c:v>
                </c:pt>
                <c:pt idx="42281">
                  <c:v>8.4033613445377799E-4</c:v>
                </c:pt>
                <c:pt idx="42282">
                  <c:v>8.4033613445377799E-4</c:v>
                </c:pt>
                <c:pt idx="42283">
                  <c:v>8.4033613445377799E-4</c:v>
                </c:pt>
                <c:pt idx="42284">
                  <c:v>8.4033613445377799E-4</c:v>
                </c:pt>
                <c:pt idx="42285">
                  <c:v>8.4033613445377799E-4</c:v>
                </c:pt>
                <c:pt idx="42286">
                  <c:v>8.4033613445377799E-4</c:v>
                </c:pt>
                <c:pt idx="42287">
                  <c:v>8.4033613445377799E-4</c:v>
                </c:pt>
                <c:pt idx="42288">
                  <c:v>8.4033613445377799E-4</c:v>
                </c:pt>
                <c:pt idx="42289">
                  <c:v>8.4033613445377799E-4</c:v>
                </c:pt>
                <c:pt idx="42290">
                  <c:v>8.4033613445377799E-4</c:v>
                </c:pt>
                <c:pt idx="42291">
                  <c:v>8.4033613445377799E-4</c:v>
                </c:pt>
                <c:pt idx="42292">
                  <c:v>8.4033613445377799E-4</c:v>
                </c:pt>
                <c:pt idx="42293">
                  <c:v>8.4033613445377799E-4</c:v>
                </c:pt>
                <c:pt idx="42294">
                  <c:v>8.4033613445377799E-4</c:v>
                </c:pt>
                <c:pt idx="42295">
                  <c:v>8.4033613445377799E-4</c:v>
                </c:pt>
                <c:pt idx="42296">
                  <c:v>8.4033613445377799E-4</c:v>
                </c:pt>
                <c:pt idx="42297">
                  <c:v>8.4033613445377799E-4</c:v>
                </c:pt>
                <c:pt idx="42298">
                  <c:v>8.4033613445377799E-4</c:v>
                </c:pt>
                <c:pt idx="42299">
                  <c:v>8.4033613445377799E-4</c:v>
                </c:pt>
                <c:pt idx="42300">
                  <c:v>8.4033613445377799E-4</c:v>
                </c:pt>
                <c:pt idx="42301">
                  <c:v>8.4033613445377799E-4</c:v>
                </c:pt>
                <c:pt idx="42302">
                  <c:v>8.4033613445377799E-4</c:v>
                </c:pt>
                <c:pt idx="42303">
                  <c:v>8.4033613445377799E-4</c:v>
                </c:pt>
                <c:pt idx="42304">
                  <c:v>8.4033613445377799E-4</c:v>
                </c:pt>
                <c:pt idx="42305">
                  <c:v>8.4033613445377799E-4</c:v>
                </c:pt>
                <c:pt idx="42306">
                  <c:v>8.4033613445377799E-4</c:v>
                </c:pt>
                <c:pt idx="42307">
                  <c:v>8.4033613445377799E-4</c:v>
                </c:pt>
                <c:pt idx="42308">
                  <c:v>8.4033613445377799E-4</c:v>
                </c:pt>
                <c:pt idx="42309">
                  <c:v>8.4033613445377799E-4</c:v>
                </c:pt>
                <c:pt idx="42310">
                  <c:v>8.4033613445377799E-4</c:v>
                </c:pt>
                <c:pt idx="42311">
                  <c:v>8.4033613445377799E-4</c:v>
                </c:pt>
                <c:pt idx="42312">
                  <c:v>8.4033613445377799E-4</c:v>
                </c:pt>
                <c:pt idx="42313">
                  <c:v>8.4033613445377799E-4</c:v>
                </c:pt>
                <c:pt idx="42314">
                  <c:v>8.4033613445377799E-4</c:v>
                </c:pt>
                <c:pt idx="42315">
                  <c:v>8.4033613445377799E-4</c:v>
                </c:pt>
                <c:pt idx="42316">
                  <c:v>8.4033613445377799E-4</c:v>
                </c:pt>
                <c:pt idx="42317">
                  <c:v>8.4033613445377799E-4</c:v>
                </c:pt>
                <c:pt idx="42318">
                  <c:v>8.4033613445377799E-4</c:v>
                </c:pt>
                <c:pt idx="42319">
                  <c:v>8.4033613445377799E-4</c:v>
                </c:pt>
                <c:pt idx="42320">
                  <c:v>8.4033613445377799E-4</c:v>
                </c:pt>
                <c:pt idx="42321">
                  <c:v>8.4033613445377799E-4</c:v>
                </c:pt>
                <c:pt idx="42322">
                  <c:v>8.4033613445377799E-4</c:v>
                </c:pt>
                <c:pt idx="42323">
                  <c:v>8.4033613445377799E-4</c:v>
                </c:pt>
                <c:pt idx="42324">
                  <c:v>8.4033613445377799E-4</c:v>
                </c:pt>
                <c:pt idx="42325">
                  <c:v>8.4033613445377799E-4</c:v>
                </c:pt>
                <c:pt idx="42326">
                  <c:v>8.4033613445377799E-4</c:v>
                </c:pt>
                <c:pt idx="42327">
                  <c:v>8.4033613445377799E-4</c:v>
                </c:pt>
                <c:pt idx="42328">
                  <c:v>8.4033613445377799E-4</c:v>
                </c:pt>
                <c:pt idx="42329">
                  <c:v>8.4033613445377799E-4</c:v>
                </c:pt>
                <c:pt idx="42330">
                  <c:v>8.4033613445377799E-4</c:v>
                </c:pt>
                <c:pt idx="42331">
                  <c:v>8.4033613445377799E-4</c:v>
                </c:pt>
                <c:pt idx="42332">
                  <c:v>8.4033613445377799E-4</c:v>
                </c:pt>
                <c:pt idx="42333">
                  <c:v>8.4033613445377799E-4</c:v>
                </c:pt>
                <c:pt idx="42334">
                  <c:v>8.4033613445377799E-4</c:v>
                </c:pt>
                <c:pt idx="42335">
                  <c:v>8.4033613445377799E-4</c:v>
                </c:pt>
                <c:pt idx="42336">
                  <c:v>0</c:v>
                </c:pt>
                <c:pt idx="42337">
                  <c:v>0</c:v>
                </c:pt>
                <c:pt idx="42338">
                  <c:v>0</c:v>
                </c:pt>
                <c:pt idx="42339">
                  <c:v>0</c:v>
                </c:pt>
                <c:pt idx="42340">
                  <c:v>0</c:v>
                </c:pt>
                <c:pt idx="42341">
                  <c:v>0</c:v>
                </c:pt>
                <c:pt idx="42342">
                  <c:v>0</c:v>
                </c:pt>
                <c:pt idx="42343">
                  <c:v>0</c:v>
                </c:pt>
                <c:pt idx="42344">
                  <c:v>0</c:v>
                </c:pt>
                <c:pt idx="42345">
                  <c:v>0</c:v>
                </c:pt>
                <c:pt idx="42346">
                  <c:v>0</c:v>
                </c:pt>
                <c:pt idx="42347">
                  <c:v>0</c:v>
                </c:pt>
                <c:pt idx="42348">
                  <c:v>8.4033613445377799E-4</c:v>
                </c:pt>
                <c:pt idx="42349">
                  <c:v>8.4033613445377799E-4</c:v>
                </c:pt>
                <c:pt idx="42350">
                  <c:v>8.4033613445377799E-4</c:v>
                </c:pt>
                <c:pt idx="42351">
                  <c:v>8.4033613445377799E-4</c:v>
                </c:pt>
                <c:pt idx="42352">
                  <c:v>8.4033613445377799E-4</c:v>
                </c:pt>
                <c:pt idx="42353">
                  <c:v>8.4033613445377799E-4</c:v>
                </c:pt>
                <c:pt idx="42354">
                  <c:v>8.4033613445377799E-4</c:v>
                </c:pt>
                <c:pt idx="42355">
                  <c:v>8.4033613445377799E-4</c:v>
                </c:pt>
                <c:pt idx="42356">
                  <c:v>8.4033613445377799E-4</c:v>
                </c:pt>
                <c:pt idx="42357">
                  <c:v>8.4033613445377799E-4</c:v>
                </c:pt>
                <c:pt idx="42358">
                  <c:v>8.4033613445377799E-4</c:v>
                </c:pt>
                <c:pt idx="42359">
                  <c:v>8.4033613445377799E-4</c:v>
                </c:pt>
                <c:pt idx="42360">
                  <c:v>8.4033613445377799E-4</c:v>
                </c:pt>
                <c:pt idx="42361">
                  <c:v>8.4033613445377799E-4</c:v>
                </c:pt>
                <c:pt idx="42362">
                  <c:v>8.4033613445377799E-4</c:v>
                </c:pt>
                <c:pt idx="42363">
                  <c:v>8.4033613445377799E-4</c:v>
                </c:pt>
                <c:pt idx="42364">
                  <c:v>8.4033613445377799E-4</c:v>
                </c:pt>
                <c:pt idx="42365">
                  <c:v>8.4033613445377799E-4</c:v>
                </c:pt>
                <c:pt idx="42366">
                  <c:v>8.4033613445377799E-4</c:v>
                </c:pt>
                <c:pt idx="42367">
                  <c:v>8.4033613445377799E-4</c:v>
                </c:pt>
                <c:pt idx="42368">
                  <c:v>8.4033613445377799E-4</c:v>
                </c:pt>
                <c:pt idx="42369">
                  <c:v>8.4033613445377799E-4</c:v>
                </c:pt>
                <c:pt idx="42370">
                  <c:v>8.4033613445377799E-4</c:v>
                </c:pt>
                <c:pt idx="42371">
                  <c:v>8.4033613445377799E-4</c:v>
                </c:pt>
                <c:pt idx="42372">
                  <c:v>8.4033613445377799E-4</c:v>
                </c:pt>
                <c:pt idx="42373">
                  <c:v>8.4033613445377799E-4</c:v>
                </c:pt>
                <c:pt idx="42374">
                  <c:v>8.4033613445377799E-4</c:v>
                </c:pt>
                <c:pt idx="42375">
                  <c:v>8.4033613445377799E-4</c:v>
                </c:pt>
                <c:pt idx="42376">
                  <c:v>8.4033613445377799E-4</c:v>
                </c:pt>
                <c:pt idx="42377">
                  <c:v>8.4033613445377799E-4</c:v>
                </c:pt>
                <c:pt idx="42378">
                  <c:v>8.4033613445377799E-4</c:v>
                </c:pt>
                <c:pt idx="42379">
                  <c:v>8.4033613445377799E-4</c:v>
                </c:pt>
                <c:pt idx="42380">
                  <c:v>8.4033613445377799E-4</c:v>
                </c:pt>
                <c:pt idx="42381">
                  <c:v>8.4033613445377799E-4</c:v>
                </c:pt>
                <c:pt idx="42382">
                  <c:v>8.4033613445377799E-4</c:v>
                </c:pt>
                <c:pt idx="42383">
                  <c:v>8.4033613445377799E-4</c:v>
                </c:pt>
                <c:pt idx="42384">
                  <c:v>8.4033613445377799E-4</c:v>
                </c:pt>
                <c:pt idx="42385">
                  <c:v>8.4033613445377799E-4</c:v>
                </c:pt>
                <c:pt idx="42386">
                  <c:v>8.4033613445377799E-4</c:v>
                </c:pt>
                <c:pt idx="42387">
                  <c:v>8.4033613445377799E-4</c:v>
                </c:pt>
                <c:pt idx="42388">
                  <c:v>8.4033613445377799E-4</c:v>
                </c:pt>
                <c:pt idx="42389">
                  <c:v>8.4033613445377799E-4</c:v>
                </c:pt>
                <c:pt idx="42390">
                  <c:v>8.4033613445377799E-4</c:v>
                </c:pt>
                <c:pt idx="42391">
                  <c:v>8.4033613445377799E-4</c:v>
                </c:pt>
                <c:pt idx="42392">
                  <c:v>8.4033613445377799E-4</c:v>
                </c:pt>
                <c:pt idx="42393">
                  <c:v>8.4033613445377799E-4</c:v>
                </c:pt>
                <c:pt idx="42394">
                  <c:v>8.4033613445377799E-4</c:v>
                </c:pt>
                <c:pt idx="42395">
                  <c:v>8.4033613445377799E-4</c:v>
                </c:pt>
                <c:pt idx="42396">
                  <c:v>8.4033613445377799E-4</c:v>
                </c:pt>
                <c:pt idx="42397">
                  <c:v>8.4033613445377799E-4</c:v>
                </c:pt>
                <c:pt idx="42398">
                  <c:v>8.4033613445377799E-4</c:v>
                </c:pt>
                <c:pt idx="42399">
                  <c:v>8.4033613445377799E-4</c:v>
                </c:pt>
                <c:pt idx="42400">
                  <c:v>8.4033613445377799E-4</c:v>
                </c:pt>
                <c:pt idx="42401">
                  <c:v>8.4033613445377799E-4</c:v>
                </c:pt>
                <c:pt idx="42402">
                  <c:v>8.4033613445377799E-4</c:v>
                </c:pt>
                <c:pt idx="42403">
                  <c:v>8.4033613445377799E-4</c:v>
                </c:pt>
                <c:pt idx="42404">
                  <c:v>8.4033613445377799E-4</c:v>
                </c:pt>
                <c:pt idx="42405">
                  <c:v>8.4033613445377799E-4</c:v>
                </c:pt>
                <c:pt idx="42406">
                  <c:v>8.4033613445377799E-4</c:v>
                </c:pt>
                <c:pt idx="42407">
                  <c:v>8.4033613445377799E-4</c:v>
                </c:pt>
                <c:pt idx="42408">
                  <c:v>8.4033613445377799E-4</c:v>
                </c:pt>
                <c:pt idx="42409">
                  <c:v>8.4033613445377799E-4</c:v>
                </c:pt>
                <c:pt idx="42410">
                  <c:v>8.4033613445377799E-4</c:v>
                </c:pt>
                <c:pt idx="42411">
                  <c:v>8.4033613445377799E-4</c:v>
                </c:pt>
                <c:pt idx="42412">
                  <c:v>8.4033613445377799E-4</c:v>
                </c:pt>
                <c:pt idx="42413">
                  <c:v>0</c:v>
                </c:pt>
                <c:pt idx="42414">
                  <c:v>0</c:v>
                </c:pt>
                <c:pt idx="42415">
                  <c:v>0</c:v>
                </c:pt>
                <c:pt idx="42416">
                  <c:v>0</c:v>
                </c:pt>
                <c:pt idx="42417">
                  <c:v>0</c:v>
                </c:pt>
                <c:pt idx="42418">
                  <c:v>0</c:v>
                </c:pt>
                <c:pt idx="42419">
                  <c:v>0</c:v>
                </c:pt>
                <c:pt idx="42420">
                  <c:v>0</c:v>
                </c:pt>
                <c:pt idx="42421">
                  <c:v>0</c:v>
                </c:pt>
                <c:pt idx="42422">
                  <c:v>0</c:v>
                </c:pt>
                <c:pt idx="42423">
                  <c:v>0</c:v>
                </c:pt>
                <c:pt idx="42424">
                  <c:v>0</c:v>
                </c:pt>
                <c:pt idx="42425">
                  <c:v>0</c:v>
                </c:pt>
                <c:pt idx="42426">
                  <c:v>0</c:v>
                </c:pt>
                <c:pt idx="42427">
                  <c:v>0</c:v>
                </c:pt>
                <c:pt idx="42428">
                  <c:v>0</c:v>
                </c:pt>
                <c:pt idx="42429">
                  <c:v>0</c:v>
                </c:pt>
                <c:pt idx="42430">
                  <c:v>0</c:v>
                </c:pt>
                <c:pt idx="42431">
                  <c:v>0</c:v>
                </c:pt>
                <c:pt idx="42432">
                  <c:v>0</c:v>
                </c:pt>
                <c:pt idx="42433">
                  <c:v>0</c:v>
                </c:pt>
                <c:pt idx="42434">
                  <c:v>0</c:v>
                </c:pt>
                <c:pt idx="42435">
                  <c:v>0</c:v>
                </c:pt>
                <c:pt idx="42436">
                  <c:v>0</c:v>
                </c:pt>
                <c:pt idx="42437">
                  <c:v>0</c:v>
                </c:pt>
                <c:pt idx="42438">
                  <c:v>0</c:v>
                </c:pt>
                <c:pt idx="42439">
                  <c:v>0</c:v>
                </c:pt>
                <c:pt idx="42440">
                  <c:v>0</c:v>
                </c:pt>
                <c:pt idx="42441">
                  <c:v>0</c:v>
                </c:pt>
                <c:pt idx="42442">
                  <c:v>0</c:v>
                </c:pt>
                <c:pt idx="42443">
                  <c:v>0</c:v>
                </c:pt>
                <c:pt idx="42444">
                  <c:v>0</c:v>
                </c:pt>
                <c:pt idx="42445">
                  <c:v>0</c:v>
                </c:pt>
                <c:pt idx="42446">
                  <c:v>0</c:v>
                </c:pt>
                <c:pt idx="42447">
                  <c:v>0</c:v>
                </c:pt>
                <c:pt idx="42448">
                  <c:v>0</c:v>
                </c:pt>
                <c:pt idx="42449">
                  <c:v>0</c:v>
                </c:pt>
                <c:pt idx="42450">
                  <c:v>0</c:v>
                </c:pt>
                <c:pt idx="42451">
                  <c:v>0</c:v>
                </c:pt>
                <c:pt idx="42452">
                  <c:v>0</c:v>
                </c:pt>
                <c:pt idx="42453">
                  <c:v>0</c:v>
                </c:pt>
                <c:pt idx="42454">
                  <c:v>0</c:v>
                </c:pt>
                <c:pt idx="42455">
                  <c:v>0</c:v>
                </c:pt>
                <c:pt idx="42456">
                  <c:v>0</c:v>
                </c:pt>
                <c:pt idx="42457">
                  <c:v>0</c:v>
                </c:pt>
                <c:pt idx="42458">
                  <c:v>0</c:v>
                </c:pt>
                <c:pt idx="42459">
                  <c:v>0</c:v>
                </c:pt>
                <c:pt idx="42460">
                  <c:v>0</c:v>
                </c:pt>
                <c:pt idx="42461">
                  <c:v>0</c:v>
                </c:pt>
                <c:pt idx="42462">
                  <c:v>0</c:v>
                </c:pt>
                <c:pt idx="42463">
                  <c:v>0</c:v>
                </c:pt>
                <c:pt idx="42464">
                  <c:v>0</c:v>
                </c:pt>
                <c:pt idx="42465">
                  <c:v>0</c:v>
                </c:pt>
                <c:pt idx="42466">
                  <c:v>8.4033613445377799E-4</c:v>
                </c:pt>
                <c:pt idx="42467">
                  <c:v>8.4033613445377799E-4</c:v>
                </c:pt>
                <c:pt idx="42468">
                  <c:v>8.4033613445377799E-4</c:v>
                </c:pt>
                <c:pt idx="42469">
                  <c:v>8.4033613445377799E-4</c:v>
                </c:pt>
                <c:pt idx="42470">
                  <c:v>8.4033613445377799E-4</c:v>
                </c:pt>
                <c:pt idx="42471">
                  <c:v>8.4033613445377799E-4</c:v>
                </c:pt>
                <c:pt idx="42472">
                  <c:v>8.4033613445377799E-4</c:v>
                </c:pt>
                <c:pt idx="42473">
                  <c:v>8.4033613445377799E-4</c:v>
                </c:pt>
                <c:pt idx="42474">
                  <c:v>8.4033613445377799E-4</c:v>
                </c:pt>
                <c:pt idx="42475">
                  <c:v>8.4033613445377799E-4</c:v>
                </c:pt>
                <c:pt idx="42476">
                  <c:v>8.4033613445377799E-4</c:v>
                </c:pt>
                <c:pt idx="42477">
                  <c:v>8.4033613445377799E-4</c:v>
                </c:pt>
                <c:pt idx="42478">
                  <c:v>8.4033613445377799E-4</c:v>
                </c:pt>
                <c:pt idx="42479">
                  <c:v>8.4033613445377799E-4</c:v>
                </c:pt>
                <c:pt idx="42480">
                  <c:v>8.4033613445377799E-4</c:v>
                </c:pt>
                <c:pt idx="42481">
                  <c:v>8.4033613445377799E-4</c:v>
                </c:pt>
                <c:pt idx="42482">
                  <c:v>8.4033613445377799E-4</c:v>
                </c:pt>
                <c:pt idx="42483">
                  <c:v>8.4033613445377799E-4</c:v>
                </c:pt>
                <c:pt idx="42484">
                  <c:v>8.4033613445377799E-4</c:v>
                </c:pt>
                <c:pt idx="42485">
                  <c:v>8.4033613445377799E-4</c:v>
                </c:pt>
                <c:pt idx="42486">
                  <c:v>8.4033613445377799E-4</c:v>
                </c:pt>
                <c:pt idx="42487">
                  <c:v>8.4033613445377799E-4</c:v>
                </c:pt>
                <c:pt idx="42488">
                  <c:v>8.4033613445377799E-4</c:v>
                </c:pt>
                <c:pt idx="42489">
                  <c:v>8.4033613445377799E-4</c:v>
                </c:pt>
                <c:pt idx="42490">
                  <c:v>8.4033613445377799E-4</c:v>
                </c:pt>
                <c:pt idx="42491">
                  <c:v>8.4033613445377799E-4</c:v>
                </c:pt>
                <c:pt idx="42492">
                  <c:v>8.4033613445377799E-4</c:v>
                </c:pt>
                <c:pt idx="42493">
                  <c:v>8.4033613445377799E-4</c:v>
                </c:pt>
                <c:pt idx="42494">
                  <c:v>8.4033613445377799E-4</c:v>
                </c:pt>
                <c:pt idx="42495">
                  <c:v>8.4033613445377799E-4</c:v>
                </c:pt>
                <c:pt idx="42496">
                  <c:v>8.4033613445377799E-4</c:v>
                </c:pt>
                <c:pt idx="42497">
                  <c:v>8.4033613445377799E-4</c:v>
                </c:pt>
                <c:pt idx="42498">
                  <c:v>8.4033613445377799E-4</c:v>
                </c:pt>
                <c:pt idx="42499">
                  <c:v>8.4033613445377799E-4</c:v>
                </c:pt>
                <c:pt idx="42500">
                  <c:v>8.4033613445377799E-4</c:v>
                </c:pt>
                <c:pt idx="42501">
                  <c:v>8.4033613445377799E-4</c:v>
                </c:pt>
                <c:pt idx="42502">
                  <c:v>8.4033613445377799E-4</c:v>
                </c:pt>
                <c:pt idx="42503">
                  <c:v>8.4033613445377799E-4</c:v>
                </c:pt>
                <c:pt idx="42504">
                  <c:v>8.4033613445377799E-4</c:v>
                </c:pt>
                <c:pt idx="42505">
                  <c:v>8.4033613445377799E-4</c:v>
                </c:pt>
                <c:pt idx="42506">
                  <c:v>8.4033613445377799E-4</c:v>
                </c:pt>
                <c:pt idx="42507">
                  <c:v>8.4033613445377799E-4</c:v>
                </c:pt>
                <c:pt idx="42508">
                  <c:v>8.4033613445377799E-4</c:v>
                </c:pt>
                <c:pt idx="42509">
                  <c:v>8.4033613445377799E-4</c:v>
                </c:pt>
                <c:pt idx="42510">
                  <c:v>8.4033613445377799E-4</c:v>
                </c:pt>
                <c:pt idx="42511">
                  <c:v>8.4033613445377799E-4</c:v>
                </c:pt>
                <c:pt idx="42512">
                  <c:v>8.4033613445377799E-4</c:v>
                </c:pt>
                <c:pt idx="42513">
                  <c:v>8.4033613445377799E-4</c:v>
                </c:pt>
                <c:pt idx="42514">
                  <c:v>8.4033613445377799E-4</c:v>
                </c:pt>
                <c:pt idx="42515">
                  <c:v>8.4033613445377799E-4</c:v>
                </c:pt>
                <c:pt idx="42516">
                  <c:v>8.4033613445377799E-4</c:v>
                </c:pt>
                <c:pt idx="42517">
                  <c:v>8.4033613445377799E-4</c:v>
                </c:pt>
                <c:pt idx="42518">
                  <c:v>8.4033613445377799E-4</c:v>
                </c:pt>
                <c:pt idx="42519">
                  <c:v>8.4033613445377799E-4</c:v>
                </c:pt>
                <c:pt idx="42520">
                  <c:v>8.4033613445377799E-4</c:v>
                </c:pt>
                <c:pt idx="42521">
                  <c:v>8.4033613445377799E-4</c:v>
                </c:pt>
                <c:pt idx="42522">
                  <c:v>8.4033613445377799E-4</c:v>
                </c:pt>
                <c:pt idx="42523">
                  <c:v>8.4033613445377799E-4</c:v>
                </c:pt>
                <c:pt idx="42524">
                  <c:v>8.4033613445377799E-4</c:v>
                </c:pt>
                <c:pt idx="42525">
                  <c:v>8.4033613445377799E-4</c:v>
                </c:pt>
                <c:pt idx="42526">
                  <c:v>8.4033613445377799E-4</c:v>
                </c:pt>
                <c:pt idx="42527">
                  <c:v>8.4033613445377799E-4</c:v>
                </c:pt>
                <c:pt idx="42528">
                  <c:v>8.4033613445377799E-4</c:v>
                </c:pt>
                <c:pt idx="42529">
                  <c:v>8.4033613445377799E-4</c:v>
                </c:pt>
                <c:pt idx="42530">
                  <c:v>8.4033613445377799E-4</c:v>
                </c:pt>
                <c:pt idx="42531">
                  <c:v>8.4033613445377799E-4</c:v>
                </c:pt>
                <c:pt idx="42532">
                  <c:v>8.4033613445377799E-4</c:v>
                </c:pt>
                <c:pt idx="42533">
                  <c:v>8.4033613445377799E-4</c:v>
                </c:pt>
                <c:pt idx="42534">
                  <c:v>8.4033613445377799E-4</c:v>
                </c:pt>
                <c:pt idx="42535">
                  <c:v>8.4033613445377799E-4</c:v>
                </c:pt>
                <c:pt idx="42536">
                  <c:v>8.4033613445377799E-4</c:v>
                </c:pt>
                <c:pt idx="42537">
                  <c:v>8.4033613445377799E-4</c:v>
                </c:pt>
                <c:pt idx="42538">
                  <c:v>8.4033613445377799E-4</c:v>
                </c:pt>
                <c:pt idx="42539">
                  <c:v>8.4033613445377799E-4</c:v>
                </c:pt>
                <c:pt idx="42540">
                  <c:v>8.4033613445377799E-4</c:v>
                </c:pt>
                <c:pt idx="42541">
                  <c:v>8.4033613445377799E-4</c:v>
                </c:pt>
                <c:pt idx="42542">
                  <c:v>0</c:v>
                </c:pt>
                <c:pt idx="42543">
                  <c:v>0</c:v>
                </c:pt>
                <c:pt idx="42544">
                  <c:v>0</c:v>
                </c:pt>
                <c:pt idx="42545">
                  <c:v>0</c:v>
                </c:pt>
                <c:pt idx="42546">
                  <c:v>0</c:v>
                </c:pt>
                <c:pt idx="42547">
                  <c:v>0</c:v>
                </c:pt>
                <c:pt idx="42548">
                  <c:v>0</c:v>
                </c:pt>
                <c:pt idx="42549">
                  <c:v>8.4033613445377799E-4</c:v>
                </c:pt>
                <c:pt idx="42550">
                  <c:v>8.4033613445377799E-4</c:v>
                </c:pt>
                <c:pt idx="42551">
                  <c:v>8.4033613445377799E-4</c:v>
                </c:pt>
                <c:pt idx="42552">
                  <c:v>8.4033613445377799E-4</c:v>
                </c:pt>
                <c:pt idx="42553">
                  <c:v>8.4033613445377799E-4</c:v>
                </c:pt>
                <c:pt idx="42554">
                  <c:v>8.4033613445377799E-4</c:v>
                </c:pt>
                <c:pt idx="42555">
                  <c:v>8.4033613445377799E-4</c:v>
                </c:pt>
                <c:pt idx="42556">
                  <c:v>8.4033613445377799E-4</c:v>
                </c:pt>
                <c:pt idx="42557">
                  <c:v>8.4033613445377799E-4</c:v>
                </c:pt>
                <c:pt idx="42558">
                  <c:v>8.4033613445377799E-4</c:v>
                </c:pt>
                <c:pt idx="42559">
                  <c:v>8.4033613445377799E-4</c:v>
                </c:pt>
                <c:pt idx="42560">
                  <c:v>8.4033613445377799E-4</c:v>
                </c:pt>
                <c:pt idx="42561">
                  <c:v>8.4033613445377799E-4</c:v>
                </c:pt>
                <c:pt idx="42562">
                  <c:v>8.4033613445377799E-4</c:v>
                </c:pt>
                <c:pt idx="42563">
                  <c:v>8.4033613445377799E-4</c:v>
                </c:pt>
                <c:pt idx="42564">
                  <c:v>8.4033613445377799E-4</c:v>
                </c:pt>
                <c:pt idx="42565">
                  <c:v>8.4033613445377799E-4</c:v>
                </c:pt>
                <c:pt idx="42566">
                  <c:v>8.4033613445377799E-4</c:v>
                </c:pt>
                <c:pt idx="42567">
                  <c:v>8.4033613445377799E-4</c:v>
                </c:pt>
                <c:pt idx="42568">
                  <c:v>8.4033613445377799E-4</c:v>
                </c:pt>
                <c:pt idx="42569">
                  <c:v>8.4033613445377799E-4</c:v>
                </c:pt>
                <c:pt idx="42570">
                  <c:v>8.4033613445377799E-4</c:v>
                </c:pt>
                <c:pt idx="42571">
                  <c:v>0</c:v>
                </c:pt>
                <c:pt idx="42572">
                  <c:v>0</c:v>
                </c:pt>
                <c:pt idx="42573">
                  <c:v>0</c:v>
                </c:pt>
                <c:pt idx="42574">
                  <c:v>0</c:v>
                </c:pt>
                <c:pt idx="42575">
                  <c:v>0</c:v>
                </c:pt>
                <c:pt idx="42576">
                  <c:v>0</c:v>
                </c:pt>
                <c:pt idx="42577">
                  <c:v>0</c:v>
                </c:pt>
                <c:pt idx="42578">
                  <c:v>0</c:v>
                </c:pt>
                <c:pt idx="42579">
                  <c:v>0</c:v>
                </c:pt>
                <c:pt idx="42580">
                  <c:v>0</c:v>
                </c:pt>
                <c:pt idx="42581">
                  <c:v>0</c:v>
                </c:pt>
                <c:pt idx="42582">
                  <c:v>0</c:v>
                </c:pt>
                <c:pt idx="42583">
                  <c:v>0</c:v>
                </c:pt>
                <c:pt idx="42584">
                  <c:v>0</c:v>
                </c:pt>
                <c:pt idx="42585">
                  <c:v>0</c:v>
                </c:pt>
                <c:pt idx="42586">
                  <c:v>0</c:v>
                </c:pt>
                <c:pt idx="42587">
                  <c:v>-8.4033613445377799E-4</c:v>
                </c:pt>
                <c:pt idx="42588">
                  <c:v>-8.4033613445377799E-4</c:v>
                </c:pt>
                <c:pt idx="42589">
                  <c:v>-8.4033613445377799E-4</c:v>
                </c:pt>
                <c:pt idx="42590">
                  <c:v>-8.4033613445377799E-4</c:v>
                </c:pt>
                <c:pt idx="42591">
                  <c:v>-8.4033613445377799E-4</c:v>
                </c:pt>
                <c:pt idx="42592">
                  <c:v>-8.4033613445377799E-4</c:v>
                </c:pt>
                <c:pt idx="42593">
                  <c:v>-8.4033613445377799E-4</c:v>
                </c:pt>
                <c:pt idx="42594">
                  <c:v>-8.4033613445377799E-4</c:v>
                </c:pt>
                <c:pt idx="42595">
                  <c:v>-8.4033613445377799E-4</c:v>
                </c:pt>
                <c:pt idx="42596">
                  <c:v>-8.4033613445377799E-4</c:v>
                </c:pt>
                <c:pt idx="42597">
                  <c:v>-8.4033613445377799E-4</c:v>
                </c:pt>
                <c:pt idx="42598">
                  <c:v>-1.6806722689075499E-3</c:v>
                </c:pt>
                <c:pt idx="42599">
                  <c:v>-1.6806722689075499E-3</c:v>
                </c:pt>
                <c:pt idx="42600">
                  <c:v>-1.6806722689075499E-3</c:v>
                </c:pt>
                <c:pt idx="42601">
                  <c:v>-1.6806722689075499E-3</c:v>
                </c:pt>
                <c:pt idx="42602">
                  <c:v>-1.6806722689075499E-3</c:v>
                </c:pt>
                <c:pt idx="42603">
                  <c:v>-1.6806722689075499E-3</c:v>
                </c:pt>
                <c:pt idx="42604">
                  <c:v>-1.6806722689075499E-3</c:v>
                </c:pt>
                <c:pt idx="42605">
                  <c:v>-1.6806722689075499E-3</c:v>
                </c:pt>
                <c:pt idx="42606">
                  <c:v>-1.6806722689075499E-3</c:v>
                </c:pt>
                <c:pt idx="42607">
                  <c:v>-1.6806722689075499E-3</c:v>
                </c:pt>
                <c:pt idx="42608">
                  <c:v>-1.6806722689075499E-3</c:v>
                </c:pt>
                <c:pt idx="42609">
                  <c:v>-1.6806722689075499E-3</c:v>
                </c:pt>
                <c:pt idx="42610">
                  <c:v>-1.6806722689075499E-3</c:v>
                </c:pt>
                <c:pt idx="42611">
                  <c:v>-1.6806722689075499E-3</c:v>
                </c:pt>
                <c:pt idx="42612">
                  <c:v>-1.6806722689075499E-3</c:v>
                </c:pt>
                <c:pt idx="42613">
                  <c:v>-1.6806722689075499E-3</c:v>
                </c:pt>
                <c:pt idx="42614">
                  <c:v>-1.6806722689075499E-3</c:v>
                </c:pt>
                <c:pt idx="42615">
                  <c:v>-1.6806722689075499E-3</c:v>
                </c:pt>
                <c:pt idx="42616">
                  <c:v>-1.6806722689075499E-3</c:v>
                </c:pt>
                <c:pt idx="42617">
                  <c:v>-1.6806722689075499E-3</c:v>
                </c:pt>
                <c:pt idx="42618">
                  <c:v>-1.6806722689075499E-3</c:v>
                </c:pt>
                <c:pt idx="42619">
                  <c:v>-1.6806722689075499E-3</c:v>
                </c:pt>
                <c:pt idx="42620">
                  <c:v>-1.6806722689075499E-3</c:v>
                </c:pt>
                <c:pt idx="42621">
                  <c:v>-1.6806722689075499E-3</c:v>
                </c:pt>
                <c:pt idx="42622">
                  <c:v>-1.6806722689075499E-3</c:v>
                </c:pt>
                <c:pt idx="42623">
                  <c:v>-1.6806722689075499E-3</c:v>
                </c:pt>
                <c:pt idx="42624">
                  <c:v>-1.6806722689075499E-3</c:v>
                </c:pt>
                <c:pt idx="42625">
                  <c:v>-1.6806722689075499E-3</c:v>
                </c:pt>
                <c:pt idx="42626">
                  <c:v>-1.6806722689075499E-3</c:v>
                </c:pt>
                <c:pt idx="42627">
                  <c:v>-1.6806722689075499E-3</c:v>
                </c:pt>
                <c:pt idx="42628">
                  <c:v>-1.6806722689075499E-3</c:v>
                </c:pt>
                <c:pt idx="42629">
                  <c:v>-1.6806722689075499E-3</c:v>
                </c:pt>
                <c:pt idx="42630">
                  <c:v>-1.6806722689075499E-3</c:v>
                </c:pt>
                <c:pt idx="42631">
                  <c:v>-1.6806722689075499E-3</c:v>
                </c:pt>
                <c:pt idx="42632">
                  <c:v>-1.6806722689075499E-3</c:v>
                </c:pt>
                <c:pt idx="42633">
                  <c:v>-1.6806722689075499E-3</c:v>
                </c:pt>
                <c:pt idx="42634">
                  <c:v>-1.6806722689075499E-3</c:v>
                </c:pt>
                <c:pt idx="42635">
                  <c:v>-1.6806722689075499E-3</c:v>
                </c:pt>
                <c:pt idx="42636">
                  <c:v>-1.6806722689075499E-3</c:v>
                </c:pt>
                <c:pt idx="42637">
                  <c:v>-1.6806722689075499E-3</c:v>
                </c:pt>
                <c:pt idx="42638">
                  <c:v>-1.6806722689075499E-3</c:v>
                </c:pt>
                <c:pt idx="42639">
                  <c:v>-1.6806722689075499E-3</c:v>
                </c:pt>
                <c:pt idx="42640">
                  <c:v>-1.6806722689075499E-3</c:v>
                </c:pt>
                <c:pt idx="42641">
                  <c:v>-1.6806722689075499E-3</c:v>
                </c:pt>
                <c:pt idx="42642">
                  <c:v>-1.6806722689075499E-3</c:v>
                </c:pt>
                <c:pt idx="42643">
                  <c:v>-1.6806722689075499E-3</c:v>
                </c:pt>
                <c:pt idx="42644">
                  <c:v>-1.6806722689075499E-3</c:v>
                </c:pt>
                <c:pt idx="42645">
                  <c:v>-1.6806722689075499E-3</c:v>
                </c:pt>
                <c:pt idx="42646">
                  <c:v>-1.6806722689075499E-3</c:v>
                </c:pt>
                <c:pt idx="42647">
                  <c:v>-1.6806722689075499E-3</c:v>
                </c:pt>
                <c:pt idx="42648">
                  <c:v>-1.6806722689075499E-3</c:v>
                </c:pt>
                <c:pt idx="42649">
                  <c:v>-1.6806722689075499E-3</c:v>
                </c:pt>
                <c:pt idx="42650">
                  <c:v>-1.6806722689075499E-3</c:v>
                </c:pt>
                <c:pt idx="42651">
                  <c:v>-1.6806722689075499E-3</c:v>
                </c:pt>
                <c:pt idx="42652">
                  <c:v>-1.6806722689075499E-3</c:v>
                </c:pt>
                <c:pt idx="42653">
                  <c:v>-1.6806722689075499E-3</c:v>
                </c:pt>
                <c:pt idx="42654">
                  <c:v>-1.6806722689075499E-3</c:v>
                </c:pt>
                <c:pt idx="42655">
                  <c:v>-1.6806722689075499E-3</c:v>
                </c:pt>
                <c:pt idx="42656">
                  <c:v>-1.6806722689075499E-3</c:v>
                </c:pt>
                <c:pt idx="42657">
                  <c:v>-1.6806722689075499E-3</c:v>
                </c:pt>
                <c:pt idx="42658">
                  <c:v>-1.6806722689075499E-3</c:v>
                </c:pt>
                <c:pt idx="42659">
                  <c:v>-1.6806722689075499E-3</c:v>
                </c:pt>
                <c:pt idx="42660">
                  <c:v>-1.6806722689075499E-3</c:v>
                </c:pt>
                <c:pt idx="42661">
                  <c:v>-1.6806722689075499E-3</c:v>
                </c:pt>
                <c:pt idx="42662">
                  <c:v>-1.6806722689075499E-3</c:v>
                </c:pt>
                <c:pt idx="42663">
                  <c:v>-1.6806722689075499E-3</c:v>
                </c:pt>
                <c:pt idx="42664">
                  <c:v>-1.6806722689075499E-3</c:v>
                </c:pt>
                <c:pt idx="42665">
                  <c:v>-1.6806722689075499E-3</c:v>
                </c:pt>
                <c:pt idx="42666">
                  <c:v>-1.6806722689075499E-3</c:v>
                </c:pt>
                <c:pt idx="42667">
                  <c:v>-1.6806722689075499E-3</c:v>
                </c:pt>
                <c:pt idx="42668">
                  <c:v>-1.6806722689075499E-3</c:v>
                </c:pt>
                <c:pt idx="42669">
                  <c:v>-1.6806722689075499E-3</c:v>
                </c:pt>
                <c:pt idx="42670">
                  <c:v>-8.4033613445377799E-4</c:v>
                </c:pt>
                <c:pt idx="42671">
                  <c:v>-8.4033613445377799E-4</c:v>
                </c:pt>
                <c:pt idx="42672">
                  <c:v>-8.4033613445377799E-4</c:v>
                </c:pt>
                <c:pt idx="42673">
                  <c:v>-8.4033613445377799E-4</c:v>
                </c:pt>
                <c:pt idx="42674">
                  <c:v>-8.4033613445377799E-4</c:v>
                </c:pt>
                <c:pt idx="42675">
                  <c:v>-8.4033613445377799E-4</c:v>
                </c:pt>
                <c:pt idx="42676">
                  <c:v>-8.4033613445377799E-4</c:v>
                </c:pt>
                <c:pt idx="42677">
                  <c:v>-8.4033613445377799E-4</c:v>
                </c:pt>
                <c:pt idx="42678">
                  <c:v>-8.4033613445377799E-4</c:v>
                </c:pt>
                <c:pt idx="42679">
                  <c:v>-8.4033613445377799E-4</c:v>
                </c:pt>
                <c:pt idx="42680">
                  <c:v>-8.4033613445377799E-4</c:v>
                </c:pt>
                <c:pt idx="42681">
                  <c:v>-8.4033613445377799E-4</c:v>
                </c:pt>
                <c:pt idx="42682">
                  <c:v>-8.4033613445377799E-4</c:v>
                </c:pt>
                <c:pt idx="42683">
                  <c:v>-8.4033613445377799E-4</c:v>
                </c:pt>
                <c:pt idx="42684">
                  <c:v>-8.4033613445377799E-4</c:v>
                </c:pt>
                <c:pt idx="42685">
                  <c:v>-8.4033613445377799E-4</c:v>
                </c:pt>
                <c:pt idx="42686">
                  <c:v>-8.4033613445377799E-4</c:v>
                </c:pt>
                <c:pt idx="42687">
                  <c:v>-8.4033613445377799E-4</c:v>
                </c:pt>
                <c:pt idx="42688">
                  <c:v>-8.4033613445377799E-4</c:v>
                </c:pt>
                <c:pt idx="42689">
                  <c:v>-8.4033613445377799E-4</c:v>
                </c:pt>
                <c:pt idx="42690">
                  <c:v>-8.4033613445377799E-4</c:v>
                </c:pt>
                <c:pt idx="42691">
                  <c:v>-1.6806722689075499E-3</c:v>
                </c:pt>
                <c:pt idx="42692">
                  <c:v>-1.6806722689075499E-3</c:v>
                </c:pt>
                <c:pt idx="42693">
                  <c:v>-1.6806722689075499E-3</c:v>
                </c:pt>
                <c:pt idx="42694">
                  <c:v>-1.6806722689075499E-3</c:v>
                </c:pt>
                <c:pt idx="42695">
                  <c:v>-1.6806722689075499E-3</c:v>
                </c:pt>
                <c:pt idx="42696">
                  <c:v>-1.6806722689075499E-3</c:v>
                </c:pt>
                <c:pt idx="42697">
                  <c:v>-1.6806722689075499E-3</c:v>
                </c:pt>
                <c:pt idx="42698">
                  <c:v>-1.6806722689075499E-3</c:v>
                </c:pt>
                <c:pt idx="42699">
                  <c:v>-1.6806722689075499E-3</c:v>
                </c:pt>
                <c:pt idx="42700">
                  <c:v>-1.6806722689075499E-3</c:v>
                </c:pt>
                <c:pt idx="42701">
                  <c:v>-1.6806722689075499E-3</c:v>
                </c:pt>
                <c:pt idx="42702">
                  <c:v>-1.6806722689075499E-3</c:v>
                </c:pt>
                <c:pt idx="42703">
                  <c:v>-1.6806722689075499E-3</c:v>
                </c:pt>
                <c:pt idx="42704">
                  <c:v>-1.6806722689075499E-3</c:v>
                </c:pt>
                <c:pt idx="42705">
                  <c:v>-1.6806722689075499E-3</c:v>
                </c:pt>
                <c:pt idx="42706">
                  <c:v>-1.6806722689075499E-3</c:v>
                </c:pt>
                <c:pt idx="42707">
                  <c:v>-1.6806722689075499E-3</c:v>
                </c:pt>
                <c:pt idx="42708">
                  <c:v>-1.6806722689075499E-3</c:v>
                </c:pt>
                <c:pt idx="42709">
                  <c:v>-1.6806722689075499E-3</c:v>
                </c:pt>
                <c:pt idx="42710">
                  <c:v>-1.6806722689075499E-3</c:v>
                </c:pt>
                <c:pt idx="42711">
                  <c:v>-1.6806722689075499E-3</c:v>
                </c:pt>
                <c:pt idx="42712">
                  <c:v>-1.6806722689075499E-3</c:v>
                </c:pt>
                <c:pt idx="42713">
                  <c:v>-1.6806722689075499E-3</c:v>
                </c:pt>
                <c:pt idx="42714">
                  <c:v>-1.6806722689075499E-3</c:v>
                </c:pt>
                <c:pt idx="42715">
                  <c:v>-1.6806722689075499E-3</c:v>
                </c:pt>
                <c:pt idx="42716">
                  <c:v>-1.6806722689075499E-3</c:v>
                </c:pt>
                <c:pt idx="42717">
                  <c:v>-1.6806722689075499E-3</c:v>
                </c:pt>
                <c:pt idx="42718">
                  <c:v>-1.6806722689075499E-3</c:v>
                </c:pt>
                <c:pt idx="42719">
                  <c:v>-1.6806722689075499E-3</c:v>
                </c:pt>
                <c:pt idx="42720">
                  <c:v>-1.6806722689075499E-3</c:v>
                </c:pt>
                <c:pt idx="42721">
                  <c:v>-1.6806722689075499E-3</c:v>
                </c:pt>
                <c:pt idx="42722">
                  <c:v>-1.6806722689075499E-3</c:v>
                </c:pt>
                <c:pt idx="42723">
                  <c:v>-1.6806722689075499E-3</c:v>
                </c:pt>
                <c:pt idx="42724">
                  <c:v>-1.6806722689075499E-3</c:v>
                </c:pt>
                <c:pt idx="42725">
                  <c:v>-1.6806722689075499E-3</c:v>
                </c:pt>
                <c:pt idx="42726">
                  <c:v>-1.6806722689075499E-3</c:v>
                </c:pt>
                <c:pt idx="42727">
                  <c:v>-1.6806722689075499E-3</c:v>
                </c:pt>
                <c:pt idx="42728">
                  <c:v>-1.6806722689075499E-3</c:v>
                </c:pt>
                <c:pt idx="42729">
                  <c:v>-1.6806722689075499E-3</c:v>
                </c:pt>
                <c:pt idx="42730">
                  <c:v>-1.6806722689075499E-3</c:v>
                </c:pt>
                <c:pt idx="42731">
                  <c:v>-1.6806722689075499E-3</c:v>
                </c:pt>
                <c:pt idx="42732">
                  <c:v>-1.6806722689075499E-3</c:v>
                </c:pt>
                <c:pt idx="42733">
                  <c:v>-1.6806722689075499E-3</c:v>
                </c:pt>
                <c:pt idx="42734">
                  <c:v>-1.6806722689075499E-3</c:v>
                </c:pt>
                <c:pt idx="42735">
                  <c:v>-1.6806722689075499E-3</c:v>
                </c:pt>
                <c:pt idx="42736">
                  <c:v>-1.6806722689075499E-3</c:v>
                </c:pt>
                <c:pt idx="42737">
                  <c:v>-1.6806722689075499E-3</c:v>
                </c:pt>
                <c:pt idx="42738">
                  <c:v>-1.6806722689075499E-3</c:v>
                </c:pt>
                <c:pt idx="42739">
                  <c:v>-1.6806722689075499E-3</c:v>
                </c:pt>
                <c:pt idx="42740">
                  <c:v>-1.6806722689075499E-3</c:v>
                </c:pt>
                <c:pt idx="42741">
                  <c:v>-1.6806722689075499E-3</c:v>
                </c:pt>
                <c:pt idx="42742">
                  <c:v>-1.6806722689075499E-3</c:v>
                </c:pt>
                <c:pt idx="42743">
                  <c:v>-1.6806722689075499E-3</c:v>
                </c:pt>
                <c:pt idx="42744">
                  <c:v>-1.6806722689075499E-3</c:v>
                </c:pt>
                <c:pt idx="42745">
                  <c:v>-1.6806722689075499E-3</c:v>
                </c:pt>
                <c:pt idx="42746">
                  <c:v>-1.6806722689075499E-3</c:v>
                </c:pt>
                <c:pt idx="42747">
                  <c:v>-1.6806722689075499E-3</c:v>
                </c:pt>
                <c:pt idx="42748">
                  <c:v>-1.6806722689075499E-3</c:v>
                </c:pt>
                <c:pt idx="42749">
                  <c:v>-1.6806722689075499E-3</c:v>
                </c:pt>
                <c:pt idx="42750">
                  <c:v>-1.6806722689075499E-3</c:v>
                </c:pt>
                <c:pt idx="42751">
                  <c:v>-1.6806722689075499E-3</c:v>
                </c:pt>
                <c:pt idx="42752">
                  <c:v>-1.6806722689075499E-3</c:v>
                </c:pt>
                <c:pt idx="42753">
                  <c:v>-2.5210084033613299E-3</c:v>
                </c:pt>
                <c:pt idx="42754">
                  <c:v>-2.5210084033613299E-3</c:v>
                </c:pt>
                <c:pt idx="42755">
                  <c:v>-2.5210084033613299E-3</c:v>
                </c:pt>
                <c:pt idx="42756">
                  <c:v>-2.5210084033613299E-3</c:v>
                </c:pt>
                <c:pt idx="42757">
                  <c:v>-2.5210084033613299E-3</c:v>
                </c:pt>
                <c:pt idx="42758">
                  <c:v>-2.5210084033613299E-3</c:v>
                </c:pt>
                <c:pt idx="42759">
                  <c:v>-2.5210084033613299E-3</c:v>
                </c:pt>
                <c:pt idx="42760">
                  <c:v>-2.5210084033613299E-3</c:v>
                </c:pt>
                <c:pt idx="42761">
                  <c:v>-2.5210084033613299E-3</c:v>
                </c:pt>
                <c:pt idx="42762">
                  <c:v>-2.5210084033613299E-3</c:v>
                </c:pt>
                <c:pt idx="42763">
                  <c:v>-2.5210084033613299E-3</c:v>
                </c:pt>
                <c:pt idx="42764">
                  <c:v>-2.5210084033613299E-3</c:v>
                </c:pt>
                <c:pt idx="42765">
                  <c:v>-2.5210084033613299E-3</c:v>
                </c:pt>
                <c:pt idx="42766">
                  <c:v>-2.5210084033613299E-3</c:v>
                </c:pt>
                <c:pt idx="42767">
                  <c:v>-2.5210084033613299E-3</c:v>
                </c:pt>
                <c:pt idx="42768">
                  <c:v>-2.5210084033613299E-3</c:v>
                </c:pt>
                <c:pt idx="42769">
                  <c:v>-2.5210084033613299E-3</c:v>
                </c:pt>
                <c:pt idx="42770">
                  <c:v>-2.5210084033613299E-3</c:v>
                </c:pt>
                <c:pt idx="42771">
                  <c:v>-2.5210084033613299E-3</c:v>
                </c:pt>
                <c:pt idx="42772">
                  <c:v>-2.5210084033613299E-3</c:v>
                </c:pt>
                <c:pt idx="42773">
                  <c:v>-2.5210084033613299E-3</c:v>
                </c:pt>
                <c:pt idx="42774">
                  <c:v>-2.5210084033613299E-3</c:v>
                </c:pt>
                <c:pt idx="42775">
                  <c:v>-2.5210084033613299E-3</c:v>
                </c:pt>
                <c:pt idx="42776">
                  <c:v>-2.5210084033613299E-3</c:v>
                </c:pt>
                <c:pt idx="42777">
                  <c:v>-2.5210084033613299E-3</c:v>
                </c:pt>
                <c:pt idx="42778">
                  <c:v>-2.5210084033613299E-3</c:v>
                </c:pt>
                <c:pt idx="42779">
                  <c:v>-2.5210084033613299E-3</c:v>
                </c:pt>
                <c:pt idx="42780">
                  <c:v>-2.5210084033613299E-3</c:v>
                </c:pt>
                <c:pt idx="42781">
                  <c:v>-2.5210084033613299E-3</c:v>
                </c:pt>
                <c:pt idx="42782">
                  <c:v>-2.5210084033613299E-3</c:v>
                </c:pt>
                <c:pt idx="42783">
                  <c:v>-2.5210084033613299E-3</c:v>
                </c:pt>
                <c:pt idx="42784">
                  <c:v>-2.5210084033613299E-3</c:v>
                </c:pt>
                <c:pt idx="42785">
                  <c:v>-2.5210084033613299E-3</c:v>
                </c:pt>
                <c:pt idx="42786">
                  <c:v>-2.5210084033613299E-3</c:v>
                </c:pt>
                <c:pt idx="42787">
                  <c:v>-2.5210084033613299E-3</c:v>
                </c:pt>
                <c:pt idx="42788">
                  <c:v>-2.5210084033613299E-3</c:v>
                </c:pt>
                <c:pt idx="42789">
                  <c:v>-2.5210084033613299E-3</c:v>
                </c:pt>
                <c:pt idx="42790">
                  <c:v>-2.5210084033613299E-3</c:v>
                </c:pt>
                <c:pt idx="42791">
                  <c:v>-2.5210084033613299E-3</c:v>
                </c:pt>
                <c:pt idx="42792">
                  <c:v>-2.5210084033613299E-3</c:v>
                </c:pt>
                <c:pt idx="42793">
                  <c:v>-2.5210084033613299E-3</c:v>
                </c:pt>
                <c:pt idx="42794">
                  <c:v>-2.5210084033613299E-3</c:v>
                </c:pt>
                <c:pt idx="42795">
                  <c:v>-2.5210084033613299E-3</c:v>
                </c:pt>
                <c:pt idx="42796">
                  <c:v>-2.5210084033613299E-3</c:v>
                </c:pt>
                <c:pt idx="42797">
                  <c:v>-2.5210084033613299E-3</c:v>
                </c:pt>
                <c:pt idx="42798">
                  <c:v>-2.5210084033613299E-3</c:v>
                </c:pt>
                <c:pt idx="42799">
                  <c:v>-2.5210084033613299E-3</c:v>
                </c:pt>
                <c:pt idx="42800">
                  <c:v>-2.5210084033613299E-3</c:v>
                </c:pt>
                <c:pt idx="42801">
                  <c:v>-2.5210084033613299E-3</c:v>
                </c:pt>
                <c:pt idx="42802">
                  <c:v>-2.5210084033613299E-3</c:v>
                </c:pt>
                <c:pt idx="42803">
                  <c:v>-2.5210084033613299E-3</c:v>
                </c:pt>
                <c:pt idx="42804">
                  <c:v>-2.5210084033613299E-3</c:v>
                </c:pt>
                <c:pt idx="42805">
                  <c:v>-2.5210084033613299E-3</c:v>
                </c:pt>
                <c:pt idx="42806">
                  <c:v>-2.5210084033613299E-3</c:v>
                </c:pt>
                <c:pt idx="42807">
                  <c:v>-2.5210084033613299E-3</c:v>
                </c:pt>
                <c:pt idx="42808">
                  <c:v>-2.5210084033613299E-3</c:v>
                </c:pt>
                <c:pt idx="42809">
                  <c:v>-2.5210084033613299E-3</c:v>
                </c:pt>
                <c:pt idx="42810">
                  <c:v>-2.5210084033613299E-3</c:v>
                </c:pt>
                <c:pt idx="42811">
                  <c:v>-2.5210084033613299E-3</c:v>
                </c:pt>
                <c:pt idx="42812">
                  <c:v>-2.5210084033613299E-3</c:v>
                </c:pt>
                <c:pt idx="42813">
                  <c:v>-2.5210084033613299E-3</c:v>
                </c:pt>
                <c:pt idx="42814">
                  <c:v>-2.5210084033613299E-3</c:v>
                </c:pt>
                <c:pt idx="42815">
                  <c:v>-2.5210084033613299E-3</c:v>
                </c:pt>
                <c:pt idx="42816">
                  <c:v>-2.5210084033613299E-3</c:v>
                </c:pt>
                <c:pt idx="42817">
                  <c:v>-2.5210084033613299E-3</c:v>
                </c:pt>
                <c:pt idx="42818">
                  <c:v>-2.5210084033613299E-3</c:v>
                </c:pt>
                <c:pt idx="42819">
                  <c:v>-2.5210084033613299E-3</c:v>
                </c:pt>
                <c:pt idx="42820">
                  <c:v>-2.5210084033613299E-3</c:v>
                </c:pt>
                <c:pt idx="42821">
                  <c:v>-2.5210084033613299E-3</c:v>
                </c:pt>
                <c:pt idx="42822">
                  <c:v>-2.5210084033613299E-3</c:v>
                </c:pt>
                <c:pt idx="42823">
                  <c:v>-2.5210084033613299E-3</c:v>
                </c:pt>
                <c:pt idx="42824">
                  <c:v>-2.5210084033613299E-3</c:v>
                </c:pt>
                <c:pt idx="42825">
                  <c:v>-2.5210084033613299E-3</c:v>
                </c:pt>
                <c:pt idx="42826">
                  <c:v>-2.5210084033613299E-3</c:v>
                </c:pt>
                <c:pt idx="42827">
                  <c:v>-2.5210084033613299E-3</c:v>
                </c:pt>
                <c:pt idx="42828">
                  <c:v>-2.5210084033613299E-3</c:v>
                </c:pt>
                <c:pt idx="42829">
                  <c:v>-2.5210084033613299E-3</c:v>
                </c:pt>
                <c:pt idx="42830">
                  <c:v>-2.5210084033613299E-3</c:v>
                </c:pt>
                <c:pt idx="42831">
                  <c:v>-2.5210084033613299E-3</c:v>
                </c:pt>
                <c:pt idx="42832">
                  <c:v>-2.5210084033613299E-3</c:v>
                </c:pt>
                <c:pt idx="42833">
                  <c:v>-2.5210084033613299E-3</c:v>
                </c:pt>
                <c:pt idx="42834">
                  <c:v>-2.5210084033613299E-3</c:v>
                </c:pt>
                <c:pt idx="42835">
                  <c:v>-2.5210084033613299E-3</c:v>
                </c:pt>
                <c:pt idx="42836">
                  <c:v>-2.5210084033613299E-3</c:v>
                </c:pt>
                <c:pt idx="42837">
                  <c:v>-2.5210084033613299E-3</c:v>
                </c:pt>
                <c:pt idx="42838">
                  <c:v>-2.5210084033613299E-3</c:v>
                </c:pt>
                <c:pt idx="42839">
                  <c:v>-2.5210084033613299E-3</c:v>
                </c:pt>
                <c:pt idx="42840">
                  <c:v>-2.5210084033613299E-3</c:v>
                </c:pt>
                <c:pt idx="42841">
                  <c:v>-2.5210084033613299E-3</c:v>
                </c:pt>
                <c:pt idx="42842">
                  <c:v>-2.5210084033613299E-3</c:v>
                </c:pt>
                <c:pt idx="42843">
                  <c:v>-2.5210084033613299E-3</c:v>
                </c:pt>
                <c:pt idx="42844">
                  <c:v>-2.5210084033613299E-3</c:v>
                </c:pt>
                <c:pt idx="42845">
                  <c:v>-2.5210084033613299E-3</c:v>
                </c:pt>
                <c:pt idx="42846">
                  <c:v>-2.5210084033613299E-3</c:v>
                </c:pt>
                <c:pt idx="42847">
                  <c:v>-2.5210084033613299E-3</c:v>
                </c:pt>
                <c:pt idx="42848">
                  <c:v>-2.5210084033613299E-3</c:v>
                </c:pt>
                <c:pt idx="42849">
                  <c:v>-2.5210084033613299E-3</c:v>
                </c:pt>
                <c:pt idx="42850">
                  <c:v>-2.5210084033613299E-3</c:v>
                </c:pt>
                <c:pt idx="42851">
                  <c:v>-2.5210084033613299E-3</c:v>
                </c:pt>
                <c:pt idx="42852">
                  <c:v>-2.5210084033613299E-3</c:v>
                </c:pt>
                <c:pt idx="42853">
                  <c:v>-2.5210084033613299E-3</c:v>
                </c:pt>
                <c:pt idx="42854">
                  <c:v>-2.5210084033613299E-3</c:v>
                </c:pt>
                <c:pt idx="42855">
                  <c:v>-2.5210084033613299E-3</c:v>
                </c:pt>
                <c:pt idx="42856">
                  <c:v>-2.5210084033613299E-3</c:v>
                </c:pt>
                <c:pt idx="42857">
                  <c:v>-2.5210084033613299E-3</c:v>
                </c:pt>
                <c:pt idx="42858">
                  <c:v>-2.5210084033613299E-3</c:v>
                </c:pt>
                <c:pt idx="42859">
                  <c:v>-2.5210084033613299E-3</c:v>
                </c:pt>
                <c:pt idx="42860">
                  <c:v>-2.5210084033613299E-3</c:v>
                </c:pt>
                <c:pt idx="42861">
                  <c:v>-2.5210084033613299E-3</c:v>
                </c:pt>
                <c:pt idx="42862">
                  <c:v>-2.5210084033613299E-3</c:v>
                </c:pt>
                <c:pt idx="42863">
                  <c:v>-2.5210084033613299E-3</c:v>
                </c:pt>
                <c:pt idx="42864">
                  <c:v>-3.3613445378151102E-3</c:v>
                </c:pt>
                <c:pt idx="42865">
                  <c:v>-3.3613445378151102E-3</c:v>
                </c:pt>
                <c:pt idx="42866">
                  <c:v>-3.3613445378151102E-3</c:v>
                </c:pt>
                <c:pt idx="42867">
                  <c:v>-3.3613445378151102E-3</c:v>
                </c:pt>
                <c:pt idx="42868">
                  <c:v>-3.3613445378151102E-3</c:v>
                </c:pt>
                <c:pt idx="42869">
                  <c:v>-3.3613445378151102E-3</c:v>
                </c:pt>
                <c:pt idx="42870">
                  <c:v>-3.3613445378151102E-3</c:v>
                </c:pt>
                <c:pt idx="42871">
                  <c:v>-3.3613445378151102E-3</c:v>
                </c:pt>
                <c:pt idx="42872">
                  <c:v>-3.3613445378151102E-3</c:v>
                </c:pt>
                <c:pt idx="42873">
                  <c:v>-3.3613445378151102E-3</c:v>
                </c:pt>
                <c:pt idx="42874">
                  <c:v>-3.3613445378151102E-3</c:v>
                </c:pt>
                <c:pt idx="42875">
                  <c:v>-3.3613445378151102E-3</c:v>
                </c:pt>
                <c:pt idx="42876">
                  <c:v>-3.3613445378151102E-3</c:v>
                </c:pt>
                <c:pt idx="42877">
                  <c:v>-3.3613445378151102E-3</c:v>
                </c:pt>
                <c:pt idx="42878">
                  <c:v>-3.3613445378151102E-3</c:v>
                </c:pt>
                <c:pt idx="42879">
                  <c:v>-3.3613445378151102E-3</c:v>
                </c:pt>
                <c:pt idx="42880">
                  <c:v>-3.3613445378151102E-3</c:v>
                </c:pt>
                <c:pt idx="42881">
                  <c:v>-3.3613445378151102E-3</c:v>
                </c:pt>
                <c:pt idx="42882">
                  <c:v>-3.3613445378151102E-3</c:v>
                </c:pt>
                <c:pt idx="42883">
                  <c:v>-3.3613445378151102E-3</c:v>
                </c:pt>
                <c:pt idx="42884">
                  <c:v>-3.3613445378151102E-3</c:v>
                </c:pt>
                <c:pt idx="42885">
                  <c:v>-3.3613445378151102E-3</c:v>
                </c:pt>
                <c:pt idx="42886">
                  <c:v>-3.3613445378151102E-3</c:v>
                </c:pt>
                <c:pt idx="42887">
                  <c:v>-3.3613445378151102E-3</c:v>
                </c:pt>
                <c:pt idx="42888">
                  <c:v>-3.3613445378151102E-3</c:v>
                </c:pt>
                <c:pt idx="42889">
                  <c:v>-3.3613445378151102E-3</c:v>
                </c:pt>
                <c:pt idx="42890">
                  <c:v>-3.3613445378151102E-3</c:v>
                </c:pt>
                <c:pt idx="42891">
                  <c:v>-3.3613445378151102E-3</c:v>
                </c:pt>
                <c:pt idx="42892">
                  <c:v>-3.3613445378151102E-3</c:v>
                </c:pt>
                <c:pt idx="42893">
                  <c:v>-3.3613445378151102E-3</c:v>
                </c:pt>
                <c:pt idx="42894">
                  <c:v>-3.3613445378151102E-3</c:v>
                </c:pt>
                <c:pt idx="42895">
                  <c:v>-3.3613445378151102E-3</c:v>
                </c:pt>
                <c:pt idx="42896">
                  <c:v>-3.3613445378151102E-3</c:v>
                </c:pt>
                <c:pt idx="42897">
                  <c:v>-3.3613445378151102E-3</c:v>
                </c:pt>
                <c:pt idx="42898">
                  <c:v>-3.3613445378151102E-3</c:v>
                </c:pt>
                <c:pt idx="42899">
                  <c:v>-3.3613445378151102E-3</c:v>
                </c:pt>
                <c:pt idx="42900">
                  <c:v>-3.3613445378151102E-3</c:v>
                </c:pt>
                <c:pt idx="42901">
                  <c:v>-3.3613445378151102E-3</c:v>
                </c:pt>
                <c:pt idx="42902">
                  <c:v>-3.3613445378151102E-3</c:v>
                </c:pt>
                <c:pt idx="42903">
                  <c:v>-3.3613445378151102E-3</c:v>
                </c:pt>
                <c:pt idx="42904">
                  <c:v>-3.3613445378151102E-3</c:v>
                </c:pt>
                <c:pt idx="42905">
                  <c:v>-3.3613445378151102E-3</c:v>
                </c:pt>
                <c:pt idx="42906">
                  <c:v>-3.3613445378151102E-3</c:v>
                </c:pt>
                <c:pt idx="42907">
                  <c:v>-3.3613445378151102E-3</c:v>
                </c:pt>
                <c:pt idx="42908">
                  <c:v>-3.3613445378151102E-3</c:v>
                </c:pt>
                <c:pt idx="42909">
                  <c:v>-3.3613445378151102E-3</c:v>
                </c:pt>
                <c:pt idx="42910">
                  <c:v>-3.3613445378151102E-3</c:v>
                </c:pt>
                <c:pt idx="42911">
                  <c:v>-3.3613445378151102E-3</c:v>
                </c:pt>
                <c:pt idx="42912">
                  <c:v>-3.3613445378151102E-3</c:v>
                </c:pt>
                <c:pt idx="42913">
                  <c:v>-3.3613445378151102E-3</c:v>
                </c:pt>
                <c:pt idx="42914">
                  <c:v>-3.3613445378151102E-3</c:v>
                </c:pt>
                <c:pt idx="42915">
                  <c:v>-3.3613445378151102E-3</c:v>
                </c:pt>
                <c:pt idx="42916">
                  <c:v>-3.3613445378151102E-3</c:v>
                </c:pt>
                <c:pt idx="42917">
                  <c:v>-3.3613445378151102E-3</c:v>
                </c:pt>
                <c:pt idx="42918">
                  <c:v>-3.3613445378151102E-3</c:v>
                </c:pt>
                <c:pt idx="42919">
                  <c:v>-3.3613445378151102E-3</c:v>
                </c:pt>
                <c:pt idx="42920">
                  <c:v>-3.3613445378151102E-3</c:v>
                </c:pt>
                <c:pt idx="42921">
                  <c:v>-3.3613445378151102E-3</c:v>
                </c:pt>
                <c:pt idx="42922">
                  <c:v>-3.3613445378151102E-3</c:v>
                </c:pt>
                <c:pt idx="42923">
                  <c:v>-3.3613445378151102E-3</c:v>
                </c:pt>
                <c:pt idx="42924">
                  <c:v>-3.3613445378151102E-3</c:v>
                </c:pt>
                <c:pt idx="42925">
                  <c:v>-3.3613445378151102E-3</c:v>
                </c:pt>
                <c:pt idx="42926">
                  <c:v>-3.3613445378151102E-3</c:v>
                </c:pt>
                <c:pt idx="42927">
                  <c:v>-3.3613445378151102E-3</c:v>
                </c:pt>
                <c:pt idx="42928">
                  <c:v>-3.3613445378151102E-3</c:v>
                </c:pt>
                <c:pt idx="42929">
                  <c:v>-3.3613445378151102E-3</c:v>
                </c:pt>
                <c:pt idx="42930">
                  <c:v>-3.3613445378151102E-3</c:v>
                </c:pt>
                <c:pt idx="42931">
                  <c:v>-3.3613445378151102E-3</c:v>
                </c:pt>
                <c:pt idx="42932">
                  <c:v>-3.3613445378151102E-3</c:v>
                </c:pt>
                <c:pt idx="42933">
                  <c:v>-3.3613445378151102E-3</c:v>
                </c:pt>
                <c:pt idx="42934">
                  <c:v>-3.3613445378151102E-3</c:v>
                </c:pt>
                <c:pt idx="42935">
                  <c:v>-3.3613445378151102E-3</c:v>
                </c:pt>
                <c:pt idx="42936">
                  <c:v>-3.3613445378151102E-3</c:v>
                </c:pt>
                <c:pt idx="42937">
                  <c:v>-3.3613445378151102E-3</c:v>
                </c:pt>
                <c:pt idx="42938">
                  <c:v>-3.3613445378151102E-3</c:v>
                </c:pt>
                <c:pt idx="42939">
                  <c:v>-3.3613445378151102E-3</c:v>
                </c:pt>
                <c:pt idx="42940">
                  <c:v>-3.3613445378151102E-3</c:v>
                </c:pt>
                <c:pt idx="42941">
                  <c:v>-3.3613445378151102E-3</c:v>
                </c:pt>
                <c:pt idx="42942">
                  <c:v>-3.3613445378151102E-3</c:v>
                </c:pt>
                <c:pt idx="42943">
                  <c:v>-3.3613445378151102E-3</c:v>
                </c:pt>
                <c:pt idx="42944">
                  <c:v>-3.3613445378151102E-3</c:v>
                </c:pt>
                <c:pt idx="42945">
                  <c:v>-3.3613445378151102E-3</c:v>
                </c:pt>
                <c:pt idx="42946">
                  <c:v>-3.3613445378151102E-3</c:v>
                </c:pt>
                <c:pt idx="42947">
                  <c:v>-3.3613445378151102E-3</c:v>
                </c:pt>
                <c:pt idx="42948">
                  <c:v>-3.3613445378151102E-3</c:v>
                </c:pt>
                <c:pt idx="42949">
                  <c:v>-3.3613445378151102E-3</c:v>
                </c:pt>
                <c:pt idx="42950">
                  <c:v>-3.3613445378151102E-3</c:v>
                </c:pt>
                <c:pt idx="42951">
                  <c:v>-3.3613445378151102E-3</c:v>
                </c:pt>
                <c:pt idx="42952">
                  <c:v>-3.3613445378151102E-3</c:v>
                </c:pt>
                <c:pt idx="42953">
                  <c:v>-3.3613445378151102E-3</c:v>
                </c:pt>
                <c:pt idx="42954">
                  <c:v>-3.3613445378151102E-3</c:v>
                </c:pt>
                <c:pt idx="42955">
                  <c:v>-3.3613445378151102E-3</c:v>
                </c:pt>
                <c:pt idx="42956">
                  <c:v>-3.3613445378151102E-3</c:v>
                </c:pt>
                <c:pt idx="42957">
                  <c:v>-3.3613445378151102E-3</c:v>
                </c:pt>
                <c:pt idx="42958">
                  <c:v>-3.3613445378151102E-3</c:v>
                </c:pt>
                <c:pt idx="42959">
                  <c:v>-3.3613445378151102E-3</c:v>
                </c:pt>
                <c:pt idx="42960">
                  <c:v>-3.3613445378151102E-3</c:v>
                </c:pt>
                <c:pt idx="42961">
                  <c:v>-3.3613445378151102E-3</c:v>
                </c:pt>
                <c:pt idx="42962">
                  <c:v>-3.3613445378151102E-3</c:v>
                </c:pt>
                <c:pt idx="42963">
                  <c:v>-3.3613445378151102E-3</c:v>
                </c:pt>
                <c:pt idx="42964">
                  <c:v>-3.3613445378151102E-3</c:v>
                </c:pt>
                <c:pt idx="42965">
                  <c:v>-3.3613445378151102E-3</c:v>
                </c:pt>
                <c:pt idx="42966">
                  <c:v>-3.3613445378151102E-3</c:v>
                </c:pt>
                <c:pt idx="42967">
                  <c:v>-3.3613445378151102E-3</c:v>
                </c:pt>
                <c:pt idx="42968">
                  <c:v>-3.3613445378151102E-3</c:v>
                </c:pt>
                <c:pt idx="42969">
                  <c:v>-3.3613445378151102E-3</c:v>
                </c:pt>
                <c:pt idx="42970">
                  <c:v>-3.3613445378151102E-3</c:v>
                </c:pt>
                <c:pt idx="42971">
                  <c:v>-3.3613445378151102E-3</c:v>
                </c:pt>
                <c:pt idx="42972">
                  <c:v>-3.3613445378151102E-3</c:v>
                </c:pt>
                <c:pt idx="42973">
                  <c:v>-3.3613445378151102E-3</c:v>
                </c:pt>
                <c:pt idx="42974">
                  <c:v>-3.3613445378151102E-3</c:v>
                </c:pt>
                <c:pt idx="42975">
                  <c:v>-3.3613445378151102E-3</c:v>
                </c:pt>
                <c:pt idx="42976">
                  <c:v>-3.3613445378151102E-3</c:v>
                </c:pt>
                <c:pt idx="42977">
                  <c:v>-3.3613445378151102E-3</c:v>
                </c:pt>
                <c:pt idx="42978">
                  <c:v>-3.3613445378151102E-3</c:v>
                </c:pt>
                <c:pt idx="42979">
                  <c:v>-3.3613445378151102E-3</c:v>
                </c:pt>
                <c:pt idx="42980">
                  <c:v>-3.3613445378151102E-3</c:v>
                </c:pt>
                <c:pt idx="42981">
                  <c:v>-3.3613445378151102E-3</c:v>
                </c:pt>
                <c:pt idx="42982">
                  <c:v>-3.3613445378151102E-3</c:v>
                </c:pt>
                <c:pt idx="42983">
                  <c:v>-3.3613445378151102E-3</c:v>
                </c:pt>
                <c:pt idx="42984">
                  <c:v>-3.3613445378151102E-3</c:v>
                </c:pt>
                <c:pt idx="42985">
                  <c:v>-3.3613445378151102E-3</c:v>
                </c:pt>
                <c:pt idx="42986">
                  <c:v>-3.3613445378151102E-3</c:v>
                </c:pt>
                <c:pt idx="42987">
                  <c:v>-3.3613445378151102E-3</c:v>
                </c:pt>
                <c:pt idx="42988">
                  <c:v>-3.3613445378151102E-3</c:v>
                </c:pt>
                <c:pt idx="42989">
                  <c:v>-3.3613445378151102E-3</c:v>
                </c:pt>
                <c:pt idx="42990">
                  <c:v>-3.3613445378151102E-3</c:v>
                </c:pt>
                <c:pt idx="42991">
                  <c:v>-3.3613445378151102E-3</c:v>
                </c:pt>
                <c:pt idx="42992">
                  <c:v>-3.3613445378151102E-3</c:v>
                </c:pt>
                <c:pt idx="42993">
                  <c:v>-3.3613445378151102E-3</c:v>
                </c:pt>
                <c:pt idx="42994">
                  <c:v>-3.3613445378151102E-3</c:v>
                </c:pt>
                <c:pt idx="42995">
                  <c:v>-3.3613445378151102E-3</c:v>
                </c:pt>
                <c:pt idx="42996">
                  <c:v>-3.3613445378151102E-3</c:v>
                </c:pt>
                <c:pt idx="42997">
                  <c:v>-3.3613445378151102E-3</c:v>
                </c:pt>
                <c:pt idx="42998">
                  <c:v>-3.3613445378151102E-3</c:v>
                </c:pt>
                <c:pt idx="42999">
                  <c:v>-3.3613445378151102E-3</c:v>
                </c:pt>
                <c:pt idx="43000">
                  <c:v>-3.3613445378151102E-3</c:v>
                </c:pt>
                <c:pt idx="43001">
                  <c:v>-3.3613445378151102E-3</c:v>
                </c:pt>
                <c:pt idx="43002">
                  <c:v>-3.3613445378151102E-3</c:v>
                </c:pt>
                <c:pt idx="43003">
                  <c:v>-3.3613445378151102E-3</c:v>
                </c:pt>
                <c:pt idx="43004">
                  <c:v>-3.3613445378151102E-3</c:v>
                </c:pt>
                <c:pt idx="43005">
                  <c:v>-3.3613445378151102E-3</c:v>
                </c:pt>
                <c:pt idx="43006">
                  <c:v>-3.3613445378151102E-3</c:v>
                </c:pt>
                <c:pt idx="43007">
                  <c:v>-3.3613445378151102E-3</c:v>
                </c:pt>
                <c:pt idx="43008">
                  <c:v>-3.3613445378151102E-3</c:v>
                </c:pt>
                <c:pt idx="43009">
                  <c:v>-3.3613445378151102E-3</c:v>
                </c:pt>
                <c:pt idx="43010">
                  <c:v>-3.3613445378151102E-3</c:v>
                </c:pt>
                <c:pt idx="43011">
                  <c:v>-3.3613445378151102E-3</c:v>
                </c:pt>
                <c:pt idx="43012">
                  <c:v>-3.3613445378151102E-3</c:v>
                </c:pt>
                <c:pt idx="43013">
                  <c:v>-3.3613445378151102E-3</c:v>
                </c:pt>
                <c:pt idx="43014">
                  <c:v>-3.3613445378151102E-3</c:v>
                </c:pt>
                <c:pt idx="43015">
                  <c:v>-3.3613445378151102E-3</c:v>
                </c:pt>
                <c:pt idx="43016">
                  <c:v>-3.3613445378151102E-3</c:v>
                </c:pt>
                <c:pt idx="43017">
                  <c:v>-3.3613445378151102E-3</c:v>
                </c:pt>
                <c:pt idx="43018">
                  <c:v>-3.3613445378151102E-3</c:v>
                </c:pt>
                <c:pt idx="43019">
                  <c:v>-3.3613445378151102E-3</c:v>
                </c:pt>
                <c:pt idx="43020">
                  <c:v>-3.3613445378151102E-3</c:v>
                </c:pt>
                <c:pt idx="43021">
                  <c:v>-3.3613445378151102E-3</c:v>
                </c:pt>
                <c:pt idx="43022">
                  <c:v>-3.3613445378151102E-3</c:v>
                </c:pt>
                <c:pt idx="43023">
                  <c:v>-3.3613445378151102E-3</c:v>
                </c:pt>
                <c:pt idx="43024">
                  <c:v>-3.3613445378151102E-3</c:v>
                </c:pt>
                <c:pt idx="43025">
                  <c:v>-3.3613445378151102E-3</c:v>
                </c:pt>
                <c:pt idx="43026">
                  <c:v>-3.3613445378151102E-3</c:v>
                </c:pt>
                <c:pt idx="43027">
                  <c:v>-3.3613445378151102E-3</c:v>
                </c:pt>
                <c:pt idx="43028">
                  <c:v>-3.3613445378151102E-3</c:v>
                </c:pt>
                <c:pt idx="43029">
                  <c:v>-3.3613445378151102E-3</c:v>
                </c:pt>
                <c:pt idx="43030">
                  <c:v>-3.3613445378151102E-3</c:v>
                </c:pt>
                <c:pt idx="43031">
                  <c:v>-3.3613445378151102E-3</c:v>
                </c:pt>
                <c:pt idx="43032">
                  <c:v>-3.3613445378151102E-3</c:v>
                </c:pt>
                <c:pt idx="43033">
                  <c:v>-3.3613445378151102E-3</c:v>
                </c:pt>
                <c:pt idx="43034">
                  <c:v>-3.3613445378151102E-3</c:v>
                </c:pt>
                <c:pt idx="43035">
                  <c:v>-3.3613445378151102E-3</c:v>
                </c:pt>
                <c:pt idx="43036">
                  <c:v>-3.3613445378151102E-3</c:v>
                </c:pt>
                <c:pt idx="43037">
                  <c:v>-3.3613445378151102E-3</c:v>
                </c:pt>
                <c:pt idx="43038">
                  <c:v>-3.3613445378151102E-3</c:v>
                </c:pt>
                <c:pt idx="43039">
                  <c:v>-3.3613445378151102E-3</c:v>
                </c:pt>
                <c:pt idx="43040">
                  <c:v>-3.3613445378151102E-3</c:v>
                </c:pt>
                <c:pt idx="43041">
                  <c:v>-3.3613445378151102E-3</c:v>
                </c:pt>
                <c:pt idx="43042">
                  <c:v>-3.3613445378151102E-3</c:v>
                </c:pt>
                <c:pt idx="43043">
                  <c:v>-3.3613445378151102E-3</c:v>
                </c:pt>
                <c:pt idx="43044">
                  <c:v>-3.3613445378151102E-3</c:v>
                </c:pt>
                <c:pt idx="43045">
                  <c:v>-3.3613445378151102E-3</c:v>
                </c:pt>
                <c:pt idx="43046">
                  <c:v>-3.3613445378151102E-3</c:v>
                </c:pt>
                <c:pt idx="43047">
                  <c:v>-3.3613445378151102E-3</c:v>
                </c:pt>
                <c:pt idx="43048">
                  <c:v>-3.3613445378151102E-3</c:v>
                </c:pt>
                <c:pt idx="43049">
                  <c:v>-3.3613445378151102E-3</c:v>
                </c:pt>
                <c:pt idx="43050">
                  <c:v>-3.3613445378151102E-3</c:v>
                </c:pt>
                <c:pt idx="43051">
                  <c:v>-3.3613445378151102E-3</c:v>
                </c:pt>
                <c:pt idx="43052">
                  <c:v>-3.3613445378151102E-3</c:v>
                </c:pt>
                <c:pt idx="43053">
                  <c:v>-3.3613445378151102E-3</c:v>
                </c:pt>
                <c:pt idx="43054">
                  <c:v>-3.3613445378151102E-3</c:v>
                </c:pt>
                <c:pt idx="43055">
                  <c:v>-3.3613445378151102E-3</c:v>
                </c:pt>
                <c:pt idx="43056">
                  <c:v>-3.3613445378151102E-3</c:v>
                </c:pt>
                <c:pt idx="43057">
                  <c:v>-3.3613445378151102E-3</c:v>
                </c:pt>
                <c:pt idx="43058">
                  <c:v>-3.3613445378151102E-3</c:v>
                </c:pt>
                <c:pt idx="43059">
                  <c:v>-3.3613445378151102E-3</c:v>
                </c:pt>
                <c:pt idx="43060">
                  <c:v>-3.3613445378151102E-3</c:v>
                </c:pt>
                <c:pt idx="43061">
                  <c:v>-3.3613445378151102E-3</c:v>
                </c:pt>
                <c:pt idx="43062">
                  <c:v>-3.3613445378151102E-3</c:v>
                </c:pt>
                <c:pt idx="43063">
                  <c:v>-3.3613445378151102E-3</c:v>
                </c:pt>
                <c:pt idx="43064">
                  <c:v>-3.3613445378151102E-3</c:v>
                </c:pt>
                <c:pt idx="43065">
                  <c:v>-3.3613445378151102E-3</c:v>
                </c:pt>
                <c:pt idx="43066">
                  <c:v>-3.3613445378151102E-3</c:v>
                </c:pt>
                <c:pt idx="43067">
                  <c:v>-3.3613445378151102E-3</c:v>
                </c:pt>
                <c:pt idx="43068">
                  <c:v>-3.3613445378151102E-3</c:v>
                </c:pt>
                <c:pt idx="43069">
                  <c:v>-3.3613445378151102E-3</c:v>
                </c:pt>
                <c:pt idx="43070">
                  <c:v>-3.3613445378151102E-3</c:v>
                </c:pt>
                <c:pt idx="43071">
                  <c:v>-3.3613445378151102E-3</c:v>
                </c:pt>
                <c:pt idx="43072">
                  <c:v>-3.3613445378151102E-3</c:v>
                </c:pt>
                <c:pt idx="43073">
                  <c:v>-3.3613445378151102E-3</c:v>
                </c:pt>
                <c:pt idx="43074">
                  <c:v>-3.3613445378151102E-3</c:v>
                </c:pt>
                <c:pt idx="43075">
                  <c:v>-3.3613445378151102E-3</c:v>
                </c:pt>
                <c:pt idx="43076">
                  <c:v>-3.3613445378151102E-3</c:v>
                </c:pt>
                <c:pt idx="43077">
                  <c:v>-3.3613445378151102E-3</c:v>
                </c:pt>
                <c:pt idx="43078">
                  <c:v>-3.3613445378151102E-3</c:v>
                </c:pt>
                <c:pt idx="43079">
                  <c:v>-3.3613445378151102E-3</c:v>
                </c:pt>
                <c:pt idx="43080">
                  <c:v>-3.3613445378151102E-3</c:v>
                </c:pt>
                <c:pt idx="43081">
                  <c:v>-3.3613445378151102E-3</c:v>
                </c:pt>
                <c:pt idx="43082">
                  <c:v>-3.3613445378151102E-3</c:v>
                </c:pt>
                <c:pt idx="43083">
                  <c:v>-3.3613445378151102E-3</c:v>
                </c:pt>
                <c:pt idx="43084">
                  <c:v>-3.3613445378151102E-3</c:v>
                </c:pt>
                <c:pt idx="43085">
                  <c:v>-3.3613445378151102E-3</c:v>
                </c:pt>
                <c:pt idx="43086">
                  <c:v>-3.3613445378151102E-3</c:v>
                </c:pt>
                <c:pt idx="43087">
                  <c:v>-3.3613445378151102E-3</c:v>
                </c:pt>
                <c:pt idx="43088">
                  <c:v>-3.3613445378151102E-3</c:v>
                </c:pt>
                <c:pt idx="43089">
                  <c:v>-3.3613445378151102E-3</c:v>
                </c:pt>
                <c:pt idx="43090">
                  <c:v>-3.3613445378151102E-3</c:v>
                </c:pt>
                <c:pt idx="43091">
                  <c:v>-3.3613445378151102E-3</c:v>
                </c:pt>
                <c:pt idx="43092">
                  <c:v>-3.3613445378151102E-3</c:v>
                </c:pt>
                <c:pt idx="43093">
                  <c:v>-3.3613445378151102E-3</c:v>
                </c:pt>
                <c:pt idx="43094">
                  <c:v>-3.3613445378151102E-3</c:v>
                </c:pt>
                <c:pt idx="43095">
                  <c:v>-3.3613445378151102E-3</c:v>
                </c:pt>
                <c:pt idx="43096">
                  <c:v>-3.3613445378151102E-3</c:v>
                </c:pt>
                <c:pt idx="43097">
                  <c:v>-3.3613445378151102E-3</c:v>
                </c:pt>
                <c:pt idx="43098">
                  <c:v>-3.3613445378151102E-3</c:v>
                </c:pt>
                <c:pt idx="43099">
                  <c:v>-3.3613445378151102E-3</c:v>
                </c:pt>
                <c:pt idx="43100">
                  <c:v>-3.3613445378151102E-3</c:v>
                </c:pt>
                <c:pt idx="43101">
                  <c:v>-3.3613445378151102E-3</c:v>
                </c:pt>
                <c:pt idx="43102">
                  <c:v>-3.3613445378151102E-3</c:v>
                </c:pt>
                <c:pt idx="43103">
                  <c:v>-3.3613445378151102E-3</c:v>
                </c:pt>
                <c:pt idx="43104">
                  <c:v>-3.3613445378151102E-3</c:v>
                </c:pt>
                <c:pt idx="43105">
                  <c:v>-3.3613445378151102E-3</c:v>
                </c:pt>
                <c:pt idx="43106">
                  <c:v>-3.3613445378151102E-3</c:v>
                </c:pt>
                <c:pt idx="43107">
                  <c:v>-3.3613445378151102E-3</c:v>
                </c:pt>
                <c:pt idx="43108">
                  <c:v>-3.3613445378151102E-3</c:v>
                </c:pt>
                <c:pt idx="43109">
                  <c:v>-3.3613445378151102E-3</c:v>
                </c:pt>
                <c:pt idx="43110">
                  <c:v>-3.3613445378151102E-3</c:v>
                </c:pt>
                <c:pt idx="43111">
                  <c:v>-2.5210084033613299E-3</c:v>
                </c:pt>
                <c:pt idx="43112">
                  <c:v>-2.5210084033613299E-3</c:v>
                </c:pt>
                <c:pt idx="43113">
                  <c:v>-2.5210084033613299E-3</c:v>
                </c:pt>
                <c:pt idx="43114">
                  <c:v>-2.5210084033613299E-3</c:v>
                </c:pt>
                <c:pt idx="43115">
                  <c:v>-2.5210084033613299E-3</c:v>
                </c:pt>
                <c:pt idx="43116">
                  <c:v>-2.5210084033613299E-3</c:v>
                </c:pt>
                <c:pt idx="43117">
                  <c:v>-2.5210084033613299E-3</c:v>
                </c:pt>
                <c:pt idx="43118">
                  <c:v>-2.5210084033613299E-3</c:v>
                </c:pt>
                <c:pt idx="43119">
                  <c:v>-2.5210084033613299E-3</c:v>
                </c:pt>
                <c:pt idx="43120">
                  <c:v>-2.5210084033613299E-3</c:v>
                </c:pt>
                <c:pt idx="43121">
                  <c:v>-2.5210084033613299E-3</c:v>
                </c:pt>
                <c:pt idx="43122">
                  <c:v>-2.5210084033613299E-3</c:v>
                </c:pt>
                <c:pt idx="43123">
                  <c:v>-2.5210084033613299E-3</c:v>
                </c:pt>
                <c:pt idx="43124">
                  <c:v>-2.5210084033613299E-3</c:v>
                </c:pt>
                <c:pt idx="43125">
                  <c:v>-2.5210084033613299E-3</c:v>
                </c:pt>
                <c:pt idx="43126">
                  <c:v>-2.5210084033613299E-3</c:v>
                </c:pt>
                <c:pt idx="43127">
                  <c:v>-2.5210084033613299E-3</c:v>
                </c:pt>
                <c:pt idx="43128">
                  <c:v>-2.5210084033613299E-3</c:v>
                </c:pt>
                <c:pt idx="43129">
                  <c:v>-2.5210084033613299E-3</c:v>
                </c:pt>
                <c:pt idx="43130">
                  <c:v>-2.5210084033613299E-3</c:v>
                </c:pt>
                <c:pt idx="43131">
                  <c:v>-2.5210084033613299E-3</c:v>
                </c:pt>
                <c:pt idx="43132">
                  <c:v>-2.5210084033613299E-3</c:v>
                </c:pt>
                <c:pt idx="43133">
                  <c:v>-2.5210084033613299E-3</c:v>
                </c:pt>
                <c:pt idx="43134">
                  <c:v>-2.5210084033613299E-3</c:v>
                </c:pt>
                <c:pt idx="43135">
                  <c:v>-2.5210084033613299E-3</c:v>
                </c:pt>
                <c:pt idx="43136">
                  <c:v>-2.5210084033613299E-3</c:v>
                </c:pt>
                <c:pt idx="43137">
                  <c:v>-2.5210084033613299E-3</c:v>
                </c:pt>
                <c:pt idx="43138">
                  <c:v>-2.5210084033613299E-3</c:v>
                </c:pt>
                <c:pt idx="43139">
                  <c:v>-2.5210084033613299E-3</c:v>
                </c:pt>
                <c:pt idx="43140">
                  <c:v>-2.5210084033613299E-3</c:v>
                </c:pt>
                <c:pt idx="43141">
                  <c:v>-2.5210084033613299E-3</c:v>
                </c:pt>
                <c:pt idx="43142">
                  <c:v>-2.5210084033613299E-3</c:v>
                </c:pt>
                <c:pt idx="43143">
                  <c:v>-2.5210084033613299E-3</c:v>
                </c:pt>
                <c:pt idx="43144">
                  <c:v>-2.5210084033613299E-3</c:v>
                </c:pt>
                <c:pt idx="43145">
                  <c:v>-2.5210084033613299E-3</c:v>
                </c:pt>
                <c:pt idx="43146">
                  <c:v>-2.5210084033613299E-3</c:v>
                </c:pt>
                <c:pt idx="43147">
                  <c:v>-2.5210084033613299E-3</c:v>
                </c:pt>
                <c:pt idx="43148">
                  <c:v>-2.5210084033613299E-3</c:v>
                </c:pt>
                <c:pt idx="43149">
                  <c:v>-2.5210084033613299E-3</c:v>
                </c:pt>
                <c:pt idx="43150">
                  <c:v>-2.5210084033613299E-3</c:v>
                </c:pt>
                <c:pt idx="43151">
                  <c:v>-2.5210084033613299E-3</c:v>
                </c:pt>
                <c:pt idx="43152">
                  <c:v>-2.5210084033613299E-3</c:v>
                </c:pt>
                <c:pt idx="43153">
                  <c:v>-2.5210084033613299E-3</c:v>
                </c:pt>
                <c:pt idx="43154">
                  <c:v>-2.5210084033613299E-3</c:v>
                </c:pt>
                <c:pt idx="43155">
                  <c:v>-2.5210084033613299E-3</c:v>
                </c:pt>
                <c:pt idx="43156">
                  <c:v>-2.5210084033613299E-3</c:v>
                </c:pt>
                <c:pt idx="43157">
                  <c:v>-2.5210084033613299E-3</c:v>
                </c:pt>
                <c:pt idx="43158">
                  <c:v>-2.5210084033613299E-3</c:v>
                </c:pt>
                <c:pt idx="43159">
                  <c:v>-2.5210084033613299E-3</c:v>
                </c:pt>
                <c:pt idx="43160">
                  <c:v>-2.5210084033613299E-3</c:v>
                </c:pt>
                <c:pt idx="43161">
                  <c:v>-2.5210084033613299E-3</c:v>
                </c:pt>
                <c:pt idx="43162">
                  <c:v>-2.5210084033613299E-3</c:v>
                </c:pt>
                <c:pt idx="43163">
                  <c:v>-2.5210084033613299E-3</c:v>
                </c:pt>
                <c:pt idx="43164">
                  <c:v>-2.5210084033613299E-3</c:v>
                </c:pt>
                <c:pt idx="43165">
                  <c:v>-2.5210084033613299E-3</c:v>
                </c:pt>
                <c:pt idx="43166">
                  <c:v>-2.5210084033613299E-3</c:v>
                </c:pt>
                <c:pt idx="43167">
                  <c:v>-2.5210084033613299E-3</c:v>
                </c:pt>
                <c:pt idx="43168">
                  <c:v>-2.5210084033613299E-3</c:v>
                </c:pt>
                <c:pt idx="43169">
                  <c:v>-2.5210084033613299E-3</c:v>
                </c:pt>
                <c:pt idx="43170">
                  <c:v>-2.5210084033613299E-3</c:v>
                </c:pt>
                <c:pt idx="43171">
                  <c:v>-2.5210084033613299E-3</c:v>
                </c:pt>
                <c:pt idx="43172">
                  <c:v>-2.5210084033613299E-3</c:v>
                </c:pt>
                <c:pt idx="43173">
                  <c:v>-2.5210084033613299E-3</c:v>
                </c:pt>
                <c:pt idx="43174">
                  <c:v>-2.5210084033613299E-3</c:v>
                </c:pt>
                <c:pt idx="43175">
                  <c:v>-2.5210084033613299E-3</c:v>
                </c:pt>
                <c:pt idx="43176">
                  <c:v>-2.5210084033613299E-3</c:v>
                </c:pt>
                <c:pt idx="43177">
                  <c:v>-2.5210084033613299E-3</c:v>
                </c:pt>
                <c:pt idx="43178">
                  <c:v>-2.5210084033613299E-3</c:v>
                </c:pt>
                <c:pt idx="43179">
                  <c:v>-2.5210084033613299E-3</c:v>
                </c:pt>
                <c:pt idx="43180">
                  <c:v>-2.5210084033613299E-3</c:v>
                </c:pt>
                <c:pt idx="43181">
                  <c:v>-2.5210084033613299E-3</c:v>
                </c:pt>
                <c:pt idx="43182">
                  <c:v>-2.5210084033613299E-3</c:v>
                </c:pt>
                <c:pt idx="43183">
                  <c:v>-2.5210084033613299E-3</c:v>
                </c:pt>
                <c:pt idx="43184">
                  <c:v>-2.5210084033613299E-3</c:v>
                </c:pt>
                <c:pt idx="43185">
                  <c:v>-2.5210084033613299E-3</c:v>
                </c:pt>
                <c:pt idx="43186">
                  <c:v>-2.5210084033613299E-3</c:v>
                </c:pt>
                <c:pt idx="43187">
                  <c:v>-2.5210084033613299E-3</c:v>
                </c:pt>
                <c:pt idx="43188">
                  <c:v>-2.5210084033613299E-3</c:v>
                </c:pt>
                <c:pt idx="43189">
                  <c:v>-2.5210084033613299E-3</c:v>
                </c:pt>
                <c:pt idx="43190">
                  <c:v>-2.5210084033613299E-3</c:v>
                </c:pt>
                <c:pt idx="43191">
                  <c:v>-2.5210084033613299E-3</c:v>
                </c:pt>
                <c:pt idx="43192">
                  <c:v>-2.5210084033613299E-3</c:v>
                </c:pt>
                <c:pt idx="43193">
                  <c:v>-2.5210084033613299E-3</c:v>
                </c:pt>
                <c:pt idx="43194">
                  <c:v>-2.5210084033613299E-3</c:v>
                </c:pt>
                <c:pt idx="43195">
                  <c:v>-2.5210084033613299E-3</c:v>
                </c:pt>
                <c:pt idx="43196">
                  <c:v>-2.5210084033613299E-3</c:v>
                </c:pt>
                <c:pt idx="43197">
                  <c:v>-2.5210084033613299E-3</c:v>
                </c:pt>
                <c:pt idx="43198">
                  <c:v>-2.5210084033613299E-3</c:v>
                </c:pt>
                <c:pt idx="43199">
                  <c:v>-2.5210084033613299E-3</c:v>
                </c:pt>
                <c:pt idx="43200">
                  <c:v>-2.5210084033613299E-3</c:v>
                </c:pt>
                <c:pt idx="43201">
                  <c:v>-2.5210084033613299E-3</c:v>
                </c:pt>
                <c:pt idx="43202">
                  <c:v>-2.5210084033613299E-3</c:v>
                </c:pt>
                <c:pt idx="43203">
                  <c:v>-2.5210084033613299E-3</c:v>
                </c:pt>
                <c:pt idx="43204">
                  <c:v>-2.5210084033613299E-3</c:v>
                </c:pt>
                <c:pt idx="43205">
                  <c:v>-2.5210084033613299E-3</c:v>
                </c:pt>
                <c:pt idx="43206">
                  <c:v>-2.5210084033613299E-3</c:v>
                </c:pt>
                <c:pt idx="43207">
                  <c:v>-2.5210084033613299E-3</c:v>
                </c:pt>
                <c:pt idx="43208">
                  <c:v>-2.5210084033613299E-3</c:v>
                </c:pt>
                <c:pt idx="43209">
                  <c:v>-2.5210084033613299E-3</c:v>
                </c:pt>
                <c:pt idx="43210">
                  <c:v>-2.5210084033613299E-3</c:v>
                </c:pt>
                <c:pt idx="43211">
                  <c:v>-2.5210084033613299E-3</c:v>
                </c:pt>
                <c:pt idx="43212">
                  <c:v>-2.5210084033613299E-3</c:v>
                </c:pt>
                <c:pt idx="43213">
                  <c:v>-2.5210084033613299E-3</c:v>
                </c:pt>
                <c:pt idx="43214">
                  <c:v>-2.5210084033613299E-3</c:v>
                </c:pt>
                <c:pt idx="43215">
                  <c:v>-2.5210084033613299E-3</c:v>
                </c:pt>
                <c:pt idx="43216">
                  <c:v>-2.5210084033613299E-3</c:v>
                </c:pt>
                <c:pt idx="43217">
                  <c:v>-2.5210084033613299E-3</c:v>
                </c:pt>
                <c:pt idx="43218">
                  <c:v>-2.5210084033613299E-3</c:v>
                </c:pt>
                <c:pt idx="43219">
                  <c:v>-2.5210084033613299E-3</c:v>
                </c:pt>
                <c:pt idx="43220">
                  <c:v>-2.5210084033613299E-3</c:v>
                </c:pt>
                <c:pt idx="43221">
                  <c:v>-2.5210084033613299E-3</c:v>
                </c:pt>
                <c:pt idx="43222">
                  <c:v>-2.5210084033613299E-3</c:v>
                </c:pt>
                <c:pt idx="43223">
                  <c:v>-2.5210084033613299E-3</c:v>
                </c:pt>
                <c:pt idx="43224">
                  <c:v>-2.5210084033613299E-3</c:v>
                </c:pt>
                <c:pt idx="43225">
                  <c:v>-2.5210084033613299E-3</c:v>
                </c:pt>
                <c:pt idx="43226">
                  <c:v>-2.5210084033613299E-3</c:v>
                </c:pt>
                <c:pt idx="43227">
                  <c:v>-2.5210084033613299E-3</c:v>
                </c:pt>
                <c:pt idx="43228">
                  <c:v>-2.5210084033613299E-3</c:v>
                </c:pt>
                <c:pt idx="43229">
                  <c:v>-2.5210084033613299E-3</c:v>
                </c:pt>
                <c:pt idx="43230">
                  <c:v>-2.5210084033613299E-3</c:v>
                </c:pt>
                <c:pt idx="43231">
                  <c:v>-2.5210084033613299E-3</c:v>
                </c:pt>
                <c:pt idx="43232">
                  <c:v>-2.5210084033613299E-3</c:v>
                </c:pt>
                <c:pt idx="43233">
                  <c:v>-2.5210084033613299E-3</c:v>
                </c:pt>
                <c:pt idx="43234">
                  <c:v>-2.5210084033613299E-3</c:v>
                </c:pt>
                <c:pt idx="43235">
                  <c:v>-2.5210084033613299E-3</c:v>
                </c:pt>
                <c:pt idx="43236">
                  <c:v>-2.5210084033613299E-3</c:v>
                </c:pt>
                <c:pt idx="43237">
                  <c:v>-2.5210084033613299E-3</c:v>
                </c:pt>
                <c:pt idx="43238">
                  <c:v>-2.5210084033613299E-3</c:v>
                </c:pt>
                <c:pt idx="43239">
                  <c:v>-2.5210084033613299E-3</c:v>
                </c:pt>
                <c:pt idx="43240">
                  <c:v>-2.5210084033613299E-3</c:v>
                </c:pt>
                <c:pt idx="43241">
                  <c:v>-2.5210084033613299E-3</c:v>
                </c:pt>
                <c:pt idx="43242">
                  <c:v>-2.5210084033613299E-3</c:v>
                </c:pt>
                <c:pt idx="43243">
                  <c:v>-2.5210084033613299E-3</c:v>
                </c:pt>
                <c:pt idx="43244">
                  <c:v>-2.5210084033613299E-3</c:v>
                </c:pt>
                <c:pt idx="43245">
                  <c:v>-2.5210084033613299E-3</c:v>
                </c:pt>
                <c:pt idx="43246">
                  <c:v>-2.5210084033613299E-3</c:v>
                </c:pt>
                <c:pt idx="43247">
                  <c:v>-2.5210084033613299E-3</c:v>
                </c:pt>
                <c:pt idx="43248">
                  <c:v>-2.5210084033613299E-3</c:v>
                </c:pt>
                <c:pt idx="43249">
                  <c:v>-2.5210084033613299E-3</c:v>
                </c:pt>
                <c:pt idx="43250">
                  <c:v>-2.5210084033613299E-3</c:v>
                </c:pt>
                <c:pt idx="43251">
                  <c:v>-2.5210084033613299E-3</c:v>
                </c:pt>
                <c:pt idx="43252">
                  <c:v>-2.5210084033613299E-3</c:v>
                </c:pt>
                <c:pt idx="43253">
                  <c:v>-2.5210084033613299E-3</c:v>
                </c:pt>
                <c:pt idx="43254">
                  <c:v>-2.5210084033613299E-3</c:v>
                </c:pt>
                <c:pt idx="43255">
                  <c:v>-2.5210084033613299E-3</c:v>
                </c:pt>
                <c:pt idx="43256">
                  <c:v>-2.5210084033613299E-3</c:v>
                </c:pt>
                <c:pt idx="43257">
                  <c:v>-2.5210084033613299E-3</c:v>
                </c:pt>
                <c:pt idx="43258">
                  <c:v>-2.5210084033613299E-3</c:v>
                </c:pt>
                <c:pt idx="43259">
                  <c:v>-2.5210084033613299E-3</c:v>
                </c:pt>
                <c:pt idx="43260">
                  <c:v>-2.5210084033613299E-3</c:v>
                </c:pt>
                <c:pt idx="43261">
                  <c:v>-2.5210084033613299E-3</c:v>
                </c:pt>
                <c:pt idx="43262">
                  <c:v>-2.5210084033613299E-3</c:v>
                </c:pt>
                <c:pt idx="43263">
                  <c:v>-2.5210084033613299E-3</c:v>
                </c:pt>
                <c:pt idx="43264">
                  <c:v>-2.5210084033613299E-3</c:v>
                </c:pt>
                <c:pt idx="43265">
                  <c:v>-2.5210084033613299E-3</c:v>
                </c:pt>
                <c:pt idx="43266">
                  <c:v>-2.5210084033613299E-3</c:v>
                </c:pt>
                <c:pt idx="43267">
                  <c:v>-2.5210084033613299E-3</c:v>
                </c:pt>
                <c:pt idx="43268">
                  <c:v>-2.5210084033613299E-3</c:v>
                </c:pt>
                <c:pt idx="43269">
                  <c:v>-2.5210084033613299E-3</c:v>
                </c:pt>
                <c:pt idx="43270">
                  <c:v>-2.5210084033613299E-3</c:v>
                </c:pt>
                <c:pt idx="43271">
                  <c:v>-2.5210084033613299E-3</c:v>
                </c:pt>
                <c:pt idx="43272">
                  <c:v>-2.5210084033613299E-3</c:v>
                </c:pt>
                <c:pt idx="43273">
                  <c:v>-2.5210084033613299E-3</c:v>
                </c:pt>
                <c:pt idx="43274">
                  <c:v>-2.5210084033613299E-3</c:v>
                </c:pt>
                <c:pt idx="43275">
                  <c:v>-2.5210084033613299E-3</c:v>
                </c:pt>
                <c:pt idx="43276">
                  <c:v>-2.5210084033613299E-3</c:v>
                </c:pt>
                <c:pt idx="43277">
                  <c:v>-2.5210084033613299E-3</c:v>
                </c:pt>
                <c:pt idx="43278">
                  <c:v>-2.5210084033613299E-3</c:v>
                </c:pt>
                <c:pt idx="43279">
                  <c:v>-2.5210084033613299E-3</c:v>
                </c:pt>
                <c:pt idx="43280">
                  <c:v>-2.5210084033613299E-3</c:v>
                </c:pt>
                <c:pt idx="43281">
                  <c:v>-2.5210084033613299E-3</c:v>
                </c:pt>
                <c:pt idx="43282">
                  <c:v>-2.5210084033613299E-3</c:v>
                </c:pt>
                <c:pt idx="43283">
                  <c:v>-2.5210084033613299E-3</c:v>
                </c:pt>
                <c:pt idx="43284">
                  <c:v>-2.5210084033613299E-3</c:v>
                </c:pt>
                <c:pt idx="43285">
                  <c:v>-2.5210084033613299E-3</c:v>
                </c:pt>
                <c:pt idx="43286">
                  <c:v>-2.5210084033613299E-3</c:v>
                </c:pt>
                <c:pt idx="43287">
                  <c:v>-2.5210084033613299E-3</c:v>
                </c:pt>
                <c:pt idx="43288">
                  <c:v>-2.5210084033613299E-3</c:v>
                </c:pt>
                <c:pt idx="43289">
                  <c:v>-1.6806722689075499E-3</c:v>
                </c:pt>
                <c:pt idx="43290">
                  <c:v>-1.6806722689075499E-3</c:v>
                </c:pt>
                <c:pt idx="43291">
                  <c:v>-1.6806722689075499E-3</c:v>
                </c:pt>
                <c:pt idx="43292">
                  <c:v>-1.6806722689075499E-3</c:v>
                </c:pt>
                <c:pt idx="43293">
                  <c:v>-1.6806722689075499E-3</c:v>
                </c:pt>
                <c:pt idx="43294">
                  <c:v>-1.6806722689075499E-3</c:v>
                </c:pt>
                <c:pt idx="43295">
                  <c:v>-2.5210084033613299E-3</c:v>
                </c:pt>
                <c:pt idx="43296">
                  <c:v>-2.5210084033613299E-3</c:v>
                </c:pt>
                <c:pt idx="43297">
                  <c:v>-2.5210084033613299E-3</c:v>
                </c:pt>
                <c:pt idx="43298">
                  <c:v>-2.5210084033613299E-3</c:v>
                </c:pt>
                <c:pt idx="43299">
                  <c:v>-2.5210084033613299E-3</c:v>
                </c:pt>
                <c:pt idx="43300">
                  <c:v>-2.5210084033613299E-3</c:v>
                </c:pt>
                <c:pt idx="43301">
                  <c:v>-2.5210084033613299E-3</c:v>
                </c:pt>
                <c:pt idx="43302">
                  <c:v>-2.5210084033613299E-3</c:v>
                </c:pt>
                <c:pt idx="43303">
                  <c:v>-2.5210084033613299E-3</c:v>
                </c:pt>
                <c:pt idx="43304">
                  <c:v>-2.5210084033613299E-3</c:v>
                </c:pt>
                <c:pt idx="43305">
                  <c:v>-2.5210084033613299E-3</c:v>
                </c:pt>
                <c:pt idx="43306">
                  <c:v>-2.5210084033613299E-3</c:v>
                </c:pt>
                <c:pt idx="43307">
                  <c:v>-2.5210084033613299E-3</c:v>
                </c:pt>
                <c:pt idx="43308">
                  <c:v>-2.5210084033613299E-3</c:v>
                </c:pt>
                <c:pt idx="43309">
                  <c:v>-2.5210084033613299E-3</c:v>
                </c:pt>
                <c:pt idx="43310">
                  <c:v>-2.5210084033613299E-3</c:v>
                </c:pt>
                <c:pt idx="43311">
                  <c:v>-2.5210084033613299E-3</c:v>
                </c:pt>
                <c:pt idx="43312">
                  <c:v>-2.5210084033613299E-3</c:v>
                </c:pt>
                <c:pt idx="43313">
                  <c:v>-2.5210084033613299E-3</c:v>
                </c:pt>
                <c:pt idx="43314">
                  <c:v>-2.5210084033613299E-3</c:v>
                </c:pt>
                <c:pt idx="43315">
                  <c:v>-2.5210084033613299E-3</c:v>
                </c:pt>
                <c:pt idx="43316">
                  <c:v>-2.5210084033613299E-3</c:v>
                </c:pt>
                <c:pt idx="43317">
                  <c:v>-2.5210084033613299E-3</c:v>
                </c:pt>
                <c:pt idx="43318">
                  <c:v>-2.5210084033613299E-3</c:v>
                </c:pt>
                <c:pt idx="43319">
                  <c:v>-2.5210084033613299E-3</c:v>
                </c:pt>
                <c:pt idx="43320">
                  <c:v>-2.5210084033613299E-3</c:v>
                </c:pt>
                <c:pt idx="43321">
                  <c:v>-2.5210084033613299E-3</c:v>
                </c:pt>
                <c:pt idx="43322">
                  <c:v>-2.5210084033613299E-3</c:v>
                </c:pt>
                <c:pt idx="43323">
                  <c:v>-2.5210084033613299E-3</c:v>
                </c:pt>
                <c:pt idx="43324">
                  <c:v>-2.5210084033613299E-3</c:v>
                </c:pt>
                <c:pt idx="43325">
                  <c:v>-2.5210084033613299E-3</c:v>
                </c:pt>
                <c:pt idx="43326">
                  <c:v>-2.5210084033613299E-3</c:v>
                </c:pt>
                <c:pt idx="43327">
                  <c:v>-2.5210084033613299E-3</c:v>
                </c:pt>
                <c:pt idx="43328">
                  <c:v>-2.5210084033613299E-3</c:v>
                </c:pt>
                <c:pt idx="43329">
                  <c:v>-2.5210084033613299E-3</c:v>
                </c:pt>
                <c:pt idx="43330">
                  <c:v>-2.5210084033613299E-3</c:v>
                </c:pt>
                <c:pt idx="43331">
                  <c:v>-2.5210084033613299E-3</c:v>
                </c:pt>
                <c:pt idx="43332">
                  <c:v>-2.5210084033613299E-3</c:v>
                </c:pt>
                <c:pt idx="43333">
                  <c:v>-2.5210084033613299E-3</c:v>
                </c:pt>
                <c:pt idx="43334">
                  <c:v>-2.5210084033613299E-3</c:v>
                </c:pt>
                <c:pt idx="43335">
                  <c:v>-1.6806722689075499E-3</c:v>
                </c:pt>
                <c:pt idx="43336">
                  <c:v>-1.6806722689075499E-3</c:v>
                </c:pt>
                <c:pt idx="43337">
                  <c:v>-1.6806722689075499E-3</c:v>
                </c:pt>
                <c:pt idx="43338">
                  <c:v>-1.6806722689075499E-3</c:v>
                </c:pt>
                <c:pt idx="43339">
                  <c:v>-1.6806722689075499E-3</c:v>
                </c:pt>
                <c:pt idx="43340">
                  <c:v>-1.6806722689075499E-3</c:v>
                </c:pt>
                <c:pt idx="43341">
                  <c:v>-1.6806722689075499E-3</c:v>
                </c:pt>
                <c:pt idx="43342">
                  <c:v>-1.6806722689075499E-3</c:v>
                </c:pt>
                <c:pt idx="43343">
                  <c:v>-1.6806722689075499E-3</c:v>
                </c:pt>
                <c:pt idx="43344">
                  <c:v>-1.6806722689075499E-3</c:v>
                </c:pt>
                <c:pt idx="43345">
                  <c:v>-1.6806722689075499E-3</c:v>
                </c:pt>
                <c:pt idx="43346">
                  <c:v>-1.6806722689075499E-3</c:v>
                </c:pt>
                <c:pt idx="43347">
                  <c:v>-1.6806722689075499E-3</c:v>
                </c:pt>
                <c:pt idx="43348">
                  <c:v>-1.6806722689075499E-3</c:v>
                </c:pt>
                <c:pt idx="43349">
                  <c:v>-1.6806722689075499E-3</c:v>
                </c:pt>
                <c:pt idx="43350">
                  <c:v>-1.6806722689075499E-3</c:v>
                </c:pt>
                <c:pt idx="43351">
                  <c:v>-1.6806722689075499E-3</c:v>
                </c:pt>
                <c:pt idx="43352">
                  <c:v>-1.6806722689075499E-3</c:v>
                </c:pt>
                <c:pt idx="43353">
                  <c:v>-1.6806722689075499E-3</c:v>
                </c:pt>
                <c:pt idx="43354">
                  <c:v>-1.6806722689075499E-3</c:v>
                </c:pt>
                <c:pt idx="43355">
                  <c:v>-1.6806722689075499E-3</c:v>
                </c:pt>
                <c:pt idx="43356">
                  <c:v>-1.6806722689075499E-3</c:v>
                </c:pt>
                <c:pt idx="43357">
                  <c:v>-1.6806722689075499E-3</c:v>
                </c:pt>
                <c:pt idx="43358">
                  <c:v>-1.6806722689075499E-3</c:v>
                </c:pt>
                <c:pt idx="43359">
                  <c:v>-1.6806722689075499E-3</c:v>
                </c:pt>
                <c:pt idx="43360">
                  <c:v>-1.6806722689075499E-3</c:v>
                </c:pt>
                <c:pt idx="43361">
                  <c:v>-2.5210084033613299E-3</c:v>
                </c:pt>
                <c:pt idx="43362">
                  <c:v>-2.5210084033613299E-3</c:v>
                </c:pt>
                <c:pt idx="43363">
                  <c:v>-2.5210084033613299E-3</c:v>
                </c:pt>
                <c:pt idx="43364">
                  <c:v>-2.5210084033613299E-3</c:v>
                </c:pt>
                <c:pt idx="43365">
                  <c:v>-2.5210084033613299E-3</c:v>
                </c:pt>
                <c:pt idx="43366">
                  <c:v>-2.5210084033613299E-3</c:v>
                </c:pt>
                <c:pt idx="43367">
                  <c:v>-2.5210084033613299E-3</c:v>
                </c:pt>
                <c:pt idx="43368">
                  <c:v>-2.5210084033613299E-3</c:v>
                </c:pt>
                <c:pt idx="43369">
                  <c:v>-2.5210084033613299E-3</c:v>
                </c:pt>
                <c:pt idx="43370">
                  <c:v>-2.5210084033613299E-3</c:v>
                </c:pt>
                <c:pt idx="43371">
                  <c:v>-2.5210084033613299E-3</c:v>
                </c:pt>
                <c:pt idx="43372">
                  <c:v>-2.5210084033613299E-3</c:v>
                </c:pt>
                <c:pt idx="43373">
                  <c:v>-2.5210084033613299E-3</c:v>
                </c:pt>
                <c:pt idx="43374">
                  <c:v>-2.5210084033613299E-3</c:v>
                </c:pt>
                <c:pt idx="43375">
                  <c:v>-2.5210084033613299E-3</c:v>
                </c:pt>
                <c:pt idx="43376">
                  <c:v>-2.5210084033613299E-3</c:v>
                </c:pt>
                <c:pt idx="43377">
                  <c:v>-2.5210084033613299E-3</c:v>
                </c:pt>
                <c:pt idx="43378">
                  <c:v>-2.5210084033613299E-3</c:v>
                </c:pt>
                <c:pt idx="43379">
                  <c:v>-2.5210084033613299E-3</c:v>
                </c:pt>
                <c:pt idx="43380">
                  <c:v>-2.5210084033613299E-3</c:v>
                </c:pt>
                <c:pt idx="43381">
                  <c:v>-2.5210084033613299E-3</c:v>
                </c:pt>
                <c:pt idx="43382">
                  <c:v>-2.5210084033613299E-3</c:v>
                </c:pt>
                <c:pt idx="43383">
                  <c:v>-2.5210084033613299E-3</c:v>
                </c:pt>
                <c:pt idx="43384">
                  <c:v>-2.5210084033613299E-3</c:v>
                </c:pt>
                <c:pt idx="43385">
                  <c:v>-2.5210084033613299E-3</c:v>
                </c:pt>
                <c:pt idx="43386">
                  <c:v>-2.5210084033613299E-3</c:v>
                </c:pt>
                <c:pt idx="43387">
                  <c:v>-2.5210084033613299E-3</c:v>
                </c:pt>
                <c:pt idx="43388">
                  <c:v>-2.5210084033613299E-3</c:v>
                </c:pt>
                <c:pt idx="43389">
                  <c:v>-2.5210084033613299E-3</c:v>
                </c:pt>
                <c:pt idx="43390">
                  <c:v>-2.5210084033613299E-3</c:v>
                </c:pt>
                <c:pt idx="43391">
                  <c:v>-2.5210084033613299E-3</c:v>
                </c:pt>
                <c:pt idx="43392">
                  <c:v>-2.5210084033613299E-3</c:v>
                </c:pt>
                <c:pt idx="43393">
                  <c:v>-2.5210084033613299E-3</c:v>
                </c:pt>
                <c:pt idx="43394">
                  <c:v>-2.5210084033613299E-3</c:v>
                </c:pt>
                <c:pt idx="43395">
                  <c:v>-2.5210084033613299E-3</c:v>
                </c:pt>
                <c:pt idx="43396">
                  <c:v>-2.5210084033613299E-3</c:v>
                </c:pt>
                <c:pt idx="43397">
                  <c:v>-2.5210084033613299E-3</c:v>
                </c:pt>
                <c:pt idx="43398">
                  <c:v>-2.5210084033613299E-3</c:v>
                </c:pt>
                <c:pt idx="43399">
                  <c:v>-2.5210084033613299E-3</c:v>
                </c:pt>
                <c:pt idx="43400">
                  <c:v>-2.5210084033613299E-3</c:v>
                </c:pt>
                <c:pt idx="43401">
                  <c:v>-2.5210084033613299E-3</c:v>
                </c:pt>
                <c:pt idx="43402">
                  <c:v>-2.5210084033613299E-3</c:v>
                </c:pt>
                <c:pt idx="43403">
                  <c:v>-2.5210084033613299E-3</c:v>
                </c:pt>
                <c:pt idx="43404">
                  <c:v>-2.5210084033613299E-3</c:v>
                </c:pt>
                <c:pt idx="43405">
                  <c:v>-2.5210084033613299E-3</c:v>
                </c:pt>
                <c:pt idx="43406">
                  <c:v>-2.5210084033613299E-3</c:v>
                </c:pt>
                <c:pt idx="43407">
                  <c:v>-2.5210084033613299E-3</c:v>
                </c:pt>
                <c:pt idx="43408">
                  <c:v>-2.5210084033613299E-3</c:v>
                </c:pt>
                <c:pt idx="43409">
                  <c:v>-2.5210084033613299E-3</c:v>
                </c:pt>
                <c:pt idx="43410">
                  <c:v>-2.5210084033613299E-3</c:v>
                </c:pt>
                <c:pt idx="43411">
                  <c:v>-2.5210084033613299E-3</c:v>
                </c:pt>
                <c:pt idx="43412">
                  <c:v>-2.5210084033613299E-3</c:v>
                </c:pt>
                <c:pt idx="43413">
                  <c:v>-2.5210084033613299E-3</c:v>
                </c:pt>
                <c:pt idx="43414">
                  <c:v>-2.5210084033613299E-3</c:v>
                </c:pt>
                <c:pt idx="43415">
                  <c:v>-2.5210084033613299E-3</c:v>
                </c:pt>
                <c:pt idx="43416">
                  <c:v>-2.5210084033613299E-3</c:v>
                </c:pt>
                <c:pt idx="43417">
                  <c:v>-2.5210084033613299E-3</c:v>
                </c:pt>
                <c:pt idx="43418">
                  <c:v>-2.5210084033613299E-3</c:v>
                </c:pt>
                <c:pt idx="43419">
                  <c:v>-2.5210084033613299E-3</c:v>
                </c:pt>
                <c:pt idx="43420">
                  <c:v>-2.5210084033613299E-3</c:v>
                </c:pt>
                <c:pt idx="43421">
                  <c:v>-2.5210084033613299E-3</c:v>
                </c:pt>
                <c:pt idx="43422">
                  <c:v>-2.5210084033613299E-3</c:v>
                </c:pt>
                <c:pt idx="43423">
                  <c:v>-2.5210084033613299E-3</c:v>
                </c:pt>
                <c:pt idx="43424">
                  <c:v>-2.5210084033613299E-3</c:v>
                </c:pt>
                <c:pt idx="43425">
                  <c:v>-2.5210084033613299E-3</c:v>
                </c:pt>
                <c:pt idx="43426">
                  <c:v>-2.5210084033613299E-3</c:v>
                </c:pt>
                <c:pt idx="43427">
                  <c:v>-2.5210084033613299E-3</c:v>
                </c:pt>
                <c:pt idx="43428">
                  <c:v>-2.5210084033613299E-3</c:v>
                </c:pt>
                <c:pt idx="43429">
                  <c:v>-2.5210084033613299E-3</c:v>
                </c:pt>
                <c:pt idx="43430">
                  <c:v>-2.5210084033613299E-3</c:v>
                </c:pt>
                <c:pt idx="43431">
                  <c:v>-2.5210084033613299E-3</c:v>
                </c:pt>
                <c:pt idx="43432">
                  <c:v>-2.5210084033613299E-3</c:v>
                </c:pt>
                <c:pt idx="43433">
                  <c:v>-2.5210084033613299E-3</c:v>
                </c:pt>
                <c:pt idx="43434">
                  <c:v>-2.5210084033613299E-3</c:v>
                </c:pt>
                <c:pt idx="43435">
                  <c:v>-2.5210084033613299E-3</c:v>
                </c:pt>
                <c:pt idx="43436">
                  <c:v>-2.5210084033613299E-3</c:v>
                </c:pt>
                <c:pt idx="43437">
                  <c:v>-2.5210084033613299E-3</c:v>
                </c:pt>
                <c:pt idx="43438">
                  <c:v>-2.5210084033613299E-3</c:v>
                </c:pt>
                <c:pt idx="43439">
                  <c:v>-2.5210084033613299E-3</c:v>
                </c:pt>
                <c:pt idx="43440">
                  <c:v>-2.5210084033613299E-3</c:v>
                </c:pt>
                <c:pt idx="43441">
                  <c:v>-2.5210084033613299E-3</c:v>
                </c:pt>
                <c:pt idx="43442">
                  <c:v>-2.5210084033613299E-3</c:v>
                </c:pt>
                <c:pt idx="43443">
                  <c:v>-2.5210084033613299E-3</c:v>
                </c:pt>
                <c:pt idx="43444">
                  <c:v>-2.5210084033613299E-3</c:v>
                </c:pt>
                <c:pt idx="43445">
                  <c:v>-2.5210084033613299E-3</c:v>
                </c:pt>
                <c:pt idx="43446">
                  <c:v>-1.6806722689075499E-3</c:v>
                </c:pt>
                <c:pt idx="43447">
                  <c:v>-1.6806722689075499E-3</c:v>
                </c:pt>
                <c:pt idx="43448">
                  <c:v>-1.6806722689075499E-3</c:v>
                </c:pt>
                <c:pt idx="43449">
                  <c:v>-1.6806722689075499E-3</c:v>
                </c:pt>
                <c:pt idx="43450">
                  <c:v>-1.6806722689075499E-3</c:v>
                </c:pt>
                <c:pt idx="43451">
                  <c:v>-1.6806722689075499E-3</c:v>
                </c:pt>
                <c:pt idx="43452">
                  <c:v>-1.6806722689075499E-3</c:v>
                </c:pt>
                <c:pt idx="43453">
                  <c:v>-1.6806722689075499E-3</c:v>
                </c:pt>
                <c:pt idx="43454">
                  <c:v>-1.6806722689075499E-3</c:v>
                </c:pt>
                <c:pt idx="43455">
                  <c:v>-1.6806722689075499E-3</c:v>
                </c:pt>
                <c:pt idx="43456">
                  <c:v>-1.6806722689075499E-3</c:v>
                </c:pt>
                <c:pt idx="43457">
                  <c:v>-1.6806722689075499E-3</c:v>
                </c:pt>
                <c:pt idx="43458">
                  <c:v>-1.6806722689075499E-3</c:v>
                </c:pt>
                <c:pt idx="43459">
                  <c:v>-1.6806722689075499E-3</c:v>
                </c:pt>
                <c:pt idx="43460">
                  <c:v>-1.6806722689075499E-3</c:v>
                </c:pt>
                <c:pt idx="43461">
                  <c:v>-1.6806722689075499E-3</c:v>
                </c:pt>
                <c:pt idx="43462">
                  <c:v>-1.6806722689075499E-3</c:v>
                </c:pt>
                <c:pt idx="43463">
                  <c:v>-1.6806722689075499E-3</c:v>
                </c:pt>
                <c:pt idx="43464">
                  <c:v>-1.6806722689075499E-3</c:v>
                </c:pt>
                <c:pt idx="43465">
                  <c:v>-1.6806722689075499E-3</c:v>
                </c:pt>
                <c:pt idx="43466">
                  <c:v>-1.6806722689075499E-3</c:v>
                </c:pt>
                <c:pt idx="43467">
                  <c:v>-1.6806722689075499E-3</c:v>
                </c:pt>
                <c:pt idx="43468">
                  <c:v>-1.6806722689075499E-3</c:v>
                </c:pt>
                <c:pt idx="43469">
                  <c:v>-1.6806722689075499E-3</c:v>
                </c:pt>
                <c:pt idx="43470">
                  <c:v>-1.6806722689075499E-3</c:v>
                </c:pt>
                <c:pt idx="43471">
                  <c:v>-1.6806722689075499E-3</c:v>
                </c:pt>
                <c:pt idx="43472">
                  <c:v>-1.6806722689075499E-3</c:v>
                </c:pt>
                <c:pt idx="43473">
                  <c:v>-1.6806722689075499E-3</c:v>
                </c:pt>
                <c:pt idx="43474">
                  <c:v>-1.6806722689075499E-3</c:v>
                </c:pt>
                <c:pt idx="43475">
                  <c:v>-1.6806722689075499E-3</c:v>
                </c:pt>
                <c:pt idx="43476">
                  <c:v>-1.6806722689075499E-3</c:v>
                </c:pt>
                <c:pt idx="43477">
                  <c:v>-1.6806722689075499E-3</c:v>
                </c:pt>
                <c:pt idx="43478">
                  <c:v>-1.6806722689075499E-3</c:v>
                </c:pt>
                <c:pt idx="43479">
                  <c:v>-1.6806722689075499E-3</c:v>
                </c:pt>
                <c:pt idx="43480">
                  <c:v>-1.6806722689075499E-3</c:v>
                </c:pt>
                <c:pt idx="43481">
                  <c:v>-1.6806722689075499E-3</c:v>
                </c:pt>
                <c:pt idx="43482">
                  <c:v>-1.6806722689075499E-3</c:v>
                </c:pt>
                <c:pt idx="43483">
                  <c:v>-1.6806722689075499E-3</c:v>
                </c:pt>
                <c:pt idx="43484">
                  <c:v>-1.6806722689075499E-3</c:v>
                </c:pt>
                <c:pt idx="43485">
                  <c:v>-1.6806722689075499E-3</c:v>
                </c:pt>
                <c:pt idx="43486">
                  <c:v>-1.6806722689075499E-3</c:v>
                </c:pt>
                <c:pt idx="43487">
                  <c:v>-1.6806722689075499E-3</c:v>
                </c:pt>
                <c:pt idx="43488">
                  <c:v>-1.6806722689075499E-3</c:v>
                </c:pt>
                <c:pt idx="43489">
                  <c:v>-1.6806722689075499E-3</c:v>
                </c:pt>
                <c:pt idx="43490">
                  <c:v>-1.6806722689075499E-3</c:v>
                </c:pt>
                <c:pt idx="43491">
                  <c:v>-1.6806722689075499E-3</c:v>
                </c:pt>
                <c:pt idx="43492">
                  <c:v>-1.6806722689075499E-3</c:v>
                </c:pt>
                <c:pt idx="43493">
                  <c:v>-1.6806722689075499E-3</c:v>
                </c:pt>
                <c:pt idx="43494">
                  <c:v>-1.6806722689075499E-3</c:v>
                </c:pt>
                <c:pt idx="43495">
                  <c:v>-1.6806722689075499E-3</c:v>
                </c:pt>
                <c:pt idx="43496">
                  <c:v>-1.6806722689075499E-3</c:v>
                </c:pt>
                <c:pt idx="43497">
                  <c:v>-1.6806722689075499E-3</c:v>
                </c:pt>
                <c:pt idx="43498">
                  <c:v>-1.6806722689075499E-3</c:v>
                </c:pt>
                <c:pt idx="43499">
                  <c:v>-1.6806722689075499E-3</c:v>
                </c:pt>
                <c:pt idx="43500">
                  <c:v>-1.6806722689075499E-3</c:v>
                </c:pt>
                <c:pt idx="43501">
                  <c:v>-1.6806722689075499E-3</c:v>
                </c:pt>
                <c:pt idx="43502">
                  <c:v>-1.6806722689075499E-3</c:v>
                </c:pt>
                <c:pt idx="43503">
                  <c:v>-1.6806722689075499E-3</c:v>
                </c:pt>
                <c:pt idx="43504">
                  <c:v>-1.6806722689075499E-3</c:v>
                </c:pt>
                <c:pt idx="43505">
                  <c:v>-1.6806722689075499E-3</c:v>
                </c:pt>
                <c:pt idx="43506">
                  <c:v>-1.6806722689075499E-3</c:v>
                </c:pt>
                <c:pt idx="43507">
                  <c:v>-1.6806722689075499E-3</c:v>
                </c:pt>
                <c:pt idx="43508">
                  <c:v>-1.6806722689075499E-3</c:v>
                </c:pt>
                <c:pt idx="43509">
                  <c:v>-1.6806722689075499E-3</c:v>
                </c:pt>
                <c:pt idx="43510">
                  <c:v>-1.6806722689075499E-3</c:v>
                </c:pt>
                <c:pt idx="43511">
                  <c:v>-1.6806722689075499E-3</c:v>
                </c:pt>
                <c:pt idx="43512">
                  <c:v>-1.6806722689075499E-3</c:v>
                </c:pt>
                <c:pt idx="43513">
                  <c:v>-1.6806722689075499E-3</c:v>
                </c:pt>
                <c:pt idx="43514">
                  <c:v>-1.6806722689075499E-3</c:v>
                </c:pt>
                <c:pt idx="43515">
                  <c:v>-1.6806722689075499E-3</c:v>
                </c:pt>
                <c:pt idx="43516">
                  <c:v>-1.6806722689075499E-3</c:v>
                </c:pt>
                <c:pt idx="43517">
                  <c:v>-2.5210084033613299E-3</c:v>
                </c:pt>
                <c:pt idx="43518">
                  <c:v>-2.5210084033613299E-3</c:v>
                </c:pt>
                <c:pt idx="43519">
                  <c:v>-2.5210084033613299E-3</c:v>
                </c:pt>
                <c:pt idx="43520">
                  <c:v>-2.5210084033613299E-3</c:v>
                </c:pt>
                <c:pt idx="43521">
                  <c:v>-2.5210084033613299E-3</c:v>
                </c:pt>
                <c:pt idx="43522">
                  <c:v>-2.5210084033613299E-3</c:v>
                </c:pt>
                <c:pt idx="43523">
                  <c:v>-2.5210084033613299E-3</c:v>
                </c:pt>
                <c:pt idx="43524">
                  <c:v>-2.5210084033613299E-3</c:v>
                </c:pt>
                <c:pt idx="43525">
                  <c:v>-2.5210084033613299E-3</c:v>
                </c:pt>
                <c:pt idx="43526">
                  <c:v>-2.5210084033613299E-3</c:v>
                </c:pt>
                <c:pt idx="43527">
                  <c:v>-2.5210084033613299E-3</c:v>
                </c:pt>
                <c:pt idx="43528">
                  <c:v>-2.5210084033613299E-3</c:v>
                </c:pt>
                <c:pt idx="43529">
                  <c:v>-2.5210084033613299E-3</c:v>
                </c:pt>
                <c:pt idx="43530">
                  <c:v>-2.5210084033613299E-3</c:v>
                </c:pt>
                <c:pt idx="43531">
                  <c:v>-2.5210084033613299E-3</c:v>
                </c:pt>
                <c:pt idx="43532">
                  <c:v>-2.5210084033613299E-3</c:v>
                </c:pt>
                <c:pt idx="43533">
                  <c:v>-2.5210084033613299E-3</c:v>
                </c:pt>
                <c:pt idx="43534">
                  <c:v>-2.5210084033613299E-3</c:v>
                </c:pt>
                <c:pt idx="43535">
                  <c:v>-2.5210084033613299E-3</c:v>
                </c:pt>
                <c:pt idx="43536">
                  <c:v>-2.5210084033613299E-3</c:v>
                </c:pt>
                <c:pt idx="43537">
                  <c:v>-3.3613445378151102E-3</c:v>
                </c:pt>
                <c:pt idx="43538">
                  <c:v>-3.3613445378151102E-3</c:v>
                </c:pt>
                <c:pt idx="43539">
                  <c:v>-3.3613445378151102E-3</c:v>
                </c:pt>
                <c:pt idx="43540">
                  <c:v>-3.3613445378151102E-3</c:v>
                </c:pt>
                <c:pt idx="43541">
                  <c:v>-3.3613445378151102E-3</c:v>
                </c:pt>
                <c:pt idx="43542">
                  <c:v>-3.3613445378151102E-3</c:v>
                </c:pt>
                <c:pt idx="43543">
                  <c:v>-3.3613445378151102E-3</c:v>
                </c:pt>
                <c:pt idx="43544">
                  <c:v>-3.3613445378151102E-3</c:v>
                </c:pt>
                <c:pt idx="43545">
                  <c:v>-3.3613445378151102E-3</c:v>
                </c:pt>
                <c:pt idx="43546">
                  <c:v>-3.3613445378151102E-3</c:v>
                </c:pt>
                <c:pt idx="43547">
                  <c:v>-3.3613445378151102E-3</c:v>
                </c:pt>
                <c:pt idx="43548">
                  <c:v>-3.3613445378151102E-3</c:v>
                </c:pt>
                <c:pt idx="43549">
                  <c:v>-3.3613445378151102E-3</c:v>
                </c:pt>
                <c:pt idx="43550">
                  <c:v>-3.3613445378151102E-3</c:v>
                </c:pt>
                <c:pt idx="43551">
                  <c:v>-3.3613445378151102E-3</c:v>
                </c:pt>
                <c:pt idx="43552">
                  <c:v>-3.3613445378151102E-3</c:v>
                </c:pt>
                <c:pt idx="43553">
                  <c:v>-3.3613445378151102E-3</c:v>
                </c:pt>
                <c:pt idx="43554">
                  <c:v>-3.3613445378151102E-3</c:v>
                </c:pt>
                <c:pt idx="43555">
                  <c:v>-3.3613445378151102E-3</c:v>
                </c:pt>
                <c:pt idx="43556">
                  <c:v>-3.3613445378151102E-3</c:v>
                </c:pt>
                <c:pt idx="43557">
                  <c:v>-3.3613445378151102E-3</c:v>
                </c:pt>
                <c:pt idx="43558">
                  <c:v>-3.3613445378151102E-3</c:v>
                </c:pt>
                <c:pt idx="43559">
                  <c:v>-3.3613445378151102E-3</c:v>
                </c:pt>
                <c:pt idx="43560">
                  <c:v>-3.3613445378151102E-3</c:v>
                </c:pt>
                <c:pt idx="43561">
                  <c:v>-3.3613445378151102E-3</c:v>
                </c:pt>
                <c:pt idx="43562">
                  <c:v>-3.3613445378151102E-3</c:v>
                </c:pt>
                <c:pt idx="43563">
                  <c:v>-3.3613445378151102E-3</c:v>
                </c:pt>
                <c:pt idx="43564">
                  <c:v>-3.3613445378151102E-3</c:v>
                </c:pt>
                <c:pt idx="43565">
                  <c:v>-3.3613445378151102E-3</c:v>
                </c:pt>
                <c:pt idx="43566">
                  <c:v>-3.3613445378151102E-3</c:v>
                </c:pt>
                <c:pt idx="43567">
                  <c:v>-3.3613445378151102E-3</c:v>
                </c:pt>
                <c:pt idx="43568">
                  <c:v>-3.3613445378151102E-3</c:v>
                </c:pt>
                <c:pt idx="43569">
                  <c:v>-3.3613445378151102E-3</c:v>
                </c:pt>
                <c:pt idx="43570">
                  <c:v>-3.3613445378151102E-3</c:v>
                </c:pt>
                <c:pt idx="43571">
                  <c:v>-3.3613445378151102E-3</c:v>
                </c:pt>
                <c:pt idx="43572">
                  <c:v>-3.3613445378151102E-3</c:v>
                </c:pt>
                <c:pt idx="43573">
                  <c:v>-3.3613445378151102E-3</c:v>
                </c:pt>
                <c:pt idx="43574">
                  <c:v>-3.3613445378151102E-3</c:v>
                </c:pt>
                <c:pt idx="43575">
                  <c:v>-3.3613445378151102E-3</c:v>
                </c:pt>
                <c:pt idx="43576">
                  <c:v>-3.3613445378151102E-3</c:v>
                </c:pt>
                <c:pt idx="43577">
                  <c:v>-3.3613445378151102E-3</c:v>
                </c:pt>
                <c:pt idx="43578">
                  <c:v>-3.3613445378151102E-3</c:v>
                </c:pt>
                <c:pt idx="43579">
                  <c:v>-3.3613445378151102E-3</c:v>
                </c:pt>
                <c:pt idx="43580">
                  <c:v>-4.20168067226889E-3</c:v>
                </c:pt>
                <c:pt idx="43581">
                  <c:v>-4.20168067226889E-3</c:v>
                </c:pt>
                <c:pt idx="43582">
                  <c:v>-4.20168067226889E-3</c:v>
                </c:pt>
                <c:pt idx="43583">
                  <c:v>-4.20168067226889E-3</c:v>
                </c:pt>
                <c:pt idx="43584">
                  <c:v>-4.20168067226889E-3</c:v>
                </c:pt>
                <c:pt idx="43585">
                  <c:v>-4.20168067226889E-3</c:v>
                </c:pt>
                <c:pt idx="43586">
                  <c:v>-4.20168067226889E-3</c:v>
                </c:pt>
                <c:pt idx="43587">
                  <c:v>-4.20168067226889E-3</c:v>
                </c:pt>
                <c:pt idx="43588">
                  <c:v>-4.20168067226889E-3</c:v>
                </c:pt>
                <c:pt idx="43589">
                  <c:v>-4.20168067226889E-3</c:v>
                </c:pt>
                <c:pt idx="43590">
                  <c:v>-4.20168067226889E-3</c:v>
                </c:pt>
                <c:pt idx="43591">
                  <c:v>-4.20168067226889E-3</c:v>
                </c:pt>
                <c:pt idx="43592">
                  <c:v>-4.20168067226889E-3</c:v>
                </c:pt>
                <c:pt idx="43593">
                  <c:v>-4.20168067226889E-3</c:v>
                </c:pt>
                <c:pt idx="43594">
                  <c:v>-4.20168067226889E-3</c:v>
                </c:pt>
                <c:pt idx="43595">
                  <c:v>-4.20168067226889E-3</c:v>
                </c:pt>
                <c:pt idx="43596">
                  <c:v>-4.20168067226889E-3</c:v>
                </c:pt>
                <c:pt idx="43597">
                  <c:v>-4.20168067226889E-3</c:v>
                </c:pt>
                <c:pt idx="43598">
                  <c:v>-4.20168067226889E-3</c:v>
                </c:pt>
                <c:pt idx="43599">
                  <c:v>-4.20168067226889E-3</c:v>
                </c:pt>
                <c:pt idx="43600">
                  <c:v>-4.20168067226889E-3</c:v>
                </c:pt>
                <c:pt idx="43601">
                  <c:v>-4.20168067226889E-3</c:v>
                </c:pt>
                <c:pt idx="43602">
                  <c:v>-4.20168067226889E-3</c:v>
                </c:pt>
                <c:pt idx="43603">
                  <c:v>-4.20168067226889E-3</c:v>
                </c:pt>
                <c:pt idx="43604">
                  <c:v>-4.20168067226889E-3</c:v>
                </c:pt>
                <c:pt idx="43605">
                  <c:v>-4.20168067226889E-3</c:v>
                </c:pt>
                <c:pt idx="43606">
                  <c:v>-4.20168067226889E-3</c:v>
                </c:pt>
                <c:pt idx="43607">
                  <c:v>-4.20168067226889E-3</c:v>
                </c:pt>
                <c:pt idx="43608">
                  <c:v>-4.20168067226889E-3</c:v>
                </c:pt>
                <c:pt idx="43609">
                  <c:v>-4.20168067226889E-3</c:v>
                </c:pt>
                <c:pt idx="43610">
                  <c:v>-4.20168067226889E-3</c:v>
                </c:pt>
                <c:pt idx="43611">
                  <c:v>-4.20168067226889E-3</c:v>
                </c:pt>
                <c:pt idx="43612">
                  <c:v>-4.20168067226889E-3</c:v>
                </c:pt>
                <c:pt idx="43613">
                  <c:v>-4.20168067226889E-3</c:v>
                </c:pt>
                <c:pt idx="43614">
                  <c:v>-4.20168067226889E-3</c:v>
                </c:pt>
                <c:pt idx="43615">
                  <c:v>-4.20168067226889E-3</c:v>
                </c:pt>
                <c:pt idx="43616">
                  <c:v>-4.20168067226889E-3</c:v>
                </c:pt>
                <c:pt idx="43617">
                  <c:v>-4.20168067226889E-3</c:v>
                </c:pt>
                <c:pt idx="43618">
                  <c:v>-4.20168067226889E-3</c:v>
                </c:pt>
                <c:pt idx="43619">
                  <c:v>-4.20168067226889E-3</c:v>
                </c:pt>
                <c:pt idx="43620">
                  <c:v>-4.20168067226889E-3</c:v>
                </c:pt>
                <c:pt idx="43621">
                  <c:v>-4.20168067226889E-3</c:v>
                </c:pt>
                <c:pt idx="43622">
                  <c:v>-4.20168067226889E-3</c:v>
                </c:pt>
                <c:pt idx="43623">
                  <c:v>-4.20168067226889E-3</c:v>
                </c:pt>
                <c:pt idx="43624">
                  <c:v>-3.3613445378151102E-3</c:v>
                </c:pt>
                <c:pt idx="43625">
                  <c:v>-3.3613445378151102E-3</c:v>
                </c:pt>
                <c:pt idx="43626">
                  <c:v>-3.3613445378151102E-3</c:v>
                </c:pt>
                <c:pt idx="43627">
                  <c:v>-3.3613445378151102E-3</c:v>
                </c:pt>
                <c:pt idx="43628">
                  <c:v>-3.3613445378151102E-3</c:v>
                </c:pt>
                <c:pt idx="43629">
                  <c:v>-3.3613445378151102E-3</c:v>
                </c:pt>
                <c:pt idx="43630">
                  <c:v>-3.3613445378151102E-3</c:v>
                </c:pt>
                <c:pt idx="43631">
                  <c:v>-3.3613445378151102E-3</c:v>
                </c:pt>
                <c:pt idx="43632">
                  <c:v>-3.3613445378151102E-3</c:v>
                </c:pt>
                <c:pt idx="43633">
                  <c:v>-3.3613445378151102E-3</c:v>
                </c:pt>
                <c:pt idx="43634">
                  <c:v>-3.3613445378151102E-3</c:v>
                </c:pt>
                <c:pt idx="43635">
                  <c:v>-3.3613445378151102E-3</c:v>
                </c:pt>
                <c:pt idx="43636">
                  <c:v>-3.3613445378151102E-3</c:v>
                </c:pt>
                <c:pt idx="43637">
                  <c:v>-3.3613445378151102E-3</c:v>
                </c:pt>
                <c:pt idx="43638">
                  <c:v>-3.3613445378151102E-3</c:v>
                </c:pt>
                <c:pt idx="43639">
                  <c:v>-3.3613445378151102E-3</c:v>
                </c:pt>
                <c:pt idx="43640">
                  <c:v>-3.3613445378151102E-3</c:v>
                </c:pt>
                <c:pt idx="43641">
                  <c:v>-3.3613445378151102E-3</c:v>
                </c:pt>
                <c:pt idx="43642">
                  <c:v>-3.3613445378151102E-3</c:v>
                </c:pt>
                <c:pt idx="43643">
                  <c:v>-3.3613445378151102E-3</c:v>
                </c:pt>
                <c:pt idx="43644">
                  <c:v>-3.3613445378151102E-3</c:v>
                </c:pt>
                <c:pt idx="43645">
                  <c:v>-3.3613445378151102E-3</c:v>
                </c:pt>
                <c:pt idx="43646">
                  <c:v>-3.3613445378151102E-3</c:v>
                </c:pt>
                <c:pt idx="43647">
                  <c:v>-3.3613445378151102E-3</c:v>
                </c:pt>
                <c:pt idx="43648">
                  <c:v>-3.3613445378151102E-3</c:v>
                </c:pt>
                <c:pt idx="43649">
                  <c:v>-3.3613445378151102E-3</c:v>
                </c:pt>
                <c:pt idx="43650">
                  <c:v>-3.3613445378151102E-3</c:v>
                </c:pt>
                <c:pt idx="43651">
                  <c:v>-3.3613445378151102E-3</c:v>
                </c:pt>
                <c:pt idx="43652">
                  <c:v>-3.3613445378151102E-3</c:v>
                </c:pt>
                <c:pt idx="43653">
                  <c:v>-3.3613445378151102E-3</c:v>
                </c:pt>
                <c:pt idx="43654">
                  <c:v>-3.3613445378151102E-3</c:v>
                </c:pt>
                <c:pt idx="43655">
                  <c:v>-3.3613445378151102E-3</c:v>
                </c:pt>
                <c:pt idx="43656">
                  <c:v>-4.20168067226889E-3</c:v>
                </c:pt>
                <c:pt idx="43657">
                  <c:v>-4.20168067226889E-3</c:v>
                </c:pt>
                <c:pt idx="43658">
                  <c:v>-4.20168067226889E-3</c:v>
                </c:pt>
                <c:pt idx="43659">
                  <c:v>-4.20168067226889E-3</c:v>
                </c:pt>
                <c:pt idx="43660">
                  <c:v>-4.20168067226889E-3</c:v>
                </c:pt>
                <c:pt idx="43661">
                  <c:v>-4.20168067226889E-3</c:v>
                </c:pt>
                <c:pt idx="43662">
                  <c:v>-4.20168067226889E-3</c:v>
                </c:pt>
                <c:pt idx="43663">
                  <c:v>-4.20168067226889E-3</c:v>
                </c:pt>
                <c:pt idx="43664">
                  <c:v>-4.20168067226889E-3</c:v>
                </c:pt>
                <c:pt idx="43665">
                  <c:v>-4.20168067226889E-3</c:v>
                </c:pt>
                <c:pt idx="43666">
                  <c:v>-4.20168067226889E-3</c:v>
                </c:pt>
                <c:pt idx="43667">
                  <c:v>-4.20168067226889E-3</c:v>
                </c:pt>
                <c:pt idx="43668">
                  <c:v>-4.20168067226889E-3</c:v>
                </c:pt>
                <c:pt idx="43669">
                  <c:v>-4.20168067226889E-3</c:v>
                </c:pt>
                <c:pt idx="43670">
                  <c:v>-4.20168067226889E-3</c:v>
                </c:pt>
                <c:pt idx="43671">
                  <c:v>-4.20168067226889E-3</c:v>
                </c:pt>
                <c:pt idx="43672">
                  <c:v>-4.20168067226889E-3</c:v>
                </c:pt>
                <c:pt idx="43673">
                  <c:v>-4.20168067226889E-3</c:v>
                </c:pt>
                <c:pt idx="43674">
                  <c:v>-4.20168067226889E-3</c:v>
                </c:pt>
                <c:pt idx="43675">
                  <c:v>-4.20168067226889E-3</c:v>
                </c:pt>
                <c:pt idx="43676">
                  <c:v>-4.20168067226889E-3</c:v>
                </c:pt>
                <c:pt idx="43677">
                  <c:v>-4.20168067226889E-3</c:v>
                </c:pt>
                <c:pt idx="43678">
                  <c:v>-4.20168067226889E-3</c:v>
                </c:pt>
                <c:pt idx="43679">
                  <c:v>-4.20168067226889E-3</c:v>
                </c:pt>
                <c:pt idx="43680">
                  <c:v>-4.20168067226889E-3</c:v>
                </c:pt>
                <c:pt idx="43681">
                  <c:v>-4.20168067226889E-3</c:v>
                </c:pt>
                <c:pt idx="43682">
                  <c:v>-4.20168067226889E-3</c:v>
                </c:pt>
                <c:pt idx="43683">
                  <c:v>-4.20168067226889E-3</c:v>
                </c:pt>
                <c:pt idx="43684">
                  <c:v>-4.20168067226889E-3</c:v>
                </c:pt>
                <c:pt idx="43685">
                  <c:v>-4.20168067226889E-3</c:v>
                </c:pt>
                <c:pt idx="43686">
                  <c:v>-4.20168067226889E-3</c:v>
                </c:pt>
                <c:pt idx="43687">
                  <c:v>-4.20168067226889E-3</c:v>
                </c:pt>
                <c:pt idx="43688">
                  <c:v>-4.20168067226889E-3</c:v>
                </c:pt>
                <c:pt idx="43689">
                  <c:v>-4.20168067226889E-3</c:v>
                </c:pt>
                <c:pt idx="43690">
                  <c:v>-4.20168067226889E-3</c:v>
                </c:pt>
                <c:pt idx="43691">
                  <c:v>-4.20168067226889E-3</c:v>
                </c:pt>
                <c:pt idx="43692">
                  <c:v>-4.20168067226889E-3</c:v>
                </c:pt>
                <c:pt idx="43693">
                  <c:v>-4.20168067226889E-3</c:v>
                </c:pt>
                <c:pt idx="43694">
                  <c:v>-4.20168067226889E-3</c:v>
                </c:pt>
                <c:pt idx="43695">
                  <c:v>-4.20168067226889E-3</c:v>
                </c:pt>
                <c:pt idx="43696">
                  <c:v>-4.20168067226889E-3</c:v>
                </c:pt>
                <c:pt idx="43697">
                  <c:v>-4.20168067226889E-3</c:v>
                </c:pt>
                <c:pt idx="43698">
                  <c:v>-4.20168067226889E-3</c:v>
                </c:pt>
                <c:pt idx="43699">
                  <c:v>-4.20168067226889E-3</c:v>
                </c:pt>
                <c:pt idx="43700">
                  <c:v>-4.20168067226889E-3</c:v>
                </c:pt>
                <c:pt idx="43701">
                  <c:v>-4.20168067226889E-3</c:v>
                </c:pt>
                <c:pt idx="43702">
                  <c:v>-4.20168067226889E-3</c:v>
                </c:pt>
                <c:pt idx="43703">
                  <c:v>-4.20168067226889E-3</c:v>
                </c:pt>
                <c:pt idx="43704">
                  <c:v>-4.20168067226889E-3</c:v>
                </c:pt>
                <c:pt idx="43705">
                  <c:v>-5.0420168067226703E-3</c:v>
                </c:pt>
                <c:pt idx="43706">
                  <c:v>-5.0420168067226703E-3</c:v>
                </c:pt>
                <c:pt idx="43707">
                  <c:v>-5.0420168067226703E-3</c:v>
                </c:pt>
                <c:pt idx="43708">
                  <c:v>-5.0420168067226703E-3</c:v>
                </c:pt>
                <c:pt idx="43709">
                  <c:v>-5.0420168067226703E-3</c:v>
                </c:pt>
                <c:pt idx="43710">
                  <c:v>-5.0420168067226703E-3</c:v>
                </c:pt>
                <c:pt idx="43711">
                  <c:v>-5.0420168067226703E-3</c:v>
                </c:pt>
                <c:pt idx="43712">
                  <c:v>-5.0420168067226703E-3</c:v>
                </c:pt>
                <c:pt idx="43713">
                  <c:v>-5.0420168067226703E-3</c:v>
                </c:pt>
                <c:pt idx="43714">
                  <c:v>-5.0420168067226703E-3</c:v>
                </c:pt>
                <c:pt idx="43715">
                  <c:v>-5.0420168067226703E-3</c:v>
                </c:pt>
                <c:pt idx="43716">
                  <c:v>-5.0420168067226703E-3</c:v>
                </c:pt>
                <c:pt idx="43717">
                  <c:v>-5.0420168067226703E-3</c:v>
                </c:pt>
                <c:pt idx="43718">
                  <c:v>-5.0420168067226703E-3</c:v>
                </c:pt>
                <c:pt idx="43719">
                  <c:v>-5.0420168067226703E-3</c:v>
                </c:pt>
                <c:pt idx="43720">
                  <c:v>-5.0420168067226703E-3</c:v>
                </c:pt>
                <c:pt idx="43721">
                  <c:v>-5.0420168067226703E-3</c:v>
                </c:pt>
                <c:pt idx="43722">
                  <c:v>-5.0420168067226703E-3</c:v>
                </c:pt>
                <c:pt idx="43723">
                  <c:v>-5.0420168067226703E-3</c:v>
                </c:pt>
                <c:pt idx="43724">
                  <c:v>-5.0420168067226703E-3</c:v>
                </c:pt>
                <c:pt idx="43725">
                  <c:v>-5.0420168067226703E-3</c:v>
                </c:pt>
                <c:pt idx="43726">
                  <c:v>-5.0420168067226703E-3</c:v>
                </c:pt>
                <c:pt idx="43727">
                  <c:v>-5.0420168067226703E-3</c:v>
                </c:pt>
                <c:pt idx="43728">
                  <c:v>-5.0420168067226703E-3</c:v>
                </c:pt>
                <c:pt idx="43729">
                  <c:v>-5.0420168067226703E-3</c:v>
                </c:pt>
                <c:pt idx="43730">
                  <c:v>-5.0420168067226703E-3</c:v>
                </c:pt>
                <c:pt idx="43731">
                  <c:v>-5.0420168067226703E-3</c:v>
                </c:pt>
                <c:pt idx="43732">
                  <c:v>-5.0420168067226703E-3</c:v>
                </c:pt>
                <c:pt idx="43733">
                  <c:v>-5.0420168067226703E-3</c:v>
                </c:pt>
                <c:pt idx="43734">
                  <c:v>-5.0420168067226703E-3</c:v>
                </c:pt>
                <c:pt idx="43735">
                  <c:v>-5.0420168067226703E-3</c:v>
                </c:pt>
                <c:pt idx="43736">
                  <c:v>-5.0420168067226703E-3</c:v>
                </c:pt>
                <c:pt idx="43737">
                  <c:v>-5.0420168067226703E-3</c:v>
                </c:pt>
                <c:pt idx="43738">
                  <c:v>-5.0420168067226703E-3</c:v>
                </c:pt>
                <c:pt idx="43739">
                  <c:v>-5.0420168067226703E-3</c:v>
                </c:pt>
                <c:pt idx="43740">
                  <c:v>-5.0420168067226703E-3</c:v>
                </c:pt>
                <c:pt idx="43741">
                  <c:v>-5.0420168067226703E-3</c:v>
                </c:pt>
                <c:pt idx="43742">
                  <c:v>-5.0420168067226703E-3</c:v>
                </c:pt>
                <c:pt idx="43743">
                  <c:v>-5.0420168067226703E-3</c:v>
                </c:pt>
                <c:pt idx="43744">
                  <c:v>-5.0420168067226703E-3</c:v>
                </c:pt>
                <c:pt idx="43745">
                  <c:v>-5.0420168067226703E-3</c:v>
                </c:pt>
                <c:pt idx="43746">
                  <c:v>-5.0420168067226703E-3</c:v>
                </c:pt>
                <c:pt idx="43747">
                  <c:v>-5.0420168067226703E-3</c:v>
                </c:pt>
                <c:pt idx="43748">
                  <c:v>-5.0420168067226703E-3</c:v>
                </c:pt>
                <c:pt idx="43749">
                  <c:v>-5.0420168067226703E-3</c:v>
                </c:pt>
                <c:pt idx="43750">
                  <c:v>-5.0420168067226703E-3</c:v>
                </c:pt>
                <c:pt idx="43751">
                  <c:v>-5.0420168067226703E-3</c:v>
                </c:pt>
                <c:pt idx="43752">
                  <c:v>-5.0420168067226703E-3</c:v>
                </c:pt>
                <c:pt idx="43753">
                  <c:v>-5.0420168067226703E-3</c:v>
                </c:pt>
                <c:pt idx="43754">
                  <c:v>-5.0420168067226703E-3</c:v>
                </c:pt>
                <c:pt idx="43755">
                  <c:v>-5.0420168067226703E-3</c:v>
                </c:pt>
                <c:pt idx="43756">
                  <c:v>-5.0420168067226703E-3</c:v>
                </c:pt>
                <c:pt idx="43757">
                  <c:v>-5.0420168067226703E-3</c:v>
                </c:pt>
                <c:pt idx="43758">
                  <c:v>-5.0420168067226703E-3</c:v>
                </c:pt>
                <c:pt idx="43759">
                  <c:v>-5.0420168067226703E-3</c:v>
                </c:pt>
                <c:pt idx="43760">
                  <c:v>-5.0420168067226703E-3</c:v>
                </c:pt>
                <c:pt idx="43761">
                  <c:v>-5.0420168067226703E-3</c:v>
                </c:pt>
                <c:pt idx="43762">
                  <c:v>-5.0420168067226703E-3</c:v>
                </c:pt>
                <c:pt idx="43763">
                  <c:v>-5.0420168067226703E-3</c:v>
                </c:pt>
                <c:pt idx="43764">
                  <c:v>-5.0420168067226703E-3</c:v>
                </c:pt>
                <c:pt idx="43765">
                  <c:v>-5.0420168067226703E-3</c:v>
                </c:pt>
                <c:pt idx="43766">
                  <c:v>-5.0420168067226703E-3</c:v>
                </c:pt>
                <c:pt idx="43767">
                  <c:v>-5.0420168067226703E-3</c:v>
                </c:pt>
                <c:pt idx="43768">
                  <c:v>-5.0420168067226703E-3</c:v>
                </c:pt>
                <c:pt idx="43769">
                  <c:v>-5.0420168067226703E-3</c:v>
                </c:pt>
                <c:pt idx="43770">
                  <c:v>-5.0420168067226703E-3</c:v>
                </c:pt>
                <c:pt idx="43771">
                  <c:v>-5.0420168067226703E-3</c:v>
                </c:pt>
                <c:pt idx="43772">
                  <c:v>-5.0420168067226703E-3</c:v>
                </c:pt>
                <c:pt idx="43773">
                  <c:v>-5.0420168067226703E-3</c:v>
                </c:pt>
                <c:pt idx="43774">
                  <c:v>-5.0420168067226703E-3</c:v>
                </c:pt>
                <c:pt idx="43775">
                  <c:v>-5.0420168067226703E-3</c:v>
                </c:pt>
                <c:pt idx="43776">
                  <c:v>-5.0420168067226703E-3</c:v>
                </c:pt>
                <c:pt idx="43777">
                  <c:v>-5.0420168067226703E-3</c:v>
                </c:pt>
                <c:pt idx="43778">
                  <c:v>-5.0420168067226703E-3</c:v>
                </c:pt>
                <c:pt idx="43779">
                  <c:v>-5.0420168067226703E-3</c:v>
                </c:pt>
                <c:pt idx="43780">
                  <c:v>-5.0420168067226703E-3</c:v>
                </c:pt>
                <c:pt idx="43781">
                  <c:v>-5.0420168067226703E-3</c:v>
                </c:pt>
                <c:pt idx="43782">
                  <c:v>-5.0420168067226703E-3</c:v>
                </c:pt>
                <c:pt idx="43783">
                  <c:v>-5.0420168067226703E-3</c:v>
                </c:pt>
                <c:pt idx="43784">
                  <c:v>-5.0420168067226703E-3</c:v>
                </c:pt>
                <c:pt idx="43785">
                  <c:v>-5.0420168067226703E-3</c:v>
                </c:pt>
                <c:pt idx="43786">
                  <c:v>-5.0420168067226703E-3</c:v>
                </c:pt>
                <c:pt idx="43787">
                  <c:v>-5.0420168067226703E-3</c:v>
                </c:pt>
                <c:pt idx="43788">
                  <c:v>-5.0420168067226703E-3</c:v>
                </c:pt>
                <c:pt idx="43789">
                  <c:v>-5.0420168067226703E-3</c:v>
                </c:pt>
                <c:pt idx="43790">
                  <c:v>-5.0420168067226703E-3</c:v>
                </c:pt>
                <c:pt idx="43791">
                  <c:v>-5.0420168067226703E-3</c:v>
                </c:pt>
                <c:pt idx="43792">
                  <c:v>-5.0420168067226703E-3</c:v>
                </c:pt>
                <c:pt idx="43793">
                  <c:v>-5.0420168067226703E-3</c:v>
                </c:pt>
                <c:pt idx="43794">
                  <c:v>-5.0420168067226703E-3</c:v>
                </c:pt>
                <c:pt idx="43795">
                  <c:v>-5.0420168067226703E-3</c:v>
                </c:pt>
                <c:pt idx="43796">
                  <c:v>-5.0420168067226703E-3</c:v>
                </c:pt>
                <c:pt idx="43797">
                  <c:v>-5.0420168067226703E-3</c:v>
                </c:pt>
                <c:pt idx="43798">
                  <c:v>-5.0420168067226703E-3</c:v>
                </c:pt>
                <c:pt idx="43799">
                  <c:v>-5.0420168067226703E-3</c:v>
                </c:pt>
                <c:pt idx="43800">
                  <c:v>-5.0420168067226703E-3</c:v>
                </c:pt>
                <c:pt idx="43801">
                  <c:v>-5.0420168067226703E-3</c:v>
                </c:pt>
                <c:pt idx="43802">
                  <c:v>-5.0420168067226703E-3</c:v>
                </c:pt>
                <c:pt idx="43803">
                  <c:v>-5.0420168067226703E-3</c:v>
                </c:pt>
                <c:pt idx="43804">
                  <c:v>-5.0420168067226703E-3</c:v>
                </c:pt>
                <c:pt idx="43805">
                  <c:v>-5.0420168067226703E-3</c:v>
                </c:pt>
                <c:pt idx="43806">
                  <c:v>-5.0420168067226703E-3</c:v>
                </c:pt>
                <c:pt idx="43807">
                  <c:v>-5.0420168067226703E-3</c:v>
                </c:pt>
                <c:pt idx="43808">
                  <c:v>-5.0420168067226703E-3</c:v>
                </c:pt>
                <c:pt idx="43809">
                  <c:v>-5.0420168067226703E-3</c:v>
                </c:pt>
                <c:pt idx="43810">
                  <c:v>-5.0420168067226703E-3</c:v>
                </c:pt>
                <c:pt idx="43811">
                  <c:v>-5.0420168067226703E-3</c:v>
                </c:pt>
                <c:pt idx="43812">
                  <c:v>-5.0420168067226703E-3</c:v>
                </c:pt>
                <c:pt idx="43813">
                  <c:v>-5.0420168067226703E-3</c:v>
                </c:pt>
                <c:pt idx="43814">
                  <c:v>-5.0420168067226703E-3</c:v>
                </c:pt>
                <c:pt idx="43815">
                  <c:v>-5.0420168067226703E-3</c:v>
                </c:pt>
                <c:pt idx="43816">
                  <c:v>-5.0420168067226703E-3</c:v>
                </c:pt>
                <c:pt idx="43817">
                  <c:v>-5.0420168067226703E-3</c:v>
                </c:pt>
                <c:pt idx="43818">
                  <c:v>-5.0420168067226703E-3</c:v>
                </c:pt>
                <c:pt idx="43819">
                  <c:v>-5.0420168067226703E-3</c:v>
                </c:pt>
                <c:pt idx="43820">
                  <c:v>-5.0420168067226703E-3</c:v>
                </c:pt>
                <c:pt idx="43821">
                  <c:v>-5.0420168067226703E-3</c:v>
                </c:pt>
                <c:pt idx="43822">
                  <c:v>-5.0420168067226703E-3</c:v>
                </c:pt>
                <c:pt idx="43823">
                  <c:v>-5.0420168067226703E-3</c:v>
                </c:pt>
                <c:pt idx="43824">
                  <c:v>-5.0420168067226703E-3</c:v>
                </c:pt>
                <c:pt idx="43825">
                  <c:v>-5.0420168067226703E-3</c:v>
                </c:pt>
                <c:pt idx="43826">
                  <c:v>-5.0420168067226703E-3</c:v>
                </c:pt>
                <c:pt idx="43827">
                  <c:v>-5.0420168067226703E-3</c:v>
                </c:pt>
                <c:pt idx="43828">
                  <c:v>-5.0420168067226703E-3</c:v>
                </c:pt>
                <c:pt idx="43829">
                  <c:v>-5.0420168067226703E-3</c:v>
                </c:pt>
                <c:pt idx="43830">
                  <c:v>-5.0420168067226703E-3</c:v>
                </c:pt>
                <c:pt idx="43831">
                  <c:v>-5.0420168067226703E-3</c:v>
                </c:pt>
                <c:pt idx="43832">
                  <c:v>-5.0420168067226703E-3</c:v>
                </c:pt>
                <c:pt idx="43833">
                  <c:v>-5.0420168067226703E-3</c:v>
                </c:pt>
                <c:pt idx="43834">
                  <c:v>-5.0420168067226703E-3</c:v>
                </c:pt>
                <c:pt idx="43835">
                  <c:v>-5.0420168067226703E-3</c:v>
                </c:pt>
                <c:pt idx="43836">
                  <c:v>-5.0420168067226703E-3</c:v>
                </c:pt>
                <c:pt idx="43837">
                  <c:v>-5.0420168067226703E-3</c:v>
                </c:pt>
                <c:pt idx="43838">
                  <c:v>-5.0420168067226703E-3</c:v>
                </c:pt>
                <c:pt idx="43839">
                  <c:v>-5.0420168067226703E-3</c:v>
                </c:pt>
                <c:pt idx="43840">
                  <c:v>-5.0420168067226703E-3</c:v>
                </c:pt>
                <c:pt idx="43841">
                  <c:v>-5.0420168067226703E-3</c:v>
                </c:pt>
                <c:pt idx="43842">
                  <c:v>-5.0420168067226703E-3</c:v>
                </c:pt>
                <c:pt idx="43843">
                  <c:v>-5.0420168067226703E-3</c:v>
                </c:pt>
                <c:pt idx="43844">
                  <c:v>-5.0420168067226703E-3</c:v>
                </c:pt>
                <c:pt idx="43845">
                  <c:v>-5.0420168067226703E-3</c:v>
                </c:pt>
                <c:pt idx="43846">
                  <c:v>-5.0420168067226703E-3</c:v>
                </c:pt>
                <c:pt idx="43847">
                  <c:v>-5.0420168067226703E-3</c:v>
                </c:pt>
                <c:pt idx="43848">
                  <c:v>-5.0420168067226703E-3</c:v>
                </c:pt>
                <c:pt idx="43849">
                  <c:v>-5.0420168067226703E-3</c:v>
                </c:pt>
                <c:pt idx="43850">
                  <c:v>-5.0420168067226703E-3</c:v>
                </c:pt>
                <c:pt idx="43851">
                  <c:v>-5.0420168067226703E-3</c:v>
                </c:pt>
                <c:pt idx="43852">
                  <c:v>-5.0420168067226703E-3</c:v>
                </c:pt>
                <c:pt idx="43853">
                  <c:v>-5.0420168067226703E-3</c:v>
                </c:pt>
                <c:pt idx="43854">
                  <c:v>-5.0420168067226703E-3</c:v>
                </c:pt>
                <c:pt idx="43855">
                  <c:v>-5.0420168067226703E-3</c:v>
                </c:pt>
                <c:pt idx="43856">
                  <c:v>-5.0420168067226703E-3</c:v>
                </c:pt>
                <c:pt idx="43857">
                  <c:v>-5.0420168067226703E-3</c:v>
                </c:pt>
                <c:pt idx="43858">
                  <c:v>-5.0420168067226703E-3</c:v>
                </c:pt>
                <c:pt idx="43859">
                  <c:v>-5.0420168067226703E-3</c:v>
                </c:pt>
                <c:pt idx="43860">
                  <c:v>-5.0420168067226703E-3</c:v>
                </c:pt>
                <c:pt idx="43861">
                  <c:v>-5.0420168067226703E-3</c:v>
                </c:pt>
                <c:pt idx="43862">
                  <c:v>-5.0420168067226703E-3</c:v>
                </c:pt>
                <c:pt idx="43863">
                  <c:v>-5.0420168067226703E-3</c:v>
                </c:pt>
                <c:pt idx="43864">
                  <c:v>-5.0420168067226703E-3</c:v>
                </c:pt>
                <c:pt idx="43865">
                  <c:v>-5.0420168067226703E-3</c:v>
                </c:pt>
                <c:pt idx="43866">
                  <c:v>-5.0420168067226703E-3</c:v>
                </c:pt>
                <c:pt idx="43867">
                  <c:v>-5.0420168067226703E-3</c:v>
                </c:pt>
                <c:pt idx="43868">
                  <c:v>-5.0420168067226703E-3</c:v>
                </c:pt>
                <c:pt idx="43869">
                  <c:v>-5.0420168067226703E-3</c:v>
                </c:pt>
                <c:pt idx="43870">
                  <c:v>-5.0420168067226703E-3</c:v>
                </c:pt>
                <c:pt idx="43871">
                  <c:v>-5.0420168067226703E-3</c:v>
                </c:pt>
                <c:pt idx="43872">
                  <c:v>-5.0420168067226703E-3</c:v>
                </c:pt>
                <c:pt idx="43873">
                  <c:v>-5.0420168067226703E-3</c:v>
                </c:pt>
                <c:pt idx="43874">
                  <c:v>-5.0420168067226703E-3</c:v>
                </c:pt>
                <c:pt idx="43875">
                  <c:v>-5.0420168067226703E-3</c:v>
                </c:pt>
                <c:pt idx="43876">
                  <c:v>-5.0420168067226703E-3</c:v>
                </c:pt>
                <c:pt idx="43877">
                  <c:v>-5.0420168067226703E-3</c:v>
                </c:pt>
                <c:pt idx="43878">
                  <c:v>-5.0420168067226703E-3</c:v>
                </c:pt>
                <c:pt idx="43879">
                  <c:v>-5.0420168067226703E-3</c:v>
                </c:pt>
                <c:pt idx="43880">
                  <c:v>-5.0420168067226703E-3</c:v>
                </c:pt>
                <c:pt idx="43881">
                  <c:v>-5.0420168067226703E-3</c:v>
                </c:pt>
                <c:pt idx="43882">
                  <c:v>-5.0420168067226703E-3</c:v>
                </c:pt>
                <c:pt idx="43883">
                  <c:v>-5.0420168067226703E-3</c:v>
                </c:pt>
                <c:pt idx="43884">
                  <c:v>-5.0420168067226703E-3</c:v>
                </c:pt>
                <c:pt idx="43885">
                  <c:v>-5.0420168067226703E-3</c:v>
                </c:pt>
                <c:pt idx="43886">
                  <c:v>-5.0420168067226703E-3</c:v>
                </c:pt>
                <c:pt idx="43887">
                  <c:v>-5.0420168067226703E-3</c:v>
                </c:pt>
                <c:pt idx="43888">
                  <c:v>-5.0420168067226703E-3</c:v>
                </c:pt>
                <c:pt idx="43889">
                  <c:v>-5.0420168067226703E-3</c:v>
                </c:pt>
                <c:pt idx="43890">
                  <c:v>-5.0420168067226703E-3</c:v>
                </c:pt>
                <c:pt idx="43891">
                  <c:v>-5.0420168067226703E-3</c:v>
                </c:pt>
                <c:pt idx="43892">
                  <c:v>-5.0420168067226703E-3</c:v>
                </c:pt>
                <c:pt idx="43893">
                  <c:v>-5.0420168067226703E-3</c:v>
                </c:pt>
                <c:pt idx="43894">
                  <c:v>-5.0420168067226703E-3</c:v>
                </c:pt>
                <c:pt idx="43895">
                  <c:v>-5.0420168067226703E-3</c:v>
                </c:pt>
                <c:pt idx="43896">
                  <c:v>-5.0420168067226703E-3</c:v>
                </c:pt>
                <c:pt idx="43897">
                  <c:v>-5.0420168067226703E-3</c:v>
                </c:pt>
                <c:pt idx="43898">
                  <c:v>-5.0420168067226703E-3</c:v>
                </c:pt>
                <c:pt idx="43899">
                  <c:v>-5.0420168067226703E-3</c:v>
                </c:pt>
                <c:pt idx="43900">
                  <c:v>-5.0420168067226703E-3</c:v>
                </c:pt>
                <c:pt idx="43901">
                  <c:v>-5.0420168067226703E-3</c:v>
                </c:pt>
                <c:pt idx="43902">
                  <c:v>-5.0420168067226703E-3</c:v>
                </c:pt>
                <c:pt idx="43903">
                  <c:v>-5.0420168067226703E-3</c:v>
                </c:pt>
                <c:pt idx="43904">
                  <c:v>-5.0420168067226703E-3</c:v>
                </c:pt>
                <c:pt idx="43905">
                  <c:v>-5.0420168067226703E-3</c:v>
                </c:pt>
                <c:pt idx="43906">
                  <c:v>-5.0420168067226703E-3</c:v>
                </c:pt>
                <c:pt idx="43907">
                  <c:v>-5.0420168067226703E-3</c:v>
                </c:pt>
                <c:pt idx="43908">
                  <c:v>-5.0420168067226703E-3</c:v>
                </c:pt>
                <c:pt idx="43909">
                  <c:v>-5.0420168067226703E-3</c:v>
                </c:pt>
                <c:pt idx="43910">
                  <c:v>-5.0420168067226703E-3</c:v>
                </c:pt>
                <c:pt idx="43911">
                  <c:v>-5.0420168067226703E-3</c:v>
                </c:pt>
                <c:pt idx="43912">
                  <c:v>-5.0420168067226703E-3</c:v>
                </c:pt>
                <c:pt idx="43913">
                  <c:v>-5.0420168067226703E-3</c:v>
                </c:pt>
                <c:pt idx="43914">
                  <c:v>-5.0420168067226703E-3</c:v>
                </c:pt>
                <c:pt idx="43915">
                  <c:v>-5.0420168067226703E-3</c:v>
                </c:pt>
                <c:pt idx="43916">
                  <c:v>-5.0420168067226703E-3</c:v>
                </c:pt>
                <c:pt idx="43917">
                  <c:v>-5.0420168067226703E-3</c:v>
                </c:pt>
                <c:pt idx="43918">
                  <c:v>-5.0420168067226703E-3</c:v>
                </c:pt>
                <c:pt idx="43919">
                  <c:v>-5.0420168067226703E-3</c:v>
                </c:pt>
                <c:pt idx="43920">
                  <c:v>-5.0420168067226703E-3</c:v>
                </c:pt>
                <c:pt idx="43921">
                  <c:v>-5.0420168067226703E-3</c:v>
                </c:pt>
                <c:pt idx="43922">
                  <c:v>-5.0420168067226703E-3</c:v>
                </c:pt>
                <c:pt idx="43923">
                  <c:v>-5.0420168067226703E-3</c:v>
                </c:pt>
                <c:pt idx="43924">
                  <c:v>-5.0420168067226703E-3</c:v>
                </c:pt>
                <c:pt idx="43925">
                  <c:v>-5.0420168067226703E-3</c:v>
                </c:pt>
                <c:pt idx="43926">
                  <c:v>-5.0420168067226703E-3</c:v>
                </c:pt>
                <c:pt idx="43927">
                  <c:v>-5.0420168067226703E-3</c:v>
                </c:pt>
                <c:pt idx="43928">
                  <c:v>-5.0420168067226703E-3</c:v>
                </c:pt>
                <c:pt idx="43929">
                  <c:v>-5.0420168067226703E-3</c:v>
                </c:pt>
                <c:pt idx="43930">
                  <c:v>-5.0420168067226703E-3</c:v>
                </c:pt>
                <c:pt idx="43931">
                  <c:v>-4.20168067226889E-3</c:v>
                </c:pt>
                <c:pt idx="43932">
                  <c:v>-4.20168067226889E-3</c:v>
                </c:pt>
                <c:pt idx="43933">
                  <c:v>-4.20168067226889E-3</c:v>
                </c:pt>
                <c:pt idx="43934">
                  <c:v>-4.20168067226889E-3</c:v>
                </c:pt>
                <c:pt idx="43935">
                  <c:v>-4.20168067226889E-3</c:v>
                </c:pt>
                <c:pt idx="43936">
                  <c:v>-4.20168067226889E-3</c:v>
                </c:pt>
                <c:pt idx="43937">
                  <c:v>-4.20168067226889E-3</c:v>
                </c:pt>
                <c:pt idx="43938">
                  <c:v>-4.20168067226889E-3</c:v>
                </c:pt>
                <c:pt idx="43939">
                  <c:v>-4.20168067226889E-3</c:v>
                </c:pt>
                <c:pt idx="43940">
                  <c:v>-4.20168067226889E-3</c:v>
                </c:pt>
                <c:pt idx="43941">
                  <c:v>-4.20168067226889E-3</c:v>
                </c:pt>
                <c:pt idx="43942">
                  <c:v>-4.20168067226889E-3</c:v>
                </c:pt>
                <c:pt idx="43943">
                  <c:v>-4.20168067226889E-3</c:v>
                </c:pt>
                <c:pt idx="43944">
                  <c:v>-4.20168067226889E-3</c:v>
                </c:pt>
                <c:pt idx="43945">
                  <c:v>-4.20168067226889E-3</c:v>
                </c:pt>
                <c:pt idx="43946">
                  <c:v>-4.20168067226889E-3</c:v>
                </c:pt>
                <c:pt idx="43947">
                  <c:v>-4.20168067226889E-3</c:v>
                </c:pt>
                <c:pt idx="43948">
                  <c:v>-4.20168067226889E-3</c:v>
                </c:pt>
                <c:pt idx="43949">
                  <c:v>-4.20168067226889E-3</c:v>
                </c:pt>
                <c:pt idx="43950">
                  <c:v>-4.20168067226889E-3</c:v>
                </c:pt>
                <c:pt idx="43951">
                  <c:v>-4.20168067226889E-3</c:v>
                </c:pt>
                <c:pt idx="43952">
                  <c:v>-4.20168067226889E-3</c:v>
                </c:pt>
                <c:pt idx="43953">
                  <c:v>-4.20168067226889E-3</c:v>
                </c:pt>
                <c:pt idx="43954">
                  <c:v>-4.20168067226889E-3</c:v>
                </c:pt>
                <c:pt idx="43955">
                  <c:v>-4.20168067226889E-3</c:v>
                </c:pt>
                <c:pt idx="43956">
                  <c:v>-4.20168067226889E-3</c:v>
                </c:pt>
                <c:pt idx="43957">
                  <c:v>-4.20168067226889E-3</c:v>
                </c:pt>
                <c:pt idx="43958">
                  <c:v>-4.20168067226889E-3</c:v>
                </c:pt>
                <c:pt idx="43959">
                  <c:v>-4.20168067226889E-3</c:v>
                </c:pt>
                <c:pt idx="43960">
                  <c:v>-4.20168067226889E-3</c:v>
                </c:pt>
                <c:pt idx="43961">
                  <c:v>-4.20168067226889E-3</c:v>
                </c:pt>
                <c:pt idx="43962">
                  <c:v>-4.20168067226889E-3</c:v>
                </c:pt>
                <c:pt idx="43963">
                  <c:v>-4.20168067226889E-3</c:v>
                </c:pt>
                <c:pt idx="43964">
                  <c:v>-4.20168067226889E-3</c:v>
                </c:pt>
                <c:pt idx="43965">
                  <c:v>-4.20168067226889E-3</c:v>
                </c:pt>
                <c:pt idx="43966">
                  <c:v>-4.20168067226889E-3</c:v>
                </c:pt>
                <c:pt idx="43967">
                  <c:v>-4.20168067226889E-3</c:v>
                </c:pt>
                <c:pt idx="43968">
                  <c:v>-4.20168067226889E-3</c:v>
                </c:pt>
                <c:pt idx="43969">
                  <c:v>-4.20168067226889E-3</c:v>
                </c:pt>
                <c:pt idx="43970">
                  <c:v>-4.20168067226889E-3</c:v>
                </c:pt>
                <c:pt idx="43971">
                  <c:v>-4.20168067226889E-3</c:v>
                </c:pt>
                <c:pt idx="43972">
                  <c:v>-4.20168067226889E-3</c:v>
                </c:pt>
                <c:pt idx="43973">
                  <c:v>-4.20168067226889E-3</c:v>
                </c:pt>
                <c:pt idx="43974">
                  <c:v>-4.20168067226889E-3</c:v>
                </c:pt>
                <c:pt idx="43975">
                  <c:v>-4.20168067226889E-3</c:v>
                </c:pt>
                <c:pt idx="43976">
                  <c:v>-4.20168067226889E-3</c:v>
                </c:pt>
                <c:pt idx="43977">
                  <c:v>-4.20168067226889E-3</c:v>
                </c:pt>
                <c:pt idx="43978">
                  <c:v>-4.20168067226889E-3</c:v>
                </c:pt>
                <c:pt idx="43979">
                  <c:v>-4.20168067226889E-3</c:v>
                </c:pt>
                <c:pt idx="43980">
                  <c:v>-4.20168067226889E-3</c:v>
                </c:pt>
                <c:pt idx="43981">
                  <c:v>-4.20168067226889E-3</c:v>
                </c:pt>
                <c:pt idx="43982">
                  <c:v>-4.20168067226889E-3</c:v>
                </c:pt>
                <c:pt idx="43983">
                  <c:v>-4.20168067226889E-3</c:v>
                </c:pt>
                <c:pt idx="43984">
                  <c:v>-4.20168067226889E-3</c:v>
                </c:pt>
                <c:pt idx="43985">
                  <c:v>-4.20168067226889E-3</c:v>
                </c:pt>
                <c:pt idx="43986">
                  <c:v>-4.20168067226889E-3</c:v>
                </c:pt>
                <c:pt idx="43987">
                  <c:v>-4.20168067226889E-3</c:v>
                </c:pt>
                <c:pt idx="43988">
                  <c:v>-4.20168067226889E-3</c:v>
                </c:pt>
                <c:pt idx="43989">
                  <c:v>-4.20168067226889E-3</c:v>
                </c:pt>
                <c:pt idx="43990">
                  <c:v>-4.20168067226889E-3</c:v>
                </c:pt>
                <c:pt idx="43991">
                  <c:v>-4.20168067226889E-3</c:v>
                </c:pt>
                <c:pt idx="43992">
                  <c:v>-4.20168067226889E-3</c:v>
                </c:pt>
                <c:pt idx="43993">
                  <c:v>-4.20168067226889E-3</c:v>
                </c:pt>
                <c:pt idx="43994">
                  <c:v>-4.20168067226889E-3</c:v>
                </c:pt>
                <c:pt idx="43995">
                  <c:v>-4.20168067226889E-3</c:v>
                </c:pt>
                <c:pt idx="43996">
                  <c:v>-4.20168067226889E-3</c:v>
                </c:pt>
                <c:pt idx="43997">
                  <c:v>-5.0420168067226703E-3</c:v>
                </c:pt>
                <c:pt idx="43998">
                  <c:v>-5.0420168067226703E-3</c:v>
                </c:pt>
                <c:pt idx="43999">
                  <c:v>-5.0420168067226703E-3</c:v>
                </c:pt>
                <c:pt idx="44000">
                  <c:v>-5.0420168067226703E-3</c:v>
                </c:pt>
                <c:pt idx="44001">
                  <c:v>-5.0420168067226703E-3</c:v>
                </c:pt>
                <c:pt idx="44002">
                  <c:v>-5.0420168067226703E-3</c:v>
                </c:pt>
                <c:pt idx="44003">
                  <c:v>-5.0420168067226703E-3</c:v>
                </c:pt>
                <c:pt idx="44004">
                  <c:v>-5.0420168067226703E-3</c:v>
                </c:pt>
                <c:pt idx="44005">
                  <c:v>-5.0420168067226703E-3</c:v>
                </c:pt>
                <c:pt idx="44006">
                  <c:v>-5.0420168067226703E-3</c:v>
                </c:pt>
                <c:pt idx="44007">
                  <c:v>-5.0420168067226703E-3</c:v>
                </c:pt>
                <c:pt idx="44008">
                  <c:v>-5.0420168067226703E-3</c:v>
                </c:pt>
                <c:pt idx="44009">
                  <c:v>-5.0420168067226703E-3</c:v>
                </c:pt>
                <c:pt idx="44010">
                  <c:v>-5.0420168067226703E-3</c:v>
                </c:pt>
                <c:pt idx="44011">
                  <c:v>-5.0420168067226703E-3</c:v>
                </c:pt>
                <c:pt idx="44012">
                  <c:v>-5.0420168067226703E-3</c:v>
                </c:pt>
                <c:pt idx="44013">
                  <c:v>-5.0420168067226703E-3</c:v>
                </c:pt>
                <c:pt idx="44014">
                  <c:v>-5.0420168067226703E-3</c:v>
                </c:pt>
                <c:pt idx="44015">
                  <c:v>-5.0420168067226703E-3</c:v>
                </c:pt>
                <c:pt idx="44016">
                  <c:v>-5.0420168067226703E-3</c:v>
                </c:pt>
                <c:pt idx="44017">
                  <c:v>-5.0420168067226703E-3</c:v>
                </c:pt>
                <c:pt idx="44018">
                  <c:v>-5.0420168067226703E-3</c:v>
                </c:pt>
                <c:pt idx="44019">
                  <c:v>-5.0420168067226703E-3</c:v>
                </c:pt>
                <c:pt idx="44020">
                  <c:v>-5.0420168067226703E-3</c:v>
                </c:pt>
                <c:pt idx="44021">
                  <c:v>-5.0420168067226703E-3</c:v>
                </c:pt>
                <c:pt idx="44022">
                  <c:v>-5.8823529411764497E-3</c:v>
                </c:pt>
                <c:pt idx="44023">
                  <c:v>-5.8823529411764497E-3</c:v>
                </c:pt>
                <c:pt idx="44024">
                  <c:v>-5.8823529411764497E-3</c:v>
                </c:pt>
                <c:pt idx="44025">
                  <c:v>-5.8823529411764497E-3</c:v>
                </c:pt>
                <c:pt idx="44026">
                  <c:v>-5.8823529411764497E-3</c:v>
                </c:pt>
                <c:pt idx="44027">
                  <c:v>-5.8823529411764497E-3</c:v>
                </c:pt>
                <c:pt idx="44028">
                  <c:v>-5.8823529411764497E-3</c:v>
                </c:pt>
                <c:pt idx="44029">
                  <c:v>-5.8823529411764497E-3</c:v>
                </c:pt>
                <c:pt idx="44030">
                  <c:v>-5.8823529411764497E-3</c:v>
                </c:pt>
                <c:pt idx="44031">
                  <c:v>-5.8823529411764497E-3</c:v>
                </c:pt>
                <c:pt idx="44032">
                  <c:v>-5.8823529411764497E-3</c:v>
                </c:pt>
                <c:pt idx="44033">
                  <c:v>-5.8823529411764497E-3</c:v>
                </c:pt>
                <c:pt idx="44034">
                  <c:v>-5.8823529411764497E-3</c:v>
                </c:pt>
                <c:pt idx="44035">
                  <c:v>-5.8823529411764497E-3</c:v>
                </c:pt>
                <c:pt idx="44036">
                  <c:v>-5.8823529411764497E-3</c:v>
                </c:pt>
                <c:pt idx="44037">
                  <c:v>-5.8823529411764497E-3</c:v>
                </c:pt>
                <c:pt idx="44038">
                  <c:v>-5.8823529411764497E-3</c:v>
                </c:pt>
                <c:pt idx="44039">
                  <c:v>-5.8823529411764497E-3</c:v>
                </c:pt>
                <c:pt idx="44040">
                  <c:v>-5.8823529411764497E-3</c:v>
                </c:pt>
                <c:pt idx="44041">
                  <c:v>-5.8823529411764497E-3</c:v>
                </c:pt>
                <c:pt idx="44042">
                  <c:v>-5.8823529411764497E-3</c:v>
                </c:pt>
                <c:pt idx="44043">
                  <c:v>-5.8823529411764497E-3</c:v>
                </c:pt>
                <c:pt idx="44044">
                  <c:v>-5.8823529411764497E-3</c:v>
                </c:pt>
                <c:pt idx="44045">
                  <c:v>-6.7226890756302204E-3</c:v>
                </c:pt>
                <c:pt idx="44046">
                  <c:v>-6.7226890756302204E-3</c:v>
                </c:pt>
                <c:pt idx="44047">
                  <c:v>-6.7226890756302204E-3</c:v>
                </c:pt>
                <c:pt idx="44048">
                  <c:v>-6.7226890756302204E-3</c:v>
                </c:pt>
                <c:pt idx="44049">
                  <c:v>-6.7226890756302204E-3</c:v>
                </c:pt>
                <c:pt idx="44050">
                  <c:v>-6.7226890756302204E-3</c:v>
                </c:pt>
                <c:pt idx="44051">
                  <c:v>-6.7226890756302204E-3</c:v>
                </c:pt>
                <c:pt idx="44052">
                  <c:v>-6.7226890756302204E-3</c:v>
                </c:pt>
                <c:pt idx="44053">
                  <c:v>-6.7226890756302204E-3</c:v>
                </c:pt>
                <c:pt idx="44054">
                  <c:v>-6.7226890756302204E-3</c:v>
                </c:pt>
                <c:pt idx="44055">
                  <c:v>-6.7226890756302204E-3</c:v>
                </c:pt>
                <c:pt idx="44056">
                  <c:v>-6.7226890756302204E-3</c:v>
                </c:pt>
                <c:pt idx="44057">
                  <c:v>-6.7226890756302204E-3</c:v>
                </c:pt>
                <c:pt idx="44058">
                  <c:v>-6.7226890756302204E-3</c:v>
                </c:pt>
                <c:pt idx="44059">
                  <c:v>-6.7226890756302204E-3</c:v>
                </c:pt>
                <c:pt idx="44060">
                  <c:v>-6.7226890756302204E-3</c:v>
                </c:pt>
                <c:pt idx="44061">
                  <c:v>-6.7226890756302204E-3</c:v>
                </c:pt>
                <c:pt idx="44062">
                  <c:v>-6.7226890756302204E-3</c:v>
                </c:pt>
                <c:pt idx="44063">
                  <c:v>-6.7226890756302204E-3</c:v>
                </c:pt>
                <c:pt idx="44064">
                  <c:v>-6.7226890756302204E-3</c:v>
                </c:pt>
                <c:pt idx="44065">
                  <c:v>-6.7226890756302204E-3</c:v>
                </c:pt>
                <c:pt idx="44066">
                  <c:v>-6.7226890756302204E-3</c:v>
                </c:pt>
                <c:pt idx="44067">
                  <c:v>-6.7226890756302204E-3</c:v>
                </c:pt>
                <c:pt idx="44068">
                  <c:v>-6.7226890756302204E-3</c:v>
                </c:pt>
                <c:pt idx="44069">
                  <c:v>-6.7226890756302204E-3</c:v>
                </c:pt>
                <c:pt idx="44070">
                  <c:v>-6.7226890756302204E-3</c:v>
                </c:pt>
                <c:pt idx="44071">
                  <c:v>-6.7226890756302204E-3</c:v>
                </c:pt>
                <c:pt idx="44072">
                  <c:v>-6.7226890756302204E-3</c:v>
                </c:pt>
                <c:pt idx="44073">
                  <c:v>-6.7226890756302204E-3</c:v>
                </c:pt>
                <c:pt idx="44074">
                  <c:v>-6.7226890756302204E-3</c:v>
                </c:pt>
                <c:pt idx="44075">
                  <c:v>-6.7226890756302204E-3</c:v>
                </c:pt>
                <c:pt idx="44076">
                  <c:v>-6.7226890756302204E-3</c:v>
                </c:pt>
                <c:pt idx="44077">
                  <c:v>-6.7226890756302204E-3</c:v>
                </c:pt>
                <c:pt idx="44078">
                  <c:v>-6.7226890756302204E-3</c:v>
                </c:pt>
                <c:pt idx="44079">
                  <c:v>-6.7226890756302204E-3</c:v>
                </c:pt>
                <c:pt idx="44080">
                  <c:v>-6.7226890756302204E-3</c:v>
                </c:pt>
                <c:pt idx="44081">
                  <c:v>-6.7226890756302204E-3</c:v>
                </c:pt>
                <c:pt idx="44082">
                  <c:v>-6.7226890756302204E-3</c:v>
                </c:pt>
                <c:pt idx="44083">
                  <c:v>-6.7226890756302204E-3</c:v>
                </c:pt>
                <c:pt idx="44084">
                  <c:v>-6.7226890756302204E-3</c:v>
                </c:pt>
                <c:pt idx="44085">
                  <c:v>-6.7226890756302204E-3</c:v>
                </c:pt>
                <c:pt idx="44086">
                  <c:v>-6.7226890756302204E-3</c:v>
                </c:pt>
                <c:pt idx="44087">
                  <c:v>-6.7226890756302204E-3</c:v>
                </c:pt>
                <c:pt idx="44088">
                  <c:v>-6.7226890756302204E-3</c:v>
                </c:pt>
                <c:pt idx="44089">
                  <c:v>-6.7226890756302204E-3</c:v>
                </c:pt>
                <c:pt idx="44090">
                  <c:v>-6.7226890756302204E-3</c:v>
                </c:pt>
                <c:pt idx="44091">
                  <c:v>-6.7226890756302204E-3</c:v>
                </c:pt>
                <c:pt idx="44092">
                  <c:v>-6.7226890756302204E-3</c:v>
                </c:pt>
                <c:pt idx="44093">
                  <c:v>-6.7226890756302204E-3</c:v>
                </c:pt>
                <c:pt idx="44094">
                  <c:v>-6.7226890756302204E-3</c:v>
                </c:pt>
                <c:pt idx="44095">
                  <c:v>-6.7226890756302204E-3</c:v>
                </c:pt>
                <c:pt idx="44096">
                  <c:v>-6.7226890756302204E-3</c:v>
                </c:pt>
                <c:pt idx="44097">
                  <c:v>-6.7226890756302204E-3</c:v>
                </c:pt>
                <c:pt idx="44098">
                  <c:v>-6.7226890756302204E-3</c:v>
                </c:pt>
                <c:pt idx="44099">
                  <c:v>-6.7226890756302204E-3</c:v>
                </c:pt>
                <c:pt idx="44100">
                  <c:v>-6.7226890756302204E-3</c:v>
                </c:pt>
                <c:pt idx="44101">
                  <c:v>-5.8823529411764497E-3</c:v>
                </c:pt>
                <c:pt idx="44102">
                  <c:v>-5.8823529411764497E-3</c:v>
                </c:pt>
                <c:pt idx="44103">
                  <c:v>-5.8823529411764497E-3</c:v>
                </c:pt>
                <c:pt idx="44104">
                  <c:v>-5.8823529411764497E-3</c:v>
                </c:pt>
                <c:pt idx="44105">
                  <c:v>-5.8823529411764497E-3</c:v>
                </c:pt>
                <c:pt idx="44106">
                  <c:v>-5.8823529411764497E-3</c:v>
                </c:pt>
                <c:pt idx="44107">
                  <c:v>-5.8823529411764497E-3</c:v>
                </c:pt>
                <c:pt idx="44108">
                  <c:v>-5.8823529411764497E-3</c:v>
                </c:pt>
                <c:pt idx="44109">
                  <c:v>-5.8823529411764497E-3</c:v>
                </c:pt>
                <c:pt idx="44110">
                  <c:v>-5.8823529411764497E-3</c:v>
                </c:pt>
                <c:pt idx="44111">
                  <c:v>-5.8823529411764497E-3</c:v>
                </c:pt>
                <c:pt idx="44112">
                  <c:v>-5.8823529411764497E-3</c:v>
                </c:pt>
                <c:pt idx="44113">
                  <c:v>-5.8823529411764497E-3</c:v>
                </c:pt>
                <c:pt idx="44114">
                  <c:v>-5.8823529411764497E-3</c:v>
                </c:pt>
                <c:pt idx="44115">
                  <c:v>-5.8823529411764497E-3</c:v>
                </c:pt>
                <c:pt idx="44116">
                  <c:v>-5.8823529411764497E-3</c:v>
                </c:pt>
                <c:pt idx="44117">
                  <c:v>-5.8823529411764497E-3</c:v>
                </c:pt>
                <c:pt idx="44118">
                  <c:v>-5.8823529411764497E-3</c:v>
                </c:pt>
                <c:pt idx="44119">
                  <c:v>-5.8823529411764497E-3</c:v>
                </c:pt>
                <c:pt idx="44120">
                  <c:v>-5.8823529411764497E-3</c:v>
                </c:pt>
                <c:pt idx="44121">
                  <c:v>-5.8823529411764497E-3</c:v>
                </c:pt>
                <c:pt idx="44122">
                  <c:v>-5.8823529411764497E-3</c:v>
                </c:pt>
                <c:pt idx="44123">
                  <c:v>-5.8823529411764497E-3</c:v>
                </c:pt>
                <c:pt idx="44124">
                  <c:v>-5.8823529411764497E-3</c:v>
                </c:pt>
                <c:pt idx="44125">
                  <c:v>-5.8823529411764497E-3</c:v>
                </c:pt>
                <c:pt idx="44126">
                  <c:v>-5.8823529411764497E-3</c:v>
                </c:pt>
                <c:pt idx="44127">
                  <c:v>-5.8823529411764497E-3</c:v>
                </c:pt>
                <c:pt idx="44128">
                  <c:v>-5.8823529411764497E-3</c:v>
                </c:pt>
                <c:pt idx="44129">
                  <c:v>-5.8823529411764497E-3</c:v>
                </c:pt>
                <c:pt idx="44130">
                  <c:v>-5.8823529411764497E-3</c:v>
                </c:pt>
                <c:pt idx="44131">
                  <c:v>-5.8823529411764497E-3</c:v>
                </c:pt>
                <c:pt idx="44132">
                  <c:v>-5.8823529411764497E-3</c:v>
                </c:pt>
                <c:pt idx="44133">
                  <c:v>-5.8823529411764497E-3</c:v>
                </c:pt>
                <c:pt idx="44134">
                  <c:v>-5.8823529411764497E-3</c:v>
                </c:pt>
                <c:pt idx="44135">
                  <c:v>-5.8823529411764497E-3</c:v>
                </c:pt>
                <c:pt idx="44136">
                  <c:v>-5.8823529411764497E-3</c:v>
                </c:pt>
                <c:pt idx="44137">
                  <c:v>-5.8823529411764497E-3</c:v>
                </c:pt>
                <c:pt idx="44138">
                  <c:v>-5.8823529411764497E-3</c:v>
                </c:pt>
                <c:pt idx="44139">
                  <c:v>-5.8823529411764497E-3</c:v>
                </c:pt>
                <c:pt idx="44140">
                  <c:v>-5.8823529411764497E-3</c:v>
                </c:pt>
                <c:pt idx="44141">
                  <c:v>-5.8823529411764497E-3</c:v>
                </c:pt>
                <c:pt idx="44142">
                  <c:v>-5.8823529411764497E-3</c:v>
                </c:pt>
                <c:pt idx="44143">
                  <c:v>-5.8823529411764497E-3</c:v>
                </c:pt>
                <c:pt idx="44144">
                  <c:v>-5.8823529411764497E-3</c:v>
                </c:pt>
                <c:pt idx="44145">
                  <c:v>-5.8823529411764497E-3</c:v>
                </c:pt>
                <c:pt idx="44146">
                  <c:v>-5.8823529411764497E-3</c:v>
                </c:pt>
                <c:pt idx="44147">
                  <c:v>-5.8823529411764497E-3</c:v>
                </c:pt>
                <c:pt idx="44148">
                  <c:v>-5.8823529411764497E-3</c:v>
                </c:pt>
                <c:pt idx="44149">
                  <c:v>-5.8823529411764497E-3</c:v>
                </c:pt>
                <c:pt idx="44150">
                  <c:v>-5.8823529411764497E-3</c:v>
                </c:pt>
                <c:pt idx="44151">
                  <c:v>-5.8823529411764497E-3</c:v>
                </c:pt>
                <c:pt idx="44152">
                  <c:v>-5.8823529411764497E-3</c:v>
                </c:pt>
                <c:pt idx="44153">
                  <c:v>-5.8823529411764497E-3</c:v>
                </c:pt>
                <c:pt idx="44154">
                  <c:v>-5.8823529411764497E-3</c:v>
                </c:pt>
                <c:pt idx="44155">
                  <c:v>-5.8823529411764497E-3</c:v>
                </c:pt>
                <c:pt idx="44156">
                  <c:v>-5.8823529411764497E-3</c:v>
                </c:pt>
                <c:pt idx="44157">
                  <c:v>-5.8823529411764497E-3</c:v>
                </c:pt>
                <c:pt idx="44158">
                  <c:v>-5.8823529411764497E-3</c:v>
                </c:pt>
                <c:pt idx="44159">
                  <c:v>-5.8823529411764497E-3</c:v>
                </c:pt>
                <c:pt idx="44160">
                  <c:v>-5.8823529411764497E-3</c:v>
                </c:pt>
                <c:pt idx="44161">
                  <c:v>-5.8823529411764497E-3</c:v>
                </c:pt>
                <c:pt idx="44162">
                  <c:v>-5.8823529411764497E-3</c:v>
                </c:pt>
                <c:pt idx="44163">
                  <c:v>-5.8823529411764497E-3</c:v>
                </c:pt>
                <c:pt idx="44164">
                  <c:v>-5.8823529411764497E-3</c:v>
                </c:pt>
                <c:pt idx="44165">
                  <c:v>-5.8823529411764497E-3</c:v>
                </c:pt>
                <c:pt idx="44166">
                  <c:v>-5.8823529411764497E-3</c:v>
                </c:pt>
                <c:pt idx="44167">
                  <c:v>-5.8823529411764497E-3</c:v>
                </c:pt>
                <c:pt idx="44168">
                  <c:v>-5.8823529411764497E-3</c:v>
                </c:pt>
                <c:pt idx="44169">
                  <c:v>-5.8823529411764497E-3</c:v>
                </c:pt>
                <c:pt idx="44170">
                  <c:v>-5.8823529411764497E-3</c:v>
                </c:pt>
                <c:pt idx="44171">
                  <c:v>-5.8823529411764497E-3</c:v>
                </c:pt>
                <c:pt idx="44172">
                  <c:v>-5.8823529411764497E-3</c:v>
                </c:pt>
                <c:pt idx="44173">
                  <c:v>-5.8823529411764497E-3</c:v>
                </c:pt>
                <c:pt idx="44174">
                  <c:v>-5.8823529411764497E-3</c:v>
                </c:pt>
                <c:pt idx="44175">
                  <c:v>-5.8823529411764497E-3</c:v>
                </c:pt>
                <c:pt idx="44176">
                  <c:v>-5.8823529411764497E-3</c:v>
                </c:pt>
                <c:pt idx="44177">
                  <c:v>-5.8823529411764497E-3</c:v>
                </c:pt>
                <c:pt idx="44178">
                  <c:v>-5.8823529411764497E-3</c:v>
                </c:pt>
                <c:pt idx="44179">
                  <c:v>-5.8823529411764497E-3</c:v>
                </c:pt>
                <c:pt idx="44180">
                  <c:v>-5.8823529411764497E-3</c:v>
                </c:pt>
                <c:pt idx="44181">
                  <c:v>-5.8823529411764497E-3</c:v>
                </c:pt>
                <c:pt idx="44182">
                  <c:v>-5.8823529411764497E-3</c:v>
                </c:pt>
                <c:pt idx="44183">
                  <c:v>-5.8823529411764497E-3</c:v>
                </c:pt>
                <c:pt idx="44184">
                  <c:v>-5.8823529411764497E-3</c:v>
                </c:pt>
                <c:pt idx="44185">
                  <c:v>-5.8823529411764497E-3</c:v>
                </c:pt>
                <c:pt idx="44186">
                  <c:v>-5.8823529411764497E-3</c:v>
                </c:pt>
                <c:pt idx="44187">
                  <c:v>-5.8823529411764497E-3</c:v>
                </c:pt>
                <c:pt idx="44188">
                  <c:v>-5.8823529411764497E-3</c:v>
                </c:pt>
                <c:pt idx="44189">
                  <c:v>-5.8823529411764497E-3</c:v>
                </c:pt>
                <c:pt idx="44190">
                  <c:v>-5.8823529411764497E-3</c:v>
                </c:pt>
                <c:pt idx="44191">
                  <c:v>-5.8823529411764497E-3</c:v>
                </c:pt>
                <c:pt idx="44192">
                  <c:v>-5.8823529411764497E-3</c:v>
                </c:pt>
                <c:pt idx="44193">
                  <c:v>-5.8823529411764497E-3</c:v>
                </c:pt>
                <c:pt idx="44194">
                  <c:v>-5.8823529411764497E-3</c:v>
                </c:pt>
                <c:pt idx="44195">
                  <c:v>-5.8823529411764497E-3</c:v>
                </c:pt>
                <c:pt idx="44196">
                  <c:v>-5.8823529411764497E-3</c:v>
                </c:pt>
                <c:pt idx="44197">
                  <c:v>-5.8823529411764497E-3</c:v>
                </c:pt>
                <c:pt idx="44198">
                  <c:v>-5.8823529411764497E-3</c:v>
                </c:pt>
                <c:pt idx="44199">
                  <c:v>-5.8823529411764497E-3</c:v>
                </c:pt>
                <c:pt idx="44200">
                  <c:v>-5.8823529411764497E-3</c:v>
                </c:pt>
                <c:pt idx="44201">
                  <c:v>-5.8823529411764497E-3</c:v>
                </c:pt>
                <c:pt idx="44202">
                  <c:v>-5.8823529411764497E-3</c:v>
                </c:pt>
                <c:pt idx="44203">
                  <c:v>-5.8823529411764497E-3</c:v>
                </c:pt>
                <c:pt idx="44204">
                  <c:v>-5.8823529411764497E-3</c:v>
                </c:pt>
                <c:pt idx="44205">
                  <c:v>-5.8823529411764497E-3</c:v>
                </c:pt>
                <c:pt idx="44206">
                  <c:v>-5.8823529411764497E-3</c:v>
                </c:pt>
                <c:pt idx="44207">
                  <c:v>-5.8823529411764497E-3</c:v>
                </c:pt>
                <c:pt idx="44208">
                  <c:v>-5.8823529411764497E-3</c:v>
                </c:pt>
                <c:pt idx="44209">
                  <c:v>-5.8823529411764497E-3</c:v>
                </c:pt>
                <c:pt idx="44210">
                  <c:v>-5.8823529411764497E-3</c:v>
                </c:pt>
                <c:pt idx="44211">
                  <c:v>-5.8823529411764497E-3</c:v>
                </c:pt>
                <c:pt idx="44212">
                  <c:v>-5.8823529411764497E-3</c:v>
                </c:pt>
                <c:pt idx="44213">
                  <c:v>-5.8823529411764497E-3</c:v>
                </c:pt>
                <c:pt idx="44214">
                  <c:v>-5.8823529411764497E-3</c:v>
                </c:pt>
                <c:pt idx="44215">
                  <c:v>-5.8823529411764497E-3</c:v>
                </c:pt>
                <c:pt idx="44216">
                  <c:v>-5.8823529411764497E-3</c:v>
                </c:pt>
                <c:pt idx="44217">
                  <c:v>-5.8823529411764497E-3</c:v>
                </c:pt>
                <c:pt idx="44218">
                  <c:v>-5.8823529411764497E-3</c:v>
                </c:pt>
                <c:pt idx="44219">
                  <c:v>-5.8823529411764497E-3</c:v>
                </c:pt>
                <c:pt idx="44220">
                  <c:v>-5.8823529411764497E-3</c:v>
                </c:pt>
                <c:pt idx="44221">
                  <c:v>-5.8823529411764497E-3</c:v>
                </c:pt>
                <c:pt idx="44222">
                  <c:v>-5.8823529411764497E-3</c:v>
                </c:pt>
                <c:pt idx="44223">
                  <c:v>-5.8823529411764497E-3</c:v>
                </c:pt>
                <c:pt idx="44224">
                  <c:v>-5.8823529411764497E-3</c:v>
                </c:pt>
                <c:pt idx="44225">
                  <c:v>-5.8823529411764497E-3</c:v>
                </c:pt>
                <c:pt idx="44226">
                  <c:v>-5.8823529411764497E-3</c:v>
                </c:pt>
                <c:pt idx="44227">
                  <c:v>-5.8823529411764497E-3</c:v>
                </c:pt>
                <c:pt idx="44228">
                  <c:v>-5.8823529411764497E-3</c:v>
                </c:pt>
                <c:pt idx="44229">
                  <c:v>-5.8823529411764497E-3</c:v>
                </c:pt>
                <c:pt idx="44230">
                  <c:v>-5.8823529411764497E-3</c:v>
                </c:pt>
                <c:pt idx="44231">
                  <c:v>-5.8823529411764497E-3</c:v>
                </c:pt>
                <c:pt idx="44232">
                  <c:v>-5.8823529411764497E-3</c:v>
                </c:pt>
                <c:pt idx="44233">
                  <c:v>-5.8823529411764497E-3</c:v>
                </c:pt>
                <c:pt idx="44234">
                  <c:v>-5.8823529411764497E-3</c:v>
                </c:pt>
                <c:pt idx="44235">
                  <c:v>-5.8823529411764497E-3</c:v>
                </c:pt>
                <c:pt idx="44236">
                  <c:v>-5.8823529411764497E-3</c:v>
                </c:pt>
                <c:pt idx="44237">
                  <c:v>-5.8823529411764497E-3</c:v>
                </c:pt>
                <c:pt idx="44238">
                  <c:v>-5.8823529411764497E-3</c:v>
                </c:pt>
                <c:pt idx="44239">
                  <c:v>-5.8823529411764497E-3</c:v>
                </c:pt>
                <c:pt idx="44240">
                  <c:v>-5.8823529411764497E-3</c:v>
                </c:pt>
                <c:pt idx="44241">
                  <c:v>-5.8823529411764497E-3</c:v>
                </c:pt>
                <c:pt idx="44242">
                  <c:v>-5.8823529411764497E-3</c:v>
                </c:pt>
                <c:pt idx="44243">
                  <c:v>-5.8823529411764497E-3</c:v>
                </c:pt>
                <c:pt idx="44244">
                  <c:v>-5.8823529411764497E-3</c:v>
                </c:pt>
                <c:pt idx="44245">
                  <c:v>-5.8823529411764497E-3</c:v>
                </c:pt>
                <c:pt idx="44246">
                  <c:v>-5.8823529411764497E-3</c:v>
                </c:pt>
                <c:pt idx="44247">
                  <c:v>-5.8823529411764497E-3</c:v>
                </c:pt>
                <c:pt idx="44248">
                  <c:v>-6.7226890756302204E-3</c:v>
                </c:pt>
                <c:pt idx="44249">
                  <c:v>-6.7226890756302204E-3</c:v>
                </c:pt>
                <c:pt idx="44250">
                  <c:v>-6.7226890756302204E-3</c:v>
                </c:pt>
                <c:pt idx="44251">
                  <c:v>-6.7226890756302204E-3</c:v>
                </c:pt>
                <c:pt idx="44252">
                  <c:v>-6.7226890756302204E-3</c:v>
                </c:pt>
                <c:pt idx="44253">
                  <c:v>-6.7226890756302204E-3</c:v>
                </c:pt>
                <c:pt idx="44254">
                  <c:v>-6.7226890756302204E-3</c:v>
                </c:pt>
                <c:pt idx="44255">
                  <c:v>-6.7226890756302204E-3</c:v>
                </c:pt>
                <c:pt idx="44256">
                  <c:v>-6.7226890756302204E-3</c:v>
                </c:pt>
                <c:pt idx="44257">
                  <c:v>-6.7226890756302204E-3</c:v>
                </c:pt>
                <c:pt idx="44258">
                  <c:v>-6.7226890756302204E-3</c:v>
                </c:pt>
                <c:pt idx="44259">
                  <c:v>-6.7226890756302204E-3</c:v>
                </c:pt>
                <c:pt idx="44260">
                  <c:v>-6.7226890756302204E-3</c:v>
                </c:pt>
                <c:pt idx="44261">
                  <c:v>-6.7226890756302204E-3</c:v>
                </c:pt>
                <c:pt idx="44262">
                  <c:v>-6.7226890756302204E-3</c:v>
                </c:pt>
                <c:pt idx="44263">
                  <c:v>-6.7226890756302204E-3</c:v>
                </c:pt>
                <c:pt idx="44264">
                  <c:v>-6.7226890756302204E-3</c:v>
                </c:pt>
                <c:pt idx="44265">
                  <c:v>-6.7226890756302204E-3</c:v>
                </c:pt>
                <c:pt idx="44266">
                  <c:v>-6.7226890756302204E-3</c:v>
                </c:pt>
                <c:pt idx="44267">
                  <c:v>-6.7226890756302204E-3</c:v>
                </c:pt>
                <c:pt idx="44268">
                  <c:v>-6.7226890756302204E-3</c:v>
                </c:pt>
                <c:pt idx="44269">
                  <c:v>-6.7226890756302204E-3</c:v>
                </c:pt>
                <c:pt idx="44270">
                  <c:v>-6.7226890756302204E-3</c:v>
                </c:pt>
                <c:pt idx="44271">
                  <c:v>-6.7226890756302204E-3</c:v>
                </c:pt>
                <c:pt idx="44272">
                  <c:v>-6.7226890756302204E-3</c:v>
                </c:pt>
                <c:pt idx="44273">
                  <c:v>-6.7226890756302204E-3</c:v>
                </c:pt>
                <c:pt idx="44274">
                  <c:v>-6.7226890756302204E-3</c:v>
                </c:pt>
                <c:pt idx="44275">
                  <c:v>-6.7226890756302204E-3</c:v>
                </c:pt>
                <c:pt idx="44276">
                  <c:v>-6.7226890756302204E-3</c:v>
                </c:pt>
                <c:pt idx="44277">
                  <c:v>-6.7226890756302204E-3</c:v>
                </c:pt>
                <c:pt idx="44278">
                  <c:v>-6.7226890756302204E-3</c:v>
                </c:pt>
                <c:pt idx="44279">
                  <c:v>-6.7226890756302204E-3</c:v>
                </c:pt>
                <c:pt idx="44280">
                  <c:v>-6.7226890756302204E-3</c:v>
                </c:pt>
                <c:pt idx="44281">
                  <c:v>-6.7226890756302204E-3</c:v>
                </c:pt>
                <c:pt idx="44282">
                  <c:v>-6.7226890756302204E-3</c:v>
                </c:pt>
                <c:pt idx="44283">
                  <c:v>-6.7226890756302204E-3</c:v>
                </c:pt>
                <c:pt idx="44284">
                  <c:v>-6.7226890756302204E-3</c:v>
                </c:pt>
                <c:pt idx="44285">
                  <c:v>-6.7226890756302204E-3</c:v>
                </c:pt>
                <c:pt idx="44286">
                  <c:v>-6.7226890756302204E-3</c:v>
                </c:pt>
                <c:pt idx="44287">
                  <c:v>-6.7226890756302204E-3</c:v>
                </c:pt>
                <c:pt idx="44288">
                  <c:v>-6.7226890756302204E-3</c:v>
                </c:pt>
                <c:pt idx="44289">
                  <c:v>-6.7226890756302204E-3</c:v>
                </c:pt>
                <c:pt idx="44290">
                  <c:v>-6.7226890756302204E-3</c:v>
                </c:pt>
                <c:pt idx="44291">
                  <c:v>-6.7226890756302204E-3</c:v>
                </c:pt>
                <c:pt idx="44292">
                  <c:v>-6.7226890756302204E-3</c:v>
                </c:pt>
                <c:pt idx="44293">
                  <c:v>-6.7226890756302204E-3</c:v>
                </c:pt>
                <c:pt idx="44294">
                  <c:v>-6.7226890756302204E-3</c:v>
                </c:pt>
                <c:pt idx="44295">
                  <c:v>-6.7226890756302204E-3</c:v>
                </c:pt>
                <c:pt idx="44296">
                  <c:v>-6.7226890756302204E-3</c:v>
                </c:pt>
                <c:pt idx="44297">
                  <c:v>-6.7226890756302204E-3</c:v>
                </c:pt>
                <c:pt idx="44298">
                  <c:v>-6.7226890756302204E-3</c:v>
                </c:pt>
                <c:pt idx="44299">
                  <c:v>-6.7226890756302204E-3</c:v>
                </c:pt>
                <c:pt idx="44300">
                  <c:v>-6.7226890756302204E-3</c:v>
                </c:pt>
                <c:pt idx="44301">
                  <c:v>-6.7226890756302204E-3</c:v>
                </c:pt>
                <c:pt idx="44302">
                  <c:v>-6.7226890756302204E-3</c:v>
                </c:pt>
                <c:pt idx="44303">
                  <c:v>-6.7226890756302204E-3</c:v>
                </c:pt>
                <c:pt idx="44304">
                  <c:v>-6.7226890756302204E-3</c:v>
                </c:pt>
                <c:pt idx="44305">
                  <c:v>-6.7226890756302204E-3</c:v>
                </c:pt>
                <c:pt idx="44306">
                  <c:v>-6.7226890756302204E-3</c:v>
                </c:pt>
                <c:pt idx="44307">
                  <c:v>-6.7226890756302204E-3</c:v>
                </c:pt>
                <c:pt idx="44308">
                  <c:v>-6.7226890756302204E-3</c:v>
                </c:pt>
                <c:pt idx="44309">
                  <c:v>-6.7226890756302204E-3</c:v>
                </c:pt>
                <c:pt idx="44310">
                  <c:v>-6.7226890756302204E-3</c:v>
                </c:pt>
                <c:pt idx="44311">
                  <c:v>-6.7226890756302204E-3</c:v>
                </c:pt>
                <c:pt idx="44312">
                  <c:v>-6.7226890756302204E-3</c:v>
                </c:pt>
                <c:pt idx="44313">
                  <c:v>-6.7226890756302204E-3</c:v>
                </c:pt>
                <c:pt idx="44314">
                  <c:v>-6.7226890756302204E-3</c:v>
                </c:pt>
                <c:pt idx="44315">
                  <c:v>-6.7226890756302204E-3</c:v>
                </c:pt>
                <c:pt idx="44316">
                  <c:v>-6.7226890756302204E-3</c:v>
                </c:pt>
                <c:pt idx="44317">
                  <c:v>-6.7226890756302204E-3</c:v>
                </c:pt>
                <c:pt idx="44318">
                  <c:v>-6.7226890756302204E-3</c:v>
                </c:pt>
                <c:pt idx="44319">
                  <c:v>-6.7226890756302204E-3</c:v>
                </c:pt>
                <c:pt idx="44320">
                  <c:v>-6.7226890756302204E-3</c:v>
                </c:pt>
                <c:pt idx="44321">
                  <c:v>-6.7226890756302204E-3</c:v>
                </c:pt>
                <c:pt idx="44322">
                  <c:v>-6.7226890756302204E-3</c:v>
                </c:pt>
                <c:pt idx="44323">
                  <c:v>-6.7226890756302204E-3</c:v>
                </c:pt>
                <c:pt idx="44324">
                  <c:v>-6.7226890756302204E-3</c:v>
                </c:pt>
                <c:pt idx="44325">
                  <c:v>-6.7226890756302204E-3</c:v>
                </c:pt>
                <c:pt idx="44326">
                  <c:v>-6.7226890756302204E-3</c:v>
                </c:pt>
                <c:pt idx="44327">
                  <c:v>-6.7226890756302204E-3</c:v>
                </c:pt>
                <c:pt idx="44328">
                  <c:v>-6.7226890756302204E-3</c:v>
                </c:pt>
                <c:pt idx="44329">
                  <c:v>-6.7226890756302204E-3</c:v>
                </c:pt>
                <c:pt idx="44330">
                  <c:v>-6.7226890756302204E-3</c:v>
                </c:pt>
                <c:pt idx="44331">
                  <c:v>-6.7226890756302204E-3</c:v>
                </c:pt>
                <c:pt idx="44332">
                  <c:v>-6.7226890756302204E-3</c:v>
                </c:pt>
                <c:pt idx="44333">
                  <c:v>-6.7226890756302204E-3</c:v>
                </c:pt>
                <c:pt idx="44334">
                  <c:v>-6.7226890756302204E-3</c:v>
                </c:pt>
                <c:pt idx="44335">
                  <c:v>-6.7226890756302204E-3</c:v>
                </c:pt>
                <c:pt idx="44336">
                  <c:v>-6.7226890756302204E-3</c:v>
                </c:pt>
                <c:pt idx="44337">
                  <c:v>-6.7226890756302204E-3</c:v>
                </c:pt>
                <c:pt idx="44338">
                  <c:v>-6.7226890756302204E-3</c:v>
                </c:pt>
                <c:pt idx="44339">
                  <c:v>-6.7226890756302204E-3</c:v>
                </c:pt>
                <c:pt idx="44340">
                  <c:v>-6.7226890756302204E-3</c:v>
                </c:pt>
                <c:pt idx="44341">
                  <c:v>-6.7226890756302204E-3</c:v>
                </c:pt>
                <c:pt idx="44342">
                  <c:v>-6.7226890756302204E-3</c:v>
                </c:pt>
                <c:pt idx="44343">
                  <c:v>-6.7226890756302204E-3</c:v>
                </c:pt>
                <c:pt idx="44344">
                  <c:v>-6.7226890756302204E-3</c:v>
                </c:pt>
                <c:pt idx="44345">
                  <c:v>-6.7226890756302204E-3</c:v>
                </c:pt>
                <c:pt idx="44346">
                  <c:v>-6.7226890756302204E-3</c:v>
                </c:pt>
                <c:pt idx="44347">
                  <c:v>-6.7226890756302204E-3</c:v>
                </c:pt>
                <c:pt idx="44348">
                  <c:v>-6.7226890756302204E-3</c:v>
                </c:pt>
                <c:pt idx="44349">
                  <c:v>-5.8823529411764497E-3</c:v>
                </c:pt>
                <c:pt idx="44350">
                  <c:v>-5.8823529411764497E-3</c:v>
                </c:pt>
                <c:pt idx="44351">
                  <c:v>-5.8823529411764497E-3</c:v>
                </c:pt>
                <c:pt idx="44352">
                  <c:v>-5.8823529411764497E-3</c:v>
                </c:pt>
                <c:pt idx="44353">
                  <c:v>-5.8823529411764497E-3</c:v>
                </c:pt>
                <c:pt idx="44354">
                  <c:v>-5.8823529411764497E-3</c:v>
                </c:pt>
                <c:pt idx="44355">
                  <c:v>-5.8823529411764497E-3</c:v>
                </c:pt>
                <c:pt idx="44356">
                  <c:v>-5.8823529411764497E-3</c:v>
                </c:pt>
                <c:pt idx="44357">
                  <c:v>-5.8823529411764497E-3</c:v>
                </c:pt>
                <c:pt idx="44358">
                  <c:v>-5.8823529411764497E-3</c:v>
                </c:pt>
                <c:pt idx="44359">
                  <c:v>-5.8823529411764497E-3</c:v>
                </c:pt>
                <c:pt idx="44360">
                  <c:v>-5.8823529411764497E-3</c:v>
                </c:pt>
                <c:pt idx="44361">
                  <c:v>-5.8823529411764497E-3</c:v>
                </c:pt>
                <c:pt idx="44362">
                  <c:v>-5.8823529411764497E-3</c:v>
                </c:pt>
                <c:pt idx="44363">
                  <c:v>-5.8823529411764497E-3</c:v>
                </c:pt>
                <c:pt idx="44364">
                  <c:v>-5.8823529411764497E-3</c:v>
                </c:pt>
                <c:pt idx="44365">
                  <c:v>-5.8823529411764497E-3</c:v>
                </c:pt>
                <c:pt idx="44366">
                  <c:v>-5.8823529411764497E-3</c:v>
                </c:pt>
                <c:pt idx="44367">
                  <c:v>-5.8823529411764497E-3</c:v>
                </c:pt>
                <c:pt idx="44368">
                  <c:v>-5.8823529411764497E-3</c:v>
                </c:pt>
                <c:pt idx="44369">
                  <c:v>-5.8823529411764497E-3</c:v>
                </c:pt>
                <c:pt idx="44370">
                  <c:v>-5.8823529411764497E-3</c:v>
                </c:pt>
                <c:pt idx="44371">
                  <c:v>-5.8823529411764497E-3</c:v>
                </c:pt>
                <c:pt idx="44372">
                  <c:v>-5.8823529411764497E-3</c:v>
                </c:pt>
                <c:pt idx="44373">
                  <c:v>-5.8823529411764497E-3</c:v>
                </c:pt>
                <c:pt idx="44374">
                  <c:v>-5.8823529411764497E-3</c:v>
                </c:pt>
                <c:pt idx="44375">
                  <c:v>-5.8823529411764497E-3</c:v>
                </c:pt>
                <c:pt idx="44376">
                  <c:v>-5.8823529411764497E-3</c:v>
                </c:pt>
                <c:pt idx="44377">
                  <c:v>-5.8823529411764497E-3</c:v>
                </c:pt>
                <c:pt idx="44378">
                  <c:v>-5.8823529411764497E-3</c:v>
                </c:pt>
                <c:pt idx="44379">
                  <c:v>-5.8823529411764497E-3</c:v>
                </c:pt>
                <c:pt idx="44380">
                  <c:v>-5.8823529411764497E-3</c:v>
                </c:pt>
                <c:pt idx="44381">
                  <c:v>-5.8823529411764497E-3</c:v>
                </c:pt>
                <c:pt idx="44382">
                  <c:v>-5.8823529411764497E-3</c:v>
                </c:pt>
                <c:pt idx="44383">
                  <c:v>-5.8823529411764497E-3</c:v>
                </c:pt>
                <c:pt idx="44384">
                  <c:v>-5.8823529411764497E-3</c:v>
                </c:pt>
                <c:pt idx="44385">
                  <c:v>-5.8823529411764497E-3</c:v>
                </c:pt>
                <c:pt idx="44386">
                  <c:v>-5.8823529411764497E-3</c:v>
                </c:pt>
                <c:pt idx="44387">
                  <c:v>-5.8823529411764497E-3</c:v>
                </c:pt>
                <c:pt idx="44388">
                  <c:v>-5.8823529411764497E-3</c:v>
                </c:pt>
                <c:pt idx="44389">
                  <c:v>-5.8823529411764497E-3</c:v>
                </c:pt>
                <c:pt idx="44390">
                  <c:v>-5.8823529411764497E-3</c:v>
                </c:pt>
                <c:pt idx="44391">
                  <c:v>-5.0420168067226703E-3</c:v>
                </c:pt>
                <c:pt idx="44392">
                  <c:v>-5.0420168067226703E-3</c:v>
                </c:pt>
                <c:pt idx="44393">
                  <c:v>-5.0420168067226703E-3</c:v>
                </c:pt>
                <c:pt idx="44394">
                  <c:v>-5.0420168067226703E-3</c:v>
                </c:pt>
                <c:pt idx="44395">
                  <c:v>-5.0420168067226703E-3</c:v>
                </c:pt>
                <c:pt idx="44396">
                  <c:v>-5.0420168067226703E-3</c:v>
                </c:pt>
                <c:pt idx="44397">
                  <c:v>-5.0420168067226703E-3</c:v>
                </c:pt>
                <c:pt idx="44398">
                  <c:v>-5.0420168067226703E-3</c:v>
                </c:pt>
                <c:pt idx="44399">
                  <c:v>-5.0420168067226703E-3</c:v>
                </c:pt>
                <c:pt idx="44400">
                  <c:v>-5.0420168067226703E-3</c:v>
                </c:pt>
                <c:pt idx="44401">
                  <c:v>-5.0420168067226703E-3</c:v>
                </c:pt>
                <c:pt idx="44402">
                  <c:v>-5.0420168067226703E-3</c:v>
                </c:pt>
                <c:pt idx="44403">
                  <c:v>-5.0420168067226703E-3</c:v>
                </c:pt>
                <c:pt idx="44404">
                  <c:v>-5.0420168067226703E-3</c:v>
                </c:pt>
                <c:pt idx="44405">
                  <c:v>-5.0420168067226703E-3</c:v>
                </c:pt>
                <c:pt idx="44406">
                  <c:v>-5.0420168067226703E-3</c:v>
                </c:pt>
                <c:pt idx="44407">
                  <c:v>-5.0420168067226703E-3</c:v>
                </c:pt>
                <c:pt idx="44408">
                  <c:v>-5.0420168067226703E-3</c:v>
                </c:pt>
                <c:pt idx="44409">
                  <c:v>-5.0420168067226703E-3</c:v>
                </c:pt>
                <c:pt idx="44410">
                  <c:v>-5.0420168067226703E-3</c:v>
                </c:pt>
                <c:pt idx="44411">
                  <c:v>-5.0420168067226703E-3</c:v>
                </c:pt>
                <c:pt idx="44412">
                  <c:v>-5.0420168067226703E-3</c:v>
                </c:pt>
                <c:pt idx="44413">
                  <c:v>-5.0420168067226703E-3</c:v>
                </c:pt>
                <c:pt idx="44414">
                  <c:v>-5.0420168067226703E-3</c:v>
                </c:pt>
                <c:pt idx="44415">
                  <c:v>-5.0420168067226703E-3</c:v>
                </c:pt>
                <c:pt idx="44416">
                  <c:v>-5.0420168067226703E-3</c:v>
                </c:pt>
                <c:pt idx="44417">
                  <c:v>-5.0420168067226703E-3</c:v>
                </c:pt>
                <c:pt idx="44418">
                  <c:v>-5.0420168067226703E-3</c:v>
                </c:pt>
                <c:pt idx="44419">
                  <c:v>-5.0420168067226703E-3</c:v>
                </c:pt>
                <c:pt idx="44420">
                  <c:v>-5.0420168067226703E-3</c:v>
                </c:pt>
                <c:pt idx="44421">
                  <c:v>-5.0420168067226703E-3</c:v>
                </c:pt>
                <c:pt idx="44422">
                  <c:v>-5.0420168067226703E-3</c:v>
                </c:pt>
                <c:pt idx="44423">
                  <c:v>-5.0420168067226703E-3</c:v>
                </c:pt>
                <c:pt idx="44424">
                  <c:v>-5.0420168067226703E-3</c:v>
                </c:pt>
                <c:pt idx="44425">
                  <c:v>-5.0420168067226703E-3</c:v>
                </c:pt>
                <c:pt idx="44426">
                  <c:v>-5.0420168067226703E-3</c:v>
                </c:pt>
                <c:pt idx="44427">
                  <c:v>-5.0420168067226703E-3</c:v>
                </c:pt>
                <c:pt idx="44428">
                  <c:v>-5.0420168067226703E-3</c:v>
                </c:pt>
                <c:pt idx="44429">
                  <c:v>-5.0420168067226703E-3</c:v>
                </c:pt>
                <c:pt idx="44430">
                  <c:v>-5.0420168067226703E-3</c:v>
                </c:pt>
                <c:pt idx="44431">
                  <c:v>-5.0420168067226703E-3</c:v>
                </c:pt>
                <c:pt idx="44432">
                  <c:v>-5.0420168067226703E-3</c:v>
                </c:pt>
                <c:pt idx="44433">
                  <c:v>-5.0420168067226703E-3</c:v>
                </c:pt>
                <c:pt idx="44434">
                  <c:v>-5.0420168067226703E-3</c:v>
                </c:pt>
                <c:pt idx="44435">
                  <c:v>-5.0420168067226703E-3</c:v>
                </c:pt>
                <c:pt idx="44436">
                  <c:v>-5.0420168067226703E-3</c:v>
                </c:pt>
                <c:pt idx="44437">
                  <c:v>-5.0420168067226703E-3</c:v>
                </c:pt>
                <c:pt idx="44438">
                  <c:v>-5.0420168067226703E-3</c:v>
                </c:pt>
                <c:pt idx="44439">
                  <c:v>-5.0420168067226703E-3</c:v>
                </c:pt>
                <c:pt idx="44440">
                  <c:v>-5.0420168067226703E-3</c:v>
                </c:pt>
                <c:pt idx="44441">
                  <c:v>-5.0420168067226703E-3</c:v>
                </c:pt>
                <c:pt idx="44442">
                  <c:v>-5.0420168067226703E-3</c:v>
                </c:pt>
                <c:pt idx="44443">
                  <c:v>-5.0420168067226703E-3</c:v>
                </c:pt>
                <c:pt idx="44444">
                  <c:v>-5.0420168067226703E-3</c:v>
                </c:pt>
                <c:pt idx="44445">
                  <c:v>-5.0420168067226703E-3</c:v>
                </c:pt>
                <c:pt idx="44446">
                  <c:v>-5.0420168067226703E-3</c:v>
                </c:pt>
                <c:pt idx="44447">
                  <c:v>-5.0420168067226703E-3</c:v>
                </c:pt>
                <c:pt idx="44448">
                  <c:v>-5.0420168067226703E-3</c:v>
                </c:pt>
                <c:pt idx="44449">
                  <c:v>-5.0420168067226703E-3</c:v>
                </c:pt>
                <c:pt idx="44450">
                  <c:v>-5.0420168067226703E-3</c:v>
                </c:pt>
                <c:pt idx="44451">
                  <c:v>-5.0420168067226703E-3</c:v>
                </c:pt>
                <c:pt idx="44452">
                  <c:v>-5.0420168067226703E-3</c:v>
                </c:pt>
                <c:pt idx="44453">
                  <c:v>-5.0420168067226703E-3</c:v>
                </c:pt>
                <c:pt idx="44454">
                  <c:v>-5.0420168067226703E-3</c:v>
                </c:pt>
                <c:pt idx="44455">
                  <c:v>-5.0420168067226703E-3</c:v>
                </c:pt>
                <c:pt idx="44456">
                  <c:v>-5.0420168067226703E-3</c:v>
                </c:pt>
                <c:pt idx="44457">
                  <c:v>-5.0420168067226703E-3</c:v>
                </c:pt>
                <c:pt idx="44458">
                  <c:v>-5.0420168067226703E-3</c:v>
                </c:pt>
                <c:pt idx="44459">
                  <c:v>-5.0420168067226703E-3</c:v>
                </c:pt>
                <c:pt idx="44460">
                  <c:v>-5.0420168067226703E-3</c:v>
                </c:pt>
                <c:pt idx="44461">
                  <c:v>-5.0420168067226703E-3</c:v>
                </c:pt>
                <c:pt idx="44462">
                  <c:v>-5.0420168067226703E-3</c:v>
                </c:pt>
                <c:pt idx="44463">
                  <c:v>-5.0420168067226703E-3</c:v>
                </c:pt>
                <c:pt idx="44464">
                  <c:v>-5.0420168067226703E-3</c:v>
                </c:pt>
                <c:pt idx="44465">
                  <c:v>-5.0420168067226703E-3</c:v>
                </c:pt>
                <c:pt idx="44466">
                  <c:v>-5.0420168067226703E-3</c:v>
                </c:pt>
                <c:pt idx="44467">
                  <c:v>-5.0420168067226703E-3</c:v>
                </c:pt>
                <c:pt idx="44468">
                  <c:v>-5.0420168067226703E-3</c:v>
                </c:pt>
                <c:pt idx="44469">
                  <c:v>-5.0420168067226703E-3</c:v>
                </c:pt>
                <c:pt idx="44470">
                  <c:v>-5.0420168067226703E-3</c:v>
                </c:pt>
                <c:pt idx="44471">
                  <c:v>-5.0420168067226703E-3</c:v>
                </c:pt>
                <c:pt idx="44472">
                  <c:v>-5.0420168067226703E-3</c:v>
                </c:pt>
                <c:pt idx="44473">
                  <c:v>-5.0420168067226703E-3</c:v>
                </c:pt>
                <c:pt idx="44474">
                  <c:v>-5.0420168067226703E-3</c:v>
                </c:pt>
                <c:pt idx="44475">
                  <c:v>-5.0420168067226703E-3</c:v>
                </c:pt>
                <c:pt idx="44476">
                  <c:v>-5.0420168067226703E-3</c:v>
                </c:pt>
                <c:pt idx="44477">
                  <c:v>-5.0420168067226703E-3</c:v>
                </c:pt>
                <c:pt idx="44478">
                  <c:v>-5.0420168067226703E-3</c:v>
                </c:pt>
                <c:pt idx="44479">
                  <c:v>-5.0420168067226703E-3</c:v>
                </c:pt>
                <c:pt idx="44480">
                  <c:v>-5.0420168067226703E-3</c:v>
                </c:pt>
                <c:pt idx="44481">
                  <c:v>-5.0420168067226703E-3</c:v>
                </c:pt>
                <c:pt idx="44482">
                  <c:v>-5.0420168067226703E-3</c:v>
                </c:pt>
                <c:pt idx="44483">
                  <c:v>-5.0420168067226703E-3</c:v>
                </c:pt>
                <c:pt idx="44484">
                  <c:v>-5.0420168067226703E-3</c:v>
                </c:pt>
                <c:pt idx="44485">
                  <c:v>-5.0420168067226703E-3</c:v>
                </c:pt>
                <c:pt idx="44486">
                  <c:v>-5.0420168067226703E-3</c:v>
                </c:pt>
                <c:pt idx="44487">
                  <c:v>-5.0420168067226703E-3</c:v>
                </c:pt>
                <c:pt idx="44488">
                  <c:v>-5.0420168067226703E-3</c:v>
                </c:pt>
                <c:pt idx="44489">
                  <c:v>-5.0420168067226703E-3</c:v>
                </c:pt>
                <c:pt idx="44490">
                  <c:v>-5.0420168067226703E-3</c:v>
                </c:pt>
                <c:pt idx="44491">
                  <c:v>-5.0420168067226703E-3</c:v>
                </c:pt>
                <c:pt idx="44492">
                  <c:v>-5.0420168067226703E-3</c:v>
                </c:pt>
                <c:pt idx="44493">
                  <c:v>-5.0420168067226703E-3</c:v>
                </c:pt>
                <c:pt idx="44494">
                  <c:v>-5.0420168067226703E-3</c:v>
                </c:pt>
                <c:pt idx="44495">
                  <c:v>-5.0420168067226703E-3</c:v>
                </c:pt>
                <c:pt idx="44496">
                  <c:v>-5.0420168067226703E-3</c:v>
                </c:pt>
                <c:pt idx="44497">
                  <c:v>-5.0420168067226703E-3</c:v>
                </c:pt>
                <c:pt idx="44498">
                  <c:v>-5.0420168067226703E-3</c:v>
                </c:pt>
                <c:pt idx="44499">
                  <c:v>-5.0420168067226703E-3</c:v>
                </c:pt>
                <c:pt idx="44500">
                  <c:v>-5.0420168067226703E-3</c:v>
                </c:pt>
                <c:pt idx="44501">
                  <c:v>-5.0420168067226703E-3</c:v>
                </c:pt>
                <c:pt idx="44502">
                  <c:v>-5.0420168067226703E-3</c:v>
                </c:pt>
                <c:pt idx="44503">
                  <c:v>-5.0420168067226703E-3</c:v>
                </c:pt>
                <c:pt idx="44504">
                  <c:v>-5.0420168067226703E-3</c:v>
                </c:pt>
                <c:pt idx="44505">
                  <c:v>-5.0420168067226703E-3</c:v>
                </c:pt>
                <c:pt idx="44506">
                  <c:v>-5.0420168067226703E-3</c:v>
                </c:pt>
                <c:pt idx="44507">
                  <c:v>-5.0420168067226703E-3</c:v>
                </c:pt>
                <c:pt idx="44508">
                  <c:v>-5.0420168067226703E-3</c:v>
                </c:pt>
                <c:pt idx="44509">
                  <c:v>-5.0420168067226703E-3</c:v>
                </c:pt>
                <c:pt idx="44510">
                  <c:v>-5.0420168067226703E-3</c:v>
                </c:pt>
                <c:pt idx="44511">
                  <c:v>-5.0420168067226703E-3</c:v>
                </c:pt>
                <c:pt idx="44512">
                  <c:v>-5.0420168067226703E-3</c:v>
                </c:pt>
                <c:pt idx="44513">
                  <c:v>-5.0420168067226703E-3</c:v>
                </c:pt>
                <c:pt idx="44514">
                  <c:v>-5.0420168067226703E-3</c:v>
                </c:pt>
                <c:pt idx="44515">
                  <c:v>-5.0420168067226703E-3</c:v>
                </c:pt>
                <c:pt idx="44516">
                  <c:v>-5.8823529411764497E-3</c:v>
                </c:pt>
                <c:pt idx="44517">
                  <c:v>-5.8823529411764497E-3</c:v>
                </c:pt>
                <c:pt idx="44518">
                  <c:v>-5.8823529411764497E-3</c:v>
                </c:pt>
                <c:pt idx="44519">
                  <c:v>-5.8823529411764497E-3</c:v>
                </c:pt>
                <c:pt idx="44520">
                  <c:v>-5.8823529411764497E-3</c:v>
                </c:pt>
                <c:pt idx="44521">
                  <c:v>-5.8823529411764497E-3</c:v>
                </c:pt>
                <c:pt idx="44522">
                  <c:v>-5.8823529411764497E-3</c:v>
                </c:pt>
                <c:pt idx="44523">
                  <c:v>-5.8823529411764497E-3</c:v>
                </c:pt>
                <c:pt idx="44524">
                  <c:v>-5.8823529411764497E-3</c:v>
                </c:pt>
                <c:pt idx="44525">
                  <c:v>-5.8823529411764497E-3</c:v>
                </c:pt>
                <c:pt idx="44526">
                  <c:v>-5.8823529411764497E-3</c:v>
                </c:pt>
                <c:pt idx="44527">
                  <c:v>-5.8823529411764497E-3</c:v>
                </c:pt>
                <c:pt idx="44528">
                  <c:v>-5.8823529411764497E-3</c:v>
                </c:pt>
                <c:pt idx="44529">
                  <c:v>-5.8823529411764497E-3</c:v>
                </c:pt>
                <c:pt idx="44530">
                  <c:v>-5.8823529411764497E-3</c:v>
                </c:pt>
                <c:pt idx="44531">
                  <c:v>-5.8823529411764497E-3</c:v>
                </c:pt>
                <c:pt idx="44532">
                  <c:v>-5.8823529411764497E-3</c:v>
                </c:pt>
                <c:pt idx="44533">
                  <c:v>-5.8823529411764497E-3</c:v>
                </c:pt>
                <c:pt idx="44534">
                  <c:v>-5.8823529411764497E-3</c:v>
                </c:pt>
                <c:pt idx="44535">
                  <c:v>-5.8823529411764497E-3</c:v>
                </c:pt>
                <c:pt idx="44536">
                  <c:v>-5.8823529411764497E-3</c:v>
                </c:pt>
                <c:pt idx="44537">
                  <c:v>-5.8823529411764497E-3</c:v>
                </c:pt>
                <c:pt idx="44538">
                  <c:v>-5.8823529411764497E-3</c:v>
                </c:pt>
                <c:pt idx="44539">
                  <c:v>-5.8823529411764497E-3</c:v>
                </c:pt>
                <c:pt idx="44540">
                  <c:v>-5.8823529411764497E-3</c:v>
                </c:pt>
                <c:pt idx="44541">
                  <c:v>-5.8823529411764497E-3</c:v>
                </c:pt>
                <c:pt idx="44542">
                  <c:v>-5.8823529411764497E-3</c:v>
                </c:pt>
                <c:pt idx="44543">
                  <c:v>-5.8823529411764497E-3</c:v>
                </c:pt>
                <c:pt idx="44544">
                  <c:v>-5.8823529411764497E-3</c:v>
                </c:pt>
                <c:pt idx="44545">
                  <c:v>-5.8823529411764497E-3</c:v>
                </c:pt>
                <c:pt idx="44546">
                  <c:v>-5.8823529411764497E-3</c:v>
                </c:pt>
                <c:pt idx="44547">
                  <c:v>-5.8823529411764497E-3</c:v>
                </c:pt>
                <c:pt idx="44548">
                  <c:v>-5.8823529411764497E-3</c:v>
                </c:pt>
                <c:pt idx="44549">
                  <c:v>-5.8823529411764497E-3</c:v>
                </c:pt>
                <c:pt idx="44550">
                  <c:v>-5.8823529411764497E-3</c:v>
                </c:pt>
                <c:pt idx="44551">
                  <c:v>-5.8823529411764497E-3</c:v>
                </c:pt>
                <c:pt idx="44552">
                  <c:v>-5.8823529411764497E-3</c:v>
                </c:pt>
                <c:pt idx="44553">
                  <c:v>-5.8823529411764497E-3</c:v>
                </c:pt>
                <c:pt idx="44554">
                  <c:v>-5.8823529411764497E-3</c:v>
                </c:pt>
                <c:pt idx="44555">
                  <c:v>-5.8823529411764497E-3</c:v>
                </c:pt>
                <c:pt idx="44556">
                  <c:v>-5.8823529411764497E-3</c:v>
                </c:pt>
                <c:pt idx="44557">
                  <c:v>-5.8823529411764497E-3</c:v>
                </c:pt>
                <c:pt idx="44558">
                  <c:v>-5.8823529411764497E-3</c:v>
                </c:pt>
                <c:pt idx="44559">
                  <c:v>-5.8823529411764497E-3</c:v>
                </c:pt>
                <c:pt idx="44560">
                  <c:v>-5.8823529411764497E-3</c:v>
                </c:pt>
                <c:pt idx="44561">
                  <c:v>-5.8823529411764497E-3</c:v>
                </c:pt>
                <c:pt idx="44562">
                  <c:v>-5.8823529411764497E-3</c:v>
                </c:pt>
                <c:pt idx="44563">
                  <c:v>-5.8823529411764497E-3</c:v>
                </c:pt>
                <c:pt idx="44564">
                  <c:v>-5.8823529411764497E-3</c:v>
                </c:pt>
                <c:pt idx="44565">
                  <c:v>-5.8823529411764497E-3</c:v>
                </c:pt>
                <c:pt idx="44566">
                  <c:v>-5.8823529411764497E-3</c:v>
                </c:pt>
                <c:pt idx="44567">
                  <c:v>-5.8823529411764497E-3</c:v>
                </c:pt>
                <c:pt idx="44568">
                  <c:v>-5.8823529411764497E-3</c:v>
                </c:pt>
                <c:pt idx="44569">
                  <c:v>-5.8823529411764497E-3</c:v>
                </c:pt>
                <c:pt idx="44570">
                  <c:v>-5.8823529411764497E-3</c:v>
                </c:pt>
                <c:pt idx="44571">
                  <c:v>-5.8823529411764497E-3</c:v>
                </c:pt>
                <c:pt idx="44572">
                  <c:v>-5.8823529411764497E-3</c:v>
                </c:pt>
                <c:pt idx="44573">
                  <c:v>-5.8823529411764497E-3</c:v>
                </c:pt>
                <c:pt idx="44574">
                  <c:v>-5.8823529411764497E-3</c:v>
                </c:pt>
                <c:pt idx="44575">
                  <c:v>-5.8823529411764497E-3</c:v>
                </c:pt>
                <c:pt idx="44576">
                  <c:v>-5.0420168067226703E-3</c:v>
                </c:pt>
                <c:pt idx="44577">
                  <c:v>-5.0420168067226703E-3</c:v>
                </c:pt>
                <c:pt idx="44578">
                  <c:v>-5.0420168067226703E-3</c:v>
                </c:pt>
                <c:pt idx="44579">
                  <c:v>-5.0420168067226703E-3</c:v>
                </c:pt>
                <c:pt idx="44580">
                  <c:v>-5.0420168067226703E-3</c:v>
                </c:pt>
                <c:pt idx="44581">
                  <c:v>-5.0420168067226703E-3</c:v>
                </c:pt>
                <c:pt idx="44582">
                  <c:v>-5.0420168067226703E-3</c:v>
                </c:pt>
                <c:pt idx="44583">
                  <c:v>-5.0420168067226703E-3</c:v>
                </c:pt>
                <c:pt idx="44584">
                  <c:v>-5.0420168067226703E-3</c:v>
                </c:pt>
                <c:pt idx="44585">
                  <c:v>-5.0420168067226703E-3</c:v>
                </c:pt>
                <c:pt idx="44586">
                  <c:v>-5.0420168067226703E-3</c:v>
                </c:pt>
                <c:pt idx="44587">
                  <c:v>-5.0420168067226703E-3</c:v>
                </c:pt>
                <c:pt idx="44588">
                  <c:v>-5.0420168067226703E-3</c:v>
                </c:pt>
                <c:pt idx="44589">
                  <c:v>-5.0420168067226703E-3</c:v>
                </c:pt>
                <c:pt idx="44590">
                  <c:v>-5.0420168067226703E-3</c:v>
                </c:pt>
                <c:pt idx="44591">
                  <c:v>-5.0420168067226703E-3</c:v>
                </c:pt>
                <c:pt idx="44592">
                  <c:v>-5.0420168067226703E-3</c:v>
                </c:pt>
                <c:pt idx="44593">
                  <c:v>-5.0420168067226703E-3</c:v>
                </c:pt>
                <c:pt idx="44594">
                  <c:v>-5.0420168067226703E-3</c:v>
                </c:pt>
                <c:pt idx="44595">
                  <c:v>-5.0420168067226703E-3</c:v>
                </c:pt>
                <c:pt idx="44596">
                  <c:v>-5.0420168067226703E-3</c:v>
                </c:pt>
                <c:pt idx="44597">
                  <c:v>-5.0420168067226703E-3</c:v>
                </c:pt>
                <c:pt idx="44598">
                  <c:v>-5.0420168067226703E-3</c:v>
                </c:pt>
                <c:pt idx="44599">
                  <c:v>-5.0420168067226703E-3</c:v>
                </c:pt>
                <c:pt idx="44600">
                  <c:v>-5.0420168067226703E-3</c:v>
                </c:pt>
                <c:pt idx="44601">
                  <c:v>-5.0420168067226703E-3</c:v>
                </c:pt>
                <c:pt idx="44602">
                  <c:v>-5.0420168067226703E-3</c:v>
                </c:pt>
                <c:pt idx="44603">
                  <c:v>-5.0420168067226703E-3</c:v>
                </c:pt>
                <c:pt idx="44604">
                  <c:v>-5.0420168067226703E-3</c:v>
                </c:pt>
                <c:pt idx="44605">
                  <c:v>-5.0420168067226703E-3</c:v>
                </c:pt>
                <c:pt idx="44606">
                  <c:v>-5.0420168067226703E-3</c:v>
                </c:pt>
                <c:pt idx="44607">
                  <c:v>-5.0420168067226703E-3</c:v>
                </c:pt>
                <c:pt idx="44608">
                  <c:v>-5.0420168067226703E-3</c:v>
                </c:pt>
                <c:pt idx="44609">
                  <c:v>-5.0420168067226703E-3</c:v>
                </c:pt>
                <c:pt idx="44610">
                  <c:v>-5.0420168067226703E-3</c:v>
                </c:pt>
                <c:pt idx="44611">
                  <c:v>-5.0420168067226703E-3</c:v>
                </c:pt>
                <c:pt idx="44612">
                  <c:v>-5.0420168067226703E-3</c:v>
                </c:pt>
                <c:pt idx="44613">
                  <c:v>-5.0420168067226703E-3</c:v>
                </c:pt>
                <c:pt idx="44614">
                  <c:v>-5.0420168067226703E-3</c:v>
                </c:pt>
                <c:pt idx="44615">
                  <c:v>-5.0420168067226703E-3</c:v>
                </c:pt>
                <c:pt idx="44616">
                  <c:v>-5.0420168067226703E-3</c:v>
                </c:pt>
                <c:pt idx="44617">
                  <c:v>-5.0420168067226703E-3</c:v>
                </c:pt>
                <c:pt idx="44618">
                  <c:v>-5.0420168067226703E-3</c:v>
                </c:pt>
                <c:pt idx="44619">
                  <c:v>-5.0420168067226703E-3</c:v>
                </c:pt>
                <c:pt idx="44620">
                  <c:v>-5.0420168067226703E-3</c:v>
                </c:pt>
                <c:pt idx="44621">
                  <c:v>-5.0420168067226703E-3</c:v>
                </c:pt>
                <c:pt idx="44622">
                  <c:v>-5.0420168067226703E-3</c:v>
                </c:pt>
                <c:pt idx="44623">
                  <c:v>-5.0420168067226703E-3</c:v>
                </c:pt>
                <c:pt idx="44624">
                  <c:v>-5.0420168067226703E-3</c:v>
                </c:pt>
                <c:pt idx="44625">
                  <c:v>-5.0420168067226703E-3</c:v>
                </c:pt>
                <c:pt idx="44626">
                  <c:v>-5.0420168067226703E-3</c:v>
                </c:pt>
                <c:pt idx="44627">
                  <c:v>-5.0420168067226703E-3</c:v>
                </c:pt>
                <c:pt idx="44628">
                  <c:v>-5.0420168067226703E-3</c:v>
                </c:pt>
                <c:pt idx="44629">
                  <c:v>-5.0420168067226703E-3</c:v>
                </c:pt>
                <c:pt idx="44630">
                  <c:v>-5.0420168067226703E-3</c:v>
                </c:pt>
                <c:pt idx="44631">
                  <c:v>-5.0420168067226703E-3</c:v>
                </c:pt>
                <c:pt idx="44632">
                  <c:v>-5.0420168067226703E-3</c:v>
                </c:pt>
                <c:pt idx="44633">
                  <c:v>-5.0420168067226703E-3</c:v>
                </c:pt>
                <c:pt idx="44634">
                  <c:v>-5.0420168067226703E-3</c:v>
                </c:pt>
                <c:pt idx="44635">
                  <c:v>-5.0420168067226703E-3</c:v>
                </c:pt>
                <c:pt idx="44636">
                  <c:v>-5.0420168067226703E-3</c:v>
                </c:pt>
                <c:pt idx="44637">
                  <c:v>-5.0420168067226703E-3</c:v>
                </c:pt>
                <c:pt idx="44638">
                  <c:v>-5.0420168067226703E-3</c:v>
                </c:pt>
                <c:pt idx="44639">
                  <c:v>-4.20168067226889E-3</c:v>
                </c:pt>
                <c:pt idx="44640">
                  <c:v>-4.20168067226889E-3</c:v>
                </c:pt>
                <c:pt idx="44641">
                  <c:v>-4.20168067226889E-3</c:v>
                </c:pt>
                <c:pt idx="44642">
                  <c:v>-4.20168067226889E-3</c:v>
                </c:pt>
                <c:pt idx="44643">
                  <c:v>-4.20168067226889E-3</c:v>
                </c:pt>
                <c:pt idx="44644">
                  <c:v>-4.20168067226889E-3</c:v>
                </c:pt>
                <c:pt idx="44645">
                  <c:v>-4.20168067226889E-3</c:v>
                </c:pt>
                <c:pt idx="44646">
                  <c:v>-4.20168067226889E-3</c:v>
                </c:pt>
                <c:pt idx="44647">
                  <c:v>-4.20168067226889E-3</c:v>
                </c:pt>
                <c:pt idx="44648">
                  <c:v>-4.20168067226889E-3</c:v>
                </c:pt>
                <c:pt idx="44649">
                  <c:v>-4.20168067226889E-3</c:v>
                </c:pt>
                <c:pt idx="44650">
                  <c:v>-4.20168067226889E-3</c:v>
                </c:pt>
                <c:pt idx="44651">
                  <c:v>-4.20168067226889E-3</c:v>
                </c:pt>
                <c:pt idx="44652">
                  <c:v>-4.20168067226889E-3</c:v>
                </c:pt>
                <c:pt idx="44653">
                  <c:v>-4.20168067226889E-3</c:v>
                </c:pt>
                <c:pt idx="44654">
                  <c:v>-4.20168067226889E-3</c:v>
                </c:pt>
                <c:pt idx="44655">
                  <c:v>-4.20168067226889E-3</c:v>
                </c:pt>
                <c:pt idx="44656">
                  <c:v>-4.20168067226889E-3</c:v>
                </c:pt>
                <c:pt idx="44657">
                  <c:v>-4.20168067226889E-3</c:v>
                </c:pt>
                <c:pt idx="44658">
                  <c:v>-4.20168067226889E-3</c:v>
                </c:pt>
                <c:pt idx="44659">
                  <c:v>-4.20168067226889E-3</c:v>
                </c:pt>
                <c:pt idx="44660">
                  <c:v>-4.20168067226889E-3</c:v>
                </c:pt>
                <c:pt idx="44661">
                  <c:v>-4.20168067226889E-3</c:v>
                </c:pt>
                <c:pt idx="44662">
                  <c:v>-4.20168067226889E-3</c:v>
                </c:pt>
                <c:pt idx="44663">
                  <c:v>-4.20168067226889E-3</c:v>
                </c:pt>
                <c:pt idx="44664">
                  <c:v>-5.0420168067226703E-3</c:v>
                </c:pt>
                <c:pt idx="44665">
                  <c:v>-5.0420168067226703E-3</c:v>
                </c:pt>
                <c:pt idx="44666">
                  <c:v>-5.0420168067226703E-3</c:v>
                </c:pt>
                <c:pt idx="44667">
                  <c:v>-5.0420168067226703E-3</c:v>
                </c:pt>
                <c:pt idx="44668">
                  <c:v>-5.0420168067226703E-3</c:v>
                </c:pt>
                <c:pt idx="44669">
                  <c:v>-5.0420168067226703E-3</c:v>
                </c:pt>
                <c:pt idx="44670">
                  <c:v>-5.0420168067226703E-3</c:v>
                </c:pt>
                <c:pt idx="44671">
                  <c:v>-5.0420168067226703E-3</c:v>
                </c:pt>
                <c:pt idx="44672">
                  <c:v>-5.0420168067226703E-3</c:v>
                </c:pt>
                <c:pt idx="44673">
                  <c:v>-5.0420168067226703E-3</c:v>
                </c:pt>
                <c:pt idx="44674">
                  <c:v>-5.0420168067226703E-3</c:v>
                </c:pt>
                <c:pt idx="44675">
                  <c:v>-5.0420168067226703E-3</c:v>
                </c:pt>
                <c:pt idx="44676">
                  <c:v>-5.0420168067226703E-3</c:v>
                </c:pt>
                <c:pt idx="44677">
                  <c:v>-5.0420168067226703E-3</c:v>
                </c:pt>
                <c:pt idx="44678">
                  <c:v>-5.0420168067226703E-3</c:v>
                </c:pt>
                <c:pt idx="44679">
                  <c:v>-5.0420168067226703E-3</c:v>
                </c:pt>
                <c:pt idx="44680">
                  <c:v>-5.0420168067226703E-3</c:v>
                </c:pt>
                <c:pt idx="44681">
                  <c:v>-5.0420168067226703E-3</c:v>
                </c:pt>
                <c:pt idx="44682">
                  <c:v>-5.0420168067226703E-3</c:v>
                </c:pt>
                <c:pt idx="44683">
                  <c:v>-5.0420168067226703E-3</c:v>
                </c:pt>
                <c:pt idx="44684">
                  <c:v>-5.0420168067226703E-3</c:v>
                </c:pt>
                <c:pt idx="44685">
                  <c:v>-5.0420168067226703E-3</c:v>
                </c:pt>
                <c:pt idx="44686">
                  <c:v>-5.0420168067226703E-3</c:v>
                </c:pt>
                <c:pt idx="44687">
                  <c:v>-5.0420168067226703E-3</c:v>
                </c:pt>
                <c:pt idx="44688">
                  <c:v>-5.0420168067226703E-3</c:v>
                </c:pt>
                <c:pt idx="44689">
                  <c:v>-5.0420168067226703E-3</c:v>
                </c:pt>
                <c:pt idx="44690">
                  <c:v>-5.0420168067226703E-3</c:v>
                </c:pt>
                <c:pt idx="44691">
                  <c:v>-5.0420168067226703E-3</c:v>
                </c:pt>
                <c:pt idx="44692">
                  <c:v>-5.0420168067226703E-3</c:v>
                </c:pt>
                <c:pt idx="44693">
                  <c:v>-5.0420168067226703E-3</c:v>
                </c:pt>
                <c:pt idx="44694">
                  <c:v>-5.0420168067226703E-3</c:v>
                </c:pt>
                <c:pt idx="44695">
                  <c:v>-5.0420168067226703E-3</c:v>
                </c:pt>
                <c:pt idx="44696">
                  <c:v>-5.0420168067226703E-3</c:v>
                </c:pt>
                <c:pt idx="44697">
                  <c:v>-5.0420168067226703E-3</c:v>
                </c:pt>
                <c:pt idx="44698">
                  <c:v>-4.20168067226889E-3</c:v>
                </c:pt>
                <c:pt idx="44699">
                  <c:v>-4.20168067226889E-3</c:v>
                </c:pt>
                <c:pt idx="44700">
                  <c:v>-4.20168067226889E-3</c:v>
                </c:pt>
                <c:pt idx="44701">
                  <c:v>-4.20168067226889E-3</c:v>
                </c:pt>
                <c:pt idx="44702">
                  <c:v>-4.20168067226889E-3</c:v>
                </c:pt>
                <c:pt idx="44703">
                  <c:v>-4.20168067226889E-3</c:v>
                </c:pt>
                <c:pt idx="44704">
                  <c:v>-4.20168067226889E-3</c:v>
                </c:pt>
                <c:pt idx="44705">
                  <c:v>-4.20168067226889E-3</c:v>
                </c:pt>
                <c:pt idx="44706">
                  <c:v>-4.20168067226889E-3</c:v>
                </c:pt>
                <c:pt idx="44707">
                  <c:v>-4.20168067226889E-3</c:v>
                </c:pt>
                <c:pt idx="44708">
                  <c:v>-4.20168067226889E-3</c:v>
                </c:pt>
                <c:pt idx="44709">
                  <c:v>-4.20168067226889E-3</c:v>
                </c:pt>
                <c:pt idx="44710">
                  <c:v>-4.20168067226889E-3</c:v>
                </c:pt>
                <c:pt idx="44711">
                  <c:v>-4.20168067226889E-3</c:v>
                </c:pt>
                <c:pt idx="44712">
                  <c:v>-4.20168067226889E-3</c:v>
                </c:pt>
                <c:pt idx="44713">
                  <c:v>-4.20168067226889E-3</c:v>
                </c:pt>
                <c:pt idx="44714">
                  <c:v>-4.20168067226889E-3</c:v>
                </c:pt>
                <c:pt idx="44715">
                  <c:v>-4.20168067226889E-3</c:v>
                </c:pt>
                <c:pt idx="44716">
                  <c:v>-4.20168067226889E-3</c:v>
                </c:pt>
                <c:pt idx="44717">
                  <c:v>-4.20168067226889E-3</c:v>
                </c:pt>
                <c:pt idx="44718">
                  <c:v>-4.20168067226889E-3</c:v>
                </c:pt>
                <c:pt idx="44719">
                  <c:v>-4.20168067226889E-3</c:v>
                </c:pt>
                <c:pt idx="44720">
                  <c:v>-4.20168067226889E-3</c:v>
                </c:pt>
                <c:pt idx="44721">
                  <c:v>-4.20168067226889E-3</c:v>
                </c:pt>
                <c:pt idx="44722">
                  <c:v>-4.20168067226889E-3</c:v>
                </c:pt>
                <c:pt idx="44723">
                  <c:v>-4.20168067226889E-3</c:v>
                </c:pt>
                <c:pt idx="44724">
                  <c:v>-4.20168067226889E-3</c:v>
                </c:pt>
                <c:pt idx="44725">
                  <c:v>-4.20168067226889E-3</c:v>
                </c:pt>
                <c:pt idx="44726">
                  <c:v>-4.20168067226889E-3</c:v>
                </c:pt>
                <c:pt idx="44727">
                  <c:v>-4.20168067226889E-3</c:v>
                </c:pt>
                <c:pt idx="44728">
                  <c:v>-4.20168067226889E-3</c:v>
                </c:pt>
                <c:pt idx="44729">
                  <c:v>-4.20168067226889E-3</c:v>
                </c:pt>
                <c:pt idx="44730">
                  <c:v>-4.20168067226889E-3</c:v>
                </c:pt>
                <c:pt idx="44731">
                  <c:v>-4.20168067226889E-3</c:v>
                </c:pt>
                <c:pt idx="44732">
                  <c:v>-4.20168067226889E-3</c:v>
                </c:pt>
                <c:pt idx="44733">
                  <c:v>-4.20168067226889E-3</c:v>
                </c:pt>
                <c:pt idx="44734">
                  <c:v>-4.20168067226889E-3</c:v>
                </c:pt>
                <c:pt idx="44735">
                  <c:v>-4.20168067226889E-3</c:v>
                </c:pt>
                <c:pt idx="44736">
                  <c:v>-4.20168067226889E-3</c:v>
                </c:pt>
                <c:pt idx="44737">
                  <c:v>-4.20168067226889E-3</c:v>
                </c:pt>
                <c:pt idx="44738">
                  <c:v>-4.20168067226889E-3</c:v>
                </c:pt>
                <c:pt idx="44739">
                  <c:v>-4.20168067226889E-3</c:v>
                </c:pt>
                <c:pt idx="44740">
                  <c:v>-4.20168067226889E-3</c:v>
                </c:pt>
                <c:pt idx="44741">
                  <c:v>-4.20168067226889E-3</c:v>
                </c:pt>
                <c:pt idx="44742">
                  <c:v>-4.20168067226889E-3</c:v>
                </c:pt>
                <c:pt idx="44743">
                  <c:v>-4.20168067226889E-3</c:v>
                </c:pt>
                <c:pt idx="44744">
                  <c:v>-4.20168067226889E-3</c:v>
                </c:pt>
                <c:pt idx="44745">
                  <c:v>-4.20168067226889E-3</c:v>
                </c:pt>
                <c:pt idx="44746">
                  <c:v>-4.20168067226889E-3</c:v>
                </c:pt>
                <c:pt idx="44747">
                  <c:v>-4.20168067226889E-3</c:v>
                </c:pt>
                <c:pt idx="44748">
                  <c:v>-4.20168067226889E-3</c:v>
                </c:pt>
                <c:pt idx="44749">
                  <c:v>-4.20168067226889E-3</c:v>
                </c:pt>
                <c:pt idx="44750">
                  <c:v>-4.20168067226889E-3</c:v>
                </c:pt>
                <c:pt idx="44751">
                  <c:v>-4.20168067226889E-3</c:v>
                </c:pt>
                <c:pt idx="44752">
                  <c:v>-4.20168067226889E-3</c:v>
                </c:pt>
                <c:pt idx="44753">
                  <c:v>-4.20168067226889E-3</c:v>
                </c:pt>
                <c:pt idx="44754">
                  <c:v>-4.20168067226889E-3</c:v>
                </c:pt>
                <c:pt idx="44755">
                  <c:v>-4.20168067226889E-3</c:v>
                </c:pt>
                <c:pt idx="44756">
                  <c:v>-4.20168067226889E-3</c:v>
                </c:pt>
                <c:pt idx="44757">
                  <c:v>-4.20168067226889E-3</c:v>
                </c:pt>
                <c:pt idx="44758">
                  <c:v>-4.20168067226889E-3</c:v>
                </c:pt>
                <c:pt idx="44759">
                  <c:v>-4.20168067226889E-3</c:v>
                </c:pt>
                <c:pt idx="44760">
                  <c:v>-4.20168067226889E-3</c:v>
                </c:pt>
                <c:pt idx="44761">
                  <c:v>-4.20168067226889E-3</c:v>
                </c:pt>
                <c:pt idx="44762">
                  <c:v>-4.20168067226889E-3</c:v>
                </c:pt>
                <c:pt idx="44763">
                  <c:v>-4.20168067226889E-3</c:v>
                </c:pt>
                <c:pt idx="44764">
                  <c:v>-3.3613445378151102E-3</c:v>
                </c:pt>
                <c:pt idx="44765">
                  <c:v>-3.3613445378151102E-3</c:v>
                </c:pt>
                <c:pt idx="44766">
                  <c:v>-3.3613445378151102E-3</c:v>
                </c:pt>
                <c:pt idx="44767">
                  <c:v>-3.3613445378151102E-3</c:v>
                </c:pt>
                <c:pt idx="44768">
                  <c:v>-3.3613445378151102E-3</c:v>
                </c:pt>
                <c:pt idx="44769">
                  <c:v>-3.3613445378151102E-3</c:v>
                </c:pt>
                <c:pt idx="44770">
                  <c:v>-3.3613445378151102E-3</c:v>
                </c:pt>
                <c:pt idx="44771">
                  <c:v>-3.3613445378151102E-3</c:v>
                </c:pt>
                <c:pt idx="44772">
                  <c:v>-3.3613445378151102E-3</c:v>
                </c:pt>
                <c:pt idx="44773">
                  <c:v>-3.3613445378151102E-3</c:v>
                </c:pt>
                <c:pt idx="44774">
                  <c:v>-3.3613445378151102E-3</c:v>
                </c:pt>
                <c:pt idx="44775">
                  <c:v>-3.3613445378151102E-3</c:v>
                </c:pt>
                <c:pt idx="44776">
                  <c:v>-3.3613445378151102E-3</c:v>
                </c:pt>
                <c:pt idx="44777">
                  <c:v>-3.3613445378151102E-3</c:v>
                </c:pt>
                <c:pt idx="44778">
                  <c:v>-3.3613445378151102E-3</c:v>
                </c:pt>
                <c:pt idx="44779">
                  <c:v>-3.3613445378151102E-3</c:v>
                </c:pt>
                <c:pt idx="44780">
                  <c:v>-3.3613445378151102E-3</c:v>
                </c:pt>
                <c:pt idx="44781">
                  <c:v>-3.3613445378151102E-3</c:v>
                </c:pt>
                <c:pt idx="44782">
                  <c:v>-3.3613445378151102E-3</c:v>
                </c:pt>
                <c:pt idx="44783">
                  <c:v>-3.3613445378151102E-3</c:v>
                </c:pt>
                <c:pt idx="44784">
                  <c:v>-3.3613445378151102E-3</c:v>
                </c:pt>
                <c:pt idx="44785">
                  <c:v>-3.3613445378151102E-3</c:v>
                </c:pt>
                <c:pt idx="44786">
                  <c:v>-3.3613445378151102E-3</c:v>
                </c:pt>
                <c:pt idx="44787">
                  <c:v>-3.3613445378151102E-3</c:v>
                </c:pt>
                <c:pt idx="44788">
                  <c:v>-3.3613445378151102E-3</c:v>
                </c:pt>
                <c:pt idx="44789">
                  <c:v>-3.3613445378151102E-3</c:v>
                </c:pt>
                <c:pt idx="44790">
                  <c:v>-3.3613445378151102E-3</c:v>
                </c:pt>
                <c:pt idx="44791">
                  <c:v>-3.3613445378151102E-3</c:v>
                </c:pt>
                <c:pt idx="44792">
                  <c:v>-3.3613445378151102E-3</c:v>
                </c:pt>
                <c:pt idx="44793">
                  <c:v>-3.3613445378151102E-3</c:v>
                </c:pt>
                <c:pt idx="44794">
                  <c:v>-3.3613445378151102E-3</c:v>
                </c:pt>
                <c:pt idx="44795">
                  <c:v>-3.3613445378151102E-3</c:v>
                </c:pt>
                <c:pt idx="44796">
                  <c:v>-3.3613445378151102E-3</c:v>
                </c:pt>
                <c:pt idx="44797">
                  <c:v>-3.3613445378151102E-3</c:v>
                </c:pt>
                <c:pt idx="44798">
                  <c:v>-3.3613445378151102E-3</c:v>
                </c:pt>
                <c:pt idx="44799">
                  <c:v>-3.3613445378151102E-3</c:v>
                </c:pt>
                <c:pt idx="44800">
                  <c:v>-3.3613445378151102E-3</c:v>
                </c:pt>
                <c:pt idx="44801">
                  <c:v>-3.3613445378151102E-3</c:v>
                </c:pt>
                <c:pt idx="44802">
                  <c:v>-3.3613445378151102E-3</c:v>
                </c:pt>
                <c:pt idx="44803">
                  <c:v>-3.3613445378151102E-3</c:v>
                </c:pt>
                <c:pt idx="44804">
                  <c:v>-3.3613445378151102E-3</c:v>
                </c:pt>
                <c:pt idx="44805">
                  <c:v>-3.3613445378151102E-3</c:v>
                </c:pt>
                <c:pt idx="44806">
                  <c:v>-3.3613445378151102E-3</c:v>
                </c:pt>
                <c:pt idx="44807">
                  <c:v>-3.3613445378151102E-3</c:v>
                </c:pt>
                <c:pt idx="44808">
                  <c:v>-3.3613445378151102E-3</c:v>
                </c:pt>
                <c:pt idx="44809">
                  <c:v>-3.3613445378151102E-3</c:v>
                </c:pt>
                <c:pt idx="44810">
                  <c:v>-3.3613445378151102E-3</c:v>
                </c:pt>
                <c:pt idx="44811">
                  <c:v>-3.3613445378151102E-3</c:v>
                </c:pt>
                <c:pt idx="44812">
                  <c:v>-3.3613445378151102E-3</c:v>
                </c:pt>
                <c:pt idx="44813">
                  <c:v>-3.3613445378151102E-3</c:v>
                </c:pt>
                <c:pt idx="44814">
                  <c:v>-3.3613445378151102E-3</c:v>
                </c:pt>
                <c:pt idx="44815">
                  <c:v>-3.3613445378151102E-3</c:v>
                </c:pt>
                <c:pt idx="44816">
                  <c:v>-3.3613445378151102E-3</c:v>
                </c:pt>
                <c:pt idx="44817">
                  <c:v>-3.3613445378151102E-3</c:v>
                </c:pt>
                <c:pt idx="44818">
                  <c:v>-3.3613445378151102E-3</c:v>
                </c:pt>
                <c:pt idx="44819">
                  <c:v>-3.3613445378151102E-3</c:v>
                </c:pt>
                <c:pt idx="44820">
                  <c:v>-3.3613445378151102E-3</c:v>
                </c:pt>
                <c:pt idx="44821">
                  <c:v>-3.3613445378151102E-3</c:v>
                </c:pt>
                <c:pt idx="44822">
                  <c:v>-3.3613445378151102E-3</c:v>
                </c:pt>
                <c:pt idx="44823">
                  <c:v>-3.3613445378151102E-3</c:v>
                </c:pt>
                <c:pt idx="44824">
                  <c:v>-3.3613445378151102E-3</c:v>
                </c:pt>
                <c:pt idx="44825">
                  <c:v>-4.20168067226889E-3</c:v>
                </c:pt>
                <c:pt idx="44826">
                  <c:v>-4.20168067226889E-3</c:v>
                </c:pt>
                <c:pt idx="44827">
                  <c:v>-4.20168067226889E-3</c:v>
                </c:pt>
                <c:pt idx="44828">
                  <c:v>-4.20168067226889E-3</c:v>
                </c:pt>
                <c:pt idx="44829">
                  <c:v>-4.20168067226889E-3</c:v>
                </c:pt>
                <c:pt idx="44830">
                  <c:v>-4.20168067226889E-3</c:v>
                </c:pt>
                <c:pt idx="44831">
                  <c:v>-4.20168067226889E-3</c:v>
                </c:pt>
                <c:pt idx="44832">
                  <c:v>-4.20168067226889E-3</c:v>
                </c:pt>
                <c:pt idx="44833">
                  <c:v>-4.20168067226889E-3</c:v>
                </c:pt>
                <c:pt idx="44834">
                  <c:v>-4.20168067226889E-3</c:v>
                </c:pt>
                <c:pt idx="44835">
                  <c:v>-4.20168067226889E-3</c:v>
                </c:pt>
                <c:pt idx="44836">
                  <c:v>-4.20168067226889E-3</c:v>
                </c:pt>
                <c:pt idx="44837">
                  <c:v>-4.20168067226889E-3</c:v>
                </c:pt>
                <c:pt idx="44838">
                  <c:v>-4.20168067226889E-3</c:v>
                </c:pt>
                <c:pt idx="44839">
                  <c:v>-4.20168067226889E-3</c:v>
                </c:pt>
                <c:pt idx="44840">
                  <c:v>-4.20168067226889E-3</c:v>
                </c:pt>
                <c:pt idx="44841">
                  <c:v>-4.20168067226889E-3</c:v>
                </c:pt>
                <c:pt idx="44842">
                  <c:v>-4.20168067226889E-3</c:v>
                </c:pt>
                <c:pt idx="44843">
                  <c:v>-4.20168067226889E-3</c:v>
                </c:pt>
                <c:pt idx="44844">
                  <c:v>-4.20168067226889E-3</c:v>
                </c:pt>
                <c:pt idx="44845">
                  <c:v>-4.20168067226889E-3</c:v>
                </c:pt>
                <c:pt idx="44846">
                  <c:v>-4.20168067226889E-3</c:v>
                </c:pt>
                <c:pt idx="44847">
                  <c:v>-4.20168067226889E-3</c:v>
                </c:pt>
                <c:pt idx="44848">
                  <c:v>-4.20168067226889E-3</c:v>
                </c:pt>
                <c:pt idx="44849">
                  <c:v>-4.20168067226889E-3</c:v>
                </c:pt>
                <c:pt idx="44850">
                  <c:v>-4.20168067226889E-3</c:v>
                </c:pt>
                <c:pt idx="44851">
                  <c:v>-4.20168067226889E-3</c:v>
                </c:pt>
                <c:pt idx="44852">
                  <c:v>-4.20168067226889E-3</c:v>
                </c:pt>
                <c:pt idx="44853">
                  <c:v>-4.20168067226889E-3</c:v>
                </c:pt>
                <c:pt idx="44854">
                  <c:v>-4.20168067226889E-3</c:v>
                </c:pt>
                <c:pt idx="44855">
                  <c:v>-4.20168067226889E-3</c:v>
                </c:pt>
                <c:pt idx="44856">
                  <c:v>-4.20168067226889E-3</c:v>
                </c:pt>
                <c:pt idx="44857">
                  <c:v>-4.20168067226889E-3</c:v>
                </c:pt>
                <c:pt idx="44858">
                  <c:v>-4.20168067226889E-3</c:v>
                </c:pt>
                <c:pt idx="44859">
                  <c:v>-4.20168067226889E-3</c:v>
                </c:pt>
                <c:pt idx="44860">
                  <c:v>-4.20168067226889E-3</c:v>
                </c:pt>
                <c:pt idx="44861">
                  <c:v>-4.20168067226889E-3</c:v>
                </c:pt>
                <c:pt idx="44862">
                  <c:v>-4.20168067226889E-3</c:v>
                </c:pt>
                <c:pt idx="44863">
                  <c:v>-4.20168067226889E-3</c:v>
                </c:pt>
                <c:pt idx="44864">
                  <c:v>-4.20168067226889E-3</c:v>
                </c:pt>
                <c:pt idx="44865">
                  <c:v>-4.20168067226889E-3</c:v>
                </c:pt>
                <c:pt idx="44866">
                  <c:v>-4.20168067226889E-3</c:v>
                </c:pt>
                <c:pt idx="44867">
                  <c:v>-4.20168067226889E-3</c:v>
                </c:pt>
                <c:pt idx="44868">
                  <c:v>-4.20168067226889E-3</c:v>
                </c:pt>
                <c:pt idx="44869">
                  <c:v>-4.20168067226889E-3</c:v>
                </c:pt>
                <c:pt idx="44870">
                  <c:v>-4.20168067226889E-3</c:v>
                </c:pt>
                <c:pt idx="44871">
                  <c:v>-4.20168067226889E-3</c:v>
                </c:pt>
                <c:pt idx="44872">
                  <c:v>-4.20168067226889E-3</c:v>
                </c:pt>
                <c:pt idx="44873">
                  <c:v>-4.20168067226889E-3</c:v>
                </c:pt>
                <c:pt idx="44874">
                  <c:v>-4.20168067226889E-3</c:v>
                </c:pt>
                <c:pt idx="44875">
                  <c:v>-4.20168067226889E-3</c:v>
                </c:pt>
                <c:pt idx="44876">
                  <c:v>-4.20168067226889E-3</c:v>
                </c:pt>
                <c:pt idx="44877">
                  <c:v>-4.20168067226889E-3</c:v>
                </c:pt>
                <c:pt idx="44878">
                  <c:v>-4.20168067226889E-3</c:v>
                </c:pt>
                <c:pt idx="44879">
                  <c:v>-4.20168067226889E-3</c:v>
                </c:pt>
                <c:pt idx="44880">
                  <c:v>-4.20168067226889E-3</c:v>
                </c:pt>
                <c:pt idx="44881">
                  <c:v>-4.20168067226889E-3</c:v>
                </c:pt>
                <c:pt idx="44882">
                  <c:v>-4.20168067226889E-3</c:v>
                </c:pt>
                <c:pt idx="44883">
                  <c:v>-4.20168067226889E-3</c:v>
                </c:pt>
                <c:pt idx="44884">
                  <c:v>-4.20168067226889E-3</c:v>
                </c:pt>
                <c:pt idx="44885">
                  <c:v>-4.20168067226889E-3</c:v>
                </c:pt>
                <c:pt idx="44886">
                  <c:v>-4.20168067226889E-3</c:v>
                </c:pt>
                <c:pt idx="44887">
                  <c:v>-4.20168067226889E-3</c:v>
                </c:pt>
                <c:pt idx="44888">
                  <c:v>-4.20168067226889E-3</c:v>
                </c:pt>
                <c:pt idx="44889">
                  <c:v>-4.20168067226889E-3</c:v>
                </c:pt>
                <c:pt idx="44890">
                  <c:v>-4.20168067226889E-3</c:v>
                </c:pt>
                <c:pt idx="44891">
                  <c:v>-4.20168067226889E-3</c:v>
                </c:pt>
                <c:pt idx="44892">
                  <c:v>-4.20168067226889E-3</c:v>
                </c:pt>
                <c:pt idx="44893">
                  <c:v>-4.20168067226889E-3</c:v>
                </c:pt>
                <c:pt idx="44894">
                  <c:v>-4.20168067226889E-3</c:v>
                </c:pt>
                <c:pt idx="44895">
                  <c:v>-4.20168067226889E-3</c:v>
                </c:pt>
                <c:pt idx="44896">
                  <c:v>-4.20168067226889E-3</c:v>
                </c:pt>
                <c:pt idx="44897">
                  <c:v>-4.20168067226889E-3</c:v>
                </c:pt>
                <c:pt idx="44898">
                  <c:v>-4.20168067226889E-3</c:v>
                </c:pt>
                <c:pt idx="44899">
                  <c:v>-4.20168067226889E-3</c:v>
                </c:pt>
                <c:pt idx="44900">
                  <c:v>-4.20168067226889E-3</c:v>
                </c:pt>
                <c:pt idx="44901">
                  <c:v>-4.20168067226889E-3</c:v>
                </c:pt>
                <c:pt idx="44902">
                  <c:v>-4.20168067226889E-3</c:v>
                </c:pt>
                <c:pt idx="44903">
                  <c:v>-4.20168067226889E-3</c:v>
                </c:pt>
                <c:pt idx="44904">
                  <c:v>-4.20168067226889E-3</c:v>
                </c:pt>
                <c:pt idx="44905">
                  <c:v>-4.20168067226889E-3</c:v>
                </c:pt>
                <c:pt idx="44906">
                  <c:v>-4.20168067226889E-3</c:v>
                </c:pt>
                <c:pt idx="44907">
                  <c:v>-4.20168067226889E-3</c:v>
                </c:pt>
                <c:pt idx="44908">
                  <c:v>-4.20168067226889E-3</c:v>
                </c:pt>
                <c:pt idx="44909">
                  <c:v>-3.3613445378151102E-3</c:v>
                </c:pt>
                <c:pt idx="44910">
                  <c:v>-3.3613445378151102E-3</c:v>
                </c:pt>
                <c:pt idx="44911">
                  <c:v>-3.3613445378151102E-3</c:v>
                </c:pt>
                <c:pt idx="44912">
                  <c:v>-3.3613445378151102E-3</c:v>
                </c:pt>
                <c:pt idx="44913">
                  <c:v>-3.3613445378151102E-3</c:v>
                </c:pt>
                <c:pt idx="44914">
                  <c:v>-3.3613445378151102E-3</c:v>
                </c:pt>
                <c:pt idx="44915">
                  <c:v>-3.3613445378151102E-3</c:v>
                </c:pt>
                <c:pt idx="44916">
                  <c:v>-3.3613445378151102E-3</c:v>
                </c:pt>
                <c:pt idx="44917">
                  <c:v>-3.3613445378151102E-3</c:v>
                </c:pt>
                <c:pt idx="44918">
                  <c:v>-3.3613445378151102E-3</c:v>
                </c:pt>
                <c:pt idx="44919">
                  <c:v>-3.3613445378151102E-3</c:v>
                </c:pt>
                <c:pt idx="44920">
                  <c:v>-3.3613445378151102E-3</c:v>
                </c:pt>
                <c:pt idx="44921">
                  <c:v>-3.3613445378151102E-3</c:v>
                </c:pt>
                <c:pt idx="44922">
                  <c:v>-3.3613445378151102E-3</c:v>
                </c:pt>
                <c:pt idx="44923">
                  <c:v>-3.3613445378151102E-3</c:v>
                </c:pt>
                <c:pt idx="44924">
                  <c:v>-3.3613445378151102E-3</c:v>
                </c:pt>
                <c:pt idx="44925">
                  <c:v>-3.3613445378151102E-3</c:v>
                </c:pt>
                <c:pt idx="44926">
                  <c:v>-3.3613445378151102E-3</c:v>
                </c:pt>
                <c:pt idx="44927">
                  <c:v>-3.3613445378151102E-3</c:v>
                </c:pt>
                <c:pt idx="44928">
                  <c:v>-3.3613445378151102E-3</c:v>
                </c:pt>
                <c:pt idx="44929">
                  <c:v>-3.3613445378151102E-3</c:v>
                </c:pt>
                <c:pt idx="44930">
                  <c:v>-3.3613445378151102E-3</c:v>
                </c:pt>
                <c:pt idx="44931">
                  <c:v>-3.3613445378151102E-3</c:v>
                </c:pt>
                <c:pt idx="44932">
                  <c:v>-3.3613445378151102E-3</c:v>
                </c:pt>
                <c:pt idx="44933">
                  <c:v>-3.3613445378151102E-3</c:v>
                </c:pt>
                <c:pt idx="44934">
                  <c:v>-3.3613445378151102E-3</c:v>
                </c:pt>
                <c:pt idx="44935">
                  <c:v>-3.3613445378151102E-3</c:v>
                </c:pt>
                <c:pt idx="44936">
                  <c:v>-3.3613445378151102E-3</c:v>
                </c:pt>
                <c:pt idx="44937">
                  <c:v>-3.3613445378151102E-3</c:v>
                </c:pt>
                <c:pt idx="44938">
                  <c:v>-3.3613445378151102E-3</c:v>
                </c:pt>
                <c:pt idx="44939">
                  <c:v>-3.3613445378151102E-3</c:v>
                </c:pt>
                <c:pt idx="44940">
                  <c:v>-3.3613445378151102E-3</c:v>
                </c:pt>
                <c:pt idx="44941">
                  <c:v>-3.3613445378151102E-3</c:v>
                </c:pt>
                <c:pt idx="44942">
                  <c:v>-3.3613445378151102E-3</c:v>
                </c:pt>
                <c:pt idx="44943">
                  <c:v>-3.3613445378151102E-3</c:v>
                </c:pt>
                <c:pt idx="44944">
                  <c:v>-3.3613445378151102E-3</c:v>
                </c:pt>
                <c:pt idx="44945">
                  <c:v>-3.3613445378151102E-3</c:v>
                </c:pt>
                <c:pt idx="44946">
                  <c:v>-3.3613445378151102E-3</c:v>
                </c:pt>
                <c:pt idx="44947">
                  <c:v>-3.3613445378151102E-3</c:v>
                </c:pt>
                <c:pt idx="44948">
                  <c:v>-4.20168067226889E-3</c:v>
                </c:pt>
                <c:pt idx="44949">
                  <c:v>-4.20168067226889E-3</c:v>
                </c:pt>
                <c:pt idx="44950">
                  <c:v>-4.20168067226889E-3</c:v>
                </c:pt>
                <c:pt idx="44951">
                  <c:v>-4.20168067226889E-3</c:v>
                </c:pt>
                <c:pt idx="44952">
                  <c:v>-4.20168067226889E-3</c:v>
                </c:pt>
                <c:pt idx="44953">
                  <c:v>-4.20168067226889E-3</c:v>
                </c:pt>
                <c:pt idx="44954">
                  <c:v>-4.20168067226889E-3</c:v>
                </c:pt>
                <c:pt idx="44955">
                  <c:v>-4.20168067226889E-3</c:v>
                </c:pt>
                <c:pt idx="44956">
                  <c:v>-4.20168067226889E-3</c:v>
                </c:pt>
                <c:pt idx="44957">
                  <c:v>-4.20168067226889E-3</c:v>
                </c:pt>
                <c:pt idx="44958">
                  <c:v>-4.20168067226889E-3</c:v>
                </c:pt>
                <c:pt idx="44959">
                  <c:v>-4.20168067226889E-3</c:v>
                </c:pt>
                <c:pt idx="44960">
                  <c:v>-4.20168067226889E-3</c:v>
                </c:pt>
                <c:pt idx="44961">
                  <c:v>-4.20168067226889E-3</c:v>
                </c:pt>
                <c:pt idx="44962">
                  <c:v>-4.20168067226889E-3</c:v>
                </c:pt>
                <c:pt idx="44963">
                  <c:v>-4.20168067226889E-3</c:v>
                </c:pt>
                <c:pt idx="44964">
                  <c:v>-4.20168067226889E-3</c:v>
                </c:pt>
                <c:pt idx="44965">
                  <c:v>-4.20168067226889E-3</c:v>
                </c:pt>
                <c:pt idx="44966">
                  <c:v>-4.20168067226889E-3</c:v>
                </c:pt>
                <c:pt idx="44967">
                  <c:v>-4.20168067226889E-3</c:v>
                </c:pt>
                <c:pt idx="44968">
                  <c:v>-4.20168067226889E-3</c:v>
                </c:pt>
                <c:pt idx="44969">
                  <c:v>-4.20168067226889E-3</c:v>
                </c:pt>
                <c:pt idx="44970">
                  <c:v>-4.20168067226889E-3</c:v>
                </c:pt>
                <c:pt idx="44971">
                  <c:v>-4.20168067226889E-3</c:v>
                </c:pt>
                <c:pt idx="44972">
                  <c:v>-4.20168067226889E-3</c:v>
                </c:pt>
                <c:pt idx="44973">
                  <c:v>-4.20168067226889E-3</c:v>
                </c:pt>
                <c:pt idx="44974">
                  <c:v>-4.20168067226889E-3</c:v>
                </c:pt>
                <c:pt idx="44975">
                  <c:v>-4.20168067226889E-3</c:v>
                </c:pt>
                <c:pt idx="44976">
                  <c:v>-4.20168067226889E-3</c:v>
                </c:pt>
                <c:pt idx="44977">
                  <c:v>-4.20168067226889E-3</c:v>
                </c:pt>
                <c:pt idx="44978">
                  <c:v>-4.20168067226889E-3</c:v>
                </c:pt>
                <c:pt idx="44979">
                  <c:v>-4.20168067226889E-3</c:v>
                </c:pt>
                <c:pt idx="44980">
                  <c:v>-4.20168067226889E-3</c:v>
                </c:pt>
                <c:pt idx="44981">
                  <c:v>-4.20168067226889E-3</c:v>
                </c:pt>
                <c:pt idx="44982">
                  <c:v>-4.20168067226889E-3</c:v>
                </c:pt>
                <c:pt idx="44983">
                  <c:v>-4.20168067226889E-3</c:v>
                </c:pt>
                <c:pt idx="44984">
                  <c:v>-4.20168067226889E-3</c:v>
                </c:pt>
                <c:pt idx="44985">
                  <c:v>-4.20168067226889E-3</c:v>
                </c:pt>
                <c:pt idx="44986">
                  <c:v>-4.20168067226889E-3</c:v>
                </c:pt>
                <c:pt idx="44987">
                  <c:v>-4.20168067226889E-3</c:v>
                </c:pt>
                <c:pt idx="44988">
                  <c:v>-4.20168067226889E-3</c:v>
                </c:pt>
                <c:pt idx="44989">
                  <c:v>-4.20168067226889E-3</c:v>
                </c:pt>
                <c:pt idx="44990">
                  <c:v>-4.20168067226889E-3</c:v>
                </c:pt>
                <c:pt idx="44991">
                  <c:v>-4.20168067226889E-3</c:v>
                </c:pt>
                <c:pt idx="44992">
                  <c:v>-4.20168067226889E-3</c:v>
                </c:pt>
                <c:pt idx="44993">
                  <c:v>-3.3613445378151102E-3</c:v>
                </c:pt>
                <c:pt idx="44994">
                  <c:v>-3.3613445378151102E-3</c:v>
                </c:pt>
                <c:pt idx="44995">
                  <c:v>-3.3613445378151102E-3</c:v>
                </c:pt>
                <c:pt idx="44996">
                  <c:v>-3.3613445378151102E-3</c:v>
                </c:pt>
                <c:pt idx="44997">
                  <c:v>-3.3613445378151102E-3</c:v>
                </c:pt>
                <c:pt idx="44998">
                  <c:v>-3.3613445378151102E-3</c:v>
                </c:pt>
                <c:pt idx="44999">
                  <c:v>-3.3613445378151102E-3</c:v>
                </c:pt>
                <c:pt idx="45000">
                  <c:v>-3.3613445378151102E-3</c:v>
                </c:pt>
                <c:pt idx="45001">
                  <c:v>-3.3613445378151102E-3</c:v>
                </c:pt>
                <c:pt idx="45002">
                  <c:v>-3.3613445378151102E-3</c:v>
                </c:pt>
                <c:pt idx="45003">
                  <c:v>-3.3613445378151102E-3</c:v>
                </c:pt>
                <c:pt idx="45004">
                  <c:v>-3.3613445378151102E-3</c:v>
                </c:pt>
                <c:pt idx="45005">
                  <c:v>-3.3613445378151102E-3</c:v>
                </c:pt>
                <c:pt idx="45006">
                  <c:v>-3.3613445378151102E-3</c:v>
                </c:pt>
                <c:pt idx="45007">
                  <c:v>-3.3613445378151102E-3</c:v>
                </c:pt>
                <c:pt idx="45008">
                  <c:v>-3.3613445378151102E-3</c:v>
                </c:pt>
                <c:pt idx="45009">
                  <c:v>-3.3613445378151102E-3</c:v>
                </c:pt>
                <c:pt idx="45010">
                  <c:v>-3.3613445378151102E-3</c:v>
                </c:pt>
                <c:pt idx="45011">
                  <c:v>-3.3613445378151102E-3</c:v>
                </c:pt>
                <c:pt idx="45012">
                  <c:v>-3.3613445378151102E-3</c:v>
                </c:pt>
                <c:pt idx="45013">
                  <c:v>-3.3613445378151102E-3</c:v>
                </c:pt>
                <c:pt idx="45014">
                  <c:v>-3.3613445378151102E-3</c:v>
                </c:pt>
                <c:pt idx="45015">
                  <c:v>-3.3613445378151102E-3</c:v>
                </c:pt>
                <c:pt idx="45016">
                  <c:v>-3.3613445378151102E-3</c:v>
                </c:pt>
                <c:pt idx="45017">
                  <c:v>-3.3613445378151102E-3</c:v>
                </c:pt>
                <c:pt idx="45018">
                  <c:v>-3.3613445378151102E-3</c:v>
                </c:pt>
                <c:pt idx="45019">
                  <c:v>-3.3613445378151102E-3</c:v>
                </c:pt>
                <c:pt idx="45020">
                  <c:v>-3.3613445378151102E-3</c:v>
                </c:pt>
                <c:pt idx="45021">
                  <c:v>-3.3613445378151102E-3</c:v>
                </c:pt>
                <c:pt idx="45022">
                  <c:v>-3.3613445378151102E-3</c:v>
                </c:pt>
                <c:pt idx="45023">
                  <c:v>-3.3613445378151102E-3</c:v>
                </c:pt>
                <c:pt idx="45024">
                  <c:v>-3.3613445378151102E-3</c:v>
                </c:pt>
                <c:pt idx="45025">
                  <c:v>-3.3613445378151102E-3</c:v>
                </c:pt>
                <c:pt idx="45026">
                  <c:v>-3.3613445378151102E-3</c:v>
                </c:pt>
                <c:pt idx="45027">
                  <c:v>-3.3613445378151102E-3</c:v>
                </c:pt>
                <c:pt idx="45028">
                  <c:v>-3.3613445378151102E-3</c:v>
                </c:pt>
                <c:pt idx="45029">
                  <c:v>-3.3613445378151102E-3</c:v>
                </c:pt>
                <c:pt idx="45030">
                  <c:v>-3.3613445378151102E-3</c:v>
                </c:pt>
                <c:pt idx="45031">
                  <c:v>-3.3613445378151102E-3</c:v>
                </c:pt>
                <c:pt idx="45032">
                  <c:v>-3.3613445378151102E-3</c:v>
                </c:pt>
                <c:pt idx="45033">
                  <c:v>-3.3613445378151102E-3</c:v>
                </c:pt>
                <c:pt idx="45034">
                  <c:v>-3.3613445378151102E-3</c:v>
                </c:pt>
                <c:pt idx="45035">
                  <c:v>-3.3613445378151102E-3</c:v>
                </c:pt>
                <c:pt idx="45036">
                  <c:v>-3.3613445378151102E-3</c:v>
                </c:pt>
                <c:pt idx="45037">
                  <c:v>-3.3613445378151102E-3</c:v>
                </c:pt>
                <c:pt idx="45038">
                  <c:v>-3.3613445378151102E-3</c:v>
                </c:pt>
                <c:pt idx="45039">
                  <c:v>-3.3613445378151102E-3</c:v>
                </c:pt>
                <c:pt idx="45040">
                  <c:v>-3.3613445378151102E-3</c:v>
                </c:pt>
                <c:pt idx="45041">
                  <c:v>-3.3613445378151102E-3</c:v>
                </c:pt>
                <c:pt idx="45042">
                  <c:v>-3.3613445378151102E-3</c:v>
                </c:pt>
                <c:pt idx="45043">
                  <c:v>-3.3613445378151102E-3</c:v>
                </c:pt>
                <c:pt idx="45044">
                  <c:v>-3.3613445378151102E-3</c:v>
                </c:pt>
                <c:pt idx="45045">
                  <c:v>-3.3613445378151102E-3</c:v>
                </c:pt>
                <c:pt idx="45046">
                  <c:v>-3.3613445378151102E-3</c:v>
                </c:pt>
                <c:pt idx="45047">
                  <c:v>-4.20168067226889E-3</c:v>
                </c:pt>
                <c:pt idx="45048">
                  <c:v>-4.20168067226889E-3</c:v>
                </c:pt>
                <c:pt idx="45049">
                  <c:v>-4.20168067226889E-3</c:v>
                </c:pt>
                <c:pt idx="45050">
                  <c:v>-4.20168067226889E-3</c:v>
                </c:pt>
                <c:pt idx="45051">
                  <c:v>-4.20168067226889E-3</c:v>
                </c:pt>
                <c:pt idx="45052">
                  <c:v>-4.20168067226889E-3</c:v>
                </c:pt>
                <c:pt idx="45053">
                  <c:v>-4.20168067226889E-3</c:v>
                </c:pt>
                <c:pt idx="45054">
                  <c:v>-4.20168067226889E-3</c:v>
                </c:pt>
                <c:pt idx="45055">
                  <c:v>-4.20168067226889E-3</c:v>
                </c:pt>
                <c:pt idx="45056">
                  <c:v>-4.20168067226889E-3</c:v>
                </c:pt>
                <c:pt idx="45057">
                  <c:v>-4.20168067226889E-3</c:v>
                </c:pt>
                <c:pt idx="45058">
                  <c:v>-4.20168067226889E-3</c:v>
                </c:pt>
                <c:pt idx="45059">
                  <c:v>-4.20168067226889E-3</c:v>
                </c:pt>
                <c:pt idx="45060">
                  <c:v>-4.20168067226889E-3</c:v>
                </c:pt>
                <c:pt idx="45061">
                  <c:v>-4.20168067226889E-3</c:v>
                </c:pt>
                <c:pt idx="45062">
                  <c:v>-4.20168067226889E-3</c:v>
                </c:pt>
                <c:pt idx="45063">
                  <c:v>-4.20168067226889E-3</c:v>
                </c:pt>
                <c:pt idx="45064">
                  <c:v>-4.20168067226889E-3</c:v>
                </c:pt>
                <c:pt idx="45065">
                  <c:v>-4.20168067226889E-3</c:v>
                </c:pt>
                <c:pt idx="45066">
                  <c:v>-4.20168067226889E-3</c:v>
                </c:pt>
                <c:pt idx="45067">
                  <c:v>-4.20168067226889E-3</c:v>
                </c:pt>
                <c:pt idx="45068">
                  <c:v>-4.20168067226889E-3</c:v>
                </c:pt>
                <c:pt idx="45069">
                  <c:v>-4.20168067226889E-3</c:v>
                </c:pt>
                <c:pt idx="45070">
                  <c:v>-4.20168067226889E-3</c:v>
                </c:pt>
                <c:pt idx="45071">
                  <c:v>-4.20168067226889E-3</c:v>
                </c:pt>
                <c:pt idx="45072">
                  <c:v>-4.20168067226889E-3</c:v>
                </c:pt>
                <c:pt idx="45073">
                  <c:v>-4.20168067226889E-3</c:v>
                </c:pt>
                <c:pt idx="45074">
                  <c:v>-4.20168067226889E-3</c:v>
                </c:pt>
                <c:pt idx="45075">
                  <c:v>-4.20168067226889E-3</c:v>
                </c:pt>
                <c:pt idx="45076">
                  <c:v>-4.20168067226889E-3</c:v>
                </c:pt>
                <c:pt idx="45077">
                  <c:v>-4.20168067226889E-3</c:v>
                </c:pt>
                <c:pt idx="45078">
                  <c:v>-4.20168067226889E-3</c:v>
                </c:pt>
                <c:pt idx="45079">
                  <c:v>-4.20168067226889E-3</c:v>
                </c:pt>
                <c:pt idx="45080">
                  <c:v>-4.20168067226889E-3</c:v>
                </c:pt>
                <c:pt idx="45081">
                  <c:v>-4.20168067226889E-3</c:v>
                </c:pt>
                <c:pt idx="45082">
                  <c:v>-4.20168067226889E-3</c:v>
                </c:pt>
                <c:pt idx="45083">
                  <c:v>-4.20168067226889E-3</c:v>
                </c:pt>
                <c:pt idx="45084">
                  <c:v>-4.20168067226889E-3</c:v>
                </c:pt>
                <c:pt idx="45085">
                  <c:v>-4.20168067226889E-3</c:v>
                </c:pt>
                <c:pt idx="45086">
                  <c:v>-4.20168067226889E-3</c:v>
                </c:pt>
                <c:pt idx="45087">
                  <c:v>-4.20168067226889E-3</c:v>
                </c:pt>
                <c:pt idx="45088">
                  <c:v>-4.20168067226889E-3</c:v>
                </c:pt>
                <c:pt idx="45089">
                  <c:v>-4.20168067226889E-3</c:v>
                </c:pt>
                <c:pt idx="45090">
                  <c:v>-4.20168067226889E-3</c:v>
                </c:pt>
                <c:pt idx="45091">
                  <c:v>-4.20168067226889E-3</c:v>
                </c:pt>
                <c:pt idx="45092">
                  <c:v>-4.20168067226889E-3</c:v>
                </c:pt>
                <c:pt idx="45093">
                  <c:v>-4.20168067226889E-3</c:v>
                </c:pt>
                <c:pt idx="45094">
                  <c:v>-4.20168067226889E-3</c:v>
                </c:pt>
                <c:pt idx="45095">
                  <c:v>-4.20168067226889E-3</c:v>
                </c:pt>
                <c:pt idx="45096">
                  <c:v>-4.20168067226889E-3</c:v>
                </c:pt>
                <c:pt idx="45097">
                  <c:v>-4.20168067226889E-3</c:v>
                </c:pt>
                <c:pt idx="45098">
                  <c:v>-4.20168067226889E-3</c:v>
                </c:pt>
                <c:pt idx="45099">
                  <c:v>-4.20168067226889E-3</c:v>
                </c:pt>
                <c:pt idx="45100">
                  <c:v>-4.20168067226889E-3</c:v>
                </c:pt>
                <c:pt idx="45101">
                  <c:v>-4.20168067226889E-3</c:v>
                </c:pt>
                <c:pt idx="45102">
                  <c:v>-4.20168067226889E-3</c:v>
                </c:pt>
                <c:pt idx="45103">
                  <c:v>-4.20168067226889E-3</c:v>
                </c:pt>
                <c:pt idx="45104">
                  <c:v>-4.20168067226889E-3</c:v>
                </c:pt>
                <c:pt idx="45105">
                  <c:v>-4.20168067226889E-3</c:v>
                </c:pt>
                <c:pt idx="45106">
                  <c:v>-4.20168067226889E-3</c:v>
                </c:pt>
                <c:pt idx="45107">
                  <c:v>-4.20168067226889E-3</c:v>
                </c:pt>
                <c:pt idx="45108">
                  <c:v>-4.20168067226889E-3</c:v>
                </c:pt>
                <c:pt idx="45109">
                  <c:v>-4.20168067226889E-3</c:v>
                </c:pt>
                <c:pt idx="45110">
                  <c:v>-4.20168067226889E-3</c:v>
                </c:pt>
                <c:pt idx="45111">
                  <c:v>-4.20168067226889E-3</c:v>
                </c:pt>
                <c:pt idx="45112">
                  <c:v>-4.20168067226889E-3</c:v>
                </c:pt>
                <c:pt idx="45113">
                  <c:v>-4.20168067226889E-3</c:v>
                </c:pt>
                <c:pt idx="45114">
                  <c:v>-4.20168067226889E-3</c:v>
                </c:pt>
                <c:pt idx="45115">
                  <c:v>-4.20168067226889E-3</c:v>
                </c:pt>
                <c:pt idx="45116">
                  <c:v>-4.20168067226889E-3</c:v>
                </c:pt>
                <c:pt idx="45117">
                  <c:v>-4.20168067226889E-3</c:v>
                </c:pt>
                <c:pt idx="45118">
                  <c:v>-4.20168067226889E-3</c:v>
                </c:pt>
                <c:pt idx="45119">
                  <c:v>-4.20168067226889E-3</c:v>
                </c:pt>
                <c:pt idx="45120">
                  <c:v>-4.20168067226889E-3</c:v>
                </c:pt>
                <c:pt idx="45121">
                  <c:v>-4.20168067226889E-3</c:v>
                </c:pt>
                <c:pt idx="45122">
                  <c:v>-4.20168067226889E-3</c:v>
                </c:pt>
                <c:pt idx="45123">
                  <c:v>-4.20168067226889E-3</c:v>
                </c:pt>
                <c:pt idx="45124">
                  <c:v>-4.20168067226889E-3</c:v>
                </c:pt>
                <c:pt idx="45125">
                  <c:v>-4.20168067226889E-3</c:v>
                </c:pt>
                <c:pt idx="45126">
                  <c:v>-4.20168067226889E-3</c:v>
                </c:pt>
                <c:pt idx="45127">
                  <c:v>-4.20168067226889E-3</c:v>
                </c:pt>
                <c:pt idx="45128">
                  <c:v>-4.20168067226889E-3</c:v>
                </c:pt>
                <c:pt idx="45129">
                  <c:v>-4.20168067226889E-3</c:v>
                </c:pt>
                <c:pt idx="45130">
                  <c:v>-4.20168067226889E-3</c:v>
                </c:pt>
                <c:pt idx="45131">
                  <c:v>-4.20168067226889E-3</c:v>
                </c:pt>
                <c:pt idx="45132">
                  <c:v>-4.20168067226889E-3</c:v>
                </c:pt>
                <c:pt idx="45133">
                  <c:v>-4.20168067226889E-3</c:v>
                </c:pt>
                <c:pt idx="45134">
                  <c:v>-4.20168067226889E-3</c:v>
                </c:pt>
                <c:pt idx="45135">
                  <c:v>-4.20168067226889E-3</c:v>
                </c:pt>
                <c:pt idx="45136">
                  <c:v>-4.20168067226889E-3</c:v>
                </c:pt>
                <c:pt idx="45137">
                  <c:v>-4.20168067226889E-3</c:v>
                </c:pt>
                <c:pt idx="45138">
                  <c:v>-4.20168067226889E-3</c:v>
                </c:pt>
                <c:pt idx="45139">
                  <c:v>-4.20168067226889E-3</c:v>
                </c:pt>
                <c:pt idx="45140">
                  <c:v>-4.20168067226889E-3</c:v>
                </c:pt>
                <c:pt idx="45141">
                  <c:v>-4.20168067226889E-3</c:v>
                </c:pt>
                <c:pt idx="45142">
                  <c:v>-4.20168067226889E-3</c:v>
                </c:pt>
                <c:pt idx="45143">
                  <c:v>-4.20168067226889E-3</c:v>
                </c:pt>
                <c:pt idx="45144">
                  <c:v>-4.20168067226889E-3</c:v>
                </c:pt>
                <c:pt idx="45145">
                  <c:v>-4.20168067226889E-3</c:v>
                </c:pt>
                <c:pt idx="45146">
                  <c:v>-4.20168067226889E-3</c:v>
                </c:pt>
                <c:pt idx="45147">
                  <c:v>-4.20168067226889E-3</c:v>
                </c:pt>
                <c:pt idx="45148">
                  <c:v>-4.20168067226889E-3</c:v>
                </c:pt>
                <c:pt idx="45149">
                  <c:v>-4.20168067226889E-3</c:v>
                </c:pt>
                <c:pt idx="45150">
                  <c:v>-4.20168067226889E-3</c:v>
                </c:pt>
                <c:pt idx="45151">
                  <c:v>-4.20168067226889E-3</c:v>
                </c:pt>
                <c:pt idx="45152">
                  <c:v>-4.20168067226889E-3</c:v>
                </c:pt>
                <c:pt idx="45153">
                  <c:v>-4.20168067226889E-3</c:v>
                </c:pt>
                <c:pt idx="45154">
                  <c:v>-4.20168067226889E-3</c:v>
                </c:pt>
                <c:pt idx="45155">
                  <c:v>-4.20168067226889E-3</c:v>
                </c:pt>
                <c:pt idx="45156">
                  <c:v>-4.20168067226889E-3</c:v>
                </c:pt>
                <c:pt idx="45157">
                  <c:v>-4.20168067226889E-3</c:v>
                </c:pt>
                <c:pt idx="45158">
                  <c:v>-4.20168067226889E-3</c:v>
                </c:pt>
                <c:pt idx="45159">
                  <c:v>-4.20168067226889E-3</c:v>
                </c:pt>
                <c:pt idx="45160">
                  <c:v>-4.20168067226889E-3</c:v>
                </c:pt>
                <c:pt idx="45161">
                  <c:v>-4.20168067226889E-3</c:v>
                </c:pt>
                <c:pt idx="45162">
                  <c:v>-4.20168067226889E-3</c:v>
                </c:pt>
                <c:pt idx="45163">
                  <c:v>-4.20168067226889E-3</c:v>
                </c:pt>
                <c:pt idx="45164">
                  <c:v>-4.20168067226889E-3</c:v>
                </c:pt>
                <c:pt idx="45165">
                  <c:v>-4.20168067226889E-3</c:v>
                </c:pt>
                <c:pt idx="45166">
                  <c:v>-4.20168067226889E-3</c:v>
                </c:pt>
                <c:pt idx="45167">
                  <c:v>-4.20168067226889E-3</c:v>
                </c:pt>
                <c:pt idx="45168">
                  <c:v>-4.20168067226889E-3</c:v>
                </c:pt>
                <c:pt idx="45169">
                  <c:v>-4.20168067226889E-3</c:v>
                </c:pt>
                <c:pt idx="45170">
                  <c:v>-4.20168067226889E-3</c:v>
                </c:pt>
                <c:pt idx="45171">
                  <c:v>-4.20168067226889E-3</c:v>
                </c:pt>
                <c:pt idx="45172">
                  <c:v>-4.20168067226889E-3</c:v>
                </c:pt>
                <c:pt idx="45173">
                  <c:v>-4.20168067226889E-3</c:v>
                </c:pt>
                <c:pt idx="45174">
                  <c:v>-4.20168067226889E-3</c:v>
                </c:pt>
                <c:pt idx="45175">
                  <c:v>-4.20168067226889E-3</c:v>
                </c:pt>
                <c:pt idx="45176">
                  <c:v>-4.20168067226889E-3</c:v>
                </c:pt>
                <c:pt idx="45177">
                  <c:v>-4.20168067226889E-3</c:v>
                </c:pt>
                <c:pt idx="45178">
                  <c:v>-4.20168067226889E-3</c:v>
                </c:pt>
                <c:pt idx="45179">
                  <c:v>-4.20168067226889E-3</c:v>
                </c:pt>
                <c:pt idx="45180">
                  <c:v>-4.20168067226889E-3</c:v>
                </c:pt>
                <c:pt idx="45181">
                  <c:v>-4.20168067226889E-3</c:v>
                </c:pt>
                <c:pt idx="45182">
                  <c:v>-4.20168067226889E-3</c:v>
                </c:pt>
                <c:pt idx="45183">
                  <c:v>-4.20168067226889E-3</c:v>
                </c:pt>
                <c:pt idx="45184">
                  <c:v>-4.20168067226889E-3</c:v>
                </c:pt>
                <c:pt idx="45185">
                  <c:v>-4.20168067226889E-3</c:v>
                </c:pt>
                <c:pt idx="45186">
                  <c:v>-4.20168067226889E-3</c:v>
                </c:pt>
                <c:pt idx="45187">
                  <c:v>-4.20168067226889E-3</c:v>
                </c:pt>
                <c:pt idx="45188">
                  <c:v>-4.20168067226889E-3</c:v>
                </c:pt>
                <c:pt idx="45189">
                  <c:v>-4.20168067226889E-3</c:v>
                </c:pt>
                <c:pt idx="45190">
                  <c:v>-3.3613445378151102E-3</c:v>
                </c:pt>
                <c:pt idx="45191">
                  <c:v>-3.3613445378151102E-3</c:v>
                </c:pt>
                <c:pt idx="45192">
                  <c:v>-3.3613445378151102E-3</c:v>
                </c:pt>
                <c:pt idx="45193">
                  <c:v>-3.3613445378151102E-3</c:v>
                </c:pt>
                <c:pt idx="45194">
                  <c:v>-3.3613445378151102E-3</c:v>
                </c:pt>
                <c:pt idx="45195">
                  <c:v>-3.3613445378151102E-3</c:v>
                </c:pt>
                <c:pt idx="45196">
                  <c:v>-3.3613445378151102E-3</c:v>
                </c:pt>
                <c:pt idx="45197">
                  <c:v>-3.3613445378151102E-3</c:v>
                </c:pt>
                <c:pt idx="45198">
                  <c:v>-3.3613445378151102E-3</c:v>
                </c:pt>
                <c:pt idx="45199">
                  <c:v>-4.20168067226889E-3</c:v>
                </c:pt>
                <c:pt idx="45200">
                  <c:v>-4.20168067226889E-3</c:v>
                </c:pt>
                <c:pt idx="45201">
                  <c:v>-4.20168067226889E-3</c:v>
                </c:pt>
                <c:pt idx="45202">
                  <c:v>-4.20168067226889E-3</c:v>
                </c:pt>
                <c:pt idx="45203">
                  <c:v>-4.20168067226889E-3</c:v>
                </c:pt>
                <c:pt idx="45204">
                  <c:v>-4.20168067226889E-3</c:v>
                </c:pt>
                <c:pt idx="45205">
                  <c:v>-4.20168067226889E-3</c:v>
                </c:pt>
                <c:pt idx="45206">
                  <c:v>-4.20168067226889E-3</c:v>
                </c:pt>
                <c:pt idx="45207">
                  <c:v>-4.20168067226889E-3</c:v>
                </c:pt>
                <c:pt idx="45208">
                  <c:v>-3.3613445378151102E-3</c:v>
                </c:pt>
                <c:pt idx="45209">
                  <c:v>-3.3613445378151102E-3</c:v>
                </c:pt>
                <c:pt idx="45210">
                  <c:v>-3.3613445378151102E-3</c:v>
                </c:pt>
                <c:pt idx="45211">
                  <c:v>-3.3613445378151102E-3</c:v>
                </c:pt>
                <c:pt idx="45212">
                  <c:v>-3.3613445378151102E-3</c:v>
                </c:pt>
                <c:pt idx="45213">
                  <c:v>-3.3613445378151102E-3</c:v>
                </c:pt>
                <c:pt idx="45214">
                  <c:v>-3.3613445378151102E-3</c:v>
                </c:pt>
                <c:pt idx="45215">
                  <c:v>-3.3613445378151102E-3</c:v>
                </c:pt>
                <c:pt idx="45216">
                  <c:v>-3.3613445378151102E-3</c:v>
                </c:pt>
                <c:pt idx="45217">
                  <c:v>-3.3613445378151102E-3</c:v>
                </c:pt>
                <c:pt idx="45218">
                  <c:v>-3.3613445378151102E-3</c:v>
                </c:pt>
                <c:pt idx="45219">
                  <c:v>-3.3613445378151102E-3</c:v>
                </c:pt>
                <c:pt idx="45220">
                  <c:v>-3.3613445378151102E-3</c:v>
                </c:pt>
                <c:pt idx="45221">
                  <c:v>-3.3613445378151102E-3</c:v>
                </c:pt>
                <c:pt idx="45222">
                  <c:v>-3.3613445378151102E-3</c:v>
                </c:pt>
                <c:pt idx="45223">
                  <c:v>-3.3613445378151102E-3</c:v>
                </c:pt>
                <c:pt idx="45224">
                  <c:v>-3.3613445378151102E-3</c:v>
                </c:pt>
                <c:pt idx="45225">
                  <c:v>-3.3613445378151102E-3</c:v>
                </c:pt>
                <c:pt idx="45226">
                  <c:v>-3.3613445378151102E-3</c:v>
                </c:pt>
                <c:pt idx="45227">
                  <c:v>-3.3613445378151102E-3</c:v>
                </c:pt>
                <c:pt idx="45228">
                  <c:v>-3.3613445378151102E-3</c:v>
                </c:pt>
                <c:pt idx="45229">
                  <c:v>-3.3613445378151102E-3</c:v>
                </c:pt>
                <c:pt idx="45230">
                  <c:v>-3.3613445378151102E-3</c:v>
                </c:pt>
                <c:pt idx="45231">
                  <c:v>-3.3613445378151102E-3</c:v>
                </c:pt>
                <c:pt idx="45232">
                  <c:v>-3.3613445378151102E-3</c:v>
                </c:pt>
                <c:pt idx="45233">
                  <c:v>-3.3613445378151102E-3</c:v>
                </c:pt>
                <c:pt idx="45234">
                  <c:v>-3.3613445378151102E-3</c:v>
                </c:pt>
                <c:pt idx="45235">
                  <c:v>-3.3613445378151102E-3</c:v>
                </c:pt>
                <c:pt idx="45236">
                  <c:v>-3.3613445378151102E-3</c:v>
                </c:pt>
                <c:pt idx="45237">
                  <c:v>-3.3613445378151102E-3</c:v>
                </c:pt>
                <c:pt idx="45238">
                  <c:v>-3.3613445378151102E-3</c:v>
                </c:pt>
                <c:pt idx="45239">
                  <c:v>-3.3613445378151102E-3</c:v>
                </c:pt>
                <c:pt idx="45240">
                  <c:v>-3.3613445378151102E-3</c:v>
                </c:pt>
                <c:pt idx="45241">
                  <c:v>-3.3613445378151102E-3</c:v>
                </c:pt>
                <c:pt idx="45242">
                  <c:v>-3.3613445378151102E-3</c:v>
                </c:pt>
                <c:pt idx="45243">
                  <c:v>-3.3613445378151102E-3</c:v>
                </c:pt>
                <c:pt idx="45244">
                  <c:v>-3.3613445378151102E-3</c:v>
                </c:pt>
                <c:pt idx="45245">
                  <c:v>-3.3613445378151102E-3</c:v>
                </c:pt>
                <c:pt idx="45246">
                  <c:v>-3.3613445378151102E-3</c:v>
                </c:pt>
                <c:pt idx="45247">
                  <c:v>-3.3613445378151102E-3</c:v>
                </c:pt>
                <c:pt idx="45248">
                  <c:v>-3.3613445378151102E-3</c:v>
                </c:pt>
                <c:pt idx="45249">
                  <c:v>-3.3613445378151102E-3</c:v>
                </c:pt>
                <c:pt idx="45250">
                  <c:v>-3.3613445378151102E-3</c:v>
                </c:pt>
                <c:pt idx="45251">
                  <c:v>-3.3613445378151102E-3</c:v>
                </c:pt>
                <c:pt idx="45252">
                  <c:v>-3.3613445378151102E-3</c:v>
                </c:pt>
                <c:pt idx="45253">
                  <c:v>-3.3613445378151102E-3</c:v>
                </c:pt>
                <c:pt idx="45254">
                  <c:v>-3.3613445378151102E-3</c:v>
                </c:pt>
                <c:pt idx="45255">
                  <c:v>-3.3613445378151102E-3</c:v>
                </c:pt>
                <c:pt idx="45256">
                  <c:v>-3.3613445378151102E-3</c:v>
                </c:pt>
                <c:pt idx="45257">
                  <c:v>-3.3613445378151102E-3</c:v>
                </c:pt>
                <c:pt idx="45258">
                  <c:v>-3.3613445378151102E-3</c:v>
                </c:pt>
                <c:pt idx="45259">
                  <c:v>-3.3613445378151102E-3</c:v>
                </c:pt>
                <c:pt idx="45260">
                  <c:v>-3.3613445378151102E-3</c:v>
                </c:pt>
                <c:pt idx="45261">
                  <c:v>-3.3613445378151102E-3</c:v>
                </c:pt>
                <c:pt idx="45262">
                  <c:v>-3.3613445378151102E-3</c:v>
                </c:pt>
                <c:pt idx="45263">
                  <c:v>-3.3613445378151102E-3</c:v>
                </c:pt>
                <c:pt idx="45264">
                  <c:v>-3.3613445378151102E-3</c:v>
                </c:pt>
                <c:pt idx="45265">
                  <c:v>-3.3613445378151102E-3</c:v>
                </c:pt>
                <c:pt idx="45266">
                  <c:v>-3.3613445378151102E-3</c:v>
                </c:pt>
                <c:pt idx="45267">
                  <c:v>-3.3613445378151102E-3</c:v>
                </c:pt>
                <c:pt idx="45268">
                  <c:v>-3.3613445378151102E-3</c:v>
                </c:pt>
                <c:pt idx="45269">
                  <c:v>-3.3613445378151102E-3</c:v>
                </c:pt>
                <c:pt idx="45270">
                  <c:v>-3.3613445378151102E-3</c:v>
                </c:pt>
                <c:pt idx="45271">
                  <c:v>-3.3613445378151102E-3</c:v>
                </c:pt>
                <c:pt idx="45272">
                  <c:v>-3.3613445378151102E-3</c:v>
                </c:pt>
                <c:pt idx="45273">
                  <c:v>-3.3613445378151102E-3</c:v>
                </c:pt>
                <c:pt idx="45274">
                  <c:v>-3.3613445378151102E-3</c:v>
                </c:pt>
                <c:pt idx="45275">
                  <c:v>-2.5210084033613299E-3</c:v>
                </c:pt>
                <c:pt idx="45276">
                  <c:v>-2.5210084033613299E-3</c:v>
                </c:pt>
                <c:pt idx="45277">
                  <c:v>-2.5210084033613299E-3</c:v>
                </c:pt>
                <c:pt idx="45278">
                  <c:v>-1.6806722689075499E-3</c:v>
                </c:pt>
                <c:pt idx="45279">
                  <c:v>-1.6806722689075499E-3</c:v>
                </c:pt>
                <c:pt idx="45280">
                  <c:v>-1.6806722689075499E-3</c:v>
                </c:pt>
                <c:pt idx="45281">
                  <c:v>-1.6806722689075499E-3</c:v>
                </c:pt>
                <c:pt idx="45282">
                  <c:v>-1.6806722689075499E-3</c:v>
                </c:pt>
                <c:pt idx="45283">
                  <c:v>-1.6806722689075499E-3</c:v>
                </c:pt>
                <c:pt idx="45284">
                  <c:v>-1.6806722689075499E-3</c:v>
                </c:pt>
                <c:pt idx="45285">
                  <c:v>-1.6806722689075499E-3</c:v>
                </c:pt>
                <c:pt idx="45286">
                  <c:v>-1.6806722689075499E-3</c:v>
                </c:pt>
                <c:pt idx="45287">
                  <c:v>-1.6806722689075499E-3</c:v>
                </c:pt>
                <c:pt idx="45288">
                  <c:v>-1.6806722689075499E-3</c:v>
                </c:pt>
                <c:pt idx="45289">
                  <c:v>-1.6806722689075499E-3</c:v>
                </c:pt>
                <c:pt idx="45290">
                  <c:v>-1.6806722689075499E-3</c:v>
                </c:pt>
                <c:pt idx="45291">
                  <c:v>-1.6806722689075499E-3</c:v>
                </c:pt>
                <c:pt idx="45292">
                  <c:v>-1.6806722689075499E-3</c:v>
                </c:pt>
                <c:pt idx="45293">
                  <c:v>-1.6806722689075499E-3</c:v>
                </c:pt>
                <c:pt idx="45294">
                  <c:v>-1.6806722689075499E-3</c:v>
                </c:pt>
                <c:pt idx="45295">
                  <c:v>-1.6806722689075499E-3</c:v>
                </c:pt>
                <c:pt idx="45296">
                  <c:v>-1.6806722689075499E-3</c:v>
                </c:pt>
                <c:pt idx="45297">
                  <c:v>-1.6806722689075499E-3</c:v>
                </c:pt>
                <c:pt idx="45298">
                  <c:v>-1.6806722689075499E-3</c:v>
                </c:pt>
                <c:pt idx="45299">
                  <c:v>-1.6806722689075499E-3</c:v>
                </c:pt>
                <c:pt idx="45300">
                  <c:v>-1.6806722689075499E-3</c:v>
                </c:pt>
                <c:pt idx="45301">
                  <c:v>-1.6806722689075499E-3</c:v>
                </c:pt>
                <c:pt idx="45302">
                  <c:v>-1.6806722689075499E-3</c:v>
                </c:pt>
                <c:pt idx="45303">
                  <c:v>-1.6806722689075499E-3</c:v>
                </c:pt>
                <c:pt idx="45304">
                  <c:v>-1.6806722689075499E-3</c:v>
                </c:pt>
                <c:pt idx="45305">
                  <c:v>-1.6806722689075499E-3</c:v>
                </c:pt>
                <c:pt idx="45306">
                  <c:v>-1.6806722689075499E-3</c:v>
                </c:pt>
                <c:pt idx="45307">
                  <c:v>-1.6806722689075499E-3</c:v>
                </c:pt>
                <c:pt idx="45308">
                  <c:v>-1.6806722689075499E-3</c:v>
                </c:pt>
                <c:pt idx="45309">
                  <c:v>-1.6806722689075499E-3</c:v>
                </c:pt>
                <c:pt idx="45310">
                  <c:v>-1.6806722689075499E-3</c:v>
                </c:pt>
                <c:pt idx="45311">
                  <c:v>-1.6806722689075499E-3</c:v>
                </c:pt>
                <c:pt idx="45312">
                  <c:v>-1.6806722689075499E-3</c:v>
                </c:pt>
                <c:pt idx="45313">
                  <c:v>-1.6806722689075499E-3</c:v>
                </c:pt>
                <c:pt idx="45314">
                  <c:v>-1.6806722689075499E-3</c:v>
                </c:pt>
                <c:pt idx="45315">
                  <c:v>-1.6806722689075499E-3</c:v>
                </c:pt>
                <c:pt idx="45316">
                  <c:v>-1.6806722689075499E-3</c:v>
                </c:pt>
                <c:pt idx="45317">
                  <c:v>-1.6806722689075499E-3</c:v>
                </c:pt>
                <c:pt idx="45318">
                  <c:v>-1.6806722689075499E-3</c:v>
                </c:pt>
                <c:pt idx="45319">
                  <c:v>-1.6806722689075499E-3</c:v>
                </c:pt>
                <c:pt idx="45320">
                  <c:v>-1.6806722689075499E-3</c:v>
                </c:pt>
                <c:pt idx="45321">
                  <c:v>-1.6806722689075499E-3</c:v>
                </c:pt>
                <c:pt idx="45322">
                  <c:v>-1.6806722689075499E-3</c:v>
                </c:pt>
                <c:pt idx="45323">
                  <c:v>-1.6806722689075499E-3</c:v>
                </c:pt>
                <c:pt idx="45324">
                  <c:v>-1.6806722689075499E-3</c:v>
                </c:pt>
                <c:pt idx="45325">
                  <c:v>-1.6806722689075499E-3</c:v>
                </c:pt>
                <c:pt idx="45326">
                  <c:v>-1.6806722689075499E-3</c:v>
                </c:pt>
                <c:pt idx="45327">
                  <c:v>-1.6806722689075499E-3</c:v>
                </c:pt>
                <c:pt idx="45328">
                  <c:v>-1.6806722689075499E-3</c:v>
                </c:pt>
                <c:pt idx="45329">
                  <c:v>-1.6806722689075499E-3</c:v>
                </c:pt>
                <c:pt idx="45330">
                  <c:v>-1.6806722689075499E-3</c:v>
                </c:pt>
                <c:pt idx="45331">
                  <c:v>-1.6806722689075499E-3</c:v>
                </c:pt>
                <c:pt idx="45332">
                  <c:v>-1.6806722689075499E-3</c:v>
                </c:pt>
                <c:pt idx="45333">
                  <c:v>-1.6806722689075499E-3</c:v>
                </c:pt>
                <c:pt idx="45334">
                  <c:v>-1.6806722689075499E-3</c:v>
                </c:pt>
                <c:pt idx="45335">
                  <c:v>-1.6806722689075499E-3</c:v>
                </c:pt>
                <c:pt idx="45336">
                  <c:v>-1.6806722689075499E-3</c:v>
                </c:pt>
                <c:pt idx="45337">
                  <c:v>-1.6806722689075499E-3</c:v>
                </c:pt>
                <c:pt idx="45338">
                  <c:v>-1.6806722689075499E-3</c:v>
                </c:pt>
                <c:pt idx="45339">
                  <c:v>-1.6806722689075499E-3</c:v>
                </c:pt>
                <c:pt idx="45340">
                  <c:v>-1.6806722689075499E-3</c:v>
                </c:pt>
                <c:pt idx="45341">
                  <c:v>-1.6806722689075499E-3</c:v>
                </c:pt>
                <c:pt idx="45342">
                  <c:v>-1.6806722689075499E-3</c:v>
                </c:pt>
                <c:pt idx="45343">
                  <c:v>-1.6806722689075499E-3</c:v>
                </c:pt>
                <c:pt idx="45344">
                  <c:v>-1.6806722689075499E-3</c:v>
                </c:pt>
                <c:pt idx="45345">
                  <c:v>-1.6806722689075499E-3</c:v>
                </c:pt>
                <c:pt idx="45346">
                  <c:v>-1.6806722689075499E-3</c:v>
                </c:pt>
                <c:pt idx="45347">
                  <c:v>-1.6806722689075499E-3</c:v>
                </c:pt>
                <c:pt idx="45348">
                  <c:v>-1.6806722689075499E-3</c:v>
                </c:pt>
                <c:pt idx="45349">
                  <c:v>-1.6806722689075499E-3</c:v>
                </c:pt>
                <c:pt idx="45350">
                  <c:v>-1.6806722689075499E-3</c:v>
                </c:pt>
                <c:pt idx="45351">
                  <c:v>-1.6806722689075499E-3</c:v>
                </c:pt>
                <c:pt idx="45352">
                  <c:v>-1.6806722689075499E-3</c:v>
                </c:pt>
                <c:pt idx="45353">
                  <c:v>-1.6806722689075499E-3</c:v>
                </c:pt>
                <c:pt idx="45354">
                  <c:v>-1.6806722689075499E-3</c:v>
                </c:pt>
                <c:pt idx="45355">
                  <c:v>-1.6806722689075499E-3</c:v>
                </c:pt>
                <c:pt idx="45356">
                  <c:v>-1.6806722689075499E-3</c:v>
                </c:pt>
                <c:pt idx="45357">
                  <c:v>-1.6806722689075499E-3</c:v>
                </c:pt>
                <c:pt idx="45358">
                  <c:v>-1.6806722689075499E-3</c:v>
                </c:pt>
                <c:pt idx="45359">
                  <c:v>-1.6806722689075499E-3</c:v>
                </c:pt>
                <c:pt idx="45360">
                  <c:v>-1.6806722689075499E-3</c:v>
                </c:pt>
                <c:pt idx="45361">
                  <c:v>-1.6806722689075499E-3</c:v>
                </c:pt>
                <c:pt idx="45362">
                  <c:v>-1.6806722689075499E-3</c:v>
                </c:pt>
                <c:pt idx="45363">
                  <c:v>-1.6806722689075499E-3</c:v>
                </c:pt>
                <c:pt idx="45364">
                  <c:v>-1.6806722689075499E-3</c:v>
                </c:pt>
                <c:pt idx="45365">
                  <c:v>-1.6806722689075499E-3</c:v>
                </c:pt>
                <c:pt idx="45366">
                  <c:v>-8.4033613445377799E-4</c:v>
                </c:pt>
                <c:pt idx="45367">
                  <c:v>-8.4033613445377799E-4</c:v>
                </c:pt>
                <c:pt idx="45368">
                  <c:v>-8.4033613445377799E-4</c:v>
                </c:pt>
                <c:pt idx="45369">
                  <c:v>-8.4033613445377799E-4</c:v>
                </c:pt>
                <c:pt idx="45370">
                  <c:v>-8.4033613445377799E-4</c:v>
                </c:pt>
                <c:pt idx="45371">
                  <c:v>-8.4033613445377799E-4</c:v>
                </c:pt>
                <c:pt idx="45372">
                  <c:v>-8.4033613445377799E-4</c:v>
                </c:pt>
                <c:pt idx="45373">
                  <c:v>-8.4033613445377799E-4</c:v>
                </c:pt>
                <c:pt idx="45374">
                  <c:v>-8.4033613445377799E-4</c:v>
                </c:pt>
                <c:pt idx="45375">
                  <c:v>-8.4033613445377799E-4</c:v>
                </c:pt>
                <c:pt idx="45376">
                  <c:v>-8.4033613445377799E-4</c:v>
                </c:pt>
                <c:pt idx="45377">
                  <c:v>-8.4033613445377799E-4</c:v>
                </c:pt>
                <c:pt idx="45378">
                  <c:v>-8.4033613445377799E-4</c:v>
                </c:pt>
                <c:pt idx="45379">
                  <c:v>-8.4033613445377799E-4</c:v>
                </c:pt>
                <c:pt idx="45380">
                  <c:v>-8.4033613445377799E-4</c:v>
                </c:pt>
                <c:pt idx="45381">
                  <c:v>-8.4033613445377799E-4</c:v>
                </c:pt>
                <c:pt idx="45382">
                  <c:v>-8.4033613445377799E-4</c:v>
                </c:pt>
                <c:pt idx="45383">
                  <c:v>-8.4033613445377799E-4</c:v>
                </c:pt>
                <c:pt idx="45384">
                  <c:v>-8.4033613445377799E-4</c:v>
                </c:pt>
                <c:pt idx="45385">
                  <c:v>-8.4033613445377799E-4</c:v>
                </c:pt>
                <c:pt idx="45386">
                  <c:v>-8.4033613445377799E-4</c:v>
                </c:pt>
                <c:pt idx="45387">
                  <c:v>-8.4033613445377799E-4</c:v>
                </c:pt>
                <c:pt idx="45388">
                  <c:v>-8.4033613445377799E-4</c:v>
                </c:pt>
                <c:pt idx="45389">
                  <c:v>-8.4033613445377799E-4</c:v>
                </c:pt>
                <c:pt idx="45390">
                  <c:v>-8.4033613445377799E-4</c:v>
                </c:pt>
                <c:pt idx="45391">
                  <c:v>-8.4033613445377799E-4</c:v>
                </c:pt>
                <c:pt idx="45392">
                  <c:v>-8.4033613445377799E-4</c:v>
                </c:pt>
                <c:pt idx="45393">
                  <c:v>-8.4033613445377799E-4</c:v>
                </c:pt>
                <c:pt idx="45394">
                  <c:v>-8.4033613445377799E-4</c:v>
                </c:pt>
                <c:pt idx="45395">
                  <c:v>-8.4033613445377799E-4</c:v>
                </c:pt>
                <c:pt idx="45396">
                  <c:v>-8.4033613445377799E-4</c:v>
                </c:pt>
                <c:pt idx="45397">
                  <c:v>-8.4033613445377799E-4</c:v>
                </c:pt>
                <c:pt idx="45398">
                  <c:v>-8.4033613445377799E-4</c:v>
                </c:pt>
                <c:pt idx="45399">
                  <c:v>-8.4033613445377799E-4</c:v>
                </c:pt>
                <c:pt idx="45400">
                  <c:v>-8.4033613445377799E-4</c:v>
                </c:pt>
                <c:pt idx="45401">
                  <c:v>-8.4033613445377799E-4</c:v>
                </c:pt>
                <c:pt idx="45402">
                  <c:v>-8.4033613445377799E-4</c:v>
                </c:pt>
                <c:pt idx="45403">
                  <c:v>-8.4033613445377799E-4</c:v>
                </c:pt>
                <c:pt idx="45404">
                  <c:v>-8.4033613445377799E-4</c:v>
                </c:pt>
                <c:pt idx="45405">
                  <c:v>-8.4033613445377799E-4</c:v>
                </c:pt>
                <c:pt idx="45406">
                  <c:v>-8.4033613445377799E-4</c:v>
                </c:pt>
                <c:pt idx="45407">
                  <c:v>-8.4033613445377799E-4</c:v>
                </c:pt>
                <c:pt idx="45408">
                  <c:v>-8.4033613445377799E-4</c:v>
                </c:pt>
                <c:pt idx="45409">
                  <c:v>-8.4033613445377799E-4</c:v>
                </c:pt>
                <c:pt idx="45410">
                  <c:v>-8.4033613445377799E-4</c:v>
                </c:pt>
                <c:pt idx="45411">
                  <c:v>-8.4033613445377799E-4</c:v>
                </c:pt>
                <c:pt idx="45412">
                  <c:v>-8.4033613445377799E-4</c:v>
                </c:pt>
                <c:pt idx="45413">
                  <c:v>-8.4033613445377799E-4</c:v>
                </c:pt>
                <c:pt idx="45414">
                  <c:v>-8.4033613445377799E-4</c:v>
                </c:pt>
                <c:pt idx="45415">
                  <c:v>-8.4033613445377799E-4</c:v>
                </c:pt>
                <c:pt idx="45416">
                  <c:v>-8.4033613445377799E-4</c:v>
                </c:pt>
                <c:pt idx="45417">
                  <c:v>-1.6806722689075499E-3</c:v>
                </c:pt>
                <c:pt idx="45418">
                  <c:v>-1.6806722689075499E-3</c:v>
                </c:pt>
                <c:pt idx="45419">
                  <c:v>-1.6806722689075499E-3</c:v>
                </c:pt>
                <c:pt idx="45420">
                  <c:v>-1.6806722689075499E-3</c:v>
                </c:pt>
                <c:pt idx="45421">
                  <c:v>-1.6806722689075499E-3</c:v>
                </c:pt>
                <c:pt idx="45422">
                  <c:v>-1.6806722689075499E-3</c:v>
                </c:pt>
                <c:pt idx="45423">
                  <c:v>-1.6806722689075499E-3</c:v>
                </c:pt>
                <c:pt idx="45424">
                  <c:v>-1.6806722689075499E-3</c:v>
                </c:pt>
                <c:pt idx="45425">
                  <c:v>-8.4033613445377799E-4</c:v>
                </c:pt>
                <c:pt idx="45426">
                  <c:v>-8.4033613445377799E-4</c:v>
                </c:pt>
                <c:pt idx="45427">
                  <c:v>-8.4033613445377799E-4</c:v>
                </c:pt>
                <c:pt idx="45428">
                  <c:v>-8.4033613445377799E-4</c:v>
                </c:pt>
                <c:pt idx="45429">
                  <c:v>-8.4033613445377799E-4</c:v>
                </c:pt>
                <c:pt idx="45430">
                  <c:v>-8.4033613445377799E-4</c:v>
                </c:pt>
                <c:pt idx="45431">
                  <c:v>-8.4033613445377799E-4</c:v>
                </c:pt>
                <c:pt idx="45432">
                  <c:v>-8.4033613445377799E-4</c:v>
                </c:pt>
                <c:pt idx="45433">
                  <c:v>-8.4033613445377799E-4</c:v>
                </c:pt>
                <c:pt idx="45434">
                  <c:v>-8.4033613445377799E-4</c:v>
                </c:pt>
                <c:pt idx="45435">
                  <c:v>-8.4033613445377799E-4</c:v>
                </c:pt>
                <c:pt idx="45436">
                  <c:v>-8.4033613445377799E-4</c:v>
                </c:pt>
                <c:pt idx="45437">
                  <c:v>-8.4033613445377799E-4</c:v>
                </c:pt>
                <c:pt idx="45438">
                  <c:v>-8.4033613445377799E-4</c:v>
                </c:pt>
                <c:pt idx="45439">
                  <c:v>-8.4033613445377799E-4</c:v>
                </c:pt>
                <c:pt idx="45440">
                  <c:v>-8.4033613445377799E-4</c:v>
                </c:pt>
                <c:pt idx="45441">
                  <c:v>-8.4033613445377799E-4</c:v>
                </c:pt>
                <c:pt idx="45442">
                  <c:v>-8.4033613445377799E-4</c:v>
                </c:pt>
                <c:pt idx="45443">
                  <c:v>-8.4033613445377799E-4</c:v>
                </c:pt>
                <c:pt idx="45444">
                  <c:v>-8.4033613445377799E-4</c:v>
                </c:pt>
                <c:pt idx="45445">
                  <c:v>-8.4033613445377799E-4</c:v>
                </c:pt>
                <c:pt idx="45446">
                  <c:v>-8.4033613445377799E-4</c:v>
                </c:pt>
                <c:pt idx="45447">
                  <c:v>-8.4033613445377799E-4</c:v>
                </c:pt>
                <c:pt idx="45448">
                  <c:v>-8.4033613445377799E-4</c:v>
                </c:pt>
                <c:pt idx="45449">
                  <c:v>-8.4033613445377799E-4</c:v>
                </c:pt>
                <c:pt idx="45450">
                  <c:v>-8.4033613445377799E-4</c:v>
                </c:pt>
                <c:pt idx="45451">
                  <c:v>-8.4033613445377799E-4</c:v>
                </c:pt>
                <c:pt idx="45452">
                  <c:v>-8.4033613445377799E-4</c:v>
                </c:pt>
                <c:pt idx="45453">
                  <c:v>-8.4033613445377799E-4</c:v>
                </c:pt>
                <c:pt idx="45454">
                  <c:v>-8.4033613445377799E-4</c:v>
                </c:pt>
                <c:pt idx="45455">
                  <c:v>-8.4033613445377799E-4</c:v>
                </c:pt>
                <c:pt idx="45456">
                  <c:v>-8.4033613445377799E-4</c:v>
                </c:pt>
                <c:pt idx="45457">
                  <c:v>-8.4033613445377799E-4</c:v>
                </c:pt>
                <c:pt idx="45458">
                  <c:v>-8.4033613445377799E-4</c:v>
                </c:pt>
                <c:pt idx="45459">
                  <c:v>-8.4033613445377799E-4</c:v>
                </c:pt>
                <c:pt idx="45460">
                  <c:v>-8.4033613445377799E-4</c:v>
                </c:pt>
                <c:pt idx="45461">
                  <c:v>-8.4033613445377799E-4</c:v>
                </c:pt>
                <c:pt idx="45462">
                  <c:v>-8.4033613445377799E-4</c:v>
                </c:pt>
                <c:pt idx="45463">
                  <c:v>-8.4033613445377799E-4</c:v>
                </c:pt>
                <c:pt idx="45464">
                  <c:v>-8.4033613445377799E-4</c:v>
                </c:pt>
                <c:pt idx="45465">
                  <c:v>-8.4033613445377799E-4</c:v>
                </c:pt>
                <c:pt idx="45466">
                  <c:v>-8.4033613445377799E-4</c:v>
                </c:pt>
                <c:pt idx="45467">
                  <c:v>-8.4033613445377799E-4</c:v>
                </c:pt>
                <c:pt idx="45468">
                  <c:v>-8.4033613445377799E-4</c:v>
                </c:pt>
                <c:pt idx="45469">
                  <c:v>-8.4033613445377799E-4</c:v>
                </c:pt>
                <c:pt idx="45470">
                  <c:v>-8.4033613445377799E-4</c:v>
                </c:pt>
                <c:pt idx="45471">
                  <c:v>-8.4033613445377799E-4</c:v>
                </c:pt>
                <c:pt idx="45472">
                  <c:v>-8.4033613445377799E-4</c:v>
                </c:pt>
                <c:pt idx="45473">
                  <c:v>-8.4033613445377799E-4</c:v>
                </c:pt>
                <c:pt idx="45474">
                  <c:v>-8.4033613445377799E-4</c:v>
                </c:pt>
                <c:pt idx="45475">
                  <c:v>-8.4033613445377799E-4</c:v>
                </c:pt>
                <c:pt idx="45476">
                  <c:v>-8.4033613445377799E-4</c:v>
                </c:pt>
                <c:pt idx="45477">
                  <c:v>-8.4033613445377799E-4</c:v>
                </c:pt>
                <c:pt idx="45478">
                  <c:v>-8.4033613445377799E-4</c:v>
                </c:pt>
                <c:pt idx="45479">
                  <c:v>-8.4033613445377799E-4</c:v>
                </c:pt>
                <c:pt idx="45480">
                  <c:v>-8.4033613445377799E-4</c:v>
                </c:pt>
                <c:pt idx="45481">
                  <c:v>-8.4033613445377799E-4</c:v>
                </c:pt>
                <c:pt idx="45482">
                  <c:v>-8.4033613445377799E-4</c:v>
                </c:pt>
                <c:pt idx="45483">
                  <c:v>-8.4033613445377799E-4</c:v>
                </c:pt>
                <c:pt idx="45484">
                  <c:v>-8.4033613445377799E-4</c:v>
                </c:pt>
                <c:pt idx="45485">
                  <c:v>-8.4033613445377799E-4</c:v>
                </c:pt>
                <c:pt idx="45486">
                  <c:v>-8.4033613445377799E-4</c:v>
                </c:pt>
                <c:pt idx="45487">
                  <c:v>-8.4033613445377799E-4</c:v>
                </c:pt>
                <c:pt idx="45488">
                  <c:v>-8.4033613445377799E-4</c:v>
                </c:pt>
                <c:pt idx="45489">
                  <c:v>-8.4033613445377799E-4</c:v>
                </c:pt>
                <c:pt idx="45490">
                  <c:v>-8.4033613445377799E-4</c:v>
                </c:pt>
                <c:pt idx="45491">
                  <c:v>-8.4033613445377799E-4</c:v>
                </c:pt>
                <c:pt idx="45492">
                  <c:v>-8.4033613445377799E-4</c:v>
                </c:pt>
                <c:pt idx="45493">
                  <c:v>-8.4033613445377799E-4</c:v>
                </c:pt>
                <c:pt idx="45494">
                  <c:v>-8.4033613445377799E-4</c:v>
                </c:pt>
                <c:pt idx="45495">
                  <c:v>-8.4033613445377799E-4</c:v>
                </c:pt>
                <c:pt idx="45496">
                  <c:v>-8.4033613445377799E-4</c:v>
                </c:pt>
                <c:pt idx="45497">
                  <c:v>-8.4033613445377799E-4</c:v>
                </c:pt>
                <c:pt idx="45498">
                  <c:v>-8.4033613445377799E-4</c:v>
                </c:pt>
                <c:pt idx="45499">
                  <c:v>-8.4033613445377799E-4</c:v>
                </c:pt>
                <c:pt idx="45500">
                  <c:v>-8.4033613445377799E-4</c:v>
                </c:pt>
                <c:pt idx="45501">
                  <c:v>-8.4033613445377799E-4</c:v>
                </c:pt>
                <c:pt idx="45502">
                  <c:v>-8.4033613445377799E-4</c:v>
                </c:pt>
                <c:pt idx="45503">
                  <c:v>-8.4033613445377799E-4</c:v>
                </c:pt>
                <c:pt idx="45504">
                  <c:v>-8.4033613445377799E-4</c:v>
                </c:pt>
                <c:pt idx="45505">
                  <c:v>-8.4033613445377799E-4</c:v>
                </c:pt>
                <c:pt idx="45506">
                  <c:v>-8.4033613445377799E-4</c:v>
                </c:pt>
                <c:pt idx="45507">
                  <c:v>-8.4033613445377799E-4</c:v>
                </c:pt>
                <c:pt idx="45508">
                  <c:v>-8.4033613445377799E-4</c:v>
                </c:pt>
                <c:pt idx="45509">
                  <c:v>-8.4033613445377799E-4</c:v>
                </c:pt>
                <c:pt idx="45510">
                  <c:v>-8.4033613445377799E-4</c:v>
                </c:pt>
                <c:pt idx="45511">
                  <c:v>-8.4033613445377799E-4</c:v>
                </c:pt>
                <c:pt idx="45512">
                  <c:v>-8.4033613445377799E-4</c:v>
                </c:pt>
                <c:pt idx="45513">
                  <c:v>-8.4033613445377799E-4</c:v>
                </c:pt>
                <c:pt idx="45514">
                  <c:v>-8.4033613445377799E-4</c:v>
                </c:pt>
                <c:pt idx="45515">
                  <c:v>-8.4033613445377799E-4</c:v>
                </c:pt>
                <c:pt idx="45516">
                  <c:v>-8.4033613445377799E-4</c:v>
                </c:pt>
                <c:pt idx="45517">
                  <c:v>-8.4033613445377799E-4</c:v>
                </c:pt>
                <c:pt idx="45518">
                  <c:v>-8.4033613445377799E-4</c:v>
                </c:pt>
                <c:pt idx="45519">
                  <c:v>-8.4033613445377799E-4</c:v>
                </c:pt>
                <c:pt idx="45520">
                  <c:v>-8.4033613445377799E-4</c:v>
                </c:pt>
                <c:pt idx="45521">
                  <c:v>-8.4033613445377799E-4</c:v>
                </c:pt>
                <c:pt idx="45522">
                  <c:v>-8.4033613445377799E-4</c:v>
                </c:pt>
                <c:pt idx="45523">
                  <c:v>-8.4033613445377799E-4</c:v>
                </c:pt>
                <c:pt idx="45524">
                  <c:v>-8.4033613445377799E-4</c:v>
                </c:pt>
                <c:pt idx="45525">
                  <c:v>-8.4033613445377799E-4</c:v>
                </c:pt>
                <c:pt idx="45526">
                  <c:v>-8.4033613445377799E-4</c:v>
                </c:pt>
                <c:pt idx="45527">
                  <c:v>-8.4033613445377799E-4</c:v>
                </c:pt>
                <c:pt idx="45528">
                  <c:v>-8.4033613445377799E-4</c:v>
                </c:pt>
                <c:pt idx="45529">
                  <c:v>-8.4033613445377799E-4</c:v>
                </c:pt>
                <c:pt idx="45530">
                  <c:v>-8.4033613445377799E-4</c:v>
                </c:pt>
                <c:pt idx="45531">
                  <c:v>-8.4033613445377799E-4</c:v>
                </c:pt>
                <c:pt idx="45532">
                  <c:v>-8.4033613445377799E-4</c:v>
                </c:pt>
                <c:pt idx="45533">
                  <c:v>-8.4033613445377799E-4</c:v>
                </c:pt>
                <c:pt idx="45534">
                  <c:v>-8.4033613445377799E-4</c:v>
                </c:pt>
                <c:pt idx="45535">
                  <c:v>-8.4033613445377799E-4</c:v>
                </c:pt>
                <c:pt idx="45536">
                  <c:v>-8.4033613445377799E-4</c:v>
                </c:pt>
                <c:pt idx="45537">
                  <c:v>-8.4033613445377799E-4</c:v>
                </c:pt>
                <c:pt idx="45538">
                  <c:v>-8.4033613445377799E-4</c:v>
                </c:pt>
                <c:pt idx="45539">
                  <c:v>-8.4033613445377799E-4</c:v>
                </c:pt>
                <c:pt idx="45540">
                  <c:v>-8.4033613445377799E-4</c:v>
                </c:pt>
                <c:pt idx="45541">
                  <c:v>-8.4033613445377799E-4</c:v>
                </c:pt>
                <c:pt idx="45542">
                  <c:v>-8.4033613445377799E-4</c:v>
                </c:pt>
                <c:pt idx="45543">
                  <c:v>-8.4033613445377799E-4</c:v>
                </c:pt>
                <c:pt idx="45544">
                  <c:v>-8.4033613445377799E-4</c:v>
                </c:pt>
                <c:pt idx="45545">
                  <c:v>-8.4033613445377799E-4</c:v>
                </c:pt>
                <c:pt idx="45546">
                  <c:v>-8.4033613445377799E-4</c:v>
                </c:pt>
                <c:pt idx="45547">
                  <c:v>-8.4033613445377799E-4</c:v>
                </c:pt>
                <c:pt idx="45548">
                  <c:v>-8.4033613445377799E-4</c:v>
                </c:pt>
                <c:pt idx="45549">
                  <c:v>-8.4033613445377799E-4</c:v>
                </c:pt>
                <c:pt idx="45550">
                  <c:v>-8.4033613445377799E-4</c:v>
                </c:pt>
                <c:pt idx="45551">
                  <c:v>-8.4033613445377799E-4</c:v>
                </c:pt>
                <c:pt idx="45552">
                  <c:v>-8.4033613445377799E-4</c:v>
                </c:pt>
                <c:pt idx="45553">
                  <c:v>-8.4033613445377799E-4</c:v>
                </c:pt>
                <c:pt idx="45554">
                  <c:v>-8.4033613445377799E-4</c:v>
                </c:pt>
                <c:pt idx="45555">
                  <c:v>-8.4033613445377799E-4</c:v>
                </c:pt>
                <c:pt idx="45556">
                  <c:v>-8.4033613445377799E-4</c:v>
                </c:pt>
                <c:pt idx="45557">
                  <c:v>-8.4033613445377799E-4</c:v>
                </c:pt>
                <c:pt idx="45558">
                  <c:v>-8.4033613445377799E-4</c:v>
                </c:pt>
                <c:pt idx="45559">
                  <c:v>-8.4033613445377799E-4</c:v>
                </c:pt>
                <c:pt idx="45560">
                  <c:v>-8.4033613445377799E-4</c:v>
                </c:pt>
                <c:pt idx="45561">
                  <c:v>-8.4033613445377799E-4</c:v>
                </c:pt>
                <c:pt idx="45562">
                  <c:v>-8.4033613445377799E-4</c:v>
                </c:pt>
                <c:pt idx="45563">
                  <c:v>-8.4033613445377799E-4</c:v>
                </c:pt>
                <c:pt idx="45564">
                  <c:v>-8.4033613445377799E-4</c:v>
                </c:pt>
                <c:pt idx="45565">
                  <c:v>-8.4033613445377799E-4</c:v>
                </c:pt>
                <c:pt idx="45566">
                  <c:v>-8.4033613445377799E-4</c:v>
                </c:pt>
                <c:pt idx="45567">
                  <c:v>-8.4033613445377799E-4</c:v>
                </c:pt>
                <c:pt idx="45568">
                  <c:v>-8.4033613445377799E-4</c:v>
                </c:pt>
                <c:pt idx="45569">
                  <c:v>-8.4033613445377799E-4</c:v>
                </c:pt>
                <c:pt idx="45570">
                  <c:v>-8.4033613445377799E-4</c:v>
                </c:pt>
                <c:pt idx="45571">
                  <c:v>-8.4033613445377799E-4</c:v>
                </c:pt>
                <c:pt idx="45572">
                  <c:v>-8.4033613445377799E-4</c:v>
                </c:pt>
                <c:pt idx="45573">
                  <c:v>-8.4033613445377799E-4</c:v>
                </c:pt>
                <c:pt idx="45574">
                  <c:v>-8.4033613445377799E-4</c:v>
                </c:pt>
                <c:pt idx="45575">
                  <c:v>-8.4033613445377799E-4</c:v>
                </c:pt>
                <c:pt idx="45576">
                  <c:v>-8.4033613445377799E-4</c:v>
                </c:pt>
                <c:pt idx="45577">
                  <c:v>-8.4033613445377799E-4</c:v>
                </c:pt>
                <c:pt idx="45578">
                  <c:v>-8.4033613445377799E-4</c:v>
                </c:pt>
                <c:pt idx="45579">
                  <c:v>-8.4033613445377799E-4</c:v>
                </c:pt>
                <c:pt idx="45580">
                  <c:v>-8.4033613445377799E-4</c:v>
                </c:pt>
                <c:pt idx="45581">
                  <c:v>-8.4033613445377799E-4</c:v>
                </c:pt>
                <c:pt idx="45582">
                  <c:v>-8.4033613445377799E-4</c:v>
                </c:pt>
                <c:pt idx="45583">
                  <c:v>-8.4033613445377799E-4</c:v>
                </c:pt>
                <c:pt idx="45584">
                  <c:v>-8.4033613445377799E-4</c:v>
                </c:pt>
                <c:pt idx="45585">
                  <c:v>-8.4033613445377799E-4</c:v>
                </c:pt>
                <c:pt idx="45586">
                  <c:v>-8.4033613445377799E-4</c:v>
                </c:pt>
                <c:pt idx="45587">
                  <c:v>-8.4033613445377799E-4</c:v>
                </c:pt>
                <c:pt idx="45588">
                  <c:v>-8.4033613445377799E-4</c:v>
                </c:pt>
                <c:pt idx="45589">
                  <c:v>-8.4033613445377799E-4</c:v>
                </c:pt>
                <c:pt idx="45590">
                  <c:v>0</c:v>
                </c:pt>
                <c:pt idx="45591">
                  <c:v>0</c:v>
                </c:pt>
                <c:pt idx="45592">
                  <c:v>0</c:v>
                </c:pt>
                <c:pt idx="45593">
                  <c:v>0</c:v>
                </c:pt>
                <c:pt idx="45594">
                  <c:v>0</c:v>
                </c:pt>
                <c:pt idx="45595">
                  <c:v>0</c:v>
                </c:pt>
                <c:pt idx="45596">
                  <c:v>0</c:v>
                </c:pt>
                <c:pt idx="45597">
                  <c:v>0</c:v>
                </c:pt>
                <c:pt idx="45598">
                  <c:v>0</c:v>
                </c:pt>
                <c:pt idx="45599">
                  <c:v>0</c:v>
                </c:pt>
                <c:pt idx="45600">
                  <c:v>0</c:v>
                </c:pt>
                <c:pt idx="45601">
                  <c:v>0</c:v>
                </c:pt>
                <c:pt idx="45602">
                  <c:v>0</c:v>
                </c:pt>
                <c:pt idx="45603">
                  <c:v>0</c:v>
                </c:pt>
                <c:pt idx="45604">
                  <c:v>0</c:v>
                </c:pt>
                <c:pt idx="45605">
                  <c:v>0</c:v>
                </c:pt>
                <c:pt idx="45606">
                  <c:v>0</c:v>
                </c:pt>
                <c:pt idx="45607">
                  <c:v>0</c:v>
                </c:pt>
                <c:pt idx="45608">
                  <c:v>0</c:v>
                </c:pt>
                <c:pt idx="45609">
                  <c:v>0</c:v>
                </c:pt>
                <c:pt idx="45610">
                  <c:v>0</c:v>
                </c:pt>
                <c:pt idx="45611">
                  <c:v>0</c:v>
                </c:pt>
                <c:pt idx="45612">
                  <c:v>0</c:v>
                </c:pt>
                <c:pt idx="45613">
                  <c:v>0</c:v>
                </c:pt>
                <c:pt idx="45614">
                  <c:v>0</c:v>
                </c:pt>
                <c:pt idx="45615">
                  <c:v>0</c:v>
                </c:pt>
                <c:pt idx="45616">
                  <c:v>0</c:v>
                </c:pt>
                <c:pt idx="45617">
                  <c:v>0</c:v>
                </c:pt>
                <c:pt idx="45618">
                  <c:v>0</c:v>
                </c:pt>
                <c:pt idx="45619">
                  <c:v>0</c:v>
                </c:pt>
                <c:pt idx="45620">
                  <c:v>0</c:v>
                </c:pt>
                <c:pt idx="45621">
                  <c:v>0</c:v>
                </c:pt>
                <c:pt idx="45622">
                  <c:v>0</c:v>
                </c:pt>
                <c:pt idx="45623">
                  <c:v>0</c:v>
                </c:pt>
                <c:pt idx="45624">
                  <c:v>0</c:v>
                </c:pt>
                <c:pt idx="45625">
                  <c:v>0</c:v>
                </c:pt>
                <c:pt idx="45626">
                  <c:v>0</c:v>
                </c:pt>
                <c:pt idx="45627">
                  <c:v>0</c:v>
                </c:pt>
                <c:pt idx="45628">
                  <c:v>0</c:v>
                </c:pt>
                <c:pt idx="45629">
                  <c:v>0</c:v>
                </c:pt>
                <c:pt idx="45630">
                  <c:v>0</c:v>
                </c:pt>
                <c:pt idx="45631">
                  <c:v>0</c:v>
                </c:pt>
                <c:pt idx="45632">
                  <c:v>0</c:v>
                </c:pt>
                <c:pt idx="45633">
                  <c:v>0</c:v>
                </c:pt>
                <c:pt idx="45634">
                  <c:v>0</c:v>
                </c:pt>
                <c:pt idx="45635">
                  <c:v>0</c:v>
                </c:pt>
                <c:pt idx="45636">
                  <c:v>0</c:v>
                </c:pt>
                <c:pt idx="45637">
                  <c:v>0</c:v>
                </c:pt>
                <c:pt idx="45638">
                  <c:v>8.4033613445377799E-4</c:v>
                </c:pt>
                <c:pt idx="45639">
                  <c:v>8.4033613445377799E-4</c:v>
                </c:pt>
                <c:pt idx="45640">
                  <c:v>8.4033613445377799E-4</c:v>
                </c:pt>
                <c:pt idx="45641">
                  <c:v>8.4033613445377799E-4</c:v>
                </c:pt>
                <c:pt idx="45642">
                  <c:v>8.4033613445377799E-4</c:v>
                </c:pt>
                <c:pt idx="45643">
                  <c:v>8.4033613445377799E-4</c:v>
                </c:pt>
                <c:pt idx="45644">
                  <c:v>8.4033613445377799E-4</c:v>
                </c:pt>
                <c:pt idx="45645">
                  <c:v>8.4033613445377799E-4</c:v>
                </c:pt>
                <c:pt idx="45646">
                  <c:v>8.4033613445377799E-4</c:v>
                </c:pt>
                <c:pt idx="45647">
                  <c:v>8.4033613445377799E-4</c:v>
                </c:pt>
                <c:pt idx="45648">
                  <c:v>8.4033613445377799E-4</c:v>
                </c:pt>
                <c:pt idx="45649">
                  <c:v>8.4033613445377799E-4</c:v>
                </c:pt>
                <c:pt idx="45650">
                  <c:v>8.4033613445377799E-4</c:v>
                </c:pt>
                <c:pt idx="45651">
                  <c:v>8.4033613445377799E-4</c:v>
                </c:pt>
                <c:pt idx="45652">
                  <c:v>8.4033613445377799E-4</c:v>
                </c:pt>
                <c:pt idx="45653">
                  <c:v>8.4033613445377799E-4</c:v>
                </c:pt>
                <c:pt idx="45654">
                  <c:v>8.4033613445377799E-4</c:v>
                </c:pt>
                <c:pt idx="45655">
                  <c:v>8.4033613445377799E-4</c:v>
                </c:pt>
                <c:pt idx="45656">
                  <c:v>8.4033613445377799E-4</c:v>
                </c:pt>
                <c:pt idx="45657">
                  <c:v>8.4033613445377799E-4</c:v>
                </c:pt>
                <c:pt idx="45658">
                  <c:v>8.4033613445377799E-4</c:v>
                </c:pt>
                <c:pt idx="45659">
                  <c:v>8.4033613445377799E-4</c:v>
                </c:pt>
                <c:pt idx="45660">
                  <c:v>8.4033613445377799E-4</c:v>
                </c:pt>
                <c:pt idx="45661">
                  <c:v>8.4033613445377799E-4</c:v>
                </c:pt>
                <c:pt idx="45662">
                  <c:v>8.4033613445377799E-4</c:v>
                </c:pt>
                <c:pt idx="45663">
                  <c:v>8.4033613445377799E-4</c:v>
                </c:pt>
                <c:pt idx="45664">
                  <c:v>8.4033613445377799E-4</c:v>
                </c:pt>
                <c:pt idx="45665">
                  <c:v>8.4033613445377799E-4</c:v>
                </c:pt>
                <c:pt idx="45666">
                  <c:v>8.4033613445377799E-4</c:v>
                </c:pt>
                <c:pt idx="45667">
                  <c:v>8.4033613445377799E-4</c:v>
                </c:pt>
                <c:pt idx="45668">
                  <c:v>8.4033613445377799E-4</c:v>
                </c:pt>
                <c:pt idx="45669">
                  <c:v>8.4033613445377799E-4</c:v>
                </c:pt>
                <c:pt idx="45670">
                  <c:v>8.4033613445377799E-4</c:v>
                </c:pt>
                <c:pt idx="45671">
                  <c:v>8.4033613445377799E-4</c:v>
                </c:pt>
                <c:pt idx="45672">
                  <c:v>8.4033613445377799E-4</c:v>
                </c:pt>
                <c:pt idx="45673">
                  <c:v>8.4033613445377799E-4</c:v>
                </c:pt>
                <c:pt idx="45674">
                  <c:v>8.4033613445377799E-4</c:v>
                </c:pt>
                <c:pt idx="45675">
                  <c:v>8.4033613445377799E-4</c:v>
                </c:pt>
                <c:pt idx="45676">
                  <c:v>8.4033613445377799E-4</c:v>
                </c:pt>
                <c:pt idx="45677">
                  <c:v>8.4033613445377799E-4</c:v>
                </c:pt>
                <c:pt idx="45678">
                  <c:v>8.4033613445377799E-4</c:v>
                </c:pt>
                <c:pt idx="45679">
                  <c:v>8.4033613445377799E-4</c:v>
                </c:pt>
                <c:pt idx="45680">
                  <c:v>8.4033613445377799E-4</c:v>
                </c:pt>
                <c:pt idx="45681">
                  <c:v>8.4033613445377799E-4</c:v>
                </c:pt>
                <c:pt idx="45682">
                  <c:v>8.4033613445377799E-4</c:v>
                </c:pt>
                <c:pt idx="45683">
                  <c:v>8.4033613445377799E-4</c:v>
                </c:pt>
                <c:pt idx="45684">
                  <c:v>8.4033613445377799E-4</c:v>
                </c:pt>
                <c:pt idx="45685">
                  <c:v>8.4033613445377799E-4</c:v>
                </c:pt>
                <c:pt idx="45686">
                  <c:v>8.4033613445377799E-4</c:v>
                </c:pt>
                <c:pt idx="45687">
                  <c:v>8.4033613445377799E-4</c:v>
                </c:pt>
                <c:pt idx="45688">
                  <c:v>8.4033613445377799E-4</c:v>
                </c:pt>
                <c:pt idx="45689">
                  <c:v>8.4033613445377799E-4</c:v>
                </c:pt>
                <c:pt idx="45690">
                  <c:v>8.4033613445377799E-4</c:v>
                </c:pt>
                <c:pt idx="45691">
                  <c:v>8.4033613445377799E-4</c:v>
                </c:pt>
                <c:pt idx="45692">
                  <c:v>8.4033613445377799E-4</c:v>
                </c:pt>
                <c:pt idx="45693">
                  <c:v>8.4033613445377799E-4</c:v>
                </c:pt>
                <c:pt idx="45694">
                  <c:v>8.4033613445377799E-4</c:v>
                </c:pt>
                <c:pt idx="45695">
                  <c:v>8.4033613445377799E-4</c:v>
                </c:pt>
                <c:pt idx="45696">
                  <c:v>8.4033613445377799E-4</c:v>
                </c:pt>
                <c:pt idx="45697">
                  <c:v>8.4033613445377799E-4</c:v>
                </c:pt>
                <c:pt idx="45698">
                  <c:v>8.4033613445377799E-4</c:v>
                </c:pt>
                <c:pt idx="45699">
                  <c:v>1.6806722689075499E-3</c:v>
                </c:pt>
                <c:pt idx="45700">
                  <c:v>1.6806722689075499E-3</c:v>
                </c:pt>
                <c:pt idx="45701">
                  <c:v>1.6806722689075499E-3</c:v>
                </c:pt>
                <c:pt idx="45702">
                  <c:v>1.6806722689075499E-3</c:v>
                </c:pt>
                <c:pt idx="45703">
                  <c:v>1.6806722689075499E-3</c:v>
                </c:pt>
                <c:pt idx="45704">
                  <c:v>1.6806722689075499E-3</c:v>
                </c:pt>
                <c:pt idx="45705">
                  <c:v>1.6806722689075499E-3</c:v>
                </c:pt>
                <c:pt idx="45706">
                  <c:v>1.6806722689075499E-3</c:v>
                </c:pt>
                <c:pt idx="45707">
                  <c:v>1.6806722689075499E-3</c:v>
                </c:pt>
                <c:pt idx="45708">
                  <c:v>1.6806722689075499E-3</c:v>
                </c:pt>
                <c:pt idx="45709">
                  <c:v>1.6806722689075499E-3</c:v>
                </c:pt>
                <c:pt idx="45710">
                  <c:v>1.6806722689075499E-3</c:v>
                </c:pt>
                <c:pt idx="45711">
                  <c:v>1.6806722689075499E-3</c:v>
                </c:pt>
                <c:pt idx="45712">
                  <c:v>1.6806722689075499E-3</c:v>
                </c:pt>
                <c:pt idx="45713">
                  <c:v>1.6806722689075499E-3</c:v>
                </c:pt>
                <c:pt idx="45714">
                  <c:v>1.6806722689075499E-3</c:v>
                </c:pt>
                <c:pt idx="45715">
                  <c:v>1.6806722689075499E-3</c:v>
                </c:pt>
                <c:pt idx="45716">
                  <c:v>1.6806722689075499E-3</c:v>
                </c:pt>
                <c:pt idx="45717">
                  <c:v>1.6806722689075499E-3</c:v>
                </c:pt>
                <c:pt idx="45718">
                  <c:v>1.6806722689075499E-3</c:v>
                </c:pt>
                <c:pt idx="45719">
                  <c:v>1.6806722689075499E-3</c:v>
                </c:pt>
                <c:pt idx="45720">
                  <c:v>1.6806722689075499E-3</c:v>
                </c:pt>
                <c:pt idx="45721">
                  <c:v>1.6806722689075499E-3</c:v>
                </c:pt>
                <c:pt idx="45722">
                  <c:v>1.6806722689075499E-3</c:v>
                </c:pt>
                <c:pt idx="45723">
                  <c:v>1.6806722689075499E-3</c:v>
                </c:pt>
                <c:pt idx="45724">
                  <c:v>1.6806722689075499E-3</c:v>
                </c:pt>
                <c:pt idx="45725">
                  <c:v>1.6806722689075499E-3</c:v>
                </c:pt>
                <c:pt idx="45726">
                  <c:v>1.6806722689075499E-3</c:v>
                </c:pt>
                <c:pt idx="45727">
                  <c:v>1.6806722689075499E-3</c:v>
                </c:pt>
                <c:pt idx="45728">
                  <c:v>1.6806722689075499E-3</c:v>
                </c:pt>
                <c:pt idx="45729">
                  <c:v>1.6806722689075499E-3</c:v>
                </c:pt>
                <c:pt idx="45730">
                  <c:v>1.6806722689075499E-3</c:v>
                </c:pt>
                <c:pt idx="45731">
                  <c:v>1.6806722689075499E-3</c:v>
                </c:pt>
                <c:pt idx="45732">
                  <c:v>1.6806722689075499E-3</c:v>
                </c:pt>
                <c:pt idx="45733">
                  <c:v>1.6806722689075499E-3</c:v>
                </c:pt>
                <c:pt idx="45734">
                  <c:v>1.6806722689075499E-3</c:v>
                </c:pt>
                <c:pt idx="45735">
                  <c:v>1.6806722689075499E-3</c:v>
                </c:pt>
                <c:pt idx="45736">
                  <c:v>1.6806722689075499E-3</c:v>
                </c:pt>
                <c:pt idx="45737">
                  <c:v>1.6806722689075499E-3</c:v>
                </c:pt>
                <c:pt idx="45738">
                  <c:v>1.6806722689075499E-3</c:v>
                </c:pt>
                <c:pt idx="45739">
                  <c:v>1.6806722689075499E-3</c:v>
                </c:pt>
                <c:pt idx="45740">
                  <c:v>1.6806722689075499E-3</c:v>
                </c:pt>
                <c:pt idx="45741">
                  <c:v>1.6806722689075499E-3</c:v>
                </c:pt>
                <c:pt idx="45742">
                  <c:v>1.6806722689075499E-3</c:v>
                </c:pt>
                <c:pt idx="45743">
                  <c:v>1.6806722689075499E-3</c:v>
                </c:pt>
                <c:pt idx="45744">
                  <c:v>1.6806722689075499E-3</c:v>
                </c:pt>
                <c:pt idx="45745">
                  <c:v>1.6806722689075499E-3</c:v>
                </c:pt>
                <c:pt idx="45746">
                  <c:v>1.6806722689075499E-3</c:v>
                </c:pt>
                <c:pt idx="45747">
                  <c:v>1.6806722689075499E-3</c:v>
                </c:pt>
                <c:pt idx="45748">
                  <c:v>1.6806722689075499E-3</c:v>
                </c:pt>
                <c:pt idx="45749">
                  <c:v>1.6806722689075499E-3</c:v>
                </c:pt>
                <c:pt idx="45750">
                  <c:v>1.6806722689075499E-3</c:v>
                </c:pt>
                <c:pt idx="45751">
                  <c:v>1.6806722689075499E-3</c:v>
                </c:pt>
                <c:pt idx="45752">
                  <c:v>1.6806722689075499E-3</c:v>
                </c:pt>
                <c:pt idx="45753">
                  <c:v>1.6806722689075499E-3</c:v>
                </c:pt>
                <c:pt idx="45754">
                  <c:v>1.6806722689075499E-3</c:v>
                </c:pt>
                <c:pt idx="45755">
                  <c:v>1.6806722689075499E-3</c:v>
                </c:pt>
                <c:pt idx="45756">
                  <c:v>1.6806722689075499E-3</c:v>
                </c:pt>
                <c:pt idx="45757">
                  <c:v>1.6806722689075499E-3</c:v>
                </c:pt>
                <c:pt idx="45758">
                  <c:v>1.6806722689075499E-3</c:v>
                </c:pt>
                <c:pt idx="45759">
                  <c:v>1.6806722689075499E-3</c:v>
                </c:pt>
                <c:pt idx="45760">
                  <c:v>1.6806722689075499E-3</c:v>
                </c:pt>
                <c:pt idx="45761">
                  <c:v>1.6806722689075499E-3</c:v>
                </c:pt>
                <c:pt idx="45762">
                  <c:v>1.6806722689075499E-3</c:v>
                </c:pt>
                <c:pt idx="45763">
                  <c:v>1.6806722689075499E-3</c:v>
                </c:pt>
                <c:pt idx="45764">
                  <c:v>1.6806722689075499E-3</c:v>
                </c:pt>
                <c:pt idx="45765">
                  <c:v>1.6806722689075499E-3</c:v>
                </c:pt>
                <c:pt idx="45766">
                  <c:v>1.6806722689075499E-3</c:v>
                </c:pt>
                <c:pt idx="45767">
                  <c:v>1.6806722689075499E-3</c:v>
                </c:pt>
                <c:pt idx="45768">
                  <c:v>1.6806722689075499E-3</c:v>
                </c:pt>
                <c:pt idx="45769">
                  <c:v>1.6806722689075499E-3</c:v>
                </c:pt>
                <c:pt idx="45770">
                  <c:v>1.6806722689075499E-3</c:v>
                </c:pt>
                <c:pt idx="45771">
                  <c:v>1.6806722689075499E-3</c:v>
                </c:pt>
                <c:pt idx="45772">
                  <c:v>1.6806722689075499E-3</c:v>
                </c:pt>
                <c:pt idx="45773">
                  <c:v>1.6806722689075499E-3</c:v>
                </c:pt>
                <c:pt idx="45774">
                  <c:v>1.6806722689075499E-3</c:v>
                </c:pt>
                <c:pt idx="45775">
                  <c:v>1.6806722689075499E-3</c:v>
                </c:pt>
                <c:pt idx="45776">
                  <c:v>1.6806722689075499E-3</c:v>
                </c:pt>
                <c:pt idx="45777">
                  <c:v>1.6806722689075499E-3</c:v>
                </c:pt>
                <c:pt idx="45778">
                  <c:v>1.6806722689075499E-3</c:v>
                </c:pt>
                <c:pt idx="45779">
                  <c:v>1.6806722689075499E-3</c:v>
                </c:pt>
                <c:pt idx="45780">
                  <c:v>1.6806722689075499E-3</c:v>
                </c:pt>
                <c:pt idx="45781">
                  <c:v>1.6806722689075499E-3</c:v>
                </c:pt>
                <c:pt idx="45782">
                  <c:v>1.6806722689075499E-3</c:v>
                </c:pt>
                <c:pt idx="45783">
                  <c:v>1.6806722689075499E-3</c:v>
                </c:pt>
                <c:pt idx="45784">
                  <c:v>1.6806722689075499E-3</c:v>
                </c:pt>
                <c:pt idx="45785">
                  <c:v>1.6806722689075499E-3</c:v>
                </c:pt>
                <c:pt idx="45786">
                  <c:v>1.6806722689075499E-3</c:v>
                </c:pt>
                <c:pt idx="45787">
                  <c:v>1.6806722689075499E-3</c:v>
                </c:pt>
                <c:pt idx="45788">
                  <c:v>1.6806722689075499E-3</c:v>
                </c:pt>
                <c:pt idx="45789">
                  <c:v>1.6806722689075499E-3</c:v>
                </c:pt>
                <c:pt idx="45790">
                  <c:v>1.6806722689075499E-3</c:v>
                </c:pt>
                <c:pt idx="45791">
                  <c:v>1.6806722689075499E-3</c:v>
                </c:pt>
                <c:pt idx="45792">
                  <c:v>1.6806722689075499E-3</c:v>
                </c:pt>
                <c:pt idx="45793">
                  <c:v>1.6806722689075499E-3</c:v>
                </c:pt>
                <c:pt idx="45794">
                  <c:v>1.6806722689075499E-3</c:v>
                </c:pt>
                <c:pt idx="45795">
                  <c:v>1.6806722689075499E-3</c:v>
                </c:pt>
                <c:pt idx="45796">
                  <c:v>1.6806722689075499E-3</c:v>
                </c:pt>
                <c:pt idx="45797">
                  <c:v>1.6806722689075499E-3</c:v>
                </c:pt>
                <c:pt idx="45798">
                  <c:v>1.6806722689075499E-3</c:v>
                </c:pt>
                <c:pt idx="45799">
                  <c:v>1.6806722689075499E-3</c:v>
                </c:pt>
                <c:pt idx="45800">
                  <c:v>1.6806722689075499E-3</c:v>
                </c:pt>
                <c:pt idx="45801">
                  <c:v>1.6806722689075499E-3</c:v>
                </c:pt>
                <c:pt idx="45802">
                  <c:v>1.6806722689075499E-3</c:v>
                </c:pt>
                <c:pt idx="45803">
                  <c:v>1.6806722689075499E-3</c:v>
                </c:pt>
                <c:pt idx="45804">
                  <c:v>1.6806722689075499E-3</c:v>
                </c:pt>
                <c:pt idx="45805">
                  <c:v>1.6806722689075499E-3</c:v>
                </c:pt>
                <c:pt idx="45806">
                  <c:v>1.6806722689075499E-3</c:v>
                </c:pt>
                <c:pt idx="45807">
                  <c:v>1.6806722689075499E-3</c:v>
                </c:pt>
                <c:pt idx="45808">
                  <c:v>1.6806722689075499E-3</c:v>
                </c:pt>
                <c:pt idx="45809">
                  <c:v>1.6806722689075499E-3</c:v>
                </c:pt>
                <c:pt idx="45810">
                  <c:v>1.6806722689075499E-3</c:v>
                </c:pt>
                <c:pt idx="45811">
                  <c:v>1.6806722689075499E-3</c:v>
                </c:pt>
                <c:pt idx="45812">
                  <c:v>1.6806722689075499E-3</c:v>
                </c:pt>
                <c:pt idx="45813">
                  <c:v>1.6806722689075499E-3</c:v>
                </c:pt>
                <c:pt idx="45814">
                  <c:v>1.6806722689075499E-3</c:v>
                </c:pt>
                <c:pt idx="45815">
                  <c:v>1.6806722689075499E-3</c:v>
                </c:pt>
                <c:pt idx="45816">
                  <c:v>1.6806722689075499E-3</c:v>
                </c:pt>
                <c:pt idx="45817">
                  <c:v>1.6806722689075499E-3</c:v>
                </c:pt>
                <c:pt idx="45818">
                  <c:v>1.6806722689075499E-3</c:v>
                </c:pt>
                <c:pt idx="45819">
                  <c:v>1.6806722689075499E-3</c:v>
                </c:pt>
                <c:pt idx="45820">
                  <c:v>1.6806722689075499E-3</c:v>
                </c:pt>
                <c:pt idx="45821">
                  <c:v>1.6806722689075499E-3</c:v>
                </c:pt>
                <c:pt idx="45822">
                  <c:v>1.6806722689075499E-3</c:v>
                </c:pt>
                <c:pt idx="45823">
                  <c:v>1.6806722689075499E-3</c:v>
                </c:pt>
                <c:pt idx="45824">
                  <c:v>1.6806722689075499E-3</c:v>
                </c:pt>
                <c:pt idx="45825">
                  <c:v>1.6806722689075499E-3</c:v>
                </c:pt>
                <c:pt idx="45826">
                  <c:v>1.6806722689075499E-3</c:v>
                </c:pt>
                <c:pt idx="45827">
                  <c:v>1.6806722689075499E-3</c:v>
                </c:pt>
                <c:pt idx="45828">
                  <c:v>1.6806722689075499E-3</c:v>
                </c:pt>
                <c:pt idx="45829">
                  <c:v>1.6806722689075499E-3</c:v>
                </c:pt>
                <c:pt idx="45830">
                  <c:v>1.6806722689075499E-3</c:v>
                </c:pt>
                <c:pt idx="45831">
                  <c:v>1.6806722689075499E-3</c:v>
                </c:pt>
                <c:pt idx="45832">
                  <c:v>1.6806722689075499E-3</c:v>
                </c:pt>
                <c:pt idx="45833">
                  <c:v>1.6806722689075499E-3</c:v>
                </c:pt>
                <c:pt idx="45834">
                  <c:v>1.6806722689075499E-3</c:v>
                </c:pt>
                <c:pt idx="45835">
                  <c:v>1.6806722689075499E-3</c:v>
                </c:pt>
                <c:pt idx="45836">
                  <c:v>1.6806722689075499E-3</c:v>
                </c:pt>
                <c:pt idx="45837">
                  <c:v>1.6806722689075499E-3</c:v>
                </c:pt>
                <c:pt idx="45838">
                  <c:v>1.6806722689075499E-3</c:v>
                </c:pt>
                <c:pt idx="45839">
                  <c:v>1.6806722689075499E-3</c:v>
                </c:pt>
                <c:pt idx="45840">
                  <c:v>1.6806722689075499E-3</c:v>
                </c:pt>
                <c:pt idx="45841">
                  <c:v>1.6806722689075499E-3</c:v>
                </c:pt>
                <c:pt idx="45842">
                  <c:v>1.6806722689075499E-3</c:v>
                </c:pt>
                <c:pt idx="45843">
                  <c:v>1.6806722689075499E-3</c:v>
                </c:pt>
                <c:pt idx="45844">
                  <c:v>1.6806722689075499E-3</c:v>
                </c:pt>
                <c:pt idx="45845">
                  <c:v>1.6806722689075499E-3</c:v>
                </c:pt>
                <c:pt idx="45846">
                  <c:v>1.6806722689075499E-3</c:v>
                </c:pt>
                <c:pt idx="45847">
                  <c:v>1.6806722689075499E-3</c:v>
                </c:pt>
                <c:pt idx="45848">
                  <c:v>1.6806722689075499E-3</c:v>
                </c:pt>
                <c:pt idx="45849">
                  <c:v>1.6806722689075499E-3</c:v>
                </c:pt>
                <c:pt idx="45850">
                  <c:v>1.6806722689075499E-3</c:v>
                </c:pt>
                <c:pt idx="45851">
                  <c:v>1.6806722689075499E-3</c:v>
                </c:pt>
                <c:pt idx="45852">
                  <c:v>1.6806722689075499E-3</c:v>
                </c:pt>
                <c:pt idx="45853">
                  <c:v>1.6806722689075499E-3</c:v>
                </c:pt>
                <c:pt idx="45854">
                  <c:v>1.6806722689075499E-3</c:v>
                </c:pt>
                <c:pt idx="45855">
                  <c:v>1.6806722689075499E-3</c:v>
                </c:pt>
                <c:pt idx="45856">
                  <c:v>1.6806722689075499E-3</c:v>
                </c:pt>
                <c:pt idx="45857">
                  <c:v>1.6806722689075499E-3</c:v>
                </c:pt>
                <c:pt idx="45858">
                  <c:v>1.6806722689075499E-3</c:v>
                </c:pt>
                <c:pt idx="45859">
                  <c:v>1.6806722689075499E-3</c:v>
                </c:pt>
                <c:pt idx="45860">
                  <c:v>1.6806722689075499E-3</c:v>
                </c:pt>
                <c:pt idx="45861">
                  <c:v>1.6806722689075499E-3</c:v>
                </c:pt>
                <c:pt idx="45862">
                  <c:v>1.6806722689075499E-3</c:v>
                </c:pt>
                <c:pt idx="45863">
                  <c:v>1.6806722689075499E-3</c:v>
                </c:pt>
                <c:pt idx="45864">
                  <c:v>1.6806722689075499E-3</c:v>
                </c:pt>
                <c:pt idx="45865">
                  <c:v>1.6806722689075499E-3</c:v>
                </c:pt>
                <c:pt idx="45866">
                  <c:v>1.6806722689075499E-3</c:v>
                </c:pt>
                <c:pt idx="45867">
                  <c:v>1.6806722689075499E-3</c:v>
                </c:pt>
                <c:pt idx="45868">
                  <c:v>1.6806722689075499E-3</c:v>
                </c:pt>
                <c:pt idx="45869">
                  <c:v>1.6806722689075499E-3</c:v>
                </c:pt>
                <c:pt idx="45870">
                  <c:v>1.6806722689075499E-3</c:v>
                </c:pt>
                <c:pt idx="45871">
                  <c:v>1.6806722689075499E-3</c:v>
                </c:pt>
                <c:pt idx="45872">
                  <c:v>1.6806722689075499E-3</c:v>
                </c:pt>
                <c:pt idx="45873">
                  <c:v>1.6806722689075499E-3</c:v>
                </c:pt>
                <c:pt idx="45874">
                  <c:v>1.6806722689075499E-3</c:v>
                </c:pt>
                <c:pt idx="45875">
                  <c:v>1.6806722689075499E-3</c:v>
                </c:pt>
                <c:pt idx="45876">
                  <c:v>1.6806722689075499E-3</c:v>
                </c:pt>
                <c:pt idx="45877">
                  <c:v>1.6806722689075499E-3</c:v>
                </c:pt>
                <c:pt idx="45878">
                  <c:v>1.6806722689075499E-3</c:v>
                </c:pt>
                <c:pt idx="45879">
                  <c:v>1.6806722689075499E-3</c:v>
                </c:pt>
                <c:pt idx="45880">
                  <c:v>1.6806722689075499E-3</c:v>
                </c:pt>
                <c:pt idx="45881">
                  <c:v>1.6806722689075499E-3</c:v>
                </c:pt>
                <c:pt idx="45882">
                  <c:v>1.6806722689075499E-3</c:v>
                </c:pt>
                <c:pt idx="45883">
                  <c:v>1.6806722689075499E-3</c:v>
                </c:pt>
                <c:pt idx="45884">
                  <c:v>1.6806722689075499E-3</c:v>
                </c:pt>
                <c:pt idx="45885">
                  <c:v>1.6806722689075499E-3</c:v>
                </c:pt>
                <c:pt idx="45886">
                  <c:v>1.6806722689075499E-3</c:v>
                </c:pt>
                <c:pt idx="45887">
                  <c:v>1.6806722689075499E-3</c:v>
                </c:pt>
                <c:pt idx="45888">
                  <c:v>1.6806722689075499E-3</c:v>
                </c:pt>
                <c:pt idx="45889">
                  <c:v>1.6806722689075499E-3</c:v>
                </c:pt>
                <c:pt idx="45890">
                  <c:v>1.6806722689075499E-3</c:v>
                </c:pt>
                <c:pt idx="45891">
                  <c:v>1.6806722689075499E-3</c:v>
                </c:pt>
                <c:pt idx="45892">
                  <c:v>1.6806722689075499E-3</c:v>
                </c:pt>
                <c:pt idx="45893">
                  <c:v>1.6806722689075499E-3</c:v>
                </c:pt>
                <c:pt idx="45894">
                  <c:v>1.6806722689075499E-3</c:v>
                </c:pt>
                <c:pt idx="45895">
                  <c:v>1.6806722689075499E-3</c:v>
                </c:pt>
                <c:pt idx="45896">
                  <c:v>1.6806722689075499E-3</c:v>
                </c:pt>
                <c:pt idx="45897">
                  <c:v>1.6806722689075499E-3</c:v>
                </c:pt>
                <c:pt idx="45898">
                  <c:v>1.6806722689075499E-3</c:v>
                </c:pt>
                <c:pt idx="45899">
                  <c:v>1.6806722689075499E-3</c:v>
                </c:pt>
                <c:pt idx="45900">
                  <c:v>1.6806722689075499E-3</c:v>
                </c:pt>
                <c:pt idx="45901">
                  <c:v>1.6806722689075499E-3</c:v>
                </c:pt>
                <c:pt idx="45902">
                  <c:v>1.6806722689075499E-3</c:v>
                </c:pt>
                <c:pt idx="45903">
                  <c:v>1.6806722689075499E-3</c:v>
                </c:pt>
                <c:pt idx="45904">
                  <c:v>1.6806722689075499E-3</c:v>
                </c:pt>
                <c:pt idx="45905">
                  <c:v>1.6806722689075499E-3</c:v>
                </c:pt>
                <c:pt idx="45906">
                  <c:v>1.6806722689075499E-3</c:v>
                </c:pt>
                <c:pt idx="45907">
                  <c:v>1.6806722689075499E-3</c:v>
                </c:pt>
                <c:pt idx="45908">
                  <c:v>1.6806722689075499E-3</c:v>
                </c:pt>
                <c:pt idx="45909">
                  <c:v>1.6806722689075499E-3</c:v>
                </c:pt>
                <c:pt idx="45910">
                  <c:v>1.6806722689075499E-3</c:v>
                </c:pt>
                <c:pt idx="45911">
                  <c:v>1.6806722689075499E-3</c:v>
                </c:pt>
                <c:pt idx="45912">
                  <c:v>1.6806722689075499E-3</c:v>
                </c:pt>
                <c:pt idx="45913">
                  <c:v>1.6806722689075499E-3</c:v>
                </c:pt>
                <c:pt idx="45914">
                  <c:v>1.6806722689075499E-3</c:v>
                </c:pt>
                <c:pt idx="45915">
                  <c:v>1.6806722689075499E-3</c:v>
                </c:pt>
                <c:pt idx="45916">
                  <c:v>1.6806722689075499E-3</c:v>
                </c:pt>
                <c:pt idx="45917">
                  <c:v>1.6806722689075499E-3</c:v>
                </c:pt>
                <c:pt idx="45918">
                  <c:v>1.6806722689075499E-3</c:v>
                </c:pt>
                <c:pt idx="45919">
                  <c:v>1.6806722689075499E-3</c:v>
                </c:pt>
                <c:pt idx="45920">
                  <c:v>1.6806722689075499E-3</c:v>
                </c:pt>
                <c:pt idx="45921">
                  <c:v>1.6806722689075499E-3</c:v>
                </c:pt>
                <c:pt idx="45922">
                  <c:v>1.6806722689075499E-3</c:v>
                </c:pt>
                <c:pt idx="45923">
                  <c:v>1.6806722689075499E-3</c:v>
                </c:pt>
                <c:pt idx="45924">
                  <c:v>1.6806722689075499E-3</c:v>
                </c:pt>
                <c:pt idx="45925">
                  <c:v>1.6806722689075499E-3</c:v>
                </c:pt>
                <c:pt idx="45926">
                  <c:v>1.6806722689075499E-3</c:v>
                </c:pt>
                <c:pt idx="45927">
                  <c:v>1.6806722689075499E-3</c:v>
                </c:pt>
                <c:pt idx="45928">
                  <c:v>1.6806722689075499E-3</c:v>
                </c:pt>
                <c:pt idx="45929">
                  <c:v>1.6806722689075499E-3</c:v>
                </c:pt>
                <c:pt idx="45930">
                  <c:v>1.6806722689075499E-3</c:v>
                </c:pt>
                <c:pt idx="45931">
                  <c:v>1.6806722689075499E-3</c:v>
                </c:pt>
                <c:pt idx="45932">
                  <c:v>1.6806722689075499E-3</c:v>
                </c:pt>
                <c:pt idx="45933">
                  <c:v>1.6806722689075499E-3</c:v>
                </c:pt>
                <c:pt idx="45934">
                  <c:v>1.6806722689075499E-3</c:v>
                </c:pt>
                <c:pt idx="45935">
                  <c:v>1.6806722689075499E-3</c:v>
                </c:pt>
                <c:pt idx="45936">
                  <c:v>1.6806722689075499E-3</c:v>
                </c:pt>
                <c:pt idx="45937">
                  <c:v>1.6806722689075499E-3</c:v>
                </c:pt>
                <c:pt idx="45938">
                  <c:v>1.6806722689075499E-3</c:v>
                </c:pt>
                <c:pt idx="45939">
                  <c:v>1.6806722689075499E-3</c:v>
                </c:pt>
                <c:pt idx="45940">
                  <c:v>1.6806722689075499E-3</c:v>
                </c:pt>
                <c:pt idx="45941">
                  <c:v>1.6806722689075499E-3</c:v>
                </c:pt>
                <c:pt idx="45942">
                  <c:v>1.6806722689075499E-3</c:v>
                </c:pt>
                <c:pt idx="45943">
                  <c:v>1.6806722689075499E-3</c:v>
                </c:pt>
                <c:pt idx="45944">
                  <c:v>8.4033613445377799E-4</c:v>
                </c:pt>
                <c:pt idx="45945">
                  <c:v>8.4033613445377799E-4</c:v>
                </c:pt>
                <c:pt idx="45946">
                  <c:v>8.4033613445377799E-4</c:v>
                </c:pt>
                <c:pt idx="45947">
                  <c:v>8.4033613445377799E-4</c:v>
                </c:pt>
                <c:pt idx="45948">
                  <c:v>8.4033613445377799E-4</c:v>
                </c:pt>
                <c:pt idx="45949">
                  <c:v>8.4033613445377799E-4</c:v>
                </c:pt>
                <c:pt idx="45950">
                  <c:v>8.4033613445377799E-4</c:v>
                </c:pt>
                <c:pt idx="45951">
                  <c:v>0</c:v>
                </c:pt>
                <c:pt idx="45952">
                  <c:v>0</c:v>
                </c:pt>
                <c:pt idx="45953">
                  <c:v>0</c:v>
                </c:pt>
                <c:pt idx="45954">
                  <c:v>0</c:v>
                </c:pt>
                <c:pt idx="45955">
                  <c:v>0</c:v>
                </c:pt>
                <c:pt idx="45956">
                  <c:v>0</c:v>
                </c:pt>
                <c:pt idx="45957">
                  <c:v>0</c:v>
                </c:pt>
                <c:pt idx="45958">
                  <c:v>0</c:v>
                </c:pt>
                <c:pt idx="45959">
                  <c:v>0</c:v>
                </c:pt>
                <c:pt idx="45960">
                  <c:v>0</c:v>
                </c:pt>
                <c:pt idx="45961">
                  <c:v>0</c:v>
                </c:pt>
                <c:pt idx="45962">
                  <c:v>0</c:v>
                </c:pt>
                <c:pt idx="45963">
                  <c:v>0</c:v>
                </c:pt>
                <c:pt idx="45964">
                  <c:v>0</c:v>
                </c:pt>
                <c:pt idx="45965">
                  <c:v>0</c:v>
                </c:pt>
                <c:pt idx="45966">
                  <c:v>0</c:v>
                </c:pt>
                <c:pt idx="45967">
                  <c:v>0</c:v>
                </c:pt>
                <c:pt idx="45968">
                  <c:v>0</c:v>
                </c:pt>
                <c:pt idx="45969">
                  <c:v>0</c:v>
                </c:pt>
                <c:pt idx="45970">
                  <c:v>0</c:v>
                </c:pt>
                <c:pt idx="45971">
                  <c:v>0</c:v>
                </c:pt>
                <c:pt idx="45972">
                  <c:v>0</c:v>
                </c:pt>
                <c:pt idx="45973">
                  <c:v>0</c:v>
                </c:pt>
                <c:pt idx="45974">
                  <c:v>0</c:v>
                </c:pt>
                <c:pt idx="45975">
                  <c:v>0</c:v>
                </c:pt>
                <c:pt idx="45976">
                  <c:v>0</c:v>
                </c:pt>
                <c:pt idx="45977">
                  <c:v>0</c:v>
                </c:pt>
                <c:pt idx="45978">
                  <c:v>0</c:v>
                </c:pt>
                <c:pt idx="45979">
                  <c:v>0</c:v>
                </c:pt>
                <c:pt idx="45980">
                  <c:v>0</c:v>
                </c:pt>
                <c:pt idx="45981">
                  <c:v>0</c:v>
                </c:pt>
                <c:pt idx="45982">
                  <c:v>0</c:v>
                </c:pt>
                <c:pt idx="45983">
                  <c:v>0</c:v>
                </c:pt>
                <c:pt idx="45984">
                  <c:v>0</c:v>
                </c:pt>
                <c:pt idx="45985">
                  <c:v>0</c:v>
                </c:pt>
                <c:pt idx="45986">
                  <c:v>0</c:v>
                </c:pt>
                <c:pt idx="45987">
                  <c:v>0</c:v>
                </c:pt>
                <c:pt idx="45988">
                  <c:v>0</c:v>
                </c:pt>
                <c:pt idx="45989">
                  <c:v>0</c:v>
                </c:pt>
                <c:pt idx="45990">
                  <c:v>0</c:v>
                </c:pt>
                <c:pt idx="45991">
                  <c:v>0</c:v>
                </c:pt>
                <c:pt idx="45992">
                  <c:v>0</c:v>
                </c:pt>
                <c:pt idx="45993">
                  <c:v>0</c:v>
                </c:pt>
                <c:pt idx="45994">
                  <c:v>0</c:v>
                </c:pt>
                <c:pt idx="45995">
                  <c:v>0</c:v>
                </c:pt>
                <c:pt idx="45996">
                  <c:v>0</c:v>
                </c:pt>
                <c:pt idx="45997">
                  <c:v>0</c:v>
                </c:pt>
                <c:pt idx="45998">
                  <c:v>0</c:v>
                </c:pt>
                <c:pt idx="45999">
                  <c:v>0</c:v>
                </c:pt>
                <c:pt idx="46000">
                  <c:v>0</c:v>
                </c:pt>
                <c:pt idx="46001">
                  <c:v>0</c:v>
                </c:pt>
                <c:pt idx="46002">
                  <c:v>-8.4033613445388901E-4</c:v>
                </c:pt>
                <c:pt idx="46003">
                  <c:v>-8.4033613445388901E-4</c:v>
                </c:pt>
                <c:pt idx="46004">
                  <c:v>-8.4033613445388901E-4</c:v>
                </c:pt>
                <c:pt idx="46005">
                  <c:v>-8.4033613445388901E-4</c:v>
                </c:pt>
                <c:pt idx="46006">
                  <c:v>-8.4033613445388901E-4</c:v>
                </c:pt>
                <c:pt idx="46007">
                  <c:v>-8.4033613445388901E-4</c:v>
                </c:pt>
                <c:pt idx="46008">
                  <c:v>-8.4033613445388901E-4</c:v>
                </c:pt>
                <c:pt idx="46009">
                  <c:v>-8.4033613445388901E-4</c:v>
                </c:pt>
                <c:pt idx="46010">
                  <c:v>-8.4033613445388901E-4</c:v>
                </c:pt>
                <c:pt idx="46011">
                  <c:v>-8.4033613445388901E-4</c:v>
                </c:pt>
                <c:pt idx="46012">
                  <c:v>-8.4033613445388901E-4</c:v>
                </c:pt>
                <c:pt idx="46013">
                  <c:v>-8.4033613445388901E-4</c:v>
                </c:pt>
                <c:pt idx="46014">
                  <c:v>-8.4033613445388901E-4</c:v>
                </c:pt>
                <c:pt idx="46015">
                  <c:v>-8.4033613445388901E-4</c:v>
                </c:pt>
                <c:pt idx="46016">
                  <c:v>-8.4033613445388901E-4</c:v>
                </c:pt>
                <c:pt idx="46017">
                  <c:v>-8.4033613445388901E-4</c:v>
                </c:pt>
                <c:pt idx="46018">
                  <c:v>-8.4033613445388901E-4</c:v>
                </c:pt>
                <c:pt idx="46019">
                  <c:v>-8.4033613445388901E-4</c:v>
                </c:pt>
                <c:pt idx="46020">
                  <c:v>-8.4033613445388901E-4</c:v>
                </c:pt>
                <c:pt idx="46021">
                  <c:v>-8.4033613445388901E-4</c:v>
                </c:pt>
                <c:pt idx="46022">
                  <c:v>-8.4033613445388901E-4</c:v>
                </c:pt>
                <c:pt idx="46023">
                  <c:v>-8.4033613445388901E-4</c:v>
                </c:pt>
                <c:pt idx="46024">
                  <c:v>-8.4033613445388901E-4</c:v>
                </c:pt>
                <c:pt idx="46025">
                  <c:v>-8.4033613445388901E-4</c:v>
                </c:pt>
                <c:pt idx="46026">
                  <c:v>-8.4033613445388901E-4</c:v>
                </c:pt>
                <c:pt idx="46027">
                  <c:v>-8.4033613445388901E-4</c:v>
                </c:pt>
                <c:pt idx="46028">
                  <c:v>-8.4033613445388901E-4</c:v>
                </c:pt>
                <c:pt idx="46029">
                  <c:v>-8.4033613445388901E-4</c:v>
                </c:pt>
                <c:pt idx="46030">
                  <c:v>-8.4033613445388901E-4</c:v>
                </c:pt>
                <c:pt idx="46031">
                  <c:v>-8.4033613445388901E-4</c:v>
                </c:pt>
                <c:pt idx="46032">
                  <c:v>-8.4033613445388901E-4</c:v>
                </c:pt>
                <c:pt idx="46033">
                  <c:v>-8.4033613445388901E-4</c:v>
                </c:pt>
                <c:pt idx="46034">
                  <c:v>-8.4033613445388901E-4</c:v>
                </c:pt>
                <c:pt idx="46035">
                  <c:v>-8.4033613445388901E-4</c:v>
                </c:pt>
                <c:pt idx="46036">
                  <c:v>-8.4033613445388901E-4</c:v>
                </c:pt>
                <c:pt idx="46037">
                  <c:v>-8.4033613445388901E-4</c:v>
                </c:pt>
                <c:pt idx="46038">
                  <c:v>-8.4033613445388901E-4</c:v>
                </c:pt>
                <c:pt idx="46039">
                  <c:v>-8.4033613445388901E-4</c:v>
                </c:pt>
                <c:pt idx="46040">
                  <c:v>-8.4033613445388901E-4</c:v>
                </c:pt>
                <c:pt idx="46041">
                  <c:v>-8.4033613445388901E-4</c:v>
                </c:pt>
                <c:pt idx="46042">
                  <c:v>-8.4033613445388901E-4</c:v>
                </c:pt>
                <c:pt idx="46043">
                  <c:v>-8.4033613445388901E-4</c:v>
                </c:pt>
                <c:pt idx="46044">
                  <c:v>-8.4033613445388901E-4</c:v>
                </c:pt>
                <c:pt idx="46045">
                  <c:v>-8.4033613445388901E-4</c:v>
                </c:pt>
                <c:pt idx="46046">
                  <c:v>-8.4033613445388901E-4</c:v>
                </c:pt>
                <c:pt idx="46047">
                  <c:v>-8.4033613445388901E-4</c:v>
                </c:pt>
                <c:pt idx="46048">
                  <c:v>-8.4033613445388901E-4</c:v>
                </c:pt>
                <c:pt idx="46049">
                  <c:v>-8.4033613445388901E-4</c:v>
                </c:pt>
                <c:pt idx="46050">
                  <c:v>-8.4033613445388901E-4</c:v>
                </c:pt>
                <c:pt idx="46051">
                  <c:v>-8.4033613445388901E-4</c:v>
                </c:pt>
                <c:pt idx="46052">
                  <c:v>-8.4033613445388901E-4</c:v>
                </c:pt>
                <c:pt idx="46053">
                  <c:v>-8.4033613445388901E-4</c:v>
                </c:pt>
                <c:pt idx="46054">
                  <c:v>-8.4033613445388901E-4</c:v>
                </c:pt>
                <c:pt idx="46055">
                  <c:v>-8.4033613445388901E-4</c:v>
                </c:pt>
                <c:pt idx="46056">
                  <c:v>-8.4033613445388901E-4</c:v>
                </c:pt>
                <c:pt idx="46057">
                  <c:v>-8.4033613445388901E-4</c:v>
                </c:pt>
                <c:pt idx="46058">
                  <c:v>-8.4033613445388901E-4</c:v>
                </c:pt>
                <c:pt idx="46059">
                  <c:v>-8.4033613445388901E-4</c:v>
                </c:pt>
                <c:pt idx="46060">
                  <c:v>-8.4033613445388901E-4</c:v>
                </c:pt>
                <c:pt idx="46061">
                  <c:v>-8.4033613445388901E-4</c:v>
                </c:pt>
                <c:pt idx="46062">
                  <c:v>-8.4033613445388901E-4</c:v>
                </c:pt>
                <c:pt idx="46063">
                  <c:v>-8.4033613445388901E-4</c:v>
                </c:pt>
                <c:pt idx="46064">
                  <c:v>-8.4033613445388901E-4</c:v>
                </c:pt>
                <c:pt idx="46065">
                  <c:v>-8.4033613445388901E-4</c:v>
                </c:pt>
                <c:pt idx="46066">
                  <c:v>-8.4033613445388901E-4</c:v>
                </c:pt>
                <c:pt idx="46067">
                  <c:v>-8.4033613445388901E-4</c:v>
                </c:pt>
                <c:pt idx="46068">
                  <c:v>-8.4033613445388901E-4</c:v>
                </c:pt>
                <c:pt idx="46069">
                  <c:v>-8.4033613445388901E-4</c:v>
                </c:pt>
                <c:pt idx="46070">
                  <c:v>-8.4033613445388901E-4</c:v>
                </c:pt>
                <c:pt idx="46071">
                  <c:v>-8.4033613445388901E-4</c:v>
                </c:pt>
                <c:pt idx="46072">
                  <c:v>-8.4033613445388901E-4</c:v>
                </c:pt>
                <c:pt idx="46073">
                  <c:v>-8.4033613445388901E-4</c:v>
                </c:pt>
                <c:pt idx="46074">
                  <c:v>-8.4033613445388901E-4</c:v>
                </c:pt>
                <c:pt idx="46075">
                  <c:v>-8.4033613445388901E-4</c:v>
                </c:pt>
                <c:pt idx="46076">
                  <c:v>-8.4033613445388901E-4</c:v>
                </c:pt>
                <c:pt idx="46077">
                  <c:v>-8.4033613445388901E-4</c:v>
                </c:pt>
                <c:pt idx="46078">
                  <c:v>-8.4033613445388901E-4</c:v>
                </c:pt>
                <c:pt idx="46079">
                  <c:v>-8.4033613445388901E-4</c:v>
                </c:pt>
                <c:pt idx="46080">
                  <c:v>-8.4033613445388901E-4</c:v>
                </c:pt>
                <c:pt idx="46081">
                  <c:v>-8.4033613445388901E-4</c:v>
                </c:pt>
                <c:pt idx="46082">
                  <c:v>-8.4033613445388901E-4</c:v>
                </c:pt>
                <c:pt idx="46083">
                  <c:v>-8.4033613445388901E-4</c:v>
                </c:pt>
                <c:pt idx="46084">
                  <c:v>-8.4033613445388901E-4</c:v>
                </c:pt>
                <c:pt idx="46085">
                  <c:v>-8.4033613445388901E-4</c:v>
                </c:pt>
                <c:pt idx="46086">
                  <c:v>-8.4033613445388901E-4</c:v>
                </c:pt>
                <c:pt idx="46087">
                  <c:v>-8.4033613445388901E-4</c:v>
                </c:pt>
                <c:pt idx="46088">
                  <c:v>-8.4033613445388901E-4</c:v>
                </c:pt>
                <c:pt idx="46089">
                  <c:v>-8.4033613445388901E-4</c:v>
                </c:pt>
                <c:pt idx="46090">
                  <c:v>-8.4033613445388901E-4</c:v>
                </c:pt>
                <c:pt idx="46091">
                  <c:v>-8.4033613445388901E-4</c:v>
                </c:pt>
                <c:pt idx="46092">
                  <c:v>0</c:v>
                </c:pt>
                <c:pt idx="46093">
                  <c:v>0</c:v>
                </c:pt>
                <c:pt idx="46094">
                  <c:v>0</c:v>
                </c:pt>
                <c:pt idx="46095">
                  <c:v>0</c:v>
                </c:pt>
                <c:pt idx="46096">
                  <c:v>0</c:v>
                </c:pt>
                <c:pt idx="46097">
                  <c:v>0</c:v>
                </c:pt>
                <c:pt idx="46098">
                  <c:v>0</c:v>
                </c:pt>
                <c:pt idx="46099">
                  <c:v>0</c:v>
                </c:pt>
                <c:pt idx="46100">
                  <c:v>0</c:v>
                </c:pt>
                <c:pt idx="46101">
                  <c:v>0</c:v>
                </c:pt>
                <c:pt idx="46102">
                  <c:v>0</c:v>
                </c:pt>
                <c:pt idx="46103">
                  <c:v>0</c:v>
                </c:pt>
                <c:pt idx="46104">
                  <c:v>0</c:v>
                </c:pt>
                <c:pt idx="46105">
                  <c:v>0</c:v>
                </c:pt>
                <c:pt idx="46106">
                  <c:v>0</c:v>
                </c:pt>
                <c:pt idx="46107">
                  <c:v>0</c:v>
                </c:pt>
                <c:pt idx="46108">
                  <c:v>0</c:v>
                </c:pt>
                <c:pt idx="46109">
                  <c:v>0</c:v>
                </c:pt>
                <c:pt idx="46110">
                  <c:v>0</c:v>
                </c:pt>
                <c:pt idx="46111">
                  <c:v>0</c:v>
                </c:pt>
                <c:pt idx="46112">
                  <c:v>0</c:v>
                </c:pt>
                <c:pt idx="46113">
                  <c:v>0</c:v>
                </c:pt>
                <c:pt idx="46114">
                  <c:v>0</c:v>
                </c:pt>
                <c:pt idx="46115">
                  <c:v>0</c:v>
                </c:pt>
                <c:pt idx="46116">
                  <c:v>0</c:v>
                </c:pt>
                <c:pt idx="46117">
                  <c:v>0</c:v>
                </c:pt>
                <c:pt idx="46118">
                  <c:v>0</c:v>
                </c:pt>
                <c:pt idx="46119">
                  <c:v>0</c:v>
                </c:pt>
                <c:pt idx="46120">
                  <c:v>0</c:v>
                </c:pt>
                <c:pt idx="46121">
                  <c:v>0</c:v>
                </c:pt>
                <c:pt idx="46122">
                  <c:v>0</c:v>
                </c:pt>
                <c:pt idx="46123">
                  <c:v>0</c:v>
                </c:pt>
                <c:pt idx="46124">
                  <c:v>0</c:v>
                </c:pt>
                <c:pt idx="46125">
                  <c:v>0</c:v>
                </c:pt>
                <c:pt idx="46126">
                  <c:v>0</c:v>
                </c:pt>
                <c:pt idx="46127">
                  <c:v>0</c:v>
                </c:pt>
                <c:pt idx="46128">
                  <c:v>0</c:v>
                </c:pt>
                <c:pt idx="46129">
                  <c:v>0</c:v>
                </c:pt>
                <c:pt idx="46130">
                  <c:v>0</c:v>
                </c:pt>
                <c:pt idx="46131">
                  <c:v>0</c:v>
                </c:pt>
                <c:pt idx="46132">
                  <c:v>0</c:v>
                </c:pt>
                <c:pt idx="46133">
                  <c:v>0</c:v>
                </c:pt>
                <c:pt idx="46134">
                  <c:v>0</c:v>
                </c:pt>
                <c:pt idx="46135">
                  <c:v>0</c:v>
                </c:pt>
                <c:pt idx="46136">
                  <c:v>0</c:v>
                </c:pt>
                <c:pt idx="46137">
                  <c:v>0</c:v>
                </c:pt>
                <c:pt idx="46138">
                  <c:v>0</c:v>
                </c:pt>
                <c:pt idx="46139">
                  <c:v>0</c:v>
                </c:pt>
                <c:pt idx="46140">
                  <c:v>0</c:v>
                </c:pt>
                <c:pt idx="46141">
                  <c:v>0</c:v>
                </c:pt>
                <c:pt idx="46142">
                  <c:v>0</c:v>
                </c:pt>
                <c:pt idx="46143">
                  <c:v>0</c:v>
                </c:pt>
                <c:pt idx="46144">
                  <c:v>0</c:v>
                </c:pt>
                <c:pt idx="46145">
                  <c:v>0</c:v>
                </c:pt>
                <c:pt idx="46146">
                  <c:v>0</c:v>
                </c:pt>
                <c:pt idx="46147">
                  <c:v>0</c:v>
                </c:pt>
                <c:pt idx="46148">
                  <c:v>0</c:v>
                </c:pt>
                <c:pt idx="46149">
                  <c:v>0</c:v>
                </c:pt>
                <c:pt idx="46150">
                  <c:v>0</c:v>
                </c:pt>
                <c:pt idx="46151">
                  <c:v>8.4033613445377799E-4</c:v>
                </c:pt>
                <c:pt idx="46152">
                  <c:v>8.4033613445377799E-4</c:v>
                </c:pt>
                <c:pt idx="46153">
                  <c:v>8.4033613445377799E-4</c:v>
                </c:pt>
                <c:pt idx="46154">
                  <c:v>8.4033613445377799E-4</c:v>
                </c:pt>
                <c:pt idx="46155">
                  <c:v>8.4033613445377799E-4</c:v>
                </c:pt>
                <c:pt idx="46156">
                  <c:v>8.4033613445377799E-4</c:v>
                </c:pt>
                <c:pt idx="46157">
                  <c:v>8.4033613445377799E-4</c:v>
                </c:pt>
                <c:pt idx="46158">
                  <c:v>8.4033613445377799E-4</c:v>
                </c:pt>
                <c:pt idx="46159">
                  <c:v>8.4033613445377799E-4</c:v>
                </c:pt>
                <c:pt idx="46160">
                  <c:v>8.4033613445377799E-4</c:v>
                </c:pt>
                <c:pt idx="46161">
                  <c:v>8.4033613445377799E-4</c:v>
                </c:pt>
                <c:pt idx="46162">
                  <c:v>8.4033613445377799E-4</c:v>
                </c:pt>
                <c:pt idx="46163">
                  <c:v>8.4033613445377799E-4</c:v>
                </c:pt>
                <c:pt idx="46164">
                  <c:v>8.4033613445377799E-4</c:v>
                </c:pt>
                <c:pt idx="46165">
                  <c:v>8.4033613445377799E-4</c:v>
                </c:pt>
                <c:pt idx="46166">
                  <c:v>8.4033613445377799E-4</c:v>
                </c:pt>
                <c:pt idx="46167">
                  <c:v>8.4033613445377799E-4</c:v>
                </c:pt>
                <c:pt idx="46168">
                  <c:v>8.4033613445377799E-4</c:v>
                </c:pt>
                <c:pt idx="46169">
                  <c:v>8.4033613445377799E-4</c:v>
                </c:pt>
                <c:pt idx="46170">
                  <c:v>8.4033613445377799E-4</c:v>
                </c:pt>
                <c:pt idx="46171">
                  <c:v>8.4033613445377799E-4</c:v>
                </c:pt>
                <c:pt idx="46172">
                  <c:v>8.4033613445377799E-4</c:v>
                </c:pt>
                <c:pt idx="46173">
                  <c:v>8.4033613445377799E-4</c:v>
                </c:pt>
                <c:pt idx="46174">
                  <c:v>8.4033613445377799E-4</c:v>
                </c:pt>
                <c:pt idx="46175">
                  <c:v>8.4033613445377799E-4</c:v>
                </c:pt>
                <c:pt idx="46176">
                  <c:v>8.4033613445377799E-4</c:v>
                </c:pt>
                <c:pt idx="46177">
                  <c:v>8.4033613445377799E-4</c:v>
                </c:pt>
                <c:pt idx="46178">
                  <c:v>8.4033613445377799E-4</c:v>
                </c:pt>
                <c:pt idx="46179">
                  <c:v>8.4033613445377799E-4</c:v>
                </c:pt>
                <c:pt idx="46180">
                  <c:v>8.4033613445377799E-4</c:v>
                </c:pt>
                <c:pt idx="46181">
                  <c:v>8.4033613445377799E-4</c:v>
                </c:pt>
                <c:pt idx="46182">
                  <c:v>8.4033613445377799E-4</c:v>
                </c:pt>
                <c:pt idx="46183">
                  <c:v>8.4033613445377799E-4</c:v>
                </c:pt>
                <c:pt idx="46184">
                  <c:v>8.4033613445377799E-4</c:v>
                </c:pt>
                <c:pt idx="46185">
                  <c:v>8.4033613445377799E-4</c:v>
                </c:pt>
                <c:pt idx="46186">
                  <c:v>8.4033613445377799E-4</c:v>
                </c:pt>
                <c:pt idx="46187">
                  <c:v>8.4033613445377799E-4</c:v>
                </c:pt>
                <c:pt idx="46188">
                  <c:v>8.4033613445377799E-4</c:v>
                </c:pt>
                <c:pt idx="46189">
                  <c:v>8.4033613445377799E-4</c:v>
                </c:pt>
                <c:pt idx="46190">
                  <c:v>8.4033613445377799E-4</c:v>
                </c:pt>
                <c:pt idx="46191">
                  <c:v>8.4033613445377799E-4</c:v>
                </c:pt>
                <c:pt idx="46192">
                  <c:v>8.4033613445377799E-4</c:v>
                </c:pt>
                <c:pt idx="46193">
                  <c:v>8.4033613445377799E-4</c:v>
                </c:pt>
                <c:pt idx="46194">
                  <c:v>8.4033613445377799E-4</c:v>
                </c:pt>
                <c:pt idx="46195">
                  <c:v>8.4033613445377799E-4</c:v>
                </c:pt>
                <c:pt idx="46196">
                  <c:v>8.4033613445377799E-4</c:v>
                </c:pt>
                <c:pt idx="46197">
                  <c:v>8.4033613445377799E-4</c:v>
                </c:pt>
                <c:pt idx="46198">
                  <c:v>8.4033613445377799E-4</c:v>
                </c:pt>
                <c:pt idx="46199">
                  <c:v>8.4033613445377799E-4</c:v>
                </c:pt>
                <c:pt idx="46200">
                  <c:v>8.4033613445377799E-4</c:v>
                </c:pt>
                <c:pt idx="46201">
                  <c:v>8.4033613445377799E-4</c:v>
                </c:pt>
                <c:pt idx="46202">
                  <c:v>8.4033613445377799E-4</c:v>
                </c:pt>
                <c:pt idx="46203">
                  <c:v>8.4033613445377799E-4</c:v>
                </c:pt>
                <c:pt idx="46204">
                  <c:v>8.4033613445377799E-4</c:v>
                </c:pt>
                <c:pt idx="46205">
                  <c:v>8.4033613445377799E-4</c:v>
                </c:pt>
                <c:pt idx="46206">
                  <c:v>8.4033613445377799E-4</c:v>
                </c:pt>
                <c:pt idx="46207">
                  <c:v>8.4033613445377799E-4</c:v>
                </c:pt>
                <c:pt idx="46208">
                  <c:v>8.4033613445377799E-4</c:v>
                </c:pt>
                <c:pt idx="46209">
                  <c:v>8.4033613445377799E-4</c:v>
                </c:pt>
                <c:pt idx="46210">
                  <c:v>8.4033613445377799E-4</c:v>
                </c:pt>
                <c:pt idx="46211">
                  <c:v>8.4033613445377799E-4</c:v>
                </c:pt>
                <c:pt idx="46212">
                  <c:v>8.4033613445377799E-4</c:v>
                </c:pt>
                <c:pt idx="46213">
                  <c:v>8.4033613445377799E-4</c:v>
                </c:pt>
                <c:pt idx="46214">
                  <c:v>8.4033613445377799E-4</c:v>
                </c:pt>
                <c:pt idx="46215">
                  <c:v>8.4033613445377799E-4</c:v>
                </c:pt>
                <c:pt idx="46216">
                  <c:v>8.4033613445377799E-4</c:v>
                </c:pt>
                <c:pt idx="46217">
                  <c:v>8.4033613445377799E-4</c:v>
                </c:pt>
                <c:pt idx="46218">
                  <c:v>8.4033613445377799E-4</c:v>
                </c:pt>
                <c:pt idx="46219">
                  <c:v>8.4033613445377799E-4</c:v>
                </c:pt>
                <c:pt idx="46220">
                  <c:v>8.4033613445377799E-4</c:v>
                </c:pt>
                <c:pt idx="46221">
                  <c:v>8.4033613445377799E-4</c:v>
                </c:pt>
                <c:pt idx="46222">
                  <c:v>8.4033613445377799E-4</c:v>
                </c:pt>
                <c:pt idx="46223">
                  <c:v>8.4033613445377799E-4</c:v>
                </c:pt>
                <c:pt idx="46224">
                  <c:v>8.4033613445377799E-4</c:v>
                </c:pt>
                <c:pt idx="46225">
                  <c:v>8.4033613445377799E-4</c:v>
                </c:pt>
                <c:pt idx="46226">
                  <c:v>8.4033613445377799E-4</c:v>
                </c:pt>
                <c:pt idx="46227">
                  <c:v>8.4033613445377799E-4</c:v>
                </c:pt>
                <c:pt idx="46228">
                  <c:v>8.4033613445377799E-4</c:v>
                </c:pt>
                <c:pt idx="46229">
                  <c:v>8.4033613445377799E-4</c:v>
                </c:pt>
                <c:pt idx="46230">
                  <c:v>8.4033613445377799E-4</c:v>
                </c:pt>
                <c:pt idx="46231">
                  <c:v>8.4033613445377799E-4</c:v>
                </c:pt>
                <c:pt idx="46232">
                  <c:v>8.4033613445377799E-4</c:v>
                </c:pt>
                <c:pt idx="46233">
                  <c:v>8.4033613445377799E-4</c:v>
                </c:pt>
                <c:pt idx="46234">
                  <c:v>8.4033613445377799E-4</c:v>
                </c:pt>
                <c:pt idx="46235">
                  <c:v>8.4033613445377799E-4</c:v>
                </c:pt>
                <c:pt idx="46236">
                  <c:v>8.4033613445377799E-4</c:v>
                </c:pt>
                <c:pt idx="46237">
                  <c:v>8.4033613445377799E-4</c:v>
                </c:pt>
                <c:pt idx="46238">
                  <c:v>8.4033613445377799E-4</c:v>
                </c:pt>
                <c:pt idx="46239">
                  <c:v>8.4033613445377799E-4</c:v>
                </c:pt>
                <c:pt idx="46240">
                  <c:v>8.4033613445377799E-4</c:v>
                </c:pt>
                <c:pt idx="46241">
                  <c:v>8.4033613445377799E-4</c:v>
                </c:pt>
                <c:pt idx="46242">
                  <c:v>8.4033613445377799E-4</c:v>
                </c:pt>
                <c:pt idx="46243">
                  <c:v>8.4033613445377799E-4</c:v>
                </c:pt>
                <c:pt idx="46244">
                  <c:v>8.4033613445377799E-4</c:v>
                </c:pt>
                <c:pt idx="46245">
                  <c:v>8.4033613445377799E-4</c:v>
                </c:pt>
                <c:pt idx="46246">
                  <c:v>8.4033613445377799E-4</c:v>
                </c:pt>
                <c:pt idx="46247">
                  <c:v>8.4033613445377799E-4</c:v>
                </c:pt>
                <c:pt idx="46248">
                  <c:v>8.4033613445377799E-4</c:v>
                </c:pt>
                <c:pt idx="46249">
                  <c:v>8.4033613445377799E-4</c:v>
                </c:pt>
                <c:pt idx="46250">
                  <c:v>8.4033613445377799E-4</c:v>
                </c:pt>
                <c:pt idx="46251">
                  <c:v>8.4033613445377799E-4</c:v>
                </c:pt>
                <c:pt idx="46252">
                  <c:v>8.4033613445377799E-4</c:v>
                </c:pt>
                <c:pt idx="46253">
                  <c:v>8.4033613445377799E-4</c:v>
                </c:pt>
                <c:pt idx="46254">
                  <c:v>8.4033613445377799E-4</c:v>
                </c:pt>
                <c:pt idx="46255">
                  <c:v>8.4033613445377799E-4</c:v>
                </c:pt>
                <c:pt idx="46256">
                  <c:v>8.4033613445377799E-4</c:v>
                </c:pt>
                <c:pt idx="46257">
                  <c:v>8.4033613445377799E-4</c:v>
                </c:pt>
                <c:pt idx="46258">
                  <c:v>8.4033613445377799E-4</c:v>
                </c:pt>
                <c:pt idx="46259">
                  <c:v>8.4033613445377799E-4</c:v>
                </c:pt>
                <c:pt idx="46260">
                  <c:v>8.4033613445377799E-4</c:v>
                </c:pt>
                <c:pt idx="46261">
                  <c:v>8.4033613445377799E-4</c:v>
                </c:pt>
                <c:pt idx="46262">
                  <c:v>8.4033613445377799E-4</c:v>
                </c:pt>
                <c:pt idx="46263">
                  <c:v>8.4033613445377799E-4</c:v>
                </c:pt>
                <c:pt idx="46264">
                  <c:v>8.4033613445377799E-4</c:v>
                </c:pt>
                <c:pt idx="46265">
                  <c:v>8.4033613445377799E-4</c:v>
                </c:pt>
                <c:pt idx="46266">
                  <c:v>8.4033613445377799E-4</c:v>
                </c:pt>
                <c:pt idx="46267">
                  <c:v>8.4033613445377799E-4</c:v>
                </c:pt>
                <c:pt idx="46268">
                  <c:v>8.4033613445377799E-4</c:v>
                </c:pt>
                <c:pt idx="46269">
                  <c:v>8.4033613445377799E-4</c:v>
                </c:pt>
                <c:pt idx="46270">
                  <c:v>8.4033613445377799E-4</c:v>
                </c:pt>
                <c:pt idx="46271">
                  <c:v>8.4033613445377799E-4</c:v>
                </c:pt>
                <c:pt idx="46272">
                  <c:v>8.4033613445377799E-4</c:v>
                </c:pt>
                <c:pt idx="46273">
                  <c:v>8.4033613445377799E-4</c:v>
                </c:pt>
                <c:pt idx="46274">
                  <c:v>8.4033613445377799E-4</c:v>
                </c:pt>
                <c:pt idx="46275">
                  <c:v>8.4033613445377799E-4</c:v>
                </c:pt>
                <c:pt idx="46276">
                  <c:v>8.4033613445377799E-4</c:v>
                </c:pt>
                <c:pt idx="46277">
                  <c:v>0</c:v>
                </c:pt>
                <c:pt idx="46278">
                  <c:v>0</c:v>
                </c:pt>
                <c:pt idx="46279">
                  <c:v>0</c:v>
                </c:pt>
                <c:pt idx="46280">
                  <c:v>0</c:v>
                </c:pt>
                <c:pt idx="46281">
                  <c:v>0</c:v>
                </c:pt>
                <c:pt idx="46282">
                  <c:v>0</c:v>
                </c:pt>
                <c:pt idx="46283">
                  <c:v>0</c:v>
                </c:pt>
                <c:pt idx="46284">
                  <c:v>0</c:v>
                </c:pt>
                <c:pt idx="46285">
                  <c:v>0</c:v>
                </c:pt>
                <c:pt idx="46286">
                  <c:v>0</c:v>
                </c:pt>
                <c:pt idx="46287">
                  <c:v>0</c:v>
                </c:pt>
                <c:pt idx="46288">
                  <c:v>0</c:v>
                </c:pt>
                <c:pt idx="46289">
                  <c:v>0</c:v>
                </c:pt>
                <c:pt idx="46290">
                  <c:v>0</c:v>
                </c:pt>
                <c:pt idx="46291">
                  <c:v>0</c:v>
                </c:pt>
                <c:pt idx="46292">
                  <c:v>0</c:v>
                </c:pt>
                <c:pt idx="46293">
                  <c:v>0</c:v>
                </c:pt>
                <c:pt idx="46294">
                  <c:v>0</c:v>
                </c:pt>
                <c:pt idx="46295">
                  <c:v>0</c:v>
                </c:pt>
                <c:pt idx="46296">
                  <c:v>0</c:v>
                </c:pt>
                <c:pt idx="46297">
                  <c:v>0</c:v>
                </c:pt>
                <c:pt idx="46298">
                  <c:v>0</c:v>
                </c:pt>
                <c:pt idx="46299">
                  <c:v>0</c:v>
                </c:pt>
                <c:pt idx="46300">
                  <c:v>0</c:v>
                </c:pt>
                <c:pt idx="46301">
                  <c:v>0</c:v>
                </c:pt>
                <c:pt idx="46302">
                  <c:v>0</c:v>
                </c:pt>
                <c:pt idx="46303">
                  <c:v>0</c:v>
                </c:pt>
                <c:pt idx="46304">
                  <c:v>0</c:v>
                </c:pt>
                <c:pt idx="46305">
                  <c:v>0</c:v>
                </c:pt>
                <c:pt idx="46306">
                  <c:v>0</c:v>
                </c:pt>
                <c:pt idx="46307">
                  <c:v>0</c:v>
                </c:pt>
                <c:pt idx="46308">
                  <c:v>0</c:v>
                </c:pt>
                <c:pt idx="46309">
                  <c:v>0</c:v>
                </c:pt>
                <c:pt idx="46310">
                  <c:v>0</c:v>
                </c:pt>
                <c:pt idx="46311">
                  <c:v>0</c:v>
                </c:pt>
                <c:pt idx="46312">
                  <c:v>0</c:v>
                </c:pt>
                <c:pt idx="46313">
                  <c:v>0</c:v>
                </c:pt>
                <c:pt idx="46314">
                  <c:v>0</c:v>
                </c:pt>
                <c:pt idx="46315">
                  <c:v>0</c:v>
                </c:pt>
                <c:pt idx="46316">
                  <c:v>0</c:v>
                </c:pt>
                <c:pt idx="46317">
                  <c:v>0</c:v>
                </c:pt>
                <c:pt idx="46318">
                  <c:v>0</c:v>
                </c:pt>
                <c:pt idx="46319">
                  <c:v>0</c:v>
                </c:pt>
                <c:pt idx="46320">
                  <c:v>0</c:v>
                </c:pt>
                <c:pt idx="46321">
                  <c:v>0</c:v>
                </c:pt>
                <c:pt idx="46322">
                  <c:v>0</c:v>
                </c:pt>
                <c:pt idx="46323">
                  <c:v>0</c:v>
                </c:pt>
                <c:pt idx="46324">
                  <c:v>0</c:v>
                </c:pt>
                <c:pt idx="46325">
                  <c:v>0</c:v>
                </c:pt>
                <c:pt idx="46326">
                  <c:v>0</c:v>
                </c:pt>
                <c:pt idx="46327">
                  <c:v>0</c:v>
                </c:pt>
                <c:pt idx="46328">
                  <c:v>0</c:v>
                </c:pt>
                <c:pt idx="46329">
                  <c:v>0</c:v>
                </c:pt>
                <c:pt idx="46330">
                  <c:v>0</c:v>
                </c:pt>
                <c:pt idx="46331">
                  <c:v>0</c:v>
                </c:pt>
                <c:pt idx="46332">
                  <c:v>0</c:v>
                </c:pt>
                <c:pt idx="46333">
                  <c:v>0</c:v>
                </c:pt>
                <c:pt idx="46334">
                  <c:v>0</c:v>
                </c:pt>
                <c:pt idx="46335">
                  <c:v>0</c:v>
                </c:pt>
                <c:pt idx="46336">
                  <c:v>0</c:v>
                </c:pt>
                <c:pt idx="46337">
                  <c:v>0</c:v>
                </c:pt>
                <c:pt idx="46338">
                  <c:v>0</c:v>
                </c:pt>
                <c:pt idx="46339">
                  <c:v>0</c:v>
                </c:pt>
                <c:pt idx="46340">
                  <c:v>0</c:v>
                </c:pt>
                <c:pt idx="46341">
                  <c:v>0</c:v>
                </c:pt>
                <c:pt idx="46342">
                  <c:v>0</c:v>
                </c:pt>
                <c:pt idx="46343">
                  <c:v>0</c:v>
                </c:pt>
                <c:pt idx="46344">
                  <c:v>0</c:v>
                </c:pt>
                <c:pt idx="46345">
                  <c:v>0</c:v>
                </c:pt>
                <c:pt idx="46346">
                  <c:v>0</c:v>
                </c:pt>
                <c:pt idx="46347">
                  <c:v>0</c:v>
                </c:pt>
                <c:pt idx="46348">
                  <c:v>0</c:v>
                </c:pt>
                <c:pt idx="46349">
                  <c:v>0</c:v>
                </c:pt>
                <c:pt idx="46350">
                  <c:v>0</c:v>
                </c:pt>
                <c:pt idx="46351">
                  <c:v>0</c:v>
                </c:pt>
                <c:pt idx="46352">
                  <c:v>0</c:v>
                </c:pt>
                <c:pt idx="46353">
                  <c:v>0</c:v>
                </c:pt>
                <c:pt idx="46354">
                  <c:v>0</c:v>
                </c:pt>
                <c:pt idx="46355">
                  <c:v>0</c:v>
                </c:pt>
                <c:pt idx="46356">
                  <c:v>0</c:v>
                </c:pt>
                <c:pt idx="46357">
                  <c:v>0</c:v>
                </c:pt>
                <c:pt idx="46358">
                  <c:v>0</c:v>
                </c:pt>
                <c:pt idx="46359">
                  <c:v>0</c:v>
                </c:pt>
                <c:pt idx="46360">
                  <c:v>0</c:v>
                </c:pt>
                <c:pt idx="46361">
                  <c:v>0</c:v>
                </c:pt>
                <c:pt idx="46362">
                  <c:v>0</c:v>
                </c:pt>
                <c:pt idx="46363">
                  <c:v>0</c:v>
                </c:pt>
                <c:pt idx="46364">
                  <c:v>0</c:v>
                </c:pt>
                <c:pt idx="46365">
                  <c:v>0</c:v>
                </c:pt>
                <c:pt idx="46366">
                  <c:v>0</c:v>
                </c:pt>
                <c:pt idx="46367">
                  <c:v>0</c:v>
                </c:pt>
                <c:pt idx="46368">
                  <c:v>0</c:v>
                </c:pt>
                <c:pt idx="46369">
                  <c:v>0</c:v>
                </c:pt>
                <c:pt idx="46370">
                  <c:v>0</c:v>
                </c:pt>
                <c:pt idx="46371">
                  <c:v>8.4033613445377799E-4</c:v>
                </c:pt>
                <c:pt idx="46372">
                  <c:v>8.4033613445377799E-4</c:v>
                </c:pt>
                <c:pt idx="46373">
                  <c:v>8.4033613445377799E-4</c:v>
                </c:pt>
                <c:pt idx="46374">
                  <c:v>8.4033613445377799E-4</c:v>
                </c:pt>
                <c:pt idx="46375">
                  <c:v>8.4033613445377799E-4</c:v>
                </c:pt>
                <c:pt idx="46376">
                  <c:v>8.4033613445377799E-4</c:v>
                </c:pt>
                <c:pt idx="46377">
                  <c:v>8.4033613445377799E-4</c:v>
                </c:pt>
                <c:pt idx="46378">
                  <c:v>8.4033613445377799E-4</c:v>
                </c:pt>
                <c:pt idx="46379">
                  <c:v>8.4033613445377799E-4</c:v>
                </c:pt>
                <c:pt idx="46380">
                  <c:v>8.4033613445377799E-4</c:v>
                </c:pt>
                <c:pt idx="46381">
                  <c:v>8.4033613445377799E-4</c:v>
                </c:pt>
                <c:pt idx="46382">
                  <c:v>8.4033613445377799E-4</c:v>
                </c:pt>
                <c:pt idx="46383">
                  <c:v>8.4033613445377799E-4</c:v>
                </c:pt>
                <c:pt idx="46384">
                  <c:v>8.4033613445377799E-4</c:v>
                </c:pt>
                <c:pt idx="46385">
                  <c:v>8.4033613445377799E-4</c:v>
                </c:pt>
                <c:pt idx="46386">
                  <c:v>8.4033613445377799E-4</c:v>
                </c:pt>
                <c:pt idx="46387">
                  <c:v>8.4033613445377799E-4</c:v>
                </c:pt>
                <c:pt idx="46388">
                  <c:v>8.4033613445377799E-4</c:v>
                </c:pt>
                <c:pt idx="46389">
                  <c:v>8.4033613445377799E-4</c:v>
                </c:pt>
                <c:pt idx="46390">
                  <c:v>8.4033613445377799E-4</c:v>
                </c:pt>
                <c:pt idx="46391">
                  <c:v>8.4033613445377799E-4</c:v>
                </c:pt>
                <c:pt idx="46392">
                  <c:v>8.4033613445377799E-4</c:v>
                </c:pt>
                <c:pt idx="46393">
                  <c:v>8.4033613445377799E-4</c:v>
                </c:pt>
                <c:pt idx="46394">
                  <c:v>8.4033613445377799E-4</c:v>
                </c:pt>
                <c:pt idx="46395">
                  <c:v>8.4033613445377799E-4</c:v>
                </c:pt>
                <c:pt idx="46396">
                  <c:v>8.4033613445377799E-4</c:v>
                </c:pt>
                <c:pt idx="46397">
                  <c:v>8.4033613445377799E-4</c:v>
                </c:pt>
                <c:pt idx="46398">
                  <c:v>8.4033613445377799E-4</c:v>
                </c:pt>
                <c:pt idx="46399">
                  <c:v>8.4033613445377799E-4</c:v>
                </c:pt>
                <c:pt idx="46400">
                  <c:v>8.4033613445377799E-4</c:v>
                </c:pt>
                <c:pt idx="46401">
                  <c:v>8.4033613445377799E-4</c:v>
                </c:pt>
                <c:pt idx="46402">
                  <c:v>8.4033613445377799E-4</c:v>
                </c:pt>
                <c:pt idx="46403">
                  <c:v>8.4033613445377799E-4</c:v>
                </c:pt>
                <c:pt idx="46404">
                  <c:v>8.4033613445377799E-4</c:v>
                </c:pt>
                <c:pt idx="46405">
                  <c:v>8.4033613445377799E-4</c:v>
                </c:pt>
                <c:pt idx="46406">
                  <c:v>8.4033613445377799E-4</c:v>
                </c:pt>
                <c:pt idx="46407">
                  <c:v>8.4033613445377799E-4</c:v>
                </c:pt>
                <c:pt idx="46408">
                  <c:v>8.4033613445377799E-4</c:v>
                </c:pt>
                <c:pt idx="46409">
                  <c:v>8.4033613445377799E-4</c:v>
                </c:pt>
                <c:pt idx="46410">
                  <c:v>8.4033613445377799E-4</c:v>
                </c:pt>
                <c:pt idx="46411">
                  <c:v>8.4033613445377799E-4</c:v>
                </c:pt>
                <c:pt idx="46412">
                  <c:v>8.4033613445377799E-4</c:v>
                </c:pt>
                <c:pt idx="46413">
                  <c:v>8.4033613445377799E-4</c:v>
                </c:pt>
                <c:pt idx="46414">
                  <c:v>8.4033613445377799E-4</c:v>
                </c:pt>
                <c:pt idx="46415">
                  <c:v>8.4033613445377799E-4</c:v>
                </c:pt>
                <c:pt idx="46416">
                  <c:v>8.4033613445377799E-4</c:v>
                </c:pt>
                <c:pt idx="46417">
                  <c:v>8.4033613445377799E-4</c:v>
                </c:pt>
                <c:pt idx="46418">
                  <c:v>8.4033613445377799E-4</c:v>
                </c:pt>
                <c:pt idx="46419">
                  <c:v>8.4033613445377799E-4</c:v>
                </c:pt>
                <c:pt idx="46420">
                  <c:v>8.4033613445377799E-4</c:v>
                </c:pt>
                <c:pt idx="46421">
                  <c:v>8.4033613445377799E-4</c:v>
                </c:pt>
                <c:pt idx="46422">
                  <c:v>8.4033613445377799E-4</c:v>
                </c:pt>
                <c:pt idx="46423">
                  <c:v>8.4033613445377799E-4</c:v>
                </c:pt>
                <c:pt idx="46424">
                  <c:v>8.4033613445377799E-4</c:v>
                </c:pt>
                <c:pt idx="46425">
                  <c:v>8.4033613445377799E-4</c:v>
                </c:pt>
                <c:pt idx="46426">
                  <c:v>8.4033613445377799E-4</c:v>
                </c:pt>
                <c:pt idx="46427">
                  <c:v>8.4033613445377799E-4</c:v>
                </c:pt>
                <c:pt idx="46428">
                  <c:v>8.4033613445377799E-4</c:v>
                </c:pt>
                <c:pt idx="46429">
                  <c:v>8.4033613445377799E-4</c:v>
                </c:pt>
                <c:pt idx="46430">
                  <c:v>8.4033613445377799E-4</c:v>
                </c:pt>
                <c:pt idx="46431">
                  <c:v>8.4033613445377799E-4</c:v>
                </c:pt>
                <c:pt idx="46432">
                  <c:v>8.4033613445377799E-4</c:v>
                </c:pt>
                <c:pt idx="46433">
                  <c:v>8.4033613445377799E-4</c:v>
                </c:pt>
                <c:pt idx="46434">
                  <c:v>8.4033613445377799E-4</c:v>
                </c:pt>
                <c:pt idx="46435">
                  <c:v>8.4033613445377799E-4</c:v>
                </c:pt>
                <c:pt idx="46436">
                  <c:v>8.4033613445377799E-4</c:v>
                </c:pt>
                <c:pt idx="46437">
                  <c:v>8.4033613445377799E-4</c:v>
                </c:pt>
                <c:pt idx="46438">
                  <c:v>8.4033613445377799E-4</c:v>
                </c:pt>
                <c:pt idx="46439">
                  <c:v>8.4033613445377799E-4</c:v>
                </c:pt>
                <c:pt idx="46440">
                  <c:v>8.4033613445377799E-4</c:v>
                </c:pt>
                <c:pt idx="46441">
                  <c:v>8.4033613445377799E-4</c:v>
                </c:pt>
                <c:pt idx="46442">
                  <c:v>8.4033613445377799E-4</c:v>
                </c:pt>
                <c:pt idx="46443">
                  <c:v>8.4033613445377799E-4</c:v>
                </c:pt>
                <c:pt idx="46444">
                  <c:v>8.4033613445377799E-4</c:v>
                </c:pt>
                <c:pt idx="46445">
                  <c:v>8.4033613445377799E-4</c:v>
                </c:pt>
                <c:pt idx="46446">
                  <c:v>8.4033613445377799E-4</c:v>
                </c:pt>
                <c:pt idx="46447">
                  <c:v>8.4033613445377799E-4</c:v>
                </c:pt>
                <c:pt idx="46448">
                  <c:v>8.4033613445377799E-4</c:v>
                </c:pt>
                <c:pt idx="46449">
                  <c:v>8.4033613445377799E-4</c:v>
                </c:pt>
                <c:pt idx="46450">
                  <c:v>8.4033613445377799E-4</c:v>
                </c:pt>
                <c:pt idx="46451">
                  <c:v>8.4033613445377799E-4</c:v>
                </c:pt>
                <c:pt idx="46452">
                  <c:v>8.4033613445377799E-4</c:v>
                </c:pt>
                <c:pt idx="46453">
                  <c:v>8.4033613445377799E-4</c:v>
                </c:pt>
                <c:pt idx="46454">
                  <c:v>8.4033613445377799E-4</c:v>
                </c:pt>
                <c:pt idx="46455">
                  <c:v>8.4033613445377799E-4</c:v>
                </c:pt>
                <c:pt idx="46456">
                  <c:v>8.4033613445377799E-4</c:v>
                </c:pt>
                <c:pt idx="46457">
                  <c:v>8.4033613445377799E-4</c:v>
                </c:pt>
                <c:pt idx="46458">
                  <c:v>8.4033613445377799E-4</c:v>
                </c:pt>
                <c:pt idx="46459">
                  <c:v>8.4033613445377799E-4</c:v>
                </c:pt>
                <c:pt idx="46460">
                  <c:v>8.4033613445377799E-4</c:v>
                </c:pt>
                <c:pt idx="46461">
                  <c:v>8.4033613445377799E-4</c:v>
                </c:pt>
                <c:pt idx="46462">
                  <c:v>8.4033613445377799E-4</c:v>
                </c:pt>
                <c:pt idx="46463">
                  <c:v>8.4033613445377799E-4</c:v>
                </c:pt>
                <c:pt idx="46464">
                  <c:v>8.4033613445377799E-4</c:v>
                </c:pt>
                <c:pt idx="46465">
                  <c:v>8.4033613445377799E-4</c:v>
                </c:pt>
                <c:pt idx="46466">
                  <c:v>8.4033613445377799E-4</c:v>
                </c:pt>
                <c:pt idx="46467">
                  <c:v>8.4033613445377799E-4</c:v>
                </c:pt>
                <c:pt idx="46468">
                  <c:v>8.4033613445377799E-4</c:v>
                </c:pt>
                <c:pt idx="46469">
                  <c:v>8.4033613445377799E-4</c:v>
                </c:pt>
                <c:pt idx="46470">
                  <c:v>8.4033613445377799E-4</c:v>
                </c:pt>
                <c:pt idx="46471">
                  <c:v>8.4033613445377799E-4</c:v>
                </c:pt>
                <c:pt idx="46472">
                  <c:v>8.4033613445377799E-4</c:v>
                </c:pt>
                <c:pt idx="46473">
                  <c:v>8.4033613445377799E-4</c:v>
                </c:pt>
                <c:pt idx="46474">
                  <c:v>8.4033613445377799E-4</c:v>
                </c:pt>
                <c:pt idx="46475">
                  <c:v>8.4033613445377799E-4</c:v>
                </c:pt>
                <c:pt idx="46476">
                  <c:v>8.4033613445377799E-4</c:v>
                </c:pt>
                <c:pt idx="46477">
                  <c:v>8.4033613445377799E-4</c:v>
                </c:pt>
                <c:pt idx="46478">
                  <c:v>8.4033613445377799E-4</c:v>
                </c:pt>
                <c:pt idx="46479">
                  <c:v>8.4033613445377799E-4</c:v>
                </c:pt>
                <c:pt idx="46480">
                  <c:v>8.4033613445377799E-4</c:v>
                </c:pt>
                <c:pt idx="46481">
                  <c:v>8.4033613445377799E-4</c:v>
                </c:pt>
                <c:pt idx="46482">
                  <c:v>8.4033613445377799E-4</c:v>
                </c:pt>
                <c:pt idx="46483">
                  <c:v>8.4033613445377799E-4</c:v>
                </c:pt>
                <c:pt idx="46484">
                  <c:v>8.4033613445377799E-4</c:v>
                </c:pt>
                <c:pt idx="46485">
                  <c:v>8.4033613445377799E-4</c:v>
                </c:pt>
                <c:pt idx="46486">
                  <c:v>8.4033613445377799E-4</c:v>
                </c:pt>
                <c:pt idx="46487">
                  <c:v>8.4033613445377799E-4</c:v>
                </c:pt>
                <c:pt idx="46488">
                  <c:v>8.4033613445377799E-4</c:v>
                </c:pt>
                <c:pt idx="46489">
                  <c:v>8.4033613445377799E-4</c:v>
                </c:pt>
                <c:pt idx="46490">
                  <c:v>8.4033613445377799E-4</c:v>
                </c:pt>
                <c:pt idx="46491">
                  <c:v>8.4033613445377799E-4</c:v>
                </c:pt>
                <c:pt idx="46492">
                  <c:v>8.4033613445377799E-4</c:v>
                </c:pt>
                <c:pt idx="46493">
                  <c:v>8.4033613445377799E-4</c:v>
                </c:pt>
                <c:pt idx="46494">
                  <c:v>8.4033613445377799E-4</c:v>
                </c:pt>
                <c:pt idx="46495">
                  <c:v>8.4033613445377799E-4</c:v>
                </c:pt>
                <c:pt idx="46496">
                  <c:v>8.4033613445377799E-4</c:v>
                </c:pt>
                <c:pt idx="46497">
                  <c:v>8.4033613445377799E-4</c:v>
                </c:pt>
                <c:pt idx="46498">
                  <c:v>8.4033613445377799E-4</c:v>
                </c:pt>
                <c:pt idx="46499">
                  <c:v>8.4033613445377799E-4</c:v>
                </c:pt>
                <c:pt idx="46500">
                  <c:v>8.4033613445377799E-4</c:v>
                </c:pt>
                <c:pt idx="46501">
                  <c:v>8.4033613445377799E-4</c:v>
                </c:pt>
                <c:pt idx="46502">
                  <c:v>8.4033613445377799E-4</c:v>
                </c:pt>
                <c:pt idx="46503">
                  <c:v>8.4033613445377799E-4</c:v>
                </c:pt>
                <c:pt idx="46504">
                  <c:v>8.4033613445377799E-4</c:v>
                </c:pt>
                <c:pt idx="46505">
                  <c:v>8.4033613445377799E-4</c:v>
                </c:pt>
                <c:pt idx="46506">
                  <c:v>8.4033613445377799E-4</c:v>
                </c:pt>
                <c:pt idx="46507">
                  <c:v>8.4033613445377799E-4</c:v>
                </c:pt>
                <c:pt idx="46508">
                  <c:v>8.4033613445377799E-4</c:v>
                </c:pt>
                <c:pt idx="46509">
                  <c:v>8.4033613445377799E-4</c:v>
                </c:pt>
                <c:pt idx="46510">
                  <c:v>8.4033613445377799E-4</c:v>
                </c:pt>
                <c:pt idx="46511">
                  <c:v>8.4033613445377799E-4</c:v>
                </c:pt>
                <c:pt idx="46512">
                  <c:v>8.4033613445377799E-4</c:v>
                </c:pt>
                <c:pt idx="46513">
                  <c:v>8.4033613445377799E-4</c:v>
                </c:pt>
                <c:pt idx="46514">
                  <c:v>8.4033613445377799E-4</c:v>
                </c:pt>
                <c:pt idx="46515">
                  <c:v>8.4033613445377799E-4</c:v>
                </c:pt>
                <c:pt idx="46516">
                  <c:v>8.4033613445377799E-4</c:v>
                </c:pt>
                <c:pt idx="46517">
                  <c:v>8.4033613445377799E-4</c:v>
                </c:pt>
                <c:pt idx="46518">
                  <c:v>8.4033613445377799E-4</c:v>
                </c:pt>
                <c:pt idx="46519">
                  <c:v>8.4033613445377799E-4</c:v>
                </c:pt>
                <c:pt idx="46520">
                  <c:v>8.4033613445377799E-4</c:v>
                </c:pt>
                <c:pt idx="46521">
                  <c:v>8.4033613445377799E-4</c:v>
                </c:pt>
                <c:pt idx="46522">
                  <c:v>8.4033613445377799E-4</c:v>
                </c:pt>
                <c:pt idx="46523">
                  <c:v>8.4033613445377799E-4</c:v>
                </c:pt>
                <c:pt idx="46524">
                  <c:v>8.4033613445377799E-4</c:v>
                </c:pt>
                <c:pt idx="46525">
                  <c:v>8.4033613445377799E-4</c:v>
                </c:pt>
                <c:pt idx="46526">
                  <c:v>8.4033613445377799E-4</c:v>
                </c:pt>
                <c:pt idx="46527">
                  <c:v>8.4033613445377799E-4</c:v>
                </c:pt>
                <c:pt idx="46528">
                  <c:v>8.4033613445377799E-4</c:v>
                </c:pt>
                <c:pt idx="46529">
                  <c:v>8.4033613445377799E-4</c:v>
                </c:pt>
                <c:pt idx="46530">
                  <c:v>8.4033613445377799E-4</c:v>
                </c:pt>
                <c:pt idx="46531">
                  <c:v>8.4033613445377799E-4</c:v>
                </c:pt>
                <c:pt idx="46532">
                  <c:v>8.4033613445377799E-4</c:v>
                </c:pt>
                <c:pt idx="46533">
                  <c:v>8.4033613445377799E-4</c:v>
                </c:pt>
                <c:pt idx="46534">
                  <c:v>8.4033613445377799E-4</c:v>
                </c:pt>
                <c:pt idx="46535">
                  <c:v>8.4033613445377799E-4</c:v>
                </c:pt>
                <c:pt idx="46536">
                  <c:v>8.4033613445377799E-4</c:v>
                </c:pt>
                <c:pt idx="46537">
                  <c:v>8.4033613445377799E-4</c:v>
                </c:pt>
                <c:pt idx="46538">
                  <c:v>8.4033613445377799E-4</c:v>
                </c:pt>
                <c:pt idx="46539">
                  <c:v>8.4033613445377799E-4</c:v>
                </c:pt>
                <c:pt idx="46540">
                  <c:v>8.4033613445377799E-4</c:v>
                </c:pt>
                <c:pt idx="46541">
                  <c:v>8.4033613445377799E-4</c:v>
                </c:pt>
                <c:pt idx="46542">
                  <c:v>8.4033613445377799E-4</c:v>
                </c:pt>
                <c:pt idx="46543">
                  <c:v>8.4033613445377799E-4</c:v>
                </c:pt>
                <c:pt idx="46544">
                  <c:v>8.4033613445377799E-4</c:v>
                </c:pt>
                <c:pt idx="46545">
                  <c:v>8.4033613445377799E-4</c:v>
                </c:pt>
                <c:pt idx="46546">
                  <c:v>8.4033613445377799E-4</c:v>
                </c:pt>
                <c:pt idx="46547">
                  <c:v>1.6806722689075499E-3</c:v>
                </c:pt>
                <c:pt idx="46548">
                  <c:v>1.6806722689075499E-3</c:v>
                </c:pt>
                <c:pt idx="46549">
                  <c:v>1.6806722689075499E-3</c:v>
                </c:pt>
                <c:pt idx="46550">
                  <c:v>1.6806722689075499E-3</c:v>
                </c:pt>
                <c:pt idx="46551">
                  <c:v>1.6806722689075499E-3</c:v>
                </c:pt>
                <c:pt idx="46552">
                  <c:v>1.6806722689075499E-3</c:v>
                </c:pt>
                <c:pt idx="46553">
                  <c:v>1.6806722689075499E-3</c:v>
                </c:pt>
                <c:pt idx="46554">
                  <c:v>1.6806722689075499E-3</c:v>
                </c:pt>
                <c:pt idx="46555">
                  <c:v>1.6806722689075499E-3</c:v>
                </c:pt>
                <c:pt idx="46556">
                  <c:v>1.6806722689075499E-3</c:v>
                </c:pt>
                <c:pt idx="46557">
                  <c:v>1.6806722689075499E-3</c:v>
                </c:pt>
                <c:pt idx="46558">
                  <c:v>1.6806722689075499E-3</c:v>
                </c:pt>
                <c:pt idx="46559">
                  <c:v>1.6806722689075499E-3</c:v>
                </c:pt>
                <c:pt idx="46560">
                  <c:v>1.6806722689075499E-3</c:v>
                </c:pt>
                <c:pt idx="46561">
                  <c:v>1.6806722689075499E-3</c:v>
                </c:pt>
                <c:pt idx="46562">
                  <c:v>1.6806722689075499E-3</c:v>
                </c:pt>
                <c:pt idx="46563">
                  <c:v>1.6806722689075499E-3</c:v>
                </c:pt>
                <c:pt idx="46564">
                  <c:v>1.6806722689075499E-3</c:v>
                </c:pt>
                <c:pt idx="46565">
                  <c:v>1.6806722689075499E-3</c:v>
                </c:pt>
                <c:pt idx="46566">
                  <c:v>1.6806722689075499E-3</c:v>
                </c:pt>
                <c:pt idx="46567">
                  <c:v>1.6806722689075499E-3</c:v>
                </c:pt>
                <c:pt idx="46568">
                  <c:v>1.6806722689075499E-3</c:v>
                </c:pt>
                <c:pt idx="46569">
                  <c:v>1.6806722689075499E-3</c:v>
                </c:pt>
                <c:pt idx="46570">
                  <c:v>1.6806722689075499E-3</c:v>
                </c:pt>
                <c:pt idx="46571">
                  <c:v>1.6806722689075499E-3</c:v>
                </c:pt>
                <c:pt idx="46572">
                  <c:v>1.6806722689075499E-3</c:v>
                </c:pt>
                <c:pt idx="46573">
                  <c:v>1.6806722689075499E-3</c:v>
                </c:pt>
                <c:pt idx="46574">
                  <c:v>1.6806722689075499E-3</c:v>
                </c:pt>
                <c:pt idx="46575">
                  <c:v>1.6806722689075499E-3</c:v>
                </c:pt>
                <c:pt idx="46576">
                  <c:v>1.6806722689075499E-3</c:v>
                </c:pt>
                <c:pt idx="46577">
                  <c:v>1.6806722689075499E-3</c:v>
                </c:pt>
                <c:pt idx="46578">
                  <c:v>1.6806722689075499E-3</c:v>
                </c:pt>
                <c:pt idx="46579">
                  <c:v>1.6806722689075499E-3</c:v>
                </c:pt>
                <c:pt idx="46580">
                  <c:v>1.6806722689075499E-3</c:v>
                </c:pt>
                <c:pt idx="46581">
                  <c:v>1.6806722689075499E-3</c:v>
                </c:pt>
                <c:pt idx="46582">
                  <c:v>1.6806722689075499E-3</c:v>
                </c:pt>
                <c:pt idx="46583">
                  <c:v>1.6806722689075499E-3</c:v>
                </c:pt>
                <c:pt idx="46584">
                  <c:v>1.6806722689075499E-3</c:v>
                </c:pt>
                <c:pt idx="46585">
                  <c:v>1.6806722689075499E-3</c:v>
                </c:pt>
                <c:pt idx="46586">
                  <c:v>1.6806722689075499E-3</c:v>
                </c:pt>
                <c:pt idx="46587">
                  <c:v>1.6806722689075499E-3</c:v>
                </c:pt>
                <c:pt idx="46588">
                  <c:v>1.6806722689075499E-3</c:v>
                </c:pt>
                <c:pt idx="46589">
                  <c:v>1.6806722689075499E-3</c:v>
                </c:pt>
                <c:pt idx="46590">
                  <c:v>1.6806722689075499E-3</c:v>
                </c:pt>
                <c:pt idx="46591">
                  <c:v>1.6806722689075499E-3</c:v>
                </c:pt>
                <c:pt idx="46592">
                  <c:v>1.6806722689075499E-3</c:v>
                </c:pt>
                <c:pt idx="46593">
                  <c:v>1.6806722689075499E-3</c:v>
                </c:pt>
                <c:pt idx="46594">
                  <c:v>1.6806722689075499E-3</c:v>
                </c:pt>
                <c:pt idx="46595">
                  <c:v>1.6806722689075499E-3</c:v>
                </c:pt>
                <c:pt idx="46596">
                  <c:v>1.6806722689075499E-3</c:v>
                </c:pt>
                <c:pt idx="46597">
                  <c:v>1.6806722689075499E-3</c:v>
                </c:pt>
                <c:pt idx="46598">
                  <c:v>1.6806722689075499E-3</c:v>
                </c:pt>
                <c:pt idx="46599">
                  <c:v>1.6806722689075499E-3</c:v>
                </c:pt>
                <c:pt idx="46600">
                  <c:v>1.6806722689075499E-3</c:v>
                </c:pt>
                <c:pt idx="46601">
                  <c:v>1.6806722689075499E-3</c:v>
                </c:pt>
                <c:pt idx="46602">
                  <c:v>1.6806722689075499E-3</c:v>
                </c:pt>
                <c:pt idx="46603">
                  <c:v>1.6806722689075499E-3</c:v>
                </c:pt>
                <c:pt idx="46604">
                  <c:v>1.6806722689075499E-3</c:v>
                </c:pt>
                <c:pt idx="46605">
                  <c:v>1.6806722689075499E-3</c:v>
                </c:pt>
                <c:pt idx="46606">
                  <c:v>1.6806722689075499E-3</c:v>
                </c:pt>
                <c:pt idx="46607">
                  <c:v>1.6806722689075499E-3</c:v>
                </c:pt>
                <c:pt idx="46608">
                  <c:v>1.6806722689075499E-3</c:v>
                </c:pt>
                <c:pt idx="46609">
                  <c:v>1.6806722689075499E-3</c:v>
                </c:pt>
                <c:pt idx="46610">
                  <c:v>1.6806722689075499E-3</c:v>
                </c:pt>
                <c:pt idx="46611">
                  <c:v>1.6806722689075499E-3</c:v>
                </c:pt>
                <c:pt idx="46612">
                  <c:v>1.6806722689075499E-3</c:v>
                </c:pt>
                <c:pt idx="46613">
                  <c:v>1.6806722689075499E-3</c:v>
                </c:pt>
                <c:pt idx="46614">
                  <c:v>1.6806722689075499E-3</c:v>
                </c:pt>
                <c:pt idx="46615">
                  <c:v>1.6806722689075499E-3</c:v>
                </c:pt>
                <c:pt idx="46616">
                  <c:v>1.6806722689075499E-3</c:v>
                </c:pt>
                <c:pt idx="46617">
                  <c:v>1.6806722689075499E-3</c:v>
                </c:pt>
                <c:pt idx="46618">
                  <c:v>1.6806722689075499E-3</c:v>
                </c:pt>
                <c:pt idx="46619">
                  <c:v>1.6806722689075499E-3</c:v>
                </c:pt>
                <c:pt idx="46620">
                  <c:v>1.6806722689075499E-3</c:v>
                </c:pt>
                <c:pt idx="46621">
                  <c:v>1.6806722689075499E-3</c:v>
                </c:pt>
                <c:pt idx="46622">
                  <c:v>1.6806722689075499E-3</c:v>
                </c:pt>
                <c:pt idx="46623">
                  <c:v>2.5210084033613299E-3</c:v>
                </c:pt>
                <c:pt idx="46624">
                  <c:v>2.5210084033613299E-3</c:v>
                </c:pt>
                <c:pt idx="46625">
                  <c:v>2.5210084033613299E-3</c:v>
                </c:pt>
                <c:pt idx="46626">
                  <c:v>2.5210084033613299E-3</c:v>
                </c:pt>
                <c:pt idx="46627">
                  <c:v>2.5210084033613299E-3</c:v>
                </c:pt>
                <c:pt idx="46628">
                  <c:v>2.5210084033613299E-3</c:v>
                </c:pt>
                <c:pt idx="46629">
                  <c:v>2.5210084033613299E-3</c:v>
                </c:pt>
                <c:pt idx="46630">
                  <c:v>2.5210084033613299E-3</c:v>
                </c:pt>
                <c:pt idx="46631">
                  <c:v>2.5210084033613299E-3</c:v>
                </c:pt>
                <c:pt idx="46632">
                  <c:v>2.5210084033613299E-3</c:v>
                </c:pt>
                <c:pt idx="46633">
                  <c:v>2.5210084033613299E-3</c:v>
                </c:pt>
                <c:pt idx="46634">
                  <c:v>2.5210084033613299E-3</c:v>
                </c:pt>
                <c:pt idx="46635">
                  <c:v>2.5210084033613299E-3</c:v>
                </c:pt>
                <c:pt idx="46636">
                  <c:v>2.5210084033613299E-3</c:v>
                </c:pt>
                <c:pt idx="46637">
                  <c:v>2.5210084033613299E-3</c:v>
                </c:pt>
                <c:pt idx="46638">
                  <c:v>2.5210084033613299E-3</c:v>
                </c:pt>
                <c:pt idx="46639">
                  <c:v>2.5210084033613299E-3</c:v>
                </c:pt>
                <c:pt idx="46640">
                  <c:v>2.5210084033613299E-3</c:v>
                </c:pt>
                <c:pt idx="46641">
                  <c:v>2.5210084033613299E-3</c:v>
                </c:pt>
                <c:pt idx="46642">
                  <c:v>2.5210084033613299E-3</c:v>
                </c:pt>
                <c:pt idx="46643">
                  <c:v>2.5210084033613299E-3</c:v>
                </c:pt>
                <c:pt idx="46644">
                  <c:v>2.5210084033613299E-3</c:v>
                </c:pt>
                <c:pt idx="46645">
                  <c:v>2.5210084033613299E-3</c:v>
                </c:pt>
                <c:pt idx="46646">
                  <c:v>2.5210084033613299E-3</c:v>
                </c:pt>
                <c:pt idx="46647">
                  <c:v>2.5210084033613299E-3</c:v>
                </c:pt>
                <c:pt idx="46648">
                  <c:v>2.5210084033613299E-3</c:v>
                </c:pt>
                <c:pt idx="46649">
                  <c:v>2.5210084033613299E-3</c:v>
                </c:pt>
                <c:pt idx="46650">
                  <c:v>2.5210084033613299E-3</c:v>
                </c:pt>
                <c:pt idx="46651">
                  <c:v>2.5210084033613299E-3</c:v>
                </c:pt>
                <c:pt idx="46652">
                  <c:v>2.5210084033613299E-3</c:v>
                </c:pt>
                <c:pt idx="46653">
                  <c:v>2.5210084033613299E-3</c:v>
                </c:pt>
                <c:pt idx="46654">
                  <c:v>2.5210084033613299E-3</c:v>
                </c:pt>
                <c:pt idx="46655">
                  <c:v>2.5210084033613299E-3</c:v>
                </c:pt>
                <c:pt idx="46656">
                  <c:v>2.5210084033613299E-3</c:v>
                </c:pt>
                <c:pt idx="46657">
                  <c:v>2.5210084033613299E-3</c:v>
                </c:pt>
                <c:pt idx="46658">
                  <c:v>2.5210084033613299E-3</c:v>
                </c:pt>
                <c:pt idx="46659">
                  <c:v>2.5210084033613299E-3</c:v>
                </c:pt>
                <c:pt idx="46660">
                  <c:v>2.5210084033613299E-3</c:v>
                </c:pt>
                <c:pt idx="46661">
                  <c:v>2.5210084033613299E-3</c:v>
                </c:pt>
                <c:pt idx="46662">
                  <c:v>2.5210084033613299E-3</c:v>
                </c:pt>
                <c:pt idx="46663">
                  <c:v>2.5210084033613299E-3</c:v>
                </c:pt>
                <c:pt idx="46664">
                  <c:v>2.5210084033613299E-3</c:v>
                </c:pt>
                <c:pt idx="46665">
                  <c:v>2.5210084033613299E-3</c:v>
                </c:pt>
                <c:pt idx="46666">
                  <c:v>2.5210084033613299E-3</c:v>
                </c:pt>
                <c:pt idx="46667">
                  <c:v>2.5210084033613299E-3</c:v>
                </c:pt>
                <c:pt idx="46668">
                  <c:v>2.5210084033613299E-3</c:v>
                </c:pt>
                <c:pt idx="46669">
                  <c:v>2.5210084033613299E-3</c:v>
                </c:pt>
                <c:pt idx="46670">
                  <c:v>2.5210084033613299E-3</c:v>
                </c:pt>
                <c:pt idx="46671">
                  <c:v>2.5210084033613299E-3</c:v>
                </c:pt>
                <c:pt idx="46672">
                  <c:v>2.5210084033613299E-3</c:v>
                </c:pt>
                <c:pt idx="46673">
                  <c:v>2.5210084033613299E-3</c:v>
                </c:pt>
                <c:pt idx="46674">
                  <c:v>2.5210084033613299E-3</c:v>
                </c:pt>
                <c:pt idx="46675">
                  <c:v>2.5210084033613299E-3</c:v>
                </c:pt>
                <c:pt idx="46676">
                  <c:v>2.5210084033613299E-3</c:v>
                </c:pt>
                <c:pt idx="46677">
                  <c:v>2.5210084033613299E-3</c:v>
                </c:pt>
                <c:pt idx="46678">
                  <c:v>2.5210084033613299E-3</c:v>
                </c:pt>
                <c:pt idx="46679">
                  <c:v>2.5210084033613299E-3</c:v>
                </c:pt>
                <c:pt idx="46680">
                  <c:v>2.5210084033613299E-3</c:v>
                </c:pt>
                <c:pt idx="46681">
                  <c:v>2.5210084033613299E-3</c:v>
                </c:pt>
                <c:pt idx="46682">
                  <c:v>2.5210084033613299E-3</c:v>
                </c:pt>
                <c:pt idx="46683">
                  <c:v>2.5210084033613299E-3</c:v>
                </c:pt>
                <c:pt idx="46684">
                  <c:v>2.5210084033613299E-3</c:v>
                </c:pt>
                <c:pt idx="46685">
                  <c:v>2.5210084033613299E-3</c:v>
                </c:pt>
                <c:pt idx="46686">
                  <c:v>2.5210084033613299E-3</c:v>
                </c:pt>
                <c:pt idx="46687">
                  <c:v>2.5210084033613299E-3</c:v>
                </c:pt>
                <c:pt idx="46688">
                  <c:v>2.5210084033613299E-3</c:v>
                </c:pt>
                <c:pt idx="46689">
                  <c:v>1.6806722689075499E-3</c:v>
                </c:pt>
                <c:pt idx="46690">
                  <c:v>1.6806722689075499E-3</c:v>
                </c:pt>
                <c:pt idx="46691">
                  <c:v>1.6806722689075499E-3</c:v>
                </c:pt>
                <c:pt idx="46692">
                  <c:v>1.6806722689075499E-3</c:v>
                </c:pt>
                <c:pt idx="46693">
                  <c:v>1.6806722689075499E-3</c:v>
                </c:pt>
                <c:pt idx="46694">
                  <c:v>1.6806722689075499E-3</c:v>
                </c:pt>
                <c:pt idx="46695">
                  <c:v>1.6806722689075499E-3</c:v>
                </c:pt>
                <c:pt idx="46696">
                  <c:v>1.6806722689075499E-3</c:v>
                </c:pt>
                <c:pt idx="46697">
                  <c:v>1.6806722689075499E-3</c:v>
                </c:pt>
                <c:pt idx="46698">
                  <c:v>1.6806722689075499E-3</c:v>
                </c:pt>
                <c:pt idx="46699">
                  <c:v>1.6806722689075499E-3</c:v>
                </c:pt>
                <c:pt idx="46700">
                  <c:v>1.6806722689075499E-3</c:v>
                </c:pt>
                <c:pt idx="46701">
                  <c:v>1.6806722689075499E-3</c:v>
                </c:pt>
                <c:pt idx="46702">
                  <c:v>1.6806722689075499E-3</c:v>
                </c:pt>
                <c:pt idx="46703">
                  <c:v>1.6806722689075499E-3</c:v>
                </c:pt>
                <c:pt idx="46704">
                  <c:v>1.6806722689075499E-3</c:v>
                </c:pt>
                <c:pt idx="46705">
                  <c:v>1.6806722689075499E-3</c:v>
                </c:pt>
                <c:pt idx="46706">
                  <c:v>1.6806722689075499E-3</c:v>
                </c:pt>
                <c:pt idx="46707">
                  <c:v>1.6806722689075499E-3</c:v>
                </c:pt>
                <c:pt idx="46708">
                  <c:v>1.6806722689075499E-3</c:v>
                </c:pt>
                <c:pt idx="46709">
                  <c:v>1.6806722689075499E-3</c:v>
                </c:pt>
                <c:pt idx="46710">
                  <c:v>1.6806722689075499E-3</c:v>
                </c:pt>
                <c:pt idx="46711">
                  <c:v>1.6806722689075499E-3</c:v>
                </c:pt>
                <c:pt idx="46712">
                  <c:v>1.6806722689075499E-3</c:v>
                </c:pt>
                <c:pt idx="46713">
                  <c:v>1.6806722689075499E-3</c:v>
                </c:pt>
                <c:pt idx="46714">
                  <c:v>1.6806722689075499E-3</c:v>
                </c:pt>
                <c:pt idx="46715">
                  <c:v>1.6806722689075499E-3</c:v>
                </c:pt>
                <c:pt idx="46716">
                  <c:v>1.6806722689075499E-3</c:v>
                </c:pt>
                <c:pt idx="46717">
                  <c:v>1.6806722689075499E-3</c:v>
                </c:pt>
                <c:pt idx="46718">
                  <c:v>1.6806722689075499E-3</c:v>
                </c:pt>
                <c:pt idx="46719">
                  <c:v>1.6806722689075499E-3</c:v>
                </c:pt>
                <c:pt idx="46720">
                  <c:v>1.6806722689075499E-3</c:v>
                </c:pt>
                <c:pt idx="46721">
                  <c:v>2.5210084033613299E-3</c:v>
                </c:pt>
                <c:pt idx="46722">
                  <c:v>2.5210084033613299E-3</c:v>
                </c:pt>
                <c:pt idx="46723">
                  <c:v>2.5210084033613299E-3</c:v>
                </c:pt>
                <c:pt idx="46724">
                  <c:v>2.5210084033613299E-3</c:v>
                </c:pt>
                <c:pt idx="46725">
                  <c:v>2.5210084033613299E-3</c:v>
                </c:pt>
                <c:pt idx="46726">
                  <c:v>2.5210084033613299E-3</c:v>
                </c:pt>
                <c:pt idx="46727">
                  <c:v>2.5210084033613299E-3</c:v>
                </c:pt>
                <c:pt idx="46728">
                  <c:v>2.5210084033613299E-3</c:v>
                </c:pt>
                <c:pt idx="46729">
                  <c:v>2.5210084033613299E-3</c:v>
                </c:pt>
                <c:pt idx="46730">
                  <c:v>2.5210084033613299E-3</c:v>
                </c:pt>
                <c:pt idx="46731">
                  <c:v>2.5210084033613299E-3</c:v>
                </c:pt>
                <c:pt idx="46732">
                  <c:v>2.5210084033613299E-3</c:v>
                </c:pt>
                <c:pt idx="46733">
                  <c:v>2.5210084033613299E-3</c:v>
                </c:pt>
                <c:pt idx="46734">
                  <c:v>2.5210084033613299E-3</c:v>
                </c:pt>
                <c:pt idx="46735">
                  <c:v>2.5210084033613299E-3</c:v>
                </c:pt>
                <c:pt idx="46736">
                  <c:v>2.5210084033613299E-3</c:v>
                </c:pt>
                <c:pt idx="46737">
                  <c:v>2.5210084033613299E-3</c:v>
                </c:pt>
                <c:pt idx="46738">
                  <c:v>2.5210084033613299E-3</c:v>
                </c:pt>
                <c:pt idx="46739">
                  <c:v>2.5210084033613299E-3</c:v>
                </c:pt>
                <c:pt idx="46740">
                  <c:v>2.5210084033613299E-3</c:v>
                </c:pt>
                <c:pt idx="46741">
                  <c:v>2.5210084033613299E-3</c:v>
                </c:pt>
                <c:pt idx="46742">
                  <c:v>2.5210084033613299E-3</c:v>
                </c:pt>
                <c:pt idx="46743">
                  <c:v>2.5210084033613299E-3</c:v>
                </c:pt>
                <c:pt idx="46744">
                  <c:v>2.5210084033613299E-3</c:v>
                </c:pt>
                <c:pt idx="46745">
                  <c:v>2.5210084033613299E-3</c:v>
                </c:pt>
                <c:pt idx="46746">
                  <c:v>2.5210084033613299E-3</c:v>
                </c:pt>
                <c:pt idx="46747">
                  <c:v>2.5210084033613299E-3</c:v>
                </c:pt>
                <c:pt idx="46748">
                  <c:v>2.5210084033613299E-3</c:v>
                </c:pt>
                <c:pt idx="46749">
                  <c:v>2.5210084033613299E-3</c:v>
                </c:pt>
                <c:pt idx="46750">
                  <c:v>2.5210084033613299E-3</c:v>
                </c:pt>
                <c:pt idx="46751">
                  <c:v>2.5210084033613299E-3</c:v>
                </c:pt>
                <c:pt idx="46752">
                  <c:v>2.5210084033613299E-3</c:v>
                </c:pt>
                <c:pt idx="46753">
                  <c:v>2.5210084033613299E-3</c:v>
                </c:pt>
                <c:pt idx="46754">
                  <c:v>2.5210084033613299E-3</c:v>
                </c:pt>
                <c:pt idx="46755">
                  <c:v>2.5210084033613299E-3</c:v>
                </c:pt>
                <c:pt idx="46756">
                  <c:v>2.5210084033613299E-3</c:v>
                </c:pt>
                <c:pt idx="46757">
                  <c:v>2.5210084033613299E-3</c:v>
                </c:pt>
                <c:pt idx="46758">
                  <c:v>2.5210084033613299E-3</c:v>
                </c:pt>
                <c:pt idx="46759">
                  <c:v>2.5210084033613299E-3</c:v>
                </c:pt>
                <c:pt idx="46760">
                  <c:v>2.5210084033613299E-3</c:v>
                </c:pt>
                <c:pt idx="46761">
                  <c:v>2.5210084033613299E-3</c:v>
                </c:pt>
                <c:pt idx="46762">
                  <c:v>2.5210084033613299E-3</c:v>
                </c:pt>
                <c:pt idx="46763">
                  <c:v>2.5210084033613299E-3</c:v>
                </c:pt>
                <c:pt idx="46764">
                  <c:v>2.5210084033613299E-3</c:v>
                </c:pt>
                <c:pt idx="46765">
                  <c:v>2.5210084033613299E-3</c:v>
                </c:pt>
                <c:pt idx="46766">
                  <c:v>2.5210084033613299E-3</c:v>
                </c:pt>
                <c:pt idx="46767">
                  <c:v>2.5210084033613299E-3</c:v>
                </c:pt>
                <c:pt idx="46768">
                  <c:v>2.5210084033613299E-3</c:v>
                </c:pt>
                <c:pt idx="46769">
                  <c:v>2.5210084033613299E-3</c:v>
                </c:pt>
                <c:pt idx="46770">
                  <c:v>2.5210084033613299E-3</c:v>
                </c:pt>
                <c:pt idx="46771">
                  <c:v>2.5210084033613299E-3</c:v>
                </c:pt>
                <c:pt idx="46772">
                  <c:v>2.5210084033613299E-3</c:v>
                </c:pt>
                <c:pt idx="46773">
                  <c:v>2.5210084033613299E-3</c:v>
                </c:pt>
                <c:pt idx="46774">
                  <c:v>2.5210084033613299E-3</c:v>
                </c:pt>
                <c:pt idx="46775">
                  <c:v>2.5210084033613299E-3</c:v>
                </c:pt>
                <c:pt idx="46776">
                  <c:v>2.5210084033613299E-3</c:v>
                </c:pt>
                <c:pt idx="46777">
                  <c:v>2.5210084033613299E-3</c:v>
                </c:pt>
                <c:pt idx="46778">
                  <c:v>2.5210084033613299E-3</c:v>
                </c:pt>
                <c:pt idx="46779">
                  <c:v>2.5210084033613299E-3</c:v>
                </c:pt>
                <c:pt idx="46780">
                  <c:v>2.5210084033613299E-3</c:v>
                </c:pt>
                <c:pt idx="46781">
                  <c:v>2.5210084033613299E-3</c:v>
                </c:pt>
                <c:pt idx="46782">
                  <c:v>2.5210084033613299E-3</c:v>
                </c:pt>
                <c:pt idx="46783">
                  <c:v>2.5210084033613299E-3</c:v>
                </c:pt>
                <c:pt idx="46784">
                  <c:v>2.5210084033613299E-3</c:v>
                </c:pt>
                <c:pt idx="46785">
                  <c:v>2.5210084033613299E-3</c:v>
                </c:pt>
                <c:pt idx="46786">
                  <c:v>2.5210084033613299E-3</c:v>
                </c:pt>
                <c:pt idx="46787">
                  <c:v>2.5210084033613299E-3</c:v>
                </c:pt>
                <c:pt idx="46788">
                  <c:v>2.5210084033613299E-3</c:v>
                </c:pt>
                <c:pt idx="46789">
                  <c:v>2.5210084033613299E-3</c:v>
                </c:pt>
                <c:pt idx="46790">
                  <c:v>2.5210084033613299E-3</c:v>
                </c:pt>
                <c:pt idx="46791">
                  <c:v>2.5210084033613299E-3</c:v>
                </c:pt>
                <c:pt idx="46792">
                  <c:v>2.5210084033613299E-3</c:v>
                </c:pt>
                <c:pt idx="46793">
                  <c:v>2.5210084033613299E-3</c:v>
                </c:pt>
                <c:pt idx="46794">
                  <c:v>2.5210084033613299E-3</c:v>
                </c:pt>
                <c:pt idx="46795">
                  <c:v>2.5210084033613299E-3</c:v>
                </c:pt>
                <c:pt idx="46796">
                  <c:v>2.5210084033613299E-3</c:v>
                </c:pt>
                <c:pt idx="46797">
                  <c:v>2.5210084033613299E-3</c:v>
                </c:pt>
                <c:pt idx="46798">
                  <c:v>2.5210084033613299E-3</c:v>
                </c:pt>
                <c:pt idx="46799">
                  <c:v>2.5210084033613299E-3</c:v>
                </c:pt>
                <c:pt idx="46800">
                  <c:v>2.5210084033613299E-3</c:v>
                </c:pt>
                <c:pt idx="46801">
                  <c:v>2.5210084033613299E-3</c:v>
                </c:pt>
                <c:pt idx="46802">
                  <c:v>2.5210084033613299E-3</c:v>
                </c:pt>
                <c:pt idx="46803">
                  <c:v>2.5210084033613299E-3</c:v>
                </c:pt>
                <c:pt idx="46804">
                  <c:v>2.5210084033613299E-3</c:v>
                </c:pt>
                <c:pt idx="46805">
                  <c:v>2.5210084033613299E-3</c:v>
                </c:pt>
                <c:pt idx="46806">
                  <c:v>2.5210084033613299E-3</c:v>
                </c:pt>
                <c:pt idx="46807">
                  <c:v>2.5210084033613299E-3</c:v>
                </c:pt>
                <c:pt idx="46808">
                  <c:v>2.5210084033613299E-3</c:v>
                </c:pt>
                <c:pt idx="46809">
                  <c:v>2.5210084033613299E-3</c:v>
                </c:pt>
                <c:pt idx="46810">
                  <c:v>2.5210084033613299E-3</c:v>
                </c:pt>
                <c:pt idx="46811">
                  <c:v>2.5210084033613299E-3</c:v>
                </c:pt>
                <c:pt idx="46812">
                  <c:v>2.5210084033613299E-3</c:v>
                </c:pt>
                <c:pt idx="46813">
                  <c:v>2.5210084033613299E-3</c:v>
                </c:pt>
                <c:pt idx="46814">
                  <c:v>2.5210084033613299E-3</c:v>
                </c:pt>
                <c:pt idx="46815">
                  <c:v>2.5210084033613299E-3</c:v>
                </c:pt>
                <c:pt idx="46816">
                  <c:v>2.5210084033613299E-3</c:v>
                </c:pt>
                <c:pt idx="46817">
                  <c:v>2.5210084033613299E-3</c:v>
                </c:pt>
                <c:pt idx="46818">
                  <c:v>1.6806722689075499E-3</c:v>
                </c:pt>
                <c:pt idx="46819">
                  <c:v>1.6806722689075499E-3</c:v>
                </c:pt>
                <c:pt idx="46820">
                  <c:v>1.6806722689075499E-3</c:v>
                </c:pt>
                <c:pt idx="46821">
                  <c:v>1.6806722689075499E-3</c:v>
                </c:pt>
                <c:pt idx="46822">
                  <c:v>1.6806722689075499E-3</c:v>
                </c:pt>
                <c:pt idx="46823">
                  <c:v>1.6806722689075499E-3</c:v>
                </c:pt>
                <c:pt idx="46824">
                  <c:v>1.6806722689075499E-3</c:v>
                </c:pt>
                <c:pt idx="46825">
                  <c:v>1.6806722689075499E-3</c:v>
                </c:pt>
                <c:pt idx="46826">
                  <c:v>1.6806722689075499E-3</c:v>
                </c:pt>
                <c:pt idx="46827">
                  <c:v>1.6806722689075499E-3</c:v>
                </c:pt>
                <c:pt idx="46828">
                  <c:v>1.6806722689075499E-3</c:v>
                </c:pt>
                <c:pt idx="46829">
                  <c:v>1.6806722689075499E-3</c:v>
                </c:pt>
                <c:pt idx="46830">
                  <c:v>1.6806722689075499E-3</c:v>
                </c:pt>
                <c:pt idx="46831">
                  <c:v>1.6806722689075499E-3</c:v>
                </c:pt>
                <c:pt idx="46832">
                  <c:v>1.6806722689075499E-3</c:v>
                </c:pt>
                <c:pt idx="46833">
                  <c:v>1.6806722689075499E-3</c:v>
                </c:pt>
                <c:pt idx="46834">
                  <c:v>1.6806722689075499E-3</c:v>
                </c:pt>
                <c:pt idx="46835">
                  <c:v>1.6806722689075499E-3</c:v>
                </c:pt>
                <c:pt idx="46836">
                  <c:v>1.6806722689075499E-3</c:v>
                </c:pt>
                <c:pt idx="46837">
                  <c:v>1.6806722689075499E-3</c:v>
                </c:pt>
                <c:pt idx="46838">
                  <c:v>1.6806722689075499E-3</c:v>
                </c:pt>
                <c:pt idx="46839">
                  <c:v>1.6806722689075499E-3</c:v>
                </c:pt>
                <c:pt idx="46840">
                  <c:v>1.6806722689075499E-3</c:v>
                </c:pt>
                <c:pt idx="46841">
                  <c:v>1.6806722689075499E-3</c:v>
                </c:pt>
                <c:pt idx="46842">
                  <c:v>1.6806722689075499E-3</c:v>
                </c:pt>
                <c:pt idx="46843">
                  <c:v>1.6806722689075499E-3</c:v>
                </c:pt>
                <c:pt idx="46844">
                  <c:v>1.6806722689075499E-3</c:v>
                </c:pt>
                <c:pt idx="46845">
                  <c:v>1.6806722689075499E-3</c:v>
                </c:pt>
                <c:pt idx="46846">
                  <c:v>1.6806722689075499E-3</c:v>
                </c:pt>
                <c:pt idx="46847">
                  <c:v>1.6806722689075499E-3</c:v>
                </c:pt>
                <c:pt idx="46848">
                  <c:v>1.6806722689075499E-3</c:v>
                </c:pt>
                <c:pt idx="46849">
                  <c:v>1.6806722689075499E-3</c:v>
                </c:pt>
                <c:pt idx="46850">
                  <c:v>1.6806722689075499E-3</c:v>
                </c:pt>
                <c:pt idx="46851">
                  <c:v>1.6806722689075499E-3</c:v>
                </c:pt>
                <c:pt idx="46852">
                  <c:v>1.6806722689075499E-3</c:v>
                </c:pt>
                <c:pt idx="46853">
                  <c:v>1.6806722689075499E-3</c:v>
                </c:pt>
                <c:pt idx="46854">
                  <c:v>1.6806722689075499E-3</c:v>
                </c:pt>
                <c:pt idx="46855">
                  <c:v>1.6806722689075499E-3</c:v>
                </c:pt>
                <c:pt idx="46856">
                  <c:v>1.6806722689075499E-3</c:v>
                </c:pt>
                <c:pt idx="46857">
                  <c:v>1.6806722689075499E-3</c:v>
                </c:pt>
                <c:pt idx="46858">
                  <c:v>1.6806722689075499E-3</c:v>
                </c:pt>
                <c:pt idx="46859">
                  <c:v>1.6806722689075499E-3</c:v>
                </c:pt>
                <c:pt idx="46860">
                  <c:v>1.6806722689075499E-3</c:v>
                </c:pt>
                <c:pt idx="46861">
                  <c:v>1.6806722689075499E-3</c:v>
                </c:pt>
                <c:pt idx="46862">
                  <c:v>1.6806722689075499E-3</c:v>
                </c:pt>
                <c:pt idx="46863">
                  <c:v>1.6806722689075499E-3</c:v>
                </c:pt>
                <c:pt idx="46864">
                  <c:v>1.6806722689075499E-3</c:v>
                </c:pt>
                <c:pt idx="46865">
                  <c:v>1.6806722689075499E-3</c:v>
                </c:pt>
                <c:pt idx="46866">
                  <c:v>1.6806722689075499E-3</c:v>
                </c:pt>
                <c:pt idx="46867">
                  <c:v>1.6806722689075499E-3</c:v>
                </c:pt>
                <c:pt idx="46868">
                  <c:v>1.6806722689075499E-3</c:v>
                </c:pt>
                <c:pt idx="46869">
                  <c:v>1.6806722689075499E-3</c:v>
                </c:pt>
                <c:pt idx="46870">
                  <c:v>1.6806722689075499E-3</c:v>
                </c:pt>
                <c:pt idx="46871">
                  <c:v>1.6806722689075499E-3</c:v>
                </c:pt>
                <c:pt idx="46872">
                  <c:v>1.6806722689075499E-3</c:v>
                </c:pt>
                <c:pt idx="46873">
                  <c:v>1.6806722689075499E-3</c:v>
                </c:pt>
                <c:pt idx="46874">
                  <c:v>1.6806722689075499E-3</c:v>
                </c:pt>
                <c:pt idx="46875">
                  <c:v>1.6806722689075499E-3</c:v>
                </c:pt>
                <c:pt idx="46876">
                  <c:v>1.6806722689075499E-3</c:v>
                </c:pt>
                <c:pt idx="46877">
                  <c:v>1.6806722689075499E-3</c:v>
                </c:pt>
                <c:pt idx="46878">
                  <c:v>1.6806722689075499E-3</c:v>
                </c:pt>
                <c:pt idx="46879">
                  <c:v>1.6806722689075499E-3</c:v>
                </c:pt>
                <c:pt idx="46880">
                  <c:v>1.6806722689075499E-3</c:v>
                </c:pt>
                <c:pt idx="46881">
                  <c:v>1.6806722689075499E-3</c:v>
                </c:pt>
                <c:pt idx="46882">
                  <c:v>1.6806722689075499E-3</c:v>
                </c:pt>
                <c:pt idx="46883">
                  <c:v>1.6806722689075499E-3</c:v>
                </c:pt>
                <c:pt idx="46884">
                  <c:v>1.6806722689075499E-3</c:v>
                </c:pt>
                <c:pt idx="46885">
                  <c:v>1.6806722689075499E-3</c:v>
                </c:pt>
                <c:pt idx="46886">
                  <c:v>1.6806722689075499E-3</c:v>
                </c:pt>
                <c:pt idx="46887">
                  <c:v>1.6806722689075499E-3</c:v>
                </c:pt>
                <c:pt idx="46888">
                  <c:v>1.6806722689075499E-3</c:v>
                </c:pt>
                <c:pt idx="46889">
                  <c:v>1.6806722689075499E-3</c:v>
                </c:pt>
                <c:pt idx="46890">
                  <c:v>1.6806722689075499E-3</c:v>
                </c:pt>
                <c:pt idx="46891">
                  <c:v>1.6806722689075499E-3</c:v>
                </c:pt>
                <c:pt idx="46892">
                  <c:v>1.6806722689075499E-3</c:v>
                </c:pt>
                <c:pt idx="46893">
                  <c:v>1.6806722689075499E-3</c:v>
                </c:pt>
                <c:pt idx="46894">
                  <c:v>1.6806722689075499E-3</c:v>
                </c:pt>
                <c:pt idx="46895">
                  <c:v>1.6806722689075499E-3</c:v>
                </c:pt>
                <c:pt idx="46896">
                  <c:v>1.6806722689075499E-3</c:v>
                </c:pt>
                <c:pt idx="46897">
                  <c:v>1.6806722689075499E-3</c:v>
                </c:pt>
                <c:pt idx="46898">
                  <c:v>1.6806722689075499E-3</c:v>
                </c:pt>
                <c:pt idx="46899">
                  <c:v>1.6806722689075499E-3</c:v>
                </c:pt>
                <c:pt idx="46900">
                  <c:v>1.6806722689075499E-3</c:v>
                </c:pt>
                <c:pt idx="46901">
                  <c:v>1.6806722689075499E-3</c:v>
                </c:pt>
                <c:pt idx="46902">
                  <c:v>1.6806722689075499E-3</c:v>
                </c:pt>
                <c:pt idx="46903">
                  <c:v>1.6806722689075499E-3</c:v>
                </c:pt>
                <c:pt idx="46904">
                  <c:v>1.6806722689075499E-3</c:v>
                </c:pt>
                <c:pt idx="46905">
                  <c:v>1.6806722689075499E-3</c:v>
                </c:pt>
                <c:pt idx="46906">
                  <c:v>1.6806722689075499E-3</c:v>
                </c:pt>
                <c:pt idx="46907">
                  <c:v>1.6806722689075499E-3</c:v>
                </c:pt>
                <c:pt idx="46908">
                  <c:v>1.6806722689075499E-3</c:v>
                </c:pt>
                <c:pt idx="46909">
                  <c:v>1.6806722689075499E-3</c:v>
                </c:pt>
                <c:pt idx="46910">
                  <c:v>1.6806722689075499E-3</c:v>
                </c:pt>
                <c:pt idx="46911">
                  <c:v>1.6806722689075499E-3</c:v>
                </c:pt>
                <c:pt idx="46912">
                  <c:v>1.6806722689075499E-3</c:v>
                </c:pt>
                <c:pt idx="46913">
                  <c:v>1.6806722689075499E-3</c:v>
                </c:pt>
                <c:pt idx="46914">
                  <c:v>1.6806722689075499E-3</c:v>
                </c:pt>
                <c:pt idx="46915">
                  <c:v>1.6806722689075499E-3</c:v>
                </c:pt>
                <c:pt idx="46916">
                  <c:v>1.6806722689075499E-3</c:v>
                </c:pt>
                <c:pt idx="46917">
                  <c:v>1.6806722689075499E-3</c:v>
                </c:pt>
                <c:pt idx="46918">
                  <c:v>1.6806722689075499E-3</c:v>
                </c:pt>
                <c:pt idx="46919">
                  <c:v>1.6806722689075499E-3</c:v>
                </c:pt>
                <c:pt idx="46920">
                  <c:v>1.6806722689075499E-3</c:v>
                </c:pt>
                <c:pt idx="46921">
                  <c:v>1.6806722689075499E-3</c:v>
                </c:pt>
                <c:pt idx="46922">
                  <c:v>1.6806722689075499E-3</c:v>
                </c:pt>
                <c:pt idx="46923">
                  <c:v>1.6806722689075499E-3</c:v>
                </c:pt>
                <c:pt idx="46924">
                  <c:v>1.6806722689075499E-3</c:v>
                </c:pt>
                <c:pt idx="46925">
                  <c:v>1.6806722689075499E-3</c:v>
                </c:pt>
                <c:pt idx="46926">
                  <c:v>1.6806722689075499E-3</c:v>
                </c:pt>
                <c:pt idx="46927">
                  <c:v>1.6806722689075499E-3</c:v>
                </c:pt>
                <c:pt idx="46928">
                  <c:v>1.6806722689075499E-3</c:v>
                </c:pt>
                <c:pt idx="46929">
                  <c:v>1.6806722689075499E-3</c:v>
                </c:pt>
                <c:pt idx="46930">
                  <c:v>1.6806722689075499E-3</c:v>
                </c:pt>
                <c:pt idx="46931">
                  <c:v>1.6806722689075499E-3</c:v>
                </c:pt>
                <c:pt idx="46932">
                  <c:v>1.6806722689075499E-3</c:v>
                </c:pt>
                <c:pt idx="46933">
                  <c:v>1.6806722689075499E-3</c:v>
                </c:pt>
                <c:pt idx="46934">
                  <c:v>1.6806722689075499E-3</c:v>
                </c:pt>
                <c:pt idx="46935">
                  <c:v>1.6806722689075499E-3</c:v>
                </c:pt>
                <c:pt idx="46936">
                  <c:v>1.6806722689075499E-3</c:v>
                </c:pt>
                <c:pt idx="46937">
                  <c:v>1.6806722689075499E-3</c:v>
                </c:pt>
                <c:pt idx="46938">
                  <c:v>1.6806722689075499E-3</c:v>
                </c:pt>
                <c:pt idx="46939">
                  <c:v>1.6806722689075499E-3</c:v>
                </c:pt>
                <c:pt idx="46940">
                  <c:v>1.6806722689075499E-3</c:v>
                </c:pt>
                <c:pt idx="46941">
                  <c:v>1.6806722689075499E-3</c:v>
                </c:pt>
                <c:pt idx="46942">
                  <c:v>1.6806722689075499E-3</c:v>
                </c:pt>
                <c:pt idx="46943">
                  <c:v>1.6806722689075499E-3</c:v>
                </c:pt>
                <c:pt idx="46944">
                  <c:v>8.4033613445377799E-4</c:v>
                </c:pt>
                <c:pt idx="46945">
                  <c:v>8.4033613445377799E-4</c:v>
                </c:pt>
                <c:pt idx="46946">
                  <c:v>8.4033613445377799E-4</c:v>
                </c:pt>
                <c:pt idx="46947">
                  <c:v>8.4033613445377799E-4</c:v>
                </c:pt>
                <c:pt idx="46948">
                  <c:v>8.4033613445377799E-4</c:v>
                </c:pt>
                <c:pt idx="46949">
                  <c:v>8.4033613445377799E-4</c:v>
                </c:pt>
                <c:pt idx="46950">
                  <c:v>8.4033613445377799E-4</c:v>
                </c:pt>
                <c:pt idx="46951">
                  <c:v>8.4033613445377799E-4</c:v>
                </c:pt>
                <c:pt idx="46952">
                  <c:v>8.4033613445377799E-4</c:v>
                </c:pt>
                <c:pt idx="46953">
                  <c:v>8.4033613445377799E-4</c:v>
                </c:pt>
                <c:pt idx="46954">
                  <c:v>8.4033613445377799E-4</c:v>
                </c:pt>
                <c:pt idx="46955">
                  <c:v>8.4033613445377799E-4</c:v>
                </c:pt>
                <c:pt idx="46956">
                  <c:v>8.4033613445377799E-4</c:v>
                </c:pt>
                <c:pt idx="46957">
                  <c:v>8.4033613445377799E-4</c:v>
                </c:pt>
                <c:pt idx="46958">
                  <c:v>8.4033613445377799E-4</c:v>
                </c:pt>
                <c:pt idx="46959">
                  <c:v>8.4033613445377799E-4</c:v>
                </c:pt>
                <c:pt idx="46960">
                  <c:v>8.4033613445377799E-4</c:v>
                </c:pt>
                <c:pt idx="46961">
                  <c:v>8.4033613445377799E-4</c:v>
                </c:pt>
                <c:pt idx="46962">
                  <c:v>8.4033613445377799E-4</c:v>
                </c:pt>
                <c:pt idx="46963">
                  <c:v>8.4033613445377799E-4</c:v>
                </c:pt>
                <c:pt idx="46964">
                  <c:v>8.4033613445377799E-4</c:v>
                </c:pt>
                <c:pt idx="46965">
                  <c:v>8.4033613445377799E-4</c:v>
                </c:pt>
                <c:pt idx="46966">
                  <c:v>8.4033613445377799E-4</c:v>
                </c:pt>
                <c:pt idx="46967">
                  <c:v>8.4033613445377799E-4</c:v>
                </c:pt>
                <c:pt idx="46968">
                  <c:v>8.4033613445377799E-4</c:v>
                </c:pt>
                <c:pt idx="46969">
                  <c:v>8.4033613445377799E-4</c:v>
                </c:pt>
                <c:pt idx="46970">
                  <c:v>8.4033613445377799E-4</c:v>
                </c:pt>
                <c:pt idx="46971">
                  <c:v>8.4033613445377799E-4</c:v>
                </c:pt>
                <c:pt idx="46972">
                  <c:v>8.4033613445377799E-4</c:v>
                </c:pt>
                <c:pt idx="46973">
                  <c:v>8.4033613445377799E-4</c:v>
                </c:pt>
                <c:pt idx="46974">
                  <c:v>8.4033613445377799E-4</c:v>
                </c:pt>
                <c:pt idx="46975">
                  <c:v>8.4033613445377799E-4</c:v>
                </c:pt>
                <c:pt idx="46976">
                  <c:v>8.4033613445377799E-4</c:v>
                </c:pt>
                <c:pt idx="46977">
                  <c:v>0</c:v>
                </c:pt>
                <c:pt idx="46978">
                  <c:v>0</c:v>
                </c:pt>
                <c:pt idx="46979">
                  <c:v>0</c:v>
                </c:pt>
                <c:pt idx="46980">
                  <c:v>0</c:v>
                </c:pt>
                <c:pt idx="46981">
                  <c:v>0</c:v>
                </c:pt>
                <c:pt idx="46982">
                  <c:v>0</c:v>
                </c:pt>
                <c:pt idx="46983">
                  <c:v>0</c:v>
                </c:pt>
                <c:pt idx="46984">
                  <c:v>-8.4033613445377799E-4</c:v>
                </c:pt>
                <c:pt idx="46985">
                  <c:v>-8.4033613445377799E-4</c:v>
                </c:pt>
                <c:pt idx="46986">
                  <c:v>-8.4033613445377799E-4</c:v>
                </c:pt>
                <c:pt idx="46987">
                  <c:v>-8.4033613445377799E-4</c:v>
                </c:pt>
                <c:pt idx="46988">
                  <c:v>-8.4033613445377799E-4</c:v>
                </c:pt>
                <c:pt idx="46989">
                  <c:v>-8.4033613445377799E-4</c:v>
                </c:pt>
                <c:pt idx="46990">
                  <c:v>-8.4033613445377799E-4</c:v>
                </c:pt>
                <c:pt idx="46991">
                  <c:v>-8.4033613445377799E-4</c:v>
                </c:pt>
                <c:pt idx="46992">
                  <c:v>-8.4033613445377799E-4</c:v>
                </c:pt>
                <c:pt idx="46993">
                  <c:v>-8.4033613445377799E-4</c:v>
                </c:pt>
                <c:pt idx="46994">
                  <c:v>-8.4033613445377799E-4</c:v>
                </c:pt>
                <c:pt idx="46995">
                  <c:v>-8.4033613445377799E-4</c:v>
                </c:pt>
                <c:pt idx="46996">
                  <c:v>-8.4033613445377799E-4</c:v>
                </c:pt>
                <c:pt idx="46997">
                  <c:v>-8.4033613445377799E-4</c:v>
                </c:pt>
                <c:pt idx="46998">
                  <c:v>-8.4033613445377799E-4</c:v>
                </c:pt>
                <c:pt idx="46999">
                  <c:v>-8.4033613445377799E-4</c:v>
                </c:pt>
                <c:pt idx="47000">
                  <c:v>-8.4033613445377799E-4</c:v>
                </c:pt>
                <c:pt idx="47001">
                  <c:v>-8.4033613445377799E-4</c:v>
                </c:pt>
                <c:pt idx="47002">
                  <c:v>-8.4033613445377799E-4</c:v>
                </c:pt>
                <c:pt idx="47003">
                  <c:v>-8.4033613445377799E-4</c:v>
                </c:pt>
                <c:pt idx="47004">
                  <c:v>-8.4033613445377799E-4</c:v>
                </c:pt>
                <c:pt idx="47005">
                  <c:v>-8.4033613445377799E-4</c:v>
                </c:pt>
                <c:pt idx="47006">
                  <c:v>-8.4033613445377799E-4</c:v>
                </c:pt>
                <c:pt idx="47007">
                  <c:v>-8.4033613445377799E-4</c:v>
                </c:pt>
                <c:pt idx="47008">
                  <c:v>-8.4033613445377799E-4</c:v>
                </c:pt>
                <c:pt idx="47009">
                  <c:v>-8.4033613445377799E-4</c:v>
                </c:pt>
                <c:pt idx="47010">
                  <c:v>-8.4033613445377799E-4</c:v>
                </c:pt>
                <c:pt idx="47011">
                  <c:v>-8.4033613445377799E-4</c:v>
                </c:pt>
                <c:pt idx="47012">
                  <c:v>-8.4033613445377799E-4</c:v>
                </c:pt>
                <c:pt idx="47013">
                  <c:v>-8.4033613445377799E-4</c:v>
                </c:pt>
                <c:pt idx="47014">
                  <c:v>-8.4033613445377799E-4</c:v>
                </c:pt>
                <c:pt idx="47015">
                  <c:v>-8.4033613445377799E-4</c:v>
                </c:pt>
                <c:pt idx="47016">
                  <c:v>-8.4033613445377799E-4</c:v>
                </c:pt>
                <c:pt idx="47017">
                  <c:v>-8.4033613445377799E-4</c:v>
                </c:pt>
                <c:pt idx="47018">
                  <c:v>-8.4033613445377799E-4</c:v>
                </c:pt>
                <c:pt idx="47019">
                  <c:v>-8.4033613445377799E-4</c:v>
                </c:pt>
                <c:pt idx="47020">
                  <c:v>-8.4033613445377799E-4</c:v>
                </c:pt>
                <c:pt idx="47021">
                  <c:v>-8.4033613445377799E-4</c:v>
                </c:pt>
                <c:pt idx="47022">
                  <c:v>-8.4033613445377799E-4</c:v>
                </c:pt>
                <c:pt idx="47023">
                  <c:v>-8.4033613445377799E-4</c:v>
                </c:pt>
                <c:pt idx="47024">
                  <c:v>-8.4033613445377799E-4</c:v>
                </c:pt>
                <c:pt idx="47025">
                  <c:v>-8.4033613445377799E-4</c:v>
                </c:pt>
                <c:pt idx="47026">
                  <c:v>-8.4033613445377799E-4</c:v>
                </c:pt>
                <c:pt idx="47027">
                  <c:v>-8.4033613445377799E-4</c:v>
                </c:pt>
                <c:pt idx="47028">
                  <c:v>-8.4033613445377799E-4</c:v>
                </c:pt>
                <c:pt idx="47029">
                  <c:v>-8.4033613445377799E-4</c:v>
                </c:pt>
                <c:pt idx="47030">
                  <c:v>-8.4033613445377799E-4</c:v>
                </c:pt>
                <c:pt idx="47031">
                  <c:v>-8.4033613445377799E-4</c:v>
                </c:pt>
                <c:pt idx="47032">
                  <c:v>-8.4033613445377799E-4</c:v>
                </c:pt>
                <c:pt idx="47033">
                  <c:v>-8.4033613445377799E-4</c:v>
                </c:pt>
                <c:pt idx="47034">
                  <c:v>-8.4033613445377799E-4</c:v>
                </c:pt>
                <c:pt idx="47035">
                  <c:v>-8.4033613445377799E-4</c:v>
                </c:pt>
                <c:pt idx="47036">
                  <c:v>-8.4033613445377799E-4</c:v>
                </c:pt>
                <c:pt idx="47037">
                  <c:v>-8.4033613445377799E-4</c:v>
                </c:pt>
                <c:pt idx="47038">
                  <c:v>-8.4033613445377799E-4</c:v>
                </c:pt>
                <c:pt idx="47039">
                  <c:v>-8.4033613445377799E-4</c:v>
                </c:pt>
                <c:pt idx="47040">
                  <c:v>-8.4033613445377799E-4</c:v>
                </c:pt>
                <c:pt idx="47041">
                  <c:v>-8.4033613445377799E-4</c:v>
                </c:pt>
                <c:pt idx="47042">
                  <c:v>-8.4033613445377799E-4</c:v>
                </c:pt>
                <c:pt idx="47043">
                  <c:v>-8.4033613445377799E-4</c:v>
                </c:pt>
                <c:pt idx="47044">
                  <c:v>-8.4033613445377799E-4</c:v>
                </c:pt>
                <c:pt idx="47045">
                  <c:v>-8.4033613445377799E-4</c:v>
                </c:pt>
                <c:pt idx="47046">
                  <c:v>-8.4033613445377799E-4</c:v>
                </c:pt>
                <c:pt idx="47047">
                  <c:v>-8.4033613445377799E-4</c:v>
                </c:pt>
                <c:pt idx="47048">
                  <c:v>-8.4033613445377799E-4</c:v>
                </c:pt>
                <c:pt idx="47049">
                  <c:v>-8.4033613445377799E-4</c:v>
                </c:pt>
                <c:pt idx="47050">
                  <c:v>-8.4033613445377799E-4</c:v>
                </c:pt>
                <c:pt idx="47051">
                  <c:v>-8.4033613445377799E-4</c:v>
                </c:pt>
                <c:pt idx="47052">
                  <c:v>-8.4033613445377799E-4</c:v>
                </c:pt>
                <c:pt idx="47053">
                  <c:v>-8.4033613445377799E-4</c:v>
                </c:pt>
                <c:pt idx="47054">
                  <c:v>-8.4033613445377799E-4</c:v>
                </c:pt>
                <c:pt idx="47055">
                  <c:v>-8.4033613445377799E-4</c:v>
                </c:pt>
                <c:pt idx="47056">
                  <c:v>-8.4033613445377799E-4</c:v>
                </c:pt>
                <c:pt idx="47057">
                  <c:v>-8.4033613445377799E-4</c:v>
                </c:pt>
                <c:pt idx="47058">
                  <c:v>-8.4033613445377799E-4</c:v>
                </c:pt>
                <c:pt idx="47059">
                  <c:v>-8.4033613445377799E-4</c:v>
                </c:pt>
                <c:pt idx="47060">
                  <c:v>-8.4033613445377799E-4</c:v>
                </c:pt>
                <c:pt idx="47061">
                  <c:v>-8.4033613445377799E-4</c:v>
                </c:pt>
                <c:pt idx="47062">
                  <c:v>-8.4033613445377799E-4</c:v>
                </c:pt>
                <c:pt idx="47063">
                  <c:v>-8.4033613445377799E-4</c:v>
                </c:pt>
                <c:pt idx="47064">
                  <c:v>-8.4033613445377799E-4</c:v>
                </c:pt>
                <c:pt idx="47065">
                  <c:v>-8.4033613445377799E-4</c:v>
                </c:pt>
                <c:pt idx="47066">
                  <c:v>-8.4033613445377799E-4</c:v>
                </c:pt>
                <c:pt idx="47067">
                  <c:v>-8.4033613445377799E-4</c:v>
                </c:pt>
                <c:pt idx="47068">
                  <c:v>-8.4033613445377799E-4</c:v>
                </c:pt>
                <c:pt idx="47069">
                  <c:v>-8.4033613445377799E-4</c:v>
                </c:pt>
                <c:pt idx="47070">
                  <c:v>-8.4033613445377799E-4</c:v>
                </c:pt>
                <c:pt idx="47071">
                  <c:v>-8.4033613445377799E-4</c:v>
                </c:pt>
                <c:pt idx="47072">
                  <c:v>-8.4033613445377799E-4</c:v>
                </c:pt>
                <c:pt idx="47073">
                  <c:v>-8.4033613445377799E-4</c:v>
                </c:pt>
                <c:pt idx="47074">
                  <c:v>-8.4033613445377799E-4</c:v>
                </c:pt>
                <c:pt idx="47075">
                  <c:v>-8.4033613445377799E-4</c:v>
                </c:pt>
                <c:pt idx="47076">
                  <c:v>-8.4033613445377799E-4</c:v>
                </c:pt>
                <c:pt idx="47077">
                  <c:v>-8.4033613445377799E-4</c:v>
                </c:pt>
                <c:pt idx="47078">
                  <c:v>-8.4033613445377799E-4</c:v>
                </c:pt>
                <c:pt idx="47079">
                  <c:v>-8.4033613445377799E-4</c:v>
                </c:pt>
                <c:pt idx="47080">
                  <c:v>-8.4033613445377799E-4</c:v>
                </c:pt>
                <c:pt idx="47081">
                  <c:v>-8.4033613445377799E-4</c:v>
                </c:pt>
                <c:pt idx="47082">
                  <c:v>-8.4033613445377799E-4</c:v>
                </c:pt>
                <c:pt idx="47083">
                  <c:v>-8.4033613445377799E-4</c:v>
                </c:pt>
                <c:pt idx="47084">
                  <c:v>-8.4033613445377799E-4</c:v>
                </c:pt>
                <c:pt idx="47085">
                  <c:v>-8.4033613445377799E-4</c:v>
                </c:pt>
                <c:pt idx="47086">
                  <c:v>-8.4033613445377799E-4</c:v>
                </c:pt>
                <c:pt idx="47087">
                  <c:v>-8.4033613445377799E-4</c:v>
                </c:pt>
                <c:pt idx="47088">
                  <c:v>-8.4033613445377799E-4</c:v>
                </c:pt>
                <c:pt idx="47089">
                  <c:v>-8.4033613445377799E-4</c:v>
                </c:pt>
                <c:pt idx="47090">
                  <c:v>-8.4033613445377799E-4</c:v>
                </c:pt>
                <c:pt idx="47091">
                  <c:v>0</c:v>
                </c:pt>
                <c:pt idx="47092">
                  <c:v>0</c:v>
                </c:pt>
                <c:pt idx="47093">
                  <c:v>0</c:v>
                </c:pt>
                <c:pt idx="47094">
                  <c:v>0</c:v>
                </c:pt>
                <c:pt idx="47095">
                  <c:v>0</c:v>
                </c:pt>
                <c:pt idx="47096">
                  <c:v>0</c:v>
                </c:pt>
                <c:pt idx="47097">
                  <c:v>0</c:v>
                </c:pt>
                <c:pt idx="47098">
                  <c:v>0</c:v>
                </c:pt>
                <c:pt idx="47099">
                  <c:v>0</c:v>
                </c:pt>
                <c:pt idx="47100">
                  <c:v>0</c:v>
                </c:pt>
                <c:pt idx="47101">
                  <c:v>0</c:v>
                </c:pt>
                <c:pt idx="47102">
                  <c:v>0</c:v>
                </c:pt>
                <c:pt idx="47103">
                  <c:v>0</c:v>
                </c:pt>
                <c:pt idx="47104">
                  <c:v>0</c:v>
                </c:pt>
                <c:pt idx="47105">
                  <c:v>0</c:v>
                </c:pt>
                <c:pt idx="47106">
                  <c:v>0</c:v>
                </c:pt>
                <c:pt idx="47107">
                  <c:v>0</c:v>
                </c:pt>
                <c:pt idx="47108">
                  <c:v>0</c:v>
                </c:pt>
                <c:pt idx="47109">
                  <c:v>0</c:v>
                </c:pt>
                <c:pt idx="47110">
                  <c:v>0</c:v>
                </c:pt>
                <c:pt idx="47111">
                  <c:v>0</c:v>
                </c:pt>
                <c:pt idx="47112">
                  <c:v>0</c:v>
                </c:pt>
                <c:pt idx="47113">
                  <c:v>0</c:v>
                </c:pt>
                <c:pt idx="47114">
                  <c:v>0</c:v>
                </c:pt>
                <c:pt idx="47115">
                  <c:v>0</c:v>
                </c:pt>
                <c:pt idx="47116">
                  <c:v>0</c:v>
                </c:pt>
                <c:pt idx="47117">
                  <c:v>0</c:v>
                </c:pt>
                <c:pt idx="47118">
                  <c:v>0</c:v>
                </c:pt>
                <c:pt idx="47119">
                  <c:v>0</c:v>
                </c:pt>
                <c:pt idx="47120">
                  <c:v>0</c:v>
                </c:pt>
                <c:pt idx="47121">
                  <c:v>0</c:v>
                </c:pt>
                <c:pt idx="47122">
                  <c:v>0</c:v>
                </c:pt>
                <c:pt idx="47123">
                  <c:v>0</c:v>
                </c:pt>
                <c:pt idx="47124">
                  <c:v>0</c:v>
                </c:pt>
                <c:pt idx="47125">
                  <c:v>0</c:v>
                </c:pt>
                <c:pt idx="47126">
                  <c:v>0</c:v>
                </c:pt>
                <c:pt idx="47127">
                  <c:v>0</c:v>
                </c:pt>
                <c:pt idx="47128">
                  <c:v>0</c:v>
                </c:pt>
                <c:pt idx="47129">
                  <c:v>0</c:v>
                </c:pt>
                <c:pt idx="47130">
                  <c:v>0</c:v>
                </c:pt>
                <c:pt idx="47131">
                  <c:v>0</c:v>
                </c:pt>
                <c:pt idx="47132">
                  <c:v>0</c:v>
                </c:pt>
                <c:pt idx="47133">
                  <c:v>0</c:v>
                </c:pt>
                <c:pt idx="47134">
                  <c:v>0</c:v>
                </c:pt>
                <c:pt idx="47135">
                  <c:v>0</c:v>
                </c:pt>
                <c:pt idx="47136">
                  <c:v>0</c:v>
                </c:pt>
                <c:pt idx="47137">
                  <c:v>0</c:v>
                </c:pt>
                <c:pt idx="47138">
                  <c:v>0</c:v>
                </c:pt>
                <c:pt idx="47139">
                  <c:v>0</c:v>
                </c:pt>
                <c:pt idx="47140">
                  <c:v>0</c:v>
                </c:pt>
                <c:pt idx="47141">
                  <c:v>0</c:v>
                </c:pt>
                <c:pt idx="47142">
                  <c:v>0</c:v>
                </c:pt>
                <c:pt idx="47143">
                  <c:v>0</c:v>
                </c:pt>
                <c:pt idx="47144">
                  <c:v>0</c:v>
                </c:pt>
                <c:pt idx="47145">
                  <c:v>0</c:v>
                </c:pt>
                <c:pt idx="47146">
                  <c:v>0</c:v>
                </c:pt>
                <c:pt idx="47147">
                  <c:v>0</c:v>
                </c:pt>
                <c:pt idx="47148">
                  <c:v>0</c:v>
                </c:pt>
                <c:pt idx="47149">
                  <c:v>0</c:v>
                </c:pt>
                <c:pt idx="47150">
                  <c:v>0</c:v>
                </c:pt>
                <c:pt idx="47151">
                  <c:v>0</c:v>
                </c:pt>
                <c:pt idx="47152">
                  <c:v>0</c:v>
                </c:pt>
                <c:pt idx="47153">
                  <c:v>0</c:v>
                </c:pt>
                <c:pt idx="47154">
                  <c:v>0</c:v>
                </c:pt>
                <c:pt idx="47155">
                  <c:v>0</c:v>
                </c:pt>
                <c:pt idx="47156">
                  <c:v>0</c:v>
                </c:pt>
                <c:pt idx="47157">
                  <c:v>0</c:v>
                </c:pt>
                <c:pt idx="47158">
                  <c:v>0</c:v>
                </c:pt>
                <c:pt idx="47159">
                  <c:v>0</c:v>
                </c:pt>
                <c:pt idx="47160">
                  <c:v>0</c:v>
                </c:pt>
                <c:pt idx="47161">
                  <c:v>0</c:v>
                </c:pt>
                <c:pt idx="47162">
                  <c:v>0</c:v>
                </c:pt>
                <c:pt idx="47163">
                  <c:v>0</c:v>
                </c:pt>
                <c:pt idx="47164">
                  <c:v>0</c:v>
                </c:pt>
                <c:pt idx="47165">
                  <c:v>0</c:v>
                </c:pt>
                <c:pt idx="47166">
                  <c:v>0</c:v>
                </c:pt>
                <c:pt idx="47167">
                  <c:v>0</c:v>
                </c:pt>
                <c:pt idx="47168">
                  <c:v>0</c:v>
                </c:pt>
                <c:pt idx="47169">
                  <c:v>0</c:v>
                </c:pt>
                <c:pt idx="47170">
                  <c:v>0</c:v>
                </c:pt>
                <c:pt idx="47171">
                  <c:v>0</c:v>
                </c:pt>
                <c:pt idx="47172">
                  <c:v>0</c:v>
                </c:pt>
                <c:pt idx="47173">
                  <c:v>0</c:v>
                </c:pt>
                <c:pt idx="47174">
                  <c:v>0</c:v>
                </c:pt>
                <c:pt idx="47175">
                  <c:v>0</c:v>
                </c:pt>
                <c:pt idx="47176">
                  <c:v>0</c:v>
                </c:pt>
                <c:pt idx="47177">
                  <c:v>0</c:v>
                </c:pt>
                <c:pt idx="47178">
                  <c:v>0</c:v>
                </c:pt>
                <c:pt idx="47179">
                  <c:v>0</c:v>
                </c:pt>
                <c:pt idx="47180">
                  <c:v>0</c:v>
                </c:pt>
                <c:pt idx="47181">
                  <c:v>0</c:v>
                </c:pt>
                <c:pt idx="47182">
                  <c:v>0</c:v>
                </c:pt>
                <c:pt idx="47183">
                  <c:v>0</c:v>
                </c:pt>
                <c:pt idx="47184">
                  <c:v>0</c:v>
                </c:pt>
                <c:pt idx="47185">
                  <c:v>0</c:v>
                </c:pt>
                <c:pt idx="47186">
                  <c:v>0</c:v>
                </c:pt>
                <c:pt idx="47187">
                  <c:v>0</c:v>
                </c:pt>
                <c:pt idx="47188">
                  <c:v>0</c:v>
                </c:pt>
                <c:pt idx="47189">
                  <c:v>0</c:v>
                </c:pt>
                <c:pt idx="47190">
                  <c:v>0</c:v>
                </c:pt>
                <c:pt idx="47191">
                  <c:v>0</c:v>
                </c:pt>
                <c:pt idx="47192">
                  <c:v>0</c:v>
                </c:pt>
                <c:pt idx="47193">
                  <c:v>0</c:v>
                </c:pt>
                <c:pt idx="47194">
                  <c:v>0</c:v>
                </c:pt>
                <c:pt idx="47195">
                  <c:v>0</c:v>
                </c:pt>
                <c:pt idx="47196">
                  <c:v>0</c:v>
                </c:pt>
                <c:pt idx="47197">
                  <c:v>0</c:v>
                </c:pt>
                <c:pt idx="47198">
                  <c:v>0</c:v>
                </c:pt>
                <c:pt idx="47199">
                  <c:v>0</c:v>
                </c:pt>
                <c:pt idx="47200">
                  <c:v>0</c:v>
                </c:pt>
                <c:pt idx="47201">
                  <c:v>0</c:v>
                </c:pt>
                <c:pt idx="47202">
                  <c:v>0</c:v>
                </c:pt>
                <c:pt idx="47203">
                  <c:v>0</c:v>
                </c:pt>
                <c:pt idx="47204">
                  <c:v>0</c:v>
                </c:pt>
                <c:pt idx="47205">
                  <c:v>0</c:v>
                </c:pt>
                <c:pt idx="47206">
                  <c:v>0</c:v>
                </c:pt>
                <c:pt idx="47207">
                  <c:v>0</c:v>
                </c:pt>
                <c:pt idx="47208">
                  <c:v>0</c:v>
                </c:pt>
                <c:pt idx="47209">
                  <c:v>0</c:v>
                </c:pt>
                <c:pt idx="47210">
                  <c:v>0</c:v>
                </c:pt>
                <c:pt idx="47211">
                  <c:v>0</c:v>
                </c:pt>
                <c:pt idx="47212">
                  <c:v>0</c:v>
                </c:pt>
                <c:pt idx="47213">
                  <c:v>0</c:v>
                </c:pt>
                <c:pt idx="47214">
                  <c:v>0</c:v>
                </c:pt>
                <c:pt idx="47215">
                  <c:v>0</c:v>
                </c:pt>
                <c:pt idx="47216">
                  <c:v>0</c:v>
                </c:pt>
                <c:pt idx="47217">
                  <c:v>0</c:v>
                </c:pt>
                <c:pt idx="47218">
                  <c:v>0</c:v>
                </c:pt>
                <c:pt idx="47219">
                  <c:v>0</c:v>
                </c:pt>
                <c:pt idx="47220">
                  <c:v>0</c:v>
                </c:pt>
                <c:pt idx="47221">
                  <c:v>0</c:v>
                </c:pt>
                <c:pt idx="47222">
                  <c:v>0</c:v>
                </c:pt>
                <c:pt idx="47223">
                  <c:v>0</c:v>
                </c:pt>
                <c:pt idx="47224">
                  <c:v>0</c:v>
                </c:pt>
                <c:pt idx="47225">
                  <c:v>0</c:v>
                </c:pt>
                <c:pt idx="47226">
                  <c:v>0</c:v>
                </c:pt>
                <c:pt idx="47227">
                  <c:v>0</c:v>
                </c:pt>
                <c:pt idx="47228">
                  <c:v>0</c:v>
                </c:pt>
                <c:pt idx="47229">
                  <c:v>0</c:v>
                </c:pt>
                <c:pt idx="47230">
                  <c:v>0</c:v>
                </c:pt>
                <c:pt idx="47231">
                  <c:v>0</c:v>
                </c:pt>
                <c:pt idx="47232">
                  <c:v>0</c:v>
                </c:pt>
                <c:pt idx="47233">
                  <c:v>0</c:v>
                </c:pt>
                <c:pt idx="47234">
                  <c:v>0</c:v>
                </c:pt>
                <c:pt idx="47235">
                  <c:v>0</c:v>
                </c:pt>
                <c:pt idx="47236">
                  <c:v>0</c:v>
                </c:pt>
                <c:pt idx="47237">
                  <c:v>0</c:v>
                </c:pt>
                <c:pt idx="47238">
                  <c:v>0</c:v>
                </c:pt>
                <c:pt idx="47239">
                  <c:v>0</c:v>
                </c:pt>
                <c:pt idx="47240">
                  <c:v>0</c:v>
                </c:pt>
                <c:pt idx="47241">
                  <c:v>0</c:v>
                </c:pt>
                <c:pt idx="47242">
                  <c:v>0</c:v>
                </c:pt>
                <c:pt idx="47243">
                  <c:v>0</c:v>
                </c:pt>
                <c:pt idx="47244">
                  <c:v>0</c:v>
                </c:pt>
                <c:pt idx="47245">
                  <c:v>0</c:v>
                </c:pt>
                <c:pt idx="47246">
                  <c:v>0</c:v>
                </c:pt>
                <c:pt idx="47247">
                  <c:v>0</c:v>
                </c:pt>
                <c:pt idx="47248">
                  <c:v>0</c:v>
                </c:pt>
                <c:pt idx="47249">
                  <c:v>0</c:v>
                </c:pt>
                <c:pt idx="47250">
                  <c:v>0</c:v>
                </c:pt>
                <c:pt idx="47251">
                  <c:v>0</c:v>
                </c:pt>
                <c:pt idx="47252">
                  <c:v>0</c:v>
                </c:pt>
                <c:pt idx="47253">
                  <c:v>0</c:v>
                </c:pt>
                <c:pt idx="47254">
                  <c:v>0</c:v>
                </c:pt>
                <c:pt idx="47255">
                  <c:v>0</c:v>
                </c:pt>
                <c:pt idx="47256">
                  <c:v>0</c:v>
                </c:pt>
                <c:pt idx="47257">
                  <c:v>0</c:v>
                </c:pt>
                <c:pt idx="47258">
                  <c:v>0</c:v>
                </c:pt>
                <c:pt idx="47259">
                  <c:v>0</c:v>
                </c:pt>
                <c:pt idx="47260">
                  <c:v>0</c:v>
                </c:pt>
                <c:pt idx="47261">
                  <c:v>0</c:v>
                </c:pt>
                <c:pt idx="47262">
                  <c:v>0</c:v>
                </c:pt>
                <c:pt idx="47263">
                  <c:v>0</c:v>
                </c:pt>
                <c:pt idx="47264">
                  <c:v>0</c:v>
                </c:pt>
                <c:pt idx="47265">
                  <c:v>0</c:v>
                </c:pt>
                <c:pt idx="47266">
                  <c:v>0</c:v>
                </c:pt>
                <c:pt idx="47267">
                  <c:v>0</c:v>
                </c:pt>
                <c:pt idx="47268">
                  <c:v>0</c:v>
                </c:pt>
                <c:pt idx="47269">
                  <c:v>0</c:v>
                </c:pt>
                <c:pt idx="47270">
                  <c:v>0</c:v>
                </c:pt>
                <c:pt idx="47271">
                  <c:v>0</c:v>
                </c:pt>
                <c:pt idx="47272">
                  <c:v>0</c:v>
                </c:pt>
                <c:pt idx="47273">
                  <c:v>0</c:v>
                </c:pt>
                <c:pt idx="47274">
                  <c:v>0</c:v>
                </c:pt>
                <c:pt idx="47275">
                  <c:v>0</c:v>
                </c:pt>
                <c:pt idx="47276">
                  <c:v>0</c:v>
                </c:pt>
                <c:pt idx="47277">
                  <c:v>0</c:v>
                </c:pt>
                <c:pt idx="47278">
                  <c:v>0</c:v>
                </c:pt>
                <c:pt idx="47279">
                  <c:v>0</c:v>
                </c:pt>
                <c:pt idx="47280">
                  <c:v>0</c:v>
                </c:pt>
                <c:pt idx="47281">
                  <c:v>0</c:v>
                </c:pt>
                <c:pt idx="47282">
                  <c:v>0</c:v>
                </c:pt>
                <c:pt idx="47283">
                  <c:v>0</c:v>
                </c:pt>
                <c:pt idx="47284">
                  <c:v>0</c:v>
                </c:pt>
                <c:pt idx="47285">
                  <c:v>0</c:v>
                </c:pt>
                <c:pt idx="47286">
                  <c:v>0</c:v>
                </c:pt>
                <c:pt idx="47287">
                  <c:v>0</c:v>
                </c:pt>
                <c:pt idx="47288">
                  <c:v>0</c:v>
                </c:pt>
                <c:pt idx="47289">
                  <c:v>0</c:v>
                </c:pt>
                <c:pt idx="47290">
                  <c:v>0</c:v>
                </c:pt>
                <c:pt idx="47291">
                  <c:v>0</c:v>
                </c:pt>
                <c:pt idx="47292">
                  <c:v>0</c:v>
                </c:pt>
                <c:pt idx="47293">
                  <c:v>0</c:v>
                </c:pt>
                <c:pt idx="47294">
                  <c:v>0</c:v>
                </c:pt>
                <c:pt idx="47295">
                  <c:v>0</c:v>
                </c:pt>
                <c:pt idx="47296">
                  <c:v>0</c:v>
                </c:pt>
                <c:pt idx="47297">
                  <c:v>0</c:v>
                </c:pt>
                <c:pt idx="47298">
                  <c:v>0</c:v>
                </c:pt>
                <c:pt idx="47299">
                  <c:v>0</c:v>
                </c:pt>
                <c:pt idx="47300">
                  <c:v>0</c:v>
                </c:pt>
                <c:pt idx="47301">
                  <c:v>0</c:v>
                </c:pt>
                <c:pt idx="47302">
                  <c:v>0</c:v>
                </c:pt>
                <c:pt idx="47303">
                  <c:v>0</c:v>
                </c:pt>
                <c:pt idx="47304">
                  <c:v>0</c:v>
                </c:pt>
                <c:pt idx="47305">
                  <c:v>0</c:v>
                </c:pt>
                <c:pt idx="47306">
                  <c:v>0</c:v>
                </c:pt>
                <c:pt idx="47307">
                  <c:v>0</c:v>
                </c:pt>
                <c:pt idx="47308">
                  <c:v>0</c:v>
                </c:pt>
                <c:pt idx="47309">
                  <c:v>0</c:v>
                </c:pt>
                <c:pt idx="47310">
                  <c:v>0</c:v>
                </c:pt>
                <c:pt idx="47311">
                  <c:v>0</c:v>
                </c:pt>
                <c:pt idx="47312">
                  <c:v>0</c:v>
                </c:pt>
                <c:pt idx="47313">
                  <c:v>0</c:v>
                </c:pt>
                <c:pt idx="47314">
                  <c:v>0</c:v>
                </c:pt>
                <c:pt idx="47315">
                  <c:v>0</c:v>
                </c:pt>
                <c:pt idx="47316">
                  <c:v>0</c:v>
                </c:pt>
                <c:pt idx="47317">
                  <c:v>0</c:v>
                </c:pt>
                <c:pt idx="47318">
                  <c:v>0</c:v>
                </c:pt>
                <c:pt idx="47319">
                  <c:v>0</c:v>
                </c:pt>
                <c:pt idx="47320">
                  <c:v>0</c:v>
                </c:pt>
                <c:pt idx="47321">
                  <c:v>0</c:v>
                </c:pt>
                <c:pt idx="47322">
                  <c:v>0</c:v>
                </c:pt>
                <c:pt idx="47323">
                  <c:v>0</c:v>
                </c:pt>
                <c:pt idx="47324">
                  <c:v>0</c:v>
                </c:pt>
                <c:pt idx="47325">
                  <c:v>0</c:v>
                </c:pt>
                <c:pt idx="47326">
                  <c:v>0</c:v>
                </c:pt>
                <c:pt idx="47327">
                  <c:v>0</c:v>
                </c:pt>
                <c:pt idx="47328">
                  <c:v>0</c:v>
                </c:pt>
                <c:pt idx="47329">
                  <c:v>0</c:v>
                </c:pt>
                <c:pt idx="47330">
                  <c:v>0</c:v>
                </c:pt>
                <c:pt idx="47331">
                  <c:v>0</c:v>
                </c:pt>
                <c:pt idx="47332">
                  <c:v>0</c:v>
                </c:pt>
                <c:pt idx="47333">
                  <c:v>0</c:v>
                </c:pt>
                <c:pt idx="47334">
                  <c:v>0</c:v>
                </c:pt>
                <c:pt idx="47335">
                  <c:v>0</c:v>
                </c:pt>
                <c:pt idx="47336">
                  <c:v>0</c:v>
                </c:pt>
                <c:pt idx="47337">
                  <c:v>0</c:v>
                </c:pt>
                <c:pt idx="47338">
                  <c:v>0</c:v>
                </c:pt>
                <c:pt idx="47339">
                  <c:v>0</c:v>
                </c:pt>
                <c:pt idx="47340">
                  <c:v>0</c:v>
                </c:pt>
                <c:pt idx="47341">
                  <c:v>0</c:v>
                </c:pt>
                <c:pt idx="47342">
                  <c:v>0</c:v>
                </c:pt>
                <c:pt idx="47343">
                  <c:v>0</c:v>
                </c:pt>
                <c:pt idx="47344">
                  <c:v>0</c:v>
                </c:pt>
                <c:pt idx="47345">
                  <c:v>0</c:v>
                </c:pt>
                <c:pt idx="47346">
                  <c:v>0</c:v>
                </c:pt>
                <c:pt idx="47347">
                  <c:v>0</c:v>
                </c:pt>
                <c:pt idx="47348">
                  <c:v>0</c:v>
                </c:pt>
                <c:pt idx="47349">
                  <c:v>0</c:v>
                </c:pt>
                <c:pt idx="47350">
                  <c:v>0</c:v>
                </c:pt>
                <c:pt idx="47351">
                  <c:v>0</c:v>
                </c:pt>
                <c:pt idx="47352">
                  <c:v>0</c:v>
                </c:pt>
                <c:pt idx="47353">
                  <c:v>0</c:v>
                </c:pt>
                <c:pt idx="47354">
                  <c:v>0</c:v>
                </c:pt>
                <c:pt idx="47355">
                  <c:v>0</c:v>
                </c:pt>
                <c:pt idx="47356">
                  <c:v>0</c:v>
                </c:pt>
                <c:pt idx="47357">
                  <c:v>0</c:v>
                </c:pt>
                <c:pt idx="47358">
                  <c:v>0</c:v>
                </c:pt>
                <c:pt idx="47359">
                  <c:v>0</c:v>
                </c:pt>
                <c:pt idx="47360">
                  <c:v>0</c:v>
                </c:pt>
                <c:pt idx="47361">
                  <c:v>0</c:v>
                </c:pt>
                <c:pt idx="47362">
                  <c:v>0</c:v>
                </c:pt>
                <c:pt idx="47363">
                  <c:v>0</c:v>
                </c:pt>
                <c:pt idx="47364">
                  <c:v>0</c:v>
                </c:pt>
                <c:pt idx="47365">
                  <c:v>0</c:v>
                </c:pt>
                <c:pt idx="47366">
                  <c:v>0</c:v>
                </c:pt>
                <c:pt idx="47367">
                  <c:v>0</c:v>
                </c:pt>
                <c:pt idx="47368">
                  <c:v>0</c:v>
                </c:pt>
                <c:pt idx="47369">
                  <c:v>0</c:v>
                </c:pt>
                <c:pt idx="47370">
                  <c:v>0</c:v>
                </c:pt>
                <c:pt idx="47371">
                  <c:v>0</c:v>
                </c:pt>
                <c:pt idx="47372">
                  <c:v>0</c:v>
                </c:pt>
                <c:pt idx="47373">
                  <c:v>0</c:v>
                </c:pt>
                <c:pt idx="47374">
                  <c:v>0</c:v>
                </c:pt>
                <c:pt idx="47375">
                  <c:v>0</c:v>
                </c:pt>
                <c:pt idx="47376">
                  <c:v>0</c:v>
                </c:pt>
                <c:pt idx="47377">
                  <c:v>0</c:v>
                </c:pt>
                <c:pt idx="47378">
                  <c:v>0</c:v>
                </c:pt>
                <c:pt idx="47379">
                  <c:v>0</c:v>
                </c:pt>
                <c:pt idx="47380">
                  <c:v>0</c:v>
                </c:pt>
                <c:pt idx="47381">
                  <c:v>0</c:v>
                </c:pt>
                <c:pt idx="47382">
                  <c:v>0</c:v>
                </c:pt>
                <c:pt idx="47383">
                  <c:v>0</c:v>
                </c:pt>
                <c:pt idx="47384">
                  <c:v>0</c:v>
                </c:pt>
                <c:pt idx="47385">
                  <c:v>0</c:v>
                </c:pt>
                <c:pt idx="47386">
                  <c:v>0</c:v>
                </c:pt>
                <c:pt idx="47387">
                  <c:v>0</c:v>
                </c:pt>
                <c:pt idx="47388">
                  <c:v>0</c:v>
                </c:pt>
                <c:pt idx="47389">
                  <c:v>0</c:v>
                </c:pt>
                <c:pt idx="47390">
                  <c:v>0</c:v>
                </c:pt>
                <c:pt idx="47391">
                  <c:v>0</c:v>
                </c:pt>
                <c:pt idx="47392">
                  <c:v>0</c:v>
                </c:pt>
                <c:pt idx="47393">
                  <c:v>0</c:v>
                </c:pt>
                <c:pt idx="47394">
                  <c:v>0</c:v>
                </c:pt>
                <c:pt idx="47395">
                  <c:v>0</c:v>
                </c:pt>
                <c:pt idx="47396">
                  <c:v>0</c:v>
                </c:pt>
                <c:pt idx="47397">
                  <c:v>0</c:v>
                </c:pt>
                <c:pt idx="47398">
                  <c:v>0</c:v>
                </c:pt>
                <c:pt idx="47399">
                  <c:v>0</c:v>
                </c:pt>
                <c:pt idx="47400">
                  <c:v>0</c:v>
                </c:pt>
                <c:pt idx="47401">
                  <c:v>0</c:v>
                </c:pt>
                <c:pt idx="47402">
                  <c:v>0</c:v>
                </c:pt>
                <c:pt idx="47403">
                  <c:v>0</c:v>
                </c:pt>
                <c:pt idx="47404">
                  <c:v>0</c:v>
                </c:pt>
                <c:pt idx="47405">
                  <c:v>0</c:v>
                </c:pt>
                <c:pt idx="47406">
                  <c:v>0</c:v>
                </c:pt>
                <c:pt idx="47407">
                  <c:v>0</c:v>
                </c:pt>
                <c:pt idx="47408">
                  <c:v>0</c:v>
                </c:pt>
                <c:pt idx="47409">
                  <c:v>0</c:v>
                </c:pt>
                <c:pt idx="47410">
                  <c:v>0</c:v>
                </c:pt>
                <c:pt idx="47411">
                  <c:v>0</c:v>
                </c:pt>
                <c:pt idx="47412">
                  <c:v>0</c:v>
                </c:pt>
                <c:pt idx="47413">
                  <c:v>0</c:v>
                </c:pt>
                <c:pt idx="47414">
                  <c:v>0</c:v>
                </c:pt>
                <c:pt idx="47415">
                  <c:v>0</c:v>
                </c:pt>
                <c:pt idx="47416">
                  <c:v>0</c:v>
                </c:pt>
                <c:pt idx="47417">
                  <c:v>0</c:v>
                </c:pt>
                <c:pt idx="47418">
                  <c:v>0</c:v>
                </c:pt>
                <c:pt idx="47419">
                  <c:v>0</c:v>
                </c:pt>
                <c:pt idx="47420">
                  <c:v>0</c:v>
                </c:pt>
                <c:pt idx="47421">
                  <c:v>0</c:v>
                </c:pt>
                <c:pt idx="47422">
                  <c:v>0</c:v>
                </c:pt>
                <c:pt idx="47423">
                  <c:v>0</c:v>
                </c:pt>
                <c:pt idx="47424">
                  <c:v>0</c:v>
                </c:pt>
                <c:pt idx="47425">
                  <c:v>0</c:v>
                </c:pt>
                <c:pt idx="47426">
                  <c:v>0</c:v>
                </c:pt>
                <c:pt idx="47427">
                  <c:v>0</c:v>
                </c:pt>
                <c:pt idx="47428">
                  <c:v>0</c:v>
                </c:pt>
                <c:pt idx="47429">
                  <c:v>0</c:v>
                </c:pt>
                <c:pt idx="47430">
                  <c:v>0</c:v>
                </c:pt>
                <c:pt idx="47431">
                  <c:v>0</c:v>
                </c:pt>
                <c:pt idx="47432">
                  <c:v>0</c:v>
                </c:pt>
                <c:pt idx="47433">
                  <c:v>0</c:v>
                </c:pt>
                <c:pt idx="47434">
                  <c:v>0</c:v>
                </c:pt>
                <c:pt idx="47435">
                  <c:v>0</c:v>
                </c:pt>
                <c:pt idx="47436">
                  <c:v>0</c:v>
                </c:pt>
                <c:pt idx="47437">
                  <c:v>0</c:v>
                </c:pt>
                <c:pt idx="47438">
                  <c:v>0</c:v>
                </c:pt>
                <c:pt idx="47439">
                  <c:v>0</c:v>
                </c:pt>
                <c:pt idx="47440">
                  <c:v>0</c:v>
                </c:pt>
                <c:pt idx="47441">
                  <c:v>0</c:v>
                </c:pt>
                <c:pt idx="47442">
                  <c:v>0</c:v>
                </c:pt>
                <c:pt idx="47443">
                  <c:v>0</c:v>
                </c:pt>
                <c:pt idx="47444">
                  <c:v>0</c:v>
                </c:pt>
                <c:pt idx="47445">
                  <c:v>0</c:v>
                </c:pt>
                <c:pt idx="47446">
                  <c:v>0</c:v>
                </c:pt>
                <c:pt idx="47447">
                  <c:v>0</c:v>
                </c:pt>
                <c:pt idx="47448">
                  <c:v>0</c:v>
                </c:pt>
                <c:pt idx="47449">
                  <c:v>0</c:v>
                </c:pt>
                <c:pt idx="47450">
                  <c:v>0</c:v>
                </c:pt>
                <c:pt idx="47451">
                  <c:v>0</c:v>
                </c:pt>
                <c:pt idx="47452">
                  <c:v>0</c:v>
                </c:pt>
                <c:pt idx="47453">
                  <c:v>0</c:v>
                </c:pt>
                <c:pt idx="47454">
                  <c:v>0</c:v>
                </c:pt>
                <c:pt idx="47455">
                  <c:v>0</c:v>
                </c:pt>
                <c:pt idx="47456">
                  <c:v>0</c:v>
                </c:pt>
                <c:pt idx="47457">
                  <c:v>0</c:v>
                </c:pt>
                <c:pt idx="47458">
                  <c:v>0</c:v>
                </c:pt>
                <c:pt idx="47459">
                  <c:v>0</c:v>
                </c:pt>
                <c:pt idx="47460">
                  <c:v>0</c:v>
                </c:pt>
                <c:pt idx="47461">
                  <c:v>0</c:v>
                </c:pt>
                <c:pt idx="47462">
                  <c:v>0</c:v>
                </c:pt>
                <c:pt idx="47463">
                  <c:v>0</c:v>
                </c:pt>
                <c:pt idx="47464">
                  <c:v>0</c:v>
                </c:pt>
                <c:pt idx="47465">
                  <c:v>0</c:v>
                </c:pt>
                <c:pt idx="47466">
                  <c:v>0</c:v>
                </c:pt>
                <c:pt idx="47467">
                  <c:v>0</c:v>
                </c:pt>
                <c:pt idx="47468">
                  <c:v>0</c:v>
                </c:pt>
                <c:pt idx="47469">
                  <c:v>0</c:v>
                </c:pt>
                <c:pt idx="47470">
                  <c:v>0</c:v>
                </c:pt>
                <c:pt idx="47471">
                  <c:v>8.4033613445377799E-4</c:v>
                </c:pt>
                <c:pt idx="47472">
                  <c:v>8.4033613445377799E-4</c:v>
                </c:pt>
                <c:pt idx="47473">
                  <c:v>8.4033613445377799E-4</c:v>
                </c:pt>
                <c:pt idx="47474">
                  <c:v>8.4033613445377799E-4</c:v>
                </c:pt>
                <c:pt idx="47475">
                  <c:v>8.4033613445377799E-4</c:v>
                </c:pt>
                <c:pt idx="47476">
                  <c:v>8.4033613445377799E-4</c:v>
                </c:pt>
                <c:pt idx="47477">
                  <c:v>8.4033613445377799E-4</c:v>
                </c:pt>
                <c:pt idx="47478">
                  <c:v>8.4033613445377799E-4</c:v>
                </c:pt>
                <c:pt idx="47479">
                  <c:v>8.4033613445377799E-4</c:v>
                </c:pt>
                <c:pt idx="47480">
                  <c:v>8.4033613445377799E-4</c:v>
                </c:pt>
                <c:pt idx="47481">
                  <c:v>8.4033613445377799E-4</c:v>
                </c:pt>
                <c:pt idx="47482">
                  <c:v>8.4033613445377799E-4</c:v>
                </c:pt>
                <c:pt idx="47483">
                  <c:v>8.4033613445377799E-4</c:v>
                </c:pt>
                <c:pt idx="47484">
                  <c:v>8.4033613445377799E-4</c:v>
                </c:pt>
                <c:pt idx="47485">
                  <c:v>8.4033613445377799E-4</c:v>
                </c:pt>
                <c:pt idx="47486">
                  <c:v>8.4033613445377799E-4</c:v>
                </c:pt>
                <c:pt idx="47487">
                  <c:v>8.4033613445377799E-4</c:v>
                </c:pt>
                <c:pt idx="47488">
                  <c:v>8.4033613445377799E-4</c:v>
                </c:pt>
                <c:pt idx="47489">
                  <c:v>8.4033613445377799E-4</c:v>
                </c:pt>
                <c:pt idx="47490">
                  <c:v>8.4033613445377799E-4</c:v>
                </c:pt>
                <c:pt idx="47491">
                  <c:v>8.4033613445377799E-4</c:v>
                </c:pt>
                <c:pt idx="47492">
                  <c:v>8.4033613445377799E-4</c:v>
                </c:pt>
                <c:pt idx="47493">
                  <c:v>0</c:v>
                </c:pt>
                <c:pt idx="47494">
                  <c:v>0</c:v>
                </c:pt>
                <c:pt idx="47495">
                  <c:v>0</c:v>
                </c:pt>
                <c:pt idx="47496">
                  <c:v>0</c:v>
                </c:pt>
                <c:pt idx="47497">
                  <c:v>0</c:v>
                </c:pt>
                <c:pt idx="47498">
                  <c:v>0</c:v>
                </c:pt>
                <c:pt idx="47499">
                  <c:v>0</c:v>
                </c:pt>
                <c:pt idx="47500">
                  <c:v>0</c:v>
                </c:pt>
                <c:pt idx="47501">
                  <c:v>0</c:v>
                </c:pt>
                <c:pt idx="47502">
                  <c:v>0</c:v>
                </c:pt>
                <c:pt idx="47503">
                  <c:v>0</c:v>
                </c:pt>
                <c:pt idx="47504">
                  <c:v>0</c:v>
                </c:pt>
                <c:pt idx="47505">
                  <c:v>0</c:v>
                </c:pt>
                <c:pt idx="47506">
                  <c:v>0</c:v>
                </c:pt>
                <c:pt idx="47507">
                  <c:v>0</c:v>
                </c:pt>
                <c:pt idx="47508">
                  <c:v>0</c:v>
                </c:pt>
                <c:pt idx="47509">
                  <c:v>0</c:v>
                </c:pt>
                <c:pt idx="47510">
                  <c:v>0</c:v>
                </c:pt>
                <c:pt idx="47511">
                  <c:v>0</c:v>
                </c:pt>
                <c:pt idx="47512">
                  <c:v>0</c:v>
                </c:pt>
                <c:pt idx="47513">
                  <c:v>0</c:v>
                </c:pt>
                <c:pt idx="47514">
                  <c:v>0</c:v>
                </c:pt>
                <c:pt idx="47515">
                  <c:v>0</c:v>
                </c:pt>
                <c:pt idx="47516">
                  <c:v>0</c:v>
                </c:pt>
                <c:pt idx="47517">
                  <c:v>0</c:v>
                </c:pt>
                <c:pt idx="47518">
                  <c:v>0</c:v>
                </c:pt>
                <c:pt idx="47519">
                  <c:v>0</c:v>
                </c:pt>
                <c:pt idx="47520">
                  <c:v>0</c:v>
                </c:pt>
                <c:pt idx="47521">
                  <c:v>0</c:v>
                </c:pt>
                <c:pt idx="47522">
                  <c:v>0</c:v>
                </c:pt>
                <c:pt idx="47523">
                  <c:v>0</c:v>
                </c:pt>
                <c:pt idx="47524">
                  <c:v>0</c:v>
                </c:pt>
                <c:pt idx="47525">
                  <c:v>0</c:v>
                </c:pt>
                <c:pt idx="47526">
                  <c:v>0</c:v>
                </c:pt>
                <c:pt idx="47527">
                  <c:v>0</c:v>
                </c:pt>
                <c:pt idx="47528">
                  <c:v>0</c:v>
                </c:pt>
                <c:pt idx="47529">
                  <c:v>0</c:v>
                </c:pt>
                <c:pt idx="47530">
                  <c:v>0</c:v>
                </c:pt>
                <c:pt idx="47531">
                  <c:v>0</c:v>
                </c:pt>
                <c:pt idx="47532">
                  <c:v>0</c:v>
                </c:pt>
                <c:pt idx="47533">
                  <c:v>0</c:v>
                </c:pt>
                <c:pt idx="47534">
                  <c:v>0</c:v>
                </c:pt>
                <c:pt idx="47535">
                  <c:v>0</c:v>
                </c:pt>
                <c:pt idx="47536">
                  <c:v>0</c:v>
                </c:pt>
                <c:pt idx="47537">
                  <c:v>0</c:v>
                </c:pt>
                <c:pt idx="47538">
                  <c:v>0</c:v>
                </c:pt>
                <c:pt idx="47539">
                  <c:v>0</c:v>
                </c:pt>
                <c:pt idx="47540">
                  <c:v>0</c:v>
                </c:pt>
                <c:pt idx="47541">
                  <c:v>0</c:v>
                </c:pt>
                <c:pt idx="47542">
                  <c:v>0</c:v>
                </c:pt>
                <c:pt idx="47543">
                  <c:v>0</c:v>
                </c:pt>
                <c:pt idx="47544">
                  <c:v>0</c:v>
                </c:pt>
                <c:pt idx="47545">
                  <c:v>0</c:v>
                </c:pt>
                <c:pt idx="47546">
                  <c:v>0</c:v>
                </c:pt>
                <c:pt idx="47547">
                  <c:v>0</c:v>
                </c:pt>
                <c:pt idx="47548">
                  <c:v>0</c:v>
                </c:pt>
                <c:pt idx="47549">
                  <c:v>0</c:v>
                </c:pt>
                <c:pt idx="47550">
                  <c:v>0</c:v>
                </c:pt>
                <c:pt idx="47551">
                  <c:v>0</c:v>
                </c:pt>
                <c:pt idx="47552">
                  <c:v>0</c:v>
                </c:pt>
                <c:pt idx="47553">
                  <c:v>0</c:v>
                </c:pt>
                <c:pt idx="47554">
                  <c:v>0</c:v>
                </c:pt>
                <c:pt idx="47555">
                  <c:v>0</c:v>
                </c:pt>
                <c:pt idx="47556">
                  <c:v>0</c:v>
                </c:pt>
                <c:pt idx="47557">
                  <c:v>0</c:v>
                </c:pt>
                <c:pt idx="47558">
                  <c:v>0</c:v>
                </c:pt>
                <c:pt idx="47559">
                  <c:v>0</c:v>
                </c:pt>
                <c:pt idx="47560">
                  <c:v>0</c:v>
                </c:pt>
                <c:pt idx="47561">
                  <c:v>0</c:v>
                </c:pt>
                <c:pt idx="47562">
                  <c:v>0</c:v>
                </c:pt>
                <c:pt idx="47563">
                  <c:v>0</c:v>
                </c:pt>
                <c:pt idx="47564">
                  <c:v>0</c:v>
                </c:pt>
                <c:pt idx="47565">
                  <c:v>-8.4033613445377799E-4</c:v>
                </c:pt>
                <c:pt idx="47566">
                  <c:v>-8.4033613445377799E-4</c:v>
                </c:pt>
                <c:pt idx="47567">
                  <c:v>-8.4033613445377799E-4</c:v>
                </c:pt>
                <c:pt idx="47568">
                  <c:v>-8.4033613445377799E-4</c:v>
                </c:pt>
                <c:pt idx="47569">
                  <c:v>-8.4033613445377799E-4</c:v>
                </c:pt>
                <c:pt idx="47570">
                  <c:v>-8.4033613445377799E-4</c:v>
                </c:pt>
                <c:pt idx="47571">
                  <c:v>-8.4033613445377799E-4</c:v>
                </c:pt>
                <c:pt idx="47572">
                  <c:v>-8.4033613445377799E-4</c:v>
                </c:pt>
                <c:pt idx="47573">
                  <c:v>-8.4033613445377799E-4</c:v>
                </c:pt>
                <c:pt idx="47574">
                  <c:v>-8.4033613445377799E-4</c:v>
                </c:pt>
                <c:pt idx="47575">
                  <c:v>-8.4033613445377799E-4</c:v>
                </c:pt>
                <c:pt idx="47576">
                  <c:v>-8.4033613445377799E-4</c:v>
                </c:pt>
                <c:pt idx="47577">
                  <c:v>-8.4033613445377799E-4</c:v>
                </c:pt>
                <c:pt idx="47578">
                  <c:v>-8.4033613445377799E-4</c:v>
                </c:pt>
                <c:pt idx="47579">
                  <c:v>-8.4033613445377799E-4</c:v>
                </c:pt>
                <c:pt idx="47580">
                  <c:v>-8.4033613445377799E-4</c:v>
                </c:pt>
                <c:pt idx="47581">
                  <c:v>-8.4033613445377799E-4</c:v>
                </c:pt>
                <c:pt idx="47582">
                  <c:v>-8.4033613445377799E-4</c:v>
                </c:pt>
                <c:pt idx="47583">
                  <c:v>-8.4033613445377799E-4</c:v>
                </c:pt>
                <c:pt idx="47584">
                  <c:v>-8.4033613445377799E-4</c:v>
                </c:pt>
                <c:pt idx="47585">
                  <c:v>-8.4033613445377799E-4</c:v>
                </c:pt>
                <c:pt idx="47586">
                  <c:v>-8.4033613445377799E-4</c:v>
                </c:pt>
                <c:pt idx="47587">
                  <c:v>-8.4033613445377799E-4</c:v>
                </c:pt>
                <c:pt idx="47588">
                  <c:v>-8.4033613445377799E-4</c:v>
                </c:pt>
                <c:pt idx="47589">
                  <c:v>-8.4033613445377799E-4</c:v>
                </c:pt>
                <c:pt idx="47590">
                  <c:v>-8.4033613445377799E-4</c:v>
                </c:pt>
                <c:pt idx="47591">
                  <c:v>-8.4033613445377799E-4</c:v>
                </c:pt>
                <c:pt idx="47592">
                  <c:v>-8.4033613445377799E-4</c:v>
                </c:pt>
                <c:pt idx="47593">
                  <c:v>-8.4033613445377799E-4</c:v>
                </c:pt>
                <c:pt idx="47594">
                  <c:v>-8.4033613445377799E-4</c:v>
                </c:pt>
                <c:pt idx="47595">
                  <c:v>-8.4033613445377799E-4</c:v>
                </c:pt>
                <c:pt idx="47596">
                  <c:v>-8.4033613445377799E-4</c:v>
                </c:pt>
                <c:pt idx="47597">
                  <c:v>-8.4033613445377799E-4</c:v>
                </c:pt>
                <c:pt idx="47598">
                  <c:v>-8.4033613445377799E-4</c:v>
                </c:pt>
                <c:pt idx="47599">
                  <c:v>-8.4033613445377799E-4</c:v>
                </c:pt>
                <c:pt idx="47600">
                  <c:v>-8.4033613445377799E-4</c:v>
                </c:pt>
                <c:pt idx="47601">
                  <c:v>-8.4033613445377799E-4</c:v>
                </c:pt>
                <c:pt idx="47602">
                  <c:v>-8.4033613445377799E-4</c:v>
                </c:pt>
                <c:pt idx="47603">
                  <c:v>-8.4033613445377799E-4</c:v>
                </c:pt>
                <c:pt idx="47604">
                  <c:v>-8.4033613445377799E-4</c:v>
                </c:pt>
                <c:pt idx="47605">
                  <c:v>-8.4033613445377799E-4</c:v>
                </c:pt>
                <c:pt idx="47606">
                  <c:v>-8.4033613445377799E-4</c:v>
                </c:pt>
                <c:pt idx="47607">
                  <c:v>-8.4033613445377799E-4</c:v>
                </c:pt>
                <c:pt idx="47608">
                  <c:v>-8.4033613445377799E-4</c:v>
                </c:pt>
                <c:pt idx="47609">
                  <c:v>-8.4033613445377799E-4</c:v>
                </c:pt>
                <c:pt idx="47610">
                  <c:v>-8.4033613445377799E-4</c:v>
                </c:pt>
                <c:pt idx="47611">
                  <c:v>-8.4033613445377799E-4</c:v>
                </c:pt>
                <c:pt idx="47612">
                  <c:v>-8.4033613445377799E-4</c:v>
                </c:pt>
                <c:pt idx="47613">
                  <c:v>-8.4033613445377799E-4</c:v>
                </c:pt>
                <c:pt idx="47614">
                  <c:v>-8.4033613445377799E-4</c:v>
                </c:pt>
                <c:pt idx="47615">
                  <c:v>-8.4033613445377799E-4</c:v>
                </c:pt>
                <c:pt idx="47616">
                  <c:v>-8.4033613445377799E-4</c:v>
                </c:pt>
                <c:pt idx="47617">
                  <c:v>-8.4033613445377799E-4</c:v>
                </c:pt>
                <c:pt idx="47618">
                  <c:v>-8.4033613445377799E-4</c:v>
                </c:pt>
                <c:pt idx="47619">
                  <c:v>-8.4033613445377799E-4</c:v>
                </c:pt>
                <c:pt idx="47620">
                  <c:v>-8.4033613445377799E-4</c:v>
                </c:pt>
                <c:pt idx="47621">
                  <c:v>-8.4033613445377799E-4</c:v>
                </c:pt>
                <c:pt idx="47622">
                  <c:v>-8.4033613445377799E-4</c:v>
                </c:pt>
                <c:pt idx="47623">
                  <c:v>-8.4033613445377799E-4</c:v>
                </c:pt>
                <c:pt idx="47624">
                  <c:v>-8.4033613445377799E-4</c:v>
                </c:pt>
                <c:pt idx="47625">
                  <c:v>-8.4033613445377799E-4</c:v>
                </c:pt>
                <c:pt idx="47626">
                  <c:v>-8.4033613445377799E-4</c:v>
                </c:pt>
                <c:pt idx="47627">
                  <c:v>-8.4033613445377799E-4</c:v>
                </c:pt>
                <c:pt idx="47628">
                  <c:v>-8.4033613445377799E-4</c:v>
                </c:pt>
                <c:pt idx="47629">
                  <c:v>-8.4033613445377799E-4</c:v>
                </c:pt>
                <c:pt idx="47630">
                  <c:v>-8.4033613445377799E-4</c:v>
                </c:pt>
                <c:pt idx="47631">
                  <c:v>-8.4033613445377799E-4</c:v>
                </c:pt>
                <c:pt idx="47632">
                  <c:v>-8.4033613445377799E-4</c:v>
                </c:pt>
                <c:pt idx="47633">
                  <c:v>-8.4033613445377799E-4</c:v>
                </c:pt>
                <c:pt idx="47634">
                  <c:v>-8.4033613445377799E-4</c:v>
                </c:pt>
                <c:pt idx="47635">
                  <c:v>-8.4033613445377799E-4</c:v>
                </c:pt>
                <c:pt idx="47636">
                  <c:v>-8.4033613445377799E-4</c:v>
                </c:pt>
                <c:pt idx="47637">
                  <c:v>-8.4033613445377799E-4</c:v>
                </c:pt>
                <c:pt idx="47638">
                  <c:v>-8.4033613445377799E-4</c:v>
                </c:pt>
                <c:pt idx="47639">
                  <c:v>-8.4033613445377799E-4</c:v>
                </c:pt>
                <c:pt idx="47640">
                  <c:v>-8.4033613445377799E-4</c:v>
                </c:pt>
                <c:pt idx="47641">
                  <c:v>-8.4033613445377799E-4</c:v>
                </c:pt>
                <c:pt idx="47642">
                  <c:v>-8.4033613445377799E-4</c:v>
                </c:pt>
                <c:pt idx="47643">
                  <c:v>-8.4033613445377799E-4</c:v>
                </c:pt>
                <c:pt idx="47644">
                  <c:v>-8.4033613445377799E-4</c:v>
                </c:pt>
                <c:pt idx="47645">
                  <c:v>-8.4033613445377799E-4</c:v>
                </c:pt>
                <c:pt idx="47646">
                  <c:v>-8.4033613445377799E-4</c:v>
                </c:pt>
                <c:pt idx="47647">
                  <c:v>-8.4033613445377799E-4</c:v>
                </c:pt>
                <c:pt idx="47648">
                  <c:v>-8.4033613445377799E-4</c:v>
                </c:pt>
                <c:pt idx="47649">
                  <c:v>-8.4033613445377799E-4</c:v>
                </c:pt>
                <c:pt idx="47650">
                  <c:v>-8.4033613445377799E-4</c:v>
                </c:pt>
                <c:pt idx="47651">
                  <c:v>-8.4033613445377799E-4</c:v>
                </c:pt>
                <c:pt idx="47652">
                  <c:v>-8.4033613445377799E-4</c:v>
                </c:pt>
                <c:pt idx="47653">
                  <c:v>-8.4033613445377799E-4</c:v>
                </c:pt>
                <c:pt idx="47654">
                  <c:v>-8.4033613445377799E-4</c:v>
                </c:pt>
                <c:pt idx="47655">
                  <c:v>-8.4033613445377799E-4</c:v>
                </c:pt>
                <c:pt idx="47656">
                  <c:v>-8.4033613445377799E-4</c:v>
                </c:pt>
                <c:pt idx="47657">
                  <c:v>-8.4033613445377799E-4</c:v>
                </c:pt>
                <c:pt idx="47658">
                  <c:v>-8.4033613445377799E-4</c:v>
                </c:pt>
                <c:pt idx="47659">
                  <c:v>-8.4033613445377799E-4</c:v>
                </c:pt>
                <c:pt idx="47660">
                  <c:v>-1.6806722689075499E-3</c:v>
                </c:pt>
                <c:pt idx="47661">
                  <c:v>-1.6806722689075499E-3</c:v>
                </c:pt>
                <c:pt idx="47662">
                  <c:v>-1.6806722689075499E-3</c:v>
                </c:pt>
                <c:pt idx="47663">
                  <c:v>-1.6806722689075499E-3</c:v>
                </c:pt>
                <c:pt idx="47664">
                  <c:v>-1.6806722689075499E-3</c:v>
                </c:pt>
                <c:pt idx="47665">
                  <c:v>-1.6806722689075499E-3</c:v>
                </c:pt>
                <c:pt idx="47666">
                  <c:v>-1.6806722689075499E-3</c:v>
                </c:pt>
                <c:pt idx="47667">
                  <c:v>-1.6806722689075499E-3</c:v>
                </c:pt>
                <c:pt idx="47668">
                  <c:v>-1.6806722689075499E-3</c:v>
                </c:pt>
                <c:pt idx="47669">
                  <c:v>-1.6806722689075499E-3</c:v>
                </c:pt>
                <c:pt idx="47670">
                  <c:v>-1.6806722689075499E-3</c:v>
                </c:pt>
                <c:pt idx="47671">
                  <c:v>-1.6806722689075499E-3</c:v>
                </c:pt>
                <c:pt idx="47672">
                  <c:v>-1.6806722689075499E-3</c:v>
                </c:pt>
                <c:pt idx="47673">
                  <c:v>-1.6806722689075499E-3</c:v>
                </c:pt>
                <c:pt idx="47674">
                  <c:v>-1.6806722689075499E-3</c:v>
                </c:pt>
                <c:pt idx="47675">
                  <c:v>-1.6806722689075499E-3</c:v>
                </c:pt>
                <c:pt idx="47676">
                  <c:v>-1.6806722689075499E-3</c:v>
                </c:pt>
                <c:pt idx="47677">
                  <c:v>-1.6806722689075499E-3</c:v>
                </c:pt>
                <c:pt idx="47678">
                  <c:v>-1.6806722689075499E-3</c:v>
                </c:pt>
                <c:pt idx="47679">
                  <c:v>-1.6806722689075499E-3</c:v>
                </c:pt>
                <c:pt idx="47680">
                  <c:v>-1.6806722689075499E-3</c:v>
                </c:pt>
                <c:pt idx="47681">
                  <c:v>-1.6806722689075499E-3</c:v>
                </c:pt>
                <c:pt idx="47682">
                  <c:v>-1.6806722689075499E-3</c:v>
                </c:pt>
                <c:pt idx="47683">
                  <c:v>-1.6806722689075499E-3</c:v>
                </c:pt>
                <c:pt idx="47684">
                  <c:v>-1.6806722689075499E-3</c:v>
                </c:pt>
                <c:pt idx="47685">
                  <c:v>-1.6806722689075499E-3</c:v>
                </c:pt>
                <c:pt idx="47686">
                  <c:v>-1.6806722689075499E-3</c:v>
                </c:pt>
                <c:pt idx="47687">
                  <c:v>-1.6806722689075499E-3</c:v>
                </c:pt>
                <c:pt idx="47688">
                  <c:v>-1.6806722689075499E-3</c:v>
                </c:pt>
                <c:pt idx="47689">
                  <c:v>-1.6806722689075499E-3</c:v>
                </c:pt>
                <c:pt idx="47690">
                  <c:v>-1.6806722689075499E-3</c:v>
                </c:pt>
                <c:pt idx="47691">
                  <c:v>-1.6806722689075499E-3</c:v>
                </c:pt>
                <c:pt idx="47692">
                  <c:v>-1.6806722689075499E-3</c:v>
                </c:pt>
                <c:pt idx="47693">
                  <c:v>-1.6806722689075499E-3</c:v>
                </c:pt>
                <c:pt idx="47694">
                  <c:v>-1.6806722689075499E-3</c:v>
                </c:pt>
                <c:pt idx="47695">
                  <c:v>-1.6806722689075499E-3</c:v>
                </c:pt>
                <c:pt idx="47696">
                  <c:v>-1.6806722689075499E-3</c:v>
                </c:pt>
                <c:pt idx="47697">
                  <c:v>-1.6806722689075499E-3</c:v>
                </c:pt>
                <c:pt idx="47698">
                  <c:v>-1.6806722689075499E-3</c:v>
                </c:pt>
                <c:pt idx="47699">
                  <c:v>-1.6806722689075499E-3</c:v>
                </c:pt>
                <c:pt idx="47700">
                  <c:v>-1.6806722689075499E-3</c:v>
                </c:pt>
                <c:pt idx="47701">
                  <c:v>-1.6806722689075499E-3</c:v>
                </c:pt>
                <c:pt idx="47702">
                  <c:v>-1.6806722689075499E-3</c:v>
                </c:pt>
                <c:pt idx="47703">
                  <c:v>-1.6806722689075499E-3</c:v>
                </c:pt>
                <c:pt idx="47704">
                  <c:v>-8.4033613445377799E-4</c:v>
                </c:pt>
                <c:pt idx="47705">
                  <c:v>-8.4033613445377799E-4</c:v>
                </c:pt>
                <c:pt idx="47706">
                  <c:v>-8.4033613445377799E-4</c:v>
                </c:pt>
                <c:pt idx="47707">
                  <c:v>-8.4033613445377799E-4</c:v>
                </c:pt>
                <c:pt idx="47708">
                  <c:v>-8.4033613445377799E-4</c:v>
                </c:pt>
                <c:pt idx="47709">
                  <c:v>-8.4033613445377799E-4</c:v>
                </c:pt>
                <c:pt idx="47710">
                  <c:v>-8.4033613445377799E-4</c:v>
                </c:pt>
                <c:pt idx="47711">
                  <c:v>-8.4033613445377799E-4</c:v>
                </c:pt>
                <c:pt idx="47712">
                  <c:v>-8.4033613445377799E-4</c:v>
                </c:pt>
                <c:pt idx="47713">
                  <c:v>-8.4033613445377799E-4</c:v>
                </c:pt>
                <c:pt idx="47714">
                  <c:v>-8.4033613445377799E-4</c:v>
                </c:pt>
                <c:pt idx="47715">
                  <c:v>-8.4033613445377799E-4</c:v>
                </c:pt>
                <c:pt idx="47716">
                  <c:v>-8.4033613445377799E-4</c:v>
                </c:pt>
                <c:pt idx="47717">
                  <c:v>-8.4033613445377799E-4</c:v>
                </c:pt>
                <c:pt idx="47718">
                  <c:v>-8.4033613445377799E-4</c:v>
                </c:pt>
                <c:pt idx="47719">
                  <c:v>-8.4033613445377799E-4</c:v>
                </c:pt>
                <c:pt idx="47720">
                  <c:v>-8.4033613445377799E-4</c:v>
                </c:pt>
                <c:pt idx="47721">
                  <c:v>-8.4033613445377799E-4</c:v>
                </c:pt>
                <c:pt idx="47722">
                  <c:v>-8.4033613445377799E-4</c:v>
                </c:pt>
                <c:pt idx="47723">
                  <c:v>-8.4033613445377799E-4</c:v>
                </c:pt>
                <c:pt idx="47724">
                  <c:v>-8.4033613445377799E-4</c:v>
                </c:pt>
                <c:pt idx="47725">
                  <c:v>-8.4033613445377799E-4</c:v>
                </c:pt>
                <c:pt idx="47726">
                  <c:v>-8.4033613445377799E-4</c:v>
                </c:pt>
                <c:pt idx="47727">
                  <c:v>-8.4033613445377799E-4</c:v>
                </c:pt>
                <c:pt idx="47728">
                  <c:v>-8.4033613445377799E-4</c:v>
                </c:pt>
                <c:pt idx="47729">
                  <c:v>-8.4033613445377799E-4</c:v>
                </c:pt>
                <c:pt idx="47730">
                  <c:v>-8.4033613445377799E-4</c:v>
                </c:pt>
                <c:pt idx="47731">
                  <c:v>-8.4033613445377799E-4</c:v>
                </c:pt>
                <c:pt idx="47732">
                  <c:v>-1.6806722689075499E-3</c:v>
                </c:pt>
                <c:pt idx="47733">
                  <c:v>-1.6806722689075499E-3</c:v>
                </c:pt>
                <c:pt idx="47734">
                  <c:v>-1.6806722689075499E-3</c:v>
                </c:pt>
                <c:pt idx="47735">
                  <c:v>-1.6806722689075499E-3</c:v>
                </c:pt>
                <c:pt idx="47736">
                  <c:v>-1.6806722689075499E-3</c:v>
                </c:pt>
                <c:pt idx="47737">
                  <c:v>-1.6806722689075499E-3</c:v>
                </c:pt>
                <c:pt idx="47738">
                  <c:v>-1.6806722689075499E-3</c:v>
                </c:pt>
                <c:pt idx="47739">
                  <c:v>-1.6806722689075499E-3</c:v>
                </c:pt>
                <c:pt idx="47740">
                  <c:v>-1.6806722689075499E-3</c:v>
                </c:pt>
                <c:pt idx="47741">
                  <c:v>-1.6806722689075499E-3</c:v>
                </c:pt>
                <c:pt idx="47742">
                  <c:v>-1.6806722689075499E-3</c:v>
                </c:pt>
                <c:pt idx="47743">
                  <c:v>-1.6806722689075499E-3</c:v>
                </c:pt>
                <c:pt idx="47744">
                  <c:v>-1.6806722689075499E-3</c:v>
                </c:pt>
                <c:pt idx="47745">
                  <c:v>-1.6806722689075499E-3</c:v>
                </c:pt>
                <c:pt idx="47746">
                  <c:v>-1.6806722689075499E-3</c:v>
                </c:pt>
                <c:pt idx="47747">
                  <c:v>-1.6806722689075499E-3</c:v>
                </c:pt>
                <c:pt idx="47748">
                  <c:v>-1.6806722689075499E-3</c:v>
                </c:pt>
                <c:pt idx="47749">
                  <c:v>-1.6806722689075499E-3</c:v>
                </c:pt>
                <c:pt idx="47750">
                  <c:v>-1.6806722689075499E-3</c:v>
                </c:pt>
                <c:pt idx="47751">
                  <c:v>-1.6806722689075499E-3</c:v>
                </c:pt>
                <c:pt idx="47752">
                  <c:v>-1.6806722689075499E-3</c:v>
                </c:pt>
                <c:pt idx="47753">
                  <c:v>-1.6806722689075499E-3</c:v>
                </c:pt>
                <c:pt idx="47754">
                  <c:v>-1.6806722689075499E-3</c:v>
                </c:pt>
                <c:pt idx="47755">
                  <c:v>-1.6806722689075499E-3</c:v>
                </c:pt>
                <c:pt idx="47756">
                  <c:v>-1.6806722689075499E-3</c:v>
                </c:pt>
                <c:pt idx="47757">
                  <c:v>-1.6806722689075499E-3</c:v>
                </c:pt>
                <c:pt idx="47758">
                  <c:v>-1.6806722689075499E-3</c:v>
                </c:pt>
                <c:pt idx="47759">
                  <c:v>-1.6806722689075499E-3</c:v>
                </c:pt>
                <c:pt idx="47760">
                  <c:v>-1.6806722689075499E-3</c:v>
                </c:pt>
                <c:pt idx="47761">
                  <c:v>-1.6806722689075499E-3</c:v>
                </c:pt>
                <c:pt idx="47762">
                  <c:v>-1.6806722689075499E-3</c:v>
                </c:pt>
                <c:pt idx="47763">
                  <c:v>-1.6806722689075499E-3</c:v>
                </c:pt>
                <c:pt idx="47764">
                  <c:v>-1.6806722689075499E-3</c:v>
                </c:pt>
                <c:pt idx="47765">
                  <c:v>-1.6806722689075499E-3</c:v>
                </c:pt>
                <c:pt idx="47766">
                  <c:v>-1.6806722689075499E-3</c:v>
                </c:pt>
                <c:pt idx="47767">
                  <c:v>-1.6806722689075499E-3</c:v>
                </c:pt>
                <c:pt idx="47768">
                  <c:v>-8.4033613445377799E-4</c:v>
                </c:pt>
                <c:pt idx="47769">
                  <c:v>-8.4033613445377799E-4</c:v>
                </c:pt>
                <c:pt idx="47770">
                  <c:v>-8.4033613445377799E-4</c:v>
                </c:pt>
                <c:pt idx="47771">
                  <c:v>-8.4033613445377799E-4</c:v>
                </c:pt>
                <c:pt idx="47772">
                  <c:v>-8.4033613445377799E-4</c:v>
                </c:pt>
                <c:pt idx="47773">
                  <c:v>-8.4033613445377799E-4</c:v>
                </c:pt>
                <c:pt idx="47774">
                  <c:v>-8.4033613445377799E-4</c:v>
                </c:pt>
                <c:pt idx="47775">
                  <c:v>-8.4033613445377799E-4</c:v>
                </c:pt>
                <c:pt idx="47776">
                  <c:v>-8.4033613445377799E-4</c:v>
                </c:pt>
                <c:pt idx="47777">
                  <c:v>-8.4033613445377799E-4</c:v>
                </c:pt>
                <c:pt idx="47778">
                  <c:v>-8.4033613445377799E-4</c:v>
                </c:pt>
                <c:pt idx="47779">
                  <c:v>-8.4033613445377799E-4</c:v>
                </c:pt>
                <c:pt idx="47780">
                  <c:v>-8.4033613445377799E-4</c:v>
                </c:pt>
                <c:pt idx="47781">
                  <c:v>-8.4033613445377799E-4</c:v>
                </c:pt>
                <c:pt idx="47782">
                  <c:v>-8.4033613445377799E-4</c:v>
                </c:pt>
                <c:pt idx="47783">
                  <c:v>-8.4033613445377799E-4</c:v>
                </c:pt>
                <c:pt idx="47784">
                  <c:v>-8.4033613445377799E-4</c:v>
                </c:pt>
                <c:pt idx="47785">
                  <c:v>-8.4033613445377799E-4</c:v>
                </c:pt>
                <c:pt idx="47786">
                  <c:v>-8.4033613445377799E-4</c:v>
                </c:pt>
                <c:pt idx="47787">
                  <c:v>-8.4033613445377799E-4</c:v>
                </c:pt>
                <c:pt idx="47788">
                  <c:v>-8.4033613445377799E-4</c:v>
                </c:pt>
                <c:pt idx="47789">
                  <c:v>-8.4033613445377799E-4</c:v>
                </c:pt>
                <c:pt idx="47790">
                  <c:v>-8.4033613445377799E-4</c:v>
                </c:pt>
                <c:pt idx="47791">
                  <c:v>-8.4033613445377799E-4</c:v>
                </c:pt>
                <c:pt idx="47792">
                  <c:v>-8.4033613445377799E-4</c:v>
                </c:pt>
                <c:pt idx="47793">
                  <c:v>-8.4033613445377799E-4</c:v>
                </c:pt>
                <c:pt idx="47794">
                  <c:v>-8.4033613445377799E-4</c:v>
                </c:pt>
                <c:pt idx="47795">
                  <c:v>-8.4033613445377799E-4</c:v>
                </c:pt>
                <c:pt idx="47796">
                  <c:v>-8.4033613445377799E-4</c:v>
                </c:pt>
                <c:pt idx="47797">
                  <c:v>-8.4033613445377799E-4</c:v>
                </c:pt>
                <c:pt idx="47798">
                  <c:v>-8.4033613445377799E-4</c:v>
                </c:pt>
                <c:pt idx="47799">
                  <c:v>-8.4033613445377799E-4</c:v>
                </c:pt>
                <c:pt idx="47800">
                  <c:v>-8.4033613445377799E-4</c:v>
                </c:pt>
                <c:pt idx="47801">
                  <c:v>-8.4033613445377799E-4</c:v>
                </c:pt>
                <c:pt idx="47802">
                  <c:v>-1.6806722689075499E-3</c:v>
                </c:pt>
                <c:pt idx="47803">
                  <c:v>-1.6806722689075499E-3</c:v>
                </c:pt>
                <c:pt idx="47804">
                  <c:v>-1.6806722689075499E-3</c:v>
                </c:pt>
                <c:pt idx="47805">
                  <c:v>-1.6806722689075499E-3</c:v>
                </c:pt>
                <c:pt idx="47806">
                  <c:v>-1.6806722689075499E-3</c:v>
                </c:pt>
                <c:pt idx="47807">
                  <c:v>-1.6806722689075499E-3</c:v>
                </c:pt>
                <c:pt idx="47808">
                  <c:v>-1.6806722689075499E-3</c:v>
                </c:pt>
                <c:pt idx="47809">
                  <c:v>-1.6806722689075499E-3</c:v>
                </c:pt>
                <c:pt idx="47810">
                  <c:v>-1.6806722689075499E-3</c:v>
                </c:pt>
                <c:pt idx="47811">
                  <c:v>-1.6806722689075499E-3</c:v>
                </c:pt>
                <c:pt idx="47812">
                  <c:v>-1.6806722689075499E-3</c:v>
                </c:pt>
                <c:pt idx="47813">
                  <c:v>-1.6806722689075499E-3</c:v>
                </c:pt>
                <c:pt idx="47814">
                  <c:v>-1.6806722689075499E-3</c:v>
                </c:pt>
                <c:pt idx="47815">
                  <c:v>-1.6806722689075499E-3</c:v>
                </c:pt>
                <c:pt idx="47816">
                  <c:v>-1.6806722689075499E-3</c:v>
                </c:pt>
                <c:pt idx="47817">
                  <c:v>-1.6806722689075499E-3</c:v>
                </c:pt>
                <c:pt idx="47818">
                  <c:v>-1.6806722689075499E-3</c:v>
                </c:pt>
                <c:pt idx="47819">
                  <c:v>-1.6806722689075499E-3</c:v>
                </c:pt>
                <c:pt idx="47820">
                  <c:v>-1.6806722689075499E-3</c:v>
                </c:pt>
                <c:pt idx="47821">
                  <c:v>-1.6806722689075499E-3</c:v>
                </c:pt>
                <c:pt idx="47822">
                  <c:v>-1.6806722689075499E-3</c:v>
                </c:pt>
                <c:pt idx="47823">
                  <c:v>-1.6806722689075499E-3</c:v>
                </c:pt>
                <c:pt idx="47824">
                  <c:v>-1.6806722689075499E-3</c:v>
                </c:pt>
                <c:pt idx="47825">
                  <c:v>-1.6806722689075499E-3</c:v>
                </c:pt>
                <c:pt idx="47826">
                  <c:v>-1.6806722689075499E-3</c:v>
                </c:pt>
                <c:pt idx="47827">
                  <c:v>-1.6806722689075499E-3</c:v>
                </c:pt>
                <c:pt idx="47828">
                  <c:v>-1.6806722689075499E-3</c:v>
                </c:pt>
                <c:pt idx="47829">
                  <c:v>-1.6806722689075499E-3</c:v>
                </c:pt>
                <c:pt idx="47830">
                  <c:v>-1.6806722689075499E-3</c:v>
                </c:pt>
                <c:pt idx="47831">
                  <c:v>-1.6806722689075499E-3</c:v>
                </c:pt>
                <c:pt idx="47832">
                  <c:v>-1.6806722689075499E-3</c:v>
                </c:pt>
                <c:pt idx="47833">
                  <c:v>-1.6806722689075499E-3</c:v>
                </c:pt>
                <c:pt idx="47834">
                  <c:v>-1.6806722689075499E-3</c:v>
                </c:pt>
                <c:pt idx="47835">
                  <c:v>-1.6806722689075499E-3</c:v>
                </c:pt>
                <c:pt idx="47836">
                  <c:v>-1.6806722689075499E-3</c:v>
                </c:pt>
                <c:pt idx="47837">
                  <c:v>-1.6806722689075499E-3</c:v>
                </c:pt>
                <c:pt idx="47838">
                  <c:v>-1.6806722689075499E-3</c:v>
                </c:pt>
                <c:pt idx="47839">
                  <c:v>-1.6806722689075499E-3</c:v>
                </c:pt>
                <c:pt idx="47840">
                  <c:v>-1.6806722689075499E-3</c:v>
                </c:pt>
                <c:pt idx="47841">
                  <c:v>-1.6806722689075499E-3</c:v>
                </c:pt>
                <c:pt idx="47842">
                  <c:v>-1.6806722689075499E-3</c:v>
                </c:pt>
                <c:pt idx="47843">
                  <c:v>-1.6806722689075499E-3</c:v>
                </c:pt>
                <c:pt idx="47844">
                  <c:v>-1.6806722689075499E-3</c:v>
                </c:pt>
                <c:pt idx="47845">
                  <c:v>-1.6806722689075499E-3</c:v>
                </c:pt>
                <c:pt idx="47846">
                  <c:v>-1.6806722689075499E-3</c:v>
                </c:pt>
                <c:pt idx="47847">
                  <c:v>-1.6806722689075499E-3</c:v>
                </c:pt>
                <c:pt idx="47848">
                  <c:v>-1.6806722689075499E-3</c:v>
                </c:pt>
                <c:pt idx="47849">
                  <c:v>-1.6806722689075499E-3</c:v>
                </c:pt>
                <c:pt idx="47850">
                  <c:v>-1.6806722689075499E-3</c:v>
                </c:pt>
                <c:pt idx="47851">
                  <c:v>-1.6806722689075499E-3</c:v>
                </c:pt>
                <c:pt idx="47852">
                  <c:v>-1.6806722689075499E-3</c:v>
                </c:pt>
                <c:pt idx="47853">
                  <c:v>-1.6806722689075499E-3</c:v>
                </c:pt>
                <c:pt idx="47854">
                  <c:v>-1.6806722689075499E-3</c:v>
                </c:pt>
                <c:pt idx="47855">
                  <c:v>-1.6806722689075499E-3</c:v>
                </c:pt>
                <c:pt idx="47856">
                  <c:v>-1.6806722689075499E-3</c:v>
                </c:pt>
                <c:pt idx="47857">
                  <c:v>-1.6806722689075499E-3</c:v>
                </c:pt>
                <c:pt idx="47858">
                  <c:v>-1.6806722689075499E-3</c:v>
                </c:pt>
                <c:pt idx="47859">
                  <c:v>-1.6806722689075499E-3</c:v>
                </c:pt>
                <c:pt idx="47860">
                  <c:v>-1.6806722689075499E-3</c:v>
                </c:pt>
                <c:pt idx="47861">
                  <c:v>-1.6806722689075499E-3</c:v>
                </c:pt>
                <c:pt idx="47862">
                  <c:v>-1.6806722689075499E-3</c:v>
                </c:pt>
                <c:pt idx="47863">
                  <c:v>-1.6806722689075499E-3</c:v>
                </c:pt>
                <c:pt idx="47864">
                  <c:v>-1.6806722689075499E-3</c:v>
                </c:pt>
                <c:pt idx="47865">
                  <c:v>-1.6806722689075499E-3</c:v>
                </c:pt>
                <c:pt idx="47866">
                  <c:v>-1.6806722689075499E-3</c:v>
                </c:pt>
                <c:pt idx="47867">
                  <c:v>-1.6806722689075499E-3</c:v>
                </c:pt>
                <c:pt idx="47868">
                  <c:v>-1.6806722689075499E-3</c:v>
                </c:pt>
                <c:pt idx="47869">
                  <c:v>-1.6806722689075499E-3</c:v>
                </c:pt>
                <c:pt idx="47870">
                  <c:v>-1.6806722689075499E-3</c:v>
                </c:pt>
                <c:pt idx="47871">
                  <c:v>-1.6806722689075499E-3</c:v>
                </c:pt>
                <c:pt idx="47872">
                  <c:v>-1.6806722689075499E-3</c:v>
                </c:pt>
                <c:pt idx="47873">
                  <c:v>-1.6806722689075499E-3</c:v>
                </c:pt>
                <c:pt idx="47874">
                  <c:v>-1.6806722689075499E-3</c:v>
                </c:pt>
                <c:pt idx="47875">
                  <c:v>-1.6806722689075499E-3</c:v>
                </c:pt>
                <c:pt idx="47876">
                  <c:v>-1.6806722689075499E-3</c:v>
                </c:pt>
                <c:pt idx="47877">
                  <c:v>-1.6806722689075499E-3</c:v>
                </c:pt>
                <c:pt idx="47878">
                  <c:v>-1.6806722689075499E-3</c:v>
                </c:pt>
                <c:pt idx="47879">
                  <c:v>-1.6806722689075499E-3</c:v>
                </c:pt>
                <c:pt idx="47880">
                  <c:v>-1.6806722689075499E-3</c:v>
                </c:pt>
                <c:pt idx="47881">
                  <c:v>-1.6806722689075499E-3</c:v>
                </c:pt>
                <c:pt idx="47882">
                  <c:v>-1.6806722689075499E-3</c:v>
                </c:pt>
                <c:pt idx="47883">
                  <c:v>-1.6806722689075499E-3</c:v>
                </c:pt>
                <c:pt idx="47884">
                  <c:v>-1.6806722689075499E-3</c:v>
                </c:pt>
                <c:pt idx="47885">
                  <c:v>-1.6806722689075499E-3</c:v>
                </c:pt>
                <c:pt idx="47886">
                  <c:v>-1.6806722689075499E-3</c:v>
                </c:pt>
                <c:pt idx="47887">
                  <c:v>-1.6806722689075499E-3</c:v>
                </c:pt>
                <c:pt idx="47888">
                  <c:v>-1.6806722689075499E-3</c:v>
                </c:pt>
                <c:pt idx="47889">
                  <c:v>-1.6806722689075499E-3</c:v>
                </c:pt>
                <c:pt idx="47890">
                  <c:v>-1.6806722689075499E-3</c:v>
                </c:pt>
                <c:pt idx="47891">
                  <c:v>-1.6806722689075499E-3</c:v>
                </c:pt>
                <c:pt idx="47892">
                  <c:v>-1.6806722689075499E-3</c:v>
                </c:pt>
                <c:pt idx="47893">
                  <c:v>-1.6806722689075499E-3</c:v>
                </c:pt>
                <c:pt idx="47894">
                  <c:v>-1.6806722689075499E-3</c:v>
                </c:pt>
                <c:pt idx="47895">
                  <c:v>-1.6806722689075499E-3</c:v>
                </c:pt>
                <c:pt idx="47896">
                  <c:v>-1.6806722689075499E-3</c:v>
                </c:pt>
                <c:pt idx="47897">
                  <c:v>-1.6806722689075499E-3</c:v>
                </c:pt>
                <c:pt idx="47898">
                  <c:v>-1.6806722689075499E-3</c:v>
                </c:pt>
                <c:pt idx="47899">
                  <c:v>-1.6806722689075499E-3</c:v>
                </c:pt>
                <c:pt idx="47900">
                  <c:v>-1.6806722689075499E-3</c:v>
                </c:pt>
                <c:pt idx="47901">
                  <c:v>-1.6806722689075499E-3</c:v>
                </c:pt>
                <c:pt idx="47902">
                  <c:v>-1.6806722689075499E-3</c:v>
                </c:pt>
                <c:pt idx="47903">
                  <c:v>-1.6806722689075499E-3</c:v>
                </c:pt>
                <c:pt idx="47904">
                  <c:v>-1.6806722689075499E-3</c:v>
                </c:pt>
                <c:pt idx="47905">
                  <c:v>-1.6806722689075499E-3</c:v>
                </c:pt>
                <c:pt idx="47906">
                  <c:v>-1.6806722689075499E-3</c:v>
                </c:pt>
                <c:pt idx="47907">
                  <c:v>-1.6806722689075499E-3</c:v>
                </c:pt>
                <c:pt idx="47908">
                  <c:v>-1.6806722689075499E-3</c:v>
                </c:pt>
                <c:pt idx="47909">
                  <c:v>-1.6806722689075499E-3</c:v>
                </c:pt>
                <c:pt idx="47910">
                  <c:v>-1.6806722689075499E-3</c:v>
                </c:pt>
                <c:pt idx="47911">
                  <c:v>-1.6806722689075499E-3</c:v>
                </c:pt>
                <c:pt idx="47912">
                  <c:v>-1.6806722689075499E-3</c:v>
                </c:pt>
                <c:pt idx="47913">
                  <c:v>-1.6806722689075499E-3</c:v>
                </c:pt>
                <c:pt idx="47914">
                  <c:v>-1.6806722689075499E-3</c:v>
                </c:pt>
                <c:pt idx="47915">
                  <c:v>-1.6806722689075499E-3</c:v>
                </c:pt>
                <c:pt idx="47916">
                  <c:v>-1.6806722689075499E-3</c:v>
                </c:pt>
                <c:pt idx="47917">
                  <c:v>-1.6806722689075499E-3</c:v>
                </c:pt>
                <c:pt idx="47918">
                  <c:v>-1.6806722689075499E-3</c:v>
                </c:pt>
                <c:pt idx="47919">
                  <c:v>-1.6806722689075499E-3</c:v>
                </c:pt>
                <c:pt idx="47920">
                  <c:v>-1.6806722689075499E-3</c:v>
                </c:pt>
                <c:pt idx="47921">
                  <c:v>-1.6806722689075499E-3</c:v>
                </c:pt>
                <c:pt idx="47922">
                  <c:v>-1.6806722689075499E-3</c:v>
                </c:pt>
                <c:pt idx="47923">
                  <c:v>-1.6806722689075499E-3</c:v>
                </c:pt>
                <c:pt idx="47924">
                  <c:v>-1.6806722689075499E-3</c:v>
                </c:pt>
                <c:pt idx="47925">
                  <c:v>-1.6806722689075499E-3</c:v>
                </c:pt>
                <c:pt idx="47926">
                  <c:v>-1.6806722689075499E-3</c:v>
                </c:pt>
                <c:pt idx="47927">
                  <c:v>-1.6806722689075499E-3</c:v>
                </c:pt>
                <c:pt idx="47928">
                  <c:v>-1.6806722689075499E-3</c:v>
                </c:pt>
                <c:pt idx="47929">
                  <c:v>-1.6806722689075499E-3</c:v>
                </c:pt>
                <c:pt idx="47930">
                  <c:v>-1.6806722689075499E-3</c:v>
                </c:pt>
                <c:pt idx="47931">
                  <c:v>-1.6806722689075499E-3</c:v>
                </c:pt>
                <c:pt idx="47932">
                  <c:v>-1.6806722689075499E-3</c:v>
                </c:pt>
                <c:pt idx="47933">
                  <c:v>-1.6806722689075499E-3</c:v>
                </c:pt>
                <c:pt idx="47934">
                  <c:v>-1.6806722689075499E-3</c:v>
                </c:pt>
                <c:pt idx="47935">
                  <c:v>-1.6806722689075499E-3</c:v>
                </c:pt>
                <c:pt idx="47936">
                  <c:v>-1.6806722689075499E-3</c:v>
                </c:pt>
                <c:pt idx="47937">
                  <c:v>-1.6806722689075499E-3</c:v>
                </c:pt>
                <c:pt idx="47938">
                  <c:v>-1.6806722689075499E-3</c:v>
                </c:pt>
                <c:pt idx="47939">
                  <c:v>-1.6806722689075499E-3</c:v>
                </c:pt>
                <c:pt idx="47940">
                  <c:v>-1.6806722689075499E-3</c:v>
                </c:pt>
                <c:pt idx="47941">
                  <c:v>-1.6806722689075499E-3</c:v>
                </c:pt>
                <c:pt idx="47942">
                  <c:v>-1.6806722689075499E-3</c:v>
                </c:pt>
                <c:pt idx="47943">
                  <c:v>-1.6806722689075499E-3</c:v>
                </c:pt>
                <c:pt idx="47944">
                  <c:v>-1.6806722689075499E-3</c:v>
                </c:pt>
                <c:pt idx="47945">
                  <c:v>-1.6806722689075499E-3</c:v>
                </c:pt>
                <c:pt idx="47946">
                  <c:v>-1.6806722689075499E-3</c:v>
                </c:pt>
                <c:pt idx="47947">
                  <c:v>-1.6806722689075499E-3</c:v>
                </c:pt>
                <c:pt idx="47948">
                  <c:v>-1.6806722689075499E-3</c:v>
                </c:pt>
                <c:pt idx="47949">
                  <c:v>-1.6806722689075499E-3</c:v>
                </c:pt>
                <c:pt idx="47950">
                  <c:v>-1.6806722689075499E-3</c:v>
                </c:pt>
                <c:pt idx="47951">
                  <c:v>-1.6806722689075499E-3</c:v>
                </c:pt>
                <c:pt idx="47952">
                  <c:v>-1.6806722689075499E-3</c:v>
                </c:pt>
                <c:pt idx="47953">
                  <c:v>-1.6806722689075499E-3</c:v>
                </c:pt>
                <c:pt idx="47954">
                  <c:v>-1.6806722689075499E-3</c:v>
                </c:pt>
                <c:pt idx="47955">
                  <c:v>-1.6806722689075499E-3</c:v>
                </c:pt>
                <c:pt idx="47956">
                  <c:v>-1.6806722689075499E-3</c:v>
                </c:pt>
                <c:pt idx="47957">
                  <c:v>-1.6806722689075499E-3</c:v>
                </c:pt>
                <c:pt idx="47958">
                  <c:v>-1.6806722689075499E-3</c:v>
                </c:pt>
                <c:pt idx="47959">
                  <c:v>-1.6806722689075499E-3</c:v>
                </c:pt>
                <c:pt idx="47960">
                  <c:v>-1.6806722689075499E-3</c:v>
                </c:pt>
                <c:pt idx="47961">
                  <c:v>-1.6806722689075499E-3</c:v>
                </c:pt>
                <c:pt idx="47962">
                  <c:v>-1.6806722689075499E-3</c:v>
                </c:pt>
                <c:pt idx="47963">
                  <c:v>-1.6806722689075499E-3</c:v>
                </c:pt>
                <c:pt idx="47964">
                  <c:v>-1.6806722689075499E-3</c:v>
                </c:pt>
                <c:pt idx="47965">
                  <c:v>-1.6806722689075499E-3</c:v>
                </c:pt>
                <c:pt idx="47966">
                  <c:v>-1.6806722689075499E-3</c:v>
                </c:pt>
                <c:pt idx="47967">
                  <c:v>-1.6806722689075499E-3</c:v>
                </c:pt>
                <c:pt idx="47968">
                  <c:v>-1.6806722689075499E-3</c:v>
                </c:pt>
                <c:pt idx="47969">
                  <c:v>-1.6806722689075499E-3</c:v>
                </c:pt>
                <c:pt idx="47970">
                  <c:v>-1.6806722689075499E-3</c:v>
                </c:pt>
                <c:pt idx="47971">
                  <c:v>-1.6806722689075499E-3</c:v>
                </c:pt>
                <c:pt idx="47972">
                  <c:v>-1.6806722689075499E-3</c:v>
                </c:pt>
                <c:pt idx="47973">
                  <c:v>-1.6806722689075499E-3</c:v>
                </c:pt>
                <c:pt idx="47974">
                  <c:v>-1.6806722689075499E-3</c:v>
                </c:pt>
                <c:pt idx="47975">
                  <c:v>-1.6806722689075499E-3</c:v>
                </c:pt>
                <c:pt idx="47976">
                  <c:v>-1.6806722689075499E-3</c:v>
                </c:pt>
                <c:pt idx="47977">
                  <c:v>-1.6806722689075499E-3</c:v>
                </c:pt>
                <c:pt idx="47978">
                  <c:v>-1.6806722689075499E-3</c:v>
                </c:pt>
                <c:pt idx="47979">
                  <c:v>-1.6806722689075499E-3</c:v>
                </c:pt>
                <c:pt idx="47980">
                  <c:v>-1.6806722689075499E-3</c:v>
                </c:pt>
                <c:pt idx="47981">
                  <c:v>-1.6806722689075499E-3</c:v>
                </c:pt>
                <c:pt idx="47982">
                  <c:v>-1.6806722689075499E-3</c:v>
                </c:pt>
                <c:pt idx="47983">
                  <c:v>-1.6806722689075499E-3</c:v>
                </c:pt>
                <c:pt idx="47984">
                  <c:v>-1.6806722689075499E-3</c:v>
                </c:pt>
                <c:pt idx="47985">
                  <c:v>-1.6806722689075499E-3</c:v>
                </c:pt>
                <c:pt idx="47986">
                  <c:v>-1.6806722689075499E-3</c:v>
                </c:pt>
                <c:pt idx="47987">
                  <c:v>-1.6806722689075499E-3</c:v>
                </c:pt>
                <c:pt idx="47988">
                  <c:v>-1.6806722689075499E-3</c:v>
                </c:pt>
                <c:pt idx="47989">
                  <c:v>-1.6806722689075499E-3</c:v>
                </c:pt>
                <c:pt idx="47990">
                  <c:v>-1.6806722689075499E-3</c:v>
                </c:pt>
                <c:pt idx="47991">
                  <c:v>-1.6806722689075499E-3</c:v>
                </c:pt>
                <c:pt idx="47992">
                  <c:v>-1.6806722689075499E-3</c:v>
                </c:pt>
                <c:pt idx="47993">
                  <c:v>-1.6806722689075499E-3</c:v>
                </c:pt>
                <c:pt idx="47994">
                  <c:v>-1.6806722689075499E-3</c:v>
                </c:pt>
                <c:pt idx="47995">
                  <c:v>-1.6806722689075499E-3</c:v>
                </c:pt>
                <c:pt idx="47996">
                  <c:v>-1.6806722689075499E-3</c:v>
                </c:pt>
                <c:pt idx="47997">
                  <c:v>-1.6806722689075499E-3</c:v>
                </c:pt>
                <c:pt idx="47998">
                  <c:v>-1.6806722689075499E-3</c:v>
                </c:pt>
                <c:pt idx="47999">
                  <c:v>-1.6806722689075499E-3</c:v>
                </c:pt>
                <c:pt idx="48000">
                  <c:v>-1.6806722689075499E-3</c:v>
                </c:pt>
                <c:pt idx="48001">
                  <c:v>-1.6806722689075499E-3</c:v>
                </c:pt>
                <c:pt idx="48002">
                  <c:v>-1.6806722689075499E-3</c:v>
                </c:pt>
                <c:pt idx="48003">
                  <c:v>-1.6806722689075499E-3</c:v>
                </c:pt>
                <c:pt idx="48004">
                  <c:v>-1.6806722689075499E-3</c:v>
                </c:pt>
                <c:pt idx="48005">
                  <c:v>-1.6806722689075499E-3</c:v>
                </c:pt>
                <c:pt idx="48006">
                  <c:v>-1.6806722689075499E-3</c:v>
                </c:pt>
                <c:pt idx="48007">
                  <c:v>-1.6806722689075499E-3</c:v>
                </c:pt>
                <c:pt idx="48008">
                  <c:v>-1.6806722689075499E-3</c:v>
                </c:pt>
                <c:pt idx="48009">
                  <c:v>-1.6806722689075499E-3</c:v>
                </c:pt>
                <c:pt idx="48010">
                  <c:v>-1.6806722689075499E-3</c:v>
                </c:pt>
                <c:pt idx="48011">
                  <c:v>-1.6806722689075499E-3</c:v>
                </c:pt>
                <c:pt idx="48012">
                  <c:v>-1.6806722689075499E-3</c:v>
                </c:pt>
                <c:pt idx="48013">
                  <c:v>-1.6806722689075499E-3</c:v>
                </c:pt>
                <c:pt idx="48014">
                  <c:v>-1.6806722689075499E-3</c:v>
                </c:pt>
                <c:pt idx="48015">
                  <c:v>-1.6806722689075499E-3</c:v>
                </c:pt>
                <c:pt idx="48016">
                  <c:v>-1.6806722689075499E-3</c:v>
                </c:pt>
                <c:pt idx="48017">
                  <c:v>-1.6806722689075499E-3</c:v>
                </c:pt>
                <c:pt idx="48018">
                  <c:v>-1.6806722689075499E-3</c:v>
                </c:pt>
                <c:pt idx="48019">
                  <c:v>-1.6806722689075499E-3</c:v>
                </c:pt>
                <c:pt idx="48020">
                  <c:v>-1.6806722689075499E-3</c:v>
                </c:pt>
                <c:pt idx="48021">
                  <c:v>-1.6806722689075499E-3</c:v>
                </c:pt>
                <c:pt idx="48022">
                  <c:v>-1.6806722689075499E-3</c:v>
                </c:pt>
                <c:pt idx="48023">
                  <c:v>-1.6806722689075499E-3</c:v>
                </c:pt>
                <c:pt idx="48024">
                  <c:v>-1.6806722689075499E-3</c:v>
                </c:pt>
                <c:pt idx="48025">
                  <c:v>-1.6806722689075499E-3</c:v>
                </c:pt>
                <c:pt idx="48026">
                  <c:v>-1.6806722689075499E-3</c:v>
                </c:pt>
                <c:pt idx="48027">
                  <c:v>-1.6806722689075499E-3</c:v>
                </c:pt>
                <c:pt idx="48028">
                  <c:v>-1.6806722689075499E-3</c:v>
                </c:pt>
                <c:pt idx="48029">
                  <c:v>-1.6806722689075499E-3</c:v>
                </c:pt>
                <c:pt idx="48030">
                  <c:v>-1.6806722689075499E-3</c:v>
                </c:pt>
                <c:pt idx="48031">
                  <c:v>-1.6806722689075499E-3</c:v>
                </c:pt>
                <c:pt idx="48032">
                  <c:v>-1.6806722689075499E-3</c:v>
                </c:pt>
                <c:pt idx="48033">
                  <c:v>-1.6806722689075499E-3</c:v>
                </c:pt>
                <c:pt idx="48034">
                  <c:v>-1.6806722689075499E-3</c:v>
                </c:pt>
                <c:pt idx="48035">
                  <c:v>-1.6806722689075499E-3</c:v>
                </c:pt>
                <c:pt idx="48036">
                  <c:v>-1.6806722689075499E-3</c:v>
                </c:pt>
                <c:pt idx="48037">
                  <c:v>-1.6806722689075499E-3</c:v>
                </c:pt>
                <c:pt idx="48038">
                  <c:v>-1.6806722689075499E-3</c:v>
                </c:pt>
                <c:pt idx="48039">
                  <c:v>-1.6806722689075499E-3</c:v>
                </c:pt>
                <c:pt idx="48040">
                  <c:v>-1.6806722689075499E-3</c:v>
                </c:pt>
                <c:pt idx="48041">
                  <c:v>-1.6806722689075499E-3</c:v>
                </c:pt>
                <c:pt idx="48042">
                  <c:v>-1.6806722689075499E-3</c:v>
                </c:pt>
                <c:pt idx="48043">
                  <c:v>-1.6806722689075499E-3</c:v>
                </c:pt>
                <c:pt idx="48044">
                  <c:v>-1.6806722689075499E-3</c:v>
                </c:pt>
                <c:pt idx="48045">
                  <c:v>-1.6806722689075499E-3</c:v>
                </c:pt>
                <c:pt idx="48046">
                  <c:v>-1.6806722689075499E-3</c:v>
                </c:pt>
                <c:pt idx="48047">
                  <c:v>-1.6806722689075499E-3</c:v>
                </c:pt>
                <c:pt idx="48048">
                  <c:v>-1.6806722689075499E-3</c:v>
                </c:pt>
                <c:pt idx="48049">
                  <c:v>-1.6806722689075499E-3</c:v>
                </c:pt>
                <c:pt idx="48050">
                  <c:v>-1.6806722689075499E-3</c:v>
                </c:pt>
                <c:pt idx="48051">
                  <c:v>-1.6806722689075499E-3</c:v>
                </c:pt>
                <c:pt idx="48052">
                  <c:v>-1.6806722689075499E-3</c:v>
                </c:pt>
                <c:pt idx="48053">
                  <c:v>-1.6806722689075499E-3</c:v>
                </c:pt>
                <c:pt idx="48054">
                  <c:v>-1.6806722689075499E-3</c:v>
                </c:pt>
                <c:pt idx="48055">
                  <c:v>-1.6806722689075499E-3</c:v>
                </c:pt>
                <c:pt idx="48056">
                  <c:v>-1.6806722689075499E-3</c:v>
                </c:pt>
                <c:pt idx="48057">
                  <c:v>-1.6806722689075499E-3</c:v>
                </c:pt>
                <c:pt idx="48058">
                  <c:v>-1.6806722689075499E-3</c:v>
                </c:pt>
                <c:pt idx="48059">
                  <c:v>-1.6806722689075499E-3</c:v>
                </c:pt>
                <c:pt idx="48060">
                  <c:v>-1.6806722689075499E-3</c:v>
                </c:pt>
                <c:pt idx="48061">
                  <c:v>-1.6806722689075499E-3</c:v>
                </c:pt>
                <c:pt idx="48062">
                  <c:v>-1.6806722689075499E-3</c:v>
                </c:pt>
                <c:pt idx="48063">
                  <c:v>-1.6806722689075499E-3</c:v>
                </c:pt>
                <c:pt idx="48064">
                  <c:v>-1.6806722689075499E-3</c:v>
                </c:pt>
                <c:pt idx="48065">
                  <c:v>-1.6806722689075499E-3</c:v>
                </c:pt>
                <c:pt idx="48066">
                  <c:v>-1.6806722689075499E-3</c:v>
                </c:pt>
                <c:pt idx="48067">
                  <c:v>-1.6806722689075499E-3</c:v>
                </c:pt>
                <c:pt idx="48068">
                  <c:v>-1.6806722689075499E-3</c:v>
                </c:pt>
                <c:pt idx="48069">
                  <c:v>-1.6806722689075499E-3</c:v>
                </c:pt>
                <c:pt idx="48070">
                  <c:v>-1.6806722689075499E-3</c:v>
                </c:pt>
                <c:pt idx="48071">
                  <c:v>-1.6806722689075499E-3</c:v>
                </c:pt>
                <c:pt idx="48072">
                  <c:v>-1.6806722689075499E-3</c:v>
                </c:pt>
                <c:pt idx="48073">
                  <c:v>-1.6806722689075499E-3</c:v>
                </c:pt>
                <c:pt idx="48074">
                  <c:v>-1.6806722689075499E-3</c:v>
                </c:pt>
                <c:pt idx="48075">
                  <c:v>-1.6806722689075499E-3</c:v>
                </c:pt>
                <c:pt idx="48076">
                  <c:v>-1.6806722689075499E-3</c:v>
                </c:pt>
                <c:pt idx="48077">
                  <c:v>-1.6806722689075499E-3</c:v>
                </c:pt>
                <c:pt idx="48078">
                  <c:v>-1.6806722689075499E-3</c:v>
                </c:pt>
                <c:pt idx="48079">
                  <c:v>-1.6806722689075499E-3</c:v>
                </c:pt>
                <c:pt idx="48080">
                  <c:v>-1.6806722689075499E-3</c:v>
                </c:pt>
                <c:pt idx="48081">
                  <c:v>-1.6806722689075499E-3</c:v>
                </c:pt>
                <c:pt idx="48082">
                  <c:v>-1.6806722689075499E-3</c:v>
                </c:pt>
                <c:pt idx="48083">
                  <c:v>-1.6806722689075499E-3</c:v>
                </c:pt>
                <c:pt idx="48084">
                  <c:v>-1.6806722689075499E-3</c:v>
                </c:pt>
                <c:pt idx="48085">
                  <c:v>-1.6806722689075499E-3</c:v>
                </c:pt>
                <c:pt idx="48086">
                  <c:v>-1.6806722689075499E-3</c:v>
                </c:pt>
                <c:pt idx="48087">
                  <c:v>-1.6806722689075499E-3</c:v>
                </c:pt>
                <c:pt idx="48088">
                  <c:v>-1.6806722689075499E-3</c:v>
                </c:pt>
                <c:pt idx="48089">
                  <c:v>-1.6806722689075499E-3</c:v>
                </c:pt>
                <c:pt idx="48090">
                  <c:v>-1.6806722689075499E-3</c:v>
                </c:pt>
                <c:pt idx="48091">
                  <c:v>-1.6806722689075499E-3</c:v>
                </c:pt>
                <c:pt idx="48092">
                  <c:v>-1.6806722689075499E-3</c:v>
                </c:pt>
                <c:pt idx="48093">
                  <c:v>-1.6806722689075499E-3</c:v>
                </c:pt>
                <c:pt idx="48094">
                  <c:v>-1.6806722689075499E-3</c:v>
                </c:pt>
                <c:pt idx="48095">
                  <c:v>-1.6806722689075499E-3</c:v>
                </c:pt>
                <c:pt idx="48096">
                  <c:v>-1.6806722689075499E-3</c:v>
                </c:pt>
                <c:pt idx="48097">
                  <c:v>-1.6806722689075499E-3</c:v>
                </c:pt>
                <c:pt idx="48098">
                  <c:v>-1.6806722689075499E-3</c:v>
                </c:pt>
                <c:pt idx="48099">
                  <c:v>-1.6806722689075499E-3</c:v>
                </c:pt>
                <c:pt idx="48100">
                  <c:v>-1.6806722689075499E-3</c:v>
                </c:pt>
                <c:pt idx="48101">
                  <c:v>-1.6806722689075499E-3</c:v>
                </c:pt>
                <c:pt idx="48102">
                  <c:v>-1.6806722689075499E-3</c:v>
                </c:pt>
                <c:pt idx="48103">
                  <c:v>-8.4033613445377799E-4</c:v>
                </c:pt>
                <c:pt idx="48104">
                  <c:v>-8.4033613445377799E-4</c:v>
                </c:pt>
                <c:pt idx="48105">
                  <c:v>-8.4033613445377799E-4</c:v>
                </c:pt>
                <c:pt idx="48106">
                  <c:v>-8.4033613445377799E-4</c:v>
                </c:pt>
                <c:pt idx="48107">
                  <c:v>-8.4033613445377799E-4</c:v>
                </c:pt>
                <c:pt idx="48108">
                  <c:v>-8.4033613445377799E-4</c:v>
                </c:pt>
                <c:pt idx="48109">
                  <c:v>-8.4033613445377799E-4</c:v>
                </c:pt>
                <c:pt idx="48110">
                  <c:v>-8.4033613445377799E-4</c:v>
                </c:pt>
                <c:pt idx="48111">
                  <c:v>-8.4033613445377799E-4</c:v>
                </c:pt>
                <c:pt idx="48112">
                  <c:v>-8.4033613445377799E-4</c:v>
                </c:pt>
                <c:pt idx="48113">
                  <c:v>-8.4033613445377799E-4</c:v>
                </c:pt>
                <c:pt idx="48114">
                  <c:v>-8.4033613445377799E-4</c:v>
                </c:pt>
                <c:pt idx="48115">
                  <c:v>-8.4033613445377799E-4</c:v>
                </c:pt>
                <c:pt idx="48116">
                  <c:v>-8.4033613445377799E-4</c:v>
                </c:pt>
                <c:pt idx="48117">
                  <c:v>-8.4033613445377799E-4</c:v>
                </c:pt>
                <c:pt idx="48118">
                  <c:v>-8.4033613445377799E-4</c:v>
                </c:pt>
                <c:pt idx="48119">
                  <c:v>-8.4033613445377799E-4</c:v>
                </c:pt>
                <c:pt idx="48120">
                  <c:v>-8.4033613445377799E-4</c:v>
                </c:pt>
                <c:pt idx="48121">
                  <c:v>-8.4033613445377799E-4</c:v>
                </c:pt>
                <c:pt idx="48122">
                  <c:v>-8.4033613445377799E-4</c:v>
                </c:pt>
                <c:pt idx="48123">
                  <c:v>-8.4033613445377799E-4</c:v>
                </c:pt>
                <c:pt idx="48124">
                  <c:v>-8.4033613445377799E-4</c:v>
                </c:pt>
                <c:pt idx="48125">
                  <c:v>-8.4033613445377799E-4</c:v>
                </c:pt>
                <c:pt idx="48126">
                  <c:v>-8.4033613445377799E-4</c:v>
                </c:pt>
                <c:pt idx="48127">
                  <c:v>-8.4033613445377799E-4</c:v>
                </c:pt>
                <c:pt idx="48128">
                  <c:v>-8.4033613445377799E-4</c:v>
                </c:pt>
                <c:pt idx="48129">
                  <c:v>-8.4033613445377799E-4</c:v>
                </c:pt>
                <c:pt idx="48130">
                  <c:v>-8.4033613445377799E-4</c:v>
                </c:pt>
                <c:pt idx="48131">
                  <c:v>-8.4033613445377799E-4</c:v>
                </c:pt>
                <c:pt idx="48132">
                  <c:v>-8.4033613445377799E-4</c:v>
                </c:pt>
                <c:pt idx="48133">
                  <c:v>-8.4033613445377799E-4</c:v>
                </c:pt>
                <c:pt idx="48134">
                  <c:v>-8.4033613445377799E-4</c:v>
                </c:pt>
                <c:pt idx="48135">
                  <c:v>-8.4033613445377799E-4</c:v>
                </c:pt>
                <c:pt idx="48136">
                  <c:v>-8.4033613445377799E-4</c:v>
                </c:pt>
                <c:pt idx="48137">
                  <c:v>-8.4033613445377799E-4</c:v>
                </c:pt>
                <c:pt idx="48138">
                  <c:v>-8.4033613445377799E-4</c:v>
                </c:pt>
                <c:pt idx="48139">
                  <c:v>-8.4033613445377799E-4</c:v>
                </c:pt>
                <c:pt idx="48140">
                  <c:v>-8.4033613445377799E-4</c:v>
                </c:pt>
                <c:pt idx="48141">
                  <c:v>-8.4033613445377799E-4</c:v>
                </c:pt>
                <c:pt idx="48142">
                  <c:v>-8.4033613445377799E-4</c:v>
                </c:pt>
                <c:pt idx="48143">
                  <c:v>-8.4033613445377799E-4</c:v>
                </c:pt>
                <c:pt idx="48144">
                  <c:v>-8.4033613445377799E-4</c:v>
                </c:pt>
                <c:pt idx="48145">
                  <c:v>-8.4033613445377799E-4</c:v>
                </c:pt>
                <c:pt idx="48146">
                  <c:v>-8.4033613445377799E-4</c:v>
                </c:pt>
                <c:pt idx="48147">
                  <c:v>-8.4033613445377799E-4</c:v>
                </c:pt>
                <c:pt idx="48148">
                  <c:v>-8.4033613445377799E-4</c:v>
                </c:pt>
                <c:pt idx="48149">
                  <c:v>-8.4033613445377799E-4</c:v>
                </c:pt>
                <c:pt idx="48150">
                  <c:v>-8.4033613445377799E-4</c:v>
                </c:pt>
                <c:pt idx="48151">
                  <c:v>-8.4033613445377799E-4</c:v>
                </c:pt>
                <c:pt idx="48152">
                  <c:v>-8.4033613445377799E-4</c:v>
                </c:pt>
                <c:pt idx="48153">
                  <c:v>-8.4033613445377799E-4</c:v>
                </c:pt>
                <c:pt idx="48154">
                  <c:v>-8.4033613445377799E-4</c:v>
                </c:pt>
                <c:pt idx="48155">
                  <c:v>-8.4033613445377799E-4</c:v>
                </c:pt>
                <c:pt idx="48156">
                  <c:v>-8.4033613445377799E-4</c:v>
                </c:pt>
                <c:pt idx="48157">
                  <c:v>-8.4033613445377799E-4</c:v>
                </c:pt>
                <c:pt idx="48158">
                  <c:v>-8.4033613445377799E-4</c:v>
                </c:pt>
                <c:pt idx="48159">
                  <c:v>-8.4033613445377799E-4</c:v>
                </c:pt>
                <c:pt idx="48160">
                  <c:v>-8.4033613445377799E-4</c:v>
                </c:pt>
                <c:pt idx="48161">
                  <c:v>-8.4033613445377799E-4</c:v>
                </c:pt>
                <c:pt idx="48162">
                  <c:v>-8.4033613445377799E-4</c:v>
                </c:pt>
                <c:pt idx="48163">
                  <c:v>-8.4033613445377799E-4</c:v>
                </c:pt>
                <c:pt idx="48164">
                  <c:v>-8.4033613445377799E-4</c:v>
                </c:pt>
                <c:pt idx="48165">
                  <c:v>-8.4033613445377799E-4</c:v>
                </c:pt>
                <c:pt idx="48166">
                  <c:v>-8.4033613445377799E-4</c:v>
                </c:pt>
                <c:pt idx="48167">
                  <c:v>-8.4033613445377799E-4</c:v>
                </c:pt>
                <c:pt idx="48168">
                  <c:v>-8.4033613445377799E-4</c:v>
                </c:pt>
                <c:pt idx="48169">
                  <c:v>-8.4033613445377799E-4</c:v>
                </c:pt>
                <c:pt idx="48170">
                  <c:v>-8.4033613445377799E-4</c:v>
                </c:pt>
                <c:pt idx="48171">
                  <c:v>-8.4033613445377799E-4</c:v>
                </c:pt>
                <c:pt idx="48172">
                  <c:v>-8.4033613445377799E-4</c:v>
                </c:pt>
                <c:pt idx="48173">
                  <c:v>-8.4033613445377799E-4</c:v>
                </c:pt>
                <c:pt idx="48174">
                  <c:v>-8.4033613445377799E-4</c:v>
                </c:pt>
                <c:pt idx="48175">
                  <c:v>0</c:v>
                </c:pt>
                <c:pt idx="48176">
                  <c:v>0</c:v>
                </c:pt>
                <c:pt idx="48177">
                  <c:v>0</c:v>
                </c:pt>
                <c:pt idx="48178">
                  <c:v>0</c:v>
                </c:pt>
                <c:pt idx="48179">
                  <c:v>0</c:v>
                </c:pt>
                <c:pt idx="48180">
                  <c:v>0</c:v>
                </c:pt>
                <c:pt idx="48181">
                  <c:v>0</c:v>
                </c:pt>
                <c:pt idx="48182">
                  <c:v>0</c:v>
                </c:pt>
                <c:pt idx="48183">
                  <c:v>0</c:v>
                </c:pt>
                <c:pt idx="48184">
                  <c:v>0</c:v>
                </c:pt>
                <c:pt idx="48185">
                  <c:v>0</c:v>
                </c:pt>
                <c:pt idx="48186">
                  <c:v>0</c:v>
                </c:pt>
                <c:pt idx="48187">
                  <c:v>0</c:v>
                </c:pt>
                <c:pt idx="48188">
                  <c:v>0</c:v>
                </c:pt>
                <c:pt idx="48189">
                  <c:v>0</c:v>
                </c:pt>
                <c:pt idx="48190">
                  <c:v>0</c:v>
                </c:pt>
                <c:pt idx="48191">
                  <c:v>0</c:v>
                </c:pt>
                <c:pt idx="48192">
                  <c:v>0</c:v>
                </c:pt>
                <c:pt idx="48193">
                  <c:v>0</c:v>
                </c:pt>
                <c:pt idx="48194">
                  <c:v>0</c:v>
                </c:pt>
                <c:pt idx="48195">
                  <c:v>0</c:v>
                </c:pt>
                <c:pt idx="48196">
                  <c:v>0</c:v>
                </c:pt>
                <c:pt idx="48197">
                  <c:v>0</c:v>
                </c:pt>
                <c:pt idx="48198">
                  <c:v>0</c:v>
                </c:pt>
                <c:pt idx="48199">
                  <c:v>0</c:v>
                </c:pt>
                <c:pt idx="48200">
                  <c:v>0</c:v>
                </c:pt>
                <c:pt idx="48201">
                  <c:v>0</c:v>
                </c:pt>
                <c:pt idx="48202">
                  <c:v>0</c:v>
                </c:pt>
                <c:pt idx="48203">
                  <c:v>0</c:v>
                </c:pt>
                <c:pt idx="48204">
                  <c:v>0</c:v>
                </c:pt>
                <c:pt idx="48205">
                  <c:v>0</c:v>
                </c:pt>
                <c:pt idx="48206">
                  <c:v>0</c:v>
                </c:pt>
                <c:pt idx="48207">
                  <c:v>0</c:v>
                </c:pt>
                <c:pt idx="48208">
                  <c:v>0</c:v>
                </c:pt>
                <c:pt idx="48209">
                  <c:v>0</c:v>
                </c:pt>
                <c:pt idx="48210">
                  <c:v>0</c:v>
                </c:pt>
                <c:pt idx="48211">
                  <c:v>0</c:v>
                </c:pt>
                <c:pt idx="48212">
                  <c:v>0</c:v>
                </c:pt>
                <c:pt idx="48213">
                  <c:v>0</c:v>
                </c:pt>
                <c:pt idx="48214">
                  <c:v>0</c:v>
                </c:pt>
                <c:pt idx="48215">
                  <c:v>0</c:v>
                </c:pt>
                <c:pt idx="48216">
                  <c:v>0</c:v>
                </c:pt>
                <c:pt idx="48217">
                  <c:v>0</c:v>
                </c:pt>
                <c:pt idx="48218">
                  <c:v>0</c:v>
                </c:pt>
                <c:pt idx="48219">
                  <c:v>0</c:v>
                </c:pt>
                <c:pt idx="48220">
                  <c:v>0</c:v>
                </c:pt>
                <c:pt idx="48221">
                  <c:v>0</c:v>
                </c:pt>
                <c:pt idx="48222">
                  <c:v>0</c:v>
                </c:pt>
                <c:pt idx="48223">
                  <c:v>0</c:v>
                </c:pt>
                <c:pt idx="48224">
                  <c:v>0</c:v>
                </c:pt>
                <c:pt idx="48225">
                  <c:v>0</c:v>
                </c:pt>
                <c:pt idx="48226">
                  <c:v>-8.4033613445377799E-4</c:v>
                </c:pt>
                <c:pt idx="48227">
                  <c:v>-8.4033613445377799E-4</c:v>
                </c:pt>
                <c:pt idx="48228">
                  <c:v>-8.4033613445377799E-4</c:v>
                </c:pt>
                <c:pt idx="48229">
                  <c:v>-8.4033613445377799E-4</c:v>
                </c:pt>
                <c:pt idx="48230">
                  <c:v>-8.4033613445377799E-4</c:v>
                </c:pt>
                <c:pt idx="48231">
                  <c:v>-8.4033613445377799E-4</c:v>
                </c:pt>
                <c:pt idx="48232">
                  <c:v>-8.4033613445377799E-4</c:v>
                </c:pt>
                <c:pt idx="48233">
                  <c:v>-8.4033613445377799E-4</c:v>
                </c:pt>
                <c:pt idx="48234">
                  <c:v>-8.4033613445377799E-4</c:v>
                </c:pt>
                <c:pt idx="48235">
                  <c:v>-8.4033613445377799E-4</c:v>
                </c:pt>
                <c:pt idx="48236">
                  <c:v>-8.4033613445377799E-4</c:v>
                </c:pt>
                <c:pt idx="48237">
                  <c:v>-8.4033613445377799E-4</c:v>
                </c:pt>
                <c:pt idx="48238">
                  <c:v>-8.4033613445377799E-4</c:v>
                </c:pt>
                <c:pt idx="48239">
                  <c:v>-8.4033613445377799E-4</c:v>
                </c:pt>
                <c:pt idx="48240">
                  <c:v>-8.4033613445377799E-4</c:v>
                </c:pt>
                <c:pt idx="48241">
                  <c:v>-8.4033613445377799E-4</c:v>
                </c:pt>
                <c:pt idx="48242">
                  <c:v>-8.4033613445377799E-4</c:v>
                </c:pt>
                <c:pt idx="48243">
                  <c:v>-8.4033613445377799E-4</c:v>
                </c:pt>
                <c:pt idx="48244">
                  <c:v>-8.4033613445377799E-4</c:v>
                </c:pt>
                <c:pt idx="48245">
                  <c:v>-8.4033613445377799E-4</c:v>
                </c:pt>
                <c:pt idx="48246">
                  <c:v>-8.4033613445377799E-4</c:v>
                </c:pt>
                <c:pt idx="48247">
                  <c:v>-8.4033613445377799E-4</c:v>
                </c:pt>
                <c:pt idx="48248">
                  <c:v>-8.4033613445377799E-4</c:v>
                </c:pt>
                <c:pt idx="48249">
                  <c:v>-8.4033613445377799E-4</c:v>
                </c:pt>
                <c:pt idx="48250">
                  <c:v>-8.4033613445377799E-4</c:v>
                </c:pt>
                <c:pt idx="48251">
                  <c:v>-8.4033613445377799E-4</c:v>
                </c:pt>
                <c:pt idx="48252">
                  <c:v>-8.4033613445377799E-4</c:v>
                </c:pt>
                <c:pt idx="48253">
                  <c:v>-8.4033613445377799E-4</c:v>
                </c:pt>
                <c:pt idx="48254">
                  <c:v>-8.4033613445377799E-4</c:v>
                </c:pt>
                <c:pt idx="48255">
                  <c:v>-8.4033613445377799E-4</c:v>
                </c:pt>
                <c:pt idx="48256">
                  <c:v>-8.4033613445377799E-4</c:v>
                </c:pt>
                <c:pt idx="48257">
                  <c:v>-8.4033613445377799E-4</c:v>
                </c:pt>
                <c:pt idx="48258">
                  <c:v>-8.4033613445377799E-4</c:v>
                </c:pt>
                <c:pt idx="48259">
                  <c:v>-8.4033613445377799E-4</c:v>
                </c:pt>
                <c:pt idx="48260">
                  <c:v>-8.4033613445377799E-4</c:v>
                </c:pt>
                <c:pt idx="48261">
                  <c:v>-8.4033613445377799E-4</c:v>
                </c:pt>
                <c:pt idx="48262">
                  <c:v>-8.4033613445377799E-4</c:v>
                </c:pt>
                <c:pt idx="48263">
                  <c:v>-8.4033613445377799E-4</c:v>
                </c:pt>
                <c:pt idx="48264">
                  <c:v>-8.4033613445377799E-4</c:v>
                </c:pt>
                <c:pt idx="48265">
                  <c:v>-8.4033613445377799E-4</c:v>
                </c:pt>
                <c:pt idx="48266">
                  <c:v>-8.4033613445377799E-4</c:v>
                </c:pt>
                <c:pt idx="48267">
                  <c:v>-8.4033613445377799E-4</c:v>
                </c:pt>
                <c:pt idx="48268">
                  <c:v>-8.4033613445377799E-4</c:v>
                </c:pt>
                <c:pt idx="48269">
                  <c:v>-8.4033613445377799E-4</c:v>
                </c:pt>
                <c:pt idx="48270">
                  <c:v>-8.4033613445377799E-4</c:v>
                </c:pt>
                <c:pt idx="48271">
                  <c:v>-8.4033613445377799E-4</c:v>
                </c:pt>
                <c:pt idx="48272">
                  <c:v>-8.4033613445377799E-4</c:v>
                </c:pt>
                <c:pt idx="48273">
                  <c:v>-8.4033613445377799E-4</c:v>
                </c:pt>
                <c:pt idx="48274">
                  <c:v>-8.4033613445377799E-4</c:v>
                </c:pt>
                <c:pt idx="48275">
                  <c:v>-8.4033613445377799E-4</c:v>
                </c:pt>
                <c:pt idx="48276">
                  <c:v>-8.4033613445377799E-4</c:v>
                </c:pt>
                <c:pt idx="48277">
                  <c:v>-8.4033613445377799E-4</c:v>
                </c:pt>
                <c:pt idx="48278">
                  <c:v>-8.4033613445377799E-4</c:v>
                </c:pt>
                <c:pt idx="48279">
                  <c:v>-8.4033613445377799E-4</c:v>
                </c:pt>
                <c:pt idx="48280">
                  <c:v>-8.4033613445377799E-4</c:v>
                </c:pt>
                <c:pt idx="48281">
                  <c:v>-8.4033613445377799E-4</c:v>
                </c:pt>
                <c:pt idx="48282">
                  <c:v>-8.4033613445377799E-4</c:v>
                </c:pt>
                <c:pt idx="48283">
                  <c:v>-8.4033613445377799E-4</c:v>
                </c:pt>
                <c:pt idx="48284">
                  <c:v>-8.4033613445377799E-4</c:v>
                </c:pt>
                <c:pt idx="48285">
                  <c:v>-8.4033613445377799E-4</c:v>
                </c:pt>
                <c:pt idx="48286">
                  <c:v>-8.4033613445377799E-4</c:v>
                </c:pt>
                <c:pt idx="48287">
                  <c:v>-8.4033613445377799E-4</c:v>
                </c:pt>
                <c:pt idx="48288">
                  <c:v>-8.4033613445377799E-4</c:v>
                </c:pt>
                <c:pt idx="48289">
                  <c:v>-8.4033613445377799E-4</c:v>
                </c:pt>
                <c:pt idx="48290">
                  <c:v>-8.4033613445377799E-4</c:v>
                </c:pt>
                <c:pt idx="48291">
                  <c:v>-8.4033613445377799E-4</c:v>
                </c:pt>
                <c:pt idx="48292">
                  <c:v>-8.4033613445377799E-4</c:v>
                </c:pt>
                <c:pt idx="48293">
                  <c:v>-8.4033613445377799E-4</c:v>
                </c:pt>
                <c:pt idx="48294">
                  <c:v>-8.4033613445377799E-4</c:v>
                </c:pt>
                <c:pt idx="48295">
                  <c:v>-8.4033613445377799E-4</c:v>
                </c:pt>
                <c:pt idx="48296">
                  <c:v>-8.4033613445377799E-4</c:v>
                </c:pt>
                <c:pt idx="48297">
                  <c:v>-8.4033613445377799E-4</c:v>
                </c:pt>
                <c:pt idx="48298">
                  <c:v>-8.4033613445377799E-4</c:v>
                </c:pt>
                <c:pt idx="48299">
                  <c:v>-8.4033613445377799E-4</c:v>
                </c:pt>
                <c:pt idx="48300">
                  <c:v>-8.4033613445377799E-4</c:v>
                </c:pt>
                <c:pt idx="48301">
                  <c:v>-8.4033613445377799E-4</c:v>
                </c:pt>
                <c:pt idx="48302">
                  <c:v>-8.4033613445377799E-4</c:v>
                </c:pt>
                <c:pt idx="48303">
                  <c:v>-8.4033613445377799E-4</c:v>
                </c:pt>
                <c:pt idx="48304">
                  <c:v>-8.4033613445377799E-4</c:v>
                </c:pt>
                <c:pt idx="48305">
                  <c:v>-8.4033613445377799E-4</c:v>
                </c:pt>
                <c:pt idx="48306">
                  <c:v>-8.4033613445377799E-4</c:v>
                </c:pt>
                <c:pt idx="48307">
                  <c:v>-8.4033613445377799E-4</c:v>
                </c:pt>
                <c:pt idx="48308">
                  <c:v>-8.4033613445377799E-4</c:v>
                </c:pt>
                <c:pt idx="48309">
                  <c:v>-8.4033613445377799E-4</c:v>
                </c:pt>
                <c:pt idx="48310">
                  <c:v>-8.4033613445377799E-4</c:v>
                </c:pt>
                <c:pt idx="48311">
                  <c:v>-8.4033613445377799E-4</c:v>
                </c:pt>
                <c:pt idx="48312">
                  <c:v>-8.4033613445377799E-4</c:v>
                </c:pt>
                <c:pt idx="48313">
                  <c:v>-8.4033613445377799E-4</c:v>
                </c:pt>
                <c:pt idx="48314">
                  <c:v>-8.4033613445377799E-4</c:v>
                </c:pt>
                <c:pt idx="48315">
                  <c:v>-8.4033613445377799E-4</c:v>
                </c:pt>
                <c:pt idx="48316">
                  <c:v>-8.4033613445377799E-4</c:v>
                </c:pt>
                <c:pt idx="48317">
                  <c:v>-8.4033613445377799E-4</c:v>
                </c:pt>
                <c:pt idx="48318">
                  <c:v>-8.4033613445377799E-4</c:v>
                </c:pt>
                <c:pt idx="48319">
                  <c:v>-8.4033613445377799E-4</c:v>
                </c:pt>
                <c:pt idx="48320">
                  <c:v>-8.4033613445377799E-4</c:v>
                </c:pt>
                <c:pt idx="48321">
                  <c:v>-8.4033613445377799E-4</c:v>
                </c:pt>
                <c:pt idx="48322">
                  <c:v>-8.4033613445377799E-4</c:v>
                </c:pt>
                <c:pt idx="48323">
                  <c:v>-8.4033613445377799E-4</c:v>
                </c:pt>
                <c:pt idx="48324">
                  <c:v>-8.4033613445377799E-4</c:v>
                </c:pt>
                <c:pt idx="48325">
                  <c:v>-8.4033613445377799E-4</c:v>
                </c:pt>
                <c:pt idx="48326">
                  <c:v>-8.4033613445377799E-4</c:v>
                </c:pt>
                <c:pt idx="48327">
                  <c:v>-8.4033613445377799E-4</c:v>
                </c:pt>
                <c:pt idx="48328">
                  <c:v>-8.4033613445377799E-4</c:v>
                </c:pt>
                <c:pt idx="48329">
                  <c:v>-8.4033613445377799E-4</c:v>
                </c:pt>
                <c:pt idx="48330">
                  <c:v>-8.4033613445377799E-4</c:v>
                </c:pt>
                <c:pt idx="48331">
                  <c:v>-8.4033613445377799E-4</c:v>
                </c:pt>
                <c:pt idx="48332">
                  <c:v>-8.4033613445377799E-4</c:v>
                </c:pt>
                <c:pt idx="48333">
                  <c:v>-8.4033613445377799E-4</c:v>
                </c:pt>
                <c:pt idx="48334">
                  <c:v>-8.4033613445377799E-4</c:v>
                </c:pt>
                <c:pt idx="48335">
                  <c:v>-8.4033613445377799E-4</c:v>
                </c:pt>
                <c:pt idx="48336">
                  <c:v>-8.4033613445377799E-4</c:v>
                </c:pt>
                <c:pt idx="48337">
                  <c:v>-8.4033613445377799E-4</c:v>
                </c:pt>
                <c:pt idx="48338">
                  <c:v>-8.4033613445377799E-4</c:v>
                </c:pt>
                <c:pt idx="48339">
                  <c:v>-8.4033613445377799E-4</c:v>
                </c:pt>
                <c:pt idx="48340">
                  <c:v>-8.4033613445377799E-4</c:v>
                </c:pt>
                <c:pt idx="48341">
                  <c:v>-8.4033613445377799E-4</c:v>
                </c:pt>
                <c:pt idx="48342">
                  <c:v>-8.4033613445377799E-4</c:v>
                </c:pt>
                <c:pt idx="48343">
                  <c:v>-8.4033613445377799E-4</c:v>
                </c:pt>
                <c:pt idx="48344">
                  <c:v>-8.4033613445377799E-4</c:v>
                </c:pt>
                <c:pt idx="48345">
                  <c:v>-8.4033613445377799E-4</c:v>
                </c:pt>
                <c:pt idx="48346">
                  <c:v>-8.4033613445377799E-4</c:v>
                </c:pt>
                <c:pt idx="48347">
                  <c:v>-8.4033613445377799E-4</c:v>
                </c:pt>
                <c:pt idx="48348">
                  <c:v>-1.6806722689075499E-3</c:v>
                </c:pt>
                <c:pt idx="48349">
                  <c:v>-1.6806722689075499E-3</c:v>
                </c:pt>
                <c:pt idx="48350">
                  <c:v>-1.6806722689075499E-3</c:v>
                </c:pt>
                <c:pt idx="48351">
                  <c:v>-1.6806722689075499E-3</c:v>
                </c:pt>
                <c:pt idx="48352">
                  <c:v>-1.6806722689075499E-3</c:v>
                </c:pt>
                <c:pt idx="48353">
                  <c:v>-1.6806722689075499E-3</c:v>
                </c:pt>
                <c:pt idx="48354">
                  <c:v>-1.6806722689075499E-3</c:v>
                </c:pt>
                <c:pt idx="48355">
                  <c:v>-1.6806722689075499E-3</c:v>
                </c:pt>
                <c:pt idx="48356">
                  <c:v>-1.6806722689075499E-3</c:v>
                </c:pt>
                <c:pt idx="48357">
                  <c:v>-1.6806722689075499E-3</c:v>
                </c:pt>
                <c:pt idx="48358">
                  <c:v>-1.6806722689075499E-3</c:v>
                </c:pt>
                <c:pt idx="48359">
                  <c:v>-1.6806722689075499E-3</c:v>
                </c:pt>
                <c:pt idx="48360">
                  <c:v>-1.6806722689075499E-3</c:v>
                </c:pt>
                <c:pt idx="48361">
                  <c:v>-1.6806722689075499E-3</c:v>
                </c:pt>
                <c:pt idx="48362">
                  <c:v>-1.6806722689075499E-3</c:v>
                </c:pt>
                <c:pt idx="48363">
                  <c:v>-1.6806722689075499E-3</c:v>
                </c:pt>
                <c:pt idx="48364">
                  <c:v>-1.6806722689075499E-3</c:v>
                </c:pt>
                <c:pt idx="48365">
                  <c:v>-1.6806722689075499E-3</c:v>
                </c:pt>
                <c:pt idx="48366">
                  <c:v>-1.6806722689075499E-3</c:v>
                </c:pt>
                <c:pt idx="48367">
                  <c:v>-1.6806722689075499E-3</c:v>
                </c:pt>
                <c:pt idx="48368">
                  <c:v>-1.6806722689075499E-3</c:v>
                </c:pt>
                <c:pt idx="48369">
                  <c:v>-1.6806722689075499E-3</c:v>
                </c:pt>
                <c:pt idx="48370">
                  <c:v>-1.6806722689075499E-3</c:v>
                </c:pt>
                <c:pt idx="48371">
                  <c:v>-1.6806722689075499E-3</c:v>
                </c:pt>
                <c:pt idx="48372">
                  <c:v>-1.6806722689075499E-3</c:v>
                </c:pt>
                <c:pt idx="48373">
                  <c:v>-1.6806722689075499E-3</c:v>
                </c:pt>
                <c:pt idx="48374">
                  <c:v>-1.6806722689075499E-3</c:v>
                </c:pt>
                <c:pt idx="48375">
                  <c:v>-1.6806722689075499E-3</c:v>
                </c:pt>
                <c:pt idx="48376">
                  <c:v>-1.6806722689075499E-3</c:v>
                </c:pt>
                <c:pt idx="48377">
                  <c:v>-1.6806722689075499E-3</c:v>
                </c:pt>
                <c:pt idx="48378">
                  <c:v>-1.6806722689075499E-3</c:v>
                </c:pt>
                <c:pt idx="48379">
                  <c:v>-1.6806722689075499E-3</c:v>
                </c:pt>
                <c:pt idx="48380">
                  <c:v>-1.6806722689075499E-3</c:v>
                </c:pt>
                <c:pt idx="48381">
                  <c:v>-1.6806722689075499E-3</c:v>
                </c:pt>
                <c:pt idx="48382">
                  <c:v>-1.6806722689075499E-3</c:v>
                </c:pt>
                <c:pt idx="48383">
                  <c:v>-1.6806722689075499E-3</c:v>
                </c:pt>
                <c:pt idx="48384">
                  <c:v>-1.6806722689075499E-3</c:v>
                </c:pt>
                <c:pt idx="48385">
                  <c:v>-1.6806722689075499E-3</c:v>
                </c:pt>
                <c:pt idx="48386">
                  <c:v>-1.6806722689075499E-3</c:v>
                </c:pt>
                <c:pt idx="48387">
                  <c:v>-1.6806722689075499E-3</c:v>
                </c:pt>
                <c:pt idx="48388">
                  <c:v>-1.6806722689075499E-3</c:v>
                </c:pt>
                <c:pt idx="48389">
                  <c:v>-1.6806722689075499E-3</c:v>
                </c:pt>
                <c:pt idx="48390">
                  <c:v>-1.6806722689075499E-3</c:v>
                </c:pt>
                <c:pt idx="48391">
                  <c:v>-1.6806722689075499E-3</c:v>
                </c:pt>
                <c:pt idx="48392">
                  <c:v>-1.6806722689075499E-3</c:v>
                </c:pt>
                <c:pt idx="48393">
                  <c:v>-1.6806722689075499E-3</c:v>
                </c:pt>
                <c:pt idx="48394">
                  <c:v>-1.6806722689075499E-3</c:v>
                </c:pt>
                <c:pt idx="48395">
                  <c:v>-1.6806722689075499E-3</c:v>
                </c:pt>
                <c:pt idx="48396">
                  <c:v>-1.6806722689075499E-3</c:v>
                </c:pt>
                <c:pt idx="48397">
                  <c:v>-1.6806722689075499E-3</c:v>
                </c:pt>
                <c:pt idx="48398">
                  <c:v>-1.6806722689075499E-3</c:v>
                </c:pt>
                <c:pt idx="48399">
                  <c:v>-1.6806722689075499E-3</c:v>
                </c:pt>
                <c:pt idx="48400">
                  <c:v>-1.6806722689075499E-3</c:v>
                </c:pt>
                <c:pt idx="48401">
                  <c:v>-1.6806722689075499E-3</c:v>
                </c:pt>
                <c:pt idx="48402">
                  <c:v>-1.6806722689075499E-3</c:v>
                </c:pt>
                <c:pt idx="48403">
                  <c:v>-1.6806722689075499E-3</c:v>
                </c:pt>
                <c:pt idx="48404">
                  <c:v>-1.6806722689075499E-3</c:v>
                </c:pt>
                <c:pt idx="48405">
                  <c:v>-1.6806722689075499E-3</c:v>
                </c:pt>
                <c:pt idx="48406">
                  <c:v>-1.6806722689075499E-3</c:v>
                </c:pt>
                <c:pt idx="48407">
                  <c:v>-1.6806722689075499E-3</c:v>
                </c:pt>
                <c:pt idx="48408">
                  <c:v>-1.6806722689075499E-3</c:v>
                </c:pt>
                <c:pt idx="48409">
                  <c:v>-1.6806722689075499E-3</c:v>
                </c:pt>
                <c:pt idx="48410">
                  <c:v>-1.6806722689075499E-3</c:v>
                </c:pt>
                <c:pt idx="48411">
                  <c:v>-1.6806722689075499E-3</c:v>
                </c:pt>
                <c:pt idx="48412">
                  <c:v>-1.6806722689075499E-3</c:v>
                </c:pt>
                <c:pt idx="48413">
                  <c:v>-1.6806722689075499E-3</c:v>
                </c:pt>
                <c:pt idx="48414">
                  <c:v>-1.6806722689075499E-3</c:v>
                </c:pt>
                <c:pt idx="48415">
                  <c:v>-1.6806722689075499E-3</c:v>
                </c:pt>
                <c:pt idx="48416">
                  <c:v>-1.6806722689075499E-3</c:v>
                </c:pt>
                <c:pt idx="48417">
                  <c:v>-1.6806722689075499E-3</c:v>
                </c:pt>
                <c:pt idx="48418">
                  <c:v>-1.6806722689075499E-3</c:v>
                </c:pt>
                <c:pt idx="48419">
                  <c:v>-1.6806722689075499E-3</c:v>
                </c:pt>
                <c:pt idx="48420">
                  <c:v>-1.6806722689075499E-3</c:v>
                </c:pt>
                <c:pt idx="48421">
                  <c:v>-2.5210084033613299E-3</c:v>
                </c:pt>
                <c:pt idx="48422">
                  <c:v>-2.5210084033613299E-3</c:v>
                </c:pt>
                <c:pt idx="48423">
                  <c:v>-2.5210084033613299E-3</c:v>
                </c:pt>
                <c:pt idx="48424">
                  <c:v>-2.5210084033613299E-3</c:v>
                </c:pt>
                <c:pt idx="48425">
                  <c:v>-2.5210084033613299E-3</c:v>
                </c:pt>
                <c:pt idx="48426">
                  <c:v>-2.5210084033613299E-3</c:v>
                </c:pt>
                <c:pt idx="48427">
                  <c:v>-2.5210084033613299E-3</c:v>
                </c:pt>
                <c:pt idx="48428">
                  <c:v>-2.5210084033613299E-3</c:v>
                </c:pt>
                <c:pt idx="48429">
                  <c:v>-2.5210084033613299E-3</c:v>
                </c:pt>
                <c:pt idx="48430">
                  <c:v>-2.5210084033613299E-3</c:v>
                </c:pt>
                <c:pt idx="48431">
                  <c:v>-2.5210084033613299E-3</c:v>
                </c:pt>
                <c:pt idx="48432">
                  <c:v>-2.5210084033613299E-3</c:v>
                </c:pt>
                <c:pt idx="48433">
                  <c:v>-2.5210084033613299E-3</c:v>
                </c:pt>
                <c:pt idx="48434">
                  <c:v>-2.5210084033613299E-3</c:v>
                </c:pt>
                <c:pt idx="48435">
                  <c:v>-2.5210084033613299E-3</c:v>
                </c:pt>
                <c:pt idx="48436">
                  <c:v>-2.5210084033613299E-3</c:v>
                </c:pt>
                <c:pt idx="48437">
                  <c:v>-2.5210084033613299E-3</c:v>
                </c:pt>
                <c:pt idx="48438">
                  <c:v>-2.5210084033613299E-3</c:v>
                </c:pt>
                <c:pt idx="48439">
                  <c:v>-2.5210084033613299E-3</c:v>
                </c:pt>
                <c:pt idx="48440">
                  <c:v>-2.5210084033613299E-3</c:v>
                </c:pt>
                <c:pt idx="48441">
                  <c:v>-2.5210084033613299E-3</c:v>
                </c:pt>
                <c:pt idx="48442">
                  <c:v>-2.5210084033613299E-3</c:v>
                </c:pt>
                <c:pt idx="48443">
                  <c:v>-2.5210084033613299E-3</c:v>
                </c:pt>
                <c:pt idx="48444">
                  <c:v>-2.5210084033613299E-3</c:v>
                </c:pt>
                <c:pt idx="48445">
                  <c:v>-2.5210084033613299E-3</c:v>
                </c:pt>
                <c:pt idx="48446">
                  <c:v>-2.5210084033613299E-3</c:v>
                </c:pt>
                <c:pt idx="48447">
                  <c:v>-2.5210084033613299E-3</c:v>
                </c:pt>
                <c:pt idx="48448">
                  <c:v>-2.5210084033613299E-3</c:v>
                </c:pt>
                <c:pt idx="48449">
                  <c:v>-2.5210084033613299E-3</c:v>
                </c:pt>
                <c:pt idx="48450">
                  <c:v>-2.5210084033613299E-3</c:v>
                </c:pt>
                <c:pt idx="48451">
                  <c:v>-2.5210084033613299E-3</c:v>
                </c:pt>
                <c:pt idx="48452">
                  <c:v>-2.5210084033613299E-3</c:v>
                </c:pt>
                <c:pt idx="48453">
                  <c:v>-2.5210084033613299E-3</c:v>
                </c:pt>
                <c:pt idx="48454">
                  <c:v>-2.5210084033613299E-3</c:v>
                </c:pt>
                <c:pt idx="48455">
                  <c:v>-2.5210084033613299E-3</c:v>
                </c:pt>
                <c:pt idx="48456">
                  <c:v>-2.5210084033613299E-3</c:v>
                </c:pt>
                <c:pt idx="48457">
                  <c:v>-2.5210084033613299E-3</c:v>
                </c:pt>
                <c:pt idx="48458">
                  <c:v>-2.5210084033613299E-3</c:v>
                </c:pt>
                <c:pt idx="48459">
                  <c:v>-2.5210084033613299E-3</c:v>
                </c:pt>
                <c:pt idx="48460">
                  <c:v>-2.5210084033613299E-3</c:v>
                </c:pt>
                <c:pt idx="48461">
                  <c:v>-2.5210084033613299E-3</c:v>
                </c:pt>
                <c:pt idx="48462">
                  <c:v>-2.5210084033613299E-3</c:v>
                </c:pt>
                <c:pt idx="48463">
                  <c:v>-2.5210084033613299E-3</c:v>
                </c:pt>
                <c:pt idx="48464">
                  <c:v>-2.5210084033613299E-3</c:v>
                </c:pt>
                <c:pt idx="48465">
                  <c:v>-2.5210084033613299E-3</c:v>
                </c:pt>
                <c:pt idx="48466">
                  <c:v>-2.5210084033613299E-3</c:v>
                </c:pt>
                <c:pt idx="48467">
                  <c:v>-2.5210084033613299E-3</c:v>
                </c:pt>
                <c:pt idx="48468">
                  <c:v>-2.5210084033613299E-3</c:v>
                </c:pt>
                <c:pt idx="48469">
                  <c:v>-2.5210084033613299E-3</c:v>
                </c:pt>
                <c:pt idx="48470">
                  <c:v>-2.5210084033613299E-3</c:v>
                </c:pt>
                <c:pt idx="48471">
                  <c:v>-2.5210084033613299E-3</c:v>
                </c:pt>
                <c:pt idx="48472">
                  <c:v>-2.5210084033613299E-3</c:v>
                </c:pt>
                <c:pt idx="48473">
                  <c:v>-2.5210084033613299E-3</c:v>
                </c:pt>
                <c:pt idx="48474">
                  <c:v>-2.5210084033613299E-3</c:v>
                </c:pt>
                <c:pt idx="48475">
                  <c:v>-2.5210084033613299E-3</c:v>
                </c:pt>
                <c:pt idx="48476">
                  <c:v>-2.5210084033613299E-3</c:v>
                </c:pt>
                <c:pt idx="48477">
                  <c:v>-2.5210084033613299E-3</c:v>
                </c:pt>
                <c:pt idx="48478">
                  <c:v>-2.5210084033613299E-3</c:v>
                </c:pt>
                <c:pt idx="48479">
                  <c:v>-2.5210084033613299E-3</c:v>
                </c:pt>
                <c:pt idx="48480">
                  <c:v>-2.5210084033613299E-3</c:v>
                </c:pt>
                <c:pt idx="48481">
                  <c:v>-2.5210084033613299E-3</c:v>
                </c:pt>
                <c:pt idx="48482">
                  <c:v>-2.5210084033613299E-3</c:v>
                </c:pt>
                <c:pt idx="48483">
                  <c:v>-2.5210084033613299E-3</c:v>
                </c:pt>
                <c:pt idx="48484">
                  <c:v>-2.5210084033613299E-3</c:v>
                </c:pt>
                <c:pt idx="48485">
                  <c:v>-2.5210084033613299E-3</c:v>
                </c:pt>
                <c:pt idx="48486">
                  <c:v>-2.5210084033613299E-3</c:v>
                </c:pt>
                <c:pt idx="48487">
                  <c:v>-2.5210084033613299E-3</c:v>
                </c:pt>
                <c:pt idx="48488">
                  <c:v>-2.5210084033613299E-3</c:v>
                </c:pt>
                <c:pt idx="48489">
                  <c:v>-2.5210084033613299E-3</c:v>
                </c:pt>
                <c:pt idx="48490">
                  <c:v>-2.5210084033613299E-3</c:v>
                </c:pt>
                <c:pt idx="48491">
                  <c:v>-2.5210084033613299E-3</c:v>
                </c:pt>
                <c:pt idx="48492">
                  <c:v>-2.5210084033613299E-3</c:v>
                </c:pt>
                <c:pt idx="48493">
                  <c:v>-2.5210084033613299E-3</c:v>
                </c:pt>
                <c:pt idx="48494">
                  <c:v>-2.5210084033613299E-3</c:v>
                </c:pt>
                <c:pt idx="48495">
                  <c:v>-2.5210084033613299E-3</c:v>
                </c:pt>
                <c:pt idx="48496">
                  <c:v>-2.5210084033613299E-3</c:v>
                </c:pt>
                <c:pt idx="48497">
                  <c:v>-2.5210084033613299E-3</c:v>
                </c:pt>
                <c:pt idx="48498">
                  <c:v>-2.5210084033613299E-3</c:v>
                </c:pt>
                <c:pt idx="48499">
                  <c:v>-2.5210084033613299E-3</c:v>
                </c:pt>
                <c:pt idx="48500">
                  <c:v>-2.5210084033613299E-3</c:v>
                </c:pt>
                <c:pt idx="48501">
                  <c:v>-2.5210084033613299E-3</c:v>
                </c:pt>
                <c:pt idx="48502">
                  <c:v>-2.5210084033613299E-3</c:v>
                </c:pt>
                <c:pt idx="48503">
                  <c:v>-2.5210084033613299E-3</c:v>
                </c:pt>
                <c:pt idx="48504">
                  <c:v>-2.5210084033613299E-3</c:v>
                </c:pt>
                <c:pt idx="48505">
                  <c:v>-2.5210084033613299E-3</c:v>
                </c:pt>
                <c:pt idx="48506">
                  <c:v>-2.5210084033613299E-3</c:v>
                </c:pt>
                <c:pt idx="48507">
                  <c:v>-2.5210084033613299E-3</c:v>
                </c:pt>
                <c:pt idx="48508">
                  <c:v>-2.5210084033613299E-3</c:v>
                </c:pt>
                <c:pt idx="48509">
                  <c:v>-2.5210084033613299E-3</c:v>
                </c:pt>
                <c:pt idx="48510">
                  <c:v>-2.5210084033613299E-3</c:v>
                </c:pt>
                <c:pt idx="48511">
                  <c:v>-2.5210084033613299E-3</c:v>
                </c:pt>
                <c:pt idx="48512">
                  <c:v>-2.5210084033613299E-3</c:v>
                </c:pt>
                <c:pt idx="48513">
                  <c:v>-2.5210084033613299E-3</c:v>
                </c:pt>
                <c:pt idx="48514">
                  <c:v>-2.5210084033613299E-3</c:v>
                </c:pt>
                <c:pt idx="48515">
                  <c:v>-2.5210084033613299E-3</c:v>
                </c:pt>
                <c:pt idx="48516">
                  <c:v>-2.5210084033613299E-3</c:v>
                </c:pt>
                <c:pt idx="48517">
                  <c:v>-2.5210084033613299E-3</c:v>
                </c:pt>
                <c:pt idx="48518">
                  <c:v>-2.5210084033613299E-3</c:v>
                </c:pt>
                <c:pt idx="48519">
                  <c:v>-2.5210084033613299E-3</c:v>
                </c:pt>
                <c:pt idx="48520">
                  <c:v>-2.5210084033613299E-3</c:v>
                </c:pt>
                <c:pt idx="48521">
                  <c:v>-2.5210084033613299E-3</c:v>
                </c:pt>
                <c:pt idx="48522">
                  <c:v>-2.5210084033613299E-3</c:v>
                </c:pt>
                <c:pt idx="48523">
                  <c:v>-2.5210084033613299E-3</c:v>
                </c:pt>
                <c:pt idx="48524">
                  <c:v>-2.5210084033613299E-3</c:v>
                </c:pt>
                <c:pt idx="48525">
                  <c:v>-2.5210084033613299E-3</c:v>
                </c:pt>
                <c:pt idx="48526">
                  <c:v>-2.5210084033613299E-3</c:v>
                </c:pt>
                <c:pt idx="48527">
                  <c:v>-2.5210084033613299E-3</c:v>
                </c:pt>
                <c:pt idx="48528">
                  <c:v>-2.5210084033613299E-3</c:v>
                </c:pt>
                <c:pt idx="48529">
                  <c:v>-2.5210084033613299E-3</c:v>
                </c:pt>
                <c:pt idx="48530">
                  <c:v>-2.5210084033613299E-3</c:v>
                </c:pt>
                <c:pt idx="48531">
                  <c:v>-2.5210084033613299E-3</c:v>
                </c:pt>
                <c:pt idx="48532">
                  <c:v>-2.5210084033613299E-3</c:v>
                </c:pt>
                <c:pt idx="48533">
                  <c:v>-2.5210084033613299E-3</c:v>
                </c:pt>
                <c:pt idx="48534">
                  <c:v>-2.5210084033613299E-3</c:v>
                </c:pt>
                <c:pt idx="48535">
                  <c:v>-2.5210084033613299E-3</c:v>
                </c:pt>
                <c:pt idx="48536">
                  <c:v>-2.5210084033613299E-3</c:v>
                </c:pt>
                <c:pt idx="48537">
                  <c:v>-2.5210084033613299E-3</c:v>
                </c:pt>
                <c:pt idx="48538">
                  <c:v>-2.5210084033613299E-3</c:v>
                </c:pt>
                <c:pt idx="48539">
                  <c:v>-2.5210084033613299E-3</c:v>
                </c:pt>
                <c:pt idx="48540">
                  <c:v>-2.5210084033613299E-3</c:v>
                </c:pt>
                <c:pt idx="48541">
                  <c:v>-2.5210084033613299E-3</c:v>
                </c:pt>
                <c:pt idx="48542">
                  <c:v>-2.5210084033613299E-3</c:v>
                </c:pt>
                <c:pt idx="48543">
                  <c:v>-2.5210084033613299E-3</c:v>
                </c:pt>
                <c:pt idx="48544">
                  <c:v>-2.5210084033613299E-3</c:v>
                </c:pt>
                <c:pt idx="48545">
                  <c:v>-2.5210084033613299E-3</c:v>
                </c:pt>
                <c:pt idx="48546">
                  <c:v>-2.5210084033613299E-3</c:v>
                </c:pt>
                <c:pt idx="48547">
                  <c:v>-2.5210084033613299E-3</c:v>
                </c:pt>
                <c:pt idx="48548">
                  <c:v>-2.5210084033613299E-3</c:v>
                </c:pt>
                <c:pt idx="48549">
                  <c:v>-2.5210084033613299E-3</c:v>
                </c:pt>
                <c:pt idx="48550">
                  <c:v>-2.5210084033613299E-3</c:v>
                </c:pt>
                <c:pt idx="48551">
                  <c:v>-2.5210084033613299E-3</c:v>
                </c:pt>
                <c:pt idx="48552">
                  <c:v>-2.5210084033613299E-3</c:v>
                </c:pt>
                <c:pt idx="48553">
                  <c:v>-2.5210084033613299E-3</c:v>
                </c:pt>
                <c:pt idx="48554">
                  <c:v>-2.5210084033613299E-3</c:v>
                </c:pt>
                <c:pt idx="48555">
                  <c:v>-2.5210084033613299E-3</c:v>
                </c:pt>
                <c:pt idx="48556">
                  <c:v>-2.5210084033613299E-3</c:v>
                </c:pt>
                <c:pt idx="48557">
                  <c:v>-2.5210084033613299E-3</c:v>
                </c:pt>
                <c:pt idx="48558">
                  <c:v>-2.5210084033613299E-3</c:v>
                </c:pt>
                <c:pt idx="48559">
                  <c:v>-2.5210084033613299E-3</c:v>
                </c:pt>
                <c:pt idx="48560">
                  <c:v>-2.5210084033613299E-3</c:v>
                </c:pt>
                <c:pt idx="48561">
                  <c:v>-2.5210084033613299E-3</c:v>
                </c:pt>
                <c:pt idx="48562">
                  <c:v>-2.5210084033613299E-3</c:v>
                </c:pt>
                <c:pt idx="48563">
                  <c:v>-2.5210084033613299E-3</c:v>
                </c:pt>
                <c:pt idx="48564">
                  <c:v>-2.5210084033613299E-3</c:v>
                </c:pt>
                <c:pt idx="48565">
                  <c:v>-2.5210084033613299E-3</c:v>
                </c:pt>
                <c:pt idx="48566">
                  <c:v>-2.5210084033613299E-3</c:v>
                </c:pt>
                <c:pt idx="48567">
                  <c:v>-2.5210084033613299E-3</c:v>
                </c:pt>
                <c:pt idx="48568">
                  <c:v>-2.5210084033613299E-3</c:v>
                </c:pt>
                <c:pt idx="48569">
                  <c:v>-2.5210084033613299E-3</c:v>
                </c:pt>
                <c:pt idx="48570">
                  <c:v>-2.5210084033613299E-3</c:v>
                </c:pt>
                <c:pt idx="48571">
                  <c:v>-2.5210084033613299E-3</c:v>
                </c:pt>
                <c:pt idx="48572">
                  <c:v>-2.5210084033613299E-3</c:v>
                </c:pt>
                <c:pt idx="48573">
                  <c:v>-2.5210084033613299E-3</c:v>
                </c:pt>
                <c:pt idx="48574">
                  <c:v>-2.5210084033613299E-3</c:v>
                </c:pt>
                <c:pt idx="48575">
                  <c:v>-2.5210084033613299E-3</c:v>
                </c:pt>
                <c:pt idx="48576">
                  <c:v>-2.5210084033613299E-3</c:v>
                </c:pt>
                <c:pt idx="48577">
                  <c:v>-2.5210084033613299E-3</c:v>
                </c:pt>
                <c:pt idx="48578">
                  <c:v>-2.5210084033613299E-3</c:v>
                </c:pt>
                <c:pt idx="48579">
                  <c:v>-2.5210084033613299E-3</c:v>
                </c:pt>
                <c:pt idx="48580">
                  <c:v>-2.5210084033613299E-3</c:v>
                </c:pt>
                <c:pt idx="48581">
                  <c:v>-2.5210084033613299E-3</c:v>
                </c:pt>
                <c:pt idx="48582">
                  <c:v>-2.5210084033613299E-3</c:v>
                </c:pt>
                <c:pt idx="48583">
                  <c:v>-2.5210084033613299E-3</c:v>
                </c:pt>
                <c:pt idx="48584">
                  <c:v>-2.5210084033613299E-3</c:v>
                </c:pt>
                <c:pt idx="48585">
                  <c:v>-2.5210084033613299E-3</c:v>
                </c:pt>
                <c:pt idx="48586">
                  <c:v>-2.5210084033613299E-3</c:v>
                </c:pt>
                <c:pt idx="48587">
                  <c:v>-2.5210084033613299E-3</c:v>
                </c:pt>
                <c:pt idx="48588">
                  <c:v>-2.5210084033613299E-3</c:v>
                </c:pt>
                <c:pt idx="48589">
                  <c:v>-2.5210084033613299E-3</c:v>
                </c:pt>
                <c:pt idx="48590">
                  <c:v>-2.5210084033613299E-3</c:v>
                </c:pt>
                <c:pt idx="48591">
                  <c:v>-2.5210084033613299E-3</c:v>
                </c:pt>
                <c:pt idx="48592">
                  <c:v>-2.5210084033613299E-3</c:v>
                </c:pt>
                <c:pt idx="48593">
                  <c:v>-2.5210084033613299E-3</c:v>
                </c:pt>
                <c:pt idx="48594">
                  <c:v>-2.5210084033613299E-3</c:v>
                </c:pt>
                <c:pt idx="48595">
                  <c:v>-2.5210084033613299E-3</c:v>
                </c:pt>
                <c:pt idx="48596">
                  <c:v>-2.5210084033613299E-3</c:v>
                </c:pt>
                <c:pt idx="48597">
                  <c:v>-2.5210084033613299E-3</c:v>
                </c:pt>
                <c:pt idx="48598">
                  <c:v>-2.5210084033613299E-3</c:v>
                </c:pt>
                <c:pt idx="48599">
                  <c:v>-2.5210084033613299E-3</c:v>
                </c:pt>
                <c:pt idx="48600">
                  <c:v>-2.5210084033613299E-3</c:v>
                </c:pt>
                <c:pt idx="48601">
                  <c:v>-2.5210084033613299E-3</c:v>
                </c:pt>
                <c:pt idx="48602">
                  <c:v>-2.5210084033613299E-3</c:v>
                </c:pt>
                <c:pt idx="48603">
                  <c:v>-2.5210084033613299E-3</c:v>
                </c:pt>
                <c:pt idx="48604">
                  <c:v>-2.5210084033613299E-3</c:v>
                </c:pt>
                <c:pt idx="48605">
                  <c:v>-2.5210084033613299E-3</c:v>
                </c:pt>
                <c:pt idx="48606">
                  <c:v>-2.5210084033613299E-3</c:v>
                </c:pt>
                <c:pt idx="48607">
                  <c:v>-2.5210084033613299E-3</c:v>
                </c:pt>
                <c:pt idx="48608">
                  <c:v>-2.5210084033613299E-3</c:v>
                </c:pt>
                <c:pt idx="48609">
                  <c:v>-2.5210084033613299E-3</c:v>
                </c:pt>
                <c:pt idx="48610">
                  <c:v>-2.5210084033613299E-3</c:v>
                </c:pt>
                <c:pt idx="48611">
                  <c:v>-2.5210084033613299E-3</c:v>
                </c:pt>
                <c:pt idx="48612">
                  <c:v>-2.5210084033613299E-3</c:v>
                </c:pt>
                <c:pt idx="48613">
                  <c:v>-2.5210084033613299E-3</c:v>
                </c:pt>
                <c:pt idx="48614">
                  <c:v>-2.5210084033613299E-3</c:v>
                </c:pt>
                <c:pt idx="48615">
                  <c:v>-2.5210084033613299E-3</c:v>
                </c:pt>
                <c:pt idx="48616">
                  <c:v>-2.5210084033613299E-3</c:v>
                </c:pt>
                <c:pt idx="48617">
                  <c:v>-2.5210084033613299E-3</c:v>
                </c:pt>
                <c:pt idx="48618">
                  <c:v>-2.5210084033613299E-3</c:v>
                </c:pt>
                <c:pt idx="48619">
                  <c:v>-2.5210084033613299E-3</c:v>
                </c:pt>
                <c:pt idx="48620">
                  <c:v>-2.5210084033613299E-3</c:v>
                </c:pt>
                <c:pt idx="48621">
                  <c:v>-2.5210084033613299E-3</c:v>
                </c:pt>
                <c:pt idx="48622">
                  <c:v>-2.5210084033613299E-3</c:v>
                </c:pt>
                <c:pt idx="48623">
                  <c:v>-2.5210084033613299E-3</c:v>
                </c:pt>
                <c:pt idx="48624">
                  <c:v>-2.5210084033613299E-3</c:v>
                </c:pt>
                <c:pt idx="48625">
                  <c:v>-2.5210084033613299E-3</c:v>
                </c:pt>
                <c:pt idx="48626">
                  <c:v>-2.5210084033613299E-3</c:v>
                </c:pt>
                <c:pt idx="48627">
                  <c:v>-2.5210084033613299E-3</c:v>
                </c:pt>
                <c:pt idx="48628">
                  <c:v>-2.5210084033613299E-3</c:v>
                </c:pt>
                <c:pt idx="48629">
                  <c:v>-2.5210084033613299E-3</c:v>
                </c:pt>
                <c:pt idx="48630">
                  <c:v>-2.5210084033613299E-3</c:v>
                </c:pt>
                <c:pt idx="48631">
                  <c:v>-2.5210084033613299E-3</c:v>
                </c:pt>
                <c:pt idx="48632">
                  <c:v>-2.5210084033613299E-3</c:v>
                </c:pt>
                <c:pt idx="48633">
                  <c:v>-2.5210084033613299E-3</c:v>
                </c:pt>
                <c:pt idx="48634">
                  <c:v>-2.5210084033613299E-3</c:v>
                </c:pt>
                <c:pt idx="48635">
                  <c:v>-2.5210084033613299E-3</c:v>
                </c:pt>
                <c:pt idx="48636">
                  <c:v>-2.5210084033613299E-3</c:v>
                </c:pt>
                <c:pt idx="48637">
                  <c:v>-2.5210084033613299E-3</c:v>
                </c:pt>
                <c:pt idx="48638">
                  <c:v>-2.5210084033613299E-3</c:v>
                </c:pt>
                <c:pt idx="48639">
                  <c:v>-2.5210084033613299E-3</c:v>
                </c:pt>
                <c:pt idx="48640">
                  <c:v>-2.5210084033613299E-3</c:v>
                </c:pt>
                <c:pt idx="48641">
                  <c:v>-2.5210084033613299E-3</c:v>
                </c:pt>
                <c:pt idx="48642">
                  <c:v>-2.5210084033613299E-3</c:v>
                </c:pt>
                <c:pt idx="48643">
                  <c:v>-2.5210084033613299E-3</c:v>
                </c:pt>
                <c:pt idx="48644">
                  <c:v>-2.5210084033613299E-3</c:v>
                </c:pt>
                <c:pt idx="48645">
                  <c:v>-2.5210084033613299E-3</c:v>
                </c:pt>
                <c:pt idx="48646">
                  <c:v>-2.5210084033613299E-3</c:v>
                </c:pt>
                <c:pt idx="48647">
                  <c:v>-2.5210084033613299E-3</c:v>
                </c:pt>
                <c:pt idx="48648">
                  <c:v>-2.5210084033613299E-3</c:v>
                </c:pt>
                <c:pt idx="48649">
                  <c:v>-2.5210084033613299E-3</c:v>
                </c:pt>
                <c:pt idx="48650">
                  <c:v>-2.5210084033613299E-3</c:v>
                </c:pt>
                <c:pt idx="48651">
                  <c:v>-2.5210084033613299E-3</c:v>
                </c:pt>
                <c:pt idx="48652">
                  <c:v>-2.5210084033613299E-3</c:v>
                </c:pt>
                <c:pt idx="48653">
                  <c:v>-2.5210084033613299E-3</c:v>
                </c:pt>
                <c:pt idx="48654">
                  <c:v>-2.5210084033613299E-3</c:v>
                </c:pt>
                <c:pt idx="48655">
                  <c:v>-2.5210084033613299E-3</c:v>
                </c:pt>
                <c:pt idx="48656">
                  <c:v>-2.5210084033613299E-3</c:v>
                </c:pt>
                <c:pt idx="48657">
                  <c:v>-2.5210084033613299E-3</c:v>
                </c:pt>
                <c:pt idx="48658">
                  <c:v>-2.5210084033613299E-3</c:v>
                </c:pt>
                <c:pt idx="48659">
                  <c:v>-2.5210084033613299E-3</c:v>
                </c:pt>
                <c:pt idx="48660">
                  <c:v>-2.5210084033613299E-3</c:v>
                </c:pt>
                <c:pt idx="48661">
                  <c:v>-2.5210084033613299E-3</c:v>
                </c:pt>
                <c:pt idx="48662">
                  <c:v>-2.5210084033613299E-3</c:v>
                </c:pt>
                <c:pt idx="48663">
                  <c:v>-2.5210084033613299E-3</c:v>
                </c:pt>
                <c:pt idx="48664">
                  <c:v>-2.5210084033613299E-3</c:v>
                </c:pt>
                <c:pt idx="48665">
                  <c:v>-2.5210084033613299E-3</c:v>
                </c:pt>
                <c:pt idx="48666">
                  <c:v>-2.5210084033613299E-3</c:v>
                </c:pt>
                <c:pt idx="48667">
                  <c:v>-2.5210084033613299E-3</c:v>
                </c:pt>
                <c:pt idx="48668">
                  <c:v>-2.5210084033613299E-3</c:v>
                </c:pt>
                <c:pt idx="48669">
                  <c:v>-2.5210084033613299E-3</c:v>
                </c:pt>
                <c:pt idx="48670">
                  <c:v>-2.5210084033613299E-3</c:v>
                </c:pt>
                <c:pt idx="48671">
                  <c:v>-2.5210084033613299E-3</c:v>
                </c:pt>
                <c:pt idx="48672">
                  <c:v>-2.5210084033613299E-3</c:v>
                </c:pt>
                <c:pt idx="48673">
                  <c:v>-2.5210084033613299E-3</c:v>
                </c:pt>
                <c:pt idx="48674">
                  <c:v>-2.5210084033613299E-3</c:v>
                </c:pt>
                <c:pt idx="48675">
                  <c:v>-2.5210084033613299E-3</c:v>
                </c:pt>
                <c:pt idx="48676">
                  <c:v>-2.5210084033613299E-3</c:v>
                </c:pt>
                <c:pt idx="48677">
                  <c:v>-2.5210084033613299E-3</c:v>
                </c:pt>
                <c:pt idx="48678">
                  <c:v>-2.5210084033613299E-3</c:v>
                </c:pt>
                <c:pt idx="48679">
                  <c:v>-2.5210084033613299E-3</c:v>
                </c:pt>
                <c:pt idx="48680">
                  <c:v>-2.5210084033613299E-3</c:v>
                </c:pt>
                <c:pt idx="48681">
                  <c:v>-2.5210084033613299E-3</c:v>
                </c:pt>
                <c:pt idx="48682">
                  <c:v>-2.5210084033613299E-3</c:v>
                </c:pt>
                <c:pt idx="48683">
                  <c:v>-2.5210084033613299E-3</c:v>
                </c:pt>
                <c:pt idx="48684">
                  <c:v>-2.5210084033613299E-3</c:v>
                </c:pt>
                <c:pt idx="48685">
                  <c:v>-2.5210084033613299E-3</c:v>
                </c:pt>
                <c:pt idx="48686">
                  <c:v>-2.5210084033613299E-3</c:v>
                </c:pt>
                <c:pt idx="48687">
                  <c:v>-2.5210084033613299E-3</c:v>
                </c:pt>
                <c:pt idx="48688">
                  <c:v>-2.5210084033613299E-3</c:v>
                </c:pt>
                <c:pt idx="48689">
                  <c:v>-2.5210084033613299E-3</c:v>
                </c:pt>
                <c:pt idx="48690">
                  <c:v>-2.5210084033613299E-3</c:v>
                </c:pt>
                <c:pt idx="48691">
                  <c:v>-2.5210084033613299E-3</c:v>
                </c:pt>
                <c:pt idx="48692">
                  <c:v>-2.5210084033613299E-3</c:v>
                </c:pt>
                <c:pt idx="48693">
                  <c:v>-2.5210084033613299E-3</c:v>
                </c:pt>
                <c:pt idx="48694">
                  <c:v>-2.5210084033613299E-3</c:v>
                </c:pt>
                <c:pt idx="48695">
                  <c:v>-2.5210084033613299E-3</c:v>
                </c:pt>
                <c:pt idx="48696">
                  <c:v>-2.5210084033613299E-3</c:v>
                </c:pt>
                <c:pt idx="48697">
                  <c:v>-2.5210084033613299E-3</c:v>
                </c:pt>
                <c:pt idx="48698">
                  <c:v>-2.5210084033613299E-3</c:v>
                </c:pt>
                <c:pt idx="48699">
                  <c:v>-2.5210084033613299E-3</c:v>
                </c:pt>
                <c:pt idx="48700">
                  <c:v>-2.5210084033613299E-3</c:v>
                </c:pt>
                <c:pt idx="48701">
                  <c:v>-2.5210084033613299E-3</c:v>
                </c:pt>
                <c:pt idx="48702">
                  <c:v>-2.5210084033613299E-3</c:v>
                </c:pt>
                <c:pt idx="48703">
                  <c:v>-2.5210084033613299E-3</c:v>
                </c:pt>
                <c:pt idx="48704">
                  <c:v>-2.5210084033613299E-3</c:v>
                </c:pt>
                <c:pt idx="48705">
                  <c:v>-2.5210084033613299E-3</c:v>
                </c:pt>
                <c:pt idx="48706">
                  <c:v>-2.5210084033613299E-3</c:v>
                </c:pt>
                <c:pt idx="48707">
                  <c:v>-2.5210084033613299E-3</c:v>
                </c:pt>
                <c:pt idx="48708">
                  <c:v>-2.5210084033613299E-3</c:v>
                </c:pt>
                <c:pt idx="48709">
                  <c:v>-2.5210084033613299E-3</c:v>
                </c:pt>
                <c:pt idx="48710">
                  <c:v>-2.5210084033613299E-3</c:v>
                </c:pt>
                <c:pt idx="48711">
                  <c:v>-2.5210084033613299E-3</c:v>
                </c:pt>
                <c:pt idx="48712">
                  <c:v>-2.5210084033613299E-3</c:v>
                </c:pt>
                <c:pt idx="48713">
                  <c:v>-2.5210084033613299E-3</c:v>
                </c:pt>
                <c:pt idx="48714">
                  <c:v>-2.5210084033613299E-3</c:v>
                </c:pt>
                <c:pt idx="48715">
                  <c:v>-2.5210084033613299E-3</c:v>
                </c:pt>
                <c:pt idx="48716">
                  <c:v>-2.5210084033613299E-3</c:v>
                </c:pt>
                <c:pt idx="48717">
                  <c:v>-2.5210084033613299E-3</c:v>
                </c:pt>
                <c:pt idx="48718">
                  <c:v>-2.5210084033613299E-3</c:v>
                </c:pt>
                <c:pt idx="48719">
                  <c:v>-2.5210084033613299E-3</c:v>
                </c:pt>
                <c:pt idx="48720">
                  <c:v>-2.5210084033613299E-3</c:v>
                </c:pt>
                <c:pt idx="48721">
                  <c:v>-2.5210084033613299E-3</c:v>
                </c:pt>
                <c:pt idx="48722">
                  <c:v>-2.5210084033613299E-3</c:v>
                </c:pt>
                <c:pt idx="48723">
                  <c:v>-2.5210084033613299E-3</c:v>
                </c:pt>
                <c:pt idx="48724">
                  <c:v>-2.5210084033613299E-3</c:v>
                </c:pt>
                <c:pt idx="48725">
                  <c:v>-2.5210084033613299E-3</c:v>
                </c:pt>
                <c:pt idx="48726">
                  <c:v>-2.5210084033613299E-3</c:v>
                </c:pt>
                <c:pt idx="48727">
                  <c:v>-2.5210084033613299E-3</c:v>
                </c:pt>
                <c:pt idx="48728">
                  <c:v>-2.5210084033613299E-3</c:v>
                </c:pt>
                <c:pt idx="48729">
                  <c:v>-2.5210084033613299E-3</c:v>
                </c:pt>
                <c:pt idx="48730">
                  <c:v>-2.5210084033613299E-3</c:v>
                </c:pt>
                <c:pt idx="48731">
                  <c:v>-2.5210084033613299E-3</c:v>
                </c:pt>
                <c:pt idx="48732">
                  <c:v>-2.5210084033613299E-3</c:v>
                </c:pt>
                <c:pt idx="48733">
                  <c:v>-2.5210084033613299E-3</c:v>
                </c:pt>
                <c:pt idx="48734">
                  <c:v>-2.5210084033613299E-3</c:v>
                </c:pt>
                <c:pt idx="48735">
                  <c:v>-2.5210084033613299E-3</c:v>
                </c:pt>
                <c:pt idx="48736">
                  <c:v>-2.5210084033613299E-3</c:v>
                </c:pt>
                <c:pt idx="48737">
                  <c:v>-2.5210084033613299E-3</c:v>
                </c:pt>
                <c:pt idx="48738">
                  <c:v>-2.5210084033613299E-3</c:v>
                </c:pt>
                <c:pt idx="48739">
                  <c:v>-2.5210084033613299E-3</c:v>
                </c:pt>
                <c:pt idx="48740">
                  <c:v>-2.5210084033613299E-3</c:v>
                </c:pt>
                <c:pt idx="48741">
                  <c:v>-2.5210084033613299E-3</c:v>
                </c:pt>
                <c:pt idx="48742">
                  <c:v>-2.5210084033613299E-3</c:v>
                </c:pt>
                <c:pt idx="48743">
                  <c:v>-2.5210084033613299E-3</c:v>
                </c:pt>
                <c:pt idx="48744">
                  <c:v>-2.5210084033613299E-3</c:v>
                </c:pt>
                <c:pt idx="48745">
                  <c:v>-2.5210084033613299E-3</c:v>
                </c:pt>
                <c:pt idx="48746">
                  <c:v>-2.5210084033613299E-3</c:v>
                </c:pt>
                <c:pt idx="48747">
                  <c:v>-2.5210084033613299E-3</c:v>
                </c:pt>
                <c:pt idx="48748">
                  <c:v>-2.5210084033613299E-3</c:v>
                </c:pt>
                <c:pt idx="48749">
                  <c:v>-2.5210084033613299E-3</c:v>
                </c:pt>
                <c:pt idx="48750">
                  <c:v>-2.5210084033613299E-3</c:v>
                </c:pt>
                <c:pt idx="48751">
                  <c:v>-2.5210084033613299E-3</c:v>
                </c:pt>
                <c:pt idx="48752">
                  <c:v>-2.5210084033613299E-3</c:v>
                </c:pt>
                <c:pt idx="48753">
                  <c:v>-2.5210084033613299E-3</c:v>
                </c:pt>
                <c:pt idx="48754">
                  <c:v>-2.5210084033613299E-3</c:v>
                </c:pt>
                <c:pt idx="48755">
                  <c:v>-2.5210084033613299E-3</c:v>
                </c:pt>
                <c:pt idx="48756">
                  <c:v>-2.5210084033613299E-3</c:v>
                </c:pt>
                <c:pt idx="48757">
                  <c:v>-2.5210084033613299E-3</c:v>
                </c:pt>
                <c:pt idx="48758">
                  <c:v>-2.5210084033613299E-3</c:v>
                </c:pt>
                <c:pt idx="48759">
                  <c:v>-2.5210084033613299E-3</c:v>
                </c:pt>
                <c:pt idx="48760">
                  <c:v>-2.5210084033613299E-3</c:v>
                </c:pt>
                <c:pt idx="48761">
                  <c:v>-2.5210084033613299E-3</c:v>
                </c:pt>
                <c:pt idx="48762">
                  <c:v>-2.5210084033613299E-3</c:v>
                </c:pt>
                <c:pt idx="48763">
                  <c:v>-2.5210084033613299E-3</c:v>
                </c:pt>
                <c:pt idx="48764">
                  <c:v>-2.5210084033613299E-3</c:v>
                </c:pt>
                <c:pt idx="48765">
                  <c:v>-2.5210084033613299E-3</c:v>
                </c:pt>
                <c:pt idx="48766">
                  <c:v>-2.5210084033613299E-3</c:v>
                </c:pt>
                <c:pt idx="48767">
                  <c:v>-2.5210084033613299E-3</c:v>
                </c:pt>
                <c:pt idx="48768">
                  <c:v>-2.5210084033613299E-3</c:v>
                </c:pt>
                <c:pt idx="48769">
                  <c:v>-2.5210084033613299E-3</c:v>
                </c:pt>
                <c:pt idx="48770">
                  <c:v>-2.5210084033613299E-3</c:v>
                </c:pt>
                <c:pt idx="48771">
                  <c:v>-2.5210084033613299E-3</c:v>
                </c:pt>
                <c:pt idx="48772">
                  <c:v>-2.5210084033613299E-3</c:v>
                </c:pt>
                <c:pt idx="48773">
                  <c:v>-2.5210084033613299E-3</c:v>
                </c:pt>
                <c:pt idx="48774">
                  <c:v>-2.5210084033613299E-3</c:v>
                </c:pt>
                <c:pt idx="48775">
                  <c:v>-2.5210084033613299E-3</c:v>
                </c:pt>
                <c:pt idx="48776">
                  <c:v>-2.5210084033613299E-3</c:v>
                </c:pt>
                <c:pt idx="48777">
                  <c:v>-2.5210084033613299E-3</c:v>
                </c:pt>
                <c:pt idx="48778">
                  <c:v>-2.5210084033613299E-3</c:v>
                </c:pt>
                <c:pt idx="48779">
                  <c:v>-2.5210084033613299E-3</c:v>
                </c:pt>
                <c:pt idx="48780">
                  <c:v>-2.5210084033613299E-3</c:v>
                </c:pt>
                <c:pt idx="48781">
                  <c:v>-2.5210084033613299E-3</c:v>
                </c:pt>
                <c:pt idx="48782">
                  <c:v>-2.5210084033613299E-3</c:v>
                </c:pt>
                <c:pt idx="48783">
                  <c:v>-2.5210084033613299E-3</c:v>
                </c:pt>
                <c:pt idx="48784">
                  <c:v>-2.5210084033613299E-3</c:v>
                </c:pt>
                <c:pt idx="48785">
                  <c:v>-2.5210084033613299E-3</c:v>
                </c:pt>
                <c:pt idx="48786">
                  <c:v>-2.5210084033613299E-3</c:v>
                </c:pt>
                <c:pt idx="48787">
                  <c:v>-2.5210084033613299E-3</c:v>
                </c:pt>
                <c:pt idx="48788">
                  <c:v>-2.5210084033613299E-3</c:v>
                </c:pt>
                <c:pt idx="48789">
                  <c:v>-2.5210084033613299E-3</c:v>
                </c:pt>
                <c:pt idx="48790">
                  <c:v>-2.5210084033613299E-3</c:v>
                </c:pt>
                <c:pt idx="48791">
                  <c:v>-2.5210084033613299E-3</c:v>
                </c:pt>
                <c:pt idx="48792">
                  <c:v>-2.5210084033613299E-3</c:v>
                </c:pt>
                <c:pt idx="48793">
                  <c:v>-2.5210084033613299E-3</c:v>
                </c:pt>
                <c:pt idx="48794">
                  <c:v>-2.5210084033613299E-3</c:v>
                </c:pt>
                <c:pt idx="48795">
                  <c:v>-2.5210084033613299E-3</c:v>
                </c:pt>
                <c:pt idx="48796">
                  <c:v>-2.5210084033613299E-3</c:v>
                </c:pt>
                <c:pt idx="48797">
                  <c:v>-2.5210084033613299E-3</c:v>
                </c:pt>
                <c:pt idx="48798">
                  <c:v>-2.5210084033613299E-3</c:v>
                </c:pt>
                <c:pt idx="48799">
                  <c:v>-2.5210084033613299E-3</c:v>
                </c:pt>
                <c:pt idx="48800">
                  <c:v>-2.5210084033613299E-3</c:v>
                </c:pt>
                <c:pt idx="48801">
                  <c:v>-2.5210084033613299E-3</c:v>
                </c:pt>
                <c:pt idx="48802">
                  <c:v>-2.5210084033613299E-3</c:v>
                </c:pt>
                <c:pt idx="48803">
                  <c:v>-2.5210084033613299E-3</c:v>
                </c:pt>
                <c:pt idx="48804">
                  <c:v>-2.5210084033613299E-3</c:v>
                </c:pt>
                <c:pt idx="48805">
                  <c:v>-2.5210084033613299E-3</c:v>
                </c:pt>
                <c:pt idx="48806">
                  <c:v>-2.5210084033613299E-3</c:v>
                </c:pt>
                <c:pt idx="48807">
                  <c:v>-2.5210084033613299E-3</c:v>
                </c:pt>
                <c:pt idx="48808">
                  <c:v>-2.5210084033613299E-3</c:v>
                </c:pt>
                <c:pt idx="48809">
                  <c:v>-2.5210084033613299E-3</c:v>
                </c:pt>
                <c:pt idx="48810">
                  <c:v>-2.5210084033613299E-3</c:v>
                </c:pt>
                <c:pt idx="48811">
                  <c:v>-2.5210084033613299E-3</c:v>
                </c:pt>
                <c:pt idx="48812">
                  <c:v>-2.5210084033613299E-3</c:v>
                </c:pt>
                <c:pt idx="48813">
                  <c:v>-2.5210084033613299E-3</c:v>
                </c:pt>
                <c:pt idx="48814">
                  <c:v>-2.5210084033613299E-3</c:v>
                </c:pt>
                <c:pt idx="48815">
                  <c:v>-2.5210084033613299E-3</c:v>
                </c:pt>
                <c:pt idx="48816">
                  <c:v>-2.5210084033613299E-3</c:v>
                </c:pt>
                <c:pt idx="48817">
                  <c:v>-2.5210084033613299E-3</c:v>
                </c:pt>
                <c:pt idx="48818">
                  <c:v>-2.5210084033613299E-3</c:v>
                </c:pt>
                <c:pt idx="48819">
                  <c:v>-2.5210084033613299E-3</c:v>
                </c:pt>
                <c:pt idx="48820">
                  <c:v>-2.5210084033613299E-3</c:v>
                </c:pt>
                <c:pt idx="48821">
                  <c:v>-2.5210084033613299E-3</c:v>
                </c:pt>
                <c:pt idx="48822">
                  <c:v>-2.5210084033613299E-3</c:v>
                </c:pt>
                <c:pt idx="48823">
                  <c:v>-2.5210084033613299E-3</c:v>
                </c:pt>
                <c:pt idx="48824">
                  <c:v>-1.6806722689075499E-3</c:v>
                </c:pt>
                <c:pt idx="48825">
                  <c:v>-1.6806722689075499E-3</c:v>
                </c:pt>
                <c:pt idx="48826">
                  <c:v>-1.6806722689075499E-3</c:v>
                </c:pt>
                <c:pt idx="48827">
                  <c:v>-1.6806722689075499E-3</c:v>
                </c:pt>
                <c:pt idx="48828">
                  <c:v>-1.6806722689075499E-3</c:v>
                </c:pt>
                <c:pt idx="48829">
                  <c:v>-1.6806722689075499E-3</c:v>
                </c:pt>
                <c:pt idx="48830">
                  <c:v>-1.6806722689075499E-3</c:v>
                </c:pt>
                <c:pt idx="48831">
                  <c:v>-1.6806722689075499E-3</c:v>
                </c:pt>
                <c:pt idx="48832">
                  <c:v>-1.6806722689075499E-3</c:v>
                </c:pt>
                <c:pt idx="48833">
                  <c:v>-1.6806722689075499E-3</c:v>
                </c:pt>
                <c:pt idx="48834">
                  <c:v>-1.6806722689075499E-3</c:v>
                </c:pt>
                <c:pt idx="48835">
                  <c:v>-1.6806722689075499E-3</c:v>
                </c:pt>
                <c:pt idx="48836">
                  <c:v>-1.6806722689075499E-3</c:v>
                </c:pt>
                <c:pt idx="48837">
                  <c:v>-1.6806722689075499E-3</c:v>
                </c:pt>
                <c:pt idx="48838">
                  <c:v>-1.6806722689075499E-3</c:v>
                </c:pt>
                <c:pt idx="48839">
                  <c:v>-1.6806722689075499E-3</c:v>
                </c:pt>
                <c:pt idx="48840">
                  <c:v>-1.6806722689075499E-3</c:v>
                </c:pt>
                <c:pt idx="48841">
                  <c:v>-1.6806722689075499E-3</c:v>
                </c:pt>
                <c:pt idx="48842">
                  <c:v>-1.6806722689075499E-3</c:v>
                </c:pt>
                <c:pt idx="48843">
                  <c:v>-1.6806722689075499E-3</c:v>
                </c:pt>
                <c:pt idx="48844">
                  <c:v>-1.6806722689075499E-3</c:v>
                </c:pt>
                <c:pt idx="48845">
                  <c:v>-1.6806722689075499E-3</c:v>
                </c:pt>
                <c:pt idx="48846">
                  <c:v>-1.6806722689075499E-3</c:v>
                </c:pt>
                <c:pt idx="48847">
                  <c:v>-1.6806722689075499E-3</c:v>
                </c:pt>
                <c:pt idx="48848">
                  <c:v>-1.6806722689075499E-3</c:v>
                </c:pt>
                <c:pt idx="48849">
                  <c:v>-1.6806722689075499E-3</c:v>
                </c:pt>
                <c:pt idx="48850">
                  <c:v>-1.6806722689075499E-3</c:v>
                </c:pt>
                <c:pt idx="48851">
                  <c:v>-1.6806722689075499E-3</c:v>
                </c:pt>
                <c:pt idx="48852">
                  <c:v>-1.6806722689075499E-3</c:v>
                </c:pt>
                <c:pt idx="48853">
                  <c:v>-1.6806722689075499E-3</c:v>
                </c:pt>
                <c:pt idx="48854">
                  <c:v>-1.6806722689075499E-3</c:v>
                </c:pt>
                <c:pt idx="48855">
                  <c:v>-1.6806722689075499E-3</c:v>
                </c:pt>
                <c:pt idx="48856">
                  <c:v>-1.6806722689075499E-3</c:v>
                </c:pt>
                <c:pt idx="48857">
                  <c:v>-1.6806722689075499E-3</c:v>
                </c:pt>
                <c:pt idx="48858">
                  <c:v>-1.6806722689075499E-3</c:v>
                </c:pt>
                <c:pt idx="48859">
                  <c:v>-1.6806722689075499E-3</c:v>
                </c:pt>
                <c:pt idx="48860">
                  <c:v>-1.6806722689075499E-3</c:v>
                </c:pt>
                <c:pt idx="48861">
                  <c:v>-1.6806722689075499E-3</c:v>
                </c:pt>
                <c:pt idx="48862">
                  <c:v>-1.6806722689075499E-3</c:v>
                </c:pt>
                <c:pt idx="48863">
                  <c:v>-1.6806722689075499E-3</c:v>
                </c:pt>
                <c:pt idx="48864">
                  <c:v>-1.6806722689075499E-3</c:v>
                </c:pt>
                <c:pt idx="48865">
                  <c:v>-1.6806722689075499E-3</c:v>
                </c:pt>
                <c:pt idx="48866">
                  <c:v>-1.6806722689075499E-3</c:v>
                </c:pt>
                <c:pt idx="48867">
                  <c:v>-1.6806722689075499E-3</c:v>
                </c:pt>
                <c:pt idx="48868">
                  <c:v>-1.6806722689075499E-3</c:v>
                </c:pt>
                <c:pt idx="48869">
                  <c:v>-1.6806722689075499E-3</c:v>
                </c:pt>
                <c:pt idx="48870">
                  <c:v>-1.6806722689075499E-3</c:v>
                </c:pt>
                <c:pt idx="48871">
                  <c:v>-1.6806722689075499E-3</c:v>
                </c:pt>
                <c:pt idx="48872">
                  <c:v>-1.6806722689075499E-3</c:v>
                </c:pt>
                <c:pt idx="48873">
                  <c:v>-1.6806722689075499E-3</c:v>
                </c:pt>
                <c:pt idx="48874">
                  <c:v>-1.6806722689075499E-3</c:v>
                </c:pt>
                <c:pt idx="48875">
                  <c:v>-1.6806722689075499E-3</c:v>
                </c:pt>
                <c:pt idx="48876">
                  <c:v>-1.6806722689075499E-3</c:v>
                </c:pt>
                <c:pt idx="48877">
                  <c:v>-1.6806722689075499E-3</c:v>
                </c:pt>
                <c:pt idx="48878">
                  <c:v>-1.6806722689075499E-3</c:v>
                </c:pt>
                <c:pt idx="48879">
                  <c:v>-1.6806722689075499E-3</c:v>
                </c:pt>
                <c:pt idx="48880">
                  <c:v>-1.6806722689075499E-3</c:v>
                </c:pt>
                <c:pt idx="48881">
                  <c:v>-1.6806722689075499E-3</c:v>
                </c:pt>
                <c:pt idx="48882">
                  <c:v>-1.6806722689075499E-3</c:v>
                </c:pt>
                <c:pt idx="48883">
                  <c:v>-1.6806722689075499E-3</c:v>
                </c:pt>
                <c:pt idx="48884">
                  <c:v>-1.6806722689075499E-3</c:v>
                </c:pt>
                <c:pt idx="48885">
                  <c:v>-1.6806722689075499E-3</c:v>
                </c:pt>
                <c:pt idx="48886">
                  <c:v>-1.6806722689075499E-3</c:v>
                </c:pt>
                <c:pt idx="48887">
                  <c:v>-1.6806722689075499E-3</c:v>
                </c:pt>
                <c:pt idx="48888">
                  <c:v>-1.6806722689075499E-3</c:v>
                </c:pt>
                <c:pt idx="48889">
                  <c:v>-1.6806722689075499E-3</c:v>
                </c:pt>
                <c:pt idx="48890">
                  <c:v>-1.6806722689075499E-3</c:v>
                </c:pt>
                <c:pt idx="48891">
                  <c:v>-1.6806722689075499E-3</c:v>
                </c:pt>
                <c:pt idx="48892">
                  <c:v>-1.6806722689075499E-3</c:v>
                </c:pt>
                <c:pt idx="48893">
                  <c:v>-1.6806722689075499E-3</c:v>
                </c:pt>
                <c:pt idx="48894">
                  <c:v>-1.6806722689075499E-3</c:v>
                </c:pt>
                <c:pt idx="48895">
                  <c:v>-1.6806722689075499E-3</c:v>
                </c:pt>
                <c:pt idx="48896">
                  <c:v>-1.6806722689075499E-3</c:v>
                </c:pt>
                <c:pt idx="48897">
                  <c:v>-1.6806722689075499E-3</c:v>
                </c:pt>
                <c:pt idx="48898">
                  <c:v>-1.6806722689075499E-3</c:v>
                </c:pt>
                <c:pt idx="48899">
                  <c:v>-1.6806722689075499E-3</c:v>
                </c:pt>
                <c:pt idx="48900">
                  <c:v>-1.6806722689075499E-3</c:v>
                </c:pt>
                <c:pt idx="48901">
                  <c:v>-1.6806722689075499E-3</c:v>
                </c:pt>
                <c:pt idx="48902">
                  <c:v>-1.6806722689075499E-3</c:v>
                </c:pt>
                <c:pt idx="48903">
                  <c:v>-1.6806722689075499E-3</c:v>
                </c:pt>
                <c:pt idx="48904">
                  <c:v>-1.6806722689075499E-3</c:v>
                </c:pt>
                <c:pt idx="48905">
                  <c:v>-1.6806722689075499E-3</c:v>
                </c:pt>
                <c:pt idx="48906">
                  <c:v>-1.6806722689075499E-3</c:v>
                </c:pt>
                <c:pt idx="48907">
                  <c:v>-1.6806722689075499E-3</c:v>
                </c:pt>
                <c:pt idx="48908">
                  <c:v>-1.6806722689075499E-3</c:v>
                </c:pt>
                <c:pt idx="48909">
                  <c:v>-1.6806722689075499E-3</c:v>
                </c:pt>
                <c:pt idx="48910">
                  <c:v>-1.6806722689075499E-3</c:v>
                </c:pt>
                <c:pt idx="48911">
                  <c:v>-1.6806722689075499E-3</c:v>
                </c:pt>
                <c:pt idx="48912">
                  <c:v>-2.5210084033613299E-3</c:v>
                </c:pt>
                <c:pt idx="48913">
                  <c:v>-2.5210084033613299E-3</c:v>
                </c:pt>
                <c:pt idx="48914">
                  <c:v>-2.5210084033613299E-3</c:v>
                </c:pt>
                <c:pt idx="48915">
                  <c:v>-2.5210084033613299E-3</c:v>
                </c:pt>
                <c:pt idx="48916">
                  <c:v>-2.5210084033613299E-3</c:v>
                </c:pt>
                <c:pt idx="48917">
                  <c:v>-2.5210084033613299E-3</c:v>
                </c:pt>
                <c:pt idx="48918">
                  <c:v>-2.5210084033613299E-3</c:v>
                </c:pt>
                <c:pt idx="48919">
                  <c:v>-2.5210084033613299E-3</c:v>
                </c:pt>
                <c:pt idx="48920">
                  <c:v>-2.5210084033613299E-3</c:v>
                </c:pt>
                <c:pt idx="48921">
                  <c:v>-2.5210084033613299E-3</c:v>
                </c:pt>
                <c:pt idx="48922">
                  <c:v>-2.5210084033613299E-3</c:v>
                </c:pt>
                <c:pt idx="48923">
                  <c:v>-2.5210084033613299E-3</c:v>
                </c:pt>
                <c:pt idx="48924">
                  <c:v>-2.5210084033613299E-3</c:v>
                </c:pt>
                <c:pt idx="48925">
                  <c:v>-2.5210084033613299E-3</c:v>
                </c:pt>
                <c:pt idx="48926">
                  <c:v>-2.5210084033613299E-3</c:v>
                </c:pt>
                <c:pt idx="48927">
                  <c:v>-2.5210084033613299E-3</c:v>
                </c:pt>
                <c:pt idx="48928">
                  <c:v>-2.5210084033613299E-3</c:v>
                </c:pt>
                <c:pt idx="48929">
                  <c:v>-2.5210084033613299E-3</c:v>
                </c:pt>
                <c:pt idx="48930">
                  <c:v>-2.5210084033613299E-3</c:v>
                </c:pt>
                <c:pt idx="48931">
                  <c:v>-2.5210084033613299E-3</c:v>
                </c:pt>
                <c:pt idx="48932">
                  <c:v>-2.5210084033613299E-3</c:v>
                </c:pt>
                <c:pt idx="48933">
                  <c:v>-2.5210084033613299E-3</c:v>
                </c:pt>
                <c:pt idx="48934">
                  <c:v>-2.5210084033613299E-3</c:v>
                </c:pt>
                <c:pt idx="48935">
                  <c:v>-2.5210084033613299E-3</c:v>
                </c:pt>
                <c:pt idx="48936">
                  <c:v>-2.5210084033613299E-3</c:v>
                </c:pt>
                <c:pt idx="48937">
                  <c:v>-2.5210084033613299E-3</c:v>
                </c:pt>
                <c:pt idx="48938">
                  <c:v>-2.5210084033613299E-3</c:v>
                </c:pt>
                <c:pt idx="48939">
                  <c:v>-2.5210084033613299E-3</c:v>
                </c:pt>
                <c:pt idx="48940">
                  <c:v>-2.5210084033613299E-3</c:v>
                </c:pt>
                <c:pt idx="48941">
                  <c:v>-2.5210084033613299E-3</c:v>
                </c:pt>
                <c:pt idx="48942">
                  <c:v>-2.5210084033613299E-3</c:v>
                </c:pt>
                <c:pt idx="48943">
                  <c:v>-2.5210084033613299E-3</c:v>
                </c:pt>
                <c:pt idx="48944">
                  <c:v>-2.5210084033613299E-3</c:v>
                </c:pt>
                <c:pt idx="48945">
                  <c:v>-2.5210084033613299E-3</c:v>
                </c:pt>
                <c:pt idx="48946">
                  <c:v>-2.5210084033613299E-3</c:v>
                </c:pt>
                <c:pt idx="48947">
                  <c:v>-2.5210084033613299E-3</c:v>
                </c:pt>
                <c:pt idx="48948">
                  <c:v>-2.5210084033613299E-3</c:v>
                </c:pt>
                <c:pt idx="48949">
                  <c:v>-2.5210084033613299E-3</c:v>
                </c:pt>
                <c:pt idx="48950">
                  <c:v>-2.5210084033613299E-3</c:v>
                </c:pt>
                <c:pt idx="48951">
                  <c:v>-2.5210084033613299E-3</c:v>
                </c:pt>
                <c:pt idx="48952">
                  <c:v>-2.5210084033613299E-3</c:v>
                </c:pt>
                <c:pt idx="48953">
                  <c:v>-2.5210084033613299E-3</c:v>
                </c:pt>
                <c:pt idx="48954">
                  <c:v>-2.5210084033613299E-3</c:v>
                </c:pt>
                <c:pt idx="48955">
                  <c:v>-2.5210084033613299E-3</c:v>
                </c:pt>
                <c:pt idx="48956">
                  <c:v>-2.5210084033613299E-3</c:v>
                </c:pt>
                <c:pt idx="48957">
                  <c:v>-2.5210084033613299E-3</c:v>
                </c:pt>
                <c:pt idx="48958">
                  <c:v>-2.5210084033613299E-3</c:v>
                </c:pt>
                <c:pt idx="48959">
                  <c:v>-2.5210084033613299E-3</c:v>
                </c:pt>
                <c:pt idx="48960">
                  <c:v>-2.5210084033613299E-3</c:v>
                </c:pt>
                <c:pt idx="48961">
                  <c:v>-3.3613445378151102E-3</c:v>
                </c:pt>
                <c:pt idx="48962">
                  <c:v>-3.3613445378151102E-3</c:v>
                </c:pt>
                <c:pt idx="48963">
                  <c:v>-3.3613445378151102E-3</c:v>
                </c:pt>
                <c:pt idx="48964">
                  <c:v>-3.3613445378151102E-3</c:v>
                </c:pt>
                <c:pt idx="48965">
                  <c:v>-3.3613445378151102E-3</c:v>
                </c:pt>
                <c:pt idx="48966">
                  <c:v>-3.3613445378151102E-3</c:v>
                </c:pt>
                <c:pt idx="48967">
                  <c:v>-3.3613445378151102E-3</c:v>
                </c:pt>
                <c:pt idx="48968">
                  <c:v>-3.3613445378151102E-3</c:v>
                </c:pt>
                <c:pt idx="48969">
                  <c:v>-3.3613445378151102E-3</c:v>
                </c:pt>
                <c:pt idx="48970">
                  <c:v>-3.3613445378151102E-3</c:v>
                </c:pt>
                <c:pt idx="48971">
                  <c:v>-3.3613445378151102E-3</c:v>
                </c:pt>
                <c:pt idx="48972">
                  <c:v>-3.3613445378151102E-3</c:v>
                </c:pt>
                <c:pt idx="48973">
                  <c:v>-3.3613445378151102E-3</c:v>
                </c:pt>
                <c:pt idx="48974">
                  <c:v>-3.3613445378151102E-3</c:v>
                </c:pt>
                <c:pt idx="48975">
                  <c:v>-3.3613445378151102E-3</c:v>
                </c:pt>
                <c:pt idx="48976">
                  <c:v>-3.3613445378151102E-3</c:v>
                </c:pt>
                <c:pt idx="48977">
                  <c:v>-3.3613445378151102E-3</c:v>
                </c:pt>
                <c:pt idx="48978">
                  <c:v>-3.3613445378151102E-3</c:v>
                </c:pt>
                <c:pt idx="48979">
                  <c:v>-3.3613445378151102E-3</c:v>
                </c:pt>
                <c:pt idx="48980">
                  <c:v>-3.3613445378151102E-3</c:v>
                </c:pt>
                <c:pt idx="48981">
                  <c:v>-3.3613445378151102E-3</c:v>
                </c:pt>
                <c:pt idx="48982">
                  <c:v>-3.3613445378151102E-3</c:v>
                </c:pt>
                <c:pt idx="48983">
                  <c:v>-3.3613445378151102E-3</c:v>
                </c:pt>
                <c:pt idx="48984">
                  <c:v>-3.3613445378151102E-3</c:v>
                </c:pt>
                <c:pt idx="48985">
                  <c:v>-3.3613445378151102E-3</c:v>
                </c:pt>
                <c:pt idx="48986">
                  <c:v>-3.3613445378151102E-3</c:v>
                </c:pt>
                <c:pt idx="48987">
                  <c:v>-3.3613445378151102E-3</c:v>
                </c:pt>
                <c:pt idx="48988">
                  <c:v>-3.3613445378151102E-3</c:v>
                </c:pt>
                <c:pt idx="48989">
                  <c:v>-3.3613445378151102E-3</c:v>
                </c:pt>
                <c:pt idx="48990">
                  <c:v>-3.3613445378151102E-3</c:v>
                </c:pt>
                <c:pt idx="48991">
                  <c:v>-3.3613445378151102E-3</c:v>
                </c:pt>
                <c:pt idx="48992">
                  <c:v>-3.3613445378151102E-3</c:v>
                </c:pt>
                <c:pt idx="48993">
                  <c:v>-3.3613445378151102E-3</c:v>
                </c:pt>
                <c:pt idx="48994">
                  <c:v>-3.3613445378151102E-3</c:v>
                </c:pt>
                <c:pt idx="48995">
                  <c:v>-3.3613445378151102E-3</c:v>
                </c:pt>
                <c:pt idx="48996">
                  <c:v>-3.3613445378151102E-3</c:v>
                </c:pt>
                <c:pt idx="48997">
                  <c:v>-3.3613445378151102E-3</c:v>
                </c:pt>
                <c:pt idx="48998">
                  <c:v>-3.3613445378151102E-3</c:v>
                </c:pt>
                <c:pt idx="48999">
                  <c:v>-3.3613445378151102E-3</c:v>
                </c:pt>
                <c:pt idx="49000">
                  <c:v>-3.3613445378151102E-3</c:v>
                </c:pt>
                <c:pt idx="49001">
                  <c:v>-3.3613445378151102E-3</c:v>
                </c:pt>
                <c:pt idx="49002">
                  <c:v>-3.3613445378151102E-3</c:v>
                </c:pt>
                <c:pt idx="49003">
                  <c:v>-3.3613445378151102E-3</c:v>
                </c:pt>
                <c:pt idx="49004">
                  <c:v>-3.3613445378151102E-3</c:v>
                </c:pt>
                <c:pt idx="49005">
                  <c:v>-3.3613445378151102E-3</c:v>
                </c:pt>
                <c:pt idx="49006">
                  <c:v>-3.3613445378151102E-3</c:v>
                </c:pt>
                <c:pt idx="49007">
                  <c:v>-3.3613445378151102E-3</c:v>
                </c:pt>
                <c:pt idx="49008">
                  <c:v>-3.3613445378151102E-3</c:v>
                </c:pt>
                <c:pt idx="49009">
                  <c:v>-3.3613445378151102E-3</c:v>
                </c:pt>
                <c:pt idx="49010">
                  <c:v>-3.3613445378151102E-3</c:v>
                </c:pt>
                <c:pt idx="49011">
                  <c:v>-3.3613445378151102E-3</c:v>
                </c:pt>
                <c:pt idx="49012">
                  <c:v>-3.3613445378151102E-3</c:v>
                </c:pt>
                <c:pt idx="49013">
                  <c:v>-3.3613445378151102E-3</c:v>
                </c:pt>
                <c:pt idx="49014">
                  <c:v>-3.3613445378151102E-3</c:v>
                </c:pt>
                <c:pt idx="49015">
                  <c:v>-3.3613445378151102E-3</c:v>
                </c:pt>
                <c:pt idx="49016">
                  <c:v>-3.3613445378151102E-3</c:v>
                </c:pt>
                <c:pt idx="49017">
                  <c:v>-3.3613445378151102E-3</c:v>
                </c:pt>
                <c:pt idx="49018">
                  <c:v>-3.3613445378151102E-3</c:v>
                </c:pt>
                <c:pt idx="49019">
                  <c:v>-3.3613445378151102E-3</c:v>
                </c:pt>
                <c:pt idx="49020">
                  <c:v>-3.3613445378151102E-3</c:v>
                </c:pt>
                <c:pt idx="49021">
                  <c:v>-3.3613445378151102E-3</c:v>
                </c:pt>
                <c:pt idx="49022">
                  <c:v>-3.3613445378151102E-3</c:v>
                </c:pt>
                <c:pt idx="49023">
                  <c:v>-3.3613445378151102E-3</c:v>
                </c:pt>
                <c:pt idx="49024">
                  <c:v>-3.3613445378151102E-3</c:v>
                </c:pt>
                <c:pt idx="49025">
                  <c:v>-3.3613445378151102E-3</c:v>
                </c:pt>
                <c:pt idx="49026">
                  <c:v>-3.3613445378151102E-3</c:v>
                </c:pt>
                <c:pt idx="49027">
                  <c:v>-3.3613445378151102E-3</c:v>
                </c:pt>
                <c:pt idx="49028">
                  <c:v>-3.3613445378151102E-3</c:v>
                </c:pt>
                <c:pt idx="49029">
                  <c:v>-3.3613445378151102E-3</c:v>
                </c:pt>
                <c:pt idx="49030">
                  <c:v>-3.3613445378151102E-3</c:v>
                </c:pt>
                <c:pt idx="49031">
                  <c:v>-3.3613445378151102E-3</c:v>
                </c:pt>
                <c:pt idx="49032">
                  <c:v>-3.3613445378151102E-3</c:v>
                </c:pt>
                <c:pt idx="49033">
                  <c:v>-3.3613445378151102E-3</c:v>
                </c:pt>
                <c:pt idx="49034">
                  <c:v>-3.3613445378151102E-3</c:v>
                </c:pt>
                <c:pt idx="49035">
                  <c:v>-3.3613445378151102E-3</c:v>
                </c:pt>
                <c:pt idx="49036">
                  <c:v>-3.3613445378151102E-3</c:v>
                </c:pt>
                <c:pt idx="49037">
                  <c:v>-3.3613445378151102E-3</c:v>
                </c:pt>
                <c:pt idx="49038">
                  <c:v>-3.3613445378151102E-3</c:v>
                </c:pt>
                <c:pt idx="49039">
                  <c:v>-3.3613445378151102E-3</c:v>
                </c:pt>
                <c:pt idx="49040">
                  <c:v>-3.3613445378151102E-3</c:v>
                </c:pt>
                <c:pt idx="49041">
                  <c:v>-3.3613445378151102E-3</c:v>
                </c:pt>
                <c:pt idx="49042">
                  <c:v>-3.3613445378151102E-3</c:v>
                </c:pt>
                <c:pt idx="49043">
                  <c:v>-3.3613445378151102E-3</c:v>
                </c:pt>
                <c:pt idx="49044">
                  <c:v>-3.3613445378151102E-3</c:v>
                </c:pt>
                <c:pt idx="49045">
                  <c:v>-3.3613445378151102E-3</c:v>
                </c:pt>
                <c:pt idx="49046">
                  <c:v>-3.3613445378151102E-3</c:v>
                </c:pt>
                <c:pt idx="49047">
                  <c:v>-3.3613445378151102E-3</c:v>
                </c:pt>
                <c:pt idx="49048">
                  <c:v>-3.3613445378151102E-3</c:v>
                </c:pt>
                <c:pt idx="49049">
                  <c:v>-3.3613445378151102E-3</c:v>
                </c:pt>
                <c:pt idx="49050">
                  <c:v>-3.3613445378151102E-3</c:v>
                </c:pt>
                <c:pt idx="49051">
                  <c:v>-3.3613445378151102E-3</c:v>
                </c:pt>
                <c:pt idx="49052">
                  <c:v>-3.3613445378151102E-3</c:v>
                </c:pt>
                <c:pt idx="49053">
                  <c:v>-3.3613445378151102E-3</c:v>
                </c:pt>
                <c:pt idx="49054">
                  <c:v>-3.3613445378151102E-3</c:v>
                </c:pt>
                <c:pt idx="49055">
                  <c:v>-3.3613445378151102E-3</c:v>
                </c:pt>
                <c:pt idx="49056">
                  <c:v>-3.3613445378151102E-3</c:v>
                </c:pt>
                <c:pt idx="49057">
                  <c:v>-3.3613445378151102E-3</c:v>
                </c:pt>
                <c:pt idx="49058">
                  <c:v>-3.3613445378151102E-3</c:v>
                </c:pt>
                <c:pt idx="49059">
                  <c:v>-3.3613445378151102E-3</c:v>
                </c:pt>
                <c:pt idx="49060">
                  <c:v>-3.3613445378151102E-3</c:v>
                </c:pt>
                <c:pt idx="49061">
                  <c:v>-3.3613445378151102E-3</c:v>
                </c:pt>
                <c:pt idx="49062">
                  <c:v>-3.3613445378151102E-3</c:v>
                </c:pt>
                <c:pt idx="49063">
                  <c:v>-3.3613445378151102E-3</c:v>
                </c:pt>
                <c:pt idx="49064">
                  <c:v>-3.3613445378151102E-3</c:v>
                </c:pt>
                <c:pt idx="49065">
                  <c:v>-3.3613445378151102E-3</c:v>
                </c:pt>
                <c:pt idx="49066">
                  <c:v>-3.3613445378151102E-3</c:v>
                </c:pt>
                <c:pt idx="49067">
                  <c:v>-3.3613445378151102E-3</c:v>
                </c:pt>
                <c:pt idx="49068">
                  <c:v>-3.3613445378151102E-3</c:v>
                </c:pt>
                <c:pt idx="49069">
                  <c:v>-3.3613445378151102E-3</c:v>
                </c:pt>
                <c:pt idx="49070">
                  <c:v>-3.3613445378151102E-3</c:v>
                </c:pt>
                <c:pt idx="49071">
                  <c:v>-3.3613445378151102E-3</c:v>
                </c:pt>
                <c:pt idx="49072">
                  <c:v>-3.3613445378151102E-3</c:v>
                </c:pt>
                <c:pt idx="49073">
                  <c:v>-3.3613445378151102E-3</c:v>
                </c:pt>
                <c:pt idx="49074">
                  <c:v>-3.3613445378151102E-3</c:v>
                </c:pt>
                <c:pt idx="49075">
                  <c:v>-3.3613445378151102E-3</c:v>
                </c:pt>
                <c:pt idx="49076">
                  <c:v>-3.3613445378151102E-3</c:v>
                </c:pt>
                <c:pt idx="49077">
                  <c:v>-3.3613445378151102E-3</c:v>
                </c:pt>
                <c:pt idx="49078">
                  <c:v>-3.3613445378151102E-3</c:v>
                </c:pt>
                <c:pt idx="49079">
                  <c:v>-3.3613445378151102E-3</c:v>
                </c:pt>
                <c:pt idx="49080">
                  <c:v>-3.3613445378151102E-3</c:v>
                </c:pt>
                <c:pt idx="49081">
                  <c:v>-3.3613445378151102E-3</c:v>
                </c:pt>
                <c:pt idx="49082">
                  <c:v>-3.3613445378151102E-3</c:v>
                </c:pt>
                <c:pt idx="49083">
                  <c:v>-3.3613445378151102E-3</c:v>
                </c:pt>
                <c:pt idx="49084">
                  <c:v>-3.3613445378151102E-3</c:v>
                </c:pt>
                <c:pt idx="49085">
                  <c:v>-3.3613445378151102E-3</c:v>
                </c:pt>
                <c:pt idx="49086">
                  <c:v>-3.3613445378151102E-3</c:v>
                </c:pt>
                <c:pt idx="49087">
                  <c:v>-3.3613445378151102E-3</c:v>
                </c:pt>
                <c:pt idx="49088">
                  <c:v>-3.3613445378151102E-3</c:v>
                </c:pt>
                <c:pt idx="49089">
                  <c:v>-3.3613445378151102E-3</c:v>
                </c:pt>
                <c:pt idx="49090">
                  <c:v>-3.3613445378151102E-3</c:v>
                </c:pt>
                <c:pt idx="49091">
                  <c:v>-3.3613445378151102E-3</c:v>
                </c:pt>
                <c:pt idx="49092">
                  <c:v>-3.3613445378151102E-3</c:v>
                </c:pt>
                <c:pt idx="49093">
                  <c:v>-3.3613445378151102E-3</c:v>
                </c:pt>
                <c:pt idx="49094">
                  <c:v>-3.3613445378151102E-3</c:v>
                </c:pt>
                <c:pt idx="49095">
                  <c:v>-3.3613445378151102E-3</c:v>
                </c:pt>
                <c:pt idx="49096">
                  <c:v>-3.3613445378151102E-3</c:v>
                </c:pt>
                <c:pt idx="49097">
                  <c:v>-3.3613445378151102E-3</c:v>
                </c:pt>
                <c:pt idx="49098">
                  <c:v>-3.3613445378151102E-3</c:v>
                </c:pt>
                <c:pt idx="49099">
                  <c:v>-3.3613445378151102E-3</c:v>
                </c:pt>
                <c:pt idx="49100">
                  <c:v>-3.3613445378151102E-3</c:v>
                </c:pt>
                <c:pt idx="49101">
                  <c:v>-3.3613445378151102E-3</c:v>
                </c:pt>
                <c:pt idx="49102">
                  <c:v>-3.3613445378151102E-3</c:v>
                </c:pt>
                <c:pt idx="49103">
                  <c:v>-3.3613445378151102E-3</c:v>
                </c:pt>
                <c:pt idx="49104">
                  <c:v>-3.3613445378151102E-3</c:v>
                </c:pt>
                <c:pt idx="49105">
                  <c:v>-3.3613445378151102E-3</c:v>
                </c:pt>
                <c:pt idx="49106">
                  <c:v>-3.3613445378151102E-3</c:v>
                </c:pt>
                <c:pt idx="49107">
                  <c:v>-3.3613445378151102E-3</c:v>
                </c:pt>
                <c:pt idx="49108">
                  <c:v>-3.3613445378151102E-3</c:v>
                </c:pt>
                <c:pt idx="49109">
                  <c:v>-3.3613445378151102E-3</c:v>
                </c:pt>
                <c:pt idx="49110">
                  <c:v>-3.3613445378151102E-3</c:v>
                </c:pt>
                <c:pt idx="49111">
                  <c:v>-3.3613445378151102E-3</c:v>
                </c:pt>
                <c:pt idx="49112">
                  <c:v>-3.3613445378151102E-3</c:v>
                </c:pt>
                <c:pt idx="49113">
                  <c:v>-3.3613445378151102E-3</c:v>
                </c:pt>
                <c:pt idx="49114">
                  <c:v>-3.3613445378151102E-3</c:v>
                </c:pt>
                <c:pt idx="49115">
                  <c:v>-3.3613445378151102E-3</c:v>
                </c:pt>
                <c:pt idx="49116">
                  <c:v>-3.3613445378151102E-3</c:v>
                </c:pt>
                <c:pt idx="49117">
                  <c:v>-3.3613445378151102E-3</c:v>
                </c:pt>
                <c:pt idx="49118">
                  <c:v>-3.3613445378151102E-3</c:v>
                </c:pt>
                <c:pt idx="49119">
                  <c:v>-3.3613445378151102E-3</c:v>
                </c:pt>
                <c:pt idx="49120">
                  <c:v>-3.3613445378151102E-3</c:v>
                </c:pt>
                <c:pt idx="49121">
                  <c:v>-3.3613445378151102E-3</c:v>
                </c:pt>
                <c:pt idx="49122">
                  <c:v>-3.3613445378151102E-3</c:v>
                </c:pt>
                <c:pt idx="49123">
                  <c:v>-3.3613445378151102E-3</c:v>
                </c:pt>
                <c:pt idx="49124">
                  <c:v>-3.3613445378151102E-3</c:v>
                </c:pt>
                <c:pt idx="49125">
                  <c:v>-3.3613445378151102E-3</c:v>
                </c:pt>
                <c:pt idx="49126">
                  <c:v>-3.3613445378151102E-3</c:v>
                </c:pt>
                <c:pt idx="49127">
                  <c:v>-3.3613445378151102E-3</c:v>
                </c:pt>
                <c:pt idx="49128">
                  <c:v>-3.3613445378151102E-3</c:v>
                </c:pt>
                <c:pt idx="49129">
                  <c:v>-3.3613445378151102E-3</c:v>
                </c:pt>
                <c:pt idx="49130">
                  <c:v>-3.3613445378151102E-3</c:v>
                </c:pt>
                <c:pt idx="49131">
                  <c:v>-3.3613445378151102E-3</c:v>
                </c:pt>
                <c:pt idx="49132">
                  <c:v>-3.3613445378151102E-3</c:v>
                </c:pt>
                <c:pt idx="49133">
                  <c:v>-3.3613445378151102E-3</c:v>
                </c:pt>
                <c:pt idx="49134">
                  <c:v>-3.3613445378151102E-3</c:v>
                </c:pt>
                <c:pt idx="49135">
                  <c:v>-3.3613445378151102E-3</c:v>
                </c:pt>
                <c:pt idx="49136">
                  <c:v>-3.3613445378151102E-3</c:v>
                </c:pt>
                <c:pt idx="49137">
                  <c:v>-3.3613445378151102E-3</c:v>
                </c:pt>
                <c:pt idx="49138">
                  <c:v>-3.3613445378151102E-3</c:v>
                </c:pt>
                <c:pt idx="49139">
                  <c:v>-3.3613445378151102E-3</c:v>
                </c:pt>
                <c:pt idx="49140">
                  <c:v>-3.3613445378151102E-3</c:v>
                </c:pt>
                <c:pt idx="49141">
                  <c:v>-3.3613445378151102E-3</c:v>
                </c:pt>
                <c:pt idx="49142">
                  <c:v>-3.3613445378151102E-3</c:v>
                </c:pt>
                <c:pt idx="49143">
                  <c:v>-3.3613445378151102E-3</c:v>
                </c:pt>
                <c:pt idx="49144">
                  <c:v>-3.3613445378151102E-3</c:v>
                </c:pt>
                <c:pt idx="49145">
                  <c:v>-3.3613445378151102E-3</c:v>
                </c:pt>
                <c:pt idx="49146">
                  <c:v>-3.3613445378151102E-3</c:v>
                </c:pt>
                <c:pt idx="49147">
                  <c:v>-3.3613445378151102E-3</c:v>
                </c:pt>
                <c:pt idx="49148">
                  <c:v>-3.3613445378151102E-3</c:v>
                </c:pt>
                <c:pt idx="49149">
                  <c:v>-3.3613445378151102E-3</c:v>
                </c:pt>
                <c:pt idx="49150">
                  <c:v>-3.3613445378151102E-3</c:v>
                </c:pt>
                <c:pt idx="49151">
                  <c:v>-3.3613445378151102E-3</c:v>
                </c:pt>
                <c:pt idx="49152">
                  <c:v>-3.3613445378151102E-3</c:v>
                </c:pt>
                <c:pt idx="49153">
                  <c:v>-3.3613445378151102E-3</c:v>
                </c:pt>
                <c:pt idx="49154">
                  <c:v>-4.20168067226889E-3</c:v>
                </c:pt>
                <c:pt idx="49155">
                  <c:v>-4.20168067226889E-3</c:v>
                </c:pt>
                <c:pt idx="49156">
                  <c:v>-4.20168067226889E-3</c:v>
                </c:pt>
                <c:pt idx="49157">
                  <c:v>-4.20168067226889E-3</c:v>
                </c:pt>
                <c:pt idx="49158">
                  <c:v>-4.20168067226889E-3</c:v>
                </c:pt>
                <c:pt idx="49159">
                  <c:v>-4.20168067226889E-3</c:v>
                </c:pt>
                <c:pt idx="49160">
                  <c:v>-4.20168067226889E-3</c:v>
                </c:pt>
                <c:pt idx="49161">
                  <c:v>-4.20168067226889E-3</c:v>
                </c:pt>
                <c:pt idx="49162">
                  <c:v>-4.20168067226889E-3</c:v>
                </c:pt>
                <c:pt idx="49163">
                  <c:v>-4.20168067226889E-3</c:v>
                </c:pt>
                <c:pt idx="49164">
                  <c:v>-4.20168067226889E-3</c:v>
                </c:pt>
                <c:pt idx="49165">
                  <c:v>-4.20168067226889E-3</c:v>
                </c:pt>
                <c:pt idx="49166">
                  <c:v>-4.20168067226889E-3</c:v>
                </c:pt>
                <c:pt idx="49167">
                  <c:v>-4.20168067226889E-3</c:v>
                </c:pt>
                <c:pt idx="49168">
                  <c:v>-4.20168067226889E-3</c:v>
                </c:pt>
                <c:pt idx="49169">
                  <c:v>-4.20168067226889E-3</c:v>
                </c:pt>
                <c:pt idx="49170">
                  <c:v>-4.20168067226889E-3</c:v>
                </c:pt>
                <c:pt idx="49171">
                  <c:v>-4.20168067226889E-3</c:v>
                </c:pt>
                <c:pt idx="49172">
                  <c:v>-4.20168067226889E-3</c:v>
                </c:pt>
                <c:pt idx="49173">
                  <c:v>-4.20168067226889E-3</c:v>
                </c:pt>
                <c:pt idx="49174">
                  <c:v>-4.20168067226889E-3</c:v>
                </c:pt>
                <c:pt idx="49175">
                  <c:v>-4.20168067226889E-3</c:v>
                </c:pt>
                <c:pt idx="49176">
                  <c:v>-4.20168067226889E-3</c:v>
                </c:pt>
                <c:pt idx="49177">
                  <c:v>-4.20168067226889E-3</c:v>
                </c:pt>
                <c:pt idx="49178">
                  <c:v>-4.20168067226889E-3</c:v>
                </c:pt>
                <c:pt idx="49179">
                  <c:v>-4.20168067226889E-3</c:v>
                </c:pt>
                <c:pt idx="49180">
                  <c:v>-4.20168067226889E-3</c:v>
                </c:pt>
                <c:pt idx="49181">
                  <c:v>-4.20168067226889E-3</c:v>
                </c:pt>
                <c:pt idx="49182">
                  <c:v>-4.20168067226889E-3</c:v>
                </c:pt>
                <c:pt idx="49183">
                  <c:v>-4.20168067226889E-3</c:v>
                </c:pt>
                <c:pt idx="49184">
                  <c:v>-4.20168067226889E-3</c:v>
                </c:pt>
                <c:pt idx="49185">
                  <c:v>-4.20168067226889E-3</c:v>
                </c:pt>
                <c:pt idx="49186">
                  <c:v>-4.20168067226889E-3</c:v>
                </c:pt>
                <c:pt idx="49187">
                  <c:v>-4.20168067226889E-3</c:v>
                </c:pt>
                <c:pt idx="49188">
                  <c:v>-4.20168067226889E-3</c:v>
                </c:pt>
                <c:pt idx="49189">
                  <c:v>-4.20168067226889E-3</c:v>
                </c:pt>
                <c:pt idx="49190">
                  <c:v>-4.20168067226889E-3</c:v>
                </c:pt>
                <c:pt idx="49191">
                  <c:v>-4.20168067226889E-3</c:v>
                </c:pt>
                <c:pt idx="49192">
                  <c:v>-3.3613445378151102E-3</c:v>
                </c:pt>
                <c:pt idx="49193">
                  <c:v>-3.3613445378151102E-3</c:v>
                </c:pt>
                <c:pt idx="49194">
                  <c:v>-3.3613445378151102E-3</c:v>
                </c:pt>
                <c:pt idx="49195">
                  <c:v>-3.3613445378151102E-3</c:v>
                </c:pt>
                <c:pt idx="49196">
                  <c:v>-3.3613445378151102E-3</c:v>
                </c:pt>
                <c:pt idx="49197">
                  <c:v>-3.3613445378151102E-3</c:v>
                </c:pt>
                <c:pt idx="49198">
                  <c:v>-3.3613445378151102E-3</c:v>
                </c:pt>
                <c:pt idx="49199">
                  <c:v>-3.3613445378151102E-3</c:v>
                </c:pt>
                <c:pt idx="49200">
                  <c:v>-3.3613445378151102E-3</c:v>
                </c:pt>
                <c:pt idx="49201">
                  <c:v>-3.3613445378151102E-3</c:v>
                </c:pt>
                <c:pt idx="49202">
                  <c:v>-3.3613445378151102E-3</c:v>
                </c:pt>
                <c:pt idx="49203">
                  <c:v>-3.3613445378151102E-3</c:v>
                </c:pt>
                <c:pt idx="49204">
                  <c:v>-3.3613445378151102E-3</c:v>
                </c:pt>
                <c:pt idx="49205">
                  <c:v>-3.3613445378151102E-3</c:v>
                </c:pt>
                <c:pt idx="49206">
                  <c:v>-3.3613445378151102E-3</c:v>
                </c:pt>
                <c:pt idx="49207">
                  <c:v>-3.3613445378151102E-3</c:v>
                </c:pt>
                <c:pt idx="49208">
                  <c:v>-3.3613445378151102E-3</c:v>
                </c:pt>
                <c:pt idx="49209">
                  <c:v>-3.3613445378151102E-3</c:v>
                </c:pt>
                <c:pt idx="49210">
                  <c:v>-3.3613445378151102E-3</c:v>
                </c:pt>
                <c:pt idx="49211">
                  <c:v>-3.3613445378151102E-3</c:v>
                </c:pt>
                <c:pt idx="49212">
                  <c:v>-3.3613445378151102E-3</c:v>
                </c:pt>
                <c:pt idx="49213">
                  <c:v>-3.3613445378151102E-3</c:v>
                </c:pt>
                <c:pt idx="49214">
                  <c:v>-3.3613445378151102E-3</c:v>
                </c:pt>
                <c:pt idx="49215">
                  <c:v>-3.3613445378151102E-3</c:v>
                </c:pt>
                <c:pt idx="49216">
                  <c:v>-3.3613445378151102E-3</c:v>
                </c:pt>
                <c:pt idx="49217">
                  <c:v>-3.3613445378151102E-3</c:v>
                </c:pt>
                <c:pt idx="49218">
                  <c:v>-3.3613445378151102E-3</c:v>
                </c:pt>
                <c:pt idx="49219">
                  <c:v>-3.3613445378151102E-3</c:v>
                </c:pt>
                <c:pt idx="49220">
                  <c:v>-3.3613445378151102E-3</c:v>
                </c:pt>
                <c:pt idx="49221">
                  <c:v>-3.3613445378151102E-3</c:v>
                </c:pt>
                <c:pt idx="49222">
                  <c:v>-3.3613445378151102E-3</c:v>
                </c:pt>
                <c:pt idx="49223">
                  <c:v>-3.3613445378151102E-3</c:v>
                </c:pt>
                <c:pt idx="49224">
                  <c:v>-3.3613445378151102E-3</c:v>
                </c:pt>
                <c:pt idx="49225">
                  <c:v>-3.3613445378151102E-3</c:v>
                </c:pt>
                <c:pt idx="49226">
                  <c:v>-3.3613445378151102E-3</c:v>
                </c:pt>
                <c:pt idx="49227">
                  <c:v>-3.3613445378151102E-3</c:v>
                </c:pt>
                <c:pt idx="49228">
                  <c:v>-3.3613445378151102E-3</c:v>
                </c:pt>
                <c:pt idx="49229">
                  <c:v>-3.3613445378151102E-3</c:v>
                </c:pt>
                <c:pt idx="49230">
                  <c:v>-3.3613445378151102E-3</c:v>
                </c:pt>
                <c:pt idx="49231">
                  <c:v>-3.3613445378151102E-3</c:v>
                </c:pt>
                <c:pt idx="49232">
                  <c:v>-3.3613445378151102E-3</c:v>
                </c:pt>
                <c:pt idx="49233">
                  <c:v>-3.3613445378151102E-3</c:v>
                </c:pt>
                <c:pt idx="49234">
                  <c:v>-3.3613445378151102E-3</c:v>
                </c:pt>
                <c:pt idx="49235">
                  <c:v>-3.3613445378151102E-3</c:v>
                </c:pt>
                <c:pt idx="49236">
                  <c:v>-3.3613445378151102E-3</c:v>
                </c:pt>
                <c:pt idx="49237">
                  <c:v>-3.3613445378151102E-3</c:v>
                </c:pt>
                <c:pt idx="49238">
                  <c:v>-3.3613445378151102E-3</c:v>
                </c:pt>
                <c:pt idx="49239">
                  <c:v>-3.3613445378151102E-3</c:v>
                </c:pt>
                <c:pt idx="49240">
                  <c:v>-3.3613445378151102E-3</c:v>
                </c:pt>
                <c:pt idx="49241">
                  <c:v>-3.3613445378151102E-3</c:v>
                </c:pt>
                <c:pt idx="49242">
                  <c:v>-3.3613445378151102E-3</c:v>
                </c:pt>
                <c:pt idx="49243">
                  <c:v>-3.3613445378151102E-3</c:v>
                </c:pt>
                <c:pt idx="49244">
                  <c:v>-3.3613445378151102E-3</c:v>
                </c:pt>
                <c:pt idx="49245">
                  <c:v>-3.3613445378151102E-3</c:v>
                </c:pt>
                <c:pt idx="49246">
                  <c:v>-3.3613445378151102E-3</c:v>
                </c:pt>
                <c:pt idx="49247">
                  <c:v>-3.3613445378151102E-3</c:v>
                </c:pt>
                <c:pt idx="49248">
                  <c:v>-3.3613445378151102E-3</c:v>
                </c:pt>
                <c:pt idx="49249">
                  <c:v>-3.3613445378151102E-3</c:v>
                </c:pt>
                <c:pt idx="49250">
                  <c:v>-3.3613445378151102E-3</c:v>
                </c:pt>
                <c:pt idx="49251">
                  <c:v>-3.3613445378151102E-3</c:v>
                </c:pt>
                <c:pt idx="49252">
                  <c:v>-3.3613445378151102E-3</c:v>
                </c:pt>
                <c:pt idx="49253">
                  <c:v>-3.3613445378151102E-3</c:v>
                </c:pt>
                <c:pt idx="49254">
                  <c:v>-3.3613445378151102E-3</c:v>
                </c:pt>
                <c:pt idx="49255">
                  <c:v>-3.3613445378151102E-3</c:v>
                </c:pt>
                <c:pt idx="49256">
                  <c:v>-3.3613445378151102E-3</c:v>
                </c:pt>
                <c:pt idx="49257">
                  <c:v>-3.3613445378151102E-3</c:v>
                </c:pt>
                <c:pt idx="49258">
                  <c:v>-3.3613445378151102E-3</c:v>
                </c:pt>
                <c:pt idx="49259">
                  <c:v>-3.3613445378151102E-3</c:v>
                </c:pt>
                <c:pt idx="49260">
                  <c:v>-3.3613445378151102E-3</c:v>
                </c:pt>
                <c:pt idx="49261">
                  <c:v>-3.3613445378151102E-3</c:v>
                </c:pt>
                <c:pt idx="49262">
                  <c:v>-3.3613445378151102E-3</c:v>
                </c:pt>
                <c:pt idx="49263">
                  <c:v>-3.3613445378151102E-3</c:v>
                </c:pt>
                <c:pt idx="49264">
                  <c:v>-3.3613445378151102E-3</c:v>
                </c:pt>
                <c:pt idx="49265">
                  <c:v>-3.3613445378151102E-3</c:v>
                </c:pt>
                <c:pt idx="49266">
                  <c:v>-3.3613445378151102E-3</c:v>
                </c:pt>
                <c:pt idx="49267">
                  <c:v>-3.3613445378151102E-3</c:v>
                </c:pt>
                <c:pt idx="49268">
                  <c:v>-3.3613445378151102E-3</c:v>
                </c:pt>
                <c:pt idx="49269">
                  <c:v>-3.3613445378151102E-3</c:v>
                </c:pt>
                <c:pt idx="49270">
                  <c:v>-3.3613445378151102E-3</c:v>
                </c:pt>
                <c:pt idx="49271">
                  <c:v>-3.3613445378151102E-3</c:v>
                </c:pt>
                <c:pt idx="49272">
                  <c:v>-3.3613445378151102E-3</c:v>
                </c:pt>
                <c:pt idx="49273">
                  <c:v>-3.3613445378151102E-3</c:v>
                </c:pt>
                <c:pt idx="49274">
                  <c:v>-3.3613445378151102E-3</c:v>
                </c:pt>
                <c:pt idx="49275">
                  <c:v>-3.3613445378151102E-3</c:v>
                </c:pt>
                <c:pt idx="49276">
                  <c:v>-3.3613445378151102E-3</c:v>
                </c:pt>
                <c:pt idx="49277">
                  <c:v>-3.3613445378151102E-3</c:v>
                </c:pt>
                <c:pt idx="49278">
                  <c:v>-3.3613445378151102E-3</c:v>
                </c:pt>
                <c:pt idx="49279">
                  <c:v>-3.3613445378151102E-3</c:v>
                </c:pt>
                <c:pt idx="49280">
                  <c:v>-3.3613445378151102E-3</c:v>
                </c:pt>
                <c:pt idx="49281">
                  <c:v>-3.3613445378151102E-3</c:v>
                </c:pt>
                <c:pt idx="49282">
                  <c:v>-3.3613445378151102E-3</c:v>
                </c:pt>
                <c:pt idx="49283">
                  <c:v>-3.3613445378151102E-3</c:v>
                </c:pt>
                <c:pt idx="49284">
                  <c:v>-3.3613445378151102E-3</c:v>
                </c:pt>
                <c:pt idx="49285">
                  <c:v>-3.3613445378151102E-3</c:v>
                </c:pt>
                <c:pt idx="49286">
                  <c:v>-3.3613445378151102E-3</c:v>
                </c:pt>
                <c:pt idx="49287">
                  <c:v>-3.3613445378151102E-3</c:v>
                </c:pt>
                <c:pt idx="49288">
                  <c:v>-3.3613445378151102E-3</c:v>
                </c:pt>
                <c:pt idx="49289">
                  <c:v>-3.3613445378151102E-3</c:v>
                </c:pt>
                <c:pt idx="49290">
                  <c:v>-3.3613445378151102E-3</c:v>
                </c:pt>
                <c:pt idx="49291">
                  <c:v>-3.3613445378151102E-3</c:v>
                </c:pt>
                <c:pt idx="49292">
                  <c:v>-3.3613445378151102E-3</c:v>
                </c:pt>
                <c:pt idx="49293">
                  <c:v>-3.3613445378151102E-3</c:v>
                </c:pt>
                <c:pt idx="49294">
                  <c:v>-3.3613445378151102E-3</c:v>
                </c:pt>
                <c:pt idx="49295">
                  <c:v>-3.3613445378151102E-3</c:v>
                </c:pt>
                <c:pt idx="49296">
                  <c:v>-3.3613445378151102E-3</c:v>
                </c:pt>
                <c:pt idx="49297">
                  <c:v>-3.3613445378151102E-3</c:v>
                </c:pt>
                <c:pt idx="49298">
                  <c:v>-3.3613445378151102E-3</c:v>
                </c:pt>
                <c:pt idx="49299">
                  <c:v>-3.3613445378151102E-3</c:v>
                </c:pt>
                <c:pt idx="49300">
                  <c:v>-3.3613445378151102E-3</c:v>
                </c:pt>
                <c:pt idx="49301">
                  <c:v>-3.3613445378151102E-3</c:v>
                </c:pt>
                <c:pt idx="49302">
                  <c:v>-3.3613445378151102E-3</c:v>
                </c:pt>
                <c:pt idx="49303">
                  <c:v>-3.3613445378151102E-3</c:v>
                </c:pt>
                <c:pt idx="49304">
                  <c:v>-3.3613445378151102E-3</c:v>
                </c:pt>
                <c:pt idx="49305">
                  <c:v>-3.3613445378151102E-3</c:v>
                </c:pt>
                <c:pt idx="49306">
                  <c:v>-3.3613445378151102E-3</c:v>
                </c:pt>
                <c:pt idx="49307">
                  <c:v>-3.3613445378151102E-3</c:v>
                </c:pt>
                <c:pt idx="49308">
                  <c:v>-3.3613445378151102E-3</c:v>
                </c:pt>
                <c:pt idx="49309">
                  <c:v>-3.3613445378151102E-3</c:v>
                </c:pt>
                <c:pt idx="49310">
                  <c:v>-3.3613445378151102E-3</c:v>
                </c:pt>
                <c:pt idx="49311">
                  <c:v>-3.3613445378151102E-3</c:v>
                </c:pt>
                <c:pt idx="49312">
                  <c:v>-3.3613445378151102E-3</c:v>
                </c:pt>
                <c:pt idx="49313">
                  <c:v>-3.3613445378151102E-3</c:v>
                </c:pt>
                <c:pt idx="49314">
                  <c:v>-3.3613445378151102E-3</c:v>
                </c:pt>
                <c:pt idx="49315">
                  <c:v>-3.3613445378151102E-3</c:v>
                </c:pt>
                <c:pt idx="49316">
                  <c:v>-3.3613445378151102E-3</c:v>
                </c:pt>
                <c:pt idx="49317">
                  <c:v>-3.3613445378151102E-3</c:v>
                </c:pt>
                <c:pt idx="49318">
                  <c:v>-3.3613445378151102E-3</c:v>
                </c:pt>
                <c:pt idx="49319">
                  <c:v>-3.3613445378151102E-3</c:v>
                </c:pt>
                <c:pt idx="49320">
                  <c:v>-3.3613445378151102E-3</c:v>
                </c:pt>
                <c:pt idx="49321">
                  <c:v>-3.3613445378151102E-3</c:v>
                </c:pt>
                <c:pt idx="49322">
                  <c:v>-3.3613445378151102E-3</c:v>
                </c:pt>
                <c:pt idx="49323">
                  <c:v>-3.3613445378151102E-3</c:v>
                </c:pt>
                <c:pt idx="49324">
                  <c:v>-3.3613445378151102E-3</c:v>
                </c:pt>
                <c:pt idx="49325">
                  <c:v>-3.3613445378151102E-3</c:v>
                </c:pt>
                <c:pt idx="49326">
                  <c:v>-3.3613445378151102E-3</c:v>
                </c:pt>
                <c:pt idx="49327">
                  <c:v>-3.3613445378151102E-3</c:v>
                </c:pt>
                <c:pt idx="49328">
                  <c:v>-3.3613445378151102E-3</c:v>
                </c:pt>
                <c:pt idx="49329">
                  <c:v>-3.3613445378151102E-3</c:v>
                </c:pt>
                <c:pt idx="49330">
                  <c:v>-3.3613445378151102E-3</c:v>
                </c:pt>
                <c:pt idx="49331">
                  <c:v>-3.3613445378151102E-3</c:v>
                </c:pt>
                <c:pt idx="49332">
                  <c:v>-3.3613445378151102E-3</c:v>
                </c:pt>
                <c:pt idx="49333">
                  <c:v>-3.3613445378151102E-3</c:v>
                </c:pt>
                <c:pt idx="49334">
                  <c:v>-3.3613445378151102E-3</c:v>
                </c:pt>
                <c:pt idx="49335">
                  <c:v>-3.3613445378151102E-3</c:v>
                </c:pt>
                <c:pt idx="49336">
                  <c:v>-3.3613445378151102E-3</c:v>
                </c:pt>
                <c:pt idx="49337">
                  <c:v>-3.3613445378151102E-3</c:v>
                </c:pt>
                <c:pt idx="49338">
                  <c:v>-3.3613445378151102E-3</c:v>
                </c:pt>
                <c:pt idx="49339">
                  <c:v>-3.3613445378151102E-3</c:v>
                </c:pt>
                <c:pt idx="49340">
                  <c:v>-3.3613445378151102E-3</c:v>
                </c:pt>
                <c:pt idx="49341">
                  <c:v>-3.3613445378151102E-3</c:v>
                </c:pt>
                <c:pt idx="49342">
                  <c:v>-3.3613445378151102E-3</c:v>
                </c:pt>
                <c:pt idx="49343">
                  <c:v>-3.3613445378151102E-3</c:v>
                </c:pt>
                <c:pt idx="49344">
                  <c:v>-3.3613445378151102E-3</c:v>
                </c:pt>
                <c:pt idx="49345">
                  <c:v>-3.3613445378151102E-3</c:v>
                </c:pt>
                <c:pt idx="49346">
                  <c:v>-3.3613445378151102E-3</c:v>
                </c:pt>
                <c:pt idx="49347">
                  <c:v>-3.3613445378151102E-3</c:v>
                </c:pt>
                <c:pt idx="49348">
                  <c:v>-3.3613445378151102E-3</c:v>
                </c:pt>
                <c:pt idx="49349">
                  <c:v>-3.3613445378151102E-3</c:v>
                </c:pt>
                <c:pt idx="49350">
                  <c:v>-3.3613445378151102E-3</c:v>
                </c:pt>
                <c:pt idx="49351">
                  <c:v>-3.3613445378151102E-3</c:v>
                </c:pt>
                <c:pt idx="49352">
                  <c:v>-3.3613445378151102E-3</c:v>
                </c:pt>
                <c:pt idx="49353">
                  <c:v>-3.3613445378151102E-3</c:v>
                </c:pt>
                <c:pt idx="49354">
                  <c:v>-3.3613445378151102E-3</c:v>
                </c:pt>
                <c:pt idx="49355">
                  <c:v>-3.3613445378151102E-3</c:v>
                </c:pt>
                <c:pt idx="49356">
                  <c:v>-3.3613445378151102E-3</c:v>
                </c:pt>
                <c:pt idx="49357">
                  <c:v>-3.3613445378151102E-3</c:v>
                </c:pt>
                <c:pt idx="49358">
                  <c:v>-3.3613445378151102E-3</c:v>
                </c:pt>
                <c:pt idx="49359">
                  <c:v>-3.3613445378151102E-3</c:v>
                </c:pt>
                <c:pt idx="49360">
                  <c:v>-3.3613445378151102E-3</c:v>
                </c:pt>
                <c:pt idx="49361">
                  <c:v>-3.3613445378151102E-3</c:v>
                </c:pt>
                <c:pt idx="49362">
                  <c:v>-3.3613445378151102E-3</c:v>
                </c:pt>
                <c:pt idx="49363">
                  <c:v>-3.3613445378151102E-3</c:v>
                </c:pt>
                <c:pt idx="49364">
                  <c:v>-3.3613445378151102E-3</c:v>
                </c:pt>
                <c:pt idx="49365">
                  <c:v>-3.3613445378151102E-3</c:v>
                </c:pt>
                <c:pt idx="49366">
                  <c:v>-3.3613445378151102E-3</c:v>
                </c:pt>
                <c:pt idx="49367">
                  <c:v>-3.3613445378151102E-3</c:v>
                </c:pt>
                <c:pt idx="49368">
                  <c:v>-3.3613445378151102E-3</c:v>
                </c:pt>
                <c:pt idx="49369">
                  <c:v>-3.3613445378151102E-3</c:v>
                </c:pt>
                <c:pt idx="49370">
                  <c:v>-3.3613445378151102E-3</c:v>
                </c:pt>
                <c:pt idx="49371">
                  <c:v>-3.3613445378151102E-3</c:v>
                </c:pt>
                <c:pt idx="49372">
                  <c:v>-3.3613445378151102E-3</c:v>
                </c:pt>
                <c:pt idx="49373">
                  <c:v>-3.3613445378151102E-3</c:v>
                </c:pt>
                <c:pt idx="49374">
                  <c:v>-3.3613445378151102E-3</c:v>
                </c:pt>
                <c:pt idx="49375">
                  <c:v>-3.3613445378151102E-3</c:v>
                </c:pt>
                <c:pt idx="49376">
                  <c:v>-3.3613445378151102E-3</c:v>
                </c:pt>
                <c:pt idx="49377">
                  <c:v>-3.3613445378151102E-3</c:v>
                </c:pt>
                <c:pt idx="49378">
                  <c:v>-3.3613445378151102E-3</c:v>
                </c:pt>
                <c:pt idx="49379">
                  <c:v>-3.3613445378151102E-3</c:v>
                </c:pt>
                <c:pt idx="49380">
                  <c:v>-3.3613445378151102E-3</c:v>
                </c:pt>
                <c:pt idx="49381">
                  <c:v>-3.3613445378151102E-3</c:v>
                </c:pt>
                <c:pt idx="49382">
                  <c:v>-3.3613445378151102E-3</c:v>
                </c:pt>
                <c:pt idx="49383">
                  <c:v>-3.3613445378151102E-3</c:v>
                </c:pt>
                <c:pt idx="49384">
                  <c:v>-3.3613445378151102E-3</c:v>
                </c:pt>
                <c:pt idx="49385">
                  <c:v>-3.3613445378151102E-3</c:v>
                </c:pt>
                <c:pt idx="49386">
                  <c:v>-3.3613445378151102E-3</c:v>
                </c:pt>
                <c:pt idx="49387">
                  <c:v>-3.3613445378151102E-3</c:v>
                </c:pt>
                <c:pt idx="49388">
                  <c:v>-3.3613445378151102E-3</c:v>
                </c:pt>
                <c:pt idx="49389">
                  <c:v>-3.3613445378151102E-3</c:v>
                </c:pt>
                <c:pt idx="49390">
                  <c:v>-3.3613445378151102E-3</c:v>
                </c:pt>
                <c:pt idx="49391">
                  <c:v>-3.3613445378151102E-3</c:v>
                </c:pt>
                <c:pt idx="49392">
                  <c:v>-3.3613445378151102E-3</c:v>
                </c:pt>
                <c:pt idx="49393">
                  <c:v>-3.3613445378151102E-3</c:v>
                </c:pt>
                <c:pt idx="49394">
                  <c:v>-3.3613445378151102E-3</c:v>
                </c:pt>
                <c:pt idx="49395">
                  <c:v>-3.3613445378151102E-3</c:v>
                </c:pt>
                <c:pt idx="49396">
                  <c:v>-3.3613445378151102E-3</c:v>
                </c:pt>
                <c:pt idx="49397">
                  <c:v>-3.3613445378151102E-3</c:v>
                </c:pt>
                <c:pt idx="49398">
                  <c:v>-3.3613445378151102E-3</c:v>
                </c:pt>
                <c:pt idx="49399">
                  <c:v>-3.3613445378151102E-3</c:v>
                </c:pt>
                <c:pt idx="49400">
                  <c:v>-3.3613445378151102E-3</c:v>
                </c:pt>
                <c:pt idx="49401">
                  <c:v>-3.3613445378151102E-3</c:v>
                </c:pt>
                <c:pt idx="49402">
                  <c:v>-3.3613445378151102E-3</c:v>
                </c:pt>
                <c:pt idx="49403">
                  <c:v>-3.3613445378151102E-3</c:v>
                </c:pt>
                <c:pt idx="49404">
                  <c:v>-3.3613445378151102E-3</c:v>
                </c:pt>
                <c:pt idx="49405">
                  <c:v>-3.3613445378151102E-3</c:v>
                </c:pt>
                <c:pt idx="49406">
                  <c:v>-3.3613445378151102E-3</c:v>
                </c:pt>
                <c:pt idx="49407">
                  <c:v>-3.3613445378151102E-3</c:v>
                </c:pt>
                <c:pt idx="49408">
                  <c:v>-3.3613445378151102E-3</c:v>
                </c:pt>
                <c:pt idx="49409">
                  <c:v>-3.3613445378151102E-3</c:v>
                </c:pt>
                <c:pt idx="49410">
                  <c:v>-3.3613445378151102E-3</c:v>
                </c:pt>
                <c:pt idx="49411">
                  <c:v>-3.3613445378151102E-3</c:v>
                </c:pt>
                <c:pt idx="49412">
                  <c:v>-3.3613445378151102E-3</c:v>
                </c:pt>
                <c:pt idx="49413">
                  <c:v>-3.3613445378151102E-3</c:v>
                </c:pt>
                <c:pt idx="49414">
                  <c:v>-3.3613445378151102E-3</c:v>
                </c:pt>
                <c:pt idx="49415">
                  <c:v>-3.3613445378151102E-3</c:v>
                </c:pt>
                <c:pt idx="49416">
                  <c:v>-3.3613445378151102E-3</c:v>
                </c:pt>
                <c:pt idx="49417">
                  <c:v>-3.3613445378151102E-3</c:v>
                </c:pt>
                <c:pt idx="49418">
                  <c:v>-3.3613445378151102E-3</c:v>
                </c:pt>
                <c:pt idx="49419">
                  <c:v>-3.3613445378151102E-3</c:v>
                </c:pt>
                <c:pt idx="49420">
                  <c:v>-3.3613445378151102E-3</c:v>
                </c:pt>
                <c:pt idx="49421">
                  <c:v>-3.3613445378151102E-3</c:v>
                </c:pt>
                <c:pt idx="49422">
                  <c:v>-3.3613445378151102E-3</c:v>
                </c:pt>
                <c:pt idx="49423">
                  <c:v>-3.3613445378151102E-3</c:v>
                </c:pt>
                <c:pt idx="49424">
                  <c:v>-3.3613445378151102E-3</c:v>
                </c:pt>
                <c:pt idx="49425">
                  <c:v>-3.3613445378151102E-3</c:v>
                </c:pt>
                <c:pt idx="49426">
                  <c:v>-3.3613445378151102E-3</c:v>
                </c:pt>
                <c:pt idx="49427">
                  <c:v>-3.3613445378151102E-3</c:v>
                </c:pt>
                <c:pt idx="49428">
                  <c:v>-3.3613445378151102E-3</c:v>
                </c:pt>
                <c:pt idx="49429">
                  <c:v>-3.3613445378151102E-3</c:v>
                </c:pt>
                <c:pt idx="49430">
                  <c:v>-3.3613445378151102E-3</c:v>
                </c:pt>
                <c:pt idx="49431">
                  <c:v>-3.3613445378151102E-3</c:v>
                </c:pt>
                <c:pt idx="49432">
                  <c:v>-3.3613445378151102E-3</c:v>
                </c:pt>
                <c:pt idx="49433">
                  <c:v>-3.3613445378151102E-3</c:v>
                </c:pt>
                <c:pt idx="49434">
                  <c:v>-3.3613445378151102E-3</c:v>
                </c:pt>
                <c:pt idx="49435">
                  <c:v>-3.3613445378151102E-3</c:v>
                </c:pt>
                <c:pt idx="49436">
                  <c:v>-3.3613445378151102E-3</c:v>
                </c:pt>
                <c:pt idx="49437">
                  <c:v>-3.3613445378151102E-3</c:v>
                </c:pt>
                <c:pt idx="49438">
                  <c:v>-3.3613445378151102E-3</c:v>
                </c:pt>
                <c:pt idx="49439">
                  <c:v>-3.3613445378151102E-3</c:v>
                </c:pt>
                <c:pt idx="49440">
                  <c:v>-3.3613445378151102E-3</c:v>
                </c:pt>
                <c:pt idx="49441">
                  <c:v>-3.3613445378151102E-3</c:v>
                </c:pt>
                <c:pt idx="49442">
                  <c:v>-3.3613445378151102E-3</c:v>
                </c:pt>
                <c:pt idx="49443">
                  <c:v>-3.3613445378151102E-3</c:v>
                </c:pt>
                <c:pt idx="49444">
                  <c:v>-3.3613445378151102E-3</c:v>
                </c:pt>
                <c:pt idx="49445">
                  <c:v>-3.3613445378151102E-3</c:v>
                </c:pt>
                <c:pt idx="49446">
                  <c:v>-3.3613445378151102E-3</c:v>
                </c:pt>
                <c:pt idx="49447">
                  <c:v>-3.3613445378151102E-3</c:v>
                </c:pt>
                <c:pt idx="49448">
                  <c:v>-3.3613445378151102E-3</c:v>
                </c:pt>
                <c:pt idx="49449">
                  <c:v>-3.3613445378151102E-3</c:v>
                </c:pt>
                <c:pt idx="49450">
                  <c:v>-3.3613445378151102E-3</c:v>
                </c:pt>
                <c:pt idx="49451">
                  <c:v>-3.3613445378151102E-3</c:v>
                </c:pt>
                <c:pt idx="49452">
                  <c:v>-3.3613445378151102E-3</c:v>
                </c:pt>
                <c:pt idx="49453">
                  <c:v>-3.3613445378151102E-3</c:v>
                </c:pt>
                <c:pt idx="49454">
                  <c:v>-3.3613445378151102E-3</c:v>
                </c:pt>
                <c:pt idx="49455">
                  <c:v>-3.3613445378151102E-3</c:v>
                </c:pt>
                <c:pt idx="49456">
                  <c:v>-3.3613445378151102E-3</c:v>
                </c:pt>
                <c:pt idx="49457">
                  <c:v>-3.3613445378151102E-3</c:v>
                </c:pt>
                <c:pt idx="49458">
                  <c:v>-3.3613445378151102E-3</c:v>
                </c:pt>
                <c:pt idx="49459">
                  <c:v>-3.3613445378151102E-3</c:v>
                </c:pt>
                <c:pt idx="49460">
                  <c:v>-3.3613445378151102E-3</c:v>
                </c:pt>
                <c:pt idx="49461">
                  <c:v>-3.3613445378151102E-3</c:v>
                </c:pt>
                <c:pt idx="49462">
                  <c:v>-3.3613445378151102E-3</c:v>
                </c:pt>
                <c:pt idx="49463">
                  <c:v>-3.3613445378151102E-3</c:v>
                </c:pt>
                <c:pt idx="49464">
                  <c:v>-3.3613445378151102E-3</c:v>
                </c:pt>
                <c:pt idx="49465">
                  <c:v>-3.3613445378151102E-3</c:v>
                </c:pt>
                <c:pt idx="49466">
                  <c:v>-3.3613445378151102E-3</c:v>
                </c:pt>
                <c:pt idx="49467">
                  <c:v>-3.3613445378151102E-3</c:v>
                </c:pt>
                <c:pt idx="49468">
                  <c:v>-3.3613445378151102E-3</c:v>
                </c:pt>
                <c:pt idx="49469">
                  <c:v>-3.3613445378151102E-3</c:v>
                </c:pt>
                <c:pt idx="49470">
                  <c:v>-3.3613445378151102E-3</c:v>
                </c:pt>
                <c:pt idx="49471">
                  <c:v>-3.3613445378151102E-3</c:v>
                </c:pt>
                <c:pt idx="49472">
                  <c:v>-3.3613445378151102E-3</c:v>
                </c:pt>
                <c:pt idx="49473">
                  <c:v>-3.3613445378151102E-3</c:v>
                </c:pt>
                <c:pt idx="49474">
                  <c:v>-3.3613445378151102E-3</c:v>
                </c:pt>
                <c:pt idx="49475">
                  <c:v>-3.3613445378151102E-3</c:v>
                </c:pt>
                <c:pt idx="49476">
                  <c:v>-3.3613445378151102E-3</c:v>
                </c:pt>
                <c:pt idx="49477">
                  <c:v>-3.3613445378151102E-3</c:v>
                </c:pt>
                <c:pt idx="49478">
                  <c:v>-3.3613445378151102E-3</c:v>
                </c:pt>
                <c:pt idx="49479">
                  <c:v>-3.3613445378151102E-3</c:v>
                </c:pt>
                <c:pt idx="49480">
                  <c:v>-3.3613445378151102E-3</c:v>
                </c:pt>
                <c:pt idx="49481">
                  <c:v>-3.3613445378151102E-3</c:v>
                </c:pt>
                <c:pt idx="49482">
                  <c:v>-3.3613445378151102E-3</c:v>
                </c:pt>
                <c:pt idx="49483">
                  <c:v>-3.3613445378151102E-3</c:v>
                </c:pt>
                <c:pt idx="49484">
                  <c:v>-3.3613445378151102E-3</c:v>
                </c:pt>
                <c:pt idx="49485">
                  <c:v>-3.3613445378151102E-3</c:v>
                </c:pt>
                <c:pt idx="49486">
                  <c:v>-3.3613445378151102E-3</c:v>
                </c:pt>
                <c:pt idx="49487">
                  <c:v>-3.3613445378151102E-3</c:v>
                </c:pt>
                <c:pt idx="49488">
                  <c:v>-3.3613445378151102E-3</c:v>
                </c:pt>
                <c:pt idx="49489">
                  <c:v>-3.3613445378151102E-3</c:v>
                </c:pt>
                <c:pt idx="49490">
                  <c:v>-3.3613445378151102E-3</c:v>
                </c:pt>
                <c:pt idx="49491">
                  <c:v>-3.3613445378151102E-3</c:v>
                </c:pt>
                <c:pt idx="49492">
                  <c:v>-3.3613445378151102E-3</c:v>
                </c:pt>
                <c:pt idx="49493">
                  <c:v>-3.3613445378151102E-3</c:v>
                </c:pt>
                <c:pt idx="49494">
                  <c:v>-3.3613445378151102E-3</c:v>
                </c:pt>
                <c:pt idx="49495">
                  <c:v>-3.3613445378151102E-3</c:v>
                </c:pt>
                <c:pt idx="49496">
                  <c:v>-3.3613445378151102E-3</c:v>
                </c:pt>
                <c:pt idx="49497">
                  <c:v>-3.3613445378151102E-3</c:v>
                </c:pt>
                <c:pt idx="49498">
                  <c:v>-3.3613445378151102E-3</c:v>
                </c:pt>
                <c:pt idx="49499">
                  <c:v>-3.3613445378151102E-3</c:v>
                </c:pt>
                <c:pt idx="49500">
                  <c:v>-3.3613445378151102E-3</c:v>
                </c:pt>
                <c:pt idx="49501">
                  <c:v>-3.3613445378151102E-3</c:v>
                </c:pt>
                <c:pt idx="49502">
                  <c:v>-3.3613445378151102E-3</c:v>
                </c:pt>
                <c:pt idx="49503">
                  <c:v>-3.3613445378151102E-3</c:v>
                </c:pt>
                <c:pt idx="49504">
                  <c:v>-3.3613445378151102E-3</c:v>
                </c:pt>
                <c:pt idx="49505">
                  <c:v>-3.3613445378151102E-3</c:v>
                </c:pt>
                <c:pt idx="49506">
                  <c:v>-3.3613445378151102E-3</c:v>
                </c:pt>
                <c:pt idx="49507">
                  <c:v>-3.3613445378151102E-3</c:v>
                </c:pt>
                <c:pt idx="49508">
                  <c:v>-3.3613445378151102E-3</c:v>
                </c:pt>
                <c:pt idx="49509">
                  <c:v>-3.3613445378151102E-3</c:v>
                </c:pt>
                <c:pt idx="49510">
                  <c:v>-3.3613445378151102E-3</c:v>
                </c:pt>
                <c:pt idx="49511">
                  <c:v>-3.3613445378151102E-3</c:v>
                </c:pt>
                <c:pt idx="49512">
                  <c:v>-3.3613445378151102E-3</c:v>
                </c:pt>
                <c:pt idx="49513">
                  <c:v>-3.3613445378151102E-3</c:v>
                </c:pt>
                <c:pt idx="49514">
                  <c:v>-3.3613445378151102E-3</c:v>
                </c:pt>
                <c:pt idx="49515">
                  <c:v>-3.3613445378151102E-3</c:v>
                </c:pt>
                <c:pt idx="49516">
                  <c:v>-3.3613445378151102E-3</c:v>
                </c:pt>
                <c:pt idx="49517">
                  <c:v>-3.3613445378151102E-3</c:v>
                </c:pt>
                <c:pt idx="49518">
                  <c:v>-3.3613445378151102E-3</c:v>
                </c:pt>
                <c:pt idx="49519">
                  <c:v>-3.3613445378151102E-3</c:v>
                </c:pt>
                <c:pt idx="49520">
                  <c:v>-3.3613445378151102E-3</c:v>
                </c:pt>
                <c:pt idx="49521">
                  <c:v>-3.3613445378151102E-3</c:v>
                </c:pt>
                <c:pt idx="49522">
                  <c:v>-3.3613445378151102E-3</c:v>
                </c:pt>
                <c:pt idx="49523">
                  <c:v>-3.3613445378151102E-3</c:v>
                </c:pt>
                <c:pt idx="49524">
                  <c:v>-3.3613445378151102E-3</c:v>
                </c:pt>
                <c:pt idx="49525">
                  <c:v>-3.3613445378151102E-3</c:v>
                </c:pt>
                <c:pt idx="49526">
                  <c:v>-3.3613445378151102E-3</c:v>
                </c:pt>
                <c:pt idx="49527">
                  <c:v>-3.3613445378151102E-3</c:v>
                </c:pt>
                <c:pt idx="49528">
                  <c:v>-3.3613445378151102E-3</c:v>
                </c:pt>
                <c:pt idx="49529">
                  <c:v>-3.3613445378151102E-3</c:v>
                </c:pt>
                <c:pt idx="49530">
                  <c:v>-3.3613445378151102E-3</c:v>
                </c:pt>
                <c:pt idx="49531">
                  <c:v>-3.3613445378151102E-3</c:v>
                </c:pt>
                <c:pt idx="49532">
                  <c:v>-3.3613445378151102E-3</c:v>
                </c:pt>
                <c:pt idx="49533">
                  <c:v>-3.3613445378151102E-3</c:v>
                </c:pt>
                <c:pt idx="49534">
                  <c:v>-3.3613445378151102E-3</c:v>
                </c:pt>
                <c:pt idx="49535">
                  <c:v>-3.3613445378151102E-3</c:v>
                </c:pt>
                <c:pt idx="49536">
                  <c:v>-3.3613445378151102E-3</c:v>
                </c:pt>
                <c:pt idx="49537">
                  <c:v>-3.3613445378151102E-3</c:v>
                </c:pt>
                <c:pt idx="49538">
                  <c:v>-3.3613445378151102E-3</c:v>
                </c:pt>
                <c:pt idx="49539">
                  <c:v>-3.3613445378151102E-3</c:v>
                </c:pt>
                <c:pt idx="49540">
                  <c:v>-3.3613445378151102E-3</c:v>
                </c:pt>
                <c:pt idx="49541">
                  <c:v>-3.3613445378151102E-3</c:v>
                </c:pt>
                <c:pt idx="49542">
                  <c:v>-3.3613445378151102E-3</c:v>
                </c:pt>
                <c:pt idx="49543">
                  <c:v>-3.3613445378151102E-3</c:v>
                </c:pt>
                <c:pt idx="49544">
                  <c:v>-3.3613445378151102E-3</c:v>
                </c:pt>
                <c:pt idx="49545">
                  <c:v>-3.3613445378151102E-3</c:v>
                </c:pt>
                <c:pt idx="49546">
                  <c:v>-3.3613445378151102E-3</c:v>
                </c:pt>
                <c:pt idx="49547">
                  <c:v>-3.3613445378151102E-3</c:v>
                </c:pt>
                <c:pt idx="49548">
                  <c:v>-3.3613445378151102E-3</c:v>
                </c:pt>
                <c:pt idx="49549">
                  <c:v>-3.3613445378151102E-3</c:v>
                </c:pt>
                <c:pt idx="49550">
                  <c:v>-3.3613445378151102E-3</c:v>
                </c:pt>
                <c:pt idx="49551">
                  <c:v>-3.3613445378151102E-3</c:v>
                </c:pt>
                <c:pt idx="49552">
                  <c:v>-3.3613445378151102E-3</c:v>
                </c:pt>
                <c:pt idx="49553">
                  <c:v>-3.3613445378151102E-3</c:v>
                </c:pt>
                <c:pt idx="49554">
                  <c:v>-3.3613445378151102E-3</c:v>
                </c:pt>
                <c:pt idx="49555">
                  <c:v>-3.3613445378151102E-3</c:v>
                </c:pt>
                <c:pt idx="49556">
                  <c:v>-3.3613445378151102E-3</c:v>
                </c:pt>
                <c:pt idx="49557">
                  <c:v>-3.3613445378151102E-3</c:v>
                </c:pt>
                <c:pt idx="49558">
                  <c:v>-3.3613445378151102E-3</c:v>
                </c:pt>
                <c:pt idx="49559">
                  <c:v>-3.3613445378151102E-3</c:v>
                </c:pt>
                <c:pt idx="49560">
                  <c:v>-3.3613445378151102E-3</c:v>
                </c:pt>
                <c:pt idx="49561">
                  <c:v>-3.3613445378151102E-3</c:v>
                </c:pt>
                <c:pt idx="49562">
                  <c:v>-3.3613445378151102E-3</c:v>
                </c:pt>
                <c:pt idx="49563">
                  <c:v>-3.3613445378151102E-3</c:v>
                </c:pt>
                <c:pt idx="49564">
                  <c:v>-3.3613445378151102E-3</c:v>
                </c:pt>
                <c:pt idx="49565">
                  <c:v>-3.3613445378151102E-3</c:v>
                </c:pt>
                <c:pt idx="49566">
                  <c:v>-3.3613445378151102E-3</c:v>
                </c:pt>
                <c:pt idx="49567">
                  <c:v>-3.3613445378151102E-3</c:v>
                </c:pt>
                <c:pt idx="49568">
                  <c:v>-3.3613445378151102E-3</c:v>
                </c:pt>
                <c:pt idx="49569">
                  <c:v>-3.3613445378151102E-3</c:v>
                </c:pt>
                <c:pt idx="49570">
                  <c:v>-3.3613445378151102E-3</c:v>
                </c:pt>
                <c:pt idx="49571">
                  <c:v>-3.3613445378151102E-3</c:v>
                </c:pt>
                <c:pt idx="49572">
                  <c:v>-3.3613445378151102E-3</c:v>
                </c:pt>
                <c:pt idx="49573">
                  <c:v>-3.3613445378151102E-3</c:v>
                </c:pt>
                <c:pt idx="49574">
                  <c:v>-3.3613445378151102E-3</c:v>
                </c:pt>
                <c:pt idx="49575">
                  <c:v>-3.3613445378151102E-3</c:v>
                </c:pt>
                <c:pt idx="49576">
                  <c:v>-3.3613445378151102E-3</c:v>
                </c:pt>
                <c:pt idx="49577">
                  <c:v>-3.3613445378151102E-3</c:v>
                </c:pt>
                <c:pt idx="49578">
                  <c:v>-3.3613445378151102E-3</c:v>
                </c:pt>
                <c:pt idx="49579">
                  <c:v>-3.3613445378151102E-3</c:v>
                </c:pt>
                <c:pt idx="49580">
                  <c:v>-3.3613445378151102E-3</c:v>
                </c:pt>
                <c:pt idx="49581">
                  <c:v>-3.3613445378151102E-3</c:v>
                </c:pt>
                <c:pt idx="49582">
                  <c:v>-3.3613445378151102E-3</c:v>
                </c:pt>
                <c:pt idx="49583">
                  <c:v>-3.3613445378151102E-3</c:v>
                </c:pt>
                <c:pt idx="49584">
                  <c:v>-3.3613445378151102E-3</c:v>
                </c:pt>
                <c:pt idx="49585">
                  <c:v>-3.3613445378151102E-3</c:v>
                </c:pt>
                <c:pt idx="49586">
                  <c:v>-3.3613445378151102E-3</c:v>
                </c:pt>
                <c:pt idx="49587">
                  <c:v>-3.3613445378151102E-3</c:v>
                </c:pt>
                <c:pt idx="49588">
                  <c:v>-3.3613445378151102E-3</c:v>
                </c:pt>
                <c:pt idx="49589">
                  <c:v>-3.3613445378151102E-3</c:v>
                </c:pt>
                <c:pt idx="49590">
                  <c:v>-3.3613445378151102E-3</c:v>
                </c:pt>
                <c:pt idx="49591">
                  <c:v>-3.3613445378151102E-3</c:v>
                </c:pt>
                <c:pt idx="49592">
                  <c:v>-3.3613445378151102E-3</c:v>
                </c:pt>
                <c:pt idx="49593">
                  <c:v>-3.3613445378151102E-3</c:v>
                </c:pt>
                <c:pt idx="49594">
                  <c:v>-3.3613445378151102E-3</c:v>
                </c:pt>
                <c:pt idx="49595">
                  <c:v>-3.3613445378151102E-3</c:v>
                </c:pt>
                <c:pt idx="49596">
                  <c:v>-3.3613445378151102E-3</c:v>
                </c:pt>
                <c:pt idx="49597">
                  <c:v>-3.3613445378151102E-3</c:v>
                </c:pt>
                <c:pt idx="49598">
                  <c:v>-3.3613445378151102E-3</c:v>
                </c:pt>
                <c:pt idx="49599">
                  <c:v>-3.3613445378151102E-3</c:v>
                </c:pt>
                <c:pt idx="49600">
                  <c:v>-3.3613445378151102E-3</c:v>
                </c:pt>
                <c:pt idx="49601">
                  <c:v>-3.3613445378151102E-3</c:v>
                </c:pt>
                <c:pt idx="49602">
                  <c:v>-3.3613445378151102E-3</c:v>
                </c:pt>
                <c:pt idx="49603">
                  <c:v>-3.3613445378151102E-3</c:v>
                </c:pt>
                <c:pt idx="49604">
                  <c:v>-3.3613445378151102E-3</c:v>
                </c:pt>
                <c:pt idx="49605">
                  <c:v>-3.3613445378151102E-3</c:v>
                </c:pt>
                <c:pt idx="49606">
                  <c:v>-3.3613445378151102E-3</c:v>
                </c:pt>
                <c:pt idx="49607">
                  <c:v>-3.3613445378151102E-3</c:v>
                </c:pt>
                <c:pt idx="49608">
                  <c:v>-3.3613445378151102E-3</c:v>
                </c:pt>
                <c:pt idx="49609">
                  <c:v>-3.3613445378151102E-3</c:v>
                </c:pt>
                <c:pt idx="49610">
                  <c:v>-3.3613445378151102E-3</c:v>
                </c:pt>
                <c:pt idx="49611">
                  <c:v>-3.3613445378151102E-3</c:v>
                </c:pt>
                <c:pt idx="49612">
                  <c:v>-3.3613445378151102E-3</c:v>
                </c:pt>
                <c:pt idx="49613">
                  <c:v>-3.3613445378151102E-3</c:v>
                </c:pt>
                <c:pt idx="49614">
                  <c:v>-3.3613445378151102E-3</c:v>
                </c:pt>
                <c:pt idx="49615">
                  <c:v>-3.3613445378151102E-3</c:v>
                </c:pt>
                <c:pt idx="49616">
                  <c:v>-3.3613445378151102E-3</c:v>
                </c:pt>
                <c:pt idx="49617">
                  <c:v>-3.3613445378151102E-3</c:v>
                </c:pt>
                <c:pt idx="49618">
                  <c:v>-3.3613445378151102E-3</c:v>
                </c:pt>
                <c:pt idx="49619">
                  <c:v>-3.3613445378151102E-3</c:v>
                </c:pt>
                <c:pt idx="49620">
                  <c:v>-3.3613445378151102E-3</c:v>
                </c:pt>
                <c:pt idx="49621">
                  <c:v>-3.3613445378151102E-3</c:v>
                </c:pt>
                <c:pt idx="49622">
                  <c:v>-3.3613445378151102E-3</c:v>
                </c:pt>
                <c:pt idx="49623">
                  <c:v>-3.3613445378151102E-3</c:v>
                </c:pt>
                <c:pt idx="49624">
                  <c:v>-3.3613445378151102E-3</c:v>
                </c:pt>
                <c:pt idx="49625">
                  <c:v>-3.3613445378151102E-3</c:v>
                </c:pt>
                <c:pt idx="49626">
                  <c:v>-3.3613445378151102E-3</c:v>
                </c:pt>
                <c:pt idx="49627">
                  <c:v>-3.3613445378151102E-3</c:v>
                </c:pt>
                <c:pt idx="49628">
                  <c:v>-3.3613445378151102E-3</c:v>
                </c:pt>
                <c:pt idx="49629">
                  <c:v>-3.3613445378151102E-3</c:v>
                </c:pt>
                <c:pt idx="49630">
                  <c:v>-3.3613445378151102E-3</c:v>
                </c:pt>
                <c:pt idx="49631">
                  <c:v>-3.3613445378151102E-3</c:v>
                </c:pt>
                <c:pt idx="49632">
                  <c:v>-3.3613445378151102E-3</c:v>
                </c:pt>
                <c:pt idx="49633">
                  <c:v>-3.3613445378151102E-3</c:v>
                </c:pt>
                <c:pt idx="49634">
                  <c:v>-3.3613445378151102E-3</c:v>
                </c:pt>
                <c:pt idx="49635">
                  <c:v>-3.3613445378151102E-3</c:v>
                </c:pt>
                <c:pt idx="49636">
                  <c:v>-3.3613445378151102E-3</c:v>
                </c:pt>
                <c:pt idx="49637">
                  <c:v>-3.3613445378151102E-3</c:v>
                </c:pt>
                <c:pt idx="49638">
                  <c:v>-3.3613445378151102E-3</c:v>
                </c:pt>
                <c:pt idx="49639">
                  <c:v>-3.3613445378151102E-3</c:v>
                </c:pt>
                <c:pt idx="49640">
                  <c:v>-3.3613445378151102E-3</c:v>
                </c:pt>
                <c:pt idx="49641">
                  <c:v>-3.3613445378151102E-3</c:v>
                </c:pt>
                <c:pt idx="49642">
                  <c:v>-3.3613445378151102E-3</c:v>
                </c:pt>
                <c:pt idx="49643">
                  <c:v>-3.3613445378151102E-3</c:v>
                </c:pt>
                <c:pt idx="49644">
                  <c:v>-3.3613445378151102E-3</c:v>
                </c:pt>
                <c:pt idx="49645">
                  <c:v>-3.3613445378151102E-3</c:v>
                </c:pt>
                <c:pt idx="49646">
                  <c:v>-3.3613445378151102E-3</c:v>
                </c:pt>
                <c:pt idx="49647">
                  <c:v>-3.3613445378151102E-3</c:v>
                </c:pt>
                <c:pt idx="49648">
                  <c:v>-3.3613445378151102E-3</c:v>
                </c:pt>
                <c:pt idx="49649">
                  <c:v>-3.3613445378151102E-3</c:v>
                </c:pt>
                <c:pt idx="49650">
                  <c:v>-3.3613445378151102E-3</c:v>
                </c:pt>
                <c:pt idx="49651">
                  <c:v>-3.3613445378151102E-3</c:v>
                </c:pt>
                <c:pt idx="49652">
                  <c:v>-3.3613445378151102E-3</c:v>
                </c:pt>
                <c:pt idx="49653">
                  <c:v>-3.3613445378151102E-3</c:v>
                </c:pt>
                <c:pt idx="49654">
                  <c:v>-3.3613445378151102E-3</c:v>
                </c:pt>
                <c:pt idx="49655">
                  <c:v>-3.3613445378151102E-3</c:v>
                </c:pt>
                <c:pt idx="49656">
                  <c:v>-3.3613445378151102E-3</c:v>
                </c:pt>
                <c:pt idx="49657">
                  <c:v>-3.3613445378151102E-3</c:v>
                </c:pt>
                <c:pt idx="49658">
                  <c:v>-3.3613445378151102E-3</c:v>
                </c:pt>
                <c:pt idx="49659">
                  <c:v>-3.3613445378151102E-3</c:v>
                </c:pt>
                <c:pt idx="49660">
                  <c:v>-3.3613445378151102E-3</c:v>
                </c:pt>
                <c:pt idx="49661">
                  <c:v>-3.3613445378151102E-3</c:v>
                </c:pt>
                <c:pt idx="49662">
                  <c:v>-3.3613445378151102E-3</c:v>
                </c:pt>
                <c:pt idx="49663">
                  <c:v>-3.3613445378151102E-3</c:v>
                </c:pt>
                <c:pt idx="49664">
                  <c:v>-3.3613445378151102E-3</c:v>
                </c:pt>
                <c:pt idx="49665">
                  <c:v>-3.3613445378151102E-3</c:v>
                </c:pt>
                <c:pt idx="49666">
                  <c:v>-3.3613445378151102E-3</c:v>
                </c:pt>
                <c:pt idx="49667">
                  <c:v>-3.3613445378151102E-3</c:v>
                </c:pt>
                <c:pt idx="49668">
                  <c:v>-3.3613445378151102E-3</c:v>
                </c:pt>
                <c:pt idx="49669">
                  <c:v>-3.3613445378151102E-3</c:v>
                </c:pt>
                <c:pt idx="49670">
                  <c:v>-3.3613445378151102E-3</c:v>
                </c:pt>
                <c:pt idx="49671">
                  <c:v>-3.3613445378151102E-3</c:v>
                </c:pt>
                <c:pt idx="49672">
                  <c:v>-3.3613445378151102E-3</c:v>
                </c:pt>
                <c:pt idx="49673">
                  <c:v>-3.3613445378151102E-3</c:v>
                </c:pt>
                <c:pt idx="49674">
                  <c:v>-3.3613445378151102E-3</c:v>
                </c:pt>
                <c:pt idx="49675">
                  <c:v>-3.3613445378151102E-3</c:v>
                </c:pt>
                <c:pt idx="49676">
                  <c:v>-3.3613445378151102E-3</c:v>
                </c:pt>
                <c:pt idx="49677">
                  <c:v>-3.3613445378151102E-3</c:v>
                </c:pt>
                <c:pt idx="49678">
                  <c:v>-3.3613445378151102E-3</c:v>
                </c:pt>
                <c:pt idx="49679">
                  <c:v>-3.3613445378151102E-3</c:v>
                </c:pt>
                <c:pt idx="49680">
                  <c:v>-3.3613445378151102E-3</c:v>
                </c:pt>
                <c:pt idx="49681">
                  <c:v>-3.3613445378151102E-3</c:v>
                </c:pt>
                <c:pt idx="49682">
                  <c:v>-3.3613445378151102E-3</c:v>
                </c:pt>
                <c:pt idx="49683">
                  <c:v>-3.3613445378151102E-3</c:v>
                </c:pt>
                <c:pt idx="49684">
                  <c:v>-3.3613445378151102E-3</c:v>
                </c:pt>
                <c:pt idx="49685">
                  <c:v>-3.3613445378151102E-3</c:v>
                </c:pt>
                <c:pt idx="49686">
                  <c:v>-3.3613445378151102E-3</c:v>
                </c:pt>
                <c:pt idx="49687">
                  <c:v>-3.3613445378151102E-3</c:v>
                </c:pt>
                <c:pt idx="49688">
                  <c:v>-3.3613445378151102E-3</c:v>
                </c:pt>
                <c:pt idx="49689">
                  <c:v>-3.3613445378151102E-3</c:v>
                </c:pt>
                <c:pt idx="49690">
                  <c:v>-3.3613445378151102E-3</c:v>
                </c:pt>
                <c:pt idx="49691">
                  <c:v>-3.3613445378151102E-3</c:v>
                </c:pt>
                <c:pt idx="49692">
                  <c:v>-3.3613445378151102E-3</c:v>
                </c:pt>
                <c:pt idx="49693">
                  <c:v>-3.3613445378151102E-3</c:v>
                </c:pt>
                <c:pt idx="49694">
                  <c:v>-3.3613445378151102E-3</c:v>
                </c:pt>
                <c:pt idx="49695">
                  <c:v>-3.3613445378151102E-3</c:v>
                </c:pt>
                <c:pt idx="49696">
                  <c:v>-3.3613445378151102E-3</c:v>
                </c:pt>
                <c:pt idx="49697">
                  <c:v>-3.3613445378151102E-3</c:v>
                </c:pt>
                <c:pt idx="49698">
                  <c:v>-3.3613445378151102E-3</c:v>
                </c:pt>
                <c:pt idx="49699">
                  <c:v>-3.3613445378151102E-3</c:v>
                </c:pt>
                <c:pt idx="49700">
                  <c:v>-3.3613445378151102E-3</c:v>
                </c:pt>
                <c:pt idx="49701">
                  <c:v>-3.3613445378151102E-3</c:v>
                </c:pt>
                <c:pt idx="49702">
                  <c:v>-3.3613445378151102E-3</c:v>
                </c:pt>
                <c:pt idx="49703">
                  <c:v>-3.3613445378151102E-3</c:v>
                </c:pt>
                <c:pt idx="49704">
                  <c:v>-3.3613445378151102E-3</c:v>
                </c:pt>
                <c:pt idx="49705">
                  <c:v>-3.3613445378151102E-3</c:v>
                </c:pt>
                <c:pt idx="49706">
                  <c:v>-3.3613445378151102E-3</c:v>
                </c:pt>
                <c:pt idx="49707">
                  <c:v>-3.3613445378151102E-3</c:v>
                </c:pt>
                <c:pt idx="49708">
                  <c:v>-3.3613445378151102E-3</c:v>
                </c:pt>
                <c:pt idx="49709">
                  <c:v>-3.3613445378151102E-3</c:v>
                </c:pt>
                <c:pt idx="49710">
                  <c:v>-3.3613445378151102E-3</c:v>
                </c:pt>
                <c:pt idx="49711">
                  <c:v>-3.3613445378151102E-3</c:v>
                </c:pt>
                <c:pt idx="49712">
                  <c:v>-3.3613445378151102E-3</c:v>
                </c:pt>
                <c:pt idx="49713">
                  <c:v>-3.3613445378151102E-3</c:v>
                </c:pt>
                <c:pt idx="49714">
                  <c:v>-3.3613445378151102E-3</c:v>
                </c:pt>
                <c:pt idx="49715">
                  <c:v>-3.3613445378151102E-3</c:v>
                </c:pt>
                <c:pt idx="49716">
                  <c:v>-3.3613445378151102E-3</c:v>
                </c:pt>
                <c:pt idx="49717">
                  <c:v>-3.3613445378151102E-3</c:v>
                </c:pt>
                <c:pt idx="49718">
                  <c:v>-3.3613445378151102E-3</c:v>
                </c:pt>
                <c:pt idx="49719">
                  <c:v>-3.3613445378151102E-3</c:v>
                </c:pt>
                <c:pt idx="49720">
                  <c:v>-3.3613445378151102E-3</c:v>
                </c:pt>
                <c:pt idx="49721">
                  <c:v>-3.3613445378151102E-3</c:v>
                </c:pt>
                <c:pt idx="49722">
                  <c:v>-3.3613445378151102E-3</c:v>
                </c:pt>
                <c:pt idx="49723">
                  <c:v>-3.3613445378151102E-3</c:v>
                </c:pt>
                <c:pt idx="49724">
                  <c:v>-3.3613445378151102E-3</c:v>
                </c:pt>
                <c:pt idx="49725">
                  <c:v>-3.3613445378151102E-3</c:v>
                </c:pt>
                <c:pt idx="49726">
                  <c:v>-3.3613445378151102E-3</c:v>
                </c:pt>
                <c:pt idx="49727">
                  <c:v>-3.3613445378151102E-3</c:v>
                </c:pt>
                <c:pt idx="49728">
                  <c:v>-3.3613445378151102E-3</c:v>
                </c:pt>
                <c:pt idx="49729">
                  <c:v>-3.3613445378151102E-3</c:v>
                </c:pt>
                <c:pt idx="49730">
                  <c:v>-3.3613445378151102E-3</c:v>
                </c:pt>
                <c:pt idx="49731">
                  <c:v>-3.3613445378151102E-3</c:v>
                </c:pt>
                <c:pt idx="49732">
                  <c:v>-3.3613445378151102E-3</c:v>
                </c:pt>
                <c:pt idx="49733">
                  <c:v>-3.3613445378151102E-3</c:v>
                </c:pt>
                <c:pt idx="49734">
                  <c:v>-3.3613445378151102E-3</c:v>
                </c:pt>
                <c:pt idx="49735">
                  <c:v>-3.3613445378151102E-3</c:v>
                </c:pt>
                <c:pt idx="49736">
                  <c:v>-3.3613445378151102E-3</c:v>
                </c:pt>
                <c:pt idx="49737">
                  <c:v>-3.3613445378151102E-3</c:v>
                </c:pt>
                <c:pt idx="49738">
                  <c:v>-3.3613445378151102E-3</c:v>
                </c:pt>
                <c:pt idx="49739">
                  <c:v>-3.3613445378151102E-3</c:v>
                </c:pt>
                <c:pt idx="49740">
                  <c:v>-3.3613445378151102E-3</c:v>
                </c:pt>
                <c:pt idx="49741">
                  <c:v>-3.3613445378151102E-3</c:v>
                </c:pt>
                <c:pt idx="49742">
                  <c:v>-3.3613445378151102E-3</c:v>
                </c:pt>
                <c:pt idx="49743">
                  <c:v>-3.3613445378151102E-3</c:v>
                </c:pt>
                <c:pt idx="49744">
                  <c:v>-3.3613445378151102E-3</c:v>
                </c:pt>
                <c:pt idx="49745">
                  <c:v>-3.3613445378151102E-3</c:v>
                </c:pt>
                <c:pt idx="49746">
                  <c:v>-3.3613445378151102E-3</c:v>
                </c:pt>
                <c:pt idx="49747">
                  <c:v>-3.3613445378151102E-3</c:v>
                </c:pt>
                <c:pt idx="49748">
                  <c:v>-3.3613445378151102E-3</c:v>
                </c:pt>
                <c:pt idx="49749">
                  <c:v>-3.3613445378151102E-3</c:v>
                </c:pt>
                <c:pt idx="49750">
                  <c:v>-3.3613445378151102E-3</c:v>
                </c:pt>
                <c:pt idx="49751">
                  <c:v>-3.3613445378151102E-3</c:v>
                </c:pt>
                <c:pt idx="49752">
                  <c:v>-3.3613445378151102E-3</c:v>
                </c:pt>
                <c:pt idx="49753">
                  <c:v>-3.3613445378151102E-3</c:v>
                </c:pt>
                <c:pt idx="49754">
                  <c:v>-3.3613445378151102E-3</c:v>
                </c:pt>
                <c:pt idx="49755">
                  <c:v>-3.3613445378151102E-3</c:v>
                </c:pt>
                <c:pt idx="49756">
                  <c:v>-3.3613445378151102E-3</c:v>
                </c:pt>
                <c:pt idx="49757">
                  <c:v>-3.3613445378151102E-3</c:v>
                </c:pt>
                <c:pt idx="49758">
                  <c:v>-3.3613445378151102E-3</c:v>
                </c:pt>
                <c:pt idx="49759">
                  <c:v>-3.3613445378151102E-3</c:v>
                </c:pt>
                <c:pt idx="49760">
                  <c:v>-3.3613445378151102E-3</c:v>
                </c:pt>
                <c:pt idx="49761">
                  <c:v>-3.3613445378151102E-3</c:v>
                </c:pt>
                <c:pt idx="49762">
                  <c:v>-3.3613445378151102E-3</c:v>
                </c:pt>
                <c:pt idx="49763">
                  <c:v>-3.3613445378151102E-3</c:v>
                </c:pt>
                <c:pt idx="49764">
                  <c:v>-3.3613445378151102E-3</c:v>
                </c:pt>
                <c:pt idx="49765">
                  <c:v>-3.3613445378151102E-3</c:v>
                </c:pt>
                <c:pt idx="49766">
                  <c:v>-3.3613445378151102E-3</c:v>
                </c:pt>
                <c:pt idx="49767">
                  <c:v>-3.3613445378151102E-3</c:v>
                </c:pt>
                <c:pt idx="49768">
                  <c:v>-3.3613445378151102E-3</c:v>
                </c:pt>
                <c:pt idx="49769">
                  <c:v>-3.3613445378151102E-3</c:v>
                </c:pt>
                <c:pt idx="49770">
                  <c:v>-3.3613445378151102E-3</c:v>
                </c:pt>
                <c:pt idx="49771">
                  <c:v>-3.3613445378151102E-3</c:v>
                </c:pt>
                <c:pt idx="49772">
                  <c:v>-3.3613445378151102E-3</c:v>
                </c:pt>
                <c:pt idx="49773">
                  <c:v>-3.3613445378151102E-3</c:v>
                </c:pt>
                <c:pt idx="49774">
                  <c:v>-3.3613445378151102E-3</c:v>
                </c:pt>
                <c:pt idx="49775">
                  <c:v>-3.3613445378151102E-3</c:v>
                </c:pt>
                <c:pt idx="49776">
                  <c:v>-3.3613445378151102E-3</c:v>
                </c:pt>
                <c:pt idx="49777">
                  <c:v>-3.3613445378151102E-3</c:v>
                </c:pt>
                <c:pt idx="49778">
                  <c:v>-3.3613445378151102E-3</c:v>
                </c:pt>
                <c:pt idx="49779">
                  <c:v>-3.3613445378151102E-3</c:v>
                </c:pt>
                <c:pt idx="49780">
                  <c:v>-3.3613445378151102E-3</c:v>
                </c:pt>
                <c:pt idx="49781">
                  <c:v>-3.3613445378151102E-3</c:v>
                </c:pt>
                <c:pt idx="49782">
                  <c:v>-3.3613445378151102E-3</c:v>
                </c:pt>
                <c:pt idx="49783">
                  <c:v>-3.3613445378151102E-3</c:v>
                </c:pt>
                <c:pt idx="49784">
                  <c:v>-3.3613445378151102E-3</c:v>
                </c:pt>
                <c:pt idx="49785">
                  <c:v>-3.3613445378151102E-3</c:v>
                </c:pt>
                <c:pt idx="49786">
                  <c:v>-3.3613445378151102E-3</c:v>
                </c:pt>
                <c:pt idx="49787">
                  <c:v>-3.3613445378151102E-3</c:v>
                </c:pt>
                <c:pt idx="49788">
                  <c:v>-3.3613445378151102E-3</c:v>
                </c:pt>
                <c:pt idx="49789">
                  <c:v>-3.3613445378151102E-3</c:v>
                </c:pt>
                <c:pt idx="49790">
                  <c:v>-3.3613445378151102E-3</c:v>
                </c:pt>
                <c:pt idx="49791">
                  <c:v>-3.3613445378151102E-3</c:v>
                </c:pt>
                <c:pt idx="49792">
                  <c:v>-3.3613445378151102E-3</c:v>
                </c:pt>
                <c:pt idx="49793">
                  <c:v>-3.3613445378151102E-3</c:v>
                </c:pt>
                <c:pt idx="49794">
                  <c:v>-3.3613445378151102E-3</c:v>
                </c:pt>
                <c:pt idx="49795">
                  <c:v>-3.3613445378151102E-3</c:v>
                </c:pt>
                <c:pt idx="49796">
                  <c:v>-3.3613445378151102E-3</c:v>
                </c:pt>
                <c:pt idx="49797">
                  <c:v>-3.3613445378151102E-3</c:v>
                </c:pt>
                <c:pt idx="49798">
                  <c:v>-3.3613445378151102E-3</c:v>
                </c:pt>
                <c:pt idx="49799">
                  <c:v>-3.3613445378151102E-3</c:v>
                </c:pt>
                <c:pt idx="49800">
                  <c:v>-3.3613445378151102E-3</c:v>
                </c:pt>
                <c:pt idx="49801">
                  <c:v>-3.3613445378151102E-3</c:v>
                </c:pt>
                <c:pt idx="49802">
                  <c:v>-3.3613445378151102E-3</c:v>
                </c:pt>
                <c:pt idx="49803">
                  <c:v>-3.3613445378151102E-3</c:v>
                </c:pt>
                <c:pt idx="49804">
                  <c:v>-3.3613445378151102E-3</c:v>
                </c:pt>
                <c:pt idx="49805">
                  <c:v>-3.3613445378151102E-3</c:v>
                </c:pt>
                <c:pt idx="49806">
                  <c:v>-3.3613445378151102E-3</c:v>
                </c:pt>
                <c:pt idx="49807">
                  <c:v>-3.3613445378151102E-3</c:v>
                </c:pt>
                <c:pt idx="49808">
                  <c:v>-3.3613445378151102E-3</c:v>
                </c:pt>
                <c:pt idx="49809">
                  <c:v>-3.3613445378151102E-3</c:v>
                </c:pt>
                <c:pt idx="49810">
                  <c:v>-3.3613445378151102E-3</c:v>
                </c:pt>
                <c:pt idx="49811">
                  <c:v>-3.3613445378151102E-3</c:v>
                </c:pt>
                <c:pt idx="49812">
                  <c:v>-3.3613445378151102E-3</c:v>
                </c:pt>
                <c:pt idx="49813">
                  <c:v>-3.3613445378151102E-3</c:v>
                </c:pt>
                <c:pt idx="49814">
                  <c:v>-3.3613445378151102E-3</c:v>
                </c:pt>
                <c:pt idx="49815">
                  <c:v>-3.3613445378151102E-3</c:v>
                </c:pt>
                <c:pt idx="49816">
                  <c:v>-3.3613445378151102E-3</c:v>
                </c:pt>
                <c:pt idx="49817">
                  <c:v>-3.3613445378151102E-3</c:v>
                </c:pt>
                <c:pt idx="49818">
                  <c:v>-3.3613445378151102E-3</c:v>
                </c:pt>
                <c:pt idx="49819">
                  <c:v>-3.3613445378151102E-3</c:v>
                </c:pt>
                <c:pt idx="49820">
                  <c:v>-3.3613445378151102E-3</c:v>
                </c:pt>
                <c:pt idx="49821">
                  <c:v>-3.3613445378151102E-3</c:v>
                </c:pt>
                <c:pt idx="49822">
                  <c:v>-3.3613445378151102E-3</c:v>
                </c:pt>
                <c:pt idx="49823">
                  <c:v>-3.3613445378151102E-3</c:v>
                </c:pt>
                <c:pt idx="49824">
                  <c:v>-3.3613445378151102E-3</c:v>
                </c:pt>
                <c:pt idx="49825">
                  <c:v>-3.3613445378151102E-3</c:v>
                </c:pt>
                <c:pt idx="49826">
                  <c:v>-3.3613445378151102E-3</c:v>
                </c:pt>
                <c:pt idx="49827">
                  <c:v>-3.3613445378151102E-3</c:v>
                </c:pt>
                <c:pt idx="49828">
                  <c:v>-3.3613445378151102E-3</c:v>
                </c:pt>
                <c:pt idx="49829">
                  <c:v>-3.3613445378151102E-3</c:v>
                </c:pt>
                <c:pt idx="49830">
                  <c:v>-3.3613445378151102E-3</c:v>
                </c:pt>
                <c:pt idx="49831">
                  <c:v>-3.3613445378151102E-3</c:v>
                </c:pt>
                <c:pt idx="49832">
                  <c:v>-3.3613445378151102E-3</c:v>
                </c:pt>
                <c:pt idx="49833">
                  <c:v>-3.3613445378151102E-3</c:v>
                </c:pt>
                <c:pt idx="49834">
                  <c:v>-3.3613445378151102E-3</c:v>
                </c:pt>
                <c:pt idx="49835">
                  <c:v>-3.3613445378151102E-3</c:v>
                </c:pt>
                <c:pt idx="49836">
                  <c:v>-3.3613445378151102E-3</c:v>
                </c:pt>
                <c:pt idx="49837">
                  <c:v>-3.3613445378151102E-3</c:v>
                </c:pt>
                <c:pt idx="49838">
                  <c:v>-3.3613445378151102E-3</c:v>
                </c:pt>
                <c:pt idx="49839">
                  <c:v>-3.3613445378151102E-3</c:v>
                </c:pt>
                <c:pt idx="49840">
                  <c:v>-3.3613445378151102E-3</c:v>
                </c:pt>
                <c:pt idx="49841">
                  <c:v>-3.3613445378151102E-3</c:v>
                </c:pt>
                <c:pt idx="49842">
                  <c:v>-3.3613445378151102E-3</c:v>
                </c:pt>
                <c:pt idx="49843">
                  <c:v>-3.3613445378151102E-3</c:v>
                </c:pt>
                <c:pt idx="49844">
                  <c:v>-3.3613445378151102E-3</c:v>
                </c:pt>
                <c:pt idx="49845">
                  <c:v>-3.3613445378151102E-3</c:v>
                </c:pt>
                <c:pt idx="49846">
                  <c:v>-3.3613445378151102E-3</c:v>
                </c:pt>
                <c:pt idx="49847">
                  <c:v>-3.3613445378151102E-3</c:v>
                </c:pt>
                <c:pt idx="49848">
                  <c:v>-3.3613445378151102E-3</c:v>
                </c:pt>
                <c:pt idx="49849">
                  <c:v>-3.3613445378151102E-3</c:v>
                </c:pt>
                <c:pt idx="49850">
                  <c:v>-3.3613445378151102E-3</c:v>
                </c:pt>
                <c:pt idx="49851">
                  <c:v>-3.3613445378151102E-3</c:v>
                </c:pt>
                <c:pt idx="49852">
                  <c:v>-3.3613445378151102E-3</c:v>
                </c:pt>
                <c:pt idx="49853">
                  <c:v>-3.3613445378151102E-3</c:v>
                </c:pt>
                <c:pt idx="49854">
                  <c:v>-3.3613445378151102E-3</c:v>
                </c:pt>
                <c:pt idx="49855">
                  <c:v>-3.3613445378151102E-3</c:v>
                </c:pt>
                <c:pt idx="49856">
                  <c:v>-3.3613445378151102E-3</c:v>
                </c:pt>
                <c:pt idx="49857">
                  <c:v>-3.3613445378151102E-3</c:v>
                </c:pt>
                <c:pt idx="49858">
                  <c:v>-3.3613445378151102E-3</c:v>
                </c:pt>
                <c:pt idx="49859">
                  <c:v>-3.3613445378151102E-3</c:v>
                </c:pt>
                <c:pt idx="49860">
                  <c:v>-3.3613445378151102E-3</c:v>
                </c:pt>
                <c:pt idx="49861">
                  <c:v>-3.3613445378151102E-3</c:v>
                </c:pt>
                <c:pt idx="49862">
                  <c:v>-3.3613445378151102E-3</c:v>
                </c:pt>
                <c:pt idx="49863">
                  <c:v>-3.3613445378151102E-3</c:v>
                </c:pt>
                <c:pt idx="49864">
                  <c:v>-3.3613445378151102E-3</c:v>
                </c:pt>
                <c:pt idx="49865">
                  <c:v>-3.3613445378151102E-3</c:v>
                </c:pt>
                <c:pt idx="49866">
                  <c:v>-3.3613445378151102E-3</c:v>
                </c:pt>
                <c:pt idx="49867">
                  <c:v>-3.3613445378151102E-3</c:v>
                </c:pt>
                <c:pt idx="49868">
                  <c:v>-3.3613445378151102E-3</c:v>
                </c:pt>
                <c:pt idx="49869">
                  <c:v>-3.3613445378151102E-3</c:v>
                </c:pt>
                <c:pt idx="49870">
                  <c:v>-3.3613445378151102E-3</c:v>
                </c:pt>
                <c:pt idx="49871">
                  <c:v>-3.3613445378151102E-3</c:v>
                </c:pt>
                <c:pt idx="49872">
                  <c:v>-3.3613445378151102E-3</c:v>
                </c:pt>
                <c:pt idx="49873">
                  <c:v>-3.3613445378151102E-3</c:v>
                </c:pt>
                <c:pt idx="49874">
                  <c:v>-3.3613445378151102E-3</c:v>
                </c:pt>
                <c:pt idx="49875">
                  <c:v>-3.3613445378151102E-3</c:v>
                </c:pt>
                <c:pt idx="49876">
                  <c:v>-3.3613445378151102E-3</c:v>
                </c:pt>
                <c:pt idx="49877">
                  <c:v>-3.3613445378151102E-3</c:v>
                </c:pt>
                <c:pt idx="49878">
                  <c:v>-3.3613445378151102E-3</c:v>
                </c:pt>
                <c:pt idx="49879">
                  <c:v>-3.3613445378151102E-3</c:v>
                </c:pt>
                <c:pt idx="49880">
                  <c:v>-3.3613445378151102E-3</c:v>
                </c:pt>
                <c:pt idx="49881">
                  <c:v>-3.3613445378151102E-3</c:v>
                </c:pt>
                <c:pt idx="49882">
                  <c:v>-3.3613445378151102E-3</c:v>
                </c:pt>
                <c:pt idx="49883">
                  <c:v>-3.3613445378151102E-3</c:v>
                </c:pt>
                <c:pt idx="49884">
                  <c:v>-3.3613445378151102E-3</c:v>
                </c:pt>
                <c:pt idx="49885">
                  <c:v>-3.3613445378151102E-3</c:v>
                </c:pt>
                <c:pt idx="49886">
                  <c:v>-3.3613445378151102E-3</c:v>
                </c:pt>
                <c:pt idx="49887">
                  <c:v>-3.3613445378151102E-3</c:v>
                </c:pt>
                <c:pt idx="49888">
                  <c:v>-3.3613445378151102E-3</c:v>
                </c:pt>
                <c:pt idx="49889">
                  <c:v>-3.3613445378151102E-3</c:v>
                </c:pt>
                <c:pt idx="49890">
                  <c:v>-3.3613445378151102E-3</c:v>
                </c:pt>
                <c:pt idx="49891">
                  <c:v>-3.3613445378151102E-3</c:v>
                </c:pt>
                <c:pt idx="49892">
                  <c:v>-3.3613445378151102E-3</c:v>
                </c:pt>
                <c:pt idx="49893">
                  <c:v>-3.3613445378151102E-3</c:v>
                </c:pt>
                <c:pt idx="49894">
                  <c:v>-3.3613445378151102E-3</c:v>
                </c:pt>
                <c:pt idx="49895">
                  <c:v>-3.3613445378151102E-3</c:v>
                </c:pt>
                <c:pt idx="49896">
                  <c:v>-3.3613445378151102E-3</c:v>
                </c:pt>
                <c:pt idx="49897">
                  <c:v>-3.3613445378151102E-3</c:v>
                </c:pt>
                <c:pt idx="49898">
                  <c:v>-3.3613445378151102E-3</c:v>
                </c:pt>
                <c:pt idx="49899">
                  <c:v>-3.3613445378151102E-3</c:v>
                </c:pt>
                <c:pt idx="49900">
                  <c:v>-3.3613445378151102E-3</c:v>
                </c:pt>
                <c:pt idx="49901">
                  <c:v>-3.3613445378151102E-3</c:v>
                </c:pt>
                <c:pt idx="49902">
                  <c:v>-3.3613445378151102E-3</c:v>
                </c:pt>
                <c:pt idx="49903">
                  <c:v>-3.3613445378151102E-3</c:v>
                </c:pt>
                <c:pt idx="49904">
                  <c:v>-3.3613445378151102E-3</c:v>
                </c:pt>
                <c:pt idx="49905">
                  <c:v>-3.3613445378151102E-3</c:v>
                </c:pt>
                <c:pt idx="49906">
                  <c:v>-3.3613445378151102E-3</c:v>
                </c:pt>
                <c:pt idx="49907">
                  <c:v>-3.3613445378151102E-3</c:v>
                </c:pt>
                <c:pt idx="49908">
                  <c:v>-3.3613445378151102E-3</c:v>
                </c:pt>
                <c:pt idx="49909">
                  <c:v>-3.3613445378151102E-3</c:v>
                </c:pt>
                <c:pt idx="49910">
                  <c:v>-3.3613445378151102E-3</c:v>
                </c:pt>
                <c:pt idx="49911">
                  <c:v>-3.3613445378151102E-3</c:v>
                </c:pt>
                <c:pt idx="49912">
                  <c:v>-3.3613445378151102E-3</c:v>
                </c:pt>
                <c:pt idx="49913">
                  <c:v>-3.3613445378151102E-3</c:v>
                </c:pt>
                <c:pt idx="49914">
                  <c:v>-3.3613445378151102E-3</c:v>
                </c:pt>
                <c:pt idx="49915">
                  <c:v>-3.3613445378151102E-3</c:v>
                </c:pt>
                <c:pt idx="49916">
                  <c:v>-3.3613445378151102E-3</c:v>
                </c:pt>
                <c:pt idx="49917">
                  <c:v>-3.3613445378151102E-3</c:v>
                </c:pt>
                <c:pt idx="49918">
                  <c:v>-3.3613445378151102E-3</c:v>
                </c:pt>
                <c:pt idx="49919">
                  <c:v>-3.3613445378151102E-3</c:v>
                </c:pt>
                <c:pt idx="49920">
                  <c:v>-3.3613445378151102E-3</c:v>
                </c:pt>
                <c:pt idx="49921">
                  <c:v>-3.3613445378151102E-3</c:v>
                </c:pt>
                <c:pt idx="49922">
                  <c:v>-3.3613445378151102E-3</c:v>
                </c:pt>
                <c:pt idx="49923">
                  <c:v>-3.3613445378151102E-3</c:v>
                </c:pt>
                <c:pt idx="49924">
                  <c:v>-3.3613445378151102E-3</c:v>
                </c:pt>
                <c:pt idx="49925">
                  <c:v>-3.3613445378151102E-3</c:v>
                </c:pt>
                <c:pt idx="49926">
                  <c:v>-3.3613445378151102E-3</c:v>
                </c:pt>
                <c:pt idx="49927">
                  <c:v>-3.3613445378151102E-3</c:v>
                </c:pt>
                <c:pt idx="49928">
                  <c:v>-3.3613445378151102E-3</c:v>
                </c:pt>
                <c:pt idx="49929">
                  <c:v>-3.3613445378151102E-3</c:v>
                </c:pt>
                <c:pt idx="49930">
                  <c:v>-3.3613445378151102E-3</c:v>
                </c:pt>
                <c:pt idx="49931">
                  <c:v>-3.3613445378151102E-3</c:v>
                </c:pt>
                <c:pt idx="49932">
                  <c:v>-3.3613445378151102E-3</c:v>
                </c:pt>
                <c:pt idx="49933">
                  <c:v>-3.3613445378151102E-3</c:v>
                </c:pt>
                <c:pt idx="49934">
                  <c:v>-3.3613445378151102E-3</c:v>
                </c:pt>
                <c:pt idx="49935">
                  <c:v>-3.3613445378151102E-3</c:v>
                </c:pt>
                <c:pt idx="49936">
                  <c:v>-3.3613445378151102E-3</c:v>
                </c:pt>
                <c:pt idx="49937">
                  <c:v>-3.3613445378151102E-3</c:v>
                </c:pt>
                <c:pt idx="49938">
                  <c:v>-3.3613445378151102E-3</c:v>
                </c:pt>
                <c:pt idx="49939">
                  <c:v>-3.3613445378151102E-3</c:v>
                </c:pt>
                <c:pt idx="49940">
                  <c:v>-3.3613445378151102E-3</c:v>
                </c:pt>
                <c:pt idx="49941">
                  <c:v>-3.3613445378151102E-3</c:v>
                </c:pt>
                <c:pt idx="49942">
                  <c:v>-3.3613445378151102E-3</c:v>
                </c:pt>
                <c:pt idx="49943">
                  <c:v>-3.3613445378151102E-3</c:v>
                </c:pt>
                <c:pt idx="49944">
                  <c:v>-3.3613445378151102E-3</c:v>
                </c:pt>
                <c:pt idx="49945">
                  <c:v>-3.3613445378151102E-3</c:v>
                </c:pt>
                <c:pt idx="49946">
                  <c:v>-3.3613445378151102E-3</c:v>
                </c:pt>
                <c:pt idx="49947">
                  <c:v>-3.3613445378151102E-3</c:v>
                </c:pt>
                <c:pt idx="49948">
                  <c:v>-3.3613445378151102E-3</c:v>
                </c:pt>
                <c:pt idx="49949">
                  <c:v>-3.3613445378151102E-3</c:v>
                </c:pt>
                <c:pt idx="49950">
                  <c:v>-3.3613445378151102E-3</c:v>
                </c:pt>
                <c:pt idx="49951">
                  <c:v>-3.3613445378151102E-3</c:v>
                </c:pt>
                <c:pt idx="49952">
                  <c:v>-3.3613445378151102E-3</c:v>
                </c:pt>
                <c:pt idx="49953">
                  <c:v>-3.3613445378151102E-3</c:v>
                </c:pt>
                <c:pt idx="49954">
                  <c:v>-3.3613445378151102E-3</c:v>
                </c:pt>
                <c:pt idx="49955">
                  <c:v>-3.3613445378151102E-3</c:v>
                </c:pt>
                <c:pt idx="49956">
                  <c:v>-3.3613445378151102E-3</c:v>
                </c:pt>
                <c:pt idx="49957">
                  <c:v>-3.3613445378151102E-3</c:v>
                </c:pt>
                <c:pt idx="49958">
                  <c:v>-3.3613445378151102E-3</c:v>
                </c:pt>
                <c:pt idx="49959">
                  <c:v>-3.3613445378151102E-3</c:v>
                </c:pt>
                <c:pt idx="49960">
                  <c:v>-3.3613445378151102E-3</c:v>
                </c:pt>
                <c:pt idx="49961">
                  <c:v>-3.3613445378151102E-3</c:v>
                </c:pt>
                <c:pt idx="49962">
                  <c:v>-3.3613445378151102E-3</c:v>
                </c:pt>
                <c:pt idx="49963">
                  <c:v>-3.3613445378151102E-3</c:v>
                </c:pt>
                <c:pt idx="49964">
                  <c:v>-3.3613445378151102E-3</c:v>
                </c:pt>
                <c:pt idx="49965">
                  <c:v>-3.3613445378151102E-3</c:v>
                </c:pt>
                <c:pt idx="49966">
                  <c:v>-3.3613445378151102E-3</c:v>
                </c:pt>
                <c:pt idx="49967">
                  <c:v>-3.3613445378151102E-3</c:v>
                </c:pt>
                <c:pt idx="49968">
                  <c:v>-3.3613445378151102E-3</c:v>
                </c:pt>
                <c:pt idx="49969">
                  <c:v>-3.3613445378151102E-3</c:v>
                </c:pt>
                <c:pt idx="49970">
                  <c:v>-3.3613445378151102E-3</c:v>
                </c:pt>
                <c:pt idx="49971">
                  <c:v>-3.3613445378151102E-3</c:v>
                </c:pt>
                <c:pt idx="49972">
                  <c:v>-3.3613445378151102E-3</c:v>
                </c:pt>
                <c:pt idx="49973">
                  <c:v>-3.3613445378151102E-3</c:v>
                </c:pt>
                <c:pt idx="49974">
                  <c:v>-3.3613445378151102E-3</c:v>
                </c:pt>
                <c:pt idx="49975">
                  <c:v>-3.3613445378151102E-3</c:v>
                </c:pt>
                <c:pt idx="49976">
                  <c:v>-3.3613445378151102E-3</c:v>
                </c:pt>
                <c:pt idx="49977">
                  <c:v>-3.3613445378151102E-3</c:v>
                </c:pt>
                <c:pt idx="49978">
                  <c:v>-3.3613445378151102E-3</c:v>
                </c:pt>
                <c:pt idx="49979">
                  <c:v>-3.3613445378151102E-3</c:v>
                </c:pt>
                <c:pt idx="49980">
                  <c:v>-3.3613445378151102E-3</c:v>
                </c:pt>
                <c:pt idx="49981">
                  <c:v>-3.3613445378151102E-3</c:v>
                </c:pt>
                <c:pt idx="49982">
                  <c:v>-3.3613445378151102E-3</c:v>
                </c:pt>
                <c:pt idx="49983">
                  <c:v>-3.3613445378151102E-3</c:v>
                </c:pt>
                <c:pt idx="49984">
                  <c:v>-3.3613445378151102E-3</c:v>
                </c:pt>
                <c:pt idx="49985">
                  <c:v>-3.3613445378151102E-3</c:v>
                </c:pt>
                <c:pt idx="49986">
                  <c:v>-3.3613445378151102E-3</c:v>
                </c:pt>
                <c:pt idx="49987">
                  <c:v>-3.3613445378151102E-3</c:v>
                </c:pt>
                <c:pt idx="49988">
                  <c:v>-3.3613445378151102E-3</c:v>
                </c:pt>
                <c:pt idx="49989">
                  <c:v>-3.3613445378151102E-3</c:v>
                </c:pt>
                <c:pt idx="49990">
                  <c:v>-3.3613445378151102E-3</c:v>
                </c:pt>
                <c:pt idx="49991">
                  <c:v>-3.3613445378151102E-3</c:v>
                </c:pt>
                <c:pt idx="49992">
                  <c:v>-3.3613445378151102E-3</c:v>
                </c:pt>
                <c:pt idx="49993">
                  <c:v>-3.3613445378151102E-3</c:v>
                </c:pt>
                <c:pt idx="49994">
                  <c:v>-3.3613445378151102E-3</c:v>
                </c:pt>
                <c:pt idx="49995">
                  <c:v>-3.3613445378151102E-3</c:v>
                </c:pt>
                <c:pt idx="49996">
                  <c:v>-3.3613445378151102E-3</c:v>
                </c:pt>
                <c:pt idx="49997">
                  <c:v>-3.3613445378151102E-3</c:v>
                </c:pt>
                <c:pt idx="49998">
                  <c:v>-3.3613445378151102E-3</c:v>
                </c:pt>
                <c:pt idx="49999">
                  <c:v>-3.3613445378151102E-3</c:v>
                </c:pt>
                <c:pt idx="50000">
                  <c:v>-3.3613445378151102E-3</c:v>
                </c:pt>
                <c:pt idx="50001">
                  <c:v>-3.3613445378151102E-3</c:v>
                </c:pt>
                <c:pt idx="50002">
                  <c:v>-3.3613445378151102E-3</c:v>
                </c:pt>
                <c:pt idx="50003">
                  <c:v>-3.3613445378151102E-3</c:v>
                </c:pt>
                <c:pt idx="50004">
                  <c:v>-3.3613445378151102E-3</c:v>
                </c:pt>
                <c:pt idx="50005">
                  <c:v>-3.3613445378151102E-3</c:v>
                </c:pt>
                <c:pt idx="50006">
                  <c:v>-3.3613445378151102E-3</c:v>
                </c:pt>
                <c:pt idx="50007">
                  <c:v>-3.3613445378151102E-3</c:v>
                </c:pt>
                <c:pt idx="50008">
                  <c:v>-3.3613445378151102E-3</c:v>
                </c:pt>
                <c:pt idx="50009">
                  <c:v>-3.3613445378151102E-3</c:v>
                </c:pt>
                <c:pt idx="50010">
                  <c:v>-3.3613445378151102E-3</c:v>
                </c:pt>
                <c:pt idx="50011">
                  <c:v>-3.3613445378151102E-3</c:v>
                </c:pt>
                <c:pt idx="50012">
                  <c:v>-3.3613445378151102E-3</c:v>
                </c:pt>
                <c:pt idx="50013">
                  <c:v>-3.3613445378151102E-3</c:v>
                </c:pt>
                <c:pt idx="50014">
                  <c:v>-3.3613445378151102E-3</c:v>
                </c:pt>
                <c:pt idx="50015">
                  <c:v>-3.3613445378151102E-3</c:v>
                </c:pt>
                <c:pt idx="50016">
                  <c:v>-3.3613445378151102E-3</c:v>
                </c:pt>
                <c:pt idx="50017">
                  <c:v>-3.3613445378151102E-3</c:v>
                </c:pt>
                <c:pt idx="50018">
                  <c:v>-3.3613445378151102E-3</c:v>
                </c:pt>
                <c:pt idx="50019">
                  <c:v>-3.3613445378151102E-3</c:v>
                </c:pt>
                <c:pt idx="50020">
                  <c:v>-3.3613445378151102E-3</c:v>
                </c:pt>
                <c:pt idx="50021">
                  <c:v>-3.3613445378151102E-3</c:v>
                </c:pt>
                <c:pt idx="50022">
                  <c:v>-3.3613445378151102E-3</c:v>
                </c:pt>
                <c:pt idx="50023">
                  <c:v>-3.3613445378151102E-3</c:v>
                </c:pt>
                <c:pt idx="50024">
                  <c:v>-3.3613445378151102E-3</c:v>
                </c:pt>
                <c:pt idx="50025">
                  <c:v>-3.3613445378151102E-3</c:v>
                </c:pt>
                <c:pt idx="50026">
                  <c:v>-3.3613445378151102E-3</c:v>
                </c:pt>
                <c:pt idx="50027">
                  <c:v>-3.3613445378151102E-3</c:v>
                </c:pt>
                <c:pt idx="50028">
                  <c:v>-3.3613445378151102E-3</c:v>
                </c:pt>
                <c:pt idx="50029">
                  <c:v>-3.3613445378151102E-3</c:v>
                </c:pt>
                <c:pt idx="50030">
                  <c:v>-3.3613445378151102E-3</c:v>
                </c:pt>
                <c:pt idx="50031">
                  <c:v>-3.3613445378151102E-3</c:v>
                </c:pt>
                <c:pt idx="50032">
                  <c:v>-3.3613445378151102E-3</c:v>
                </c:pt>
                <c:pt idx="50033">
                  <c:v>-3.3613445378151102E-3</c:v>
                </c:pt>
                <c:pt idx="50034">
                  <c:v>-3.3613445378151102E-3</c:v>
                </c:pt>
                <c:pt idx="50035">
                  <c:v>-3.3613445378151102E-3</c:v>
                </c:pt>
                <c:pt idx="50036">
                  <c:v>-3.3613445378151102E-3</c:v>
                </c:pt>
                <c:pt idx="50037">
                  <c:v>-3.3613445378151102E-3</c:v>
                </c:pt>
                <c:pt idx="50038">
                  <c:v>-3.3613445378151102E-3</c:v>
                </c:pt>
                <c:pt idx="50039">
                  <c:v>-3.3613445378151102E-3</c:v>
                </c:pt>
                <c:pt idx="50040">
                  <c:v>-3.3613445378151102E-3</c:v>
                </c:pt>
                <c:pt idx="50041">
                  <c:v>-3.3613445378151102E-3</c:v>
                </c:pt>
                <c:pt idx="50042">
                  <c:v>-3.3613445378151102E-3</c:v>
                </c:pt>
                <c:pt idx="50043">
                  <c:v>-3.3613445378151102E-3</c:v>
                </c:pt>
                <c:pt idx="50044">
                  <c:v>-3.3613445378151102E-3</c:v>
                </c:pt>
                <c:pt idx="50045">
                  <c:v>-3.3613445378151102E-3</c:v>
                </c:pt>
                <c:pt idx="50046">
                  <c:v>-3.3613445378151102E-3</c:v>
                </c:pt>
                <c:pt idx="50047">
                  <c:v>-3.3613445378151102E-3</c:v>
                </c:pt>
                <c:pt idx="50048">
                  <c:v>-3.3613445378151102E-3</c:v>
                </c:pt>
                <c:pt idx="50049">
                  <c:v>-3.3613445378151102E-3</c:v>
                </c:pt>
                <c:pt idx="50050">
                  <c:v>-3.3613445378151102E-3</c:v>
                </c:pt>
                <c:pt idx="50051">
                  <c:v>-3.3613445378151102E-3</c:v>
                </c:pt>
                <c:pt idx="50052">
                  <c:v>-3.3613445378151102E-3</c:v>
                </c:pt>
                <c:pt idx="50053">
                  <c:v>-3.3613445378151102E-3</c:v>
                </c:pt>
                <c:pt idx="50054">
                  <c:v>-3.3613445378151102E-3</c:v>
                </c:pt>
                <c:pt idx="50055">
                  <c:v>-3.3613445378151102E-3</c:v>
                </c:pt>
                <c:pt idx="50056">
                  <c:v>-3.3613445378151102E-3</c:v>
                </c:pt>
                <c:pt idx="50057">
                  <c:v>-3.3613445378151102E-3</c:v>
                </c:pt>
                <c:pt idx="50058">
                  <c:v>-3.3613445378151102E-3</c:v>
                </c:pt>
                <c:pt idx="50059">
                  <c:v>-3.3613445378151102E-3</c:v>
                </c:pt>
                <c:pt idx="50060">
                  <c:v>-3.3613445378151102E-3</c:v>
                </c:pt>
                <c:pt idx="50061">
                  <c:v>-3.3613445378151102E-3</c:v>
                </c:pt>
                <c:pt idx="50062">
                  <c:v>-3.3613445378151102E-3</c:v>
                </c:pt>
                <c:pt idx="50063">
                  <c:v>-3.3613445378151102E-3</c:v>
                </c:pt>
                <c:pt idx="50064">
                  <c:v>-3.3613445378151102E-3</c:v>
                </c:pt>
                <c:pt idx="50065">
                  <c:v>-3.3613445378151102E-3</c:v>
                </c:pt>
                <c:pt idx="50066">
                  <c:v>-3.3613445378151102E-3</c:v>
                </c:pt>
                <c:pt idx="50067">
                  <c:v>-3.3613445378151102E-3</c:v>
                </c:pt>
                <c:pt idx="50068">
                  <c:v>-3.3613445378151102E-3</c:v>
                </c:pt>
                <c:pt idx="50069">
                  <c:v>-3.3613445378151102E-3</c:v>
                </c:pt>
                <c:pt idx="50070">
                  <c:v>-3.3613445378151102E-3</c:v>
                </c:pt>
                <c:pt idx="50071">
                  <c:v>-3.3613445378151102E-3</c:v>
                </c:pt>
                <c:pt idx="50072">
                  <c:v>-3.3613445378151102E-3</c:v>
                </c:pt>
                <c:pt idx="50073">
                  <c:v>-3.3613445378151102E-3</c:v>
                </c:pt>
                <c:pt idx="50074">
                  <c:v>-3.3613445378151102E-3</c:v>
                </c:pt>
                <c:pt idx="50075">
                  <c:v>-3.3613445378151102E-3</c:v>
                </c:pt>
                <c:pt idx="50076">
                  <c:v>-3.3613445378151102E-3</c:v>
                </c:pt>
                <c:pt idx="50077">
                  <c:v>-3.3613445378151102E-3</c:v>
                </c:pt>
                <c:pt idx="50078">
                  <c:v>-3.3613445378151102E-3</c:v>
                </c:pt>
                <c:pt idx="50079">
                  <c:v>-3.3613445378151102E-3</c:v>
                </c:pt>
                <c:pt idx="50080">
                  <c:v>-3.3613445378151102E-3</c:v>
                </c:pt>
                <c:pt idx="50081">
                  <c:v>-3.3613445378151102E-3</c:v>
                </c:pt>
                <c:pt idx="50082">
                  <c:v>-3.3613445378151102E-3</c:v>
                </c:pt>
                <c:pt idx="50083">
                  <c:v>-3.3613445378151102E-3</c:v>
                </c:pt>
                <c:pt idx="50084">
                  <c:v>-3.3613445378151102E-3</c:v>
                </c:pt>
                <c:pt idx="50085">
                  <c:v>-3.3613445378151102E-3</c:v>
                </c:pt>
                <c:pt idx="50086">
                  <c:v>-3.3613445378151102E-3</c:v>
                </c:pt>
                <c:pt idx="50087">
                  <c:v>-3.3613445378151102E-3</c:v>
                </c:pt>
                <c:pt idx="50088">
                  <c:v>-3.3613445378151102E-3</c:v>
                </c:pt>
                <c:pt idx="50089">
                  <c:v>-3.3613445378151102E-3</c:v>
                </c:pt>
                <c:pt idx="50090">
                  <c:v>-3.3613445378151102E-3</c:v>
                </c:pt>
                <c:pt idx="50091">
                  <c:v>-3.3613445378151102E-3</c:v>
                </c:pt>
                <c:pt idx="50092">
                  <c:v>-3.3613445378151102E-3</c:v>
                </c:pt>
                <c:pt idx="50093">
                  <c:v>-3.3613445378151102E-3</c:v>
                </c:pt>
                <c:pt idx="50094">
                  <c:v>-3.3613445378151102E-3</c:v>
                </c:pt>
                <c:pt idx="50095">
                  <c:v>-3.3613445378151102E-3</c:v>
                </c:pt>
                <c:pt idx="50096">
                  <c:v>-3.3613445378151102E-3</c:v>
                </c:pt>
                <c:pt idx="50097">
                  <c:v>-3.3613445378151102E-3</c:v>
                </c:pt>
                <c:pt idx="50098">
                  <c:v>-3.3613445378151102E-3</c:v>
                </c:pt>
                <c:pt idx="50099">
                  <c:v>-3.3613445378151102E-3</c:v>
                </c:pt>
                <c:pt idx="50100">
                  <c:v>-3.3613445378151102E-3</c:v>
                </c:pt>
                <c:pt idx="50101">
                  <c:v>-3.3613445378151102E-3</c:v>
                </c:pt>
                <c:pt idx="50102">
                  <c:v>-3.3613445378151102E-3</c:v>
                </c:pt>
                <c:pt idx="50103">
                  <c:v>-3.3613445378151102E-3</c:v>
                </c:pt>
                <c:pt idx="50104">
                  <c:v>-3.3613445378151102E-3</c:v>
                </c:pt>
                <c:pt idx="50105">
                  <c:v>-3.3613445378151102E-3</c:v>
                </c:pt>
                <c:pt idx="50106">
                  <c:v>-3.3613445378151102E-3</c:v>
                </c:pt>
                <c:pt idx="50107">
                  <c:v>-3.3613445378151102E-3</c:v>
                </c:pt>
                <c:pt idx="50108">
                  <c:v>-3.3613445378151102E-3</c:v>
                </c:pt>
                <c:pt idx="50109">
                  <c:v>-3.3613445378151102E-3</c:v>
                </c:pt>
                <c:pt idx="50110">
                  <c:v>-3.3613445378151102E-3</c:v>
                </c:pt>
                <c:pt idx="50111">
                  <c:v>-3.3613445378151102E-3</c:v>
                </c:pt>
                <c:pt idx="50112">
                  <c:v>-3.3613445378151102E-3</c:v>
                </c:pt>
                <c:pt idx="50113">
                  <c:v>-3.3613445378151102E-3</c:v>
                </c:pt>
                <c:pt idx="50114">
                  <c:v>-3.3613445378151102E-3</c:v>
                </c:pt>
                <c:pt idx="50115">
                  <c:v>-3.3613445378151102E-3</c:v>
                </c:pt>
                <c:pt idx="50116">
                  <c:v>-3.3613445378151102E-3</c:v>
                </c:pt>
                <c:pt idx="50117">
                  <c:v>-3.3613445378151102E-3</c:v>
                </c:pt>
                <c:pt idx="50118">
                  <c:v>-3.3613445378151102E-3</c:v>
                </c:pt>
                <c:pt idx="50119">
                  <c:v>-3.3613445378151102E-3</c:v>
                </c:pt>
                <c:pt idx="50120">
                  <c:v>-3.3613445378151102E-3</c:v>
                </c:pt>
                <c:pt idx="50121">
                  <c:v>-3.3613445378151102E-3</c:v>
                </c:pt>
                <c:pt idx="50122">
                  <c:v>-3.3613445378151102E-3</c:v>
                </c:pt>
                <c:pt idx="50123">
                  <c:v>-3.3613445378151102E-3</c:v>
                </c:pt>
                <c:pt idx="50124">
                  <c:v>-3.3613445378151102E-3</c:v>
                </c:pt>
                <c:pt idx="50125">
                  <c:v>-3.3613445378151102E-3</c:v>
                </c:pt>
                <c:pt idx="50126">
                  <c:v>-3.3613445378151102E-3</c:v>
                </c:pt>
                <c:pt idx="50127">
                  <c:v>-3.3613445378151102E-3</c:v>
                </c:pt>
                <c:pt idx="50128">
                  <c:v>-3.3613445378151102E-3</c:v>
                </c:pt>
                <c:pt idx="50129">
                  <c:v>-3.3613445378151102E-3</c:v>
                </c:pt>
                <c:pt idx="50130">
                  <c:v>-3.3613445378151102E-3</c:v>
                </c:pt>
                <c:pt idx="50131">
                  <c:v>-3.3613445378151102E-3</c:v>
                </c:pt>
                <c:pt idx="50132">
                  <c:v>-2.5210084033613299E-3</c:v>
                </c:pt>
                <c:pt idx="50133">
                  <c:v>-2.5210084033613299E-3</c:v>
                </c:pt>
                <c:pt idx="50134">
                  <c:v>-2.5210084033613299E-3</c:v>
                </c:pt>
                <c:pt idx="50135">
                  <c:v>-2.5210084033613299E-3</c:v>
                </c:pt>
                <c:pt idx="50136">
                  <c:v>-2.5210084033613299E-3</c:v>
                </c:pt>
                <c:pt idx="50137">
                  <c:v>-2.5210084033613299E-3</c:v>
                </c:pt>
                <c:pt idx="50138">
                  <c:v>-2.5210084033613299E-3</c:v>
                </c:pt>
                <c:pt idx="50139">
                  <c:v>-2.5210084033613299E-3</c:v>
                </c:pt>
                <c:pt idx="50140">
                  <c:v>-2.5210084033613299E-3</c:v>
                </c:pt>
                <c:pt idx="50141">
                  <c:v>-2.5210084033613299E-3</c:v>
                </c:pt>
                <c:pt idx="50142">
                  <c:v>-2.5210084033613299E-3</c:v>
                </c:pt>
                <c:pt idx="50143">
                  <c:v>-2.5210084033613299E-3</c:v>
                </c:pt>
                <c:pt idx="50144">
                  <c:v>-2.5210084033613299E-3</c:v>
                </c:pt>
                <c:pt idx="50145">
                  <c:v>-2.5210084033613299E-3</c:v>
                </c:pt>
                <c:pt idx="50146">
                  <c:v>-2.5210084033613299E-3</c:v>
                </c:pt>
                <c:pt idx="50147">
                  <c:v>-2.5210084033613299E-3</c:v>
                </c:pt>
                <c:pt idx="50148">
                  <c:v>-2.5210084033613299E-3</c:v>
                </c:pt>
                <c:pt idx="50149">
                  <c:v>-2.5210084033613299E-3</c:v>
                </c:pt>
                <c:pt idx="50150">
                  <c:v>-2.5210084033613299E-3</c:v>
                </c:pt>
                <c:pt idx="50151">
                  <c:v>-2.5210084033613299E-3</c:v>
                </c:pt>
                <c:pt idx="50152">
                  <c:v>-2.5210084033613299E-3</c:v>
                </c:pt>
                <c:pt idx="50153">
                  <c:v>-2.5210084033613299E-3</c:v>
                </c:pt>
                <c:pt idx="50154">
                  <c:v>-2.5210084033613299E-3</c:v>
                </c:pt>
                <c:pt idx="50155">
                  <c:v>-2.5210084033613299E-3</c:v>
                </c:pt>
                <c:pt idx="50156">
                  <c:v>-2.5210084033613299E-3</c:v>
                </c:pt>
                <c:pt idx="50157">
                  <c:v>-2.5210084033613299E-3</c:v>
                </c:pt>
                <c:pt idx="50158">
                  <c:v>-2.5210084033613299E-3</c:v>
                </c:pt>
                <c:pt idx="50159">
                  <c:v>-2.5210084033613299E-3</c:v>
                </c:pt>
                <c:pt idx="50160">
                  <c:v>-2.5210084033613299E-3</c:v>
                </c:pt>
                <c:pt idx="50161">
                  <c:v>-2.5210084033613299E-3</c:v>
                </c:pt>
                <c:pt idx="50162">
                  <c:v>-2.5210084033613299E-3</c:v>
                </c:pt>
                <c:pt idx="50163">
                  <c:v>-2.5210084033613299E-3</c:v>
                </c:pt>
                <c:pt idx="50164">
                  <c:v>-2.5210084033613299E-3</c:v>
                </c:pt>
                <c:pt idx="50165">
                  <c:v>-2.5210084033613299E-3</c:v>
                </c:pt>
                <c:pt idx="50166">
                  <c:v>-2.5210084033613299E-3</c:v>
                </c:pt>
                <c:pt idx="50167">
                  <c:v>-2.5210084033613299E-3</c:v>
                </c:pt>
                <c:pt idx="50168">
                  <c:v>-2.5210084033613299E-3</c:v>
                </c:pt>
                <c:pt idx="50169">
                  <c:v>-2.5210084033613299E-3</c:v>
                </c:pt>
                <c:pt idx="50170">
                  <c:v>-2.5210084033613299E-3</c:v>
                </c:pt>
                <c:pt idx="50171">
                  <c:v>-2.5210084033613299E-3</c:v>
                </c:pt>
                <c:pt idx="50172">
                  <c:v>-2.5210084033613299E-3</c:v>
                </c:pt>
                <c:pt idx="50173">
                  <c:v>-2.5210084033613299E-3</c:v>
                </c:pt>
                <c:pt idx="50174">
                  <c:v>-2.5210084033613299E-3</c:v>
                </c:pt>
                <c:pt idx="50175">
                  <c:v>-2.5210084033613299E-3</c:v>
                </c:pt>
                <c:pt idx="50176">
                  <c:v>-2.5210084033613299E-3</c:v>
                </c:pt>
                <c:pt idx="50177">
                  <c:v>-2.5210084033613299E-3</c:v>
                </c:pt>
                <c:pt idx="50178">
                  <c:v>-2.5210084033613299E-3</c:v>
                </c:pt>
                <c:pt idx="50179">
                  <c:v>-2.5210084033613299E-3</c:v>
                </c:pt>
                <c:pt idx="50180">
                  <c:v>-2.5210084033613299E-3</c:v>
                </c:pt>
                <c:pt idx="50181">
                  <c:v>-2.5210084033613299E-3</c:v>
                </c:pt>
                <c:pt idx="50182">
                  <c:v>-2.5210084033613299E-3</c:v>
                </c:pt>
                <c:pt idx="50183">
                  <c:v>-2.5210084033613299E-3</c:v>
                </c:pt>
                <c:pt idx="50184">
                  <c:v>-2.5210084033613299E-3</c:v>
                </c:pt>
                <c:pt idx="50185">
                  <c:v>-2.5210084033613299E-3</c:v>
                </c:pt>
                <c:pt idx="50186">
                  <c:v>-2.5210084033613299E-3</c:v>
                </c:pt>
                <c:pt idx="50187">
                  <c:v>-2.5210084033613299E-3</c:v>
                </c:pt>
                <c:pt idx="50188">
                  <c:v>-2.5210084033613299E-3</c:v>
                </c:pt>
                <c:pt idx="50189">
                  <c:v>-2.5210084033613299E-3</c:v>
                </c:pt>
                <c:pt idx="50190">
                  <c:v>-2.5210084033613299E-3</c:v>
                </c:pt>
                <c:pt idx="50191">
                  <c:v>-2.5210084033613299E-3</c:v>
                </c:pt>
                <c:pt idx="50192">
                  <c:v>-2.5210084033613299E-3</c:v>
                </c:pt>
                <c:pt idx="50193">
                  <c:v>-2.5210084033613299E-3</c:v>
                </c:pt>
                <c:pt idx="50194">
                  <c:v>-2.5210084033613299E-3</c:v>
                </c:pt>
                <c:pt idx="50195">
                  <c:v>-2.5210084033613299E-3</c:v>
                </c:pt>
                <c:pt idx="50196">
                  <c:v>-2.5210084033613299E-3</c:v>
                </c:pt>
                <c:pt idx="50197">
                  <c:v>-2.5210084033613299E-3</c:v>
                </c:pt>
                <c:pt idx="50198">
                  <c:v>-2.5210084033613299E-3</c:v>
                </c:pt>
                <c:pt idx="50199">
                  <c:v>-2.5210084033613299E-3</c:v>
                </c:pt>
                <c:pt idx="50200">
                  <c:v>-2.5210084033613299E-3</c:v>
                </c:pt>
                <c:pt idx="50201">
                  <c:v>-2.5210084033613299E-3</c:v>
                </c:pt>
                <c:pt idx="50202">
                  <c:v>-2.5210084033613299E-3</c:v>
                </c:pt>
                <c:pt idx="50203">
                  <c:v>-2.5210084033613299E-3</c:v>
                </c:pt>
                <c:pt idx="50204">
                  <c:v>-2.5210084033613299E-3</c:v>
                </c:pt>
                <c:pt idx="50205">
                  <c:v>-2.5210084033613299E-3</c:v>
                </c:pt>
                <c:pt idx="50206">
                  <c:v>-2.5210084033613299E-3</c:v>
                </c:pt>
                <c:pt idx="50207">
                  <c:v>-2.5210084033613299E-3</c:v>
                </c:pt>
                <c:pt idx="50208">
                  <c:v>-2.5210084033613299E-3</c:v>
                </c:pt>
                <c:pt idx="50209">
                  <c:v>-2.5210084033613299E-3</c:v>
                </c:pt>
                <c:pt idx="50210">
                  <c:v>-2.5210084033613299E-3</c:v>
                </c:pt>
                <c:pt idx="50211">
                  <c:v>-2.5210084033613299E-3</c:v>
                </c:pt>
                <c:pt idx="50212">
                  <c:v>-2.5210084033613299E-3</c:v>
                </c:pt>
                <c:pt idx="50213">
                  <c:v>-2.5210084033613299E-3</c:v>
                </c:pt>
                <c:pt idx="50214">
                  <c:v>-2.5210084033613299E-3</c:v>
                </c:pt>
                <c:pt idx="50215">
                  <c:v>-2.5210084033613299E-3</c:v>
                </c:pt>
                <c:pt idx="50216">
                  <c:v>-2.5210084033613299E-3</c:v>
                </c:pt>
                <c:pt idx="50217">
                  <c:v>-2.5210084033613299E-3</c:v>
                </c:pt>
                <c:pt idx="50218">
                  <c:v>-2.5210084033613299E-3</c:v>
                </c:pt>
                <c:pt idx="50219">
                  <c:v>-2.5210084033613299E-3</c:v>
                </c:pt>
                <c:pt idx="50220">
                  <c:v>-2.5210084033613299E-3</c:v>
                </c:pt>
                <c:pt idx="50221">
                  <c:v>-2.5210084033613299E-3</c:v>
                </c:pt>
                <c:pt idx="50222">
                  <c:v>-2.5210084033613299E-3</c:v>
                </c:pt>
                <c:pt idx="50223">
                  <c:v>-2.5210084033613299E-3</c:v>
                </c:pt>
                <c:pt idx="50224">
                  <c:v>-2.5210084033613299E-3</c:v>
                </c:pt>
                <c:pt idx="50225">
                  <c:v>-2.5210084033613299E-3</c:v>
                </c:pt>
                <c:pt idx="50226">
                  <c:v>-2.5210084033613299E-3</c:v>
                </c:pt>
                <c:pt idx="50227">
                  <c:v>-2.5210084033613299E-3</c:v>
                </c:pt>
                <c:pt idx="50228">
                  <c:v>-2.5210084033613299E-3</c:v>
                </c:pt>
                <c:pt idx="50229">
                  <c:v>-2.5210084033613299E-3</c:v>
                </c:pt>
                <c:pt idx="50230">
                  <c:v>-2.5210084033613299E-3</c:v>
                </c:pt>
                <c:pt idx="50231">
                  <c:v>-2.5210084033613299E-3</c:v>
                </c:pt>
                <c:pt idx="50232">
                  <c:v>-2.5210084033613299E-3</c:v>
                </c:pt>
                <c:pt idx="50233">
                  <c:v>-2.5210084033613299E-3</c:v>
                </c:pt>
                <c:pt idx="50234">
                  <c:v>-2.5210084033613299E-3</c:v>
                </c:pt>
                <c:pt idx="50235">
                  <c:v>-2.5210084033613299E-3</c:v>
                </c:pt>
                <c:pt idx="50236">
                  <c:v>-2.5210084033613299E-3</c:v>
                </c:pt>
                <c:pt idx="50237">
                  <c:v>-2.5210084033613299E-3</c:v>
                </c:pt>
                <c:pt idx="50238">
                  <c:v>-2.5210084033613299E-3</c:v>
                </c:pt>
                <c:pt idx="50239">
                  <c:v>-2.5210084033613299E-3</c:v>
                </c:pt>
                <c:pt idx="50240">
                  <c:v>-2.5210084033613299E-3</c:v>
                </c:pt>
                <c:pt idx="50241">
                  <c:v>-2.5210084033613299E-3</c:v>
                </c:pt>
                <c:pt idx="50242">
                  <c:v>-2.5210084033613299E-3</c:v>
                </c:pt>
                <c:pt idx="50243">
                  <c:v>-2.5210084033613299E-3</c:v>
                </c:pt>
                <c:pt idx="50244">
                  <c:v>-2.5210084033613299E-3</c:v>
                </c:pt>
                <c:pt idx="50245">
                  <c:v>-2.5210084033613299E-3</c:v>
                </c:pt>
                <c:pt idx="50246">
                  <c:v>-2.5210084033613299E-3</c:v>
                </c:pt>
                <c:pt idx="50247">
                  <c:v>-2.5210084033613299E-3</c:v>
                </c:pt>
                <c:pt idx="50248">
                  <c:v>-2.5210084033613299E-3</c:v>
                </c:pt>
                <c:pt idx="50249">
                  <c:v>-2.5210084033613299E-3</c:v>
                </c:pt>
                <c:pt idx="50250">
                  <c:v>-2.5210084033613299E-3</c:v>
                </c:pt>
                <c:pt idx="50251">
                  <c:v>-2.5210084033613299E-3</c:v>
                </c:pt>
                <c:pt idx="50252">
                  <c:v>-2.5210084033613299E-3</c:v>
                </c:pt>
                <c:pt idx="50253">
                  <c:v>-2.5210084033613299E-3</c:v>
                </c:pt>
                <c:pt idx="50254">
                  <c:v>-2.5210084033613299E-3</c:v>
                </c:pt>
                <c:pt idx="50255">
                  <c:v>-2.5210084033613299E-3</c:v>
                </c:pt>
                <c:pt idx="50256">
                  <c:v>-2.5210084033613299E-3</c:v>
                </c:pt>
                <c:pt idx="50257">
                  <c:v>-2.5210084033613299E-3</c:v>
                </c:pt>
                <c:pt idx="50258">
                  <c:v>-2.5210084033613299E-3</c:v>
                </c:pt>
                <c:pt idx="50259">
                  <c:v>-2.5210084033613299E-3</c:v>
                </c:pt>
                <c:pt idx="50260">
                  <c:v>-2.5210084033613299E-3</c:v>
                </c:pt>
                <c:pt idx="50261">
                  <c:v>-2.5210084033613299E-3</c:v>
                </c:pt>
                <c:pt idx="50262">
                  <c:v>-2.5210084033613299E-3</c:v>
                </c:pt>
                <c:pt idx="50263">
                  <c:v>-2.5210084033613299E-3</c:v>
                </c:pt>
                <c:pt idx="50264">
                  <c:v>-2.5210084033613299E-3</c:v>
                </c:pt>
                <c:pt idx="50265">
                  <c:v>-2.5210084033613299E-3</c:v>
                </c:pt>
                <c:pt idx="50266">
                  <c:v>-2.5210084033613299E-3</c:v>
                </c:pt>
                <c:pt idx="50267">
                  <c:v>-2.5210084033613299E-3</c:v>
                </c:pt>
                <c:pt idx="50268">
                  <c:v>-2.5210084033613299E-3</c:v>
                </c:pt>
                <c:pt idx="50269">
                  <c:v>-2.5210084033613299E-3</c:v>
                </c:pt>
                <c:pt idx="50270">
                  <c:v>-2.5210084033613299E-3</c:v>
                </c:pt>
                <c:pt idx="50271">
                  <c:v>-2.5210084033613299E-3</c:v>
                </c:pt>
                <c:pt idx="50272">
                  <c:v>-2.5210084033613299E-3</c:v>
                </c:pt>
                <c:pt idx="50273">
                  <c:v>-2.5210084033613299E-3</c:v>
                </c:pt>
                <c:pt idx="50274">
                  <c:v>-2.5210084033613299E-3</c:v>
                </c:pt>
                <c:pt idx="50275">
                  <c:v>-2.5210084033613299E-3</c:v>
                </c:pt>
                <c:pt idx="50276">
                  <c:v>-2.5210084033613299E-3</c:v>
                </c:pt>
                <c:pt idx="50277">
                  <c:v>-2.5210084033613299E-3</c:v>
                </c:pt>
                <c:pt idx="50278">
                  <c:v>-2.5210084033613299E-3</c:v>
                </c:pt>
                <c:pt idx="50279">
                  <c:v>-2.5210084033613299E-3</c:v>
                </c:pt>
                <c:pt idx="50280">
                  <c:v>-2.5210084033613299E-3</c:v>
                </c:pt>
                <c:pt idx="50281">
                  <c:v>-2.5210084033613299E-3</c:v>
                </c:pt>
                <c:pt idx="50282">
                  <c:v>-2.5210084033613299E-3</c:v>
                </c:pt>
                <c:pt idx="50283">
                  <c:v>-2.5210084033613299E-3</c:v>
                </c:pt>
                <c:pt idx="50284">
                  <c:v>-2.5210084033613299E-3</c:v>
                </c:pt>
                <c:pt idx="50285">
                  <c:v>-2.5210084033613299E-3</c:v>
                </c:pt>
                <c:pt idx="50286">
                  <c:v>-2.5210084033613299E-3</c:v>
                </c:pt>
                <c:pt idx="50287">
                  <c:v>-2.5210084033613299E-3</c:v>
                </c:pt>
                <c:pt idx="50288">
                  <c:v>-2.5210084033613299E-3</c:v>
                </c:pt>
                <c:pt idx="50289">
                  <c:v>-2.5210084033613299E-3</c:v>
                </c:pt>
                <c:pt idx="50290">
                  <c:v>-2.5210084033613299E-3</c:v>
                </c:pt>
                <c:pt idx="50291">
                  <c:v>-2.5210084033613299E-3</c:v>
                </c:pt>
                <c:pt idx="50292">
                  <c:v>-2.5210084033613299E-3</c:v>
                </c:pt>
                <c:pt idx="50293">
                  <c:v>-2.5210084033613299E-3</c:v>
                </c:pt>
                <c:pt idx="50294">
                  <c:v>-2.5210084033613299E-3</c:v>
                </c:pt>
                <c:pt idx="50295">
                  <c:v>-2.5210084033613299E-3</c:v>
                </c:pt>
                <c:pt idx="50296">
                  <c:v>-2.5210084033613299E-3</c:v>
                </c:pt>
                <c:pt idx="50297">
                  <c:v>-2.5210084033613299E-3</c:v>
                </c:pt>
                <c:pt idx="50298">
                  <c:v>-2.5210084033613299E-3</c:v>
                </c:pt>
                <c:pt idx="50299">
                  <c:v>-2.5210084033613299E-3</c:v>
                </c:pt>
                <c:pt idx="50300">
                  <c:v>-2.5210084033613299E-3</c:v>
                </c:pt>
                <c:pt idx="50301">
                  <c:v>-2.5210084033613299E-3</c:v>
                </c:pt>
                <c:pt idx="50302">
                  <c:v>-2.5210084033613299E-3</c:v>
                </c:pt>
                <c:pt idx="50303">
                  <c:v>-2.5210084033613299E-3</c:v>
                </c:pt>
                <c:pt idx="50304">
                  <c:v>-2.5210084033613299E-3</c:v>
                </c:pt>
                <c:pt idx="50305">
                  <c:v>-2.5210084033613299E-3</c:v>
                </c:pt>
                <c:pt idx="50306">
                  <c:v>-2.5210084033613299E-3</c:v>
                </c:pt>
                <c:pt idx="50307">
                  <c:v>-2.5210084033613299E-3</c:v>
                </c:pt>
                <c:pt idx="50308">
                  <c:v>-2.5210084033613299E-3</c:v>
                </c:pt>
                <c:pt idx="50309">
                  <c:v>-2.5210084033613299E-3</c:v>
                </c:pt>
                <c:pt idx="50310">
                  <c:v>-2.5210084033613299E-3</c:v>
                </c:pt>
                <c:pt idx="50311">
                  <c:v>-2.5210084033613299E-3</c:v>
                </c:pt>
                <c:pt idx="50312">
                  <c:v>-2.5210084033613299E-3</c:v>
                </c:pt>
                <c:pt idx="50313">
                  <c:v>-2.5210084033613299E-3</c:v>
                </c:pt>
                <c:pt idx="50314">
                  <c:v>-2.5210084033613299E-3</c:v>
                </c:pt>
                <c:pt idx="50315">
                  <c:v>-2.5210084033613299E-3</c:v>
                </c:pt>
                <c:pt idx="50316">
                  <c:v>-2.5210084033613299E-3</c:v>
                </c:pt>
                <c:pt idx="50317">
                  <c:v>-2.5210084033613299E-3</c:v>
                </c:pt>
                <c:pt idx="50318">
                  <c:v>-2.5210084033613299E-3</c:v>
                </c:pt>
                <c:pt idx="50319">
                  <c:v>-2.5210084033613299E-3</c:v>
                </c:pt>
                <c:pt idx="50320">
                  <c:v>-2.5210084033613299E-3</c:v>
                </c:pt>
                <c:pt idx="50321">
                  <c:v>-2.5210084033613299E-3</c:v>
                </c:pt>
                <c:pt idx="50322">
                  <c:v>-2.5210084033613299E-3</c:v>
                </c:pt>
                <c:pt idx="50323">
                  <c:v>-2.5210084033613299E-3</c:v>
                </c:pt>
                <c:pt idx="50324">
                  <c:v>-2.5210084033613299E-3</c:v>
                </c:pt>
                <c:pt idx="50325">
                  <c:v>-2.5210084033613299E-3</c:v>
                </c:pt>
                <c:pt idx="50326">
                  <c:v>-2.5210084033613299E-3</c:v>
                </c:pt>
                <c:pt idx="50327">
                  <c:v>-2.5210084033613299E-3</c:v>
                </c:pt>
                <c:pt idx="50328">
                  <c:v>-2.5210084033613299E-3</c:v>
                </c:pt>
                <c:pt idx="50329">
                  <c:v>-2.5210084033613299E-3</c:v>
                </c:pt>
                <c:pt idx="50330">
                  <c:v>-2.5210084033613299E-3</c:v>
                </c:pt>
                <c:pt idx="50331">
                  <c:v>-2.5210084033613299E-3</c:v>
                </c:pt>
                <c:pt idx="50332">
                  <c:v>-2.5210084033613299E-3</c:v>
                </c:pt>
                <c:pt idx="50333">
                  <c:v>-2.5210084033613299E-3</c:v>
                </c:pt>
                <c:pt idx="50334">
                  <c:v>-2.5210084033613299E-3</c:v>
                </c:pt>
                <c:pt idx="50335">
                  <c:v>-2.5210084033613299E-3</c:v>
                </c:pt>
                <c:pt idx="50336">
                  <c:v>-2.5210084033613299E-3</c:v>
                </c:pt>
                <c:pt idx="50337">
                  <c:v>-2.5210084033613299E-3</c:v>
                </c:pt>
                <c:pt idx="50338">
                  <c:v>-2.5210084033613299E-3</c:v>
                </c:pt>
                <c:pt idx="50339">
                  <c:v>-2.5210084033613299E-3</c:v>
                </c:pt>
                <c:pt idx="50340">
                  <c:v>-2.5210084033613299E-3</c:v>
                </c:pt>
                <c:pt idx="50341">
                  <c:v>-2.5210084033613299E-3</c:v>
                </c:pt>
                <c:pt idx="50342">
                  <c:v>-2.5210084033613299E-3</c:v>
                </c:pt>
                <c:pt idx="50343">
                  <c:v>-2.5210084033613299E-3</c:v>
                </c:pt>
                <c:pt idx="50344">
                  <c:v>-2.5210084033613299E-3</c:v>
                </c:pt>
                <c:pt idx="50345">
                  <c:v>-2.5210084033613299E-3</c:v>
                </c:pt>
                <c:pt idx="50346">
                  <c:v>-2.5210084033613299E-3</c:v>
                </c:pt>
                <c:pt idx="50347">
                  <c:v>-2.5210084033613299E-3</c:v>
                </c:pt>
                <c:pt idx="50348">
                  <c:v>-2.5210084033613299E-3</c:v>
                </c:pt>
                <c:pt idx="50349">
                  <c:v>-2.5210084033613299E-3</c:v>
                </c:pt>
                <c:pt idx="50350">
                  <c:v>-2.5210084033613299E-3</c:v>
                </c:pt>
                <c:pt idx="50351">
                  <c:v>-2.5210084033613299E-3</c:v>
                </c:pt>
                <c:pt idx="50352">
                  <c:v>-2.5210084033613299E-3</c:v>
                </c:pt>
                <c:pt idx="50353">
                  <c:v>-2.5210084033613299E-3</c:v>
                </c:pt>
                <c:pt idx="50354">
                  <c:v>-2.5210084033613299E-3</c:v>
                </c:pt>
                <c:pt idx="50355">
                  <c:v>-2.5210084033613299E-3</c:v>
                </c:pt>
                <c:pt idx="50356">
                  <c:v>-2.5210084033613299E-3</c:v>
                </c:pt>
                <c:pt idx="50357">
                  <c:v>-2.5210084033613299E-3</c:v>
                </c:pt>
                <c:pt idx="50358">
                  <c:v>-2.5210084033613299E-3</c:v>
                </c:pt>
                <c:pt idx="50359">
                  <c:v>-2.5210084033613299E-3</c:v>
                </c:pt>
                <c:pt idx="50360">
                  <c:v>-2.5210084033613299E-3</c:v>
                </c:pt>
                <c:pt idx="50361">
                  <c:v>-2.5210084033613299E-3</c:v>
                </c:pt>
                <c:pt idx="50362">
                  <c:v>-2.5210084033613299E-3</c:v>
                </c:pt>
                <c:pt idx="50363">
                  <c:v>-2.5210084033613299E-3</c:v>
                </c:pt>
                <c:pt idx="50364">
                  <c:v>-2.5210084033613299E-3</c:v>
                </c:pt>
                <c:pt idx="50365">
                  <c:v>-2.5210084033613299E-3</c:v>
                </c:pt>
                <c:pt idx="50366">
                  <c:v>-2.5210084033613299E-3</c:v>
                </c:pt>
                <c:pt idx="50367">
                  <c:v>-2.5210084033613299E-3</c:v>
                </c:pt>
                <c:pt idx="50368">
                  <c:v>-2.5210084033613299E-3</c:v>
                </c:pt>
                <c:pt idx="50369">
                  <c:v>-2.5210084033613299E-3</c:v>
                </c:pt>
                <c:pt idx="50370">
                  <c:v>-2.5210084033613299E-3</c:v>
                </c:pt>
                <c:pt idx="50371">
                  <c:v>-2.5210084033613299E-3</c:v>
                </c:pt>
                <c:pt idx="50372">
                  <c:v>-2.5210084033613299E-3</c:v>
                </c:pt>
                <c:pt idx="50373">
                  <c:v>-2.5210084033613299E-3</c:v>
                </c:pt>
                <c:pt idx="50374">
                  <c:v>-2.5210084033613299E-3</c:v>
                </c:pt>
                <c:pt idx="50375">
                  <c:v>-2.5210084033613299E-3</c:v>
                </c:pt>
                <c:pt idx="50376">
                  <c:v>-2.5210084033613299E-3</c:v>
                </c:pt>
                <c:pt idx="50377">
                  <c:v>-2.5210084033613299E-3</c:v>
                </c:pt>
                <c:pt idx="50378">
                  <c:v>-2.5210084033613299E-3</c:v>
                </c:pt>
                <c:pt idx="50379">
                  <c:v>-2.5210084033613299E-3</c:v>
                </c:pt>
                <c:pt idx="50380">
                  <c:v>-2.5210084033613299E-3</c:v>
                </c:pt>
                <c:pt idx="50381">
                  <c:v>-2.5210084033613299E-3</c:v>
                </c:pt>
                <c:pt idx="50382">
                  <c:v>-2.5210084033613299E-3</c:v>
                </c:pt>
                <c:pt idx="50383">
                  <c:v>-2.5210084033613299E-3</c:v>
                </c:pt>
                <c:pt idx="50384">
                  <c:v>-2.5210084033613299E-3</c:v>
                </c:pt>
                <c:pt idx="50385">
                  <c:v>-2.5210084033613299E-3</c:v>
                </c:pt>
                <c:pt idx="50386">
                  <c:v>-2.5210084033613299E-3</c:v>
                </c:pt>
                <c:pt idx="50387">
                  <c:v>-2.5210084033613299E-3</c:v>
                </c:pt>
                <c:pt idx="50388">
                  <c:v>-2.5210084033613299E-3</c:v>
                </c:pt>
                <c:pt idx="50389">
                  <c:v>-2.5210084033613299E-3</c:v>
                </c:pt>
                <c:pt idx="50390">
                  <c:v>-2.5210084033613299E-3</c:v>
                </c:pt>
                <c:pt idx="50391">
                  <c:v>-2.5210084033613299E-3</c:v>
                </c:pt>
                <c:pt idx="50392">
                  <c:v>-2.5210084033613299E-3</c:v>
                </c:pt>
                <c:pt idx="50393">
                  <c:v>-2.5210084033613299E-3</c:v>
                </c:pt>
                <c:pt idx="50394">
                  <c:v>-2.5210084033613299E-3</c:v>
                </c:pt>
                <c:pt idx="50395">
                  <c:v>-2.5210084033613299E-3</c:v>
                </c:pt>
                <c:pt idx="50396">
                  <c:v>-2.5210084033613299E-3</c:v>
                </c:pt>
                <c:pt idx="50397">
                  <c:v>-2.5210084033613299E-3</c:v>
                </c:pt>
                <c:pt idx="50398">
                  <c:v>-2.5210084033613299E-3</c:v>
                </c:pt>
                <c:pt idx="50399">
                  <c:v>-2.5210084033613299E-3</c:v>
                </c:pt>
                <c:pt idx="50400">
                  <c:v>-2.5210084033613299E-3</c:v>
                </c:pt>
                <c:pt idx="50401">
                  <c:v>-2.5210084033613299E-3</c:v>
                </c:pt>
                <c:pt idx="50402">
                  <c:v>-2.5210084033613299E-3</c:v>
                </c:pt>
                <c:pt idx="50403">
                  <c:v>-2.5210084033613299E-3</c:v>
                </c:pt>
                <c:pt idx="50404">
                  <c:v>-2.5210084033613299E-3</c:v>
                </c:pt>
                <c:pt idx="50405">
                  <c:v>-2.5210084033613299E-3</c:v>
                </c:pt>
                <c:pt idx="50406">
                  <c:v>-2.5210084033613299E-3</c:v>
                </c:pt>
                <c:pt idx="50407">
                  <c:v>-2.5210084033613299E-3</c:v>
                </c:pt>
                <c:pt idx="50408">
                  <c:v>-2.5210084033613299E-3</c:v>
                </c:pt>
                <c:pt idx="50409">
                  <c:v>-2.5210084033613299E-3</c:v>
                </c:pt>
                <c:pt idx="50410">
                  <c:v>-2.5210084033613299E-3</c:v>
                </c:pt>
                <c:pt idx="50411">
                  <c:v>-2.5210084033613299E-3</c:v>
                </c:pt>
                <c:pt idx="50412">
                  <c:v>-2.5210084033613299E-3</c:v>
                </c:pt>
                <c:pt idx="50413">
                  <c:v>-2.5210084033613299E-3</c:v>
                </c:pt>
                <c:pt idx="50414">
                  <c:v>-2.5210084033613299E-3</c:v>
                </c:pt>
                <c:pt idx="50415">
                  <c:v>-2.5210084033613299E-3</c:v>
                </c:pt>
                <c:pt idx="50416">
                  <c:v>-2.5210084033613299E-3</c:v>
                </c:pt>
                <c:pt idx="50417">
                  <c:v>-2.5210084033613299E-3</c:v>
                </c:pt>
                <c:pt idx="50418">
                  <c:v>-2.5210084033613299E-3</c:v>
                </c:pt>
                <c:pt idx="50419">
                  <c:v>-2.5210084033613299E-3</c:v>
                </c:pt>
                <c:pt idx="50420">
                  <c:v>-2.5210084033613299E-3</c:v>
                </c:pt>
                <c:pt idx="50421">
                  <c:v>-2.5210084033613299E-3</c:v>
                </c:pt>
                <c:pt idx="50422">
                  <c:v>-2.5210084033613299E-3</c:v>
                </c:pt>
                <c:pt idx="50423">
                  <c:v>-2.5210084033613299E-3</c:v>
                </c:pt>
                <c:pt idx="50424">
                  <c:v>-2.5210084033613299E-3</c:v>
                </c:pt>
                <c:pt idx="50425">
                  <c:v>-2.5210084033613299E-3</c:v>
                </c:pt>
                <c:pt idx="50426">
                  <c:v>-2.5210084033613299E-3</c:v>
                </c:pt>
                <c:pt idx="50427">
                  <c:v>-2.5210084033613299E-3</c:v>
                </c:pt>
                <c:pt idx="50428">
                  <c:v>-2.5210084033613299E-3</c:v>
                </c:pt>
                <c:pt idx="50429">
                  <c:v>-2.5210084033613299E-3</c:v>
                </c:pt>
                <c:pt idx="50430">
                  <c:v>-2.5210084033613299E-3</c:v>
                </c:pt>
                <c:pt idx="50431">
                  <c:v>-2.5210084033613299E-3</c:v>
                </c:pt>
                <c:pt idx="50432">
                  <c:v>-2.5210084033613299E-3</c:v>
                </c:pt>
                <c:pt idx="50433">
                  <c:v>-2.5210084033613299E-3</c:v>
                </c:pt>
                <c:pt idx="50434">
                  <c:v>-2.5210084033613299E-3</c:v>
                </c:pt>
                <c:pt idx="50435">
                  <c:v>-2.5210084033613299E-3</c:v>
                </c:pt>
                <c:pt idx="50436">
                  <c:v>-2.5210084033613299E-3</c:v>
                </c:pt>
                <c:pt idx="50437">
                  <c:v>-2.5210084033613299E-3</c:v>
                </c:pt>
                <c:pt idx="50438">
                  <c:v>-2.5210084033613299E-3</c:v>
                </c:pt>
                <c:pt idx="50439">
                  <c:v>-2.5210084033613299E-3</c:v>
                </c:pt>
                <c:pt idx="50440">
                  <c:v>-2.5210084033613299E-3</c:v>
                </c:pt>
                <c:pt idx="50441">
                  <c:v>-2.5210084033613299E-3</c:v>
                </c:pt>
                <c:pt idx="50442">
                  <c:v>-2.5210084033613299E-3</c:v>
                </c:pt>
                <c:pt idx="50443">
                  <c:v>-2.5210084033613299E-3</c:v>
                </c:pt>
                <c:pt idx="50444">
                  <c:v>-2.5210084033613299E-3</c:v>
                </c:pt>
                <c:pt idx="50445">
                  <c:v>-2.5210084033613299E-3</c:v>
                </c:pt>
                <c:pt idx="50446">
                  <c:v>-2.5210084033613299E-3</c:v>
                </c:pt>
                <c:pt idx="50447">
                  <c:v>-2.5210084033613299E-3</c:v>
                </c:pt>
                <c:pt idx="50448">
                  <c:v>-2.5210084033613299E-3</c:v>
                </c:pt>
                <c:pt idx="50449">
                  <c:v>-2.5210084033613299E-3</c:v>
                </c:pt>
                <c:pt idx="50450">
                  <c:v>-2.5210084033613299E-3</c:v>
                </c:pt>
                <c:pt idx="50451">
                  <c:v>-2.5210084033613299E-3</c:v>
                </c:pt>
                <c:pt idx="50452">
                  <c:v>-2.5210084033613299E-3</c:v>
                </c:pt>
                <c:pt idx="50453">
                  <c:v>-2.5210084033613299E-3</c:v>
                </c:pt>
                <c:pt idx="50454">
                  <c:v>-2.5210084033613299E-3</c:v>
                </c:pt>
                <c:pt idx="50455">
                  <c:v>-2.5210084033613299E-3</c:v>
                </c:pt>
                <c:pt idx="50456">
                  <c:v>-2.5210084033613299E-3</c:v>
                </c:pt>
                <c:pt idx="50457">
                  <c:v>-2.5210084033613299E-3</c:v>
                </c:pt>
                <c:pt idx="50458">
                  <c:v>-2.5210084033613299E-3</c:v>
                </c:pt>
                <c:pt idx="50459">
                  <c:v>-2.5210084033613299E-3</c:v>
                </c:pt>
                <c:pt idx="50460">
                  <c:v>-2.5210084033613299E-3</c:v>
                </c:pt>
                <c:pt idx="50461">
                  <c:v>-2.5210084033613299E-3</c:v>
                </c:pt>
                <c:pt idx="50462">
                  <c:v>-2.5210084033613299E-3</c:v>
                </c:pt>
                <c:pt idx="50463">
                  <c:v>-2.5210084033613299E-3</c:v>
                </c:pt>
                <c:pt idx="50464">
                  <c:v>-2.5210084033613299E-3</c:v>
                </c:pt>
                <c:pt idx="50465">
                  <c:v>-2.5210084033613299E-3</c:v>
                </c:pt>
                <c:pt idx="50466">
                  <c:v>-2.5210084033613299E-3</c:v>
                </c:pt>
                <c:pt idx="50467">
                  <c:v>-2.5210084033613299E-3</c:v>
                </c:pt>
                <c:pt idx="50468">
                  <c:v>-2.5210084033613299E-3</c:v>
                </c:pt>
                <c:pt idx="50469">
                  <c:v>-2.5210084033613299E-3</c:v>
                </c:pt>
                <c:pt idx="50470">
                  <c:v>-2.5210084033613299E-3</c:v>
                </c:pt>
                <c:pt idx="50471">
                  <c:v>-2.5210084033613299E-3</c:v>
                </c:pt>
                <c:pt idx="50472">
                  <c:v>-2.5210084033613299E-3</c:v>
                </c:pt>
                <c:pt idx="50473">
                  <c:v>-2.5210084033613299E-3</c:v>
                </c:pt>
                <c:pt idx="50474">
                  <c:v>-2.5210084033613299E-3</c:v>
                </c:pt>
                <c:pt idx="50475">
                  <c:v>-2.5210084033613299E-3</c:v>
                </c:pt>
                <c:pt idx="50476">
                  <c:v>-2.5210084033613299E-3</c:v>
                </c:pt>
                <c:pt idx="50477">
                  <c:v>-2.5210084033613299E-3</c:v>
                </c:pt>
                <c:pt idx="50478">
                  <c:v>-2.5210084033613299E-3</c:v>
                </c:pt>
                <c:pt idx="50479">
                  <c:v>-2.5210084033613299E-3</c:v>
                </c:pt>
                <c:pt idx="50480">
                  <c:v>-2.5210084033613299E-3</c:v>
                </c:pt>
                <c:pt idx="50481">
                  <c:v>-2.5210084033613299E-3</c:v>
                </c:pt>
                <c:pt idx="50482">
                  <c:v>-2.5210084033613299E-3</c:v>
                </c:pt>
                <c:pt idx="50483">
                  <c:v>-2.5210084033613299E-3</c:v>
                </c:pt>
                <c:pt idx="50484">
                  <c:v>-2.5210084033613299E-3</c:v>
                </c:pt>
                <c:pt idx="50485">
                  <c:v>-2.5210084033613299E-3</c:v>
                </c:pt>
                <c:pt idx="50486">
                  <c:v>-2.5210084033613299E-3</c:v>
                </c:pt>
                <c:pt idx="50487">
                  <c:v>-2.5210084033613299E-3</c:v>
                </c:pt>
                <c:pt idx="50488">
                  <c:v>-2.5210084033613299E-3</c:v>
                </c:pt>
                <c:pt idx="50489">
                  <c:v>-2.5210084033613299E-3</c:v>
                </c:pt>
                <c:pt idx="50490">
                  <c:v>-2.5210084033613299E-3</c:v>
                </c:pt>
                <c:pt idx="50491">
                  <c:v>-2.5210084033613299E-3</c:v>
                </c:pt>
                <c:pt idx="50492">
                  <c:v>-2.5210084033613299E-3</c:v>
                </c:pt>
                <c:pt idx="50493">
                  <c:v>-2.5210084033613299E-3</c:v>
                </c:pt>
                <c:pt idx="50494">
                  <c:v>-2.5210084033613299E-3</c:v>
                </c:pt>
                <c:pt idx="50495">
                  <c:v>-2.5210084033613299E-3</c:v>
                </c:pt>
                <c:pt idx="50496">
                  <c:v>-2.5210084033613299E-3</c:v>
                </c:pt>
                <c:pt idx="50497">
                  <c:v>-2.5210084033613299E-3</c:v>
                </c:pt>
                <c:pt idx="50498">
                  <c:v>-2.5210084033613299E-3</c:v>
                </c:pt>
                <c:pt idx="50499">
                  <c:v>-2.5210084033613299E-3</c:v>
                </c:pt>
                <c:pt idx="50500">
                  <c:v>-2.5210084033613299E-3</c:v>
                </c:pt>
                <c:pt idx="50501">
                  <c:v>-2.5210084033613299E-3</c:v>
                </c:pt>
                <c:pt idx="50502">
                  <c:v>-2.5210084033613299E-3</c:v>
                </c:pt>
                <c:pt idx="50503">
                  <c:v>-2.5210084033613299E-3</c:v>
                </c:pt>
                <c:pt idx="50504">
                  <c:v>-2.5210084033613299E-3</c:v>
                </c:pt>
                <c:pt idx="50505">
                  <c:v>-2.5210084033613299E-3</c:v>
                </c:pt>
                <c:pt idx="50506">
                  <c:v>-2.5210084033613299E-3</c:v>
                </c:pt>
                <c:pt idx="50507">
                  <c:v>-2.5210084033613299E-3</c:v>
                </c:pt>
                <c:pt idx="50508">
                  <c:v>-2.5210084033613299E-3</c:v>
                </c:pt>
                <c:pt idx="50509">
                  <c:v>-2.5210084033613299E-3</c:v>
                </c:pt>
                <c:pt idx="50510">
                  <c:v>-2.5210084033613299E-3</c:v>
                </c:pt>
                <c:pt idx="50511">
                  <c:v>-2.5210084033613299E-3</c:v>
                </c:pt>
                <c:pt idx="50512">
                  <c:v>-2.5210084033613299E-3</c:v>
                </c:pt>
                <c:pt idx="50513">
                  <c:v>-2.5210084033613299E-3</c:v>
                </c:pt>
                <c:pt idx="50514">
                  <c:v>-2.5210084033613299E-3</c:v>
                </c:pt>
                <c:pt idx="50515">
                  <c:v>-2.5210084033613299E-3</c:v>
                </c:pt>
                <c:pt idx="50516">
                  <c:v>-2.5210084033613299E-3</c:v>
                </c:pt>
                <c:pt idx="50517">
                  <c:v>-2.5210084033613299E-3</c:v>
                </c:pt>
                <c:pt idx="50518">
                  <c:v>-2.5210084033613299E-3</c:v>
                </c:pt>
                <c:pt idx="50519">
                  <c:v>-2.5210084033613299E-3</c:v>
                </c:pt>
                <c:pt idx="50520">
                  <c:v>-2.5210084033613299E-3</c:v>
                </c:pt>
                <c:pt idx="50521">
                  <c:v>-2.5210084033613299E-3</c:v>
                </c:pt>
                <c:pt idx="50522">
                  <c:v>-2.5210084033613299E-3</c:v>
                </c:pt>
                <c:pt idx="50523">
                  <c:v>-2.5210084033613299E-3</c:v>
                </c:pt>
                <c:pt idx="50524">
                  <c:v>-2.5210084033613299E-3</c:v>
                </c:pt>
                <c:pt idx="50525">
                  <c:v>-2.5210084033613299E-3</c:v>
                </c:pt>
                <c:pt idx="50526">
                  <c:v>-2.5210084033613299E-3</c:v>
                </c:pt>
                <c:pt idx="50527">
                  <c:v>-2.5210084033613299E-3</c:v>
                </c:pt>
                <c:pt idx="50528">
                  <c:v>-2.5210084033613299E-3</c:v>
                </c:pt>
                <c:pt idx="50529">
                  <c:v>-2.5210084033613299E-3</c:v>
                </c:pt>
                <c:pt idx="50530">
                  <c:v>-2.5210084033613299E-3</c:v>
                </c:pt>
                <c:pt idx="50531">
                  <c:v>-2.5210084033613299E-3</c:v>
                </c:pt>
                <c:pt idx="50532">
                  <c:v>-2.5210084033613299E-3</c:v>
                </c:pt>
                <c:pt idx="50533">
                  <c:v>-2.5210084033613299E-3</c:v>
                </c:pt>
                <c:pt idx="50534">
                  <c:v>-2.5210084033613299E-3</c:v>
                </c:pt>
                <c:pt idx="50535">
                  <c:v>-2.5210084033613299E-3</c:v>
                </c:pt>
                <c:pt idx="50536">
                  <c:v>-2.5210084033613299E-3</c:v>
                </c:pt>
                <c:pt idx="50537">
                  <c:v>-2.5210084033613299E-3</c:v>
                </c:pt>
                <c:pt idx="50538">
                  <c:v>-2.5210084033613299E-3</c:v>
                </c:pt>
                <c:pt idx="50539">
                  <c:v>-2.5210084033613299E-3</c:v>
                </c:pt>
                <c:pt idx="50540">
                  <c:v>-2.5210084033613299E-3</c:v>
                </c:pt>
                <c:pt idx="50541">
                  <c:v>-2.5210084033613299E-3</c:v>
                </c:pt>
                <c:pt idx="50542">
                  <c:v>-2.5210084033613299E-3</c:v>
                </c:pt>
                <c:pt idx="50543">
                  <c:v>-2.5210084033613299E-3</c:v>
                </c:pt>
                <c:pt idx="50544">
                  <c:v>-2.5210084033613299E-3</c:v>
                </c:pt>
                <c:pt idx="50545">
                  <c:v>-2.5210084033613299E-3</c:v>
                </c:pt>
                <c:pt idx="50546">
                  <c:v>-2.5210084033613299E-3</c:v>
                </c:pt>
                <c:pt idx="50547">
                  <c:v>-2.5210084033613299E-3</c:v>
                </c:pt>
                <c:pt idx="50548">
                  <c:v>-2.5210084033613299E-3</c:v>
                </c:pt>
                <c:pt idx="50549">
                  <c:v>-2.5210084033613299E-3</c:v>
                </c:pt>
                <c:pt idx="50550">
                  <c:v>-2.5210084033613299E-3</c:v>
                </c:pt>
                <c:pt idx="50551">
                  <c:v>-2.5210084033613299E-3</c:v>
                </c:pt>
                <c:pt idx="50552">
                  <c:v>-2.5210084033613299E-3</c:v>
                </c:pt>
                <c:pt idx="50553">
                  <c:v>-2.5210084033613299E-3</c:v>
                </c:pt>
                <c:pt idx="50554">
                  <c:v>-2.5210084033613299E-3</c:v>
                </c:pt>
                <c:pt idx="50555">
                  <c:v>-2.5210084033613299E-3</c:v>
                </c:pt>
                <c:pt idx="50556">
                  <c:v>-2.5210084033613299E-3</c:v>
                </c:pt>
                <c:pt idx="50557">
                  <c:v>-2.5210084033613299E-3</c:v>
                </c:pt>
                <c:pt idx="50558">
                  <c:v>-2.5210084033613299E-3</c:v>
                </c:pt>
                <c:pt idx="50559">
                  <c:v>-2.5210084033613299E-3</c:v>
                </c:pt>
                <c:pt idx="50560">
                  <c:v>-2.5210084033613299E-3</c:v>
                </c:pt>
                <c:pt idx="50561">
                  <c:v>-2.5210084033613299E-3</c:v>
                </c:pt>
                <c:pt idx="50562">
                  <c:v>-2.5210084033613299E-3</c:v>
                </c:pt>
                <c:pt idx="50563">
                  <c:v>-2.5210084033613299E-3</c:v>
                </c:pt>
                <c:pt idx="50564">
                  <c:v>-2.5210084033613299E-3</c:v>
                </c:pt>
                <c:pt idx="50565">
                  <c:v>-2.5210084033613299E-3</c:v>
                </c:pt>
                <c:pt idx="50566">
                  <c:v>-2.5210084033613299E-3</c:v>
                </c:pt>
                <c:pt idx="50567">
                  <c:v>-2.5210084033613299E-3</c:v>
                </c:pt>
                <c:pt idx="50568">
                  <c:v>-2.5210084033613299E-3</c:v>
                </c:pt>
                <c:pt idx="50569">
                  <c:v>-2.5210084033613299E-3</c:v>
                </c:pt>
                <c:pt idx="50570">
                  <c:v>-2.5210084033613299E-3</c:v>
                </c:pt>
                <c:pt idx="50571">
                  <c:v>-2.5210084033613299E-3</c:v>
                </c:pt>
                <c:pt idx="50572">
                  <c:v>-2.5210084033613299E-3</c:v>
                </c:pt>
                <c:pt idx="50573">
                  <c:v>-2.5210084033613299E-3</c:v>
                </c:pt>
                <c:pt idx="50574">
                  <c:v>-2.5210084033613299E-3</c:v>
                </c:pt>
                <c:pt idx="50575">
                  <c:v>-2.5210084033613299E-3</c:v>
                </c:pt>
                <c:pt idx="50576">
                  <c:v>-2.5210084033613299E-3</c:v>
                </c:pt>
                <c:pt idx="50577">
                  <c:v>-2.5210084033613299E-3</c:v>
                </c:pt>
                <c:pt idx="50578">
                  <c:v>-2.5210084033613299E-3</c:v>
                </c:pt>
                <c:pt idx="50579">
                  <c:v>-2.5210084033613299E-3</c:v>
                </c:pt>
                <c:pt idx="50580">
                  <c:v>-2.5210084033613299E-3</c:v>
                </c:pt>
                <c:pt idx="50581">
                  <c:v>-2.5210084033613299E-3</c:v>
                </c:pt>
                <c:pt idx="50582">
                  <c:v>-2.5210084033613299E-3</c:v>
                </c:pt>
                <c:pt idx="50583">
                  <c:v>-2.5210084033613299E-3</c:v>
                </c:pt>
                <c:pt idx="50584">
                  <c:v>-2.5210084033613299E-3</c:v>
                </c:pt>
                <c:pt idx="50585">
                  <c:v>-2.5210084033613299E-3</c:v>
                </c:pt>
                <c:pt idx="50586">
                  <c:v>-2.5210084033613299E-3</c:v>
                </c:pt>
                <c:pt idx="50587">
                  <c:v>-2.5210084033613299E-3</c:v>
                </c:pt>
                <c:pt idx="50588">
                  <c:v>-2.5210084033613299E-3</c:v>
                </c:pt>
                <c:pt idx="50589">
                  <c:v>-2.5210084033613299E-3</c:v>
                </c:pt>
                <c:pt idx="50590">
                  <c:v>-2.5210084033613299E-3</c:v>
                </c:pt>
                <c:pt idx="50591">
                  <c:v>-2.5210084033613299E-3</c:v>
                </c:pt>
                <c:pt idx="50592">
                  <c:v>-2.5210084033613299E-3</c:v>
                </c:pt>
                <c:pt idx="50593">
                  <c:v>-2.5210084033613299E-3</c:v>
                </c:pt>
                <c:pt idx="50594">
                  <c:v>-2.5210084033613299E-3</c:v>
                </c:pt>
                <c:pt idx="50595">
                  <c:v>-2.5210084033613299E-3</c:v>
                </c:pt>
                <c:pt idx="50596">
                  <c:v>-2.5210084033613299E-3</c:v>
                </c:pt>
                <c:pt idx="50597">
                  <c:v>-2.5210084033613299E-3</c:v>
                </c:pt>
                <c:pt idx="50598">
                  <c:v>-2.5210084033613299E-3</c:v>
                </c:pt>
                <c:pt idx="50599">
                  <c:v>-2.5210084033613299E-3</c:v>
                </c:pt>
                <c:pt idx="50600">
                  <c:v>-2.5210084033613299E-3</c:v>
                </c:pt>
                <c:pt idx="50601">
                  <c:v>-2.5210084033613299E-3</c:v>
                </c:pt>
                <c:pt idx="50602">
                  <c:v>-2.5210084033613299E-3</c:v>
                </c:pt>
                <c:pt idx="50603">
                  <c:v>-2.5210084033613299E-3</c:v>
                </c:pt>
                <c:pt idx="50604">
                  <c:v>-2.5210084033613299E-3</c:v>
                </c:pt>
                <c:pt idx="50605">
                  <c:v>-2.5210084033613299E-3</c:v>
                </c:pt>
                <c:pt idx="50606">
                  <c:v>-2.5210084033613299E-3</c:v>
                </c:pt>
                <c:pt idx="50607">
                  <c:v>-2.5210084033613299E-3</c:v>
                </c:pt>
                <c:pt idx="50608">
                  <c:v>-2.5210084033613299E-3</c:v>
                </c:pt>
                <c:pt idx="50609">
                  <c:v>-2.5210084033613299E-3</c:v>
                </c:pt>
                <c:pt idx="50610">
                  <c:v>-2.5210084033613299E-3</c:v>
                </c:pt>
                <c:pt idx="50611">
                  <c:v>-2.5210084033613299E-3</c:v>
                </c:pt>
                <c:pt idx="50612">
                  <c:v>-2.5210084033613299E-3</c:v>
                </c:pt>
                <c:pt idx="50613">
                  <c:v>-2.5210084033613299E-3</c:v>
                </c:pt>
                <c:pt idx="50614">
                  <c:v>-2.5210084033613299E-3</c:v>
                </c:pt>
                <c:pt idx="50615">
                  <c:v>-2.5210084033613299E-3</c:v>
                </c:pt>
                <c:pt idx="50616">
                  <c:v>-2.5210084033613299E-3</c:v>
                </c:pt>
                <c:pt idx="50617">
                  <c:v>-2.5210084033613299E-3</c:v>
                </c:pt>
                <c:pt idx="50618">
                  <c:v>-2.5210084033613299E-3</c:v>
                </c:pt>
                <c:pt idx="50619">
                  <c:v>-2.5210084033613299E-3</c:v>
                </c:pt>
                <c:pt idx="50620">
                  <c:v>-2.5210084033613299E-3</c:v>
                </c:pt>
                <c:pt idx="50621">
                  <c:v>-2.5210084033613299E-3</c:v>
                </c:pt>
                <c:pt idx="50622">
                  <c:v>-2.5210084033613299E-3</c:v>
                </c:pt>
                <c:pt idx="50623">
                  <c:v>-2.5210084033613299E-3</c:v>
                </c:pt>
                <c:pt idx="50624">
                  <c:v>-2.5210084033613299E-3</c:v>
                </c:pt>
                <c:pt idx="50625">
                  <c:v>-2.5210084033613299E-3</c:v>
                </c:pt>
                <c:pt idx="50626">
                  <c:v>-2.5210084033613299E-3</c:v>
                </c:pt>
                <c:pt idx="50627">
                  <c:v>-2.5210084033613299E-3</c:v>
                </c:pt>
                <c:pt idx="50628">
                  <c:v>-2.5210084033613299E-3</c:v>
                </c:pt>
                <c:pt idx="50629">
                  <c:v>-2.5210084033613299E-3</c:v>
                </c:pt>
                <c:pt idx="50630">
                  <c:v>-2.5210084033613299E-3</c:v>
                </c:pt>
                <c:pt idx="50631">
                  <c:v>-2.5210084033613299E-3</c:v>
                </c:pt>
                <c:pt idx="50632">
                  <c:v>-2.5210084033613299E-3</c:v>
                </c:pt>
                <c:pt idx="50633">
                  <c:v>-2.5210084033613299E-3</c:v>
                </c:pt>
                <c:pt idx="50634">
                  <c:v>-2.5210084033613299E-3</c:v>
                </c:pt>
                <c:pt idx="50635">
                  <c:v>-2.5210084033613299E-3</c:v>
                </c:pt>
                <c:pt idx="50636">
                  <c:v>-2.5210084033613299E-3</c:v>
                </c:pt>
                <c:pt idx="50637">
                  <c:v>-2.5210084033613299E-3</c:v>
                </c:pt>
                <c:pt idx="50638">
                  <c:v>-2.5210084033613299E-3</c:v>
                </c:pt>
                <c:pt idx="50639">
                  <c:v>-2.5210084033613299E-3</c:v>
                </c:pt>
                <c:pt idx="50640">
                  <c:v>-2.5210084033613299E-3</c:v>
                </c:pt>
                <c:pt idx="50641">
                  <c:v>-2.5210084033613299E-3</c:v>
                </c:pt>
                <c:pt idx="50642">
                  <c:v>-2.5210084033613299E-3</c:v>
                </c:pt>
                <c:pt idx="50643">
                  <c:v>-2.5210084033613299E-3</c:v>
                </c:pt>
                <c:pt idx="50644">
                  <c:v>-2.5210084033613299E-3</c:v>
                </c:pt>
                <c:pt idx="50645">
                  <c:v>-2.5210084033613299E-3</c:v>
                </c:pt>
                <c:pt idx="50646">
                  <c:v>-2.5210084033613299E-3</c:v>
                </c:pt>
                <c:pt idx="50647">
                  <c:v>-2.5210084033613299E-3</c:v>
                </c:pt>
                <c:pt idx="50648">
                  <c:v>-2.5210084033613299E-3</c:v>
                </c:pt>
                <c:pt idx="50649">
                  <c:v>-2.5210084033613299E-3</c:v>
                </c:pt>
                <c:pt idx="50650">
                  <c:v>-2.5210084033613299E-3</c:v>
                </c:pt>
                <c:pt idx="50651">
                  <c:v>-2.5210084033613299E-3</c:v>
                </c:pt>
                <c:pt idx="50652">
                  <c:v>-2.5210084033613299E-3</c:v>
                </c:pt>
                <c:pt idx="50653">
                  <c:v>-2.5210084033613299E-3</c:v>
                </c:pt>
                <c:pt idx="50654">
                  <c:v>-2.5210084033613299E-3</c:v>
                </c:pt>
                <c:pt idx="50655">
                  <c:v>-2.5210084033613299E-3</c:v>
                </c:pt>
                <c:pt idx="50656">
                  <c:v>-2.5210084033613299E-3</c:v>
                </c:pt>
                <c:pt idx="50657">
                  <c:v>-2.5210084033613299E-3</c:v>
                </c:pt>
                <c:pt idx="50658">
                  <c:v>-2.5210084033613299E-3</c:v>
                </c:pt>
                <c:pt idx="50659">
                  <c:v>-1.6806722689075499E-3</c:v>
                </c:pt>
                <c:pt idx="50660">
                  <c:v>-1.6806722689075499E-3</c:v>
                </c:pt>
                <c:pt idx="50661">
                  <c:v>-1.6806722689075499E-3</c:v>
                </c:pt>
                <c:pt idx="50662">
                  <c:v>-1.6806722689075499E-3</c:v>
                </c:pt>
                <c:pt idx="50663">
                  <c:v>-1.6806722689075499E-3</c:v>
                </c:pt>
                <c:pt idx="50664">
                  <c:v>-1.6806722689075499E-3</c:v>
                </c:pt>
                <c:pt idx="50665">
                  <c:v>-1.6806722689075499E-3</c:v>
                </c:pt>
                <c:pt idx="50666">
                  <c:v>-1.6806722689075499E-3</c:v>
                </c:pt>
                <c:pt idx="50667">
                  <c:v>-1.6806722689075499E-3</c:v>
                </c:pt>
                <c:pt idx="50668">
                  <c:v>-1.6806722689075499E-3</c:v>
                </c:pt>
                <c:pt idx="50669">
                  <c:v>-1.6806722689075499E-3</c:v>
                </c:pt>
                <c:pt idx="50670">
                  <c:v>-1.6806722689075499E-3</c:v>
                </c:pt>
                <c:pt idx="50671">
                  <c:v>-1.6806722689075499E-3</c:v>
                </c:pt>
                <c:pt idx="50672">
                  <c:v>-1.6806722689075499E-3</c:v>
                </c:pt>
                <c:pt idx="50673">
                  <c:v>-1.6806722689075499E-3</c:v>
                </c:pt>
                <c:pt idx="50674">
                  <c:v>-1.6806722689075499E-3</c:v>
                </c:pt>
                <c:pt idx="50675">
                  <c:v>-1.6806722689075499E-3</c:v>
                </c:pt>
                <c:pt idx="50676">
                  <c:v>-1.6806722689075499E-3</c:v>
                </c:pt>
                <c:pt idx="50677">
                  <c:v>-1.6806722689075499E-3</c:v>
                </c:pt>
                <c:pt idx="50678">
                  <c:v>-1.6806722689075499E-3</c:v>
                </c:pt>
                <c:pt idx="50679">
                  <c:v>-1.6806722689075499E-3</c:v>
                </c:pt>
                <c:pt idx="50680">
                  <c:v>-1.6806722689075499E-3</c:v>
                </c:pt>
                <c:pt idx="50681">
                  <c:v>-1.6806722689075499E-3</c:v>
                </c:pt>
                <c:pt idx="50682">
                  <c:v>-1.6806722689075499E-3</c:v>
                </c:pt>
                <c:pt idx="50683">
                  <c:v>-1.6806722689075499E-3</c:v>
                </c:pt>
                <c:pt idx="50684">
                  <c:v>-1.6806722689075499E-3</c:v>
                </c:pt>
                <c:pt idx="50685">
                  <c:v>-1.6806722689075499E-3</c:v>
                </c:pt>
                <c:pt idx="50686">
                  <c:v>-1.6806722689075499E-3</c:v>
                </c:pt>
                <c:pt idx="50687">
                  <c:v>-1.6806722689075499E-3</c:v>
                </c:pt>
                <c:pt idx="50688">
                  <c:v>-1.6806722689075499E-3</c:v>
                </c:pt>
                <c:pt idx="50689">
                  <c:v>-1.6806722689075499E-3</c:v>
                </c:pt>
                <c:pt idx="50690">
                  <c:v>-1.6806722689075499E-3</c:v>
                </c:pt>
                <c:pt idx="50691">
                  <c:v>-1.6806722689075499E-3</c:v>
                </c:pt>
                <c:pt idx="50692">
                  <c:v>-1.6806722689075499E-3</c:v>
                </c:pt>
                <c:pt idx="50693">
                  <c:v>-1.6806722689075499E-3</c:v>
                </c:pt>
                <c:pt idx="50694">
                  <c:v>-1.6806722689075499E-3</c:v>
                </c:pt>
                <c:pt idx="50695">
                  <c:v>-1.6806722689075499E-3</c:v>
                </c:pt>
                <c:pt idx="50696">
                  <c:v>-1.6806722689075499E-3</c:v>
                </c:pt>
                <c:pt idx="50697">
                  <c:v>-1.6806722689075499E-3</c:v>
                </c:pt>
                <c:pt idx="50698">
                  <c:v>-1.6806722689075499E-3</c:v>
                </c:pt>
                <c:pt idx="50699">
                  <c:v>-1.6806722689075499E-3</c:v>
                </c:pt>
                <c:pt idx="50700">
                  <c:v>-1.6806722689075499E-3</c:v>
                </c:pt>
                <c:pt idx="50701">
                  <c:v>-1.6806722689075499E-3</c:v>
                </c:pt>
                <c:pt idx="50702">
                  <c:v>-1.6806722689075499E-3</c:v>
                </c:pt>
                <c:pt idx="50703">
                  <c:v>-1.6806722689075499E-3</c:v>
                </c:pt>
                <c:pt idx="50704">
                  <c:v>-1.6806722689075499E-3</c:v>
                </c:pt>
                <c:pt idx="50705">
                  <c:v>-1.6806722689075499E-3</c:v>
                </c:pt>
                <c:pt idx="50706">
                  <c:v>-1.6806722689075499E-3</c:v>
                </c:pt>
                <c:pt idx="50707">
                  <c:v>-1.6806722689075499E-3</c:v>
                </c:pt>
                <c:pt idx="50708">
                  <c:v>-1.6806722689075499E-3</c:v>
                </c:pt>
                <c:pt idx="50709">
                  <c:v>-1.6806722689075499E-3</c:v>
                </c:pt>
                <c:pt idx="50710">
                  <c:v>-1.6806722689075499E-3</c:v>
                </c:pt>
                <c:pt idx="50711">
                  <c:v>-1.6806722689075499E-3</c:v>
                </c:pt>
                <c:pt idx="50712">
                  <c:v>-1.6806722689075499E-3</c:v>
                </c:pt>
                <c:pt idx="50713">
                  <c:v>-1.6806722689075499E-3</c:v>
                </c:pt>
                <c:pt idx="50714">
                  <c:v>-1.6806722689075499E-3</c:v>
                </c:pt>
                <c:pt idx="50715">
                  <c:v>-1.6806722689075499E-3</c:v>
                </c:pt>
                <c:pt idx="50716">
                  <c:v>-1.6806722689075499E-3</c:v>
                </c:pt>
                <c:pt idx="50717">
                  <c:v>-1.6806722689075499E-3</c:v>
                </c:pt>
                <c:pt idx="50718">
                  <c:v>-1.6806722689075499E-3</c:v>
                </c:pt>
                <c:pt idx="50719">
                  <c:v>-1.6806722689075499E-3</c:v>
                </c:pt>
                <c:pt idx="50720">
                  <c:v>-1.6806722689075499E-3</c:v>
                </c:pt>
                <c:pt idx="50721">
                  <c:v>-1.6806722689075499E-3</c:v>
                </c:pt>
                <c:pt idx="50722">
                  <c:v>-1.6806722689075499E-3</c:v>
                </c:pt>
                <c:pt idx="50723">
                  <c:v>-1.6806722689075499E-3</c:v>
                </c:pt>
                <c:pt idx="50724">
                  <c:v>-1.6806722689075499E-3</c:v>
                </c:pt>
                <c:pt idx="50725">
                  <c:v>-1.6806722689075499E-3</c:v>
                </c:pt>
                <c:pt idx="50726">
                  <c:v>-1.6806722689075499E-3</c:v>
                </c:pt>
                <c:pt idx="50727">
                  <c:v>-1.6806722689075499E-3</c:v>
                </c:pt>
                <c:pt idx="50728">
                  <c:v>-1.6806722689075499E-3</c:v>
                </c:pt>
                <c:pt idx="50729">
                  <c:v>-1.6806722689075499E-3</c:v>
                </c:pt>
                <c:pt idx="50730">
                  <c:v>-1.6806722689075499E-3</c:v>
                </c:pt>
                <c:pt idx="50731">
                  <c:v>-1.6806722689075499E-3</c:v>
                </c:pt>
                <c:pt idx="50732">
                  <c:v>-1.6806722689075499E-3</c:v>
                </c:pt>
                <c:pt idx="50733">
                  <c:v>-1.6806722689075499E-3</c:v>
                </c:pt>
                <c:pt idx="50734">
                  <c:v>-1.6806722689075499E-3</c:v>
                </c:pt>
                <c:pt idx="50735">
                  <c:v>-1.6806722689075499E-3</c:v>
                </c:pt>
                <c:pt idx="50736">
                  <c:v>-1.6806722689075499E-3</c:v>
                </c:pt>
                <c:pt idx="50737">
                  <c:v>-1.6806722689075499E-3</c:v>
                </c:pt>
                <c:pt idx="50738">
                  <c:v>-1.6806722689075499E-3</c:v>
                </c:pt>
                <c:pt idx="50739">
                  <c:v>-1.6806722689075499E-3</c:v>
                </c:pt>
                <c:pt idx="50740">
                  <c:v>-1.6806722689075499E-3</c:v>
                </c:pt>
                <c:pt idx="50741">
                  <c:v>-1.6806722689075499E-3</c:v>
                </c:pt>
                <c:pt idx="50742">
                  <c:v>-1.6806722689075499E-3</c:v>
                </c:pt>
                <c:pt idx="50743">
                  <c:v>-1.6806722689075499E-3</c:v>
                </c:pt>
                <c:pt idx="50744">
                  <c:v>-1.6806722689075499E-3</c:v>
                </c:pt>
                <c:pt idx="50745">
                  <c:v>-1.6806722689075499E-3</c:v>
                </c:pt>
                <c:pt idx="50746">
                  <c:v>-1.6806722689075499E-3</c:v>
                </c:pt>
                <c:pt idx="50747">
                  <c:v>-1.6806722689075499E-3</c:v>
                </c:pt>
                <c:pt idx="50748">
                  <c:v>-1.6806722689075499E-3</c:v>
                </c:pt>
                <c:pt idx="50749">
                  <c:v>-1.6806722689075499E-3</c:v>
                </c:pt>
                <c:pt idx="50750">
                  <c:v>-1.6806722689075499E-3</c:v>
                </c:pt>
                <c:pt idx="50751">
                  <c:v>-1.6806722689075499E-3</c:v>
                </c:pt>
                <c:pt idx="50752">
                  <c:v>-1.6806722689075499E-3</c:v>
                </c:pt>
                <c:pt idx="50753">
                  <c:v>-1.6806722689075499E-3</c:v>
                </c:pt>
                <c:pt idx="50754">
                  <c:v>-1.6806722689075499E-3</c:v>
                </c:pt>
                <c:pt idx="50755">
                  <c:v>-1.6806722689075499E-3</c:v>
                </c:pt>
                <c:pt idx="50756">
                  <c:v>-1.6806722689075499E-3</c:v>
                </c:pt>
                <c:pt idx="50757">
                  <c:v>-1.6806722689075499E-3</c:v>
                </c:pt>
                <c:pt idx="50758">
                  <c:v>-1.6806722689075499E-3</c:v>
                </c:pt>
                <c:pt idx="50759">
                  <c:v>-1.6806722689075499E-3</c:v>
                </c:pt>
                <c:pt idx="50760">
                  <c:v>-1.6806722689075499E-3</c:v>
                </c:pt>
                <c:pt idx="50761">
                  <c:v>-1.6806722689075499E-3</c:v>
                </c:pt>
                <c:pt idx="50762">
                  <c:v>-1.6806722689075499E-3</c:v>
                </c:pt>
                <c:pt idx="50763">
                  <c:v>-1.6806722689075499E-3</c:v>
                </c:pt>
                <c:pt idx="50764">
                  <c:v>-1.6806722689075499E-3</c:v>
                </c:pt>
                <c:pt idx="50765">
                  <c:v>-1.6806722689075499E-3</c:v>
                </c:pt>
                <c:pt idx="50766">
                  <c:v>-1.6806722689075499E-3</c:v>
                </c:pt>
                <c:pt idx="50767">
                  <c:v>-1.6806722689075499E-3</c:v>
                </c:pt>
                <c:pt idx="50768">
                  <c:v>-1.6806722689075499E-3</c:v>
                </c:pt>
                <c:pt idx="50769">
                  <c:v>-1.6806722689075499E-3</c:v>
                </c:pt>
                <c:pt idx="50770">
                  <c:v>-1.6806722689075499E-3</c:v>
                </c:pt>
                <c:pt idx="50771">
                  <c:v>-1.6806722689075499E-3</c:v>
                </c:pt>
                <c:pt idx="50772">
                  <c:v>-1.6806722689075499E-3</c:v>
                </c:pt>
                <c:pt idx="50773">
                  <c:v>-1.6806722689075499E-3</c:v>
                </c:pt>
                <c:pt idx="50774">
                  <c:v>-1.6806722689075499E-3</c:v>
                </c:pt>
                <c:pt idx="50775">
                  <c:v>-1.6806722689075499E-3</c:v>
                </c:pt>
                <c:pt idx="50776">
                  <c:v>-1.6806722689075499E-3</c:v>
                </c:pt>
                <c:pt idx="50777">
                  <c:v>-1.6806722689075499E-3</c:v>
                </c:pt>
                <c:pt idx="50778">
                  <c:v>-1.6806722689075499E-3</c:v>
                </c:pt>
                <c:pt idx="50779">
                  <c:v>-1.6806722689075499E-3</c:v>
                </c:pt>
                <c:pt idx="50780">
                  <c:v>-1.6806722689075499E-3</c:v>
                </c:pt>
                <c:pt idx="50781">
                  <c:v>-1.6806722689075499E-3</c:v>
                </c:pt>
                <c:pt idx="50782">
                  <c:v>-1.6806722689075499E-3</c:v>
                </c:pt>
                <c:pt idx="50783">
                  <c:v>-1.6806722689075499E-3</c:v>
                </c:pt>
                <c:pt idx="50784">
                  <c:v>-1.6806722689075499E-3</c:v>
                </c:pt>
                <c:pt idx="50785">
                  <c:v>-1.6806722689075499E-3</c:v>
                </c:pt>
                <c:pt idx="50786">
                  <c:v>-1.6806722689075499E-3</c:v>
                </c:pt>
                <c:pt idx="50787">
                  <c:v>-1.6806722689075499E-3</c:v>
                </c:pt>
                <c:pt idx="50788">
                  <c:v>-1.6806722689075499E-3</c:v>
                </c:pt>
                <c:pt idx="50789">
                  <c:v>-1.6806722689075499E-3</c:v>
                </c:pt>
                <c:pt idx="50790">
                  <c:v>-1.6806722689075499E-3</c:v>
                </c:pt>
                <c:pt idx="50791">
                  <c:v>-1.6806722689075499E-3</c:v>
                </c:pt>
                <c:pt idx="50792">
                  <c:v>-1.6806722689075499E-3</c:v>
                </c:pt>
                <c:pt idx="50793">
                  <c:v>-1.6806722689075499E-3</c:v>
                </c:pt>
                <c:pt idx="50794">
                  <c:v>-1.6806722689075499E-3</c:v>
                </c:pt>
                <c:pt idx="50795">
                  <c:v>-1.6806722689075499E-3</c:v>
                </c:pt>
                <c:pt idx="50796">
                  <c:v>-1.6806722689075499E-3</c:v>
                </c:pt>
                <c:pt idx="50797">
                  <c:v>-1.6806722689075499E-3</c:v>
                </c:pt>
                <c:pt idx="50798">
                  <c:v>-1.6806722689075499E-3</c:v>
                </c:pt>
                <c:pt idx="50799">
                  <c:v>-1.6806722689075499E-3</c:v>
                </c:pt>
                <c:pt idx="50800">
                  <c:v>-1.6806722689075499E-3</c:v>
                </c:pt>
                <c:pt idx="50801">
                  <c:v>-1.6806722689075499E-3</c:v>
                </c:pt>
                <c:pt idx="50802">
                  <c:v>-1.6806722689075499E-3</c:v>
                </c:pt>
                <c:pt idx="50803">
                  <c:v>-1.6806722689075499E-3</c:v>
                </c:pt>
                <c:pt idx="50804">
                  <c:v>-1.6806722689075499E-3</c:v>
                </c:pt>
                <c:pt idx="50805">
                  <c:v>-1.6806722689075499E-3</c:v>
                </c:pt>
                <c:pt idx="50806">
                  <c:v>-1.6806722689075499E-3</c:v>
                </c:pt>
                <c:pt idx="50807">
                  <c:v>-1.6806722689075499E-3</c:v>
                </c:pt>
                <c:pt idx="50808">
                  <c:v>-1.6806722689075499E-3</c:v>
                </c:pt>
                <c:pt idx="50809">
                  <c:v>-1.6806722689075499E-3</c:v>
                </c:pt>
                <c:pt idx="50810">
                  <c:v>-1.6806722689075499E-3</c:v>
                </c:pt>
                <c:pt idx="50811">
                  <c:v>-1.6806722689075499E-3</c:v>
                </c:pt>
                <c:pt idx="50812">
                  <c:v>-1.6806722689075499E-3</c:v>
                </c:pt>
                <c:pt idx="50813">
                  <c:v>-1.6806722689075499E-3</c:v>
                </c:pt>
                <c:pt idx="50814">
                  <c:v>-1.6806722689075499E-3</c:v>
                </c:pt>
                <c:pt idx="50815">
                  <c:v>-1.6806722689075499E-3</c:v>
                </c:pt>
                <c:pt idx="50816">
                  <c:v>-1.6806722689075499E-3</c:v>
                </c:pt>
                <c:pt idx="50817">
                  <c:v>-1.6806722689075499E-3</c:v>
                </c:pt>
                <c:pt idx="50818">
                  <c:v>-1.6806722689075499E-3</c:v>
                </c:pt>
                <c:pt idx="50819">
                  <c:v>-1.6806722689075499E-3</c:v>
                </c:pt>
                <c:pt idx="50820">
                  <c:v>-1.6806722689075499E-3</c:v>
                </c:pt>
                <c:pt idx="50821">
                  <c:v>-1.6806722689075499E-3</c:v>
                </c:pt>
                <c:pt idx="50822">
                  <c:v>-1.6806722689075499E-3</c:v>
                </c:pt>
                <c:pt idx="50823">
                  <c:v>-1.6806722689075499E-3</c:v>
                </c:pt>
                <c:pt idx="50824">
                  <c:v>-1.6806722689075499E-3</c:v>
                </c:pt>
                <c:pt idx="50825">
                  <c:v>-1.6806722689075499E-3</c:v>
                </c:pt>
                <c:pt idx="50826">
                  <c:v>-1.6806722689075499E-3</c:v>
                </c:pt>
                <c:pt idx="50827">
                  <c:v>-1.6806722689075499E-3</c:v>
                </c:pt>
                <c:pt idx="50828">
                  <c:v>-1.6806722689075499E-3</c:v>
                </c:pt>
                <c:pt idx="50829">
                  <c:v>-1.6806722689075499E-3</c:v>
                </c:pt>
                <c:pt idx="50830">
                  <c:v>-1.6806722689075499E-3</c:v>
                </c:pt>
                <c:pt idx="50831">
                  <c:v>-1.6806722689075499E-3</c:v>
                </c:pt>
                <c:pt idx="50832">
                  <c:v>-1.6806722689075499E-3</c:v>
                </c:pt>
                <c:pt idx="50833">
                  <c:v>-1.6806722689075499E-3</c:v>
                </c:pt>
                <c:pt idx="50834">
                  <c:v>-1.6806722689075499E-3</c:v>
                </c:pt>
                <c:pt idx="50835">
                  <c:v>-1.6806722689075499E-3</c:v>
                </c:pt>
                <c:pt idx="50836">
                  <c:v>-1.6806722689075499E-3</c:v>
                </c:pt>
                <c:pt idx="50837">
                  <c:v>-1.6806722689075499E-3</c:v>
                </c:pt>
                <c:pt idx="50838">
                  <c:v>-1.6806722689075499E-3</c:v>
                </c:pt>
                <c:pt idx="50839">
                  <c:v>-1.6806722689075499E-3</c:v>
                </c:pt>
                <c:pt idx="50840">
                  <c:v>-1.6806722689075499E-3</c:v>
                </c:pt>
                <c:pt idx="50841">
                  <c:v>-1.6806722689075499E-3</c:v>
                </c:pt>
                <c:pt idx="50842">
                  <c:v>-1.6806722689075499E-3</c:v>
                </c:pt>
                <c:pt idx="50843">
                  <c:v>-1.6806722689075499E-3</c:v>
                </c:pt>
                <c:pt idx="50844">
                  <c:v>-1.6806722689075499E-3</c:v>
                </c:pt>
                <c:pt idx="50845">
                  <c:v>-1.6806722689075499E-3</c:v>
                </c:pt>
                <c:pt idx="50846">
                  <c:v>-1.6806722689075499E-3</c:v>
                </c:pt>
                <c:pt idx="50847">
                  <c:v>-1.6806722689075499E-3</c:v>
                </c:pt>
                <c:pt idx="50848">
                  <c:v>-1.6806722689075499E-3</c:v>
                </c:pt>
                <c:pt idx="50849">
                  <c:v>-1.6806722689075499E-3</c:v>
                </c:pt>
                <c:pt idx="50850">
                  <c:v>-1.6806722689075499E-3</c:v>
                </c:pt>
                <c:pt idx="50851">
                  <c:v>-1.6806722689075499E-3</c:v>
                </c:pt>
                <c:pt idx="50852">
                  <c:v>-1.6806722689075499E-3</c:v>
                </c:pt>
                <c:pt idx="50853">
                  <c:v>-1.6806722689075499E-3</c:v>
                </c:pt>
                <c:pt idx="50854">
                  <c:v>-1.6806722689075499E-3</c:v>
                </c:pt>
                <c:pt idx="50855">
                  <c:v>-1.6806722689075499E-3</c:v>
                </c:pt>
                <c:pt idx="50856">
                  <c:v>-1.6806722689075499E-3</c:v>
                </c:pt>
                <c:pt idx="50857">
                  <c:v>-1.6806722689075499E-3</c:v>
                </c:pt>
                <c:pt idx="50858">
                  <c:v>-1.6806722689075499E-3</c:v>
                </c:pt>
                <c:pt idx="50859">
                  <c:v>-1.6806722689075499E-3</c:v>
                </c:pt>
                <c:pt idx="50860">
                  <c:v>-1.6806722689075499E-3</c:v>
                </c:pt>
                <c:pt idx="50861">
                  <c:v>-1.6806722689075499E-3</c:v>
                </c:pt>
                <c:pt idx="50862">
                  <c:v>-1.6806722689075499E-3</c:v>
                </c:pt>
                <c:pt idx="50863">
                  <c:v>-1.6806722689075499E-3</c:v>
                </c:pt>
                <c:pt idx="50864">
                  <c:v>-1.6806722689075499E-3</c:v>
                </c:pt>
                <c:pt idx="50865">
                  <c:v>-1.6806722689075499E-3</c:v>
                </c:pt>
                <c:pt idx="50866">
                  <c:v>-1.6806722689075499E-3</c:v>
                </c:pt>
                <c:pt idx="50867">
                  <c:v>-1.6806722689075499E-3</c:v>
                </c:pt>
                <c:pt idx="50868">
                  <c:v>-1.6806722689075499E-3</c:v>
                </c:pt>
                <c:pt idx="50869">
                  <c:v>-1.6806722689075499E-3</c:v>
                </c:pt>
                <c:pt idx="50870">
                  <c:v>-1.6806722689075499E-3</c:v>
                </c:pt>
                <c:pt idx="50871">
                  <c:v>-1.6806722689075499E-3</c:v>
                </c:pt>
                <c:pt idx="50872">
                  <c:v>-1.6806722689075499E-3</c:v>
                </c:pt>
                <c:pt idx="50873">
                  <c:v>-1.6806722689075499E-3</c:v>
                </c:pt>
                <c:pt idx="50874">
                  <c:v>-1.6806722689075499E-3</c:v>
                </c:pt>
                <c:pt idx="50875">
                  <c:v>-1.6806722689075499E-3</c:v>
                </c:pt>
                <c:pt idx="50876">
                  <c:v>-1.6806722689075499E-3</c:v>
                </c:pt>
                <c:pt idx="50877">
                  <c:v>-1.6806722689075499E-3</c:v>
                </c:pt>
                <c:pt idx="50878">
                  <c:v>-1.6806722689075499E-3</c:v>
                </c:pt>
                <c:pt idx="50879">
                  <c:v>-1.6806722689075499E-3</c:v>
                </c:pt>
                <c:pt idx="50880">
                  <c:v>-1.6806722689075499E-3</c:v>
                </c:pt>
                <c:pt idx="50881">
                  <c:v>-1.6806722689075499E-3</c:v>
                </c:pt>
                <c:pt idx="50882">
                  <c:v>-1.6806722689075499E-3</c:v>
                </c:pt>
                <c:pt idx="50883">
                  <c:v>-1.6806722689075499E-3</c:v>
                </c:pt>
                <c:pt idx="50884">
                  <c:v>-1.6806722689075499E-3</c:v>
                </c:pt>
                <c:pt idx="50885">
                  <c:v>-1.6806722689075499E-3</c:v>
                </c:pt>
                <c:pt idx="50886">
                  <c:v>-1.6806722689075499E-3</c:v>
                </c:pt>
                <c:pt idx="50887">
                  <c:v>-1.6806722689075499E-3</c:v>
                </c:pt>
                <c:pt idx="50888">
                  <c:v>-1.6806722689075499E-3</c:v>
                </c:pt>
                <c:pt idx="50889">
                  <c:v>-1.6806722689075499E-3</c:v>
                </c:pt>
                <c:pt idx="50890">
                  <c:v>-1.6806722689075499E-3</c:v>
                </c:pt>
                <c:pt idx="50891">
                  <c:v>-1.6806722689075499E-3</c:v>
                </c:pt>
                <c:pt idx="50892">
                  <c:v>-1.6806722689075499E-3</c:v>
                </c:pt>
                <c:pt idx="50893">
                  <c:v>-1.6806722689075499E-3</c:v>
                </c:pt>
                <c:pt idx="50894">
                  <c:v>-1.6806722689075499E-3</c:v>
                </c:pt>
                <c:pt idx="50895">
                  <c:v>-1.6806722689075499E-3</c:v>
                </c:pt>
                <c:pt idx="50896">
                  <c:v>-1.6806722689075499E-3</c:v>
                </c:pt>
                <c:pt idx="50897">
                  <c:v>-1.6806722689075499E-3</c:v>
                </c:pt>
                <c:pt idx="50898">
                  <c:v>-1.6806722689075499E-3</c:v>
                </c:pt>
                <c:pt idx="50899">
                  <c:v>-1.6806722689075499E-3</c:v>
                </c:pt>
                <c:pt idx="50900">
                  <c:v>-1.6806722689075499E-3</c:v>
                </c:pt>
                <c:pt idx="50901">
                  <c:v>-1.6806722689075499E-3</c:v>
                </c:pt>
                <c:pt idx="50902">
                  <c:v>-1.6806722689075499E-3</c:v>
                </c:pt>
                <c:pt idx="50903">
                  <c:v>-1.6806722689075499E-3</c:v>
                </c:pt>
                <c:pt idx="50904">
                  <c:v>-1.6806722689075499E-3</c:v>
                </c:pt>
                <c:pt idx="50905">
                  <c:v>-1.6806722689075499E-3</c:v>
                </c:pt>
                <c:pt idx="50906">
                  <c:v>-1.6806722689075499E-3</c:v>
                </c:pt>
                <c:pt idx="50907">
                  <c:v>-1.6806722689075499E-3</c:v>
                </c:pt>
                <c:pt idx="50908">
                  <c:v>-1.6806722689075499E-3</c:v>
                </c:pt>
                <c:pt idx="50909">
                  <c:v>-1.6806722689075499E-3</c:v>
                </c:pt>
                <c:pt idx="50910">
                  <c:v>-1.6806722689075499E-3</c:v>
                </c:pt>
                <c:pt idx="50911">
                  <c:v>-1.6806722689075499E-3</c:v>
                </c:pt>
                <c:pt idx="50912">
                  <c:v>-1.6806722689075499E-3</c:v>
                </c:pt>
                <c:pt idx="50913">
                  <c:v>-1.6806722689075499E-3</c:v>
                </c:pt>
                <c:pt idx="50914">
                  <c:v>-1.6806722689075499E-3</c:v>
                </c:pt>
                <c:pt idx="50915">
                  <c:v>-1.6806722689075499E-3</c:v>
                </c:pt>
                <c:pt idx="50916">
                  <c:v>-1.6806722689075499E-3</c:v>
                </c:pt>
                <c:pt idx="50917">
                  <c:v>-1.6806722689075499E-3</c:v>
                </c:pt>
                <c:pt idx="50918">
                  <c:v>-1.6806722689075499E-3</c:v>
                </c:pt>
                <c:pt idx="50919">
                  <c:v>-1.6806722689075499E-3</c:v>
                </c:pt>
                <c:pt idx="50920">
                  <c:v>-1.6806722689075499E-3</c:v>
                </c:pt>
                <c:pt idx="50921">
                  <c:v>-1.6806722689075499E-3</c:v>
                </c:pt>
                <c:pt idx="50922">
                  <c:v>-1.6806722689075499E-3</c:v>
                </c:pt>
                <c:pt idx="50923">
                  <c:v>-1.6806722689075499E-3</c:v>
                </c:pt>
                <c:pt idx="50924">
                  <c:v>-1.6806722689075499E-3</c:v>
                </c:pt>
                <c:pt idx="50925">
                  <c:v>-1.6806722689075499E-3</c:v>
                </c:pt>
                <c:pt idx="50926">
                  <c:v>-1.6806722689075499E-3</c:v>
                </c:pt>
                <c:pt idx="50927">
                  <c:v>-1.6806722689075499E-3</c:v>
                </c:pt>
                <c:pt idx="50928">
                  <c:v>-1.6806722689075499E-3</c:v>
                </c:pt>
                <c:pt idx="50929">
                  <c:v>-1.6806722689075499E-3</c:v>
                </c:pt>
                <c:pt idx="50930">
                  <c:v>-1.6806722689075499E-3</c:v>
                </c:pt>
                <c:pt idx="50931">
                  <c:v>-1.6806722689075499E-3</c:v>
                </c:pt>
                <c:pt idx="50932">
                  <c:v>-1.6806722689075499E-3</c:v>
                </c:pt>
                <c:pt idx="50933">
                  <c:v>-1.6806722689075499E-3</c:v>
                </c:pt>
                <c:pt idx="50934">
                  <c:v>-1.6806722689075499E-3</c:v>
                </c:pt>
                <c:pt idx="50935">
                  <c:v>-1.6806722689075499E-3</c:v>
                </c:pt>
                <c:pt idx="50936">
                  <c:v>-1.6806722689075499E-3</c:v>
                </c:pt>
                <c:pt idx="50937">
                  <c:v>-1.6806722689075499E-3</c:v>
                </c:pt>
                <c:pt idx="50938">
                  <c:v>-1.6806722689075499E-3</c:v>
                </c:pt>
                <c:pt idx="50939">
                  <c:v>-1.6806722689075499E-3</c:v>
                </c:pt>
                <c:pt idx="50940">
                  <c:v>-1.6806722689075499E-3</c:v>
                </c:pt>
                <c:pt idx="50941">
                  <c:v>-1.6806722689075499E-3</c:v>
                </c:pt>
                <c:pt idx="50942">
                  <c:v>-1.6806722689075499E-3</c:v>
                </c:pt>
                <c:pt idx="50943">
                  <c:v>-1.6806722689075499E-3</c:v>
                </c:pt>
                <c:pt idx="50944">
                  <c:v>-1.6806722689075499E-3</c:v>
                </c:pt>
                <c:pt idx="50945">
                  <c:v>-1.6806722689075499E-3</c:v>
                </c:pt>
                <c:pt idx="50946">
                  <c:v>-1.6806722689075499E-3</c:v>
                </c:pt>
                <c:pt idx="50947">
                  <c:v>-1.6806722689075499E-3</c:v>
                </c:pt>
                <c:pt idx="50948">
                  <c:v>-1.6806722689075499E-3</c:v>
                </c:pt>
                <c:pt idx="50949">
                  <c:v>-1.6806722689075499E-3</c:v>
                </c:pt>
                <c:pt idx="50950">
                  <c:v>-1.6806722689075499E-3</c:v>
                </c:pt>
                <c:pt idx="50951">
                  <c:v>-1.6806722689075499E-3</c:v>
                </c:pt>
                <c:pt idx="50952">
                  <c:v>-1.6806722689075499E-3</c:v>
                </c:pt>
                <c:pt idx="50953">
                  <c:v>-1.6806722689075499E-3</c:v>
                </c:pt>
                <c:pt idx="50954">
                  <c:v>-1.6806722689075499E-3</c:v>
                </c:pt>
                <c:pt idx="50955">
                  <c:v>-1.6806722689075499E-3</c:v>
                </c:pt>
                <c:pt idx="50956">
                  <c:v>-1.6806722689075499E-3</c:v>
                </c:pt>
                <c:pt idx="50957">
                  <c:v>-1.6806722689075499E-3</c:v>
                </c:pt>
                <c:pt idx="50958">
                  <c:v>-1.6806722689075499E-3</c:v>
                </c:pt>
                <c:pt idx="50959">
                  <c:v>-1.6806722689075499E-3</c:v>
                </c:pt>
                <c:pt idx="50960">
                  <c:v>-1.6806722689075499E-3</c:v>
                </c:pt>
                <c:pt idx="50961">
                  <c:v>-1.6806722689075499E-3</c:v>
                </c:pt>
                <c:pt idx="50962">
                  <c:v>-1.6806722689075499E-3</c:v>
                </c:pt>
                <c:pt idx="50963">
                  <c:v>-1.6806722689075499E-3</c:v>
                </c:pt>
                <c:pt idx="50964">
                  <c:v>-1.6806722689075499E-3</c:v>
                </c:pt>
                <c:pt idx="50965">
                  <c:v>-1.6806722689075499E-3</c:v>
                </c:pt>
                <c:pt idx="50966">
                  <c:v>-1.6806722689075499E-3</c:v>
                </c:pt>
                <c:pt idx="50967">
                  <c:v>-1.6806722689075499E-3</c:v>
                </c:pt>
                <c:pt idx="50968">
                  <c:v>-1.6806722689075499E-3</c:v>
                </c:pt>
                <c:pt idx="50969">
                  <c:v>-1.6806722689075499E-3</c:v>
                </c:pt>
                <c:pt idx="50970">
                  <c:v>-1.6806722689075499E-3</c:v>
                </c:pt>
                <c:pt idx="50971">
                  <c:v>-1.6806722689075499E-3</c:v>
                </c:pt>
                <c:pt idx="50972">
                  <c:v>-1.6806722689075499E-3</c:v>
                </c:pt>
                <c:pt idx="50973">
                  <c:v>-1.6806722689075499E-3</c:v>
                </c:pt>
                <c:pt idx="50974">
                  <c:v>-1.6806722689075499E-3</c:v>
                </c:pt>
                <c:pt idx="50975">
                  <c:v>-1.6806722689075499E-3</c:v>
                </c:pt>
                <c:pt idx="50976">
                  <c:v>-1.6806722689075499E-3</c:v>
                </c:pt>
                <c:pt idx="50977">
                  <c:v>-1.6806722689075499E-3</c:v>
                </c:pt>
                <c:pt idx="50978">
                  <c:v>-1.6806722689075499E-3</c:v>
                </c:pt>
                <c:pt idx="50979">
                  <c:v>-1.6806722689075499E-3</c:v>
                </c:pt>
                <c:pt idx="50980">
                  <c:v>-1.6806722689075499E-3</c:v>
                </c:pt>
                <c:pt idx="50981">
                  <c:v>-1.6806722689075499E-3</c:v>
                </c:pt>
                <c:pt idx="50982">
                  <c:v>-1.6806722689075499E-3</c:v>
                </c:pt>
                <c:pt idx="50983">
                  <c:v>-1.6806722689075499E-3</c:v>
                </c:pt>
                <c:pt idx="50984">
                  <c:v>-1.6806722689075499E-3</c:v>
                </c:pt>
                <c:pt idx="50985">
                  <c:v>-1.6806722689075499E-3</c:v>
                </c:pt>
                <c:pt idx="50986">
                  <c:v>-1.6806722689075499E-3</c:v>
                </c:pt>
                <c:pt idx="50987">
                  <c:v>-1.6806722689075499E-3</c:v>
                </c:pt>
                <c:pt idx="50988">
                  <c:v>-1.6806722689075499E-3</c:v>
                </c:pt>
                <c:pt idx="50989">
                  <c:v>-1.6806722689075499E-3</c:v>
                </c:pt>
                <c:pt idx="50990">
                  <c:v>-1.6806722689075499E-3</c:v>
                </c:pt>
                <c:pt idx="50991">
                  <c:v>-1.6806722689075499E-3</c:v>
                </c:pt>
                <c:pt idx="50992">
                  <c:v>-1.6806722689075499E-3</c:v>
                </c:pt>
                <c:pt idx="50993">
                  <c:v>-1.6806722689075499E-3</c:v>
                </c:pt>
                <c:pt idx="50994">
                  <c:v>-1.6806722689075499E-3</c:v>
                </c:pt>
                <c:pt idx="50995">
                  <c:v>-1.6806722689075499E-3</c:v>
                </c:pt>
                <c:pt idx="50996">
                  <c:v>-1.6806722689075499E-3</c:v>
                </c:pt>
                <c:pt idx="50997">
                  <c:v>-1.6806722689075499E-3</c:v>
                </c:pt>
                <c:pt idx="50998">
                  <c:v>-1.6806722689075499E-3</c:v>
                </c:pt>
                <c:pt idx="50999">
                  <c:v>-1.6806722689075499E-3</c:v>
                </c:pt>
                <c:pt idx="51000">
                  <c:v>-1.6806722689075499E-3</c:v>
                </c:pt>
                <c:pt idx="51001">
                  <c:v>-1.6806722689075499E-3</c:v>
                </c:pt>
                <c:pt idx="51002">
                  <c:v>-1.6806722689075499E-3</c:v>
                </c:pt>
                <c:pt idx="51003">
                  <c:v>-1.6806722689075499E-3</c:v>
                </c:pt>
                <c:pt idx="51004">
                  <c:v>-1.6806722689075499E-3</c:v>
                </c:pt>
                <c:pt idx="51005">
                  <c:v>-1.6806722689075499E-3</c:v>
                </c:pt>
                <c:pt idx="51006">
                  <c:v>-1.6806722689075499E-3</c:v>
                </c:pt>
                <c:pt idx="51007">
                  <c:v>-1.6806722689075499E-3</c:v>
                </c:pt>
                <c:pt idx="51008">
                  <c:v>-1.6806722689075499E-3</c:v>
                </c:pt>
                <c:pt idx="51009">
                  <c:v>-1.6806722689075499E-3</c:v>
                </c:pt>
                <c:pt idx="51010">
                  <c:v>-1.6806722689075499E-3</c:v>
                </c:pt>
                <c:pt idx="51011">
                  <c:v>-1.6806722689075499E-3</c:v>
                </c:pt>
                <c:pt idx="51012">
                  <c:v>-1.6806722689075499E-3</c:v>
                </c:pt>
                <c:pt idx="51013">
                  <c:v>-1.6806722689075499E-3</c:v>
                </c:pt>
                <c:pt idx="51014">
                  <c:v>-1.6806722689075499E-3</c:v>
                </c:pt>
                <c:pt idx="51015">
                  <c:v>-1.6806722689075499E-3</c:v>
                </c:pt>
                <c:pt idx="51016">
                  <c:v>-1.6806722689075499E-3</c:v>
                </c:pt>
                <c:pt idx="51017">
                  <c:v>-1.6806722689075499E-3</c:v>
                </c:pt>
                <c:pt idx="51018">
                  <c:v>-1.6806722689075499E-3</c:v>
                </c:pt>
                <c:pt idx="51019">
                  <c:v>-1.6806722689075499E-3</c:v>
                </c:pt>
                <c:pt idx="51020">
                  <c:v>-1.6806722689075499E-3</c:v>
                </c:pt>
                <c:pt idx="51021">
                  <c:v>-1.6806722689075499E-3</c:v>
                </c:pt>
                <c:pt idx="51022">
                  <c:v>-1.6806722689075499E-3</c:v>
                </c:pt>
                <c:pt idx="51023">
                  <c:v>-1.6806722689075499E-3</c:v>
                </c:pt>
                <c:pt idx="51024">
                  <c:v>-1.6806722689075499E-3</c:v>
                </c:pt>
                <c:pt idx="51025">
                  <c:v>-1.6806722689075499E-3</c:v>
                </c:pt>
                <c:pt idx="51026">
                  <c:v>-1.6806722689075499E-3</c:v>
                </c:pt>
                <c:pt idx="51027">
                  <c:v>-1.6806722689075499E-3</c:v>
                </c:pt>
                <c:pt idx="51028">
                  <c:v>-1.6806722689075499E-3</c:v>
                </c:pt>
                <c:pt idx="51029">
                  <c:v>-1.6806722689075499E-3</c:v>
                </c:pt>
                <c:pt idx="51030">
                  <c:v>-1.6806722689075499E-3</c:v>
                </c:pt>
                <c:pt idx="51031">
                  <c:v>-1.6806722689075499E-3</c:v>
                </c:pt>
                <c:pt idx="51032">
                  <c:v>-1.6806722689075499E-3</c:v>
                </c:pt>
                <c:pt idx="51033">
                  <c:v>-1.6806722689075499E-3</c:v>
                </c:pt>
                <c:pt idx="51034">
                  <c:v>-1.6806722689075499E-3</c:v>
                </c:pt>
                <c:pt idx="51035">
                  <c:v>-1.6806722689075499E-3</c:v>
                </c:pt>
                <c:pt idx="51036">
                  <c:v>-1.6806722689075499E-3</c:v>
                </c:pt>
                <c:pt idx="51037">
                  <c:v>-1.6806722689075499E-3</c:v>
                </c:pt>
                <c:pt idx="51038">
                  <c:v>-1.6806722689075499E-3</c:v>
                </c:pt>
                <c:pt idx="51039">
                  <c:v>-1.6806722689075499E-3</c:v>
                </c:pt>
                <c:pt idx="51040">
                  <c:v>-1.6806722689075499E-3</c:v>
                </c:pt>
                <c:pt idx="51041">
                  <c:v>-1.6806722689075499E-3</c:v>
                </c:pt>
                <c:pt idx="51042">
                  <c:v>-1.6806722689075499E-3</c:v>
                </c:pt>
                <c:pt idx="51043">
                  <c:v>-1.6806722689075499E-3</c:v>
                </c:pt>
                <c:pt idx="51044">
                  <c:v>-1.6806722689075499E-3</c:v>
                </c:pt>
                <c:pt idx="51045">
                  <c:v>-1.6806722689075499E-3</c:v>
                </c:pt>
                <c:pt idx="51046">
                  <c:v>-1.6806722689075499E-3</c:v>
                </c:pt>
                <c:pt idx="51047">
                  <c:v>-1.6806722689075499E-3</c:v>
                </c:pt>
                <c:pt idx="51048">
                  <c:v>-1.6806722689075499E-3</c:v>
                </c:pt>
                <c:pt idx="51049">
                  <c:v>-1.6806722689075499E-3</c:v>
                </c:pt>
                <c:pt idx="51050">
                  <c:v>-1.6806722689075499E-3</c:v>
                </c:pt>
                <c:pt idx="51051">
                  <c:v>-1.6806722689075499E-3</c:v>
                </c:pt>
                <c:pt idx="51052">
                  <c:v>-1.6806722689075499E-3</c:v>
                </c:pt>
                <c:pt idx="51053">
                  <c:v>-1.6806722689075499E-3</c:v>
                </c:pt>
                <c:pt idx="51054">
                  <c:v>-1.6806722689075499E-3</c:v>
                </c:pt>
                <c:pt idx="51055">
                  <c:v>-1.6806722689075499E-3</c:v>
                </c:pt>
                <c:pt idx="51056">
                  <c:v>-1.6806722689075499E-3</c:v>
                </c:pt>
                <c:pt idx="51057">
                  <c:v>-1.6806722689075499E-3</c:v>
                </c:pt>
                <c:pt idx="51058">
                  <c:v>-1.6806722689075499E-3</c:v>
                </c:pt>
                <c:pt idx="51059">
                  <c:v>-1.6806722689075499E-3</c:v>
                </c:pt>
                <c:pt idx="51060">
                  <c:v>-1.6806722689075499E-3</c:v>
                </c:pt>
                <c:pt idx="51061">
                  <c:v>-1.6806722689075499E-3</c:v>
                </c:pt>
                <c:pt idx="51062">
                  <c:v>-1.6806722689075499E-3</c:v>
                </c:pt>
                <c:pt idx="51063">
                  <c:v>-1.6806722689075499E-3</c:v>
                </c:pt>
                <c:pt idx="51064">
                  <c:v>-1.6806722689075499E-3</c:v>
                </c:pt>
                <c:pt idx="51065">
                  <c:v>-1.6806722689075499E-3</c:v>
                </c:pt>
                <c:pt idx="51066">
                  <c:v>-1.6806722689075499E-3</c:v>
                </c:pt>
                <c:pt idx="51067">
                  <c:v>-1.6806722689075499E-3</c:v>
                </c:pt>
                <c:pt idx="51068">
                  <c:v>-1.6806722689075499E-3</c:v>
                </c:pt>
                <c:pt idx="51069">
                  <c:v>-1.6806722689075499E-3</c:v>
                </c:pt>
                <c:pt idx="51070">
                  <c:v>-1.6806722689075499E-3</c:v>
                </c:pt>
                <c:pt idx="51071">
                  <c:v>-1.6806722689075499E-3</c:v>
                </c:pt>
                <c:pt idx="51072">
                  <c:v>-1.6806722689075499E-3</c:v>
                </c:pt>
                <c:pt idx="51073">
                  <c:v>-1.6806722689075499E-3</c:v>
                </c:pt>
                <c:pt idx="51074">
                  <c:v>-1.6806722689075499E-3</c:v>
                </c:pt>
                <c:pt idx="51075">
                  <c:v>-1.6806722689075499E-3</c:v>
                </c:pt>
                <c:pt idx="51076">
                  <c:v>-1.6806722689075499E-3</c:v>
                </c:pt>
                <c:pt idx="51077">
                  <c:v>-1.6806722689075499E-3</c:v>
                </c:pt>
                <c:pt idx="51078">
                  <c:v>-1.6806722689075499E-3</c:v>
                </c:pt>
                <c:pt idx="51079">
                  <c:v>-1.6806722689075499E-3</c:v>
                </c:pt>
                <c:pt idx="51080">
                  <c:v>-1.6806722689075499E-3</c:v>
                </c:pt>
                <c:pt idx="51081">
                  <c:v>-1.6806722689075499E-3</c:v>
                </c:pt>
                <c:pt idx="51082">
                  <c:v>-1.6806722689075499E-3</c:v>
                </c:pt>
                <c:pt idx="51083">
                  <c:v>-1.6806722689075499E-3</c:v>
                </c:pt>
                <c:pt idx="51084">
                  <c:v>-1.6806722689075499E-3</c:v>
                </c:pt>
                <c:pt idx="51085">
                  <c:v>-1.6806722689075499E-3</c:v>
                </c:pt>
                <c:pt idx="51086">
                  <c:v>-1.6806722689075499E-3</c:v>
                </c:pt>
                <c:pt idx="51087">
                  <c:v>-1.6806722689075499E-3</c:v>
                </c:pt>
                <c:pt idx="51088">
                  <c:v>-1.6806722689075499E-3</c:v>
                </c:pt>
                <c:pt idx="51089">
                  <c:v>-1.6806722689075499E-3</c:v>
                </c:pt>
                <c:pt idx="51090">
                  <c:v>-1.6806722689075499E-3</c:v>
                </c:pt>
                <c:pt idx="51091">
                  <c:v>-1.6806722689075499E-3</c:v>
                </c:pt>
                <c:pt idx="51092">
                  <c:v>-1.6806722689075499E-3</c:v>
                </c:pt>
                <c:pt idx="51093">
                  <c:v>-1.6806722689075499E-3</c:v>
                </c:pt>
                <c:pt idx="51094">
                  <c:v>-1.6806722689075499E-3</c:v>
                </c:pt>
                <c:pt idx="51095">
                  <c:v>-1.6806722689075499E-3</c:v>
                </c:pt>
                <c:pt idx="51096">
                  <c:v>-1.6806722689075499E-3</c:v>
                </c:pt>
                <c:pt idx="51097">
                  <c:v>-1.6806722689075499E-3</c:v>
                </c:pt>
                <c:pt idx="51098">
                  <c:v>-1.6806722689075499E-3</c:v>
                </c:pt>
                <c:pt idx="51099">
                  <c:v>-1.6806722689075499E-3</c:v>
                </c:pt>
                <c:pt idx="51100">
                  <c:v>-1.6806722689075499E-3</c:v>
                </c:pt>
                <c:pt idx="51101">
                  <c:v>-1.6806722689075499E-3</c:v>
                </c:pt>
                <c:pt idx="51102">
                  <c:v>-1.6806722689075499E-3</c:v>
                </c:pt>
                <c:pt idx="51103">
                  <c:v>-1.6806722689075499E-3</c:v>
                </c:pt>
                <c:pt idx="51104">
                  <c:v>-1.6806722689075499E-3</c:v>
                </c:pt>
                <c:pt idx="51105">
                  <c:v>-1.6806722689075499E-3</c:v>
                </c:pt>
                <c:pt idx="51106">
                  <c:v>-1.6806722689075499E-3</c:v>
                </c:pt>
                <c:pt idx="51107">
                  <c:v>-1.6806722689075499E-3</c:v>
                </c:pt>
                <c:pt idx="51108">
                  <c:v>-1.6806722689075499E-3</c:v>
                </c:pt>
                <c:pt idx="51109">
                  <c:v>-1.6806722689075499E-3</c:v>
                </c:pt>
                <c:pt idx="51110">
                  <c:v>-1.6806722689075499E-3</c:v>
                </c:pt>
                <c:pt idx="51111">
                  <c:v>-1.6806722689075499E-3</c:v>
                </c:pt>
                <c:pt idx="51112">
                  <c:v>-1.6806722689075499E-3</c:v>
                </c:pt>
                <c:pt idx="51113">
                  <c:v>-1.6806722689075499E-3</c:v>
                </c:pt>
                <c:pt idx="51114">
                  <c:v>-1.6806722689075499E-3</c:v>
                </c:pt>
                <c:pt idx="51115">
                  <c:v>-1.6806722689075499E-3</c:v>
                </c:pt>
                <c:pt idx="51116">
                  <c:v>-1.6806722689075499E-3</c:v>
                </c:pt>
                <c:pt idx="51117">
                  <c:v>-1.6806722689075499E-3</c:v>
                </c:pt>
                <c:pt idx="51118">
                  <c:v>-1.6806722689075499E-3</c:v>
                </c:pt>
                <c:pt idx="51119">
                  <c:v>-1.6806722689075499E-3</c:v>
                </c:pt>
                <c:pt idx="51120">
                  <c:v>-1.6806722689075499E-3</c:v>
                </c:pt>
                <c:pt idx="51121">
                  <c:v>-1.6806722689075499E-3</c:v>
                </c:pt>
                <c:pt idx="51122">
                  <c:v>-1.6806722689075499E-3</c:v>
                </c:pt>
                <c:pt idx="51123">
                  <c:v>-1.6806722689075499E-3</c:v>
                </c:pt>
                <c:pt idx="51124">
                  <c:v>-1.6806722689075499E-3</c:v>
                </c:pt>
                <c:pt idx="51125">
                  <c:v>-1.6806722689075499E-3</c:v>
                </c:pt>
                <c:pt idx="51126">
                  <c:v>-1.6806722689075499E-3</c:v>
                </c:pt>
                <c:pt idx="51127">
                  <c:v>-1.6806722689075499E-3</c:v>
                </c:pt>
                <c:pt idx="51128">
                  <c:v>-1.6806722689075499E-3</c:v>
                </c:pt>
                <c:pt idx="51129">
                  <c:v>-1.6806722689075499E-3</c:v>
                </c:pt>
                <c:pt idx="51130">
                  <c:v>-1.6806722689075499E-3</c:v>
                </c:pt>
                <c:pt idx="51131">
                  <c:v>-1.6806722689075499E-3</c:v>
                </c:pt>
                <c:pt idx="51132">
                  <c:v>-1.6806722689075499E-3</c:v>
                </c:pt>
                <c:pt idx="51133">
                  <c:v>-1.6806722689075499E-3</c:v>
                </c:pt>
                <c:pt idx="51134">
                  <c:v>-1.6806722689075499E-3</c:v>
                </c:pt>
                <c:pt idx="51135">
                  <c:v>-1.6806722689075499E-3</c:v>
                </c:pt>
                <c:pt idx="51136">
                  <c:v>-1.6806722689075499E-3</c:v>
                </c:pt>
                <c:pt idx="51137">
                  <c:v>-1.6806722689075499E-3</c:v>
                </c:pt>
                <c:pt idx="51138">
                  <c:v>-1.6806722689075499E-3</c:v>
                </c:pt>
                <c:pt idx="51139">
                  <c:v>-1.6806722689075499E-3</c:v>
                </c:pt>
                <c:pt idx="51140">
                  <c:v>-1.6806722689075499E-3</c:v>
                </c:pt>
                <c:pt idx="51141">
                  <c:v>-1.6806722689075499E-3</c:v>
                </c:pt>
                <c:pt idx="51142">
                  <c:v>-1.6806722689075499E-3</c:v>
                </c:pt>
                <c:pt idx="51143">
                  <c:v>-1.6806722689075499E-3</c:v>
                </c:pt>
                <c:pt idx="51144">
                  <c:v>-8.4033613445377799E-4</c:v>
                </c:pt>
                <c:pt idx="51145">
                  <c:v>-8.4033613445377799E-4</c:v>
                </c:pt>
                <c:pt idx="51146">
                  <c:v>-8.4033613445377799E-4</c:v>
                </c:pt>
                <c:pt idx="51147">
                  <c:v>-8.4033613445377799E-4</c:v>
                </c:pt>
                <c:pt idx="51148">
                  <c:v>-8.4033613445377799E-4</c:v>
                </c:pt>
                <c:pt idx="51149">
                  <c:v>-8.4033613445377799E-4</c:v>
                </c:pt>
                <c:pt idx="51150">
                  <c:v>-8.4033613445377799E-4</c:v>
                </c:pt>
                <c:pt idx="51151">
                  <c:v>-8.4033613445377799E-4</c:v>
                </c:pt>
                <c:pt idx="51152">
                  <c:v>-8.4033613445377799E-4</c:v>
                </c:pt>
                <c:pt idx="51153">
                  <c:v>-8.4033613445377799E-4</c:v>
                </c:pt>
                <c:pt idx="51154">
                  <c:v>-8.4033613445377799E-4</c:v>
                </c:pt>
                <c:pt idx="51155">
                  <c:v>-8.4033613445377799E-4</c:v>
                </c:pt>
                <c:pt idx="51156">
                  <c:v>-8.4033613445377799E-4</c:v>
                </c:pt>
                <c:pt idx="51157">
                  <c:v>-8.4033613445377799E-4</c:v>
                </c:pt>
                <c:pt idx="51158">
                  <c:v>-8.4033613445377799E-4</c:v>
                </c:pt>
                <c:pt idx="51159">
                  <c:v>-8.4033613445377799E-4</c:v>
                </c:pt>
                <c:pt idx="51160">
                  <c:v>-8.4033613445377799E-4</c:v>
                </c:pt>
                <c:pt idx="51161">
                  <c:v>-8.4033613445377799E-4</c:v>
                </c:pt>
                <c:pt idx="51162">
                  <c:v>-8.4033613445377799E-4</c:v>
                </c:pt>
                <c:pt idx="51163">
                  <c:v>-8.4033613445377799E-4</c:v>
                </c:pt>
                <c:pt idx="51164">
                  <c:v>-8.4033613445377799E-4</c:v>
                </c:pt>
                <c:pt idx="51165">
                  <c:v>-8.4033613445377799E-4</c:v>
                </c:pt>
                <c:pt idx="51166">
                  <c:v>-8.4033613445377799E-4</c:v>
                </c:pt>
                <c:pt idx="51167">
                  <c:v>-8.4033613445377799E-4</c:v>
                </c:pt>
                <c:pt idx="51168">
                  <c:v>-8.4033613445377799E-4</c:v>
                </c:pt>
                <c:pt idx="51169">
                  <c:v>-8.4033613445377799E-4</c:v>
                </c:pt>
                <c:pt idx="51170">
                  <c:v>-8.4033613445377799E-4</c:v>
                </c:pt>
                <c:pt idx="51171">
                  <c:v>-8.4033613445377799E-4</c:v>
                </c:pt>
                <c:pt idx="51172">
                  <c:v>-8.4033613445377799E-4</c:v>
                </c:pt>
                <c:pt idx="51173">
                  <c:v>-8.4033613445377799E-4</c:v>
                </c:pt>
                <c:pt idx="51174">
                  <c:v>-8.4033613445377799E-4</c:v>
                </c:pt>
                <c:pt idx="51175">
                  <c:v>-8.4033613445377799E-4</c:v>
                </c:pt>
                <c:pt idx="51176">
                  <c:v>-8.4033613445377799E-4</c:v>
                </c:pt>
                <c:pt idx="51177">
                  <c:v>-8.4033613445377799E-4</c:v>
                </c:pt>
                <c:pt idx="51178">
                  <c:v>-8.4033613445377799E-4</c:v>
                </c:pt>
                <c:pt idx="51179">
                  <c:v>-8.4033613445377799E-4</c:v>
                </c:pt>
                <c:pt idx="51180">
                  <c:v>-8.4033613445377799E-4</c:v>
                </c:pt>
                <c:pt idx="51181">
                  <c:v>-8.4033613445377799E-4</c:v>
                </c:pt>
                <c:pt idx="51182">
                  <c:v>-8.4033613445377799E-4</c:v>
                </c:pt>
                <c:pt idx="51183">
                  <c:v>-8.4033613445377799E-4</c:v>
                </c:pt>
                <c:pt idx="51184">
                  <c:v>-8.4033613445377799E-4</c:v>
                </c:pt>
                <c:pt idx="51185">
                  <c:v>-8.4033613445377799E-4</c:v>
                </c:pt>
                <c:pt idx="51186">
                  <c:v>-8.4033613445377799E-4</c:v>
                </c:pt>
                <c:pt idx="51187">
                  <c:v>-8.4033613445377799E-4</c:v>
                </c:pt>
                <c:pt idx="51188">
                  <c:v>-8.4033613445377799E-4</c:v>
                </c:pt>
                <c:pt idx="51189">
                  <c:v>-8.4033613445377799E-4</c:v>
                </c:pt>
                <c:pt idx="51190">
                  <c:v>-8.4033613445377799E-4</c:v>
                </c:pt>
                <c:pt idx="51191">
                  <c:v>-8.4033613445377799E-4</c:v>
                </c:pt>
                <c:pt idx="51192">
                  <c:v>-8.4033613445377799E-4</c:v>
                </c:pt>
                <c:pt idx="51193">
                  <c:v>-8.4033613445377799E-4</c:v>
                </c:pt>
                <c:pt idx="51194">
                  <c:v>-8.4033613445377799E-4</c:v>
                </c:pt>
                <c:pt idx="51195">
                  <c:v>-8.4033613445377799E-4</c:v>
                </c:pt>
                <c:pt idx="51196">
                  <c:v>-8.4033613445377799E-4</c:v>
                </c:pt>
                <c:pt idx="51197">
                  <c:v>-8.4033613445377799E-4</c:v>
                </c:pt>
                <c:pt idx="51198">
                  <c:v>-8.4033613445377799E-4</c:v>
                </c:pt>
                <c:pt idx="51199">
                  <c:v>-8.4033613445377799E-4</c:v>
                </c:pt>
                <c:pt idx="51200">
                  <c:v>-8.4033613445377799E-4</c:v>
                </c:pt>
                <c:pt idx="51201">
                  <c:v>-8.4033613445377799E-4</c:v>
                </c:pt>
                <c:pt idx="51202">
                  <c:v>-8.4033613445377799E-4</c:v>
                </c:pt>
                <c:pt idx="51203">
                  <c:v>-8.4033613445377799E-4</c:v>
                </c:pt>
                <c:pt idx="51204">
                  <c:v>-8.4033613445377799E-4</c:v>
                </c:pt>
                <c:pt idx="51205">
                  <c:v>-8.4033613445377799E-4</c:v>
                </c:pt>
                <c:pt idx="51206">
                  <c:v>-8.4033613445377799E-4</c:v>
                </c:pt>
                <c:pt idx="51207">
                  <c:v>-8.4033613445377799E-4</c:v>
                </c:pt>
                <c:pt idx="51208">
                  <c:v>-8.4033613445377799E-4</c:v>
                </c:pt>
                <c:pt idx="51209">
                  <c:v>-8.4033613445377799E-4</c:v>
                </c:pt>
                <c:pt idx="51210">
                  <c:v>-8.4033613445377799E-4</c:v>
                </c:pt>
                <c:pt idx="51211">
                  <c:v>-8.4033613445377799E-4</c:v>
                </c:pt>
                <c:pt idx="51212">
                  <c:v>-8.4033613445377799E-4</c:v>
                </c:pt>
                <c:pt idx="51213">
                  <c:v>-8.4033613445377799E-4</c:v>
                </c:pt>
                <c:pt idx="51214">
                  <c:v>-8.4033613445377799E-4</c:v>
                </c:pt>
                <c:pt idx="51215">
                  <c:v>-8.4033613445377799E-4</c:v>
                </c:pt>
                <c:pt idx="51216">
                  <c:v>-8.4033613445377799E-4</c:v>
                </c:pt>
                <c:pt idx="51217">
                  <c:v>-8.4033613445377799E-4</c:v>
                </c:pt>
                <c:pt idx="51218">
                  <c:v>-8.4033613445377799E-4</c:v>
                </c:pt>
                <c:pt idx="51219">
                  <c:v>-8.4033613445377799E-4</c:v>
                </c:pt>
                <c:pt idx="51220">
                  <c:v>-8.4033613445377799E-4</c:v>
                </c:pt>
                <c:pt idx="51221">
                  <c:v>-8.4033613445377799E-4</c:v>
                </c:pt>
                <c:pt idx="51222">
                  <c:v>-8.4033613445377799E-4</c:v>
                </c:pt>
                <c:pt idx="51223">
                  <c:v>-8.4033613445377799E-4</c:v>
                </c:pt>
                <c:pt idx="51224">
                  <c:v>-8.4033613445377799E-4</c:v>
                </c:pt>
                <c:pt idx="51225">
                  <c:v>-8.4033613445377799E-4</c:v>
                </c:pt>
                <c:pt idx="51226">
                  <c:v>-8.4033613445377799E-4</c:v>
                </c:pt>
                <c:pt idx="51227">
                  <c:v>-8.4033613445377799E-4</c:v>
                </c:pt>
                <c:pt idx="51228">
                  <c:v>-8.4033613445377799E-4</c:v>
                </c:pt>
                <c:pt idx="51229">
                  <c:v>-8.4033613445377799E-4</c:v>
                </c:pt>
                <c:pt idx="51230">
                  <c:v>-8.4033613445377799E-4</c:v>
                </c:pt>
                <c:pt idx="51231">
                  <c:v>-8.4033613445377799E-4</c:v>
                </c:pt>
                <c:pt idx="51232">
                  <c:v>-8.4033613445377799E-4</c:v>
                </c:pt>
                <c:pt idx="51233">
                  <c:v>-8.4033613445377799E-4</c:v>
                </c:pt>
                <c:pt idx="51234">
                  <c:v>-8.4033613445377799E-4</c:v>
                </c:pt>
                <c:pt idx="51235">
                  <c:v>-8.4033613445377799E-4</c:v>
                </c:pt>
                <c:pt idx="51236">
                  <c:v>-8.4033613445377799E-4</c:v>
                </c:pt>
                <c:pt idx="51237">
                  <c:v>-8.4033613445377799E-4</c:v>
                </c:pt>
                <c:pt idx="51238">
                  <c:v>-8.4033613445377799E-4</c:v>
                </c:pt>
                <c:pt idx="51239">
                  <c:v>-8.4033613445377799E-4</c:v>
                </c:pt>
                <c:pt idx="51240">
                  <c:v>-8.4033613445377799E-4</c:v>
                </c:pt>
                <c:pt idx="51241">
                  <c:v>-8.4033613445377799E-4</c:v>
                </c:pt>
                <c:pt idx="51242">
                  <c:v>-8.4033613445377799E-4</c:v>
                </c:pt>
                <c:pt idx="51243">
                  <c:v>-8.4033613445377799E-4</c:v>
                </c:pt>
                <c:pt idx="51244">
                  <c:v>-8.4033613445377799E-4</c:v>
                </c:pt>
                <c:pt idx="51245">
                  <c:v>-8.4033613445377799E-4</c:v>
                </c:pt>
                <c:pt idx="51246">
                  <c:v>-8.4033613445377799E-4</c:v>
                </c:pt>
                <c:pt idx="51247">
                  <c:v>-8.4033613445377799E-4</c:v>
                </c:pt>
                <c:pt idx="51248">
                  <c:v>-8.4033613445377799E-4</c:v>
                </c:pt>
                <c:pt idx="51249">
                  <c:v>-8.4033613445377799E-4</c:v>
                </c:pt>
                <c:pt idx="51250">
                  <c:v>-8.4033613445377799E-4</c:v>
                </c:pt>
                <c:pt idx="51251">
                  <c:v>-8.4033613445377799E-4</c:v>
                </c:pt>
                <c:pt idx="51252">
                  <c:v>-8.4033613445377799E-4</c:v>
                </c:pt>
                <c:pt idx="51253">
                  <c:v>-8.4033613445377799E-4</c:v>
                </c:pt>
                <c:pt idx="51254">
                  <c:v>-8.4033613445377799E-4</c:v>
                </c:pt>
                <c:pt idx="51255">
                  <c:v>-8.4033613445377799E-4</c:v>
                </c:pt>
                <c:pt idx="51256">
                  <c:v>-8.4033613445377799E-4</c:v>
                </c:pt>
                <c:pt idx="51257">
                  <c:v>-8.4033613445377799E-4</c:v>
                </c:pt>
                <c:pt idx="51258">
                  <c:v>0</c:v>
                </c:pt>
                <c:pt idx="51259">
                  <c:v>0</c:v>
                </c:pt>
                <c:pt idx="51260">
                  <c:v>0</c:v>
                </c:pt>
                <c:pt idx="51261">
                  <c:v>0</c:v>
                </c:pt>
                <c:pt idx="51262">
                  <c:v>0</c:v>
                </c:pt>
                <c:pt idx="51263">
                  <c:v>0</c:v>
                </c:pt>
                <c:pt idx="51264">
                  <c:v>0</c:v>
                </c:pt>
                <c:pt idx="51265">
                  <c:v>0</c:v>
                </c:pt>
                <c:pt idx="51266">
                  <c:v>0</c:v>
                </c:pt>
                <c:pt idx="51267">
                  <c:v>0</c:v>
                </c:pt>
                <c:pt idx="51268">
                  <c:v>0</c:v>
                </c:pt>
                <c:pt idx="51269">
                  <c:v>0</c:v>
                </c:pt>
                <c:pt idx="51270">
                  <c:v>0</c:v>
                </c:pt>
                <c:pt idx="51271">
                  <c:v>0</c:v>
                </c:pt>
                <c:pt idx="51272">
                  <c:v>0</c:v>
                </c:pt>
                <c:pt idx="51273">
                  <c:v>0</c:v>
                </c:pt>
                <c:pt idx="51274">
                  <c:v>0</c:v>
                </c:pt>
                <c:pt idx="51275">
                  <c:v>0</c:v>
                </c:pt>
                <c:pt idx="51276">
                  <c:v>0</c:v>
                </c:pt>
                <c:pt idx="51277">
                  <c:v>0</c:v>
                </c:pt>
                <c:pt idx="51278">
                  <c:v>0</c:v>
                </c:pt>
                <c:pt idx="51279">
                  <c:v>0</c:v>
                </c:pt>
                <c:pt idx="51280">
                  <c:v>0</c:v>
                </c:pt>
                <c:pt idx="51281">
                  <c:v>0</c:v>
                </c:pt>
                <c:pt idx="51282">
                  <c:v>0</c:v>
                </c:pt>
                <c:pt idx="51283">
                  <c:v>0</c:v>
                </c:pt>
                <c:pt idx="51284">
                  <c:v>0</c:v>
                </c:pt>
                <c:pt idx="51285">
                  <c:v>0</c:v>
                </c:pt>
                <c:pt idx="51286">
                  <c:v>0</c:v>
                </c:pt>
                <c:pt idx="51287">
                  <c:v>0</c:v>
                </c:pt>
                <c:pt idx="51288">
                  <c:v>0</c:v>
                </c:pt>
                <c:pt idx="51289">
                  <c:v>0</c:v>
                </c:pt>
                <c:pt idx="51290">
                  <c:v>0</c:v>
                </c:pt>
                <c:pt idx="51291">
                  <c:v>0</c:v>
                </c:pt>
                <c:pt idx="51292">
                  <c:v>0</c:v>
                </c:pt>
                <c:pt idx="51293">
                  <c:v>0</c:v>
                </c:pt>
                <c:pt idx="51294">
                  <c:v>0</c:v>
                </c:pt>
                <c:pt idx="51295">
                  <c:v>0</c:v>
                </c:pt>
                <c:pt idx="51296">
                  <c:v>0</c:v>
                </c:pt>
                <c:pt idx="51297">
                  <c:v>0</c:v>
                </c:pt>
                <c:pt idx="51298">
                  <c:v>0</c:v>
                </c:pt>
                <c:pt idx="51299">
                  <c:v>0</c:v>
                </c:pt>
                <c:pt idx="51300">
                  <c:v>0</c:v>
                </c:pt>
                <c:pt idx="51301">
                  <c:v>0</c:v>
                </c:pt>
                <c:pt idx="51302">
                  <c:v>0</c:v>
                </c:pt>
                <c:pt idx="51303">
                  <c:v>0</c:v>
                </c:pt>
                <c:pt idx="51304">
                  <c:v>0</c:v>
                </c:pt>
                <c:pt idx="51305">
                  <c:v>0</c:v>
                </c:pt>
                <c:pt idx="51306">
                  <c:v>0</c:v>
                </c:pt>
                <c:pt idx="51307">
                  <c:v>0</c:v>
                </c:pt>
                <c:pt idx="51308">
                  <c:v>0</c:v>
                </c:pt>
                <c:pt idx="51309">
                  <c:v>0</c:v>
                </c:pt>
                <c:pt idx="51310">
                  <c:v>0</c:v>
                </c:pt>
                <c:pt idx="51311">
                  <c:v>0</c:v>
                </c:pt>
                <c:pt idx="51312">
                  <c:v>0</c:v>
                </c:pt>
                <c:pt idx="51313">
                  <c:v>0</c:v>
                </c:pt>
                <c:pt idx="51314">
                  <c:v>0</c:v>
                </c:pt>
                <c:pt idx="51315">
                  <c:v>0</c:v>
                </c:pt>
                <c:pt idx="51316">
                  <c:v>0</c:v>
                </c:pt>
                <c:pt idx="51317">
                  <c:v>0</c:v>
                </c:pt>
                <c:pt idx="51318">
                  <c:v>0</c:v>
                </c:pt>
                <c:pt idx="51319">
                  <c:v>0</c:v>
                </c:pt>
                <c:pt idx="51320">
                  <c:v>0</c:v>
                </c:pt>
                <c:pt idx="51321">
                  <c:v>0</c:v>
                </c:pt>
                <c:pt idx="51322">
                  <c:v>0</c:v>
                </c:pt>
                <c:pt idx="51323">
                  <c:v>0</c:v>
                </c:pt>
                <c:pt idx="51324">
                  <c:v>0</c:v>
                </c:pt>
                <c:pt idx="51325">
                  <c:v>0</c:v>
                </c:pt>
                <c:pt idx="51326">
                  <c:v>0</c:v>
                </c:pt>
                <c:pt idx="51327">
                  <c:v>0</c:v>
                </c:pt>
                <c:pt idx="51328">
                  <c:v>0</c:v>
                </c:pt>
                <c:pt idx="51329">
                  <c:v>0</c:v>
                </c:pt>
                <c:pt idx="51330">
                  <c:v>0</c:v>
                </c:pt>
                <c:pt idx="51331">
                  <c:v>0</c:v>
                </c:pt>
                <c:pt idx="51332">
                  <c:v>0</c:v>
                </c:pt>
                <c:pt idx="51333">
                  <c:v>0</c:v>
                </c:pt>
                <c:pt idx="51334">
                  <c:v>0</c:v>
                </c:pt>
                <c:pt idx="51335">
                  <c:v>0</c:v>
                </c:pt>
                <c:pt idx="51336">
                  <c:v>0</c:v>
                </c:pt>
                <c:pt idx="51337">
                  <c:v>0</c:v>
                </c:pt>
                <c:pt idx="51338">
                  <c:v>0</c:v>
                </c:pt>
                <c:pt idx="51339">
                  <c:v>0</c:v>
                </c:pt>
                <c:pt idx="51340">
                  <c:v>0</c:v>
                </c:pt>
                <c:pt idx="51341">
                  <c:v>0</c:v>
                </c:pt>
                <c:pt idx="51342">
                  <c:v>0</c:v>
                </c:pt>
                <c:pt idx="51343">
                  <c:v>0</c:v>
                </c:pt>
                <c:pt idx="51344">
                  <c:v>0</c:v>
                </c:pt>
                <c:pt idx="51345">
                  <c:v>0</c:v>
                </c:pt>
                <c:pt idx="51346">
                  <c:v>0</c:v>
                </c:pt>
                <c:pt idx="51347">
                  <c:v>0</c:v>
                </c:pt>
                <c:pt idx="51348">
                  <c:v>0</c:v>
                </c:pt>
                <c:pt idx="51349">
                  <c:v>0</c:v>
                </c:pt>
                <c:pt idx="51350">
                  <c:v>0</c:v>
                </c:pt>
                <c:pt idx="51351">
                  <c:v>0</c:v>
                </c:pt>
                <c:pt idx="51352">
                  <c:v>0</c:v>
                </c:pt>
                <c:pt idx="51353">
                  <c:v>0</c:v>
                </c:pt>
                <c:pt idx="51354">
                  <c:v>0</c:v>
                </c:pt>
                <c:pt idx="51355">
                  <c:v>0</c:v>
                </c:pt>
                <c:pt idx="51356">
                  <c:v>0</c:v>
                </c:pt>
                <c:pt idx="51357">
                  <c:v>0</c:v>
                </c:pt>
                <c:pt idx="51358">
                  <c:v>0</c:v>
                </c:pt>
                <c:pt idx="51359">
                  <c:v>0</c:v>
                </c:pt>
                <c:pt idx="51360">
                  <c:v>0</c:v>
                </c:pt>
                <c:pt idx="51361">
                  <c:v>0</c:v>
                </c:pt>
                <c:pt idx="51362">
                  <c:v>0</c:v>
                </c:pt>
                <c:pt idx="51363">
                  <c:v>0</c:v>
                </c:pt>
                <c:pt idx="51364">
                  <c:v>0</c:v>
                </c:pt>
                <c:pt idx="51365">
                  <c:v>0</c:v>
                </c:pt>
                <c:pt idx="51366">
                  <c:v>0</c:v>
                </c:pt>
                <c:pt idx="51367">
                  <c:v>0</c:v>
                </c:pt>
                <c:pt idx="51368">
                  <c:v>0</c:v>
                </c:pt>
                <c:pt idx="51369">
                  <c:v>0</c:v>
                </c:pt>
                <c:pt idx="51370">
                  <c:v>0</c:v>
                </c:pt>
                <c:pt idx="51371">
                  <c:v>0</c:v>
                </c:pt>
                <c:pt idx="51372">
                  <c:v>0</c:v>
                </c:pt>
                <c:pt idx="51373">
                  <c:v>0</c:v>
                </c:pt>
                <c:pt idx="51374">
                  <c:v>0</c:v>
                </c:pt>
                <c:pt idx="51375">
                  <c:v>0</c:v>
                </c:pt>
                <c:pt idx="51376">
                  <c:v>0</c:v>
                </c:pt>
                <c:pt idx="51377">
                  <c:v>0</c:v>
                </c:pt>
                <c:pt idx="51378">
                  <c:v>0</c:v>
                </c:pt>
                <c:pt idx="51379">
                  <c:v>0</c:v>
                </c:pt>
                <c:pt idx="51380">
                  <c:v>0</c:v>
                </c:pt>
                <c:pt idx="51381">
                  <c:v>0</c:v>
                </c:pt>
                <c:pt idx="51382">
                  <c:v>0</c:v>
                </c:pt>
                <c:pt idx="51383">
                  <c:v>0</c:v>
                </c:pt>
                <c:pt idx="51384">
                  <c:v>0</c:v>
                </c:pt>
                <c:pt idx="51385">
                  <c:v>0</c:v>
                </c:pt>
                <c:pt idx="51386">
                  <c:v>0</c:v>
                </c:pt>
                <c:pt idx="51387">
                  <c:v>0</c:v>
                </c:pt>
                <c:pt idx="51388">
                  <c:v>0</c:v>
                </c:pt>
                <c:pt idx="51389">
                  <c:v>0</c:v>
                </c:pt>
                <c:pt idx="51390">
                  <c:v>0</c:v>
                </c:pt>
                <c:pt idx="51391">
                  <c:v>0</c:v>
                </c:pt>
                <c:pt idx="51392">
                  <c:v>0</c:v>
                </c:pt>
                <c:pt idx="51393">
                  <c:v>0</c:v>
                </c:pt>
                <c:pt idx="51394">
                  <c:v>0</c:v>
                </c:pt>
                <c:pt idx="51395">
                  <c:v>0</c:v>
                </c:pt>
                <c:pt idx="51396">
                  <c:v>0</c:v>
                </c:pt>
                <c:pt idx="51397">
                  <c:v>0</c:v>
                </c:pt>
                <c:pt idx="51398">
                  <c:v>0</c:v>
                </c:pt>
                <c:pt idx="51399">
                  <c:v>0</c:v>
                </c:pt>
                <c:pt idx="51400">
                  <c:v>0</c:v>
                </c:pt>
                <c:pt idx="51401">
                  <c:v>0</c:v>
                </c:pt>
                <c:pt idx="51402">
                  <c:v>0</c:v>
                </c:pt>
                <c:pt idx="51403">
                  <c:v>0</c:v>
                </c:pt>
                <c:pt idx="51404">
                  <c:v>0</c:v>
                </c:pt>
                <c:pt idx="51405">
                  <c:v>0</c:v>
                </c:pt>
                <c:pt idx="51406">
                  <c:v>0</c:v>
                </c:pt>
                <c:pt idx="51407">
                  <c:v>0</c:v>
                </c:pt>
                <c:pt idx="51408">
                  <c:v>0</c:v>
                </c:pt>
                <c:pt idx="51409">
                  <c:v>0</c:v>
                </c:pt>
                <c:pt idx="51410">
                  <c:v>0</c:v>
                </c:pt>
                <c:pt idx="51411">
                  <c:v>0</c:v>
                </c:pt>
                <c:pt idx="51412">
                  <c:v>0</c:v>
                </c:pt>
                <c:pt idx="51413">
                  <c:v>0</c:v>
                </c:pt>
                <c:pt idx="51414">
                  <c:v>0</c:v>
                </c:pt>
                <c:pt idx="51415">
                  <c:v>0</c:v>
                </c:pt>
                <c:pt idx="51416">
                  <c:v>0</c:v>
                </c:pt>
                <c:pt idx="51417">
                  <c:v>0</c:v>
                </c:pt>
                <c:pt idx="51418">
                  <c:v>0</c:v>
                </c:pt>
                <c:pt idx="51419">
                  <c:v>0</c:v>
                </c:pt>
                <c:pt idx="51420">
                  <c:v>0</c:v>
                </c:pt>
                <c:pt idx="51421">
                  <c:v>0</c:v>
                </c:pt>
                <c:pt idx="51422">
                  <c:v>0</c:v>
                </c:pt>
                <c:pt idx="51423">
                  <c:v>0</c:v>
                </c:pt>
                <c:pt idx="51424">
                  <c:v>0</c:v>
                </c:pt>
                <c:pt idx="51425">
                  <c:v>0</c:v>
                </c:pt>
                <c:pt idx="51426">
                  <c:v>0</c:v>
                </c:pt>
                <c:pt idx="51427">
                  <c:v>0</c:v>
                </c:pt>
                <c:pt idx="51428">
                  <c:v>0</c:v>
                </c:pt>
                <c:pt idx="51429">
                  <c:v>0</c:v>
                </c:pt>
                <c:pt idx="51430">
                  <c:v>0</c:v>
                </c:pt>
                <c:pt idx="51431">
                  <c:v>0</c:v>
                </c:pt>
                <c:pt idx="51432">
                  <c:v>0</c:v>
                </c:pt>
                <c:pt idx="51433">
                  <c:v>0</c:v>
                </c:pt>
                <c:pt idx="51434">
                  <c:v>0</c:v>
                </c:pt>
                <c:pt idx="51435">
                  <c:v>0</c:v>
                </c:pt>
                <c:pt idx="51436">
                  <c:v>0</c:v>
                </c:pt>
                <c:pt idx="51437">
                  <c:v>0</c:v>
                </c:pt>
                <c:pt idx="51438">
                  <c:v>0</c:v>
                </c:pt>
                <c:pt idx="51439">
                  <c:v>0</c:v>
                </c:pt>
                <c:pt idx="51440">
                  <c:v>0</c:v>
                </c:pt>
                <c:pt idx="51441">
                  <c:v>0</c:v>
                </c:pt>
                <c:pt idx="51442">
                  <c:v>0</c:v>
                </c:pt>
                <c:pt idx="51443">
                  <c:v>0</c:v>
                </c:pt>
                <c:pt idx="51444">
                  <c:v>0</c:v>
                </c:pt>
                <c:pt idx="51445">
                  <c:v>0</c:v>
                </c:pt>
                <c:pt idx="51446">
                  <c:v>0</c:v>
                </c:pt>
                <c:pt idx="51447">
                  <c:v>0</c:v>
                </c:pt>
                <c:pt idx="51448">
                  <c:v>0</c:v>
                </c:pt>
                <c:pt idx="51449">
                  <c:v>0</c:v>
                </c:pt>
                <c:pt idx="51450">
                  <c:v>0</c:v>
                </c:pt>
                <c:pt idx="51451">
                  <c:v>0</c:v>
                </c:pt>
                <c:pt idx="51452">
                  <c:v>0</c:v>
                </c:pt>
                <c:pt idx="51453">
                  <c:v>0</c:v>
                </c:pt>
                <c:pt idx="51454">
                  <c:v>0</c:v>
                </c:pt>
                <c:pt idx="51455">
                  <c:v>0</c:v>
                </c:pt>
                <c:pt idx="51456">
                  <c:v>0</c:v>
                </c:pt>
                <c:pt idx="51457">
                  <c:v>0</c:v>
                </c:pt>
                <c:pt idx="51458">
                  <c:v>0</c:v>
                </c:pt>
                <c:pt idx="51459">
                  <c:v>0</c:v>
                </c:pt>
                <c:pt idx="51460">
                  <c:v>0</c:v>
                </c:pt>
                <c:pt idx="51461">
                  <c:v>0</c:v>
                </c:pt>
                <c:pt idx="51462">
                  <c:v>0</c:v>
                </c:pt>
                <c:pt idx="51463">
                  <c:v>0</c:v>
                </c:pt>
                <c:pt idx="51464">
                  <c:v>0</c:v>
                </c:pt>
                <c:pt idx="51465">
                  <c:v>0</c:v>
                </c:pt>
                <c:pt idx="51466">
                  <c:v>0</c:v>
                </c:pt>
                <c:pt idx="51467">
                  <c:v>0</c:v>
                </c:pt>
                <c:pt idx="51468">
                  <c:v>0</c:v>
                </c:pt>
                <c:pt idx="51469">
                  <c:v>0</c:v>
                </c:pt>
                <c:pt idx="51470">
                  <c:v>0</c:v>
                </c:pt>
                <c:pt idx="51471">
                  <c:v>0</c:v>
                </c:pt>
                <c:pt idx="51472">
                  <c:v>0</c:v>
                </c:pt>
                <c:pt idx="51473">
                  <c:v>0</c:v>
                </c:pt>
                <c:pt idx="51474">
                  <c:v>0</c:v>
                </c:pt>
                <c:pt idx="51475">
                  <c:v>0</c:v>
                </c:pt>
                <c:pt idx="51476">
                  <c:v>0</c:v>
                </c:pt>
                <c:pt idx="51477">
                  <c:v>0</c:v>
                </c:pt>
                <c:pt idx="51478">
                  <c:v>0</c:v>
                </c:pt>
                <c:pt idx="51479">
                  <c:v>0</c:v>
                </c:pt>
                <c:pt idx="51480">
                  <c:v>0</c:v>
                </c:pt>
                <c:pt idx="51481">
                  <c:v>0</c:v>
                </c:pt>
                <c:pt idx="51482">
                  <c:v>0</c:v>
                </c:pt>
                <c:pt idx="51483">
                  <c:v>0</c:v>
                </c:pt>
                <c:pt idx="51484">
                  <c:v>0</c:v>
                </c:pt>
                <c:pt idx="51485">
                  <c:v>0</c:v>
                </c:pt>
                <c:pt idx="51486">
                  <c:v>0</c:v>
                </c:pt>
                <c:pt idx="51487">
                  <c:v>0</c:v>
                </c:pt>
                <c:pt idx="51488">
                  <c:v>0</c:v>
                </c:pt>
                <c:pt idx="51489">
                  <c:v>0</c:v>
                </c:pt>
                <c:pt idx="51490">
                  <c:v>0</c:v>
                </c:pt>
                <c:pt idx="51491">
                  <c:v>0</c:v>
                </c:pt>
                <c:pt idx="51492">
                  <c:v>0</c:v>
                </c:pt>
                <c:pt idx="51493">
                  <c:v>0</c:v>
                </c:pt>
                <c:pt idx="51494">
                  <c:v>0</c:v>
                </c:pt>
                <c:pt idx="51495">
                  <c:v>0</c:v>
                </c:pt>
                <c:pt idx="51496">
                  <c:v>0</c:v>
                </c:pt>
                <c:pt idx="51497">
                  <c:v>0</c:v>
                </c:pt>
                <c:pt idx="51498">
                  <c:v>0</c:v>
                </c:pt>
                <c:pt idx="51499">
                  <c:v>0</c:v>
                </c:pt>
                <c:pt idx="51500">
                  <c:v>0</c:v>
                </c:pt>
                <c:pt idx="51501">
                  <c:v>0</c:v>
                </c:pt>
                <c:pt idx="51502">
                  <c:v>0</c:v>
                </c:pt>
                <c:pt idx="51503">
                  <c:v>0</c:v>
                </c:pt>
                <c:pt idx="51504">
                  <c:v>0</c:v>
                </c:pt>
                <c:pt idx="51505">
                  <c:v>0</c:v>
                </c:pt>
                <c:pt idx="51506">
                  <c:v>0</c:v>
                </c:pt>
                <c:pt idx="51507">
                  <c:v>0</c:v>
                </c:pt>
                <c:pt idx="51508">
                  <c:v>0</c:v>
                </c:pt>
                <c:pt idx="51509">
                  <c:v>0</c:v>
                </c:pt>
                <c:pt idx="51510">
                  <c:v>0</c:v>
                </c:pt>
                <c:pt idx="51511">
                  <c:v>0</c:v>
                </c:pt>
                <c:pt idx="51512">
                  <c:v>0</c:v>
                </c:pt>
                <c:pt idx="51513">
                  <c:v>0</c:v>
                </c:pt>
                <c:pt idx="51514">
                  <c:v>0</c:v>
                </c:pt>
                <c:pt idx="51515">
                  <c:v>0</c:v>
                </c:pt>
                <c:pt idx="51516">
                  <c:v>0</c:v>
                </c:pt>
                <c:pt idx="51517">
                  <c:v>0</c:v>
                </c:pt>
                <c:pt idx="51518">
                  <c:v>0</c:v>
                </c:pt>
                <c:pt idx="51519">
                  <c:v>0</c:v>
                </c:pt>
                <c:pt idx="51520">
                  <c:v>0</c:v>
                </c:pt>
                <c:pt idx="51521">
                  <c:v>0</c:v>
                </c:pt>
                <c:pt idx="51522">
                  <c:v>0</c:v>
                </c:pt>
                <c:pt idx="51523">
                  <c:v>0</c:v>
                </c:pt>
                <c:pt idx="51524">
                  <c:v>0</c:v>
                </c:pt>
                <c:pt idx="51525">
                  <c:v>0</c:v>
                </c:pt>
                <c:pt idx="51526">
                  <c:v>0</c:v>
                </c:pt>
                <c:pt idx="51527">
                  <c:v>0</c:v>
                </c:pt>
                <c:pt idx="51528">
                  <c:v>0</c:v>
                </c:pt>
                <c:pt idx="51529">
                  <c:v>0</c:v>
                </c:pt>
                <c:pt idx="51530">
                  <c:v>0</c:v>
                </c:pt>
                <c:pt idx="51531">
                  <c:v>0</c:v>
                </c:pt>
                <c:pt idx="51532">
                  <c:v>0</c:v>
                </c:pt>
                <c:pt idx="51533">
                  <c:v>0</c:v>
                </c:pt>
                <c:pt idx="51534">
                  <c:v>0</c:v>
                </c:pt>
                <c:pt idx="51535">
                  <c:v>0</c:v>
                </c:pt>
                <c:pt idx="51536">
                  <c:v>0</c:v>
                </c:pt>
                <c:pt idx="51537">
                  <c:v>0</c:v>
                </c:pt>
                <c:pt idx="51538">
                  <c:v>0</c:v>
                </c:pt>
                <c:pt idx="51539">
                  <c:v>0</c:v>
                </c:pt>
                <c:pt idx="51540">
                  <c:v>0</c:v>
                </c:pt>
                <c:pt idx="51541">
                  <c:v>0</c:v>
                </c:pt>
                <c:pt idx="51542">
                  <c:v>0</c:v>
                </c:pt>
                <c:pt idx="51543">
                  <c:v>0</c:v>
                </c:pt>
                <c:pt idx="51544">
                  <c:v>0</c:v>
                </c:pt>
                <c:pt idx="51545">
                  <c:v>0</c:v>
                </c:pt>
                <c:pt idx="51546">
                  <c:v>0</c:v>
                </c:pt>
                <c:pt idx="51547">
                  <c:v>0</c:v>
                </c:pt>
                <c:pt idx="51548">
                  <c:v>0</c:v>
                </c:pt>
                <c:pt idx="51549">
                  <c:v>0</c:v>
                </c:pt>
                <c:pt idx="51550">
                  <c:v>0</c:v>
                </c:pt>
                <c:pt idx="51551">
                  <c:v>0</c:v>
                </c:pt>
                <c:pt idx="51552">
                  <c:v>0</c:v>
                </c:pt>
                <c:pt idx="51553">
                  <c:v>0</c:v>
                </c:pt>
                <c:pt idx="51554">
                  <c:v>0</c:v>
                </c:pt>
                <c:pt idx="51555">
                  <c:v>0</c:v>
                </c:pt>
                <c:pt idx="51556">
                  <c:v>0</c:v>
                </c:pt>
                <c:pt idx="51557">
                  <c:v>0</c:v>
                </c:pt>
                <c:pt idx="51558">
                  <c:v>0</c:v>
                </c:pt>
                <c:pt idx="51559">
                  <c:v>0</c:v>
                </c:pt>
                <c:pt idx="51560">
                  <c:v>0</c:v>
                </c:pt>
                <c:pt idx="51561">
                  <c:v>0</c:v>
                </c:pt>
                <c:pt idx="51562">
                  <c:v>0</c:v>
                </c:pt>
                <c:pt idx="51563">
                  <c:v>0</c:v>
                </c:pt>
                <c:pt idx="51564">
                  <c:v>0</c:v>
                </c:pt>
                <c:pt idx="51565">
                  <c:v>0</c:v>
                </c:pt>
                <c:pt idx="51566">
                  <c:v>0</c:v>
                </c:pt>
                <c:pt idx="51567">
                  <c:v>0</c:v>
                </c:pt>
                <c:pt idx="51568">
                  <c:v>0</c:v>
                </c:pt>
                <c:pt idx="51569">
                  <c:v>0</c:v>
                </c:pt>
                <c:pt idx="51570">
                  <c:v>0</c:v>
                </c:pt>
                <c:pt idx="51571">
                  <c:v>0</c:v>
                </c:pt>
                <c:pt idx="51572">
                  <c:v>0</c:v>
                </c:pt>
                <c:pt idx="51573">
                  <c:v>0</c:v>
                </c:pt>
                <c:pt idx="51574">
                  <c:v>0</c:v>
                </c:pt>
                <c:pt idx="51575">
                  <c:v>0</c:v>
                </c:pt>
                <c:pt idx="51576">
                  <c:v>0</c:v>
                </c:pt>
                <c:pt idx="51577">
                  <c:v>0</c:v>
                </c:pt>
                <c:pt idx="51578">
                  <c:v>0</c:v>
                </c:pt>
                <c:pt idx="51579">
                  <c:v>0</c:v>
                </c:pt>
                <c:pt idx="51580">
                  <c:v>0</c:v>
                </c:pt>
                <c:pt idx="51581">
                  <c:v>0</c:v>
                </c:pt>
                <c:pt idx="51582">
                  <c:v>0</c:v>
                </c:pt>
                <c:pt idx="51583">
                  <c:v>0</c:v>
                </c:pt>
                <c:pt idx="51584">
                  <c:v>0</c:v>
                </c:pt>
                <c:pt idx="51585">
                  <c:v>0</c:v>
                </c:pt>
                <c:pt idx="51586">
                  <c:v>0</c:v>
                </c:pt>
                <c:pt idx="51587">
                  <c:v>0</c:v>
                </c:pt>
                <c:pt idx="51588">
                  <c:v>0</c:v>
                </c:pt>
                <c:pt idx="51589">
                  <c:v>0</c:v>
                </c:pt>
                <c:pt idx="51590">
                  <c:v>0</c:v>
                </c:pt>
                <c:pt idx="51591">
                  <c:v>0</c:v>
                </c:pt>
                <c:pt idx="51592">
                  <c:v>0</c:v>
                </c:pt>
                <c:pt idx="51593">
                  <c:v>0</c:v>
                </c:pt>
                <c:pt idx="51594">
                  <c:v>0</c:v>
                </c:pt>
                <c:pt idx="51595">
                  <c:v>0</c:v>
                </c:pt>
                <c:pt idx="51596">
                  <c:v>0</c:v>
                </c:pt>
                <c:pt idx="51597">
                  <c:v>0</c:v>
                </c:pt>
                <c:pt idx="51598">
                  <c:v>0</c:v>
                </c:pt>
                <c:pt idx="51599">
                  <c:v>0</c:v>
                </c:pt>
                <c:pt idx="51600">
                  <c:v>0</c:v>
                </c:pt>
                <c:pt idx="51601">
                  <c:v>0</c:v>
                </c:pt>
                <c:pt idx="51602">
                  <c:v>0</c:v>
                </c:pt>
                <c:pt idx="51603">
                  <c:v>0</c:v>
                </c:pt>
                <c:pt idx="51604">
                  <c:v>0</c:v>
                </c:pt>
                <c:pt idx="51605">
                  <c:v>0</c:v>
                </c:pt>
                <c:pt idx="51606">
                  <c:v>0</c:v>
                </c:pt>
                <c:pt idx="51607">
                  <c:v>0</c:v>
                </c:pt>
                <c:pt idx="51608">
                  <c:v>0</c:v>
                </c:pt>
                <c:pt idx="51609">
                  <c:v>0</c:v>
                </c:pt>
                <c:pt idx="51610">
                  <c:v>0</c:v>
                </c:pt>
                <c:pt idx="51611">
                  <c:v>0</c:v>
                </c:pt>
                <c:pt idx="51612">
                  <c:v>0</c:v>
                </c:pt>
                <c:pt idx="51613">
                  <c:v>0</c:v>
                </c:pt>
                <c:pt idx="51614">
                  <c:v>0</c:v>
                </c:pt>
                <c:pt idx="51615">
                  <c:v>0</c:v>
                </c:pt>
                <c:pt idx="51616">
                  <c:v>0</c:v>
                </c:pt>
                <c:pt idx="51617">
                  <c:v>0</c:v>
                </c:pt>
                <c:pt idx="51618">
                  <c:v>0</c:v>
                </c:pt>
                <c:pt idx="51619">
                  <c:v>0</c:v>
                </c:pt>
                <c:pt idx="51620">
                  <c:v>0</c:v>
                </c:pt>
                <c:pt idx="51621">
                  <c:v>0</c:v>
                </c:pt>
                <c:pt idx="51622">
                  <c:v>0</c:v>
                </c:pt>
                <c:pt idx="51623">
                  <c:v>0</c:v>
                </c:pt>
                <c:pt idx="51624">
                  <c:v>0</c:v>
                </c:pt>
                <c:pt idx="51625">
                  <c:v>0</c:v>
                </c:pt>
                <c:pt idx="51626">
                  <c:v>0</c:v>
                </c:pt>
                <c:pt idx="51627">
                  <c:v>0</c:v>
                </c:pt>
                <c:pt idx="51628">
                  <c:v>0</c:v>
                </c:pt>
                <c:pt idx="51629">
                  <c:v>0</c:v>
                </c:pt>
                <c:pt idx="51630">
                  <c:v>0</c:v>
                </c:pt>
                <c:pt idx="51631">
                  <c:v>0</c:v>
                </c:pt>
                <c:pt idx="51632">
                  <c:v>0</c:v>
                </c:pt>
                <c:pt idx="51633">
                  <c:v>0</c:v>
                </c:pt>
                <c:pt idx="51634">
                  <c:v>0</c:v>
                </c:pt>
                <c:pt idx="51635">
                  <c:v>0</c:v>
                </c:pt>
                <c:pt idx="51636">
                  <c:v>0</c:v>
                </c:pt>
                <c:pt idx="51637">
                  <c:v>0</c:v>
                </c:pt>
                <c:pt idx="51638">
                  <c:v>0</c:v>
                </c:pt>
                <c:pt idx="51639">
                  <c:v>0</c:v>
                </c:pt>
                <c:pt idx="51640">
                  <c:v>0</c:v>
                </c:pt>
                <c:pt idx="51641">
                  <c:v>0</c:v>
                </c:pt>
                <c:pt idx="51642">
                  <c:v>0</c:v>
                </c:pt>
                <c:pt idx="51643">
                  <c:v>0</c:v>
                </c:pt>
                <c:pt idx="51644">
                  <c:v>0</c:v>
                </c:pt>
                <c:pt idx="51645">
                  <c:v>0</c:v>
                </c:pt>
                <c:pt idx="51646">
                  <c:v>0</c:v>
                </c:pt>
                <c:pt idx="51647">
                  <c:v>0</c:v>
                </c:pt>
                <c:pt idx="51648">
                  <c:v>0</c:v>
                </c:pt>
                <c:pt idx="51649">
                  <c:v>0</c:v>
                </c:pt>
                <c:pt idx="51650">
                  <c:v>0</c:v>
                </c:pt>
                <c:pt idx="51651">
                  <c:v>0</c:v>
                </c:pt>
                <c:pt idx="51652">
                  <c:v>0</c:v>
                </c:pt>
                <c:pt idx="51653">
                  <c:v>0</c:v>
                </c:pt>
                <c:pt idx="51654">
                  <c:v>0</c:v>
                </c:pt>
                <c:pt idx="51655">
                  <c:v>0</c:v>
                </c:pt>
                <c:pt idx="51656">
                  <c:v>0</c:v>
                </c:pt>
                <c:pt idx="51657">
                  <c:v>0</c:v>
                </c:pt>
                <c:pt idx="51658">
                  <c:v>0</c:v>
                </c:pt>
                <c:pt idx="51659">
                  <c:v>0</c:v>
                </c:pt>
                <c:pt idx="51660">
                  <c:v>0</c:v>
                </c:pt>
                <c:pt idx="51661">
                  <c:v>0</c:v>
                </c:pt>
                <c:pt idx="51662">
                  <c:v>0</c:v>
                </c:pt>
                <c:pt idx="51663">
                  <c:v>0</c:v>
                </c:pt>
                <c:pt idx="51664">
                  <c:v>0</c:v>
                </c:pt>
                <c:pt idx="51665">
                  <c:v>0</c:v>
                </c:pt>
                <c:pt idx="51666">
                  <c:v>0</c:v>
                </c:pt>
                <c:pt idx="51667">
                  <c:v>0</c:v>
                </c:pt>
                <c:pt idx="51668">
                  <c:v>0</c:v>
                </c:pt>
                <c:pt idx="51669">
                  <c:v>0</c:v>
                </c:pt>
                <c:pt idx="51670">
                  <c:v>0</c:v>
                </c:pt>
                <c:pt idx="51671">
                  <c:v>0</c:v>
                </c:pt>
                <c:pt idx="51672">
                  <c:v>0</c:v>
                </c:pt>
                <c:pt idx="51673">
                  <c:v>0</c:v>
                </c:pt>
                <c:pt idx="51674">
                  <c:v>0</c:v>
                </c:pt>
                <c:pt idx="51675">
                  <c:v>0</c:v>
                </c:pt>
                <c:pt idx="51676">
                  <c:v>0</c:v>
                </c:pt>
                <c:pt idx="51677">
                  <c:v>0</c:v>
                </c:pt>
                <c:pt idx="51678">
                  <c:v>0</c:v>
                </c:pt>
                <c:pt idx="51679">
                  <c:v>0</c:v>
                </c:pt>
                <c:pt idx="51680">
                  <c:v>0</c:v>
                </c:pt>
                <c:pt idx="51681">
                  <c:v>0</c:v>
                </c:pt>
                <c:pt idx="51682">
                  <c:v>0</c:v>
                </c:pt>
                <c:pt idx="51683">
                  <c:v>0</c:v>
                </c:pt>
                <c:pt idx="51684">
                  <c:v>0</c:v>
                </c:pt>
                <c:pt idx="51685">
                  <c:v>0</c:v>
                </c:pt>
                <c:pt idx="51686">
                  <c:v>0</c:v>
                </c:pt>
                <c:pt idx="51687">
                  <c:v>0</c:v>
                </c:pt>
                <c:pt idx="51688">
                  <c:v>0</c:v>
                </c:pt>
                <c:pt idx="51689">
                  <c:v>0</c:v>
                </c:pt>
                <c:pt idx="51690">
                  <c:v>0</c:v>
                </c:pt>
                <c:pt idx="51691">
                  <c:v>0</c:v>
                </c:pt>
                <c:pt idx="51692">
                  <c:v>0</c:v>
                </c:pt>
                <c:pt idx="51693">
                  <c:v>0</c:v>
                </c:pt>
                <c:pt idx="51694">
                  <c:v>0</c:v>
                </c:pt>
                <c:pt idx="51695">
                  <c:v>0</c:v>
                </c:pt>
                <c:pt idx="51696">
                  <c:v>0</c:v>
                </c:pt>
                <c:pt idx="51697">
                  <c:v>0</c:v>
                </c:pt>
                <c:pt idx="51698">
                  <c:v>0</c:v>
                </c:pt>
                <c:pt idx="51699">
                  <c:v>0</c:v>
                </c:pt>
                <c:pt idx="51700">
                  <c:v>0</c:v>
                </c:pt>
                <c:pt idx="51701">
                  <c:v>0</c:v>
                </c:pt>
                <c:pt idx="51702">
                  <c:v>0</c:v>
                </c:pt>
                <c:pt idx="51703">
                  <c:v>0</c:v>
                </c:pt>
                <c:pt idx="51704">
                  <c:v>0</c:v>
                </c:pt>
                <c:pt idx="51705">
                  <c:v>0</c:v>
                </c:pt>
                <c:pt idx="51706">
                  <c:v>0</c:v>
                </c:pt>
                <c:pt idx="51707">
                  <c:v>0</c:v>
                </c:pt>
                <c:pt idx="51708">
                  <c:v>0</c:v>
                </c:pt>
                <c:pt idx="51709">
                  <c:v>0</c:v>
                </c:pt>
                <c:pt idx="51710">
                  <c:v>0</c:v>
                </c:pt>
                <c:pt idx="51711">
                  <c:v>0</c:v>
                </c:pt>
                <c:pt idx="51712">
                  <c:v>0</c:v>
                </c:pt>
                <c:pt idx="51713">
                  <c:v>0</c:v>
                </c:pt>
                <c:pt idx="51714">
                  <c:v>0</c:v>
                </c:pt>
                <c:pt idx="51715">
                  <c:v>0</c:v>
                </c:pt>
                <c:pt idx="51716">
                  <c:v>0</c:v>
                </c:pt>
                <c:pt idx="51717">
                  <c:v>0</c:v>
                </c:pt>
                <c:pt idx="51718">
                  <c:v>0</c:v>
                </c:pt>
                <c:pt idx="51719">
                  <c:v>0</c:v>
                </c:pt>
                <c:pt idx="51720">
                  <c:v>0</c:v>
                </c:pt>
                <c:pt idx="51721">
                  <c:v>0</c:v>
                </c:pt>
                <c:pt idx="51722">
                  <c:v>0</c:v>
                </c:pt>
                <c:pt idx="51723">
                  <c:v>0</c:v>
                </c:pt>
                <c:pt idx="51724">
                  <c:v>0</c:v>
                </c:pt>
                <c:pt idx="51725">
                  <c:v>0</c:v>
                </c:pt>
                <c:pt idx="51726">
                  <c:v>0</c:v>
                </c:pt>
                <c:pt idx="51727">
                  <c:v>0</c:v>
                </c:pt>
                <c:pt idx="51728">
                  <c:v>0</c:v>
                </c:pt>
                <c:pt idx="51729">
                  <c:v>0</c:v>
                </c:pt>
                <c:pt idx="51730">
                  <c:v>0</c:v>
                </c:pt>
                <c:pt idx="51731">
                  <c:v>0</c:v>
                </c:pt>
                <c:pt idx="51732">
                  <c:v>0</c:v>
                </c:pt>
                <c:pt idx="51733">
                  <c:v>0</c:v>
                </c:pt>
                <c:pt idx="51734">
                  <c:v>0</c:v>
                </c:pt>
                <c:pt idx="51735">
                  <c:v>0</c:v>
                </c:pt>
                <c:pt idx="51736">
                  <c:v>0</c:v>
                </c:pt>
                <c:pt idx="51737">
                  <c:v>0</c:v>
                </c:pt>
                <c:pt idx="51738">
                  <c:v>0</c:v>
                </c:pt>
                <c:pt idx="51739">
                  <c:v>0</c:v>
                </c:pt>
                <c:pt idx="51740">
                  <c:v>0</c:v>
                </c:pt>
                <c:pt idx="51741">
                  <c:v>0</c:v>
                </c:pt>
                <c:pt idx="51742">
                  <c:v>0</c:v>
                </c:pt>
                <c:pt idx="51743">
                  <c:v>0</c:v>
                </c:pt>
                <c:pt idx="51744">
                  <c:v>0</c:v>
                </c:pt>
                <c:pt idx="51745">
                  <c:v>0</c:v>
                </c:pt>
                <c:pt idx="51746">
                  <c:v>0</c:v>
                </c:pt>
                <c:pt idx="51747">
                  <c:v>0</c:v>
                </c:pt>
                <c:pt idx="51748">
                  <c:v>0</c:v>
                </c:pt>
                <c:pt idx="51749">
                  <c:v>0</c:v>
                </c:pt>
                <c:pt idx="51750">
                  <c:v>0</c:v>
                </c:pt>
                <c:pt idx="51751">
                  <c:v>0</c:v>
                </c:pt>
                <c:pt idx="51752">
                  <c:v>0</c:v>
                </c:pt>
                <c:pt idx="51753">
                  <c:v>0</c:v>
                </c:pt>
                <c:pt idx="51754">
                  <c:v>0</c:v>
                </c:pt>
                <c:pt idx="51755">
                  <c:v>0</c:v>
                </c:pt>
                <c:pt idx="51756">
                  <c:v>0</c:v>
                </c:pt>
                <c:pt idx="51757">
                  <c:v>0</c:v>
                </c:pt>
                <c:pt idx="51758">
                  <c:v>0</c:v>
                </c:pt>
                <c:pt idx="51759">
                  <c:v>0</c:v>
                </c:pt>
                <c:pt idx="51760">
                  <c:v>0</c:v>
                </c:pt>
                <c:pt idx="51761">
                  <c:v>0</c:v>
                </c:pt>
                <c:pt idx="51762">
                  <c:v>0</c:v>
                </c:pt>
                <c:pt idx="51763">
                  <c:v>0</c:v>
                </c:pt>
                <c:pt idx="51764">
                  <c:v>0</c:v>
                </c:pt>
                <c:pt idx="51765">
                  <c:v>0</c:v>
                </c:pt>
                <c:pt idx="51766">
                  <c:v>0</c:v>
                </c:pt>
                <c:pt idx="51767">
                  <c:v>0</c:v>
                </c:pt>
                <c:pt idx="51768">
                  <c:v>0</c:v>
                </c:pt>
                <c:pt idx="51769">
                  <c:v>0</c:v>
                </c:pt>
                <c:pt idx="51770">
                  <c:v>0</c:v>
                </c:pt>
                <c:pt idx="51771">
                  <c:v>0</c:v>
                </c:pt>
                <c:pt idx="51772">
                  <c:v>0</c:v>
                </c:pt>
                <c:pt idx="51773">
                  <c:v>0</c:v>
                </c:pt>
                <c:pt idx="51774">
                  <c:v>0</c:v>
                </c:pt>
                <c:pt idx="51775">
                  <c:v>0</c:v>
                </c:pt>
                <c:pt idx="51776">
                  <c:v>0</c:v>
                </c:pt>
                <c:pt idx="51777">
                  <c:v>0</c:v>
                </c:pt>
                <c:pt idx="51778">
                  <c:v>0</c:v>
                </c:pt>
                <c:pt idx="51779">
                  <c:v>0</c:v>
                </c:pt>
                <c:pt idx="51780">
                  <c:v>0</c:v>
                </c:pt>
                <c:pt idx="51781">
                  <c:v>0</c:v>
                </c:pt>
                <c:pt idx="51782">
                  <c:v>0</c:v>
                </c:pt>
                <c:pt idx="51783">
                  <c:v>0</c:v>
                </c:pt>
                <c:pt idx="51784">
                  <c:v>0</c:v>
                </c:pt>
                <c:pt idx="51785">
                  <c:v>0</c:v>
                </c:pt>
                <c:pt idx="51786">
                  <c:v>0</c:v>
                </c:pt>
                <c:pt idx="51787">
                  <c:v>0</c:v>
                </c:pt>
                <c:pt idx="51788">
                  <c:v>0</c:v>
                </c:pt>
                <c:pt idx="51789">
                  <c:v>0</c:v>
                </c:pt>
                <c:pt idx="51790">
                  <c:v>0</c:v>
                </c:pt>
                <c:pt idx="51791">
                  <c:v>0</c:v>
                </c:pt>
                <c:pt idx="51792">
                  <c:v>0</c:v>
                </c:pt>
                <c:pt idx="51793">
                  <c:v>0</c:v>
                </c:pt>
                <c:pt idx="51794">
                  <c:v>0</c:v>
                </c:pt>
                <c:pt idx="51795">
                  <c:v>0</c:v>
                </c:pt>
                <c:pt idx="51796">
                  <c:v>0</c:v>
                </c:pt>
                <c:pt idx="51797">
                  <c:v>0</c:v>
                </c:pt>
                <c:pt idx="51798">
                  <c:v>0</c:v>
                </c:pt>
                <c:pt idx="51799">
                  <c:v>0</c:v>
                </c:pt>
                <c:pt idx="51800">
                  <c:v>0</c:v>
                </c:pt>
                <c:pt idx="51801">
                  <c:v>0</c:v>
                </c:pt>
                <c:pt idx="51802">
                  <c:v>0</c:v>
                </c:pt>
                <c:pt idx="51803">
                  <c:v>0</c:v>
                </c:pt>
                <c:pt idx="51804">
                  <c:v>0</c:v>
                </c:pt>
                <c:pt idx="51805">
                  <c:v>0</c:v>
                </c:pt>
                <c:pt idx="51806">
                  <c:v>0</c:v>
                </c:pt>
                <c:pt idx="51807">
                  <c:v>0</c:v>
                </c:pt>
                <c:pt idx="51808">
                  <c:v>0</c:v>
                </c:pt>
                <c:pt idx="51809">
                  <c:v>0</c:v>
                </c:pt>
                <c:pt idx="51810">
                  <c:v>0</c:v>
                </c:pt>
                <c:pt idx="51811">
                  <c:v>0</c:v>
                </c:pt>
                <c:pt idx="51812">
                  <c:v>0</c:v>
                </c:pt>
                <c:pt idx="51813">
                  <c:v>0</c:v>
                </c:pt>
                <c:pt idx="51814">
                  <c:v>0</c:v>
                </c:pt>
                <c:pt idx="51815">
                  <c:v>0</c:v>
                </c:pt>
                <c:pt idx="51816">
                  <c:v>0</c:v>
                </c:pt>
                <c:pt idx="51817">
                  <c:v>0</c:v>
                </c:pt>
                <c:pt idx="51818">
                  <c:v>0</c:v>
                </c:pt>
                <c:pt idx="51819">
                  <c:v>8.4033613445377799E-4</c:v>
                </c:pt>
                <c:pt idx="51820">
                  <c:v>8.4033613445377799E-4</c:v>
                </c:pt>
                <c:pt idx="51821">
                  <c:v>8.4033613445377799E-4</c:v>
                </c:pt>
                <c:pt idx="51822">
                  <c:v>8.4033613445377799E-4</c:v>
                </c:pt>
                <c:pt idx="51823">
                  <c:v>8.4033613445377799E-4</c:v>
                </c:pt>
                <c:pt idx="51824">
                  <c:v>8.4033613445377799E-4</c:v>
                </c:pt>
                <c:pt idx="51825">
                  <c:v>8.4033613445377799E-4</c:v>
                </c:pt>
                <c:pt idx="51826">
                  <c:v>8.4033613445377799E-4</c:v>
                </c:pt>
                <c:pt idx="51827">
                  <c:v>8.4033613445377799E-4</c:v>
                </c:pt>
                <c:pt idx="51828">
                  <c:v>8.4033613445377799E-4</c:v>
                </c:pt>
                <c:pt idx="51829">
                  <c:v>8.4033613445377799E-4</c:v>
                </c:pt>
                <c:pt idx="51830">
                  <c:v>8.4033613445377799E-4</c:v>
                </c:pt>
                <c:pt idx="51831">
                  <c:v>8.4033613445377799E-4</c:v>
                </c:pt>
                <c:pt idx="51832">
                  <c:v>8.4033613445377799E-4</c:v>
                </c:pt>
                <c:pt idx="51833">
                  <c:v>8.4033613445377799E-4</c:v>
                </c:pt>
                <c:pt idx="51834">
                  <c:v>8.4033613445377799E-4</c:v>
                </c:pt>
                <c:pt idx="51835">
                  <c:v>8.4033613445377799E-4</c:v>
                </c:pt>
                <c:pt idx="51836">
                  <c:v>8.4033613445377799E-4</c:v>
                </c:pt>
                <c:pt idx="51837">
                  <c:v>8.4033613445377799E-4</c:v>
                </c:pt>
                <c:pt idx="51838">
                  <c:v>8.4033613445377799E-4</c:v>
                </c:pt>
                <c:pt idx="51839">
                  <c:v>8.4033613445377799E-4</c:v>
                </c:pt>
                <c:pt idx="51840">
                  <c:v>8.4033613445377799E-4</c:v>
                </c:pt>
                <c:pt idx="51841">
                  <c:v>8.4033613445377799E-4</c:v>
                </c:pt>
                <c:pt idx="51842">
                  <c:v>8.4033613445377799E-4</c:v>
                </c:pt>
                <c:pt idx="51843">
                  <c:v>8.4033613445377799E-4</c:v>
                </c:pt>
                <c:pt idx="51844">
                  <c:v>8.4033613445377799E-4</c:v>
                </c:pt>
                <c:pt idx="51845">
                  <c:v>8.4033613445377799E-4</c:v>
                </c:pt>
                <c:pt idx="51846">
                  <c:v>8.4033613445377799E-4</c:v>
                </c:pt>
                <c:pt idx="51847">
                  <c:v>8.4033613445377799E-4</c:v>
                </c:pt>
                <c:pt idx="51848">
                  <c:v>8.4033613445377799E-4</c:v>
                </c:pt>
                <c:pt idx="51849">
                  <c:v>8.4033613445377799E-4</c:v>
                </c:pt>
                <c:pt idx="51850">
                  <c:v>8.4033613445377799E-4</c:v>
                </c:pt>
                <c:pt idx="51851">
                  <c:v>8.4033613445377799E-4</c:v>
                </c:pt>
                <c:pt idx="51852">
                  <c:v>8.4033613445377799E-4</c:v>
                </c:pt>
                <c:pt idx="51853">
                  <c:v>8.4033613445377799E-4</c:v>
                </c:pt>
                <c:pt idx="51854">
                  <c:v>8.4033613445377799E-4</c:v>
                </c:pt>
                <c:pt idx="51855">
                  <c:v>8.4033613445377799E-4</c:v>
                </c:pt>
                <c:pt idx="51856">
                  <c:v>8.4033613445377799E-4</c:v>
                </c:pt>
                <c:pt idx="51857">
                  <c:v>8.4033613445377799E-4</c:v>
                </c:pt>
                <c:pt idx="51858">
                  <c:v>8.4033613445377799E-4</c:v>
                </c:pt>
                <c:pt idx="51859">
                  <c:v>8.4033613445377799E-4</c:v>
                </c:pt>
                <c:pt idx="51860">
                  <c:v>8.4033613445377799E-4</c:v>
                </c:pt>
                <c:pt idx="51861">
                  <c:v>8.4033613445377799E-4</c:v>
                </c:pt>
                <c:pt idx="51862">
                  <c:v>8.4033613445377799E-4</c:v>
                </c:pt>
                <c:pt idx="51863">
                  <c:v>8.4033613445377799E-4</c:v>
                </c:pt>
                <c:pt idx="51864">
                  <c:v>8.4033613445377799E-4</c:v>
                </c:pt>
                <c:pt idx="51865">
                  <c:v>8.4033613445377799E-4</c:v>
                </c:pt>
                <c:pt idx="51866">
                  <c:v>8.4033613445377799E-4</c:v>
                </c:pt>
                <c:pt idx="51867">
                  <c:v>8.4033613445377799E-4</c:v>
                </c:pt>
                <c:pt idx="51868">
                  <c:v>8.4033613445377799E-4</c:v>
                </c:pt>
                <c:pt idx="51869">
                  <c:v>8.4033613445377799E-4</c:v>
                </c:pt>
                <c:pt idx="51870">
                  <c:v>8.4033613445377799E-4</c:v>
                </c:pt>
                <c:pt idx="51871">
                  <c:v>8.4033613445377799E-4</c:v>
                </c:pt>
                <c:pt idx="51872">
                  <c:v>8.4033613445377799E-4</c:v>
                </c:pt>
                <c:pt idx="51873">
                  <c:v>8.4033613445377799E-4</c:v>
                </c:pt>
                <c:pt idx="51874">
                  <c:v>8.4033613445377799E-4</c:v>
                </c:pt>
                <c:pt idx="51875">
                  <c:v>8.4033613445377799E-4</c:v>
                </c:pt>
                <c:pt idx="51876">
                  <c:v>8.4033613445377799E-4</c:v>
                </c:pt>
                <c:pt idx="51877">
                  <c:v>8.4033613445377799E-4</c:v>
                </c:pt>
                <c:pt idx="51878">
                  <c:v>8.4033613445377799E-4</c:v>
                </c:pt>
                <c:pt idx="51879">
                  <c:v>8.4033613445377799E-4</c:v>
                </c:pt>
                <c:pt idx="51880">
                  <c:v>8.4033613445377799E-4</c:v>
                </c:pt>
                <c:pt idx="51881">
                  <c:v>8.4033613445377799E-4</c:v>
                </c:pt>
                <c:pt idx="51882">
                  <c:v>8.4033613445377799E-4</c:v>
                </c:pt>
                <c:pt idx="51883">
                  <c:v>8.4033613445377799E-4</c:v>
                </c:pt>
                <c:pt idx="51884">
                  <c:v>8.4033613445377799E-4</c:v>
                </c:pt>
                <c:pt idx="51885">
                  <c:v>8.4033613445377799E-4</c:v>
                </c:pt>
                <c:pt idx="51886">
                  <c:v>8.4033613445377799E-4</c:v>
                </c:pt>
                <c:pt idx="51887">
                  <c:v>8.4033613445377799E-4</c:v>
                </c:pt>
                <c:pt idx="51888">
                  <c:v>8.4033613445377799E-4</c:v>
                </c:pt>
                <c:pt idx="51889">
                  <c:v>8.4033613445377799E-4</c:v>
                </c:pt>
                <c:pt idx="51890">
                  <c:v>8.4033613445377799E-4</c:v>
                </c:pt>
                <c:pt idx="51891">
                  <c:v>8.4033613445377799E-4</c:v>
                </c:pt>
                <c:pt idx="51892">
                  <c:v>8.4033613445377799E-4</c:v>
                </c:pt>
                <c:pt idx="51893">
                  <c:v>8.4033613445377799E-4</c:v>
                </c:pt>
                <c:pt idx="51894">
                  <c:v>8.4033613445377799E-4</c:v>
                </c:pt>
                <c:pt idx="51895">
                  <c:v>8.4033613445377799E-4</c:v>
                </c:pt>
                <c:pt idx="51896">
                  <c:v>8.4033613445377799E-4</c:v>
                </c:pt>
                <c:pt idx="51897">
                  <c:v>8.4033613445377799E-4</c:v>
                </c:pt>
                <c:pt idx="51898">
                  <c:v>8.4033613445377799E-4</c:v>
                </c:pt>
                <c:pt idx="51899">
                  <c:v>8.4033613445377799E-4</c:v>
                </c:pt>
                <c:pt idx="51900">
                  <c:v>8.4033613445377799E-4</c:v>
                </c:pt>
                <c:pt idx="51901">
                  <c:v>8.4033613445377799E-4</c:v>
                </c:pt>
                <c:pt idx="51902">
                  <c:v>8.4033613445377799E-4</c:v>
                </c:pt>
                <c:pt idx="51903">
                  <c:v>8.4033613445377799E-4</c:v>
                </c:pt>
                <c:pt idx="51904">
                  <c:v>8.4033613445377799E-4</c:v>
                </c:pt>
                <c:pt idx="51905">
                  <c:v>8.4033613445377799E-4</c:v>
                </c:pt>
                <c:pt idx="51906">
                  <c:v>8.4033613445377799E-4</c:v>
                </c:pt>
                <c:pt idx="51907">
                  <c:v>8.4033613445377799E-4</c:v>
                </c:pt>
                <c:pt idx="51908">
                  <c:v>8.4033613445377799E-4</c:v>
                </c:pt>
                <c:pt idx="51909">
                  <c:v>8.4033613445377799E-4</c:v>
                </c:pt>
                <c:pt idx="51910">
                  <c:v>8.4033613445377799E-4</c:v>
                </c:pt>
                <c:pt idx="51911">
                  <c:v>8.4033613445377799E-4</c:v>
                </c:pt>
                <c:pt idx="51912">
                  <c:v>8.4033613445377799E-4</c:v>
                </c:pt>
                <c:pt idx="51913">
                  <c:v>8.4033613445377799E-4</c:v>
                </c:pt>
                <c:pt idx="51914">
                  <c:v>8.4033613445377799E-4</c:v>
                </c:pt>
                <c:pt idx="51915">
                  <c:v>8.4033613445377799E-4</c:v>
                </c:pt>
                <c:pt idx="51916">
                  <c:v>8.4033613445377799E-4</c:v>
                </c:pt>
                <c:pt idx="51917">
                  <c:v>8.4033613445377799E-4</c:v>
                </c:pt>
                <c:pt idx="51918">
                  <c:v>8.4033613445377799E-4</c:v>
                </c:pt>
                <c:pt idx="51919">
                  <c:v>8.4033613445377799E-4</c:v>
                </c:pt>
                <c:pt idx="51920">
                  <c:v>8.4033613445377799E-4</c:v>
                </c:pt>
                <c:pt idx="51921">
                  <c:v>8.4033613445377799E-4</c:v>
                </c:pt>
                <c:pt idx="51922">
                  <c:v>8.4033613445377799E-4</c:v>
                </c:pt>
                <c:pt idx="51923">
                  <c:v>8.4033613445377799E-4</c:v>
                </c:pt>
                <c:pt idx="51924">
                  <c:v>8.4033613445377799E-4</c:v>
                </c:pt>
                <c:pt idx="51925">
                  <c:v>8.4033613445377799E-4</c:v>
                </c:pt>
                <c:pt idx="51926">
                  <c:v>8.4033613445377799E-4</c:v>
                </c:pt>
                <c:pt idx="51927">
                  <c:v>8.4033613445377799E-4</c:v>
                </c:pt>
                <c:pt idx="51928">
                  <c:v>8.4033613445377799E-4</c:v>
                </c:pt>
                <c:pt idx="51929">
                  <c:v>8.4033613445377799E-4</c:v>
                </c:pt>
                <c:pt idx="51930">
                  <c:v>8.4033613445377799E-4</c:v>
                </c:pt>
                <c:pt idx="51931">
                  <c:v>8.4033613445377799E-4</c:v>
                </c:pt>
                <c:pt idx="51932">
                  <c:v>8.4033613445377799E-4</c:v>
                </c:pt>
                <c:pt idx="51933">
                  <c:v>8.4033613445377799E-4</c:v>
                </c:pt>
                <c:pt idx="51934">
                  <c:v>8.4033613445377799E-4</c:v>
                </c:pt>
                <c:pt idx="51935">
                  <c:v>8.4033613445377799E-4</c:v>
                </c:pt>
                <c:pt idx="51936">
                  <c:v>8.4033613445377799E-4</c:v>
                </c:pt>
                <c:pt idx="51937">
                  <c:v>8.4033613445377799E-4</c:v>
                </c:pt>
                <c:pt idx="51938">
                  <c:v>8.4033613445377799E-4</c:v>
                </c:pt>
                <c:pt idx="51939">
                  <c:v>8.4033613445377799E-4</c:v>
                </c:pt>
                <c:pt idx="51940">
                  <c:v>8.4033613445377799E-4</c:v>
                </c:pt>
                <c:pt idx="51941">
                  <c:v>8.4033613445377799E-4</c:v>
                </c:pt>
                <c:pt idx="51942">
                  <c:v>8.4033613445377799E-4</c:v>
                </c:pt>
                <c:pt idx="51943">
                  <c:v>8.4033613445377799E-4</c:v>
                </c:pt>
                <c:pt idx="51944">
                  <c:v>8.4033613445377799E-4</c:v>
                </c:pt>
                <c:pt idx="51945">
                  <c:v>8.4033613445377799E-4</c:v>
                </c:pt>
                <c:pt idx="51946">
                  <c:v>8.4033613445377799E-4</c:v>
                </c:pt>
                <c:pt idx="51947">
                  <c:v>8.4033613445377799E-4</c:v>
                </c:pt>
                <c:pt idx="51948">
                  <c:v>8.4033613445377799E-4</c:v>
                </c:pt>
                <c:pt idx="51949">
                  <c:v>8.4033613445377799E-4</c:v>
                </c:pt>
                <c:pt idx="51950">
                  <c:v>8.4033613445377799E-4</c:v>
                </c:pt>
                <c:pt idx="51951">
                  <c:v>8.4033613445377799E-4</c:v>
                </c:pt>
                <c:pt idx="51952">
                  <c:v>8.4033613445377799E-4</c:v>
                </c:pt>
                <c:pt idx="51953">
                  <c:v>8.4033613445377799E-4</c:v>
                </c:pt>
                <c:pt idx="51954">
                  <c:v>8.4033613445377799E-4</c:v>
                </c:pt>
                <c:pt idx="51955">
                  <c:v>8.4033613445377799E-4</c:v>
                </c:pt>
                <c:pt idx="51956">
                  <c:v>8.4033613445377799E-4</c:v>
                </c:pt>
                <c:pt idx="51957">
                  <c:v>8.4033613445377799E-4</c:v>
                </c:pt>
                <c:pt idx="51958">
                  <c:v>8.4033613445377799E-4</c:v>
                </c:pt>
                <c:pt idx="51959">
                  <c:v>8.4033613445377799E-4</c:v>
                </c:pt>
                <c:pt idx="51960">
                  <c:v>8.4033613445377799E-4</c:v>
                </c:pt>
                <c:pt idx="51961">
                  <c:v>8.4033613445377799E-4</c:v>
                </c:pt>
                <c:pt idx="51962">
                  <c:v>8.4033613445377799E-4</c:v>
                </c:pt>
                <c:pt idx="51963">
                  <c:v>8.4033613445377799E-4</c:v>
                </c:pt>
                <c:pt idx="51964">
                  <c:v>8.4033613445377799E-4</c:v>
                </c:pt>
                <c:pt idx="51965">
                  <c:v>8.4033613445377799E-4</c:v>
                </c:pt>
                <c:pt idx="51966">
                  <c:v>8.4033613445377799E-4</c:v>
                </c:pt>
                <c:pt idx="51967">
                  <c:v>8.4033613445377799E-4</c:v>
                </c:pt>
                <c:pt idx="51968">
                  <c:v>8.4033613445377799E-4</c:v>
                </c:pt>
                <c:pt idx="51969">
                  <c:v>8.4033613445377799E-4</c:v>
                </c:pt>
                <c:pt idx="51970">
                  <c:v>8.4033613445377799E-4</c:v>
                </c:pt>
                <c:pt idx="51971">
                  <c:v>8.4033613445377799E-4</c:v>
                </c:pt>
                <c:pt idx="51972">
                  <c:v>8.4033613445377799E-4</c:v>
                </c:pt>
                <c:pt idx="51973">
                  <c:v>8.4033613445377799E-4</c:v>
                </c:pt>
                <c:pt idx="51974">
                  <c:v>8.4033613445377799E-4</c:v>
                </c:pt>
                <c:pt idx="51975">
                  <c:v>8.4033613445377799E-4</c:v>
                </c:pt>
                <c:pt idx="51976">
                  <c:v>8.4033613445377799E-4</c:v>
                </c:pt>
                <c:pt idx="51977">
                  <c:v>8.4033613445377799E-4</c:v>
                </c:pt>
                <c:pt idx="51978">
                  <c:v>8.4033613445377799E-4</c:v>
                </c:pt>
                <c:pt idx="51979">
                  <c:v>8.4033613445377799E-4</c:v>
                </c:pt>
                <c:pt idx="51980">
                  <c:v>8.4033613445377799E-4</c:v>
                </c:pt>
                <c:pt idx="51981">
                  <c:v>8.4033613445377799E-4</c:v>
                </c:pt>
                <c:pt idx="51982">
                  <c:v>8.4033613445377799E-4</c:v>
                </c:pt>
                <c:pt idx="51983">
                  <c:v>8.4033613445377799E-4</c:v>
                </c:pt>
                <c:pt idx="51984">
                  <c:v>8.4033613445377799E-4</c:v>
                </c:pt>
                <c:pt idx="51985">
                  <c:v>8.4033613445377799E-4</c:v>
                </c:pt>
                <c:pt idx="51986">
                  <c:v>8.4033613445377799E-4</c:v>
                </c:pt>
                <c:pt idx="51987">
                  <c:v>8.4033613445377799E-4</c:v>
                </c:pt>
                <c:pt idx="51988">
                  <c:v>8.4033613445377799E-4</c:v>
                </c:pt>
                <c:pt idx="51989">
                  <c:v>8.4033613445377799E-4</c:v>
                </c:pt>
                <c:pt idx="51990">
                  <c:v>8.4033613445377799E-4</c:v>
                </c:pt>
                <c:pt idx="51991">
                  <c:v>8.4033613445377799E-4</c:v>
                </c:pt>
                <c:pt idx="51992">
                  <c:v>8.4033613445377799E-4</c:v>
                </c:pt>
                <c:pt idx="51993">
                  <c:v>8.4033613445377799E-4</c:v>
                </c:pt>
                <c:pt idx="51994">
                  <c:v>8.4033613445377799E-4</c:v>
                </c:pt>
                <c:pt idx="51995">
                  <c:v>8.4033613445377799E-4</c:v>
                </c:pt>
                <c:pt idx="51996">
                  <c:v>8.4033613445377799E-4</c:v>
                </c:pt>
                <c:pt idx="51997">
                  <c:v>8.4033613445377799E-4</c:v>
                </c:pt>
                <c:pt idx="51998">
                  <c:v>8.4033613445377799E-4</c:v>
                </c:pt>
                <c:pt idx="51999">
                  <c:v>8.4033613445377799E-4</c:v>
                </c:pt>
                <c:pt idx="52000">
                  <c:v>8.4033613445377799E-4</c:v>
                </c:pt>
                <c:pt idx="52001">
                  <c:v>8.4033613445377799E-4</c:v>
                </c:pt>
                <c:pt idx="52002">
                  <c:v>8.4033613445377799E-4</c:v>
                </c:pt>
                <c:pt idx="52003">
                  <c:v>8.4033613445377799E-4</c:v>
                </c:pt>
                <c:pt idx="52004">
                  <c:v>8.4033613445377799E-4</c:v>
                </c:pt>
                <c:pt idx="52005">
                  <c:v>8.4033613445377799E-4</c:v>
                </c:pt>
                <c:pt idx="52006">
                  <c:v>8.4033613445377799E-4</c:v>
                </c:pt>
                <c:pt idx="52007">
                  <c:v>8.4033613445377799E-4</c:v>
                </c:pt>
                <c:pt idx="52008">
                  <c:v>8.4033613445377799E-4</c:v>
                </c:pt>
                <c:pt idx="52009">
                  <c:v>8.4033613445377799E-4</c:v>
                </c:pt>
                <c:pt idx="52010">
                  <c:v>8.4033613445377799E-4</c:v>
                </c:pt>
                <c:pt idx="52011">
                  <c:v>8.4033613445377799E-4</c:v>
                </c:pt>
                <c:pt idx="52012">
                  <c:v>8.4033613445377799E-4</c:v>
                </c:pt>
                <c:pt idx="52013">
                  <c:v>8.4033613445377799E-4</c:v>
                </c:pt>
                <c:pt idx="52014">
                  <c:v>8.4033613445377799E-4</c:v>
                </c:pt>
                <c:pt idx="52015">
                  <c:v>8.4033613445377799E-4</c:v>
                </c:pt>
                <c:pt idx="52016">
                  <c:v>8.4033613445377799E-4</c:v>
                </c:pt>
                <c:pt idx="52017">
                  <c:v>8.4033613445377799E-4</c:v>
                </c:pt>
                <c:pt idx="52018">
                  <c:v>8.4033613445377799E-4</c:v>
                </c:pt>
                <c:pt idx="52019">
                  <c:v>8.4033613445377799E-4</c:v>
                </c:pt>
                <c:pt idx="52020">
                  <c:v>8.4033613445377799E-4</c:v>
                </c:pt>
                <c:pt idx="52021">
                  <c:v>8.4033613445377799E-4</c:v>
                </c:pt>
                <c:pt idx="52022">
                  <c:v>8.4033613445377799E-4</c:v>
                </c:pt>
                <c:pt idx="52023">
                  <c:v>8.4033613445377799E-4</c:v>
                </c:pt>
                <c:pt idx="52024">
                  <c:v>8.4033613445377799E-4</c:v>
                </c:pt>
                <c:pt idx="52025">
                  <c:v>8.4033613445377799E-4</c:v>
                </c:pt>
                <c:pt idx="52026">
                  <c:v>8.4033613445377799E-4</c:v>
                </c:pt>
                <c:pt idx="52027">
                  <c:v>8.4033613445377799E-4</c:v>
                </c:pt>
                <c:pt idx="52028">
                  <c:v>8.4033613445377799E-4</c:v>
                </c:pt>
                <c:pt idx="52029">
                  <c:v>8.4033613445377799E-4</c:v>
                </c:pt>
                <c:pt idx="52030">
                  <c:v>8.4033613445377799E-4</c:v>
                </c:pt>
                <c:pt idx="52031">
                  <c:v>8.4033613445377799E-4</c:v>
                </c:pt>
                <c:pt idx="52032">
                  <c:v>8.4033613445377799E-4</c:v>
                </c:pt>
                <c:pt idx="52033">
                  <c:v>8.4033613445377799E-4</c:v>
                </c:pt>
                <c:pt idx="52034">
                  <c:v>8.4033613445377799E-4</c:v>
                </c:pt>
                <c:pt idx="52035">
                  <c:v>8.4033613445377799E-4</c:v>
                </c:pt>
                <c:pt idx="52036">
                  <c:v>8.4033613445377799E-4</c:v>
                </c:pt>
                <c:pt idx="52037">
                  <c:v>8.4033613445377799E-4</c:v>
                </c:pt>
                <c:pt idx="52038">
                  <c:v>8.4033613445377799E-4</c:v>
                </c:pt>
                <c:pt idx="52039">
                  <c:v>8.4033613445377799E-4</c:v>
                </c:pt>
                <c:pt idx="52040">
                  <c:v>8.4033613445377799E-4</c:v>
                </c:pt>
                <c:pt idx="52041">
                  <c:v>8.4033613445377799E-4</c:v>
                </c:pt>
                <c:pt idx="52042">
                  <c:v>8.4033613445377799E-4</c:v>
                </c:pt>
                <c:pt idx="52043">
                  <c:v>8.4033613445377799E-4</c:v>
                </c:pt>
                <c:pt idx="52044">
                  <c:v>8.4033613445377799E-4</c:v>
                </c:pt>
                <c:pt idx="52045">
                  <c:v>8.4033613445377799E-4</c:v>
                </c:pt>
                <c:pt idx="52046">
                  <c:v>8.4033613445377799E-4</c:v>
                </c:pt>
                <c:pt idx="52047">
                  <c:v>8.4033613445377799E-4</c:v>
                </c:pt>
                <c:pt idx="52048">
                  <c:v>8.4033613445377799E-4</c:v>
                </c:pt>
                <c:pt idx="52049">
                  <c:v>8.4033613445377799E-4</c:v>
                </c:pt>
                <c:pt idx="52050">
                  <c:v>8.4033613445377799E-4</c:v>
                </c:pt>
                <c:pt idx="52051">
                  <c:v>8.4033613445377799E-4</c:v>
                </c:pt>
                <c:pt idx="52052">
                  <c:v>8.4033613445377799E-4</c:v>
                </c:pt>
                <c:pt idx="52053">
                  <c:v>8.4033613445377799E-4</c:v>
                </c:pt>
                <c:pt idx="52054">
                  <c:v>8.4033613445377799E-4</c:v>
                </c:pt>
                <c:pt idx="52055">
                  <c:v>8.4033613445377799E-4</c:v>
                </c:pt>
                <c:pt idx="52056">
                  <c:v>8.4033613445377799E-4</c:v>
                </c:pt>
                <c:pt idx="52057">
                  <c:v>8.4033613445377799E-4</c:v>
                </c:pt>
                <c:pt idx="52058">
                  <c:v>8.4033613445377799E-4</c:v>
                </c:pt>
                <c:pt idx="52059">
                  <c:v>8.4033613445377799E-4</c:v>
                </c:pt>
                <c:pt idx="52060">
                  <c:v>8.4033613445377799E-4</c:v>
                </c:pt>
                <c:pt idx="52061">
                  <c:v>8.4033613445377799E-4</c:v>
                </c:pt>
                <c:pt idx="52062">
                  <c:v>8.4033613445377799E-4</c:v>
                </c:pt>
                <c:pt idx="52063">
                  <c:v>8.4033613445377799E-4</c:v>
                </c:pt>
                <c:pt idx="52064">
                  <c:v>8.4033613445377799E-4</c:v>
                </c:pt>
                <c:pt idx="52065">
                  <c:v>8.4033613445377799E-4</c:v>
                </c:pt>
                <c:pt idx="52066">
                  <c:v>8.4033613445377799E-4</c:v>
                </c:pt>
                <c:pt idx="52067">
                  <c:v>8.4033613445377799E-4</c:v>
                </c:pt>
                <c:pt idx="52068">
                  <c:v>8.4033613445377799E-4</c:v>
                </c:pt>
                <c:pt idx="52069">
                  <c:v>8.4033613445377799E-4</c:v>
                </c:pt>
                <c:pt idx="52070">
                  <c:v>8.4033613445377799E-4</c:v>
                </c:pt>
                <c:pt idx="52071">
                  <c:v>8.4033613445377799E-4</c:v>
                </c:pt>
                <c:pt idx="52072">
                  <c:v>8.4033613445377799E-4</c:v>
                </c:pt>
                <c:pt idx="52073">
                  <c:v>8.4033613445377799E-4</c:v>
                </c:pt>
                <c:pt idx="52074">
                  <c:v>8.4033613445377799E-4</c:v>
                </c:pt>
                <c:pt idx="52075">
                  <c:v>8.4033613445377799E-4</c:v>
                </c:pt>
                <c:pt idx="52076">
                  <c:v>8.4033613445377799E-4</c:v>
                </c:pt>
                <c:pt idx="52077">
                  <c:v>8.4033613445377799E-4</c:v>
                </c:pt>
                <c:pt idx="52078">
                  <c:v>8.4033613445377799E-4</c:v>
                </c:pt>
                <c:pt idx="52079">
                  <c:v>8.4033613445377799E-4</c:v>
                </c:pt>
                <c:pt idx="52080">
                  <c:v>8.4033613445377799E-4</c:v>
                </c:pt>
                <c:pt idx="52081">
                  <c:v>8.4033613445377799E-4</c:v>
                </c:pt>
                <c:pt idx="52082">
                  <c:v>8.4033613445377799E-4</c:v>
                </c:pt>
                <c:pt idx="52083">
                  <c:v>8.4033613445377799E-4</c:v>
                </c:pt>
                <c:pt idx="52084">
                  <c:v>8.4033613445377799E-4</c:v>
                </c:pt>
                <c:pt idx="52085">
                  <c:v>8.4033613445377799E-4</c:v>
                </c:pt>
                <c:pt idx="52086">
                  <c:v>8.4033613445377799E-4</c:v>
                </c:pt>
                <c:pt idx="52087">
                  <c:v>8.4033613445377799E-4</c:v>
                </c:pt>
                <c:pt idx="52088">
                  <c:v>8.4033613445377799E-4</c:v>
                </c:pt>
                <c:pt idx="52089">
                  <c:v>8.4033613445377799E-4</c:v>
                </c:pt>
                <c:pt idx="52090">
                  <c:v>8.4033613445377799E-4</c:v>
                </c:pt>
                <c:pt idx="52091">
                  <c:v>8.4033613445377799E-4</c:v>
                </c:pt>
                <c:pt idx="52092">
                  <c:v>8.4033613445377799E-4</c:v>
                </c:pt>
                <c:pt idx="52093">
                  <c:v>8.4033613445377799E-4</c:v>
                </c:pt>
                <c:pt idx="52094">
                  <c:v>8.4033613445377799E-4</c:v>
                </c:pt>
                <c:pt idx="52095">
                  <c:v>8.4033613445377799E-4</c:v>
                </c:pt>
                <c:pt idx="52096">
                  <c:v>8.4033613445377799E-4</c:v>
                </c:pt>
                <c:pt idx="52097">
                  <c:v>8.4033613445377799E-4</c:v>
                </c:pt>
                <c:pt idx="52098">
                  <c:v>8.4033613445377799E-4</c:v>
                </c:pt>
                <c:pt idx="52099">
                  <c:v>8.4033613445377799E-4</c:v>
                </c:pt>
                <c:pt idx="52100">
                  <c:v>8.4033613445377799E-4</c:v>
                </c:pt>
                <c:pt idx="52101">
                  <c:v>8.4033613445377799E-4</c:v>
                </c:pt>
                <c:pt idx="52102">
                  <c:v>8.4033613445377799E-4</c:v>
                </c:pt>
                <c:pt idx="52103">
                  <c:v>8.4033613445377799E-4</c:v>
                </c:pt>
                <c:pt idx="52104">
                  <c:v>8.4033613445377799E-4</c:v>
                </c:pt>
                <c:pt idx="52105">
                  <c:v>8.4033613445377799E-4</c:v>
                </c:pt>
                <c:pt idx="52106">
                  <c:v>8.4033613445377799E-4</c:v>
                </c:pt>
                <c:pt idx="52107">
                  <c:v>8.4033613445377799E-4</c:v>
                </c:pt>
                <c:pt idx="52108">
                  <c:v>8.4033613445377799E-4</c:v>
                </c:pt>
                <c:pt idx="52109">
                  <c:v>8.4033613445377799E-4</c:v>
                </c:pt>
                <c:pt idx="52110">
                  <c:v>8.4033613445377799E-4</c:v>
                </c:pt>
                <c:pt idx="52111">
                  <c:v>8.4033613445377799E-4</c:v>
                </c:pt>
                <c:pt idx="52112">
                  <c:v>8.4033613445377799E-4</c:v>
                </c:pt>
                <c:pt idx="52113">
                  <c:v>8.4033613445377799E-4</c:v>
                </c:pt>
                <c:pt idx="52114">
                  <c:v>8.4033613445377799E-4</c:v>
                </c:pt>
                <c:pt idx="52115">
                  <c:v>8.4033613445377799E-4</c:v>
                </c:pt>
                <c:pt idx="52116">
                  <c:v>8.4033613445377799E-4</c:v>
                </c:pt>
                <c:pt idx="52117">
                  <c:v>8.4033613445377799E-4</c:v>
                </c:pt>
                <c:pt idx="52118">
                  <c:v>8.4033613445377799E-4</c:v>
                </c:pt>
                <c:pt idx="52119">
                  <c:v>8.4033613445377799E-4</c:v>
                </c:pt>
                <c:pt idx="52120">
                  <c:v>8.4033613445377799E-4</c:v>
                </c:pt>
                <c:pt idx="52121">
                  <c:v>8.4033613445377799E-4</c:v>
                </c:pt>
                <c:pt idx="52122">
                  <c:v>8.4033613445377799E-4</c:v>
                </c:pt>
                <c:pt idx="52123">
                  <c:v>8.4033613445377799E-4</c:v>
                </c:pt>
                <c:pt idx="52124">
                  <c:v>8.4033613445377799E-4</c:v>
                </c:pt>
                <c:pt idx="52125">
                  <c:v>8.4033613445377799E-4</c:v>
                </c:pt>
                <c:pt idx="52126">
                  <c:v>8.4033613445377799E-4</c:v>
                </c:pt>
                <c:pt idx="52127">
                  <c:v>8.4033613445377799E-4</c:v>
                </c:pt>
                <c:pt idx="52128">
                  <c:v>8.4033613445377799E-4</c:v>
                </c:pt>
                <c:pt idx="52129">
                  <c:v>8.4033613445377799E-4</c:v>
                </c:pt>
                <c:pt idx="52130">
                  <c:v>8.4033613445377799E-4</c:v>
                </c:pt>
                <c:pt idx="52131">
                  <c:v>8.4033613445377799E-4</c:v>
                </c:pt>
                <c:pt idx="52132">
                  <c:v>8.4033613445377799E-4</c:v>
                </c:pt>
                <c:pt idx="52133">
                  <c:v>8.4033613445377799E-4</c:v>
                </c:pt>
                <c:pt idx="52134">
                  <c:v>8.4033613445377799E-4</c:v>
                </c:pt>
                <c:pt idx="52135">
                  <c:v>8.4033613445377799E-4</c:v>
                </c:pt>
                <c:pt idx="52136">
                  <c:v>8.4033613445377799E-4</c:v>
                </c:pt>
                <c:pt idx="52137">
                  <c:v>8.4033613445377799E-4</c:v>
                </c:pt>
                <c:pt idx="52138">
                  <c:v>8.4033613445377799E-4</c:v>
                </c:pt>
                <c:pt idx="52139">
                  <c:v>8.4033613445377799E-4</c:v>
                </c:pt>
                <c:pt idx="52140">
                  <c:v>8.4033613445377799E-4</c:v>
                </c:pt>
                <c:pt idx="52141">
                  <c:v>8.4033613445377799E-4</c:v>
                </c:pt>
                <c:pt idx="52142">
                  <c:v>8.4033613445377799E-4</c:v>
                </c:pt>
                <c:pt idx="52143">
                  <c:v>8.4033613445377799E-4</c:v>
                </c:pt>
                <c:pt idx="52144">
                  <c:v>8.4033613445377799E-4</c:v>
                </c:pt>
                <c:pt idx="52145">
                  <c:v>8.4033613445377799E-4</c:v>
                </c:pt>
                <c:pt idx="52146">
                  <c:v>8.4033613445377799E-4</c:v>
                </c:pt>
                <c:pt idx="52147">
                  <c:v>8.4033613445377799E-4</c:v>
                </c:pt>
                <c:pt idx="52148">
                  <c:v>8.4033613445377799E-4</c:v>
                </c:pt>
                <c:pt idx="52149">
                  <c:v>8.4033613445377799E-4</c:v>
                </c:pt>
                <c:pt idx="52150">
                  <c:v>8.4033613445377799E-4</c:v>
                </c:pt>
                <c:pt idx="52151">
                  <c:v>8.4033613445377799E-4</c:v>
                </c:pt>
                <c:pt idx="52152">
                  <c:v>8.4033613445377799E-4</c:v>
                </c:pt>
                <c:pt idx="52153">
                  <c:v>8.4033613445377799E-4</c:v>
                </c:pt>
                <c:pt idx="52154">
                  <c:v>8.4033613445377799E-4</c:v>
                </c:pt>
                <c:pt idx="52155">
                  <c:v>8.4033613445377799E-4</c:v>
                </c:pt>
                <c:pt idx="52156">
                  <c:v>8.4033613445377799E-4</c:v>
                </c:pt>
                <c:pt idx="52157">
                  <c:v>8.4033613445377799E-4</c:v>
                </c:pt>
                <c:pt idx="52158">
                  <c:v>8.4033613445377799E-4</c:v>
                </c:pt>
                <c:pt idx="52159">
                  <c:v>8.4033613445377799E-4</c:v>
                </c:pt>
                <c:pt idx="52160">
                  <c:v>8.4033613445377799E-4</c:v>
                </c:pt>
                <c:pt idx="52161">
                  <c:v>8.4033613445377799E-4</c:v>
                </c:pt>
                <c:pt idx="52162">
                  <c:v>8.4033613445377799E-4</c:v>
                </c:pt>
                <c:pt idx="52163">
                  <c:v>8.4033613445377799E-4</c:v>
                </c:pt>
                <c:pt idx="52164">
                  <c:v>8.4033613445377799E-4</c:v>
                </c:pt>
                <c:pt idx="52165">
                  <c:v>8.4033613445377799E-4</c:v>
                </c:pt>
                <c:pt idx="52166">
                  <c:v>8.4033613445377799E-4</c:v>
                </c:pt>
                <c:pt idx="52167">
                  <c:v>8.4033613445377799E-4</c:v>
                </c:pt>
                <c:pt idx="52168">
                  <c:v>8.4033613445377799E-4</c:v>
                </c:pt>
                <c:pt idx="52169">
                  <c:v>8.4033613445377799E-4</c:v>
                </c:pt>
                <c:pt idx="52170">
                  <c:v>8.4033613445377799E-4</c:v>
                </c:pt>
                <c:pt idx="52171">
                  <c:v>8.4033613445377799E-4</c:v>
                </c:pt>
                <c:pt idx="52172">
                  <c:v>8.4033613445377799E-4</c:v>
                </c:pt>
                <c:pt idx="52173">
                  <c:v>8.4033613445377799E-4</c:v>
                </c:pt>
                <c:pt idx="52174">
                  <c:v>8.4033613445377799E-4</c:v>
                </c:pt>
                <c:pt idx="52175">
                  <c:v>8.4033613445377799E-4</c:v>
                </c:pt>
                <c:pt idx="52176">
                  <c:v>8.4033613445377799E-4</c:v>
                </c:pt>
                <c:pt idx="52177">
                  <c:v>8.4033613445377799E-4</c:v>
                </c:pt>
                <c:pt idx="52178">
                  <c:v>8.4033613445377799E-4</c:v>
                </c:pt>
                <c:pt idx="52179">
                  <c:v>8.4033613445377799E-4</c:v>
                </c:pt>
                <c:pt idx="52180">
                  <c:v>8.4033613445377799E-4</c:v>
                </c:pt>
                <c:pt idx="52181">
                  <c:v>8.4033613445377799E-4</c:v>
                </c:pt>
                <c:pt idx="52182">
                  <c:v>8.4033613445377799E-4</c:v>
                </c:pt>
                <c:pt idx="52183">
                  <c:v>8.4033613445377799E-4</c:v>
                </c:pt>
                <c:pt idx="52184">
                  <c:v>8.4033613445377799E-4</c:v>
                </c:pt>
                <c:pt idx="52185">
                  <c:v>8.4033613445377799E-4</c:v>
                </c:pt>
                <c:pt idx="52186">
                  <c:v>8.4033613445377799E-4</c:v>
                </c:pt>
                <c:pt idx="52187">
                  <c:v>8.4033613445377799E-4</c:v>
                </c:pt>
                <c:pt idx="52188">
                  <c:v>8.4033613445377799E-4</c:v>
                </c:pt>
                <c:pt idx="52189">
                  <c:v>8.4033613445377799E-4</c:v>
                </c:pt>
                <c:pt idx="52190">
                  <c:v>8.4033613445377799E-4</c:v>
                </c:pt>
                <c:pt idx="52191">
                  <c:v>8.4033613445377799E-4</c:v>
                </c:pt>
                <c:pt idx="52192">
                  <c:v>8.4033613445377799E-4</c:v>
                </c:pt>
                <c:pt idx="52193">
                  <c:v>8.4033613445377799E-4</c:v>
                </c:pt>
                <c:pt idx="52194">
                  <c:v>8.4033613445377799E-4</c:v>
                </c:pt>
                <c:pt idx="52195">
                  <c:v>8.4033613445377799E-4</c:v>
                </c:pt>
                <c:pt idx="52196">
                  <c:v>8.4033613445377799E-4</c:v>
                </c:pt>
                <c:pt idx="52197">
                  <c:v>8.4033613445377799E-4</c:v>
                </c:pt>
                <c:pt idx="52198">
                  <c:v>8.4033613445377799E-4</c:v>
                </c:pt>
                <c:pt idx="52199">
                  <c:v>8.4033613445377799E-4</c:v>
                </c:pt>
                <c:pt idx="52200">
                  <c:v>8.4033613445377799E-4</c:v>
                </c:pt>
                <c:pt idx="52201">
                  <c:v>8.4033613445377799E-4</c:v>
                </c:pt>
                <c:pt idx="52202">
                  <c:v>8.4033613445377799E-4</c:v>
                </c:pt>
                <c:pt idx="52203">
                  <c:v>8.4033613445377799E-4</c:v>
                </c:pt>
                <c:pt idx="52204">
                  <c:v>8.4033613445377799E-4</c:v>
                </c:pt>
                <c:pt idx="52205">
                  <c:v>8.4033613445377799E-4</c:v>
                </c:pt>
                <c:pt idx="52206">
                  <c:v>8.4033613445377799E-4</c:v>
                </c:pt>
                <c:pt idx="52207">
                  <c:v>8.4033613445377799E-4</c:v>
                </c:pt>
                <c:pt idx="52208">
                  <c:v>8.4033613445377799E-4</c:v>
                </c:pt>
                <c:pt idx="52209">
                  <c:v>8.4033613445377799E-4</c:v>
                </c:pt>
                <c:pt idx="52210">
                  <c:v>8.4033613445377799E-4</c:v>
                </c:pt>
                <c:pt idx="52211">
                  <c:v>8.4033613445377799E-4</c:v>
                </c:pt>
                <c:pt idx="52212">
                  <c:v>8.4033613445377799E-4</c:v>
                </c:pt>
                <c:pt idx="52213">
                  <c:v>8.4033613445377799E-4</c:v>
                </c:pt>
                <c:pt idx="52214">
                  <c:v>8.4033613445377799E-4</c:v>
                </c:pt>
                <c:pt idx="52215">
                  <c:v>8.4033613445377799E-4</c:v>
                </c:pt>
                <c:pt idx="52216">
                  <c:v>8.4033613445377799E-4</c:v>
                </c:pt>
                <c:pt idx="52217">
                  <c:v>8.4033613445377799E-4</c:v>
                </c:pt>
                <c:pt idx="52218">
                  <c:v>8.4033613445377799E-4</c:v>
                </c:pt>
                <c:pt idx="52219">
                  <c:v>8.4033613445377799E-4</c:v>
                </c:pt>
                <c:pt idx="52220">
                  <c:v>8.4033613445377799E-4</c:v>
                </c:pt>
                <c:pt idx="52221">
                  <c:v>8.4033613445377799E-4</c:v>
                </c:pt>
                <c:pt idx="52222">
                  <c:v>8.4033613445377799E-4</c:v>
                </c:pt>
                <c:pt idx="52223">
                  <c:v>8.4033613445377799E-4</c:v>
                </c:pt>
                <c:pt idx="52224">
                  <c:v>8.4033613445377799E-4</c:v>
                </c:pt>
                <c:pt idx="52225">
                  <c:v>8.4033613445377799E-4</c:v>
                </c:pt>
                <c:pt idx="52226">
                  <c:v>8.4033613445377799E-4</c:v>
                </c:pt>
                <c:pt idx="52227">
                  <c:v>8.4033613445377799E-4</c:v>
                </c:pt>
                <c:pt idx="52228">
                  <c:v>8.4033613445377799E-4</c:v>
                </c:pt>
                <c:pt idx="52229">
                  <c:v>8.4033613445377799E-4</c:v>
                </c:pt>
                <c:pt idx="52230">
                  <c:v>8.4033613445377799E-4</c:v>
                </c:pt>
                <c:pt idx="52231">
                  <c:v>8.4033613445377799E-4</c:v>
                </c:pt>
                <c:pt idx="52232">
                  <c:v>8.4033613445377799E-4</c:v>
                </c:pt>
                <c:pt idx="52233">
                  <c:v>8.4033613445377799E-4</c:v>
                </c:pt>
                <c:pt idx="52234">
                  <c:v>8.4033613445377799E-4</c:v>
                </c:pt>
                <c:pt idx="52235">
                  <c:v>8.4033613445377799E-4</c:v>
                </c:pt>
                <c:pt idx="52236">
                  <c:v>8.4033613445377799E-4</c:v>
                </c:pt>
                <c:pt idx="52237">
                  <c:v>8.4033613445377799E-4</c:v>
                </c:pt>
                <c:pt idx="52238">
                  <c:v>8.4033613445377799E-4</c:v>
                </c:pt>
                <c:pt idx="52239">
                  <c:v>8.4033613445377799E-4</c:v>
                </c:pt>
                <c:pt idx="52240">
                  <c:v>8.4033613445377799E-4</c:v>
                </c:pt>
                <c:pt idx="52241">
                  <c:v>8.4033613445377799E-4</c:v>
                </c:pt>
                <c:pt idx="52242">
                  <c:v>8.4033613445377799E-4</c:v>
                </c:pt>
                <c:pt idx="52243">
                  <c:v>8.4033613445377799E-4</c:v>
                </c:pt>
                <c:pt idx="52244">
                  <c:v>8.4033613445377799E-4</c:v>
                </c:pt>
                <c:pt idx="52245">
                  <c:v>8.4033613445377799E-4</c:v>
                </c:pt>
                <c:pt idx="52246">
                  <c:v>8.4033613445377799E-4</c:v>
                </c:pt>
                <c:pt idx="52247">
                  <c:v>8.4033613445377799E-4</c:v>
                </c:pt>
                <c:pt idx="52248">
                  <c:v>8.4033613445377799E-4</c:v>
                </c:pt>
                <c:pt idx="52249">
                  <c:v>8.4033613445377799E-4</c:v>
                </c:pt>
                <c:pt idx="52250">
                  <c:v>8.4033613445377799E-4</c:v>
                </c:pt>
                <c:pt idx="52251">
                  <c:v>8.4033613445377799E-4</c:v>
                </c:pt>
                <c:pt idx="52252">
                  <c:v>8.4033613445377799E-4</c:v>
                </c:pt>
                <c:pt idx="52253">
                  <c:v>8.4033613445377799E-4</c:v>
                </c:pt>
                <c:pt idx="52254">
                  <c:v>8.4033613445377799E-4</c:v>
                </c:pt>
                <c:pt idx="52255">
                  <c:v>8.4033613445377799E-4</c:v>
                </c:pt>
                <c:pt idx="52256">
                  <c:v>8.4033613445377799E-4</c:v>
                </c:pt>
                <c:pt idx="52257">
                  <c:v>8.4033613445377799E-4</c:v>
                </c:pt>
                <c:pt idx="52258">
                  <c:v>8.4033613445377799E-4</c:v>
                </c:pt>
                <c:pt idx="52259">
                  <c:v>8.4033613445377799E-4</c:v>
                </c:pt>
                <c:pt idx="52260">
                  <c:v>8.4033613445377799E-4</c:v>
                </c:pt>
                <c:pt idx="52261">
                  <c:v>8.4033613445377799E-4</c:v>
                </c:pt>
                <c:pt idx="52262">
                  <c:v>8.4033613445377799E-4</c:v>
                </c:pt>
                <c:pt idx="52263">
                  <c:v>8.4033613445377799E-4</c:v>
                </c:pt>
                <c:pt idx="52264">
                  <c:v>8.4033613445377799E-4</c:v>
                </c:pt>
                <c:pt idx="52265">
                  <c:v>8.4033613445377799E-4</c:v>
                </c:pt>
                <c:pt idx="52266">
                  <c:v>8.4033613445377799E-4</c:v>
                </c:pt>
                <c:pt idx="52267">
                  <c:v>8.4033613445377799E-4</c:v>
                </c:pt>
                <c:pt idx="52268">
                  <c:v>8.4033613445377799E-4</c:v>
                </c:pt>
                <c:pt idx="52269">
                  <c:v>8.4033613445377799E-4</c:v>
                </c:pt>
                <c:pt idx="52270">
                  <c:v>8.4033613445377799E-4</c:v>
                </c:pt>
                <c:pt idx="52271">
                  <c:v>8.4033613445377799E-4</c:v>
                </c:pt>
                <c:pt idx="52272">
                  <c:v>8.4033613445377799E-4</c:v>
                </c:pt>
                <c:pt idx="52273">
                  <c:v>8.4033613445377799E-4</c:v>
                </c:pt>
                <c:pt idx="52274">
                  <c:v>8.4033613445377799E-4</c:v>
                </c:pt>
                <c:pt idx="52275">
                  <c:v>8.4033613445377799E-4</c:v>
                </c:pt>
                <c:pt idx="52276">
                  <c:v>8.4033613445377799E-4</c:v>
                </c:pt>
                <c:pt idx="52277">
                  <c:v>8.4033613445377799E-4</c:v>
                </c:pt>
                <c:pt idx="52278">
                  <c:v>8.4033613445377799E-4</c:v>
                </c:pt>
                <c:pt idx="52279">
                  <c:v>8.4033613445377799E-4</c:v>
                </c:pt>
                <c:pt idx="52280">
                  <c:v>8.4033613445377799E-4</c:v>
                </c:pt>
                <c:pt idx="52281">
                  <c:v>8.4033613445377799E-4</c:v>
                </c:pt>
                <c:pt idx="52282">
                  <c:v>8.4033613445377799E-4</c:v>
                </c:pt>
                <c:pt idx="52283">
                  <c:v>8.4033613445377799E-4</c:v>
                </c:pt>
                <c:pt idx="52284">
                  <c:v>8.4033613445377799E-4</c:v>
                </c:pt>
                <c:pt idx="52285">
                  <c:v>8.4033613445377799E-4</c:v>
                </c:pt>
                <c:pt idx="52286">
                  <c:v>8.4033613445377799E-4</c:v>
                </c:pt>
                <c:pt idx="52287">
                  <c:v>8.4033613445377799E-4</c:v>
                </c:pt>
                <c:pt idx="52288">
                  <c:v>8.4033613445377799E-4</c:v>
                </c:pt>
                <c:pt idx="52289">
                  <c:v>8.4033613445377799E-4</c:v>
                </c:pt>
                <c:pt idx="52290">
                  <c:v>8.4033613445377799E-4</c:v>
                </c:pt>
                <c:pt idx="52291">
                  <c:v>8.4033613445377799E-4</c:v>
                </c:pt>
                <c:pt idx="52292">
                  <c:v>8.4033613445377799E-4</c:v>
                </c:pt>
                <c:pt idx="52293">
                  <c:v>8.4033613445377799E-4</c:v>
                </c:pt>
                <c:pt idx="52294">
                  <c:v>8.4033613445377799E-4</c:v>
                </c:pt>
                <c:pt idx="52295">
                  <c:v>8.4033613445377799E-4</c:v>
                </c:pt>
                <c:pt idx="52296">
                  <c:v>8.4033613445377799E-4</c:v>
                </c:pt>
                <c:pt idx="52297">
                  <c:v>8.4033613445377799E-4</c:v>
                </c:pt>
                <c:pt idx="52298">
                  <c:v>8.4033613445377799E-4</c:v>
                </c:pt>
                <c:pt idx="52299">
                  <c:v>8.4033613445377799E-4</c:v>
                </c:pt>
                <c:pt idx="52300">
                  <c:v>8.4033613445377799E-4</c:v>
                </c:pt>
                <c:pt idx="52301">
                  <c:v>8.4033613445377799E-4</c:v>
                </c:pt>
                <c:pt idx="52302">
                  <c:v>8.4033613445377799E-4</c:v>
                </c:pt>
                <c:pt idx="52303">
                  <c:v>8.4033613445377799E-4</c:v>
                </c:pt>
                <c:pt idx="52304">
                  <c:v>8.4033613445377799E-4</c:v>
                </c:pt>
                <c:pt idx="52305">
                  <c:v>8.4033613445377799E-4</c:v>
                </c:pt>
                <c:pt idx="52306">
                  <c:v>8.4033613445377799E-4</c:v>
                </c:pt>
                <c:pt idx="52307">
                  <c:v>8.4033613445377799E-4</c:v>
                </c:pt>
                <c:pt idx="52308">
                  <c:v>8.4033613445377799E-4</c:v>
                </c:pt>
                <c:pt idx="52309">
                  <c:v>8.4033613445377799E-4</c:v>
                </c:pt>
                <c:pt idx="52310">
                  <c:v>8.4033613445377799E-4</c:v>
                </c:pt>
                <c:pt idx="52311">
                  <c:v>8.4033613445377799E-4</c:v>
                </c:pt>
                <c:pt idx="52312">
                  <c:v>8.4033613445377799E-4</c:v>
                </c:pt>
                <c:pt idx="52313">
                  <c:v>8.4033613445377799E-4</c:v>
                </c:pt>
                <c:pt idx="52314">
                  <c:v>8.4033613445377799E-4</c:v>
                </c:pt>
                <c:pt idx="52315">
                  <c:v>8.4033613445377799E-4</c:v>
                </c:pt>
                <c:pt idx="52316">
                  <c:v>8.4033613445377799E-4</c:v>
                </c:pt>
                <c:pt idx="52317">
                  <c:v>8.4033613445377799E-4</c:v>
                </c:pt>
                <c:pt idx="52318">
                  <c:v>8.4033613445377799E-4</c:v>
                </c:pt>
                <c:pt idx="52319">
                  <c:v>8.4033613445377799E-4</c:v>
                </c:pt>
                <c:pt idx="52320">
                  <c:v>8.4033613445377799E-4</c:v>
                </c:pt>
                <c:pt idx="52321">
                  <c:v>8.4033613445377799E-4</c:v>
                </c:pt>
                <c:pt idx="52322">
                  <c:v>8.4033613445377799E-4</c:v>
                </c:pt>
                <c:pt idx="52323">
                  <c:v>8.4033613445377799E-4</c:v>
                </c:pt>
                <c:pt idx="52324">
                  <c:v>8.4033613445377799E-4</c:v>
                </c:pt>
                <c:pt idx="52325">
                  <c:v>8.4033613445377799E-4</c:v>
                </c:pt>
                <c:pt idx="52326">
                  <c:v>8.4033613445377799E-4</c:v>
                </c:pt>
                <c:pt idx="52327">
                  <c:v>8.4033613445377799E-4</c:v>
                </c:pt>
                <c:pt idx="52328">
                  <c:v>8.4033613445377799E-4</c:v>
                </c:pt>
                <c:pt idx="52329">
                  <c:v>8.4033613445377799E-4</c:v>
                </c:pt>
                <c:pt idx="52330">
                  <c:v>8.4033613445377799E-4</c:v>
                </c:pt>
                <c:pt idx="52331">
                  <c:v>8.4033613445377799E-4</c:v>
                </c:pt>
                <c:pt idx="52332">
                  <c:v>8.4033613445377799E-4</c:v>
                </c:pt>
                <c:pt idx="52333">
                  <c:v>8.4033613445377799E-4</c:v>
                </c:pt>
                <c:pt idx="52334">
                  <c:v>8.4033613445377799E-4</c:v>
                </c:pt>
                <c:pt idx="52335">
                  <c:v>8.4033613445377799E-4</c:v>
                </c:pt>
                <c:pt idx="52336">
                  <c:v>8.4033613445377799E-4</c:v>
                </c:pt>
                <c:pt idx="52337">
                  <c:v>8.4033613445377799E-4</c:v>
                </c:pt>
                <c:pt idx="52338">
                  <c:v>8.4033613445377799E-4</c:v>
                </c:pt>
                <c:pt idx="52339">
                  <c:v>8.4033613445377799E-4</c:v>
                </c:pt>
                <c:pt idx="52340">
                  <c:v>8.4033613445377799E-4</c:v>
                </c:pt>
                <c:pt idx="52341">
                  <c:v>8.4033613445377799E-4</c:v>
                </c:pt>
                <c:pt idx="52342">
                  <c:v>8.4033613445377799E-4</c:v>
                </c:pt>
                <c:pt idx="52343">
                  <c:v>8.4033613445377799E-4</c:v>
                </c:pt>
                <c:pt idx="52344">
                  <c:v>8.4033613445377799E-4</c:v>
                </c:pt>
                <c:pt idx="52345">
                  <c:v>8.4033613445377799E-4</c:v>
                </c:pt>
                <c:pt idx="52346">
                  <c:v>8.4033613445377799E-4</c:v>
                </c:pt>
                <c:pt idx="52347">
                  <c:v>8.4033613445377799E-4</c:v>
                </c:pt>
                <c:pt idx="52348">
                  <c:v>8.4033613445377799E-4</c:v>
                </c:pt>
                <c:pt idx="52349">
                  <c:v>8.4033613445377799E-4</c:v>
                </c:pt>
                <c:pt idx="52350">
                  <c:v>8.4033613445377799E-4</c:v>
                </c:pt>
                <c:pt idx="52351">
                  <c:v>8.4033613445377799E-4</c:v>
                </c:pt>
                <c:pt idx="52352">
                  <c:v>8.4033613445377799E-4</c:v>
                </c:pt>
                <c:pt idx="52353">
                  <c:v>8.4033613445377799E-4</c:v>
                </c:pt>
                <c:pt idx="52354">
                  <c:v>8.4033613445377799E-4</c:v>
                </c:pt>
                <c:pt idx="52355">
                  <c:v>8.4033613445377799E-4</c:v>
                </c:pt>
                <c:pt idx="52356">
                  <c:v>8.4033613445377799E-4</c:v>
                </c:pt>
                <c:pt idx="52357">
                  <c:v>8.4033613445377799E-4</c:v>
                </c:pt>
                <c:pt idx="52358">
                  <c:v>8.4033613445377799E-4</c:v>
                </c:pt>
                <c:pt idx="52359">
                  <c:v>8.4033613445377799E-4</c:v>
                </c:pt>
                <c:pt idx="52360">
                  <c:v>8.4033613445377799E-4</c:v>
                </c:pt>
                <c:pt idx="52361">
                  <c:v>8.4033613445377799E-4</c:v>
                </c:pt>
                <c:pt idx="52362">
                  <c:v>8.4033613445377799E-4</c:v>
                </c:pt>
                <c:pt idx="52363">
                  <c:v>8.4033613445377799E-4</c:v>
                </c:pt>
                <c:pt idx="52364">
                  <c:v>8.4033613445377799E-4</c:v>
                </c:pt>
                <c:pt idx="52365">
                  <c:v>8.4033613445377799E-4</c:v>
                </c:pt>
                <c:pt idx="52366">
                  <c:v>8.4033613445377799E-4</c:v>
                </c:pt>
                <c:pt idx="52367">
                  <c:v>8.4033613445377799E-4</c:v>
                </c:pt>
                <c:pt idx="52368">
                  <c:v>8.4033613445377799E-4</c:v>
                </c:pt>
                <c:pt idx="52369">
                  <c:v>8.4033613445377799E-4</c:v>
                </c:pt>
                <c:pt idx="52370">
                  <c:v>8.4033613445377799E-4</c:v>
                </c:pt>
                <c:pt idx="52371">
                  <c:v>8.4033613445377799E-4</c:v>
                </c:pt>
                <c:pt idx="52372">
                  <c:v>8.4033613445377799E-4</c:v>
                </c:pt>
                <c:pt idx="52373">
                  <c:v>8.4033613445377799E-4</c:v>
                </c:pt>
                <c:pt idx="52374">
                  <c:v>8.4033613445377799E-4</c:v>
                </c:pt>
                <c:pt idx="52375">
                  <c:v>8.4033613445377799E-4</c:v>
                </c:pt>
                <c:pt idx="52376">
                  <c:v>8.4033613445377799E-4</c:v>
                </c:pt>
                <c:pt idx="52377">
                  <c:v>8.4033613445377799E-4</c:v>
                </c:pt>
                <c:pt idx="52378">
                  <c:v>8.4033613445377799E-4</c:v>
                </c:pt>
                <c:pt idx="52379">
                  <c:v>8.4033613445377799E-4</c:v>
                </c:pt>
                <c:pt idx="52380">
                  <c:v>8.4033613445377799E-4</c:v>
                </c:pt>
                <c:pt idx="52381">
                  <c:v>8.4033613445377799E-4</c:v>
                </c:pt>
                <c:pt idx="52382">
                  <c:v>8.4033613445377799E-4</c:v>
                </c:pt>
                <c:pt idx="52383">
                  <c:v>8.4033613445377799E-4</c:v>
                </c:pt>
                <c:pt idx="52384">
                  <c:v>8.4033613445377799E-4</c:v>
                </c:pt>
                <c:pt idx="52385">
                  <c:v>8.4033613445377799E-4</c:v>
                </c:pt>
                <c:pt idx="52386">
                  <c:v>8.4033613445377799E-4</c:v>
                </c:pt>
                <c:pt idx="52387">
                  <c:v>8.4033613445377799E-4</c:v>
                </c:pt>
                <c:pt idx="52388">
                  <c:v>8.4033613445377799E-4</c:v>
                </c:pt>
                <c:pt idx="52389">
                  <c:v>8.4033613445377799E-4</c:v>
                </c:pt>
                <c:pt idx="52390">
                  <c:v>8.4033613445377799E-4</c:v>
                </c:pt>
                <c:pt idx="52391">
                  <c:v>8.4033613445377799E-4</c:v>
                </c:pt>
                <c:pt idx="52392">
                  <c:v>8.4033613445377799E-4</c:v>
                </c:pt>
                <c:pt idx="52393">
                  <c:v>8.4033613445377799E-4</c:v>
                </c:pt>
                <c:pt idx="52394">
                  <c:v>8.4033613445377799E-4</c:v>
                </c:pt>
                <c:pt idx="52395">
                  <c:v>8.4033613445377799E-4</c:v>
                </c:pt>
                <c:pt idx="52396">
                  <c:v>8.4033613445377799E-4</c:v>
                </c:pt>
                <c:pt idx="52397">
                  <c:v>8.4033613445377799E-4</c:v>
                </c:pt>
                <c:pt idx="52398">
                  <c:v>8.4033613445377799E-4</c:v>
                </c:pt>
                <c:pt idx="52399">
                  <c:v>8.4033613445377799E-4</c:v>
                </c:pt>
                <c:pt idx="52400">
                  <c:v>8.4033613445377799E-4</c:v>
                </c:pt>
                <c:pt idx="52401">
                  <c:v>8.4033613445377799E-4</c:v>
                </c:pt>
                <c:pt idx="52402">
                  <c:v>8.4033613445377799E-4</c:v>
                </c:pt>
                <c:pt idx="52403">
                  <c:v>8.4033613445377799E-4</c:v>
                </c:pt>
                <c:pt idx="52404">
                  <c:v>8.4033613445377799E-4</c:v>
                </c:pt>
                <c:pt idx="52405">
                  <c:v>8.4033613445377799E-4</c:v>
                </c:pt>
                <c:pt idx="52406">
                  <c:v>8.4033613445377799E-4</c:v>
                </c:pt>
                <c:pt idx="52407">
                  <c:v>8.4033613445377799E-4</c:v>
                </c:pt>
                <c:pt idx="52408">
                  <c:v>8.4033613445377799E-4</c:v>
                </c:pt>
                <c:pt idx="52409">
                  <c:v>8.4033613445377799E-4</c:v>
                </c:pt>
                <c:pt idx="52410">
                  <c:v>8.4033613445377799E-4</c:v>
                </c:pt>
                <c:pt idx="52411">
                  <c:v>8.4033613445377799E-4</c:v>
                </c:pt>
                <c:pt idx="52412">
                  <c:v>8.4033613445377799E-4</c:v>
                </c:pt>
                <c:pt idx="52413">
                  <c:v>8.4033613445377799E-4</c:v>
                </c:pt>
                <c:pt idx="52414">
                  <c:v>8.4033613445377799E-4</c:v>
                </c:pt>
                <c:pt idx="52415">
                  <c:v>8.4033613445377799E-4</c:v>
                </c:pt>
                <c:pt idx="52416">
                  <c:v>8.4033613445377799E-4</c:v>
                </c:pt>
                <c:pt idx="52417">
                  <c:v>8.4033613445377799E-4</c:v>
                </c:pt>
                <c:pt idx="52418">
                  <c:v>8.4033613445377799E-4</c:v>
                </c:pt>
                <c:pt idx="52419">
                  <c:v>8.4033613445377799E-4</c:v>
                </c:pt>
                <c:pt idx="52420">
                  <c:v>8.4033613445377799E-4</c:v>
                </c:pt>
                <c:pt idx="52421">
                  <c:v>8.4033613445377799E-4</c:v>
                </c:pt>
                <c:pt idx="52422">
                  <c:v>8.4033613445377799E-4</c:v>
                </c:pt>
                <c:pt idx="52423">
                  <c:v>8.4033613445377799E-4</c:v>
                </c:pt>
                <c:pt idx="52424">
                  <c:v>8.4033613445377799E-4</c:v>
                </c:pt>
                <c:pt idx="52425">
                  <c:v>8.4033613445377799E-4</c:v>
                </c:pt>
                <c:pt idx="52426">
                  <c:v>8.4033613445377799E-4</c:v>
                </c:pt>
                <c:pt idx="52427">
                  <c:v>8.4033613445377799E-4</c:v>
                </c:pt>
                <c:pt idx="52428">
                  <c:v>8.4033613445377799E-4</c:v>
                </c:pt>
                <c:pt idx="52429">
                  <c:v>8.4033613445377799E-4</c:v>
                </c:pt>
                <c:pt idx="52430">
                  <c:v>8.4033613445377799E-4</c:v>
                </c:pt>
                <c:pt idx="52431">
                  <c:v>8.4033613445377799E-4</c:v>
                </c:pt>
                <c:pt idx="52432">
                  <c:v>8.4033613445377799E-4</c:v>
                </c:pt>
                <c:pt idx="52433">
                  <c:v>8.4033613445377799E-4</c:v>
                </c:pt>
                <c:pt idx="52434">
                  <c:v>8.4033613445377799E-4</c:v>
                </c:pt>
                <c:pt idx="52435">
                  <c:v>8.4033613445377799E-4</c:v>
                </c:pt>
                <c:pt idx="52436">
                  <c:v>8.4033613445377799E-4</c:v>
                </c:pt>
                <c:pt idx="52437">
                  <c:v>8.4033613445377799E-4</c:v>
                </c:pt>
                <c:pt idx="52438">
                  <c:v>8.4033613445377799E-4</c:v>
                </c:pt>
                <c:pt idx="52439">
                  <c:v>8.4033613445377799E-4</c:v>
                </c:pt>
                <c:pt idx="52440">
                  <c:v>8.4033613445377799E-4</c:v>
                </c:pt>
                <c:pt idx="52441">
                  <c:v>8.4033613445377799E-4</c:v>
                </c:pt>
                <c:pt idx="52442">
                  <c:v>8.4033613445377799E-4</c:v>
                </c:pt>
                <c:pt idx="52443">
                  <c:v>8.4033613445377799E-4</c:v>
                </c:pt>
                <c:pt idx="52444">
                  <c:v>8.4033613445377799E-4</c:v>
                </c:pt>
                <c:pt idx="52445">
                  <c:v>8.4033613445377799E-4</c:v>
                </c:pt>
                <c:pt idx="52446">
                  <c:v>8.4033613445377799E-4</c:v>
                </c:pt>
                <c:pt idx="52447">
                  <c:v>8.4033613445377799E-4</c:v>
                </c:pt>
                <c:pt idx="52448">
                  <c:v>8.4033613445377799E-4</c:v>
                </c:pt>
                <c:pt idx="52449">
                  <c:v>8.4033613445377799E-4</c:v>
                </c:pt>
                <c:pt idx="52450">
                  <c:v>8.4033613445377799E-4</c:v>
                </c:pt>
                <c:pt idx="52451">
                  <c:v>8.4033613445377799E-4</c:v>
                </c:pt>
                <c:pt idx="52452">
                  <c:v>8.4033613445377799E-4</c:v>
                </c:pt>
                <c:pt idx="52453">
                  <c:v>8.4033613445377799E-4</c:v>
                </c:pt>
                <c:pt idx="52454">
                  <c:v>8.4033613445377799E-4</c:v>
                </c:pt>
                <c:pt idx="52455">
                  <c:v>8.4033613445377799E-4</c:v>
                </c:pt>
                <c:pt idx="52456">
                  <c:v>8.4033613445377799E-4</c:v>
                </c:pt>
                <c:pt idx="52457">
                  <c:v>8.4033613445377799E-4</c:v>
                </c:pt>
                <c:pt idx="52458">
                  <c:v>8.4033613445377799E-4</c:v>
                </c:pt>
                <c:pt idx="52459">
                  <c:v>8.4033613445377799E-4</c:v>
                </c:pt>
                <c:pt idx="52460">
                  <c:v>8.4033613445377799E-4</c:v>
                </c:pt>
                <c:pt idx="52461">
                  <c:v>8.4033613445377799E-4</c:v>
                </c:pt>
                <c:pt idx="52462">
                  <c:v>8.4033613445377799E-4</c:v>
                </c:pt>
                <c:pt idx="52463">
                  <c:v>8.4033613445377799E-4</c:v>
                </c:pt>
                <c:pt idx="52464">
                  <c:v>8.4033613445377799E-4</c:v>
                </c:pt>
                <c:pt idx="52465">
                  <c:v>8.4033613445377799E-4</c:v>
                </c:pt>
                <c:pt idx="52466">
                  <c:v>8.4033613445377799E-4</c:v>
                </c:pt>
                <c:pt idx="52467">
                  <c:v>8.4033613445377799E-4</c:v>
                </c:pt>
                <c:pt idx="52468">
                  <c:v>8.4033613445377799E-4</c:v>
                </c:pt>
                <c:pt idx="52469">
                  <c:v>8.4033613445377799E-4</c:v>
                </c:pt>
                <c:pt idx="52470">
                  <c:v>8.4033613445377799E-4</c:v>
                </c:pt>
                <c:pt idx="52471">
                  <c:v>8.4033613445377799E-4</c:v>
                </c:pt>
                <c:pt idx="52472">
                  <c:v>8.4033613445377799E-4</c:v>
                </c:pt>
                <c:pt idx="52473">
                  <c:v>8.4033613445377799E-4</c:v>
                </c:pt>
                <c:pt idx="52474">
                  <c:v>8.4033613445377799E-4</c:v>
                </c:pt>
                <c:pt idx="52475">
                  <c:v>8.4033613445377799E-4</c:v>
                </c:pt>
                <c:pt idx="52476">
                  <c:v>8.4033613445377799E-4</c:v>
                </c:pt>
                <c:pt idx="52477">
                  <c:v>8.4033613445377799E-4</c:v>
                </c:pt>
                <c:pt idx="52478">
                  <c:v>8.4033613445377799E-4</c:v>
                </c:pt>
                <c:pt idx="52479">
                  <c:v>8.4033613445377799E-4</c:v>
                </c:pt>
                <c:pt idx="52480">
                  <c:v>8.4033613445377799E-4</c:v>
                </c:pt>
                <c:pt idx="52481">
                  <c:v>8.4033613445377799E-4</c:v>
                </c:pt>
                <c:pt idx="52482">
                  <c:v>8.4033613445377799E-4</c:v>
                </c:pt>
                <c:pt idx="52483">
                  <c:v>8.4033613445377799E-4</c:v>
                </c:pt>
                <c:pt idx="52484">
                  <c:v>8.4033613445377799E-4</c:v>
                </c:pt>
                <c:pt idx="52485">
                  <c:v>8.4033613445377799E-4</c:v>
                </c:pt>
                <c:pt idx="52486">
                  <c:v>8.4033613445377799E-4</c:v>
                </c:pt>
                <c:pt idx="52487">
                  <c:v>8.4033613445377799E-4</c:v>
                </c:pt>
                <c:pt idx="52488">
                  <c:v>8.4033613445377799E-4</c:v>
                </c:pt>
                <c:pt idx="52489">
                  <c:v>8.4033613445377799E-4</c:v>
                </c:pt>
                <c:pt idx="52490">
                  <c:v>8.4033613445377799E-4</c:v>
                </c:pt>
                <c:pt idx="52491">
                  <c:v>8.4033613445377799E-4</c:v>
                </c:pt>
                <c:pt idx="52492">
                  <c:v>8.4033613445377799E-4</c:v>
                </c:pt>
                <c:pt idx="52493">
                  <c:v>8.4033613445377799E-4</c:v>
                </c:pt>
                <c:pt idx="52494">
                  <c:v>8.4033613445377799E-4</c:v>
                </c:pt>
                <c:pt idx="52495">
                  <c:v>8.4033613445377799E-4</c:v>
                </c:pt>
                <c:pt idx="52496">
                  <c:v>8.4033613445377799E-4</c:v>
                </c:pt>
                <c:pt idx="52497">
                  <c:v>8.4033613445377799E-4</c:v>
                </c:pt>
                <c:pt idx="52498">
                  <c:v>8.4033613445377799E-4</c:v>
                </c:pt>
                <c:pt idx="52499">
                  <c:v>8.4033613445377799E-4</c:v>
                </c:pt>
                <c:pt idx="52500">
                  <c:v>8.4033613445377799E-4</c:v>
                </c:pt>
                <c:pt idx="52501">
                  <c:v>8.4033613445377799E-4</c:v>
                </c:pt>
                <c:pt idx="52502">
                  <c:v>8.4033613445377799E-4</c:v>
                </c:pt>
                <c:pt idx="52503">
                  <c:v>8.4033613445377799E-4</c:v>
                </c:pt>
                <c:pt idx="52504">
                  <c:v>8.4033613445377799E-4</c:v>
                </c:pt>
                <c:pt idx="52505">
                  <c:v>8.4033613445377799E-4</c:v>
                </c:pt>
                <c:pt idx="52506">
                  <c:v>8.4033613445377799E-4</c:v>
                </c:pt>
                <c:pt idx="52507">
                  <c:v>8.4033613445377799E-4</c:v>
                </c:pt>
                <c:pt idx="52508">
                  <c:v>8.4033613445377799E-4</c:v>
                </c:pt>
                <c:pt idx="52509">
                  <c:v>8.4033613445377799E-4</c:v>
                </c:pt>
                <c:pt idx="52510">
                  <c:v>8.4033613445377799E-4</c:v>
                </c:pt>
                <c:pt idx="52511">
                  <c:v>8.4033613445377799E-4</c:v>
                </c:pt>
                <c:pt idx="52512">
                  <c:v>8.4033613445377799E-4</c:v>
                </c:pt>
                <c:pt idx="52513">
                  <c:v>8.4033613445377799E-4</c:v>
                </c:pt>
                <c:pt idx="52514">
                  <c:v>8.4033613445377799E-4</c:v>
                </c:pt>
                <c:pt idx="52515">
                  <c:v>8.4033613445377799E-4</c:v>
                </c:pt>
                <c:pt idx="52516">
                  <c:v>8.4033613445377799E-4</c:v>
                </c:pt>
                <c:pt idx="52517">
                  <c:v>8.4033613445377799E-4</c:v>
                </c:pt>
                <c:pt idx="52518">
                  <c:v>8.4033613445377799E-4</c:v>
                </c:pt>
                <c:pt idx="52519">
                  <c:v>8.4033613445377799E-4</c:v>
                </c:pt>
                <c:pt idx="52520">
                  <c:v>8.4033613445377799E-4</c:v>
                </c:pt>
                <c:pt idx="52521">
                  <c:v>8.4033613445377799E-4</c:v>
                </c:pt>
                <c:pt idx="52522">
                  <c:v>8.4033613445377799E-4</c:v>
                </c:pt>
                <c:pt idx="52523">
                  <c:v>8.4033613445377799E-4</c:v>
                </c:pt>
                <c:pt idx="52524">
                  <c:v>8.4033613445377799E-4</c:v>
                </c:pt>
                <c:pt idx="52525">
                  <c:v>8.4033613445377799E-4</c:v>
                </c:pt>
                <c:pt idx="52526">
                  <c:v>8.4033613445377799E-4</c:v>
                </c:pt>
                <c:pt idx="52527">
                  <c:v>8.4033613445377799E-4</c:v>
                </c:pt>
                <c:pt idx="52528">
                  <c:v>8.4033613445377799E-4</c:v>
                </c:pt>
                <c:pt idx="52529">
                  <c:v>8.4033613445377799E-4</c:v>
                </c:pt>
                <c:pt idx="52530">
                  <c:v>8.4033613445377799E-4</c:v>
                </c:pt>
                <c:pt idx="52531">
                  <c:v>8.4033613445377799E-4</c:v>
                </c:pt>
                <c:pt idx="52532">
                  <c:v>8.4033613445377799E-4</c:v>
                </c:pt>
                <c:pt idx="52533">
                  <c:v>8.4033613445377799E-4</c:v>
                </c:pt>
                <c:pt idx="52534">
                  <c:v>8.4033613445377799E-4</c:v>
                </c:pt>
                <c:pt idx="52535">
                  <c:v>8.4033613445377799E-4</c:v>
                </c:pt>
                <c:pt idx="52536">
                  <c:v>8.4033613445377799E-4</c:v>
                </c:pt>
                <c:pt idx="52537">
                  <c:v>8.4033613445377799E-4</c:v>
                </c:pt>
                <c:pt idx="52538">
                  <c:v>8.4033613445377799E-4</c:v>
                </c:pt>
                <c:pt idx="52539">
                  <c:v>8.4033613445377799E-4</c:v>
                </c:pt>
                <c:pt idx="52540">
                  <c:v>8.4033613445377799E-4</c:v>
                </c:pt>
                <c:pt idx="52541">
                  <c:v>8.4033613445377799E-4</c:v>
                </c:pt>
                <c:pt idx="52542">
                  <c:v>8.4033613445377799E-4</c:v>
                </c:pt>
                <c:pt idx="52543">
                  <c:v>8.4033613445377799E-4</c:v>
                </c:pt>
                <c:pt idx="52544">
                  <c:v>8.4033613445377799E-4</c:v>
                </c:pt>
                <c:pt idx="52545">
                  <c:v>8.4033613445377799E-4</c:v>
                </c:pt>
                <c:pt idx="52546">
                  <c:v>8.4033613445377799E-4</c:v>
                </c:pt>
                <c:pt idx="52547">
                  <c:v>8.4033613445377799E-4</c:v>
                </c:pt>
                <c:pt idx="52548">
                  <c:v>8.4033613445377799E-4</c:v>
                </c:pt>
                <c:pt idx="52549">
                  <c:v>8.4033613445377799E-4</c:v>
                </c:pt>
                <c:pt idx="52550">
                  <c:v>8.4033613445377799E-4</c:v>
                </c:pt>
                <c:pt idx="52551">
                  <c:v>8.4033613445377799E-4</c:v>
                </c:pt>
                <c:pt idx="52552">
                  <c:v>8.4033613445377799E-4</c:v>
                </c:pt>
                <c:pt idx="52553">
                  <c:v>8.4033613445377799E-4</c:v>
                </c:pt>
                <c:pt idx="52554">
                  <c:v>8.4033613445377799E-4</c:v>
                </c:pt>
                <c:pt idx="52555">
                  <c:v>8.4033613445377799E-4</c:v>
                </c:pt>
                <c:pt idx="52556">
                  <c:v>8.4033613445377799E-4</c:v>
                </c:pt>
                <c:pt idx="52557">
                  <c:v>8.4033613445377799E-4</c:v>
                </c:pt>
                <c:pt idx="52558">
                  <c:v>8.4033613445377799E-4</c:v>
                </c:pt>
                <c:pt idx="52559">
                  <c:v>8.4033613445377799E-4</c:v>
                </c:pt>
                <c:pt idx="52560">
                  <c:v>8.4033613445377799E-4</c:v>
                </c:pt>
                <c:pt idx="52561">
                  <c:v>8.4033613445377799E-4</c:v>
                </c:pt>
                <c:pt idx="52562">
                  <c:v>8.4033613445377799E-4</c:v>
                </c:pt>
                <c:pt idx="52563">
                  <c:v>8.4033613445377799E-4</c:v>
                </c:pt>
                <c:pt idx="52564">
                  <c:v>8.4033613445377799E-4</c:v>
                </c:pt>
                <c:pt idx="52565">
                  <c:v>8.4033613445377799E-4</c:v>
                </c:pt>
                <c:pt idx="52566">
                  <c:v>8.4033613445377799E-4</c:v>
                </c:pt>
                <c:pt idx="52567">
                  <c:v>8.4033613445377799E-4</c:v>
                </c:pt>
                <c:pt idx="52568">
                  <c:v>8.4033613445377799E-4</c:v>
                </c:pt>
                <c:pt idx="52569">
                  <c:v>8.4033613445377799E-4</c:v>
                </c:pt>
                <c:pt idx="52570">
                  <c:v>8.4033613445377799E-4</c:v>
                </c:pt>
                <c:pt idx="52571">
                  <c:v>8.4033613445377799E-4</c:v>
                </c:pt>
                <c:pt idx="52572">
                  <c:v>8.4033613445377799E-4</c:v>
                </c:pt>
                <c:pt idx="52573">
                  <c:v>8.4033613445377799E-4</c:v>
                </c:pt>
                <c:pt idx="52574">
                  <c:v>8.4033613445377799E-4</c:v>
                </c:pt>
                <c:pt idx="52575">
                  <c:v>8.4033613445377799E-4</c:v>
                </c:pt>
                <c:pt idx="52576">
                  <c:v>8.4033613445377799E-4</c:v>
                </c:pt>
                <c:pt idx="52577">
                  <c:v>8.4033613445377799E-4</c:v>
                </c:pt>
                <c:pt idx="52578">
                  <c:v>8.4033613445377799E-4</c:v>
                </c:pt>
                <c:pt idx="52579">
                  <c:v>8.4033613445377799E-4</c:v>
                </c:pt>
                <c:pt idx="52580">
                  <c:v>8.4033613445377799E-4</c:v>
                </c:pt>
                <c:pt idx="52581">
                  <c:v>8.4033613445377799E-4</c:v>
                </c:pt>
                <c:pt idx="52582">
                  <c:v>8.4033613445377799E-4</c:v>
                </c:pt>
                <c:pt idx="52583">
                  <c:v>8.4033613445377799E-4</c:v>
                </c:pt>
                <c:pt idx="52584">
                  <c:v>8.4033613445377799E-4</c:v>
                </c:pt>
                <c:pt idx="52585">
                  <c:v>8.4033613445377799E-4</c:v>
                </c:pt>
                <c:pt idx="52586">
                  <c:v>8.4033613445377799E-4</c:v>
                </c:pt>
                <c:pt idx="52587">
                  <c:v>8.4033613445377799E-4</c:v>
                </c:pt>
                <c:pt idx="52588">
                  <c:v>8.4033613445377799E-4</c:v>
                </c:pt>
                <c:pt idx="52589">
                  <c:v>8.4033613445377799E-4</c:v>
                </c:pt>
                <c:pt idx="52590">
                  <c:v>8.4033613445377799E-4</c:v>
                </c:pt>
                <c:pt idx="52591">
                  <c:v>8.4033613445377799E-4</c:v>
                </c:pt>
                <c:pt idx="52592">
                  <c:v>8.4033613445377799E-4</c:v>
                </c:pt>
                <c:pt idx="52593">
                  <c:v>8.4033613445377799E-4</c:v>
                </c:pt>
                <c:pt idx="52594">
                  <c:v>8.4033613445377799E-4</c:v>
                </c:pt>
                <c:pt idx="52595">
                  <c:v>8.4033613445377799E-4</c:v>
                </c:pt>
                <c:pt idx="52596">
                  <c:v>8.4033613445377799E-4</c:v>
                </c:pt>
                <c:pt idx="52597">
                  <c:v>8.4033613445377799E-4</c:v>
                </c:pt>
                <c:pt idx="52598">
                  <c:v>8.4033613445377799E-4</c:v>
                </c:pt>
                <c:pt idx="52599">
                  <c:v>8.4033613445377799E-4</c:v>
                </c:pt>
                <c:pt idx="52600">
                  <c:v>8.4033613445377799E-4</c:v>
                </c:pt>
                <c:pt idx="52601">
                  <c:v>8.4033613445377799E-4</c:v>
                </c:pt>
                <c:pt idx="52602">
                  <c:v>8.4033613445377799E-4</c:v>
                </c:pt>
                <c:pt idx="52603">
                  <c:v>8.4033613445377799E-4</c:v>
                </c:pt>
                <c:pt idx="52604">
                  <c:v>8.4033613445377799E-4</c:v>
                </c:pt>
                <c:pt idx="52605">
                  <c:v>8.4033613445377799E-4</c:v>
                </c:pt>
                <c:pt idx="52606">
                  <c:v>8.4033613445377799E-4</c:v>
                </c:pt>
                <c:pt idx="52607">
                  <c:v>8.4033613445377799E-4</c:v>
                </c:pt>
                <c:pt idx="52608">
                  <c:v>8.4033613445377799E-4</c:v>
                </c:pt>
                <c:pt idx="52609">
                  <c:v>8.4033613445377799E-4</c:v>
                </c:pt>
                <c:pt idx="52610">
                  <c:v>8.4033613445377799E-4</c:v>
                </c:pt>
                <c:pt idx="52611">
                  <c:v>8.4033613445377799E-4</c:v>
                </c:pt>
                <c:pt idx="52612">
                  <c:v>8.4033613445377799E-4</c:v>
                </c:pt>
                <c:pt idx="52613">
                  <c:v>8.4033613445377799E-4</c:v>
                </c:pt>
                <c:pt idx="52614">
                  <c:v>8.4033613445377799E-4</c:v>
                </c:pt>
                <c:pt idx="52615">
                  <c:v>8.4033613445377799E-4</c:v>
                </c:pt>
                <c:pt idx="52616">
                  <c:v>8.4033613445377799E-4</c:v>
                </c:pt>
                <c:pt idx="52617">
                  <c:v>8.4033613445377799E-4</c:v>
                </c:pt>
                <c:pt idx="52618">
                  <c:v>8.4033613445377799E-4</c:v>
                </c:pt>
                <c:pt idx="52619">
                  <c:v>8.4033613445377799E-4</c:v>
                </c:pt>
                <c:pt idx="52620">
                  <c:v>8.4033613445377799E-4</c:v>
                </c:pt>
                <c:pt idx="52621">
                  <c:v>8.4033613445377799E-4</c:v>
                </c:pt>
                <c:pt idx="52622">
                  <c:v>8.4033613445377799E-4</c:v>
                </c:pt>
                <c:pt idx="52623">
                  <c:v>8.4033613445377799E-4</c:v>
                </c:pt>
                <c:pt idx="52624">
                  <c:v>8.4033613445377799E-4</c:v>
                </c:pt>
                <c:pt idx="52625">
                  <c:v>8.4033613445377799E-4</c:v>
                </c:pt>
                <c:pt idx="52626">
                  <c:v>8.4033613445377799E-4</c:v>
                </c:pt>
                <c:pt idx="52627">
                  <c:v>0</c:v>
                </c:pt>
                <c:pt idx="52628">
                  <c:v>0</c:v>
                </c:pt>
                <c:pt idx="52629">
                  <c:v>0</c:v>
                </c:pt>
                <c:pt idx="52630">
                  <c:v>0</c:v>
                </c:pt>
                <c:pt idx="52631">
                  <c:v>0</c:v>
                </c:pt>
                <c:pt idx="52632">
                  <c:v>0</c:v>
                </c:pt>
                <c:pt idx="52633">
                  <c:v>0</c:v>
                </c:pt>
                <c:pt idx="52634">
                  <c:v>0</c:v>
                </c:pt>
                <c:pt idx="52635">
                  <c:v>0</c:v>
                </c:pt>
                <c:pt idx="52636">
                  <c:v>0</c:v>
                </c:pt>
                <c:pt idx="52637">
                  <c:v>0</c:v>
                </c:pt>
                <c:pt idx="52638">
                  <c:v>0</c:v>
                </c:pt>
                <c:pt idx="52639">
                  <c:v>0</c:v>
                </c:pt>
                <c:pt idx="52640">
                  <c:v>0</c:v>
                </c:pt>
                <c:pt idx="52641">
                  <c:v>0</c:v>
                </c:pt>
                <c:pt idx="52642">
                  <c:v>0</c:v>
                </c:pt>
                <c:pt idx="52643">
                  <c:v>0</c:v>
                </c:pt>
                <c:pt idx="52644">
                  <c:v>0</c:v>
                </c:pt>
                <c:pt idx="52645">
                  <c:v>0</c:v>
                </c:pt>
                <c:pt idx="52646">
                  <c:v>0</c:v>
                </c:pt>
                <c:pt idx="52647">
                  <c:v>0</c:v>
                </c:pt>
                <c:pt idx="52648">
                  <c:v>0</c:v>
                </c:pt>
                <c:pt idx="52649">
                  <c:v>0</c:v>
                </c:pt>
                <c:pt idx="52650">
                  <c:v>0</c:v>
                </c:pt>
                <c:pt idx="52651">
                  <c:v>0</c:v>
                </c:pt>
                <c:pt idx="52652">
                  <c:v>0</c:v>
                </c:pt>
                <c:pt idx="52653">
                  <c:v>0</c:v>
                </c:pt>
                <c:pt idx="52654">
                  <c:v>0</c:v>
                </c:pt>
                <c:pt idx="52655">
                  <c:v>0</c:v>
                </c:pt>
                <c:pt idx="52656">
                  <c:v>0</c:v>
                </c:pt>
                <c:pt idx="52657">
                  <c:v>0</c:v>
                </c:pt>
                <c:pt idx="52658">
                  <c:v>0</c:v>
                </c:pt>
                <c:pt idx="52659">
                  <c:v>0</c:v>
                </c:pt>
                <c:pt idx="52660">
                  <c:v>0</c:v>
                </c:pt>
                <c:pt idx="52661">
                  <c:v>0</c:v>
                </c:pt>
                <c:pt idx="52662">
                  <c:v>0</c:v>
                </c:pt>
                <c:pt idx="52663">
                  <c:v>0</c:v>
                </c:pt>
                <c:pt idx="52664">
                  <c:v>0</c:v>
                </c:pt>
                <c:pt idx="52665">
                  <c:v>0</c:v>
                </c:pt>
                <c:pt idx="52666">
                  <c:v>0</c:v>
                </c:pt>
                <c:pt idx="52667">
                  <c:v>0</c:v>
                </c:pt>
                <c:pt idx="52668">
                  <c:v>0</c:v>
                </c:pt>
                <c:pt idx="52669">
                  <c:v>0</c:v>
                </c:pt>
                <c:pt idx="52670">
                  <c:v>0</c:v>
                </c:pt>
                <c:pt idx="52671">
                  <c:v>0</c:v>
                </c:pt>
                <c:pt idx="52672">
                  <c:v>0</c:v>
                </c:pt>
                <c:pt idx="52673">
                  <c:v>0</c:v>
                </c:pt>
                <c:pt idx="52674">
                  <c:v>0</c:v>
                </c:pt>
                <c:pt idx="52675">
                  <c:v>0</c:v>
                </c:pt>
                <c:pt idx="52676">
                  <c:v>0</c:v>
                </c:pt>
                <c:pt idx="52677">
                  <c:v>0</c:v>
                </c:pt>
                <c:pt idx="52678">
                  <c:v>0</c:v>
                </c:pt>
                <c:pt idx="52679">
                  <c:v>0</c:v>
                </c:pt>
                <c:pt idx="52680">
                  <c:v>0</c:v>
                </c:pt>
                <c:pt idx="52681">
                  <c:v>0</c:v>
                </c:pt>
                <c:pt idx="52682">
                  <c:v>0</c:v>
                </c:pt>
                <c:pt idx="52683">
                  <c:v>0</c:v>
                </c:pt>
                <c:pt idx="52684">
                  <c:v>0</c:v>
                </c:pt>
                <c:pt idx="52685">
                  <c:v>0</c:v>
                </c:pt>
                <c:pt idx="52686">
                  <c:v>0</c:v>
                </c:pt>
                <c:pt idx="52687">
                  <c:v>0</c:v>
                </c:pt>
                <c:pt idx="52688">
                  <c:v>0</c:v>
                </c:pt>
                <c:pt idx="52689">
                  <c:v>0</c:v>
                </c:pt>
                <c:pt idx="52690">
                  <c:v>0</c:v>
                </c:pt>
                <c:pt idx="52691">
                  <c:v>0</c:v>
                </c:pt>
                <c:pt idx="52692">
                  <c:v>0</c:v>
                </c:pt>
                <c:pt idx="52693">
                  <c:v>0</c:v>
                </c:pt>
                <c:pt idx="52694">
                  <c:v>0</c:v>
                </c:pt>
                <c:pt idx="52695">
                  <c:v>0</c:v>
                </c:pt>
                <c:pt idx="52696">
                  <c:v>0</c:v>
                </c:pt>
                <c:pt idx="52697">
                  <c:v>0</c:v>
                </c:pt>
                <c:pt idx="52698">
                  <c:v>0</c:v>
                </c:pt>
                <c:pt idx="52699">
                  <c:v>0</c:v>
                </c:pt>
                <c:pt idx="52700">
                  <c:v>0</c:v>
                </c:pt>
                <c:pt idx="52701">
                  <c:v>0</c:v>
                </c:pt>
                <c:pt idx="52702">
                  <c:v>0</c:v>
                </c:pt>
                <c:pt idx="52703">
                  <c:v>0</c:v>
                </c:pt>
                <c:pt idx="52704">
                  <c:v>0</c:v>
                </c:pt>
                <c:pt idx="52705">
                  <c:v>0</c:v>
                </c:pt>
                <c:pt idx="52706">
                  <c:v>0</c:v>
                </c:pt>
                <c:pt idx="52707">
                  <c:v>0</c:v>
                </c:pt>
                <c:pt idx="52708">
                  <c:v>0</c:v>
                </c:pt>
                <c:pt idx="52709">
                  <c:v>0</c:v>
                </c:pt>
                <c:pt idx="52710">
                  <c:v>0</c:v>
                </c:pt>
                <c:pt idx="52711">
                  <c:v>0</c:v>
                </c:pt>
                <c:pt idx="52712">
                  <c:v>0</c:v>
                </c:pt>
                <c:pt idx="52713">
                  <c:v>0</c:v>
                </c:pt>
                <c:pt idx="52714">
                  <c:v>0</c:v>
                </c:pt>
                <c:pt idx="52715">
                  <c:v>0</c:v>
                </c:pt>
                <c:pt idx="52716">
                  <c:v>0</c:v>
                </c:pt>
                <c:pt idx="52717">
                  <c:v>0</c:v>
                </c:pt>
                <c:pt idx="52718">
                  <c:v>0</c:v>
                </c:pt>
                <c:pt idx="52719">
                  <c:v>0</c:v>
                </c:pt>
                <c:pt idx="52720">
                  <c:v>0</c:v>
                </c:pt>
                <c:pt idx="52721">
                  <c:v>0</c:v>
                </c:pt>
                <c:pt idx="52722">
                  <c:v>0</c:v>
                </c:pt>
                <c:pt idx="52723">
                  <c:v>0</c:v>
                </c:pt>
                <c:pt idx="52724">
                  <c:v>0</c:v>
                </c:pt>
                <c:pt idx="52725">
                  <c:v>0</c:v>
                </c:pt>
                <c:pt idx="52726">
                  <c:v>0</c:v>
                </c:pt>
                <c:pt idx="52727">
                  <c:v>0</c:v>
                </c:pt>
                <c:pt idx="52728">
                  <c:v>0</c:v>
                </c:pt>
                <c:pt idx="52729">
                  <c:v>0</c:v>
                </c:pt>
                <c:pt idx="52730">
                  <c:v>0</c:v>
                </c:pt>
                <c:pt idx="52731">
                  <c:v>0</c:v>
                </c:pt>
                <c:pt idx="52732">
                  <c:v>0</c:v>
                </c:pt>
                <c:pt idx="52733">
                  <c:v>0</c:v>
                </c:pt>
                <c:pt idx="52734">
                  <c:v>0</c:v>
                </c:pt>
                <c:pt idx="52735">
                  <c:v>0</c:v>
                </c:pt>
                <c:pt idx="52736">
                  <c:v>0</c:v>
                </c:pt>
                <c:pt idx="52737">
                  <c:v>0</c:v>
                </c:pt>
                <c:pt idx="52738">
                  <c:v>0</c:v>
                </c:pt>
                <c:pt idx="52739">
                  <c:v>0</c:v>
                </c:pt>
                <c:pt idx="52740">
                  <c:v>0</c:v>
                </c:pt>
                <c:pt idx="52741">
                  <c:v>0</c:v>
                </c:pt>
                <c:pt idx="52742">
                  <c:v>0</c:v>
                </c:pt>
                <c:pt idx="52743">
                  <c:v>0</c:v>
                </c:pt>
                <c:pt idx="52744">
                  <c:v>0</c:v>
                </c:pt>
                <c:pt idx="52745">
                  <c:v>0</c:v>
                </c:pt>
                <c:pt idx="52746">
                  <c:v>0</c:v>
                </c:pt>
                <c:pt idx="52747">
                  <c:v>0</c:v>
                </c:pt>
                <c:pt idx="52748">
                  <c:v>0</c:v>
                </c:pt>
                <c:pt idx="52749">
                  <c:v>0</c:v>
                </c:pt>
                <c:pt idx="52750">
                  <c:v>0</c:v>
                </c:pt>
                <c:pt idx="52751">
                  <c:v>0</c:v>
                </c:pt>
                <c:pt idx="52752">
                  <c:v>0</c:v>
                </c:pt>
                <c:pt idx="52753">
                  <c:v>0</c:v>
                </c:pt>
                <c:pt idx="52754">
                  <c:v>0</c:v>
                </c:pt>
                <c:pt idx="52755">
                  <c:v>0</c:v>
                </c:pt>
                <c:pt idx="52756">
                  <c:v>0</c:v>
                </c:pt>
                <c:pt idx="52757">
                  <c:v>0</c:v>
                </c:pt>
                <c:pt idx="52758">
                  <c:v>0</c:v>
                </c:pt>
                <c:pt idx="52759">
                  <c:v>0</c:v>
                </c:pt>
                <c:pt idx="52760">
                  <c:v>0</c:v>
                </c:pt>
                <c:pt idx="52761">
                  <c:v>0</c:v>
                </c:pt>
                <c:pt idx="52762">
                  <c:v>0</c:v>
                </c:pt>
                <c:pt idx="52763">
                  <c:v>0</c:v>
                </c:pt>
                <c:pt idx="52764">
                  <c:v>0</c:v>
                </c:pt>
                <c:pt idx="52765">
                  <c:v>0</c:v>
                </c:pt>
                <c:pt idx="52766">
                  <c:v>0</c:v>
                </c:pt>
                <c:pt idx="52767">
                  <c:v>0</c:v>
                </c:pt>
                <c:pt idx="52768">
                  <c:v>0</c:v>
                </c:pt>
                <c:pt idx="52769">
                  <c:v>0</c:v>
                </c:pt>
                <c:pt idx="52770">
                  <c:v>0</c:v>
                </c:pt>
                <c:pt idx="52771">
                  <c:v>0</c:v>
                </c:pt>
                <c:pt idx="52772">
                  <c:v>0</c:v>
                </c:pt>
                <c:pt idx="52773">
                  <c:v>0</c:v>
                </c:pt>
                <c:pt idx="52774">
                  <c:v>0</c:v>
                </c:pt>
                <c:pt idx="52775">
                  <c:v>0</c:v>
                </c:pt>
                <c:pt idx="52776">
                  <c:v>0</c:v>
                </c:pt>
                <c:pt idx="52777">
                  <c:v>0</c:v>
                </c:pt>
                <c:pt idx="52778">
                  <c:v>0</c:v>
                </c:pt>
                <c:pt idx="52779">
                  <c:v>0</c:v>
                </c:pt>
                <c:pt idx="52780">
                  <c:v>0</c:v>
                </c:pt>
                <c:pt idx="52781">
                  <c:v>0</c:v>
                </c:pt>
                <c:pt idx="52782">
                  <c:v>0</c:v>
                </c:pt>
                <c:pt idx="52783">
                  <c:v>0</c:v>
                </c:pt>
                <c:pt idx="52784">
                  <c:v>0</c:v>
                </c:pt>
                <c:pt idx="52785">
                  <c:v>0</c:v>
                </c:pt>
                <c:pt idx="52786">
                  <c:v>0</c:v>
                </c:pt>
                <c:pt idx="52787">
                  <c:v>0</c:v>
                </c:pt>
                <c:pt idx="52788">
                  <c:v>0</c:v>
                </c:pt>
                <c:pt idx="52789">
                  <c:v>0</c:v>
                </c:pt>
                <c:pt idx="52790">
                  <c:v>0</c:v>
                </c:pt>
                <c:pt idx="52791">
                  <c:v>0</c:v>
                </c:pt>
                <c:pt idx="52792">
                  <c:v>0</c:v>
                </c:pt>
                <c:pt idx="52793">
                  <c:v>0</c:v>
                </c:pt>
                <c:pt idx="52794">
                  <c:v>0</c:v>
                </c:pt>
                <c:pt idx="52795">
                  <c:v>0</c:v>
                </c:pt>
                <c:pt idx="52796">
                  <c:v>0</c:v>
                </c:pt>
                <c:pt idx="52797">
                  <c:v>0</c:v>
                </c:pt>
                <c:pt idx="52798">
                  <c:v>0</c:v>
                </c:pt>
                <c:pt idx="52799">
                  <c:v>0</c:v>
                </c:pt>
                <c:pt idx="52800">
                  <c:v>0</c:v>
                </c:pt>
                <c:pt idx="52801">
                  <c:v>0</c:v>
                </c:pt>
                <c:pt idx="52802">
                  <c:v>0</c:v>
                </c:pt>
                <c:pt idx="52803">
                  <c:v>0</c:v>
                </c:pt>
                <c:pt idx="52804">
                  <c:v>0</c:v>
                </c:pt>
                <c:pt idx="52805">
                  <c:v>0</c:v>
                </c:pt>
                <c:pt idx="52806">
                  <c:v>0</c:v>
                </c:pt>
                <c:pt idx="52807">
                  <c:v>0</c:v>
                </c:pt>
                <c:pt idx="52808">
                  <c:v>0</c:v>
                </c:pt>
                <c:pt idx="52809">
                  <c:v>0</c:v>
                </c:pt>
                <c:pt idx="52810">
                  <c:v>0</c:v>
                </c:pt>
                <c:pt idx="52811">
                  <c:v>0</c:v>
                </c:pt>
                <c:pt idx="52812">
                  <c:v>0</c:v>
                </c:pt>
                <c:pt idx="52813">
                  <c:v>0</c:v>
                </c:pt>
                <c:pt idx="52814">
                  <c:v>0</c:v>
                </c:pt>
                <c:pt idx="52815">
                  <c:v>0</c:v>
                </c:pt>
                <c:pt idx="52816">
                  <c:v>0</c:v>
                </c:pt>
                <c:pt idx="52817">
                  <c:v>0</c:v>
                </c:pt>
                <c:pt idx="52818">
                  <c:v>0</c:v>
                </c:pt>
                <c:pt idx="52819">
                  <c:v>0</c:v>
                </c:pt>
                <c:pt idx="52820">
                  <c:v>0</c:v>
                </c:pt>
                <c:pt idx="52821">
                  <c:v>0</c:v>
                </c:pt>
                <c:pt idx="52822">
                  <c:v>0</c:v>
                </c:pt>
                <c:pt idx="52823">
                  <c:v>0</c:v>
                </c:pt>
                <c:pt idx="52824">
                  <c:v>0</c:v>
                </c:pt>
                <c:pt idx="52825">
                  <c:v>0</c:v>
                </c:pt>
                <c:pt idx="52826">
                  <c:v>0</c:v>
                </c:pt>
                <c:pt idx="52827">
                  <c:v>0</c:v>
                </c:pt>
                <c:pt idx="52828">
                  <c:v>0</c:v>
                </c:pt>
                <c:pt idx="52829">
                  <c:v>0</c:v>
                </c:pt>
                <c:pt idx="52830">
                  <c:v>0</c:v>
                </c:pt>
                <c:pt idx="52831">
                  <c:v>0</c:v>
                </c:pt>
                <c:pt idx="52832">
                  <c:v>0</c:v>
                </c:pt>
                <c:pt idx="52833">
                  <c:v>0</c:v>
                </c:pt>
                <c:pt idx="52834">
                  <c:v>0</c:v>
                </c:pt>
                <c:pt idx="52835">
                  <c:v>0</c:v>
                </c:pt>
                <c:pt idx="52836">
                  <c:v>0</c:v>
                </c:pt>
                <c:pt idx="52837">
                  <c:v>0</c:v>
                </c:pt>
                <c:pt idx="52838">
                  <c:v>0</c:v>
                </c:pt>
                <c:pt idx="52839">
                  <c:v>0</c:v>
                </c:pt>
                <c:pt idx="52840">
                  <c:v>0</c:v>
                </c:pt>
                <c:pt idx="52841">
                  <c:v>0</c:v>
                </c:pt>
                <c:pt idx="52842">
                  <c:v>0</c:v>
                </c:pt>
                <c:pt idx="52843">
                  <c:v>0</c:v>
                </c:pt>
                <c:pt idx="52844">
                  <c:v>0</c:v>
                </c:pt>
                <c:pt idx="52845">
                  <c:v>0</c:v>
                </c:pt>
                <c:pt idx="52846">
                  <c:v>0</c:v>
                </c:pt>
                <c:pt idx="52847">
                  <c:v>0</c:v>
                </c:pt>
                <c:pt idx="52848">
                  <c:v>0</c:v>
                </c:pt>
                <c:pt idx="52849">
                  <c:v>0</c:v>
                </c:pt>
                <c:pt idx="52850">
                  <c:v>0</c:v>
                </c:pt>
                <c:pt idx="52851">
                  <c:v>0</c:v>
                </c:pt>
                <c:pt idx="52852">
                  <c:v>0</c:v>
                </c:pt>
                <c:pt idx="52853">
                  <c:v>0</c:v>
                </c:pt>
                <c:pt idx="52854">
                  <c:v>0</c:v>
                </c:pt>
                <c:pt idx="52855">
                  <c:v>0</c:v>
                </c:pt>
                <c:pt idx="52856">
                  <c:v>0</c:v>
                </c:pt>
                <c:pt idx="52857">
                  <c:v>0</c:v>
                </c:pt>
                <c:pt idx="52858">
                  <c:v>0</c:v>
                </c:pt>
                <c:pt idx="52859">
                  <c:v>0</c:v>
                </c:pt>
                <c:pt idx="52860">
                  <c:v>0</c:v>
                </c:pt>
                <c:pt idx="52861">
                  <c:v>0</c:v>
                </c:pt>
                <c:pt idx="52862">
                  <c:v>0</c:v>
                </c:pt>
                <c:pt idx="52863">
                  <c:v>0</c:v>
                </c:pt>
                <c:pt idx="52864">
                  <c:v>0</c:v>
                </c:pt>
                <c:pt idx="52865">
                  <c:v>0</c:v>
                </c:pt>
                <c:pt idx="52866">
                  <c:v>0</c:v>
                </c:pt>
                <c:pt idx="52867">
                  <c:v>0</c:v>
                </c:pt>
                <c:pt idx="52868">
                  <c:v>0</c:v>
                </c:pt>
                <c:pt idx="52869">
                  <c:v>0</c:v>
                </c:pt>
                <c:pt idx="52870">
                  <c:v>0</c:v>
                </c:pt>
                <c:pt idx="52871">
                  <c:v>0</c:v>
                </c:pt>
                <c:pt idx="52872">
                  <c:v>0</c:v>
                </c:pt>
                <c:pt idx="52873">
                  <c:v>0</c:v>
                </c:pt>
                <c:pt idx="52874">
                  <c:v>0</c:v>
                </c:pt>
                <c:pt idx="52875">
                  <c:v>0</c:v>
                </c:pt>
                <c:pt idx="52876">
                  <c:v>0</c:v>
                </c:pt>
                <c:pt idx="52877">
                  <c:v>0</c:v>
                </c:pt>
                <c:pt idx="52878">
                  <c:v>0</c:v>
                </c:pt>
                <c:pt idx="52879">
                  <c:v>0</c:v>
                </c:pt>
                <c:pt idx="52880">
                  <c:v>0</c:v>
                </c:pt>
                <c:pt idx="52881">
                  <c:v>0</c:v>
                </c:pt>
                <c:pt idx="52882">
                  <c:v>0</c:v>
                </c:pt>
                <c:pt idx="52883">
                  <c:v>0</c:v>
                </c:pt>
                <c:pt idx="52884">
                  <c:v>0</c:v>
                </c:pt>
                <c:pt idx="52885">
                  <c:v>0</c:v>
                </c:pt>
                <c:pt idx="52886">
                  <c:v>0</c:v>
                </c:pt>
                <c:pt idx="52887">
                  <c:v>0</c:v>
                </c:pt>
                <c:pt idx="52888">
                  <c:v>0</c:v>
                </c:pt>
                <c:pt idx="52889">
                  <c:v>0</c:v>
                </c:pt>
                <c:pt idx="52890">
                  <c:v>0</c:v>
                </c:pt>
                <c:pt idx="52891">
                  <c:v>0</c:v>
                </c:pt>
                <c:pt idx="52892">
                  <c:v>0</c:v>
                </c:pt>
                <c:pt idx="52893">
                  <c:v>0</c:v>
                </c:pt>
                <c:pt idx="52894">
                  <c:v>0</c:v>
                </c:pt>
                <c:pt idx="52895">
                  <c:v>0</c:v>
                </c:pt>
                <c:pt idx="52896">
                  <c:v>0</c:v>
                </c:pt>
                <c:pt idx="52897">
                  <c:v>0</c:v>
                </c:pt>
                <c:pt idx="52898">
                  <c:v>0</c:v>
                </c:pt>
                <c:pt idx="52899">
                  <c:v>0</c:v>
                </c:pt>
                <c:pt idx="52900">
                  <c:v>0</c:v>
                </c:pt>
                <c:pt idx="52901">
                  <c:v>0</c:v>
                </c:pt>
                <c:pt idx="52902">
                  <c:v>0</c:v>
                </c:pt>
                <c:pt idx="52903">
                  <c:v>0</c:v>
                </c:pt>
                <c:pt idx="52904">
                  <c:v>0</c:v>
                </c:pt>
                <c:pt idx="52905">
                  <c:v>0</c:v>
                </c:pt>
                <c:pt idx="52906">
                  <c:v>0</c:v>
                </c:pt>
                <c:pt idx="52907">
                  <c:v>0</c:v>
                </c:pt>
                <c:pt idx="52908">
                  <c:v>0</c:v>
                </c:pt>
                <c:pt idx="52909">
                  <c:v>0</c:v>
                </c:pt>
                <c:pt idx="52910">
                  <c:v>0</c:v>
                </c:pt>
                <c:pt idx="52911">
                  <c:v>0</c:v>
                </c:pt>
                <c:pt idx="52912">
                  <c:v>0</c:v>
                </c:pt>
                <c:pt idx="52913">
                  <c:v>0</c:v>
                </c:pt>
                <c:pt idx="52914">
                  <c:v>0</c:v>
                </c:pt>
                <c:pt idx="52915">
                  <c:v>0</c:v>
                </c:pt>
                <c:pt idx="52916">
                  <c:v>0</c:v>
                </c:pt>
                <c:pt idx="52917">
                  <c:v>0</c:v>
                </c:pt>
                <c:pt idx="52918">
                  <c:v>0</c:v>
                </c:pt>
                <c:pt idx="52919">
                  <c:v>0</c:v>
                </c:pt>
                <c:pt idx="52920">
                  <c:v>0</c:v>
                </c:pt>
                <c:pt idx="52921">
                  <c:v>0</c:v>
                </c:pt>
                <c:pt idx="52922">
                  <c:v>0</c:v>
                </c:pt>
                <c:pt idx="52923">
                  <c:v>0</c:v>
                </c:pt>
                <c:pt idx="52924">
                  <c:v>0</c:v>
                </c:pt>
                <c:pt idx="52925">
                  <c:v>0</c:v>
                </c:pt>
                <c:pt idx="52926">
                  <c:v>0</c:v>
                </c:pt>
                <c:pt idx="52927">
                  <c:v>0</c:v>
                </c:pt>
                <c:pt idx="52928">
                  <c:v>0</c:v>
                </c:pt>
                <c:pt idx="52929">
                  <c:v>0</c:v>
                </c:pt>
                <c:pt idx="52930">
                  <c:v>0</c:v>
                </c:pt>
                <c:pt idx="52931">
                  <c:v>0</c:v>
                </c:pt>
                <c:pt idx="52932">
                  <c:v>0</c:v>
                </c:pt>
                <c:pt idx="52933">
                  <c:v>0</c:v>
                </c:pt>
                <c:pt idx="52934">
                  <c:v>0</c:v>
                </c:pt>
                <c:pt idx="52935">
                  <c:v>0</c:v>
                </c:pt>
                <c:pt idx="52936">
                  <c:v>0</c:v>
                </c:pt>
                <c:pt idx="52937">
                  <c:v>0</c:v>
                </c:pt>
                <c:pt idx="52938">
                  <c:v>0</c:v>
                </c:pt>
                <c:pt idx="52939">
                  <c:v>0</c:v>
                </c:pt>
                <c:pt idx="52940">
                  <c:v>0</c:v>
                </c:pt>
                <c:pt idx="52941">
                  <c:v>0</c:v>
                </c:pt>
                <c:pt idx="52942">
                  <c:v>0</c:v>
                </c:pt>
                <c:pt idx="52943">
                  <c:v>0</c:v>
                </c:pt>
                <c:pt idx="52944">
                  <c:v>0</c:v>
                </c:pt>
                <c:pt idx="52945">
                  <c:v>0</c:v>
                </c:pt>
                <c:pt idx="52946">
                  <c:v>0</c:v>
                </c:pt>
                <c:pt idx="52947">
                  <c:v>0</c:v>
                </c:pt>
                <c:pt idx="52948">
                  <c:v>0</c:v>
                </c:pt>
                <c:pt idx="52949">
                  <c:v>0</c:v>
                </c:pt>
                <c:pt idx="52950">
                  <c:v>0</c:v>
                </c:pt>
                <c:pt idx="52951">
                  <c:v>0</c:v>
                </c:pt>
                <c:pt idx="52952">
                  <c:v>0</c:v>
                </c:pt>
                <c:pt idx="52953">
                  <c:v>0</c:v>
                </c:pt>
                <c:pt idx="52954">
                  <c:v>0</c:v>
                </c:pt>
                <c:pt idx="52955">
                  <c:v>0</c:v>
                </c:pt>
                <c:pt idx="52956">
                  <c:v>0</c:v>
                </c:pt>
                <c:pt idx="52957">
                  <c:v>0</c:v>
                </c:pt>
                <c:pt idx="52958">
                  <c:v>0</c:v>
                </c:pt>
                <c:pt idx="52959">
                  <c:v>0</c:v>
                </c:pt>
                <c:pt idx="52960">
                  <c:v>0</c:v>
                </c:pt>
                <c:pt idx="52961">
                  <c:v>0</c:v>
                </c:pt>
                <c:pt idx="52962">
                  <c:v>0</c:v>
                </c:pt>
                <c:pt idx="52963">
                  <c:v>0</c:v>
                </c:pt>
                <c:pt idx="52964">
                  <c:v>0</c:v>
                </c:pt>
                <c:pt idx="52965">
                  <c:v>0</c:v>
                </c:pt>
                <c:pt idx="52966">
                  <c:v>0</c:v>
                </c:pt>
                <c:pt idx="52967">
                  <c:v>0</c:v>
                </c:pt>
                <c:pt idx="52968">
                  <c:v>0</c:v>
                </c:pt>
                <c:pt idx="52969">
                  <c:v>0</c:v>
                </c:pt>
                <c:pt idx="52970">
                  <c:v>0</c:v>
                </c:pt>
                <c:pt idx="52971">
                  <c:v>0</c:v>
                </c:pt>
                <c:pt idx="52972">
                  <c:v>0</c:v>
                </c:pt>
                <c:pt idx="52973">
                  <c:v>0</c:v>
                </c:pt>
                <c:pt idx="52974">
                  <c:v>0</c:v>
                </c:pt>
                <c:pt idx="52975">
                  <c:v>0</c:v>
                </c:pt>
                <c:pt idx="52976">
                  <c:v>0</c:v>
                </c:pt>
                <c:pt idx="52977">
                  <c:v>0</c:v>
                </c:pt>
                <c:pt idx="52978">
                  <c:v>0</c:v>
                </c:pt>
                <c:pt idx="52979">
                  <c:v>0</c:v>
                </c:pt>
                <c:pt idx="52980">
                  <c:v>0</c:v>
                </c:pt>
                <c:pt idx="52981">
                  <c:v>0</c:v>
                </c:pt>
                <c:pt idx="52982">
                  <c:v>0</c:v>
                </c:pt>
                <c:pt idx="52983">
                  <c:v>0</c:v>
                </c:pt>
                <c:pt idx="52984">
                  <c:v>0</c:v>
                </c:pt>
                <c:pt idx="52985">
                  <c:v>0</c:v>
                </c:pt>
                <c:pt idx="52986">
                  <c:v>0</c:v>
                </c:pt>
                <c:pt idx="52987">
                  <c:v>0</c:v>
                </c:pt>
                <c:pt idx="52988">
                  <c:v>0</c:v>
                </c:pt>
                <c:pt idx="52989">
                  <c:v>0</c:v>
                </c:pt>
                <c:pt idx="52990">
                  <c:v>0</c:v>
                </c:pt>
                <c:pt idx="52991">
                  <c:v>0</c:v>
                </c:pt>
                <c:pt idx="52992">
                  <c:v>0</c:v>
                </c:pt>
                <c:pt idx="52993">
                  <c:v>0</c:v>
                </c:pt>
                <c:pt idx="52994">
                  <c:v>0</c:v>
                </c:pt>
                <c:pt idx="52995">
                  <c:v>0</c:v>
                </c:pt>
                <c:pt idx="52996">
                  <c:v>0</c:v>
                </c:pt>
                <c:pt idx="52997">
                  <c:v>0</c:v>
                </c:pt>
                <c:pt idx="52998">
                  <c:v>0</c:v>
                </c:pt>
                <c:pt idx="52999">
                  <c:v>0</c:v>
                </c:pt>
                <c:pt idx="53000">
                  <c:v>0</c:v>
                </c:pt>
                <c:pt idx="53001">
                  <c:v>0</c:v>
                </c:pt>
                <c:pt idx="53002">
                  <c:v>0</c:v>
                </c:pt>
                <c:pt idx="53003">
                  <c:v>0</c:v>
                </c:pt>
                <c:pt idx="53004">
                  <c:v>0</c:v>
                </c:pt>
                <c:pt idx="53005">
                  <c:v>0</c:v>
                </c:pt>
                <c:pt idx="53006">
                  <c:v>0</c:v>
                </c:pt>
                <c:pt idx="53007">
                  <c:v>0</c:v>
                </c:pt>
                <c:pt idx="53008">
                  <c:v>0</c:v>
                </c:pt>
                <c:pt idx="53009">
                  <c:v>0</c:v>
                </c:pt>
                <c:pt idx="53010">
                  <c:v>0</c:v>
                </c:pt>
                <c:pt idx="53011">
                  <c:v>0</c:v>
                </c:pt>
                <c:pt idx="53012">
                  <c:v>0</c:v>
                </c:pt>
                <c:pt idx="53013">
                  <c:v>0</c:v>
                </c:pt>
                <c:pt idx="53014">
                  <c:v>0</c:v>
                </c:pt>
                <c:pt idx="53015">
                  <c:v>0</c:v>
                </c:pt>
                <c:pt idx="53016">
                  <c:v>0</c:v>
                </c:pt>
                <c:pt idx="53017">
                  <c:v>0</c:v>
                </c:pt>
                <c:pt idx="53018">
                  <c:v>0</c:v>
                </c:pt>
                <c:pt idx="53019">
                  <c:v>0</c:v>
                </c:pt>
                <c:pt idx="53020">
                  <c:v>0</c:v>
                </c:pt>
                <c:pt idx="53021">
                  <c:v>0</c:v>
                </c:pt>
                <c:pt idx="53022">
                  <c:v>0</c:v>
                </c:pt>
                <c:pt idx="53023">
                  <c:v>0</c:v>
                </c:pt>
                <c:pt idx="53024">
                  <c:v>0</c:v>
                </c:pt>
                <c:pt idx="53025">
                  <c:v>0</c:v>
                </c:pt>
                <c:pt idx="53026">
                  <c:v>0</c:v>
                </c:pt>
                <c:pt idx="53027">
                  <c:v>0</c:v>
                </c:pt>
                <c:pt idx="53028">
                  <c:v>0</c:v>
                </c:pt>
                <c:pt idx="53029">
                  <c:v>0</c:v>
                </c:pt>
                <c:pt idx="53030">
                  <c:v>0</c:v>
                </c:pt>
                <c:pt idx="53031">
                  <c:v>0</c:v>
                </c:pt>
                <c:pt idx="53032">
                  <c:v>0</c:v>
                </c:pt>
                <c:pt idx="53033">
                  <c:v>0</c:v>
                </c:pt>
                <c:pt idx="53034">
                  <c:v>0</c:v>
                </c:pt>
                <c:pt idx="53035">
                  <c:v>0</c:v>
                </c:pt>
                <c:pt idx="53036">
                  <c:v>0</c:v>
                </c:pt>
                <c:pt idx="53037">
                  <c:v>0</c:v>
                </c:pt>
                <c:pt idx="53038">
                  <c:v>0</c:v>
                </c:pt>
                <c:pt idx="53039">
                  <c:v>0</c:v>
                </c:pt>
                <c:pt idx="53040">
                  <c:v>0</c:v>
                </c:pt>
                <c:pt idx="53041">
                  <c:v>0</c:v>
                </c:pt>
                <c:pt idx="53042">
                  <c:v>0</c:v>
                </c:pt>
                <c:pt idx="53043">
                  <c:v>0</c:v>
                </c:pt>
                <c:pt idx="53044">
                  <c:v>0</c:v>
                </c:pt>
                <c:pt idx="53045">
                  <c:v>0</c:v>
                </c:pt>
                <c:pt idx="53046">
                  <c:v>0</c:v>
                </c:pt>
                <c:pt idx="53047">
                  <c:v>0</c:v>
                </c:pt>
                <c:pt idx="53048">
                  <c:v>0</c:v>
                </c:pt>
                <c:pt idx="53049">
                  <c:v>0</c:v>
                </c:pt>
                <c:pt idx="53050">
                  <c:v>0</c:v>
                </c:pt>
                <c:pt idx="53051">
                  <c:v>0</c:v>
                </c:pt>
                <c:pt idx="53052">
                  <c:v>0</c:v>
                </c:pt>
                <c:pt idx="53053">
                  <c:v>0</c:v>
                </c:pt>
                <c:pt idx="53054">
                  <c:v>0</c:v>
                </c:pt>
                <c:pt idx="53055">
                  <c:v>0</c:v>
                </c:pt>
                <c:pt idx="53056">
                  <c:v>0</c:v>
                </c:pt>
                <c:pt idx="53057">
                  <c:v>0</c:v>
                </c:pt>
                <c:pt idx="53058">
                  <c:v>0</c:v>
                </c:pt>
                <c:pt idx="53059">
                  <c:v>0</c:v>
                </c:pt>
                <c:pt idx="53060">
                  <c:v>0</c:v>
                </c:pt>
                <c:pt idx="53061">
                  <c:v>0</c:v>
                </c:pt>
                <c:pt idx="53062">
                  <c:v>0</c:v>
                </c:pt>
                <c:pt idx="53063">
                  <c:v>0</c:v>
                </c:pt>
                <c:pt idx="53064">
                  <c:v>0</c:v>
                </c:pt>
                <c:pt idx="53065">
                  <c:v>0</c:v>
                </c:pt>
                <c:pt idx="53066">
                  <c:v>0</c:v>
                </c:pt>
                <c:pt idx="53067">
                  <c:v>0</c:v>
                </c:pt>
                <c:pt idx="53068">
                  <c:v>0</c:v>
                </c:pt>
                <c:pt idx="53069">
                  <c:v>0</c:v>
                </c:pt>
                <c:pt idx="53070">
                  <c:v>0</c:v>
                </c:pt>
                <c:pt idx="53071">
                  <c:v>0</c:v>
                </c:pt>
                <c:pt idx="53072">
                  <c:v>0</c:v>
                </c:pt>
                <c:pt idx="53073">
                  <c:v>0</c:v>
                </c:pt>
                <c:pt idx="53074">
                  <c:v>0</c:v>
                </c:pt>
                <c:pt idx="53075">
                  <c:v>0</c:v>
                </c:pt>
                <c:pt idx="53076">
                  <c:v>0</c:v>
                </c:pt>
                <c:pt idx="53077">
                  <c:v>0</c:v>
                </c:pt>
                <c:pt idx="53078">
                  <c:v>0</c:v>
                </c:pt>
                <c:pt idx="53079">
                  <c:v>0</c:v>
                </c:pt>
                <c:pt idx="53080">
                  <c:v>0</c:v>
                </c:pt>
                <c:pt idx="53081">
                  <c:v>0</c:v>
                </c:pt>
                <c:pt idx="53082">
                  <c:v>0</c:v>
                </c:pt>
                <c:pt idx="53083">
                  <c:v>0</c:v>
                </c:pt>
                <c:pt idx="53084">
                  <c:v>0</c:v>
                </c:pt>
                <c:pt idx="53085">
                  <c:v>0</c:v>
                </c:pt>
                <c:pt idx="53086">
                  <c:v>0</c:v>
                </c:pt>
                <c:pt idx="53087">
                  <c:v>0</c:v>
                </c:pt>
                <c:pt idx="53088">
                  <c:v>0</c:v>
                </c:pt>
                <c:pt idx="53089">
                  <c:v>0</c:v>
                </c:pt>
                <c:pt idx="53090">
                  <c:v>0</c:v>
                </c:pt>
                <c:pt idx="53091">
                  <c:v>0</c:v>
                </c:pt>
                <c:pt idx="53092">
                  <c:v>0</c:v>
                </c:pt>
                <c:pt idx="53093">
                  <c:v>0</c:v>
                </c:pt>
                <c:pt idx="53094">
                  <c:v>0</c:v>
                </c:pt>
                <c:pt idx="53095">
                  <c:v>0</c:v>
                </c:pt>
                <c:pt idx="53096">
                  <c:v>0</c:v>
                </c:pt>
                <c:pt idx="53097">
                  <c:v>0</c:v>
                </c:pt>
                <c:pt idx="53098">
                  <c:v>0</c:v>
                </c:pt>
                <c:pt idx="53099">
                  <c:v>0</c:v>
                </c:pt>
                <c:pt idx="53100">
                  <c:v>0</c:v>
                </c:pt>
                <c:pt idx="53101">
                  <c:v>0</c:v>
                </c:pt>
                <c:pt idx="53102">
                  <c:v>0</c:v>
                </c:pt>
                <c:pt idx="53103">
                  <c:v>0</c:v>
                </c:pt>
                <c:pt idx="53104">
                  <c:v>0</c:v>
                </c:pt>
                <c:pt idx="53105">
                  <c:v>0</c:v>
                </c:pt>
                <c:pt idx="53106">
                  <c:v>0</c:v>
                </c:pt>
                <c:pt idx="53107">
                  <c:v>0</c:v>
                </c:pt>
                <c:pt idx="53108">
                  <c:v>0</c:v>
                </c:pt>
                <c:pt idx="53109">
                  <c:v>0</c:v>
                </c:pt>
                <c:pt idx="53110">
                  <c:v>0</c:v>
                </c:pt>
                <c:pt idx="53111">
                  <c:v>0</c:v>
                </c:pt>
                <c:pt idx="53112">
                  <c:v>0</c:v>
                </c:pt>
                <c:pt idx="53113">
                  <c:v>0</c:v>
                </c:pt>
                <c:pt idx="53114">
                  <c:v>0</c:v>
                </c:pt>
                <c:pt idx="53115">
                  <c:v>0</c:v>
                </c:pt>
                <c:pt idx="53116">
                  <c:v>0</c:v>
                </c:pt>
                <c:pt idx="53117">
                  <c:v>0</c:v>
                </c:pt>
                <c:pt idx="53118">
                  <c:v>0</c:v>
                </c:pt>
                <c:pt idx="53119">
                  <c:v>0</c:v>
                </c:pt>
                <c:pt idx="53120">
                  <c:v>0</c:v>
                </c:pt>
                <c:pt idx="53121">
                  <c:v>0</c:v>
                </c:pt>
                <c:pt idx="53122">
                  <c:v>0</c:v>
                </c:pt>
                <c:pt idx="53123">
                  <c:v>0</c:v>
                </c:pt>
                <c:pt idx="53124">
                  <c:v>0</c:v>
                </c:pt>
                <c:pt idx="53125">
                  <c:v>0</c:v>
                </c:pt>
                <c:pt idx="53126">
                  <c:v>0</c:v>
                </c:pt>
                <c:pt idx="53127">
                  <c:v>0</c:v>
                </c:pt>
                <c:pt idx="53128">
                  <c:v>0</c:v>
                </c:pt>
                <c:pt idx="53129">
                  <c:v>0</c:v>
                </c:pt>
                <c:pt idx="53130">
                  <c:v>0</c:v>
                </c:pt>
                <c:pt idx="53131">
                  <c:v>0</c:v>
                </c:pt>
                <c:pt idx="53132">
                  <c:v>0</c:v>
                </c:pt>
                <c:pt idx="53133">
                  <c:v>0</c:v>
                </c:pt>
                <c:pt idx="53134">
                  <c:v>0</c:v>
                </c:pt>
                <c:pt idx="53135">
                  <c:v>0</c:v>
                </c:pt>
                <c:pt idx="53136">
                  <c:v>0</c:v>
                </c:pt>
                <c:pt idx="53137">
                  <c:v>0</c:v>
                </c:pt>
                <c:pt idx="53138">
                  <c:v>0</c:v>
                </c:pt>
                <c:pt idx="53139">
                  <c:v>0</c:v>
                </c:pt>
                <c:pt idx="53140">
                  <c:v>0</c:v>
                </c:pt>
                <c:pt idx="53141">
                  <c:v>0</c:v>
                </c:pt>
                <c:pt idx="53142">
                  <c:v>0</c:v>
                </c:pt>
                <c:pt idx="53143">
                  <c:v>0</c:v>
                </c:pt>
                <c:pt idx="53144">
                  <c:v>0</c:v>
                </c:pt>
                <c:pt idx="53145">
                  <c:v>0</c:v>
                </c:pt>
                <c:pt idx="53146">
                  <c:v>0</c:v>
                </c:pt>
                <c:pt idx="53147">
                  <c:v>0</c:v>
                </c:pt>
                <c:pt idx="53148">
                  <c:v>0</c:v>
                </c:pt>
                <c:pt idx="53149">
                  <c:v>0</c:v>
                </c:pt>
                <c:pt idx="53150">
                  <c:v>0</c:v>
                </c:pt>
                <c:pt idx="53151">
                  <c:v>0</c:v>
                </c:pt>
                <c:pt idx="53152">
                  <c:v>0</c:v>
                </c:pt>
                <c:pt idx="53153">
                  <c:v>0</c:v>
                </c:pt>
                <c:pt idx="53154">
                  <c:v>0</c:v>
                </c:pt>
                <c:pt idx="53155">
                  <c:v>0</c:v>
                </c:pt>
                <c:pt idx="53156">
                  <c:v>0</c:v>
                </c:pt>
                <c:pt idx="53157">
                  <c:v>0</c:v>
                </c:pt>
                <c:pt idx="53158">
                  <c:v>0</c:v>
                </c:pt>
                <c:pt idx="53159">
                  <c:v>0</c:v>
                </c:pt>
                <c:pt idx="53160">
                  <c:v>0</c:v>
                </c:pt>
                <c:pt idx="53161">
                  <c:v>0</c:v>
                </c:pt>
                <c:pt idx="53162">
                  <c:v>0</c:v>
                </c:pt>
                <c:pt idx="53163">
                  <c:v>0</c:v>
                </c:pt>
                <c:pt idx="53164">
                  <c:v>0</c:v>
                </c:pt>
                <c:pt idx="53165">
                  <c:v>0</c:v>
                </c:pt>
                <c:pt idx="53166">
                  <c:v>0</c:v>
                </c:pt>
                <c:pt idx="53167">
                  <c:v>0</c:v>
                </c:pt>
                <c:pt idx="53168">
                  <c:v>0</c:v>
                </c:pt>
                <c:pt idx="53169">
                  <c:v>0</c:v>
                </c:pt>
                <c:pt idx="53170">
                  <c:v>0</c:v>
                </c:pt>
                <c:pt idx="53171">
                  <c:v>0</c:v>
                </c:pt>
                <c:pt idx="53172">
                  <c:v>0</c:v>
                </c:pt>
                <c:pt idx="53173">
                  <c:v>0</c:v>
                </c:pt>
                <c:pt idx="53174">
                  <c:v>0</c:v>
                </c:pt>
                <c:pt idx="53175">
                  <c:v>0</c:v>
                </c:pt>
                <c:pt idx="53176">
                  <c:v>0</c:v>
                </c:pt>
                <c:pt idx="53177">
                  <c:v>0</c:v>
                </c:pt>
                <c:pt idx="53178">
                  <c:v>0</c:v>
                </c:pt>
                <c:pt idx="53179">
                  <c:v>0</c:v>
                </c:pt>
                <c:pt idx="53180">
                  <c:v>0</c:v>
                </c:pt>
                <c:pt idx="53181">
                  <c:v>0</c:v>
                </c:pt>
                <c:pt idx="53182">
                  <c:v>0</c:v>
                </c:pt>
                <c:pt idx="53183">
                  <c:v>0</c:v>
                </c:pt>
                <c:pt idx="53184">
                  <c:v>0</c:v>
                </c:pt>
                <c:pt idx="53185">
                  <c:v>0</c:v>
                </c:pt>
                <c:pt idx="53186">
                  <c:v>0</c:v>
                </c:pt>
                <c:pt idx="53187">
                  <c:v>0</c:v>
                </c:pt>
                <c:pt idx="53188">
                  <c:v>0</c:v>
                </c:pt>
                <c:pt idx="53189">
                  <c:v>0</c:v>
                </c:pt>
                <c:pt idx="53190">
                  <c:v>0</c:v>
                </c:pt>
                <c:pt idx="53191">
                  <c:v>0</c:v>
                </c:pt>
                <c:pt idx="53192">
                  <c:v>0</c:v>
                </c:pt>
                <c:pt idx="53193">
                  <c:v>0</c:v>
                </c:pt>
                <c:pt idx="53194">
                  <c:v>0</c:v>
                </c:pt>
                <c:pt idx="53195">
                  <c:v>0</c:v>
                </c:pt>
                <c:pt idx="53196">
                  <c:v>0</c:v>
                </c:pt>
                <c:pt idx="53197">
                  <c:v>0</c:v>
                </c:pt>
                <c:pt idx="53198">
                  <c:v>0</c:v>
                </c:pt>
                <c:pt idx="53199">
                  <c:v>0</c:v>
                </c:pt>
                <c:pt idx="53200">
                  <c:v>0</c:v>
                </c:pt>
                <c:pt idx="53201">
                  <c:v>0</c:v>
                </c:pt>
                <c:pt idx="53202">
                  <c:v>0</c:v>
                </c:pt>
                <c:pt idx="53203">
                  <c:v>0</c:v>
                </c:pt>
                <c:pt idx="53204">
                  <c:v>0</c:v>
                </c:pt>
                <c:pt idx="53205">
                  <c:v>0</c:v>
                </c:pt>
                <c:pt idx="53206">
                  <c:v>0</c:v>
                </c:pt>
                <c:pt idx="53207">
                  <c:v>0</c:v>
                </c:pt>
                <c:pt idx="53208">
                  <c:v>0</c:v>
                </c:pt>
                <c:pt idx="53209">
                  <c:v>0</c:v>
                </c:pt>
                <c:pt idx="53210">
                  <c:v>0</c:v>
                </c:pt>
                <c:pt idx="53211">
                  <c:v>0</c:v>
                </c:pt>
                <c:pt idx="53212">
                  <c:v>0</c:v>
                </c:pt>
                <c:pt idx="53213">
                  <c:v>0</c:v>
                </c:pt>
                <c:pt idx="53214">
                  <c:v>0</c:v>
                </c:pt>
                <c:pt idx="53215">
                  <c:v>0</c:v>
                </c:pt>
                <c:pt idx="53216">
                  <c:v>0</c:v>
                </c:pt>
                <c:pt idx="53217">
                  <c:v>0</c:v>
                </c:pt>
                <c:pt idx="53218">
                  <c:v>0</c:v>
                </c:pt>
                <c:pt idx="53219">
                  <c:v>0</c:v>
                </c:pt>
                <c:pt idx="53220">
                  <c:v>0</c:v>
                </c:pt>
                <c:pt idx="53221">
                  <c:v>0</c:v>
                </c:pt>
                <c:pt idx="53222">
                  <c:v>0</c:v>
                </c:pt>
                <c:pt idx="53223">
                  <c:v>0</c:v>
                </c:pt>
                <c:pt idx="53224">
                  <c:v>0</c:v>
                </c:pt>
                <c:pt idx="53225">
                  <c:v>0</c:v>
                </c:pt>
                <c:pt idx="53226">
                  <c:v>0</c:v>
                </c:pt>
                <c:pt idx="53227">
                  <c:v>0</c:v>
                </c:pt>
                <c:pt idx="53228">
                  <c:v>0</c:v>
                </c:pt>
                <c:pt idx="53229">
                  <c:v>0</c:v>
                </c:pt>
                <c:pt idx="53230">
                  <c:v>0</c:v>
                </c:pt>
                <c:pt idx="53231">
                  <c:v>0</c:v>
                </c:pt>
                <c:pt idx="53232">
                  <c:v>0</c:v>
                </c:pt>
                <c:pt idx="53233">
                  <c:v>0</c:v>
                </c:pt>
                <c:pt idx="53234">
                  <c:v>0</c:v>
                </c:pt>
                <c:pt idx="53235">
                  <c:v>0</c:v>
                </c:pt>
                <c:pt idx="53236">
                  <c:v>0</c:v>
                </c:pt>
                <c:pt idx="53237">
                  <c:v>0</c:v>
                </c:pt>
                <c:pt idx="53238">
                  <c:v>0</c:v>
                </c:pt>
                <c:pt idx="53239">
                  <c:v>0</c:v>
                </c:pt>
                <c:pt idx="53240">
                  <c:v>0</c:v>
                </c:pt>
                <c:pt idx="53241">
                  <c:v>0</c:v>
                </c:pt>
                <c:pt idx="53242">
                  <c:v>0</c:v>
                </c:pt>
                <c:pt idx="53243">
                  <c:v>0</c:v>
                </c:pt>
                <c:pt idx="53244">
                  <c:v>0</c:v>
                </c:pt>
                <c:pt idx="53245">
                  <c:v>0</c:v>
                </c:pt>
                <c:pt idx="53246">
                  <c:v>0</c:v>
                </c:pt>
                <c:pt idx="53247">
                  <c:v>0</c:v>
                </c:pt>
                <c:pt idx="53248">
                  <c:v>0</c:v>
                </c:pt>
                <c:pt idx="53249">
                  <c:v>0</c:v>
                </c:pt>
                <c:pt idx="53250">
                  <c:v>0</c:v>
                </c:pt>
                <c:pt idx="53251">
                  <c:v>0</c:v>
                </c:pt>
                <c:pt idx="53252">
                  <c:v>0</c:v>
                </c:pt>
                <c:pt idx="53253">
                  <c:v>0</c:v>
                </c:pt>
                <c:pt idx="53254">
                  <c:v>0</c:v>
                </c:pt>
                <c:pt idx="53255">
                  <c:v>0</c:v>
                </c:pt>
                <c:pt idx="53256">
                  <c:v>0</c:v>
                </c:pt>
                <c:pt idx="53257">
                  <c:v>0</c:v>
                </c:pt>
                <c:pt idx="53258">
                  <c:v>0</c:v>
                </c:pt>
                <c:pt idx="53259">
                  <c:v>0</c:v>
                </c:pt>
                <c:pt idx="53260">
                  <c:v>0</c:v>
                </c:pt>
                <c:pt idx="53261">
                  <c:v>0</c:v>
                </c:pt>
                <c:pt idx="53262">
                  <c:v>0</c:v>
                </c:pt>
                <c:pt idx="53263">
                  <c:v>0</c:v>
                </c:pt>
                <c:pt idx="53264">
                  <c:v>0</c:v>
                </c:pt>
                <c:pt idx="53265">
                  <c:v>0</c:v>
                </c:pt>
                <c:pt idx="53266">
                  <c:v>0</c:v>
                </c:pt>
                <c:pt idx="53267">
                  <c:v>0</c:v>
                </c:pt>
                <c:pt idx="53268">
                  <c:v>0</c:v>
                </c:pt>
                <c:pt idx="53269">
                  <c:v>0</c:v>
                </c:pt>
                <c:pt idx="53270">
                  <c:v>0</c:v>
                </c:pt>
                <c:pt idx="53271">
                  <c:v>0</c:v>
                </c:pt>
                <c:pt idx="53272">
                  <c:v>0</c:v>
                </c:pt>
                <c:pt idx="53273">
                  <c:v>0</c:v>
                </c:pt>
                <c:pt idx="53274">
                  <c:v>0</c:v>
                </c:pt>
                <c:pt idx="53275">
                  <c:v>0</c:v>
                </c:pt>
                <c:pt idx="53276">
                  <c:v>0</c:v>
                </c:pt>
                <c:pt idx="53277">
                  <c:v>0</c:v>
                </c:pt>
                <c:pt idx="53278">
                  <c:v>0</c:v>
                </c:pt>
                <c:pt idx="53279">
                  <c:v>0</c:v>
                </c:pt>
                <c:pt idx="53280">
                  <c:v>0</c:v>
                </c:pt>
                <c:pt idx="53281">
                  <c:v>0</c:v>
                </c:pt>
                <c:pt idx="53282">
                  <c:v>0</c:v>
                </c:pt>
                <c:pt idx="53283">
                  <c:v>0</c:v>
                </c:pt>
                <c:pt idx="53284">
                  <c:v>0</c:v>
                </c:pt>
                <c:pt idx="53285">
                  <c:v>0</c:v>
                </c:pt>
                <c:pt idx="53286">
                  <c:v>0</c:v>
                </c:pt>
                <c:pt idx="53287">
                  <c:v>0</c:v>
                </c:pt>
                <c:pt idx="53288">
                  <c:v>0</c:v>
                </c:pt>
                <c:pt idx="53289">
                  <c:v>0</c:v>
                </c:pt>
                <c:pt idx="53290">
                  <c:v>0</c:v>
                </c:pt>
                <c:pt idx="53291">
                  <c:v>0</c:v>
                </c:pt>
                <c:pt idx="53292">
                  <c:v>0</c:v>
                </c:pt>
                <c:pt idx="53293">
                  <c:v>0</c:v>
                </c:pt>
                <c:pt idx="53294">
                  <c:v>0</c:v>
                </c:pt>
                <c:pt idx="53295">
                  <c:v>0</c:v>
                </c:pt>
                <c:pt idx="53296">
                  <c:v>0</c:v>
                </c:pt>
                <c:pt idx="53297">
                  <c:v>0</c:v>
                </c:pt>
                <c:pt idx="53298">
                  <c:v>0</c:v>
                </c:pt>
                <c:pt idx="53299">
                  <c:v>0</c:v>
                </c:pt>
                <c:pt idx="53300">
                  <c:v>0</c:v>
                </c:pt>
                <c:pt idx="53301">
                  <c:v>0</c:v>
                </c:pt>
                <c:pt idx="53302">
                  <c:v>0</c:v>
                </c:pt>
                <c:pt idx="53303">
                  <c:v>0</c:v>
                </c:pt>
                <c:pt idx="53304">
                  <c:v>0</c:v>
                </c:pt>
                <c:pt idx="53305">
                  <c:v>0</c:v>
                </c:pt>
                <c:pt idx="53306">
                  <c:v>0</c:v>
                </c:pt>
                <c:pt idx="53307">
                  <c:v>0</c:v>
                </c:pt>
                <c:pt idx="53308">
                  <c:v>0</c:v>
                </c:pt>
                <c:pt idx="53309">
                  <c:v>0</c:v>
                </c:pt>
                <c:pt idx="53310">
                  <c:v>0</c:v>
                </c:pt>
                <c:pt idx="53311">
                  <c:v>0</c:v>
                </c:pt>
                <c:pt idx="53312">
                  <c:v>0</c:v>
                </c:pt>
                <c:pt idx="53313">
                  <c:v>0</c:v>
                </c:pt>
                <c:pt idx="53314">
                  <c:v>0</c:v>
                </c:pt>
                <c:pt idx="53315">
                  <c:v>0</c:v>
                </c:pt>
                <c:pt idx="53316">
                  <c:v>0</c:v>
                </c:pt>
                <c:pt idx="53317">
                  <c:v>0</c:v>
                </c:pt>
                <c:pt idx="53318">
                  <c:v>0</c:v>
                </c:pt>
                <c:pt idx="53319">
                  <c:v>0</c:v>
                </c:pt>
                <c:pt idx="53320">
                  <c:v>0</c:v>
                </c:pt>
                <c:pt idx="53321">
                  <c:v>0</c:v>
                </c:pt>
                <c:pt idx="53322">
                  <c:v>0</c:v>
                </c:pt>
                <c:pt idx="53323">
                  <c:v>0</c:v>
                </c:pt>
                <c:pt idx="53324">
                  <c:v>0</c:v>
                </c:pt>
                <c:pt idx="53325">
                  <c:v>0</c:v>
                </c:pt>
                <c:pt idx="53326">
                  <c:v>0</c:v>
                </c:pt>
                <c:pt idx="53327">
                  <c:v>0</c:v>
                </c:pt>
                <c:pt idx="53328">
                  <c:v>0</c:v>
                </c:pt>
                <c:pt idx="53329">
                  <c:v>0</c:v>
                </c:pt>
                <c:pt idx="53330">
                  <c:v>0</c:v>
                </c:pt>
                <c:pt idx="53331">
                  <c:v>0</c:v>
                </c:pt>
                <c:pt idx="53332">
                  <c:v>0</c:v>
                </c:pt>
                <c:pt idx="53333">
                  <c:v>0</c:v>
                </c:pt>
                <c:pt idx="53334">
                  <c:v>0</c:v>
                </c:pt>
                <c:pt idx="53335">
                  <c:v>0</c:v>
                </c:pt>
                <c:pt idx="53336">
                  <c:v>0</c:v>
                </c:pt>
                <c:pt idx="53337">
                  <c:v>0</c:v>
                </c:pt>
                <c:pt idx="53338">
                  <c:v>0</c:v>
                </c:pt>
                <c:pt idx="53339">
                  <c:v>0</c:v>
                </c:pt>
                <c:pt idx="53340">
                  <c:v>0</c:v>
                </c:pt>
                <c:pt idx="53341">
                  <c:v>0</c:v>
                </c:pt>
                <c:pt idx="53342">
                  <c:v>0</c:v>
                </c:pt>
                <c:pt idx="53343">
                  <c:v>0</c:v>
                </c:pt>
                <c:pt idx="53344">
                  <c:v>0</c:v>
                </c:pt>
                <c:pt idx="53345">
                  <c:v>0</c:v>
                </c:pt>
                <c:pt idx="53346">
                  <c:v>0</c:v>
                </c:pt>
                <c:pt idx="53347">
                  <c:v>0</c:v>
                </c:pt>
                <c:pt idx="53348">
                  <c:v>0</c:v>
                </c:pt>
                <c:pt idx="53349">
                  <c:v>0</c:v>
                </c:pt>
                <c:pt idx="53350">
                  <c:v>0</c:v>
                </c:pt>
                <c:pt idx="53351">
                  <c:v>0</c:v>
                </c:pt>
                <c:pt idx="53352">
                  <c:v>0</c:v>
                </c:pt>
                <c:pt idx="53353">
                  <c:v>0</c:v>
                </c:pt>
                <c:pt idx="53354">
                  <c:v>0</c:v>
                </c:pt>
                <c:pt idx="53355">
                  <c:v>0</c:v>
                </c:pt>
                <c:pt idx="53356">
                  <c:v>0</c:v>
                </c:pt>
                <c:pt idx="53357">
                  <c:v>0</c:v>
                </c:pt>
                <c:pt idx="53358">
                  <c:v>0</c:v>
                </c:pt>
                <c:pt idx="53359">
                  <c:v>0</c:v>
                </c:pt>
                <c:pt idx="53360">
                  <c:v>0</c:v>
                </c:pt>
                <c:pt idx="53361">
                  <c:v>0</c:v>
                </c:pt>
                <c:pt idx="53362">
                  <c:v>0</c:v>
                </c:pt>
                <c:pt idx="53363">
                  <c:v>0</c:v>
                </c:pt>
                <c:pt idx="53364">
                  <c:v>0</c:v>
                </c:pt>
                <c:pt idx="53365">
                  <c:v>0</c:v>
                </c:pt>
                <c:pt idx="53366">
                  <c:v>0</c:v>
                </c:pt>
                <c:pt idx="53367">
                  <c:v>0</c:v>
                </c:pt>
                <c:pt idx="53368">
                  <c:v>0</c:v>
                </c:pt>
                <c:pt idx="53369">
                  <c:v>0</c:v>
                </c:pt>
                <c:pt idx="53370">
                  <c:v>0</c:v>
                </c:pt>
                <c:pt idx="53371">
                  <c:v>0</c:v>
                </c:pt>
                <c:pt idx="53372">
                  <c:v>0</c:v>
                </c:pt>
                <c:pt idx="53373">
                  <c:v>0</c:v>
                </c:pt>
                <c:pt idx="53374">
                  <c:v>0</c:v>
                </c:pt>
                <c:pt idx="53375">
                  <c:v>0</c:v>
                </c:pt>
                <c:pt idx="53376">
                  <c:v>0</c:v>
                </c:pt>
                <c:pt idx="53377">
                  <c:v>0</c:v>
                </c:pt>
                <c:pt idx="53378">
                  <c:v>0</c:v>
                </c:pt>
                <c:pt idx="53379">
                  <c:v>0</c:v>
                </c:pt>
                <c:pt idx="53380">
                  <c:v>0</c:v>
                </c:pt>
                <c:pt idx="53381">
                  <c:v>0</c:v>
                </c:pt>
                <c:pt idx="53382">
                  <c:v>0</c:v>
                </c:pt>
                <c:pt idx="53383">
                  <c:v>0</c:v>
                </c:pt>
                <c:pt idx="53384">
                  <c:v>0</c:v>
                </c:pt>
                <c:pt idx="53385">
                  <c:v>0</c:v>
                </c:pt>
                <c:pt idx="53386">
                  <c:v>0</c:v>
                </c:pt>
                <c:pt idx="53387">
                  <c:v>0</c:v>
                </c:pt>
                <c:pt idx="53388">
                  <c:v>0</c:v>
                </c:pt>
                <c:pt idx="53389">
                  <c:v>0</c:v>
                </c:pt>
                <c:pt idx="53390">
                  <c:v>0</c:v>
                </c:pt>
                <c:pt idx="53391">
                  <c:v>0</c:v>
                </c:pt>
                <c:pt idx="53392">
                  <c:v>0</c:v>
                </c:pt>
                <c:pt idx="53393">
                  <c:v>0</c:v>
                </c:pt>
                <c:pt idx="53394">
                  <c:v>0</c:v>
                </c:pt>
                <c:pt idx="53395">
                  <c:v>0</c:v>
                </c:pt>
                <c:pt idx="53396">
                  <c:v>0</c:v>
                </c:pt>
                <c:pt idx="53397">
                  <c:v>0</c:v>
                </c:pt>
                <c:pt idx="53398">
                  <c:v>0</c:v>
                </c:pt>
                <c:pt idx="53399">
                  <c:v>0</c:v>
                </c:pt>
                <c:pt idx="53400">
                  <c:v>0</c:v>
                </c:pt>
                <c:pt idx="53401">
                  <c:v>0</c:v>
                </c:pt>
                <c:pt idx="53402">
                  <c:v>0</c:v>
                </c:pt>
                <c:pt idx="53403">
                  <c:v>0</c:v>
                </c:pt>
                <c:pt idx="53404">
                  <c:v>0</c:v>
                </c:pt>
                <c:pt idx="53405">
                  <c:v>0</c:v>
                </c:pt>
                <c:pt idx="53406">
                  <c:v>0</c:v>
                </c:pt>
                <c:pt idx="53407">
                  <c:v>0</c:v>
                </c:pt>
                <c:pt idx="53408">
                  <c:v>0</c:v>
                </c:pt>
                <c:pt idx="53409">
                  <c:v>0</c:v>
                </c:pt>
                <c:pt idx="53410">
                  <c:v>0</c:v>
                </c:pt>
                <c:pt idx="53411">
                  <c:v>0</c:v>
                </c:pt>
                <c:pt idx="53412">
                  <c:v>0</c:v>
                </c:pt>
                <c:pt idx="53413">
                  <c:v>0</c:v>
                </c:pt>
                <c:pt idx="53414">
                  <c:v>0</c:v>
                </c:pt>
                <c:pt idx="53415">
                  <c:v>0</c:v>
                </c:pt>
                <c:pt idx="53416">
                  <c:v>0</c:v>
                </c:pt>
                <c:pt idx="53417">
                  <c:v>0</c:v>
                </c:pt>
                <c:pt idx="53418">
                  <c:v>0</c:v>
                </c:pt>
                <c:pt idx="53419">
                  <c:v>0</c:v>
                </c:pt>
                <c:pt idx="53420">
                  <c:v>0</c:v>
                </c:pt>
                <c:pt idx="53421">
                  <c:v>0</c:v>
                </c:pt>
                <c:pt idx="53422">
                  <c:v>0</c:v>
                </c:pt>
                <c:pt idx="53423">
                  <c:v>0</c:v>
                </c:pt>
                <c:pt idx="53424">
                  <c:v>0</c:v>
                </c:pt>
                <c:pt idx="53425">
                  <c:v>0</c:v>
                </c:pt>
                <c:pt idx="53426">
                  <c:v>0</c:v>
                </c:pt>
                <c:pt idx="53427">
                  <c:v>0</c:v>
                </c:pt>
                <c:pt idx="53428">
                  <c:v>0</c:v>
                </c:pt>
                <c:pt idx="53429">
                  <c:v>0</c:v>
                </c:pt>
                <c:pt idx="53430">
                  <c:v>0</c:v>
                </c:pt>
                <c:pt idx="53431">
                  <c:v>0</c:v>
                </c:pt>
                <c:pt idx="53432">
                  <c:v>0</c:v>
                </c:pt>
                <c:pt idx="53433">
                  <c:v>0</c:v>
                </c:pt>
                <c:pt idx="53434">
                  <c:v>0</c:v>
                </c:pt>
                <c:pt idx="53435">
                  <c:v>0</c:v>
                </c:pt>
                <c:pt idx="53436">
                  <c:v>0</c:v>
                </c:pt>
                <c:pt idx="53437">
                  <c:v>0</c:v>
                </c:pt>
                <c:pt idx="53438">
                  <c:v>0</c:v>
                </c:pt>
                <c:pt idx="53439">
                  <c:v>0</c:v>
                </c:pt>
                <c:pt idx="53440">
                  <c:v>0</c:v>
                </c:pt>
                <c:pt idx="53441">
                  <c:v>0</c:v>
                </c:pt>
                <c:pt idx="53442">
                  <c:v>0</c:v>
                </c:pt>
                <c:pt idx="53443">
                  <c:v>0</c:v>
                </c:pt>
                <c:pt idx="53444">
                  <c:v>0</c:v>
                </c:pt>
                <c:pt idx="53445">
                  <c:v>0</c:v>
                </c:pt>
                <c:pt idx="53446">
                  <c:v>0</c:v>
                </c:pt>
                <c:pt idx="53447">
                  <c:v>0</c:v>
                </c:pt>
                <c:pt idx="53448">
                  <c:v>0</c:v>
                </c:pt>
                <c:pt idx="53449">
                  <c:v>0</c:v>
                </c:pt>
                <c:pt idx="53450">
                  <c:v>0</c:v>
                </c:pt>
                <c:pt idx="53451">
                  <c:v>0</c:v>
                </c:pt>
                <c:pt idx="53452">
                  <c:v>0</c:v>
                </c:pt>
                <c:pt idx="53453">
                  <c:v>0</c:v>
                </c:pt>
                <c:pt idx="53454">
                  <c:v>0</c:v>
                </c:pt>
                <c:pt idx="53455">
                  <c:v>0</c:v>
                </c:pt>
                <c:pt idx="53456">
                  <c:v>0</c:v>
                </c:pt>
                <c:pt idx="53457">
                  <c:v>0</c:v>
                </c:pt>
                <c:pt idx="53458">
                  <c:v>0</c:v>
                </c:pt>
                <c:pt idx="53459">
                  <c:v>0</c:v>
                </c:pt>
                <c:pt idx="53460">
                  <c:v>0</c:v>
                </c:pt>
                <c:pt idx="53461">
                  <c:v>0</c:v>
                </c:pt>
                <c:pt idx="53462">
                  <c:v>0</c:v>
                </c:pt>
                <c:pt idx="53463">
                  <c:v>0</c:v>
                </c:pt>
                <c:pt idx="53464">
                  <c:v>0</c:v>
                </c:pt>
                <c:pt idx="53465">
                  <c:v>0</c:v>
                </c:pt>
                <c:pt idx="53466">
                  <c:v>0</c:v>
                </c:pt>
                <c:pt idx="53467">
                  <c:v>0</c:v>
                </c:pt>
                <c:pt idx="53468">
                  <c:v>0</c:v>
                </c:pt>
                <c:pt idx="53469">
                  <c:v>0</c:v>
                </c:pt>
                <c:pt idx="53470">
                  <c:v>0</c:v>
                </c:pt>
                <c:pt idx="53471">
                  <c:v>0</c:v>
                </c:pt>
                <c:pt idx="53472">
                  <c:v>0</c:v>
                </c:pt>
                <c:pt idx="53473">
                  <c:v>0</c:v>
                </c:pt>
                <c:pt idx="53474">
                  <c:v>0</c:v>
                </c:pt>
                <c:pt idx="53475">
                  <c:v>0</c:v>
                </c:pt>
                <c:pt idx="53476">
                  <c:v>0</c:v>
                </c:pt>
                <c:pt idx="53477">
                  <c:v>0</c:v>
                </c:pt>
                <c:pt idx="53478">
                  <c:v>0</c:v>
                </c:pt>
                <c:pt idx="53479">
                  <c:v>0</c:v>
                </c:pt>
                <c:pt idx="53480">
                  <c:v>0</c:v>
                </c:pt>
                <c:pt idx="53481">
                  <c:v>0</c:v>
                </c:pt>
                <c:pt idx="53482">
                  <c:v>0</c:v>
                </c:pt>
                <c:pt idx="53483">
                  <c:v>0</c:v>
                </c:pt>
                <c:pt idx="53484">
                  <c:v>0</c:v>
                </c:pt>
                <c:pt idx="53485">
                  <c:v>0</c:v>
                </c:pt>
                <c:pt idx="53486">
                  <c:v>0</c:v>
                </c:pt>
                <c:pt idx="53487">
                  <c:v>0</c:v>
                </c:pt>
                <c:pt idx="53488">
                  <c:v>0</c:v>
                </c:pt>
                <c:pt idx="53489">
                  <c:v>0</c:v>
                </c:pt>
                <c:pt idx="53490">
                  <c:v>0</c:v>
                </c:pt>
                <c:pt idx="53491">
                  <c:v>0</c:v>
                </c:pt>
                <c:pt idx="53492">
                  <c:v>0</c:v>
                </c:pt>
                <c:pt idx="53493">
                  <c:v>0</c:v>
                </c:pt>
                <c:pt idx="53494">
                  <c:v>0</c:v>
                </c:pt>
                <c:pt idx="53495">
                  <c:v>0</c:v>
                </c:pt>
                <c:pt idx="53496">
                  <c:v>0</c:v>
                </c:pt>
                <c:pt idx="53497">
                  <c:v>0</c:v>
                </c:pt>
                <c:pt idx="53498">
                  <c:v>0</c:v>
                </c:pt>
                <c:pt idx="53499">
                  <c:v>0</c:v>
                </c:pt>
                <c:pt idx="53500">
                  <c:v>0</c:v>
                </c:pt>
                <c:pt idx="53501">
                  <c:v>0</c:v>
                </c:pt>
                <c:pt idx="53502">
                  <c:v>0</c:v>
                </c:pt>
                <c:pt idx="53503">
                  <c:v>0</c:v>
                </c:pt>
                <c:pt idx="53504">
                  <c:v>0</c:v>
                </c:pt>
                <c:pt idx="53505">
                  <c:v>0</c:v>
                </c:pt>
                <c:pt idx="53506">
                  <c:v>0</c:v>
                </c:pt>
                <c:pt idx="53507">
                  <c:v>0</c:v>
                </c:pt>
                <c:pt idx="53508">
                  <c:v>0</c:v>
                </c:pt>
                <c:pt idx="53509">
                  <c:v>0</c:v>
                </c:pt>
                <c:pt idx="53510">
                  <c:v>0</c:v>
                </c:pt>
                <c:pt idx="53511">
                  <c:v>0</c:v>
                </c:pt>
                <c:pt idx="53512">
                  <c:v>0</c:v>
                </c:pt>
                <c:pt idx="53513">
                  <c:v>0</c:v>
                </c:pt>
                <c:pt idx="53514">
                  <c:v>0</c:v>
                </c:pt>
                <c:pt idx="53515">
                  <c:v>0</c:v>
                </c:pt>
                <c:pt idx="53516">
                  <c:v>0</c:v>
                </c:pt>
                <c:pt idx="53517">
                  <c:v>0</c:v>
                </c:pt>
                <c:pt idx="53518">
                  <c:v>0</c:v>
                </c:pt>
                <c:pt idx="53519">
                  <c:v>0</c:v>
                </c:pt>
                <c:pt idx="53520">
                  <c:v>0</c:v>
                </c:pt>
                <c:pt idx="53521">
                  <c:v>0</c:v>
                </c:pt>
                <c:pt idx="53522">
                  <c:v>0</c:v>
                </c:pt>
                <c:pt idx="53523">
                  <c:v>0</c:v>
                </c:pt>
                <c:pt idx="53524">
                  <c:v>0</c:v>
                </c:pt>
                <c:pt idx="53525">
                  <c:v>0</c:v>
                </c:pt>
                <c:pt idx="53526">
                  <c:v>0</c:v>
                </c:pt>
                <c:pt idx="53527">
                  <c:v>0</c:v>
                </c:pt>
                <c:pt idx="53528">
                  <c:v>0</c:v>
                </c:pt>
                <c:pt idx="53529">
                  <c:v>0</c:v>
                </c:pt>
                <c:pt idx="53530">
                  <c:v>0</c:v>
                </c:pt>
                <c:pt idx="53531">
                  <c:v>0</c:v>
                </c:pt>
                <c:pt idx="53532">
                  <c:v>0</c:v>
                </c:pt>
                <c:pt idx="53533">
                  <c:v>0</c:v>
                </c:pt>
                <c:pt idx="53534">
                  <c:v>0</c:v>
                </c:pt>
                <c:pt idx="53535">
                  <c:v>0</c:v>
                </c:pt>
                <c:pt idx="53536">
                  <c:v>0</c:v>
                </c:pt>
                <c:pt idx="53537">
                  <c:v>0</c:v>
                </c:pt>
                <c:pt idx="53538">
                  <c:v>0</c:v>
                </c:pt>
                <c:pt idx="53539">
                  <c:v>0</c:v>
                </c:pt>
                <c:pt idx="53540">
                  <c:v>0</c:v>
                </c:pt>
                <c:pt idx="53541">
                  <c:v>0</c:v>
                </c:pt>
                <c:pt idx="53542">
                  <c:v>0</c:v>
                </c:pt>
                <c:pt idx="53543">
                  <c:v>0</c:v>
                </c:pt>
                <c:pt idx="53544">
                  <c:v>0</c:v>
                </c:pt>
                <c:pt idx="53545">
                  <c:v>0</c:v>
                </c:pt>
                <c:pt idx="53546">
                  <c:v>0</c:v>
                </c:pt>
                <c:pt idx="53547">
                  <c:v>0</c:v>
                </c:pt>
                <c:pt idx="53548">
                  <c:v>0</c:v>
                </c:pt>
                <c:pt idx="53549">
                  <c:v>0</c:v>
                </c:pt>
                <c:pt idx="53550">
                  <c:v>0</c:v>
                </c:pt>
                <c:pt idx="53551">
                  <c:v>0</c:v>
                </c:pt>
                <c:pt idx="53552">
                  <c:v>0</c:v>
                </c:pt>
                <c:pt idx="53553">
                  <c:v>0</c:v>
                </c:pt>
                <c:pt idx="53554">
                  <c:v>0</c:v>
                </c:pt>
                <c:pt idx="53555">
                  <c:v>0</c:v>
                </c:pt>
                <c:pt idx="53556">
                  <c:v>0</c:v>
                </c:pt>
                <c:pt idx="53557">
                  <c:v>0</c:v>
                </c:pt>
                <c:pt idx="53558">
                  <c:v>0</c:v>
                </c:pt>
                <c:pt idx="53559">
                  <c:v>0</c:v>
                </c:pt>
                <c:pt idx="53560">
                  <c:v>0</c:v>
                </c:pt>
                <c:pt idx="53561">
                  <c:v>0</c:v>
                </c:pt>
                <c:pt idx="53562">
                  <c:v>0</c:v>
                </c:pt>
                <c:pt idx="53563">
                  <c:v>0</c:v>
                </c:pt>
                <c:pt idx="53564">
                  <c:v>0</c:v>
                </c:pt>
                <c:pt idx="53565">
                  <c:v>0</c:v>
                </c:pt>
                <c:pt idx="53566">
                  <c:v>0</c:v>
                </c:pt>
                <c:pt idx="53567">
                  <c:v>0</c:v>
                </c:pt>
                <c:pt idx="53568">
                  <c:v>0</c:v>
                </c:pt>
                <c:pt idx="53569">
                  <c:v>0</c:v>
                </c:pt>
                <c:pt idx="53570">
                  <c:v>0</c:v>
                </c:pt>
                <c:pt idx="53571">
                  <c:v>0</c:v>
                </c:pt>
                <c:pt idx="53572">
                  <c:v>0</c:v>
                </c:pt>
                <c:pt idx="53573">
                  <c:v>0</c:v>
                </c:pt>
                <c:pt idx="53574">
                  <c:v>0</c:v>
                </c:pt>
                <c:pt idx="53575">
                  <c:v>0</c:v>
                </c:pt>
                <c:pt idx="53576">
                  <c:v>0</c:v>
                </c:pt>
                <c:pt idx="53577">
                  <c:v>0</c:v>
                </c:pt>
                <c:pt idx="53578">
                  <c:v>0</c:v>
                </c:pt>
                <c:pt idx="53579">
                  <c:v>0</c:v>
                </c:pt>
                <c:pt idx="53580">
                  <c:v>0</c:v>
                </c:pt>
                <c:pt idx="53581">
                  <c:v>0</c:v>
                </c:pt>
                <c:pt idx="53582">
                  <c:v>0</c:v>
                </c:pt>
                <c:pt idx="53583">
                  <c:v>0</c:v>
                </c:pt>
                <c:pt idx="53584">
                  <c:v>0</c:v>
                </c:pt>
                <c:pt idx="53585">
                  <c:v>0</c:v>
                </c:pt>
                <c:pt idx="53586">
                  <c:v>0</c:v>
                </c:pt>
                <c:pt idx="53587">
                  <c:v>0</c:v>
                </c:pt>
                <c:pt idx="53588">
                  <c:v>0</c:v>
                </c:pt>
                <c:pt idx="53589">
                  <c:v>0</c:v>
                </c:pt>
                <c:pt idx="53590">
                  <c:v>0</c:v>
                </c:pt>
                <c:pt idx="53591">
                  <c:v>0</c:v>
                </c:pt>
                <c:pt idx="53592">
                  <c:v>0</c:v>
                </c:pt>
                <c:pt idx="53593">
                  <c:v>0</c:v>
                </c:pt>
                <c:pt idx="53594">
                  <c:v>0</c:v>
                </c:pt>
                <c:pt idx="53595">
                  <c:v>0</c:v>
                </c:pt>
                <c:pt idx="53596">
                  <c:v>0</c:v>
                </c:pt>
                <c:pt idx="53597">
                  <c:v>0</c:v>
                </c:pt>
                <c:pt idx="53598">
                  <c:v>0</c:v>
                </c:pt>
                <c:pt idx="53599">
                  <c:v>0</c:v>
                </c:pt>
                <c:pt idx="53600">
                  <c:v>0</c:v>
                </c:pt>
                <c:pt idx="53601">
                  <c:v>0</c:v>
                </c:pt>
                <c:pt idx="53602">
                  <c:v>0</c:v>
                </c:pt>
                <c:pt idx="53603">
                  <c:v>0</c:v>
                </c:pt>
                <c:pt idx="53604">
                  <c:v>0</c:v>
                </c:pt>
                <c:pt idx="53605">
                  <c:v>0</c:v>
                </c:pt>
                <c:pt idx="53606">
                  <c:v>0</c:v>
                </c:pt>
                <c:pt idx="53607">
                  <c:v>0</c:v>
                </c:pt>
                <c:pt idx="53608">
                  <c:v>0</c:v>
                </c:pt>
                <c:pt idx="53609">
                  <c:v>0</c:v>
                </c:pt>
                <c:pt idx="53610">
                  <c:v>0</c:v>
                </c:pt>
                <c:pt idx="53611">
                  <c:v>0</c:v>
                </c:pt>
                <c:pt idx="53612">
                  <c:v>0</c:v>
                </c:pt>
                <c:pt idx="53613">
                  <c:v>0</c:v>
                </c:pt>
                <c:pt idx="53614">
                  <c:v>0</c:v>
                </c:pt>
                <c:pt idx="53615">
                  <c:v>0</c:v>
                </c:pt>
                <c:pt idx="53616">
                  <c:v>0</c:v>
                </c:pt>
                <c:pt idx="53617">
                  <c:v>0</c:v>
                </c:pt>
                <c:pt idx="53618">
                  <c:v>0</c:v>
                </c:pt>
                <c:pt idx="53619">
                  <c:v>0</c:v>
                </c:pt>
                <c:pt idx="53620">
                  <c:v>0</c:v>
                </c:pt>
                <c:pt idx="53621">
                  <c:v>0</c:v>
                </c:pt>
                <c:pt idx="53622">
                  <c:v>0</c:v>
                </c:pt>
                <c:pt idx="53623">
                  <c:v>0</c:v>
                </c:pt>
                <c:pt idx="53624">
                  <c:v>0</c:v>
                </c:pt>
                <c:pt idx="53625">
                  <c:v>0</c:v>
                </c:pt>
                <c:pt idx="53626">
                  <c:v>0</c:v>
                </c:pt>
                <c:pt idx="53627">
                  <c:v>0</c:v>
                </c:pt>
                <c:pt idx="53628">
                  <c:v>0</c:v>
                </c:pt>
                <c:pt idx="53629">
                  <c:v>0</c:v>
                </c:pt>
                <c:pt idx="53630">
                  <c:v>0</c:v>
                </c:pt>
                <c:pt idx="53631">
                  <c:v>0</c:v>
                </c:pt>
                <c:pt idx="53632">
                  <c:v>0</c:v>
                </c:pt>
                <c:pt idx="53633">
                  <c:v>0</c:v>
                </c:pt>
                <c:pt idx="53634">
                  <c:v>0</c:v>
                </c:pt>
                <c:pt idx="53635">
                  <c:v>0</c:v>
                </c:pt>
                <c:pt idx="53636">
                  <c:v>0</c:v>
                </c:pt>
                <c:pt idx="53637">
                  <c:v>0</c:v>
                </c:pt>
                <c:pt idx="53638">
                  <c:v>0</c:v>
                </c:pt>
                <c:pt idx="53639">
                  <c:v>0</c:v>
                </c:pt>
                <c:pt idx="53640">
                  <c:v>0</c:v>
                </c:pt>
                <c:pt idx="53641">
                  <c:v>0</c:v>
                </c:pt>
                <c:pt idx="53642">
                  <c:v>0</c:v>
                </c:pt>
                <c:pt idx="53643">
                  <c:v>0</c:v>
                </c:pt>
                <c:pt idx="53644">
                  <c:v>0</c:v>
                </c:pt>
                <c:pt idx="53645">
                  <c:v>0</c:v>
                </c:pt>
                <c:pt idx="53646">
                  <c:v>0</c:v>
                </c:pt>
                <c:pt idx="53647">
                  <c:v>0</c:v>
                </c:pt>
                <c:pt idx="53648">
                  <c:v>0</c:v>
                </c:pt>
                <c:pt idx="53649">
                  <c:v>0</c:v>
                </c:pt>
                <c:pt idx="53650">
                  <c:v>0</c:v>
                </c:pt>
                <c:pt idx="53651">
                  <c:v>0</c:v>
                </c:pt>
                <c:pt idx="53652">
                  <c:v>0</c:v>
                </c:pt>
                <c:pt idx="53653">
                  <c:v>0</c:v>
                </c:pt>
                <c:pt idx="53654">
                  <c:v>0</c:v>
                </c:pt>
                <c:pt idx="53655">
                  <c:v>0</c:v>
                </c:pt>
                <c:pt idx="53656">
                  <c:v>0</c:v>
                </c:pt>
                <c:pt idx="53657">
                  <c:v>0</c:v>
                </c:pt>
                <c:pt idx="53658">
                  <c:v>0</c:v>
                </c:pt>
                <c:pt idx="53659">
                  <c:v>0</c:v>
                </c:pt>
                <c:pt idx="53660">
                  <c:v>0</c:v>
                </c:pt>
                <c:pt idx="53661">
                  <c:v>0</c:v>
                </c:pt>
                <c:pt idx="53662">
                  <c:v>0</c:v>
                </c:pt>
                <c:pt idx="53663">
                  <c:v>0</c:v>
                </c:pt>
                <c:pt idx="53664">
                  <c:v>0</c:v>
                </c:pt>
                <c:pt idx="53665">
                  <c:v>0</c:v>
                </c:pt>
                <c:pt idx="53666">
                  <c:v>0</c:v>
                </c:pt>
                <c:pt idx="53667">
                  <c:v>0</c:v>
                </c:pt>
                <c:pt idx="53668">
                  <c:v>0</c:v>
                </c:pt>
                <c:pt idx="53669">
                  <c:v>0</c:v>
                </c:pt>
                <c:pt idx="53670">
                  <c:v>0</c:v>
                </c:pt>
                <c:pt idx="53671">
                  <c:v>0</c:v>
                </c:pt>
                <c:pt idx="53672">
                  <c:v>0</c:v>
                </c:pt>
                <c:pt idx="53673">
                  <c:v>0</c:v>
                </c:pt>
                <c:pt idx="53674">
                  <c:v>0</c:v>
                </c:pt>
                <c:pt idx="53675">
                  <c:v>0</c:v>
                </c:pt>
                <c:pt idx="53676">
                  <c:v>0</c:v>
                </c:pt>
                <c:pt idx="53677">
                  <c:v>0</c:v>
                </c:pt>
                <c:pt idx="53678">
                  <c:v>0</c:v>
                </c:pt>
                <c:pt idx="53679">
                  <c:v>0</c:v>
                </c:pt>
                <c:pt idx="53680">
                  <c:v>0</c:v>
                </c:pt>
                <c:pt idx="53681">
                  <c:v>0</c:v>
                </c:pt>
                <c:pt idx="53682">
                  <c:v>0</c:v>
                </c:pt>
                <c:pt idx="53683">
                  <c:v>0</c:v>
                </c:pt>
                <c:pt idx="53684">
                  <c:v>0</c:v>
                </c:pt>
                <c:pt idx="53685">
                  <c:v>0</c:v>
                </c:pt>
                <c:pt idx="53686">
                  <c:v>0</c:v>
                </c:pt>
                <c:pt idx="53687">
                  <c:v>0</c:v>
                </c:pt>
                <c:pt idx="53688">
                  <c:v>0</c:v>
                </c:pt>
                <c:pt idx="53689">
                  <c:v>0</c:v>
                </c:pt>
                <c:pt idx="53690">
                  <c:v>0</c:v>
                </c:pt>
                <c:pt idx="53691">
                  <c:v>0</c:v>
                </c:pt>
                <c:pt idx="53692">
                  <c:v>0</c:v>
                </c:pt>
                <c:pt idx="53693">
                  <c:v>0</c:v>
                </c:pt>
                <c:pt idx="53694">
                  <c:v>0</c:v>
                </c:pt>
                <c:pt idx="53695">
                  <c:v>0</c:v>
                </c:pt>
                <c:pt idx="53696">
                  <c:v>0</c:v>
                </c:pt>
                <c:pt idx="53697">
                  <c:v>0</c:v>
                </c:pt>
                <c:pt idx="53698">
                  <c:v>0</c:v>
                </c:pt>
                <c:pt idx="53699">
                  <c:v>0</c:v>
                </c:pt>
                <c:pt idx="53700">
                  <c:v>0</c:v>
                </c:pt>
                <c:pt idx="53701">
                  <c:v>0</c:v>
                </c:pt>
                <c:pt idx="53702">
                  <c:v>0</c:v>
                </c:pt>
                <c:pt idx="53703">
                  <c:v>0</c:v>
                </c:pt>
                <c:pt idx="53704">
                  <c:v>0</c:v>
                </c:pt>
                <c:pt idx="53705">
                  <c:v>0</c:v>
                </c:pt>
                <c:pt idx="53706">
                  <c:v>0</c:v>
                </c:pt>
                <c:pt idx="53707">
                  <c:v>0</c:v>
                </c:pt>
                <c:pt idx="53708">
                  <c:v>0</c:v>
                </c:pt>
                <c:pt idx="53709">
                  <c:v>0</c:v>
                </c:pt>
                <c:pt idx="53710">
                  <c:v>0</c:v>
                </c:pt>
                <c:pt idx="53711">
                  <c:v>0</c:v>
                </c:pt>
                <c:pt idx="53712">
                  <c:v>0</c:v>
                </c:pt>
                <c:pt idx="53713">
                  <c:v>0</c:v>
                </c:pt>
                <c:pt idx="53714">
                  <c:v>0</c:v>
                </c:pt>
                <c:pt idx="53715">
                  <c:v>0</c:v>
                </c:pt>
                <c:pt idx="53716">
                  <c:v>0</c:v>
                </c:pt>
                <c:pt idx="53717">
                  <c:v>0</c:v>
                </c:pt>
                <c:pt idx="53718">
                  <c:v>0</c:v>
                </c:pt>
                <c:pt idx="53719">
                  <c:v>0</c:v>
                </c:pt>
                <c:pt idx="53720">
                  <c:v>0</c:v>
                </c:pt>
                <c:pt idx="53721">
                  <c:v>0</c:v>
                </c:pt>
                <c:pt idx="53722">
                  <c:v>0</c:v>
                </c:pt>
                <c:pt idx="53723">
                  <c:v>0</c:v>
                </c:pt>
                <c:pt idx="53724">
                  <c:v>0</c:v>
                </c:pt>
                <c:pt idx="53725">
                  <c:v>0</c:v>
                </c:pt>
                <c:pt idx="53726">
                  <c:v>0</c:v>
                </c:pt>
                <c:pt idx="53727">
                  <c:v>0</c:v>
                </c:pt>
                <c:pt idx="53728">
                  <c:v>0</c:v>
                </c:pt>
                <c:pt idx="53729">
                  <c:v>0</c:v>
                </c:pt>
                <c:pt idx="53730">
                  <c:v>0</c:v>
                </c:pt>
                <c:pt idx="53731">
                  <c:v>0</c:v>
                </c:pt>
                <c:pt idx="53732">
                  <c:v>0</c:v>
                </c:pt>
                <c:pt idx="53733">
                  <c:v>0</c:v>
                </c:pt>
                <c:pt idx="53734">
                  <c:v>0</c:v>
                </c:pt>
                <c:pt idx="53735">
                  <c:v>0</c:v>
                </c:pt>
                <c:pt idx="53736">
                  <c:v>0</c:v>
                </c:pt>
                <c:pt idx="53737">
                  <c:v>0</c:v>
                </c:pt>
                <c:pt idx="53738">
                  <c:v>0</c:v>
                </c:pt>
                <c:pt idx="53739">
                  <c:v>0</c:v>
                </c:pt>
                <c:pt idx="53740">
                  <c:v>0</c:v>
                </c:pt>
                <c:pt idx="53741">
                  <c:v>0</c:v>
                </c:pt>
                <c:pt idx="53742">
                  <c:v>0</c:v>
                </c:pt>
                <c:pt idx="53743">
                  <c:v>0</c:v>
                </c:pt>
                <c:pt idx="53744">
                  <c:v>0</c:v>
                </c:pt>
                <c:pt idx="53745">
                  <c:v>0</c:v>
                </c:pt>
                <c:pt idx="53746">
                  <c:v>0</c:v>
                </c:pt>
                <c:pt idx="53747">
                  <c:v>0</c:v>
                </c:pt>
                <c:pt idx="53748">
                  <c:v>0</c:v>
                </c:pt>
                <c:pt idx="53749">
                  <c:v>0</c:v>
                </c:pt>
                <c:pt idx="53750">
                  <c:v>0</c:v>
                </c:pt>
                <c:pt idx="53751">
                  <c:v>0</c:v>
                </c:pt>
                <c:pt idx="53752">
                  <c:v>0</c:v>
                </c:pt>
                <c:pt idx="53753">
                  <c:v>0</c:v>
                </c:pt>
                <c:pt idx="53754">
                  <c:v>0</c:v>
                </c:pt>
                <c:pt idx="53755">
                  <c:v>0</c:v>
                </c:pt>
                <c:pt idx="53756">
                  <c:v>0</c:v>
                </c:pt>
                <c:pt idx="53757">
                  <c:v>0</c:v>
                </c:pt>
                <c:pt idx="53758">
                  <c:v>0</c:v>
                </c:pt>
                <c:pt idx="53759">
                  <c:v>0</c:v>
                </c:pt>
                <c:pt idx="53760">
                  <c:v>0</c:v>
                </c:pt>
                <c:pt idx="53761">
                  <c:v>0</c:v>
                </c:pt>
                <c:pt idx="53762">
                  <c:v>0</c:v>
                </c:pt>
                <c:pt idx="53763">
                  <c:v>0</c:v>
                </c:pt>
                <c:pt idx="53764">
                  <c:v>0</c:v>
                </c:pt>
                <c:pt idx="53765">
                  <c:v>0</c:v>
                </c:pt>
                <c:pt idx="53766">
                  <c:v>0</c:v>
                </c:pt>
                <c:pt idx="53767">
                  <c:v>0</c:v>
                </c:pt>
                <c:pt idx="53768">
                  <c:v>0</c:v>
                </c:pt>
                <c:pt idx="53769">
                  <c:v>0</c:v>
                </c:pt>
                <c:pt idx="53770">
                  <c:v>0</c:v>
                </c:pt>
                <c:pt idx="53771">
                  <c:v>0</c:v>
                </c:pt>
                <c:pt idx="53772">
                  <c:v>0</c:v>
                </c:pt>
                <c:pt idx="53773">
                  <c:v>0</c:v>
                </c:pt>
                <c:pt idx="53774">
                  <c:v>0</c:v>
                </c:pt>
                <c:pt idx="53775">
                  <c:v>0</c:v>
                </c:pt>
                <c:pt idx="53776">
                  <c:v>0</c:v>
                </c:pt>
                <c:pt idx="53777">
                  <c:v>0</c:v>
                </c:pt>
                <c:pt idx="53778">
                  <c:v>0</c:v>
                </c:pt>
                <c:pt idx="53779">
                  <c:v>0</c:v>
                </c:pt>
                <c:pt idx="53780">
                  <c:v>0</c:v>
                </c:pt>
                <c:pt idx="53781">
                  <c:v>0</c:v>
                </c:pt>
                <c:pt idx="53782">
                  <c:v>0</c:v>
                </c:pt>
                <c:pt idx="53783">
                  <c:v>0</c:v>
                </c:pt>
                <c:pt idx="53784">
                  <c:v>0</c:v>
                </c:pt>
                <c:pt idx="53785">
                  <c:v>0</c:v>
                </c:pt>
                <c:pt idx="53786">
                  <c:v>0</c:v>
                </c:pt>
                <c:pt idx="53787">
                  <c:v>0</c:v>
                </c:pt>
                <c:pt idx="53788">
                  <c:v>0</c:v>
                </c:pt>
                <c:pt idx="53789">
                  <c:v>0</c:v>
                </c:pt>
                <c:pt idx="53790">
                  <c:v>0</c:v>
                </c:pt>
                <c:pt idx="53791">
                  <c:v>0</c:v>
                </c:pt>
                <c:pt idx="53792">
                  <c:v>0</c:v>
                </c:pt>
                <c:pt idx="53793">
                  <c:v>0</c:v>
                </c:pt>
                <c:pt idx="53794">
                  <c:v>0</c:v>
                </c:pt>
                <c:pt idx="53795">
                  <c:v>0</c:v>
                </c:pt>
                <c:pt idx="53796">
                  <c:v>0</c:v>
                </c:pt>
                <c:pt idx="53797">
                  <c:v>0</c:v>
                </c:pt>
                <c:pt idx="53798">
                  <c:v>0</c:v>
                </c:pt>
                <c:pt idx="53799">
                  <c:v>0</c:v>
                </c:pt>
                <c:pt idx="53800">
                  <c:v>0</c:v>
                </c:pt>
                <c:pt idx="53801">
                  <c:v>0</c:v>
                </c:pt>
                <c:pt idx="53802">
                  <c:v>0</c:v>
                </c:pt>
                <c:pt idx="53803">
                  <c:v>0</c:v>
                </c:pt>
                <c:pt idx="53804">
                  <c:v>0</c:v>
                </c:pt>
                <c:pt idx="53805">
                  <c:v>0</c:v>
                </c:pt>
                <c:pt idx="53806">
                  <c:v>0</c:v>
                </c:pt>
                <c:pt idx="53807">
                  <c:v>0</c:v>
                </c:pt>
                <c:pt idx="53808">
                  <c:v>0</c:v>
                </c:pt>
                <c:pt idx="53809">
                  <c:v>0</c:v>
                </c:pt>
                <c:pt idx="53810">
                  <c:v>0</c:v>
                </c:pt>
                <c:pt idx="53811">
                  <c:v>0</c:v>
                </c:pt>
                <c:pt idx="53812">
                  <c:v>0</c:v>
                </c:pt>
                <c:pt idx="53813">
                  <c:v>0</c:v>
                </c:pt>
                <c:pt idx="53814">
                  <c:v>0</c:v>
                </c:pt>
                <c:pt idx="53815">
                  <c:v>0</c:v>
                </c:pt>
                <c:pt idx="53816">
                  <c:v>0</c:v>
                </c:pt>
                <c:pt idx="53817">
                  <c:v>0</c:v>
                </c:pt>
                <c:pt idx="53818">
                  <c:v>0</c:v>
                </c:pt>
                <c:pt idx="53819">
                  <c:v>0</c:v>
                </c:pt>
                <c:pt idx="53820">
                  <c:v>0</c:v>
                </c:pt>
                <c:pt idx="53821">
                  <c:v>0</c:v>
                </c:pt>
                <c:pt idx="53822">
                  <c:v>0</c:v>
                </c:pt>
                <c:pt idx="53823">
                  <c:v>0</c:v>
                </c:pt>
                <c:pt idx="53824">
                  <c:v>0</c:v>
                </c:pt>
                <c:pt idx="53825">
                  <c:v>0</c:v>
                </c:pt>
                <c:pt idx="53826">
                  <c:v>0</c:v>
                </c:pt>
                <c:pt idx="53827">
                  <c:v>0</c:v>
                </c:pt>
                <c:pt idx="53828">
                  <c:v>0</c:v>
                </c:pt>
                <c:pt idx="53829">
                  <c:v>0</c:v>
                </c:pt>
                <c:pt idx="53830">
                  <c:v>0</c:v>
                </c:pt>
                <c:pt idx="53831">
                  <c:v>0</c:v>
                </c:pt>
                <c:pt idx="53832">
                  <c:v>0</c:v>
                </c:pt>
                <c:pt idx="53833">
                  <c:v>0</c:v>
                </c:pt>
                <c:pt idx="53834">
                  <c:v>0</c:v>
                </c:pt>
                <c:pt idx="53835">
                  <c:v>0</c:v>
                </c:pt>
                <c:pt idx="53836">
                  <c:v>0</c:v>
                </c:pt>
                <c:pt idx="53837">
                  <c:v>0</c:v>
                </c:pt>
                <c:pt idx="53838">
                  <c:v>0</c:v>
                </c:pt>
                <c:pt idx="53839">
                  <c:v>0</c:v>
                </c:pt>
                <c:pt idx="53840">
                  <c:v>0</c:v>
                </c:pt>
                <c:pt idx="53841">
                  <c:v>0</c:v>
                </c:pt>
                <c:pt idx="53842">
                  <c:v>0</c:v>
                </c:pt>
                <c:pt idx="53843">
                  <c:v>0</c:v>
                </c:pt>
                <c:pt idx="53844">
                  <c:v>0</c:v>
                </c:pt>
                <c:pt idx="53845">
                  <c:v>0</c:v>
                </c:pt>
                <c:pt idx="53846">
                  <c:v>0</c:v>
                </c:pt>
                <c:pt idx="53847">
                  <c:v>0</c:v>
                </c:pt>
                <c:pt idx="53848">
                  <c:v>0</c:v>
                </c:pt>
                <c:pt idx="53849">
                  <c:v>0</c:v>
                </c:pt>
                <c:pt idx="53850">
                  <c:v>0</c:v>
                </c:pt>
                <c:pt idx="53851">
                  <c:v>0</c:v>
                </c:pt>
                <c:pt idx="53852">
                  <c:v>0</c:v>
                </c:pt>
                <c:pt idx="53853">
                  <c:v>0</c:v>
                </c:pt>
                <c:pt idx="53854">
                  <c:v>0</c:v>
                </c:pt>
                <c:pt idx="53855">
                  <c:v>0</c:v>
                </c:pt>
                <c:pt idx="53856">
                  <c:v>0</c:v>
                </c:pt>
                <c:pt idx="53857">
                  <c:v>0</c:v>
                </c:pt>
                <c:pt idx="53858">
                  <c:v>0</c:v>
                </c:pt>
                <c:pt idx="53859">
                  <c:v>0</c:v>
                </c:pt>
                <c:pt idx="53860">
                  <c:v>0</c:v>
                </c:pt>
                <c:pt idx="53861">
                  <c:v>0</c:v>
                </c:pt>
                <c:pt idx="53862">
                  <c:v>0</c:v>
                </c:pt>
                <c:pt idx="53863">
                  <c:v>0</c:v>
                </c:pt>
                <c:pt idx="53864">
                  <c:v>0</c:v>
                </c:pt>
                <c:pt idx="53865">
                  <c:v>0</c:v>
                </c:pt>
                <c:pt idx="53866">
                  <c:v>0</c:v>
                </c:pt>
                <c:pt idx="53867">
                  <c:v>0</c:v>
                </c:pt>
                <c:pt idx="53868">
                  <c:v>0</c:v>
                </c:pt>
                <c:pt idx="53869">
                  <c:v>0</c:v>
                </c:pt>
                <c:pt idx="53870">
                  <c:v>0</c:v>
                </c:pt>
                <c:pt idx="53871">
                  <c:v>0</c:v>
                </c:pt>
                <c:pt idx="53872">
                  <c:v>0</c:v>
                </c:pt>
                <c:pt idx="53873">
                  <c:v>0</c:v>
                </c:pt>
                <c:pt idx="53874">
                  <c:v>0</c:v>
                </c:pt>
                <c:pt idx="53875">
                  <c:v>0</c:v>
                </c:pt>
                <c:pt idx="53876">
                  <c:v>0</c:v>
                </c:pt>
                <c:pt idx="53877">
                  <c:v>0</c:v>
                </c:pt>
                <c:pt idx="53878">
                  <c:v>0</c:v>
                </c:pt>
                <c:pt idx="53879">
                  <c:v>0</c:v>
                </c:pt>
                <c:pt idx="53880">
                  <c:v>0</c:v>
                </c:pt>
                <c:pt idx="53881">
                  <c:v>0</c:v>
                </c:pt>
                <c:pt idx="53882">
                  <c:v>0</c:v>
                </c:pt>
                <c:pt idx="53883">
                  <c:v>0</c:v>
                </c:pt>
                <c:pt idx="53884">
                  <c:v>0</c:v>
                </c:pt>
                <c:pt idx="53885">
                  <c:v>0</c:v>
                </c:pt>
                <c:pt idx="53886">
                  <c:v>0</c:v>
                </c:pt>
                <c:pt idx="53887">
                  <c:v>0</c:v>
                </c:pt>
                <c:pt idx="53888">
                  <c:v>0</c:v>
                </c:pt>
                <c:pt idx="53889">
                  <c:v>0</c:v>
                </c:pt>
                <c:pt idx="53890">
                  <c:v>0</c:v>
                </c:pt>
                <c:pt idx="53891">
                  <c:v>0</c:v>
                </c:pt>
                <c:pt idx="53892">
                  <c:v>0</c:v>
                </c:pt>
                <c:pt idx="53893">
                  <c:v>0</c:v>
                </c:pt>
                <c:pt idx="53894">
                  <c:v>0</c:v>
                </c:pt>
                <c:pt idx="53895">
                  <c:v>0</c:v>
                </c:pt>
                <c:pt idx="53896">
                  <c:v>0</c:v>
                </c:pt>
                <c:pt idx="53897">
                  <c:v>0</c:v>
                </c:pt>
                <c:pt idx="53898">
                  <c:v>0</c:v>
                </c:pt>
                <c:pt idx="53899">
                  <c:v>0</c:v>
                </c:pt>
                <c:pt idx="53900">
                  <c:v>0</c:v>
                </c:pt>
                <c:pt idx="53901">
                  <c:v>0</c:v>
                </c:pt>
                <c:pt idx="53902">
                  <c:v>0</c:v>
                </c:pt>
                <c:pt idx="53903">
                  <c:v>0</c:v>
                </c:pt>
                <c:pt idx="53904">
                  <c:v>0</c:v>
                </c:pt>
                <c:pt idx="53905">
                  <c:v>0</c:v>
                </c:pt>
                <c:pt idx="53906">
                  <c:v>0</c:v>
                </c:pt>
                <c:pt idx="53907">
                  <c:v>0</c:v>
                </c:pt>
                <c:pt idx="53908">
                  <c:v>0</c:v>
                </c:pt>
                <c:pt idx="53909">
                  <c:v>0</c:v>
                </c:pt>
                <c:pt idx="53910">
                  <c:v>0</c:v>
                </c:pt>
                <c:pt idx="53911">
                  <c:v>0</c:v>
                </c:pt>
                <c:pt idx="53912">
                  <c:v>0</c:v>
                </c:pt>
                <c:pt idx="53913">
                  <c:v>0</c:v>
                </c:pt>
                <c:pt idx="53914">
                  <c:v>0</c:v>
                </c:pt>
                <c:pt idx="53915">
                  <c:v>0</c:v>
                </c:pt>
                <c:pt idx="53916">
                  <c:v>0</c:v>
                </c:pt>
                <c:pt idx="53917">
                  <c:v>0</c:v>
                </c:pt>
                <c:pt idx="53918">
                  <c:v>0</c:v>
                </c:pt>
                <c:pt idx="53919">
                  <c:v>0</c:v>
                </c:pt>
                <c:pt idx="53920">
                  <c:v>0</c:v>
                </c:pt>
                <c:pt idx="53921">
                  <c:v>0</c:v>
                </c:pt>
                <c:pt idx="53922">
                  <c:v>0</c:v>
                </c:pt>
                <c:pt idx="53923">
                  <c:v>0</c:v>
                </c:pt>
                <c:pt idx="53924">
                  <c:v>0</c:v>
                </c:pt>
                <c:pt idx="53925">
                  <c:v>0</c:v>
                </c:pt>
                <c:pt idx="53926">
                  <c:v>0</c:v>
                </c:pt>
                <c:pt idx="53927">
                  <c:v>0</c:v>
                </c:pt>
                <c:pt idx="53928">
                  <c:v>0</c:v>
                </c:pt>
                <c:pt idx="53929">
                  <c:v>0</c:v>
                </c:pt>
                <c:pt idx="53930">
                  <c:v>0</c:v>
                </c:pt>
                <c:pt idx="53931">
                  <c:v>0</c:v>
                </c:pt>
                <c:pt idx="53932">
                  <c:v>0</c:v>
                </c:pt>
                <c:pt idx="53933">
                  <c:v>0</c:v>
                </c:pt>
                <c:pt idx="53934">
                  <c:v>0</c:v>
                </c:pt>
                <c:pt idx="53935">
                  <c:v>0</c:v>
                </c:pt>
                <c:pt idx="53936">
                  <c:v>0</c:v>
                </c:pt>
                <c:pt idx="53937">
                  <c:v>0</c:v>
                </c:pt>
                <c:pt idx="53938">
                  <c:v>0</c:v>
                </c:pt>
                <c:pt idx="53939">
                  <c:v>0</c:v>
                </c:pt>
                <c:pt idx="53940">
                  <c:v>0</c:v>
                </c:pt>
                <c:pt idx="53941">
                  <c:v>0</c:v>
                </c:pt>
                <c:pt idx="53942">
                  <c:v>0</c:v>
                </c:pt>
                <c:pt idx="53943">
                  <c:v>0</c:v>
                </c:pt>
                <c:pt idx="53944">
                  <c:v>0</c:v>
                </c:pt>
                <c:pt idx="53945">
                  <c:v>0</c:v>
                </c:pt>
                <c:pt idx="53946">
                  <c:v>0</c:v>
                </c:pt>
                <c:pt idx="53947">
                  <c:v>0</c:v>
                </c:pt>
                <c:pt idx="53948">
                  <c:v>0</c:v>
                </c:pt>
                <c:pt idx="53949">
                  <c:v>0</c:v>
                </c:pt>
                <c:pt idx="53950">
                  <c:v>0</c:v>
                </c:pt>
                <c:pt idx="53951">
                  <c:v>0</c:v>
                </c:pt>
                <c:pt idx="53952">
                  <c:v>0</c:v>
                </c:pt>
                <c:pt idx="53953">
                  <c:v>0</c:v>
                </c:pt>
                <c:pt idx="53954">
                  <c:v>0</c:v>
                </c:pt>
                <c:pt idx="53955">
                  <c:v>0</c:v>
                </c:pt>
                <c:pt idx="53956">
                  <c:v>0</c:v>
                </c:pt>
                <c:pt idx="53957">
                  <c:v>0</c:v>
                </c:pt>
                <c:pt idx="53958">
                  <c:v>0</c:v>
                </c:pt>
                <c:pt idx="53959">
                  <c:v>0</c:v>
                </c:pt>
                <c:pt idx="53960">
                  <c:v>0</c:v>
                </c:pt>
                <c:pt idx="53961">
                  <c:v>0</c:v>
                </c:pt>
                <c:pt idx="53962">
                  <c:v>0</c:v>
                </c:pt>
                <c:pt idx="53963">
                  <c:v>0</c:v>
                </c:pt>
                <c:pt idx="53964">
                  <c:v>0</c:v>
                </c:pt>
                <c:pt idx="53965">
                  <c:v>0</c:v>
                </c:pt>
                <c:pt idx="53966">
                  <c:v>0</c:v>
                </c:pt>
                <c:pt idx="53967">
                  <c:v>0</c:v>
                </c:pt>
                <c:pt idx="53968">
                  <c:v>0</c:v>
                </c:pt>
                <c:pt idx="53969">
                  <c:v>0</c:v>
                </c:pt>
                <c:pt idx="53970">
                  <c:v>0</c:v>
                </c:pt>
                <c:pt idx="53971">
                  <c:v>0</c:v>
                </c:pt>
                <c:pt idx="53972">
                  <c:v>0</c:v>
                </c:pt>
                <c:pt idx="53973">
                  <c:v>0</c:v>
                </c:pt>
                <c:pt idx="53974">
                  <c:v>0</c:v>
                </c:pt>
                <c:pt idx="53975">
                  <c:v>0</c:v>
                </c:pt>
                <c:pt idx="53976">
                  <c:v>0</c:v>
                </c:pt>
                <c:pt idx="53977">
                  <c:v>0</c:v>
                </c:pt>
                <c:pt idx="53978">
                  <c:v>0</c:v>
                </c:pt>
                <c:pt idx="53979">
                  <c:v>0</c:v>
                </c:pt>
                <c:pt idx="53980">
                  <c:v>0</c:v>
                </c:pt>
                <c:pt idx="53981">
                  <c:v>0</c:v>
                </c:pt>
                <c:pt idx="53982">
                  <c:v>0</c:v>
                </c:pt>
                <c:pt idx="53983">
                  <c:v>0</c:v>
                </c:pt>
                <c:pt idx="53984">
                  <c:v>0</c:v>
                </c:pt>
                <c:pt idx="53985">
                  <c:v>0</c:v>
                </c:pt>
                <c:pt idx="53986">
                  <c:v>0</c:v>
                </c:pt>
                <c:pt idx="53987">
                  <c:v>0</c:v>
                </c:pt>
                <c:pt idx="53988">
                  <c:v>0</c:v>
                </c:pt>
                <c:pt idx="53989">
                  <c:v>0</c:v>
                </c:pt>
                <c:pt idx="53990">
                  <c:v>0</c:v>
                </c:pt>
                <c:pt idx="53991">
                  <c:v>0</c:v>
                </c:pt>
                <c:pt idx="53992">
                  <c:v>0</c:v>
                </c:pt>
                <c:pt idx="53993">
                  <c:v>0</c:v>
                </c:pt>
                <c:pt idx="53994">
                  <c:v>0</c:v>
                </c:pt>
                <c:pt idx="53995">
                  <c:v>0</c:v>
                </c:pt>
                <c:pt idx="53996">
                  <c:v>0</c:v>
                </c:pt>
                <c:pt idx="53997">
                  <c:v>0</c:v>
                </c:pt>
                <c:pt idx="53998">
                  <c:v>0</c:v>
                </c:pt>
                <c:pt idx="53999">
                  <c:v>0</c:v>
                </c:pt>
                <c:pt idx="54000">
                  <c:v>0</c:v>
                </c:pt>
                <c:pt idx="54001">
                  <c:v>0</c:v>
                </c:pt>
                <c:pt idx="54002">
                  <c:v>0</c:v>
                </c:pt>
                <c:pt idx="54003">
                  <c:v>0</c:v>
                </c:pt>
                <c:pt idx="54004">
                  <c:v>0</c:v>
                </c:pt>
                <c:pt idx="54005">
                  <c:v>0</c:v>
                </c:pt>
                <c:pt idx="54006">
                  <c:v>0</c:v>
                </c:pt>
                <c:pt idx="54007">
                  <c:v>0</c:v>
                </c:pt>
                <c:pt idx="54008">
                  <c:v>0</c:v>
                </c:pt>
                <c:pt idx="54009">
                  <c:v>0</c:v>
                </c:pt>
                <c:pt idx="54010">
                  <c:v>0</c:v>
                </c:pt>
                <c:pt idx="54011">
                  <c:v>0</c:v>
                </c:pt>
                <c:pt idx="54012">
                  <c:v>0</c:v>
                </c:pt>
                <c:pt idx="54013">
                  <c:v>0</c:v>
                </c:pt>
                <c:pt idx="54014">
                  <c:v>0</c:v>
                </c:pt>
                <c:pt idx="54015">
                  <c:v>0</c:v>
                </c:pt>
                <c:pt idx="54016">
                  <c:v>0</c:v>
                </c:pt>
                <c:pt idx="54017">
                  <c:v>0</c:v>
                </c:pt>
                <c:pt idx="54018">
                  <c:v>0</c:v>
                </c:pt>
                <c:pt idx="54019">
                  <c:v>0</c:v>
                </c:pt>
                <c:pt idx="54020">
                  <c:v>0</c:v>
                </c:pt>
                <c:pt idx="54021">
                  <c:v>0</c:v>
                </c:pt>
                <c:pt idx="54022">
                  <c:v>0</c:v>
                </c:pt>
                <c:pt idx="54023">
                  <c:v>0</c:v>
                </c:pt>
                <c:pt idx="54024">
                  <c:v>0</c:v>
                </c:pt>
                <c:pt idx="54025">
                  <c:v>0</c:v>
                </c:pt>
                <c:pt idx="54026">
                  <c:v>0</c:v>
                </c:pt>
                <c:pt idx="54027">
                  <c:v>0</c:v>
                </c:pt>
                <c:pt idx="54028">
                  <c:v>0</c:v>
                </c:pt>
                <c:pt idx="54029">
                  <c:v>0</c:v>
                </c:pt>
                <c:pt idx="54030">
                  <c:v>0</c:v>
                </c:pt>
                <c:pt idx="54031">
                  <c:v>0</c:v>
                </c:pt>
                <c:pt idx="54032">
                  <c:v>0</c:v>
                </c:pt>
                <c:pt idx="54033">
                  <c:v>0</c:v>
                </c:pt>
                <c:pt idx="54034">
                  <c:v>0</c:v>
                </c:pt>
                <c:pt idx="54035">
                  <c:v>0</c:v>
                </c:pt>
                <c:pt idx="54036">
                  <c:v>0</c:v>
                </c:pt>
                <c:pt idx="54037">
                  <c:v>0</c:v>
                </c:pt>
                <c:pt idx="54038">
                  <c:v>0</c:v>
                </c:pt>
                <c:pt idx="54039">
                  <c:v>0</c:v>
                </c:pt>
                <c:pt idx="54040">
                  <c:v>0</c:v>
                </c:pt>
                <c:pt idx="54041">
                  <c:v>0</c:v>
                </c:pt>
                <c:pt idx="54042">
                  <c:v>0</c:v>
                </c:pt>
                <c:pt idx="54043">
                  <c:v>0</c:v>
                </c:pt>
                <c:pt idx="54044">
                  <c:v>0</c:v>
                </c:pt>
                <c:pt idx="54045">
                  <c:v>0</c:v>
                </c:pt>
                <c:pt idx="54046">
                  <c:v>0</c:v>
                </c:pt>
                <c:pt idx="54047">
                  <c:v>0</c:v>
                </c:pt>
                <c:pt idx="54048">
                  <c:v>0</c:v>
                </c:pt>
                <c:pt idx="54049">
                  <c:v>0</c:v>
                </c:pt>
                <c:pt idx="54050">
                  <c:v>0</c:v>
                </c:pt>
                <c:pt idx="54051">
                  <c:v>0</c:v>
                </c:pt>
                <c:pt idx="54052">
                  <c:v>0</c:v>
                </c:pt>
                <c:pt idx="54053">
                  <c:v>0</c:v>
                </c:pt>
                <c:pt idx="54054">
                  <c:v>0</c:v>
                </c:pt>
                <c:pt idx="54055">
                  <c:v>0</c:v>
                </c:pt>
                <c:pt idx="54056">
                  <c:v>0</c:v>
                </c:pt>
                <c:pt idx="54057">
                  <c:v>0</c:v>
                </c:pt>
                <c:pt idx="54058">
                  <c:v>0</c:v>
                </c:pt>
                <c:pt idx="54059">
                  <c:v>0</c:v>
                </c:pt>
                <c:pt idx="54060">
                  <c:v>0</c:v>
                </c:pt>
                <c:pt idx="54061">
                  <c:v>0</c:v>
                </c:pt>
                <c:pt idx="54062">
                  <c:v>0</c:v>
                </c:pt>
                <c:pt idx="54063">
                  <c:v>0</c:v>
                </c:pt>
                <c:pt idx="54064">
                  <c:v>0</c:v>
                </c:pt>
                <c:pt idx="54065">
                  <c:v>0</c:v>
                </c:pt>
                <c:pt idx="54066">
                  <c:v>0</c:v>
                </c:pt>
                <c:pt idx="54067">
                  <c:v>0</c:v>
                </c:pt>
                <c:pt idx="54068">
                  <c:v>0</c:v>
                </c:pt>
                <c:pt idx="54069">
                  <c:v>0</c:v>
                </c:pt>
                <c:pt idx="54070">
                  <c:v>0</c:v>
                </c:pt>
                <c:pt idx="54071">
                  <c:v>0</c:v>
                </c:pt>
                <c:pt idx="54072">
                  <c:v>0</c:v>
                </c:pt>
                <c:pt idx="54073">
                  <c:v>0</c:v>
                </c:pt>
                <c:pt idx="54074">
                  <c:v>0</c:v>
                </c:pt>
                <c:pt idx="54075">
                  <c:v>0</c:v>
                </c:pt>
                <c:pt idx="54076">
                  <c:v>0</c:v>
                </c:pt>
                <c:pt idx="54077">
                  <c:v>0</c:v>
                </c:pt>
                <c:pt idx="54078">
                  <c:v>0</c:v>
                </c:pt>
                <c:pt idx="54079">
                  <c:v>0</c:v>
                </c:pt>
                <c:pt idx="54080">
                  <c:v>0</c:v>
                </c:pt>
                <c:pt idx="54081">
                  <c:v>0</c:v>
                </c:pt>
                <c:pt idx="54082">
                  <c:v>0</c:v>
                </c:pt>
                <c:pt idx="54083">
                  <c:v>0</c:v>
                </c:pt>
                <c:pt idx="54084">
                  <c:v>0</c:v>
                </c:pt>
                <c:pt idx="54085">
                  <c:v>0</c:v>
                </c:pt>
                <c:pt idx="54086">
                  <c:v>0</c:v>
                </c:pt>
                <c:pt idx="54087">
                  <c:v>0</c:v>
                </c:pt>
                <c:pt idx="54088">
                  <c:v>0</c:v>
                </c:pt>
                <c:pt idx="54089">
                  <c:v>0</c:v>
                </c:pt>
                <c:pt idx="54090">
                  <c:v>0</c:v>
                </c:pt>
                <c:pt idx="54091">
                  <c:v>0</c:v>
                </c:pt>
                <c:pt idx="54092">
                  <c:v>0</c:v>
                </c:pt>
                <c:pt idx="54093">
                  <c:v>0</c:v>
                </c:pt>
                <c:pt idx="54094">
                  <c:v>0</c:v>
                </c:pt>
                <c:pt idx="54095">
                  <c:v>0</c:v>
                </c:pt>
                <c:pt idx="54096">
                  <c:v>0</c:v>
                </c:pt>
                <c:pt idx="54097">
                  <c:v>0</c:v>
                </c:pt>
                <c:pt idx="54098">
                  <c:v>0</c:v>
                </c:pt>
                <c:pt idx="54099">
                  <c:v>0</c:v>
                </c:pt>
                <c:pt idx="54100">
                  <c:v>0</c:v>
                </c:pt>
                <c:pt idx="54101">
                  <c:v>0</c:v>
                </c:pt>
                <c:pt idx="54102">
                  <c:v>0</c:v>
                </c:pt>
                <c:pt idx="54103">
                  <c:v>0</c:v>
                </c:pt>
                <c:pt idx="54104">
                  <c:v>0</c:v>
                </c:pt>
                <c:pt idx="54105">
                  <c:v>0</c:v>
                </c:pt>
                <c:pt idx="54106">
                  <c:v>0</c:v>
                </c:pt>
                <c:pt idx="54107">
                  <c:v>0</c:v>
                </c:pt>
                <c:pt idx="54108">
                  <c:v>0</c:v>
                </c:pt>
                <c:pt idx="54109">
                  <c:v>0</c:v>
                </c:pt>
                <c:pt idx="54110">
                  <c:v>0</c:v>
                </c:pt>
                <c:pt idx="54111">
                  <c:v>0</c:v>
                </c:pt>
                <c:pt idx="54112">
                  <c:v>0</c:v>
                </c:pt>
                <c:pt idx="54113">
                  <c:v>0</c:v>
                </c:pt>
                <c:pt idx="54114">
                  <c:v>0</c:v>
                </c:pt>
                <c:pt idx="54115">
                  <c:v>0</c:v>
                </c:pt>
                <c:pt idx="54116">
                  <c:v>0</c:v>
                </c:pt>
                <c:pt idx="54117">
                  <c:v>0</c:v>
                </c:pt>
                <c:pt idx="54118">
                  <c:v>0</c:v>
                </c:pt>
                <c:pt idx="54119">
                  <c:v>0</c:v>
                </c:pt>
                <c:pt idx="54120">
                  <c:v>0</c:v>
                </c:pt>
                <c:pt idx="54121">
                  <c:v>0</c:v>
                </c:pt>
                <c:pt idx="54122">
                  <c:v>0</c:v>
                </c:pt>
                <c:pt idx="54123">
                  <c:v>0</c:v>
                </c:pt>
                <c:pt idx="54124">
                  <c:v>0</c:v>
                </c:pt>
                <c:pt idx="54125">
                  <c:v>0</c:v>
                </c:pt>
                <c:pt idx="54126">
                  <c:v>0</c:v>
                </c:pt>
                <c:pt idx="54127">
                  <c:v>0</c:v>
                </c:pt>
                <c:pt idx="54128">
                  <c:v>0</c:v>
                </c:pt>
                <c:pt idx="54129">
                  <c:v>0</c:v>
                </c:pt>
                <c:pt idx="54130">
                  <c:v>0</c:v>
                </c:pt>
                <c:pt idx="54131">
                  <c:v>0</c:v>
                </c:pt>
                <c:pt idx="54132">
                  <c:v>0</c:v>
                </c:pt>
                <c:pt idx="54133">
                  <c:v>0</c:v>
                </c:pt>
                <c:pt idx="54134">
                  <c:v>0</c:v>
                </c:pt>
                <c:pt idx="54135">
                  <c:v>0</c:v>
                </c:pt>
                <c:pt idx="54136">
                  <c:v>0</c:v>
                </c:pt>
                <c:pt idx="54137">
                  <c:v>0</c:v>
                </c:pt>
                <c:pt idx="54138">
                  <c:v>0</c:v>
                </c:pt>
                <c:pt idx="54139">
                  <c:v>0</c:v>
                </c:pt>
                <c:pt idx="54140">
                  <c:v>0</c:v>
                </c:pt>
                <c:pt idx="54141">
                  <c:v>0</c:v>
                </c:pt>
                <c:pt idx="54142">
                  <c:v>0</c:v>
                </c:pt>
                <c:pt idx="54143">
                  <c:v>0</c:v>
                </c:pt>
                <c:pt idx="54144">
                  <c:v>0</c:v>
                </c:pt>
                <c:pt idx="54145">
                  <c:v>0</c:v>
                </c:pt>
                <c:pt idx="54146">
                  <c:v>0</c:v>
                </c:pt>
                <c:pt idx="54147">
                  <c:v>0</c:v>
                </c:pt>
                <c:pt idx="54148">
                  <c:v>0</c:v>
                </c:pt>
                <c:pt idx="54149">
                  <c:v>0</c:v>
                </c:pt>
                <c:pt idx="54150">
                  <c:v>0</c:v>
                </c:pt>
                <c:pt idx="54151">
                  <c:v>0</c:v>
                </c:pt>
                <c:pt idx="54152">
                  <c:v>0</c:v>
                </c:pt>
                <c:pt idx="54153">
                  <c:v>0</c:v>
                </c:pt>
                <c:pt idx="54154">
                  <c:v>0</c:v>
                </c:pt>
                <c:pt idx="54155">
                  <c:v>0</c:v>
                </c:pt>
                <c:pt idx="54156">
                  <c:v>0</c:v>
                </c:pt>
                <c:pt idx="54157">
                  <c:v>0</c:v>
                </c:pt>
                <c:pt idx="54158">
                  <c:v>0</c:v>
                </c:pt>
                <c:pt idx="54159">
                  <c:v>0</c:v>
                </c:pt>
                <c:pt idx="54160">
                  <c:v>0</c:v>
                </c:pt>
                <c:pt idx="54161">
                  <c:v>0</c:v>
                </c:pt>
                <c:pt idx="54162">
                  <c:v>0</c:v>
                </c:pt>
                <c:pt idx="54163">
                  <c:v>0</c:v>
                </c:pt>
                <c:pt idx="54164">
                  <c:v>0</c:v>
                </c:pt>
                <c:pt idx="54165">
                  <c:v>0</c:v>
                </c:pt>
                <c:pt idx="54166">
                  <c:v>0</c:v>
                </c:pt>
                <c:pt idx="54167">
                  <c:v>0</c:v>
                </c:pt>
                <c:pt idx="54168">
                  <c:v>0</c:v>
                </c:pt>
                <c:pt idx="54169">
                  <c:v>0</c:v>
                </c:pt>
                <c:pt idx="54170">
                  <c:v>0</c:v>
                </c:pt>
                <c:pt idx="54171">
                  <c:v>0</c:v>
                </c:pt>
                <c:pt idx="54172">
                  <c:v>0</c:v>
                </c:pt>
                <c:pt idx="54173">
                  <c:v>0</c:v>
                </c:pt>
                <c:pt idx="54174">
                  <c:v>0</c:v>
                </c:pt>
                <c:pt idx="54175">
                  <c:v>0</c:v>
                </c:pt>
                <c:pt idx="54176">
                  <c:v>0</c:v>
                </c:pt>
                <c:pt idx="54177">
                  <c:v>0</c:v>
                </c:pt>
                <c:pt idx="54178">
                  <c:v>0</c:v>
                </c:pt>
                <c:pt idx="54179">
                  <c:v>0</c:v>
                </c:pt>
                <c:pt idx="54180">
                  <c:v>0</c:v>
                </c:pt>
                <c:pt idx="54181">
                  <c:v>0</c:v>
                </c:pt>
                <c:pt idx="54182">
                  <c:v>0</c:v>
                </c:pt>
                <c:pt idx="54183">
                  <c:v>0</c:v>
                </c:pt>
                <c:pt idx="54184">
                  <c:v>0</c:v>
                </c:pt>
                <c:pt idx="54185">
                  <c:v>0</c:v>
                </c:pt>
                <c:pt idx="54186">
                  <c:v>0</c:v>
                </c:pt>
                <c:pt idx="54187">
                  <c:v>0</c:v>
                </c:pt>
                <c:pt idx="54188">
                  <c:v>0</c:v>
                </c:pt>
                <c:pt idx="54189">
                  <c:v>0</c:v>
                </c:pt>
                <c:pt idx="54190">
                  <c:v>0</c:v>
                </c:pt>
                <c:pt idx="54191">
                  <c:v>0</c:v>
                </c:pt>
                <c:pt idx="54192">
                  <c:v>0</c:v>
                </c:pt>
                <c:pt idx="54193">
                  <c:v>0</c:v>
                </c:pt>
                <c:pt idx="54194">
                  <c:v>0</c:v>
                </c:pt>
                <c:pt idx="54195">
                  <c:v>0</c:v>
                </c:pt>
                <c:pt idx="54196">
                  <c:v>0</c:v>
                </c:pt>
                <c:pt idx="54197">
                  <c:v>0</c:v>
                </c:pt>
                <c:pt idx="54198">
                  <c:v>0</c:v>
                </c:pt>
                <c:pt idx="54199">
                  <c:v>0</c:v>
                </c:pt>
                <c:pt idx="54200">
                  <c:v>0</c:v>
                </c:pt>
                <c:pt idx="54201">
                  <c:v>0</c:v>
                </c:pt>
                <c:pt idx="54202">
                  <c:v>0</c:v>
                </c:pt>
                <c:pt idx="54203">
                  <c:v>0</c:v>
                </c:pt>
                <c:pt idx="54204">
                  <c:v>0</c:v>
                </c:pt>
                <c:pt idx="54205">
                  <c:v>0</c:v>
                </c:pt>
                <c:pt idx="54206">
                  <c:v>0</c:v>
                </c:pt>
                <c:pt idx="54207">
                  <c:v>0</c:v>
                </c:pt>
                <c:pt idx="54208">
                  <c:v>0</c:v>
                </c:pt>
                <c:pt idx="54209">
                  <c:v>0</c:v>
                </c:pt>
                <c:pt idx="54210">
                  <c:v>0</c:v>
                </c:pt>
                <c:pt idx="54211">
                  <c:v>0</c:v>
                </c:pt>
                <c:pt idx="54212">
                  <c:v>0</c:v>
                </c:pt>
                <c:pt idx="54213">
                  <c:v>0</c:v>
                </c:pt>
                <c:pt idx="54214">
                  <c:v>0</c:v>
                </c:pt>
                <c:pt idx="54215">
                  <c:v>0</c:v>
                </c:pt>
                <c:pt idx="54216">
                  <c:v>0</c:v>
                </c:pt>
                <c:pt idx="54217">
                  <c:v>0</c:v>
                </c:pt>
                <c:pt idx="54218">
                  <c:v>0</c:v>
                </c:pt>
                <c:pt idx="54219">
                  <c:v>0</c:v>
                </c:pt>
                <c:pt idx="54220">
                  <c:v>0</c:v>
                </c:pt>
                <c:pt idx="54221">
                  <c:v>0</c:v>
                </c:pt>
                <c:pt idx="54222">
                  <c:v>0</c:v>
                </c:pt>
                <c:pt idx="54223">
                  <c:v>0</c:v>
                </c:pt>
                <c:pt idx="54224">
                  <c:v>0</c:v>
                </c:pt>
                <c:pt idx="54225">
                  <c:v>0</c:v>
                </c:pt>
                <c:pt idx="54226">
                  <c:v>0</c:v>
                </c:pt>
                <c:pt idx="54227">
                  <c:v>0</c:v>
                </c:pt>
                <c:pt idx="54228">
                  <c:v>0</c:v>
                </c:pt>
                <c:pt idx="54229">
                  <c:v>0</c:v>
                </c:pt>
                <c:pt idx="54230">
                  <c:v>0</c:v>
                </c:pt>
                <c:pt idx="54231">
                  <c:v>0</c:v>
                </c:pt>
                <c:pt idx="54232">
                  <c:v>0</c:v>
                </c:pt>
                <c:pt idx="54233">
                  <c:v>0</c:v>
                </c:pt>
                <c:pt idx="54234">
                  <c:v>0</c:v>
                </c:pt>
                <c:pt idx="54235">
                  <c:v>0</c:v>
                </c:pt>
                <c:pt idx="54236">
                  <c:v>0</c:v>
                </c:pt>
                <c:pt idx="54237">
                  <c:v>0</c:v>
                </c:pt>
                <c:pt idx="54238">
                  <c:v>0</c:v>
                </c:pt>
                <c:pt idx="54239">
                  <c:v>0</c:v>
                </c:pt>
                <c:pt idx="54240">
                  <c:v>0</c:v>
                </c:pt>
                <c:pt idx="54241">
                  <c:v>0</c:v>
                </c:pt>
                <c:pt idx="54242">
                  <c:v>0</c:v>
                </c:pt>
                <c:pt idx="54243">
                  <c:v>0</c:v>
                </c:pt>
                <c:pt idx="54244">
                  <c:v>0</c:v>
                </c:pt>
                <c:pt idx="54245">
                  <c:v>0</c:v>
                </c:pt>
                <c:pt idx="54246">
                  <c:v>0</c:v>
                </c:pt>
                <c:pt idx="54247">
                  <c:v>0</c:v>
                </c:pt>
                <c:pt idx="54248">
                  <c:v>0</c:v>
                </c:pt>
                <c:pt idx="54249">
                  <c:v>0</c:v>
                </c:pt>
                <c:pt idx="54250">
                  <c:v>0</c:v>
                </c:pt>
                <c:pt idx="54251">
                  <c:v>0</c:v>
                </c:pt>
                <c:pt idx="54252">
                  <c:v>0</c:v>
                </c:pt>
                <c:pt idx="54253">
                  <c:v>0</c:v>
                </c:pt>
                <c:pt idx="54254">
                  <c:v>0</c:v>
                </c:pt>
                <c:pt idx="54255">
                  <c:v>0</c:v>
                </c:pt>
                <c:pt idx="54256">
                  <c:v>0</c:v>
                </c:pt>
                <c:pt idx="54257">
                  <c:v>0</c:v>
                </c:pt>
                <c:pt idx="54258">
                  <c:v>0</c:v>
                </c:pt>
                <c:pt idx="54259">
                  <c:v>0</c:v>
                </c:pt>
                <c:pt idx="54260">
                  <c:v>0</c:v>
                </c:pt>
                <c:pt idx="54261">
                  <c:v>0</c:v>
                </c:pt>
                <c:pt idx="54262">
                  <c:v>0</c:v>
                </c:pt>
                <c:pt idx="54263">
                  <c:v>0</c:v>
                </c:pt>
                <c:pt idx="54264">
                  <c:v>0</c:v>
                </c:pt>
                <c:pt idx="54265">
                  <c:v>0</c:v>
                </c:pt>
                <c:pt idx="54266">
                  <c:v>0</c:v>
                </c:pt>
                <c:pt idx="54267">
                  <c:v>0</c:v>
                </c:pt>
                <c:pt idx="54268">
                  <c:v>0</c:v>
                </c:pt>
                <c:pt idx="54269">
                  <c:v>0</c:v>
                </c:pt>
                <c:pt idx="54270">
                  <c:v>0</c:v>
                </c:pt>
                <c:pt idx="54271">
                  <c:v>0</c:v>
                </c:pt>
                <c:pt idx="54272">
                  <c:v>0</c:v>
                </c:pt>
                <c:pt idx="54273">
                  <c:v>0</c:v>
                </c:pt>
                <c:pt idx="54274">
                  <c:v>0</c:v>
                </c:pt>
                <c:pt idx="54275">
                  <c:v>0</c:v>
                </c:pt>
                <c:pt idx="54276">
                  <c:v>0</c:v>
                </c:pt>
                <c:pt idx="54277">
                  <c:v>0</c:v>
                </c:pt>
                <c:pt idx="54278">
                  <c:v>0</c:v>
                </c:pt>
                <c:pt idx="54279">
                  <c:v>0</c:v>
                </c:pt>
                <c:pt idx="54280">
                  <c:v>0</c:v>
                </c:pt>
                <c:pt idx="54281">
                  <c:v>0</c:v>
                </c:pt>
                <c:pt idx="54282">
                  <c:v>0</c:v>
                </c:pt>
                <c:pt idx="54283">
                  <c:v>0</c:v>
                </c:pt>
                <c:pt idx="54284">
                  <c:v>0</c:v>
                </c:pt>
                <c:pt idx="54285">
                  <c:v>0</c:v>
                </c:pt>
                <c:pt idx="54286">
                  <c:v>0</c:v>
                </c:pt>
                <c:pt idx="54287">
                  <c:v>0</c:v>
                </c:pt>
                <c:pt idx="54288">
                  <c:v>0</c:v>
                </c:pt>
                <c:pt idx="54289">
                  <c:v>0</c:v>
                </c:pt>
                <c:pt idx="54290">
                  <c:v>0</c:v>
                </c:pt>
                <c:pt idx="54291">
                  <c:v>0</c:v>
                </c:pt>
                <c:pt idx="54292">
                  <c:v>0</c:v>
                </c:pt>
                <c:pt idx="54293">
                  <c:v>0</c:v>
                </c:pt>
                <c:pt idx="54294">
                  <c:v>0</c:v>
                </c:pt>
                <c:pt idx="54295">
                  <c:v>0</c:v>
                </c:pt>
                <c:pt idx="54296">
                  <c:v>0</c:v>
                </c:pt>
                <c:pt idx="54297">
                  <c:v>0</c:v>
                </c:pt>
                <c:pt idx="54298">
                  <c:v>0</c:v>
                </c:pt>
                <c:pt idx="54299">
                  <c:v>0</c:v>
                </c:pt>
                <c:pt idx="54300">
                  <c:v>0</c:v>
                </c:pt>
                <c:pt idx="54301">
                  <c:v>0</c:v>
                </c:pt>
                <c:pt idx="54302">
                  <c:v>0</c:v>
                </c:pt>
                <c:pt idx="54303">
                  <c:v>0</c:v>
                </c:pt>
                <c:pt idx="54304">
                  <c:v>0</c:v>
                </c:pt>
                <c:pt idx="54305">
                  <c:v>0</c:v>
                </c:pt>
                <c:pt idx="54306">
                  <c:v>0</c:v>
                </c:pt>
                <c:pt idx="54307">
                  <c:v>0</c:v>
                </c:pt>
                <c:pt idx="54308">
                  <c:v>0</c:v>
                </c:pt>
                <c:pt idx="54309">
                  <c:v>0</c:v>
                </c:pt>
                <c:pt idx="54310">
                  <c:v>0</c:v>
                </c:pt>
                <c:pt idx="54311">
                  <c:v>0</c:v>
                </c:pt>
                <c:pt idx="54312">
                  <c:v>0</c:v>
                </c:pt>
                <c:pt idx="54313">
                  <c:v>0</c:v>
                </c:pt>
                <c:pt idx="54314">
                  <c:v>0</c:v>
                </c:pt>
                <c:pt idx="54315">
                  <c:v>0</c:v>
                </c:pt>
                <c:pt idx="54316">
                  <c:v>0</c:v>
                </c:pt>
                <c:pt idx="54317">
                  <c:v>0</c:v>
                </c:pt>
                <c:pt idx="54318">
                  <c:v>0</c:v>
                </c:pt>
                <c:pt idx="54319">
                  <c:v>0</c:v>
                </c:pt>
                <c:pt idx="54320">
                  <c:v>0</c:v>
                </c:pt>
                <c:pt idx="54321">
                  <c:v>0</c:v>
                </c:pt>
                <c:pt idx="54322">
                  <c:v>0</c:v>
                </c:pt>
                <c:pt idx="54323">
                  <c:v>0</c:v>
                </c:pt>
                <c:pt idx="54324">
                  <c:v>0</c:v>
                </c:pt>
                <c:pt idx="54325">
                  <c:v>0</c:v>
                </c:pt>
                <c:pt idx="54326">
                  <c:v>0</c:v>
                </c:pt>
                <c:pt idx="54327">
                  <c:v>0</c:v>
                </c:pt>
                <c:pt idx="54328">
                  <c:v>0</c:v>
                </c:pt>
                <c:pt idx="54329">
                  <c:v>0</c:v>
                </c:pt>
                <c:pt idx="54330">
                  <c:v>0</c:v>
                </c:pt>
                <c:pt idx="54331">
                  <c:v>0</c:v>
                </c:pt>
                <c:pt idx="54332">
                  <c:v>0</c:v>
                </c:pt>
                <c:pt idx="54333">
                  <c:v>0</c:v>
                </c:pt>
                <c:pt idx="54334">
                  <c:v>0</c:v>
                </c:pt>
                <c:pt idx="54335">
                  <c:v>0</c:v>
                </c:pt>
                <c:pt idx="54336">
                  <c:v>0</c:v>
                </c:pt>
                <c:pt idx="54337">
                  <c:v>0</c:v>
                </c:pt>
                <c:pt idx="54338">
                  <c:v>0</c:v>
                </c:pt>
                <c:pt idx="54339">
                  <c:v>0</c:v>
                </c:pt>
                <c:pt idx="54340">
                  <c:v>0</c:v>
                </c:pt>
                <c:pt idx="54341">
                  <c:v>0</c:v>
                </c:pt>
                <c:pt idx="54342">
                  <c:v>0</c:v>
                </c:pt>
                <c:pt idx="54343">
                  <c:v>0</c:v>
                </c:pt>
                <c:pt idx="54344">
                  <c:v>0</c:v>
                </c:pt>
                <c:pt idx="54345">
                  <c:v>0</c:v>
                </c:pt>
                <c:pt idx="54346">
                  <c:v>0</c:v>
                </c:pt>
                <c:pt idx="54347">
                  <c:v>0</c:v>
                </c:pt>
                <c:pt idx="54348">
                  <c:v>0</c:v>
                </c:pt>
                <c:pt idx="54349">
                  <c:v>0</c:v>
                </c:pt>
                <c:pt idx="54350">
                  <c:v>0</c:v>
                </c:pt>
                <c:pt idx="54351">
                  <c:v>0</c:v>
                </c:pt>
                <c:pt idx="54352">
                  <c:v>0</c:v>
                </c:pt>
                <c:pt idx="54353">
                  <c:v>0</c:v>
                </c:pt>
                <c:pt idx="54354">
                  <c:v>0</c:v>
                </c:pt>
                <c:pt idx="54355">
                  <c:v>0</c:v>
                </c:pt>
                <c:pt idx="54356">
                  <c:v>0</c:v>
                </c:pt>
                <c:pt idx="54357">
                  <c:v>0</c:v>
                </c:pt>
                <c:pt idx="54358">
                  <c:v>0</c:v>
                </c:pt>
                <c:pt idx="54359">
                  <c:v>0</c:v>
                </c:pt>
                <c:pt idx="54360">
                  <c:v>0</c:v>
                </c:pt>
                <c:pt idx="54361">
                  <c:v>0</c:v>
                </c:pt>
                <c:pt idx="54362">
                  <c:v>0</c:v>
                </c:pt>
                <c:pt idx="54363">
                  <c:v>0</c:v>
                </c:pt>
                <c:pt idx="54364">
                  <c:v>0</c:v>
                </c:pt>
                <c:pt idx="54365">
                  <c:v>0</c:v>
                </c:pt>
                <c:pt idx="54366">
                  <c:v>0</c:v>
                </c:pt>
                <c:pt idx="54367">
                  <c:v>0</c:v>
                </c:pt>
                <c:pt idx="54368">
                  <c:v>0</c:v>
                </c:pt>
                <c:pt idx="54369">
                  <c:v>0</c:v>
                </c:pt>
                <c:pt idx="54370">
                  <c:v>0</c:v>
                </c:pt>
                <c:pt idx="54371">
                  <c:v>0</c:v>
                </c:pt>
                <c:pt idx="54372">
                  <c:v>0</c:v>
                </c:pt>
                <c:pt idx="54373">
                  <c:v>0</c:v>
                </c:pt>
                <c:pt idx="54374">
                  <c:v>0</c:v>
                </c:pt>
                <c:pt idx="54375">
                  <c:v>0</c:v>
                </c:pt>
                <c:pt idx="54376">
                  <c:v>0</c:v>
                </c:pt>
                <c:pt idx="54377">
                  <c:v>0</c:v>
                </c:pt>
                <c:pt idx="54378">
                  <c:v>0</c:v>
                </c:pt>
                <c:pt idx="54379">
                  <c:v>0</c:v>
                </c:pt>
                <c:pt idx="54380">
                  <c:v>0</c:v>
                </c:pt>
                <c:pt idx="54381">
                  <c:v>0</c:v>
                </c:pt>
                <c:pt idx="54382">
                  <c:v>0</c:v>
                </c:pt>
                <c:pt idx="54383">
                  <c:v>0</c:v>
                </c:pt>
                <c:pt idx="54384">
                  <c:v>0</c:v>
                </c:pt>
                <c:pt idx="54385">
                  <c:v>0</c:v>
                </c:pt>
                <c:pt idx="54386">
                  <c:v>0</c:v>
                </c:pt>
                <c:pt idx="54387">
                  <c:v>0</c:v>
                </c:pt>
                <c:pt idx="54388">
                  <c:v>0</c:v>
                </c:pt>
                <c:pt idx="54389">
                  <c:v>0</c:v>
                </c:pt>
                <c:pt idx="54390">
                  <c:v>0</c:v>
                </c:pt>
                <c:pt idx="54391">
                  <c:v>0</c:v>
                </c:pt>
                <c:pt idx="54392">
                  <c:v>0</c:v>
                </c:pt>
                <c:pt idx="54393">
                  <c:v>0</c:v>
                </c:pt>
                <c:pt idx="54394">
                  <c:v>0</c:v>
                </c:pt>
                <c:pt idx="54395">
                  <c:v>0</c:v>
                </c:pt>
                <c:pt idx="54396">
                  <c:v>0</c:v>
                </c:pt>
                <c:pt idx="54397">
                  <c:v>0</c:v>
                </c:pt>
                <c:pt idx="54398">
                  <c:v>0</c:v>
                </c:pt>
                <c:pt idx="54399">
                  <c:v>0</c:v>
                </c:pt>
                <c:pt idx="54400">
                  <c:v>0</c:v>
                </c:pt>
                <c:pt idx="54401">
                  <c:v>0</c:v>
                </c:pt>
                <c:pt idx="54402">
                  <c:v>0</c:v>
                </c:pt>
                <c:pt idx="54403">
                  <c:v>0</c:v>
                </c:pt>
                <c:pt idx="54404">
                  <c:v>0</c:v>
                </c:pt>
                <c:pt idx="54405">
                  <c:v>0</c:v>
                </c:pt>
                <c:pt idx="54406">
                  <c:v>0</c:v>
                </c:pt>
                <c:pt idx="54407">
                  <c:v>0</c:v>
                </c:pt>
                <c:pt idx="54408">
                  <c:v>0</c:v>
                </c:pt>
                <c:pt idx="54409">
                  <c:v>0</c:v>
                </c:pt>
                <c:pt idx="54410">
                  <c:v>0</c:v>
                </c:pt>
                <c:pt idx="54411">
                  <c:v>0</c:v>
                </c:pt>
                <c:pt idx="54412">
                  <c:v>0</c:v>
                </c:pt>
                <c:pt idx="54413">
                  <c:v>0</c:v>
                </c:pt>
                <c:pt idx="54414">
                  <c:v>0</c:v>
                </c:pt>
                <c:pt idx="54415">
                  <c:v>0</c:v>
                </c:pt>
                <c:pt idx="54416">
                  <c:v>0</c:v>
                </c:pt>
                <c:pt idx="54417">
                  <c:v>0</c:v>
                </c:pt>
                <c:pt idx="54418">
                  <c:v>0</c:v>
                </c:pt>
                <c:pt idx="54419">
                  <c:v>0</c:v>
                </c:pt>
                <c:pt idx="54420">
                  <c:v>0</c:v>
                </c:pt>
                <c:pt idx="54421">
                  <c:v>0</c:v>
                </c:pt>
                <c:pt idx="54422">
                  <c:v>0</c:v>
                </c:pt>
                <c:pt idx="54423">
                  <c:v>0</c:v>
                </c:pt>
                <c:pt idx="54424">
                  <c:v>0</c:v>
                </c:pt>
                <c:pt idx="54425">
                  <c:v>0</c:v>
                </c:pt>
                <c:pt idx="54426">
                  <c:v>0</c:v>
                </c:pt>
                <c:pt idx="54427">
                  <c:v>0</c:v>
                </c:pt>
                <c:pt idx="54428">
                  <c:v>0</c:v>
                </c:pt>
                <c:pt idx="54429">
                  <c:v>0</c:v>
                </c:pt>
                <c:pt idx="54430">
                  <c:v>0</c:v>
                </c:pt>
                <c:pt idx="54431">
                  <c:v>0</c:v>
                </c:pt>
                <c:pt idx="54432">
                  <c:v>0</c:v>
                </c:pt>
                <c:pt idx="54433">
                  <c:v>0</c:v>
                </c:pt>
                <c:pt idx="54434">
                  <c:v>0</c:v>
                </c:pt>
                <c:pt idx="54435">
                  <c:v>0</c:v>
                </c:pt>
                <c:pt idx="54436">
                  <c:v>0</c:v>
                </c:pt>
                <c:pt idx="54437">
                  <c:v>0</c:v>
                </c:pt>
                <c:pt idx="54438">
                  <c:v>0</c:v>
                </c:pt>
                <c:pt idx="54439">
                  <c:v>0</c:v>
                </c:pt>
                <c:pt idx="54440">
                  <c:v>0</c:v>
                </c:pt>
                <c:pt idx="54441">
                  <c:v>0</c:v>
                </c:pt>
                <c:pt idx="54442">
                  <c:v>0</c:v>
                </c:pt>
                <c:pt idx="54443">
                  <c:v>0</c:v>
                </c:pt>
                <c:pt idx="54444">
                  <c:v>0</c:v>
                </c:pt>
                <c:pt idx="54445">
                  <c:v>0</c:v>
                </c:pt>
                <c:pt idx="54446">
                  <c:v>0</c:v>
                </c:pt>
                <c:pt idx="54447">
                  <c:v>0</c:v>
                </c:pt>
                <c:pt idx="54448">
                  <c:v>0</c:v>
                </c:pt>
                <c:pt idx="54449">
                  <c:v>0</c:v>
                </c:pt>
                <c:pt idx="54450">
                  <c:v>0</c:v>
                </c:pt>
                <c:pt idx="54451">
                  <c:v>0</c:v>
                </c:pt>
                <c:pt idx="54452">
                  <c:v>0</c:v>
                </c:pt>
                <c:pt idx="54453">
                  <c:v>0</c:v>
                </c:pt>
                <c:pt idx="54454">
                  <c:v>0</c:v>
                </c:pt>
                <c:pt idx="54455">
                  <c:v>0</c:v>
                </c:pt>
                <c:pt idx="54456">
                  <c:v>0</c:v>
                </c:pt>
                <c:pt idx="54457">
                  <c:v>0</c:v>
                </c:pt>
                <c:pt idx="54458">
                  <c:v>0</c:v>
                </c:pt>
                <c:pt idx="54459">
                  <c:v>0</c:v>
                </c:pt>
                <c:pt idx="54460">
                  <c:v>0</c:v>
                </c:pt>
                <c:pt idx="54461">
                  <c:v>0</c:v>
                </c:pt>
                <c:pt idx="54462">
                  <c:v>0</c:v>
                </c:pt>
                <c:pt idx="54463">
                  <c:v>0</c:v>
                </c:pt>
                <c:pt idx="54464">
                  <c:v>0</c:v>
                </c:pt>
                <c:pt idx="54465">
                  <c:v>0</c:v>
                </c:pt>
                <c:pt idx="54466">
                  <c:v>0</c:v>
                </c:pt>
                <c:pt idx="54467">
                  <c:v>0</c:v>
                </c:pt>
                <c:pt idx="54468">
                  <c:v>0</c:v>
                </c:pt>
                <c:pt idx="54469">
                  <c:v>0</c:v>
                </c:pt>
                <c:pt idx="54470">
                  <c:v>0</c:v>
                </c:pt>
                <c:pt idx="54471">
                  <c:v>0</c:v>
                </c:pt>
                <c:pt idx="54472">
                  <c:v>0</c:v>
                </c:pt>
                <c:pt idx="54473">
                  <c:v>0</c:v>
                </c:pt>
                <c:pt idx="54474">
                  <c:v>0</c:v>
                </c:pt>
                <c:pt idx="54475">
                  <c:v>0</c:v>
                </c:pt>
                <c:pt idx="54476">
                  <c:v>0</c:v>
                </c:pt>
                <c:pt idx="54477">
                  <c:v>0</c:v>
                </c:pt>
                <c:pt idx="54478">
                  <c:v>0</c:v>
                </c:pt>
                <c:pt idx="54479">
                  <c:v>0</c:v>
                </c:pt>
                <c:pt idx="54480">
                  <c:v>0</c:v>
                </c:pt>
                <c:pt idx="54481">
                  <c:v>0</c:v>
                </c:pt>
                <c:pt idx="54482">
                  <c:v>0</c:v>
                </c:pt>
                <c:pt idx="54483">
                  <c:v>0</c:v>
                </c:pt>
                <c:pt idx="54484">
                  <c:v>0</c:v>
                </c:pt>
                <c:pt idx="54485">
                  <c:v>0</c:v>
                </c:pt>
                <c:pt idx="54486">
                  <c:v>0</c:v>
                </c:pt>
                <c:pt idx="54487">
                  <c:v>0</c:v>
                </c:pt>
                <c:pt idx="54488">
                  <c:v>0</c:v>
                </c:pt>
                <c:pt idx="54489">
                  <c:v>0</c:v>
                </c:pt>
                <c:pt idx="54490">
                  <c:v>0</c:v>
                </c:pt>
                <c:pt idx="54491">
                  <c:v>0</c:v>
                </c:pt>
                <c:pt idx="54492">
                  <c:v>0</c:v>
                </c:pt>
                <c:pt idx="54493">
                  <c:v>0</c:v>
                </c:pt>
                <c:pt idx="54494">
                  <c:v>0</c:v>
                </c:pt>
                <c:pt idx="54495">
                  <c:v>0</c:v>
                </c:pt>
                <c:pt idx="54496">
                  <c:v>0</c:v>
                </c:pt>
                <c:pt idx="54497">
                  <c:v>0</c:v>
                </c:pt>
                <c:pt idx="54498">
                  <c:v>0</c:v>
                </c:pt>
                <c:pt idx="54499">
                  <c:v>0</c:v>
                </c:pt>
                <c:pt idx="54500">
                  <c:v>0</c:v>
                </c:pt>
                <c:pt idx="54501">
                  <c:v>0</c:v>
                </c:pt>
                <c:pt idx="54502">
                  <c:v>0</c:v>
                </c:pt>
                <c:pt idx="54503">
                  <c:v>0</c:v>
                </c:pt>
                <c:pt idx="54504">
                  <c:v>0</c:v>
                </c:pt>
                <c:pt idx="54505">
                  <c:v>0</c:v>
                </c:pt>
                <c:pt idx="54506">
                  <c:v>0</c:v>
                </c:pt>
                <c:pt idx="54507">
                  <c:v>0</c:v>
                </c:pt>
                <c:pt idx="54508">
                  <c:v>0</c:v>
                </c:pt>
                <c:pt idx="54509">
                  <c:v>0</c:v>
                </c:pt>
                <c:pt idx="54510">
                  <c:v>0</c:v>
                </c:pt>
                <c:pt idx="54511">
                  <c:v>0</c:v>
                </c:pt>
                <c:pt idx="54512">
                  <c:v>0</c:v>
                </c:pt>
                <c:pt idx="54513">
                  <c:v>0</c:v>
                </c:pt>
                <c:pt idx="54514">
                  <c:v>0</c:v>
                </c:pt>
                <c:pt idx="54515">
                  <c:v>0</c:v>
                </c:pt>
                <c:pt idx="54516">
                  <c:v>0</c:v>
                </c:pt>
                <c:pt idx="54517">
                  <c:v>0</c:v>
                </c:pt>
                <c:pt idx="54518">
                  <c:v>0</c:v>
                </c:pt>
                <c:pt idx="54519">
                  <c:v>0</c:v>
                </c:pt>
                <c:pt idx="54520">
                  <c:v>0</c:v>
                </c:pt>
                <c:pt idx="54521">
                  <c:v>0</c:v>
                </c:pt>
                <c:pt idx="54522">
                  <c:v>0</c:v>
                </c:pt>
                <c:pt idx="54523">
                  <c:v>0</c:v>
                </c:pt>
                <c:pt idx="54524">
                  <c:v>0</c:v>
                </c:pt>
                <c:pt idx="54525">
                  <c:v>0</c:v>
                </c:pt>
                <c:pt idx="54526">
                  <c:v>0</c:v>
                </c:pt>
                <c:pt idx="54527">
                  <c:v>0</c:v>
                </c:pt>
                <c:pt idx="54528">
                  <c:v>0</c:v>
                </c:pt>
                <c:pt idx="54529">
                  <c:v>0</c:v>
                </c:pt>
                <c:pt idx="54530">
                  <c:v>0</c:v>
                </c:pt>
                <c:pt idx="54531">
                  <c:v>0</c:v>
                </c:pt>
                <c:pt idx="54532">
                  <c:v>0</c:v>
                </c:pt>
                <c:pt idx="54533">
                  <c:v>0</c:v>
                </c:pt>
                <c:pt idx="54534">
                  <c:v>0</c:v>
                </c:pt>
                <c:pt idx="54535">
                  <c:v>0</c:v>
                </c:pt>
                <c:pt idx="54536">
                  <c:v>0</c:v>
                </c:pt>
                <c:pt idx="54537">
                  <c:v>0</c:v>
                </c:pt>
                <c:pt idx="54538">
                  <c:v>0</c:v>
                </c:pt>
                <c:pt idx="54539">
                  <c:v>0</c:v>
                </c:pt>
                <c:pt idx="54540">
                  <c:v>0</c:v>
                </c:pt>
                <c:pt idx="54541">
                  <c:v>0</c:v>
                </c:pt>
                <c:pt idx="54542">
                  <c:v>0</c:v>
                </c:pt>
                <c:pt idx="54543">
                  <c:v>0</c:v>
                </c:pt>
                <c:pt idx="54544">
                  <c:v>0</c:v>
                </c:pt>
                <c:pt idx="54545">
                  <c:v>0</c:v>
                </c:pt>
                <c:pt idx="54546">
                  <c:v>0</c:v>
                </c:pt>
                <c:pt idx="54547">
                  <c:v>0</c:v>
                </c:pt>
                <c:pt idx="54548">
                  <c:v>0</c:v>
                </c:pt>
                <c:pt idx="54549">
                  <c:v>0</c:v>
                </c:pt>
                <c:pt idx="54550">
                  <c:v>0</c:v>
                </c:pt>
                <c:pt idx="54551">
                  <c:v>0</c:v>
                </c:pt>
                <c:pt idx="54552">
                  <c:v>0</c:v>
                </c:pt>
                <c:pt idx="54553">
                  <c:v>0</c:v>
                </c:pt>
                <c:pt idx="54554">
                  <c:v>0</c:v>
                </c:pt>
                <c:pt idx="54555">
                  <c:v>0</c:v>
                </c:pt>
                <c:pt idx="54556">
                  <c:v>0</c:v>
                </c:pt>
                <c:pt idx="54557">
                  <c:v>0</c:v>
                </c:pt>
                <c:pt idx="54558">
                  <c:v>0</c:v>
                </c:pt>
                <c:pt idx="54559">
                  <c:v>0</c:v>
                </c:pt>
                <c:pt idx="54560">
                  <c:v>0</c:v>
                </c:pt>
                <c:pt idx="54561">
                  <c:v>0</c:v>
                </c:pt>
                <c:pt idx="54562">
                  <c:v>0</c:v>
                </c:pt>
                <c:pt idx="54563">
                  <c:v>0</c:v>
                </c:pt>
                <c:pt idx="54564">
                  <c:v>0</c:v>
                </c:pt>
                <c:pt idx="54565">
                  <c:v>0</c:v>
                </c:pt>
                <c:pt idx="54566">
                  <c:v>0</c:v>
                </c:pt>
                <c:pt idx="54567">
                  <c:v>0</c:v>
                </c:pt>
                <c:pt idx="54568">
                  <c:v>0</c:v>
                </c:pt>
                <c:pt idx="54569">
                  <c:v>0</c:v>
                </c:pt>
                <c:pt idx="54570">
                  <c:v>0</c:v>
                </c:pt>
                <c:pt idx="54571">
                  <c:v>0</c:v>
                </c:pt>
                <c:pt idx="54572">
                  <c:v>0</c:v>
                </c:pt>
                <c:pt idx="54573">
                  <c:v>0</c:v>
                </c:pt>
                <c:pt idx="54574">
                  <c:v>0</c:v>
                </c:pt>
                <c:pt idx="54575">
                  <c:v>0</c:v>
                </c:pt>
                <c:pt idx="54576">
                  <c:v>0</c:v>
                </c:pt>
                <c:pt idx="54577">
                  <c:v>0</c:v>
                </c:pt>
                <c:pt idx="54578">
                  <c:v>0</c:v>
                </c:pt>
                <c:pt idx="54579">
                  <c:v>0</c:v>
                </c:pt>
                <c:pt idx="54580">
                  <c:v>0</c:v>
                </c:pt>
                <c:pt idx="54581">
                  <c:v>0</c:v>
                </c:pt>
                <c:pt idx="54582">
                  <c:v>0</c:v>
                </c:pt>
                <c:pt idx="54583">
                  <c:v>0</c:v>
                </c:pt>
                <c:pt idx="54584">
                  <c:v>0</c:v>
                </c:pt>
                <c:pt idx="54585">
                  <c:v>0</c:v>
                </c:pt>
                <c:pt idx="54586">
                  <c:v>0</c:v>
                </c:pt>
                <c:pt idx="54587">
                  <c:v>0</c:v>
                </c:pt>
                <c:pt idx="54588">
                  <c:v>0</c:v>
                </c:pt>
                <c:pt idx="54589">
                  <c:v>0</c:v>
                </c:pt>
                <c:pt idx="54590">
                  <c:v>0</c:v>
                </c:pt>
                <c:pt idx="54591">
                  <c:v>0</c:v>
                </c:pt>
                <c:pt idx="54592">
                  <c:v>0</c:v>
                </c:pt>
                <c:pt idx="54593">
                  <c:v>0</c:v>
                </c:pt>
                <c:pt idx="54594">
                  <c:v>0</c:v>
                </c:pt>
                <c:pt idx="54595">
                  <c:v>0</c:v>
                </c:pt>
                <c:pt idx="54596">
                  <c:v>0</c:v>
                </c:pt>
                <c:pt idx="54597">
                  <c:v>0</c:v>
                </c:pt>
                <c:pt idx="54598">
                  <c:v>0</c:v>
                </c:pt>
                <c:pt idx="54599">
                  <c:v>0</c:v>
                </c:pt>
                <c:pt idx="54600">
                  <c:v>0</c:v>
                </c:pt>
                <c:pt idx="54601">
                  <c:v>0</c:v>
                </c:pt>
                <c:pt idx="54602">
                  <c:v>0</c:v>
                </c:pt>
                <c:pt idx="54603">
                  <c:v>0</c:v>
                </c:pt>
                <c:pt idx="54604">
                  <c:v>0</c:v>
                </c:pt>
                <c:pt idx="54605">
                  <c:v>0</c:v>
                </c:pt>
                <c:pt idx="54606">
                  <c:v>0</c:v>
                </c:pt>
                <c:pt idx="54607">
                  <c:v>0</c:v>
                </c:pt>
                <c:pt idx="54608">
                  <c:v>0</c:v>
                </c:pt>
                <c:pt idx="54609">
                  <c:v>0</c:v>
                </c:pt>
                <c:pt idx="54610">
                  <c:v>0</c:v>
                </c:pt>
                <c:pt idx="54611">
                  <c:v>0</c:v>
                </c:pt>
                <c:pt idx="54612">
                  <c:v>0</c:v>
                </c:pt>
                <c:pt idx="54613">
                  <c:v>0</c:v>
                </c:pt>
                <c:pt idx="54614">
                  <c:v>0</c:v>
                </c:pt>
                <c:pt idx="54615">
                  <c:v>0</c:v>
                </c:pt>
                <c:pt idx="54616">
                  <c:v>0</c:v>
                </c:pt>
                <c:pt idx="54617">
                  <c:v>0</c:v>
                </c:pt>
                <c:pt idx="54618">
                  <c:v>0</c:v>
                </c:pt>
                <c:pt idx="54619">
                  <c:v>0</c:v>
                </c:pt>
                <c:pt idx="54620">
                  <c:v>0</c:v>
                </c:pt>
                <c:pt idx="54621">
                  <c:v>0</c:v>
                </c:pt>
                <c:pt idx="54622">
                  <c:v>0</c:v>
                </c:pt>
                <c:pt idx="54623">
                  <c:v>0</c:v>
                </c:pt>
                <c:pt idx="54624">
                  <c:v>0</c:v>
                </c:pt>
                <c:pt idx="54625">
                  <c:v>0</c:v>
                </c:pt>
                <c:pt idx="54626">
                  <c:v>0</c:v>
                </c:pt>
                <c:pt idx="54627">
                  <c:v>0</c:v>
                </c:pt>
                <c:pt idx="54628">
                  <c:v>0</c:v>
                </c:pt>
                <c:pt idx="54629">
                  <c:v>0</c:v>
                </c:pt>
                <c:pt idx="54630">
                  <c:v>0</c:v>
                </c:pt>
                <c:pt idx="54631">
                  <c:v>0</c:v>
                </c:pt>
                <c:pt idx="54632">
                  <c:v>0</c:v>
                </c:pt>
                <c:pt idx="54633">
                  <c:v>0</c:v>
                </c:pt>
                <c:pt idx="54634">
                  <c:v>0</c:v>
                </c:pt>
                <c:pt idx="54635">
                  <c:v>0</c:v>
                </c:pt>
                <c:pt idx="54636">
                  <c:v>0</c:v>
                </c:pt>
                <c:pt idx="54637">
                  <c:v>0</c:v>
                </c:pt>
                <c:pt idx="54638">
                  <c:v>0</c:v>
                </c:pt>
                <c:pt idx="54639">
                  <c:v>0</c:v>
                </c:pt>
                <c:pt idx="54640">
                  <c:v>0</c:v>
                </c:pt>
                <c:pt idx="54641">
                  <c:v>0</c:v>
                </c:pt>
                <c:pt idx="54642">
                  <c:v>0</c:v>
                </c:pt>
                <c:pt idx="54643">
                  <c:v>0</c:v>
                </c:pt>
                <c:pt idx="54644">
                  <c:v>0</c:v>
                </c:pt>
                <c:pt idx="54645">
                  <c:v>0</c:v>
                </c:pt>
                <c:pt idx="54646">
                  <c:v>0</c:v>
                </c:pt>
                <c:pt idx="54647">
                  <c:v>0</c:v>
                </c:pt>
                <c:pt idx="54648">
                  <c:v>0</c:v>
                </c:pt>
                <c:pt idx="54649">
                  <c:v>0</c:v>
                </c:pt>
                <c:pt idx="54650">
                  <c:v>0</c:v>
                </c:pt>
                <c:pt idx="54651">
                  <c:v>0</c:v>
                </c:pt>
                <c:pt idx="54652">
                  <c:v>0</c:v>
                </c:pt>
                <c:pt idx="54653">
                  <c:v>0</c:v>
                </c:pt>
                <c:pt idx="54654">
                  <c:v>0</c:v>
                </c:pt>
                <c:pt idx="54655">
                  <c:v>0</c:v>
                </c:pt>
                <c:pt idx="54656">
                  <c:v>0</c:v>
                </c:pt>
                <c:pt idx="54657">
                  <c:v>0</c:v>
                </c:pt>
                <c:pt idx="54658">
                  <c:v>0</c:v>
                </c:pt>
                <c:pt idx="54659">
                  <c:v>0</c:v>
                </c:pt>
                <c:pt idx="54660">
                  <c:v>0</c:v>
                </c:pt>
                <c:pt idx="54661">
                  <c:v>0</c:v>
                </c:pt>
                <c:pt idx="54662">
                  <c:v>0</c:v>
                </c:pt>
                <c:pt idx="54663">
                  <c:v>0</c:v>
                </c:pt>
                <c:pt idx="54664">
                  <c:v>0</c:v>
                </c:pt>
                <c:pt idx="54665">
                  <c:v>0</c:v>
                </c:pt>
                <c:pt idx="54666">
                  <c:v>0</c:v>
                </c:pt>
                <c:pt idx="54667">
                  <c:v>0</c:v>
                </c:pt>
                <c:pt idx="54668">
                  <c:v>0</c:v>
                </c:pt>
                <c:pt idx="54669">
                  <c:v>0</c:v>
                </c:pt>
                <c:pt idx="54670">
                  <c:v>0</c:v>
                </c:pt>
                <c:pt idx="54671">
                  <c:v>0</c:v>
                </c:pt>
                <c:pt idx="54672">
                  <c:v>0</c:v>
                </c:pt>
                <c:pt idx="54673">
                  <c:v>0</c:v>
                </c:pt>
                <c:pt idx="54674">
                  <c:v>0</c:v>
                </c:pt>
                <c:pt idx="54675">
                  <c:v>0</c:v>
                </c:pt>
                <c:pt idx="54676">
                  <c:v>0</c:v>
                </c:pt>
                <c:pt idx="54677">
                  <c:v>0</c:v>
                </c:pt>
                <c:pt idx="54678">
                  <c:v>0</c:v>
                </c:pt>
                <c:pt idx="54679">
                  <c:v>0</c:v>
                </c:pt>
                <c:pt idx="54680">
                  <c:v>0</c:v>
                </c:pt>
                <c:pt idx="54681">
                  <c:v>0</c:v>
                </c:pt>
                <c:pt idx="54682">
                  <c:v>0</c:v>
                </c:pt>
                <c:pt idx="54683">
                  <c:v>0</c:v>
                </c:pt>
                <c:pt idx="54684">
                  <c:v>0</c:v>
                </c:pt>
                <c:pt idx="54685">
                  <c:v>0</c:v>
                </c:pt>
                <c:pt idx="54686">
                  <c:v>0</c:v>
                </c:pt>
                <c:pt idx="54687">
                  <c:v>0</c:v>
                </c:pt>
                <c:pt idx="54688">
                  <c:v>0</c:v>
                </c:pt>
                <c:pt idx="54689">
                  <c:v>0</c:v>
                </c:pt>
                <c:pt idx="54690">
                  <c:v>0</c:v>
                </c:pt>
                <c:pt idx="54691">
                  <c:v>0</c:v>
                </c:pt>
                <c:pt idx="54692">
                  <c:v>0</c:v>
                </c:pt>
                <c:pt idx="54693">
                  <c:v>0</c:v>
                </c:pt>
                <c:pt idx="54694">
                  <c:v>0</c:v>
                </c:pt>
                <c:pt idx="54695">
                  <c:v>0</c:v>
                </c:pt>
                <c:pt idx="54696">
                  <c:v>0</c:v>
                </c:pt>
                <c:pt idx="54697">
                  <c:v>0</c:v>
                </c:pt>
                <c:pt idx="54698">
                  <c:v>0</c:v>
                </c:pt>
                <c:pt idx="54699">
                  <c:v>0</c:v>
                </c:pt>
                <c:pt idx="54700">
                  <c:v>0</c:v>
                </c:pt>
                <c:pt idx="54701">
                  <c:v>0</c:v>
                </c:pt>
                <c:pt idx="54702">
                  <c:v>0</c:v>
                </c:pt>
                <c:pt idx="54703">
                  <c:v>0</c:v>
                </c:pt>
                <c:pt idx="54704">
                  <c:v>0</c:v>
                </c:pt>
                <c:pt idx="54705">
                  <c:v>0</c:v>
                </c:pt>
                <c:pt idx="54706">
                  <c:v>0</c:v>
                </c:pt>
                <c:pt idx="54707">
                  <c:v>0</c:v>
                </c:pt>
                <c:pt idx="54708">
                  <c:v>0</c:v>
                </c:pt>
                <c:pt idx="54709">
                  <c:v>0</c:v>
                </c:pt>
                <c:pt idx="54710">
                  <c:v>0</c:v>
                </c:pt>
                <c:pt idx="54711">
                  <c:v>0</c:v>
                </c:pt>
                <c:pt idx="54712">
                  <c:v>0</c:v>
                </c:pt>
                <c:pt idx="54713">
                  <c:v>0</c:v>
                </c:pt>
                <c:pt idx="54714">
                  <c:v>0</c:v>
                </c:pt>
                <c:pt idx="54715">
                  <c:v>0</c:v>
                </c:pt>
                <c:pt idx="54716">
                  <c:v>0</c:v>
                </c:pt>
                <c:pt idx="54717">
                  <c:v>0</c:v>
                </c:pt>
                <c:pt idx="54718">
                  <c:v>0</c:v>
                </c:pt>
                <c:pt idx="54719">
                  <c:v>0</c:v>
                </c:pt>
                <c:pt idx="54720">
                  <c:v>0</c:v>
                </c:pt>
                <c:pt idx="54721">
                  <c:v>0</c:v>
                </c:pt>
                <c:pt idx="54722">
                  <c:v>0</c:v>
                </c:pt>
                <c:pt idx="54723">
                  <c:v>0</c:v>
                </c:pt>
                <c:pt idx="54724">
                  <c:v>0</c:v>
                </c:pt>
                <c:pt idx="54725">
                  <c:v>0</c:v>
                </c:pt>
                <c:pt idx="54726">
                  <c:v>0</c:v>
                </c:pt>
                <c:pt idx="54727">
                  <c:v>0</c:v>
                </c:pt>
                <c:pt idx="54728">
                  <c:v>0</c:v>
                </c:pt>
                <c:pt idx="54729">
                  <c:v>0</c:v>
                </c:pt>
                <c:pt idx="54730">
                  <c:v>0</c:v>
                </c:pt>
                <c:pt idx="54731">
                  <c:v>0</c:v>
                </c:pt>
                <c:pt idx="54732">
                  <c:v>0</c:v>
                </c:pt>
                <c:pt idx="54733">
                  <c:v>0</c:v>
                </c:pt>
                <c:pt idx="54734">
                  <c:v>0</c:v>
                </c:pt>
                <c:pt idx="54735">
                  <c:v>0</c:v>
                </c:pt>
                <c:pt idx="54736">
                  <c:v>0</c:v>
                </c:pt>
                <c:pt idx="54737">
                  <c:v>0</c:v>
                </c:pt>
                <c:pt idx="54738">
                  <c:v>0</c:v>
                </c:pt>
                <c:pt idx="54739">
                  <c:v>0</c:v>
                </c:pt>
                <c:pt idx="54740">
                  <c:v>0</c:v>
                </c:pt>
                <c:pt idx="54741">
                  <c:v>0</c:v>
                </c:pt>
                <c:pt idx="54742">
                  <c:v>0</c:v>
                </c:pt>
                <c:pt idx="54743">
                  <c:v>0</c:v>
                </c:pt>
                <c:pt idx="54744">
                  <c:v>0</c:v>
                </c:pt>
                <c:pt idx="54745">
                  <c:v>0</c:v>
                </c:pt>
                <c:pt idx="54746">
                  <c:v>0</c:v>
                </c:pt>
                <c:pt idx="54747">
                  <c:v>0</c:v>
                </c:pt>
                <c:pt idx="54748">
                  <c:v>0</c:v>
                </c:pt>
                <c:pt idx="54749">
                  <c:v>0</c:v>
                </c:pt>
                <c:pt idx="54750">
                  <c:v>0</c:v>
                </c:pt>
                <c:pt idx="54751">
                  <c:v>0</c:v>
                </c:pt>
                <c:pt idx="54752">
                  <c:v>0</c:v>
                </c:pt>
                <c:pt idx="54753">
                  <c:v>0</c:v>
                </c:pt>
                <c:pt idx="54754">
                  <c:v>0</c:v>
                </c:pt>
                <c:pt idx="54755">
                  <c:v>0</c:v>
                </c:pt>
                <c:pt idx="54756">
                  <c:v>0</c:v>
                </c:pt>
                <c:pt idx="54757">
                  <c:v>0</c:v>
                </c:pt>
                <c:pt idx="54758">
                  <c:v>0</c:v>
                </c:pt>
                <c:pt idx="54759">
                  <c:v>0</c:v>
                </c:pt>
                <c:pt idx="54760">
                  <c:v>0</c:v>
                </c:pt>
                <c:pt idx="54761">
                  <c:v>0</c:v>
                </c:pt>
                <c:pt idx="54762">
                  <c:v>0</c:v>
                </c:pt>
                <c:pt idx="54763">
                  <c:v>0</c:v>
                </c:pt>
                <c:pt idx="54764">
                  <c:v>0</c:v>
                </c:pt>
                <c:pt idx="54765">
                  <c:v>0</c:v>
                </c:pt>
                <c:pt idx="54766">
                  <c:v>0</c:v>
                </c:pt>
                <c:pt idx="54767">
                  <c:v>0</c:v>
                </c:pt>
                <c:pt idx="54768">
                  <c:v>0</c:v>
                </c:pt>
                <c:pt idx="54769">
                  <c:v>0</c:v>
                </c:pt>
                <c:pt idx="54770">
                  <c:v>0</c:v>
                </c:pt>
                <c:pt idx="54771">
                  <c:v>0</c:v>
                </c:pt>
                <c:pt idx="54772">
                  <c:v>0</c:v>
                </c:pt>
                <c:pt idx="54773">
                  <c:v>0</c:v>
                </c:pt>
                <c:pt idx="54774">
                  <c:v>0</c:v>
                </c:pt>
                <c:pt idx="54775">
                  <c:v>0</c:v>
                </c:pt>
                <c:pt idx="54776">
                  <c:v>0</c:v>
                </c:pt>
                <c:pt idx="54777">
                  <c:v>0</c:v>
                </c:pt>
                <c:pt idx="54778">
                  <c:v>0</c:v>
                </c:pt>
                <c:pt idx="54779">
                  <c:v>0</c:v>
                </c:pt>
                <c:pt idx="54780">
                  <c:v>0</c:v>
                </c:pt>
                <c:pt idx="54781">
                  <c:v>0</c:v>
                </c:pt>
                <c:pt idx="54782">
                  <c:v>0</c:v>
                </c:pt>
                <c:pt idx="54783">
                  <c:v>0</c:v>
                </c:pt>
                <c:pt idx="54784">
                  <c:v>0</c:v>
                </c:pt>
                <c:pt idx="54785">
                  <c:v>0</c:v>
                </c:pt>
                <c:pt idx="54786">
                  <c:v>0</c:v>
                </c:pt>
                <c:pt idx="54787">
                  <c:v>0</c:v>
                </c:pt>
                <c:pt idx="54788">
                  <c:v>0</c:v>
                </c:pt>
                <c:pt idx="54789">
                  <c:v>0</c:v>
                </c:pt>
                <c:pt idx="54790">
                  <c:v>0</c:v>
                </c:pt>
                <c:pt idx="54791">
                  <c:v>0</c:v>
                </c:pt>
                <c:pt idx="54792">
                  <c:v>0</c:v>
                </c:pt>
                <c:pt idx="54793">
                  <c:v>0</c:v>
                </c:pt>
                <c:pt idx="54794">
                  <c:v>0</c:v>
                </c:pt>
                <c:pt idx="54795">
                  <c:v>0</c:v>
                </c:pt>
                <c:pt idx="54796">
                  <c:v>0</c:v>
                </c:pt>
                <c:pt idx="54797">
                  <c:v>0</c:v>
                </c:pt>
                <c:pt idx="54798">
                  <c:v>0</c:v>
                </c:pt>
                <c:pt idx="54799">
                  <c:v>0</c:v>
                </c:pt>
                <c:pt idx="54800">
                  <c:v>0</c:v>
                </c:pt>
                <c:pt idx="54801">
                  <c:v>0</c:v>
                </c:pt>
                <c:pt idx="54802">
                  <c:v>0</c:v>
                </c:pt>
                <c:pt idx="54803">
                  <c:v>0</c:v>
                </c:pt>
                <c:pt idx="54804">
                  <c:v>0</c:v>
                </c:pt>
                <c:pt idx="54805">
                  <c:v>0</c:v>
                </c:pt>
                <c:pt idx="54806">
                  <c:v>0</c:v>
                </c:pt>
                <c:pt idx="54807">
                  <c:v>0</c:v>
                </c:pt>
                <c:pt idx="54808">
                  <c:v>0</c:v>
                </c:pt>
                <c:pt idx="54809">
                  <c:v>0</c:v>
                </c:pt>
                <c:pt idx="54810">
                  <c:v>0</c:v>
                </c:pt>
                <c:pt idx="54811">
                  <c:v>0</c:v>
                </c:pt>
                <c:pt idx="54812">
                  <c:v>0</c:v>
                </c:pt>
                <c:pt idx="54813">
                  <c:v>0</c:v>
                </c:pt>
                <c:pt idx="54814">
                  <c:v>0</c:v>
                </c:pt>
                <c:pt idx="54815">
                  <c:v>0</c:v>
                </c:pt>
                <c:pt idx="54816">
                  <c:v>0</c:v>
                </c:pt>
                <c:pt idx="54817">
                  <c:v>0</c:v>
                </c:pt>
                <c:pt idx="54818">
                  <c:v>0</c:v>
                </c:pt>
                <c:pt idx="54819">
                  <c:v>0</c:v>
                </c:pt>
                <c:pt idx="54820">
                  <c:v>0</c:v>
                </c:pt>
                <c:pt idx="54821">
                  <c:v>0</c:v>
                </c:pt>
                <c:pt idx="54822">
                  <c:v>0</c:v>
                </c:pt>
                <c:pt idx="54823">
                  <c:v>0</c:v>
                </c:pt>
                <c:pt idx="54824">
                  <c:v>0</c:v>
                </c:pt>
                <c:pt idx="54825">
                  <c:v>0</c:v>
                </c:pt>
                <c:pt idx="54826">
                  <c:v>0</c:v>
                </c:pt>
                <c:pt idx="54827">
                  <c:v>0</c:v>
                </c:pt>
                <c:pt idx="54828">
                  <c:v>0</c:v>
                </c:pt>
                <c:pt idx="54829">
                  <c:v>0</c:v>
                </c:pt>
                <c:pt idx="54830">
                  <c:v>0</c:v>
                </c:pt>
                <c:pt idx="54831">
                  <c:v>0</c:v>
                </c:pt>
                <c:pt idx="54832">
                  <c:v>0</c:v>
                </c:pt>
                <c:pt idx="54833">
                  <c:v>0</c:v>
                </c:pt>
                <c:pt idx="54834">
                  <c:v>0</c:v>
                </c:pt>
                <c:pt idx="54835">
                  <c:v>0</c:v>
                </c:pt>
                <c:pt idx="54836">
                  <c:v>0</c:v>
                </c:pt>
                <c:pt idx="54837">
                  <c:v>0</c:v>
                </c:pt>
                <c:pt idx="54838">
                  <c:v>0</c:v>
                </c:pt>
                <c:pt idx="54839">
                  <c:v>0</c:v>
                </c:pt>
                <c:pt idx="54840">
                  <c:v>0</c:v>
                </c:pt>
                <c:pt idx="54841">
                  <c:v>0</c:v>
                </c:pt>
                <c:pt idx="54842">
                  <c:v>0</c:v>
                </c:pt>
                <c:pt idx="54843">
                  <c:v>0</c:v>
                </c:pt>
                <c:pt idx="54844">
                  <c:v>0</c:v>
                </c:pt>
                <c:pt idx="54845">
                  <c:v>0</c:v>
                </c:pt>
                <c:pt idx="54846">
                  <c:v>0</c:v>
                </c:pt>
                <c:pt idx="54847">
                  <c:v>0</c:v>
                </c:pt>
                <c:pt idx="54848">
                  <c:v>0</c:v>
                </c:pt>
                <c:pt idx="54849">
                  <c:v>0</c:v>
                </c:pt>
                <c:pt idx="54850">
                  <c:v>0</c:v>
                </c:pt>
                <c:pt idx="54851">
                  <c:v>0</c:v>
                </c:pt>
                <c:pt idx="54852">
                  <c:v>0</c:v>
                </c:pt>
                <c:pt idx="54853">
                  <c:v>0</c:v>
                </c:pt>
                <c:pt idx="54854">
                  <c:v>0</c:v>
                </c:pt>
                <c:pt idx="54855">
                  <c:v>0</c:v>
                </c:pt>
                <c:pt idx="54856">
                  <c:v>0</c:v>
                </c:pt>
                <c:pt idx="54857">
                  <c:v>0</c:v>
                </c:pt>
                <c:pt idx="54858">
                  <c:v>0</c:v>
                </c:pt>
                <c:pt idx="54859">
                  <c:v>0</c:v>
                </c:pt>
                <c:pt idx="54860">
                  <c:v>0</c:v>
                </c:pt>
                <c:pt idx="54861">
                  <c:v>0</c:v>
                </c:pt>
                <c:pt idx="54862">
                  <c:v>0</c:v>
                </c:pt>
                <c:pt idx="54863">
                  <c:v>0</c:v>
                </c:pt>
                <c:pt idx="54864">
                  <c:v>0</c:v>
                </c:pt>
                <c:pt idx="54865">
                  <c:v>0</c:v>
                </c:pt>
                <c:pt idx="54866">
                  <c:v>0</c:v>
                </c:pt>
                <c:pt idx="54867">
                  <c:v>0</c:v>
                </c:pt>
                <c:pt idx="54868">
                  <c:v>0</c:v>
                </c:pt>
                <c:pt idx="54869">
                  <c:v>0</c:v>
                </c:pt>
                <c:pt idx="54870">
                  <c:v>0</c:v>
                </c:pt>
                <c:pt idx="54871">
                  <c:v>0</c:v>
                </c:pt>
                <c:pt idx="54872">
                  <c:v>0</c:v>
                </c:pt>
                <c:pt idx="54873">
                  <c:v>0</c:v>
                </c:pt>
                <c:pt idx="54874">
                  <c:v>0</c:v>
                </c:pt>
                <c:pt idx="54875">
                  <c:v>0</c:v>
                </c:pt>
                <c:pt idx="54876">
                  <c:v>0</c:v>
                </c:pt>
                <c:pt idx="54877">
                  <c:v>0</c:v>
                </c:pt>
                <c:pt idx="54878">
                  <c:v>0</c:v>
                </c:pt>
                <c:pt idx="54879">
                  <c:v>0</c:v>
                </c:pt>
                <c:pt idx="54880">
                  <c:v>0</c:v>
                </c:pt>
                <c:pt idx="54881">
                  <c:v>0</c:v>
                </c:pt>
                <c:pt idx="54882">
                  <c:v>0</c:v>
                </c:pt>
                <c:pt idx="54883">
                  <c:v>0</c:v>
                </c:pt>
                <c:pt idx="54884">
                  <c:v>0</c:v>
                </c:pt>
                <c:pt idx="54885">
                  <c:v>0</c:v>
                </c:pt>
                <c:pt idx="54886">
                  <c:v>0</c:v>
                </c:pt>
                <c:pt idx="54887">
                  <c:v>0</c:v>
                </c:pt>
                <c:pt idx="54888">
                  <c:v>0</c:v>
                </c:pt>
                <c:pt idx="54889">
                  <c:v>0</c:v>
                </c:pt>
                <c:pt idx="54890">
                  <c:v>0</c:v>
                </c:pt>
                <c:pt idx="54891">
                  <c:v>0</c:v>
                </c:pt>
                <c:pt idx="54892">
                  <c:v>0</c:v>
                </c:pt>
                <c:pt idx="54893">
                  <c:v>0</c:v>
                </c:pt>
                <c:pt idx="54894">
                  <c:v>0</c:v>
                </c:pt>
                <c:pt idx="54895">
                  <c:v>0</c:v>
                </c:pt>
                <c:pt idx="54896">
                  <c:v>0</c:v>
                </c:pt>
                <c:pt idx="54897">
                  <c:v>0</c:v>
                </c:pt>
                <c:pt idx="54898">
                  <c:v>0</c:v>
                </c:pt>
                <c:pt idx="54899">
                  <c:v>0</c:v>
                </c:pt>
                <c:pt idx="54900">
                  <c:v>0</c:v>
                </c:pt>
                <c:pt idx="54901">
                  <c:v>0</c:v>
                </c:pt>
                <c:pt idx="54902">
                  <c:v>0</c:v>
                </c:pt>
                <c:pt idx="54903">
                  <c:v>0</c:v>
                </c:pt>
                <c:pt idx="54904">
                  <c:v>0</c:v>
                </c:pt>
                <c:pt idx="54905">
                  <c:v>0</c:v>
                </c:pt>
                <c:pt idx="54906">
                  <c:v>0</c:v>
                </c:pt>
                <c:pt idx="54907">
                  <c:v>0</c:v>
                </c:pt>
                <c:pt idx="54908">
                  <c:v>0</c:v>
                </c:pt>
                <c:pt idx="54909">
                  <c:v>0</c:v>
                </c:pt>
                <c:pt idx="54910">
                  <c:v>0</c:v>
                </c:pt>
                <c:pt idx="54911">
                  <c:v>0</c:v>
                </c:pt>
                <c:pt idx="54912">
                  <c:v>0</c:v>
                </c:pt>
                <c:pt idx="54913">
                  <c:v>0</c:v>
                </c:pt>
                <c:pt idx="54914">
                  <c:v>0</c:v>
                </c:pt>
                <c:pt idx="54915">
                  <c:v>0</c:v>
                </c:pt>
                <c:pt idx="54916">
                  <c:v>0</c:v>
                </c:pt>
                <c:pt idx="54917">
                  <c:v>0</c:v>
                </c:pt>
                <c:pt idx="54918">
                  <c:v>0</c:v>
                </c:pt>
                <c:pt idx="54919">
                  <c:v>0</c:v>
                </c:pt>
                <c:pt idx="54920">
                  <c:v>0</c:v>
                </c:pt>
                <c:pt idx="54921">
                  <c:v>0</c:v>
                </c:pt>
                <c:pt idx="54922">
                  <c:v>0</c:v>
                </c:pt>
                <c:pt idx="54923">
                  <c:v>0</c:v>
                </c:pt>
                <c:pt idx="54924">
                  <c:v>0</c:v>
                </c:pt>
                <c:pt idx="54925">
                  <c:v>0</c:v>
                </c:pt>
                <c:pt idx="54926">
                  <c:v>0</c:v>
                </c:pt>
                <c:pt idx="54927">
                  <c:v>0</c:v>
                </c:pt>
                <c:pt idx="54928">
                  <c:v>0</c:v>
                </c:pt>
                <c:pt idx="54929">
                  <c:v>0</c:v>
                </c:pt>
                <c:pt idx="54930">
                  <c:v>0</c:v>
                </c:pt>
                <c:pt idx="54931">
                  <c:v>0</c:v>
                </c:pt>
                <c:pt idx="54932">
                  <c:v>0</c:v>
                </c:pt>
                <c:pt idx="54933">
                  <c:v>0</c:v>
                </c:pt>
                <c:pt idx="54934">
                  <c:v>0</c:v>
                </c:pt>
                <c:pt idx="54935">
                  <c:v>0</c:v>
                </c:pt>
                <c:pt idx="54936">
                  <c:v>0</c:v>
                </c:pt>
                <c:pt idx="54937">
                  <c:v>0</c:v>
                </c:pt>
                <c:pt idx="54938">
                  <c:v>0</c:v>
                </c:pt>
                <c:pt idx="54939">
                  <c:v>0</c:v>
                </c:pt>
                <c:pt idx="54940">
                  <c:v>0</c:v>
                </c:pt>
                <c:pt idx="54941">
                  <c:v>0</c:v>
                </c:pt>
                <c:pt idx="54942">
                  <c:v>0</c:v>
                </c:pt>
                <c:pt idx="54943">
                  <c:v>0</c:v>
                </c:pt>
                <c:pt idx="54944">
                  <c:v>0</c:v>
                </c:pt>
                <c:pt idx="54945">
                  <c:v>0</c:v>
                </c:pt>
                <c:pt idx="54946">
                  <c:v>0</c:v>
                </c:pt>
                <c:pt idx="54947">
                  <c:v>0</c:v>
                </c:pt>
                <c:pt idx="54948">
                  <c:v>0</c:v>
                </c:pt>
                <c:pt idx="54949">
                  <c:v>0</c:v>
                </c:pt>
                <c:pt idx="54950">
                  <c:v>0</c:v>
                </c:pt>
                <c:pt idx="54951">
                  <c:v>0</c:v>
                </c:pt>
                <c:pt idx="54952">
                  <c:v>0</c:v>
                </c:pt>
                <c:pt idx="54953">
                  <c:v>0</c:v>
                </c:pt>
                <c:pt idx="54954">
                  <c:v>0</c:v>
                </c:pt>
                <c:pt idx="54955">
                  <c:v>0</c:v>
                </c:pt>
                <c:pt idx="54956">
                  <c:v>0</c:v>
                </c:pt>
                <c:pt idx="54957">
                  <c:v>0</c:v>
                </c:pt>
                <c:pt idx="54958">
                  <c:v>0</c:v>
                </c:pt>
                <c:pt idx="54959">
                  <c:v>0</c:v>
                </c:pt>
                <c:pt idx="54960">
                  <c:v>0</c:v>
                </c:pt>
                <c:pt idx="54961">
                  <c:v>0</c:v>
                </c:pt>
                <c:pt idx="54962">
                  <c:v>0</c:v>
                </c:pt>
                <c:pt idx="54963">
                  <c:v>0</c:v>
                </c:pt>
                <c:pt idx="54964">
                  <c:v>0</c:v>
                </c:pt>
                <c:pt idx="54965">
                  <c:v>0</c:v>
                </c:pt>
                <c:pt idx="54966">
                  <c:v>0</c:v>
                </c:pt>
                <c:pt idx="54967">
                  <c:v>0</c:v>
                </c:pt>
                <c:pt idx="54968">
                  <c:v>0</c:v>
                </c:pt>
                <c:pt idx="54969">
                  <c:v>0</c:v>
                </c:pt>
                <c:pt idx="54970">
                  <c:v>0</c:v>
                </c:pt>
                <c:pt idx="54971">
                  <c:v>0</c:v>
                </c:pt>
                <c:pt idx="54972">
                  <c:v>0</c:v>
                </c:pt>
                <c:pt idx="54973">
                  <c:v>0</c:v>
                </c:pt>
                <c:pt idx="54974">
                  <c:v>0</c:v>
                </c:pt>
                <c:pt idx="54975">
                  <c:v>0</c:v>
                </c:pt>
                <c:pt idx="54976">
                  <c:v>0</c:v>
                </c:pt>
                <c:pt idx="54977">
                  <c:v>0</c:v>
                </c:pt>
                <c:pt idx="54978">
                  <c:v>0</c:v>
                </c:pt>
                <c:pt idx="54979">
                  <c:v>0</c:v>
                </c:pt>
                <c:pt idx="54980">
                  <c:v>0</c:v>
                </c:pt>
                <c:pt idx="54981">
                  <c:v>0</c:v>
                </c:pt>
                <c:pt idx="54982">
                  <c:v>0</c:v>
                </c:pt>
                <c:pt idx="54983">
                  <c:v>0</c:v>
                </c:pt>
                <c:pt idx="54984">
                  <c:v>0</c:v>
                </c:pt>
                <c:pt idx="54985">
                  <c:v>0</c:v>
                </c:pt>
                <c:pt idx="54986">
                  <c:v>0</c:v>
                </c:pt>
                <c:pt idx="54987">
                  <c:v>0</c:v>
                </c:pt>
                <c:pt idx="54988">
                  <c:v>0</c:v>
                </c:pt>
                <c:pt idx="54989">
                  <c:v>0</c:v>
                </c:pt>
                <c:pt idx="54990">
                  <c:v>0</c:v>
                </c:pt>
                <c:pt idx="54991">
                  <c:v>0</c:v>
                </c:pt>
                <c:pt idx="54992">
                  <c:v>0</c:v>
                </c:pt>
                <c:pt idx="54993">
                  <c:v>0</c:v>
                </c:pt>
                <c:pt idx="54994">
                  <c:v>0</c:v>
                </c:pt>
                <c:pt idx="54995">
                  <c:v>0</c:v>
                </c:pt>
                <c:pt idx="54996">
                  <c:v>0</c:v>
                </c:pt>
                <c:pt idx="54997">
                  <c:v>0</c:v>
                </c:pt>
                <c:pt idx="54998">
                  <c:v>0</c:v>
                </c:pt>
                <c:pt idx="54999">
                  <c:v>0</c:v>
                </c:pt>
                <c:pt idx="55000">
                  <c:v>0</c:v>
                </c:pt>
                <c:pt idx="55001">
                  <c:v>0</c:v>
                </c:pt>
                <c:pt idx="55002">
                  <c:v>0</c:v>
                </c:pt>
                <c:pt idx="55003">
                  <c:v>0</c:v>
                </c:pt>
                <c:pt idx="55004">
                  <c:v>0</c:v>
                </c:pt>
                <c:pt idx="55005">
                  <c:v>0</c:v>
                </c:pt>
                <c:pt idx="55006">
                  <c:v>0</c:v>
                </c:pt>
                <c:pt idx="55007">
                  <c:v>0</c:v>
                </c:pt>
                <c:pt idx="55008">
                  <c:v>0</c:v>
                </c:pt>
                <c:pt idx="55009">
                  <c:v>0</c:v>
                </c:pt>
                <c:pt idx="55010">
                  <c:v>0</c:v>
                </c:pt>
                <c:pt idx="55011">
                  <c:v>0</c:v>
                </c:pt>
                <c:pt idx="55012">
                  <c:v>0</c:v>
                </c:pt>
                <c:pt idx="55013">
                  <c:v>0</c:v>
                </c:pt>
                <c:pt idx="55014">
                  <c:v>0</c:v>
                </c:pt>
                <c:pt idx="55015">
                  <c:v>0</c:v>
                </c:pt>
                <c:pt idx="55016">
                  <c:v>0</c:v>
                </c:pt>
                <c:pt idx="55017">
                  <c:v>0</c:v>
                </c:pt>
                <c:pt idx="55018">
                  <c:v>0</c:v>
                </c:pt>
                <c:pt idx="55019">
                  <c:v>0</c:v>
                </c:pt>
                <c:pt idx="55020">
                  <c:v>0</c:v>
                </c:pt>
                <c:pt idx="55021">
                  <c:v>0</c:v>
                </c:pt>
                <c:pt idx="55022">
                  <c:v>0</c:v>
                </c:pt>
                <c:pt idx="55023">
                  <c:v>0</c:v>
                </c:pt>
                <c:pt idx="55024">
                  <c:v>0</c:v>
                </c:pt>
                <c:pt idx="55025">
                  <c:v>0</c:v>
                </c:pt>
                <c:pt idx="55026">
                  <c:v>0</c:v>
                </c:pt>
                <c:pt idx="55027">
                  <c:v>0</c:v>
                </c:pt>
                <c:pt idx="55028">
                  <c:v>0</c:v>
                </c:pt>
                <c:pt idx="55029">
                  <c:v>0</c:v>
                </c:pt>
                <c:pt idx="55030">
                  <c:v>0</c:v>
                </c:pt>
                <c:pt idx="55031">
                  <c:v>0</c:v>
                </c:pt>
                <c:pt idx="55032">
                  <c:v>0</c:v>
                </c:pt>
                <c:pt idx="55033">
                  <c:v>0</c:v>
                </c:pt>
                <c:pt idx="55034">
                  <c:v>0</c:v>
                </c:pt>
                <c:pt idx="55035">
                  <c:v>0</c:v>
                </c:pt>
                <c:pt idx="55036">
                  <c:v>0</c:v>
                </c:pt>
                <c:pt idx="55037">
                  <c:v>0</c:v>
                </c:pt>
                <c:pt idx="55038">
                  <c:v>0</c:v>
                </c:pt>
                <c:pt idx="55039">
                  <c:v>0</c:v>
                </c:pt>
                <c:pt idx="55040">
                  <c:v>0</c:v>
                </c:pt>
                <c:pt idx="55041">
                  <c:v>0</c:v>
                </c:pt>
                <c:pt idx="55042">
                  <c:v>0</c:v>
                </c:pt>
                <c:pt idx="55043">
                  <c:v>0</c:v>
                </c:pt>
                <c:pt idx="55044">
                  <c:v>0</c:v>
                </c:pt>
                <c:pt idx="55045">
                  <c:v>0</c:v>
                </c:pt>
                <c:pt idx="55046">
                  <c:v>0</c:v>
                </c:pt>
                <c:pt idx="55047">
                  <c:v>0</c:v>
                </c:pt>
                <c:pt idx="55048">
                  <c:v>0</c:v>
                </c:pt>
                <c:pt idx="55049">
                  <c:v>0</c:v>
                </c:pt>
                <c:pt idx="55050">
                  <c:v>0</c:v>
                </c:pt>
                <c:pt idx="55051">
                  <c:v>0</c:v>
                </c:pt>
                <c:pt idx="55052">
                  <c:v>0</c:v>
                </c:pt>
                <c:pt idx="55053">
                  <c:v>0</c:v>
                </c:pt>
                <c:pt idx="55054">
                  <c:v>0</c:v>
                </c:pt>
                <c:pt idx="55055">
                  <c:v>0</c:v>
                </c:pt>
                <c:pt idx="55056">
                  <c:v>0</c:v>
                </c:pt>
                <c:pt idx="55057">
                  <c:v>0</c:v>
                </c:pt>
                <c:pt idx="55058">
                  <c:v>0</c:v>
                </c:pt>
                <c:pt idx="55059">
                  <c:v>0</c:v>
                </c:pt>
                <c:pt idx="55060">
                  <c:v>0</c:v>
                </c:pt>
                <c:pt idx="55061">
                  <c:v>0</c:v>
                </c:pt>
                <c:pt idx="55062">
                  <c:v>0</c:v>
                </c:pt>
                <c:pt idx="55063">
                  <c:v>0</c:v>
                </c:pt>
                <c:pt idx="55064">
                  <c:v>0</c:v>
                </c:pt>
                <c:pt idx="55065">
                  <c:v>0</c:v>
                </c:pt>
                <c:pt idx="55066">
                  <c:v>0</c:v>
                </c:pt>
                <c:pt idx="55067">
                  <c:v>0</c:v>
                </c:pt>
                <c:pt idx="55068">
                  <c:v>0</c:v>
                </c:pt>
                <c:pt idx="55069">
                  <c:v>0</c:v>
                </c:pt>
                <c:pt idx="55070">
                  <c:v>0</c:v>
                </c:pt>
                <c:pt idx="55071">
                  <c:v>0</c:v>
                </c:pt>
                <c:pt idx="55072">
                  <c:v>0</c:v>
                </c:pt>
                <c:pt idx="55073">
                  <c:v>0</c:v>
                </c:pt>
                <c:pt idx="55074">
                  <c:v>0</c:v>
                </c:pt>
                <c:pt idx="55075">
                  <c:v>0</c:v>
                </c:pt>
                <c:pt idx="55076">
                  <c:v>0</c:v>
                </c:pt>
                <c:pt idx="55077">
                  <c:v>0</c:v>
                </c:pt>
                <c:pt idx="55078">
                  <c:v>0</c:v>
                </c:pt>
                <c:pt idx="55079">
                  <c:v>0</c:v>
                </c:pt>
                <c:pt idx="55080">
                  <c:v>0</c:v>
                </c:pt>
                <c:pt idx="55081">
                  <c:v>0</c:v>
                </c:pt>
                <c:pt idx="55082">
                  <c:v>0</c:v>
                </c:pt>
                <c:pt idx="55083">
                  <c:v>0</c:v>
                </c:pt>
                <c:pt idx="55084">
                  <c:v>0</c:v>
                </c:pt>
                <c:pt idx="55085">
                  <c:v>0</c:v>
                </c:pt>
                <c:pt idx="55086">
                  <c:v>0</c:v>
                </c:pt>
                <c:pt idx="55087">
                  <c:v>0</c:v>
                </c:pt>
                <c:pt idx="55088">
                  <c:v>0</c:v>
                </c:pt>
                <c:pt idx="55089">
                  <c:v>0</c:v>
                </c:pt>
                <c:pt idx="55090">
                  <c:v>0</c:v>
                </c:pt>
                <c:pt idx="55091">
                  <c:v>0</c:v>
                </c:pt>
                <c:pt idx="55092">
                  <c:v>0</c:v>
                </c:pt>
                <c:pt idx="55093">
                  <c:v>0</c:v>
                </c:pt>
                <c:pt idx="55094">
                  <c:v>0</c:v>
                </c:pt>
                <c:pt idx="55095">
                  <c:v>0</c:v>
                </c:pt>
                <c:pt idx="55096">
                  <c:v>0</c:v>
                </c:pt>
                <c:pt idx="55097">
                  <c:v>0</c:v>
                </c:pt>
                <c:pt idx="55098">
                  <c:v>0</c:v>
                </c:pt>
                <c:pt idx="55099">
                  <c:v>0</c:v>
                </c:pt>
                <c:pt idx="55100">
                  <c:v>0</c:v>
                </c:pt>
                <c:pt idx="55101">
                  <c:v>0</c:v>
                </c:pt>
                <c:pt idx="55102">
                  <c:v>0</c:v>
                </c:pt>
                <c:pt idx="55103">
                  <c:v>0</c:v>
                </c:pt>
                <c:pt idx="55104">
                  <c:v>0</c:v>
                </c:pt>
                <c:pt idx="55105">
                  <c:v>0</c:v>
                </c:pt>
                <c:pt idx="55106">
                  <c:v>0</c:v>
                </c:pt>
                <c:pt idx="55107">
                  <c:v>0</c:v>
                </c:pt>
                <c:pt idx="55108">
                  <c:v>0</c:v>
                </c:pt>
                <c:pt idx="55109">
                  <c:v>0</c:v>
                </c:pt>
                <c:pt idx="55110">
                  <c:v>0</c:v>
                </c:pt>
                <c:pt idx="55111">
                  <c:v>0</c:v>
                </c:pt>
                <c:pt idx="55112">
                  <c:v>0</c:v>
                </c:pt>
                <c:pt idx="55113">
                  <c:v>0</c:v>
                </c:pt>
                <c:pt idx="55114">
                  <c:v>0</c:v>
                </c:pt>
                <c:pt idx="55115">
                  <c:v>0</c:v>
                </c:pt>
                <c:pt idx="55116">
                  <c:v>0</c:v>
                </c:pt>
                <c:pt idx="55117">
                  <c:v>0</c:v>
                </c:pt>
                <c:pt idx="55118">
                  <c:v>0</c:v>
                </c:pt>
                <c:pt idx="55119">
                  <c:v>0</c:v>
                </c:pt>
                <c:pt idx="55120">
                  <c:v>0</c:v>
                </c:pt>
                <c:pt idx="55121">
                  <c:v>0</c:v>
                </c:pt>
                <c:pt idx="55122">
                  <c:v>0</c:v>
                </c:pt>
                <c:pt idx="55123">
                  <c:v>0</c:v>
                </c:pt>
                <c:pt idx="55124">
                  <c:v>0</c:v>
                </c:pt>
                <c:pt idx="55125">
                  <c:v>0</c:v>
                </c:pt>
                <c:pt idx="55126">
                  <c:v>0</c:v>
                </c:pt>
                <c:pt idx="55127">
                  <c:v>0</c:v>
                </c:pt>
                <c:pt idx="55128">
                  <c:v>0</c:v>
                </c:pt>
                <c:pt idx="55129">
                  <c:v>0</c:v>
                </c:pt>
                <c:pt idx="55130">
                  <c:v>0</c:v>
                </c:pt>
                <c:pt idx="55131">
                  <c:v>0</c:v>
                </c:pt>
                <c:pt idx="55132">
                  <c:v>0</c:v>
                </c:pt>
                <c:pt idx="55133">
                  <c:v>0</c:v>
                </c:pt>
                <c:pt idx="55134">
                  <c:v>0</c:v>
                </c:pt>
                <c:pt idx="55135">
                  <c:v>0</c:v>
                </c:pt>
                <c:pt idx="55136">
                  <c:v>0</c:v>
                </c:pt>
                <c:pt idx="55137">
                  <c:v>0</c:v>
                </c:pt>
                <c:pt idx="55138">
                  <c:v>0</c:v>
                </c:pt>
                <c:pt idx="55139">
                  <c:v>0</c:v>
                </c:pt>
                <c:pt idx="55140">
                  <c:v>0</c:v>
                </c:pt>
                <c:pt idx="55141">
                  <c:v>0</c:v>
                </c:pt>
                <c:pt idx="55142">
                  <c:v>0</c:v>
                </c:pt>
                <c:pt idx="55143">
                  <c:v>0</c:v>
                </c:pt>
                <c:pt idx="55144">
                  <c:v>0</c:v>
                </c:pt>
                <c:pt idx="55145">
                  <c:v>0</c:v>
                </c:pt>
                <c:pt idx="55146">
                  <c:v>0</c:v>
                </c:pt>
                <c:pt idx="55147">
                  <c:v>0</c:v>
                </c:pt>
                <c:pt idx="55148">
                  <c:v>0</c:v>
                </c:pt>
                <c:pt idx="55149">
                  <c:v>0</c:v>
                </c:pt>
                <c:pt idx="55150">
                  <c:v>0</c:v>
                </c:pt>
                <c:pt idx="55151">
                  <c:v>0</c:v>
                </c:pt>
                <c:pt idx="55152">
                  <c:v>0</c:v>
                </c:pt>
                <c:pt idx="55153">
                  <c:v>0</c:v>
                </c:pt>
                <c:pt idx="55154">
                  <c:v>0</c:v>
                </c:pt>
                <c:pt idx="55155">
                  <c:v>0</c:v>
                </c:pt>
                <c:pt idx="55156">
                  <c:v>0</c:v>
                </c:pt>
                <c:pt idx="55157">
                  <c:v>0</c:v>
                </c:pt>
                <c:pt idx="55158">
                  <c:v>0</c:v>
                </c:pt>
                <c:pt idx="55159">
                  <c:v>0</c:v>
                </c:pt>
                <c:pt idx="55160">
                  <c:v>0</c:v>
                </c:pt>
                <c:pt idx="55161">
                  <c:v>0</c:v>
                </c:pt>
                <c:pt idx="55162">
                  <c:v>0</c:v>
                </c:pt>
                <c:pt idx="55163">
                  <c:v>0</c:v>
                </c:pt>
                <c:pt idx="55164">
                  <c:v>0</c:v>
                </c:pt>
                <c:pt idx="55165">
                  <c:v>0</c:v>
                </c:pt>
                <c:pt idx="55166">
                  <c:v>0</c:v>
                </c:pt>
                <c:pt idx="55167">
                  <c:v>0</c:v>
                </c:pt>
                <c:pt idx="55168">
                  <c:v>0</c:v>
                </c:pt>
                <c:pt idx="55169">
                  <c:v>0</c:v>
                </c:pt>
                <c:pt idx="55170">
                  <c:v>0</c:v>
                </c:pt>
                <c:pt idx="55171">
                  <c:v>0</c:v>
                </c:pt>
                <c:pt idx="55172">
                  <c:v>0</c:v>
                </c:pt>
                <c:pt idx="55173">
                  <c:v>0</c:v>
                </c:pt>
                <c:pt idx="55174">
                  <c:v>0</c:v>
                </c:pt>
                <c:pt idx="55175">
                  <c:v>0</c:v>
                </c:pt>
                <c:pt idx="55176">
                  <c:v>0</c:v>
                </c:pt>
                <c:pt idx="55177">
                  <c:v>0</c:v>
                </c:pt>
                <c:pt idx="55178">
                  <c:v>0</c:v>
                </c:pt>
                <c:pt idx="55179">
                  <c:v>0</c:v>
                </c:pt>
                <c:pt idx="55180">
                  <c:v>0</c:v>
                </c:pt>
                <c:pt idx="55181">
                  <c:v>0</c:v>
                </c:pt>
                <c:pt idx="55182">
                  <c:v>0</c:v>
                </c:pt>
                <c:pt idx="55183">
                  <c:v>0</c:v>
                </c:pt>
                <c:pt idx="55184">
                  <c:v>0</c:v>
                </c:pt>
                <c:pt idx="55185">
                  <c:v>0</c:v>
                </c:pt>
                <c:pt idx="55186">
                  <c:v>0</c:v>
                </c:pt>
                <c:pt idx="55187">
                  <c:v>0</c:v>
                </c:pt>
                <c:pt idx="55188">
                  <c:v>0</c:v>
                </c:pt>
                <c:pt idx="55189">
                  <c:v>0</c:v>
                </c:pt>
                <c:pt idx="55190">
                  <c:v>0</c:v>
                </c:pt>
                <c:pt idx="55191">
                  <c:v>0</c:v>
                </c:pt>
                <c:pt idx="55192">
                  <c:v>0</c:v>
                </c:pt>
                <c:pt idx="55193">
                  <c:v>0</c:v>
                </c:pt>
                <c:pt idx="55194">
                  <c:v>0</c:v>
                </c:pt>
                <c:pt idx="55195">
                  <c:v>0</c:v>
                </c:pt>
                <c:pt idx="55196">
                  <c:v>0</c:v>
                </c:pt>
                <c:pt idx="55197">
                  <c:v>0</c:v>
                </c:pt>
                <c:pt idx="55198">
                  <c:v>0</c:v>
                </c:pt>
                <c:pt idx="55199">
                  <c:v>0</c:v>
                </c:pt>
                <c:pt idx="55200">
                  <c:v>0</c:v>
                </c:pt>
                <c:pt idx="55201">
                  <c:v>0</c:v>
                </c:pt>
                <c:pt idx="55202">
                  <c:v>0</c:v>
                </c:pt>
                <c:pt idx="55203">
                  <c:v>0</c:v>
                </c:pt>
                <c:pt idx="55204">
                  <c:v>0</c:v>
                </c:pt>
                <c:pt idx="55205">
                  <c:v>0</c:v>
                </c:pt>
                <c:pt idx="55206">
                  <c:v>0</c:v>
                </c:pt>
                <c:pt idx="55207">
                  <c:v>0</c:v>
                </c:pt>
                <c:pt idx="55208">
                  <c:v>0</c:v>
                </c:pt>
                <c:pt idx="55209">
                  <c:v>0</c:v>
                </c:pt>
                <c:pt idx="55210">
                  <c:v>0</c:v>
                </c:pt>
                <c:pt idx="55211">
                  <c:v>0</c:v>
                </c:pt>
                <c:pt idx="55212">
                  <c:v>0</c:v>
                </c:pt>
                <c:pt idx="55213">
                  <c:v>0</c:v>
                </c:pt>
                <c:pt idx="55214">
                  <c:v>0</c:v>
                </c:pt>
                <c:pt idx="55215">
                  <c:v>0</c:v>
                </c:pt>
                <c:pt idx="55216">
                  <c:v>0</c:v>
                </c:pt>
                <c:pt idx="55217">
                  <c:v>0</c:v>
                </c:pt>
                <c:pt idx="55218">
                  <c:v>0</c:v>
                </c:pt>
                <c:pt idx="55219">
                  <c:v>0</c:v>
                </c:pt>
                <c:pt idx="55220">
                  <c:v>0</c:v>
                </c:pt>
                <c:pt idx="55221">
                  <c:v>0</c:v>
                </c:pt>
                <c:pt idx="55222">
                  <c:v>0</c:v>
                </c:pt>
                <c:pt idx="55223">
                  <c:v>0</c:v>
                </c:pt>
                <c:pt idx="55224">
                  <c:v>0</c:v>
                </c:pt>
                <c:pt idx="55225">
                  <c:v>0</c:v>
                </c:pt>
                <c:pt idx="55226">
                  <c:v>0</c:v>
                </c:pt>
                <c:pt idx="55227">
                  <c:v>0</c:v>
                </c:pt>
                <c:pt idx="55228">
                  <c:v>0</c:v>
                </c:pt>
                <c:pt idx="55229">
                  <c:v>0</c:v>
                </c:pt>
                <c:pt idx="55230">
                  <c:v>0</c:v>
                </c:pt>
                <c:pt idx="55231">
                  <c:v>0</c:v>
                </c:pt>
                <c:pt idx="55232">
                  <c:v>0</c:v>
                </c:pt>
                <c:pt idx="55233">
                  <c:v>0</c:v>
                </c:pt>
                <c:pt idx="55234">
                  <c:v>0</c:v>
                </c:pt>
                <c:pt idx="55235">
                  <c:v>0</c:v>
                </c:pt>
                <c:pt idx="55236">
                  <c:v>0</c:v>
                </c:pt>
                <c:pt idx="55237">
                  <c:v>0</c:v>
                </c:pt>
                <c:pt idx="55238">
                  <c:v>0</c:v>
                </c:pt>
                <c:pt idx="55239">
                  <c:v>0</c:v>
                </c:pt>
                <c:pt idx="55240">
                  <c:v>0</c:v>
                </c:pt>
                <c:pt idx="55241">
                  <c:v>0</c:v>
                </c:pt>
                <c:pt idx="55242">
                  <c:v>0</c:v>
                </c:pt>
                <c:pt idx="55243">
                  <c:v>0</c:v>
                </c:pt>
                <c:pt idx="55244">
                  <c:v>0</c:v>
                </c:pt>
                <c:pt idx="55245">
                  <c:v>0</c:v>
                </c:pt>
                <c:pt idx="55246">
                  <c:v>0</c:v>
                </c:pt>
                <c:pt idx="55247">
                  <c:v>0</c:v>
                </c:pt>
                <c:pt idx="55248">
                  <c:v>0</c:v>
                </c:pt>
                <c:pt idx="55249">
                  <c:v>0</c:v>
                </c:pt>
                <c:pt idx="55250">
                  <c:v>0</c:v>
                </c:pt>
                <c:pt idx="55251">
                  <c:v>0</c:v>
                </c:pt>
                <c:pt idx="55252">
                  <c:v>0</c:v>
                </c:pt>
                <c:pt idx="55253">
                  <c:v>0</c:v>
                </c:pt>
                <c:pt idx="55254">
                  <c:v>0</c:v>
                </c:pt>
                <c:pt idx="55255">
                  <c:v>0</c:v>
                </c:pt>
                <c:pt idx="55256">
                  <c:v>0</c:v>
                </c:pt>
                <c:pt idx="55257">
                  <c:v>0</c:v>
                </c:pt>
                <c:pt idx="55258">
                  <c:v>0</c:v>
                </c:pt>
                <c:pt idx="55259">
                  <c:v>0</c:v>
                </c:pt>
                <c:pt idx="55260">
                  <c:v>0</c:v>
                </c:pt>
                <c:pt idx="55261">
                  <c:v>0</c:v>
                </c:pt>
                <c:pt idx="55262">
                  <c:v>0</c:v>
                </c:pt>
                <c:pt idx="55263">
                  <c:v>0</c:v>
                </c:pt>
                <c:pt idx="55264">
                  <c:v>0</c:v>
                </c:pt>
                <c:pt idx="55265">
                  <c:v>0</c:v>
                </c:pt>
                <c:pt idx="55266">
                  <c:v>0</c:v>
                </c:pt>
                <c:pt idx="55267">
                  <c:v>0</c:v>
                </c:pt>
                <c:pt idx="55268">
                  <c:v>0</c:v>
                </c:pt>
                <c:pt idx="55269">
                  <c:v>0</c:v>
                </c:pt>
                <c:pt idx="55270">
                  <c:v>0</c:v>
                </c:pt>
                <c:pt idx="55271">
                  <c:v>0</c:v>
                </c:pt>
                <c:pt idx="55272">
                  <c:v>0</c:v>
                </c:pt>
                <c:pt idx="55273">
                  <c:v>0</c:v>
                </c:pt>
                <c:pt idx="55274">
                  <c:v>0</c:v>
                </c:pt>
                <c:pt idx="55275">
                  <c:v>0</c:v>
                </c:pt>
                <c:pt idx="55276">
                  <c:v>0</c:v>
                </c:pt>
                <c:pt idx="55277">
                  <c:v>0</c:v>
                </c:pt>
                <c:pt idx="55278">
                  <c:v>0</c:v>
                </c:pt>
                <c:pt idx="55279">
                  <c:v>0</c:v>
                </c:pt>
                <c:pt idx="55280">
                  <c:v>0</c:v>
                </c:pt>
                <c:pt idx="55281">
                  <c:v>0</c:v>
                </c:pt>
                <c:pt idx="55282">
                  <c:v>0</c:v>
                </c:pt>
                <c:pt idx="55283">
                  <c:v>0</c:v>
                </c:pt>
                <c:pt idx="55284">
                  <c:v>0</c:v>
                </c:pt>
                <c:pt idx="55285">
                  <c:v>0</c:v>
                </c:pt>
                <c:pt idx="55286">
                  <c:v>0</c:v>
                </c:pt>
                <c:pt idx="55287">
                  <c:v>0</c:v>
                </c:pt>
                <c:pt idx="55288">
                  <c:v>0</c:v>
                </c:pt>
                <c:pt idx="55289">
                  <c:v>0</c:v>
                </c:pt>
                <c:pt idx="55290">
                  <c:v>0</c:v>
                </c:pt>
                <c:pt idx="55291">
                  <c:v>0</c:v>
                </c:pt>
                <c:pt idx="55292">
                  <c:v>0</c:v>
                </c:pt>
                <c:pt idx="55293">
                  <c:v>0</c:v>
                </c:pt>
                <c:pt idx="55294">
                  <c:v>0</c:v>
                </c:pt>
                <c:pt idx="55295">
                  <c:v>0</c:v>
                </c:pt>
                <c:pt idx="55296">
                  <c:v>0</c:v>
                </c:pt>
                <c:pt idx="55297">
                  <c:v>0</c:v>
                </c:pt>
                <c:pt idx="55298">
                  <c:v>0</c:v>
                </c:pt>
                <c:pt idx="55299">
                  <c:v>0</c:v>
                </c:pt>
                <c:pt idx="55300">
                  <c:v>0</c:v>
                </c:pt>
                <c:pt idx="55301">
                  <c:v>0</c:v>
                </c:pt>
                <c:pt idx="55302">
                  <c:v>0</c:v>
                </c:pt>
                <c:pt idx="55303">
                  <c:v>0</c:v>
                </c:pt>
                <c:pt idx="55304">
                  <c:v>0</c:v>
                </c:pt>
                <c:pt idx="55305">
                  <c:v>0</c:v>
                </c:pt>
                <c:pt idx="55306">
                  <c:v>0</c:v>
                </c:pt>
                <c:pt idx="55307">
                  <c:v>0</c:v>
                </c:pt>
                <c:pt idx="55308">
                  <c:v>0</c:v>
                </c:pt>
                <c:pt idx="55309">
                  <c:v>0</c:v>
                </c:pt>
                <c:pt idx="55310">
                  <c:v>0</c:v>
                </c:pt>
                <c:pt idx="55311">
                  <c:v>0</c:v>
                </c:pt>
                <c:pt idx="55312">
                  <c:v>0</c:v>
                </c:pt>
                <c:pt idx="55313">
                  <c:v>0</c:v>
                </c:pt>
                <c:pt idx="55314">
                  <c:v>0</c:v>
                </c:pt>
                <c:pt idx="55315">
                  <c:v>0</c:v>
                </c:pt>
                <c:pt idx="55316">
                  <c:v>0</c:v>
                </c:pt>
                <c:pt idx="55317">
                  <c:v>0</c:v>
                </c:pt>
                <c:pt idx="55318">
                  <c:v>0</c:v>
                </c:pt>
                <c:pt idx="55319">
                  <c:v>0</c:v>
                </c:pt>
                <c:pt idx="55320">
                  <c:v>0</c:v>
                </c:pt>
                <c:pt idx="55321">
                  <c:v>0</c:v>
                </c:pt>
                <c:pt idx="55322">
                  <c:v>0</c:v>
                </c:pt>
                <c:pt idx="55323">
                  <c:v>0</c:v>
                </c:pt>
                <c:pt idx="55324">
                  <c:v>0</c:v>
                </c:pt>
                <c:pt idx="55325">
                  <c:v>0</c:v>
                </c:pt>
                <c:pt idx="55326">
                  <c:v>0</c:v>
                </c:pt>
                <c:pt idx="55327">
                  <c:v>0</c:v>
                </c:pt>
                <c:pt idx="55328">
                  <c:v>0</c:v>
                </c:pt>
                <c:pt idx="55329">
                  <c:v>0</c:v>
                </c:pt>
                <c:pt idx="55330">
                  <c:v>0</c:v>
                </c:pt>
                <c:pt idx="55331">
                  <c:v>0</c:v>
                </c:pt>
                <c:pt idx="55332">
                  <c:v>0</c:v>
                </c:pt>
                <c:pt idx="55333">
                  <c:v>0</c:v>
                </c:pt>
                <c:pt idx="55334">
                  <c:v>0</c:v>
                </c:pt>
                <c:pt idx="55335">
                  <c:v>0</c:v>
                </c:pt>
                <c:pt idx="55336">
                  <c:v>0</c:v>
                </c:pt>
                <c:pt idx="55337">
                  <c:v>0</c:v>
                </c:pt>
                <c:pt idx="55338">
                  <c:v>0</c:v>
                </c:pt>
                <c:pt idx="55339">
                  <c:v>0</c:v>
                </c:pt>
                <c:pt idx="55340">
                  <c:v>0</c:v>
                </c:pt>
                <c:pt idx="55341">
                  <c:v>0</c:v>
                </c:pt>
                <c:pt idx="55342">
                  <c:v>0</c:v>
                </c:pt>
                <c:pt idx="55343">
                  <c:v>0</c:v>
                </c:pt>
                <c:pt idx="55344">
                  <c:v>0</c:v>
                </c:pt>
                <c:pt idx="55345">
                  <c:v>0</c:v>
                </c:pt>
                <c:pt idx="55346">
                  <c:v>0</c:v>
                </c:pt>
                <c:pt idx="55347">
                  <c:v>0</c:v>
                </c:pt>
                <c:pt idx="55348">
                  <c:v>0</c:v>
                </c:pt>
                <c:pt idx="55349">
                  <c:v>0</c:v>
                </c:pt>
                <c:pt idx="55350">
                  <c:v>0</c:v>
                </c:pt>
                <c:pt idx="55351">
                  <c:v>0</c:v>
                </c:pt>
                <c:pt idx="55352">
                  <c:v>0</c:v>
                </c:pt>
                <c:pt idx="55353">
                  <c:v>0</c:v>
                </c:pt>
                <c:pt idx="55354">
                  <c:v>0</c:v>
                </c:pt>
                <c:pt idx="55355">
                  <c:v>0</c:v>
                </c:pt>
                <c:pt idx="55356">
                  <c:v>0</c:v>
                </c:pt>
                <c:pt idx="55357">
                  <c:v>0</c:v>
                </c:pt>
                <c:pt idx="55358">
                  <c:v>0</c:v>
                </c:pt>
                <c:pt idx="55359">
                  <c:v>0</c:v>
                </c:pt>
                <c:pt idx="55360">
                  <c:v>0</c:v>
                </c:pt>
                <c:pt idx="55361">
                  <c:v>0</c:v>
                </c:pt>
                <c:pt idx="55362">
                  <c:v>0</c:v>
                </c:pt>
                <c:pt idx="55363">
                  <c:v>0</c:v>
                </c:pt>
                <c:pt idx="55364">
                  <c:v>0</c:v>
                </c:pt>
                <c:pt idx="55365">
                  <c:v>0</c:v>
                </c:pt>
                <c:pt idx="55366">
                  <c:v>0</c:v>
                </c:pt>
                <c:pt idx="55367">
                  <c:v>0</c:v>
                </c:pt>
                <c:pt idx="55368">
                  <c:v>0</c:v>
                </c:pt>
                <c:pt idx="55369">
                  <c:v>0</c:v>
                </c:pt>
                <c:pt idx="55370">
                  <c:v>0</c:v>
                </c:pt>
                <c:pt idx="55371">
                  <c:v>0</c:v>
                </c:pt>
                <c:pt idx="55372">
                  <c:v>0</c:v>
                </c:pt>
                <c:pt idx="55373">
                  <c:v>0</c:v>
                </c:pt>
                <c:pt idx="55374">
                  <c:v>0</c:v>
                </c:pt>
                <c:pt idx="55375">
                  <c:v>0</c:v>
                </c:pt>
                <c:pt idx="55376">
                  <c:v>0</c:v>
                </c:pt>
                <c:pt idx="55377">
                  <c:v>0</c:v>
                </c:pt>
                <c:pt idx="55378">
                  <c:v>0</c:v>
                </c:pt>
                <c:pt idx="55379">
                  <c:v>0</c:v>
                </c:pt>
                <c:pt idx="55380">
                  <c:v>0</c:v>
                </c:pt>
                <c:pt idx="55381">
                  <c:v>0</c:v>
                </c:pt>
                <c:pt idx="55382">
                  <c:v>0</c:v>
                </c:pt>
                <c:pt idx="55383">
                  <c:v>0</c:v>
                </c:pt>
                <c:pt idx="55384">
                  <c:v>0</c:v>
                </c:pt>
                <c:pt idx="55385">
                  <c:v>0</c:v>
                </c:pt>
                <c:pt idx="55386">
                  <c:v>0</c:v>
                </c:pt>
                <c:pt idx="55387">
                  <c:v>0</c:v>
                </c:pt>
                <c:pt idx="55388">
                  <c:v>0</c:v>
                </c:pt>
                <c:pt idx="55389">
                  <c:v>0</c:v>
                </c:pt>
                <c:pt idx="55390">
                  <c:v>0</c:v>
                </c:pt>
                <c:pt idx="55391">
                  <c:v>0</c:v>
                </c:pt>
                <c:pt idx="55392">
                  <c:v>0</c:v>
                </c:pt>
                <c:pt idx="55393">
                  <c:v>0</c:v>
                </c:pt>
                <c:pt idx="55394">
                  <c:v>0</c:v>
                </c:pt>
                <c:pt idx="55395">
                  <c:v>0</c:v>
                </c:pt>
                <c:pt idx="55396">
                  <c:v>0</c:v>
                </c:pt>
                <c:pt idx="55397">
                  <c:v>0</c:v>
                </c:pt>
                <c:pt idx="55398">
                  <c:v>0</c:v>
                </c:pt>
                <c:pt idx="55399">
                  <c:v>0</c:v>
                </c:pt>
                <c:pt idx="55400">
                  <c:v>0</c:v>
                </c:pt>
                <c:pt idx="55401">
                  <c:v>0</c:v>
                </c:pt>
                <c:pt idx="55402">
                  <c:v>0</c:v>
                </c:pt>
                <c:pt idx="55403">
                  <c:v>0</c:v>
                </c:pt>
                <c:pt idx="55404">
                  <c:v>0</c:v>
                </c:pt>
                <c:pt idx="55405">
                  <c:v>0</c:v>
                </c:pt>
                <c:pt idx="55406">
                  <c:v>0</c:v>
                </c:pt>
                <c:pt idx="55407">
                  <c:v>0</c:v>
                </c:pt>
                <c:pt idx="55408">
                  <c:v>0</c:v>
                </c:pt>
                <c:pt idx="55409">
                  <c:v>0</c:v>
                </c:pt>
                <c:pt idx="55410">
                  <c:v>0</c:v>
                </c:pt>
                <c:pt idx="55411">
                  <c:v>0</c:v>
                </c:pt>
                <c:pt idx="55412">
                  <c:v>0</c:v>
                </c:pt>
                <c:pt idx="55413">
                  <c:v>0</c:v>
                </c:pt>
                <c:pt idx="55414">
                  <c:v>0</c:v>
                </c:pt>
                <c:pt idx="55415">
                  <c:v>0</c:v>
                </c:pt>
                <c:pt idx="55416">
                  <c:v>0</c:v>
                </c:pt>
                <c:pt idx="55417">
                  <c:v>0</c:v>
                </c:pt>
                <c:pt idx="55418">
                  <c:v>0</c:v>
                </c:pt>
                <c:pt idx="55419">
                  <c:v>0</c:v>
                </c:pt>
                <c:pt idx="55420">
                  <c:v>0</c:v>
                </c:pt>
                <c:pt idx="55421">
                  <c:v>0</c:v>
                </c:pt>
                <c:pt idx="55422">
                  <c:v>0</c:v>
                </c:pt>
                <c:pt idx="55423">
                  <c:v>0</c:v>
                </c:pt>
                <c:pt idx="55424">
                  <c:v>0</c:v>
                </c:pt>
                <c:pt idx="55425">
                  <c:v>0</c:v>
                </c:pt>
                <c:pt idx="55426">
                  <c:v>0</c:v>
                </c:pt>
                <c:pt idx="55427">
                  <c:v>0</c:v>
                </c:pt>
                <c:pt idx="55428">
                  <c:v>0</c:v>
                </c:pt>
                <c:pt idx="55429">
                  <c:v>0</c:v>
                </c:pt>
                <c:pt idx="55430">
                  <c:v>0</c:v>
                </c:pt>
                <c:pt idx="55431">
                  <c:v>0</c:v>
                </c:pt>
                <c:pt idx="55432">
                  <c:v>0</c:v>
                </c:pt>
                <c:pt idx="55433">
                  <c:v>0</c:v>
                </c:pt>
                <c:pt idx="55434">
                  <c:v>0</c:v>
                </c:pt>
                <c:pt idx="55435">
                  <c:v>0</c:v>
                </c:pt>
                <c:pt idx="55436">
                  <c:v>0</c:v>
                </c:pt>
                <c:pt idx="55437">
                  <c:v>0</c:v>
                </c:pt>
                <c:pt idx="55438">
                  <c:v>0</c:v>
                </c:pt>
                <c:pt idx="55439">
                  <c:v>0</c:v>
                </c:pt>
                <c:pt idx="55440">
                  <c:v>0</c:v>
                </c:pt>
                <c:pt idx="55441">
                  <c:v>0</c:v>
                </c:pt>
                <c:pt idx="55442">
                  <c:v>0</c:v>
                </c:pt>
                <c:pt idx="55443">
                  <c:v>0</c:v>
                </c:pt>
                <c:pt idx="55444">
                  <c:v>0</c:v>
                </c:pt>
                <c:pt idx="55445">
                  <c:v>0</c:v>
                </c:pt>
                <c:pt idx="55446">
                  <c:v>0</c:v>
                </c:pt>
                <c:pt idx="55447">
                  <c:v>0</c:v>
                </c:pt>
                <c:pt idx="55448">
                  <c:v>0</c:v>
                </c:pt>
                <c:pt idx="55449">
                  <c:v>0</c:v>
                </c:pt>
                <c:pt idx="55450">
                  <c:v>0</c:v>
                </c:pt>
                <c:pt idx="55451">
                  <c:v>0</c:v>
                </c:pt>
                <c:pt idx="55452">
                  <c:v>0</c:v>
                </c:pt>
                <c:pt idx="55453">
                  <c:v>0</c:v>
                </c:pt>
                <c:pt idx="55454">
                  <c:v>0</c:v>
                </c:pt>
                <c:pt idx="55455">
                  <c:v>0</c:v>
                </c:pt>
                <c:pt idx="55456">
                  <c:v>0</c:v>
                </c:pt>
                <c:pt idx="55457">
                  <c:v>0</c:v>
                </c:pt>
                <c:pt idx="55458">
                  <c:v>0</c:v>
                </c:pt>
                <c:pt idx="55459">
                  <c:v>0</c:v>
                </c:pt>
                <c:pt idx="55460">
                  <c:v>0</c:v>
                </c:pt>
                <c:pt idx="55461">
                  <c:v>0</c:v>
                </c:pt>
                <c:pt idx="55462">
                  <c:v>0</c:v>
                </c:pt>
                <c:pt idx="55463">
                  <c:v>0</c:v>
                </c:pt>
                <c:pt idx="55464">
                  <c:v>0</c:v>
                </c:pt>
                <c:pt idx="55465">
                  <c:v>0</c:v>
                </c:pt>
                <c:pt idx="55466">
                  <c:v>0</c:v>
                </c:pt>
                <c:pt idx="55467">
                  <c:v>0</c:v>
                </c:pt>
                <c:pt idx="55468">
                  <c:v>0</c:v>
                </c:pt>
                <c:pt idx="55469">
                  <c:v>0</c:v>
                </c:pt>
                <c:pt idx="55470">
                  <c:v>0</c:v>
                </c:pt>
                <c:pt idx="55471">
                  <c:v>0</c:v>
                </c:pt>
                <c:pt idx="55472">
                  <c:v>0</c:v>
                </c:pt>
                <c:pt idx="55473">
                  <c:v>0</c:v>
                </c:pt>
                <c:pt idx="55474">
                  <c:v>0</c:v>
                </c:pt>
                <c:pt idx="55475">
                  <c:v>0</c:v>
                </c:pt>
                <c:pt idx="55476">
                  <c:v>0</c:v>
                </c:pt>
                <c:pt idx="55477">
                  <c:v>0</c:v>
                </c:pt>
                <c:pt idx="55478">
                  <c:v>0</c:v>
                </c:pt>
                <c:pt idx="55479">
                  <c:v>0</c:v>
                </c:pt>
                <c:pt idx="55480">
                  <c:v>0</c:v>
                </c:pt>
                <c:pt idx="55481">
                  <c:v>0</c:v>
                </c:pt>
                <c:pt idx="55482">
                  <c:v>0</c:v>
                </c:pt>
                <c:pt idx="55483">
                  <c:v>0</c:v>
                </c:pt>
                <c:pt idx="55484">
                  <c:v>0</c:v>
                </c:pt>
                <c:pt idx="55485">
                  <c:v>0</c:v>
                </c:pt>
                <c:pt idx="55486">
                  <c:v>0</c:v>
                </c:pt>
                <c:pt idx="55487">
                  <c:v>0</c:v>
                </c:pt>
                <c:pt idx="55488">
                  <c:v>0</c:v>
                </c:pt>
                <c:pt idx="55489">
                  <c:v>0</c:v>
                </c:pt>
                <c:pt idx="55490">
                  <c:v>0</c:v>
                </c:pt>
                <c:pt idx="55491">
                  <c:v>0</c:v>
                </c:pt>
                <c:pt idx="55492">
                  <c:v>0</c:v>
                </c:pt>
                <c:pt idx="55493">
                  <c:v>0</c:v>
                </c:pt>
                <c:pt idx="55494">
                  <c:v>0</c:v>
                </c:pt>
                <c:pt idx="55495">
                  <c:v>0</c:v>
                </c:pt>
                <c:pt idx="55496">
                  <c:v>0</c:v>
                </c:pt>
                <c:pt idx="55497">
                  <c:v>0</c:v>
                </c:pt>
                <c:pt idx="55498">
                  <c:v>0</c:v>
                </c:pt>
                <c:pt idx="55499">
                  <c:v>0</c:v>
                </c:pt>
                <c:pt idx="55500">
                  <c:v>0</c:v>
                </c:pt>
                <c:pt idx="55501">
                  <c:v>0</c:v>
                </c:pt>
                <c:pt idx="55502">
                  <c:v>0</c:v>
                </c:pt>
                <c:pt idx="55503">
                  <c:v>0</c:v>
                </c:pt>
                <c:pt idx="55504">
                  <c:v>0</c:v>
                </c:pt>
                <c:pt idx="55505">
                  <c:v>0</c:v>
                </c:pt>
                <c:pt idx="55506">
                  <c:v>0</c:v>
                </c:pt>
                <c:pt idx="55507">
                  <c:v>0</c:v>
                </c:pt>
                <c:pt idx="55508">
                  <c:v>0</c:v>
                </c:pt>
                <c:pt idx="55509">
                  <c:v>0</c:v>
                </c:pt>
                <c:pt idx="55510">
                  <c:v>0</c:v>
                </c:pt>
                <c:pt idx="55511">
                  <c:v>0</c:v>
                </c:pt>
                <c:pt idx="55512">
                  <c:v>0</c:v>
                </c:pt>
                <c:pt idx="55513">
                  <c:v>0</c:v>
                </c:pt>
                <c:pt idx="55514">
                  <c:v>0</c:v>
                </c:pt>
                <c:pt idx="55515">
                  <c:v>0</c:v>
                </c:pt>
                <c:pt idx="55516">
                  <c:v>0</c:v>
                </c:pt>
                <c:pt idx="55517">
                  <c:v>0</c:v>
                </c:pt>
                <c:pt idx="55518">
                  <c:v>0</c:v>
                </c:pt>
                <c:pt idx="55519">
                  <c:v>0</c:v>
                </c:pt>
                <c:pt idx="55520">
                  <c:v>0</c:v>
                </c:pt>
                <c:pt idx="55521">
                  <c:v>0</c:v>
                </c:pt>
                <c:pt idx="55522">
                  <c:v>0</c:v>
                </c:pt>
                <c:pt idx="55523">
                  <c:v>0</c:v>
                </c:pt>
                <c:pt idx="55524">
                  <c:v>0</c:v>
                </c:pt>
                <c:pt idx="55525">
                  <c:v>0</c:v>
                </c:pt>
                <c:pt idx="55526">
                  <c:v>0</c:v>
                </c:pt>
                <c:pt idx="55527">
                  <c:v>0</c:v>
                </c:pt>
                <c:pt idx="55528">
                  <c:v>0</c:v>
                </c:pt>
                <c:pt idx="55529">
                  <c:v>0</c:v>
                </c:pt>
                <c:pt idx="55530">
                  <c:v>0</c:v>
                </c:pt>
                <c:pt idx="55531">
                  <c:v>0</c:v>
                </c:pt>
                <c:pt idx="55532">
                  <c:v>0</c:v>
                </c:pt>
                <c:pt idx="55533">
                  <c:v>0</c:v>
                </c:pt>
                <c:pt idx="55534">
                  <c:v>0</c:v>
                </c:pt>
                <c:pt idx="55535">
                  <c:v>0</c:v>
                </c:pt>
                <c:pt idx="55536">
                  <c:v>0</c:v>
                </c:pt>
                <c:pt idx="55537">
                  <c:v>0</c:v>
                </c:pt>
                <c:pt idx="55538">
                  <c:v>0</c:v>
                </c:pt>
                <c:pt idx="55539">
                  <c:v>0</c:v>
                </c:pt>
                <c:pt idx="55540">
                  <c:v>0</c:v>
                </c:pt>
                <c:pt idx="55541">
                  <c:v>0</c:v>
                </c:pt>
                <c:pt idx="55542">
                  <c:v>0</c:v>
                </c:pt>
                <c:pt idx="55543">
                  <c:v>0</c:v>
                </c:pt>
                <c:pt idx="55544">
                  <c:v>0</c:v>
                </c:pt>
                <c:pt idx="55545">
                  <c:v>0</c:v>
                </c:pt>
                <c:pt idx="55546">
                  <c:v>0</c:v>
                </c:pt>
                <c:pt idx="55547">
                  <c:v>0</c:v>
                </c:pt>
                <c:pt idx="55548">
                  <c:v>0</c:v>
                </c:pt>
                <c:pt idx="55549">
                  <c:v>0</c:v>
                </c:pt>
                <c:pt idx="55550">
                  <c:v>0</c:v>
                </c:pt>
                <c:pt idx="55551">
                  <c:v>0</c:v>
                </c:pt>
                <c:pt idx="55552">
                  <c:v>0</c:v>
                </c:pt>
                <c:pt idx="55553">
                  <c:v>0</c:v>
                </c:pt>
                <c:pt idx="55554">
                  <c:v>0</c:v>
                </c:pt>
                <c:pt idx="55555">
                  <c:v>0</c:v>
                </c:pt>
                <c:pt idx="55556">
                  <c:v>0</c:v>
                </c:pt>
                <c:pt idx="55557">
                  <c:v>0</c:v>
                </c:pt>
                <c:pt idx="55558">
                  <c:v>0</c:v>
                </c:pt>
                <c:pt idx="55559">
                  <c:v>0</c:v>
                </c:pt>
                <c:pt idx="55560">
                  <c:v>0</c:v>
                </c:pt>
                <c:pt idx="55561">
                  <c:v>0</c:v>
                </c:pt>
                <c:pt idx="55562">
                  <c:v>0</c:v>
                </c:pt>
                <c:pt idx="55563">
                  <c:v>0</c:v>
                </c:pt>
                <c:pt idx="55564">
                  <c:v>0</c:v>
                </c:pt>
                <c:pt idx="55565">
                  <c:v>0</c:v>
                </c:pt>
                <c:pt idx="55566">
                  <c:v>0</c:v>
                </c:pt>
                <c:pt idx="55567">
                  <c:v>0</c:v>
                </c:pt>
                <c:pt idx="55568">
                  <c:v>0</c:v>
                </c:pt>
                <c:pt idx="55569">
                  <c:v>0</c:v>
                </c:pt>
                <c:pt idx="55570">
                  <c:v>0</c:v>
                </c:pt>
                <c:pt idx="55571">
                  <c:v>0</c:v>
                </c:pt>
                <c:pt idx="55572">
                  <c:v>0</c:v>
                </c:pt>
                <c:pt idx="55573">
                  <c:v>0</c:v>
                </c:pt>
                <c:pt idx="55574">
                  <c:v>0</c:v>
                </c:pt>
                <c:pt idx="55575">
                  <c:v>0</c:v>
                </c:pt>
                <c:pt idx="55576">
                  <c:v>0</c:v>
                </c:pt>
                <c:pt idx="55577">
                  <c:v>0</c:v>
                </c:pt>
                <c:pt idx="55578">
                  <c:v>0</c:v>
                </c:pt>
                <c:pt idx="55579">
                  <c:v>0</c:v>
                </c:pt>
                <c:pt idx="55580">
                  <c:v>0</c:v>
                </c:pt>
                <c:pt idx="55581">
                  <c:v>0</c:v>
                </c:pt>
                <c:pt idx="55582">
                  <c:v>0</c:v>
                </c:pt>
                <c:pt idx="55583">
                  <c:v>0</c:v>
                </c:pt>
                <c:pt idx="55584">
                  <c:v>0</c:v>
                </c:pt>
                <c:pt idx="55585">
                  <c:v>0</c:v>
                </c:pt>
                <c:pt idx="55586">
                  <c:v>0</c:v>
                </c:pt>
                <c:pt idx="55587">
                  <c:v>0</c:v>
                </c:pt>
                <c:pt idx="55588">
                  <c:v>0</c:v>
                </c:pt>
                <c:pt idx="55589">
                  <c:v>0</c:v>
                </c:pt>
                <c:pt idx="55590">
                  <c:v>0</c:v>
                </c:pt>
                <c:pt idx="55591">
                  <c:v>0</c:v>
                </c:pt>
                <c:pt idx="55592">
                  <c:v>0</c:v>
                </c:pt>
                <c:pt idx="55593">
                  <c:v>0</c:v>
                </c:pt>
                <c:pt idx="55594">
                  <c:v>0</c:v>
                </c:pt>
                <c:pt idx="55595">
                  <c:v>0</c:v>
                </c:pt>
                <c:pt idx="55596">
                  <c:v>0</c:v>
                </c:pt>
                <c:pt idx="55597">
                  <c:v>0</c:v>
                </c:pt>
                <c:pt idx="55598">
                  <c:v>0</c:v>
                </c:pt>
                <c:pt idx="55599">
                  <c:v>0</c:v>
                </c:pt>
                <c:pt idx="55600">
                  <c:v>0</c:v>
                </c:pt>
                <c:pt idx="55601">
                  <c:v>0</c:v>
                </c:pt>
                <c:pt idx="55602">
                  <c:v>0</c:v>
                </c:pt>
                <c:pt idx="55603">
                  <c:v>0</c:v>
                </c:pt>
                <c:pt idx="55604">
                  <c:v>0</c:v>
                </c:pt>
                <c:pt idx="55605">
                  <c:v>0</c:v>
                </c:pt>
                <c:pt idx="55606">
                  <c:v>0</c:v>
                </c:pt>
                <c:pt idx="55607">
                  <c:v>0</c:v>
                </c:pt>
                <c:pt idx="55608">
                  <c:v>0</c:v>
                </c:pt>
                <c:pt idx="55609">
                  <c:v>0</c:v>
                </c:pt>
                <c:pt idx="55610">
                  <c:v>0</c:v>
                </c:pt>
                <c:pt idx="55611">
                  <c:v>0</c:v>
                </c:pt>
                <c:pt idx="55612">
                  <c:v>0</c:v>
                </c:pt>
                <c:pt idx="55613">
                  <c:v>0</c:v>
                </c:pt>
                <c:pt idx="55614">
                  <c:v>0</c:v>
                </c:pt>
                <c:pt idx="55615">
                  <c:v>0</c:v>
                </c:pt>
                <c:pt idx="55616">
                  <c:v>0</c:v>
                </c:pt>
                <c:pt idx="55617">
                  <c:v>0</c:v>
                </c:pt>
                <c:pt idx="55618">
                  <c:v>0</c:v>
                </c:pt>
                <c:pt idx="55619">
                  <c:v>0</c:v>
                </c:pt>
                <c:pt idx="55620">
                  <c:v>0</c:v>
                </c:pt>
                <c:pt idx="55621">
                  <c:v>0</c:v>
                </c:pt>
                <c:pt idx="55622">
                  <c:v>0</c:v>
                </c:pt>
                <c:pt idx="55623">
                  <c:v>0</c:v>
                </c:pt>
                <c:pt idx="55624">
                  <c:v>0</c:v>
                </c:pt>
                <c:pt idx="55625">
                  <c:v>0</c:v>
                </c:pt>
                <c:pt idx="55626">
                  <c:v>0</c:v>
                </c:pt>
                <c:pt idx="55627">
                  <c:v>0</c:v>
                </c:pt>
                <c:pt idx="55628">
                  <c:v>0</c:v>
                </c:pt>
                <c:pt idx="55629">
                  <c:v>0</c:v>
                </c:pt>
                <c:pt idx="55630">
                  <c:v>0</c:v>
                </c:pt>
                <c:pt idx="55631">
                  <c:v>0</c:v>
                </c:pt>
                <c:pt idx="55632">
                  <c:v>0</c:v>
                </c:pt>
                <c:pt idx="55633">
                  <c:v>0</c:v>
                </c:pt>
                <c:pt idx="55634">
                  <c:v>0</c:v>
                </c:pt>
                <c:pt idx="55635">
                  <c:v>0</c:v>
                </c:pt>
                <c:pt idx="55636">
                  <c:v>0</c:v>
                </c:pt>
                <c:pt idx="55637">
                  <c:v>0</c:v>
                </c:pt>
                <c:pt idx="55638">
                  <c:v>0</c:v>
                </c:pt>
                <c:pt idx="55639">
                  <c:v>0</c:v>
                </c:pt>
                <c:pt idx="55640">
                  <c:v>0</c:v>
                </c:pt>
                <c:pt idx="55641">
                  <c:v>0</c:v>
                </c:pt>
                <c:pt idx="55642">
                  <c:v>0</c:v>
                </c:pt>
                <c:pt idx="55643">
                  <c:v>0</c:v>
                </c:pt>
                <c:pt idx="55644">
                  <c:v>0</c:v>
                </c:pt>
                <c:pt idx="55645">
                  <c:v>0</c:v>
                </c:pt>
                <c:pt idx="55646">
                  <c:v>0</c:v>
                </c:pt>
                <c:pt idx="55647">
                  <c:v>0</c:v>
                </c:pt>
                <c:pt idx="55648">
                  <c:v>0</c:v>
                </c:pt>
                <c:pt idx="55649">
                  <c:v>0</c:v>
                </c:pt>
                <c:pt idx="55650">
                  <c:v>0</c:v>
                </c:pt>
                <c:pt idx="55651">
                  <c:v>0</c:v>
                </c:pt>
                <c:pt idx="55652">
                  <c:v>0</c:v>
                </c:pt>
                <c:pt idx="55653">
                  <c:v>0</c:v>
                </c:pt>
                <c:pt idx="55654">
                  <c:v>0</c:v>
                </c:pt>
                <c:pt idx="55655">
                  <c:v>0</c:v>
                </c:pt>
                <c:pt idx="55656">
                  <c:v>0</c:v>
                </c:pt>
                <c:pt idx="55657">
                  <c:v>0</c:v>
                </c:pt>
                <c:pt idx="55658">
                  <c:v>0</c:v>
                </c:pt>
                <c:pt idx="55659">
                  <c:v>0</c:v>
                </c:pt>
                <c:pt idx="55660">
                  <c:v>0</c:v>
                </c:pt>
                <c:pt idx="55661">
                  <c:v>0</c:v>
                </c:pt>
                <c:pt idx="55662">
                  <c:v>0</c:v>
                </c:pt>
                <c:pt idx="55663">
                  <c:v>0</c:v>
                </c:pt>
                <c:pt idx="55664">
                  <c:v>0</c:v>
                </c:pt>
                <c:pt idx="55665">
                  <c:v>0</c:v>
                </c:pt>
                <c:pt idx="55666">
                  <c:v>0</c:v>
                </c:pt>
                <c:pt idx="55667">
                  <c:v>0</c:v>
                </c:pt>
                <c:pt idx="55668">
                  <c:v>0</c:v>
                </c:pt>
                <c:pt idx="55669">
                  <c:v>0</c:v>
                </c:pt>
                <c:pt idx="55670">
                  <c:v>0</c:v>
                </c:pt>
                <c:pt idx="55671">
                  <c:v>0</c:v>
                </c:pt>
                <c:pt idx="55672">
                  <c:v>0</c:v>
                </c:pt>
                <c:pt idx="55673">
                  <c:v>0</c:v>
                </c:pt>
                <c:pt idx="55674">
                  <c:v>0</c:v>
                </c:pt>
                <c:pt idx="55675">
                  <c:v>0</c:v>
                </c:pt>
                <c:pt idx="55676">
                  <c:v>0</c:v>
                </c:pt>
                <c:pt idx="55677">
                  <c:v>0</c:v>
                </c:pt>
                <c:pt idx="55678">
                  <c:v>0</c:v>
                </c:pt>
                <c:pt idx="55679">
                  <c:v>0</c:v>
                </c:pt>
                <c:pt idx="55680">
                  <c:v>0</c:v>
                </c:pt>
                <c:pt idx="55681">
                  <c:v>0</c:v>
                </c:pt>
                <c:pt idx="55682">
                  <c:v>0</c:v>
                </c:pt>
                <c:pt idx="55683">
                  <c:v>0</c:v>
                </c:pt>
                <c:pt idx="55684">
                  <c:v>0</c:v>
                </c:pt>
                <c:pt idx="55685">
                  <c:v>0</c:v>
                </c:pt>
                <c:pt idx="55686">
                  <c:v>0</c:v>
                </c:pt>
                <c:pt idx="55687">
                  <c:v>0</c:v>
                </c:pt>
                <c:pt idx="55688">
                  <c:v>0</c:v>
                </c:pt>
                <c:pt idx="55689">
                  <c:v>0</c:v>
                </c:pt>
                <c:pt idx="55690">
                  <c:v>0</c:v>
                </c:pt>
                <c:pt idx="55691">
                  <c:v>0</c:v>
                </c:pt>
                <c:pt idx="55692">
                  <c:v>0</c:v>
                </c:pt>
                <c:pt idx="55693">
                  <c:v>0</c:v>
                </c:pt>
                <c:pt idx="55694">
                  <c:v>0</c:v>
                </c:pt>
                <c:pt idx="55695">
                  <c:v>0</c:v>
                </c:pt>
                <c:pt idx="55696">
                  <c:v>0</c:v>
                </c:pt>
                <c:pt idx="55697">
                  <c:v>0</c:v>
                </c:pt>
                <c:pt idx="55698">
                  <c:v>0</c:v>
                </c:pt>
                <c:pt idx="55699">
                  <c:v>0</c:v>
                </c:pt>
                <c:pt idx="55700">
                  <c:v>0</c:v>
                </c:pt>
                <c:pt idx="55701">
                  <c:v>0</c:v>
                </c:pt>
                <c:pt idx="55702">
                  <c:v>0</c:v>
                </c:pt>
                <c:pt idx="55703">
                  <c:v>0</c:v>
                </c:pt>
                <c:pt idx="55704">
                  <c:v>0</c:v>
                </c:pt>
                <c:pt idx="55705">
                  <c:v>0</c:v>
                </c:pt>
                <c:pt idx="55706">
                  <c:v>0</c:v>
                </c:pt>
                <c:pt idx="55707">
                  <c:v>0</c:v>
                </c:pt>
                <c:pt idx="55708">
                  <c:v>0</c:v>
                </c:pt>
                <c:pt idx="55709">
                  <c:v>0</c:v>
                </c:pt>
                <c:pt idx="55710">
                  <c:v>0</c:v>
                </c:pt>
                <c:pt idx="55711">
                  <c:v>0</c:v>
                </c:pt>
                <c:pt idx="55712">
                  <c:v>0</c:v>
                </c:pt>
                <c:pt idx="55713">
                  <c:v>0</c:v>
                </c:pt>
                <c:pt idx="55714">
                  <c:v>0</c:v>
                </c:pt>
                <c:pt idx="55715">
                  <c:v>0</c:v>
                </c:pt>
                <c:pt idx="55716">
                  <c:v>0</c:v>
                </c:pt>
                <c:pt idx="55717">
                  <c:v>0</c:v>
                </c:pt>
                <c:pt idx="55718">
                  <c:v>0</c:v>
                </c:pt>
                <c:pt idx="55719">
                  <c:v>0</c:v>
                </c:pt>
                <c:pt idx="55720">
                  <c:v>0</c:v>
                </c:pt>
                <c:pt idx="55721">
                  <c:v>0</c:v>
                </c:pt>
                <c:pt idx="55722">
                  <c:v>0</c:v>
                </c:pt>
                <c:pt idx="55723">
                  <c:v>0</c:v>
                </c:pt>
                <c:pt idx="55724">
                  <c:v>0</c:v>
                </c:pt>
                <c:pt idx="55725">
                  <c:v>0</c:v>
                </c:pt>
                <c:pt idx="55726">
                  <c:v>0</c:v>
                </c:pt>
                <c:pt idx="55727">
                  <c:v>0</c:v>
                </c:pt>
                <c:pt idx="55728">
                  <c:v>0</c:v>
                </c:pt>
                <c:pt idx="55729">
                  <c:v>0</c:v>
                </c:pt>
                <c:pt idx="55730">
                  <c:v>0</c:v>
                </c:pt>
                <c:pt idx="55731">
                  <c:v>0</c:v>
                </c:pt>
                <c:pt idx="55732">
                  <c:v>0</c:v>
                </c:pt>
                <c:pt idx="55733">
                  <c:v>0</c:v>
                </c:pt>
                <c:pt idx="55734">
                  <c:v>0</c:v>
                </c:pt>
                <c:pt idx="55735">
                  <c:v>0</c:v>
                </c:pt>
                <c:pt idx="55736">
                  <c:v>0</c:v>
                </c:pt>
                <c:pt idx="55737">
                  <c:v>0</c:v>
                </c:pt>
                <c:pt idx="55738">
                  <c:v>0</c:v>
                </c:pt>
                <c:pt idx="55739">
                  <c:v>0</c:v>
                </c:pt>
                <c:pt idx="55740">
                  <c:v>0</c:v>
                </c:pt>
                <c:pt idx="55741">
                  <c:v>0</c:v>
                </c:pt>
                <c:pt idx="55742">
                  <c:v>0</c:v>
                </c:pt>
                <c:pt idx="55743">
                  <c:v>0</c:v>
                </c:pt>
                <c:pt idx="55744">
                  <c:v>0</c:v>
                </c:pt>
                <c:pt idx="55745">
                  <c:v>0</c:v>
                </c:pt>
                <c:pt idx="55746">
                  <c:v>0</c:v>
                </c:pt>
                <c:pt idx="55747">
                  <c:v>0</c:v>
                </c:pt>
                <c:pt idx="55748">
                  <c:v>0</c:v>
                </c:pt>
                <c:pt idx="55749">
                  <c:v>0</c:v>
                </c:pt>
                <c:pt idx="55750">
                  <c:v>0</c:v>
                </c:pt>
                <c:pt idx="55751">
                  <c:v>0</c:v>
                </c:pt>
                <c:pt idx="55752">
                  <c:v>0</c:v>
                </c:pt>
                <c:pt idx="55753">
                  <c:v>0</c:v>
                </c:pt>
                <c:pt idx="55754">
                  <c:v>0</c:v>
                </c:pt>
                <c:pt idx="55755">
                  <c:v>0</c:v>
                </c:pt>
                <c:pt idx="55756">
                  <c:v>0</c:v>
                </c:pt>
                <c:pt idx="55757">
                  <c:v>0</c:v>
                </c:pt>
                <c:pt idx="55758">
                  <c:v>0</c:v>
                </c:pt>
                <c:pt idx="55759">
                  <c:v>0</c:v>
                </c:pt>
                <c:pt idx="55760">
                  <c:v>0</c:v>
                </c:pt>
                <c:pt idx="55761">
                  <c:v>0</c:v>
                </c:pt>
                <c:pt idx="55762">
                  <c:v>0</c:v>
                </c:pt>
                <c:pt idx="55763">
                  <c:v>0</c:v>
                </c:pt>
                <c:pt idx="55764">
                  <c:v>0</c:v>
                </c:pt>
                <c:pt idx="55765">
                  <c:v>0</c:v>
                </c:pt>
                <c:pt idx="55766">
                  <c:v>0</c:v>
                </c:pt>
                <c:pt idx="55767">
                  <c:v>0</c:v>
                </c:pt>
                <c:pt idx="55768">
                  <c:v>0</c:v>
                </c:pt>
                <c:pt idx="55769">
                  <c:v>0</c:v>
                </c:pt>
                <c:pt idx="55770">
                  <c:v>0</c:v>
                </c:pt>
                <c:pt idx="55771">
                  <c:v>0</c:v>
                </c:pt>
                <c:pt idx="55772">
                  <c:v>0</c:v>
                </c:pt>
                <c:pt idx="55773">
                  <c:v>0</c:v>
                </c:pt>
                <c:pt idx="55774">
                  <c:v>0</c:v>
                </c:pt>
                <c:pt idx="55775">
                  <c:v>0</c:v>
                </c:pt>
                <c:pt idx="55776">
                  <c:v>0</c:v>
                </c:pt>
                <c:pt idx="55777">
                  <c:v>0</c:v>
                </c:pt>
                <c:pt idx="55778">
                  <c:v>0</c:v>
                </c:pt>
                <c:pt idx="55779">
                  <c:v>0</c:v>
                </c:pt>
                <c:pt idx="55780">
                  <c:v>0</c:v>
                </c:pt>
                <c:pt idx="55781">
                  <c:v>0</c:v>
                </c:pt>
                <c:pt idx="55782">
                  <c:v>0</c:v>
                </c:pt>
                <c:pt idx="55783">
                  <c:v>0</c:v>
                </c:pt>
                <c:pt idx="55784">
                  <c:v>0</c:v>
                </c:pt>
                <c:pt idx="55785">
                  <c:v>0</c:v>
                </c:pt>
                <c:pt idx="55786">
                  <c:v>0</c:v>
                </c:pt>
                <c:pt idx="55787">
                  <c:v>0</c:v>
                </c:pt>
                <c:pt idx="55788">
                  <c:v>0</c:v>
                </c:pt>
                <c:pt idx="55789">
                  <c:v>0</c:v>
                </c:pt>
                <c:pt idx="55790">
                  <c:v>0</c:v>
                </c:pt>
                <c:pt idx="55791">
                  <c:v>0</c:v>
                </c:pt>
                <c:pt idx="55792">
                  <c:v>0</c:v>
                </c:pt>
                <c:pt idx="55793">
                  <c:v>0</c:v>
                </c:pt>
                <c:pt idx="55794">
                  <c:v>0</c:v>
                </c:pt>
                <c:pt idx="55795">
                  <c:v>0</c:v>
                </c:pt>
                <c:pt idx="55796">
                  <c:v>0</c:v>
                </c:pt>
                <c:pt idx="55797">
                  <c:v>0</c:v>
                </c:pt>
                <c:pt idx="55798">
                  <c:v>0</c:v>
                </c:pt>
                <c:pt idx="55799">
                  <c:v>0</c:v>
                </c:pt>
                <c:pt idx="55800">
                  <c:v>0</c:v>
                </c:pt>
                <c:pt idx="55801">
                  <c:v>0</c:v>
                </c:pt>
                <c:pt idx="55802">
                  <c:v>0</c:v>
                </c:pt>
                <c:pt idx="55803">
                  <c:v>0</c:v>
                </c:pt>
                <c:pt idx="55804">
                  <c:v>0</c:v>
                </c:pt>
                <c:pt idx="55805">
                  <c:v>0</c:v>
                </c:pt>
                <c:pt idx="55806">
                  <c:v>0</c:v>
                </c:pt>
                <c:pt idx="55807">
                  <c:v>0</c:v>
                </c:pt>
                <c:pt idx="55808">
                  <c:v>0</c:v>
                </c:pt>
                <c:pt idx="55809">
                  <c:v>0</c:v>
                </c:pt>
                <c:pt idx="55810">
                  <c:v>0</c:v>
                </c:pt>
                <c:pt idx="55811">
                  <c:v>0</c:v>
                </c:pt>
                <c:pt idx="55812">
                  <c:v>0</c:v>
                </c:pt>
                <c:pt idx="55813">
                  <c:v>0</c:v>
                </c:pt>
                <c:pt idx="55814">
                  <c:v>0</c:v>
                </c:pt>
                <c:pt idx="55815">
                  <c:v>0</c:v>
                </c:pt>
                <c:pt idx="55816">
                  <c:v>0</c:v>
                </c:pt>
                <c:pt idx="55817">
                  <c:v>0</c:v>
                </c:pt>
                <c:pt idx="55818">
                  <c:v>0</c:v>
                </c:pt>
                <c:pt idx="55819">
                  <c:v>0</c:v>
                </c:pt>
                <c:pt idx="55820">
                  <c:v>0</c:v>
                </c:pt>
                <c:pt idx="55821">
                  <c:v>0</c:v>
                </c:pt>
                <c:pt idx="55822">
                  <c:v>0</c:v>
                </c:pt>
                <c:pt idx="55823">
                  <c:v>0</c:v>
                </c:pt>
                <c:pt idx="55824">
                  <c:v>0</c:v>
                </c:pt>
                <c:pt idx="55825">
                  <c:v>0</c:v>
                </c:pt>
                <c:pt idx="55826">
                  <c:v>0</c:v>
                </c:pt>
                <c:pt idx="55827">
                  <c:v>0</c:v>
                </c:pt>
                <c:pt idx="55828">
                  <c:v>0</c:v>
                </c:pt>
                <c:pt idx="55829">
                  <c:v>0</c:v>
                </c:pt>
                <c:pt idx="55830">
                  <c:v>0</c:v>
                </c:pt>
                <c:pt idx="55831">
                  <c:v>0</c:v>
                </c:pt>
                <c:pt idx="55832">
                  <c:v>0</c:v>
                </c:pt>
                <c:pt idx="55833">
                  <c:v>0</c:v>
                </c:pt>
                <c:pt idx="55834">
                  <c:v>0</c:v>
                </c:pt>
                <c:pt idx="55835">
                  <c:v>0</c:v>
                </c:pt>
                <c:pt idx="55836">
                  <c:v>0</c:v>
                </c:pt>
                <c:pt idx="55837">
                  <c:v>0</c:v>
                </c:pt>
                <c:pt idx="55838">
                  <c:v>0</c:v>
                </c:pt>
                <c:pt idx="55839">
                  <c:v>0</c:v>
                </c:pt>
                <c:pt idx="55840">
                  <c:v>0</c:v>
                </c:pt>
                <c:pt idx="55841">
                  <c:v>0</c:v>
                </c:pt>
                <c:pt idx="55842">
                  <c:v>0</c:v>
                </c:pt>
                <c:pt idx="55843">
                  <c:v>0</c:v>
                </c:pt>
                <c:pt idx="55844">
                  <c:v>0</c:v>
                </c:pt>
                <c:pt idx="55845">
                  <c:v>0</c:v>
                </c:pt>
                <c:pt idx="55846">
                  <c:v>0</c:v>
                </c:pt>
                <c:pt idx="55847">
                  <c:v>0</c:v>
                </c:pt>
                <c:pt idx="55848">
                  <c:v>0</c:v>
                </c:pt>
                <c:pt idx="55849">
                  <c:v>0</c:v>
                </c:pt>
                <c:pt idx="55850">
                  <c:v>0</c:v>
                </c:pt>
                <c:pt idx="55851">
                  <c:v>0</c:v>
                </c:pt>
                <c:pt idx="55852">
                  <c:v>0</c:v>
                </c:pt>
                <c:pt idx="55853">
                  <c:v>0</c:v>
                </c:pt>
                <c:pt idx="55854">
                  <c:v>0</c:v>
                </c:pt>
                <c:pt idx="55855">
                  <c:v>0</c:v>
                </c:pt>
                <c:pt idx="55856">
                  <c:v>0</c:v>
                </c:pt>
                <c:pt idx="55857">
                  <c:v>0</c:v>
                </c:pt>
                <c:pt idx="55858">
                  <c:v>0</c:v>
                </c:pt>
                <c:pt idx="55859">
                  <c:v>0</c:v>
                </c:pt>
                <c:pt idx="55860">
                  <c:v>0</c:v>
                </c:pt>
                <c:pt idx="55861">
                  <c:v>0</c:v>
                </c:pt>
                <c:pt idx="55862">
                  <c:v>0</c:v>
                </c:pt>
                <c:pt idx="55863">
                  <c:v>0</c:v>
                </c:pt>
                <c:pt idx="55864">
                  <c:v>0</c:v>
                </c:pt>
                <c:pt idx="55865">
                  <c:v>0</c:v>
                </c:pt>
                <c:pt idx="55866">
                  <c:v>0</c:v>
                </c:pt>
                <c:pt idx="55867">
                  <c:v>0</c:v>
                </c:pt>
                <c:pt idx="55868">
                  <c:v>0</c:v>
                </c:pt>
                <c:pt idx="55869">
                  <c:v>0</c:v>
                </c:pt>
                <c:pt idx="55870">
                  <c:v>0</c:v>
                </c:pt>
                <c:pt idx="55871">
                  <c:v>0</c:v>
                </c:pt>
                <c:pt idx="55872">
                  <c:v>0</c:v>
                </c:pt>
                <c:pt idx="55873">
                  <c:v>0</c:v>
                </c:pt>
                <c:pt idx="55874">
                  <c:v>0</c:v>
                </c:pt>
                <c:pt idx="55875">
                  <c:v>0</c:v>
                </c:pt>
                <c:pt idx="55876">
                  <c:v>0</c:v>
                </c:pt>
                <c:pt idx="55877">
                  <c:v>0</c:v>
                </c:pt>
                <c:pt idx="55878">
                  <c:v>0</c:v>
                </c:pt>
                <c:pt idx="55879">
                  <c:v>0</c:v>
                </c:pt>
                <c:pt idx="55880">
                  <c:v>0</c:v>
                </c:pt>
                <c:pt idx="55881">
                  <c:v>0</c:v>
                </c:pt>
                <c:pt idx="55882">
                  <c:v>0</c:v>
                </c:pt>
                <c:pt idx="55883">
                  <c:v>0</c:v>
                </c:pt>
                <c:pt idx="55884">
                  <c:v>0</c:v>
                </c:pt>
                <c:pt idx="55885">
                  <c:v>0</c:v>
                </c:pt>
                <c:pt idx="55886">
                  <c:v>0</c:v>
                </c:pt>
                <c:pt idx="55887">
                  <c:v>0</c:v>
                </c:pt>
                <c:pt idx="55888">
                  <c:v>0</c:v>
                </c:pt>
                <c:pt idx="55889">
                  <c:v>0</c:v>
                </c:pt>
                <c:pt idx="55890">
                  <c:v>0</c:v>
                </c:pt>
                <c:pt idx="55891">
                  <c:v>0</c:v>
                </c:pt>
                <c:pt idx="55892">
                  <c:v>0</c:v>
                </c:pt>
                <c:pt idx="55893">
                  <c:v>0</c:v>
                </c:pt>
                <c:pt idx="55894">
                  <c:v>0</c:v>
                </c:pt>
                <c:pt idx="55895">
                  <c:v>0</c:v>
                </c:pt>
                <c:pt idx="55896">
                  <c:v>0</c:v>
                </c:pt>
                <c:pt idx="55897">
                  <c:v>0</c:v>
                </c:pt>
                <c:pt idx="55898">
                  <c:v>0</c:v>
                </c:pt>
                <c:pt idx="55899">
                  <c:v>0</c:v>
                </c:pt>
                <c:pt idx="55900">
                  <c:v>0</c:v>
                </c:pt>
                <c:pt idx="55901">
                  <c:v>0</c:v>
                </c:pt>
                <c:pt idx="55902">
                  <c:v>0</c:v>
                </c:pt>
                <c:pt idx="55903">
                  <c:v>0</c:v>
                </c:pt>
                <c:pt idx="55904">
                  <c:v>0</c:v>
                </c:pt>
                <c:pt idx="55905">
                  <c:v>0</c:v>
                </c:pt>
                <c:pt idx="55906">
                  <c:v>0</c:v>
                </c:pt>
                <c:pt idx="55907">
                  <c:v>0</c:v>
                </c:pt>
                <c:pt idx="55908">
                  <c:v>0</c:v>
                </c:pt>
                <c:pt idx="55909">
                  <c:v>0</c:v>
                </c:pt>
                <c:pt idx="55910">
                  <c:v>0</c:v>
                </c:pt>
                <c:pt idx="55911">
                  <c:v>0</c:v>
                </c:pt>
                <c:pt idx="55912">
                  <c:v>0</c:v>
                </c:pt>
                <c:pt idx="55913">
                  <c:v>0</c:v>
                </c:pt>
                <c:pt idx="55914">
                  <c:v>0</c:v>
                </c:pt>
                <c:pt idx="55915">
                  <c:v>0</c:v>
                </c:pt>
                <c:pt idx="55916">
                  <c:v>0</c:v>
                </c:pt>
                <c:pt idx="55917">
                  <c:v>0</c:v>
                </c:pt>
                <c:pt idx="55918">
                  <c:v>0</c:v>
                </c:pt>
                <c:pt idx="55919">
                  <c:v>0</c:v>
                </c:pt>
                <c:pt idx="55920">
                  <c:v>0</c:v>
                </c:pt>
                <c:pt idx="55921">
                  <c:v>0</c:v>
                </c:pt>
                <c:pt idx="55922">
                  <c:v>0</c:v>
                </c:pt>
                <c:pt idx="55923">
                  <c:v>0</c:v>
                </c:pt>
                <c:pt idx="55924">
                  <c:v>0</c:v>
                </c:pt>
                <c:pt idx="55925">
                  <c:v>0</c:v>
                </c:pt>
                <c:pt idx="55926">
                  <c:v>0</c:v>
                </c:pt>
                <c:pt idx="55927">
                  <c:v>0</c:v>
                </c:pt>
                <c:pt idx="55928">
                  <c:v>0</c:v>
                </c:pt>
                <c:pt idx="55929">
                  <c:v>0</c:v>
                </c:pt>
                <c:pt idx="55930">
                  <c:v>0</c:v>
                </c:pt>
                <c:pt idx="55931">
                  <c:v>0</c:v>
                </c:pt>
                <c:pt idx="55932">
                  <c:v>0</c:v>
                </c:pt>
                <c:pt idx="55933">
                  <c:v>0</c:v>
                </c:pt>
                <c:pt idx="55934">
                  <c:v>0</c:v>
                </c:pt>
                <c:pt idx="55935">
                  <c:v>0</c:v>
                </c:pt>
                <c:pt idx="55936">
                  <c:v>0</c:v>
                </c:pt>
                <c:pt idx="55937">
                  <c:v>0</c:v>
                </c:pt>
                <c:pt idx="55938">
                  <c:v>0</c:v>
                </c:pt>
                <c:pt idx="55939">
                  <c:v>0</c:v>
                </c:pt>
                <c:pt idx="55940">
                  <c:v>0</c:v>
                </c:pt>
                <c:pt idx="55941">
                  <c:v>0</c:v>
                </c:pt>
                <c:pt idx="55942">
                  <c:v>0</c:v>
                </c:pt>
                <c:pt idx="55943">
                  <c:v>0</c:v>
                </c:pt>
                <c:pt idx="55944">
                  <c:v>0</c:v>
                </c:pt>
                <c:pt idx="55945">
                  <c:v>0</c:v>
                </c:pt>
                <c:pt idx="55946">
                  <c:v>0</c:v>
                </c:pt>
                <c:pt idx="55947">
                  <c:v>0</c:v>
                </c:pt>
                <c:pt idx="55948">
                  <c:v>0</c:v>
                </c:pt>
                <c:pt idx="55949">
                  <c:v>0</c:v>
                </c:pt>
                <c:pt idx="55950">
                  <c:v>0</c:v>
                </c:pt>
                <c:pt idx="55951">
                  <c:v>0</c:v>
                </c:pt>
                <c:pt idx="55952">
                  <c:v>0</c:v>
                </c:pt>
                <c:pt idx="55953">
                  <c:v>0</c:v>
                </c:pt>
                <c:pt idx="55954">
                  <c:v>0</c:v>
                </c:pt>
                <c:pt idx="55955">
                  <c:v>0</c:v>
                </c:pt>
                <c:pt idx="55956">
                  <c:v>0</c:v>
                </c:pt>
                <c:pt idx="55957">
                  <c:v>0</c:v>
                </c:pt>
                <c:pt idx="55958">
                  <c:v>0</c:v>
                </c:pt>
                <c:pt idx="55959">
                  <c:v>0</c:v>
                </c:pt>
                <c:pt idx="55960">
                  <c:v>0</c:v>
                </c:pt>
                <c:pt idx="55961">
                  <c:v>0</c:v>
                </c:pt>
                <c:pt idx="55962">
                  <c:v>0</c:v>
                </c:pt>
                <c:pt idx="55963">
                  <c:v>0</c:v>
                </c:pt>
                <c:pt idx="55964">
                  <c:v>0</c:v>
                </c:pt>
                <c:pt idx="55965">
                  <c:v>0</c:v>
                </c:pt>
                <c:pt idx="55966">
                  <c:v>0</c:v>
                </c:pt>
                <c:pt idx="55967">
                  <c:v>0</c:v>
                </c:pt>
                <c:pt idx="55968">
                  <c:v>0</c:v>
                </c:pt>
                <c:pt idx="55969">
                  <c:v>0</c:v>
                </c:pt>
                <c:pt idx="55970">
                  <c:v>0</c:v>
                </c:pt>
                <c:pt idx="55971">
                  <c:v>0</c:v>
                </c:pt>
                <c:pt idx="55972">
                  <c:v>0</c:v>
                </c:pt>
                <c:pt idx="55973">
                  <c:v>0</c:v>
                </c:pt>
                <c:pt idx="55974">
                  <c:v>0</c:v>
                </c:pt>
                <c:pt idx="55975">
                  <c:v>0</c:v>
                </c:pt>
                <c:pt idx="55976">
                  <c:v>0</c:v>
                </c:pt>
                <c:pt idx="55977">
                  <c:v>0</c:v>
                </c:pt>
                <c:pt idx="55978">
                  <c:v>0</c:v>
                </c:pt>
                <c:pt idx="55979">
                  <c:v>0</c:v>
                </c:pt>
                <c:pt idx="55980">
                  <c:v>0</c:v>
                </c:pt>
                <c:pt idx="55981">
                  <c:v>0</c:v>
                </c:pt>
                <c:pt idx="55982">
                  <c:v>0</c:v>
                </c:pt>
                <c:pt idx="55983">
                  <c:v>0</c:v>
                </c:pt>
                <c:pt idx="55984">
                  <c:v>0</c:v>
                </c:pt>
                <c:pt idx="55985">
                  <c:v>0</c:v>
                </c:pt>
                <c:pt idx="55986">
                  <c:v>0</c:v>
                </c:pt>
                <c:pt idx="55987">
                  <c:v>0</c:v>
                </c:pt>
                <c:pt idx="55988">
                  <c:v>0</c:v>
                </c:pt>
                <c:pt idx="55989">
                  <c:v>0</c:v>
                </c:pt>
                <c:pt idx="55990">
                  <c:v>0</c:v>
                </c:pt>
                <c:pt idx="55991">
                  <c:v>0</c:v>
                </c:pt>
                <c:pt idx="55992">
                  <c:v>0</c:v>
                </c:pt>
                <c:pt idx="55993">
                  <c:v>0</c:v>
                </c:pt>
                <c:pt idx="55994">
                  <c:v>0</c:v>
                </c:pt>
                <c:pt idx="55995">
                  <c:v>0</c:v>
                </c:pt>
                <c:pt idx="55996">
                  <c:v>0</c:v>
                </c:pt>
                <c:pt idx="55997">
                  <c:v>0</c:v>
                </c:pt>
                <c:pt idx="55998">
                  <c:v>0</c:v>
                </c:pt>
                <c:pt idx="55999">
                  <c:v>0</c:v>
                </c:pt>
                <c:pt idx="56000">
                  <c:v>0</c:v>
                </c:pt>
                <c:pt idx="56001">
                  <c:v>0</c:v>
                </c:pt>
                <c:pt idx="56002">
                  <c:v>0</c:v>
                </c:pt>
                <c:pt idx="56003">
                  <c:v>0</c:v>
                </c:pt>
                <c:pt idx="56004">
                  <c:v>0</c:v>
                </c:pt>
                <c:pt idx="56005">
                  <c:v>0</c:v>
                </c:pt>
                <c:pt idx="56006">
                  <c:v>0</c:v>
                </c:pt>
                <c:pt idx="56007">
                  <c:v>0</c:v>
                </c:pt>
                <c:pt idx="56008">
                  <c:v>0</c:v>
                </c:pt>
                <c:pt idx="56009">
                  <c:v>0</c:v>
                </c:pt>
                <c:pt idx="56010">
                  <c:v>0</c:v>
                </c:pt>
                <c:pt idx="56011">
                  <c:v>0</c:v>
                </c:pt>
                <c:pt idx="56012">
                  <c:v>0</c:v>
                </c:pt>
                <c:pt idx="56013">
                  <c:v>0</c:v>
                </c:pt>
                <c:pt idx="56014">
                  <c:v>0</c:v>
                </c:pt>
                <c:pt idx="56015">
                  <c:v>0</c:v>
                </c:pt>
                <c:pt idx="56016">
                  <c:v>0</c:v>
                </c:pt>
                <c:pt idx="56017">
                  <c:v>0</c:v>
                </c:pt>
                <c:pt idx="56018">
                  <c:v>0</c:v>
                </c:pt>
                <c:pt idx="56019">
                  <c:v>0</c:v>
                </c:pt>
                <c:pt idx="56020">
                  <c:v>0</c:v>
                </c:pt>
                <c:pt idx="56021">
                  <c:v>0</c:v>
                </c:pt>
                <c:pt idx="56022">
                  <c:v>0</c:v>
                </c:pt>
                <c:pt idx="56023">
                  <c:v>0</c:v>
                </c:pt>
                <c:pt idx="56024">
                  <c:v>0</c:v>
                </c:pt>
                <c:pt idx="56025">
                  <c:v>0</c:v>
                </c:pt>
                <c:pt idx="56026">
                  <c:v>0</c:v>
                </c:pt>
                <c:pt idx="56027">
                  <c:v>0</c:v>
                </c:pt>
                <c:pt idx="56028">
                  <c:v>0</c:v>
                </c:pt>
                <c:pt idx="56029">
                  <c:v>0</c:v>
                </c:pt>
                <c:pt idx="56030">
                  <c:v>0</c:v>
                </c:pt>
                <c:pt idx="56031">
                  <c:v>0</c:v>
                </c:pt>
                <c:pt idx="56032">
                  <c:v>0</c:v>
                </c:pt>
                <c:pt idx="56033">
                  <c:v>0</c:v>
                </c:pt>
                <c:pt idx="56034">
                  <c:v>0</c:v>
                </c:pt>
                <c:pt idx="56035">
                  <c:v>0</c:v>
                </c:pt>
                <c:pt idx="56036">
                  <c:v>0</c:v>
                </c:pt>
                <c:pt idx="56037">
                  <c:v>0</c:v>
                </c:pt>
                <c:pt idx="56038">
                  <c:v>0</c:v>
                </c:pt>
                <c:pt idx="56039">
                  <c:v>0</c:v>
                </c:pt>
                <c:pt idx="56040">
                  <c:v>0</c:v>
                </c:pt>
                <c:pt idx="56041">
                  <c:v>0</c:v>
                </c:pt>
                <c:pt idx="56042">
                  <c:v>0</c:v>
                </c:pt>
                <c:pt idx="56043">
                  <c:v>0</c:v>
                </c:pt>
                <c:pt idx="56044">
                  <c:v>0</c:v>
                </c:pt>
                <c:pt idx="56045">
                  <c:v>0</c:v>
                </c:pt>
                <c:pt idx="56046">
                  <c:v>0</c:v>
                </c:pt>
                <c:pt idx="56047">
                  <c:v>0</c:v>
                </c:pt>
                <c:pt idx="56048">
                  <c:v>0</c:v>
                </c:pt>
                <c:pt idx="56049">
                  <c:v>0</c:v>
                </c:pt>
                <c:pt idx="56050">
                  <c:v>0</c:v>
                </c:pt>
                <c:pt idx="56051">
                  <c:v>0</c:v>
                </c:pt>
                <c:pt idx="56052">
                  <c:v>0</c:v>
                </c:pt>
                <c:pt idx="56053">
                  <c:v>0</c:v>
                </c:pt>
                <c:pt idx="56054">
                  <c:v>0</c:v>
                </c:pt>
                <c:pt idx="56055">
                  <c:v>0</c:v>
                </c:pt>
                <c:pt idx="56056">
                  <c:v>0</c:v>
                </c:pt>
                <c:pt idx="56057">
                  <c:v>0</c:v>
                </c:pt>
                <c:pt idx="56058">
                  <c:v>0</c:v>
                </c:pt>
                <c:pt idx="56059">
                  <c:v>0</c:v>
                </c:pt>
                <c:pt idx="56060">
                  <c:v>0</c:v>
                </c:pt>
                <c:pt idx="56061">
                  <c:v>0</c:v>
                </c:pt>
                <c:pt idx="56062">
                  <c:v>0</c:v>
                </c:pt>
                <c:pt idx="56063">
                  <c:v>0</c:v>
                </c:pt>
                <c:pt idx="56064">
                  <c:v>0</c:v>
                </c:pt>
                <c:pt idx="56065">
                  <c:v>0</c:v>
                </c:pt>
                <c:pt idx="56066">
                  <c:v>0</c:v>
                </c:pt>
                <c:pt idx="56067">
                  <c:v>0</c:v>
                </c:pt>
                <c:pt idx="56068">
                  <c:v>0</c:v>
                </c:pt>
                <c:pt idx="56069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6FD-4758-903B-B68F964CC64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TGAN</c:v>
                </c:pt>
              </c:strCache>
            </c:strRef>
          </c:tx>
          <c:spPr>
            <a:ln w="28575" cap="rnd">
              <a:solidFill>
                <a:srgbClr val="5D6AED"/>
              </a:solidFill>
              <a:round/>
            </a:ln>
            <a:effectLst/>
          </c:spPr>
          <c:marker>
            <c:symbol val="none"/>
          </c:marker>
          <c:cat>
            <c:numRef>
              <c:f>Sheet1!$A$2:$A$56071</c:f>
              <c:numCache>
                <c:formatCode>0%</c:formatCode>
                <c:ptCount val="56070"/>
                <c:pt idx="0">
                  <c:v>0</c:v>
                </c:pt>
                <c:pt idx="1">
                  <c:v>1.78348492955234E-5</c:v>
                </c:pt>
                <c:pt idx="2">
                  <c:v>3.5669698591046902E-5</c:v>
                </c:pt>
                <c:pt idx="3">
                  <c:v>5.3504547886570302E-5</c:v>
                </c:pt>
                <c:pt idx="4">
                  <c:v>7.1339397182093803E-5</c:v>
                </c:pt>
                <c:pt idx="5">
                  <c:v>8.9174246477617203E-5</c:v>
                </c:pt>
                <c:pt idx="6">
                  <c:v>1.0700909577313999E-4</c:v>
                </c:pt>
                <c:pt idx="7">
                  <c:v>1.24843945068664E-4</c:v>
                </c:pt>
                <c:pt idx="8">
                  <c:v>1.4267879436418701E-4</c:v>
                </c:pt>
                <c:pt idx="9">
                  <c:v>1.6051364365971099E-4</c:v>
                </c:pt>
                <c:pt idx="10">
                  <c:v>1.78348492955234E-4</c:v>
                </c:pt>
                <c:pt idx="11">
                  <c:v>1.9618334225075701E-4</c:v>
                </c:pt>
                <c:pt idx="12">
                  <c:v>2.1401819154628099E-4</c:v>
                </c:pt>
                <c:pt idx="13">
                  <c:v>2.31853040841804E-4</c:v>
                </c:pt>
                <c:pt idx="14">
                  <c:v>2.4968789013732801E-4</c:v>
                </c:pt>
                <c:pt idx="15">
                  <c:v>2.6752273943285101E-4</c:v>
                </c:pt>
                <c:pt idx="16">
                  <c:v>2.85357588728375E-4</c:v>
                </c:pt>
                <c:pt idx="17">
                  <c:v>3.03192438023898E-4</c:v>
                </c:pt>
                <c:pt idx="18">
                  <c:v>3.2102728731942199E-4</c:v>
                </c:pt>
                <c:pt idx="19">
                  <c:v>3.3886213661494499E-4</c:v>
                </c:pt>
                <c:pt idx="20">
                  <c:v>3.5669698591046898E-4</c:v>
                </c:pt>
                <c:pt idx="21">
                  <c:v>3.7453183520599198E-4</c:v>
                </c:pt>
                <c:pt idx="22">
                  <c:v>3.9236668450151499E-4</c:v>
                </c:pt>
                <c:pt idx="23">
                  <c:v>4.1020153379703903E-4</c:v>
                </c:pt>
                <c:pt idx="24">
                  <c:v>4.2803638309256198E-4</c:v>
                </c:pt>
                <c:pt idx="25">
                  <c:v>4.4587123238808602E-4</c:v>
                </c:pt>
                <c:pt idx="26">
                  <c:v>4.6370608168360902E-4</c:v>
                </c:pt>
                <c:pt idx="27">
                  <c:v>4.8154093097913301E-4</c:v>
                </c:pt>
                <c:pt idx="28">
                  <c:v>4.9937578027465601E-4</c:v>
                </c:pt>
                <c:pt idx="29">
                  <c:v>5.1721062957018E-4</c:v>
                </c:pt>
                <c:pt idx="30">
                  <c:v>5.35045478865703E-4</c:v>
                </c:pt>
                <c:pt idx="31">
                  <c:v>5.5288032816122698E-4</c:v>
                </c:pt>
                <c:pt idx="32">
                  <c:v>5.7071517745674999E-4</c:v>
                </c:pt>
                <c:pt idx="33">
                  <c:v>5.8855002675227397E-4</c:v>
                </c:pt>
                <c:pt idx="34">
                  <c:v>6.0638487604779698E-4</c:v>
                </c:pt>
                <c:pt idx="35">
                  <c:v>6.2421972534331999E-4</c:v>
                </c:pt>
                <c:pt idx="36">
                  <c:v>6.4205457463884397E-4</c:v>
                </c:pt>
                <c:pt idx="37">
                  <c:v>6.5988942393436698E-4</c:v>
                </c:pt>
                <c:pt idx="38">
                  <c:v>6.7772427322989096E-4</c:v>
                </c:pt>
                <c:pt idx="39">
                  <c:v>6.9555912252541397E-4</c:v>
                </c:pt>
                <c:pt idx="40">
                  <c:v>7.1339397182093795E-4</c:v>
                </c:pt>
                <c:pt idx="41">
                  <c:v>7.3122882111646096E-4</c:v>
                </c:pt>
                <c:pt idx="42">
                  <c:v>7.4906367041198505E-4</c:v>
                </c:pt>
                <c:pt idx="43">
                  <c:v>7.6689851970750795E-4</c:v>
                </c:pt>
                <c:pt idx="44">
                  <c:v>7.8473336900303095E-4</c:v>
                </c:pt>
                <c:pt idx="45">
                  <c:v>8.0256821829855505E-4</c:v>
                </c:pt>
                <c:pt idx="46">
                  <c:v>8.2040306759407805E-4</c:v>
                </c:pt>
                <c:pt idx="47">
                  <c:v>8.3823791688960203E-4</c:v>
                </c:pt>
                <c:pt idx="48">
                  <c:v>8.5607276618512504E-4</c:v>
                </c:pt>
                <c:pt idx="49">
                  <c:v>8.7390761548064902E-4</c:v>
                </c:pt>
                <c:pt idx="50">
                  <c:v>8.9174246477617203E-4</c:v>
                </c:pt>
                <c:pt idx="51">
                  <c:v>9.0957731407169601E-4</c:v>
                </c:pt>
                <c:pt idx="52">
                  <c:v>9.2741216336721902E-4</c:v>
                </c:pt>
                <c:pt idx="53">
                  <c:v>9.45247012662743E-4</c:v>
                </c:pt>
                <c:pt idx="54">
                  <c:v>9.6308186195826601E-4</c:v>
                </c:pt>
                <c:pt idx="55">
                  <c:v>9.8091671125378902E-4</c:v>
                </c:pt>
                <c:pt idx="56">
                  <c:v>9.9875156054931289E-4</c:v>
                </c:pt>
                <c:pt idx="57">
                  <c:v>1.01658640984483E-3</c:v>
                </c:pt>
                <c:pt idx="58">
                  <c:v>1.03442125914036E-3</c:v>
                </c:pt>
                <c:pt idx="59">
                  <c:v>1.05225610843588E-3</c:v>
                </c:pt>
                <c:pt idx="60">
                  <c:v>1.0700909577313999E-3</c:v>
                </c:pt>
                <c:pt idx="61">
                  <c:v>1.0879258070269301E-3</c:v>
                </c:pt>
                <c:pt idx="62">
                  <c:v>1.1057606563224501E-3</c:v>
                </c:pt>
                <c:pt idx="63">
                  <c:v>1.12359550561797E-3</c:v>
                </c:pt>
                <c:pt idx="64">
                  <c:v>1.1414303549135E-3</c:v>
                </c:pt>
                <c:pt idx="65">
                  <c:v>1.15926520420902E-3</c:v>
                </c:pt>
                <c:pt idx="66">
                  <c:v>1.1771000535045399E-3</c:v>
                </c:pt>
                <c:pt idx="67">
                  <c:v>1.1949349028000701E-3</c:v>
                </c:pt>
                <c:pt idx="68">
                  <c:v>1.2127697520955901E-3</c:v>
                </c:pt>
                <c:pt idx="69">
                  <c:v>1.23060460139111E-3</c:v>
                </c:pt>
                <c:pt idx="70">
                  <c:v>1.24843945068664E-3</c:v>
                </c:pt>
                <c:pt idx="71">
                  <c:v>1.2662742999821599E-3</c:v>
                </c:pt>
                <c:pt idx="72">
                  <c:v>1.2841091492776799E-3</c:v>
                </c:pt>
                <c:pt idx="73">
                  <c:v>1.3019439985732101E-3</c:v>
                </c:pt>
                <c:pt idx="74">
                  <c:v>1.3197788478687301E-3</c:v>
                </c:pt>
                <c:pt idx="75">
                  <c:v>1.33761369716425E-3</c:v>
                </c:pt>
                <c:pt idx="76">
                  <c:v>1.35544854645978E-3</c:v>
                </c:pt>
                <c:pt idx="77">
                  <c:v>1.3732833957552999E-3</c:v>
                </c:pt>
                <c:pt idx="78">
                  <c:v>1.3911182450508199E-3</c:v>
                </c:pt>
                <c:pt idx="79">
                  <c:v>1.4089530943463501E-3</c:v>
                </c:pt>
                <c:pt idx="80">
                  <c:v>1.42678794364187E-3</c:v>
                </c:pt>
                <c:pt idx="81">
                  <c:v>1.44462279293739E-3</c:v>
                </c:pt>
                <c:pt idx="82">
                  <c:v>1.46245764223292E-3</c:v>
                </c:pt>
                <c:pt idx="83">
                  <c:v>1.4802924915284399E-3</c:v>
                </c:pt>
                <c:pt idx="84">
                  <c:v>1.4981273408239701E-3</c:v>
                </c:pt>
                <c:pt idx="85">
                  <c:v>1.5159621901194901E-3</c:v>
                </c:pt>
                <c:pt idx="86">
                  <c:v>1.53379703941501E-3</c:v>
                </c:pt>
                <c:pt idx="87">
                  <c:v>1.55163188871054E-3</c:v>
                </c:pt>
                <c:pt idx="88">
                  <c:v>1.56946673800606E-3</c:v>
                </c:pt>
                <c:pt idx="89">
                  <c:v>1.5873015873015799E-3</c:v>
                </c:pt>
                <c:pt idx="90">
                  <c:v>1.6051364365971101E-3</c:v>
                </c:pt>
                <c:pt idx="91">
                  <c:v>1.6229712858926301E-3</c:v>
                </c:pt>
                <c:pt idx="92">
                  <c:v>1.64080613518815E-3</c:v>
                </c:pt>
                <c:pt idx="93">
                  <c:v>1.65864098448368E-3</c:v>
                </c:pt>
                <c:pt idx="94">
                  <c:v>1.6764758337791999E-3</c:v>
                </c:pt>
                <c:pt idx="95">
                  <c:v>1.6943106830747199E-3</c:v>
                </c:pt>
                <c:pt idx="96">
                  <c:v>1.7121455323702501E-3</c:v>
                </c:pt>
                <c:pt idx="97">
                  <c:v>1.7299803816657701E-3</c:v>
                </c:pt>
                <c:pt idx="98">
                  <c:v>1.74781523096129E-3</c:v>
                </c:pt>
                <c:pt idx="99">
                  <c:v>1.76565008025682E-3</c:v>
                </c:pt>
                <c:pt idx="100">
                  <c:v>1.7834849295523399E-3</c:v>
                </c:pt>
                <c:pt idx="101">
                  <c:v>1.8013197788478599E-3</c:v>
                </c:pt>
                <c:pt idx="102">
                  <c:v>1.8191546281433901E-3</c:v>
                </c:pt>
                <c:pt idx="103">
                  <c:v>1.83698947743891E-3</c:v>
                </c:pt>
                <c:pt idx="104">
                  <c:v>1.85482432673443E-3</c:v>
                </c:pt>
                <c:pt idx="105">
                  <c:v>1.87265917602996E-3</c:v>
                </c:pt>
                <c:pt idx="106">
                  <c:v>1.8904940253254799E-3</c:v>
                </c:pt>
                <c:pt idx="107">
                  <c:v>1.9083288746209999E-3</c:v>
                </c:pt>
                <c:pt idx="108">
                  <c:v>1.9261637239165301E-3</c:v>
                </c:pt>
                <c:pt idx="109">
                  <c:v>1.94399857321205E-3</c:v>
                </c:pt>
                <c:pt idx="110">
                  <c:v>1.9618334225075698E-3</c:v>
                </c:pt>
                <c:pt idx="111">
                  <c:v>1.9796682718031E-3</c:v>
                </c:pt>
                <c:pt idx="112">
                  <c:v>1.9975031210986201E-3</c:v>
                </c:pt>
                <c:pt idx="113">
                  <c:v>2.0153379703941499E-3</c:v>
                </c:pt>
                <c:pt idx="114">
                  <c:v>2.0331728196896701E-3</c:v>
                </c:pt>
                <c:pt idx="115">
                  <c:v>2.0510076689851898E-3</c:v>
                </c:pt>
                <c:pt idx="116">
                  <c:v>2.06884251828072E-3</c:v>
                </c:pt>
                <c:pt idx="117">
                  <c:v>2.0866773675762402E-3</c:v>
                </c:pt>
                <c:pt idx="118">
                  <c:v>2.1045122168717599E-3</c:v>
                </c:pt>
                <c:pt idx="119">
                  <c:v>2.1223470661672901E-3</c:v>
                </c:pt>
                <c:pt idx="120">
                  <c:v>2.1401819154628098E-3</c:v>
                </c:pt>
                <c:pt idx="121">
                  <c:v>2.15801676475833E-3</c:v>
                </c:pt>
                <c:pt idx="122">
                  <c:v>2.1758516140538602E-3</c:v>
                </c:pt>
                <c:pt idx="123">
                  <c:v>2.1936864633493799E-3</c:v>
                </c:pt>
                <c:pt idx="124">
                  <c:v>2.2115213126449001E-3</c:v>
                </c:pt>
                <c:pt idx="125">
                  <c:v>2.2293561619404299E-3</c:v>
                </c:pt>
                <c:pt idx="126">
                  <c:v>2.24719101123595E-3</c:v>
                </c:pt>
                <c:pt idx="127">
                  <c:v>2.2650258605314698E-3</c:v>
                </c:pt>
                <c:pt idx="128">
                  <c:v>2.282860709827E-3</c:v>
                </c:pt>
                <c:pt idx="129">
                  <c:v>2.3006955591225202E-3</c:v>
                </c:pt>
                <c:pt idx="130">
                  <c:v>2.3185304084180399E-3</c:v>
                </c:pt>
                <c:pt idx="131">
                  <c:v>2.3363652577135701E-3</c:v>
                </c:pt>
                <c:pt idx="132">
                  <c:v>2.3542001070090898E-3</c:v>
                </c:pt>
                <c:pt idx="133">
                  <c:v>2.37203495630461E-3</c:v>
                </c:pt>
                <c:pt idx="134">
                  <c:v>2.3898698056001402E-3</c:v>
                </c:pt>
                <c:pt idx="135">
                  <c:v>2.4077046548956599E-3</c:v>
                </c:pt>
                <c:pt idx="136">
                  <c:v>2.4255395041911801E-3</c:v>
                </c:pt>
                <c:pt idx="137">
                  <c:v>2.4433743534867098E-3</c:v>
                </c:pt>
                <c:pt idx="138">
                  <c:v>2.46120920278223E-3</c:v>
                </c:pt>
                <c:pt idx="139">
                  <c:v>2.4790440520777498E-3</c:v>
                </c:pt>
                <c:pt idx="140">
                  <c:v>2.49687890137328E-3</c:v>
                </c:pt>
                <c:pt idx="141">
                  <c:v>2.5147137506688001E-3</c:v>
                </c:pt>
                <c:pt idx="142">
                  <c:v>2.5325485999643299E-3</c:v>
                </c:pt>
                <c:pt idx="143">
                  <c:v>2.5503834492598501E-3</c:v>
                </c:pt>
                <c:pt idx="144">
                  <c:v>2.5682182985553698E-3</c:v>
                </c:pt>
                <c:pt idx="145">
                  <c:v>2.5860531478509E-3</c:v>
                </c:pt>
                <c:pt idx="146">
                  <c:v>2.6038879971464202E-3</c:v>
                </c:pt>
                <c:pt idx="147">
                  <c:v>2.6217228464419399E-3</c:v>
                </c:pt>
                <c:pt idx="148">
                  <c:v>2.6395576957374701E-3</c:v>
                </c:pt>
                <c:pt idx="149">
                  <c:v>2.6573925450329898E-3</c:v>
                </c:pt>
                <c:pt idx="150">
                  <c:v>2.67522739432851E-3</c:v>
                </c:pt>
                <c:pt idx="151">
                  <c:v>2.6930622436240402E-3</c:v>
                </c:pt>
                <c:pt idx="152">
                  <c:v>2.7108970929195599E-3</c:v>
                </c:pt>
                <c:pt idx="153">
                  <c:v>2.7287319422150801E-3</c:v>
                </c:pt>
                <c:pt idx="154">
                  <c:v>2.7465667915106099E-3</c:v>
                </c:pt>
                <c:pt idx="155">
                  <c:v>2.76440164080613E-3</c:v>
                </c:pt>
                <c:pt idx="156">
                  <c:v>2.7822364901016498E-3</c:v>
                </c:pt>
                <c:pt idx="157">
                  <c:v>2.80007133939718E-3</c:v>
                </c:pt>
                <c:pt idx="158">
                  <c:v>2.8179061886927001E-3</c:v>
                </c:pt>
                <c:pt idx="159">
                  <c:v>2.8357410379882199E-3</c:v>
                </c:pt>
                <c:pt idx="160">
                  <c:v>2.8535758872837501E-3</c:v>
                </c:pt>
                <c:pt idx="161">
                  <c:v>2.8714107365792698E-3</c:v>
                </c:pt>
                <c:pt idx="162">
                  <c:v>2.88924558587479E-3</c:v>
                </c:pt>
                <c:pt idx="163">
                  <c:v>2.9070804351703202E-3</c:v>
                </c:pt>
                <c:pt idx="164">
                  <c:v>2.9249152844658399E-3</c:v>
                </c:pt>
                <c:pt idx="165">
                  <c:v>2.9427501337613601E-3</c:v>
                </c:pt>
                <c:pt idx="166">
                  <c:v>2.9605849830568898E-3</c:v>
                </c:pt>
                <c:pt idx="167">
                  <c:v>2.97841983235241E-3</c:v>
                </c:pt>
                <c:pt idx="168">
                  <c:v>2.9962546816479402E-3</c:v>
                </c:pt>
                <c:pt idx="169">
                  <c:v>3.0140895309434599E-3</c:v>
                </c:pt>
                <c:pt idx="170">
                  <c:v>3.0319243802389801E-3</c:v>
                </c:pt>
                <c:pt idx="171">
                  <c:v>3.0497592295345099E-3</c:v>
                </c:pt>
                <c:pt idx="172">
                  <c:v>3.0675940788300301E-3</c:v>
                </c:pt>
                <c:pt idx="173">
                  <c:v>3.0854289281255498E-3</c:v>
                </c:pt>
                <c:pt idx="174">
                  <c:v>3.10326377742108E-3</c:v>
                </c:pt>
                <c:pt idx="175">
                  <c:v>3.1210986267166002E-3</c:v>
                </c:pt>
                <c:pt idx="176">
                  <c:v>3.1389334760121199E-3</c:v>
                </c:pt>
                <c:pt idx="177">
                  <c:v>3.1567683253076501E-3</c:v>
                </c:pt>
                <c:pt idx="178">
                  <c:v>3.1746031746031698E-3</c:v>
                </c:pt>
                <c:pt idx="179">
                  <c:v>3.19243802389869E-3</c:v>
                </c:pt>
                <c:pt idx="180">
                  <c:v>3.2102728731942202E-3</c:v>
                </c:pt>
                <c:pt idx="181">
                  <c:v>3.2281077224897399E-3</c:v>
                </c:pt>
                <c:pt idx="182">
                  <c:v>3.2459425717852601E-3</c:v>
                </c:pt>
                <c:pt idx="183">
                  <c:v>3.2637774210807899E-3</c:v>
                </c:pt>
                <c:pt idx="184">
                  <c:v>3.28161227037631E-3</c:v>
                </c:pt>
                <c:pt idx="185">
                  <c:v>3.2994471196718298E-3</c:v>
                </c:pt>
                <c:pt idx="186">
                  <c:v>3.31728196896736E-3</c:v>
                </c:pt>
                <c:pt idx="187">
                  <c:v>3.3351168182628801E-3</c:v>
                </c:pt>
                <c:pt idx="188">
                  <c:v>3.3529516675583999E-3</c:v>
                </c:pt>
                <c:pt idx="189">
                  <c:v>3.3707865168539301E-3</c:v>
                </c:pt>
                <c:pt idx="190">
                  <c:v>3.3886213661494498E-3</c:v>
                </c:pt>
                <c:pt idx="191">
                  <c:v>3.40645621544497E-3</c:v>
                </c:pt>
                <c:pt idx="192">
                  <c:v>3.4242910647405002E-3</c:v>
                </c:pt>
                <c:pt idx="193">
                  <c:v>3.4421259140360199E-3</c:v>
                </c:pt>
                <c:pt idx="194">
                  <c:v>3.4599607633315401E-3</c:v>
                </c:pt>
                <c:pt idx="195">
                  <c:v>3.4777956126270698E-3</c:v>
                </c:pt>
                <c:pt idx="196">
                  <c:v>3.49563046192259E-3</c:v>
                </c:pt>
                <c:pt idx="197">
                  <c:v>3.5134653112181202E-3</c:v>
                </c:pt>
                <c:pt idx="198">
                  <c:v>3.5313001605136399E-3</c:v>
                </c:pt>
                <c:pt idx="199">
                  <c:v>3.5491350098091601E-3</c:v>
                </c:pt>
                <c:pt idx="200">
                  <c:v>3.5669698591046899E-3</c:v>
                </c:pt>
                <c:pt idx="201">
                  <c:v>3.58480470840021E-3</c:v>
                </c:pt>
                <c:pt idx="202">
                  <c:v>3.6026395576957298E-3</c:v>
                </c:pt>
                <c:pt idx="203">
                  <c:v>3.62047440699126E-3</c:v>
                </c:pt>
                <c:pt idx="204">
                  <c:v>3.6383092562867802E-3</c:v>
                </c:pt>
                <c:pt idx="205">
                  <c:v>3.6561441055822999E-3</c:v>
                </c:pt>
                <c:pt idx="206">
                  <c:v>3.6739789548778301E-3</c:v>
                </c:pt>
                <c:pt idx="207">
                  <c:v>3.6918138041733498E-3</c:v>
                </c:pt>
                <c:pt idx="208">
                  <c:v>3.70964865346887E-3</c:v>
                </c:pt>
                <c:pt idx="209">
                  <c:v>3.7274835027644002E-3</c:v>
                </c:pt>
                <c:pt idx="210">
                  <c:v>3.7453183520599199E-3</c:v>
                </c:pt>
                <c:pt idx="211">
                  <c:v>3.7631532013554401E-3</c:v>
                </c:pt>
                <c:pt idx="212">
                  <c:v>3.7809880506509698E-3</c:v>
                </c:pt>
                <c:pt idx="213">
                  <c:v>3.79882289994649E-3</c:v>
                </c:pt>
                <c:pt idx="214">
                  <c:v>3.8166577492420098E-3</c:v>
                </c:pt>
                <c:pt idx="215">
                  <c:v>3.83449259853754E-3</c:v>
                </c:pt>
                <c:pt idx="216">
                  <c:v>3.8523274478330601E-3</c:v>
                </c:pt>
                <c:pt idx="217">
                  <c:v>3.8701622971285799E-3</c:v>
                </c:pt>
                <c:pt idx="218">
                  <c:v>3.8879971464241101E-3</c:v>
                </c:pt>
                <c:pt idx="219">
                  <c:v>3.9058319957196298E-3</c:v>
                </c:pt>
                <c:pt idx="220">
                  <c:v>3.92366684501515E-3</c:v>
                </c:pt>
                <c:pt idx="221">
                  <c:v>3.9415016943106802E-3</c:v>
                </c:pt>
                <c:pt idx="222">
                  <c:v>3.9593365436061999E-3</c:v>
                </c:pt>
                <c:pt idx="223">
                  <c:v>3.9771713929017301E-3</c:v>
                </c:pt>
                <c:pt idx="224">
                  <c:v>3.9950062421972498E-3</c:v>
                </c:pt>
                <c:pt idx="225">
                  <c:v>4.0128410914927696E-3</c:v>
                </c:pt>
                <c:pt idx="226">
                  <c:v>4.0306759407882998E-3</c:v>
                </c:pt>
                <c:pt idx="227">
                  <c:v>4.0485107900838204E-3</c:v>
                </c:pt>
                <c:pt idx="228">
                  <c:v>4.0663456393793401E-3</c:v>
                </c:pt>
                <c:pt idx="229">
                  <c:v>4.0841804886748703E-3</c:v>
                </c:pt>
                <c:pt idx="230">
                  <c:v>4.10201533797039E-3</c:v>
                </c:pt>
                <c:pt idx="231">
                  <c:v>4.1198501872659098E-3</c:v>
                </c:pt>
                <c:pt idx="232">
                  <c:v>4.13768503656144E-3</c:v>
                </c:pt>
                <c:pt idx="233">
                  <c:v>4.1555198858569597E-3</c:v>
                </c:pt>
                <c:pt idx="234">
                  <c:v>4.1733547351524803E-3</c:v>
                </c:pt>
                <c:pt idx="235">
                  <c:v>4.1911895844480096E-3</c:v>
                </c:pt>
                <c:pt idx="236">
                  <c:v>4.2090244337435303E-3</c:v>
                </c:pt>
                <c:pt idx="237">
                  <c:v>4.22685928303905E-3</c:v>
                </c:pt>
                <c:pt idx="238">
                  <c:v>4.2446941323345802E-3</c:v>
                </c:pt>
                <c:pt idx="239">
                  <c:v>4.2625289816300999E-3</c:v>
                </c:pt>
                <c:pt idx="240">
                  <c:v>4.2803638309256197E-3</c:v>
                </c:pt>
                <c:pt idx="241">
                  <c:v>4.2981986802211498E-3</c:v>
                </c:pt>
                <c:pt idx="242">
                  <c:v>4.3160335295166696E-3</c:v>
                </c:pt>
                <c:pt idx="243">
                  <c:v>4.3338683788121902E-3</c:v>
                </c:pt>
                <c:pt idx="244">
                  <c:v>4.3517032281077204E-3</c:v>
                </c:pt>
                <c:pt idx="245">
                  <c:v>4.3695380774032401E-3</c:v>
                </c:pt>
                <c:pt idx="246">
                  <c:v>4.3873729266987599E-3</c:v>
                </c:pt>
                <c:pt idx="247">
                  <c:v>4.4052077759942901E-3</c:v>
                </c:pt>
                <c:pt idx="248">
                  <c:v>4.4230426252898098E-3</c:v>
                </c:pt>
                <c:pt idx="249">
                  <c:v>4.44087747458534E-3</c:v>
                </c:pt>
                <c:pt idx="250">
                  <c:v>4.4587123238808597E-3</c:v>
                </c:pt>
                <c:pt idx="251">
                  <c:v>4.4765471731763803E-3</c:v>
                </c:pt>
                <c:pt idx="252">
                  <c:v>4.4943820224719096E-3</c:v>
                </c:pt>
                <c:pt idx="253">
                  <c:v>4.5122168717674303E-3</c:v>
                </c:pt>
                <c:pt idx="254">
                  <c:v>4.53005172106295E-3</c:v>
                </c:pt>
                <c:pt idx="255">
                  <c:v>4.5478865703584802E-3</c:v>
                </c:pt>
                <c:pt idx="256">
                  <c:v>4.5657214196539999E-3</c:v>
                </c:pt>
                <c:pt idx="257">
                  <c:v>4.5835562689495197E-3</c:v>
                </c:pt>
                <c:pt idx="258">
                  <c:v>4.6013911182450499E-3</c:v>
                </c:pt>
                <c:pt idx="259">
                  <c:v>4.6192259675405696E-3</c:v>
                </c:pt>
                <c:pt idx="260">
                  <c:v>4.6370608168360902E-3</c:v>
                </c:pt>
                <c:pt idx="261">
                  <c:v>4.6548956661316204E-3</c:v>
                </c:pt>
                <c:pt idx="262">
                  <c:v>4.6727305154271401E-3</c:v>
                </c:pt>
                <c:pt idx="263">
                  <c:v>4.6905653647226599E-3</c:v>
                </c:pt>
                <c:pt idx="264">
                  <c:v>4.7084002140181901E-3</c:v>
                </c:pt>
                <c:pt idx="265">
                  <c:v>4.7262350633137098E-3</c:v>
                </c:pt>
                <c:pt idx="266">
                  <c:v>4.7440699126092296E-3</c:v>
                </c:pt>
                <c:pt idx="267">
                  <c:v>4.7619047619047597E-3</c:v>
                </c:pt>
                <c:pt idx="268">
                  <c:v>4.7797396112002804E-3</c:v>
                </c:pt>
                <c:pt idx="269">
                  <c:v>4.7975744604958001E-3</c:v>
                </c:pt>
                <c:pt idx="270">
                  <c:v>4.8154093097913303E-3</c:v>
                </c:pt>
                <c:pt idx="271">
                  <c:v>4.83324415908685E-3</c:v>
                </c:pt>
                <c:pt idx="272">
                  <c:v>4.8510790083823698E-3</c:v>
                </c:pt>
                <c:pt idx="273">
                  <c:v>4.8689138576778999E-3</c:v>
                </c:pt>
                <c:pt idx="274">
                  <c:v>4.8867487069734197E-3</c:v>
                </c:pt>
                <c:pt idx="275">
                  <c:v>4.9045835562689499E-3</c:v>
                </c:pt>
                <c:pt idx="276">
                  <c:v>4.9224184055644696E-3</c:v>
                </c:pt>
                <c:pt idx="277">
                  <c:v>4.9402532548599902E-3</c:v>
                </c:pt>
                <c:pt idx="278">
                  <c:v>4.95808810415551E-3</c:v>
                </c:pt>
                <c:pt idx="279">
                  <c:v>4.9759229534510402E-3</c:v>
                </c:pt>
                <c:pt idx="280">
                  <c:v>4.9937578027465599E-3</c:v>
                </c:pt>
                <c:pt idx="281">
                  <c:v>5.0115926520420901E-3</c:v>
                </c:pt>
                <c:pt idx="282">
                  <c:v>5.0294275013376098E-3</c:v>
                </c:pt>
                <c:pt idx="283">
                  <c:v>5.0472623506331296E-3</c:v>
                </c:pt>
                <c:pt idx="284">
                  <c:v>5.0650971999286597E-3</c:v>
                </c:pt>
                <c:pt idx="285">
                  <c:v>5.0829320492241804E-3</c:v>
                </c:pt>
                <c:pt idx="286">
                  <c:v>5.1007668985197001E-3</c:v>
                </c:pt>
                <c:pt idx="287">
                  <c:v>5.1186017478152303E-3</c:v>
                </c:pt>
                <c:pt idx="288">
                  <c:v>5.13643659711075E-3</c:v>
                </c:pt>
                <c:pt idx="289">
                  <c:v>5.1542714464062698E-3</c:v>
                </c:pt>
                <c:pt idx="290">
                  <c:v>5.1721062957018E-3</c:v>
                </c:pt>
                <c:pt idx="291">
                  <c:v>5.1899411449973197E-3</c:v>
                </c:pt>
                <c:pt idx="292">
                  <c:v>5.2077759942928403E-3</c:v>
                </c:pt>
                <c:pt idx="293">
                  <c:v>5.2256108435883696E-3</c:v>
                </c:pt>
                <c:pt idx="294">
                  <c:v>5.2434456928838902E-3</c:v>
                </c:pt>
                <c:pt idx="295">
                  <c:v>5.26128054217941E-3</c:v>
                </c:pt>
                <c:pt idx="296">
                  <c:v>5.2791153914749402E-3</c:v>
                </c:pt>
                <c:pt idx="297">
                  <c:v>5.2969502407704599E-3</c:v>
                </c:pt>
                <c:pt idx="298">
                  <c:v>5.3147850900659797E-3</c:v>
                </c:pt>
                <c:pt idx="299">
                  <c:v>5.3326199393615098E-3</c:v>
                </c:pt>
                <c:pt idx="300">
                  <c:v>5.3504547886570296E-3</c:v>
                </c:pt>
                <c:pt idx="301">
                  <c:v>5.3682896379525502E-3</c:v>
                </c:pt>
                <c:pt idx="302">
                  <c:v>5.3861244872480804E-3</c:v>
                </c:pt>
                <c:pt idx="303">
                  <c:v>5.4039593365436001E-3</c:v>
                </c:pt>
                <c:pt idx="304">
                  <c:v>5.4217941858391199E-3</c:v>
                </c:pt>
                <c:pt idx="305">
                  <c:v>5.43962903513465E-3</c:v>
                </c:pt>
                <c:pt idx="306">
                  <c:v>5.4574638844301698E-3</c:v>
                </c:pt>
                <c:pt idx="307">
                  <c:v>5.4752987337257E-3</c:v>
                </c:pt>
                <c:pt idx="308">
                  <c:v>5.4931335830212197E-3</c:v>
                </c:pt>
                <c:pt idx="309">
                  <c:v>5.5109684323167403E-3</c:v>
                </c:pt>
                <c:pt idx="310">
                  <c:v>5.5288032816122696E-3</c:v>
                </c:pt>
                <c:pt idx="311">
                  <c:v>5.5466381309077903E-3</c:v>
                </c:pt>
                <c:pt idx="312">
                  <c:v>5.56447298020331E-3</c:v>
                </c:pt>
                <c:pt idx="313">
                  <c:v>5.5823078294988402E-3</c:v>
                </c:pt>
                <c:pt idx="314">
                  <c:v>5.6001426787943599E-3</c:v>
                </c:pt>
                <c:pt idx="315">
                  <c:v>5.6179775280898797E-3</c:v>
                </c:pt>
                <c:pt idx="316">
                  <c:v>5.6358123773854098E-3</c:v>
                </c:pt>
                <c:pt idx="317">
                  <c:v>5.6536472266809296E-3</c:v>
                </c:pt>
                <c:pt idx="318">
                  <c:v>5.6714820759764502E-3</c:v>
                </c:pt>
                <c:pt idx="319">
                  <c:v>5.6893169252719804E-3</c:v>
                </c:pt>
                <c:pt idx="320">
                  <c:v>5.7071517745675001E-3</c:v>
                </c:pt>
                <c:pt idx="321">
                  <c:v>5.7249866238630199E-3</c:v>
                </c:pt>
                <c:pt idx="322">
                  <c:v>5.7428214731585501E-3</c:v>
                </c:pt>
                <c:pt idx="323">
                  <c:v>5.7606563224540698E-3</c:v>
                </c:pt>
                <c:pt idx="324">
                  <c:v>5.7784911717495904E-3</c:v>
                </c:pt>
                <c:pt idx="325">
                  <c:v>5.7963260210451197E-3</c:v>
                </c:pt>
                <c:pt idx="326">
                  <c:v>5.8141608703406403E-3</c:v>
                </c:pt>
                <c:pt idx="327">
                  <c:v>5.8319957196361601E-3</c:v>
                </c:pt>
                <c:pt idx="328">
                  <c:v>5.8498305689316903E-3</c:v>
                </c:pt>
                <c:pt idx="329">
                  <c:v>5.86766541822721E-3</c:v>
                </c:pt>
                <c:pt idx="330">
                  <c:v>5.8855002675227298E-3</c:v>
                </c:pt>
                <c:pt idx="331">
                  <c:v>5.9033351168182599E-3</c:v>
                </c:pt>
                <c:pt idx="332">
                  <c:v>5.9211699661137797E-3</c:v>
                </c:pt>
                <c:pt idx="333">
                  <c:v>5.9390048154093098E-3</c:v>
                </c:pt>
                <c:pt idx="334">
                  <c:v>5.9568396647048296E-3</c:v>
                </c:pt>
                <c:pt idx="335">
                  <c:v>5.9746745140003502E-3</c:v>
                </c:pt>
                <c:pt idx="336">
                  <c:v>5.9925093632958804E-3</c:v>
                </c:pt>
                <c:pt idx="337">
                  <c:v>6.0103442125914001E-3</c:v>
                </c:pt>
                <c:pt idx="338">
                  <c:v>6.0281790618869199E-3</c:v>
                </c:pt>
                <c:pt idx="339">
                  <c:v>6.0460139111824501E-3</c:v>
                </c:pt>
                <c:pt idx="340">
                  <c:v>6.0638487604779698E-3</c:v>
                </c:pt>
                <c:pt idx="341">
                  <c:v>6.0816836097734896E-3</c:v>
                </c:pt>
                <c:pt idx="342">
                  <c:v>6.0995184590690197E-3</c:v>
                </c:pt>
                <c:pt idx="343">
                  <c:v>6.1173533083645404E-3</c:v>
                </c:pt>
                <c:pt idx="344">
                  <c:v>6.1351881576600601E-3</c:v>
                </c:pt>
                <c:pt idx="345">
                  <c:v>6.1530230069555903E-3</c:v>
                </c:pt>
                <c:pt idx="346">
                  <c:v>6.17085785625111E-3</c:v>
                </c:pt>
                <c:pt idx="347">
                  <c:v>6.1886927055466298E-3</c:v>
                </c:pt>
                <c:pt idx="348">
                  <c:v>6.2065275548421599E-3</c:v>
                </c:pt>
                <c:pt idx="349">
                  <c:v>6.2243624041376797E-3</c:v>
                </c:pt>
                <c:pt idx="350">
                  <c:v>6.2421972534332003E-3</c:v>
                </c:pt>
                <c:pt idx="351">
                  <c:v>6.2600321027287296E-3</c:v>
                </c:pt>
                <c:pt idx="352">
                  <c:v>6.2778669520242502E-3</c:v>
                </c:pt>
                <c:pt idx="353">
                  <c:v>6.29570180131977E-3</c:v>
                </c:pt>
                <c:pt idx="354">
                  <c:v>6.3135366506153002E-3</c:v>
                </c:pt>
                <c:pt idx="355">
                  <c:v>6.3313714999108199E-3</c:v>
                </c:pt>
                <c:pt idx="356">
                  <c:v>6.3492063492063397E-3</c:v>
                </c:pt>
                <c:pt idx="357">
                  <c:v>6.3670411985018698E-3</c:v>
                </c:pt>
                <c:pt idx="358">
                  <c:v>6.3848760477973896E-3</c:v>
                </c:pt>
                <c:pt idx="359">
                  <c:v>6.4027108970929197E-3</c:v>
                </c:pt>
                <c:pt idx="360">
                  <c:v>6.4205457463884404E-3</c:v>
                </c:pt>
                <c:pt idx="361">
                  <c:v>6.4383805956839601E-3</c:v>
                </c:pt>
                <c:pt idx="362">
                  <c:v>6.4562154449794903E-3</c:v>
                </c:pt>
                <c:pt idx="363">
                  <c:v>6.47405029427501E-3</c:v>
                </c:pt>
                <c:pt idx="364">
                  <c:v>6.4918851435705298E-3</c:v>
                </c:pt>
                <c:pt idx="365">
                  <c:v>6.5097199928660599E-3</c:v>
                </c:pt>
                <c:pt idx="366">
                  <c:v>6.5275548421615797E-3</c:v>
                </c:pt>
                <c:pt idx="367">
                  <c:v>6.5453896914571003E-3</c:v>
                </c:pt>
                <c:pt idx="368">
                  <c:v>6.5632245407526296E-3</c:v>
                </c:pt>
                <c:pt idx="369">
                  <c:v>6.5810593900481502E-3</c:v>
                </c:pt>
                <c:pt idx="370">
                  <c:v>6.59889423934367E-3</c:v>
                </c:pt>
                <c:pt idx="371">
                  <c:v>6.6167290886392002E-3</c:v>
                </c:pt>
                <c:pt idx="372">
                  <c:v>6.6345639379347199E-3</c:v>
                </c:pt>
                <c:pt idx="373">
                  <c:v>6.6523987872302397E-3</c:v>
                </c:pt>
                <c:pt idx="374">
                  <c:v>6.6702336365257698E-3</c:v>
                </c:pt>
                <c:pt idx="375">
                  <c:v>6.6880684858212896E-3</c:v>
                </c:pt>
                <c:pt idx="376">
                  <c:v>6.7059033351168102E-3</c:v>
                </c:pt>
                <c:pt idx="377">
                  <c:v>6.7237381844123404E-3</c:v>
                </c:pt>
                <c:pt idx="378">
                  <c:v>6.7415730337078601E-3</c:v>
                </c:pt>
                <c:pt idx="379">
                  <c:v>6.7594078830033799E-3</c:v>
                </c:pt>
                <c:pt idx="380">
                  <c:v>6.77724273229891E-3</c:v>
                </c:pt>
                <c:pt idx="381">
                  <c:v>6.7950775815944298E-3</c:v>
                </c:pt>
                <c:pt idx="382">
                  <c:v>6.8129124308899504E-3</c:v>
                </c:pt>
                <c:pt idx="383">
                  <c:v>6.8307472801854797E-3</c:v>
                </c:pt>
                <c:pt idx="384">
                  <c:v>6.8485821294810003E-3</c:v>
                </c:pt>
                <c:pt idx="385">
                  <c:v>6.8664169787765296E-3</c:v>
                </c:pt>
                <c:pt idx="386">
                  <c:v>6.8842518280720503E-3</c:v>
                </c:pt>
                <c:pt idx="387">
                  <c:v>6.90208667736757E-3</c:v>
                </c:pt>
                <c:pt idx="388">
                  <c:v>6.9199215266630898E-3</c:v>
                </c:pt>
                <c:pt idx="389">
                  <c:v>6.9377563759586199E-3</c:v>
                </c:pt>
                <c:pt idx="390">
                  <c:v>6.9555912252541397E-3</c:v>
                </c:pt>
                <c:pt idx="391">
                  <c:v>6.9734260745496698E-3</c:v>
                </c:pt>
                <c:pt idx="392">
                  <c:v>6.9912609238451896E-3</c:v>
                </c:pt>
                <c:pt idx="393">
                  <c:v>7.0090957731407102E-3</c:v>
                </c:pt>
                <c:pt idx="394">
                  <c:v>7.0269306224362404E-3</c:v>
                </c:pt>
                <c:pt idx="395">
                  <c:v>7.0447654717317601E-3</c:v>
                </c:pt>
                <c:pt idx="396">
                  <c:v>7.0626003210272799E-3</c:v>
                </c:pt>
                <c:pt idx="397">
                  <c:v>7.08043517032281E-3</c:v>
                </c:pt>
                <c:pt idx="398">
                  <c:v>7.0982700196183298E-3</c:v>
                </c:pt>
                <c:pt idx="399">
                  <c:v>7.1161048689138504E-3</c:v>
                </c:pt>
                <c:pt idx="400">
                  <c:v>7.1339397182093797E-3</c:v>
                </c:pt>
                <c:pt idx="401">
                  <c:v>7.1517745675049003E-3</c:v>
                </c:pt>
                <c:pt idx="402">
                  <c:v>7.1696094168004201E-3</c:v>
                </c:pt>
                <c:pt idx="403">
                  <c:v>7.1874442660959503E-3</c:v>
                </c:pt>
                <c:pt idx="404">
                  <c:v>7.20527911539147E-3</c:v>
                </c:pt>
                <c:pt idx="405">
                  <c:v>7.2231139646869898E-3</c:v>
                </c:pt>
                <c:pt idx="406">
                  <c:v>7.2409488139825199E-3</c:v>
                </c:pt>
                <c:pt idx="407">
                  <c:v>7.2587836632780397E-3</c:v>
                </c:pt>
                <c:pt idx="408">
                  <c:v>7.2766185125735603E-3</c:v>
                </c:pt>
                <c:pt idx="409">
                  <c:v>7.2944533618690896E-3</c:v>
                </c:pt>
                <c:pt idx="410">
                  <c:v>7.3122882111646102E-3</c:v>
                </c:pt>
                <c:pt idx="411">
                  <c:v>7.33012306046013E-3</c:v>
                </c:pt>
                <c:pt idx="412">
                  <c:v>7.3479579097556601E-3</c:v>
                </c:pt>
                <c:pt idx="413">
                  <c:v>7.3657927590511799E-3</c:v>
                </c:pt>
                <c:pt idx="414">
                  <c:v>7.3836276083466997E-3</c:v>
                </c:pt>
                <c:pt idx="415">
                  <c:v>7.4014624576422298E-3</c:v>
                </c:pt>
                <c:pt idx="416">
                  <c:v>7.4192973069377496E-3</c:v>
                </c:pt>
                <c:pt idx="417">
                  <c:v>7.4371321562332797E-3</c:v>
                </c:pt>
                <c:pt idx="418">
                  <c:v>7.4549670055288004E-3</c:v>
                </c:pt>
                <c:pt idx="419">
                  <c:v>7.4728018548243201E-3</c:v>
                </c:pt>
                <c:pt idx="420">
                  <c:v>7.4906367041198503E-3</c:v>
                </c:pt>
                <c:pt idx="421">
                  <c:v>7.50847155341537E-3</c:v>
                </c:pt>
                <c:pt idx="422">
                  <c:v>7.5263064027108898E-3</c:v>
                </c:pt>
                <c:pt idx="423">
                  <c:v>7.5441412520064199E-3</c:v>
                </c:pt>
                <c:pt idx="424">
                  <c:v>7.5619761013019397E-3</c:v>
                </c:pt>
                <c:pt idx="425">
                  <c:v>7.5798109505974603E-3</c:v>
                </c:pt>
                <c:pt idx="426">
                  <c:v>7.5976457998929896E-3</c:v>
                </c:pt>
                <c:pt idx="427">
                  <c:v>7.6154806491885102E-3</c:v>
                </c:pt>
                <c:pt idx="428">
                  <c:v>7.63331549848403E-3</c:v>
                </c:pt>
                <c:pt idx="429">
                  <c:v>7.6511503477795601E-3</c:v>
                </c:pt>
                <c:pt idx="430">
                  <c:v>7.6689851970750799E-3</c:v>
                </c:pt>
                <c:pt idx="431">
                  <c:v>7.6868200463705997E-3</c:v>
                </c:pt>
                <c:pt idx="432">
                  <c:v>7.7046548956661298E-3</c:v>
                </c:pt>
                <c:pt idx="433">
                  <c:v>7.7224897449616496E-3</c:v>
                </c:pt>
                <c:pt idx="434">
                  <c:v>7.7403245942571702E-3</c:v>
                </c:pt>
                <c:pt idx="435">
                  <c:v>7.7581594435527004E-3</c:v>
                </c:pt>
                <c:pt idx="436">
                  <c:v>7.7759942928482201E-3</c:v>
                </c:pt>
                <c:pt idx="437">
                  <c:v>7.7938291421437399E-3</c:v>
                </c:pt>
                <c:pt idx="438">
                  <c:v>7.81166399143927E-3</c:v>
                </c:pt>
                <c:pt idx="439">
                  <c:v>7.8294988407347898E-3</c:v>
                </c:pt>
                <c:pt idx="440">
                  <c:v>7.8473336900303104E-3</c:v>
                </c:pt>
                <c:pt idx="441">
                  <c:v>7.8651685393258397E-3</c:v>
                </c:pt>
                <c:pt idx="442">
                  <c:v>7.8830033886213603E-3</c:v>
                </c:pt>
                <c:pt idx="443">
                  <c:v>7.9008382379168896E-3</c:v>
                </c:pt>
                <c:pt idx="444">
                  <c:v>7.9186730872124102E-3</c:v>
                </c:pt>
                <c:pt idx="445">
                  <c:v>7.9365079365079309E-3</c:v>
                </c:pt>
                <c:pt idx="446">
                  <c:v>7.9543427858034602E-3</c:v>
                </c:pt>
                <c:pt idx="447">
                  <c:v>7.9721776350989808E-3</c:v>
                </c:pt>
                <c:pt idx="448">
                  <c:v>7.9900124843944997E-3</c:v>
                </c:pt>
                <c:pt idx="449">
                  <c:v>8.0078473336900307E-3</c:v>
                </c:pt>
                <c:pt idx="450">
                  <c:v>8.0256821829855496E-3</c:v>
                </c:pt>
                <c:pt idx="451">
                  <c:v>8.0435170322810702E-3</c:v>
                </c:pt>
                <c:pt idx="452">
                  <c:v>8.0613518815765995E-3</c:v>
                </c:pt>
                <c:pt idx="453">
                  <c:v>8.0791867308721201E-3</c:v>
                </c:pt>
                <c:pt idx="454">
                  <c:v>8.0970215801676407E-3</c:v>
                </c:pt>
                <c:pt idx="455">
                  <c:v>8.11485642946317E-3</c:v>
                </c:pt>
                <c:pt idx="456">
                  <c:v>8.1326912787586907E-3</c:v>
                </c:pt>
                <c:pt idx="457">
                  <c:v>8.1505261280542095E-3</c:v>
                </c:pt>
                <c:pt idx="458">
                  <c:v>8.1683609773497406E-3</c:v>
                </c:pt>
                <c:pt idx="459">
                  <c:v>8.1861958266452595E-3</c:v>
                </c:pt>
                <c:pt idx="460">
                  <c:v>8.2040306759407801E-3</c:v>
                </c:pt>
                <c:pt idx="461">
                  <c:v>8.2218655252363094E-3</c:v>
                </c:pt>
                <c:pt idx="462">
                  <c:v>8.23970037453183E-3</c:v>
                </c:pt>
                <c:pt idx="463">
                  <c:v>8.2575352238273593E-3</c:v>
                </c:pt>
                <c:pt idx="464">
                  <c:v>8.2753700731228799E-3</c:v>
                </c:pt>
                <c:pt idx="465">
                  <c:v>8.2932049224184005E-3</c:v>
                </c:pt>
                <c:pt idx="466">
                  <c:v>8.3110397717139298E-3</c:v>
                </c:pt>
                <c:pt idx="467">
                  <c:v>8.3288746210094505E-3</c:v>
                </c:pt>
                <c:pt idx="468">
                  <c:v>8.3467094703049693E-3</c:v>
                </c:pt>
                <c:pt idx="469">
                  <c:v>8.36454431960049E-3</c:v>
                </c:pt>
                <c:pt idx="470">
                  <c:v>8.3823791688960193E-3</c:v>
                </c:pt>
                <c:pt idx="471">
                  <c:v>8.4002140181915399E-3</c:v>
                </c:pt>
                <c:pt idx="472">
                  <c:v>8.4180488674870692E-3</c:v>
                </c:pt>
                <c:pt idx="473">
                  <c:v>8.4358837167825898E-3</c:v>
                </c:pt>
                <c:pt idx="474">
                  <c:v>8.4537185660781104E-3</c:v>
                </c:pt>
                <c:pt idx="475">
                  <c:v>8.4715534153736397E-3</c:v>
                </c:pt>
                <c:pt idx="476">
                  <c:v>8.4893882646691603E-3</c:v>
                </c:pt>
                <c:pt idx="477">
                  <c:v>8.5072231139646792E-3</c:v>
                </c:pt>
                <c:pt idx="478">
                  <c:v>8.5250579632602103E-3</c:v>
                </c:pt>
                <c:pt idx="479">
                  <c:v>8.5428928125557291E-3</c:v>
                </c:pt>
                <c:pt idx="480">
                  <c:v>8.5607276618512498E-3</c:v>
                </c:pt>
                <c:pt idx="481">
                  <c:v>8.5785625111467808E-3</c:v>
                </c:pt>
                <c:pt idx="482">
                  <c:v>8.5963973604422997E-3</c:v>
                </c:pt>
                <c:pt idx="483">
                  <c:v>8.6142322097378203E-3</c:v>
                </c:pt>
                <c:pt idx="484">
                  <c:v>8.6320670590333496E-3</c:v>
                </c:pt>
                <c:pt idx="485">
                  <c:v>8.6499019083288702E-3</c:v>
                </c:pt>
                <c:pt idx="486">
                  <c:v>8.6677367576243908E-3</c:v>
                </c:pt>
                <c:pt idx="487">
                  <c:v>8.6855716069199201E-3</c:v>
                </c:pt>
                <c:pt idx="488">
                  <c:v>8.7034064562154408E-3</c:v>
                </c:pt>
                <c:pt idx="489">
                  <c:v>8.7212413055109596E-3</c:v>
                </c:pt>
                <c:pt idx="490">
                  <c:v>8.7390761548064907E-3</c:v>
                </c:pt>
                <c:pt idx="491">
                  <c:v>8.7569110041020096E-3</c:v>
                </c:pt>
                <c:pt idx="492">
                  <c:v>8.7747458533975302E-3</c:v>
                </c:pt>
                <c:pt idx="493">
                  <c:v>8.7925807026930595E-3</c:v>
                </c:pt>
                <c:pt idx="494">
                  <c:v>8.8104155519885801E-3</c:v>
                </c:pt>
                <c:pt idx="495">
                  <c:v>8.8282504012841094E-3</c:v>
                </c:pt>
                <c:pt idx="496">
                  <c:v>8.84608525057963E-3</c:v>
                </c:pt>
                <c:pt idx="497">
                  <c:v>8.8639200998751506E-3</c:v>
                </c:pt>
                <c:pt idx="498">
                  <c:v>8.8817549491706799E-3</c:v>
                </c:pt>
                <c:pt idx="499">
                  <c:v>8.8995897984662006E-3</c:v>
                </c:pt>
                <c:pt idx="500">
                  <c:v>8.9174246477617194E-3</c:v>
                </c:pt>
                <c:pt idx="501">
                  <c:v>8.9352594970572505E-3</c:v>
                </c:pt>
                <c:pt idx="502">
                  <c:v>8.9530943463527694E-3</c:v>
                </c:pt>
                <c:pt idx="503">
                  <c:v>8.97092919564829E-3</c:v>
                </c:pt>
                <c:pt idx="504">
                  <c:v>8.9887640449438193E-3</c:v>
                </c:pt>
                <c:pt idx="505">
                  <c:v>9.0065988942393399E-3</c:v>
                </c:pt>
                <c:pt idx="506">
                  <c:v>9.0244337435348605E-3</c:v>
                </c:pt>
                <c:pt idx="507">
                  <c:v>9.0422685928303898E-3</c:v>
                </c:pt>
                <c:pt idx="508">
                  <c:v>9.0601034421259104E-3</c:v>
                </c:pt>
                <c:pt idx="509">
                  <c:v>9.0779382914214293E-3</c:v>
                </c:pt>
                <c:pt idx="510">
                  <c:v>9.0957731407169604E-3</c:v>
                </c:pt>
                <c:pt idx="511">
                  <c:v>9.1136079900124792E-3</c:v>
                </c:pt>
                <c:pt idx="512">
                  <c:v>9.1314428393079999E-3</c:v>
                </c:pt>
                <c:pt idx="513">
                  <c:v>9.1492776886035292E-3</c:v>
                </c:pt>
                <c:pt idx="514">
                  <c:v>9.1671125378990498E-3</c:v>
                </c:pt>
                <c:pt idx="515">
                  <c:v>9.1849473871945704E-3</c:v>
                </c:pt>
                <c:pt idx="516">
                  <c:v>9.2027822364900997E-3</c:v>
                </c:pt>
                <c:pt idx="517">
                  <c:v>9.2206170857856203E-3</c:v>
                </c:pt>
                <c:pt idx="518">
                  <c:v>9.2384519350811392E-3</c:v>
                </c:pt>
                <c:pt idx="519">
                  <c:v>9.2562867843766702E-3</c:v>
                </c:pt>
                <c:pt idx="520">
                  <c:v>9.2741216336721909E-3</c:v>
                </c:pt>
                <c:pt idx="521">
                  <c:v>9.2919564829677097E-3</c:v>
                </c:pt>
                <c:pt idx="522">
                  <c:v>9.3097913322632408E-3</c:v>
                </c:pt>
                <c:pt idx="523">
                  <c:v>9.3276261815587597E-3</c:v>
                </c:pt>
                <c:pt idx="524">
                  <c:v>9.3454610308542803E-3</c:v>
                </c:pt>
                <c:pt idx="525">
                  <c:v>9.3632958801498096E-3</c:v>
                </c:pt>
                <c:pt idx="526">
                  <c:v>9.3811307294453302E-3</c:v>
                </c:pt>
                <c:pt idx="527">
                  <c:v>9.3989655787408595E-3</c:v>
                </c:pt>
                <c:pt idx="528">
                  <c:v>9.4168004280363801E-3</c:v>
                </c:pt>
                <c:pt idx="529">
                  <c:v>9.4346352773319007E-3</c:v>
                </c:pt>
                <c:pt idx="530">
                  <c:v>9.45247012662743E-3</c:v>
                </c:pt>
                <c:pt idx="531">
                  <c:v>9.4703049759229507E-3</c:v>
                </c:pt>
                <c:pt idx="532">
                  <c:v>9.4881398252184695E-3</c:v>
                </c:pt>
                <c:pt idx="533">
                  <c:v>9.5059746745140006E-3</c:v>
                </c:pt>
                <c:pt idx="534">
                  <c:v>9.5238095238095195E-3</c:v>
                </c:pt>
                <c:pt idx="535">
                  <c:v>9.5416443731050401E-3</c:v>
                </c:pt>
                <c:pt idx="536">
                  <c:v>9.5594792224005694E-3</c:v>
                </c:pt>
                <c:pt idx="537">
                  <c:v>9.57731407169609E-3</c:v>
                </c:pt>
                <c:pt idx="538">
                  <c:v>9.5951489209916106E-3</c:v>
                </c:pt>
                <c:pt idx="539">
                  <c:v>9.6129837702871399E-3</c:v>
                </c:pt>
                <c:pt idx="540">
                  <c:v>9.6308186195826605E-3</c:v>
                </c:pt>
                <c:pt idx="541">
                  <c:v>9.6486534688781794E-3</c:v>
                </c:pt>
                <c:pt idx="542">
                  <c:v>9.6664883181737105E-3</c:v>
                </c:pt>
                <c:pt idx="543">
                  <c:v>9.6843231674692293E-3</c:v>
                </c:pt>
                <c:pt idx="544">
                  <c:v>9.70215801676475E-3</c:v>
                </c:pt>
                <c:pt idx="545">
                  <c:v>9.7199928660602793E-3</c:v>
                </c:pt>
                <c:pt idx="546">
                  <c:v>9.7378277153557999E-3</c:v>
                </c:pt>
                <c:pt idx="547">
                  <c:v>9.7556625646513292E-3</c:v>
                </c:pt>
                <c:pt idx="548">
                  <c:v>9.7734974139468498E-3</c:v>
                </c:pt>
                <c:pt idx="549">
                  <c:v>9.7913322632423704E-3</c:v>
                </c:pt>
                <c:pt idx="550">
                  <c:v>9.8091671125378997E-3</c:v>
                </c:pt>
                <c:pt idx="551">
                  <c:v>9.8270019618334203E-3</c:v>
                </c:pt>
                <c:pt idx="552">
                  <c:v>9.8448368111289392E-3</c:v>
                </c:pt>
                <c:pt idx="553">
                  <c:v>9.8626716604244703E-3</c:v>
                </c:pt>
                <c:pt idx="554">
                  <c:v>9.8805065097199891E-3</c:v>
                </c:pt>
                <c:pt idx="555">
                  <c:v>9.8983413590155098E-3</c:v>
                </c:pt>
                <c:pt idx="556">
                  <c:v>9.9161762083110304E-3</c:v>
                </c:pt>
                <c:pt idx="557">
                  <c:v>9.9340110576065597E-3</c:v>
                </c:pt>
                <c:pt idx="558">
                  <c:v>9.9518459069020803E-3</c:v>
                </c:pt>
                <c:pt idx="559">
                  <c:v>9.9696807561976096E-3</c:v>
                </c:pt>
                <c:pt idx="560">
                  <c:v>9.9875156054931302E-3</c:v>
                </c:pt>
                <c:pt idx="561">
                  <c:v>1.0005350454788601E-2</c:v>
                </c:pt>
                <c:pt idx="562">
                  <c:v>1.00231853040841E-2</c:v>
                </c:pt>
                <c:pt idx="563">
                  <c:v>1.0041020153379701E-2</c:v>
                </c:pt>
                <c:pt idx="564">
                  <c:v>1.0058855002675201E-2</c:v>
                </c:pt>
                <c:pt idx="565">
                  <c:v>1.00766898519707E-2</c:v>
                </c:pt>
                <c:pt idx="566">
                  <c:v>1.00945247012662E-2</c:v>
                </c:pt>
                <c:pt idx="567">
                  <c:v>1.01123595505617E-2</c:v>
                </c:pt>
                <c:pt idx="568">
                  <c:v>1.01301943998573E-2</c:v>
                </c:pt>
                <c:pt idx="569">
                  <c:v>1.01480292491528E-2</c:v>
                </c:pt>
                <c:pt idx="570">
                  <c:v>1.01658640984483E-2</c:v>
                </c:pt>
                <c:pt idx="571">
                  <c:v>1.01836989477438E-2</c:v>
                </c:pt>
                <c:pt idx="572">
                  <c:v>1.02015337970394E-2</c:v>
                </c:pt>
                <c:pt idx="573">
                  <c:v>1.02193686463349E-2</c:v>
                </c:pt>
                <c:pt idx="574">
                  <c:v>1.02372034956304E-2</c:v>
                </c:pt>
                <c:pt idx="575">
                  <c:v>1.02550383449259E-2</c:v>
                </c:pt>
                <c:pt idx="576">
                  <c:v>1.02728731942215E-2</c:v>
                </c:pt>
                <c:pt idx="577">
                  <c:v>1.0290708043517E-2</c:v>
                </c:pt>
                <c:pt idx="578">
                  <c:v>1.03085428928125E-2</c:v>
                </c:pt>
                <c:pt idx="579">
                  <c:v>1.0326377742107999E-2</c:v>
                </c:pt>
                <c:pt idx="580">
                  <c:v>1.03442125914036E-2</c:v>
                </c:pt>
                <c:pt idx="581">
                  <c:v>1.03620474406991E-2</c:v>
                </c:pt>
                <c:pt idx="582">
                  <c:v>1.03798822899946E-2</c:v>
                </c:pt>
                <c:pt idx="583">
                  <c:v>1.0397717139290099E-2</c:v>
                </c:pt>
                <c:pt idx="584">
                  <c:v>1.0415551988585601E-2</c:v>
                </c:pt>
                <c:pt idx="585">
                  <c:v>1.04333868378812E-2</c:v>
                </c:pt>
                <c:pt idx="586">
                  <c:v>1.0451221687176699E-2</c:v>
                </c:pt>
                <c:pt idx="587">
                  <c:v>1.0469056536472199E-2</c:v>
                </c:pt>
                <c:pt idx="588">
                  <c:v>1.0486891385767701E-2</c:v>
                </c:pt>
                <c:pt idx="589">
                  <c:v>1.0504726235063299E-2</c:v>
                </c:pt>
                <c:pt idx="590">
                  <c:v>1.0522561084358799E-2</c:v>
                </c:pt>
                <c:pt idx="591">
                  <c:v>1.0540395933654301E-2</c:v>
                </c:pt>
                <c:pt idx="592">
                  <c:v>1.0558230782949801E-2</c:v>
                </c:pt>
                <c:pt idx="593">
                  <c:v>1.0576065632245399E-2</c:v>
                </c:pt>
                <c:pt idx="594">
                  <c:v>1.0593900481540901E-2</c:v>
                </c:pt>
                <c:pt idx="595">
                  <c:v>1.0611735330836401E-2</c:v>
                </c:pt>
                <c:pt idx="596">
                  <c:v>1.06295701801319E-2</c:v>
                </c:pt>
                <c:pt idx="597">
                  <c:v>1.0647405029427501E-2</c:v>
                </c:pt>
                <c:pt idx="598">
                  <c:v>1.0665239878723001E-2</c:v>
                </c:pt>
                <c:pt idx="599">
                  <c:v>1.06830747280185E-2</c:v>
                </c:pt>
                <c:pt idx="600">
                  <c:v>1.0700909577314E-2</c:v>
                </c:pt>
                <c:pt idx="601">
                  <c:v>1.07187444266095E-2</c:v>
                </c:pt>
                <c:pt idx="602">
                  <c:v>1.07365792759051E-2</c:v>
                </c:pt>
                <c:pt idx="603">
                  <c:v>1.07544141252006E-2</c:v>
                </c:pt>
                <c:pt idx="604">
                  <c:v>1.07722489744961E-2</c:v>
                </c:pt>
                <c:pt idx="605">
                  <c:v>1.07900838237916E-2</c:v>
                </c:pt>
                <c:pt idx="606">
                  <c:v>1.08079186730872E-2</c:v>
                </c:pt>
                <c:pt idx="607">
                  <c:v>1.08257535223827E-2</c:v>
                </c:pt>
                <c:pt idx="608">
                  <c:v>1.08435883716782E-2</c:v>
                </c:pt>
                <c:pt idx="609">
                  <c:v>1.08614232209737E-2</c:v>
                </c:pt>
                <c:pt idx="610">
                  <c:v>1.08792580702693E-2</c:v>
                </c:pt>
                <c:pt idx="611">
                  <c:v>1.08970929195648E-2</c:v>
                </c:pt>
                <c:pt idx="612">
                  <c:v>1.09149277688603E-2</c:v>
                </c:pt>
                <c:pt idx="613">
                  <c:v>1.0932762618155799E-2</c:v>
                </c:pt>
                <c:pt idx="614">
                  <c:v>1.09505974674514E-2</c:v>
                </c:pt>
                <c:pt idx="615">
                  <c:v>1.09684323167469E-2</c:v>
                </c:pt>
                <c:pt idx="616">
                  <c:v>1.09862671660424E-2</c:v>
                </c:pt>
                <c:pt idx="617">
                  <c:v>1.1004102015337899E-2</c:v>
                </c:pt>
                <c:pt idx="618">
                  <c:v>1.1021936864633399E-2</c:v>
                </c:pt>
                <c:pt idx="619">
                  <c:v>1.1039771713929E-2</c:v>
                </c:pt>
                <c:pt idx="620">
                  <c:v>1.1057606563224499E-2</c:v>
                </c:pt>
                <c:pt idx="621">
                  <c:v>1.1075441412519999E-2</c:v>
                </c:pt>
                <c:pt idx="622">
                  <c:v>1.1093276261815501E-2</c:v>
                </c:pt>
                <c:pt idx="623">
                  <c:v>1.1111111111111099E-2</c:v>
                </c:pt>
                <c:pt idx="624">
                  <c:v>1.1128945960406599E-2</c:v>
                </c:pt>
                <c:pt idx="625">
                  <c:v>1.1146780809702101E-2</c:v>
                </c:pt>
                <c:pt idx="626">
                  <c:v>1.1164615658997601E-2</c:v>
                </c:pt>
                <c:pt idx="627">
                  <c:v>1.1182450508293199E-2</c:v>
                </c:pt>
                <c:pt idx="628">
                  <c:v>1.1200285357588701E-2</c:v>
                </c:pt>
                <c:pt idx="629">
                  <c:v>1.1218120206884201E-2</c:v>
                </c:pt>
                <c:pt idx="630">
                  <c:v>1.12359550561797E-2</c:v>
                </c:pt>
                <c:pt idx="631">
                  <c:v>1.12537899054752E-2</c:v>
                </c:pt>
                <c:pt idx="632">
                  <c:v>1.1271624754770801E-2</c:v>
                </c:pt>
                <c:pt idx="633">
                  <c:v>1.12894596040663E-2</c:v>
                </c:pt>
                <c:pt idx="634">
                  <c:v>1.13072944533618E-2</c:v>
                </c:pt>
                <c:pt idx="635">
                  <c:v>1.13251293026573E-2</c:v>
                </c:pt>
                <c:pt idx="636">
                  <c:v>1.13429641519529E-2</c:v>
                </c:pt>
                <c:pt idx="637">
                  <c:v>1.13607990012484E-2</c:v>
                </c:pt>
                <c:pt idx="638">
                  <c:v>1.13786338505439E-2</c:v>
                </c:pt>
                <c:pt idx="639">
                  <c:v>1.13964686998394E-2</c:v>
                </c:pt>
                <c:pt idx="640">
                  <c:v>1.1414303549135E-2</c:v>
                </c:pt>
                <c:pt idx="641">
                  <c:v>1.14321383984305E-2</c:v>
                </c:pt>
                <c:pt idx="642">
                  <c:v>1.1449973247726E-2</c:v>
                </c:pt>
                <c:pt idx="643">
                  <c:v>1.14678080970215E-2</c:v>
                </c:pt>
                <c:pt idx="644">
                  <c:v>1.14856429463171E-2</c:v>
                </c:pt>
                <c:pt idx="645">
                  <c:v>1.15034777956126E-2</c:v>
                </c:pt>
                <c:pt idx="646">
                  <c:v>1.15213126449081E-2</c:v>
                </c:pt>
                <c:pt idx="647">
                  <c:v>1.15391474942036E-2</c:v>
                </c:pt>
                <c:pt idx="648">
                  <c:v>1.1556982343499099E-2</c:v>
                </c:pt>
                <c:pt idx="649">
                  <c:v>1.15748171927947E-2</c:v>
                </c:pt>
                <c:pt idx="650">
                  <c:v>1.15926520420902E-2</c:v>
                </c:pt>
                <c:pt idx="651">
                  <c:v>1.1610486891385699E-2</c:v>
                </c:pt>
                <c:pt idx="652">
                  <c:v>1.1628321740681199E-2</c:v>
                </c:pt>
                <c:pt idx="653">
                  <c:v>1.16461565899768E-2</c:v>
                </c:pt>
                <c:pt idx="654">
                  <c:v>1.1663991439272299E-2</c:v>
                </c:pt>
                <c:pt idx="655">
                  <c:v>1.1681826288567799E-2</c:v>
                </c:pt>
                <c:pt idx="656">
                  <c:v>1.1699661137863301E-2</c:v>
                </c:pt>
                <c:pt idx="657">
                  <c:v>1.1717495987158899E-2</c:v>
                </c:pt>
                <c:pt idx="658">
                  <c:v>1.1735330836454399E-2</c:v>
                </c:pt>
                <c:pt idx="659">
                  <c:v>1.1753165685749901E-2</c:v>
                </c:pt>
                <c:pt idx="660">
                  <c:v>1.1771000535045401E-2</c:v>
                </c:pt>
                <c:pt idx="661">
                  <c:v>1.1788835384340999E-2</c:v>
                </c:pt>
                <c:pt idx="662">
                  <c:v>1.1806670233636501E-2</c:v>
                </c:pt>
                <c:pt idx="663">
                  <c:v>1.1824505082932001E-2</c:v>
                </c:pt>
                <c:pt idx="664">
                  <c:v>1.18423399322275E-2</c:v>
                </c:pt>
                <c:pt idx="665">
                  <c:v>1.1860174781523E-2</c:v>
                </c:pt>
                <c:pt idx="666">
                  <c:v>1.1878009630818601E-2</c:v>
                </c:pt>
                <c:pt idx="667">
                  <c:v>1.18958444801141E-2</c:v>
                </c:pt>
                <c:pt idx="668">
                  <c:v>1.19136793294096E-2</c:v>
                </c:pt>
                <c:pt idx="669">
                  <c:v>1.19315141787051E-2</c:v>
                </c:pt>
                <c:pt idx="670">
                  <c:v>1.19493490280007E-2</c:v>
                </c:pt>
                <c:pt idx="671">
                  <c:v>1.19671838772962E-2</c:v>
                </c:pt>
                <c:pt idx="672">
                  <c:v>1.19850187265917E-2</c:v>
                </c:pt>
                <c:pt idx="673">
                  <c:v>1.20028535758872E-2</c:v>
                </c:pt>
                <c:pt idx="674">
                  <c:v>1.20206884251828E-2</c:v>
                </c:pt>
                <c:pt idx="675">
                  <c:v>1.20385232744783E-2</c:v>
                </c:pt>
                <c:pt idx="676">
                  <c:v>1.20563581237738E-2</c:v>
                </c:pt>
                <c:pt idx="677">
                  <c:v>1.20741929730693E-2</c:v>
                </c:pt>
                <c:pt idx="678">
                  <c:v>1.20920278223649E-2</c:v>
                </c:pt>
                <c:pt idx="679">
                  <c:v>1.21098626716604E-2</c:v>
                </c:pt>
                <c:pt idx="680">
                  <c:v>1.21276975209559E-2</c:v>
                </c:pt>
                <c:pt idx="681">
                  <c:v>1.21455323702514E-2</c:v>
                </c:pt>
                <c:pt idx="682">
                  <c:v>1.2163367219546899E-2</c:v>
                </c:pt>
                <c:pt idx="683">
                  <c:v>1.21812020688425E-2</c:v>
                </c:pt>
                <c:pt idx="684">
                  <c:v>1.2199036918138E-2</c:v>
                </c:pt>
                <c:pt idx="685">
                  <c:v>1.2216871767433499E-2</c:v>
                </c:pt>
                <c:pt idx="686">
                  <c:v>1.2234706616728999E-2</c:v>
                </c:pt>
                <c:pt idx="687">
                  <c:v>1.22525414660246E-2</c:v>
                </c:pt>
                <c:pt idx="688">
                  <c:v>1.2270376315320099E-2</c:v>
                </c:pt>
                <c:pt idx="689">
                  <c:v>1.2288211164615599E-2</c:v>
                </c:pt>
                <c:pt idx="690">
                  <c:v>1.2306046013911101E-2</c:v>
                </c:pt>
                <c:pt idx="691">
                  <c:v>1.2323880863206699E-2</c:v>
                </c:pt>
                <c:pt idx="692">
                  <c:v>1.2341715712502199E-2</c:v>
                </c:pt>
                <c:pt idx="693">
                  <c:v>1.2359550561797701E-2</c:v>
                </c:pt>
                <c:pt idx="694">
                  <c:v>1.2377385411093201E-2</c:v>
                </c:pt>
                <c:pt idx="695">
                  <c:v>1.2395220260388799E-2</c:v>
                </c:pt>
                <c:pt idx="696">
                  <c:v>1.2413055109684301E-2</c:v>
                </c:pt>
                <c:pt idx="697">
                  <c:v>1.2430889958979801E-2</c:v>
                </c:pt>
                <c:pt idx="698">
                  <c:v>1.24487248082753E-2</c:v>
                </c:pt>
                <c:pt idx="699">
                  <c:v>1.24665596575708E-2</c:v>
                </c:pt>
                <c:pt idx="700">
                  <c:v>1.2484394506866401E-2</c:v>
                </c:pt>
                <c:pt idx="701">
                  <c:v>1.25022293561619E-2</c:v>
                </c:pt>
                <c:pt idx="702">
                  <c:v>1.25200642054574E-2</c:v>
                </c:pt>
                <c:pt idx="703">
                  <c:v>1.25378990547529E-2</c:v>
                </c:pt>
                <c:pt idx="704">
                  <c:v>1.25557339040485E-2</c:v>
                </c:pt>
                <c:pt idx="705">
                  <c:v>1.2573568753344E-2</c:v>
                </c:pt>
                <c:pt idx="706">
                  <c:v>1.25914036026395E-2</c:v>
                </c:pt>
                <c:pt idx="707">
                  <c:v>1.2609238451935E-2</c:v>
                </c:pt>
                <c:pt idx="708">
                  <c:v>1.26270733012306E-2</c:v>
                </c:pt>
                <c:pt idx="709">
                  <c:v>1.26449081505261E-2</c:v>
                </c:pt>
                <c:pt idx="710">
                  <c:v>1.26627429998216E-2</c:v>
                </c:pt>
                <c:pt idx="711">
                  <c:v>1.26805778491171E-2</c:v>
                </c:pt>
                <c:pt idx="712">
                  <c:v>1.26984126984126E-2</c:v>
                </c:pt>
                <c:pt idx="713">
                  <c:v>1.27162475477082E-2</c:v>
                </c:pt>
                <c:pt idx="714">
                  <c:v>1.27340823970037E-2</c:v>
                </c:pt>
                <c:pt idx="715">
                  <c:v>1.27519172462992E-2</c:v>
                </c:pt>
                <c:pt idx="716">
                  <c:v>1.2769752095594699E-2</c:v>
                </c:pt>
                <c:pt idx="717">
                  <c:v>1.27875869448903E-2</c:v>
                </c:pt>
                <c:pt idx="718">
                  <c:v>1.28054217941858E-2</c:v>
                </c:pt>
                <c:pt idx="719">
                  <c:v>1.2823256643481299E-2</c:v>
                </c:pt>
                <c:pt idx="720">
                  <c:v>1.2841091492776799E-2</c:v>
                </c:pt>
                <c:pt idx="721">
                  <c:v>1.28589263420724E-2</c:v>
                </c:pt>
                <c:pt idx="722">
                  <c:v>1.2876761191367899E-2</c:v>
                </c:pt>
                <c:pt idx="723">
                  <c:v>1.2894596040663399E-2</c:v>
                </c:pt>
                <c:pt idx="724">
                  <c:v>1.2912430889958901E-2</c:v>
                </c:pt>
                <c:pt idx="725">
                  <c:v>1.2930265739254499E-2</c:v>
                </c:pt>
                <c:pt idx="726">
                  <c:v>1.2948100588549999E-2</c:v>
                </c:pt>
                <c:pt idx="727">
                  <c:v>1.2965935437845501E-2</c:v>
                </c:pt>
                <c:pt idx="728">
                  <c:v>1.2983770287141001E-2</c:v>
                </c:pt>
                <c:pt idx="729">
                  <c:v>1.30016051364365E-2</c:v>
                </c:pt>
                <c:pt idx="730">
                  <c:v>1.3019439985732101E-2</c:v>
                </c:pt>
                <c:pt idx="731">
                  <c:v>1.3037274835027601E-2</c:v>
                </c:pt>
                <c:pt idx="732">
                  <c:v>1.30551096843231E-2</c:v>
                </c:pt>
                <c:pt idx="733">
                  <c:v>1.30729445336186E-2</c:v>
                </c:pt>
                <c:pt idx="734">
                  <c:v>1.3090779382914201E-2</c:v>
                </c:pt>
                <c:pt idx="735">
                  <c:v>1.31086142322097E-2</c:v>
                </c:pt>
                <c:pt idx="736">
                  <c:v>1.31264490815052E-2</c:v>
                </c:pt>
                <c:pt idx="737">
                  <c:v>1.31442839308007E-2</c:v>
                </c:pt>
                <c:pt idx="738">
                  <c:v>1.31621187800963E-2</c:v>
                </c:pt>
                <c:pt idx="739">
                  <c:v>1.31799536293918E-2</c:v>
                </c:pt>
                <c:pt idx="740">
                  <c:v>1.31977884786873E-2</c:v>
                </c:pt>
                <c:pt idx="741">
                  <c:v>1.32156233279828E-2</c:v>
                </c:pt>
                <c:pt idx="742">
                  <c:v>1.32334581772784E-2</c:v>
                </c:pt>
                <c:pt idx="743">
                  <c:v>1.32512930265739E-2</c:v>
                </c:pt>
                <c:pt idx="744">
                  <c:v>1.32691278758694E-2</c:v>
                </c:pt>
                <c:pt idx="745">
                  <c:v>1.32869627251649E-2</c:v>
                </c:pt>
                <c:pt idx="746">
                  <c:v>1.33047975744604E-2</c:v>
                </c:pt>
                <c:pt idx="747">
                  <c:v>1.3322632423756E-2</c:v>
                </c:pt>
                <c:pt idx="748">
                  <c:v>1.33404672730515E-2</c:v>
                </c:pt>
                <c:pt idx="749">
                  <c:v>1.3358302122347E-2</c:v>
                </c:pt>
                <c:pt idx="750">
                  <c:v>1.3376136971642499E-2</c:v>
                </c:pt>
                <c:pt idx="751">
                  <c:v>1.33939718209381E-2</c:v>
                </c:pt>
                <c:pt idx="752">
                  <c:v>1.34118066702336E-2</c:v>
                </c:pt>
                <c:pt idx="753">
                  <c:v>1.3429641519529099E-2</c:v>
                </c:pt>
                <c:pt idx="754">
                  <c:v>1.3447476368824599E-2</c:v>
                </c:pt>
                <c:pt idx="755">
                  <c:v>1.34653112181202E-2</c:v>
                </c:pt>
                <c:pt idx="756">
                  <c:v>1.3483146067415699E-2</c:v>
                </c:pt>
                <c:pt idx="757">
                  <c:v>1.3500980916711199E-2</c:v>
                </c:pt>
                <c:pt idx="758">
                  <c:v>1.3518815766006701E-2</c:v>
                </c:pt>
                <c:pt idx="759">
                  <c:v>1.3536650615302299E-2</c:v>
                </c:pt>
                <c:pt idx="760">
                  <c:v>1.3554485464597799E-2</c:v>
                </c:pt>
                <c:pt idx="761">
                  <c:v>1.3572320313893301E-2</c:v>
                </c:pt>
                <c:pt idx="762">
                  <c:v>1.3590155163188801E-2</c:v>
                </c:pt>
                <c:pt idx="763">
                  <c:v>1.36079900124843E-2</c:v>
                </c:pt>
                <c:pt idx="764">
                  <c:v>1.3625824861779901E-2</c:v>
                </c:pt>
                <c:pt idx="765">
                  <c:v>1.3643659711075401E-2</c:v>
                </c:pt>
                <c:pt idx="766">
                  <c:v>1.36614945603709E-2</c:v>
                </c:pt>
                <c:pt idx="767">
                  <c:v>1.36793294096664E-2</c:v>
                </c:pt>
                <c:pt idx="768">
                  <c:v>1.3697164258962001E-2</c:v>
                </c:pt>
                <c:pt idx="769">
                  <c:v>1.37149991082575E-2</c:v>
                </c:pt>
                <c:pt idx="770">
                  <c:v>1.3732833957553E-2</c:v>
                </c:pt>
                <c:pt idx="771">
                  <c:v>1.37506688068485E-2</c:v>
                </c:pt>
                <c:pt idx="772">
                  <c:v>1.3768503656144101E-2</c:v>
                </c:pt>
                <c:pt idx="773">
                  <c:v>1.37863385054396E-2</c:v>
                </c:pt>
                <c:pt idx="774">
                  <c:v>1.38041733547351E-2</c:v>
                </c:pt>
                <c:pt idx="775">
                  <c:v>1.38220082040306E-2</c:v>
                </c:pt>
                <c:pt idx="776">
                  <c:v>1.38398430533261E-2</c:v>
                </c:pt>
                <c:pt idx="777">
                  <c:v>1.38576779026217E-2</c:v>
                </c:pt>
                <c:pt idx="778">
                  <c:v>1.38755127519172E-2</c:v>
                </c:pt>
                <c:pt idx="779">
                  <c:v>1.38933476012127E-2</c:v>
                </c:pt>
                <c:pt idx="780">
                  <c:v>1.39111824505082E-2</c:v>
                </c:pt>
                <c:pt idx="781">
                  <c:v>1.39290172998038E-2</c:v>
                </c:pt>
                <c:pt idx="782">
                  <c:v>1.39468521490993E-2</c:v>
                </c:pt>
                <c:pt idx="783">
                  <c:v>1.39646869983948E-2</c:v>
                </c:pt>
                <c:pt idx="784">
                  <c:v>1.3982521847690299E-2</c:v>
                </c:pt>
                <c:pt idx="785">
                  <c:v>1.40003566969859E-2</c:v>
                </c:pt>
                <c:pt idx="786">
                  <c:v>1.40181915462814E-2</c:v>
                </c:pt>
                <c:pt idx="787">
                  <c:v>1.4036026395576899E-2</c:v>
                </c:pt>
                <c:pt idx="788">
                  <c:v>1.4053861244872399E-2</c:v>
                </c:pt>
                <c:pt idx="789">
                  <c:v>1.4071696094168E-2</c:v>
                </c:pt>
                <c:pt idx="790">
                  <c:v>1.4089530943463499E-2</c:v>
                </c:pt>
                <c:pt idx="791">
                  <c:v>1.4107365792758999E-2</c:v>
                </c:pt>
                <c:pt idx="792">
                  <c:v>1.4125200642054501E-2</c:v>
                </c:pt>
                <c:pt idx="793">
                  <c:v>1.4143035491350001E-2</c:v>
                </c:pt>
                <c:pt idx="794">
                  <c:v>1.4160870340645599E-2</c:v>
                </c:pt>
                <c:pt idx="795">
                  <c:v>1.4178705189941101E-2</c:v>
                </c:pt>
                <c:pt idx="796">
                  <c:v>1.4196540039236601E-2</c:v>
                </c:pt>
                <c:pt idx="797">
                  <c:v>1.42143748885321E-2</c:v>
                </c:pt>
                <c:pt idx="798">
                  <c:v>1.4232209737827701E-2</c:v>
                </c:pt>
                <c:pt idx="799">
                  <c:v>1.4250044587123201E-2</c:v>
                </c:pt>
                <c:pt idx="800">
                  <c:v>1.42678794364187E-2</c:v>
                </c:pt>
                <c:pt idx="801">
                  <c:v>1.42857142857142E-2</c:v>
                </c:pt>
                <c:pt idx="802">
                  <c:v>1.4303549135009801E-2</c:v>
                </c:pt>
                <c:pt idx="803">
                  <c:v>1.43213839843053E-2</c:v>
                </c:pt>
                <c:pt idx="804">
                  <c:v>1.43392188336008E-2</c:v>
                </c:pt>
                <c:pt idx="805">
                  <c:v>1.43570536828963E-2</c:v>
                </c:pt>
                <c:pt idx="806">
                  <c:v>1.4374888532191901E-2</c:v>
                </c:pt>
                <c:pt idx="807">
                  <c:v>1.43927233814874E-2</c:v>
                </c:pt>
                <c:pt idx="808">
                  <c:v>1.44105582307829E-2</c:v>
                </c:pt>
                <c:pt idx="809">
                  <c:v>1.44283930800784E-2</c:v>
                </c:pt>
                <c:pt idx="810">
                  <c:v>1.44462279293739E-2</c:v>
                </c:pt>
                <c:pt idx="811">
                  <c:v>1.44640627786695E-2</c:v>
                </c:pt>
                <c:pt idx="812">
                  <c:v>1.4481897627965E-2</c:v>
                </c:pt>
                <c:pt idx="813">
                  <c:v>1.44997324772605E-2</c:v>
                </c:pt>
                <c:pt idx="814">
                  <c:v>1.4517567326556E-2</c:v>
                </c:pt>
                <c:pt idx="815">
                  <c:v>1.45354021758516E-2</c:v>
                </c:pt>
                <c:pt idx="816">
                  <c:v>1.45532370251471E-2</c:v>
                </c:pt>
                <c:pt idx="817">
                  <c:v>1.45710718744426E-2</c:v>
                </c:pt>
                <c:pt idx="818">
                  <c:v>1.4588906723738099E-2</c:v>
                </c:pt>
                <c:pt idx="819">
                  <c:v>1.46067415730337E-2</c:v>
                </c:pt>
                <c:pt idx="820">
                  <c:v>1.46245764223292E-2</c:v>
                </c:pt>
                <c:pt idx="821">
                  <c:v>1.4642411271624699E-2</c:v>
                </c:pt>
                <c:pt idx="822">
                  <c:v>1.4660246120920199E-2</c:v>
                </c:pt>
                <c:pt idx="823">
                  <c:v>1.46780809702158E-2</c:v>
                </c:pt>
                <c:pt idx="824">
                  <c:v>1.4695915819511299E-2</c:v>
                </c:pt>
                <c:pt idx="825">
                  <c:v>1.4713750668806799E-2</c:v>
                </c:pt>
                <c:pt idx="826">
                  <c:v>1.4731585518102301E-2</c:v>
                </c:pt>
                <c:pt idx="827">
                  <c:v>1.4749420367397801E-2</c:v>
                </c:pt>
                <c:pt idx="828">
                  <c:v>1.4767255216693399E-2</c:v>
                </c:pt>
                <c:pt idx="829">
                  <c:v>1.4785090065988901E-2</c:v>
                </c:pt>
                <c:pt idx="830">
                  <c:v>1.4802924915284401E-2</c:v>
                </c:pt>
                <c:pt idx="831">
                  <c:v>1.48207597645799E-2</c:v>
                </c:pt>
                <c:pt idx="832">
                  <c:v>1.4838594613875499E-2</c:v>
                </c:pt>
                <c:pt idx="833">
                  <c:v>1.4856429463171001E-2</c:v>
                </c:pt>
                <c:pt idx="834">
                  <c:v>1.48742643124665E-2</c:v>
                </c:pt>
                <c:pt idx="835">
                  <c:v>1.4892099161762E-2</c:v>
                </c:pt>
                <c:pt idx="836">
                  <c:v>1.4909934011057601E-2</c:v>
                </c:pt>
                <c:pt idx="837">
                  <c:v>1.4927768860353101E-2</c:v>
                </c:pt>
                <c:pt idx="838">
                  <c:v>1.49456037096486E-2</c:v>
                </c:pt>
                <c:pt idx="839">
                  <c:v>1.49634385589441E-2</c:v>
                </c:pt>
                <c:pt idx="840">
                  <c:v>1.4981273408239701E-2</c:v>
                </c:pt>
                <c:pt idx="841">
                  <c:v>1.49991082575352E-2</c:v>
                </c:pt>
                <c:pt idx="842">
                  <c:v>1.50169431068307E-2</c:v>
                </c:pt>
                <c:pt idx="843">
                  <c:v>1.50347779561262E-2</c:v>
                </c:pt>
                <c:pt idx="844">
                  <c:v>1.50526128054217E-2</c:v>
                </c:pt>
                <c:pt idx="845">
                  <c:v>1.50704476547173E-2</c:v>
                </c:pt>
                <c:pt idx="846">
                  <c:v>1.50882825040128E-2</c:v>
                </c:pt>
                <c:pt idx="847">
                  <c:v>1.51061173533083E-2</c:v>
                </c:pt>
                <c:pt idx="848">
                  <c:v>1.51239522026038E-2</c:v>
                </c:pt>
                <c:pt idx="849">
                  <c:v>1.51417870518994E-2</c:v>
                </c:pt>
                <c:pt idx="850">
                  <c:v>1.51596219011949E-2</c:v>
                </c:pt>
                <c:pt idx="851">
                  <c:v>1.51774567504904E-2</c:v>
                </c:pt>
                <c:pt idx="852">
                  <c:v>1.5195291599785899E-2</c:v>
                </c:pt>
                <c:pt idx="853">
                  <c:v>1.52131264490815E-2</c:v>
                </c:pt>
                <c:pt idx="854">
                  <c:v>1.5230961298377E-2</c:v>
                </c:pt>
                <c:pt idx="855">
                  <c:v>1.5248796147672499E-2</c:v>
                </c:pt>
                <c:pt idx="856">
                  <c:v>1.5266630996967999E-2</c:v>
                </c:pt>
                <c:pt idx="857">
                  <c:v>1.52844658462636E-2</c:v>
                </c:pt>
                <c:pt idx="858">
                  <c:v>1.5302300695559099E-2</c:v>
                </c:pt>
                <c:pt idx="859">
                  <c:v>1.5320135544854599E-2</c:v>
                </c:pt>
                <c:pt idx="860">
                  <c:v>1.5337970394150101E-2</c:v>
                </c:pt>
                <c:pt idx="861">
                  <c:v>1.5355805243445601E-2</c:v>
                </c:pt>
                <c:pt idx="862">
                  <c:v>1.5373640092741199E-2</c:v>
                </c:pt>
                <c:pt idx="863">
                  <c:v>1.5391474942036701E-2</c:v>
                </c:pt>
                <c:pt idx="864">
                  <c:v>1.5409309791332201E-2</c:v>
                </c:pt>
                <c:pt idx="865">
                  <c:v>1.54271446406277E-2</c:v>
                </c:pt>
                <c:pt idx="866">
                  <c:v>1.5444979489923299E-2</c:v>
                </c:pt>
                <c:pt idx="867">
                  <c:v>1.5462814339218801E-2</c:v>
                </c:pt>
                <c:pt idx="868">
                  <c:v>1.54806491885143E-2</c:v>
                </c:pt>
                <c:pt idx="869">
                  <c:v>1.54984840378098E-2</c:v>
                </c:pt>
                <c:pt idx="870">
                  <c:v>1.5516318887105401E-2</c:v>
                </c:pt>
                <c:pt idx="871">
                  <c:v>1.5534153736400901E-2</c:v>
                </c:pt>
                <c:pt idx="872">
                  <c:v>1.55519885856964E-2</c:v>
                </c:pt>
                <c:pt idx="873">
                  <c:v>1.55698234349919E-2</c:v>
                </c:pt>
                <c:pt idx="874">
                  <c:v>1.55876582842874E-2</c:v>
                </c:pt>
                <c:pt idx="875">
                  <c:v>1.5605493133583E-2</c:v>
                </c:pt>
                <c:pt idx="876">
                  <c:v>1.56233279828785E-2</c:v>
                </c:pt>
                <c:pt idx="877">
                  <c:v>1.5641162832174E-2</c:v>
                </c:pt>
                <c:pt idx="878">
                  <c:v>1.56589976814695E-2</c:v>
                </c:pt>
                <c:pt idx="879">
                  <c:v>1.56768325307651E-2</c:v>
                </c:pt>
                <c:pt idx="880">
                  <c:v>1.56946673800606E-2</c:v>
                </c:pt>
                <c:pt idx="881">
                  <c:v>1.57125022293561E-2</c:v>
                </c:pt>
                <c:pt idx="882">
                  <c:v>1.57303370786516E-2</c:v>
                </c:pt>
                <c:pt idx="883">
                  <c:v>1.57481719279472E-2</c:v>
                </c:pt>
                <c:pt idx="884">
                  <c:v>1.57660067772427E-2</c:v>
                </c:pt>
                <c:pt idx="885">
                  <c:v>1.57838416265382E-2</c:v>
                </c:pt>
                <c:pt idx="886">
                  <c:v>1.5801676475833699E-2</c:v>
                </c:pt>
                <c:pt idx="887">
                  <c:v>1.58195113251293E-2</c:v>
                </c:pt>
                <c:pt idx="888">
                  <c:v>1.58373461744248E-2</c:v>
                </c:pt>
                <c:pt idx="889">
                  <c:v>1.5855181023720299E-2</c:v>
                </c:pt>
                <c:pt idx="890">
                  <c:v>1.5873015873015799E-2</c:v>
                </c:pt>
                <c:pt idx="891">
                  <c:v>1.5890850722311299E-2</c:v>
                </c:pt>
                <c:pt idx="892">
                  <c:v>1.59086855716069E-2</c:v>
                </c:pt>
                <c:pt idx="893">
                  <c:v>1.5926520420902399E-2</c:v>
                </c:pt>
                <c:pt idx="894">
                  <c:v>1.5944355270197899E-2</c:v>
                </c:pt>
                <c:pt idx="895">
                  <c:v>1.5962190119493399E-2</c:v>
                </c:pt>
                <c:pt idx="896">
                  <c:v>1.5980024968788999E-2</c:v>
                </c:pt>
                <c:pt idx="897">
                  <c:v>1.5997859818084499E-2</c:v>
                </c:pt>
                <c:pt idx="898">
                  <c:v>1.6015694667379999E-2</c:v>
                </c:pt>
                <c:pt idx="899">
                  <c:v>1.6033529516675499E-2</c:v>
                </c:pt>
                <c:pt idx="900">
                  <c:v>1.6051364365971099E-2</c:v>
                </c:pt>
                <c:pt idx="901">
                  <c:v>1.6069199215266599E-2</c:v>
                </c:pt>
                <c:pt idx="902">
                  <c:v>1.6087034064562099E-2</c:v>
                </c:pt>
                <c:pt idx="903">
                  <c:v>1.6104868913857599E-2</c:v>
                </c:pt>
                <c:pt idx="904">
                  <c:v>1.6122703763153199E-2</c:v>
                </c:pt>
                <c:pt idx="905">
                  <c:v>1.6140538612448699E-2</c:v>
                </c:pt>
                <c:pt idx="906">
                  <c:v>1.6158373461744199E-2</c:v>
                </c:pt>
                <c:pt idx="907">
                  <c:v>1.6176208311039698E-2</c:v>
                </c:pt>
                <c:pt idx="908">
                  <c:v>1.6194043160335202E-2</c:v>
                </c:pt>
                <c:pt idx="909">
                  <c:v>1.6211878009630799E-2</c:v>
                </c:pt>
                <c:pt idx="910">
                  <c:v>1.6229712858926298E-2</c:v>
                </c:pt>
                <c:pt idx="911">
                  <c:v>1.6247547708221802E-2</c:v>
                </c:pt>
                <c:pt idx="912">
                  <c:v>1.6265382557517302E-2</c:v>
                </c:pt>
                <c:pt idx="913">
                  <c:v>1.6283217406812898E-2</c:v>
                </c:pt>
                <c:pt idx="914">
                  <c:v>1.6301052256108398E-2</c:v>
                </c:pt>
                <c:pt idx="915">
                  <c:v>1.6318887105403902E-2</c:v>
                </c:pt>
                <c:pt idx="916">
                  <c:v>1.6336721954699401E-2</c:v>
                </c:pt>
                <c:pt idx="917">
                  <c:v>1.6354556803994998E-2</c:v>
                </c:pt>
                <c:pt idx="918">
                  <c:v>1.6372391653290502E-2</c:v>
                </c:pt>
                <c:pt idx="919">
                  <c:v>1.6390226502586001E-2</c:v>
                </c:pt>
                <c:pt idx="920">
                  <c:v>1.6408061351881501E-2</c:v>
                </c:pt>
                <c:pt idx="921">
                  <c:v>1.6425896201177102E-2</c:v>
                </c:pt>
                <c:pt idx="922">
                  <c:v>1.6443731050472601E-2</c:v>
                </c:pt>
                <c:pt idx="923">
                  <c:v>1.6461565899768101E-2</c:v>
                </c:pt>
                <c:pt idx="924">
                  <c:v>1.6479400749063601E-2</c:v>
                </c:pt>
                <c:pt idx="925">
                  <c:v>1.6497235598359101E-2</c:v>
                </c:pt>
                <c:pt idx="926">
                  <c:v>1.6515070447654701E-2</c:v>
                </c:pt>
                <c:pt idx="927">
                  <c:v>1.6532905296950201E-2</c:v>
                </c:pt>
                <c:pt idx="928">
                  <c:v>1.6550740146245701E-2</c:v>
                </c:pt>
                <c:pt idx="929">
                  <c:v>1.6568574995541201E-2</c:v>
                </c:pt>
                <c:pt idx="930">
                  <c:v>1.6586409844836801E-2</c:v>
                </c:pt>
                <c:pt idx="931">
                  <c:v>1.6604244694132301E-2</c:v>
                </c:pt>
                <c:pt idx="932">
                  <c:v>1.6622079543427801E-2</c:v>
                </c:pt>
                <c:pt idx="933">
                  <c:v>1.6639914392723301E-2</c:v>
                </c:pt>
                <c:pt idx="934">
                  <c:v>1.6657749242018901E-2</c:v>
                </c:pt>
                <c:pt idx="935">
                  <c:v>1.6675584091314401E-2</c:v>
                </c:pt>
                <c:pt idx="936">
                  <c:v>1.6693418940609901E-2</c:v>
                </c:pt>
                <c:pt idx="937">
                  <c:v>1.67112537899054E-2</c:v>
                </c:pt>
                <c:pt idx="938">
                  <c:v>1.67290886392009E-2</c:v>
                </c:pt>
                <c:pt idx="939">
                  <c:v>1.6746923488496501E-2</c:v>
                </c:pt>
                <c:pt idx="940">
                  <c:v>1.6764758337792E-2</c:v>
                </c:pt>
                <c:pt idx="941">
                  <c:v>1.67825931870875E-2</c:v>
                </c:pt>
                <c:pt idx="942">
                  <c:v>1.6800428036383E-2</c:v>
                </c:pt>
                <c:pt idx="943">
                  <c:v>1.68182628856786E-2</c:v>
                </c:pt>
                <c:pt idx="944">
                  <c:v>1.68360977349741E-2</c:v>
                </c:pt>
                <c:pt idx="945">
                  <c:v>1.68539325842696E-2</c:v>
                </c:pt>
                <c:pt idx="946">
                  <c:v>1.68717674335651E-2</c:v>
                </c:pt>
                <c:pt idx="947">
                  <c:v>1.68896022828607E-2</c:v>
                </c:pt>
                <c:pt idx="948">
                  <c:v>1.69074371321562E-2</c:v>
                </c:pt>
                <c:pt idx="949">
                  <c:v>1.69252719814517E-2</c:v>
                </c:pt>
                <c:pt idx="950">
                  <c:v>1.69431068307472E-2</c:v>
                </c:pt>
                <c:pt idx="951">
                  <c:v>1.69609416800428E-2</c:v>
                </c:pt>
                <c:pt idx="952">
                  <c:v>1.69787765293383E-2</c:v>
                </c:pt>
                <c:pt idx="953">
                  <c:v>1.69966113786338E-2</c:v>
                </c:pt>
                <c:pt idx="954">
                  <c:v>1.7014446227929299E-2</c:v>
                </c:pt>
                <c:pt idx="955">
                  <c:v>1.7032281077224799E-2</c:v>
                </c:pt>
                <c:pt idx="956">
                  <c:v>1.70501159265204E-2</c:v>
                </c:pt>
                <c:pt idx="957">
                  <c:v>1.70679507758159E-2</c:v>
                </c:pt>
                <c:pt idx="958">
                  <c:v>1.7085785625111399E-2</c:v>
                </c:pt>
                <c:pt idx="959">
                  <c:v>1.7103620474406899E-2</c:v>
                </c:pt>
                <c:pt idx="960">
                  <c:v>1.71214553237025E-2</c:v>
                </c:pt>
                <c:pt idx="961">
                  <c:v>1.7139290172997999E-2</c:v>
                </c:pt>
                <c:pt idx="962">
                  <c:v>1.7157125022293499E-2</c:v>
                </c:pt>
                <c:pt idx="963">
                  <c:v>1.7174959871588999E-2</c:v>
                </c:pt>
                <c:pt idx="964">
                  <c:v>1.7192794720884599E-2</c:v>
                </c:pt>
                <c:pt idx="965">
                  <c:v>1.7210629570180099E-2</c:v>
                </c:pt>
                <c:pt idx="966">
                  <c:v>1.7228464419475599E-2</c:v>
                </c:pt>
                <c:pt idx="967">
                  <c:v>1.7246299268771099E-2</c:v>
                </c:pt>
                <c:pt idx="968">
                  <c:v>1.7264134118066699E-2</c:v>
                </c:pt>
                <c:pt idx="969">
                  <c:v>1.7281968967362199E-2</c:v>
                </c:pt>
                <c:pt idx="970">
                  <c:v>1.7299803816657699E-2</c:v>
                </c:pt>
                <c:pt idx="971">
                  <c:v>1.7317638665953199E-2</c:v>
                </c:pt>
                <c:pt idx="972">
                  <c:v>1.7335473515248698E-2</c:v>
                </c:pt>
                <c:pt idx="973">
                  <c:v>1.7353308364544299E-2</c:v>
                </c:pt>
                <c:pt idx="974">
                  <c:v>1.7371143213839799E-2</c:v>
                </c:pt>
                <c:pt idx="975">
                  <c:v>1.7388978063135298E-2</c:v>
                </c:pt>
                <c:pt idx="976">
                  <c:v>1.7406812912430802E-2</c:v>
                </c:pt>
                <c:pt idx="977">
                  <c:v>1.7424647761726399E-2</c:v>
                </c:pt>
                <c:pt idx="978">
                  <c:v>1.7442482611021898E-2</c:v>
                </c:pt>
                <c:pt idx="979">
                  <c:v>1.7460317460317398E-2</c:v>
                </c:pt>
                <c:pt idx="980">
                  <c:v>1.7478152309612902E-2</c:v>
                </c:pt>
                <c:pt idx="981">
                  <c:v>1.7495987158908499E-2</c:v>
                </c:pt>
                <c:pt idx="982">
                  <c:v>1.7513822008203998E-2</c:v>
                </c:pt>
                <c:pt idx="983">
                  <c:v>1.7531656857499502E-2</c:v>
                </c:pt>
                <c:pt idx="984">
                  <c:v>1.7549491706795001E-2</c:v>
                </c:pt>
                <c:pt idx="985">
                  <c:v>1.7567326556090598E-2</c:v>
                </c:pt>
                <c:pt idx="986">
                  <c:v>1.7585161405386102E-2</c:v>
                </c:pt>
                <c:pt idx="987">
                  <c:v>1.7602996254681601E-2</c:v>
                </c:pt>
                <c:pt idx="988">
                  <c:v>1.7620831103977101E-2</c:v>
                </c:pt>
                <c:pt idx="989">
                  <c:v>1.7638665953272601E-2</c:v>
                </c:pt>
                <c:pt idx="990">
                  <c:v>1.7656500802568201E-2</c:v>
                </c:pt>
                <c:pt idx="991">
                  <c:v>1.7674335651863701E-2</c:v>
                </c:pt>
                <c:pt idx="992">
                  <c:v>1.7692170501159201E-2</c:v>
                </c:pt>
                <c:pt idx="993">
                  <c:v>1.7710005350454701E-2</c:v>
                </c:pt>
                <c:pt idx="994">
                  <c:v>1.7727840199750301E-2</c:v>
                </c:pt>
                <c:pt idx="995">
                  <c:v>1.7745675049045801E-2</c:v>
                </c:pt>
                <c:pt idx="996">
                  <c:v>1.7763509898341301E-2</c:v>
                </c:pt>
                <c:pt idx="997">
                  <c:v>1.7781344747636801E-2</c:v>
                </c:pt>
                <c:pt idx="998">
                  <c:v>1.7799179596932401E-2</c:v>
                </c:pt>
                <c:pt idx="999">
                  <c:v>1.7817014446227901E-2</c:v>
                </c:pt>
                <c:pt idx="1000">
                  <c:v>1.7834849295523401E-2</c:v>
                </c:pt>
                <c:pt idx="1001">
                  <c:v>1.7852684144818901E-2</c:v>
                </c:pt>
                <c:pt idx="1002">
                  <c:v>1.7870518994114501E-2</c:v>
                </c:pt>
                <c:pt idx="1003">
                  <c:v>1.7888353843410001E-2</c:v>
                </c:pt>
                <c:pt idx="1004">
                  <c:v>1.7906188692705501E-2</c:v>
                </c:pt>
                <c:pt idx="1005">
                  <c:v>1.7924023542001E-2</c:v>
                </c:pt>
                <c:pt idx="1006">
                  <c:v>1.79418583912965E-2</c:v>
                </c:pt>
                <c:pt idx="1007">
                  <c:v>1.7959693240592101E-2</c:v>
                </c:pt>
                <c:pt idx="1008">
                  <c:v>1.79775280898876E-2</c:v>
                </c:pt>
                <c:pt idx="1009">
                  <c:v>1.79953629391831E-2</c:v>
                </c:pt>
                <c:pt idx="1010">
                  <c:v>1.80131977884786E-2</c:v>
                </c:pt>
                <c:pt idx="1011">
                  <c:v>1.80310326377742E-2</c:v>
                </c:pt>
                <c:pt idx="1012">
                  <c:v>1.80488674870697E-2</c:v>
                </c:pt>
                <c:pt idx="1013">
                  <c:v>1.80667023363652E-2</c:v>
                </c:pt>
                <c:pt idx="1014">
                  <c:v>1.80845371856607E-2</c:v>
                </c:pt>
                <c:pt idx="1015">
                  <c:v>1.81023720349563E-2</c:v>
                </c:pt>
                <c:pt idx="1016">
                  <c:v>1.81202068842518E-2</c:v>
                </c:pt>
                <c:pt idx="1017">
                  <c:v>1.81380417335473E-2</c:v>
                </c:pt>
                <c:pt idx="1018">
                  <c:v>1.81558765828428E-2</c:v>
                </c:pt>
                <c:pt idx="1019">
                  <c:v>1.81737114321384E-2</c:v>
                </c:pt>
                <c:pt idx="1020">
                  <c:v>1.81915462814339E-2</c:v>
                </c:pt>
                <c:pt idx="1021">
                  <c:v>1.82093811307294E-2</c:v>
                </c:pt>
                <c:pt idx="1022">
                  <c:v>1.82272159800249E-2</c:v>
                </c:pt>
                <c:pt idx="1023">
                  <c:v>1.8245050829320399E-2</c:v>
                </c:pt>
                <c:pt idx="1024">
                  <c:v>1.8262885678616E-2</c:v>
                </c:pt>
                <c:pt idx="1025">
                  <c:v>1.82807205279115E-2</c:v>
                </c:pt>
                <c:pt idx="1026">
                  <c:v>1.8298555377206999E-2</c:v>
                </c:pt>
                <c:pt idx="1027">
                  <c:v>1.8316390226502499E-2</c:v>
                </c:pt>
                <c:pt idx="1028">
                  <c:v>1.83342250757981E-2</c:v>
                </c:pt>
                <c:pt idx="1029">
                  <c:v>1.8352059925093599E-2</c:v>
                </c:pt>
                <c:pt idx="1030">
                  <c:v>1.8369894774389099E-2</c:v>
                </c:pt>
                <c:pt idx="1031">
                  <c:v>1.8387729623684599E-2</c:v>
                </c:pt>
                <c:pt idx="1032">
                  <c:v>1.8405564472980199E-2</c:v>
                </c:pt>
                <c:pt idx="1033">
                  <c:v>1.8423399322275699E-2</c:v>
                </c:pt>
                <c:pt idx="1034">
                  <c:v>1.8441234171571199E-2</c:v>
                </c:pt>
                <c:pt idx="1035">
                  <c:v>1.8459069020866699E-2</c:v>
                </c:pt>
                <c:pt idx="1036">
                  <c:v>1.8476903870162199E-2</c:v>
                </c:pt>
                <c:pt idx="1037">
                  <c:v>1.8494738719457799E-2</c:v>
                </c:pt>
                <c:pt idx="1038">
                  <c:v>1.8512573568753299E-2</c:v>
                </c:pt>
                <c:pt idx="1039">
                  <c:v>1.8530408418048799E-2</c:v>
                </c:pt>
                <c:pt idx="1040">
                  <c:v>1.8548243267344298E-2</c:v>
                </c:pt>
                <c:pt idx="1041">
                  <c:v>1.8566078116639899E-2</c:v>
                </c:pt>
                <c:pt idx="1042">
                  <c:v>1.8583912965935399E-2</c:v>
                </c:pt>
                <c:pt idx="1043">
                  <c:v>1.8601747815230898E-2</c:v>
                </c:pt>
                <c:pt idx="1044">
                  <c:v>1.8619582664526398E-2</c:v>
                </c:pt>
                <c:pt idx="1045">
                  <c:v>1.8637417513821999E-2</c:v>
                </c:pt>
                <c:pt idx="1046">
                  <c:v>1.8655252363117499E-2</c:v>
                </c:pt>
                <c:pt idx="1047">
                  <c:v>1.8673087212412998E-2</c:v>
                </c:pt>
                <c:pt idx="1048">
                  <c:v>1.8690922061708502E-2</c:v>
                </c:pt>
                <c:pt idx="1049">
                  <c:v>1.8708756911004099E-2</c:v>
                </c:pt>
                <c:pt idx="1050">
                  <c:v>1.8726591760299598E-2</c:v>
                </c:pt>
                <c:pt idx="1051">
                  <c:v>1.8744426609595102E-2</c:v>
                </c:pt>
                <c:pt idx="1052">
                  <c:v>1.8762261458890601E-2</c:v>
                </c:pt>
                <c:pt idx="1053">
                  <c:v>1.8780096308186101E-2</c:v>
                </c:pt>
                <c:pt idx="1054">
                  <c:v>1.8797931157481702E-2</c:v>
                </c:pt>
                <c:pt idx="1055">
                  <c:v>1.8815766006777201E-2</c:v>
                </c:pt>
                <c:pt idx="1056">
                  <c:v>1.8833600856072701E-2</c:v>
                </c:pt>
                <c:pt idx="1057">
                  <c:v>1.8851435705368201E-2</c:v>
                </c:pt>
                <c:pt idx="1058">
                  <c:v>1.8869270554663801E-2</c:v>
                </c:pt>
                <c:pt idx="1059">
                  <c:v>1.8887105403959301E-2</c:v>
                </c:pt>
                <c:pt idx="1060">
                  <c:v>1.8904940253254801E-2</c:v>
                </c:pt>
                <c:pt idx="1061">
                  <c:v>1.8922775102550301E-2</c:v>
                </c:pt>
                <c:pt idx="1062">
                  <c:v>1.8940609951845901E-2</c:v>
                </c:pt>
                <c:pt idx="1063">
                  <c:v>1.8958444801141401E-2</c:v>
                </c:pt>
                <c:pt idx="1064">
                  <c:v>1.8976279650436901E-2</c:v>
                </c:pt>
                <c:pt idx="1065">
                  <c:v>1.8994114499732401E-2</c:v>
                </c:pt>
                <c:pt idx="1066">
                  <c:v>1.9011949349028001E-2</c:v>
                </c:pt>
                <c:pt idx="1067">
                  <c:v>1.9029784198323501E-2</c:v>
                </c:pt>
                <c:pt idx="1068">
                  <c:v>1.9047619047619001E-2</c:v>
                </c:pt>
                <c:pt idx="1069">
                  <c:v>1.9065453896914501E-2</c:v>
                </c:pt>
                <c:pt idx="1070">
                  <c:v>1.908328874621E-2</c:v>
                </c:pt>
                <c:pt idx="1071">
                  <c:v>1.9101123595505601E-2</c:v>
                </c:pt>
                <c:pt idx="1072">
                  <c:v>1.9118958444801101E-2</c:v>
                </c:pt>
                <c:pt idx="1073">
                  <c:v>1.91367932940966E-2</c:v>
                </c:pt>
                <c:pt idx="1074">
                  <c:v>1.91546281433921E-2</c:v>
                </c:pt>
                <c:pt idx="1075">
                  <c:v>1.9172462992687701E-2</c:v>
                </c:pt>
                <c:pt idx="1076">
                  <c:v>1.91902978419832E-2</c:v>
                </c:pt>
                <c:pt idx="1077">
                  <c:v>1.92081326912787E-2</c:v>
                </c:pt>
                <c:pt idx="1078">
                  <c:v>1.92259675405742E-2</c:v>
                </c:pt>
                <c:pt idx="1079">
                  <c:v>1.92438023898698E-2</c:v>
                </c:pt>
                <c:pt idx="1080">
                  <c:v>1.92616372391653E-2</c:v>
                </c:pt>
                <c:pt idx="1081">
                  <c:v>1.92794720884608E-2</c:v>
                </c:pt>
                <c:pt idx="1082">
                  <c:v>1.92973069377563E-2</c:v>
                </c:pt>
                <c:pt idx="1083">
                  <c:v>1.93151417870519E-2</c:v>
                </c:pt>
                <c:pt idx="1084">
                  <c:v>1.93329766363474E-2</c:v>
                </c:pt>
                <c:pt idx="1085">
                  <c:v>1.93508114856429E-2</c:v>
                </c:pt>
                <c:pt idx="1086">
                  <c:v>1.93686463349384E-2</c:v>
                </c:pt>
                <c:pt idx="1087">
                  <c:v>1.93864811842339E-2</c:v>
                </c:pt>
                <c:pt idx="1088">
                  <c:v>1.94043160335295E-2</c:v>
                </c:pt>
                <c:pt idx="1089">
                  <c:v>1.9422150882825E-2</c:v>
                </c:pt>
                <c:pt idx="1090">
                  <c:v>1.94399857321205E-2</c:v>
                </c:pt>
                <c:pt idx="1091">
                  <c:v>1.9457820581415999E-2</c:v>
                </c:pt>
                <c:pt idx="1092">
                  <c:v>1.94756554307116E-2</c:v>
                </c:pt>
                <c:pt idx="1093">
                  <c:v>1.94934902800071E-2</c:v>
                </c:pt>
                <c:pt idx="1094">
                  <c:v>1.9511325129302599E-2</c:v>
                </c:pt>
                <c:pt idx="1095">
                  <c:v>1.9529159978598099E-2</c:v>
                </c:pt>
                <c:pt idx="1096">
                  <c:v>1.95469948278937E-2</c:v>
                </c:pt>
                <c:pt idx="1097">
                  <c:v>1.9564829677189199E-2</c:v>
                </c:pt>
                <c:pt idx="1098">
                  <c:v>1.9582664526484699E-2</c:v>
                </c:pt>
                <c:pt idx="1099">
                  <c:v>1.9600499375780199E-2</c:v>
                </c:pt>
                <c:pt idx="1100">
                  <c:v>1.9618334225075799E-2</c:v>
                </c:pt>
                <c:pt idx="1101">
                  <c:v>1.9636169074371299E-2</c:v>
                </c:pt>
                <c:pt idx="1102">
                  <c:v>1.9654003923666799E-2</c:v>
                </c:pt>
                <c:pt idx="1103">
                  <c:v>1.9671838772962299E-2</c:v>
                </c:pt>
                <c:pt idx="1104">
                  <c:v>1.9689673622257799E-2</c:v>
                </c:pt>
                <c:pt idx="1105">
                  <c:v>1.9707508471553399E-2</c:v>
                </c:pt>
                <c:pt idx="1106">
                  <c:v>1.9725343320848899E-2</c:v>
                </c:pt>
                <c:pt idx="1107">
                  <c:v>1.9743178170144399E-2</c:v>
                </c:pt>
                <c:pt idx="1108">
                  <c:v>1.9761013019439898E-2</c:v>
                </c:pt>
                <c:pt idx="1109">
                  <c:v>1.9778847868735499E-2</c:v>
                </c:pt>
                <c:pt idx="1110">
                  <c:v>1.9796682718030999E-2</c:v>
                </c:pt>
                <c:pt idx="1111">
                  <c:v>1.9814517567326499E-2</c:v>
                </c:pt>
                <c:pt idx="1112">
                  <c:v>1.9832352416621998E-2</c:v>
                </c:pt>
                <c:pt idx="1113">
                  <c:v>1.9850187265917599E-2</c:v>
                </c:pt>
                <c:pt idx="1114">
                  <c:v>1.9868022115213099E-2</c:v>
                </c:pt>
                <c:pt idx="1115">
                  <c:v>1.9885856964508598E-2</c:v>
                </c:pt>
                <c:pt idx="1116">
                  <c:v>1.9903691813804102E-2</c:v>
                </c:pt>
                <c:pt idx="1117">
                  <c:v>1.9921526663099601E-2</c:v>
                </c:pt>
                <c:pt idx="1118">
                  <c:v>1.9939361512395198E-2</c:v>
                </c:pt>
                <c:pt idx="1119">
                  <c:v>1.9957196361690702E-2</c:v>
                </c:pt>
                <c:pt idx="1120">
                  <c:v>1.9975031210986201E-2</c:v>
                </c:pt>
                <c:pt idx="1121">
                  <c:v>1.9992866060281701E-2</c:v>
                </c:pt>
                <c:pt idx="1122">
                  <c:v>2.0010700909577302E-2</c:v>
                </c:pt>
                <c:pt idx="1123">
                  <c:v>2.0028535758872801E-2</c:v>
                </c:pt>
                <c:pt idx="1124">
                  <c:v>2.0046370608168301E-2</c:v>
                </c:pt>
                <c:pt idx="1125">
                  <c:v>2.0064205457463801E-2</c:v>
                </c:pt>
                <c:pt idx="1126">
                  <c:v>2.0082040306759402E-2</c:v>
                </c:pt>
                <c:pt idx="1127">
                  <c:v>2.0099875156054901E-2</c:v>
                </c:pt>
                <c:pt idx="1128">
                  <c:v>2.0117710005350401E-2</c:v>
                </c:pt>
                <c:pt idx="1129">
                  <c:v>2.0135544854645901E-2</c:v>
                </c:pt>
                <c:pt idx="1130">
                  <c:v>2.0153379703941501E-2</c:v>
                </c:pt>
                <c:pt idx="1131">
                  <c:v>2.0171214553237001E-2</c:v>
                </c:pt>
                <c:pt idx="1132">
                  <c:v>2.0189049402532501E-2</c:v>
                </c:pt>
                <c:pt idx="1133">
                  <c:v>2.0206884251828001E-2</c:v>
                </c:pt>
                <c:pt idx="1134">
                  <c:v>2.0224719101123501E-2</c:v>
                </c:pt>
                <c:pt idx="1135">
                  <c:v>2.0242553950419101E-2</c:v>
                </c:pt>
                <c:pt idx="1136">
                  <c:v>2.0260388799714601E-2</c:v>
                </c:pt>
                <c:pt idx="1137">
                  <c:v>2.0278223649010101E-2</c:v>
                </c:pt>
                <c:pt idx="1138">
                  <c:v>2.02960584983056E-2</c:v>
                </c:pt>
                <c:pt idx="1139">
                  <c:v>2.0313893347601201E-2</c:v>
                </c:pt>
                <c:pt idx="1140">
                  <c:v>2.0331728196896701E-2</c:v>
                </c:pt>
                <c:pt idx="1141">
                  <c:v>2.03495630461922E-2</c:v>
                </c:pt>
                <c:pt idx="1142">
                  <c:v>2.03673978954877E-2</c:v>
                </c:pt>
                <c:pt idx="1143">
                  <c:v>2.0385232744783301E-2</c:v>
                </c:pt>
                <c:pt idx="1144">
                  <c:v>2.04030675940788E-2</c:v>
                </c:pt>
                <c:pt idx="1145">
                  <c:v>2.04209024433743E-2</c:v>
                </c:pt>
                <c:pt idx="1146">
                  <c:v>2.04387372926698E-2</c:v>
                </c:pt>
                <c:pt idx="1147">
                  <c:v>2.04565721419654E-2</c:v>
                </c:pt>
                <c:pt idx="1148">
                  <c:v>2.04744069912609E-2</c:v>
                </c:pt>
                <c:pt idx="1149">
                  <c:v>2.04922418405564E-2</c:v>
                </c:pt>
                <c:pt idx="1150">
                  <c:v>2.05100766898519E-2</c:v>
                </c:pt>
                <c:pt idx="1151">
                  <c:v>2.05279115391474E-2</c:v>
                </c:pt>
                <c:pt idx="1152">
                  <c:v>2.0545746388443E-2</c:v>
                </c:pt>
                <c:pt idx="1153">
                  <c:v>2.05635812377385E-2</c:v>
                </c:pt>
                <c:pt idx="1154">
                  <c:v>2.0581416087034E-2</c:v>
                </c:pt>
                <c:pt idx="1155">
                  <c:v>2.05992509363295E-2</c:v>
                </c:pt>
                <c:pt idx="1156">
                  <c:v>2.06170857856251E-2</c:v>
                </c:pt>
                <c:pt idx="1157">
                  <c:v>2.06349206349206E-2</c:v>
                </c:pt>
                <c:pt idx="1158">
                  <c:v>2.06527554842161E-2</c:v>
                </c:pt>
                <c:pt idx="1159">
                  <c:v>2.0670590333511599E-2</c:v>
                </c:pt>
                <c:pt idx="1160">
                  <c:v>2.06884251828072E-2</c:v>
                </c:pt>
                <c:pt idx="1161">
                  <c:v>2.07062600321027E-2</c:v>
                </c:pt>
                <c:pt idx="1162">
                  <c:v>2.0724094881398199E-2</c:v>
                </c:pt>
                <c:pt idx="1163">
                  <c:v>2.0741929730693699E-2</c:v>
                </c:pt>
                <c:pt idx="1164">
                  <c:v>2.07597645799893E-2</c:v>
                </c:pt>
                <c:pt idx="1165">
                  <c:v>2.0777599429284799E-2</c:v>
                </c:pt>
                <c:pt idx="1166">
                  <c:v>2.0795434278580299E-2</c:v>
                </c:pt>
                <c:pt idx="1167">
                  <c:v>2.0813269127875799E-2</c:v>
                </c:pt>
                <c:pt idx="1168">
                  <c:v>2.0831103977171299E-2</c:v>
                </c:pt>
                <c:pt idx="1169">
                  <c:v>2.0848938826466899E-2</c:v>
                </c:pt>
                <c:pt idx="1170">
                  <c:v>2.0866773675762399E-2</c:v>
                </c:pt>
                <c:pt idx="1171">
                  <c:v>2.0884608525057899E-2</c:v>
                </c:pt>
                <c:pt idx="1172">
                  <c:v>2.0902443374353399E-2</c:v>
                </c:pt>
                <c:pt idx="1173">
                  <c:v>2.0920278223648999E-2</c:v>
                </c:pt>
                <c:pt idx="1174">
                  <c:v>2.0938113072944499E-2</c:v>
                </c:pt>
                <c:pt idx="1175">
                  <c:v>2.0955947922239999E-2</c:v>
                </c:pt>
                <c:pt idx="1176">
                  <c:v>2.0973782771535499E-2</c:v>
                </c:pt>
                <c:pt idx="1177">
                  <c:v>2.0991617620831099E-2</c:v>
                </c:pt>
                <c:pt idx="1178">
                  <c:v>2.1009452470126599E-2</c:v>
                </c:pt>
                <c:pt idx="1179">
                  <c:v>2.1027287319422099E-2</c:v>
                </c:pt>
                <c:pt idx="1180">
                  <c:v>2.1045122168717598E-2</c:v>
                </c:pt>
                <c:pt idx="1181">
                  <c:v>2.1062957018013199E-2</c:v>
                </c:pt>
                <c:pt idx="1182">
                  <c:v>2.1080791867308699E-2</c:v>
                </c:pt>
                <c:pt idx="1183">
                  <c:v>2.1098626716604198E-2</c:v>
                </c:pt>
                <c:pt idx="1184">
                  <c:v>2.1116461565899702E-2</c:v>
                </c:pt>
                <c:pt idx="1185">
                  <c:v>2.1134296415195201E-2</c:v>
                </c:pt>
                <c:pt idx="1186">
                  <c:v>2.1152131264490798E-2</c:v>
                </c:pt>
                <c:pt idx="1187">
                  <c:v>2.1169966113786302E-2</c:v>
                </c:pt>
                <c:pt idx="1188">
                  <c:v>2.1187800963081801E-2</c:v>
                </c:pt>
                <c:pt idx="1189">
                  <c:v>2.1205635812377301E-2</c:v>
                </c:pt>
                <c:pt idx="1190">
                  <c:v>2.1223470661672902E-2</c:v>
                </c:pt>
                <c:pt idx="1191">
                  <c:v>2.1241305510968402E-2</c:v>
                </c:pt>
                <c:pt idx="1192">
                  <c:v>2.1259140360263901E-2</c:v>
                </c:pt>
                <c:pt idx="1193">
                  <c:v>2.1276975209559401E-2</c:v>
                </c:pt>
                <c:pt idx="1194">
                  <c:v>2.1294810058855002E-2</c:v>
                </c:pt>
                <c:pt idx="1195">
                  <c:v>2.1312644908150501E-2</c:v>
                </c:pt>
                <c:pt idx="1196">
                  <c:v>2.1330479757446001E-2</c:v>
                </c:pt>
                <c:pt idx="1197">
                  <c:v>2.1348314606741501E-2</c:v>
                </c:pt>
                <c:pt idx="1198">
                  <c:v>2.1366149456037001E-2</c:v>
                </c:pt>
                <c:pt idx="1199">
                  <c:v>2.1383984305332601E-2</c:v>
                </c:pt>
                <c:pt idx="1200">
                  <c:v>2.1401819154628101E-2</c:v>
                </c:pt>
                <c:pt idx="1201">
                  <c:v>2.1419654003923601E-2</c:v>
                </c:pt>
                <c:pt idx="1202">
                  <c:v>2.1437488853219101E-2</c:v>
                </c:pt>
                <c:pt idx="1203">
                  <c:v>2.1455323702514701E-2</c:v>
                </c:pt>
                <c:pt idx="1204">
                  <c:v>2.1473158551810201E-2</c:v>
                </c:pt>
                <c:pt idx="1205">
                  <c:v>2.1490993401105701E-2</c:v>
                </c:pt>
                <c:pt idx="1206">
                  <c:v>2.15088282504012E-2</c:v>
                </c:pt>
                <c:pt idx="1207">
                  <c:v>2.1526663099696801E-2</c:v>
                </c:pt>
                <c:pt idx="1208">
                  <c:v>2.1544497948992301E-2</c:v>
                </c:pt>
                <c:pt idx="1209">
                  <c:v>2.15623327982878E-2</c:v>
                </c:pt>
                <c:pt idx="1210">
                  <c:v>2.15801676475833E-2</c:v>
                </c:pt>
                <c:pt idx="1211">
                  <c:v>2.1598002496878901E-2</c:v>
                </c:pt>
                <c:pt idx="1212">
                  <c:v>2.1615837346174401E-2</c:v>
                </c:pt>
                <c:pt idx="1213">
                  <c:v>2.16336721954699E-2</c:v>
                </c:pt>
                <c:pt idx="1214">
                  <c:v>2.16515070447654E-2</c:v>
                </c:pt>
                <c:pt idx="1215">
                  <c:v>2.16693418940609E-2</c:v>
                </c:pt>
                <c:pt idx="1216">
                  <c:v>2.16871767433565E-2</c:v>
                </c:pt>
                <c:pt idx="1217">
                  <c:v>2.1705011592652E-2</c:v>
                </c:pt>
                <c:pt idx="1218">
                  <c:v>2.17228464419475E-2</c:v>
                </c:pt>
                <c:pt idx="1219">
                  <c:v>2.1740681291243E-2</c:v>
                </c:pt>
                <c:pt idx="1220">
                  <c:v>2.17585161405386E-2</c:v>
                </c:pt>
                <c:pt idx="1221">
                  <c:v>2.17763509898341E-2</c:v>
                </c:pt>
                <c:pt idx="1222">
                  <c:v>2.17941858391296E-2</c:v>
                </c:pt>
                <c:pt idx="1223">
                  <c:v>2.18120206884251E-2</c:v>
                </c:pt>
                <c:pt idx="1224">
                  <c:v>2.18298555377207E-2</c:v>
                </c:pt>
                <c:pt idx="1225">
                  <c:v>2.18476903870162E-2</c:v>
                </c:pt>
                <c:pt idx="1226">
                  <c:v>2.18655252363117E-2</c:v>
                </c:pt>
                <c:pt idx="1227">
                  <c:v>2.1883360085607199E-2</c:v>
                </c:pt>
                <c:pt idx="1228">
                  <c:v>2.19011949349028E-2</c:v>
                </c:pt>
                <c:pt idx="1229">
                  <c:v>2.19190297841983E-2</c:v>
                </c:pt>
                <c:pt idx="1230">
                  <c:v>2.1936864633493799E-2</c:v>
                </c:pt>
                <c:pt idx="1231">
                  <c:v>2.1954699482789299E-2</c:v>
                </c:pt>
                <c:pt idx="1232">
                  <c:v>2.1972534332084799E-2</c:v>
                </c:pt>
                <c:pt idx="1233">
                  <c:v>2.1990369181380399E-2</c:v>
                </c:pt>
                <c:pt idx="1234">
                  <c:v>2.2008204030675899E-2</c:v>
                </c:pt>
                <c:pt idx="1235">
                  <c:v>2.2026038879971399E-2</c:v>
                </c:pt>
                <c:pt idx="1236">
                  <c:v>2.2043873729266899E-2</c:v>
                </c:pt>
                <c:pt idx="1237">
                  <c:v>2.2061708578562499E-2</c:v>
                </c:pt>
                <c:pt idx="1238">
                  <c:v>2.2079543427857999E-2</c:v>
                </c:pt>
                <c:pt idx="1239">
                  <c:v>2.2097378277153499E-2</c:v>
                </c:pt>
                <c:pt idx="1240">
                  <c:v>2.2115213126448999E-2</c:v>
                </c:pt>
                <c:pt idx="1241">
                  <c:v>2.2133047975744599E-2</c:v>
                </c:pt>
                <c:pt idx="1242">
                  <c:v>2.2150882825040099E-2</c:v>
                </c:pt>
                <c:pt idx="1243">
                  <c:v>2.2168717674335599E-2</c:v>
                </c:pt>
                <c:pt idx="1244">
                  <c:v>2.2186552523631099E-2</c:v>
                </c:pt>
                <c:pt idx="1245">
                  <c:v>2.2204387372926699E-2</c:v>
                </c:pt>
                <c:pt idx="1246">
                  <c:v>2.2222222222222199E-2</c:v>
                </c:pt>
                <c:pt idx="1247">
                  <c:v>2.2240057071517699E-2</c:v>
                </c:pt>
                <c:pt idx="1248">
                  <c:v>2.2257891920813198E-2</c:v>
                </c:pt>
                <c:pt idx="1249">
                  <c:v>2.2275726770108702E-2</c:v>
                </c:pt>
                <c:pt idx="1250">
                  <c:v>2.2293561619404299E-2</c:v>
                </c:pt>
                <c:pt idx="1251">
                  <c:v>2.2311396468699798E-2</c:v>
                </c:pt>
                <c:pt idx="1252">
                  <c:v>2.2329231317995302E-2</c:v>
                </c:pt>
                <c:pt idx="1253">
                  <c:v>2.2347066167290802E-2</c:v>
                </c:pt>
                <c:pt idx="1254">
                  <c:v>2.2364901016586398E-2</c:v>
                </c:pt>
                <c:pt idx="1255">
                  <c:v>2.2382735865881902E-2</c:v>
                </c:pt>
                <c:pt idx="1256">
                  <c:v>2.2400570715177402E-2</c:v>
                </c:pt>
                <c:pt idx="1257">
                  <c:v>2.2418405564472901E-2</c:v>
                </c:pt>
                <c:pt idx="1258">
                  <c:v>2.2436240413768498E-2</c:v>
                </c:pt>
                <c:pt idx="1259">
                  <c:v>2.2454075263064002E-2</c:v>
                </c:pt>
                <c:pt idx="1260">
                  <c:v>2.2471910112359501E-2</c:v>
                </c:pt>
                <c:pt idx="1261">
                  <c:v>2.2489744961655001E-2</c:v>
                </c:pt>
                <c:pt idx="1262">
                  <c:v>2.2507579810950501E-2</c:v>
                </c:pt>
                <c:pt idx="1263">
                  <c:v>2.2525414660246101E-2</c:v>
                </c:pt>
                <c:pt idx="1264">
                  <c:v>2.2543249509541601E-2</c:v>
                </c:pt>
                <c:pt idx="1265">
                  <c:v>2.2561084358837101E-2</c:v>
                </c:pt>
                <c:pt idx="1266">
                  <c:v>2.2578919208132601E-2</c:v>
                </c:pt>
                <c:pt idx="1267">
                  <c:v>2.2596754057428201E-2</c:v>
                </c:pt>
                <c:pt idx="1268">
                  <c:v>2.2614588906723701E-2</c:v>
                </c:pt>
                <c:pt idx="1269">
                  <c:v>2.2632423756019201E-2</c:v>
                </c:pt>
                <c:pt idx="1270">
                  <c:v>2.2650258605314701E-2</c:v>
                </c:pt>
                <c:pt idx="1271">
                  <c:v>2.2668093454610301E-2</c:v>
                </c:pt>
                <c:pt idx="1272">
                  <c:v>2.2685928303905801E-2</c:v>
                </c:pt>
                <c:pt idx="1273">
                  <c:v>2.2703763153201301E-2</c:v>
                </c:pt>
                <c:pt idx="1274">
                  <c:v>2.27215980024968E-2</c:v>
                </c:pt>
                <c:pt idx="1275">
                  <c:v>2.2739432851792401E-2</c:v>
                </c:pt>
                <c:pt idx="1276">
                  <c:v>2.2757267701087901E-2</c:v>
                </c:pt>
                <c:pt idx="1277">
                  <c:v>2.2775102550383401E-2</c:v>
                </c:pt>
                <c:pt idx="1278">
                  <c:v>2.27929373996789E-2</c:v>
                </c:pt>
                <c:pt idx="1279">
                  <c:v>2.28107722489744E-2</c:v>
                </c:pt>
                <c:pt idx="1280">
                  <c:v>2.2828607098270001E-2</c:v>
                </c:pt>
                <c:pt idx="1281">
                  <c:v>2.28464419475655E-2</c:v>
                </c:pt>
                <c:pt idx="1282">
                  <c:v>2.2864276796861E-2</c:v>
                </c:pt>
                <c:pt idx="1283">
                  <c:v>2.28821116461565E-2</c:v>
                </c:pt>
                <c:pt idx="1284">
                  <c:v>2.28999464954521E-2</c:v>
                </c:pt>
                <c:pt idx="1285">
                  <c:v>2.29177813447476E-2</c:v>
                </c:pt>
                <c:pt idx="1286">
                  <c:v>2.29356161940431E-2</c:v>
                </c:pt>
                <c:pt idx="1287">
                  <c:v>2.29534510433386E-2</c:v>
                </c:pt>
                <c:pt idx="1288">
                  <c:v>2.29712858926342E-2</c:v>
                </c:pt>
                <c:pt idx="1289">
                  <c:v>2.29891207419297E-2</c:v>
                </c:pt>
                <c:pt idx="1290">
                  <c:v>2.30069555912252E-2</c:v>
                </c:pt>
                <c:pt idx="1291">
                  <c:v>2.30247904405207E-2</c:v>
                </c:pt>
                <c:pt idx="1292">
                  <c:v>2.30426252898163E-2</c:v>
                </c:pt>
                <c:pt idx="1293">
                  <c:v>2.30604601391118E-2</c:v>
                </c:pt>
                <c:pt idx="1294">
                  <c:v>2.30782949884073E-2</c:v>
                </c:pt>
                <c:pt idx="1295">
                  <c:v>2.3096129837702799E-2</c:v>
                </c:pt>
                <c:pt idx="1296">
                  <c:v>2.3113964686998299E-2</c:v>
                </c:pt>
                <c:pt idx="1297">
                  <c:v>2.31317995362939E-2</c:v>
                </c:pt>
                <c:pt idx="1298">
                  <c:v>2.3149634385589399E-2</c:v>
                </c:pt>
                <c:pt idx="1299">
                  <c:v>2.3167469234884899E-2</c:v>
                </c:pt>
                <c:pt idx="1300">
                  <c:v>2.3185304084180399E-2</c:v>
                </c:pt>
                <c:pt idx="1301">
                  <c:v>2.3203138933476E-2</c:v>
                </c:pt>
                <c:pt idx="1302">
                  <c:v>2.3220973782771499E-2</c:v>
                </c:pt>
                <c:pt idx="1303">
                  <c:v>2.3238808632066999E-2</c:v>
                </c:pt>
                <c:pt idx="1304">
                  <c:v>2.3256643481362499E-2</c:v>
                </c:pt>
                <c:pt idx="1305">
                  <c:v>2.3274478330658099E-2</c:v>
                </c:pt>
                <c:pt idx="1306">
                  <c:v>2.3292313179953599E-2</c:v>
                </c:pt>
                <c:pt idx="1307">
                  <c:v>2.3310148029249099E-2</c:v>
                </c:pt>
                <c:pt idx="1308">
                  <c:v>2.3327982878544599E-2</c:v>
                </c:pt>
                <c:pt idx="1309">
                  <c:v>2.3345817727840199E-2</c:v>
                </c:pt>
                <c:pt idx="1310">
                  <c:v>2.3363652577135699E-2</c:v>
                </c:pt>
                <c:pt idx="1311">
                  <c:v>2.3381487426431199E-2</c:v>
                </c:pt>
                <c:pt idx="1312">
                  <c:v>2.3399322275726699E-2</c:v>
                </c:pt>
                <c:pt idx="1313">
                  <c:v>2.3417157125022198E-2</c:v>
                </c:pt>
                <c:pt idx="1314">
                  <c:v>2.3434991974317799E-2</c:v>
                </c:pt>
                <c:pt idx="1315">
                  <c:v>2.3452826823613299E-2</c:v>
                </c:pt>
                <c:pt idx="1316">
                  <c:v>2.3470661672908798E-2</c:v>
                </c:pt>
                <c:pt idx="1317">
                  <c:v>2.3488496522204302E-2</c:v>
                </c:pt>
                <c:pt idx="1318">
                  <c:v>2.3506331371499899E-2</c:v>
                </c:pt>
                <c:pt idx="1319">
                  <c:v>2.3524166220795398E-2</c:v>
                </c:pt>
                <c:pt idx="1320">
                  <c:v>2.3542001070090902E-2</c:v>
                </c:pt>
                <c:pt idx="1321">
                  <c:v>2.3559835919386402E-2</c:v>
                </c:pt>
                <c:pt idx="1322">
                  <c:v>2.3577670768681998E-2</c:v>
                </c:pt>
                <c:pt idx="1323">
                  <c:v>2.3595505617977498E-2</c:v>
                </c:pt>
                <c:pt idx="1324">
                  <c:v>2.3613340467273002E-2</c:v>
                </c:pt>
                <c:pt idx="1325">
                  <c:v>2.3631175316568501E-2</c:v>
                </c:pt>
                <c:pt idx="1326">
                  <c:v>2.3649010165864098E-2</c:v>
                </c:pt>
                <c:pt idx="1327">
                  <c:v>2.3666845015159602E-2</c:v>
                </c:pt>
                <c:pt idx="1328">
                  <c:v>2.3684679864455101E-2</c:v>
                </c:pt>
                <c:pt idx="1329">
                  <c:v>2.3702514713750601E-2</c:v>
                </c:pt>
                <c:pt idx="1330">
                  <c:v>2.3720349563046101E-2</c:v>
                </c:pt>
                <c:pt idx="1331">
                  <c:v>2.3738184412341701E-2</c:v>
                </c:pt>
                <c:pt idx="1332">
                  <c:v>2.3756019261637201E-2</c:v>
                </c:pt>
                <c:pt idx="1333">
                  <c:v>2.3773854110932701E-2</c:v>
                </c:pt>
                <c:pt idx="1334">
                  <c:v>2.3791688960228201E-2</c:v>
                </c:pt>
                <c:pt idx="1335">
                  <c:v>2.3809523809523801E-2</c:v>
                </c:pt>
                <c:pt idx="1336">
                  <c:v>2.3827358658819301E-2</c:v>
                </c:pt>
                <c:pt idx="1337">
                  <c:v>2.3845193508114801E-2</c:v>
                </c:pt>
                <c:pt idx="1338">
                  <c:v>2.3863028357410301E-2</c:v>
                </c:pt>
                <c:pt idx="1339">
                  <c:v>2.3880863206705901E-2</c:v>
                </c:pt>
                <c:pt idx="1340">
                  <c:v>2.3898698056001401E-2</c:v>
                </c:pt>
                <c:pt idx="1341">
                  <c:v>2.3916532905296901E-2</c:v>
                </c:pt>
                <c:pt idx="1342">
                  <c:v>2.3934367754592401E-2</c:v>
                </c:pt>
                <c:pt idx="1343">
                  <c:v>2.39522026038879E-2</c:v>
                </c:pt>
                <c:pt idx="1344">
                  <c:v>2.3970037453183501E-2</c:v>
                </c:pt>
                <c:pt idx="1345">
                  <c:v>2.3987872302479001E-2</c:v>
                </c:pt>
                <c:pt idx="1346">
                  <c:v>2.40057071517745E-2</c:v>
                </c:pt>
                <c:pt idx="1347">
                  <c:v>2.402354200107E-2</c:v>
                </c:pt>
                <c:pt idx="1348">
                  <c:v>2.4041376850365601E-2</c:v>
                </c:pt>
                <c:pt idx="1349">
                  <c:v>2.40592116996611E-2</c:v>
                </c:pt>
                <c:pt idx="1350">
                  <c:v>2.40770465489566E-2</c:v>
                </c:pt>
                <c:pt idx="1351">
                  <c:v>2.40948813982521E-2</c:v>
                </c:pt>
                <c:pt idx="1352">
                  <c:v>2.41127162475477E-2</c:v>
                </c:pt>
                <c:pt idx="1353">
                  <c:v>2.41305510968432E-2</c:v>
                </c:pt>
                <c:pt idx="1354">
                  <c:v>2.41483859461387E-2</c:v>
                </c:pt>
                <c:pt idx="1355">
                  <c:v>2.41662207954342E-2</c:v>
                </c:pt>
                <c:pt idx="1356">
                  <c:v>2.41840556447298E-2</c:v>
                </c:pt>
                <c:pt idx="1357">
                  <c:v>2.42018904940253E-2</c:v>
                </c:pt>
                <c:pt idx="1358">
                  <c:v>2.42197253433208E-2</c:v>
                </c:pt>
                <c:pt idx="1359">
                  <c:v>2.42375601926163E-2</c:v>
                </c:pt>
                <c:pt idx="1360">
                  <c:v>2.4255395041911799E-2</c:v>
                </c:pt>
                <c:pt idx="1361">
                  <c:v>2.42732298912074E-2</c:v>
                </c:pt>
                <c:pt idx="1362">
                  <c:v>2.42910647405029E-2</c:v>
                </c:pt>
                <c:pt idx="1363">
                  <c:v>2.4308899589798399E-2</c:v>
                </c:pt>
                <c:pt idx="1364">
                  <c:v>2.4326734439093899E-2</c:v>
                </c:pt>
                <c:pt idx="1365">
                  <c:v>2.43445692883895E-2</c:v>
                </c:pt>
                <c:pt idx="1366">
                  <c:v>2.4362404137685E-2</c:v>
                </c:pt>
                <c:pt idx="1367">
                  <c:v>2.4380238986980499E-2</c:v>
                </c:pt>
                <c:pt idx="1368">
                  <c:v>2.4398073836275999E-2</c:v>
                </c:pt>
                <c:pt idx="1369">
                  <c:v>2.44159086855716E-2</c:v>
                </c:pt>
                <c:pt idx="1370">
                  <c:v>2.4433743534867099E-2</c:v>
                </c:pt>
                <c:pt idx="1371">
                  <c:v>2.4451578384162599E-2</c:v>
                </c:pt>
                <c:pt idx="1372">
                  <c:v>2.4469413233458099E-2</c:v>
                </c:pt>
                <c:pt idx="1373">
                  <c:v>2.4487248082753699E-2</c:v>
                </c:pt>
                <c:pt idx="1374">
                  <c:v>2.4505082932049199E-2</c:v>
                </c:pt>
                <c:pt idx="1375">
                  <c:v>2.4522917781344699E-2</c:v>
                </c:pt>
                <c:pt idx="1376">
                  <c:v>2.4540752630640199E-2</c:v>
                </c:pt>
                <c:pt idx="1377">
                  <c:v>2.4558587479935699E-2</c:v>
                </c:pt>
                <c:pt idx="1378">
                  <c:v>2.4576422329231299E-2</c:v>
                </c:pt>
                <c:pt idx="1379">
                  <c:v>2.4594257178526799E-2</c:v>
                </c:pt>
                <c:pt idx="1380">
                  <c:v>2.4612092027822299E-2</c:v>
                </c:pt>
                <c:pt idx="1381">
                  <c:v>2.4629926877117798E-2</c:v>
                </c:pt>
                <c:pt idx="1382">
                  <c:v>2.4647761726413399E-2</c:v>
                </c:pt>
                <c:pt idx="1383">
                  <c:v>2.4665596575708899E-2</c:v>
                </c:pt>
                <c:pt idx="1384">
                  <c:v>2.4683431425004398E-2</c:v>
                </c:pt>
                <c:pt idx="1385">
                  <c:v>2.4701266274299898E-2</c:v>
                </c:pt>
                <c:pt idx="1386">
                  <c:v>2.4719101123595499E-2</c:v>
                </c:pt>
                <c:pt idx="1387">
                  <c:v>2.4736935972890998E-2</c:v>
                </c:pt>
                <c:pt idx="1388">
                  <c:v>2.4754770822186498E-2</c:v>
                </c:pt>
                <c:pt idx="1389">
                  <c:v>2.4772605671482002E-2</c:v>
                </c:pt>
                <c:pt idx="1390">
                  <c:v>2.4790440520777599E-2</c:v>
                </c:pt>
                <c:pt idx="1391">
                  <c:v>2.4808275370073098E-2</c:v>
                </c:pt>
                <c:pt idx="1392">
                  <c:v>2.4826110219368602E-2</c:v>
                </c:pt>
                <c:pt idx="1393">
                  <c:v>2.4843945068664101E-2</c:v>
                </c:pt>
                <c:pt idx="1394">
                  <c:v>2.4861779917959601E-2</c:v>
                </c:pt>
                <c:pt idx="1395">
                  <c:v>2.4879614767255202E-2</c:v>
                </c:pt>
                <c:pt idx="1396">
                  <c:v>2.4897449616550701E-2</c:v>
                </c:pt>
                <c:pt idx="1397">
                  <c:v>2.4915284465846201E-2</c:v>
                </c:pt>
                <c:pt idx="1398">
                  <c:v>2.4933119315141701E-2</c:v>
                </c:pt>
                <c:pt idx="1399">
                  <c:v>2.4950954164437301E-2</c:v>
                </c:pt>
                <c:pt idx="1400">
                  <c:v>2.4968789013732801E-2</c:v>
                </c:pt>
                <c:pt idx="1401">
                  <c:v>2.4986623863028301E-2</c:v>
                </c:pt>
                <c:pt idx="1402">
                  <c:v>2.5004458712323801E-2</c:v>
                </c:pt>
                <c:pt idx="1403">
                  <c:v>2.5022293561619401E-2</c:v>
                </c:pt>
                <c:pt idx="1404">
                  <c:v>2.5040128410914901E-2</c:v>
                </c:pt>
                <c:pt idx="1405">
                  <c:v>2.5057963260210401E-2</c:v>
                </c:pt>
                <c:pt idx="1406">
                  <c:v>2.5075798109505901E-2</c:v>
                </c:pt>
                <c:pt idx="1407">
                  <c:v>2.5093632958801401E-2</c:v>
                </c:pt>
                <c:pt idx="1408">
                  <c:v>2.5111467808097001E-2</c:v>
                </c:pt>
                <c:pt idx="1409">
                  <c:v>2.5129302657392501E-2</c:v>
                </c:pt>
                <c:pt idx="1410">
                  <c:v>2.5147137506688001E-2</c:v>
                </c:pt>
                <c:pt idx="1411">
                  <c:v>2.51649723559835E-2</c:v>
                </c:pt>
                <c:pt idx="1412">
                  <c:v>2.5182807205279101E-2</c:v>
                </c:pt>
                <c:pt idx="1413">
                  <c:v>2.5200642054574601E-2</c:v>
                </c:pt>
                <c:pt idx="1414">
                  <c:v>2.52184769038701E-2</c:v>
                </c:pt>
                <c:pt idx="1415">
                  <c:v>2.52363117531656E-2</c:v>
                </c:pt>
                <c:pt idx="1416">
                  <c:v>2.5254146602461201E-2</c:v>
                </c:pt>
                <c:pt idx="1417">
                  <c:v>2.52719814517567E-2</c:v>
                </c:pt>
                <c:pt idx="1418">
                  <c:v>2.52898163010522E-2</c:v>
                </c:pt>
                <c:pt idx="1419">
                  <c:v>2.53076511503477E-2</c:v>
                </c:pt>
                <c:pt idx="1420">
                  <c:v>2.53254859996433E-2</c:v>
                </c:pt>
                <c:pt idx="1421">
                  <c:v>2.53433208489388E-2</c:v>
                </c:pt>
                <c:pt idx="1422">
                  <c:v>2.53611556982343E-2</c:v>
                </c:pt>
                <c:pt idx="1423">
                  <c:v>2.53789905475298E-2</c:v>
                </c:pt>
                <c:pt idx="1424">
                  <c:v>2.53968253968253E-2</c:v>
                </c:pt>
                <c:pt idx="1425">
                  <c:v>2.54146602461209E-2</c:v>
                </c:pt>
                <c:pt idx="1426">
                  <c:v>2.54324950954164E-2</c:v>
                </c:pt>
                <c:pt idx="1427">
                  <c:v>2.54503299447119E-2</c:v>
                </c:pt>
                <c:pt idx="1428">
                  <c:v>2.5468164794007399E-2</c:v>
                </c:pt>
                <c:pt idx="1429">
                  <c:v>2.5485999643303E-2</c:v>
                </c:pt>
                <c:pt idx="1430">
                  <c:v>2.55038344925985E-2</c:v>
                </c:pt>
                <c:pt idx="1431">
                  <c:v>2.5521669341894E-2</c:v>
                </c:pt>
                <c:pt idx="1432">
                  <c:v>2.5539504191189499E-2</c:v>
                </c:pt>
                <c:pt idx="1433">
                  <c:v>2.55573390404851E-2</c:v>
                </c:pt>
                <c:pt idx="1434">
                  <c:v>2.55751738897806E-2</c:v>
                </c:pt>
                <c:pt idx="1435">
                  <c:v>2.5593008739076099E-2</c:v>
                </c:pt>
                <c:pt idx="1436">
                  <c:v>2.5610843588371599E-2</c:v>
                </c:pt>
                <c:pt idx="1437">
                  <c:v>2.56286784376672E-2</c:v>
                </c:pt>
                <c:pt idx="1438">
                  <c:v>2.5646513286962699E-2</c:v>
                </c:pt>
                <c:pt idx="1439">
                  <c:v>2.5664348136258199E-2</c:v>
                </c:pt>
                <c:pt idx="1440">
                  <c:v>2.5682182985553699E-2</c:v>
                </c:pt>
                <c:pt idx="1441">
                  <c:v>2.5700017834849199E-2</c:v>
                </c:pt>
                <c:pt idx="1442">
                  <c:v>2.5717852684144799E-2</c:v>
                </c:pt>
                <c:pt idx="1443">
                  <c:v>2.5735687533440299E-2</c:v>
                </c:pt>
                <c:pt idx="1444">
                  <c:v>2.5753522382735799E-2</c:v>
                </c:pt>
                <c:pt idx="1445">
                  <c:v>2.5771357232031299E-2</c:v>
                </c:pt>
                <c:pt idx="1446">
                  <c:v>2.5789192081326899E-2</c:v>
                </c:pt>
                <c:pt idx="1447">
                  <c:v>2.5807026930622399E-2</c:v>
                </c:pt>
                <c:pt idx="1448">
                  <c:v>2.5824861779917899E-2</c:v>
                </c:pt>
                <c:pt idx="1449">
                  <c:v>2.5842696629213398E-2</c:v>
                </c:pt>
                <c:pt idx="1450">
                  <c:v>2.5860531478508999E-2</c:v>
                </c:pt>
                <c:pt idx="1451">
                  <c:v>2.5878366327804499E-2</c:v>
                </c:pt>
                <c:pt idx="1452">
                  <c:v>2.5896201177099998E-2</c:v>
                </c:pt>
                <c:pt idx="1453">
                  <c:v>2.5914036026395498E-2</c:v>
                </c:pt>
                <c:pt idx="1454">
                  <c:v>2.5931870875691099E-2</c:v>
                </c:pt>
                <c:pt idx="1455">
                  <c:v>2.5949705724986599E-2</c:v>
                </c:pt>
                <c:pt idx="1456">
                  <c:v>2.5967540574282098E-2</c:v>
                </c:pt>
                <c:pt idx="1457">
                  <c:v>2.5985375423577602E-2</c:v>
                </c:pt>
                <c:pt idx="1458">
                  <c:v>2.6003210272873101E-2</c:v>
                </c:pt>
                <c:pt idx="1459">
                  <c:v>2.6021045122168698E-2</c:v>
                </c:pt>
                <c:pt idx="1460">
                  <c:v>2.6038879971464202E-2</c:v>
                </c:pt>
                <c:pt idx="1461">
                  <c:v>2.6056714820759701E-2</c:v>
                </c:pt>
                <c:pt idx="1462">
                  <c:v>2.6074549670055201E-2</c:v>
                </c:pt>
                <c:pt idx="1463">
                  <c:v>2.6092384519350802E-2</c:v>
                </c:pt>
                <c:pt idx="1464">
                  <c:v>2.6110219368646301E-2</c:v>
                </c:pt>
                <c:pt idx="1465">
                  <c:v>2.6128054217941801E-2</c:v>
                </c:pt>
                <c:pt idx="1466">
                  <c:v>2.6145889067237301E-2</c:v>
                </c:pt>
                <c:pt idx="1467">
                  <c:v>2.6163723916532901E-2</c:v>
                </c:pt>
                <c:pt idx="1468">
                  <c:v>2.6181558765828401E-2</c:v>
                </c:pt>
                <c:pt idx="1469">
                  <c:v>2.6199393615123901E-2</c:v>
                </c:pt>
                <c:pt idx="1470">
                  <c:v>2.6217228464419401E-2</c:v>
                </c:pt>
                <c:pt idx="1471">
                  <c:v>2.6235063313714901E-2</c:v>
                </c:pt>
                <c:pt idx="1472">
                  <c:v>2.6252898163010501E-2</c:v>
                </c:pt>
                <c:pt idx="1473">
                  <c:v>2.6270733012306001E-2</c:v>
                </c:pt>
                <c:pt idx="1474">
                  <c:v>2.6288567861601501E-2</c:v>
                </c:pt>
                <c:pt idx="1475">
                  <c:v>2.6306402710897001E-2</c:v>
                </c:pt>
                <c:pt idx="1476">
                  <c:v>2.6324237560192601E-2</c:v>
                </c:pt>
                <c:pt idx="1477">
                  <c:v>2.6342072409488101E-2</c:v>
                </c:pt>
                <c:pt idx="1478">
                  <c:v>2.6359907258783601E-2</c:v>
                </c:pt>
                <c:pt idx="1479">
                  <c:v>2.63777421080791E-2</c:v>
                </c:pt>
                <c:pt idx="1480">
                  <c:v>2.6395576957374701E-2</c:v>
                </c:pt>
                <c:pt idx="1481">
                  <c:v>2.6413411806670201E-2</c:v>
                </c:pt>
                <c:pt idx="1482">
                  <c:v>2.64312466559657E-2</c:v>
                </c:pt>
                <c:pt idx="1483">
                  <c:v>2.64490815052612E-2</c:v>
                </c:pt>
                <c:pt idx="1484">
                  <c:v>2.6466916354556801E-2</c:v>
                </c:pt>
                <c:pt idx="1485">
                  <c:v>2.64847512038523E-2</c:v>
                </c:pt>
                <c:pt idx="1486">
                  <c:v>2.65025860531478E-2</c:v>
                </c:pt>
                <c:pt idx="1487">
                  <c:v>2.65204209024433E-2</c:v>
                </c:pt>
                <c:pt idx="1488">
                  <c:v>2.65382557517388E-2</c:v>
                </c:pt>
                <c:pt idx="1489">
                  <c:v>2.65560906010344E-2</c:v>
                </c:pt>
                <c:pt idx="1490">
                  <c:v>2.65739254503299E-2</c:v>
                </c:pt>
                <c:pt idx="1491">
                  <c:v>2.65917602996254E-2</c:v>
                </c:pt>
                <c:pt idx="1492">
                  <c:v>2.66095951489209E-2</c:v>
                </c:pt>
                <c:pt idx="1493">
                  <c:v>2.66274299982165E-2</c:v>
                </c:pt>
                <c:pt idx="1494">
                  <c:v>2.6645264847512E-2</c:v>
                </c:pt>
                <c:pt idx="1495">
                  <c:v>2.66630996968075E-2</c:v>
                </c:pt>
                <c:pt idx="1496">
                  <c:v>2.6680934546103E-2</c:v>
                </c:pt>
                <c:pt idx="1497">
                  <c:v>2.66987693953986E-2</c:v>
                </c:pt>
                <c:pt idx="1498">
                  <c:v>2.67166042446941E-2</c:v>
                </c:pt>
                <c:pt idx="1499">
                  <c:v>2.67344390939896E-2</c:v>
                </c:pt>
                <c:pt idx="1500">
                  <c:v>2.6752273943285099E-2</c:v>
                </c:pt>
                <c:pt idx="1501">
                  <c:v>2.67701087925807E-2</c:v>
                </c:pt>
                <c:pt idx="1502">
                  <c:v>2.67879436418762E-2</c:v>
                </c:pt>
                <c:pt idx="1503">
                  <c:v>2.6805778491171699E-2</c:v>
                </c:pt>
                <c:pt idx="1504">
                  <c:v>2.6823613340467199E-2</c:v>
                </c:pt>
                <c:pt idx="1505">
                  <c:v>2.6841448189762699E-2</c:v>
                </c:pt>
                <c:pt idx="1506">
                  <c:v>2.6859283039058299E-2</c:v>
                </c:pt>
                <c:pt idx="1507">
                  <c:v>2.6877117888353799E-2</c:v>
                </c:pt>
                <c:pt idx="1508">
                  <c:v>2.6894952737649299E-2</c:v>
                </c:pt>
                <c:pt idx="1509">
                  <c:v>2.6912787586944799E-2</c:v>
                </c:pt>
                <c:pt idx="1510">
                  <c:v>2.6930622436240399E-2</c:v>
                </c:pt>
                <c:pt idx="1511">
                  <c:v>2.6948457285535899E-2</c:v>
                </c:pt>
                <c:pt idx="1512">
                  <c:v>2.6966292134831399E-2</c:v>
                </c:pt>
                <c:pt idx="1513">
                  <c:v>2.6984126984126899E-2</c:v>
                </c:pt>
                <c:pt idx="1514">
                  <c:v>2.7001961833422499E-2</c:v>
                </c:pt>
                <c:pt idx="1515">
                  <c:v>2.7019796682717999E-2</c:v>
                </c:pt>
                <c:pt idx="1516">
                  <c:v>2.7037631532013499E-2</c:v>
                </c:pt>
                <c:pt idx="1517">
                  <c:v>2.7055466381308999E-2</c:v>
                </c:pt>
                <c:pt idx="1518">
                  <c:v>2.7073301230604599E-2</c:v>
                </c:pt>
                <c:pt idx="1519">
                  <c:v>2.7091136079900099E-2</c:v>
                </c:pt>
                <c:pt idx="1520">
                  <c:v>2.7108970929195599E-2</c:v>
                </c:pt>
                <c:pt idx="1521">
                  <c:v>2.7126805778491098E-2</c:v>
                </c:pt>
                <c:pt idx="1522">
                  <c:v>2.7144640627786602E-2</c:v>
                </c:pt>
                <c:pt idx="1523">
                  <c:v>2.7162475477082199E-2</c:v>
                </c:pt>
                <c:pt idx="1524">
                  <c:v>2.7180310326377698E-2</c:v>
                </c:pt>
                <c:pt idx="1525">
                  <c:v>2.7198145175673202E-2</c:v>
                </c:pt>
                <c:pt idx="1526">
                  <c:v>2.7215980024968701E-2</c:v>
                </c:pt>
                <c:pt idx="1527">
                  <c:v>2.7233814874264298E-2</c:v>
                </c:pt>
                <c:pt idx="1528">
                  <c:v>2.7251649723559802E-2</c:v>
                </c:pt>
                <c:pt idx="1529">
                  <c:v>2.7269484572855301E-2</c:v>
                </c:pt>
                <c:pt idx="1530">
                  <c:v>2.7287319422150801E-2</c:v>
                </c:pt>
                <c:pt idx="1531">
                  <c:v>2.7305154271446402E-2</c:v>
                </c:pt>
                <c:pt idx="1532">
                  <c:v>2.7322989120741902E-2</c:v>
                </c:pt>
                <c:pt idx="1533">
                  <c:v>2.7340823970037401E-2</c:v>
                </c:pt>
                <c:pt idx="1534">
                  <c:v>2.7358658819332901E-2</c:v>
                </c:pt>
                <c:pt idx="1535">
                  <c:v>2.7376493668628502E-2</c:v>
                </c:pt>
                <c:pt idx="1536">
                  <c:v>2.7394328517924001E-2</c:v>
                </c:pt>
                <c:pt idx="1537">
                  <c:v>2.7412163367219501E-2</c:v>
                </c:pt>
                <c:pt idx="1538">
                  <c:v>2.7429998216515001E-2</c:v>
                </c:pt>
                <c:pt idx="1539">
                  <c:v>2.7447833065810501E-2</c:v>
                </c:pt>
                <c:pt idx="1540">
                  <c:v>2.7465667915106101E-2</c:v>
                </c:pt>
                <c:pt idx="1541">
                  <c:v>2.7483502764401601E-2</c:v>
                </c:pt>
                <c:pt idx="1542">
                  <c:v>2.7501337613697101E-2</c:v>
                </c:pt>
                <c:pt idx="1543">
                  <c:v>2.7519172462992601E-2</c:v>
                </c:pt>
                <c:pt idx="1544">
                  <c:v>2.7537007312288201E-2</c:v>
                </c:pt>
                <c:pt idx="1545">
                  <c:v>2.7554842161583701E-2</c:v>
                </c:pt>
                <c:pt idx="1546">
                  <c:v>2.7572677010879201E-2</c:v>
                </c:pt>
                <c:pt idx="1547">
                  <c:v>2.75905118601747E-2</c:v>
                </c:pt>
                <c:pt idx="1548">
                  <c:v>2.7608346709470301E-2</c:v>
                </c:pt>
                <c:pt idx="1549">
                  <c:v>2.7626181558765801E-2</c:v>
                </c:pt>
                <c:pt idx="1550">
                  <c:v>2.76440164080613E-2</c:v>
                </c:pt>
                <c:pt idx="1551">
                  <c:v>2.76618512573568E-2</c:v>
                </c:pt>
                <c:pt idx="1552">
                  <c:v>2.76796861066523E-2</c:v>
                </c:pt>
                <c:pt idx="1553">
                  <c:v>2.76975209559479E-2</c:v>
                </c:pt>
                <c:pt idx="1554">
                  <c:v>2.77153558052434E-2</c:v>
                </c:pt>
                <c:pt idx="1555">
                  <c:v>2.77331906545389E-2</c:v>
                </c:pt>
                <c:pt idx="1556">
                  <c:v>2.77510255038344E-2</c:v>
                </c:pt>
                <c:pt idx="1557">
                  <c:v>2.776886035313E-2</c:v>
                </c:pt>
                <c:pt idx="1558">
                  <c:v>2.77866952024255E-2</c:v>
                </c:pt>
                <c:pt idx="1559">
                  <c:v>2.7804530051721E-2</c:v>
                </c:pt>
                <c:pt idx="1560">
                  <c:v>2.78223649010165E-2</c:v>
                </c:pt>
                <c:pt idx="1561">
                  <c:v>2.78401997503121E-2</c:v>
                </c:pt>
                <c:pt idx="1562">
                  <c:v>2.78580345996076E-2</c:v>
                </c:pt>
                <c:pt idx="1563">
                  <c:v>2.78758694489031E-2</c:v>
                </c:pt>
                <c:pt idx="1564">
                  <c:v>2.78937042981986E-2</c:v>
                </c:pt>
                <c:pt idx="1565">
                  <c:v>2.79115391474942E-2</c:v>
                </c:pt>
                <c:pt idx="1566">
                  <c:v>2.79293739967897E-2</c:v>
                </c:pt>
                <c:pt idx="1567">
                  <c:v>2.79472088460852E-2</c:v>
                </c:pt>
                <c:pt idx="1568">
                  <c:v>2.7965043695380699E-2</c:v>
                </c:pt>
                <c:pt idx="1569">
                  <c:v>2.7982878544676199E-2</c:v>
                </c:pt>
                <c:pt idx="1570">
                  <c:v>2.80007133939718E-2</c:v>
                </c:pt>
                <c:pt idx="1571">
                  <c:v>2.8018548243267299E-2</c:v>
                </c:pt>
                <c:pt idx="1572">
                  <c:v>2.8036383092562799E-2</c:v>
                </c:pt>
                <c:pt idx="1573">
                  <c:v>2.8054217941858299E-2</c:v>
                </c:pt>
                <c:pt idx="1574">
                  <c:v>2.8072052791153899E-2</c:v>
                </c:pt>
                <c:pt idx="1575">
                  <c:v>2.8089887640449399E-2</c:v>
                </c:pt>
                <c:pt idx="1576">
                  <c:v>2.8107722489744899E-2</c:v>
                </c:pt>
                <c:pt idx="1577">
                  <c:v>2.8125557339040399E-2</c:v>
                </c:pt>
                <c:pt idx="1578">
                  <c:v>2.8143392188335999E-2</c:v>
                </c:pt>
                <c:pt idx="1579">
                  <c:v>2.8161227037631499E-2</c:v>
                </c:pt>
                <c:pt idx="1580">
                  <c:v>2.8179061886926999E-2</c:v>
                </c:pt>
                <c:pt idx="1581">
                  <c:v>2.8196896736222499E-2</c:v>
                </c:pt>
                <c:pt idx="1582">
                  <c:v>2.8214731585518099E-2</c:v>
                </c:pt>
                <c:pt idx="1583">
                  <c:v>2.8232566434813599E-2</c:v>
                </c:pt>
                <c:pt idx="1584">
                  <c:v>2.8250401284109099E-2</c:v>
                </c:pt>
                <c:pt idx="1585">
                  <c:v>2.8268236133404599E-2</c:v>
                </c:pt>
                <c:pt idx="1586">
                  <c:v>2.8286070982700098E-2</c:v>
                </c:pt>
                <c:pt idx="1587">
                  <c:v>2.8303905831995699E-2</c:v>
                </c:pt>
                <c:pt idx="1588">
                  <c:v>2.8321740681291199E-2</c:v>
                </c:pt>
                <c:pt idx="1589">
                  <c:v>2.8339575530586698E-2</c:v>
                </c:pt>
                <c:pt idx="1590">
                  <c:v>2.8357410379882202E-2</c:v>
                </c:pt>
                <c:pt idx="1591">
                  <c:v>2.8375245229177799E-2</c:v>
                </c:pt>
                <c:pt idx="1592">
                  <c:v>2.8393080078473298E-2</c:v>
                </c:pt>
                <c:pt idx="1593">
                  <c:v>2.8410914927768802E-2</c:v>
                </c:pt>
                <c:pt idx="1594">
                  <c:v>2.8428749777064301E-2</c:v>
                </c:pt>
                <c:pt idx="1595">
                  <c:v>2.8446584626359898E-2</c:v>
                </c:pt>
                <c:pt idx="1596">
                  <c:v>2.8464419475655402E-2</c:v>
                </c:pt>
                <c:pt idx="1597">
                  <c:v>2.8482254324950902E-2</c:v>
                </c:pt>
                <c:pt idx="1598">
                  <c:v>2.8500089174246401E-2</c:v>
                </c:pt>
                <c:pt idx="1599">
                  <c:v>2.8517924023542002E-2</c:v>
                </c:pt>
                <c:pt idx="1600">
                  <c:v>2.8535758872837502E-2</c:v>
                </c:pt>
                <c:pt idx="1601">
                  <c:v>2.8553593722133001E-2</c:v>
                </c:pt>
                <c:pt idx="1602">
                  <c:v>2.8571428571428501E-2</c:v>
                </c:pt>
                <c:pt idx="1603">
                  <c:v>2.8589263420724001E-2</c:v>
                </c:pt>
                <c:pt idx="1604">
                  <c:v>2.8607098270019601E-2</c:v>
                </c:pt>
                <c:pt idx="1605">
                  <c:v>2.8624933119315101E-2</c:v>
                </c:pt>
                <c:pt idx="1606">
                  <c:v>2.8642767968610601E-2</c:v>
                </c:pt>
                <c:pt idx="1607">
                  <c:v>2.8660602817906101E-2</c:v>
                </c:pt>
                <c:pt idx="1608">
                  <c:v>2.8678437667201701E-2</c:v>
                </c:pt>
                <c:pt idx="1609">
                  <c:v>2.8696272516497201E-2</c:v>
                </c:pt>
                <c:pt idx="1610">
                  <c:v>2.8714107365792701E-2</c:v>
                </c:pt>
                <c:pt idx="1611">
                  <c:v>2.8731942215088201E-2</c:v>
                </c:pt>
                <c:pt idx="1612">
                  <c:v>2.8749777064383801E-2</c:v>
                </c:pt>
                <c:pt idx="1613">
                  <c:v>2.8767611913679301E-2</c:v>
                </c:pt>
                <c:pt idx="1614">
                  <c:v>2.8785446762974801E-2</c:v>
                </c:pt>
                <c:pt idx="1615">
                  <c:v>2.88032816122703E-2</c:v>
                </c:pt>
                <c:pt idx="1616">
                  <c:v>2.8821116461565901E-2</c:v>
                </c:pt>
                <c:pt idx="1617">
                  <c:v>2.8838951310861401E-2</c:v>
                </c:pt>
                <c:pt idx="1618">
                  <c:v>2.88567861601569E-2</c:v>
                </c:pt>
                <c:pt idx="1619">
                  <c:v>2.88746210094524E-2</c:v>
                </c:pt>
                <c:pt idx="1620">
                  <c:v>2.88924558587479E-2</c:v>
                </c:pt>
                <c:pt idx="1621">
                  <c:v>2.8910290708043501E-2</c:v>
                </c:pt>
                <c:pt idx="1622">
                  <c:v>2.8928125557339E-2</c:v>
                </c:pt>
                <c:pt idx="1623">
                  <c:v>2.89459604066345E-2</c:v>
                </c:pt>
                <c:pt idx="1624">
                  <c:v>2.896379525593E-2</c:v>
                </c:pt>
                <c:pt idx="1625">
                  <c:v>2.89816301052256E-2</c:v>
                </c:pt>
                <c:pt idx="1626">
                  <c:v>2.89994649545211E-2</c:v>
                </c:pt>
                <c:pt idx="1627">
                  <c:v>2.90172998038166E-2</c:v>
                </c:pt>
                <c:pt idx="1628">
                  <c:v>2.90351346531121E-2</c:v>
                </c:pt>
                <c:pt idx="1629">
                  <c:v>2.90529695024077E-2</c:v>
                </c:pt>
                <c:pt idx="1630">
                  <c:v>2.90708043517032E-2</c:v>
                </c:pt>
                <c:pt idx="1631">
                  <c:v>2.90886392009987E-2</c:v>
                </c:pt>
                <c:pt idx="1632">
                  <c:v>2.91064740502942E-2</c:v>
                </c:pt>
                <c:pt idx="1633">
                  <c:v>2.91243088995898E-2</c:v>
                </c:pt>
                <c:pt idx="1634">
                  <c:v>2.91421437488853E-2</c:v>
                </c:pt>
                <c:pt idx="1635">
                  <c:v>2.91599785981808E-2</c:v>
                </c:pt>
                <c:pt idx="1636">
                  <c:v>2.9177813447476299E-2</c:v>
                </c:pt>
                <c:pt idx="1637">
                  <c:v>2.9195648296771799E-2</c:v>
                </c:pt>
                <c:pt idx="1638">
                  <c:v>2.92134831460674E-2</c:v>
                </c:pt>
                <c:pt idx="1639">
                  <c:v>2.9231317995362899E-2</c:v>
                </c:pt>
                <c:pt idx="1640">
                  <c:v>2.9249152844658399E-2</c:v>
                </c:pt>
                <c:pt idx="1641">
                  <c:v>2.9266987693953899E-2</c:v>
                </c:pt>
                <c:pt idx="1642">
                  <c:v>2.9284822543249499E-2</c:v>
                </c:pt>
                <c:pt idx="1643">
                  <c:v>2.9302657392544999E-2</c:v>
                </c:pt>
                <c:pt idx="1644">
                  <c:v>2.9320492241840499E-2</c:v>
                </c:pt>
                <c:pt idx="1645">
                  <c:v>2.9338327091135999E-2</c:v>
                </c:pt>
                <c:pt idx="1646">
                  <c:v>2.9356161940431599E-2</c:v>
                </c:pt>
                <c:pt idx="1647">
                  <c:v>2.9373996789727099E-2</c:v>
                </c:pt>
                <c:pt idx="1648">
                  <c:v>2.9391831639022599E-2</c:v>
                </c:pt>
                <c:pt idx="1649">
                  <c:v>2.9409666488318099E-2</c:v>
                </c:pt>
                <c:pt idx="1650">
                  <c:v>2.9427501337613599E-2</c:v>
                </c:pt>
                <c:pt idx="1651">
                  <c:v>2.9445336186909199E-2</c:v>
                </c:pt>
                <c:pt idx="1652">
                  <c:v>2.9463171036204699E-2</c:v>
                </c:pt>
                <c:pt idx="1653">
                  <c:v>2.9481005885500199E-2</c:v>
                </c:pt>
                <c:pt idx="1654">
                  <c:v>2.9498840734795698E-2</c:v>
                </c:pt>
                <c:pt idx="1655">
                  <c:v>2.9516675584091299E-2</c:v>
                </c:pt>
                <c:pt idx="1656">
                  <c:v>2.9534510433386799E-2</c:v>
                </c:pt>
                <c:pt idx="1657">
                  <c:v>2.9552345282682298E-2</c:v>
                </c:pt>
                <c:pt idx="1658">
                  <c:v>2.9570180131977802E-2</c:v>
                </c:pt>
                <c:pt idx="1659">
                  <c:v>2.9588014981273399E-2</c:v>
                </c:pt>
                <c:pt idx="1660">
                  <c:v>2.9605849830568898E-2</c:v>
                </c:pt>
                <c:pt idx="1661">
                  <c:v>2.9623684679864402E-2</c:v>
                </c:pt>
                <c:pt idx="1662">
                  <c:v>2.9641519529159902E-2</c:v>
                </c:pt>
                <c:pt idx="1663">
                  <c:v>2.9659354378455498E-2</c:v>
                </c:pt>
                <c:pt idx="1664">
                  <c:v>2.9677189227750998E-2</c:v>
                </c:pt>
                <c:pt idx="1665">
                  <c:v>2.9695024077046502E-2</c:v>
                </c:pt>
                <c:pt idx="1666">
                  <c:v>2.9712858926342001E-2</c:v>
                </c:pt>
                <c:pt idx="1667">
                  <c:v>2.9730693775637501E-2</c:v>
                </c:pt>
                <c:pt idx="1668">
                  <c:v>2.9748528624933102E-2</c:v>
                </c:pt>
                <c:pt idx="1669">
                  <c:v>2.9766363474228601E-2</c:v>
                </c:pt>
                <c:pt idx="1670">
                  <c:v>2.9784198323524101E-2</c:v>
                </c:pt>
                <c:pt idx="1671">
                  <c:v>2.9802033172819601E-2</c:v>
                </c:pt>
                <c:pt idx="1672">
                  <c:v>2.9819868022115201E-2</c:v>
                </c:pt>
                <c:pt idx="1673">
                  <c:v>2.9837702871410701E-2</c:v>
                </c:pt>
                <c:pt idx="1674">
                  <c:v>2.9855537720706201E-2</c:v>
                </c:pt>
                <c:pt idx="1675">
                  <c:v>2.9873372570001701E-2</c:v>
                </c:pt>
                <c:pt idx="1676">
                  <c:v>2.9891207419297301E-2</c:v>
                </c:pt>
                <c:pt idx="1677">
                  <c:v>2.9909042268592801E-2</c:v>
                </c:pt>
                <c:pt idx="1678">
                  <c:v>2.9926877117888301E-2</c:v>
                </c:pt>
                <c:pt idx="1679">
                  <c:v>2.9944711967183801E-2</c:v>
                </c:pt>
                <c:pt idx="1680">
                  <c:v>2.9962546816479401E-2</c:v>
                </c:pt>
                <c:pt idx="1681">
                  <c:v>2.9980381665774901E-2</c:v>
                </c:pt>
                <c:pt idx="1682">
                  <c:v>2.9998216515070401E-2</c:v>
                </c:pt>
                <c:pt idx="1683">
                  <c:v>3.00160513643659E-2</c:v>
                </c:pt>
                <c:pt idx="1684">
                  <c:v>3.00338862136614E-2</c:v>
                </c:pt>
                <c:pt idx="1685">
                  <c:v>3.0051721062957001E-2</c:v>
                </c:pt>
                <c:pt idx="1686">
                  <c:v>3.0069555912252501E-2</c:v>
                </c:pt>
                <c:pt idx="1687">
                  <c:v>3.0087390761548E-2</c:v>
                </c:pt>
                <c:pt idx="1688">
                  <c:v>3.01052256108435E-2</c:v>
                </c:pt>
                <c:pt idx="1689">
                  <c:v>3.0123060460139101E-2</c:v>
                </c:pt>
                <c:pt idx="1690">
                  <c:v>3.01408953094346E-2</c:v>
                </c:pt>
                <c:pt idx="1691">
                  <c:v>3.01587301587301E-2</c:v>
                </c:pt>
                <c:pt idx="1692">
                  <c:v>3.01765650080256E-2</c:v>
                </c:pt>
                <c:pt idx="1693">
                  <c:v>3.01943998573212E-2</c:v>
                </c:pt>
                <c:pt idx="1694">
                  <c:v>3.02122347066167E-2</c:v>
                </c:pt>
                <c:pt idx="1695">
                  <c:v>3.02300695559122E-2</c:v>
                </c:pt>
                <c:pt idx="1696">
                  <c:v>3.02479044052077E-2</c:v>
                </c:pt>
                <c:pt idx="1697">
                  <c:v>3.02657392545033E-2</c:v>
                </c:pt>
                <c:pt idx="1698">
                  <c:v>3.02835741037988E-2</c:v>
                </c:pt>
                <c:pt idx="1699">
                  <c:v>3.03014089530943E-2</c:v>
                </c:pt>
                <c:pt idx="1700">
                  <c:v>3.03192438023898E-2</c:v>
                </c:pt>
                <c:pt idx="1701">
                  <c:v>3.0337078651685299E-2</c:v>
                </c:pt>
                <c:pt idx="1702">
                  <c:v>3.03549135009809E-2</c:v>
                </c:pt>
                <c:pt idx="1703">
                  <c:v>3.03727483502764E-2</c:v>
                </c:pt>
                <c:pt idx="1704">
                  <c:v>3.0390583199571899E-2</c:v>
                </c:pt>
                <c:pt idx="1705">
                  <c:v>3.0408418048867399E-2</c:v>
                </c:pt>
                <c:pt idx="1706">
                  <c:v>3.0426252898163E-2</c:v>
                </c:pt>
                <c:pt idx="1707">
                  <c:v>3.0444087747458499E-2</c:v>
                </c:pt>
                <c:pt idx="1708">
                  <c:v>3.0461922596753999E-2</c:v>
                </c:pt>
                <c:pt idx="1709">
                  <c:v>3.0479757446049499E-2</c:v>
                </c:pt>
                <c:pt idx="1710">
                  <c:v>3.04975922953451E-2</c:v>
                </c:pt>
                <c:pt idx="1711">
                  <c:v>3.0515427144640599E-2</c:v>
                </c:pt>
                <c:pt idx="1712">
                  <c:v>3.0533261993936099E-2</c:v>
                </c:pt>
                <c:pt idx="1713">
                  <c:v>3.0551096843231599E-2</c:v>
                </c:pt>
                <c:pt idx="1714">
                  <c:v>3.0568931692527199E-2</c:v>
                </c:pt>
                <c:pt idx="1715">
                  <c:v>3.0586766541822699E-2</c:v>
                </c:pt>
                <c:pt idx="1716">
                  <c:v>3.0604601391118199E-2</c:v>
                </c:pt>
                <c:pt idx="1717">
                  <c:v>3.0622436240413699E-2</c:v>
                </c:pt>
                <c:pt idx="1718">
                  <c:v>3.0640271089709199E-2</c:v>
                </c:pt>
                <c:pt idx="1719">
                  <c:v>3.0658105939004799E-2</c:v>
                </c:pt>
                <c:pt idx="1720">
                  <c:v>3.0675940788300299E-2</c:v>
                </c:pt>
                <c:pt idx="1721">
                  <c:v>3.0693775637595799E-2</c:v>
                </c:pt>
                <c:pt idx="1722">
                  <c:v>3.0711610486891298E-2</c:v>
                </c:pt>
                <c:pt idx="1723">
                  <c:v>3.0729445336186899E-2</c:v>
                </c:pt>
                <c:pt idx="1724">
                  <c:v>3.0747280185482399E-2</c:v>
                </c:pt>
                <c:pt idx="1725">
                  <c:v>3.0765115034777898E-2</c:v>
                </c:pt>
                <c:pt idx="1726">
                  <c:v>3.0782949884073402E-2</c:v>
                </c:pt>
                <c:pt idx="1727">
                  <c:v>3.0800784733368999E-2</c:v>
                </c:pt>
                <c:pt idx="1728">
                  <c:v>3.0818619582664498E-2</c:v>
                </c:pt>
                <c:pt idx="1729">
                  <c:v>3.0836454431959998E-2</c:v>
                </c:pt>
                <c:pt idx="1730">
                  <c:v>3.0854289281255502E-2</c:v>
                </c:pt>
                <c:pt idx="1731">
                  <c:v>3.0872124130551098E-2</c:v>
                </c:pt>
                <c:pt idx="1732">
                  <c:v>3.0889958979846598E-2</c:v>
                </c:pt>
                <c:pt idx="1733">
                  <c:v>3.0907793829142102E-2</c:v>
                </c:pt>
                <c:pt idx="1734">
                  <c:v>3.0925628678437601E-2</c:v>
                </c:pt>
                <c:pt idx="1735">
                  <c:v>3.0943463527733101E-2</c:v>
                </c:pt>
                <c:pt idx="1736">
                  <c:v>3.0961298377028702E-2</c:v>
                </c:pt>
                <c:pt idx="1737">
                  <c:v>3.0979133226324201E-2</c:v>
                </c:pt>
                <c:pt idx="1738">
                  <c:v>3.0996968075619701E-2</c:v>
                </c:pt>
                <c:pt idx="1739">
                  <c:v>3.1014802924915201E-2</c:v>
                </c:pt>
                <c:pt idx="1740">
                  <c:v>3.1032637774210801E-2</c:v>
                </c:pt>
                <c:pt idx="1741">
                  <c:v>3.1050472623506301E-2</c:v>
                </c:pt>
                <c:pt idx="1742">
                  <c:v>3.1068307472801801E-2</c:v>
                </c:pt>
                <c:pt idx="1743">
                  <c:v>3.1086142322097301E-2</c:v>
                </c:pt>
                <c:pt idx="1744">
                  <c:v>3.1103977171392901E-2</c:v>
                </c:pt>
                <c:pt idx="1745">
                  <c:v>3.1121812020688401E-2</c:v>
                </c:pt>
                <c:pt idx="1746">
                  <c:v>3.1139646869983901E-2</c:v>
                </c:pt>
                <c:pt idx="1747">
                  <c:v>3.1157481719279401E-2</c:v>
                </c:pt>
                <c:pt idx="1748">
                  <c:v>3.11753165685749E-2</c:v>
                </c:pt>
                <c:pt idx="1749">
                  <c:v>3.1193151417870501E-2</c:v>
                </c:pt>
                <c:pt idx="1750">
                  <c:v>3.1210986267166001E-2</c:v>
                </c:pt>
                <c:pt idx="1751">
                  <c:v>3.1228821116461501E-2</c:v>
                </c:pt>
                <c:pt idx="1752">
                  <c:v>3.1246655965757E-2</c:v>
                </c:pt>
                <c:pt idx="1753">
                  <c:v>3.1264490815052601E-2</c:v>
                </c:pt>
                <c:pt idx="1754">
                  <c:v>3.1282325664348097E-2</c:v>
                </c:pt>
                <c:pt idx="1755">
                  <c:v>3.13001605136436E-2</c:v>
                </c:pt>
                <c:pt idx="1756">
                  <c:v>3.1317995362939097E-2</c:v>
                </c:pt>
                <c:pt idx="1757">
                  <c:v>3.1335830212234697E-2</c:v>
                </c:pt>
                <c:pt idx="1758">
                  <c:v>3.13536650615302E-2</c:v>
                </c:pt>
                <c:pt idx="1759">
                  <c:v>3.1371499910825697E-2</c:v>
                </c:pt>
                <c:pt idx="1760">
                  <c:v>3.13893347601212E-2</c:v>
                </c:pt>
                <c:pt idx="1761">
                  <c:v>3.14071696094168E-2</c:v>
                </c:pt>
                <c:pt idx="1762">
                  <c:v>3.1425004458712297E-2</c:v>
                </c:pt>
                <c:pt idx="1763">
                  <c:v>3.14428393080078E-2</c:v>
                </c:pt>
                <c:pt idx="1764">
                  <c:v>3.1460674157303303E-2</c:v>
                </c:pt>
                <c:pt idx="1765">
                  <c:v>3.1478509006598897E-2</c:v>
                </c:pt>
                <c:pt idx="1766">
                  <c:v>3.14963438558944E-2</c:v>
                </c:pt>
                <c:pt idx="1767">
                  <c:v>3.1514178705189903E-2</c:v>
                </c:pt>
                <c:pt idx="1768">
                  <c:v>3.15320135544854E-2</c:v>
                </c:pt>
                <c:pt idx="1769">
                  <c:v>3.1549848403780903E-2</c:v>
                </c:pt>
                <c:pt idx="1770">
                  <c:v>3.1567683253076503E-2</c:v>
                </c:pt>
                <c:pt idx="1771">
                  <c:v>3.1585518102372E-2</c:v>
                </c:pt>
                <c:pt idx="1772">
                  <c:v>3.1603352951667503E-2</c:v>
                </c:pt>
                <c:pt idx="1773">
                  <c:v>3.1621187800962999E-2</c:v>
                </c:pt>
                <c:pt idx="1774">
                  <c:v>3.16390226502586E-2</c:v>
                </c:pt>
                <c:pt idx="1775">
                  <c:v>3.1656857499554103E-2</c:v>
                </c:pt>
                <c:pt idx="1776">
                  <c:v>3.1674692348849599E-2</c:v>
                </c:pt>
                <c:pt idx="1777">
                  <c:v>3.1692527198145103E-2</c:v>
                </c:pt>
                <c:pt idx="1778">
                  <c:v>3.1710362047440599E-2</c:v>
                </c:pt>
                <c:pt idx="1779">
                  <c:v>3.1728196896736199E-2</c:v>
                </c:pt>
                <c:pt idx="1780">
                  <c:v>3.1746031746031703E-2</c:v>
                </c:pt>
                <c:pt idx="1781">
                  <c:v>3.1763866595327199E-2</c:v>
                </c:pt>
                <c:pt idx="1782">
                  <c:v>3.1781701444622702E-2</c:v>
                </c:pt>
                <c:pt idx="1783">
                  <c:v>3.1799536293918303E-2</c:v>
                </c:pt>
                <c:pt idx="1784">
                  <c:v>3.1817371143213799E-2</c:v>
                </c:pt>
                <c:pt idx="1785">
                  <c:v>3.1835205992509302E-2</c:v>
                </c:pt>
                <c:pt idx="1786">
                  <c:v>3.1853040841804799E-2</c:v>
                </c:pt>
                <c:pt idx="1787">
                  <c:v>3.1870875691100399E-2</c:v>
                </c:pt>
                <c:pt idx="1788">
                  <c:v>3.1888710540395902E-2</c:v>
                </c:pt>
                <c:pt idx="1789">
                  <c:v>3.1906545389691399E-2</c:v>
                </c:pt>
                <c:pt idx="1790">
                  <c:v>3.1924380238986902E-2</c:v>
                </c:pt>
                <c:pt idx="1791">
                  <c:v>3.1942215088282502E-2</c:v>
                </c:pt>
                <c:pt idx="1792">
                  <c:v>3.1960049937577999E-2</c:v>
                </c:pt>
                <c:pt idx="1793">
                  <c:v>3.1977884786873502E-2</c:v>
                </c:pt>
                <c:pt idx="1794">
                  <c:v>3.1995719636168998E-2</c:v>
                </c:pt>
                <c:pt idx="1795">
                  <c:v>3.2013554485464599E-2</c:v>
                </c:pt>
                <c:pt idx="1796">
                  <c:v>3.2031389334760102E-2</c:v>
                </c:pt>
                <c:pt idx="1797">
                  <c:v>3.2049224184055598E-2</c:v>
                </c:pt>
                <c:pt idx="1798">
                  <c:v>3.2067059033351102E-2</c:v>
                </c:pt>
                <c:pt idx="1799">
                  <c:v>3.2084893882646598E-2</c:v>
                </c:pt>
                <c:pt idx="1800">
                  <c:v>3.2102728731942198E-2</c:v>
                </c:pt>
                <c:pt idx="1801">
                  <c:v>3.2120563581237702E-2</c:v>
                </c:pt>
                <c:pt idx="1802">
                  <c:v>3.2138398430533198E-2</c:v>
                </c:pt>
                <c:pt idx="1803">
                  <c:v>3.2156233279828701E-2</c:v>
                </c:pt>
                <c:pt idx="1804">
                  <c:v>3.2174068129124302E-2</c:v>
                </c:pt>
                <c:pt idx="1805">
                  <c:v>3.2191902978419798E-2</c:v>
                </c:pt>
                <c:pt idx="1806">
                  <c:v>3.2209737827715301E-2</c:v>
                </c:pt>
                <c:pt idx="1807">
                  <c:v>3.2227572677010798E-2</c:v>
                </c:pt>
                <c:pt idx="1808">
                  <c:v>3.2245407526306398E-2</c:v>
                </c:pt>
                <c:pt idx="1809">
                  <c:v>3.2263242375601901E-2</c:v>
                </c:pt>
                <c:pt idx="1810">
                  <c:v>3.2281077224897398E-2</c:v>
                </c:pt>
                <c:pt idx="1811">
                  <c:v>3.2298912074192901E-2</c:v>
                </c:pt>
                <c:pt idx="1812">
                  <c:v>3.2316746923488397E-2</c:v>
                </c:pt>
                <c:pt idx="1813">
                  <c:v>3.2334581772783998E-2</c:v>
                </c:pt>
                <c:pt idx="1814">
                  <c:v>3.2352416622079501E-2</c:v>
                </c:pt>
                <c:pt idx="1815">
                  <c:v>3.2370251471374997E-2</c:v>
                </c:pt>
                <c:pt idx="1816">
                  <c:v>3.2388086320670501E-2</c:v>
                </c:pt>
                <c:pt idx="1817">
                  <c:v>3.2405921169966101E-2</c:v>
                </c:pt>
                <c:pt idx="1818">
                  <c:v>3.2423756019261597E-2</c:v>
                </c:pt>
                <c:pt idx="1819">
                  <c:v>3.2441590868557101E-2</c:v>
                </c:pt>
                <c:pt idx="1820">
                  <c:v>3.2459425717852597E-2</c:v>
                </c:pt>
                <c:pt idx="1821">
                  <c:v>3.2477260567148197E-2</c:v>
                </c:pt>
                <c:pt idx="1822">
                  <c:v>3.2495095416443701E-2</c:v>
                </c:pt>
                <c:pt idx="1823">
                  <c:v>3.2512930265739197E-2</c:v>
                </c:pt>
                <c:pt idx="1824">
                  <c:v>3.25307651150347E-2</c:v>
                </c:pt>
                <c:pt idx="1825">
                  <c:v>3.2548599964330301E-2</c:v>
                </c:pt>
                <c:pt idx="1826">
                  <c:v>3.2566434813625797E-2</c:v>
                </c:pt>
                <c:pt idx="1827">
                  <c:v>3.25842696629213E-2</c:v>
                </c:pt>
                <c:pt idx="1828">
                  <c:v>3.2602104512216797E-2</c:v>
                </c:pt>
                <c:pt idx="1829">
                  <c:v>3.2619939361512397E-2</c:v>
                </c:pt>
                <c:pt idx="1830">
                  <c:v>3.26377742108079E-2</c:v>
                </c:pt>
                <c:pt idx="1831">
                  <c:v>3.2655609060103397E-2</c:v>
                </c:pt>
                <c:pt idx="1832">
                  <c:v>3.26734439093989E-2</c:v>
                </c:pt>
                <c:pt idx="1833">
                  <c:v>3.2691278758694403E-2</c:v>
                </c:pt>
                <c:pt idx="1834">
                  <c:v>3.2709113607989997E-2</c:v>
                </c:pt>
                <c:pt idx="1835">
                  <c:v>3.27269484572855E-2</c:v>
                </c:pt>
                <c:pt idx="1836">
                  <c:v>3.2744783306581003E-2</c:v>
                </c:pt>
                <c:pt idx="1837">
                  <c:v>3.27626181558765E-2</c:v>
                </c:pt>
                <c:pt idx="1838">
                  <c:v>3.27804530051721E-2</c:v>
                </c:pt>
                <c:pt idx="1839">
                  <c:v>3.2798287854467603E-2</c:v>
                </c:pt>
                <c:pt idx="1840">
                  <c:v>3.28161227037631E-2</c:v>
                </c:pt>
                <c:pt idx="1841">
                  <c:v>3.2833957553058603E-2</c:v>
                </c:pt>
                <c:pt idx="1842">
                  <c:v>3.2851792402354203E-2</c:v>
                </c:pt>
                <c:pt idx="1843">
                  <c:v>3.28696272516497E-2</c:v>
                </c:pt>
                <c:pt idx="1844">
                  <c:v>3.2887462100945203E-2</c:v>
                </c:pt>
                <c:pt idx="1845">
                  <c:v>3.2905296950240699E-2</c:v>
                </c:pt>
                <c:pt idx="1846">
                  <c:v>3.2923131799536202E-2</c:v>
                </c:pt>
                <c:pt idx="1847">
                  <c:v>3.2940966648831803E-2</c:v>
                </c:pt>
                <c:pt idx="1848">
                  <c:v>3.2958801498127299E-2</c:v>
                </c:pt>
                <c:pt idx="1849">
                  <c:v>3.2976636347422802E-2</c:v>
                </c:pt>
                <c:pt idx="1850">
                  <c:v>3.2994471196718299E-2</c:v>
                </c:pt>
                <c:pt idx="1851">
                  <c:v>3.3012306046013899E-2</c:v>
                </c:pt>
                <c:pt idx="1852">
                  <c:v>3.3030140895309403E-2</c:v>
                </c:pt>
                <c:pt idx="1853">
                  <c:v>3.3047975744604899E-2</c:v>
                </c:pt>
                <c:pt idx="1854">
                  <c:v>3.3065810593900402E-2</c:v>
                </c:pt>
                <c:pt idx="1855">
                  <c:v>3.3083645443196003E-2</c:v>
                </c:pt>
                <c:pt idx="1856">
                  <c:v>3.3101480292491499E-2</c:v>
                </c:pt>
                <c:pt idx="1857">
                  <c:v>3.3119315141787002E-2</c:v>
                </c:pt>
                <c:pt idx="1858">
                  <c:v>3.3137149991082498E-2</c:v>
                </c:pt>
                <c:pt idx="1859">
                  <c:v>3.3154984840378099E-2</c:v>
                </c:pt>
                <c:pt idx="1860">
                  <c:v>3.3172819689673602E-2</c:v>
                </c:pt>
                <c:pt idx="1861">
                  <c:v>3.3190654538969099E-2</c:v>
                </c:pt>
                <c:pt idx="1862">
                  <c:v>3.3208489388264602E-2</c:v>
                </c:pt>
                <c:pt idx="1863">
                  <c:v>3.3226324237560098E-2</c:v>
                </c:pt>
                <c:pt idx="1864">
                  <c:v>3.3244159086855699E-2</c:v>
                </c:pt>
                <c:pt idx="1865">
                  <c:v>3.3261993936151202E-2</c:v>
                </c:pt>
                <c:pt idx="1866">
                  <c:v>3.3279828785446698E-2</c:v>
                </c:pt>
                <c:pt idx="1867">
                  <c:v>3.3297663634742201E-2</c:v>
                </c:pt>
                <c:pt idx="1868">
                  <c:v>3.3315498484037802E-2</c:v>
                </c:pt>
                <c:pt idx="1869">
                  <c:v>3.3333333333333298E-2</c:v>
                </c:pt>
                <c:pt idx="1870">
                  <c:v>3.3351168182628801E-2</c:v>
                </c:pt>
                <c:pt idx="1871">
                  <c:v>3.3369003031924298E-2</c:v>
                </c:pt>
                <c:pt idx="1872">
                  <c:v>3.3386837881219898E-2</c:v>
                </c:pt>
                <c:pt idx="1873">
                  <c:v>3.3404672730515401E-2</c:v>
                </c:pt>
                <c:pt idx="1874">
                  <c:v>3.3422507579810898E-2</c:v>
                </c:pt>
                <c:pt idx="1875">
                  <c:v>3.3440342429106401E-2</c:v>
                </c:pt>
                <c:pt idx="1876">
                  <c:v>3.3458177278401897E-2</c:v>
                </c:pt>
                <c:pt idx="1877">
                  <c:v>3.3476012127697498E-2</c:v>
                </c:pt>
                <c:pt idx="1878">
                  <c:v>3.3493846976993001E-2</c:v>
                </c:pt>
                <c:pt idx="1879">
                  <c:v>3.3511681826288497E-2</c:v>
                </c:pt>
                <c:pt idx="1880">
                  <c:v>3.3529516675584001E-2</c:v>
                </c:pt>
                <c:pt idx="1881">
                  <c:v>3.3547351524879601E-2</c:v>
                </c:pt>
                <c:pt idx="1882">
                  <c:v>3.3565186374175097E-2</c:v>
                </c:pt>
                <c:pt idx="1883">
                  <c:v>3.3583021223470601E-2</c:v>
                </c:pt>
                <c:pt idx="1884">
                  <c:v>3.3600856072766097E-2</c:v>
                </c:pt>
                <c:pt idx="1885">
                  <c:v>3.3618690922061698E-2</c:v>
                </c:pt>
                <c:pt idx="1886">
                  <c:v>3.3636525771357201E-2</c:v>
                </c:pt>
                <c:pt idx="1887">
                  <c:v>3.3654360620652697E-2</c:v>
                </c:pt>
                <c:pt idx="1888">
                  <c:v>3.36721954699482E-2</c:v>
                </c:pt>
                <c:pt idx="1889">
                  <c:v>3.3690030319243801E-2</c:v>
                </c:pt>
                <c:pt idx="1890">
                  <c:v>3.3707865168539297E-2</c:v>
                </c:pt>
                <c:pt idx="1891">
                  <c:v>3.37257000178348E-2</c:v>
                </c:pt>
                <c:pt idx="1892">
                  <c:v>3.3743534867130297E-2</c:v>
                </c:pt>
                <c:pt idx="1893">
                  <c:v>3.3761369716425897E-2</c:v>
                </c:pt>
                <c:pt idx="1894">
                  <c:v>3.37792045657214E-2</c:v>
                </c:pt>
                <c:pt idx="1895">
                  <c:v>3.3797039415016897E-2</c:v>
                </c:pt>
                <c:pt idx="1896">
                  <c:v>3.38148742643124E-2</c:v>
                </c:pt>
                <c:pt idx="1897">
                  <c:v>3.3832709113607903E-2</c:v>
                </c:pt>
                <c:pt idx="1898">
                  <c:v>3.3850543962903497E-2</c:v>
                </c:pt>
                <c:pt idx="1899">
                  <c:v>3.3868378812199E-2</c:v>
                </c:pt>
                <c:pt idx="1900">
                  <c:v>3.3886213661494503E-2</c:v>
                </c:pt>
                <c:pt idx="1901">
                  <c:v>3.390404851079E-2</c:v>
                </c:pt>
                <c:pt idx="1902">
                  <c:v>3.39218833600856E-2</c:v>
                </c:pt>
                <c:pt idx="1903">
                  <c:v>3.3939718209381103E-2</c:v>
                </c:pt>
                <c:pt idx="1904">
                  <c:v>3.39575530586766E-2</c:v>
                </c:pt>
                <c:pt idx="1905">
                  <c:v>3.3975387907972103E-2</c:v>
                </c:pt>
                <c:pt idx="1906">
                  <c:v>3.3993222757267703E-2</c:v>
                </c:pt>
                <c:pt idx="1907">
                  <c:v>3.40110576065632E-2</c:v>
                </c:pt>
                <c:pt idx="1908">
                  <c:v>3.4028892455858703E-2</c:v>
                </c:pt>
                <c:pt idx="1909">
                  <c:v>3.4046727305154199E-2</c:v>
                </c:pt>
                <c:pt idx="1910">
                  <c:v>3.4064562154449703E-2</c:v>
                </c:pt>
                <c:pt idx="1911">
                  <c:v>3.4082397003745303E-2</c:v>
                </c:pt>
                <c:pt idx="1912">
                  <c:v>3.4100231853040799E-2</c:v>
                </c:pt>
                <c:pt idx="1913">
                  <c:v>3.4118066702336303E-2</c:v>
                </c:pt>
                <c:pt idx="1914">
                  <c:v>3.4135901551631799E-2</c:v>
                </c:pt>
                <c:pt idx="1915">
                  <c:v>3.4153736400927399E-2</c:v>
                </c:pt>
                <c:pt idx="1916">
                  <c:v>3.4171571250222903E-2</c:v>
                </c:pt>
                <c:pt idx="1917">
                  <c:v>3.4189406099518399E-2</c:v>
                </c:pt>
                <c:pt idx="1918">
                  <c:v>3.4207240948813902E-2</c:v>
                </c:pt>
                <c:pt idx="1919">
                  <c:v>3.4225075798109503E-2</c:v>
                </c:pt>
                <c:pt idx="1920">
                  <c:v>3.4242910647404999E-2</c:v>
                </c:pt>
                <c:pt idx="1921">
                  <c:v>3.4260745496700502E-2</c:v>
                </c:pt>
                <c:pt idx="1922">
                  <c:v>3.4278580345995999E-2</c:v>
                </c:pt>
                <c:pt idx="1923">
                  <c:v>3.4296415195291599E-2</c:v>
                </c:pt>
                <c:pt idx="1924">
                  <c:v>3.4314250044587102E-2</c:v>
                </c:pt>
                <c:pt idx="1925">
                  <c:v>3.4332084893882599E-2</c:v>
                </c:pt>
                <c:pt idx="1926">
                  <c:v>3.4349919743178102E-2</c:v>
                </c:pt>
                <c:pt idx="1927">
                  <c:v>3.4367754592473598E-2</c:v>
                </c:pt>
                <c:pt idx="1928">
                  <c:v>3.4385589441769199E-2</c:v>
                </c:pt>
                <c:pt idx="1929">
                  <c:v>3.4403424291064702E-2</c:v>
                </c:pt>
                <c:pt idx="1930">
                  <c:v>3.4421259140360198E-2</c:v>
                </c:pt>
                <c:pt idx="1931">
                  <c:v>3.4439093989655702E-2</c:v>
                </c:pt>
                <c:pt idx="1932">
                  <c:v>3.4456928838951302E-2</c:v>
                </c:pt>
                <c:pt idx="1933">
                  <c:v>3.4474763688246798E-2</c:v>
                </c:pt>
                <c:pt idx="1934">
                  <c:v>3.4492598537542302E-2</c:v>
                </c:pt>
                <c:pt idx="1935">
                  <c:v>3.4510433386837798E-2</c:v>
                </c:pt>
                <c:pt idx="1936">
                  <c:v>3.4528268236133398E-2</c:v>
                </c:pt>
                <c:pt idx="1937">
                  <c:v>3.4546103085428902E-2</c:v>
                </c:pt>
                <c:pt idx="1938">
                  <c:v>3.4563937934724398E-2</c:v>
                </c:pt>
                <c:pt idx="1939">
                  <c:v>3.4581772784019901E-2</c:v>
                </c:pt>
                <c:pt idx="1940">
                  <c:v>3.4599607633315502E-2</c:v>
                </c:pt>
                <c:pt idx="1941">
                  <c:v>3.4617442482610998E-2</c:v>
                </c:pt>
                <c:pt idx="1942">
                  <c:v>3.4635277331906501E-2</c:v>
                </c:pt>
                <c:pt idx="1943">
                  <c:v>3.4653112181201998E-2</c:v>
                </c:pt>
                <c:pt idx="1944">
                  <c:v>3.4670947030497501E-2</c:v>
                </c:pt>
                <c:pt idx="1945">
                  <c:v>3.4688781879793101E-2</c:v>
                </c:pt>
                <c:pt idx="1946">
                  <c:v>3.4706616729088598E-2</c:v>
                </c:pt>
                <c:pt idx="1947">
                  <c:v>3.4724451578384101E-2</c:v>
                </c:pt>
                <c:pt idx="1948">
                  <c:v>3.4742286427679597E-2</c:v>
                </c:pt>
                <c:pt idx="1949">
                  <c:v>3.4760121276975198E-2</c:v>
                </c:pt>
                <c:pt idx="1950">
                  <c:v>3.4777956126270701E-2</c:v>
                </c:pt>
                <c:pt idx="1951">
                  <c:v>3.4795790975566197E-2</c:v>
                </c:pt>
                <c:pt idx="1952">
                  <c:v>3.4813625824861701E-2</c:v>
                </c:pt>
                <c:pt idx="1953">
                  <c:v>3.4831460674157301E-2</c:v>
                </c:pt>
                <c:pt idx="1954">
                  <c:v>3.4849295523452797E-2</c:v>
                </c:pt>
                <c:pt idx="1955">
                  <c:v>3.4867130372748301E-2</c:v>
                </c:pt>
                <c:pt idx="1956">
                  <c:v>3.4884965222043797E-2</c:v>
                </c:pt>
                <c:pt idx="1957">
                  <c:v>3.4902800071339397E-2</c:v>
                </c:pt>
                <c:pt idx="1958">
                  <c:v>3.4920634920634901E-2</c:v>
                </c:pt>
                <c:pt idx="1959">
                  <c:v>3.4938469769930397E-2</c:v>
                </c:pt>
                <c:pt idx="1960">
                  <c:v>3.49563046192259E-2</c:v>
                </c:pt>
                <c:pt idx="1961">
                  <c:v>3.4974139468521397E-2</c:v>
                </c:pt>
                <c:pt idx="1962">
                  <c:v>3.4991974317816997E-2</c:v>
                </c:pt>
                <c:pt idx="1963">
                  <c:v>3.50098091671125E-2</c:v>
                </c:pt>
                <c:pt idx="1964">
                  <c:v>3.5027644016407997E-2</c:v>
                </c:pt>
                <c:pt idx="1965">
                  <c:v>3.50454788657035E-2</c:v>
                </c:pt>
                <c:pt idx="1966">
                  <c:v>3.50633137149991E-2</c:v>
                </c:pt>
                <c:pt idx="1967">
                  <c:v>3.5081148564294597E-2</c:v>
                </c:pt>
                <c:pt idx="1968">
                  <c:v>3.50989834135901E-2</c:v>
                </c:pt>
                <c:pt idx="1969">
                  <c:v>3.5116818262885603E-2</c:v>
                </c:pt>
                <c:pt idx="1970">
                  <c:v>3.5134653112181197E-2</c:v>
                </c:pt>
                <c:pt idx="1971">
                  <c:v>3.51524879614767E-2</c:v>
                </c:pt>
                <c:pt idx="1972">
                  <c:v>3.5170322810772203E-2</c:v>
                </c:pt>
                <c:pt idx="1973">
                  <c:v>3.51881576600677E-2</c:v>
                </c:pt>
                <c:pt idx="1974">
                  <c:v>3.5205992509363203E-2</c:v>
                </c:pt>
                <c:pt idx="1975">
                  <c:v>3.5223827358658803E-2</c:v>
                </c:pt>
                <c:pt idx="1976">
                  <c:v>3.52416622079543E-2</c:v>
                </c:pt>
                <c:pt idx="1977">
                  <c:v>3.5259497057249803E-2</c:v>
                </c:pt>
                <c:pt idx="1978">
                  <c:v>3.5277331906545299E-2</c:v>
                </c:pt>
                <c:pt idx="1979">
                  <c:v>3.52951667558409E-2</c:v>
                </c:pt>
                <c:pt idx="1980">
                  <c:v>3.5313001605136403E-2</c:v>
                </c:pt>
                <c:pt idx="1981">
                  <c:v>3.5330836454431899E-2</c:v>
                </c:pt>
                <c:pt idx="1982">
                  <c:v>3.5348671303727403E-2</c:v>
                </c:pt>
                <c:pt idx="1983">
                  <c:v>3.5366506153023003E-2</c:v>
                </c:pt>
                <c:pt idx="1984">
                  <c:v>3.5384341002318499E-2</c:v>
                </c:pt>
                <c:pt idx="1985">
                  <c:v>3.5402175851614003E-2</c:v>
                </c:pt>
                <c:pt idx="1986">
                  <c:v>3.5420010700909499E-2</c:v>
                </c:pt>
                <c:pt idx="1987">
                  <c:v>3.5437845550205099E-2</c:v>
                </c:pt>
                <c:pt idx="1988">
                  <c:v>3.5455680399500603E-2</c:v>
                </c:pt>
                <c:pt idx="1989">
                  <c:v>3.5473515248796099E-2</c:v>
                </c:pt>
                <c:pt idx="1990">
                  <c:v>3.5491350098091602E-2</c:v>
                </c:pt>
                <c:pt idx="1991">
                  <c:v>3.5509184947387099E-2</c:v>
                </c:pt>
                <c:pt idx="1992">
                  <c:v>3.5527019796682699E-2</c:v>
                </c:pt>
                <c:pt idx="1993">
                  <c:v>3.5544854645978202E-2</c:v>
                </c:pt>
                <c:pt idx="1994">
                  <c:v>3.5562689495273699E-2</c:v>
                </c:pt>
                <c:pt idx="1995">
                  <c:v>3.5580524344569202E-2</c:v>
                </c:pt>
                <c:pt idx="1996">
                  <c:v>3.5598359193864802E-2</c:v>
                </c:pt>
                <c:pt idx="1997">
                  <c:v>3.5616194043160299E-2</c:v>
                </c:pt>
                <c:pt idx="1998">
                  <c:v>3.5634028892455802E-2</c:v>
                </c:pt>
                <c:pt idx="1999">
                  <c:v>3.5651863741751298E-2</c:v>
                </c:pt>
                <c:pt idx="2000">
                  <c:v>3.5669698591046899E-2</c:v>
                </c:pt>
                <c:pt idx="2001">
                  <c:v>3.5687533440342402E-2</c:v>
                </c:pt>
                <c:pt idx="2002">
                  <c:v>3.5705368289637898E-2</c:v>
                </c:pt>
                <c:pt idx="2003">
                  <c:v>3.5723203138933401E-2</c:v>
                </c:pt>
                <c:pt idx="2004">
                  <c:v>3.5741037988229002E-2</c:v>
                </c:pt>
                <c:pt idx="2005">
                  <c:v>3.5758872837524498E-2</c:v>
                </c:pt>
                <c:pt idx="2006">
                  <c:v>3.5776707686820002E-2</c:v>
                </c:pt>
                <c:pt idx="2007">
                  <c:v>3.5794542536115498E-2</c:v>
                </c:pt>
                <c:pt idx="2008">
                  <c:v>3.5812377385411001E-2</c:v>
                </c:pt>
                <c:pt idx="2009">
                  <c:v>3.5830212234706602E-2</c:v>
                </c:pt>
                <c:pt idx="2010">
                  <c:v>3.5848047084002098E-2</c:v>
                </c:pt>
                <c:pt idx="2011">
                  <c:v>3.5865881933297601E-2</c:v>
                </c:pt>
                <c:pt idx="2012">
                  <c:v>3.5883716782593097E-2</c:v>
                </c:pt>
                <c:pt idx="2013">
                  <c:v>3.5901551631888698E-2</c:v>
                </c:pt>
                <c:pt idx="2014">
                  <c:v>3.5919386481184201E-2</c:v>
                </c:pt>
                <c:pt idx="2015">
                  <c:v>3.5937221330479698E-2</c:v>
                </c:pt>
                <c:pt idx="2016">
                  <c:v>3.5955056179775201E-2</c:v>
                </c:pt>
                <c:pt idx="2017">
                  <c:v>3.5972891029070801E-2</c:v>
                </c:pt>
                <c:pt idx="2018">
                  <c:v>3.5990725878366298E-2</c:v>
                </c:pt>
                <c:pt idx="2019">
                  <c:v>3.6008560727661801E-2</c:v>
                </c:pt>
                <c:pt idx="2020">
                  <c:v>3.6026395576957297E-2</c:v>
                </c:pt>
                <c:pt idx="2021">
                  <c:v>3.6044230426252898E-2</c:v>
                </c:pt>
                <c:pt idx="2022">
                  <c:v>3.6062065275548401E-2</c:v>
                </c:pt>
                <c:pt idx="2023">
                  <c:v>3.6079900124843897E-2</c:v>
                </c:pt>
                <c:pt idx="2024">
                  <c:v>3.60977349741394E-2</c:v>
                </c:pt>
                <c:pt idx="2025">
                  <c:v>3.6115569823434897E-2</c:v>
                </c:pt>
                <c:pt idx="2026">
                  <c:v>3.6133404672730497E-2</c:v>
                </c:pt>
                <c:pt idx="2027">
                  <c:v>3.6151239522026E-2</c:v>
                </c:pt>
                <c:pt idx="2028">
                  <c:v>3.6169074371321497E-2</c:v>
                </c:pt>
                <c:pt idx="2029">
                  <c:v>3.6186909220617E-2</c:v>
                </c:pt>
                <c:pt idx="2030">
                  <c:v>3.6204744069912601E-2</c:v>
                </c:pt>
                <c:pt idx="2031">
                  <c:v>3.6222578919208097E-2</c:v>
                </c:pt>
                <c:pt idx="2032">
                  <c:v>3.62404137685036E-2</c:v>
                </c:pt>
                <c:pt idx="2033">
                  <c:v>3.6258248617799103E-2</c:v>
                </c:pt>
                <c:pt idx="2034">
                  <c:v>3.6276083467094697E-2</c:v>
                </c:pt>
                <c:pt idx="2035">
                  <c:v>3.62939183163902E-2</c:v>
                </c:pt>
                <c:pt idx="2036">
                  <c:v>3.6311753165685703E-2</c:v>
                </c:pt>
                <c:pt idx="2037">
                  <c:v>3.63295880149812E-2</c:v>
                </c:pt>
                <c:pt idx="2038">
                  <c:v>3.63474228642768E-2</c:v>
                </c:pt>
                <c:pt idx="2039">
                  <c:v>3.6365257713572303E-2</c:v>
                </c:pt>
                <c:pt idx="2040">
                  <c:v>3.63830925628678E-2</c:v>
                </c:pt>
                <c:pt idx="2041">
                  <c:v>3.6400927412163303E-2</c:v>
                </c:pt>
                <c:pt idx="2042">
                  <c:v>3.6418762261458799E-2</c:v>
                </c:pt>
                <c:pt idx="2043">
                  <c:v>3.64365971107544E-2</c:v>
                </c:pt>
                <c:pt idx="2044">
                  <c:v>3.6454431960049903E-2</c:v>
                </c:pt>
                <c:pt idx="2045">
                  <c:v>3.6472266809345399E-2</c:v>
                </c:pt>
                <c:pt idx="2046">
                  <c:v>3.6490101658640903E-2</c:v>
                </c:pt>
                <c:pt idx="2047">
                  <c:v>3.6507936507936503E-2</c:v>
                </c:pt>
                <c:pt idx="2048">
                  <c:v>3.6525771357231999E-2</c:v>
                </c:pt>
                <c:pt idx="2049">
                  <c:v>3.6543606206527503E-2</c:v>
                </c:pt>
                <c:pt idx="2050">
                  <c:v>3.6561441055822999E-2</c:v>
                </c:pt>
                <c:pt idx="2051">
                  <c:v>3.6579275905118599E-2</c:v>
                </c:pt>
                <c:pt idx="2052">
                  <c:v>3.6597110754414103E-2</c:v>
                </c:pt>
                <c:pt idx="2053">
                  <c:v>3.6614945603709599E-2</c:v>
                </c:pt>
                <c:pt idx="2054">
                  <c:v>3.6632780453005102E-2</c:v>
                </c:pt>
                <c:pt idx="2055">
                  <c:v>3.6650615302300599E-2</c:v>
                </c:pt>
                <c:pt idx="2056">
                  <c:v>3.6668450151596199E-2</c:v>
                </c:pt>
                <c:pt idx="2057">
                  <c:v>3.6686285000891702E-2</c:v>
                </c:pt>
                <c:pt idx="2058">
                  <c:v>3.6704119850187199E-2</c:v>
                </c:pt>
                <c:pt idx="2059">
                  <c:v>3.6721954699482702E-2</c:v>
                </c:pt>
                <c:pt idx="2060">
                  <c:v>3.6739789548778302E-2</c:v>
                </c:pt>
                <c:pt idx="2061">
                  <c:v>3.6757624398073799E-2</c:v>
                </c:pt>
                <c:pt idx="2062">
                  <c:v>3.6775459247369302E-2</c:v>
                </c:pt>
                <c:pt idx="2063">
                  <c:v>3.6793294096664798E-2</c:v>
                </c:pt>
                <c:pt idx="2064">
                  <c:v>3.6811128945960399E-2</c:v>
                </c:pt>
                <c:pt idx="2065">
                  <c:v>3.6828963795255902E-2</c:v>
                </c:pt>
                <c:pt idx="2066">
                  <c:v>3.6846798644551398E-2</c:v>
                </c:pt>
                <c:pt idx="2067">
                  <c:v>3.6864633493846902E-2</c:v>
                </c:pt>
                <c:pt idx="2068">
                  <c:v>3.6882468343142502E-2</c:v>
                </c:pt>
                <c:pt idx="2069">
                  <c:v>3.6900303192437998E-2</c:v>
                </c:pt>
                <c:pt idx="2070">
                  <c:v>3.6918138041733502E-2</c:v>
                </c:pt>
                <c:pt idx="2071">
                  <c:v>3.6935972891028998E-2</c:v>
                </c:pt>
                <c:pt idx="2072">
                  <c:v>3.6953807740324501E-2</c:v>
                </c:pt>
                <c:pt idx="2073">
                  <c:v>3.6971642589620102E-2</c:v>
                </c:pt>
                <c:pt idx="2074">
                  <c:v>3.6989477438915598E-2</c:v>
                </c:pt>
                <c:pt idx="2075">
                  <c:v>3.7007312288211101E-2</c:v>
                </c:pt>
                <c:pt idx="2076">
                  <c:v>3.7025147137506598E-2</c:v>
                </c:pt>
                <c:pt idx="2077">
                  <c:v>3.7042981986802198E-2</c:v>
                </c:pt>
                <c:pt idx="2078">
                  <c:v>3.7060816836097701E-2</c:v>
                </c:pt>
                <c:pt idx="2079">
                  <c:v>3.7078651685393198E-2</c:v>
                </c:pt>
                <c:pt idx="2080">
                  <c:v>3.7096486534688701E-2</c:v>
                </c:pt>
                <c:pt idx="2081">
                  <c:v>3.7114321383984301E-2</c:v>
                </c:pt>
                <c:pt idx="2082">
                  <c:v>3.7132156233279798E-2</c:v>
                </c:pt>
                <c:pt idx="2083">
                  <c:v>3.7149991082575301E-2</c:v>
                </c:pt>
                <c:pt idx="2084">
                  <c:v>3.7167825931870797E-2</c:v>
                </c:pt>
                <c:pt idx="2085">
                  <c:v>3.7185660781166398E-2</c:v>
                </c:pt>
                <c:pt idx="2086">
                  <c:v>3.7203495630461901E-2</c:v>
                </c:pt>
                <c:pt idx="2087">
                  <c:v>3.7221330479757397E-2</c:v>
                </c:pt>
                <c:pt idx="2088">
                  <c:v>3.7239165329052901E-2</c:v>
                </c:pt>
                <c:pt idx="2089">
                  <c:v>3.7257000178348397E-2</c:v>
                </c:pt>
                <c:pt idx="2090">
                  <c:v>3.7274835027643997E-2</c:v>
                </c:pt>
                <c:pt idx="2091">
                  <c:v>3.7292669876939501E-2</c:v>
                </c:pt>
                <c:pt idx="2092">
                  <c:v>3.7310504726234997E-2</c:v>
                </c:pt>
                <c:pt idx="2093">
                  <c:v>3.73283395755305E-2</c:v>
                </c:pt>
                <c:pt idx="2094">
                  <c:v>3.7346174424826101E-2</c:v>
                </c:pt>
                <c:pt idx="2095">
                  <c:v>3.7364009274121597E-2</c:v>
                </c:pt>
                <c:pt idx="2096">
                  <c:v>3.73818441234171E-2</c:v>
                </c:pt>
                <c:pt idx="2097">
                  <c:v>3.7399678972712597E-2</c:v>
                </c:pt>
                <c:pt idx="2098">
                  <c:v>3.7417513822008197E-2</c:v>
                </c:pt>
                <c:pt idx="2099">
                  <c:v>3.74353486713037E-2</c:v>
                </c:pt>
                <c:pt idx="2100">
                  <c:v>3.7453183520599197E-2</c:v>
                </c:pt>
                <c:pt idx="2101">
                  <c:v>3.74710183698947E-2</c:v>
                </c:pt>
                <c:pt idx="2102">
                  <c:v>3.74888532191903E-2</c:v>
                </c:pt>
                <c:pt idx="2103">
                  <c:v>3.7506688068485797E-2</c:v>
                </c:pt>
                <c:pt idx="2104">
                  <c:v>3.75245229177813E-2</c:v>
                </c:pt>
                <c:pt idx="2105">
                  <c:v>3.7542357767076803E-2</c:v>
                </c:pt>
                <c:pt idx="2106">
                  <c:v>3.75601926163723E-2</c:v>
                </c:pt>
                <c:pt idx="2107">
                  <c:v>3.75780274656679E-2</c:v>
                </c:pt>
                <c:pt idx="2108">
                  <c:v>3.7595862314963403E-2</c:v>
                </c:pt>
                <c:pt idx="2109">
                  <c:v>3.76136971642589E-2</c:v>
                </c:pt>
                <c:pt idx="2110">
                  <c:v>3.7631532013554403E-2</c:v>
                </c:pt>
                <c:pt idx="2111">
                  <c:v>3.7649366862850003E-2</c:v>
                </c:pt>
                <c:pt idx="2112">
                  <c:v>3.76672017121455E-2</c:v>
                </c:pt>
                <c:pt idx="2113">
                  <c:v>3.7685036561441003E-2</c:v>
                </c:pt>
                <c:pt idx="2114">
                  <c:v>3.7702871410736499E-2</c:v>
                </c:pt>
                <c:pt idx="2115">
                  <c:v>3.77207062600321E-2</c:v>
                </c:pt>
                <c:pt idx="2116">
                  <c:v>3.7738541109327603E-2</c:v>
                </c:pt>
                <c:pt idx="2117">
                  <c:v>3.7756375958623099E-2</c:v>
                </c:pt>
                <c:pt idx="2118">
                  <c:v>3.7774210807918603E-2</c:v>
                </c:pt>
                <c:pt idx="2119">
                  <c:v>3.7792045657214099E-2</c:v>
                </c:pt>
                <c:pt idx="2120">
                  <c:v>3.7809880506509699E-2</c:v>
                </c:pt>
                <c:pt idx="2121">
                  <c:v>3.7827715355805203E-2</c:v>
                </c:pt>
                <c:pt idx="2122">
                  <c:v>3.7845550205100699E-2</c:v>
                </c:pt>
                <c:pt idx="2123">
                  <c:v>3.7863385054396202E-2</c:v>
                </c:pt>
                <c:pt idx="2124">
                  <c:v>3.7881219903691803E-2</c:v>
                </c:pt>
                <c:pt idx="2125">
                  <c:v>3.7899054752987299E-2</c:v>
                </c:pt>
                <c:pt idx="2126">
                  <c:v>3.7916889602282802E-2</c:v>
                </c:pt>
                <c:pt idx="2127">
                  <c:v>3.7934724451578299E-2</c:v>
                </c:pt>
                <c:pt idx="2128">
                  <c:v>3.7952559300873899E-2</c:v>
                </c:pt>
                <c:pt idx="2129">
                  <c:v>3.7970394150169402E-2</c:v>
                </c:pt>
                <c:pt idx="2130">
                  <c:v>3.7988228999464899E-2</c:v>
                </c:pt>
                <c:pt idx="2131">
                  <c:v>3.8006063848760402E-2</c:v>
                </c:pt>
                <c:pt idx="2132">
                  <c:v>3.8023898698056002E-2</c:v>
                </c:pt>
                <c:pt idx="2133">
                  <c:v>3.8041733547351499E-2</c:v>
                </c:pt>
                <c:pt idx="2134">
                  <c:v>3.8059568396647002E-2</c:v>
                </c:pt>
                <c:pt idx="2135">
                  <c:v>3.8077403245942498E-2</c:v>
                </c:pt>
                <c:pt idx="2136">
                  <c:v>3.8095238095238099E-2</c:v>
                </c:pt>
                <c:pt idx="2137">
                  <c:v>3.8113072944533602E-2</c:v>
                </c:pt>
                <c:pt idx="2138">
                  <c:v>3.8130907793829098E-2</c:v>
                </c:pt>
                <c:pt idx="2139">
                  <c:v>3.8148742643124602E-2</c:v>
                </c:pt>
                <c:pt idx="2140">
                  <c:v>3.8166577492420098E-2</c:v>
                </c:pt>
                <c:pt idx="2141">
                  <c:v>3.8184412341715698E-2</c:v>
                </c:pt>
                <c:pt idx="2142">
                  <c:v>3.8202247191011202E-2</c:v>
                </c:pt>
                <c:pt idx="2143">
                  <c:v>3.8220082040306698E-2</c:v>
                </c:pt>
                <c:pt idx="2144">
                  <c:v>3.8237916889602201E-2</c:v>
                </c:pt>
                <c:pt idx="2145">
                  <c:v>3.8255751738897802E-2</c:v>
                </c:pt>
                <c:pt idx="2146">
                  <c:v>3.8273586588193298E-2</c:v>
                </c:pt>
                <c:pt idx="2147">
                  <c:v>3.8291421437488801E-2</c:v>
                </c:pt>
                <c:pt idx="2148">
                  <c:v>3.8309256286784298E-2</c:v>
                </c:pt>
                <c:pt idx="2149">
                  <c:v>3.8327091136079898E-2</c:v>
                </c:pt>
                <c:pt idx="2150">
                  <c:v>3.8344925985375401E-2</c:v>
                </c:pt>
                <c:pt idx="2151">
                  <c:v>3.8362760834670898E-2</c:v>
                </c:pt>
                <c:pt idx="2152">
                  <c:v>3.8380595683966401E-2</c:v>
                </c:pt>
                <c:pt idx="2153">
                  <c:v>3.8398430533261897E-2</c:v>
                </c:pt>
                <c:pt idx="2154">
                  <c:v>3.8416265382557498E-2</c:v>
                </c:pt>
                <c:pt idx="2155">
                  <c:v>3.8434100231853001E-2</c:v>
                </c:pt>
                <c:pt idx="2156">
                  <c:v>3.8451935081148497E-2</c:v>
                </c:pt>
                <c:pt idx="2157">
                  <c:v>3.8469769930444001E-2</c:v>
                </c:pt>
                <c:pt idx="2158">
                  <c:v>3.8487604779739601E-2</c:v>
                </c:pt>
                <c:pt idx="2159">
                  <c:v>3.8505439629035097E-2</c:v>
                </c:pt>
                <c:pt idx="2160">
                  <c:v>3.8523274478330601E-2</c:v>
                </c:pt>
                <c:pt idx="2161">
                  <c:v>3.8541109327626097E-2</c:v>
                </c:pt>
                <c:pt idx="2162">
                  <c:v>3.8558944176921697E-2</c:v>
                </c:pt>
                <c:pt idx="2163">
                  <c:v>3.8576779026217201E-2</c:v>
                </c:pt>
                <c:pt idx="2164">
                  <c:v>3.8594613875512697E-2</c:v>
                </c:pt>
                <c:pt idx="2165">
                  <c:v>3.86124487248082E-2</c:v>
                </c:pt>
                <c:pt idx="2166">
                  <c:v>3.8630283574103801E-2</c:v>
                </c:pt>
                <c:pt idx="2167">
                  <c:v>3.8648118423399297E-2</c:v>
                </c:pt>
                <c:pt idx="2168">
                  <c:v>3.86659532726948E-2</c:v>
                </c:pt>
                <c:pt idx="2169">
                  <c:v>3.8683788121990297E-2</c:v>
                </c:pt>
                <c:pt idx="2170">
                  <c:v>3.87016229712858E-2</c:v>
                </c:pt>
                <c:pt idx="2171">
                  <c:v>3.87194578205814E-2</c:v>
                </c:pt>
                <c:pt idx="2172">
                  <c:v>3.8737292669876897E-2</c:v>
                </c:pt>
                <c:pt idx="2173">
                  <c:v>3.87551275191724E-2</c:v>
                </c:pt>
                <c:pt idx="2174">
                  <c:v>3.8772962368467903E-2</c:v>
                </c:pt>
                <c:pt idx="2175">
                  <c:v>3.8790797217763497E-2</c:v>
                </c:pt>
                <c:pt idx="2176">
                  <c:v>3.8808632067059E-2</c:v>
                </c:pt>
                <c:pt idx="2177">
                  <c:v>3.8826466916354503E-2</c:v>
                </c:pt>
                <c:pt idx="2178">
                  <c:v>3.8844301765649999E-2</c:v>
                </c:pt>
                <c:pt idx="2179">
                  <c:v>3.88621366149456E-2</c:v>
                </c:pt>
                <c:pt idx="2180">
                  <c:v>3.8879971464241103E-2</c:v>
                </c:pt>
                <c:pt idx="2181">
                  <c:v>3.88978063135366E-2</c:v>
                </c:pt>
                <c:pt idx="2182">
                  <c:v>3.8915641162832103E-2</c:v>
                </c:pt>
                <c:pt idx="2183">
                  <c:v>3.8933476012127599E-2</c:v>
                </c:pt>
                <c:pt idx="2184">
                  <c:v>3.89513108614232E-2</c:v>
                </c:pt>
                <c:pt idx="2185">
                  <c:v>3.8969145710718703E-2</c:v>
                </c:pt>
                <c:pt idx="2186">
                  <c:v>3.8986980560014199E-2</c:v>
                </c:pt>
                <c:pt idx="2187">
                  <c:v>3.9004815409309702E-2</c:v>
                </c:pt>
                <c:pt idx="2188">
                  <c:v>3.9022650258605303E-2</c:v>
                </c:pt>
                <c:pt idx="2189">
                  <c:v>3.9040485107900799E-2</c:v>
                </c:pt>
                <c:pt idx="2190">
                  <c:v>3.9058319957196302E-2</c:v>
                </c:pt>
                <c:pt idx="2191">
                  <c:v>3.9076154806491799E-2</c:v>
                </c:pt>
                <c:pt idx="2192">
                  <c:v>3.9093989655787399E-2</c:v>
                </c:pt>
                <c:pt idx="2193">
                  <c:v>3.9111824505082902E-2</c:v>
                </c:pt>
                <c:pt idx="2194">
                  <c:v>3.9129659354378399E-2</c:v>
                </c:pt>
                <c:pt idx="2195">
                  <c:v>3.9147494203673902E-2</c:v>
                </c:pt>
                <c:pt idx="2196">
                  <c:v>3.9165329052969503E-2</c:v>
                </c:pt>
                <c:pt idx="2197">
                  <c:v>3.9183163902264999E-2</c:v>
                </c:pt>
                <c:pt idx="2198">
                  <c:v>3.9200998751560502E-2</c:v>
                </c:pt>
                <c:pt idx="2199">
                  <c:v>3.9218833600855998E-2</c:v>
                </c:pt>
                <c:pt idx="2200">
                  <c:v>3.9236668450151599E-2</c:v>
                </c:pt>
                <c:pt idx="2201">
                  <c:v>3.9254503299447102E-2</c:v>
                </c:pt>
                <c:pt idx="2202">
                  <c:v>3.9272338148742598E-2</c:v>
                </c:pt>
                <c:pt idx="2203">
                  <c:v>3.9290172998038102E-2</c:v>
                </c:pt>
                <c:pt idx="2204">
                  <c:v>3.9308007847333598E-2</c:v>
                </c:pt>
                <c:pt idx="2205">
                  <c:v>3.9325842696629199E-2</c:v>
                </c:pt>
                <c:pt idx="2206">
                  <c:v>3.9343677545924702E-2</c:v>
                </c:pt>
                <c:pt idx="2207">
                  <c:v>3.9361512395220198E-2</c:v>
                </c:pt>
                <c:pt idx="2208">
                  <c:v>3.9379347244515701E-2</c:v>
                </c:pt>
                <c:pt idx="2209">
                  <c:v>3.9397182093811302E-2</c:v>
                </c:pt>
                <c:pt idx="2210">
                  <c:v>3.9415016943106798E-2</c:v>
                </c:pt>
                <c:pt idx="2211">
                  <c:v>3.9432851792402301E-2</c:v>
                </c:pt>
                <c:pt idx="2212">
                  <c:v>3.9450686641697798E-2</c:v>
                </c:pt>
                <c:pt idx="2213">
                  <c:v>3.9468521490993398E-2</c:v>
                </c:pt>
                <c:pt idx="2214">
                  <c:v>3.9486356340288901E-2</c:v>
                </c:pt>
                <c:pt idx="2215">
                  <c:v>3.9504191189584398E-2</c:v>
                </c:pt>
                <c:pt idx="2216">
                  <c:v>3.9522026038879901E-2</c:v>
                </c:pt>
                <c:pt idx="2217">
                  <c:v>3.9539860888175397E-2</c:v>
                </c:pt>
                <c:pt idx="2218">
                  <c:v>3.9557695737470998E-2</c:v>
                </c:pt>
                <c:pt idx="2219">
                  <c:v>3.9575530586766501E-2</c:v>
                </c:pt>
                <c:pt idx="2220">
                  <c:v>3.9593365436061997E-2</c:v>
                </c:pt>
                <c:pt idx="2221">
                  <c:v>3.9611200285357501E-2</c:v>
                </c:pt>
                <c:pt idx="2222">
                  <c:v>3.9629035134653101E-2</c:v>
                </c:pt>
                <c:pt idx="2223">
                  <c:v>3.9646869983948597E-2</c:v>
                </c:pt>
                <c:pt idx="2224">
                  <c:v>3.9664704833244101E-2</c:v>
                </c:pt>
                <c:pt idx="2225">
                  <c:v>3.9682539682539597E-2</c:v>
                </c:pt>
                <c:pt idx="2226">
                  <c:v>3.9700374531835197E-2</c:v>
                </c:pt>
                <c:pt idx="2227">
                  <c:v>3.9718209381130701E-2</c:v>
                </c:pt>
                <c:pt idx="2228">
                  <c:v>3.9736044230426197E-2</c:v>
                </c:pt>
                <c:pt idx="2229">
                  <c:v>3.97538790797217E-2</c:v>
                </c:pt>
                <c:pt idx="2230">
                  <c:v>3.9771713929017301E-2</c:v>
                </c:pt>
                <c:pt idx="2231">
                  <c:v>3.9789548778312797E-2</c:v>
                </c:pt>
                <c:pt idx="2232">
                  <c:v>3.98073836276083E-2</c:v>
                </c:pt>
                <c:pt idx="2233">
                  <c:v>3.9825218476903797E-2</c:v>
                </c:pt>
                <c:pt idx="2234">
                  <c:v>3.98430533261993E-2</c:v>
                </c:pt>
                <c:pt idx="2235">
                  <c:v>3.98608881754949E-2</c:v>
                </c:pt>
                <c:pt idx="2236">
                  <c:v>3.9878723024790397E-2</c:v>
                </c:pt>
                <c:pt idx="2237">
                  <c:v>3.98965578740859E-2</c:v>
                </c:pt>
                <c:pt idx="2238">
                  <c:v>3.9914392723381403E-2</c:v>
                </c:pt>
                <c:pt idx="2239">
                  <c:v>3.9932227572676997E-2</c:v>
                </c:pt>
                <c:pt idx="2240">
                  <c:v>3.99500624219725E-2</c:v>
                </c:pt>
                <c:pt idx="2241">
                  <c:v>3.9967897271268003E-2</c:v>
                </c:pt>
                <c:pt idx="2242">
                  <c:v>3.99857321205635E-2</c:v>
                </c:pt>
                <c:pt idx="2243">
                  <c:v>4.00035669698591E-2</c:v>
                </c:pt>
                <c:pt idx="2244">
                  <c:v>4.0021401819154603E-2</c:v>
                </c:pt>
                <c:pt idx="2245">
                  <c:v>4.00392366684501E-2</c:v>
                </c:pt>
                <c:pt idx="2246">
                  <c:v>4.0057071517745603E-2</c:v>
                </c:pt>
                <c:pt idx="2247">
                  <c:v>4.0074906367041099E-2</c:v>
                </c:pt>
                <c:pt idx="2248">
                  <c:v>4.00927412163367E-2</c:v>
                </c:pt>
                <c:pt idx="2249">
                  <c:v>4.0110576065632203E-2</c:v>
                </c:pt>
                <c:pt idx="2250">
                  <c:v>4.0128410914927699E-2</c:v>
                </c:pt>
                <c:pt idx="2251">
                  <c:v>4.0146245764223203E-2</c:v>
                </c:pt>
                <c:pt idx="2252">
                  <c:v>4.0164080613518803E-2</c:v>
                </c:pt>
                <c:pt idx="2253">
                  <c:v>4.0181915462814299E-2</c:v>
                </c:pt>
                <c:pt idx="2254">
                  <c:v>4.0199750312109803E-2</c:v>
                </c:pt>
                <c:pt idx="2255">
                  <c:v>4.0217585161405299E-2</c:v>
                </c:pt>
                <c:pt idx="2256">
                  <c:v>4.0235420010700899E-2</c:v>
                </c:pt>
                <c:pt idx="2257">
                  <c:v>4.0253254859996403E-2</c:v>
                </c:pt>
                <c:pt idx="2258">
                  <c:v>4.0271089709291899E-2</c:v>
                </c:pt>
                <c:pt idx="2259">
                  <c:v>4.0288924558587402E-2</c:v>
                </c:pt>
                <c:pt idx="2260">
                  <c:v>4.0306759407883003E-2</c:v>
                </c:pt>
                <c:pt idx="2261">
                  <c:v>4.0324594257178499E-2</c:v>
                </c:pt>
                <c:pt idx="2262">
                  <c:v>4.0342429106474002E-2</c:v>
                </c:pt>
                <c:pt idx="2263">
                  <c:v>4.0360263955769499E-2</c:v>
                </c:pt>
                <c:pt idx="2264">
                  <c:v>4.0378098805065099E-2</c:v>
                </c:pt>
                <c:pt idx="2265">
                  <c:v>4.0395933654360602E-2</c:v>
                </c:pt>
                <c:pt idx="2266">
                  <c:v>4.0413768503656099E-2</c:v>
                </c:pt>
                <c:pt idx="2267">
                  <c:v>4.0431603352951602E-2</c:v>
                </c:pt>
                <c:pt idx="2268">
                  <c:v>4.0449438202247098E-2</c:v>
                </c:pt>
                <c:pt idx="2269">
                  <c:v>4.0467273051542699E-2</c:v>
                </c:pt>
                <c:pt idx="2270">
                  <c:v>4.0485107900838202E-2</c:v>
                </c:pt>
                <c:pt idx="2271">
                  <c:v>4.0502942750133698E-2</c:v>
                </c:pt>
                <c:pt idx="2272">
                  <c:v>4.0520777599429202E-2</c:v>
                </c:pt>
                <c:pt idx="2273">
                  <c:v>4.0538612448724802E-2</c:v>
                </c:pt>
                <c:pt idx="2274">
                  <c:v>4.0556447298020298E-2</c:v>
                </c:pt>
                <c:pt idx="2275">
                  <c:v>4.0574282147315802E-2</c:v>
                </c:pt>
                <c:pt idx="2276">
                  <c:v>4.0592116996611298E-2</c:v>
                </c:pt>
                <c:pt idx="2277">
                  <c:v>4.0609951845906898E-2</c:v>
                </c:pt>
                <c:pt idx="2278">
                  <c:v>4.0627786695202402E-2</c:v>
                </c:pt>
                <c:pt idx="2279">
                  <c:v>4.0645621544497898E-2</c:v>
                </c:pt>
                <c:pt idx="2280">
                  <c:v>4.0663456393793401E-2</c:v>
                </c:pt>
                <c:pt idx="2281">
                  <c:v>4.0681291243088898E-2</c:v>
                </c:pt>
                <c:pt idx="2282">
                  <c:v>4.0699126092384498E-2</c:v>
                </c:pt>
                <c:pt idx="2283">
                  <c:v>4.0716960941680001E-2</c:v>
                </c:pt>
                <c:pt idx="2284">
                  <c:v>4.0734795790975498E-2</c:v>
                </c:pt>
                <c:pt idx="2285">
                  <c:v>4.0752630640271001E-2</c:v>
                </c:pt>
                <c:pt idx="2286">
                  <c:v>4.0770465489566601E-2</c:v>
                </c:pt>
                <c:pt idx="2287">
                  <c:v>4.0788300338862098E-2</c:v>
                </c:pt>
                <c:pt idx="2288">
                  <c:v>4.0806135188157601E-2</c:v>
                </c:pt>
                <c:pt idx="2289">
                  <c:v>4.0823970037453097E-2</c:v>
                </c:pt>
                <c:pt idx="2290">
                  <c:v>4.0841804886748698E-2</c:v>
                </c:pt>
                <c:pt idx="2291">
                  <c:v>4.0859639736044201E-2</c:v>
                </c:pt>
                <c:pt idx="2292">
                  <c:v>4.0877474585339697E-2</c:v>
                </c:pt>
                <c:pt idx="2293">
                  <c:v>4.0895309434635201E-2</c:v>
                </c:pt>
                <c:pt idx="2294">
                  <c:v>4.0913144283930801E-2</c:v>
                </c:pt>
                <c:pt idx="2295">
                  <c:v>4.0930979133226297E-2</c:v>
                </c:pt>
                <c:pt idx="2296">
                  <c:v>4.0948813982521801E-2</c:v>
                </c:pt>
                <c:pt idx="2297">
                  <c:v>4.0966648831817297E-2</c:v>
                </c:pt>
                <c:pt idx="2298">
                  <c:v>4.0984483681112897E-2</c:v>
                </c:pt>
                <c:pt idx="2299">
                  <c:v>4.1002318530408401E-2</c:v>
                </c:pt>
                <c:pt idx="2300">
                  <c:v>4.1020153379703897E-2</c:v>
                </c:pt>
                <c:pt idx="2301">
                  <c:v>4.10379882289994E-2</c:v>
                </c:pt>
                <c:pt idx="2302">
                  <c:v>4.1055823078294897E-2</c:v>
                </c:pt>
                <c:pt idx="2303">
                  <c:v>4.1073657927590497E-2</c:v>
                </c:pt>
                <c:pt idx="2304">
                  <c:v>4.1091492776886E-2</c:v>
                </c:pt>
                <c:pt idx="2305">
                  <c:v>4.1109327626181497E-2</c:v>
                </c:pt>
                <c:pt idx="2306">
                  <c:v>4.1127162475477E-2</c:v>
                </c:pt>
                <c:pt idx="2307">
                  <c:v>4.11449973247726E-2</c:v>
                </c:pt>
                <c:pt idx="2308">
                  <c:v>4.1162832174068097E-2</c:v>
                </c:pt>
                <c:pt idx="2309">
                  <c:v>4.11806670233636E-2</c:v>
                </c:pt>
                <c:pt idx="2310">
                  <c:v>4.1198501872659103E-2</c:v>
                </c:pt>
                <c:pt idx="2311">
                  <c:v>4.1216336721954697E-2</c:v>
                </c:pt>
                <c:pt idx="2312">
                  <c:v>4.12341715712502E-2</c:v>
                </c:pt>
                <c:pt idx="2313">
                  <c:v>4.1252006420545703E-2</c:v>
                </c:pt>
                <c:pt idx="2314">
                  <c:v>4.12698412698412E-2</c:v>
                </c:pt>
                <c:pt idx="2315">
                  <c:v>4.1287676119136703E-2</c:v>
                </c:pt>
                <c:pt idx="2316">
                  <c:v>4.1305510968432303E-2</c:v>
                </c:pt>
                <c:pt idx="2317">
                  <c:v>4.13233458177278E-2</c:v>
                </c:pt>
                <c:pt idx="2318">
                  <c:v>4.1341180667023303E-2</c:v>
                </c:pt>
                <c:pt idx="2319">
                  <c:v>4.1359015516318799E-2</c:v>
                </c:pt>
                <c:pt idx="2320">
                  <c:v>4.13768503656144E-2</c:v>
                </c:pt>
                <c:pt idx="2321">
                  <c:v>4.1394685214909903E-2</c:v>
                </c:pt>
                <c:pt idx="2322">
                  <c:v>4.1412520064205399E-2</c:v>
                </c:pt>
                <c:pt idx="2323">
                  <c:v>4.1430354913500902E-2</c:v>
                </c:pt>
                <c:pt idx="2324">
                  <c:v>4.1448189762796503E-2</c:v>
                </c:pt>
                <c:pt idx="2325">
                  <c:v>4.1466024612091999E-2</c:v>
                </c:pt>
                <c:pt idx="2326">
                  <c:v>4.1483859461387503E-2</c:v>
                </c:pt>
                <c:pt idx="2327">
                  <c:v>4.1501694310682999E-2</c:v>
                </c:pt>
                <c:pt idx="2328">
                  <c:v>4.1519529159978599E-2</c:v>
                </c:pt>
                <c:pt idx="2329">
                  <c:v>4.1537364009274103E-2</c:v>
                </c:pt>
                <c:pt idx="2330">
                  <c:v>4.1555198858569599E-2</c:v>
                </c:pt>
                <c:pt idx="2331">
                  <c:v>4.1573033707865102E-2</c:v>
                </c:pt>
                <c:pt idx="2332">
                  <c:v>4.1590868557160598E-2</c:v>
                </c:pt>
                <c:pt idx="2333">
                  <c:v>4.1608703406456199E-2</c:v>
                </c:pt>
                <c:pt idx="2334">
                  <c:v>4.1626538255751702E-2</c:v>
                </c:pt>
                <c:pt idx="2335">
                  <c:v>4.1644373105047199E-2</c:v>
                </c:pt>
                <c:pt idx="2336">
                  <c:v>4.1662207954342702E-2</c:v>
                </c:pt>
                <c:pt idx="2337">
                  <c:v>4.1680042803638302E-2</c:v>
                </c:pt>
                <c:pt idx="2338">
                  <c:v>4.1697877652933799E-2</c:v>
                </c:pt>
                <c:pt idx="2339">
                  <c:v>4.1715712502229302E-2</c:v>
                </c:pt>
                <c:pt idx="2340">
                  <c:v>4.1733547351524798E-2</c:v>
                </c:pt>
                <c:pt idx="2341">
                  <c:v>4.1751382200820399E-2</c:v>
                </c:pt>
                <c:pt idx="2342">
                  <c:v>4.1769217050115902E-2</c:v>
                </c:pt>
                <c:pt idx="2343">
                  <c:v>4.1787051899411398E-2</c:v>
                </c:pt>
                <c:pt idx="2344">
                  <c:v>4.1804886748706901E-2</c:v>
                </c:pt>
                <c:pt idx="2345">
                  <c:v>4.1822721598002398E-2</c:v>
                </c:pt>
                <c:pt idx="2346">
                  <c:v>4.1840556447297998E-2</c:v>
                </c:pt>
                <c:pt idx="2347">
                  <c:v>4.1858391296593501E-2</c:v>
                </c:pt>
                <c:pt idx="2348">
                  <c:v>4.1876226145888998E-2</c:v>
                </c:pt>
                <c:pt idx="2349">
                  <c:v>4.1894060995184501E-2</c:v>
                </c:pt>
                <c:pt idx="2350">
                  <c:v>4.1911895844480102E-2</c:v>
                </c:pt>
                <c:pt idx="2351">
                  <c:v>4.1929730693775598E-2</c:v>
                </c:pt>
                <c:pt idx="2352">
                  <c:v>4.1947565543071101E-2</c:v>
                </c:pt>
                <c:pt idx="2353">
                  <c:v>4.1965400392366597E-2</c:v>
                </c:pt>
                <c:pt idx="2354">
                  <c:v>4.1983235241662198E-2</c:v>
                </c:pt>
                <c:pt idx="2355">
                  <c:v>4.2001070090957701E-2</c:v>
                </c:pt>
                <c:pt idx="2356">
                  <c:v>4.2018904940253197E-2</c:v>
                </c:pt>
                <c:pt idx="2357">
                  <c:v>4.2036739789548701E-2</c:v>
                </c:pt>
                <c:pt idx="2358">
                  <c:v>4.2054574638844301E-2</c:v>
                </c:pt>
                <c:pt idx="2359">
                  <c:v>4.2072409488139798E-2</c:v>
                </c:pt>
                <c:pt idx="2360">
                  <c:v>4.2090244337435301E-2</c:v>
                </c:pt>
                <c:pt idx="2361">
                  <c:v>4.2108079186730797E-2</c:v>
                </c:pt>
                <c:pt idx="2362">
                  <c:v>4.2125914036026398E-2</c:v>
                </c:pt>
                <c:pt idx="2363">
                  <c:v>4.2143748885321901E-2</c:v>
                </c:pt>
                <c:pt idx="2364">
                  <c:v>4.2161583734617397E-2</c:v>
                </c:pt>
                <c:pt idx="2365">
                  <c:v>4.21794185839129E-2</c:v>
                </c:pt>
                <c:pt idx="2366">
                  <c:v>4.2197253433208397E-2</c:v>
                </c:pt>
                <c:pt idx="2367">
                  <c:v>4.2215088282503997E-2</c:v>
                </c:pt>
                <c:pt idx="2368">
                  <c:v>4.22329231317995E-2</c:v>
                </c:pt>
                <c:pt idx="2369">
                  <c:v>4.2250757981094997E-2</c:v>
                </c:pt>
                <c:pt idx="2370">
                  <c:v>4.22685928303905E-2</c:v>
                </c:pt>
                <c:pt idx="2371">
                  <c:v>4.2286427679686101E-2</c:v>
                </c:pt>
                <c:pt idx="2372">
                  <c:v>4.2304262528981597E-2</c:v>
                </c:pt>
                <c:pt idx="2373">
                  <c:v>4.23220973782771E-2</c:v>
                </c:pt>
                <c:pt idx="2374">
                  <c:v>4.2339932227572603E-2</c:v>
                </c:pt>
                <c:pt idx="2375">
                  <c:v>4.2357767076868197E-2</c:v>
                </c:pt>
                <c:pt idx="2376">
                  <c:v>4.23756019261637E-2</c:v>
                </c:pt>
                <c:pt idx="2377">
                  <c:v>4.2393436775459203E-2</c:v>
                </c:pt>
                <c:pt idx="2378">
                  <c:v>4.24112716247547E-2</c:v>
                </c:pt>
                <c:pt idx="2379">
                  <c:v>4.2429106474050203E-2</c:v>
                </c:pt>
                <c:pt idx="2380">
                  <c:v>4.2446941323345803E-2</c:v>
                </c:pt>
                <c:pt idx="2381">
                  <c:v>4.24647761726413E-2</c:v>
                </c:pt>
                <c:pt idx="2382">
                  <c:v>4.2482611021936803E-2</c:v>
                </c:pt>
                <c:pt idx="2383">
                  <c:v>4.2500445871232299E-2</c:v>
                </c:pt>
                <c:pt idx="2384">
                  <c:v>4.25182807205279E-2</c:v>
                </c:pt>
                <c:pt idx="2385">
                  <c:v>4.2536115569823403E-2</c:v>
                </c:pt>
                <c:pt idx="2386">
                  <c:v>4.2553950419118899E-2</c:v>
                </c:pt>
                <c:pt idx="2387">
                  <c:v>4.2571785268414403E-2</c:v>
                </c:pt>
                <c:pt idx="2388">
                  <c:v>4.2589620117710003E-2</c:v>
                </c:pt>
                <c:pt idx="2389">
                  <c:v>4.2607454967005499E-2</c:v>
                </c:pt>
                <c:pt idx="2390">
                  <c:v>4.2625289816301003E-2</c:v>
                </c:pt>
                <c:pt idx="2391">
                  <c:v>4.2643124665596499E-2</c:v>
                </c:pt>
                <c:pt idx="2392">
                  <c:v>4.2660959514892099E-2</c:v>
                </c:pt>
                <c:pt idx="2393">
                  <c:v>4.2678794364187603E-2</c:v>
                </c:pt>
                <c:pt idx="2394">
                  <c:v>4.2696629213483099E-2</c:v>
                </c:pt>
                <c:pt idx="2395">
                  <c:v>4.2714464062778602E-2</c:v>
                </c:pt>
                <c:pt idx="2396">
                  <c:v>4.2732298912074099E-2</c:v>
                </c:pt>
                <c:pt idx="2397">
                  <c:v>4.2750133761369699E-2</c:v>
                </c:pt>
                <c:pt idx="2398">
                  <c:v>4.2767968610665202E-2</c:v>
                </c:pt>
                <c:pt idx="2399">
                  <c:v>4.2785803459960699E-2</c:v>
                </c:pt>
                <c:pt idx="2400">
                  <c:v>4.2803638309256202E-2</c:v>
                </c:pt>
                <c:pt idx="2401">
                  <c:v>4.2821473158551802E-2</c:v>
                </c:pt>
                <c:pt idx="2402">
                  <c:v>4.2839308007847299E-2</c:v>
                </c:pt>
                <c:pt idx="2403">
                  <c:v>4.2857142857142802E-2</c:v>
                </c:pt>
                <c:pt idx="2404">
                  <c:v>4.2874977706438298E-2</c:v>
                </c:pt>
                <c:pt idx="2405">
                  <c:v>4.2892812555733899E-2</c:v>
                </c:pt>
                <c:pt idx="2406">
                  <c:v>4.2910647405029402E-2</c:v>
                </c:pt>
                <c:pt idx="2407">
                  <c:v>4.2928482254324898E-2</c:v>
                </c:pt>
                <c:pt idx="2408">
                  <c:v>4.2946317103620402E-2</c:v>
                </c:pt>
                <c:pt idx="2409">
                  <c:v>4.2964151952915898E-2</c:v>
                </c:pt>
                <c:pt idx="2410">
                  <c:v>4.2981986802211498E-2</c:v>
                </c:pt>
                <c:pt idx="2411">
                  <c:v>4.2999821651507002E-2</c:v>
                </c:pt>
                <c:pt idx="2412">
                  <c:v>4.3017656500802498E-2</c:v>
                </c:pt>
                <c:pt idx="2413">
                  <c:v>4.3035491350098001E-2</c:v>
                </c:pt>
                <c:pt idx="2414">
                  <c:v>4.3053326199393602E-2</c:v>
                </c:pt>
                <c:pt idx="2415">
                  <c:v>4.3071161048689098E-2</c:v>
                </c:pt>
                <c:pt idx="2416">
                  <c:v>4.3088995897984601E-2</c:v>
                </c:pt>
                <c:pt idx="2417">
                  <c:v>4.3106830747280098E-2</c:v>
                </c:pt>
                <c:pt idx="2418">
                  <c:v>4.3124665596575698E-2</c:v>
                </c:pt>
                <c:pt idx="2419">
                  <c:v>4.3142500445871201E-2</c:v>
                </c:pt>
                <c:pt idx="2420">
                  <c:v>4.3160335295166698E-2</c:v>
                </c:pt>
                <c:pt idx="2421">
                  <c:v>4.3178170144462201E-2</c:v>
                </c:pt>
                <c:pt idx="2422">
                  <c:v>4.3196004993757801E-2</c:v>
                </c:pt>
                <c:pt idx="2423">
                  <c:v>4.3213839843053298E-2</c:v>
                </c:pt>
                <c:pt idx="2424">
                  <c:v>4.3231674692348801E-2</c:v>
                </c:pt>
                <c:pt idx="2425">
                  <c:v>4.3249509541644297E-2</c:v>
                </c:pt>
                <c:pt idx="2426">
                  <c:v>4.3267344390939898E-2</c:v>
                </c:pt>
                <c:pt idx="2427">
                  <c:v>4.3285179240235401E-2</c:v>
                </c:pt>
                <c:pt idx="2428">
                  <c:v>4.3303014089530897E-2</c:v>
                </c:pt>
                <c:pt idx="2429">
                  <c:v>4.3320848938826401E-2</c:v>
                </c:pt>
                <c:pt idx="2430">
                  <c:v>4.3338683788121897E-2</c:v>
                </c:pt>
                <c:pt idx="2431">
                  <c:v>4.3356518637417497E-2</c:v>
                </c:pt>
                <c:pt idx="2432">
                  <c:v>4.3374353486713001E-2</c:v>
                </c:pt>
                <c:pt idx="2433">
                  <c:v>4.3392188336008497E-2</c:v>
                </c:pt>
                <c:pt idx="2434">
                  <c:v>4.3410023185304E-2</c:v>
                </c:pt>
                <c:pt idx="2435">
                  <c:v>4.3427858034599601E-2</c:v>
                </c:pt>
                <c:pt idx="2436">
                  <c:v>4.3445692883895097E-2</c:v>
                </c:pt>
                <c:pt idx="2437">
                  <c:v>4.34635277331906E-2</c:v>
                </c:pt>
                <c:pt idx="2438">
                  <c:v>4.3481362582486097E-2</c:v>
                </c:pt>
                <c:pt idx="2439">
                  <c:v>4.3499197431781697E-2</c:v>
                </c:pt>
                <c:pt idx="2440">
                  <c:v>4.35170322810772E-2</c:v>
                </c:pt>
                <c:pt idx="2441">
                  <c:v>4.3534867130372697E-2</c:v>
                </c:pt>
                <c:pt idx="2442">
                  <c:v>4.35527019796682E-2</c:v>
                </c:pt>
                <c:pt idx="2443">
                  <c:v>4.3570536828963703E-2</c:v>
                </c:pt>
                <c:pt idx="2444">
                  <c:v>4.3588371678259297E-2</c:v>
                </c:pt>
                <c:pt idx="2445">
                  <c:v>4.36062065275548E-2</c:v>
                </c:pt>
                <c:pt idx="2446">
                  <c:v>4.3624041376850303E-2</c:v>
                </c:pt>
                <c:pt idx="2447">
                  <c:v>4.36418762261458E-2</c:v>
                </c:pt>
                <c:pt idx="2448">
                  <c:v>4.36597110754414E-2</c:v>
                </c:pt>
                <c:pt idx="2449">
                  <c:v>4.3677545924736903E-2</c:v>
                </c:pt>
                <c:pt idx="2450">
                  <c:v>4.36953807740324E-2</c:v>
                </c:pt>
                <c:pt idx="2451">
                  <c:v>4.3713215623327903E-2</c:v>
                </c:pt>
                <c:pt idx="2452">
                  <c:v>4.3731050472623503E-2</c:v>
                </c:pt>
                <c:pt idx="2453">
                  <c:v>4.3748885321919E-2</c:v>
                </c:pt>
                <c:pt idx="2454">
                  <c:v>4.3766720171214503E-2</c:v>
                </c:pt>
                <c:pt idx="2455">
                  <c:v>4.3784555020509999E-2</c:v>
                </c:pt>
                <c:pt idx="2456">
                  <c:v>4.38023898698056E-2</c:v>
                </c:pt>
                <c:pt idx="2457">
                  <c:v>4.3820224719101103E-2</c:v>
                </c:pt>
                <c:pt idx="2458">
                  <c:v>4.3838059568396599E-2</c:v>
                </c:pt>
                <c:pt idx="2459">
                  <c:v>4.3855894417692103E-2</c:v>
                </c:pt>
                <c:pt idx="2460">
                  <c:v>4.3873729266987599E-2</c:v>
                </c:pt>
                <c:pt idx="2461">
                  <c:v>4.3891564116283199E-2</c:v>
                </c:pt>
                <c:pt idx="2462">
                  <c:v>4.3909398965578703E-2</c:v>
                </c:pt>
                <c:pt idx="2463">
                  <c:v>4.3927233814874199E-2</c:v>
                </c:pt>
                <c:pt idx="2464">
                  <c:v>4.3945068664169702E-2</c:v>
                </c:pt>
                <c:pt idx="2465">
                  <c:v>4.3962903513465303E-2</c:v>
                </c:pt>
                <c:pt idx="2466">
                  <c:v>4.3980738362760799E-2</c:v>
                </c:pt>
                <c:pt idx="2467">
                  <c:v>4.3998573212056302E-2</c:v>
                </c:pt>
                <c:pt idx="2468">
                  <c:v>4.4016408061351799E-2</c:v>
                </c:pt>
                <c:pt idx="2469">
                  <c:v>4.4034242910647399E-2</c:v>
                </c:pt>
                <c:pt idx="2470">
                  <c:v>4.4052077759942902E-2</c:v>
                </c:pt>
                <c:pt idx="2471">
                  <c:v>4.4069912609238399E-2</c:v>
                </c:pt>
                <c:pt idx="2472">
                  <c:v>4.4087747458533902E-2</c:v>
                </c:pt>
                <c:pt idx="2473">
                  <c:v>4.4105582307829502E-2</c:v>
                </c:pt>
                <c:pt idx="2474">
                  <c:v>4.4123417157124999E-2</c:v>
                </c:pt>
                <c:pt idx="2475">
                  <c:v>4.4141252006420502E-2</c:v>
                </c:pt>
                <c:pt idx="2476">
                  <c:v>4.4159086855715998E-2</c:v>
                </c:pt>
                <c:pt idx="2477">
                  <c:v>4.4176921705011502E-2</c:v>
                </c:pt>
                <c:pt idx="2478">
                  <c:v>4.4194756554307102E-2</c:v>
                </c:pt>
                <c:pt idx="2479">
                  <c:v>4.4212591403602598E-2</c:v>
                </c:pt>
                <c:pt idx="2480">
                  <c:v>4.4230426252898102E-2</c:v>
                </c:pt>
                <c:pt idx="2481">
                  <c:v>4.4248261102193598E-2</c:v>
                </c:pt>
                <c:pt idx="2482">
                  <c:v>4.4266095951489198E-2</c:v>
                </c:pt>
                <c:pt idx="2483">
                  <c:v>4.4283930800784702E-2</c:v>
                </c:pt>
                <c:pt idx="2484">
                  <c:v>4.4301765650080198E-2</c:v>
                </c:pt>
                <c:pt idx="2485">
                  <c:v>4.4319600499375701E-2</c:v>
                </c:pt>
                <c:pt idx="2486">
                  <c:v>4.4337435348671302E-2</c:v>
                </c:pt>
                <c:pt idx="2487">
                  <c:v>4.4355270197966798E-2</c:v>
                </c:pt>
                <c:pt idx="2488">
                  <c:v>4.4373105047262301E-2</c:v>
                </c:pt>
                <c:pt idx="2489">
                  <c:v>4.4390939896557798E-2</c:v>
                </c:pt>
                <c:pt idx="2490">
                  <c:v>4.4408774745853398E-2</c:v>
                </c:pt>
                <c:pt idx="2491">
                  <c:v>4.4426609595148901E-2</c:v>
                </c:pt>
                <c:pt idx="2492">
                  <c:v>4.4444444444444398E-2</c:v>
                </c:pt>
                <c:pt idx="2493">
                  <c:v>4.4462279293739901E-2</c:v>
                </c:pt>
                <c:pt idx="2494">
                  <c:v>4.4480114143035397E-2</c:v>
                </c:pt>
                <c:pt idx="2495">
                  <c:v>4.4497948992330998E-2</c:v>
                </c:pt>
                <c:pt idx="2496">
                  <c:v>4.4515783841626501E-2</c:v>
                </c:pt>
                <c:pt idx="2497">
                  <c:v>4.4533618690921997E-2</c:v>
                </c:pt>
                <c:pt idx="2498">
                  <c:v>4.45514535402175E-2</c:v>
                </c:pt>
                <c:pt idx="2499">
                  <c:v>4.4569288389513101E-2</c:v>
                </c:pt>
                <c:pt idx="2500">
                  <c:v>4.4587123238808597E-2</c:v>
                </c:pt>
                <c:pt idx="2501">
                  <c:v>4.4604958088104101E-2</c:v>
                </c:pt>
                <c:pt idx="2502">
                  <c:v>4.4622792937399597E-2</c:v>
                </c:pt>
                <c:pt idx="2503">
                  <c:v>4.4640627786695197E-2</c:v>
                </c:pt>
                <c:pt idx="2504">
                  <c:v>4.4658462635990701E-2</c:v>
                </c:pt>
                <c:pt idx="2505">
                  <c:v>4.4676297485286197E-2</c:v>
                </c:pt>
                <c:pt idx="2506">
                  <c:v>4.46941323345817E-2</c:v>
                </c:pt>
                <c:pt idx="2507">
                  <c:v>4.4711967183877203E-2</c:v>
                </c:pt>
                <c:pt idx="2508">
                  <c:v>4.4729802033172797E-2</c:v>
                </c:pt>
                <c:pt idx="2509">
                  <c:v>4.47476368824683E-2</c:v>
                </c:pt>
                <c:pt idx="2510">
                  <c:v>4.4765471731763803E-2</c:v>
                </c:pt>
                <c:pt idx="2511">
                  <c:v>4.47833065810593E-2</c:v>
                </c:pt>
                <c:pt idx="2512">
                  <c:v>4.48011414303549E-2</c:v>
                </c:pt>
                <c:pt idx="2513">
                  <c:v>4.4818976279650397E-2</c:v>
                </c:pt>
                <c:pt idx="2514">
                  <c:v>4.48368111289459E-2</c:v>
                </c:pt>
                <c:pt idx="2515">
                  <c:v>4.4854645978241403E-2</c:v>
                </c:pt>
                <c:pt idx="2516">
                  <c:v>4.4872480827536997E-2</c:v>
                </c:pt>
                <c:pt idx="2517">
                  <c:v>4.48903156768325E-2</c:v>
                </c:pt>
                <c:pt idx="2518">
                  <c:v>4.4908150526128003E-2</c:v>
                </c:pt>
                <c:pt idx="2519">
                  <c:v>4.4925985375423499E-2</c:v>
                </c:pt>
                <c:pt idx="2520">
                  <c:v>4.49438202247191E-2</c:v>
                </c:pt>
                <c:pt idx="2521">
                  <c:v>4.4961655074014603E-2</c:v>
                </c:pt>
                <c:pt idx="2522">
                  <c:v>4.4979489923310099E-2</c:v>
                </c:pt>
                <c:pt idx="2523">
                  <c:v>4.4997324772605603E-2</c:v>
                </c:pt>
                <c:pt idx="2524">
                  <c:v>4.5015159621901099E-2</c:v>
                </c:pt>
                <c:pt idx="2525">
                  <c:v>4.50329944711967E-2</c:v>
                </c:pt>
                <c:pt idx="2526">
                  <c:v>4.5050829320492203E-2</c:v>
                </c:pt>
                <c:pt idx="2527">
                  <c:v>4.5068664169787699E-2</c:v>
                </c:pt>
                <c:pt idx="2528">
                  <c:v>4.5086499019083202E-2</c:v>
                </c:pt>
                <c:pt idx="2529">
                  <c:v>4.5104333868378803E-2</c:v>
                </c:pt>
                <c:pt idx="2530">
                  <c:v>4.5122168717674299E-2</c:v>
                </c:pt>
                <c:pt idx="2531">
                  <c:v>4.5140003566969802E-2</c:v>
                </c:pt>
                <c:pt idx="2532">
                  <c:v>4.5157838416265299E-2</c:v>
                </c:pt>
                <c:pt idx="2533">
                  <c:v>4.5175673265560899E-2</c:v>
                </c:pt>
                <c:pt idx="2534">
                  <c:v>4.5193508114856402E-2</c:v>
                </c:pt>
                <c:pt idx="2535">
                  <c:v>4.5211342964151899E-2</c:v>
                </c:pt>
                <c:pt idx="2536">
                  <c:v>4.5229177813447402E-2</c:v>
                </c:pt>
                <c:pt idx="2537">
                  <c:v>4.5247012662743002E-2</c:v>
                </c:pt>
                <c:pt idx="2538">
                  <c:v>4.5264847512038499E-2</c:v>
                </c:pt>
                <c:pt idx="2539">
                  <c:v>4.5282682361334002E-2</c:v>
                </c:pt>
                <c:pt idx="2540">
                  <c:v>4.5300517210629498E-2</c:v>
                </c:pt>
                <c:pt idx="2541">
                  <c:v>4.5318352059925002E-2</c:v>
                </c:pt>
                <c:pt idx="2542">
                  <c:v>4.5336186909220602E-2</c:v>
                </c:pt>
                <c:pt idx="2543">
                  <c:v>4.5354021758516098E-2</c:v>
                </c:pt>
                <c:pt idx="2544">
                  <c:v>4.5371856607811602E-2</c:v>
                </c:pt>
                <c:pt idx="2545">
                  <c:v>4.5389691457107098E-2</c:v>
                </c:pt>
                <c:pt idx="2546">
                  <c:v>4.5407526306402698E-2</c:v>
                </c:pt>
                <c:pt idx="2547">
                  <c:v>4.5425361155698202E-2</c:v>
                </c:pt>
                <c:pt idx="2548">
                  <c:v>4.5443196004993698E-2</c:v>
                </c:pt>
                <c:pt idx="2549">
                  <c:v>4.5461030854289201E-2</c:v>
                </c:pt>
                <c:pt idx="2550">
                  <c:v>4.5478865703584802E-2</c:v>
                </c:pt>
                <c:pt idx="2551">
                  <c:v>4.5496700552880298E-2</c:v>
                </c:pt>
                <c:pt idx="2552">
                  <c:v>4.5514535402175801E-2</c:v>
                </c:pt>
                <c:pt idx="2553">
                  <c:v>4.5532370251471298E-2</c:v>
                </c:pt>
                <c:pt idx="2554">
                  <c:v>4.5550205100766898E-2</c:v>
                </c:pt>
                <c:pt idx="2555">
                  <c:v>4.5568039950062401E-2</c:v>
                </c:pt>
                <c:pt idx="2556">
                  <c:v>4.5585874799357898E-2</c:v>
                </c:pt>
                <c:pt idx="2557">
                  <c:v>4.5603709648653401E-2</c:v>
                </c:pt>
                <c:pt idx="2558">
                  <c:v>4.5621544497948897E-2</c:v>
                </c:pt>
                <c:pt idx="2559">
                  <c:v>4.5639379347244498E-2</c:v>
                </c:pt>
                <c:pt idx="2560">
                  <c:v>4.5657214196540001E-2</c:v>
                </c:pt>
                <c:pt idx="2561">
                  <c:v>4.5675049045835497E-2</c:v>
                </c:pt>
                <c:pt idx="2562">
                  <c:v>4.5692883895131001E-2</c:v>
                </c:pt>
                <c:pt idx="2563">
                  <c:v>4.5710718744426601E-2</c:v>
                </c:pt>
                <c:pt idx="2564">
                  <c:v>4.5728553593722097E-2</c:v>
                </c:pt>
                <c:pt idx="2565">
                  <c:v>4.5746388443017601E-2</c:v>
                </c:pt>
                <c:pt idx="2566">
                  <c:v>4.5764223292313097E-2</c:v>
                </c:pt>
                <c:pt idx="2567">
                  <c:v>4.5782058141608697E-2</c:v>
                </c:pt>
                <c:pt idx="2568">
                  <c:v>4.5799892990904201E-2</c:v>
                </c:pt>
                <c:pt idx="2569">
                  <c:v>4.5817727840199697E-2</c:v>
                </c:pt>
                <c:pt idx="2570">
                  <c:v>4.58355626894952E-2</c:v>
                </c:pt>
                <c:pt idx="2571">
                  <c:v>4.5853397538790697E-2</c:v>
                </c:pt>
                <c:pt idx="2572">
                  <c:v>4.5871232388086297E-2</c:v>
                </c:pt>
                <c:pt idx="2573">
                  <c:v>4.58890672373818E-2</c:v>
                </c:pt>
                <c:pt idx="2574">
                  <c:v>4.5906902086677297E-2</c:v>
                </c:pt>
                <c:pt idx="2575">
                  <c:v>4.59247369359728E-2</c:v>
                </c:pt>
                <c:pt idx="2576">
                  <c:v>4.59425717852684E-2</c:v>
                </c:pt>
                <c:pt idx="2577">
                  <c:v>4.5960406634563897E-2</c:v>
                </c:pt>
                <c:pt idx="2578">
                  <c:v>4.59782414838594E-2</c:v>
                </c:pt>
                <c:pt idx="2579">
                  <c:v>4.5996076333154903E-2</c:v>
                </c:pt>
                <c:pt idx="2580">
                  <c:v>4.6013911182450497E-2</c:v>
                </c:pt>
                <c:pt idx="2581">
                  <c:v>4.6031746031746E-2</c:v>
                </c:pt>
                <c:pt idx="2582">
                  <c:v>4.6049580881041503E-2</c:v>
                </c:pt>
                <c:pt idx="2583">
                  <c:v>4.6067415730337E-2</c:v>
                </c:pt>
                <c:pt idx="2584">
                  <c:v>4.60852505796326E-2</c:v>
                </c:pt>
                <c:pt idx="2585">
                  <c:v>4.6103085428928103E-2</c:v>
                </c:pt>
                <c:pt idx="2586">
                  <c:v>4.61209202782236E-2</c:v>
                </c:pt>
                <c:pt idx="2587">
                  <c:v>4.6138755127519103E-2</c:v>
                </c:pt>
                <c:pt idx="2588">
                  <c:v>4.6156589976814599E-2</c:v>
                </c:pt>
                <c:pt idx="2589">
                  <c:v>4.61744248261102E-2</c:v>
                </c:pt>
                <c:pt idx="2590">
                  <c:v>4.6192259675405703E-2</c:v>
                </c:pt>
                <c:pt idx="2591">
                  <c:v>4.6210094524701199E-2</c:v>
                </c:pt>
                <c:pt idx="2592">
                  <c:v>4.6227929373996703E-2</c:v>
                </c:pt>
                <c:pt idx="2593">
                  <c:v>4.6245764223292303E-2</c:v>
                </c:pt>
                <c:pt idx="2594">
                  <c:v>4.6263599072587799E-2</c:v>
                </c:pt>
                <c:pt idx="2595">
                  <c:v>4.6281433921883303E-2</c:v>
                </c:pt>
                <c:pt idx="2596">
                  <c:v>4.6299268771178799E-2</c:v>
                </c:pt>
                <c:pt idx="2597">
                  <c:v>4.6317103620474399E-2</c:v>
                </c:pt>
                <c:pt idx="2598">
                  <c:v>4.6334938469769903E-2</c:v>
                </c:pt>
                <c:pt idx="2599">
                  <c:v>4.6352773319065399E-2</c:v>
                </c:pt>
                <c:pt idx="2600">
                  <c:v>4.6370608168360902E-2</c:v>
                </c:pt>
                <c:pt idx="2601">
                  <c:v>4.6388443017656503E-2</c:v>
                </c:pt>
                <c:pt idx="2602">
                  <c:v>4.6406277866951999E-2</c:v>
                </c:pt>
                <c:pt idx="2603">
                  <c:v>4.6424112716247502E-2</c:v>
                </c:pt>
                <c:pt idx="2604">
                  <c:v>4.6441947565542999E-2</c:v>
                </c:pt>
                <c:pt idx="2605">
                  <c:v>4.6459782414838502E-2</c:v>
                </c:pt>
                <c:pt idx="2606">
                  <c:v>4.6477617264134102E-2</c:v>
                </c:pt>
                <c:pt idx="2607">
                  <c:v>4.6495452113429599E-2</c:v>
                </c:pt>
                <c:pt idx="2608">
                  <c:v>4.6513286962725102E-2</c:v>
                </c:pt>
                <c:pt idx="2609">
                  <c:v>4.6531121812020598E-2</c:v>
                </c:pt>
                <c:pt idx="2610">
                  <c:v>4.6548956661316199E-2</c:v>
                </c:pt>
                <c:pt idx="2611">
                  <c:v>4.6566791510611702E-2</c:v>
                </c:pt>
                <c:pt idx="2612">
                  <c:v>4.6584626359907198E-2</c:v>
                </c:pt>
                <c:pt idx="2613">
                  <c:v>4.6602461209202702E-2</c:v>
                </c:pt>
                <c:pt idx="2614">
                  <c:v>4.6620296058498302E-2</c:v>
                </c:pt>
                <c:pt idx="2615">
                  <c:v>4.6638130907793798E-2</c:v>
                </c:pt>
                <c:pt idx="2616">
                  <c:v>4.6655965757089302E-2</c:v>
                </c:pt>
                <c:pt idx="2617">
                  <c:v>4.6673800606384798E-2</c:v>
                </c:pt>
                <c:pt idx="2618">
                  <c:v>4.6691635455680398E-2</c:v>
                </c:pt>
                <c:pt idx="2619">
                  <c:v>4.6709470304975902E-2</c:v>
                </c:pt>
                <c:pt idx="2620">
                  <c:v>4.6727305154271398E-2</c:v>
                </c:pt>
                <c:pt idx="2621">
                  <c:v>4.6745140003566901E-2</c:v>
                </c:pt>
                <c:pt idx="2622">
                  <c:v>4.6762974852862398E-2</c:v>
                </c:pt>
                <c:pt idx="2623">
                  <c:v>4.6780809702157998E-2</c:v>
                </c:pt>
                <c:pt idx="2624">
                  <c:v>4.6798644551453501E-2</c:v>
                </c:pt>
                <c:pt idx="2625">
                  <c:v>4.6816479400748998E-2</c:v>
                </c:pt>
                <c:pt idx="2626">
                  <c:v>4.6834314250044501E-2</c:v>
                </c:pt>
                <c:pt idx="2627">
                  <c:v>4.6852149099340101E-2</c:v>
                </c:pt>
                <c:pt idx="2628">
                  <c:v>4.6869983948635598E-2</c:v>
                </c:pt>
                <c:pt idx="2629">
                  <c:v>4.6887818797931101E-2</c:v>
                </c:pt>
                <c:pt idx="2630">
                  <c:v>4.6905653647226597E-2</c:v>
                </c:pt>
                <c:pt idx="2631">
                  <c:v>4.6923488496522198E-2</c:v>
                </c:pt>
                <c:pt idx="2632">
                  <c:v>4.6941323345817701E-2</c:v>
                </c:pt>
                <c:pt idx="2633">
                  <c:v>4.6959158195113197E-2</c:v>
                </c:pt>
                <c:pt idx="2634">
                  <c:v>4.6976993044408701E-2</c:v>
                </c:pt>
                <c:pt idx="2635">
                  <c:v>4.6994827893704301E-2</c:v>
                </c:pt>
                <c:pt idx="2636">
                  <c:v>4.7012662742999797E-2</c:v>
                </c:pt>
                <c:pt idx="2637">
                  <c:v>4.7030497592295301E-2</c:v>
                </c:pt>
                <c:pt idx="2638">
                  <c:v>4.7048332441590797E-2</c:v>
                </c:pt>
                <c:pt idx="2639">
                  <c:v>4.70661672908863E-2</c:v>
                </c:pt>
                <c:pt idx="2640">
                  <c:v>4.7084002140181901E-2</c:v>
                </c:pt>
                <c:pt idx="2641">
                  <c:v>4.7101836989477397E-2</c:v>
                </c:pt>
                <c:pt idx="2642">
                  <c:v>4.71196718387729E-2</c:v>
                </c:pt>
                <c:pt idx="2643">
                  <c:v>4.7137506688068397E-2</c:v>
                </c:pt>
                <c:pt idx="2644">
                  <c:v>4.7155341537363997E-2</c:v>
                </c:pt>
                <c:pt idx="2645">
                  <c:v>4.71731763866595E-2</c:v>
                </c:pt>
                <c:pt idx="2646">
                  <c:v>4.7191011235954997E-2</c:v>
                </c:pt>
                <c:pt idx="2647">
                  <c:v>4.72088460852505E-2</c:v>
                </c:pt>
                <c:pt idx="2648">
                  <c:v>4.72266809345461E-2</c:v>
                </c:pt>
                <c:pt idx="2649">
                  <c:v>4.7244515783841597E-2</c:v>
                </c:pt>
                <c:pt idx="2650">
                  <c:v>4.72623506331371E-2</c:v>
                </c:pt>
                <c:pt idx="2651">
                  <c:v>4.7280185482432603E-2</c:v>
                </c:pt>
                <c:pt idx="2652">
                  <c:v>4.7298020331728197E-2</c:v>
                </c:pt>
                <c:pt idx="2653">
                  <c:v>4.73158551810237E-2</c:v>
                </c:pt>
                <c:pt idx="2654">
                  <c:v>4.7333690030319203E-2</c:v>
                </c:pt>
                <c:pt idx="2655">
                  <c:v>4.73515248796147E-2</c:v>
                </c:pt>
                <c:pt idx="2656">
                  <c:v>4.7369359728910203E-2</c:v>
                </c:pt>
                <c:pt idx="2657">
                  <c:v>4.7387194578205803E-2</c:v>
                </c:pt>
                <c:pt idx="2658">
                  <c:v>4.74050294275013E-2</c:v>
                </c:pt>
                <c:pt idx="2659">
                  <c:v>4.7422864276796803E-2</c:v>
                </c:pt>
                <c:pt idx="2660">
                  <c:v>4.7440699126092299E-2</c:v>
                </c:pt>
                <c:pt idx="2661">
                  <c:v>4.74585339753879E-2</c:v>
                </c:pt>
                <c:pt idx="2662">
                  <c:v>4.7476368824683403E-2</c:v>
                </c:pt>
                <c:pt idx="2663">
                  <c:v>4.7494203673978899E-2</c:v>
                </c:pt>
                <c:pt idx="2664">
                  <c:v>4.7512038523274402E-2</c:v>
                </c:pt>
                <c:pt idx="2665">
                  <c:v>4.7529873372570003E-2</c:v>
                </c:pt>
                <c:pt idx="2666">
                  <c:v>4.7547708221865499E-2</c:v>
                </c:pt>
                <c:pt idx="2667">
                  <c:v>4.7565543071161002E-2</c:v>
                </c:pt>
                <c:pt idx="2668">
                  <c:v>4.7583377920456499E-2</c:v>
                </c:pt>
                <c:pt idx="2669">
                  <c:v>4.7601212769752002E-2</c:v>
                </c:pt>
                <c:pt idx="2670">
                  <c:v>4.7619047619047603E-2</c:v>
                </c:pt>
                <c:pt idx="2671">
                  <c:v>4.7636882468343099E-2</c:v>
                </c:pt>
                <c:pt idx="2672">
                  <c:v>4.7654717317638602E-2</c:v>
                </c:pt>
                <c:pt idx="2673">
                  <c:v>4.7672552166934098E-2</c:v>
                </c:pt>
                <c:pt idx="2674">
                  <c:v>4.7690387016229699E-2</c:v>
                </c:pt>
                <c:pt idx="2675">
                  <c:v>4.7708221865525202E-2</c:v>
                </c:pt>
                <c:pt idx="2676">
                  <c:v>4.7726056714820699E-2</c:v>
                </c:pt>
                <c:pt idx="2677">
                  <c:v>4.7743891564116202E-2</c:v>
                </c:pt>
                <c:pt idx="2678">
                  <c:v>4.7761726413411802E-2</c:v>
                </c:pt>
                <c:pt idx="2679">
                  <c:v>4.7779561262707299E-2</c:v>
                </c:pt>
                <c:pt idx="2680">
                  <c:v>4.7797396112002802E-2</c:v>
                </c:pt>
                <c:pt idx="2681">
                  <c:v>4.7815230961298298E-2</c:v>
                </c:pt>
                <c:pt idx="2682">
                  <c:v>4.7833065810593899E-2</c:v>
                </c:pt>
                <c:pt idx="2683">
                  <c:v>4.7850900659889402E-2</c:v>
                </c:pt>
                <c:pt idx="2684">
                  <c:v>4.7868735509184898E-2</c:v>
                </c:pt>
                <c:pt idx="2685">
                  <c:v>4.7886570358480401E-2</c:v>
                </c:pt>
                <c:pt idx="2686">
                  <c:v>4.7904405207775898E-2</c:v>
                </c:pt>
                <c:pt idx="2687">
                  <c:v>4.7922240057071498E-2</c:v>
                </c:pt>
                <c:pt idx="2688">
                  <c:v>4.7940074906367001E-2</c:v>
                </c:pt>
                <c:pt idx="2689">
                  <c:v>4.7957909755662498E-2</c:v>
                </c:pt>
                <c:pt idx="2690">
                  <c:v>4.7975744604958001E-2</c:v>
                </c:pt>
                <c:pt idx="2691">
                  <c:v>4.7993579454253602E-2</c:v>
                </c:pt>
                <c:pt idx="2692">
                  <c:v>4.8011414303549098E-2</c:v>
                </c:pt>
                <c:pt idx="2693">
                  <c:v>4.8029249152844601E-2</c:v>
                </c:pt>
                <c:pt idx="2694">
                  <c:v>4.8047084002140097E-2</c:v>
                </c:pt>
                <c:pt idx="2695">
                  <c:v>4.8064918851435698E-2</c:v>
                </c:pt>
                <c:pt idx="2696">
                  <c:v>4.8082753700731201E-2</c:v>
                </c:pt>
                <c:pt idx="2697">
                  <c:v>4.8100588550026697E-2</c:v>
                </c:pt>
                <c:pt idx="2698">
                  <c:v>4.8118423399322201E-2</c:v>
                </c:pt>
                <c:pt idx="2699">
                  <c:v>4.8136258248617801E-2</c:v>
                </c:pt>
                <c:pt idx="2700">
                  <c:v>4.8154093097913298E-2</c:v>
                </c:pt>
                <c:pt idx="2701">
                  <c:v>4.8171927947208801E-2</c:v>
                </c:pt>
                <c:pt idx="2702">
                  <c:v>4.8189762796504297E-2</c:v>
                </c:pt>
                <c:pt idx="2703">
                  <c:v>4.82075976457998E-2</c:v>
                </c:pt>
                <c:pt idx="2704">
                  <c:v>4.8225432495095401E-2</c:v>
                </c:pt>
                <c:pt idx="2705">
                  <c:v>4.8243267344390897E-2</c:v>
                </c:pt>
                <c:pt idx="2706">
                  <c:v>4.82611021936864E-2</c:v>
                </c:pt>
                <c:pt idx="2707">
                  <c:v>4.8278937042981897E-2</c:v>
                </c:pt>
                <c:pt idx="2708">
                  <c:v>4.8296771892277497E-2</c:v>
                </c:pt>
                <c:pt idx="2709">
                  <c:v>4.8314606741573E-2</c:v>
                </c:pt>
                <c:pt idx="2710">
                  <c:v>4.8332441590868497E-2</c:v>
                </c:pt>
                <c:pt idx="2711">
                  <c:v>4.8350276440164E-2</c:v>
                </c:pt>
                <c:pt idx="2712">
                  <c:v>4.83681112894596E-2</c:v>
                </c:pt>
                <c:pt idx="2713">
                  <c:v>4.8385946138755097E-2</c:v>
                </c:pt>
                <c:pt idx="2714">
                  <c:v>4.84037809880506E-2</c:v>
                </c:pt>
                <c:pt idx="2715">
                  <c:v>4.8421615837346103E-2</c:v>
                </c:pt>
                <c:pt idx="2716">
                  <c:v>4.8439450686641697E-2</c:v>
                </c:pt>
                <c:pt idx="2717">
                  <c:v>4.84572855359372E-2</c:v>
                </c:pt>
                <c:pt idx="2718">
                  <c:v>4.8475120385232703E-2</c:v>
                </c:pt>
                <c:pt idx="2719">
                  <c:v>4.84929552345282E-2</c:v>
                </c:pt>
                <c:pt idx="2720">
                  <c:v>4.8510790083823703E-2</c:v>
                </c:pt>
                <c:pt idx="2721">
                  <c:v>4.8528624933119303E-2</c:v>
                </c:pt>
                <c:pt idx="2722">
                  <c:v>4.85464597824148E-2</c:v>
                </c:pt>
                <c:pt idx="2723">
                  <c:v>4.8564294631710303E-2</c:v>
                </c:pt>
                <c:pt idx="2724">
                  <c:v>4.8582129481005799E-2</c:v>
                </c:pt>
                <c:pt idx="2725">
                  <c:v>4.85999643303014E-2</c:v>
                </c:pt>
                <c:pt idx="2726">
                  <c:v>4.8617799179596903E-2</c:v>
                </c:pt>
                <c:pt idx="2727">
                  <c:v>4.8635634028892399E-2</c:v>
                </c:pt>
                <c:pt idx="2728">
                  <c:v>4.8653468878187903E-2</c:v>
                </c:pt>
                <c:pt idx="2729">
                  <c:v>4.8671303727483503E-2</c:v>
                </c:pt>
                <c:pt idx="2730">
                  <c:v>4.8689138576778999E-2</c:v>
                </c:pt>
                <c:pt idx="2731">
                  <c:v>4.8706973426074503E-2</c:v>
                </c:pt>
                <c:pt idx="2732">
                  <c:v>4.8724808275369999E-2</c:v>
                </c:pt>
                <c:pt idx="2733">
                  <c:v>4.8742643124665599E-2</c:v>
                </c:pt>
                <c:pt idx="2734">
                  <c:v>4.8760477973961103E-2</c:v>
                </c:pt>
                <c:pt idx="2735">
                  <c:v>4.8778312823256599E-2</c:v>
                </c:pt>
                <c:pt idx="2736">
                  <c:v>4.8796147672552102E-2</c:v>
                </c:pt>
                <c:pt idx="2737">
                  <c:v>4.8813982521847599E-2</c:v>
                </c:pt>
                <c:pt idx="2738">
                  <c:v>4.8831817371143199E-2</c:v>
                </c:pt>
                <c:pt idx="2739">
                  <c:v>4.8849652220438702E-2</c:v>
                </c:pt>
                <c:pt idx="2740">
                  <c:v>4.8867487069734199E-2</c:v>
                </c:pt>
                <c:pt idx="2741">
                  <c:v>4.8885321919029702E-2</c:v>
                </c:pt>
                <c:pt idx="2742">
                  <c:v>4.8903156768325302E-2</c:v>
                </c:pt>
                <c:pt idx="2743">
                  <c:v>4.8920991617620799E-2</c:v>
                </c:pt>
                <c:pt idx="2744">
                  <c:v>4.8938826466916302E-2</c:v>
                </c:pt>
                <c:pt idx="2745">
                  <c:v>4.8956661316211798E-2</c:v>
                </c:pt>
                <c:pt idx="2746">
                  <c:v>4.8974496165507399E-2</c:v>
                </c:pt>
                <c:pt idx="2747">
                  <c:v>4.8992331014802902E-2</c:v>
                </c:pt>
                <c:pt idx="2748">
                  <c:v>4.9010165864098398E-2</c:v>
                </c:pt>
                <c:pt idx="2749">
                  <c:v>4.9028000713393902E-2</c:v>
                </c:pt>
                <c:pt idx="2750">
                  <c:v>4.9045835562689398E-2</c:v>
                </c:pt>
                <c:pt idx="2751">
                  <c:v>4.9063670411984998E-2</c:v>
                </c:pt>
                <c:pt idx="2752">
                  <c:v>4.9081505261280502E-2</c:v>
                </c:pt>
                <c:pt idx="2753">
                  <c:v>4.9099340110575998E-2</c:v>
                </c:pt>
                <c:pt idx="2754">
                  <c:v>4.9117174959871501E-2</c:v>
                </c:pt>
                <c:pt idx="2755">
                  <c:v>4.9135009809167102E-2</c:v>
                </c:pt>
                <c:pt idx="2756">
                  <c:v>4.9152844658462598E-2</c:v>
                </c:pt>
                <c:pt idx="2757">
                  <c:v>4.9170679507758101E-2</c:v>
                </c:pt>
                <c:pt idx="2758">
                  <c:v>4.9188514357053598E-2</c:v>
                </c:pt>
                <c:pt idx="2759">
                  <c:v>4.9206349206349198E-2</c:v>
                </c:pt>
                <c:pt idx="2760">
                  <c:v>4.9224184055644701E-2</c:v>
                </c:pt>
                <c:pt idx="2761">
                  <c:v>4.9242018904940198E-2</c:v>
                </c:pt>
                <c:pt idx="2762">
                  <c:v>4.9259853754235701E-2</c:v>
                </c:pt>
                <c:pt idx="2763">
                  <c:v>4.9277688603531301E-2</c:v>
                </c:pt>
                <c:pt idx="2764">
                  <c:v>4.9295523452826798E-2</c:v>
                </c:pt>
                <c:pt idx="2765">
                  <c:v>4.9313358302122301E-2</c:v>
                </c:pt>
                <c:pt idx="2766">
                  <c:v>4.9331193151417797E-2</c:v>
                </c:pt>
                <c:pt idx="2767">
                  <c:v>4.9349028000713301E-2</c:v>
                </c:pt>
                <c:pt idx="2768">
                  <c:v>4.9366862850008901E-2</c:v>
                </c:pt>
                <c:pt idx="2769">
                  <c:v>4.9384697699304397E-2</c:v>
                </c:pt>
                <c:pt idx="2770">
                  <c:v>4.9402532548599901E-2</c:v>
                </c:pt>
                <c:pt idx="2771">
                  <c:v>4.9420367397895397E-2</c:v>
                </c:pt>
                <c:pt idx="2772">
                  <c:v>4.9438202247190997E-2</c:v>
                </c:pt>
                <c:pt idx="2773">
                  <c:v>4.9456037096486501E-2</c:v>
                </c:pt>
                <c:pt idx="2774">
                  <c:v>4.9473871945781997E-2</c:v>
                </c:pt>
                <c:pt idx="2775">
                  <c:v>4.94917067950775E-2</c:v>
                </c:pt>
                <c:pt idx="2776">
                  <c:v>4.9509541644373101E-2</c:v>
                </c:pt>
                <c:pt idx="2777">
                  <c:v>4.9527376493668597E-2</c:v>
                </c:pt>
                <c:pt idx="2778">
                  <c:v>4.95452113429641E-2</c:v>
                </c:pt>
                <c:pt idx="2779">
                  <c:v>4.9563046192259597E-2</c:v>
                </c:pt>
                <c:pt idx="2780">
                  <c:v>4.9580881041555197E-2</c:v>
                </c:pt>
                <c:pt idx="2781">
                  <c:v>4.95987158908507E-2</c:v>
                </c:pt>
                <c:pt idx="2782">
                  <c:v>4.9616550740146197E-2</c:v>
                </c:pt>
                <c:pt idx="2783">
                  <c:v>4.96343855894417E-2</c:v>
                </c:pt>
                <c:pt idx="2784">
                  <c:v>4.9652220438737203E-2</c:v>
                </c:pt>
                <c:pt idx="2785">
                  <c:v>4.9670055288032797E-2</c:v>
                </c:pt>
                <c:pt idx="2786">
                  <c:v>4.96878901373283E-2</c:v>
                </c:pt>
                <c:pt idx="2787">
                  <c:v>4.9705724986623803E-2</c:v>
                </c:pt>
                <c:pt idx="2788">
                  <c:v>4.97235598359193E-2</c:v>
                </c:pt>
                <c:pt idx="2789">
                  <c:v>4.97413946852149E-2</c:v>
                </c:pt>
                <c:pt idx="2790">
                  <c:v>4.9759229534510403E-2</c:v>
                </c:pt>
                <c:pt idx="2791">
                  <c:v>4.97770643838059E-2</c:v>
                </c:pt>
                <c:pt idx="2792">
                  <c:v>4.9794899233101403E-2</c:v>
                </c:pt>
                <c:pt idx="2793">
                  <c:v>4.9812734082397003E-2</c:v>
                </c:pt>
                <c:pt idx="2794">
                  <c:v>4.98305689316925E-2</c:v>
                </c:pt>
                <c:pt idx="2795">
                  <c:v>4.9848403780988003E-2</c:v>
                </c:pt>
                <c:pt idx="2796">
                  <c:v>4.9866238630283499E-2</c:v>
                </c:pt>
                <c:pt idx="2797">
                  <c:v>4.98840734795791E-2</c:v>
                </c:pt>
                <c:pt idx="2798">
                  <c:v>4.9901908328874603E-2</c:v>
                </c:pt>
                <c:pt idx="2799">
                  <c:v>4.9919743178170099E-2</c:v>
                </c:pt>
                <c:pt idx="2800">
                  <c:v>4.9937578027465603E-2</c:v>
                </c:pt>
                <c:pt idx="2801">
                  <c:v>4.9955412876761099E-2</c:v>
                </c:pt>
                <c:pt idx="2802">
                  <c:v>4.9973247726056699E-2</c:v>
                </c:pt>
                <c:pt idx="2803">
                  <c:v>4.9991082575352203E-2</c:v>
                </c:pt>
                <c:pt idx="2804">
                  <c:v>5.0008917424647699E-2</c:v>
                </c:pt>
                <c:pt idx="2805">
                  <c:v>5.0026752273943202E-2</c:v>
                </c:pt>
                <c:pt idx="2806">
                  <c:v>5.0044587123238803E-2</c:v>
                </c:pt>
                <c:pt idx="2807">
                  <c:v>5.0062421972534299E-2</c:v>
                </c:pt>
                <c:pt idx="2808">
                  <c:v>5.0080256821829802E-2</c:v>
                </c:pt>
                <c:pt idx="2809">
                  <c:v>5.0098091671125299E-2</c:v>
                </c:pt>
                <c:pt idx="2810">
                  <c:v>5.0115926520420899E-2</c:v>
                </c:pt>
                <c:pt idx="2811">
                  <c:v>5.0133761369716402E-2</c:v>
                </c:pt>
                <c:pt idx="2812">
                  <c:v>5.0151596219011899E-2</c:v>
                </c:pt>
                <c:pt idx="2813">
                  <c:v>5.0169431068307402E-2</c:v>
                </c:pt>
                <c:pt idx="2814">
                  <c:v>5.0187265917602898E-2</c:v>
                </c:pt>
                <c:pt idx="2815">
                  <c:v>5.0205100766898499E-2</c:v>
                </c:pt>
                <c:pt idx="2816">
                  <c:v>5.0222935616194002E-2</c:v>
                </c:pt>
                <c:pt idx="2817">
                  <c:v>5.0240770465489498E-2</c:v>
                </c:pt>
                <c:pt idx="2818">
                  <c:v>5.0258605314785001E-2</c:v>
                </c:pt>
                <c:pt idx="2819">
                  <c:v>5.0276440164080602E-2</c:v>
                </c:pt>
                <c:pt idx="2820">
                  <c:v>5.0294275013376098E-2</c:v>
                </c:pt>
                <c:pt idx="2821">
                  <c:v>5.0312109862671602E-2</c:v>
                </c:pt>
                <c:pt idx="2822">
                  <c:v>5.0329944711967098E-2</c:v>
                </c:pt>
                <c:pt idx="2823">
                  <c:v>5.0347779561262698E-2</c:v>
                </c:pt>
                <c:pt idx="2824">
                  <c:v>5.0365614410558202E-2</c:v>
                </c:pt>
                <c:pt idx="2825">
                  <c:v>5.0383449259853698E-2</c:v>
                </c:pt>
                <c:pt idx="2826">
                  <c:v>5.0401284109149201E-2</c:v>
                </c:pt>
                <c:pt idx="2827">
                  <c:v>5.0419118958444802E-2</c:v>
                </c:pt>
                <c:pt idx="2828">
                  <c:v>5.0436953807740298E-2</c:v>
                </c:pt>
                <c:pt idx="2829">
                  <c:v>5.0454788657035801E-2</c:v>
                </c:pt>
                <c:pt idx="2830">
                  <c:v>5.0472623506331298E-2</c:v>
                </c:pt>
                <c:pt idx="2831">
                  <c:v>5.0490458355626898E-2</c:v>
                </c:pt>
                <c:pt idx="2832">
                  <c:v>5.0508293204922401E-2</c:v>
                </c:pt>
                <c:pt idx="2833">
                  <c:v>5.0526128054217898E-2</c:v>
                </c:pt>
                <c:pt idx="2834">
                  <c:v>5.0543962903513401E-2</c:v>
                </c:pt>
                <c:pt idx="2835">
                  <c:v>5.0561797752808897E-2</c:v>
                </c:pt>
                <c:pt idx="2836">
                  <c:v>5.0579632602104498E-2</c:v>
                </c:pt>
                <c:pt idx="2837">
                  <c:v>5.0597467451400001E-2</c:v>
                </c:pt>
                <c:pt idx="2838">
                  <c:v>5.0615302300695497E-2</c:v>
                </c:pt>
                <c:pt idx="2839">
                  <c:v>5.0633137149991E-2</c:v>
                </c:pt>
                <c:pt idx="2840">
                  <c:v>5.0650971999286601E-2</c:v>
                </c:pt>
                <c:pt idx="2841">
                  <c:v>5.0668806848582097E-2</c:v>
                </c:pt>
                <c:pt idx="2842">
                  <c:v>5.06866416978776E-2</c:v>
                </c:pt>
                <c:pt idx="2843">
                  <c:v>5.0704476547173097E-2</c:v>
                </c:pt>
                <c:pt idx="2844">
                  <c:v>5.0722311396468697E-2</c:v>
                </c:pt>
                <c:pt idx="2845">
                  <c:v>5.0740146245764201E-2</c:v>
                </c:pt>
                <c:pt idx="2846">
                  <c:v>5.0757981095059697E-2</c:v>
                </c:pt>
                <c:pt idx="2847">
                  <c:v>5.07758159443552E-2</c:v>
                </c:pt>
                <c:pt idx="2848">
                  <c:v>5.0793650793650703E-2</c:v>
                </c:pt>
                <c:pt idx="2849">
                  <c:v>5.0811485642946297E-2</c:v>
                </c:pt>
                <c:pt idx="2850">
                  <c:v>5.08293204922418E-2</c:v>
                </c:pt>
                <c:pt idx="2851">
                  <c:v>5.0847155341537303E-2</c:v>
                </c:pt>
                <c:pt idx="2852">
                  <c:v>5.08649901908328E-2</c:v>
                </c:pt>
                <c:pt idx="2853">
                  <c:v>5.08828250401284E-2</c:v>
                </c:pt>
                <c:pt idx="2854">
                  <c:v>5.0900659889423903E-2</c:v>
                </c:pt>
                <c:pt idx="2855">
                  <c:v>5.09184947387194E-2</c:v>
                </c:pt>
                <c:pt idx="2856">
                  <c:v>5.0936329588014903E-2</c:v>
                </c:pt>
                <c:pt idx="2857">
                  <c:v>5.0954164437310497E-2</c:v>
                </c:pt>
                <c:pt idx="2858">
                  <c:v>5.0971999286606E-2</c:v>
                </c:pt>
                <c:pt idx="2859">
                  <c:v>5.0989834135901503E-2</c:v>
                </c:pt>
                <c:pt idx="2860">
                  <c:v>5.1007668985196999E-2</c:v>
                </c:pt>
                <c:pt idx="2861">
                  <c:v>5.10255038344926E-2</c:v>
                </c:pt>
                <c:pt idx="2862">
                  <c:v>5.1043338683788103E-2</c:v>
                </c:pt>
                <c:pt idx="2863">
                  <c:v>5.1061173533083599E-2</c:v>
                </c:pt>
                <c:pt idx="2864">
                  <c:v>5.1079008382379103E-2</c:v>
                </c:pt>
                <c:pt idx="2865">
                  <c:v>5.1096843231674599E-2</c:v>
                </c:pt>
                <c:pt idx="2866">
                  <c:v>5.1114678080970199E-2</c:v>
                </c:pt>
                <c:pt idx="2867">
                  <c:v>5.1132512930265703E-2</c:v>
                </c:pt>
                <c:pt idx="2868">
                  <c:v>5.1150347779561199E-2</c:v>
                </c:pt>
                <c:pt idx="2869">
                  <c:v>5.1168182628856702E-2</c:v>
                </c:pt>
                <c:pt idx="2870">
                  <c:v>5.1186017478152303E-2</c:v>
                </c:pt>
                <c:pt idx="2871">
                  <c:v>5.1203852327447799E-2</c:v>
                </c:pt>
                <c:pt idx="2872">
                  <c:v>5.1221687176743302E-2</c:v>
                </c:pt>
                <c:pt idx="2873">
                  <c:v>5.1239522026038799E-2</c:v>
                </c:pt>
                <c:pt idx="2874">
                  <c:v>5.1257356875334399E-2</c:v>
                </c:pt>
                <c:pt idx="2875">
                  <c:v>5.1275191724629902E-2</c:v>
                </c:pt>
                <c:pt idx="2876">
                  <c:v>5.1293026573925399E-2</c:v>
                </c:pt>
                <c:pt idx="2877">
                  <c:v>5.1310861423220902E-2</c:v>
                </c:pt>
                <c:pt idx="2878">
                  <c:v>5.1328696272516398E-2</c:v>
                </c:pt>
                <c:pt idx="2879">
                  <c:v>5.1346531121811999E-2</c:v>
                </c:pt>
                <c:pt idx="2880">
                  <c:v>5.1364365971107502E-2</c:v>
                </c:pt>
                <c:pt idx="2881">
                  <c:v>5.1382200820402998E-2</c:v>
                </c:pt>
                <c:pt idx="2882">
                  <c:v>5.1400035669698502E-2</c:v>
                </c:pt>
                <c:pt idx="2883">
                  <c:v>5.1417870518994102E-2</c:v>
                </c:pt>
                <c:pt idx="2884">
                  <c:v>5.1435705368289598E-2</c:v>
                </c:pt>
                <c:pt idx="2885">
                  <c:v>5.1453540217585102E-2</c:v>
                </c:pt>
                <c:pt idx="2886">
                  <c:v>5.1471375066880598E-2</c:v>
                </c:pt>
                <c:pt idx="2887">
                  <c:v>5.1489209916176198E-2</c:v>
                </c:pt>
                <c:pt idx="2888">
                  <c:v>5.1507044765471702E-2</c:v>
                </c:pt>
                <c:pt idx="2889">
                  <c:v>5.1524879614767198E-2</c:v>
                </c:pt>
                <c:pt idx="2890">
                  <c:v>5.1542714464062701E-2</c:v>
                </c:pt>
                <c:pt idx="2891">
                  <c:v>5.1560549313358302E-2</c:v>
                </c:pt>
                <c:pt idx="2892">
                  <c:v>5.1578384162653798E-2</c:v>
                </c:pt>
                <c:pt idx="2893">
                  <c:v>5.1596219011949301E-2</c:v>
                </c:pt>
                <c:pt idx="2894">
                  <c:v>5.1614053861244798E-2</c:v>
                </c:pt>
                <c:pt idx="2895">
                  <c:v>5.1631888710540398E-2</c:v>
                </c:pt>
                <c:pt idx="2896">
                  <c:v>5.1649723559835901E-2</c:v>
                </c:pt>
                <c:pt idx="2897">
                  <c:v>5.1667558409131398E-2</c:v>
                </c:pt>
                <c:pt idx="2898">
                  <c:v>5.1685393258426901E-2</c:v>
                </c:pt>
                <c:pt idx="2899">
                  <c:v>5.1703228107722397E-2</c:v>
                </c:pt>
                <c:pt idx="2900">
                  <c:v>5.1721062957017998E-2</c:v>
                </c:pt>
                <c:pt idx="2901">
                  <c:v>5.1738897806313501E-2</c:v>
                </c:pt>
                <c:pt idx="2902">
                  <c:v>5.1756732655608997E-2</c:v>
                </c:pt>
                <c:pt idx="2903">
                  <c:v>5.1774567504904501E-2</c:v>
                </c:pt>
                <c:pt idx="2904">
                  <c:v>5.1792402354200101E-2</c:v>
                </c:pt>
                <c:pt idx="2905">
                  <c:v>5.1810237203495597E-2</c:v>
                </c:pt>
                <c:pt idx="2906">
                  <c:v>5.1828072052791101E-2</c:v>
                </c:pt>
                <c:pt idx="2907">
                  <c:v>5.1845906902086597E-2</c:v>
                </c:pt>
                <c:pt idx="2908">
                  <c:v>5.1863741751382197E-2</c:v>
                </c:pt>
                <c:pt idx="2909">
                  <c:v>5.1881576600677701E-2</c:v>
                </c:pt>
                <c:pt idx="2910">
                  <c:v>5.1899411449973197E-2</c:v>
                </c:pt>
                <c:pt idx="2911">
                  <c:v>5.19172462992687E-2</c:v>
                </c:pt>
                <c:pt idx="2912">
                  <c:v>5.1935081148564197E-2</c:v>
                </c:pt>
                <c:pt idx="2913">
                  <c:v>5.1952915997859797E-2</c:v>
                </c:pt>
                <c:pt idx="2914">
                  <c:v>5.19707508471553E-2</c:v>
                </c:pt>
                <c:pt idx="2915">
                  <c:v>5.1988585696450797E-2</c:v>
                </c:pt>
                <c:pt idx="2916">
                  <c:v>5.20064205457463E-2</c:v>
                </c:pt>
                <c:pt idx="2917">
                  <c:v>5.20242553950419E-2</c:v>
                </c:pt>
                <c:pt idx="2918">
                  <c:v>5.2042090244337397E-2</c:v>
                </c:pt>
                <c:pt idx="2919">
                  <c:v>5.20599250936329E-2</c:v>
                </c:pt>
                <c:pt idx="2920">
                  <c:v>5.2077759942928403E-2</c:v>
                </c:pt>
                <c:pt idx="2921">
                  <c:v>5.2095594792223997E-2</c:v>
                </c:pt>
                <c:pt idx="2922">
                  <c:v>5.21134296415195E-2</c:v>
                </c:pt>
                <c:pt idx="2923">
                  <c:v>5.2131264490815003E-2</c:v>
                </c:pt>
                <c:pt idx="2924">
                  <c:v>5.21490993401105E-2</c:v>
                </c:pt>
                <c:pt idx="2925">
                  <c:v>5.21669341894061E-2</c:v>
                </c:pt>
                <c:pt idx="2926">
                  <c:v>5.2184769038701603E-2</c:v>
                </c:pt>
                <c:pt idx="2927">
                  <c:v>5.22026038879971E-2</c:v>
                </c:pt>
                <c:pt idx="2928">
                  <c:v>5.2220438737292603E-2</c:v>
                </c:pt>
                <c:pt idx="2929">
                  <c:v>5.2238273586588099E-2</c:v>
                </c:pt>
                <c:pt idx="2930">
                  <c:v>5.22561084358837E-2</c:v>
                </c:pt>
                <c:pt idx="2931">
                  <c:v>5.2273943285179203E-2</c:v>
                </c:pt>
                <c:pt idx="2932">
                  <c:v>5.2291778134474699E-2</c:v>
                </c:pt>
                <c:pt idx="2933">
                  <c:v>5.2309612983770203E-2</c:v>
                </c:pt>
                <c:pt idx="2934">
                  <c:v>5.2327447833065803E-2</c:v>
                </c:pt>
                <c:pt idx="2935">
                  <c:v>5.2345282682361299E-2</c:v>
                </c:pt>
                <c:pt idx="2936">
                  <c:v>5.2363117531656803E-2</c:v>
                </c:pt>
                <c:pt idx="2937">
                  <c:v>5.2380952380952299E-2</c:v>
                </c:pt>
                <c:pt idx="2938">
                  <c:v>5.2398787230247899E-2</c:v>
                </c:pt>
                <c:pt idx="2939">
                  <c:v>5.2416622079543403E-2</c:v>
                </c:pt>
                <c:pt idx="2940">
                  <c:v>5.2434456928838899E-2</c:v>
                </c:pt>
                <c:pt idx="2941">
                  <c:v>5.2452291778134402E-2</c:v>
                </c:pt>
                <c:pt idx="2942">
                  <c:v>5.2470126627429899E-2</c:v>
                </c:pt>
                <c:pt idx="2943">
                  <c:v>5.2487961476725499E-2</c:v>
                </c:pt>
                <c:pt idx="2944">
                  <c:v>5.2505796326021002E-2</c:v>
                </c:pt>
                <c:pt idx="2945">
                  <c:v>5.2523631175316499E-2</c:v>
                </c:pt>
                <c:pt idx="2946">
                  <c:v>5.2541466024612002E-2</c:v>
                </c:pt>
                <c:pt idx="2947">
                  <c:v>5.2559300873907602E-2</c:v>
                </c:pt>
                <c:pt idx="2948">
                  <c:v>5.2577135723203099E-2</c:v>
                </c:pt>
                <c:pt idx="2949">
                  <c:v>5.2594970572498602E-2</c:v>
                </c:pt>
                <c:pt idx="2950">
                  <c:v>5.2612805421794098E-2</c:v>
                </c:pt>
                <c:pt idx="2951">
                  <c:v>5.2630640271089699E-2</c:v>
                </c:pt>
                <c:pt idx="2952">
                  <c:v>5.2648475120385202E-2</c:v>
                </c:pt>
                <c:pt idx="2953">
                  <c:v>5.2666309969680698E-2</c:v>
                </c:pt>
                <c:pt idx="2954">
                  <c:v>5.2684144818976202E-2</c:v>
                </c:pt>
                <c:pt idx="2955">
                  <c:v>5.2701979668271802E-2</c:v>
                </c:pt>
                <c:pt idx="2956">
                  <c:v>5.2719814517567298E-2</c:v>
                </c:pt>
                <c:pt idx="2957">
                  <c:v>5.2737649366862802E-2</c:v>
                </c:pt>
                <c:pt idx="2958">
                  <c:v>5.2755484216158298E-2</c:v>
                </c:pt>
                <c:pt idx="2959">
                  <c:v>5.2773319065453898E-2</c:v>
                </c:pt>
                <c:pt idx="2960">
                  <c:v>5.2791153914749402E-2</c:v>
                </c:pt>
                <c:pt idx="2961">
                  <c:v>5.2808988764044898E-2</c:v>
                </c:pt>
                <c:pt idx="2962">
                  <c:v>5.2826823613340401E-2</c:v>
                </c:pt>
                <c:pt idx="2963">
                  <c:v>5.2844658462635898E-2</c:v>
                </c:pt>
                <c:pt idx="2964">
                  <c:v>5.2862493311931498E-2</c:v>
                </c:pt>
                <c:pt idx="2965">
                  <c:v>5.2880328161227001E-2</c:v>
                </c:pt>
                <c:pt idx="2966">
                  <c:v>5.2898163010522498E-2</c:v>
                </c:pt>
                <c:pt idx="2967">
                  <c:v>5.2915997859818001E-2</c:v>
                </c:pt>
                <c:pt idx="2968">
                  <c:v>5.2933832709113601E-2</c:v>
                </c:pt>
                <c:pt idx="2969">
                  <c:v>5.2951667558409098E-2</c:v>
                </c:pt>
                <c:pt idx="2970">
                  <c:v>5.2969502407704601E-2</c:v>
                </c:pt>
                <c:pt idx="2971">
                  <c:v>5.2987337257000097E-2</c:v>
                </c:pt>
                <c:pt idx="2972">
                  <c:v>5.3005172106295698E-2</c:v>
                </c:pt>
                <c:pt idx="2973">
                  <c:v>5.3023006955591201E-2</c:v>
                </c:pt>
                <c:pt idx="2974">
                  <c:v>5.3040841804886697E-2</c:v>
                </c:pt>
                <c:pt idx="2975">
                  <c:v>5.3058676654182201E-2</c:v>
                </c:pt>
                <c:pt idx="2976">
                  <c:v>5.3076511503477697E-2</c:v>
                </c:pt>
                <c:pt idx="2977">
                  <c:v>5.3094346352773297E-2</c:v>
                </c:pt>
                <c:pt idx="2978">
                  <c:v>5.3112181202068801E-2</c:v>
                </c:pt>
                <c:pt idx="2979">
                  <c:v>5.3130016051364297E-2</c:v>
                </c:pt>
                <c:pt idx="2980">
                  <c:v>5.31478509006598E-2</c:v>
                </c:pt>
                <c:pt idx="2981">
                  <c:v>5.3165685749955401E-2</c:v>
                </c:pt>
                <c:pt idx="2982">
                  <c:v>5.3183520599250897E-2</c:v>
                </c:pt>
                <c:pt idx="2983">
                  <c:v>5.32013554485464E-2</c:v>
                </c:pt>
                <c:pt idx="2984">
                  <c:v>5.3219190297841903E-2</c:v>
                </c:pt>
                <c:pt idx="2985">
                  <c:v>5.3237025147137497E-2</c:v>
                </c:pt>
                <c:pt idx="2986">
                  <c:v>5.3254859996433E-2</c:v>
                </c:pt>
                <c:pt idx="2987">
                  <c:v>5.3272694845728497E-2</c:v>
                </c:pt>
                <c:pt idx="2988">
                  <c:v>5.3290529695024E-2</c:v>
                </c:pt>
                <c:pt idx="2989">
                  <c:v>5.33083645443196E-2</c:v>
                </c:pt>
                <c:pt idx="2990">
                  <c:v>5.3326199393615097E-2</c:v>
                </c:pt>
                <c:pt idx="2991">
                  <c:v>5.33440342429106E-2</c:v>
                </c:pt>
                <c:pt idx="2992">
                  <c:v>5.3361869092206103E-2</c:v>
                </c:pt>
                <c:pt idx="2993">
                  <c:v>5.3379703941501697E-2</c:v>
                </c:pt>
                <c:pt idx="2994">
                  <c:v>5.33975387907972E-2</c:v>
                </c:pt>
                <c:pt idx="2995">
                  <c:v>5.3415373640092703E-2</c:v>
                </c:pt>
                <c:pt idx="2996">
                  <c:v>5.34332084893882E-2</c:v>
                </c:pt>
                <c:pt idx="2997">
                  <c:v>5.3451043338683703E-2</c:v>
                </c:pt>
                <c:pt idx="2998">
                  <c:v>5.3468878187979303E-2</c:v>
                </c:pt>
                <c:pt idx="2999">
                  <c:v>5.34867130372748E-2</c:v>
                </c:pt>
                <c:pt idx="3000">
                  <c:v>5.3504547886570303E-2</c:v>
                </c:pt>
                <c:pt idx="3001">
                  <c:v>5.3522382735865799E-2</c:v>
                </c:pt>
                <c:pt idx="3002">
                  <c:v>5.35402175851614E-2</c:v>
                </c:pt>
                <c:pt idx="3003">
                  <c:v>5.3558052434456903E-2</c:v>
                </c:pt>
                <c:pt idx="3004">
                  <c:v>5.3575887283752399E-2</c:v>
                </c:pt>
                <c:pt idx="3005">
                  <c:v>5.3593722133047902E-2</c:v>
                </c:pt>
                <c:pt idx="3006">
                  <c:v>5.3611556982343399E-2</c:v>
                </c:pt>
                <c:pt idx="3007">
                  <c:v>5.3629391831638999E-2</c:v>
                </c:pt>
                <c:pt idx="3008">
                  <c:v>5.3647226680934502E-2</c:v>
                </c:pt>
                <c:pt idx="3009">
                  <c:v>5.3665061530229999E-2</c:v>
                </c:pt>
                <c:pt idx="3010">
                  <c:v>5.3682896379525502E-2</c:v>
                </c:pt>
                <c:pt idx="3011">
                  <c:v>5.3700731228821103E-2</c:v>
                </c:pt>
                <c:pt idx="3012">
                  <c:v>5.3718566078116599E-2</c:v>
                </c:pt>
                <c:pt idx="3013">
                  <c:v>5.3736400927412102E-2</c:v>
                </c:pt>
                <c:pt idx="3014">
                  <c:v>5.3754235776707598E-2</c:v>
                </c:pt>
                <c:pt idx="3015">
                  <c:v>5.3772070626003199E-2</c:v>
                </c:pt>
                <c:pt idx="3016">
                  <c:v>5.3789905475298702E-2</c:v>
                </c:pt>
                <c:pt idx="3017">
                  <c:v>5.3807740324594198E-2</c:v>
                </c:pt>
                <c:pt idx="3018">
                  <c:v>5.3825575173889702E-2</c:v>
                </c:pt>
                <c:pt idx="3019">
                  <c:v>5.3843410023185302E-2</c:v>
                </c:pt>
                <c:pt idx="3020">
                  <c:v>5.3861244872480799E-2</c:v>
                </c:pt>
                <c:pt idx="3021">
                  <c:v>5.3879079721776302E-2</c:v>
                </c:pt>
                <c:pt idx="3022">
                  <c:v>5.3896914571071798E-2</c:v>
                </c:pt>
                <c:pt idx="3023">
                  <c:v>5.3914749420367399E-2</c:v>
                </c:pt>
                <c:pt idx="3024">
                  <c:v>5.3932584269662902E-2</c:v>
                </c:pt>
                <c:pt idx="3025">
                  <c:v>5.3950419118958398E-2</c:v>
                </c:pt>
                <c:pt idx="3026">
                  <c:v>5.3968253968253901E-2</c:v>
                </c:pt>
                <c:pt idx="3027">
                  <c:v>5.3986088817549398E-2</c:v>
                </c:pt>
                <c:pt idx="3028">
                  <c:v>5.4003923666844998E-2</c:v>
                </c:pt>
                <c:pt idx="3029">
                  <c:v>5.4021758516140501E-2</c:v>
                </c:pt>
                <c:pt idx="3030">
                  <c:v>5.4039593365435998E-2</c:v>
                </c:pt>
                <c:pt idx="3031">
                  <c:v>5.4057428214731501E-2</c:v>
                </c:pt>
                <c:pt idx="3032">
                  <c:v>5.4075263064027101E-2</c:v>
                </c:pt>
                <c:pt idx="3033">
                  <c:v>5.4093097913322598E-2</c:v>
                </c:pt>
                <c:pt idx="3034">
                  <c:v>5.4110932762618101E-2</c:v>
                </c:pt>
                <c:pt idx="3035">
                  <c:v>5.4128767611913597E-2</c:v>
                </c:pt>
                <c:pt idx="3036">
                  <c:v>5.4146602461209198E-2</c:v>
                </c:pt>
                <c:pt idx="3037">
                  <c:v>5.4164437310504701E-2</c:v>
                </c:pt>
                <c:pt idx="3038">
                  <c:v>5.4182272159800197E-2</c:v>
                </c:pt>
                <c:pt idx="3039">
                  <c:v>5.4200107009095701E-2</c:v>
                </c:pt>
                <c:pt idx="3040">
                  <c:v>5.4217941858391197E-2</c:v>
                </c:pt>
                <c:pt idx="3041">
                  <c:v>5.4235776707686797E-2</c:v>
                </c:pt>
                <c:pt idx="3042">
                  <c:v>5.4253611556982301E-2</c:v>
                </c:pt>
                <c:pt idx="3043">
                  <c:v>5.4271446406277797E-2</c:v>
                </c:pt>
                <c:pt idx="3044">
                  <c:v>5.42892812555733E-2</c:v>
                </c:pt>
                <c:pt idx="3045">
                  <c:v>5.4307116104868901E-2</c:v>
                </c:pt>
                <c:pt idx="3046">
                  <c:v>5.4324950954164397E-2</c:v>
                </c:pt>
                <c:pt idx="3047">
                  <c:v>5.43427858034599E-2</c:v>
                </c:pt>
                <c:pt idx="3048">
                  <c:v>5.4360620652755397E-2</c:v>
                </c:pt>
                <c:pt idx="3049">
                  <c:v>5.4378455502050997E-2</c:v>
                </c:pt>
                <c:pt idx="3050">
                  <c:v>5.43962903513465E-2</c:v>
                </c:pt>
                <c:pt idx="3051">
                  <c:v>5.4414125200641997E-2</c:v>
                </c:pt>
                <c:pt idx="3052">
                  <c:v>5.44319600499375E-2</c:v>
                </c:pt>
                <c:pt idx="3053">
                  <c:v>5.44497948992331E-2</c:v>
                </c:pt>
                <c:pt idx="3054">
                  <c:v>5.4467629748528597E-2</c:v>
                </c:pt>
                <c:pt idx="3055">
                  <c:v>5.44854645978241E-2</c:v>
                </c:pt>
                <c:pt idx="3056">
                  <c:v>5.4503299447119603E-2</c:v>
                </c:pt>
                <c:pt idx="3057">
                  <c:v>5.4521134296415197E-2</c:v>
                </c:pt>
                <c:pt idx="3058">
                  <c:v>5.45389691457107E-2</c:v>
                </c:pt>
                <c:pt idx="3059">
                  <c:v>5.4556803995006203E-2</c:v>
                </c:pt>
                <c:pt idx="3060">
                  <c:v>5.45746388443017E-2</c:v>
                </c:pt>
                <c:pt idx="3061">
                  <c:v>5.4592473693597203E-2</c:v>
                </c:pt>
                <c:pt idx="3062">
                  <c:v>5.4610308542892803E-2</c:v>
                </c:pt>
                <c:pt idx="3063">
                  <c:v>5.46281433921883E-2</c:v>
                </c:pt>
                <c:pt idx="3064">
                  <c:v>5.4645978241483803E-2</c:v>
                </c:pt>
                <c:pt idx="3065">
                  <c:v>5.4663813090779299E-2</c:v>
                </c:pt>
                <c:pt idx="3066">
                  <c:v>5.46816479400749E-2</c:v>
                </c:pt>
                <c:pt idx="3067">
                  <c:v>5.4699482789370403E-2</c:v>
                </c:pt>
                <c:pt idx="3068">
                  <c:v>5.4717317638665899E-2</c:v>
                </c:pt>
                <c:pt idx="3069">
                  <c:v>5.4735152487961403E-2</c:v>
                </c:pt>
                <c:pt idx="3070">
                  <c:v>5.4752987337257003E-2</c:v>
                </c:pt>
                <c:pt idx="3071">
                  <c:v>5.4770822186552499E-2</c:v>
                </c:pt>
                <c:pt idx="3072">
                  <c:v>5.4788657035848003E-2</c:v>
                </c:pt>
                <c:pt idx="3073">
                  <c:v>5.4806491885143499E-2</c:v>
                </c:pt>
                <c:pt idx="3074">
                  <c:v>5.4824326734439002E-2</c:v>
                </c:pt>
                <c:pt idx="3075">
                  <c:v>5.4842161583734603E-2</c:v>
                </c:pt>
                <c:pt idx="3076">
                  <c:v>5.4859996433030099E-2</c:v>
                </c:pt>
                <c:pt idx="3077">
                  <c:v>5.4877831282325602E-2</c:v>
                </c:pt>
                <c:pt idx="3078">
                  <c:v>5.4895666131621099E-2</c:v>
                </c:pt>
                <c:pt idx="3079">
                  <c:v>5.4913500980916699E-2</c:v>
                </c:pt>
                <c:pt idx="3080">
                  <c:v>5.4931335830212202E-2</c:v>
                </c:pt>
                <c:pt idx="3081">
                  <c:v>5.4949170679507699E-2</c:v>
                </c:pt>
                <c:pt idx="3082">
                  <c:v>5.4967005528803202E-2</c:v>
                </c:pt>
                <c:pt idx="3083">
                  <c:v>5.4984840378098802E-2</c:v>
                </c:pt>
                <c:pt idx="3084">
                  <c:v>5.5002675227394299E-2</c:v>
                </c:pt>
                <c:pt idx="3085">
                  <c:v>5.5020510076689802E-2</c:v>
                </c:pt>
                <c:pt idx="3086">
                  <c:v>5.5038344925985298E-2</c:v>
                </c:pt>
                <c:pt idx="3087">
                  <c:v>5.5056179775280899E-2</c:v>
                </c:pt>
                <c:pt idx="3088">
                  <c:v>5.5074014624576402E-2</c:v>
                </c:pt>
                <c:pt idx="3089">
                  <c:v>5.5091849473871898E-2</c:v>
                </c:pt>
                <c:pt idx="3090">
                  <c:v>5.5109684323167402E-2</c:v>
                </c:pt>
                <c:pt idx="3091">
                  <c:v>5.5127519172462898E-2</c:v>
                </c:pt>
                <c:pt idx="3092">
                  <c:v>5.5145354021758498E-2</c:v>
                </c:pt>
                <c:pt idx="3093">
                  <c:v>5.5163188871054002E-2</c:v>
                </c:pt>
                <c:pt idx="3094">
                  <c:v>5.5181023720349498E-2</c:v>
                </c:pt>
                <c:pt idx="3095">
                  <c:v>5.5198858569645001E-2</c:v>
                </c:pt>
                <c:pt idx="3096">
                  <c:v>5.5216693418940602E-2</c:v>
                </c:pt>
                <c:pt idx="3097">
                  <c:v>5.5234528268236098E-2</c:v>
                </c:pt>
                <c:pt idx="3098">
                  <c:v>5.5252363117531601E-2</c:v>
                </c:pt>
                <c:pt idx="3099">
                  <c:v>5.5270197966827098E-2</c:v>
                </c:pt>
                <c:pt idx="3100">
                  <c:v>5.5288032816122698E-2</c:v>
                </c:pt>
                <c:pt idx="3101">
                  <c:v>5.5305867665418201E-2</c:v>
                </c:pt>
                <c:pt idx="3102">
                  <c:v>5.5323702514713698E-2</c:v>
                </c:pt>
                <c:pt idx="3103">
                  <c:v>5.5341537364009201E-2</c:v>
                </c:pt>
                <c:pt idx="3104">
                  <c:v>5.5359372213304697E-2</c:v>
                </c:pt>
                <c:pt idx="3105">
                  <c:v>5.5377207062600298E-2</c:v>
                </c:pt>
                <c:pt idx="3106">
                  <c:v>5.5395041911895801E-2</c:v>
                </c:pt>
                <c:pt idx="3107">
                  <c:v>5.5412876761191297E-2</c:v>
                </c:pt>
                <c:pt idx="3108">
                  <c:v>5.5430711610486801E-2</c:v>
                </c:pt>
                <c:pt idx="3109">
                  <c:v>5.5448546459782401E-2</c:v>
                </c:pt>
                <c:pt idx="3110">
                  <c:v>5.5466381309077897E-2</c:v>
                </c:pt>
                <c:pt idx="3111">
                  <c:v>5.5484216158373401E-2</c:v>
                </c:pt>
                <c:pt idx="3112">
                  <c:v>5.5502051007668897E-2</c:v>
                </c:pt>
                <c:pt idx="3113">
                  <c:v>5.5519885856964497E-2</c:v>
                </c:pt>
                <c:pt idx="3114">
                  <c:v>5.5537720706260001E-2</c:v>
                </c:pt>
                <c:pt idx="3115">
                  <c:v>5.5555555555555497E-2</c:v>
                </c:pt>
                <c:pt idx="3116">
                  <c:v>5.5573390404851E-2</c:v>
                </c:pt>
                <c:pt idx="3117">
                  <c:v>5.5591225254146601E-2</c:v>
                </c:pt>
                <c:pt idx="3118">
                  <c:v>5.5609060103442097E-2</c:v>
                </c:pt>
                <c:pt idx="3119">
                  <c:v>5.56268949527376E-2</c:v>
                </c:pt>
                <c:pt idx="3120">
                  <c:v>5.5644729802033097E-2</c:v>
                </c:pt>
                <c:pt idx="3121">
                  <c:v>5.5662564651328697E-2</c:v>
                </c:pt>
                <c:pt idx="3122">
                  <c:v>5.56803995006242E-2</c:v>
                </c:pt>
                <c:pt idx="3123">
                  <c:v>5.5698234349919697E-2</c:v>
                </c:pt>
                <c:pt idx="3124">
                  <c:v>5.57160691992152E-2</c:v>
                </c:pt>
                <c:pt idx="3125">
                  <c:v>5.5733904048510703E-2</c:v>
                </c:pt>
                <c:pt idx="3126">
                  <c:v>5.5751738897806297E-2</c:v>
                </c:pt>
                <c:pt idx="3127">
                  <c:v>5.57695737471018E-2</c:v>
                </c:pt>
                <c:pt idx="3128">
                  <c:v>5.5787408596397303E-2</c:v>
                </c:pt>
                <c:pt idx="3129">
                  <c:v>5.58052434456928E-2</c:v>
                </c:pt>
                <c:pt idx="3130">
                  <c:v>5.58230782949884E-2</c:v>
                </c:pt>
                <c:pt idx="3131">
                  <c:v>5.5840913144283903E-2</c:v>
                </c:pt>
                <c:pt idx="3132">
                  <c:v>5.58587479935794E-2</c:v>
                </c:pt>
                <c:pt idx="3133">
                  <c:v>5.5876582842874903E-2</c:v>
                </c:pt>
                <c:pt idx="3134">
                  <c:v>5.5894417692170503E-2</c:v>
                </c:pt>
                <c:pt idx="3135">
                  <c:v>5.5912252541466E-2</c:v>
                </c:pt>
                <c:pt idx="3136">
                  <c:v>5.5930087390761503E-2</c:v>
                </c:pt>
                <c:pt idx="3137">
                  <c:v>5.5947922240056999E-2</c:v>
                </c:pt>
                <c:pt idx="3138">
                  <c:v>5.5965757089352502E-2</c:v>
                </c:pt>
                <c:pt idx="3139">
                  <c:v>5.5983591938648103E-2</c:v>
                </c:pt>
                <c:pt idx="3140">
                  <c:v>5.6001426787943599E-2</c:v>
                </c:pt>
                <c:pt idx="3141">
                  <c:v>5.6019261637239103E-2</c:v>
                </c:pt>
                <c:pt idx="3142">
                  <c:v>5.6037096486534599E-2</c:v>
                </c:pt>
                <c:pt idx="3143">
                  <c:v>5.6054931335830199E-2</c:v>
                </c:pt>
                <c:pt idx="3144">
                  <c:v>5.6072766185125703E-2</c:v>
                </c:pt>
                <c:pt idx="3145">
                  <c:v>5.6090601034421199E-2</c:v>
                </c:pt>
                <c:pt idx="3146">
                  <c:v>5.6108435883716702E-2</c:v>
                </c:pt>
                <c:pt idx="3147">
                  <c:v>5.6126270733012303E-2</c:v>
                </c:pt>
                <c:pt idx="3148">
                  <c:v>5.6144105582307799E-2</c:v>
                </c:pt>
                <c:pt idx="3149">
                  <c:v>5.6161940431603302E-2</c:v>
                </c:pt>
                <c:pt idx="3150">
                  <c:v>5.6179775280898799E-2</c:v>
                </c:pt>
                <c:pt idx="3151">
                  <c:v>5.6197610130194399E-2</c:v>
                </c:pt>
                <c:pt idx="3152">
                  <c:v>5.6215444979489902E-2</c:v>
                </c:pt>
                <c:pt idx="3153">
                  <c:v>5.6233279828785399E-2</c:v>
                </c:pt>
                <c:pt idx="3154">
                  <c:v>5.6251114678080902E-2</c:v>
                </c:pt>
                <c:pt idx="3155">
                  <c:v>5.6268949527376398E-2</c:v>
                </c:pt>
                <c:pt idx="3156">
                  <c:v>5.6286784376671999E-2</c:v>
                </c:pt>
                <c:pt idx="3157">
                  <c:v>5.6304619225967502E-2</c:v>
                </c:pt>
                <c:pt idx="3158">
                  <c:v>5.6322454075262998E-2</c:v>
                </c:pt>
                <c:pt idx="3159">
                  <c:v>5.6340288924558501E-2</c:v>
                </c:pt>
                <c:pt idx="3160">
                  <c:v>5.6358123773854102E-2</c:v>
                </c:pt>
                <c:pt idx="3161">
                  <c:v>5.6375958623149598E-2</c:v>
                </c:pt>
                <c:pt idx="3162">
                  <c:v>5.6393793472445101E-2</c:v>
                </c:pt>
                <c:pt idx="3163">
                  <c:v>5.6411628321740598E-2</c:v>
                </c:pt>
                <c:pt idx="3164">
                  <c:v>5.6429463171036198E-2</c:v>
                </c:pt>
                <c:pt idx="3165">
                  <c:v>5.6447298020331702E-2</c:v>
                </c:pt>
                <c:pt idx="3166">
                  <c:v>5.6465132869627198E-2</c:v>
                </c:pt>
                <c:pt idx="3167">
                  <c:v>5.6482967718922701E-2</c:v>
                </c:pt>
                <c:pt idx="3168">
                  <c:v>5.6500802568218302E-2</c:v>
                </c:pt>
                <c:pt idx="3169">
                  <c:v>5.6518637417513798E-2</c:v>
                </c:pt>
                <c:pt idx="3170">
                  <c:v>5.6536472266809301E-2</c:v>
                </c:pt>
                <c:pt idx="3171">
                  <c:v>5.6554307116104797E-2</c:v>
                </c:pt>
                <c:pt idx="3172">
                  <c:v>5.6572141965400301E-2</c:v>
                </c:pt>
                <c:pt idx="3173">
                  <c:v>5.6589976814695901E-2</c:v>
                </c:pt>
                <c:pt idx="3174">
                  <c:v>5.6607811663991398E-2</c:v>
                </c:pt>
                <c:pt idx="3175">
                  <c:v>5.6625646513286901E-2</c:v>
                </c:pt>
                <c:pt idx="3176">
                  <c:v>5.6643481362582397E-2</c:v>
                </c:pt>
                <c:pt idx="3177">
                  <c:v>5.6661316211877998E-2</c:v>
                </c:pt>
                <c:pt idx="3178">
                  <c:v>5.6679151061173501E-2</c:v>
                </c:pt>
                <c:pt idx="3179">
                  <c:v>5.6696985910468997E-2</c:v>
                </c:pt>
                <c:pt idx="3180">
                  <c:v>5.67148207597645E-2</c:v>
                </c:pt>
                <c:pt idx="3181">
                  <c:v>5.6732655609060101E-2</c:v>
                </c:pt>
                <c:pt idx="3182">
                  <c:v>5.6750490458355597E-2</c:v>
                </c:pt>
                <c:pt idx="3183">
                  <c:v>5.67683253076511E-2</c:v>
                </c:pt>
                <c:pt idx="3184">
                  <c:v>5.6786160156946597E-2</c:v>
                </c:pt>
                <c:pt idx="3185">
                  <c:v>5.6803995006242197E-2</c:v>
                </c:pt>
                <c:pt idx="3186">
                  <c:v>5.68218298555377E-2</c:v>
                </c:pt>
                <c:pt idx="3187">
                  <c:v>5.6839664704833197E-2</c:v>
                </c:pt>
                <c:pt idx="3188">
                  <c:v>5.68574995541287E-2</c:v>
                </c:pt>
                <c:pt idx="3189">
                  <c:v>5.6875334403424203E-2</c:v>
                </c:pt>
                <c:pt idx="3190">
                  <c:v>5.6893169252719797E-2</c:v>
                </c:pt>
                <c:pt idx="3191">
                  <c:v>5.69110041020153E-2</c:v>
                </c:pt>
                <c:pt idx="3192">
                  <c:v>5.6928838951310803E-2</c:v>
                </c:pt>
                <c:pt idx="3193">
                  <c:v>5.69466738006063E-2</c:v>
                </c:pt>
                <c:pt idx="3194">
                  <c:v>5.69645086499019E-2</c:v>
                </c:pt>
                <c:pt idx="3195">
                  <c:v>5.6982343499197403E-2</c:v>
                </c:pt>
                <c:pt idx="3196">
                  <c:v>5.70001783484929E-2</c:v>
                </c:pt>
                <c:pt idx="3197">
                  <c:v>5.7018013197788403E-2</c:v>
                </c:pt>
                <c:pt idx="3198">
                  <c:v>5.7035848047084003E-2</c:v>
                </c:pt>
                <c:pt idx="3199">
                  <c:v>5.70536828963795E-2</c:v>
                </c:pt>
                <c:pt idx="3200">
                  <c:v>5.7071517745675003E-2</c:v>
                </c:pt>
                <c:pt idx="3201">
                  <c:v>5.7089352594970499E-2</c:v>
                </c:pt>
                <c:pt idx="3202">
                  <c:v>5.7107187444266003E-2</c:v>
                </c:pt>
                <c:pt idx="3203">
                  <c:v>5.7125022293561603E-2</c:v>
                </c:pt>
                <c:pt idx="3204">
                  <c:v>5.7142857142857099E-2</c:v>
                </c:pt>
                <c:pt idx="3205">
                  <c:v>5.7160691992152603E-2</c:v>
                </c:pt>
                <c:pt idx="3206">
                  <c:v>5.7178526841448099E-2</c:v>
                </c:pt>
                <c:pt idx="3207">
                  <c:v>5.7196361690743699E-2</c:v>
                </c:pt>
                <c:pt idx="3208">
                  <c:v>5.7214196540039203E-2</c:v>
                </c:pt>
                <c:pt idx="3209">
                  <c:v>5.7232031389334699E-2</c:v>
                </c:pt>
                <c:pt idx="3210">
                  <c:v>5.7249866238630202E-2</c:v>
                </c:pt>
                <c:pt idx="3211">
                  <c:v>5.7267701087925803E-2</c:v>
                </c:pt>
                <c:pt idx="3212">
                  <c:v>5.7285535937221299E-2</c:v>
                </c:pt>
                <c:pt idx="3213">
                  <c:v>5.7303370786516802E-2</c:v>
                </c:pt>
                <c:pt idx="3214">
                  <c:v>5.7321205635812299E-2</c:v>
                </c:pt>
                <c:pt idx="3215">
                  <c:v>5.7339040485107899E-2</c:v>
                </c:pt>
                <c:pt idx="3216">
                  <c:v>5.7356875334403402E-2</c:v>
                </c:pt>
                <c:pt idx="3217">
                  <c:v>5.7374710183698899E-2</c:v>
                </c:pt>
                <c:pt idx="3218">
                  <c:v>5.7392545032994402E-2</c:v>
                </c:pt>
                <c:pt idx="3219">
                  <c:v>5.7410379882289898E-2</c:v>
                </c:pt>
                <c:pt idx="3220">
                  <c:v>5.7428214731585499E-2</c:v>
                </c:pt>
                <c:pt idx="3221">
                  <c:v>5.7446049580881002E-2</c:v>
                </c:pt>
                <c:pt idx="3222">
                  <c:v>5.7463884430176498E-2</c:v>
                </c:pt>
                <c:pt idx="3223">
                  <c:v>5.7481719279472002E-2</c:v>
                </c:pt>
                <c:pt idx="3224">
                  <c:v>5.7499554128767602E-2</c:v>
                </c:pt>
                <c:pt idx="3225">
                  <c:v>5.7517388978063098E-2</c:v>
                </c:pt>
                <c:pt idx="3226">
                  <c:v>5.7535223827358602E-2</c:v>
                </c:pt>
                <c:pt idx="3227">
                  <c:v>5.7553058676654098E-2</c:v>
                </c:pt>
                <c:pt idx="3228">
                  <c:v>5.7570893525949698E-2</c:v>
                </c:pt>
                <c:pt idx="3229">
                  <c:v>5.7588728375245202E-2</c:v>
                </c:pt>
                <c:pt idx="3230">
                  <c:v>5.7606563224540698E-2</c:v>
                </c:pt>
                <c:pt idx="3231">
                  <c:v>5.7624398073836201E-2</c:v>
                </c:pt>
                <c:pt idx="3232">
                  <c:v>5.7642232923131802E-2</c:v>
                </c:pt>
                <c:pt idx="3233">
                  <c:v>5.7660067772427298E-2</c:v>
                </c:pt>
                <c:pt idx="3234">
                  <c:v>5.7677902621722801E-2</c:v>
                </c:pt>
                <c:pt idx="3235">
                  <c:v>5.7695737471018298E-2</c:v>
                </c:pt>
                <c:pt idx="3236">
                  <c:v>5.7713572320313801E-2</c:v>
                </c:pt>
                <c:pt idx="3237">
                  <c:v>5.7731407169609401E-2</c:v>
                </c:pt>
                <c:pt idx="3238">
                  <c:v>5.7749242018904898E-2</c:v>
                </c:pt>
                <c:pt idx="3239">
                  <c:v>5.7767076868200401E-2</c:v>
                </c:pt>
                <c:pt idx="3240">
                  <c:v>5.7784911717495897E-2</c:v>
                </c:pt>
                <c:pt idx="3241">
                  <c:v>5.7802746566791498E-2</c:v>
                </c:pt>
                <c:pt idx="3242">
                  <c:v>5.7820581416087001E-2</c:v>
                </c:pt>
                <c:pt idx="3243">
                  <c:v>5.7838416265382497E-2</c:v>
                </c:pt>
                <c:pt idx="3244">
                  <c:v>5.7856251114678001E-2</c:v>
                </c:pt>
                <c:pt idx="3245">
                  <c:v>5.7874085963973601E-2</c:v>
                </c:pt>
                <c:pt idx="3246">
                  <c:v>5.7891920813269097E-2</c:v>
                </c:pt>
                <c:pt idx="3247">
                  <c:v>5.7909755662564601E-2</c:v>
                </c:pt>
                <c:pt idx="3248">
                  <c:v>5.7927590511860097E-2</c:v>
                </c:pt>
                <c:pt idx="3249">
                  <c:v>5.7945425361155697E-2</c:v>
                </c:pt>
                <c:pt idx="3250">
                  <c:v>5.7963260210451201E-2</c:v>
                </c:pt>
                <c:pt idx="3251">
                  <c:v>5.7981095059746697E-2</c:v>
                </c:pt>
                <c:pt idx="3252">
                  <c:v>5.79989299090422E-2</c:v>
                </c:pt>
                <c:pt idx="3253">
                  <c:v>5.8016764758337697E-2</c:v>
                </c:pt>
                <c:pt idx="3254">
                  <c:v>5.8034599607633297E-2</c:v>
                </c:pt>
                <c:pt idx="3255">
                  <c:v>5.80524344569288E-2</c:v>
                </c:pt>
                <c:pt idx="3256">
                  <c:v>5.8070269306224297E-2</c:v>
                </c:pt>
                <c:pt idx="3257">
                  <c:v>5.80881041555198E-2</c:v>
                </c:pt>
                <c:pt idx="3258">
                  <c:v>5.81059390048154E-2</c:v>
                </c:pt>
                <c:pt idx="3259">
                  <c:v>5.8123773854110897E-2</c:v>
                </c:pt>
                <c:pt idx="3260">
                  <c:v>5.81416087034064E-2</c:v>
                </c:pt>
                <c:pt idx="3261">
                  <c:v>5.8159443552701903E-2</c:v>
                </c:pt>
                <c:pt idx="3262">
                  <c:v>5.8177278401997497E-2</c:v>
                </c:pt>
                <c:pt idx="3263">
                  <c:v>5.8195113251293E-2</c:v>
                </c:pt>
                <c:pt idx="3264">
                  <c:v>5.8212948100588503E-2</c:v>
                </c:pt>
                <c:pt idx="3265">
                  <c:v>5.8230782949884E-2</c:v>
                </c:pt>
                <c:pt idx="3266">
                  <c:v>5.82486177991796E-2</c:v>
                </c:pt>
                <c:pt idx="3267">
                  <c:v>5.8266452648475103E-2</c:v>
                </c:pt>
                <c:pt idx="3268">
                  <c:v>5.82842874977706E-2</c:v>
                </c:pt>
                <c:pt idx="3269">
                  <c:v>5.8302122347066103E-2</c:v>
                </c:pt>
                <c:pt idx="3270">
                  <c:v>5.8319957196361599E-2</c:v>
                </c:pt>
                <c:pt idx="3271">
                  <c:v>5.83377920456572E-2</c:v>
                </c:pt>
                <c:pt idx="3272">
                  <c:v>5.8355626894952703E-2</c:v>
                </c:pt>
                <c:pt idx="3273">
                  <c:v>5.8373461744248199E-2</c:v>
                </c:pt>
                <c:pt idx="3274">
                  <c:v>5.8391296593543703E-2</c:v>
                </c:pt>
                <c:pt idx="3275">
                  <c:v>5.8409131442839303E-2</c:v>
                </c:pt>
                <c:pt idx="3276">
                  <c:v>5.8426966292134799E-2</c:v>
                </c:pt>
                <c:pt idx="3277">
                  <c:v>5.8444801141430303E-2</c:v>
                </c:pt>
                <c:pt idx="3278">
                  <c:v>5.8462635990725799E-2</c:v>
                </c:pt>
                <c:pt idx="3279">
                  <c:v>5.8480470840021399E-2</c:v>
                </c:pt>
                <c:pt idx="3280">
                  <c:v>5.8498305689316903E-2</c:v>
                </c:pt>
                <c:pt idx="3281">
                  <c:v>5.8516140538612399E-2</c:v>
                </c:pt>
                <c:pt idx="3282">
                  <c:v>5.8533975387907902E-2</c:v>
                </c:pt>
                <c:pt idx="3283">
                  <c:v>5.8551810237203399E-2</c:v>
                </c:pt>
                <c:pt idx="3284">
                  <c:v>5.8569645086498999E-2</c:v>
                </c:pt>
                <c:pt idx="3285">
                  <c:v>5.8587479935794502E-2</c:v>
                </c:pt>
                <c:pt idx="3286">
                  <c:v>5.8605314785089999E-2</c:v>
                </c:pt>
                <c:pt idx="3287">
                  <c:v>5.8623149634385502E-2</c:v>
                </c:pt>
                <c:pt idx="3288">
                  <c:v>5.8640984483681102E-2</c:v>
                </c:pt>
                <c:pt idx="3289">
                  <c:v>5.8658819332976599E-2</c:v>
                </c:pt>
                <c:pt idx="3290">
                  <c:v>5.8676654182272102E-2</c:v>
                </c:pt>
                <c:pt idx="3291">
                  <c:v>5.8694489031567598E-2</c:v>
                </c:pt>
                <c:pt idx="3292">
                  <c:v>5.8712323880863199E-2</c:v>
                </c:pt>
                <c:pt idx="3293">
                  <c:v>5.8730158730158702E-2</c:v>
                </c:pt>
                <c:pt idx="3294">
                  <c:v>5.8747993579454198E-2</c:v>
                </c:pt>
                <c:pt idx="3295">
                  <c:v>5.8765828428749702E-2</c:v>
                </c:pt>
                <c:pt idx="3296">
                  <c:v>5.8783663278045302E-2</c:v>
                </c:pt>
                <c:pt idx="3297">
                  <c:v>5.8801498127340798E-2</c:v>
                </c:pt>
                <c:pt idx="3298">
                  <c:v>5.8819332976636302E-2</c:v>
                </c:pt>
                <c:pt idx="3299">
                  <c:v>5.8837167825931798E-2</c:v>
                </c:pt>
                <c:pt idx="3300">
                  <c:v>5.8855002675227301E-2</c:v>
                </c:pt>
                <c:pt idx="3301">
                  <c:v>5.8872837524522902E-2</c:v>
                </c:pt>
                <c:pt idx="3302">
                  <c:v>5.8890672373818398E-2</c:v>
                </c:pt>
                <c:pt idx="3303">
                  <c:v>5.8908507223113901E-2</c:v>
                </c:pt>
                <c:pt idx="3304">
                  <c:v>5.8926342072409398E-2</c:v>
                </c:pt>
                <c:pt idx="3305">
                  <c:v>5.8944176921704998E-2</c:v>
                </c:pt>
                <c:pt idx="3306">
                  <c:v>5.8962011771000501E-2</c:v>
                </c:pt>
                <c:pt idx="3307">
                  <c:v>5.8979846620295998E-2</c:v>
                </c:pt>
                <c:pt idx="3308">
                  <c:v>5.8997681469591501E-2</c:v>
                </c:pt>
                <c:pt idx="3309">
                  <c:v>5.9015516318887101E-2</c:v>
                </c:pt>
                <c:pt idx="3310">
                  <c:v>5.9033351168182598E-2</c:v>
                </c:pt>
                <c:pt idx="3311">
                  <c:v>5.9051186017478101E-2</c:v>
                </c:pt>
                <c:pt idx="3312">
                  <c:v>5.9069020866773597E-2</c:v>
                </c:pt>
                <c:pt idx="3313">
                  <c:v>5.9086855716069198E-2</c:v>
                </c:pt>
                <c:pt idx="3314">
                  <c:v>5.9104690565364701E-2</c:v>
                </c:pt>
                <c:pt idx="3315">
                  <c:v>5.9122525414660197E-2</c:v>
                </c:pt>
                <c:pt idx="3316">
                  <c:v>5.9140360263955701E-2</c:v>
                </c:pt>
                <c:pt idx="3317">
                  <c:v>5.9158195113251197E-2</c:v>
                </c:pt>
                <c:pt idx="3318">
                  <c:v>5.9176029962546797E-2</c:v>
                </c:pt>
                <c:pt idx="3319">
                  <c:v>5.9193864811842301E-2</c:v>
                </c:pt>
                <c:pt idx="3320">
                  <c:v>5.9211699661137797E-2</c:v>
                </c:pt>
                <c:pt idx="3321">
                  <c:v>5.92295345104333E-2</c:v>
                </c:pt>
                <c:pt idx="3322">
                  <c:v>5.9247369359728901E-2</c:v>
                </c:pt>
                <c:pt idx="3323">
                  <c:v>5.9265204209024397E-2</c:v>
                </c:pt>
                <c:pt idx="3324">
                  <c:v>5.92830390583199E-2</c:v>
                </c:pt>
                <c:pt idx="3325">
                  <c:v>5.9300873907615403E-2</c:v>
                </c:pt>
                <c:pt idx="3326">
                  <c:v>5.9318708756910997E-2</c:v>
                </c:pt>
                <c:pt idx="3327">
                  <c:v>5.93365436062065E-2</c:v>
                </c:pt>
                <c:pt idx="3328">
                  <c:v>5.9354378455501997E-2</c:v>
                </c:pt>
                <c:pt idx="3329">
                  <c:v>5.93722133047975E-2</c:v>
                </c:pt>
                <c:pt idx="3330">
                  <c:v>5.93900481540931E-2</c:v>
                </c:pt>
                <c:pt idx="3331">
                  <c:v>5.9407883003388597E-2</c:v>
                </c:pt>
                <c:pt idx="3332">
                  <c:v>5.94257178526841E-2</c:v>
                </c:pt>
                <c:pt idx="3333">
                  <c:v>5.9443552701979603E-2</c:v>
                </c:pt>
                <c:pt idx="3334">
                  <c:v>5.9461387551275099E-2</c:v>
                </c:pt>
                <c:pt idx="3335">
                  <c:v>5.94792224005707E-2</c:v>
                </c:pt>
                <c:pt idx="3336">
                  <c:v>5.9497057249866203E-2</c:v>
                </c:pt>
                <c:pt idx="3337">
                  <c:v>5.9514892099161699E-2</c:v>
                </c:pt>
                <c:pt idx="3338">
                  <c:v>5.9532726948457203E-2</c:v>
                </c:pt>
                <c:pt idx="3339">
                  <c:v>5.9550561797752803E-2</c:v>
                </c:pt>
                <c:pt idx="3340">
                  <c:v>5.95683966470483E-2</c:v>
                </c:pt>
                <c:pt idx="3341">
                  <c:v>5.9586231496343803E-2</c:v>
                </c:pt>
                <c:pt idx="3342">
                  <c:v>5.9604066345639299E-2</c:v>
                </c:pt>
                <c:pt idx="3343">
                  <c:v>5.96219011949349E-2</c:v>
                </c:pt>
                <c:pt idx="3344">
                  <c:v>5.9639736044230403E-2</c:v>
                </c:pt>
                <c:pt idx="3345">
                  <c:v>5.9657570893525899E-2</c:v>
                </c:pt>
                <c:pt idx="3346">
                  <c:v>5.9675405742821402E-2</c:v>
                </c:pt>
                <c:pt idx="3347">
                  <c:v>5.9693240592116899E-2</c:v>
                </c:pt>
                <c:pt idx="3348">
                  <c:v>5.9711075441412499E-2</c:v>
                </c:pt>
                <c:pt idx="3349">
                  <c:v>5.9728910290708002E-2</c:v>
                </c:pt>
                <c:pt idx="3350">
                  <c:v>5.9746745140003499E-2</c:v>
                </c:pt>
                <c:pt idx="3351">
                  <c:v>5.9764579989299002E-2</c:v>
                </c:pt>
                <c:pt idx="3352">
                  <c:v>5.9782414838594602E-2</c:v>
                </c:pt>
                <c:pt idx="3353">
                  <c:v>5.9800249687890099E-2</c:v>
                </c:pt>
                <c:pt idx="3354">
                  <c:v>5.9818084537185602E-2</c:v>
                </c:pt>
                <c:pt idx="3355">
                  <c:v>5.9835919386481098E-2</c:v>
                </c:pt>
                <c:pt idx="3356">
                  <c:v>5.9853754235776699E-2</c:v>
                </c:pt>
                <c:pt idx="3357">
                  <c:v>5.9871589085072202E-2</c:v>
                </c:pt>
                <c:pt idx="3358">
                  <c:v>5.9889423934367698E-2</c:v>
                </c:pt>
                <c:pt idx="3359">
                  <c:v>5.9907258783663202E-2</c:v>
                </c:pt>
                <c:pt idx="3360">
                  <c:v>5.9925093632958802E-2</c:v>
                </c:pt>
                <c:pt idx="3361">
                  <c:v>5.9942928482254298E-2</c:v>
                </c:pt>
                <c:pt idx="3362">
                  <c:v>5.9960763331549802E-2</c:v>
                </c:pt>
                <c:pt idx="3363">
                  <c:v>5.9978598180845298E-2</c:v>
                </c:pt>
                <c:pt idx="3364">
                  <c:v>5.9996433030140899E-2</c:v>
                </c:pt>
                <c:pt idx="3365">
                  <c:v>6.0014267879436402E-2</c:v>
                </c:pt>
                <c:pt idx="3366">
                  <c:v>6.0032102728731898E-2</c:v>
                </c:pt>
                <c:pt idx="3367">
                  <c:v>6.0049937578027401E-2</c:v>
                </c:pt>
                <c:pt idx="3368">
                  <c:v>6.0067772427322898E-2</c:v>
                </c:pt>
                <c:pt idx="3369">
                  <c:v>6.0085607276618498E-2</c:v>
                </c:pt>
                <c:pt idx="3370">
                  <c:v>6.0103442125914001E-2</c:v>
                </c:pt>
                <c:pt idx="3371">
                  <c:v>6.0121276975209498E-2</c:v>
                </c:pt>
                <c:pt idx="3372">
                  <c:v>6.0139111824505001E-2</c:v>
                </c:pt>
                <c:pt idx="3373">
                  <c:v>6.0156946673800601E-2</c:v>
                </c:pt>
                <c:pt idx="3374">
                  <c:v>6.0174781523096098E-2</c:v>
                </c:pt>
                <c:pt idx="3375">
                  <c:v>6.0192616372391601E-2</c:v>
                </c:pt>
                <c:pt idx="3376">
                  <c:v>6.0210451221687097E-2</c:v>
                </c:pt>
                <c:pt idx="3377">
                  <c:v>6.0228286070982698E-2</c:v>
                </c:pt>
                <c:pt idx="3378">
                  <c:v>6.0246120920278201E-2</c:v>
                </c:pt>
                <c:pt idx="3379">
                  <c:v>6.0263955769573697E-2</c:v>
                </c:pt>
                <c:pt idx="3380">
                  <c:v>6.0281790618869201E-2</c:v>
                </c:pt>
                <c:pt idx="3381">
                  <c:v>6.0299625468164697E-2</c:v>
                </c:pt>
                <c:pt idx="3382">
                  <c:v>6.0317460317460297E-2</c:v>
                </c:pt>
                <c:pt idx="3383">
                  <c:v>6.0335295166755801E-2</c:v>
                </c:pt>
                <c:pt idx="3384">
                  <c:v>6.0353130016051297E-2</c:v>
                </c:pt>
                <c:pt idx="3385">
                  <c:v>6.03709648653468E-2</c:v>
                </c:pt>
                <c:pt idx="3386">
                  <c:v>6.0388799714642401E-2</c:v>
                </c:pt>
                <c:pt idx="3387">
                  <c:v>6.0406634563937897E-2</c:v>
                </c:pt>
                <c:pt idx="3388">
                  <c:v>6.04244694132334E-2</c:v>
                </c:pt>
                <c:pt idx="3389">
                  <c:v>6.0442304262528897E-2</c:v>
                </c:pt>
                <c:pt idx="3390">
                  <c:v>6.0460139111824497E-2</c:v>
                </c:pt>
                <c:pt idx="3391">
                  <c:v>6.047797396112E-2</c:v>
                </c:pt>
                <c:pt idx="3392">
                  <c:v>6.0495808810415497E-2</c:v>
                </c:pt>
                <c:pt idx="3393">
                  <c:v>6.0513643659711E-2</c:v>
                </c:pt>
                <c:pt idx="3394">
                  <c:v>6.05314785090066E-2</c:v>
                </c:pt>
                <c:pt idx="3395">
                  <c:v>6.0549313358302097E-2</c:v>
                </c:pt>
                <c:pt idx="3396">
                  <c:v>6.05671482075976E-2</c:v>
                </c:pt>
                <c:pt idx="3397">
                  <c:v>6.0584983056893103E-2</c:v>
                </c:pt>
                <c:pt idx="3398">
                  <c:v>6.06028179061886E-2</c:v>
                </c:pt>
                <c:pt idx="3399">
                  <c:v>6.06206527554842E-2</c:v>
                </c:pt>
                <c:pt idx="3400">
                  <c:v>6.0638487604779703E-2</c:v>
                </c:pt>
                <c:pt idx="3401">
                  <c:v>6.06563224540752E-2</c:v>
                </c:pt>
                <c:pt idx="3402">
                  <c:v>6.0674157303370703E-2</c:v>
                </c:pt>
                <c:pt idx="3403">
                  <c:v>6.0691992152666303E-2</c:v>
                </c:pt>
                <c:pt idx="3404">
                  <c:v>6.07098270019618E-2</c:v>
                </c:pt>
                <c:pt idx="3405">
                  <c:v>6.0727661851257303E-2</c:v>
                </c:pt>
                <c:pt idx="3406">
                  <c:v>6.0745496700552799E-2</c:v>
                </c:pt>
                <c:pt idx="3407">
                  <c:v>6.07633315498484E-2</c:v>
                </c:pt>
                <c:pt idx="3408">
                  <c:v>6.0781166399143903E-2</c:v>
                </c:pt>
                <c:pt idx="3409">
                  <c:v>6.0799001248439399E-2</c:v>
                </c:pt>
                <c:pt idx="3410">
                  <c:v>6.0816836097734903E-2</c:v>
                </c:pt>
                <c:pt idx="3411">
                  <c:v>6.0834670947030399E-2</c:v>
                </c:pt>
                <c:pt idx="3412">
                  <c:v>6.0852505796325999E-2</c:v>
                </c:pt>
                <c:pt idx="3413">
                  <c:v>6.0870340645621503E-2</c:v>
                </c:pt>
                <c:pt idx="3414">
                  <c:v>6.0888175494916999E-2</c:v>
                </c:pt>
                <c:pt idx="3415">
                  <c:v>6.0906010344212502E-2</c:v>
                </c:pt>
                <c:pt idx="3416">
                  <c:v>6.0923845193508103E-2</c:v>
                </c:pt>
                <c:pt idx="3417">
                  <c:v>6.0941680042803599E-2</c:v>
                </c:pt>
                <c:pt idx="3418">
                  <c:v>6.0959514892099102E-2</c:v>
                </c:pt>
                <c:pt idx="3419">
                  <c:v>6.0977349741394599E-2</c:v>
                </c:pt>
                <c:pt idx="3420">
                  <c:v>6.0995184590690199E-2</c:v>
                </c:pt>
                <c:pt idx="3421">
                  <c:v>6.1013019439985702E-2</c:v>
                </c:pt>
                <c:pt idx="3422">
                  <c:v>6.1030854289281199E-2</c:v>
                </c:pt>
                <c:pt idx="3423">
                  <c:v>6.1048689138576702E-2</c:v>
                </c:pt>
                <c:pt idx="3424">
                  <c:v>6.1066523987872302E-2</c:v>
                </c:pt>
                <c:pt idx="3425">
                  <c:v>6.1084358837167799E-2</c:v>
                </c:pt>
                <c:pt idx="3426">
                  <c:v>6.1102193686463302E-2</c:v>
                </c:pt>
                <c:pt idx="3427">
                  <c:v>6.1120028535758798E-2</c:v>
                </c:pt>
                <c:pt idx="3428">
                  <c:v>6.1137863385054399E-2</c:v>
                </c:pt>
                <c:pt idx="3429">
                  <c:v>6.1155698234349902E-2</c:v>
                </c:pt>
                <c:pt idx="3430">
                  <c:v>6.1173533083645398E-2</c:v>
                </c:pt>
                <c:pt idx="3431">
                  <c:v>6.1191367932940902E-2</c:v>
                </c:pt>
                <c:pt idx="3432">
                  <c:v>6.1209202782236398E-2</c:v>
                </c:pt>
                <c:pt idx="3433">
                  <c:v>6.1227037631531998E-2</c:v>
                </c:pt>
                <c:pt idx="3434">
                  <c:v>6.1244872480827502E-2</c:v>
                </c:pt>
                <c:pt idx="3435">
                  <c:v>6.1262707330122998E-2</c:v>
                </c:pt>
                <c:pt idx="3436">
                  <c:v>6.1280542179418501E-2</c:v>
                </c:pt>
                <c:pt idx="3437">
                  <c:v>6.1298377028714102E-2</c:v>
                </c:pt>
                <c:pt idx="3438">
                  <c:v>6.1316211878009598E-2</c:v>
                </c:pt>
                <c:pt idx="3439">
                  <c:v>6.1334046727305101E-2</c:v>
                </c:pt>
                <c:pt idx="3440">
                  <c:v>6.1351881576600598E-2</c:v>
                </c:pt>
                <c:pt idx="3441">
                  <c:v>6.1369716425896198E-2</c:v>
                </c:pt>
                <c:pt idx="3442">
                  <c:v>6.1387551275191701E-2</c:v>
                </c:pt>
                <c:pt idx="3443">
                  <c:v>6.1405386124487198E-2</c:v>
                </c:pt>
                <c:pt idx="3444">
                  <c:v>6.1423220973782701E-2</c:v>
                </c:pt>
                <c:pt idx="3445">
                  <c:v>6.1441055823078197E-2</c:v>
                </c:pt>
                <c:pt idx="3446">
                  <c:v>6.1458890672373798E-2</c:v>
                </c:pt>
                <c:pt idx="3447">
                  <c:v>6.1476725521669301E-2</c:v>
                </c:pt>
                <c:pt idx="3448">
                  <c:v>6.1494560370964797E-2</c:v>
                </c:pt>
                <c:pt idx="3449">
                  <c:v>6.1512395220260301E-2</c:v>
                </c:pt>
                <c:pt idx="3450">
                  <c:v>6.1530230069555901E-2</c:v>
                </c:pt>
                <c:pt idx="3451">
                  <c:v>6.1548064918851397E-2</c:v>
                </c:pt>
                <c:pt idx="3452">
                  <c:v>6.1565899768146901E-2</c:v>
                </c:pt>
                <c:pt idx="3453">
                  <c:v>6.1583734617442397E-2</c:v>
                </c:pt>
                <c:pt idx="3454">
                  <c:v>6.1601569466737997E-2</c:v>
                </c:pt>
                <c:pt idx="3455">
                  <c:v>6.1619404316033501E-2</c:v>
                </c:pt>
                <c:pt idx="3456">
                  <c:v>6.1637239165328997E-2</c:v>
                </c:pt>
                <c:pt idx="3457">
                  <c:v>6.16550740146245E-2</c:v>
                </c:pt>
                <c:pt idx="3458">
                  <c:v>6.1672908863920101E-2</c:v>
                </c:pt>
                <c:pt idx="3459">
                  <c:v>6.1690743713215597E-2</c:v>
                </c:pt>
                <c:pt idx="3460">
                  <c:v>6.17085785625111E-2</c:v>
                </c:pt>
                <c:pt idx="3461">
                  <c:v>6.1726413411806597E-2</c:v>
                </c:pt>
                <c:pt idx="3462">
                  <c:v>6.1744248261102197E-2</c:v>
                </c:pt>
                <c:pt idx="3463">
                  <c:v>6.17620831103977E-2</c:v>
                </c:pt>
                <c:pt idx="3464">
                  <c:v>6.1779917959693197E-2</c:v>
                </c:pt>
                <c:pt idx="3465">
                  <c:v>6.17977528089887E-2</c:v>
                </c:pt>
                <c:pt idx="3466">
                  <c:v>6.1815587658284203E-2</c:v>
                </c:pt>
                <c:pt idx="3467">
                  <c:v>6.1833422507579797E-2</c:v>
                </c:pt>
                <c:pt idx="3468">
                  <c:v>6.18512573568753E-2</c:v>
                </c:pt>
                <c:pt idx="3469">
                  <c:v>6.1869092206170803E-2</c:v>
                </c:pt>
                <c:pt idx="3470">
                  <c:v>6.18869270554663E-2</c:v>
                </c:pt>
                <c:pt idx="3471">
                  <c:v>6.19047619047619E-2</c:v>
                </c:pt>
                <c:pt idx="3472">
                  <c:v>6.1922596754057403E-2</c:v>
                </c:pt>
                <c:pt idx="3473">
                  <c:v>6.19404316033529E-2</c:v>
                </c:pt>
                <c:pt idx="3474">
                  <c:v>6.1958266452648403E-2</c:v>
                </c:pt>
                <c:pt idx="3475">
                  <c:v>6.1976101301943899E-2</c:v>
                </c:pt>
                <c:pt idx="3476">
                  <c:v>6.19939361512395E-2</c:v>
                </c:pt>
                <c:pt idx="3477">
                  <c:v>6.2011771000535003E-2</c:v>
                </c:pt>
                <c:pt idx="3478">
                  <c:v>6.2029605849830499E-2</c:v>
                </c:pt>
                <c:pt idx="3479">
                  <c:v>6.2047440699126002E-2</c:v>
                </c:pt>
                <c:pt idx="3480">
                  <c:v>6.2065275548421603E-2</c:v>
                </c:pt>
                <c:pt idx="3481">
                  <c:v>6.2083110397717099E-2</c:v>
                </c:pt>
                <c:pt idx="3482">
                  <c:v>6.2100945247012602E-2</c:v>
                </c:pt>
                <c:pt idx="3483">
                  <c:v>6.2118780096308099E-2</c:v>
                </c:pt>
                <c:pt idx="3484">
                  <c:v>6.2136614945603699E-2</c:v>
                </c:pt>
                <c:pt idx="3485">
                  <c:v>6.2154449794899203E-2</c:v>
                </c:pt>
                <c:pt idx="3486">
                  <c:v>6.2172284644194699E-2</c:v>
                </c:pt>
                <c:pt idx="3487">
                  <c:v>6.2190119493490202E-2</c:v>
                </c:pt>
                <c:pt idx="3488">
                  <c:v>6.2207954342785803E-2</c:v>
                </c:pt>
                <c:pt idx="3489">
                  <c:v>6.2225789192081299E-2</c:v>
                </c:pt>
                <c:pt idx="3490">
                  <c:v>6.2243624041376802E-2</c:v>
                </c:pt>
                <c:pt idx="3491">
                  <c:v>6.2261458890672298E-2</c:v>
                </c:pt>
                <c:pt idx="3492">
                  <c:v>6.2279293739967899E-2</c:v>
                </c:pt>
                <c:pt idx="3493">
                  <c:v>6.2297128589263402E-2</c:v>
                </c:pt>
                <c:pt idx="3494">
                  <c:v>6.2314963438558899E-2</c:v>
                </c:pt>
                <c:pt idx="3495">
                  <c:v>6.2332798287854402E-2</c:v>
                </c:pt>
                <c:pt idx="3496">
                  <c:v>6.2350633137149898E-2</c:v>
                </c:pt>
                <c:pt idx="3497">
                  <c:v>6.2368467986445499E-2</c:v>
                </c:pt>
                <c:pt idx="3498">
                  <c:v>6.2386302835741002E-2</c:v>
                </c:pt>
                <c:pt idx="3499">
                  <c:v>6.2404137685036498E-2</c:v>
                </c:pt>
                <c:pt idx="3500">
                  <c:v>6.2421972534332001E-2</c:v>
                </c:pt>
                <c:pt idx="3501">
                  <c:v>6.2439807383627602E-2</c:v>
                </c:pt>
                <c:pt idx="3502">
                  <c:v>6.2457642232923098E-2</c:v>
                </c:pt>
                <c:pt idx="3503">
                  <c:v>6.2475477082218601E-2</c:v>
                </c:pt>
                <c:pt idx="3504">
                  <c:v>6.2493311931514098E-2</c:v>
                </c:pt>
                <c:pt idx="3505">
                  <c:v>6.2511146780809698E-2</c:v>
                </c:pt>
                <c:pt idx="3506">
                  <c:v>6.2528981630105201E-2</c:v>
                </c:pt>
                <c:pt idx="3507">
                  <c:v>6.2546816479400705E-2</c:v>
                </c:pt>
                <c:pt idx="3508">
                  <c:v>6.2564651328696194E-2</c:v>
                </c:pt>
                <c:pt idx="3509">
                  <c:v>6.2582486177991795E-2</c:v>
                </c:pt>
                <c:pt idx="3510">
                  <c:v>6.2600321027287298E-2</c:v>
                </c:pt>
                <c:pt idx="3511">
                  <c:v>6.2618155876582801E-2</c:v>
                </c:pt>
                <c:pt idx="3512">
                  <c:v>6.2635990725878304E-2</c:v>
                </c:pt>
                <c:pt idx="3513">
                  <c:v>6.2653825575173794E-2</c:v>
                </c:pt>
                <c:pt idx="3514">
                  <c:v>6.2671660424469394E-2</c:v>
                </c:pt>
                <c:pt idx="3515">
                  <c:v>6.2689495273764897E-2</c:v>
                </c:pt>
                <c:pt idx="3516">
                  <c:v>6.2707330123060401E-2</c:v>
                </c:pt>
                <c:pt idx="3517">
                  <c:v>6.2725164972355904E-2</c:v>
                </c:pt>
                <c:pt idx="3518">
                  <c:v>6.2742999821651504E-2</c:v>
                </c:pt>
                <c:pt idx="3519">
                  <c:v>6.2760834670946994E-2</c:v>
                </c:pt>
                <c:pt idx="3520">
                  <c:v>6.2778669520242497E-2</c:v>
                </c:pt>
                <c:pt idx="3521">
                  <c:v>6.2796504369538E-2</c:v>
                </c:pt>
                <c:pt idx="3522">
                  <c:v>6.2814339218833601E-2</c:v>
                </c:pt>
                <c:pt idx="3523">
                  <c:v>6.2832174068129104E-2</c:v>
                </c:pt>
                <c:pt idx="3524">
                  <c:v>6.2850008917424594E-2</c:v>
                </c:pt>
                <c:pt idx="3525">
                  <c:v>6.2867843766720097E-2</c:v>
                </c:pt>
                <c:pt idx="3526">
                  <c:v>6.2885678616015697E-2</c:v>
                </c:pt>
                <c:pt idx="3527">
                  <c:v>6.29035134653112E-2</c:v>
                </c:pt>
                <c:pt idx="3528">
                  <c:v>6.2921348314606704E-2</c:v>
                </c:pt>
                <c:pt idx="3529">
                  <c:v>6.2939183163902193E-2</c:v>
                </c:pt>
                <c:pt idx="3530">
                  <c:v>6.2957018013197794E-2</c:v>
                </c:pt>
                <c:pt idx="3531">
                  <c:v>6.2974852862493297E-2</c:v>
                </c:pt>
                <c:pt idx="3532">
                  <c:v>6.29926877117888E-2</c:v>
                </c:pt>
                <c:pt idx="3533">
                  <c:v>6.3010522561084303E-2</c:v>
                </c:pt>
                <c:pt idx="3534">
                  <c:v>6.3028357410379807E-2</c:v>
                </c:pt>
                <c:pt idx="3535">
                  <c:v>6.3046192259675393E-2</c:v>
                </c:pt>
                <c:pt idx="3536">
                  <c:v>6.3064027108970896E-2</c:v>
                </c:pt>
                <c:pt idx="3537">
                  <c:v>6.30818619582664E-2</c:v>
                </c:pt>
                <c:pt idx="3538">
                  <c:v>6.3099696807561903E-2</c:v>
                </c:pt>
                <c:pt idx="3539">
                  <c:v>6.3117531656857503E-2</c:v>
                </c:pt>
                <c:pt idx="3540">
                  <c:v>6.3135366506153007E-2</c:v>
                </c:pt>
                <c:pt idx="3541">
                  <c:v>6.3153201355448496E-2</c:v>
                </c:pt>
                <c:pt idx="3542">
                  <c:v>6.3171036204743999E-2</c:v>
                </c:pt>
                <c:pt idx="3543">
                  <c:v>6.31888710540396E-2</c:v>
                </c:pt>
                <c:pt idx="3544">
                  <c:v>6.3206705903335103E-2</c:v>
                </c:pt>
                <c:pt idx="3545">
                  <c:v>6.3224540752630606E-2</c:v>
                </c:pt>
                <c:pt idx="3546">
                  <c:v>6.3242375601926096E-2</c:v>
                </c:pt>
                <c:pt idx="3547">
                  <c:v>6.3260210451221599E-2</c:v>
                </c:pt>
                <c:pt idx="3548">
                  <c:v>6.3278045300517199E-2</c:v>
                </c:pt>
                <c:pt idx="3549">
                  <c:v>6.3295880149812703E-2</c:v>
                </c:pt>
                <c:pt idx="3550">
                  <c:v>6.3313714999108206E-2</c:v>
                </c:pt>
                <c:pt idx="3551">
                  <c:v>6.3331549848403695E-2</c:v>
                </c:pt>
                <c:pt idx="3552">
                  <c:v>6.3349384697699296E-2</c:v>
                </c:pt>
                <c:pt idx="3553">
                  <c:v>6.3367219546994799E-2</c:v>
                </c:pt>
                <c:pt idx="3554">
                  <c:v>6.3385054396290302E-2</c:v>
                </c:pt>
                <c:pt idx="3555">
                  <c:v>6.3402889245585806E-2</c:v>
                </c:pt>
                <c:pt idx="3556">
                  <c:v>6.3420724094881295E-2</c:v>
                </c:pt>
                <c:pt idx="3557">
                  <c:v>6.3438558944176895E-2</c:v>
                </c:pt>
                <c:pt idx="3558">
                  <c:v>6.3456393793472399E-2</c:v>
                </c:pt>
                <c:pt idx="3559">
                  <c:v>6.3474228642767902E-2</c:v>
                </c:pt>
                <c:pt idx="3560">
                  <c:v>6.3492063492063405E-2</c:v>
                </c:pt>
                <c:pt idx="3561">
                  <c:v>6.3509898341359006E-2</c:v>
                </c:pt>
                <c:pt idx="3562">
                  <c:v>6.3527733190654495E-2</c:v>
                </c:pt>
                <c:pt idx="3563">
                  <c:v>6.3545568039949998E-2</c:v>
                </c:pt>
                <c:pt idx="3564">
                  <c:v>6.3563402889245502E-2</c:v>
                </c:pt>
                <c:pt idx="3565">
                  <c:v>6.3581237738541102E-2</c:v>
                </c:pt>
                <c:pt idx="3566">
                  <c:v>6.3599072587836605E-2</c:v>
                </c:pt>
                <c:pt idx="3567">
                  <c:v>6.3616907437132095E-2</c:v>
                </c:pt>
                <c:pt idx="3568">
                  <c:v>6.3634742286427598E-2</c:v>
                </c:pt>
                <c:pt idx="3569">
                  <c:v>6.3652577135723198E-2</c:v>
                </c:pt>
                <c:pt idx="3570">
                  <c:v>6.3670411985018702E-2</c:v>
                </c:pt>
                <c:pt idx="3571">
                  <c:v>6.3688246834314205E-2</c:v>
                </c:pt>
                <c:pt idx="3572">
                  <c:v>6.3706081683609694E-2</c:v>
                </c:pt>
                <c:pt idx="3573">
                  <c:v>6.3723916532905295E-2</c:v>
                </c:pt>
                <c:pt idx="3574">
                  <c:v>6.3741751382200798E-2</c:v>
                </c:pt>
                <c:pt idx="3575">
                  <c:v>6.3759586231496301E-2</c:v>
                </c:pt>
                <c:pt idx="3576">
                  <c:v>6.3777421080791805E-2</c:v>
                </c:pt>
                <c:pt idx="3577">
                  <c:v>6.3795255930087294E-2</c:v>
                </c:pt>
                <c:pt idx="3578">
                  <c:v>6.3813090779382894E-2</c:v>
                </c:pt>
                <c:pt idx="3579">
                  <c:v>6.3830925628678398E-2</c:v>
                </c:pt>
                <c:pt idx="3580">
                  <c:v>6.3848760477973901E-2</c:v>
                </c:pt>
                <c:pt idx="3581">
                  <c:v>6.3866595327269404E-2</c:v>
                </c:pt>
                <c:pt idx="3582">
                  <c:v>6.3884430176565005E-2</c:v>
                </c:pt>
                <c:pt idx="3583">
                  <c:v>6.3902265025860494E-2</c:v>
                </c:pt>
                <c:pt idx="3584">
                  <c:v>6.3920099875155997E-2</c:v>
                </c:pt>
                <c:pt idx="3585">
                  <c:v>6.3937934724451501E-2</c:v>
                </c:pt>
                <c:pt idx="3586">
                  <c:v>6.3955769573747101E-2</c:v>
                </c:pt>
                <c:pt idx="3587">
                  <c:v>6.3973604423042604E-2</c:v>
                </c:pt>
                <c:pt idx="3588">
                  <c:v>6.3991439272338094E-2</c:v>
                </c:pt>
                <c:pt idx="3589">
                  <c:v>6.4009274121633597E-2</c:v>
                </c:pt>
                <c:pt idx="3590">
                  <c:v>6.4027108970929197E-2</c:v>
                </c:pt>
                <c:pt idx="3591">
                  <c:v>6.4044943820224701E-2</c:v>
                </c:pt>
                <c:pt idx="3592">
                  <c:v>6.4062778669520204E-2</c:v>
                </c:pt>
                <c:pt idx="3593">
                  <c:v>6.4080613518815693E-2</c:v>
                </c:pt>
                <c:pt idx="3594">
                  <c:v>6.4098448368111294E-2</c:v>
                </c:pt>
                <c:pt idx="3595">
                  <c:v>6.4116283217406797E-2</c:v>
                </c:pt>
                <c:pt idx="3596">
                  <c:v>6.41341180667023E-2</c:v>
                </c:pt>
                <c:pt idx="3597">
                  <c:v>6.4151952915997804E-2</c:v>
                </c:pt>
                <c:pt idx="3598">
                  <c:v>6.4169787765293307E-2</c:v>
                </c:pt>
                <c:pt idx="3599">
                  <c:v>6.4187622614588893E-2</c:v>
                </c:pt>
                <c:pt idx="3600">
                  <c:v>6.4205457463884397E-2</c:v>
                </c:pt>
                <c:pt idx="3601">
                  <c:v>6.42232923131799E-2</c:v>
                </c:pt>
                <c:pt idx="3602">
                  <c:v>6.4241127162475403E-2</c:v>
                </c:pt>
                <c:pt idx="3603">
                  <c:v>6.4258962011771004E-2</c:v>
                </c:pt>
                <c:pt idx="3604">
                  <c:v>6.4276796861066507E-2</c:v>
                </c:pt>
                <c:pt idx="3605">
                  <c:v>6.4294631710361996E-2</c:v>
                </c:pt>
                <c:pt idx="3606">
                  <c:v>6.43124665596575E-2</c:v>
                </c:pt>
                <c:pt idx="3607">
                  <c:v>6.43303014089531E-2</c:v>
                </c:pt>
                <c:pt idx="3608">
                  <c:v>6.4348136258248603E-2</c:v>
                </c:pt>
                <c:pt idx="3609">
                  <c:v>6.4365971107544107E-2</c:v>
                </c:pt>
                <c:pt idx="3610">
                  <c:v>6.4383805956839596E-2</c:v>
                </c:pt>
                <c:pt idx="3611">
                  <c:v>6.4401640806135099E-2</c:v>
                </c:pt>
                <c:pt idx="3612">
                  <c:v>6.44194756554307E-2</c:v>
                </c:pt>
                <c:pt idx="3613">
                  <c:v>6.4437310504726203E-2</c:v>
                </c:pt>
                <c:pt idx="3614">
                  <c:v>6.4455145354021706E-2</c:v>
                </c:pt>
                <c:pt idx="3615">
                  <c:v>6.4472980203317196E-2</c:v>
                </c:pt>
                <c:pt idx="3616">
                  <c:v>6.4490815052612796E-2</c:v>
                </c:pt>
                <c:pt idx="3617">
                  <c:v>6.4508649901908299E-2</c:v>
                </c:pt>
                <c:pt idx="3618">
                  <c:v>6.4526484751203803E-2</c:v>
                </c:pt>
                <c:pt idx="3619">
                  <c:v>6.4544319600499306E-2</c:v>
                </c:pt>
                <c:pt idx="3620">
                  <c:v>6.4562154449794795E-2</c:v>
                </c:pt>
                <c:pt idx="3621">
                  <c:v>6.4579989299090396E-2</c:v>
                </c:pt>
                <c:pt idx="3622">
                  <c:v>6.4597824148385899E-2</c:v>
                </c:pt>
                <c:pt idx="3623">
                  <c:v>6.4615658997681402E-2</c:v>
                </c:pt>
                <c:pt idx="3624">
                  <c:v>6.4633493846976905E-2</c:v>
                </c:pt>
                <c:pt idx="3625">
                  <c:v>6.4651328696272506E-2</c:v>
                </c:pt>
                <c:pt idx="3626">
                  <c:v>6.4669163545567995E-2</c:v>
                </c:pt>
                <c:pt idx="3627">
                  <c:v>6.4686998394863499E-2</c:v>
                </c:pt>
                <c:pt idx="3628">
                  <c:v>6.4704833244159002E-2</c:v>
                </c:pt>
                <c:pt idx="3629">
                  <c:v>6.4722668093454602E-2</c:v>
                </c:pt>
                <c:pt idx="3630">
                  <c:v>6.4740502942750106E-2</c:v>
                </c:pt>
                <c:pt idx="3631">
                  <c:v>6.4758337792045595E-2</c:v>
                </c:pt>
                <c:pt idx="3632">
                  <c:v>6.4776172641341098E-2</c:v>
                </c:pt>
                <c:pt idx="3633">
                  <c:v>6.4794007490636699E-2</c:v>
                </c:pt>
                <c:pt idx="3634">
                  <c:v>6.4811842339932202E-2</c:v>
                </c:pt>
                <c:pt idx="3635">
                  <c:v>6.4829677189227705E-2</c:v>
                </c:pt>
                <c:pt idx="3636">
                  <c:v>6.4847512038523195E-2</c:v>
                </c:pt>
                <c:pt idx="3637">
                  <c:v>6.4865346887818795E-2</c:v>
                </c:pt>
                <c:pt idx="3638">
                  <c:v>6.4883181737114298E-2</c:v>
                </c:pt>
                <c:pt idx="3639">
                  <c:v>6.4901016586409802E-2</c:v>
                </c:pt>
                <c:pt idx="3640">
                  <c:v>6.4918851435705305E-2</c:v>
                </c:pt>
                <c:pt idx="3641">
                  <c:v>6.4936686285000794E-2</c:v>
                </c:pt>
                <c:pt idx="3642">
                  <c:v>6.4954521134296395E-2</c:v>
                </c:pt>
                <c:pt idx="3643">
                  <c:v>6.4972355983591898E-2</c:v>
                </c:pt>
                <c:pt idx="3644">
                  <c:v>6.4990190832887401E-2</c:v>
                </c:pt>
                <c:pt idx="3645">
                  <c:v>6.5008025682182904E-2</c:v>
                </c:pt>
                <c:pt idx="3646">
                  <c:v>6.5025860531478505E-2</c:v>
                </c:pt>
                <c:pt idx="3647">
                  <c:v>6.5043695380773994E-2</c:v>
                </c:pt>
                <c:pt idx="3648">
                  <c:v>6.5061530230069498E-2</c:v>
                </c:pt>
                <c:pt idx="3649">
                  <c:v>6.5079365079365001E-2</c:v>
                </c:pt>
                <c:pt idx="3650">
                  <c:v>6.5097199928660601E-2</c:v>
                </c:pt>
                <c:pt idx="3651">
                  <c:v>6.5115034777956105E-2</c:v>
                </c:pt>
                <c:pt idx="3652">
                  <c:v>6.5132869627251594E-2</c:v>
                </c:pt>
                <c:pt idx="3653">
                  <c:v>6.5150704476547097E-2</c:v>
                </c:pt>
                <c:pt idx="3654">
                  <c:v>6.5168539325842698E-2</c:v>
                </c:pt>
                <c:pt idx="3655">
                  <c:v>6.5186374175138201E-2</c:v>
                </c:pt>
                <c:pt idx="3656">
                  <c:v>6.5204209024433704E-2</c:v>
                </c:pt>
                <c:pt idx="3657">
                  <c:v>6.5222043873729194E-2</c:v>
                </c:pt>
                <c:pt idx="3658">
                  <c:v>6.5239878723024794E-2</c:v>
                </c:pt>
                <c:pt idx="3659">
                  <c:v>6.5257713572320297E-2</c:v>
                </c:pt>
                <c:pt idx="3660">
                  <c:v>6.5275548421615801E-2</c:v>
                </c:pt>
                <c:pt idx="3661">
                  <c:v>6.5293383270911304E-2</c:v>
                </c:pt>
                <c:pt idx="3662">
                  <c:v>6.5311218120206793E-2</c:v>
                </c:pt>
                <c:pt idx="3663">
                  <c:v>6.5329052969502394E-2</c:v>
                </c:pt>
                <c:pt idx="3664">
                  <c:v>6.5346887818797897E-2</c:v>
                </c:pt>
                <c:pt idx="3665">
                  <c:v>6.53647226680934E-2</c:v>
                </c:pt>
                <c:pt idx="3666">
                  <c:v>6.5382557517388903E-2</c:v>
                </c:pt>
                <c:pt idx="3667">
                  <c:v>6.5400392366684504E-2</c:v>
                </c:pt>
                <c:pt idx="3668">
                  <c:v>6.5418227215979993E-2</c:v>
                </c:pt>
                <c:pt idx="3669">
                  <c:v>6.5436062065275497E-2</c:v>
                </c:pt>
                <c:pt idx="3670">
                  <c:v>6.5453896914571E-2</c:v>
                </c:pt>
                <c:pt idx="3671">
                  <c:v>6.54717317638666E-2</c:v>
                </c:pt>
                <c:pt idx="3672">
                  <c:v>6.5489566613162103E-2</c:v>
                </c:pt>
                <c:pt idx="3673">
                  <c:v>6.5507401462457607E-2</c:v>
                </c:pt>
                <c:pt idx="3674">
                  <c:v>6.5525236311753096E-2</c:v>
                </c:pt>
                <c:pt idx="3675">
                  <c:v>6.5543071161048599E-2</c:v>
                </c:pt>
                <c:pt idx="3676">
                  <c:v>6.55609060103442E-2</c:v>
                </c:pt>
                <c:pt idx="3677">
                  <c:v>6.5578740859639703E-2</c:v>
                </c:pt>
                <c:pt idx="3678">
                  <c:v>6.5596575708935206E-2</c:v>
                </c:pt>
                <c:pt idx="3679">
                  <c:v>6.5614410558230696E-2</c:v>
                </c:pt>
                <c:pt idx="3680">
                  <c:v>6.5632245407526296E-2</c:v>
                </c:pt>
                <c:pt idx="3681">
                  <c:v>6.5650080256821799E-2</c:v>
                </c:pt>
                <c:pt idx="3682">
                  <c:v>6.5667915106117303E-2</c:v>
                </c:pt>
                <c:pt idx="3683">
                  <c:v>6.5685749955412806E-2</c:v>
                </c:pt>
                <c:pt idx="3684">
                  <c:v>6.5703584804708406E-2</c:v>
                </c:pt>
                <c:pt idx="3685">
                  <c:v>6.5721419654003896E-2</c:v>
                </c:pt>
                <c:pt idx="3686">
                  <c:v>6.5739254503299399E-2</c:v>
                </c:pt>
                <c:pt idx="3687">
                  <c:v>6.5757089352594902E-2</c:v>
                </c:pt>
                <c:pt idx="3688">
                  <c:v>6.5774924201890406E-2</c:v>
                </c:pt>
                <c:pt idx="3689">
                  <c:v>6.5792759051186006E-2</c:v>
                </c:pt>
                <c:pt idx="3690">
                  <c:v>6.5810593900481495E-2</c:v>
                </c:pt>
                <c:pt idx="3691">
                  <c:v>6.5828428749776999E-2</c:v>
                </c:pt>
                <c:pt idx="3692">
                  <c:v>6.5846263599072502E-2</c:v>
                </c:pt>
                <c:pt idx="3693">
                  <c:v>6.5864098448368102E-2</c:v>
                </c:pt>
                <c:pt idx="3694">
                  <c:v>6.5881933297663606E-2</c:v>
                </c:pt>
                <c:pt idx="3695">
                  <c:v>6.5899768146959095E-2</c:v>
                </c:pt>
                <c:pt idx="3696">
                  <c:v>6.5917602996254598E-2</c:v>
                </c:pt>
                <c:pt idx="3697">
                  <c:v>6.5935437845550199E-2</c:v>
                </c:pt>
                <c:pt idx="3698">
                  <c:v>6.5953272694845702E-2</c:v>
                </c:pt>
                <c:pt idx="3699">
                  <c:v>6.5971107544141205E-2</c:v>
                </c:pt>
                <c:pt idx="3700">
                  <c:v>6.5988942393436695E-2</c:v>
                </c:pt>
                <c:pt idx="3701">
                  <c:v>6.6006777242732295E-2</c:v>
                </c:pt>
                <c:pt idx="3702">
                  <c:v>6.6024612092027798E-2</c:v>
                </c:pt>
                <c:pt idx="3703">
                  <c:v>6.6042446941323302E-2</c:v>
                </c:pt>
                <c:pt idx="3704">
                  <c:v>6.6060281790618805E-2</c:v>
                </c:pt>
                <c:pt idx="3705">
                  <c:v>6.6078116639914294E-2</c:v>
                </c:pt>
                <c:pt idx="3706">
                  <c:v>6.6095951489209895E-2</c:v>
                </c:pt>
                <c:pt idx="3707">
                  <c:v>6.6113786338505398E-2</c:v>
                </c:pt>
                <c:pt idx="3708">
                  <c:v>6.6131621187800901E-2</c:v>
                </c:pt>
                <c:pt idx="3709">
                  <c:v>6.6149456037096405E-2</c:v>
                </c:pt>
                <c:pt idx="3710">
                  <c:v>6.6167290886392005E-2</c:v>
                </c:pt>
                <c:pt idx="3711">
                  <c:v>6.6185125735687494E-2</c:v>
                </c:pt>
                <c:pt idx="3712">
                  <c:v>6.6202960584982998E-2</c:v>
                </c:pt>
                <c:pt idx="3713">
                  <c:v>6.6220795434278501E-2</c:v>
                </c:pt>
                <c:pt idx="3714">
                  <c:v>6.6238630283574101E-2</c:v>
                </c:pt>
                <c:pt idx="3715">
                  <c:v>6.6256465132869605E-2</c:v>
                </c:pt>
                <c:pt idx="3716">
                  <c:v>6.6274299982165094E-2</c:v>
                </c:pt>
                <c:pt idx="3717">
                  <c:v>6.6292134831460597E-2</c:v>
                </c:pt>
                <c:pt idx="3718">
                  <c:v>6.6309969680756198E-2</c:v>
                </c:pt>
                <c:pt idx="3719">
                  <c:v>6.6327804530051701E-2</c:v>
                </c:pt>
                <c:pt idx="3720">
                  <c:v>6.6345639379347204E-2</c:v>
                </c:pt>
                <c:pt idx="3721">
                  <c:v>6.6363474228642694E-2</c:v>
                </c:pt>
                <c:pt idx="3722">
                  <c:v>6.6381309077938294E-2</c:v>
                </c:pt>
                <c:pt idx="3723">
                  <c:v>6.6399143927233797E-2</c:v>
                </c:pt>
                <c:pt idx="3724">
                  <c:v>6.6416978776529301E-2</c:v>
                </c:pt>
                <c:pt idx="3725">
                  <c:v>6.6434813625824804E-2</c:v>
                </c:pt>
                <c:pt idx="3726">
                  <c:v>6.6452648475120293E-2</c:v>
                </c:pt>
                <c:pt idx="3727">
                  <c:v>6.6470483324415894E-2</c:v>
                </c:pt>
                <c:pt idx="3728">
                  <c:v>6.6488318173711397E-2</c:v>
                </c:pt>
                <c:pt idx="3729">
                  <c:v>6.65061530230069E-2</c:v>
                </c:pt>
                <c:pt idx="3730">
                  <c:v>6.6523987872302404E-2</c:v>
                </c:pt>
                <c:pt idx="3731">
                  <c:v>6.6541822721598004E-2</c:v>
                </c:pt>
                <c:pt idx="3732">
                  <c:v>6.6559657570893493E-2</c:v>
                </c:pt>
                <c:pt idx="3733">
                  <c:v>6.6577492420188997E-2</c:v>
                </c:pt>
                <c:pt idx="3734">
                  <c:v>6.65953272694845E-2</c:v>
                </c:pt>
                <c:pt idx="3735">
                  <c:v>6.66131621187801E-2</c:v>
                </c:pt>
                <c:pt idx="3736">
                  <c:v>6.6630996968075604E-2</c:v>
                </c:pt>
                <c:pt idx="3737">
                  <c:v>6.6648831817371093E-2</c:v>
                </c:pt>
                <c:pt idx="3738">
                  <c:v>6.6666666666666596E-2</c:v>
                </c:pt>
                <c:pt idx="3739">
                  <c:v>6.6684501515962197E-2</c:v>
                </c:pt>
                <c:pt idx="3740">
                  <c:v>6.67023363652577E-2</c:v>
                </c:pt>
                <c:pt idx="3741">
                  <c:v>6.6720171214553203E-2</c:v>
                </c:pt>
                <c:pt idx="3742">
                  <c:v>6.6738006063848707E-2</c:v>
                </c:pt>
                <c:pt idx="3743">
                  <c:v>6.6755840913144196E-2</c:v>
                </c:pt>
                <c:pt idx="3744">
                  <c:v>6.6773675762439796E-2</c:v>
                </c:pt>
                <c:pt idx="3745">
                  <c:v>6.67915106117353E-2</c:v>
                </c:pt>
                <c:pt idx="3746">
                  <c:v>6.6809345461030803E-2</c:v>
                </c:pt>
                <c:pt idx="3747">
                  <c:v>6.6827180310326306E-2</c:v>
                </c:pt>
                <c:pt idx="3748">
                  <c:v>6.6845015159621907E-2</c:v>
                </c:pt>
                <c:pt idx="3749">
                  <c:v>6.6862850008917396E-2</c:v>
                </c:pt>
                <c:pt idx="3750">
                  <c:v>6.6880684858212899E-2</c:v>
                </c:pt>
                <c:pt idx="3751">
                  <c:v>6.6898519707508403E-2</c:v>
                </c:pt>
                <c:pt idx="3752">
                  <c:v>6.6916354556803906E-2</c:v>
                </c:pt>
                <c:pt idx="3753">
                  <c:v>6.6934189406099506E-2</c:v>
                </c:pt>
                <c:pt idx="3754">
                  <c:v>6.6952024255394996E-2</c:v>
                </c:pt>
                <c:pt idx="3755">
                  <c:v>6.6969859104690499E-2</c:v>
                </c:pt>
                <c:pt idx="3756">
                  <c:v>6.6987693953986002E-2</c:v>
                </c:pt>
                <c:pt idx="3757">
                  <c:v>6.7005528803281603E-2</c:v>
                </c:pt>
                <c:pt idx="3758">
                  <c:v>6.7023363652577106E-2</c:v>
                </c:pt>
                <c:pt idx="3759">
                  <c:v>6.7041198501872595E-2</c:v>
                </c:pt>
                <c:pt idx="3760">
                  <c:v>6.7059033351168099E-2</c:v>
                </c:pt>
                <c:pt idx="3761">
                  <c:v>6.7076868200463699E-2</c:v>
                </c:pt>
                <c:pt idx="3762">
                  <c:v>6.7094703049759202E-2</c:v>
                </c:pt>
                <c:pt idx="3763">
                  <c:v>6.7112537899054706E-2</c:v>
                </c:pt>
                <c:pt idx="3764">
                  <c:v>6.7130372748350195E-2</c:v>
                </c:pt>
                <c:pt idx="3765">
                  <c:v>6.7148207597645795E-2</c:v>
                </c:pt>
                <c:pt idx="3766">
                  <c:v>6.7166042446941299E-2</c:v>
                </c:pt>
                <c:pt idx="3767">
                  <c:v>6.7183877296236802E-2</c:v>
                </c:pt>
                <c:pt idx="3768">
                  <c:v>6.7201712145532305E-2</c:v>
                </c:pt>
                <c:pt idx="3769">
                  <c:v>6.7219546994827795E-2</c:v>
                </c:pt>
                <c:pt idx="3770">
                  <c:v>6.7237381844123395E-2</c:v>
                </c:pt>
                <c:pt idx="3771">
                  <c:v>6.7255216693418898E-2</c:v>
                </c:pt>
                <c:pt idx="3772">
                  <c:v>6.7273051542714402E-2</c:v>
                </c:pt>
                <c:pt idx="3773">
                  <c:v>6.7290886392009905E-2</c:v>
                </c:pt>
                <c:pt idx="3774">
                  <c:v>6.7308721241305505E-2</c:v>
                </c:pt>
                <c:pt idx="3775">
                  <c:v>6.7326556090600995E-2</c:v>
                </c:pt>
                <c:pt idx="3776">
                  <c:v>6.7344390939896498E-2</c:v>
                </c:pt>
                <c:pt idx="3777">
                  <c:v>6.7362225789192001E-2</c:v>
                </c:pt>
                <c:pt idx="3778">
                  <c:v>6.7380060638487602E-2</c:v>
                </c:pt>
                <c:pt idx="3779">
                  <c:v>6.7397895487783105E-2</c:v>
                </c:pt>
                <c:pt idx="3780">
                  <c:v>6.7415730337078594E-2</c:v>
                </c:pt>
                <c:pt idx="3781">
                  <c:v>6.7433565186374098E-2</c:v>
                </c:pt>
                <c:pt idx="3782">
                  <c:v>6.7451400035669698E-2</c:v>
                </c:pt>
                <c:pt idx="3783">
                  <c:v>6.7469234884965201E-2</c:v>
                </c:pt>
                <c:pt idx="3784">
                  <c:v>6.7487069734260705E-2</c:v>
                </c:pt>
                <c:pt idx="3785">
                  <c:v>6.7504904583556194E-2</c:v>
                </c:pt>
                <c:pt idx="3786">
                  <c:v>6.7522739432851794E-2</c:v>
                </c:pt>
                <c:pt idx="3787">
                  <c:v>6.7540574282147298E-2</c:v>
                </c:pt>
                <c:pt idx="3788">
                  <c:v>6.7558409131442801E-2</c:v>
                </c:pt>
                <c:pt idx="3789">
                  <c:v>6.7576243980738304E-2</c:v>
                </c:pt>
                <c:pt idx="3790">
                  <c:v>6.7594078830033794E-2</c:v>
                </c:pt>
                <c:pt idx="3791">
                  <c:v>6.7611913679329394E-2</c:v>
                </c:pt>
                <c:pt idx="3792">
                  <c:v>6.7629748528624897E-2</c:v>
                </c:pt>
                <c:pt idx="3793">
                  <c:v>6.7647583377920401E-2</c:v>
                </c:pt>
                <c:pt idx="3794">
                  <c:v>6.7665418227215904E-2</c:v>
                </c:pt>
                <c:pt idx="3795">
                  <c:v>6.7683253076511504E-2</c:v>
                </c:pt>
                <c:pt idx="3796">
                  <c:v>6.7701087925806994E-2</c:v>
                </c:pt>
                <c:pt idx="3797">
                  <c:v>6.7718922775102497E-2</c:v>
                </c:pt>
                <c:pt idx="3798">
                  <c:v>6.7736757624398E-2</c:v>
                </c:pt>
                <c:pt idx="3799">
                  <c:v>6.7754592473693601E-2</c:v>
                </c:pt>
                <c:pt idx="3800">
                  <c:v>6.7772427322989104E-2</c:v>
                </c:pt>
                <c:pt idx="3801">
                  <c:v>6.7790262172284593E-2</c:v>
                </c:pt>
                <c:pt idx="3802">
                  <c:v>6.7808097021580097E-2</c:v>
                </c:pt>
                <c:pt idx="3803">
                  <c:v>6.7825931870875697E-2</c:v>
                </c:pt>
                <c:pt idx="3804">
                  <c:v>6.78437667201712E-2</c:v>
                </c:pt>
                <c:pt idx="3805">
                  <c:v>6.7861601569466704E-2</c:v>
                </c:pt>
                <c:pt idx="3806">
                  <c:v>6.7879436418762207E-2</c:v>
                </c:pt>
                <c:pt idx="3807">
                  <c:v>6.7897271268057696E-2</c:v>
                </c:pt>
                <c:pt idx="3808">
                  <c:v>6.7915106117353297E-2</c:v>
                </c:pt>
                <c:pt idx="3809">
                  <c:v>6.79329409666488E-2</c:v>
                </c:pt>
                <c:pt idx="3810">
                  <c:v>6.7950775815944303E-2</c:v>
                </c:pt>
                <c:pt idx="3811">
                  <c:v>6.7968610665239806E-2</c:v>
                </c:pt>
                <c:pt idx="3812">
                  <c:v>6.7986445514535407E-2</c:v>
                </c:pt>
                <c:pt idx="3813">
                  <c:v>6.8004280363830896E-2</c:v>
                </c:pt>
                <c:pt idx="3814">
                  <c:v>6.80221152131264E-2</c:v>
                </c:pt>
                <c:pt idx="3815">
                  <c:v>6.8039950062421903E-2</c:v>
                </c:pt>
                <c:pt idx="3816">
                  <c:v>6.8057784911717406E-2</c:v>
                </c:pt>
                <c:pt idx="3817">
                  <c:v>6.8075619761013006E-2</c:v>
                </c:pt>
                <c:pt idx="3818">
                  <c:v>6.8093454610308496E-2</c:v>
                </c:pt>
                <c:pt idx="3819">
                  <c:v>6.8111289459603999E-2</c:v>
                </c:pt>
                <c:pt idx="3820">
                  <c:v>6.8129124308899502E-2</c:v>
                </c:pt>
                <c:pt idx="3821">
                  <c:v>6.8146959158195103E-2</c:v>
                </c:pt>
                <c:pt idx="3822">
                  <c:v>6.8164794007490606E-2</c:v>
                </c:pt>
                <c:pt idx="3823">
                  <c:v>6.8182628856786096E-2</c:v>
                </c:pt>
                <c:pt idx="3824">
                  <c:v>6.8200463706081599E-2</c:v>
                </c:pt>
                <c:pt idx="3825">
                  <c:v>6.8218298555377199E-2</c:v>
                </c:pt>
                <c:pt idx="3826">
                  <c:v>6.8236133404672702E-2</c:v>
                </c:pt>
                <c:pt idx="3827">
                  <c:v>6.8253968253968206E-2</c:v>
                </c:pt>
                <c:pt idx="3828">
                  <c:v>6.8271803103263695E-2</c:v>
                </c:pt>
                <c:pt idx="3829">
                  <c:v>6.8289637952559296E-2</c:v>
                </c:pt>
                <c:pt idx="3830">
                  <c:v>6.8307472801854799E-2</c:v>
                </c:pt>
                <c:pt idx="3831">
                  <c:v>6.8325307651150302E-2</c:v>
                </c:pt>
                <c:pt idx="3832">
                  <c:v>6.8343142500445805E-2</c:v>
                </c:pt>
                <c:pt idx="3833">
                  <c:v>6.8360977349741295E-2</c:v>
                </c:pt>
                <c:pt idx="3834">
                  <c:v>6.8378812199036895E-2</c:v>
                </c:pt>
                <c:pt idx="3835">
                  <c:v>6.8396647048332398E-2</c:v>
                </c:pt>
                <c:pt idx="3836">
                  <c:v>6.8414481897627902E-2</c:v>
                </c:pt>
                <c:pt idx="3837">
                  <c:v>6.8432316746923405E-2</c:v>
                </c:pt>
                <c:pt idx="3838">
                  <c:v>6.8450151596219005E-2</c:v>
                </c:pt>
                <c:pt idx="3839">
                  <c:v>6.8467986445514495E-2</c:v>
                </c:pt>
                <c:pt idx="3840">
                  <c:v>6.8485821294809998E-2</c:v>
                </c:pt>
                <c:pt idx="3841">
                  <c:v>6.8503656144105501E-2</c:v>
                </c:pt>
                <c:pt idx="3842">
                  <c:v>6.8521490993401102E-2</c:v>
                </c:pt>
                <c:pt idx="3843">
                  <c:v>6.8539325842696605E-2</c:v>
                </c:pt>
                <c:pt idx="3844">
                  <c:v>6.8557160691992095E-2</c:v>
                </c:pt>
                <c:pt idx="3845">
                  <c:v>6.8574995541287598E-2</c:v>
                </c:pt>
                <c:pt idx="3846">
                  <c:v>6.8592830390583198E-2</c:v>
                </c:pt>
                <c:pt idx="3847">
                  <c:v>6.8610665239878701E-2</c:v>
                </c:pt>
                <c:pt idx="3848">
                  <c:v>6.8628500089174205E-2</c:v>
                </c:pt>
                <c:pt idx="3849">
                  <c:v>6.8646334938469694E-2</c:v>
                </c:pt>
                <c:pt idx="3850">
                  <c:v>6.8664169787765295E-2</c:v>
                </c:pt>
                <c:pt idx="3851">
                  <c:v>6.8682004637060798E-2</c:v>
                </c:pt>
                <c:pt idx="3852">
                  <c:v>6.8699839486356301E-2</c:v>
                </c:pt>
                <c:pt idx="3853">
                  <c:v>6.8717674335651804E-2</c:v>
                </c:pt>
                <c:pt idx="3854">
                  <c:v>6.8735509184947294E-2</c:v>
                </c:pt>
                <c:pt idx="3855">
                  <c:v>6.8753344034242894E-2</c:v>
                </c:pt>
                <c:pt idx="3856">
                  <c:v>6.8771178883538397E-2</c:v>
                </c:pt>
                <c:pt idx="3857">
                  <c:v>6.8789013732833901E-2</c:v>
                </c:pt>
                <c:pt idx="3858">
                  <c:v>6.8806848582129404E-2</c:v>
                </c:pt>
                <c:pt idx="3859">
                  <c:v>6.8824683431425004E-2</c:v>
                </c:pt>
                <c:pt idx="3860">
                  <c:v>6.8842518280720494E-2</c:v>
                </c:pt>
                <c:pt idx="3861">
                  <c:v>6.8860353130015997E-2</c:v>
                </c:pt>
                <c:pt idx="3862">
                  <c:v>6.88781879793115E-2</c:v>
                </c:pt>
                <c:pt idx="3863">
                  <c:v>6.8896022828607101E-2</c:v>
                </c:pt>
                <c:pt idx="3864">
                  <c:v>6.8913857677902604E-2</c:v>
                </c:pt>
                <c:pt idx="3865">
                  <c:v>6.8931692527198093E-2</c:v>
                </c:pt>
                <c:pt idx="3866">
                  <c:v>6.8949527376493597E-2</c:v>
                </c:pt>
                <c:pt idx="3867">
                  <c:v>6.8967362225789197E-2</c:v>
                </c:pt>
                <c:pt idx="3868">
                  <c:v>6.89851970750847E-2</c:v>
                </c:pt>
                <c:pt idx="3869">
                  <c:v>6.9003031924380204E-2</c:v>
                </c:pt>
                <c:pt idx="3870">
                  <c:v>6.9020866773675693E-2</c:v>
                </c:pt>
                <c:pt idx="3871">
                  <c:v>6.9038701622971196E-2</c:v>
                </c:pt>
                <c:pt idx="3872">
                  <c:v>6.9056536472266797E-2</c:v>
                </c:pt>
                <c:pt idx="3873">
                  <c:v>6.90743713215623E-2</c:v>
                </c:pt>
                <c:pt idx="3874">
                  <c:v>6.9092206170857803E-2</c:v>
                </c:pt>
                <c:pt idx="3875">
                  <c:v>6.9110041020153307E-2</c:v>
                </c:pt>
                <c:pt idx="3876">
                  <c:v>6.9127875869448893E-2</c:v>
                </c:pt>
                <c:pt idx="3877">
                  <c:v>6.9145710718744396E-2</c:v>
                </c:pt>
                <c:pt idx="3878">
                  <c:v>6.91635455680399E-2</c:v>
                </c:pt>
                <c:pt idx="3879">
                  <c:v>6.9181380417335403E-2</c:v>
                </c:pt>
                <c:pt idx="3880">
                  <c:v>6.9199215266631003E-2</c:v>
                </c:pt>
                <c:pt idx="3881">
                  <c:v>6.9217050115926507E-2</c:v>
                </c:pt>
                <c:pt idx="3882">
                  <c:v>6.9234884965221996E-2</c:v>
                </c:pt>
                <c:pt idx="3883">
                  <c:v>6.9252719814517499E-2</c:v>
                </c:pt>
                <c:pt idx="3884">
                  <c:v>6.9270554663813003E-2</c:v>
                </c:pt>
                <c:pt idx="3885">
                  <c:v>6.9288389513108603E-2</c:v>
                </c:pt>
                <c:pt idx="3886">
                  <c:v>6.9306224362404106E-2</c:v>
                </c:pt>
                <c:pt idx="3887">
                  <c:v>6.9324059211699596E-2</c:v>
                </c:pt>
                <c:pt idx="3888">
                  <c:v>6.9341894060995099E-2</c:v>
                </c:pt>
                <c:pt idx="3889">
                  <c:v>6.9359728910290699E-2</c:v>
                </c:pt>
                <c:pt idx="3890">
                  <c:v>6.9377563759586203E-2</c:v>
                </c:pt>
                <c:pt idx="3891">
                  <c:v>6.9395398608881706E-2</c:v>
                </c:pt>
                <c:pt idx="3892">
                  <c:v>6.9413233458177195E-2</c:v>
                </c:pt>
                <c:pt idx="3893">
                  <c:v>6.9431068307472796E-2</c:v>
                </c:pt>
                <c:pt idx="3894">
                  <c:v>6.9448903156768299E-2</c:v>
                </c:pt>
                <c:pt idx="3895">
                  <c:v>6.9466738006063802E-2</c:v>
                </c:pt>
                <c:pt idx="3896">
                  <c:v>6.9484572855359306E-2</c:v>
                </c:pt>
                <c:pt idx="3897">
                  <c:v>6.9502407704654795E-2</c:v>
                </c:pt>
                <c:pt idx="3898">
                  <c:v>6.9520242553950395E-2</c:v>
                </c:pt>
                <c:pt idx="3899">
                  <c:v>6.9538077403245899E-2</c:v>
                </c:pt>
                <c:pt idx="3900">
                  <c:v>6.9555912252541402E-2</c:v>
                </c:pt>
                <c:pt idx="3901">
                  <c:v>6.9573747101836905E-2</c:v>
                </c:pt>
                <c:pt idx="3902">
                  <c:v>6.9591581951132506E-2</c:v>
                </c:pt>
                <c:pt idx="3903">
                  <c:v>6.9609416800427995E-2</c:v>
                </c:pt>
                <c:pt idx="3904">
                  <c:v>6.9627251649723498E-2</c:v>
                </c:pt>
                <c:pt idx="3905">
                  <c:v>6.9645086499019002E-2</c:v>
                </c:pt>
                <c:pt idx="3906">
                  <c:v>6.9662921348314602E-2</c:v>
                </c:pt>
                <c:pt idx="3907">
                  <c:v>6.9680756197610105E-2</c:v>
                </c:pt>
                <c:pt idx="3908">
                  <c:v>6.9698591046905595E-2</c:v>
                </c:pt>
                <c:pt idx="3909">
                  <c:v>6.9716425896201098E-2</c:v>
                </c:pt>
                <c:pt idx="3910">
                  <c:v>6.9734260745496698E-2</c:v>
                </c:pt>
                <c:pt idx="3911">
                  <c:v>6.9752095594792202E-2</c:v>
                </c:pt>
                <c:pt idx="3912">
                  <c:v>6.9769930444087705E-2</c:v>
                </c:pt>
                <c:pt idx="3913">
                  <c:v>6.9787765293383194E-2</c:v>
                </c:pt>
                <c:pt idx="3914">
                  <c:v>6.9805600142678795E-2</c:v>
                </c:pt>
                <c:pt idx="3915">
                  <c:v>6.9823434991974298E-2</c:v>
                </c:pt>
                <c:pt idx="3916">
                  <c:v>6.9841269841269801E-2</c:v>
                </c:pt>
                <c:pt idx="3917">
                  <c:v>6.9859104690565305E-2</c:v>
                </c:pt>
                <c:pt idx="3918">
                  <c:v>6.9876939539860794E-2</c:v>
                </c:pt>
                <c:pt idx="3919">
                  <c:v>6.9894774389156394E-2</c:v>
                </c:pt>
                <c:pt idx="3920">
                  <c:v>6.9912609238451898E-2</c:v>
                </c:pt>
                <c:pt idx="3921">
                  <c:v>6.9930444087747401E-2</c:v>
                </c:pt>
                <c:pt idx="3922">
                  <c:v>6.9948278937042904E-2</c:v>
                </c:pt>
                <c:pt idx="3923">
                  <c:v>6.9966113786338505E-2</c:v>
                </c:pt>
                <c:pt idx="3924">
                  <c:v>6.9983948635633994E-2</c:v>
                </c:pt>
                <c:pt idx="3925">
                  <c:v>7.0001783484929497E-2</c:v>
                </c:pt>
                <c:pt idx="3926">
                  <c:v>7.0019618334225001E-2</c:v>
                </c:pt>
                <c:pt idx="3927">
                  <c:v>7.0037453183520601E-2</c:v>
                </c:pt>
                <c:pt idx="3928">
                  <c:v>7.0055288032816104E-2</c:v>
                </c:pt>
                <c:pt idx="3929">
                  <c:v>7.0073122882111594E-2</c:v>
                </c:pt>
                <c:pt idx="3930">
                  <c:v>7.0090957731407097E-2</c:v>
                </c:pt>
                <c:pt idx="3931">
                  <c:v>7.0108792580702697E-2</c:v>
                </c:pt>
                <c:pt idx="3932">
                  <c:v>7.0126627429998201E-2</c:v>
                </c:pt>
                <c:pt idx="3933">
                  <c:v>7.0144462279293704E-2</c:v>
                </c:pt>
                <c:pt idx="3934">
                  <c:v>7.0162297128589193E-2</c:v>
                </c:pt>
                <c:pt idx="3935">
                  <c:v>7.0180131977884794E-2</c:v>
                </c:pt>
                <c:pt idx="3936">
                  <c:v>7.0197966827180297E-2</c:v>
                </c:pt>
                <c:pt idx="3937">
                  <c:v>7.02158016764758E-2</c:v>
                </c:pt>
                <c:pt idx="3938">
                  <c:v>7.0233636525771304E-2</c:v>
                </c:pt>
                <c:pt idx="3939">
                  <c:v>7.0251471375066807E-2</c:v>
                </c:pt>
                <c:pt idx="3940">
                  <c:v>7.0269306224362393E-2</c:v>
                </c:pt>
                <c:pt idx="3941">
                  <c:v>7.0287141073657897E-2</c:v>
                </c:pt>
                <c:pt idx="3942">
                  <c:v>7.03049759229534E-2</c:v>
                </c:pt>
                <c:pt idx="3943">
                  <c:v>7.0322810772248903E-2</c:v>
                </c:pt>
                <c:pt idx="3944">
                  <c:v>7.0340645621544504E-2</c:v>
                </c:pt>
                <c:pt idx="3945">
                  <c:v>7.0358480470840007E-2</c:v>
                </c:pt>
                <c:pt idx="3946">
                  <c:v>7.0376315320135496E-2</c:v>
                </c:pt>
                <c:pt idx="3947">
                  <c:v>7.0394150169431E-2</c:v>
                </c:pt>
                <c:pt idx="3948">
                  <c:v>7.0411985018726503E-2</c:v>
                </c:pt>
                <c:pt idx="3949">
                  <c:v>7.0429819868022103E-2</c:v>
                </c:pt>
                <c:pt idx="3950">
                  <c:v>7.0447654717317607E-2</c:v>
                </c:pt>
                <c:pt idx="3951">
                  <c:v>7.0465489566613096E-2</c:v>
                </c:pt>
                <c:pt idx="3952">
                  <c:v>7.0483324415908599E-2</c:v>
                </c:pt>
                <c:pt idx="3953">
                  <c:v>7.05011592652042E-2</c:v>
                </c:pt>
                <c:pt idx="3954">
                  <c:v>7.0518994114499703E-2</c:v>
                </c:pt>
                <c:pt idx="3955">
                  <c:v>7.0536828963795206E-2</c:v>
                </c:pt>
                <c:pt idx="3956">
                  <c:v>7.0554663813090696E-2</c:v>
                </c:pt>
                <c:pt idx="3957">
                  <c:v>7.0572498662386296E-2</c:v>
                </c:pt>
                <c:pt idx="3958">
                  <c:v>7.0590333511681799E-2</c:v>
                </c:pt>
                <c:pt idx="3959">
                  <c:v>7.0608168360977303E-2</c:v>
                </c:pt>
                <c:pt idx="3960">
                  <c:v>7.0626003210272806E-2</c:v>
                </c:pt>
                <c:pt idx="3961">
                  <c:v>7.0643838059568295E-2</c:v>
                </c:pt>
                <c:pt idx="3962">
                  <c:v>7.0661672908863896E-2</c:v>
                </c:pt>
                <c:pt idx="3963">
                  <c:v>7.0679507758159399E-2</c:v>
                </c:pt>
                <c:pt idx="3964">
                  <c:v>7.0697342607454902E-2</c:v>
                </c:pt>
                <c:pt idx="3965">
                  <c:v>7.0715177456750405E-2</c:v>
                </c:pt>
                <c:pt idx="3966">
                  <c:v>7.0733012306046006E-2</c:v>
                </c:pt>
                <c:pt idx="3967">
                  <c:v>7.0750847155341495E-2</c:v>
                </c:pt>
                <c:pt idx="3968">
                  <c:v>7.0768682004636999E-2</c:v>
                </c:pt>
                <c:pt idx="3969">
                  <c:v>7.0786516853932502E-2</c:v>
                </c:pt>
                <c:pt idx="3970">
                  <c:v>7.0804351703228102E-2</c:v>
                </c:pt>
                <c:pt idx="3971">
                  <c:v>7.0822186552523606E-2</c:v>
                </c:pt>
                <c:pt idx="3972">
                  <c:v>7.0840021401819095E-2</c:v>
                </c:pt>
                <c:pt idx="3973">
                  <c:v>7.0857856251114598E-2</c:v>
                </c:pt>
                <c:pt idx="3974">
                  <c:v>7.0875691100410199E-2</c:v>
                </c:pt>
                <c:pt idx="3975">
                  <c:v>7.0893525949705702E-2</c:v>
                </c:pt>
                <c:pt idx="3976">
                  <c:v>7.0911360799001205E-2</c:v>
                </c:pt>
                <c:pt idx="3977">
                  <c:v>7.0929195648296695E-2</c:v>
                </c:pt>
                <c:pt idx="3978">
                  <c:v>7.0947030497592295E-2</c:v>
                </c:pt>
                <c:pt idx="3979">
                  <c:v>7.0964865346887798E-2</c:v>
                </c:pt>
                <c:pt idx="3980">
                  <c:v>7.0982700196183302E-2</c:v>
                </c:pt>
                <c:pt idx="3981">
                  <c:v>7.1000535045478805E-2</c:v>
                </c:pt>
                <c:pt idx="3982">
                  <c:v>7.1018369894774294E-2</c:v>
                </c:pt>
                <c:pt idx="3983">
                  <c:v>7.1036204744069895E-2</c:v>
                </c:pt>
                <c:pt idx="3984">
                  <c:v>7.1054039593365398E-2</c:v>
                </c:pt>
                <c:pt idx="3985">
                  <c:v>7.1071874442660901E-2</c:v>
                </c:pt>
                <c:pt idx="3986">
                  <c:v>7.1089709291956404E-2</c:v>
                </c:pt>
                <c:pt idx="3987">
                  <c:v>7.1107544141252005E-2</c:v>
                </c:pt>
                <c:pt idx="3988">
                  <c:v>7.1125378990547494E-2</c:v>
                </c:pt>
                <c:pt idx="3989">
                  <c:v>7.1143213839842998E-2</c:v>
                </c:pt>
                <c:pt idx="3990">
                  <c:v>7.1161048689138501E-2</c:v>
                </c:pt>
                <c:pt idx="3991">
                  <c:v>7.1178883538434101E-2</c:v>
                </c:pt>
                <c:pt idx="3992">
                  <c:v>7.1196718387729604E-2</c:v>
                </c:pt>
                <c:pt idx="3993">
                  <c:v>7.1214553237025094E-2</c:v>
                </c:pt>
                <c:pt idx="3994">
                  <c:v>7.1232388086320597E-2</c:v>
                </c:pt>
                <c:pt idx="3995">
                  <c:v>7.1250222935616198E-2</c:v>
                </c:pt>
                <c:pt idx="3996">
                  <c:v>7.1268057784911701E-2</c:v>
                </c:pt>
                <c:pt idx="3997">
                  <c:v>7.1285892634207204E-2</c:v>
                </c:pt>
                <c:pt idx="3998">
                  <c:v>7.1303727483502694E-2</c:v>
                </c:pt>
                <c:pt idx="3999">
                  <c:v>7.1321562332798294E-2</c:v>
                </c:pt>
                <c:pt idx="4000">
                  <c:v>7.1339397182093797E-2</c:v>
                </c:pt>
                <c:pt idx="4001">
                  <c:v>7.13572320313893E-2</c:v>
                </c:pt>
                <c:pt idx="4002">
                  <c:v>7.1375066880684804E-2</c:v>
                </c:pt>
                <c:pt idx="4003">
                  <c:v>7.1392901729980293E-2</c:v>
                </c:pt>
                <c:pt idx="4004">
                  <c:v>7.1410736579275894E-2</c:v>
                </c:pt>
                <c:pt idx="4005">
                  <c:v>7.1428571428571397E-2</c:v>
                </c:pt>
                <c:pt idx="4006">
                  <c:v>7.14464062778669E-2</c:v>
                </c:pt>
                <c:pt idx="4007">
                  <c:v>7.1464241127162403E-2</c:v>
                </c:pt>
                <c:pt idx="4008">
                  <c:v>7.1482075976458004E-2</c:v>
                </c:pt>
                <c:pt idx="4009">
                  <c:v>7.1499910825753493E-2</c:v>
                </c:pt>
                <c:pt idx="4010">
                  <c:v>7.1517745675048996E-2</c:v>
                </c:pt>
                <c:pt idx="4011">
                  <c:v>7.15355805243445E-2</c:v>
                </c:pt>
                <c:pt idx="4012">
                  <c:v>7.1553415373640003E-2</c:v>
                </c:pt>
                <c:pt idx="4013">
                  <c:v>7.1571250222935603E-2</c:v>
                </c:pt>
                <c:pt idx="4014">
                  <c:v>7.1589085072231107E-2</c:v>
                </c:pt>
                <c:pt idx="4015">
                  <c:v>7.1606919921526596E-2</c:v>
                </c:pt>
                <c:pt idx="4016">
                  <c:v>7.1624754770822099E-2</c:v>
                </c:pt>
                <c:pt idx="4017">
                  <c:v>7.16425896201177E-2</c:v>
                </c:pt>
                <c:pt idx="4018">
                  <c:v>7.1660424469413203E-2</c:v>
                </c:pt>
                <c:pt idx="4019">
                  <c:v>7.1678259318708706E-2</c:v>
                </c:pt>
                <c:pt idx="4020">
                  <c:v>7.1696094168004196E-2</c:v>
                </c:pt>
                <c:pt idx="4021">
                  <c:v>7.1713929017299796E-2</c:v>
                </c:pt>
                <c:pt idx="4022">
                  <c:v>7.1731763866595299E-2</c:v>
                </c:pt>
                <c:pt idx="4023">
                  <c:v>7.1749598715890803E-2</c:v>
                </c:pt>
                <c:pt idx="4024">
                  <c:v>7.1767433565186306E-2</c:v>
                </c:pt>
                <c:pt idx="4025">
                  <c:v>7.1785268414481795E-2</c:v>
                </c:pt>
                <c:pt idx="4026">
                  <c:v>7.1803103263777396E-2</c:v>
                </c:pt>
                <c:pt idx="4027">
                  <c:v>7.1820938113072899E-2</c:v>
                </c:pt>
                <c:pt idx="4028">
                  <c:v>7.1838772962368402E-2</c:v>
                </c:pt>
                <c:pt idx="4029">
                  <c:v>7.1856607811663906E-2</c:v>
                </c:pt>
                <c:pt idx="4030">
                  <c:v>7.1874442660959506E-2</c:v>
                </c:pt>
                <c:pt idx="4031">
                  <c:v>7.1892277510254995E-2</c:v>
                </c:pt>
                <c:pt idx="4032">
                  <c:v>7.1910112359550499E-2</c:v>
                </c:pt>
                <c:pt idx="4033">
                  <c:v>7.1927947208846002E-2</c:v>
                </c:pt>
                <c:pt idx="4034">
                  <c:v>7.1945782058141602E-2</c:v>
                </c:pt>
                <c:pt idx="4035">
                  <c:v>7.1963616907437106E-2</c:v>
                </c:pt>
                <c:pt idx="4036">
                  <c:v>7.1981451756732595E-2</c:v>
                </c:pt>
                <c:pt idx="4037">
                  <c:v>7.1999286606028098E-2</c:v>
                </c:pt>
                <c:pt idx="4038">
                  <c:v>7.2017121455323699E-2</c:v>
                </c:pt>
                <c:pt idx="4039">
                  <c:v>7.2034956304619202E-2</c:v>
                </c:pt>
                <c:pt idx="4040">
                  <c:v>7.2052791153914705E-2</c:v>
                </c:pt>
                <c:pt idx="4041">
                  <c:v>7.2070626003210195E-2</c:v>
                </c:pt>
                <c:pt idx="4042">
                  <c:v>7.2088460852505795E-2</c:v>
                </c:pt>
                <c:pt idx="4043">
                  <c:v>7.2106295701801298E-2</c:v>
                </c:pt>
                <c:pt idx="4044">
                  <c:v>7.2124130551096802E-2</c:v>
                </c:pt>
                <c:pt idx="4045">
                  <c:v>7.2141965400392305E-2</c:v>
                </c:pt>
                <c:pt idx="4046">
                  <c:v>7.2159800249687794E-2</c:v>
                </c:pt>
                <c:pt idx="4047">
                  <c:v>7.2177635098983395E-2</c:v>
                </c:pt>
                <c:pt idx="4048">
                  <c:v>7.2195469948278898E-2</c:v>
                </c:pt>
                <c:pt idx="4049">
                  <c:v>7.2213304797574401E-2</c:v>
                </c:pt>
                <c:pt idx="4050">
                  <c:v>7.2231139646869905E-2</c:v>
                </c:pt>
                <c:pt idx="4051">
                  <c:v>7.2248974496165505E-2</c:v>
                </c:pt>
                <c:pt idx="4052">
                  <c:v>7.2266809345460994E-2</c:v>
                </c:pt>
                <c:pt idx="4053">
                  <c:v>7.2284644194756498E-2</c:v>
                </c:pt>
                <c:pt idx="4054">
                  <c:v>7.2302479044052001E-2</c:v>
                </c:pt>
                <c:pt idx="4055">
                  <c:v>7.2320313893347601E-2</c:v>
                </c:pt>
                <c:pt idx="4056">
                  <c:v>7.2338148742643105E-2</c:v>
                </c:pt>
                <c:pt idx="4057">
                  <c:v>7.2355983591938594E-2</c:v>
                </c:pt>
                <c:pt idx="4058">
                  <c:v>7.2373818441234097E-2</c:v>
                </c:pt>
                <c:pt idx="4059">
                  <c:v>7.2391653290529698E-2</c:v>
                </c:pt>
                <c:pt idx="4060">
                  <c:v>7.2409488139825201E-2</c:v>
                </c:pt>
                <c:pt idx="4061">
                  <c:v>7.2427322989120704E-2</c:v>
                </c:pt>
                <c:pt idx="4062">
                  <c:v>7.2445157838416194E-2</c:v>
                </c:pt>
                <c:pt idx="4063">
                  <c:v>7.2462992687711794E-2</c:v>
                </c:pt>
                <c:pt idx="4064">
                  <c:v>7.2480827537007297E-2</c:v>
                </c:pt>
                <c:pt idx="4065">
                  <c:v>7.2498662386302801E-2</c:v>
                </c:pt>
                <c:pt idx="4066">
                  <c:v>7.2516497235598304E-2</c:v>
                </c:pt>
                <c:pt idx="4067">
                  <c:v>7.2534332084893793E-2</c:v>
                </c:pt>
                <c:pt idx="4068">
                  <c:v>7.2552166934189394E-2</c:v>
                </c:pt>
                <c:pt idx="4069">
                  <c:v>7.2570001783484897E-2</c:v>
                </c:pt>
                <c:pt idx="4070">
                  <c:v>7.25878366327804E-2</c:v>
                </c:pt>
                <c:pt idx="4071">
                  <c:v>7.2605671482075904E-2</c:v>
                </c:pt>
                <c:pt idx="4072">
                  <c:v>7.2623506331371504E-2</c:v>
                </c:pt>
                <c:pt idx="4073">
                  <c:v>7.2641341180666993E-2</c:v>
                </c:pt>
                <c:pt idx="4074">
                  <c:v>7.2659176029962497E-2</c:v>
                </c:pt>
                <c:pt idx="4075">
                  <c:v>7.2677010879258E-2</c:v>
                </c:pt>
                <c:pt idx="4076">
                  <c:v>7.26948457285536E-2</c:v>
                </c:pt>
                <c:pt idx="4077">
                  <c:v>7.2712680577849104E-2</c:v>
                </c:pt>
                <c:pt idx="4078">
                  <c:v>7.2730515427144607E-2</c:v>
                </c:pt>
                <c:pt idx="4079">
                  <c:v>7.2748350276440096E-2</c:v>
                </c:pt>
                <c:pt idx="4080">
                  <c:v>7.27661851257356E-2</c:v>
                </c:pt>
                <c:pt idx="4081">
                  <c:v>7.27840199750312E-2</c:v>
                </c:pt>
                <c:pt idx="4082">
                  <c:v>7.2801854824326703E-2</c:v>
                </c:pt>
                <c:pt idx="4083">
                  <c:v>7.2819689673622207E-2</c:v>
                </c:pt>
                <c:pt idx="4084">
                  <c:v>7.2837524522917696E-2</c:v>
                </c:pt>
                <c:pt idx="4085">
                  <c:v>7.2855359372213296E-2</c:v>
                </c:pt>
                <c:pt idx="4086">
                  <c:v>7.28731942215088E-2</c:v>
                </c:pt>
                <c:pt idx="4087">
                  <c:v>7.2891029070804303E-2</c:v>
                </c:pt>
                <c:pt idx="4088">
                  <c:v>7.2908863920099806E-2</c:v>
                </c:pt>
                <c:pt idx="4089">
                  <c:v>7.2926698769395296E-2</c:v>
                </c:pt>
                <c:pt idx="4090">
                  <c:v>7.2944533618690896E-2</c:v>
                </c:pt>
                <c:pt idx="4091">
                  <c:v>7.2962368467986399E-2</c:v>
                </c:pt>
                <c:pt idx="4092">
                  <c:v>7.2980203317281903E-2</c:v>
                </c:pt>
                <c:pt idx="4093">
                  <c:v>7.2998038166577406E-2</c:v>
                </c:pt>
                <c:pt idx="4094">
                  <c:v>7.3015873015873006E-2</c:v>
                </c:pt>
                <c:pt idx="4095">
                  <c:v>7.3033707865168496E-2</c:v>
                </c:pt>
                <c:pt idx="4096">
                  <c:v>7.3051542714463999E-2</c:v>
                </c:pt>
                <c:pt idx="4097">
                  <c:v>7.3069377563759502E-2</c:v>
                </c:pt>
                <c:pt idx="4098">
                  <c:v>7.3087212413055103E-2</c:v>
                </c:pt>
                <c:pt idx="4099">
                  <c:v>7.3105047262350606E-2</c:v>
                </c:pt>
                <c:pt idx="4100">
                  <c:v>7.3122882111646095E-2</c:v>
                </c:pt>
                <c:pt idx="4101">
                  <c:v>7.3140716960941599E-2</c:v>
                </c:pt>
                <c:pt idx="4102">
                  <c:v>7.3158551810237199E-2</c:v>
                </c:pt>
                <c:pt idx="4103">
                  <c:v>7.3176386659532702E-2</c:v>
                </c:pt>
                <c:pt idx="4104">
                  <c:v>7.3194221508828206E-2</c:v>
                </c:pt>
                <c:pt idx="4105">
                  <c:v>7.3212056358123695E-2</c:v>
                </c:pt>
                <c:pt idx="4106">
                  <c:v>7.3229891207419295E-2</c:v>
                </c:pt>
                <c:pt idx="4107">
                  <c:v>7.3247726056714799E-2</c:v>
                </c:pt>
                <c:pt idx="4108">
                  <c:v>7.3265560906010302E-2</c:v>
                </c:pt>
                <c:pt idx="4109">
                  <c:v>7.3283395755305805E-2</c:v>
                </c:pt>
                <c:pt idx="4110">
                  <c:v>7.3301230604601295E-2</c:v>
                </c:pt>
                <c:pt idx="4111">
                  <c:v>7.3319065453896895E-2</c:v>
                </c:pt>
                <c:pt idx="4112">
                  <c:v>7.3336900303192398E-2</c:v>
                </c:pt>
                <c:pt idx="4113">
                  <c:v>7.3354735152487902E-2</c:v>
                </c:pt>
                <c:pt idx="4114">
                  <c:v>7.3372570001783405E-2</c:v>
                </c:pt>
                <c:pt idx="4115">
                  <c:v>7.3390404851079005E-2</c:v>
                </c:pt>
                <c:pt idx="4116">
                  <c:v>7.3408239700374495E-2</c:v>
                </c:pt>
                <c:pt idx="4117">
                  <c:v>7.3426074549669998E-2</c:v>
                </c:pt>
                <c:pt idx="4118">
                  <c:v>7.3443909398965501E-2</c:v>
                </c:pt>
                <c:pt idx="4119">
                  <c:v>7.3461744248261102E-2</c:v>
                </c:pt>
                <c:pt idx="4120">
                  <c:v>7.3479579097556605E-2</c:v>
                </c:pt>
                <c:pt idx="4121">
                  <c:v>7.3497413946852094E-2</c:v>
                </c:pt>
                <c:pt idx="4122">
                  <c:v>7.3515248796147598E-2</c:v>
                </c:pt>
                <c:pt idx="4123">
                  <c:v>7.3533083645443198E-2</c:v>
                </c:pt>
                <c:pt idx="4124">
                  <c:v>7.3550918494738701E-2</c:v>
                </c:pt>
                <c:pt idx="4125">
                  <c:v>7.3568753344034205E-2</c:v>
                </c:pt>
                <c:pt idx="4126">
                  <c:v>7.3586588193329694E-2</c:v>
                </c:pt>
                <c:pt idx="4127">
                  <c:v>7.3604423042625294E-2</c:v>
                </c:pt>
                <c:pt idx="4128">
                  <c:v>7.3622257891920798E-2</c:v>
                </c:pt>
                <c:pt idx="4129">
                  <c:v>7.3640092741216301E-2</c:v>
                </c:pt>
                <c:pt idx="4130">
                  <c:v>7.3657927590511804E-2</c:v>
                </c:pt>
                <c:pt idx="4131">
                  <c:v>7.3675762439807294E-2</c:v>
                </c:pt>
                <c:pt idx="4132">
                  <c:v>7.3693597289102894E-2</c:v>
                </c:pt>
                <c:pt idx="4133">
                  <c:v>7.3711432138398397E-2</c:v>
                </c:pt>
                <c:pt idx="4134">
                  <c:v>7.3729266987693901E-2</c:v>
                </c:pt>
                <c:pt idx="4135">
                  <c:v>7.3747101836989404E-2</c:v>
                </c:pt>
                <c:pt idx="4136">
                  <c:v>7.3764936686285004E-2</c:v>
                </c:pt>
                <c:pt idx="4137">
                  <c:v>7.3782771535580494E-2</c:v>
                </c:pt>
                <c:pt idx="4138">
                  <c:v>7.3800606384875997E-2</c:v>
                </c:pt>
                <c:pt idx="4139">
                  <c:v>7.38184412341715E-2</c:v>
                </c:pt>
                <c:pt idx="4140">
                  <c:v>7.3836276083467101E-2</c:v>
                </c:pt>
                <c:pt idx="4141">
                  <c:v>7.3854110932762604E-2</c:v>
                </c:pt>
                <c:pt idx="4142">
                  <c:v>7.3871945782058093E-2</c:v>
                </c:pt>
                <c:pt idx="4143">
                  <c:v>7.3889780631353597E-2</c:v>
                </c:pt>
                <c:pt idx="4144">
                  <c:v>7.39076154806491E-2</c:v>
                </c:pt>
                <c:pt idx="4145">
                  <c:v>7.39254503299447E-2</c:v>
                </c:pt>
                <c:pt idx="4146">
                  <c:v>7.3943285179240203E-2</c:v>
                </c:pt>
                <c:pt idx="4147">
                  <c:v>7.3961120028535707E-2</c:v>
                </c:pt>
                <c:pt idx="4148">
                  <c:v>7.3978954877831196E-2</c:v>
                </c:pt>
                <c:pt idx="4149">
                  <c:v>7.3996789727126797E-2</c:v>
                </c:pt>
                <c:pt idx="4150">
                  <c:v>7.40146245764223E-2</c:v>
                </c:pt>
                <c:pt idx="4151">
                  <c:v>7.4032459425717803E-2</c:v>
                </c:pt>
                <c:pt idx="4152">
                  <c:v>7.4050294275013306E-2</c:v>
                </c:pt>
                <c:pt idx="4153">
                  <c:v>7.4068129124308796E-2</c:v>
                </c:pt>
                <c:pt idx="4154">
                  <c:v>7.4085963973604396E-2</c:v>
                </c:pt>
                <c:pt idx="4155">
                  <c:v>7.41037988228999E-2</c:v>
                </c:pt>
                <c:pt idx="4156">
                  <c:v>7.4121633672195403E-2</c:v>
                </c:pt>
                <c:pt idx="4157">
                  <c:v>7.4139468521490906E-2</c:v>
                </c:pt>
                <c:pt idx="4158">
                  <c:v>7.4157303370786506E-2</c:v>
                </c:pt>
                <c:pt idx="4159">
                  <c:v>7.4175138220081996E-2</c:v>
                </c:pt>
                <c:pt idx="4160">
                  <c:v>7.4192973069377499E-2</c:v>
                </c:pt>
                <c:pt idx="4161">
                  <c:v>7.4210807918673002E-2</c:v>
                </c:pt>
                <c:pt idx="4162">
                  <c:v>7.4228642767968603E-2</c:v>
                </c:pt>
                <c:pt idx="4163">
                  <c:v>7.4246477617264106E-2</c:v>
                </c:pt>
                <c:pt idx="4164">
                  <c:v>7.4264312466559596E-2</c:v>
                </c:pt>
                <c:pt idx="4165">
                  <c:v>7.4282147315855099E-2</c:v>
                </c:pt>
                <c:pt idx="4166">
                  <c:v>7.4299982165150699E-2</c:v>
                </c:pt>
                <c:pt idx="4167">
                  <c:v>7.4317817014446202E-2</c:v>
                </c:pt>
                <c:pt idx="4168">
                  <c:v>7.4335651863741706E-2</c:v>
                </c:pt>
                <c:pt idx="4169">
                  <c:v>7.4353486713037195E-2</c:v>
                </c:pt>
                <c:pt idx="4170">
                  <c:v>7.4371321562332796E-2</c:v>
                </c:pt>
                <c:pt idx="4171">
                  <c:v>7.4389156411628299E-2</c:v>
                </c:pt>
                <c:pt idx="4172">
                  <c:v>7.4406991260923802E-2</c:v>
                </c:pt>
                <c:pt idx="4173">
                  <c:v>7.4424826110219305E-2</c:v>
                </c:pt>
                <c:pt idx="4174">
                  <c:v>7.4442660959514795E-2</c:v>
                </c:pt>
                <c:pt idx="4175">
                  <c:v>7.4460495808810395E-2</c:v>
                </c:pt>
                <c:pt idx="4176">
                  <c:v>7.4478330658105898E-2</c:v>
                </c:pt>
                <c:pt idx="4177">
                  <c:v>7.4496165507401402E-2</c:v>
                </c:pt>
                <c:pt idx="4178">
                  <c:v>7.4514000356696905E-2</c:v>
                </c:pt>
                <c:pt idx="4179">
                  <c:v>7.4531835205992505E-2</c:v>
                </c:pt>
                <c:pt idx="4180">
                  <c:v>7.4549670055287995E-2</c:v>
                </c:pt>
                <c:pt idx="4181">
                  <c:v>7.4567504904583498E-2</c:v>
                </c:pt>
                <c:pt idx="4182">
                  <c:v>7.4585339753879001E-2</c:v>
                </c:pt>
                <c:pt idx="4183">
                  <c:v>7.4603174603174602E-2</c:v>
                </c:pt>
                <c:pt idx="4184">
                  <c:v>7.4621009452470105E-2</c:v>
                </c:pt>
                <c:pt idx="4185">
                  <c:v>7.4638844301765594E-2</c:v>
                </c:pt>
                <c:pt idx="4186">
                  <c:v>7.4656679151061098E-2</c:v>
                </c:pt>
                <c:pt idx="4187">
                  <c:v>7.4674514000356698E-2</c:v>
                </c:pt>
                <c:pt idx="4188">
                  <c:v>7.4692348849652201E-2</c:v>
                </c:pt>
                <c:pt idx="4189">
                  <c:v>7.4710183698947705E-2</c:v>
                </c:pt>
                <c:pt idx="4190">
                  <c:v>7.4728018548243194E-2</c:v>
                </c:pt>
                <c:pt idx="4191">
                  <c:v>7.4745853397538795E-2</c:v>
                </c:pt>
                <c:pt idx="4192">
                  <c:v>7.4763688246834298E-2</c:v>
                </c:pt>
                <c:pt idx="4193">
                  <c:v>7.4781523096129801E-2</c:v>
                </c:pt>
                <c:pt idx="4194">
                  <c:v>7.4799357945425304E-2</c:v>
                </c:pt>
                <c:pt idx="4195">
                  <c:v>7.4817192794720794E-2</c:v>
                </c:pt>
                <c:pt idx="4196">
                  <c:v>7.4835027644016394E-2</c:v>
                </c:pt>
                <c:pt idx="4197">
                  <c:v>7.4852862493311897E-2</c:v>
                </c:pt>
                <c:pt idx="4198">
                  <c:v>7.4870697342607401E-2</c:v>
                </c:pt>
                <c:pt idx="4199">
                  <c:v>7.4888532191902904E-2</c:v>
                </c:pt>
                <c:pt idx="4200">
                  <c:v>7.4906367041198504E-2</c:v>
                </c:pt>
                <c:pt idx="4201">
                  <c:v>7.4924201890493994E-2</c:v>
                </c:pt>
                <c:pt idx="4202">
                  <c:v>7.4942036739789497E-2</c:v>
                </c:pt>
                <c:pt idx="4203">
                  <c:v>7.4959871589085E-2</c:v>
                </c:pt>
                <c:pt idx="4204">
                  <c:v>7.4977706438380601E-2</c:v>
                </c:pt>
                <c:pt idx="4205">
                  <c:v>7.4995541287676104E-2</c:v>
                </c:pt>
                <c:pt idx="4206">
                  <c:v>7.5013376136971593E-2</c:v>
                </c:pt>
                <c:pt idx="4207">
                  <c:v>7.5031210986267097E-2</c:v>
                </c:pt>
                <c:pt idx="4208">
                  <c:v>7.50490458355626E-2</c:v>
                </c:pt>
                <c:pt idx="4209">
                  <c:v>7.50668806848582E-2</c:v>
                </c:pt>
                <c:pt idx="4210">
                  <c:v>7.5084715534153704E-2</c:v>
                </c:pt>
                <c:pt idx="4211">
                  <c:v>7.5102550383449193E-2</c:v>
                </c:pt>
                <c:pt idx="4212">
                  <c:v>7.5120385232744696E-2</c:v>
                </c:pt>
                <c:pt idx="4213">
                  <c:v>7.5138220082040297E-2</c:v>
                </c:pt>
                <c:pt idx="4214">
                  <c:v>7.51560549313358E-2</c:v>
                </c:pt>
                <c:pt idx="4215">
                  <c:v>7.5173889780631303E-2</c:v>
                </c:pt>
                <c:pt idx="4216">
                  <c:v>7.5191724629926807E-2</c:v>
                </c:pt>
                <c:pt idx="4217">
                  <c:v>7.5209559479222393E-2</c:v>
                </c:pt>
                <c:pt idx="4218">
                  <c:v>7.5227394328517896E-2</c:v>
                </c:pt>
                <c:pt idx="4219">
                  <c:v>7.52452291778134E-2</c:v>
                </c:pt>
                <c:pt idx="4220">
                  <c:v>7.5263064027108903E-2</c:v>
                </c:pt>
                <c:pt idx="4221">
                  <c:v>7.5280898876404406E-2</c:v>
                </c:pt>
                <c:pt idx="4222">
                  <c:v>7.5298733725700007E-2</c:v>
                </c:pt>
                <c:pt idx="4223">
                  <c:v>7.5316568574995496E-2</c:v>
                </c:pt>
                <c:pt idx="4224">
                  <c:v>7.5334403424290999E-2</c:v>
                </c:pt>
                <c:pt idx="4225">
                  <c:v>7.5352238273586503E-2</c:v>
                </c:pt>
                <c:pt idx="4226">
                  <c:v>7.5370073122882103E-2</c:v>
                </c:pt>
                <c:pt idx="4227">
                  <c:v>7.5387907972177606E-2</c:v>
                </c:pt>
                <c:pt idx="4228">
                  <c:v>7.5405742821473096E-2</c:v>
                </c:pt>
                <c:pt idx="4229">
                  <c:v>7.5423577670768599E-2</c:v>
                </c:pt>
                <c:pt idx="4230">
                  <c:v>7.5441412520064199E-2</c:v>
                </c:pt>
                <c:pt idx="4231">
                  <c:v>7.5459247369359703E-2</c:v>
                </c:pt>
                <c:pt idx="4232">
                  <c:v>7.5477082218655206E-2</c:v>
                </c:pt>
                <c:pt idx="4233">
                  <c:v>7.5494917067950695E-2</c:v>
                </c:pt>
                <c:pt idx="4234">
                  <c:v>7.5512751917246296E-2</c:v>
                </c:pt>
                <c:pt idx="4235">
                  <c:v>7.5530586766541799E-2</c:v>
                </c:pt>
                <c:pt idx="4236">
                  <c:v>7.5548421615837302E-2</c:v>
                </c:pt>
                <c:pt idx="4237">
                  <c:v>7.5566256465132806E-2</c:v>
                </c:pt>
                <c:pt idx="4238">
                  <c:v>7.5584091314428295E-2</c:v>
                </c:pt>
                <c:pt idx="4239">
                  <c:v>7.5601926163723895E-2</c:v>
                </c:pt>
                <c:pt idx="4240">
                  <c:v>7.5619761013019399E-2</c:v>
                </c:pt>
                <c:pt idx="4241">
                  <c:v>7.5637595862314902E-2</c:v>
                </c:pt>
                <c:pt idx="4242">
                  <c:v>7.5655430711610405E-2</c:v>
                </c:pt>
                <c:pt idx="4243">
                  <c:v>7.5673265560906006E-2</c:v>
                </c:pt>
                <c:pt idx="4244">
                  <c:v>7.5691100410201495E-2</c:v>
                </c:pt>
                <c:pt idx="4245">
                  <c:v>7.5708935259496998E-2</c:v>
                </c:pt>
                <c:pt idx="4246">
                  <c:v>7.5726770108792502E-2</c:v>
                </c:pt>
                <c:pt idx="4247">
                  <c:v>7.5744604958088102E-2</c:v>
                </c:pt>
                <c:pt idx="4248">
                  <c:v>7.5762439807383605E-2</c:v>
                </c:pt>
                <c:pt idx="4249">
                  <c:v>7.5780274656679095E-2</c:v>
                </c:pt>
                <c:pt idx="4250">
                  <c:v>7.5798109505974598E-2</c:v>
                </c:pt>
                <c:pt idx="4251">
                  <c:v>7.5815944355270198E-2</c:v>
                </c:pt>
                <c:pt idx="4252">
                  <c:v>7.5833779204565702E-2</c:v>
                </c:pt>
                <c:pt idx="4253">
                  <c:v>7.5851614053861205E-2</c:v>
                </c:pt>
                <c:pt idx="4254">
                  <c:v>7.5869448903156694E-2</c:v>
                </c:pt>
                <c:pt idx="4255">
                  <c:v>7.5887283752452295E-2</c:v>
                </c:pt>
                <c:pt idx="4256">
                  <c:v>7.5905118601747798E-2</c:v>
                </c:pt>
                <c:pt idx="4257">
                  <c:v>7.5922953451043301E-2</c:v>
                </c:pt>
                <c:pt idx="4258">
                  <c:v>7.5940788300338805E-2</c:v>
                </c:pt>
                <c:pt idx="4259">
                  <c:v>7.5958623149634294E-2</c:v>
                </c:pt>
                <c:pt idx="4260">
                  <c:v>7.5976457998929894E-2</c:v>
                </c:pt>
                <c:pt idx="4261">
                  <c:v>7.5994292848225398E-2</c:v>
                </c:pt>
                <c:pt idx="4262">
                  <c:v>7.6012127697520901E-2</c:v>
                </c:pt>
                <c:pt idx="4263">
                  <c:v>7.6029962546816404E-2</c:v>
                </c:pt>
                <c:pt idx="4264">
                  <c:v>7.6047797396112005E-2</c:v>
                </c:pt>
                <c:pt idx="4265">
                  <c:v>7.6065632245407494E-2</c:v>
                </c:pt>
                <c:pt idx="4266">
                  <c:v>7.6083467094702997E-2</c:v>
                </c:pt>
                <c:pt idx="4267">
                  <c:v>7.6101301943998501E-2</c:v>
                </c:pt>
                <c:pt idx="4268">
                  <c:v>7.6119136793294101E-2</c:v>
                </c:pt>
                <c:pt idx="4269">
                  <c:v>7.6136971642589604E-2</c:v>
                </c:pt>
                <c:pt idx="4270">
                  <c:v>7.6154806491885094E-2</c:v>
                </c:pt>
                <c:pt idx="4271">
                  <c:v>7.6172641341180597E-2</c:v>
                </c:pt>
                <c:pt idx="4272">
                  <c:v>7.6190476190476197E-2</c:v>
                </c:pt>
                <c:pt idx="4273">
                  <c:v>7.6208311039771701E-2</c:v>
                </c:pt>
                <c:pt idx="4274">
                  <c:v>7.6226145889067204E-2</c:v>
                </c:pt>
                <c:pt idx="4275">
                  <c:v>7.6243980738362693E-2</c:v>
                </c:pt>
                <c:pt idx="4276">
                  <c:v>7.6261815587658197E-2</c:v>
                </c:pt>
                <c:pt idx="4277">
                  <c:v>7.6279650436953797E-2</c:v>
                </c:pt>
                <c:pt idx="4278">
                  <c:v>7.62974852862493E-2</c:v>
                </c:pt>
                <c:pt idx="4279">
                  <c:v>7.6315320135544804E-2</c:v>
                </c:pt>
                <c:pt idx="4280">
                  <c:v>7.6333154984840307E-2</c:v>
                </c:pt>
                <c:pt idx="4281">
                  <c:v>7.6350989834135893E-2</c:v>
                </c:pt>
                <c:pt idx="4282">
                  <c:v>7.6368824683431397E-2</c:v>
                </c:pt>
                <c:pt idx="4283">
                  <c:v>7.63866595327269E-2</c:v>
                </c:pt>
                <c:pt idx="4284">
                  <c:v>7.6404494382022403E-2</c:v>
                </c:pt>
                <c:pt idx="4285">
                  <c:v>7.6422329231317906E-2</c:v>
                </c:pt>
                <c:pt idx="4286">
                  <c:v>7.6440164080613507E-2</c:v>
                </c:pt>
                <c:pt idx="4287">
                  <c:v>7.6457998929908996E-2</c:v>
                </c:pt>
                <c:pt idx="4288">
                  <c:v>7.64758337792045E-2</c:v>
                </c:pt>
                <c:pt idx="4289">
                  <c:v>7.6493668628500003E-2</c:v>
                </c:pt>
                <c:pt idx="4290">
                  <c:v>7.6511503477795603E-2</c:v>
                </c:pt>
                <c:pt idx="4291">
                  <c:v>7.6529338327091107E-2</c:v>
                </c:pt>
                <c:pt idx="4292">
                  <c:v>7.6547173176386596E-2</c:v>
                </c:pt>
                <c:pt idx="4293">
                  <c:v>7.6565008025682099E-2</c:v>
                </c:pt>
                <c:pt idx="4294">
                  <c:v>7.65828428749777E-2</c:v>
                </c:pt>
                <c:pt idx="4295">
                  <c:v>7.6600677724273203E-2</c:v>
                </c:pt>
                <c:pt idx="4296">
                  <c:v>7.6618512573568706E-2</c:v>
                </c:pt>
                <c:pt idx="4297">
                  <c:v>7.6636347422864196E-2</c:v>
                </c:pt>
                <c:pt idx="4298">
                  <c:v>7.6654182272159796E-2</c:v>
                </c:pt>
                <c:pt idx="4299">
                  <c:v>7.6672017121455299E-2</c:v>
                </c:pt>
                <c:pt idx="4300">
                  <c:v>7.6689851970750803E-2</c:v>
                </c:pt>
                <c:pt idx="4301">
                  <c:v>7.6707686820046306E-2</c:v>
                </c:pt>
                <c:pt idx="4302">
                  <c:v>7.6725521669341795E-2</c:v>
                </c:pt>
                <c:pt idx="4303">
                  <c:v>7.6743356518637396E-2</c:v>
                </c:pt>
                <c:pt idx="4304">
                  <c:v>7.6761191367932899E-2</c:v>
                </c:pt>
                <c:pt idx="4305">
                  <c:v>7.6779026217228402E-2</c:v>
                </c:pt>
                <c:pt idx="4306">
                  <c:v>7.6796861066523905E-2</c:v>
                </c:pt>
                <c:pt idx="4307">
                  <c:v>7.6814695915819506E-2</c:v>
                </c:pt>
                <c:pt idx="4308">
                  <c:v>7.6832530765114995E-2</c:v>
                </c:pt>
                <c:pt idx="4309">
                  <c:v>7.6850365614410499E-2</c:v>
                </c:pt>
                <c:pt idx="4310">
                  <c:v>7.6868200463706002E-2</c:v>
                </c:pt>
                <c:pt idx="4311">
                  <c:v>7.6886035313001602E-2</c:v>
                </c:pt>
                <c:pt idx="4312">
                  <c:v>7.6903870162297105E-2</c:v>
                </c:pt>
                <c:pt idx="4313">
                  <c:v>7.6921705011592595E-2</c:v>
                </c:pt>
                <c:pt idx="4314">
                  <c:v>7.6939539860888098E-2</c:v>
                </c:pt>
                <c:pt idx="4315">
                  <c:v>7.6957374710183699E-2</c:v>
                </c:pt>
                <c:pt idx="4316">
                  <c:v>7.6975209559479202E-2</c:v>
                </c:pt>
                <c:pt idx="4317">
                  <c:v>7.6993044408774705E-2</c:v>
                </c:pt>
                <c:pt idx="4318">
                  <c:v>7.7010879258070195E-2</c:v>
                </c:pt>
                <c:pt idx="4319">
                  <c:v>7.7028714107365795E-2</c:v>
                </c:pt>
                <c:pt idx="4320">
                  <c:v>7.7046548956661298E-2</c:v>
                </c:pt>
                <c:pt idx="4321">
                  <c:v>7.7064383805956801E-2</c:v>
                </c:pt>
                <c:pt idx="4322">
                  <c:v>7.7082218655252305E-2</c:v>
                </c:pt>
                <c:pt idx="4323">
                  <c:v>7.7100053504547794E-2</c:v>
                </c:pt>
                <c:pt idx="4324">
                  <c:v>7.7117888353843395E-2</c:v>
                </c:pt>
                <c:pt idx="4325">
                  <c:v>7.7135723203138898E-2</c:v>
                </c:pt>
                <c:pt idx="4326">
                  <c:v>7.7153558052434401E-2</c:v>
                </c:pt>
                <c:pt idx="4327">
                  <c:v>7.7171392901729904E-2</c:v>
                </c:pt>
                <c:pt idx="4328">
                  <c:v>7.7189227751025505E-2</c:v>
                </c:pt>
                <c:pt idx="4329">
                  <c:v>7.7207062600320994E-2</c:v>
                </c:pt>
                <c:pt idx="4330">
                  <c:v>7.7224897449616497E-2</c:v>
                </c:pt>
                <c:pt idx="4331">
                  <c:v>7.7242732298912001E-2</c:v>
                </c:pt>
                <c:pt idx="4332">
                  <c:v>7.7260567148207601E-2</c:v>
                </c:pt>
                <c:pt idx="4333">
                  <c:v>7.7278401997503104E-2</c:v>
                </c:pt>
                <c:pt idx="4334">
                  <c:v>7.7296236846798594E-2</c:v>
                </c:pt>
                <c:pt idx="4335">
                  <c:v>7.7314071696094097E-2</c:v>
                </c:pt>
                <c:pt idx="4336">
                  <c:v>7.7331906545389698E-2</c:v>
                </c:pt>
                <c:pt idx="4337">
                  <c:v>7.7349741394685201E-2</c:v>
                </c:pt>
                <c:pt idx="4338">
                  <c:v>7.7367576243980704E-2</c:v>
                </c:pt>
                <c:pt idx="4339">
                  <c:v>7.7385411093276193E-2</c:v>
                </c:pt>
                <c:pt idx="4340">
                  <c:v>7.7403245942571697E-2</c:v>
                </c:pt>
                <c:pt idx="4341">
                  <c:v>7.7421080791867297E-2</c:v>
                </c:pt>
                <c:pt idx="4342">
                  <c:v>7.74389156411628E-2</c:v>
                </c:pt>
                <c:pt idx="4343">
                  <c:v>7.7456750490458304E-2</c:v>
                </c:pt>
                <c:pt idx="4344">
                  <c:v>7.7474585339753793E-2</c:v>
                </c:pt>
                <c:pt idx="4345">
                  <c:v>7.7492420189049394E-2</c:v>
                </c:pt>
                <c:pt idx="4346">
                  <c:v>7.7510255038344897E-2</c:v>
                </c:pt>
                <c:pt idx="4347">
                  <c:v>7.75280898876404E-2</c:v>
                </c:pt>
                <c:pt idx="4348">
                  <c:v>7.7545924736935903E-2</c:v>
                </c:pt>
                <c:pt idx="4349">
                  <c:v>7.7563759586231407E-2</c:v>
                </c:pt>
                <c:pt idx="4350">
                  <c:v>7.7581594435526993E-2</c:v>
                </c:pt>
                <c:pt idx="4351">
                  <c:v>7.7599429284822496E-2</c:v>
                </c:pt>
                <c:pt idx="4352">
                  <c:v>7.7617264134118E-2</c:v>
                </c:pt>
                <c:pt idx="4353">
                  <c:v>7.7635098983413503E-2</c:v>
                </c:pt>
                <c:pt idx="4354">
                  <c:v>7.7652933832709103E-2</c:v>
                </c:pt>
                <c:pt idx="4355">
                  <c:v>7.7670768682004607E-2</c:v>
                </c:pt>
                <c:pt idx="4356">
                  <c:v>7.7688603531300096E-2</c:v>
                </c:pt>
                <c:pt idx="4357">
                  <c:v>7.7706438380595599E-2</c:v>
                </c:pt>
                <c:pt idx="4358">
                  <c:v>7.77242732298912E-2</c:v>
                </c:pt>
                <c:pt idx="4359">
                  <c:v>7.7742108079186703E-2</c:v>
                </c:pt>
                <c:pt idx="4360">
                  <c:v>7.7759942928482206E-2</c:v>
                </c:pt>
                <c:pt idx="4361">
                  <c:v>7.7777777777777696E-2</c:v>
                </c:pt>
                <c:pt idx="4362">
                  <c:v>7.7795612627073296E-2</c:v>
                </c:pt>
                <c:pt idx="4363">
                  <c:v>7.7813447476368799E-2</c:v>
                </c:pt>
                <c:pt idx="4364">
                  <c:v>7.7831282325664303E-2</c:v>
                </c:pt>
                <c:pt idx="4365">
                  <c:v>7.7849117174959806E-2</c:v>
                </c:pt>
                <c:pt idx="4366">
                  <c:v>7.7866952024255295E-2</c:v>
                </c:pt>
                <c:pt idx="4367">
                  <c:v>7.7884786873550896E-2</c:v>
                </c:pt>
                <c:pt idx="4368">
                  <c:v>7.7902621722846399E-2</c:v>
                </c:pt>
                <c:pt idx="4369">
                  <c:v>7.7920456572141902E-2</c:v>
                </c:pt>
                <c:pt idx="4370">
                  <c:v>7.7938291421437406E-2</c:v>
                </c:pt>
                <c:pt idx="4371">
                  <c:v>7.7956126270733006E-2</c:v>
                </c:pt>
                <c:pt idx="4372">
                  <c:v>7.7973961120028495E-2</c:v>
                </c:pt>
                <c:pt idx="4373">
                  <c:v>7.7991795969323999E-2</c:v>
                </c:pt>
                <c:pt idx="4374">
                  <c:v>7.8009630818619502E-2</c:v>
                </c:pt>
                <c:pt idx="4375">
                  <c:v>7.8027465667915102E-2</c:v>
                </c:pt>
                <c:pt idx="4376">
                  <c:v>7.8045300517210606E-2</c:v>
                </c:pt>
                <c:pt idx="4377">
                  <c:v>7.8063135366506095E-2</c:v>
                </c:pt>
                <c:pt idx="4378">
                  <c:v>7.8080970215801598E-2</c:v>
                </c:pt>
                <c:pt idx="4379">
                  <c:v>7.8098805065097199E-2</c:v>
                </c:pt>
                <c:pt idx="4380">
                  <c:v>7.8116639914392702E-2</c:v>
                </c:pt>
                <c:pt idx="4381">
                  <c:v>7.8134474763688205E-2</c:v>
                </c:pt>
                <c:pt idx="4382">
                  <c:v>7.8152309612983695E-2</c:v>
                </c:pt>
                <c:pt idx="4383">
                  <c:v>7.8170144462279295E-2</c:v>
                </c:pt>
                <c:pt idx="4384">
                  <c:v>7.8187979311574798E-2</c:v>
                </c:pt>
                <c:pt idx="4385">
                  <c:v>7.8205814160870302E-2</c:v>
                </c:pt>
                <c:pt idx="4386">
                  <c:v>7.8223649010165805E-2</c:v>
                </c:pt>
                <c:pt idx="4387">
                  <c:v>7.8241483859461294E-2</c:v>
                </c:pt>
                <c:pt idx="4388">
                  <c:v>7.8259318708756895E-2</c:v>
                </c:pt>
                <c:pt idx="4389">
                  <c:v>7.8277153558052398E-2</c:v>
                </c:pt>
                <c:pt idx="4390">
                  <c:v>7.8294988407347901E-2</c:v>
                </c:pt>
                <c:pt idx="4391">
                  <c:v>7.8312823256643405E-2</c:v>
                </c:pt>
                <c:pt idx="4392">
                  <c:v>7.8330658105939005E-2</c:v>
                </c:pt>
                <c:pt idx="4393">
                  <c:v>7.8348492955234494E-2</c:v>
                </c:pt>
                <c:pt idx="4394">
                  <c:v>7.8366327804529998E-2</c:v>
                </c:pt>
                <c:pt idx="4395">
                  <c:v>7.8384162653825501E-2</c:v>
                </c:pt>
                <c:pt idx="4396">
                  <c:v>7.8401997503121101E-2</c:v>
                </c:pt>
                <c:pt idx="4397">
                  <c:v>7.8419832352416605E-2</c:v>
                </c:pt>
                <c:pt idx="4398">
                  <c:v>7.8437667201712094E-2</c:v>
                </c:pt>
                <c:pt idx="4399">
                  <c:v>7.8455502051007597E-2</c:v>
                </c:pt>
                <c:pt idx="4400">
                  <c:v>7.8473336900303198E-2</c:v>
                </c:pt>
                <c:pt idx="4401">
                  <c:v>7.8491171749598701E-2</c:v>
                </c:pt>
                <c:pt idx="4402">
                  <c:v>7.8509006598894204E-2</c:v>
                </c:pt>
                <c:pt idx="4403">
                  <c:v>7.8526841448189694E-2</c:v>
                </c:pt>
                <c:pt idx="4404">
                  <c:v>7.8544676297485197E-2</c:v>
                </c:pt>
                <c:pt idx="4405">
                  <c:v>7.8562511146780797E-2</c:v>
                </c:pt>
                <c:pt idx="4406">
                  <c:v>7.8580345996076301E-2</c:v>
                </c:pt>
                <c:pt idx="4407">
                  <c:v>7.8598180845371804E-2</c:v>
                </c:pt>
                <c:pt idx="4408">
                  <c:v>7.8616015694667293E-2</c:v>
                </c:pt>
                <c:pt idx="4409">
                  <c:v>7.8633850543962894E-2</c:v>
                </c:pt>
                <c:pt idx="4410">
                  <c:v>7.8651685393258397E-2</c:v>
                </c:pt>
                <c:pt idx="4411">
                  <c:v>7.86695202425539E-2</c:v>
                </c:pt>
                <c:pt idx="4412">
                  <c:v>7.8687355091849404E-2</c:v>
                </c:pt>
                <c:pt idx="4413">
                  <c:v>7.8705189941145004E-2</c:v>
                </c:pt>
                <c:pt idx="4414">
                  <c:v>7.8723024790440493E-2</c:v>
                </c:pt>
                <c:pt idx="4415">
                  <c:v>7.8740859639735997E-2</c:v>
                </c:pt>
                <c:pt idx="4416">
                  <c:v>7.87586944890315E-2</c:v>
                </c:pt>
                <c:pt idx="4417">
                  <c:v>7.8776529338327003E-2</c:v>
                </c:pt>
                <c:pt idx="4418">
                  <c:v>7.8794364187622604E-2</c:v>
                </c:pt>
                <c:pt idx="4419">
                  <c:v>7.8812199036918107E-2</c:v>
                </c:pt>
                <c:pt idx="4420">
                  <c:v>7.8830033886213596E-2</c:v>
                </c:pt>
                <c:pt idx="4421">
                  <c:v>7.88478687355091E-2</c:v>
                </c:pt>
                <c:pt idx="4422">
                  <c:v>7.88657035848047E-2</c:v>
                </c:pt>
                <c:pt idx="4423">
                  <c:v>7.8883538434100203E-2</c:v>
                </c:pt>
                <c:pt idx="4424">
                  <c:v>7.8901373283395707E-2</c:v>
                </c:pt>
                <c:pt idx="4425">
                  <c:v>7.8919208132691196E-2</c:v>
                </c:pt>
                <c:pt idx="4426">
                  <c:v>7.8937042981986796E-2</c:v>
                </c:pt>
                <c:pt idx="4427">
                  <c:v>7.89548778312823E-2</c:v>
                </c:pt>
                <c:pt idx="4428">
                  <c:v>7.8972712680577803E-2</c:v>
                </c:pt>
                <c:pt idx="4429">
                  <c:v>7.8990547529873306E-2</c:v>
                </c:pt>
                <c:pt idx="4430">
                  <c:v>7.9008382379168796E-2</c:v>
                </c:pt>
                <c:pt idx="4431">
                  <c:v>7.9026217228464396E-2</c:v>
                </c:pt>
                <c:pt idx="4432">
                  <c:v>7.9044052077759899E-2</c:v>
                </c:pt>
                <c:pt idx="4433">
                  <c:v>7.9061886927055403E-2</c:v>
                </c:pt>
                <c:pt idx="4434">
                  <c:v>7.9079721776350906E-2</c:v>
                </c:pt>
                <c:pt idx="4435">
                  <c:v>7.9097556625646506E-2</c:v>
                </c:pt>
                <c:pt idx="4436">
                  <c:v>7.9115391474941996E-2</c:v>
                </c:pt>
                <c:pt idx="4437">
                  <c:v>7.9133226324237499E-2</c:v>
                </c:pt>
                <c:pt idx="4438">
                  <c:v>7.9151061173533002E-2</c:v>
                </c:pt>
                <c:pt idx="4439">
                  <c:v>7.9168896022828603E-2</c:v>
                </c:pt>
                <c:pt idx="4440">
                  <c:v>7.9186730872124106E-2</c:v>
                </c:pt>
                <c:pt idx="4441">
                  <c:v>7.9204565721419595E-2</c:v>
                </c:pt>
                <c:pt idx="4442">
                  <c:v>7.9222400570715099E-2</c:v>
                </c:pt>
                <c:pt idx="4443">
                  <c:v>7.9240235420010699E-2</c:v>
                </c:pt>
                <c:pt idx="4444">
                  <c:v>7.9258070269306202E-2</c:v>
                </c:pt>
                <c:pt idx="4445">
                  <c:v>7.9275905118601706E-2</c:v>
                </c:pt>
                <c:pt idx="4446">
                  <c:v>7.9293739967897195E-2</c:v>
                </c:pt>
                <c:pt idx="4447">
                  <c:v>7.9311574817192795E-2</c:v>
                </c:pt>
                <c:pt idx="4448">
                  <c:v>7.9329409666488299E-2</c:v>
                </c:pt>
                <c:pt idx="4449">
                  <c:v>7.9347244515783802E-2</c:v>
                </c:pt>
                <c:pt idx="4450">
                  <c:v>7.9365079365079305E-2</c:v>
                </c:pt>
                <c:pt idx="4451">
                  <c:v>7.9382914214374795E-2</c:v>
                </c:pt>
                <c:pt idx="4452">
                  <c:v>7.9400749063670395E-2</c:v>
                </c:pt>
                <c:pt idx="4453">
                  <c:v>7.9418583912965898E-2</c:v>
                </c:pt>
                <c:pt idx="4454">
                  <c:v>7.9436418762261402E-2</c:v>
                </c:pt>
                <c:pt idx="4455">
                  <c:v>7.9454253611556905E-2</c:v>
                </c:pt>
                <c:pt idx="4456">
                  <c:v>7.9472088460852505E-2</c:v>
                </c:pt>
                <c:pt idx="4457">
                  <c:v>7.9489923310147995E-2</c:v>
                </c:pt>
                <c:pt idx="4458">
                  <c:v>7.9507758159443498E-2</c:v>
                </c:pt>
                <c:pt idx="4459">
                  <c:v>7.9525593008739001E-2</c:v>
                </c:pt>
                <c:pt idx="4460">
                  <c:v>7.9543427858034602E-2</c:v>
                </c:pt>
                <c:pt idx="4461">
                  <c:v>7.9561262707330105E-2</c:v>
                </c:pt>
                <c:pt idx="4462">
                  <c:v>7.9579097556625594E-2</c:v>
                </c:pt>
                <c:pt idx="4463">
                  <c:v>7.9596932405921098E-2</c:v>
                </c:pt>
                <c:pt idx="4464">
                  <c:v>7.9614767255216698E-2</c:v>
                </c:pt>
                <c:pt idx="4465">
                  <c:v>7.9632602104512201E-2</c:v>
                </c:pt>
                <c:pt idx="4466">
                  <c:v>7.9650436953807704E-2</c:v>
                </c:pt>
                <c:pt idx="4467">
                  <c:v>7.9668271803103194E-2</c:v>
                </c:pt>
                <c:pt idx="4468">
                  <c:v>7.9686106652398697E-2</c:v>
                </c:pt>
                <c:pt idx="4469">
                  <c:v>7.9703941501694298E-2</c:v>
                </c:pt>
                <c:pt idx="4470">
                  <c:v>7.9721776350989801E-2</c:v>
                </c:pt>
                <c:pt idx="4471">
                  <c:v>7.9739611200285304E-2</c:v>
                </c:pt>
                <c:pt idx="4472">
                  <c:v>7.9757446049580794E-2</c:v>
                </c:pt>
                <c:pt idx="4473">
                  <c:v>7.9775280898876394E-2</c:v>
                </c:pt>
                <c:pt idx="4474">
                  <c:v>7.9793115748171897E-2</c:v>
                </c:pt>
                <c:pt idx="4475">
                  <c:v>7.9810950597467401E-2</c:v>
                </c:pt>
                <c:pt idx="4476">
                  <c:v>7.9828785446762904E-2</c:v>
                </c:pt>
                <c:pt idx="4477">
                  <c:v>7.9846620296058504E-2</c:v>
                </c:pt>
                <c:pt idx="4478">
                  <c:v>7.9864455145353994E-2</c:v>
                </c:pt>
                <c:pt idx="4479">
                  <c:v>7.9882289994649497E-2</c:v>
                </c:pt>
                <c:pt idx="4480">
                  <c:v>7.9900124843945E-2</c:v>
                </c:pt>
                <c:pt idx="4481">
                  <c:v>7.9917959693240503E-2</c:v>
                </c:pt>
                <c:pt idx="4482">
                  <c:v>7.9935794542536104E-2</c:v>
                </c:pt>
                <c:pt idx="4483">
                  <c:v>7.9953629391831593E-2</c:v>
                </c:pt>
                <c:pt idx="4484">
                  <c:v>7.9971464241127097E-2</c:v>
                </c:pt>
                <c:pt idx="4485">
                  <c:v>7.99892990904226E-2</c:v>
                </c:pt>
                <c:pt idx="4486">
                  <c:v>8.00071339397182E-2</c:v>
                </c:pt>
                <c:pt idx="4487">
                  <c:v>8.0024968789013703E-2</c:v>
                </c:pt>
                <c:pt idx="4488">
                  <c:v>8.0042803638309207E-2</c:v>
                </c:pt>
                <c:pt idx="4489">
                  <c:v>8.0060638487604696E-2</c:v>
                </c:pt>
                <c:pt idx="4490">
                  <c:v>8.0078473336900297E-2</c:v>
                </c:pt>
                <c:pt idx="4491">
                  <c:v>8.00963081861958E-2</c:v>
                </c:pt>
                <c:pt idx="4492">
                  <c:v>8.0114143035491303E-2</c:v>
                </c:pt>
                <c:pt idx="4493">
                  <c:v>8.0131977884786806E-2</c:v>
                </c:pt>
                <c:pt idx="4494">
                  <c:v>8.0149812734082296E-2</c:v>
                </c:pt>
                <c:pt idx="4495">
                  <c:v>8.0167647583377896E-2</c:v>
                </c:pt>
                <c:pt idx="4496">
                  <c:v>8.0185482432673399E-2</c:v>
                </c:pt>
                <c:pt idx="4497">
                  <c:v>8.0203317281968903E-2</c:v>
                </c:pt>
                <c:pt idx="4498">
                  <c:v>8.0221152131264406E-2</c:v>
                </c:pt>
                <c:pt idx="4499">
                  <c:v>8.0238986980560006E-2</c:v>
                </c:pt>
                <c:pt idx="4500">
                  <c:v>8.0256821829855496E-2</c:v>
                </c:pt>
                <c:pt idx="4501">
                  <c:v>8.0274656679150999E-2</c:v>
                </c:pt>
                <c:pt idx="4502">
                  <c:v>8.0292491528446502E-2</c:v>
                </c:pt>
                <c:pt idx="4503">
                  <c:v>8.0310326377742103E-2</c:v>
                </c:pt>
                <c:pt idx="4504">
                  <c:v>8.0328161227037606E-2</c:v>
                </c:pt>
                <c:pt idx="4505">
                  <c:v>8.0345996076333095E-2</c:v>
                </c:pt>
                <c:pt idx="4506">
                  <c:v>8.0363830925628599E-2</c:v>
                </c:pt>
                <c:pt idx="4507">
                  <c:v>8.0381665774924199E-2</c:v>
                </c:pt>
                <c:pt idx="4508">
                  <c:v>8.0399500624219702E-2</c:v>
                </c:pt>
                <c:pt idx="4509">
                  <c:v>8.0417335473515206E-2</c:v>
                </c:pt>
                <c:pt idx="4510">
                  <c:v>8.0435170322810695E-2</c:v>
                </c:pt>
                <c:pt idx="4511">
                  <c:v>8.0453005172106296E-2</c:v>
                </c:pt>
                <c:pt idx="4512">
                  <c:v>8.0470840021401799E-2</c:v>
                </c:pt>
                <c:pt idx="4513">
                  <c:v>8.0488674870697302E-2</c:v>
                </c:pt>
                <c:pt idx="4514">
                  <c:v>8.0506509719992805E-2</c:v>
                </c:pt>
                <c:pt idx="4515">
                  <c:v>8.0524344569288295E-2</c:v>
                </c:pt>
                <c:pt idx="4516">
                  <c:v>8.0542179418583895E-2</c:v>
                </c:pt>
                <c:pt idx="4517">
                  <c:v>8.0560014267879398E-2</c:v>
                </c:pt>
                <c:pt idx="4518">
                  <c:v>8.0577849117174902E-2</c:v>
                </c:pt>
                <c:pt idx="4519">
                  <c:v>8.0595683966470405E-2</c:v>
                </c:pt>
                <c:pt idx="4520">
                  <c:v>8.0613518815766005E-2</c:v>
                </c:pt>
                <c:pt idx="4521">
                  <c:v>8.0631353665061495E-2</c:v>
                </c:pt>
                <c:pt idx="4522">
                  <c:v>8.0649188514356998E-2</c:v>
                </c:pt>
                <c:pt idx="4523">
                  <c:v>8.0667023363652501E-2</c:v>
                </c:pt>
                <c:pt idx="4524">
                  <c:v>8.0684858212948102E-2</c:v>
                </c:pt>
                <c:pt idx="4525">
                  <c:v>8.0702693062243605E-2</c:v>
                </c:pt>
                <c:pt idx="4526">
                  <c:v>8.0720527911539094E-2</c:v>
                </c:pt>
                <c:pt idx="4527">
                  <c:v>8.0738362760834598E-2</c:v>
                </c:pt>
                <c:pt idx="4528">
                  <c:v>8.0756197610130198E-2</c:v>
                </c:pt>
                <c:pt idx="4529">
                  <c:v>8.0774032459425701E-2</c:v>
                </c:pt>
                <c:pt idx="4530">
                  <c:v>8.0791867308721205E-2</c:v>
                </c:pt>
                <c:pt idx="4531">
                  <c:v>8.0809702158016694E-2</c:v>
                </c:pt>
                <c:pt idx="4532">
                  <c:v>8.0827537007312295E-2</c:v>
                </c:pt>
                <c:pt idx="4533">
                  <c:v>8.0845371856607798E-2</c:v>
                </c:pt>
                <c:pt idx="4534">
                  <c:v>8.0863206705903301E-2</c:v>
                </c:pt>
                <c:pt idx="4535">
                  <c:v>8.0881041555198804E-2</c:v>
                </c:pt>
                <c:pt idx="4536">
                  <c:v>8.0898876404494294E-2</c:v>
                </c:pt>
                <c:pt idx="4537">
                  <c:v>8.0916711253789894E-2</c:v>
                </c:pt>
                <c:pt idx="4538">
                  <c:v>8.0934546103085397E-2</c:v>
                </c:pt>
                <c:pt idx="4539">
                  <c:v>8.0952380952380901E-2</c:v>
                </c:pt>
                <c:pt idx="4540">
                  <c:v>8.0970215801676404E-2</c:v>
                </c:pt>
                <c:pt idx="4541">
                  <c:v>8.0988050650972004E-2</c:v>
                </c:pt>
                <c:pt idx="4542">
                  <c:v>8.1005885500267494E-2</c:v>
                </c:pt>
                <c:pt idx="4543">
                  <c:v>8.1023720349562997E-2</c:v>
                </c:pt>
                <c:pt idx="4544">
                  <c:v>8.10415551988585E-2</c:v>
                </c:pt>
                <c:pt idx="4545">
                  <c:v>8.1059390048154004E-2</c:v>
                </c:pt>
                <c:pt idx="4546">
                  <c:v>8.1077224897449604E-2</c:v>
                </c:pt>
                <c:pt idx="4547">
                  <c:v>8.1095059746745093E-2</c:v>
                </c:pt>
                <c:pt idx="4548">
                  <c:v>8.1112894596040597E-2</c:v>
                </c:pt>
                <c:pt idx="4549">
                  <c:v>8.11307294453361E-2</c:v>
                </c:pt>
                <c:pt idx="4550">
                  <c:v>8.11485642946317E-2</c:v>
                </c:pt>
                <c:pt idx="4551">
                  <c:v>8.1166399143927204E-2</c:v>
                </c:pt>
                <c:pt idx="4552">
                  <c:v>8.1184233993222693E-2</c:v>
                </c:pt>
                <c:pt idx="4553">
                  <c:v>8.1202068842518196E-2</c:v>
                </c:pt>
                <c:pt idx="4554">
                  <c:v>8.1219903691813797E-2</c:v>
                </c:pt>
                <c:pt idx="4555">
                  <c:v>8.12377385411093E-2</c:v>
                </c:pt>
                <c:pt idx="4556">
                  <c:v>8.1255573390404803E-2</c:v>
                </c:pt>
                <c:pt idx="4557">
                  <c:v>8.1273408239700307E-2</c:v>
                </c:pt>
                <c:pt idx="4558">
                  <c:v>8.1291243088995893E-2</c:v>
                </c:pt>
                <c:pt idx="4559">
                  <c:v>8.1309077938291396E-2</c:v>
                </c:pt>
                <c:pt idx="4560">
                  <c:v>8.13269127875869E-2</c:v>
                </c:pt>
                <c:pt idx="4561">
                  <c:v>8.1344747636882403E-2</c:v>
                </c:pt>
                <c:pt idx="4562">
                  <c:v>8.1362582486177906E-2</c:v>
                </c:pt>
                <c:pt idx="4563">
                  <c:v>8.1380417335473507E-2</c:v>
                </c:pt>
                <c:pt idx="4564">
                  <c:v>8.1398252184768996E-2</c:v>
                </c:pt>
                <c:pt idx="4565">
                  <c:v>8.1416087034064499E-2</c:v>
                </c:pt>
                <c:pt idx="4566">
                  <c:v>8.1433921883360003E-2</c:v>
                </c:pt>
                <c:pt idx="4567">
                  <c:v>8.1451756732655603E-2</c:v>
                </c:pt>
                <c:pt idx="4568">
                  <c:v>8.1469591581951106E-2</c:v>
                </c:pt>
                <c:pt idx="4569">
                  <c:v>8.1487426431246596E-2</c:v>
                </c:pt>
                <c:pt idx="4570">
                  <c:v>8.1505261280542099E-2</c:v>
                </c:pt>
                <c:pt idx="4571">
                  <c:v>8.1523096129837699E-2</c:v>
                </c:pt>
                <c:pt idx="4572">
                  <c:v>8.1540930979133203E-2</c:v>
                </c:pt>
                <c:pt idx="4573">
                  <c:v>8.1558765828428706E-2</c:v>
                </c:pt>
                <c:pt idx="4574">
                  <c:v>8.1576600677724195E-2</c:v>
                </c:pt>
                <c:pt idx="4575">
                  <c:v>8.1594435527019796E-2</c:v>
                </c:pt>
                <c:pt idx="4576">
                  <c:v>8.1612270376315299E-2</c:v>
                </c:pt>
                <c:pt idx="4577">
                  <c:v>8.1630105225610802E-2</c:v>
                </c:pt>
                <c:pt idx="4578">
                  <c:v>8.1647940074906306E-2</c:v>
                </c:pt>
                <c:pt idx="4579">
                  <c:v>8.1665774924201795E-2</c:v>
                </c:pt>
                <c:pt idx="4580">
                  <c:v>8.1683609773497395E-2</c:v>
                </c:pt>
                <c:pt idx="4581">
                  <c:v>8.1701444622792899E-2</c:v>
                </c:pt>
                <c:pt idx="4582">
                  <c:v>8.1719279472088402E-2</c:v>
                </c:pt>
                <c:pt idx="4583">
                  <c:v>8.1737114321383905E-2</c:v>
                </c:pt>
                <c:pt idx="4584">
                  <c:v>8.1754949170679506E-2</c:v>
                </c:pt>
                <c:pt idx="4585">
                  <c:v>8.1772784019974995E-2</c:v>
                </c:pt>
                <c:pt idx="4586">
                  <c:v>8.1790618869270498E-2</c:v>
                </c:pt>
                <c:pt idx="4587">
                  <c:v>8.1808453718566002E-2</c:v>
                </c:pt>
                <c:pt idx="4588">
                  <c:v>8.1826288567861602E-2</c:v>
                </c:pt>
                <c:pt idx="4589">
                  <c:v>8.1844123417157105E-2</c:v>
                </c:pt>
                <c:pt idx="4590">
                  <c:v>8.1861958266452595E-2</c:v>
                </c:pt>
                <c:pt idx="4591">
                  <c:v>8.1879793115748098E-2</c:v>
                </c:pt>
                <c:pt idx="4592">
                  <c:v>8.1897627965043698E-2</c:v>
                </c:pt>
                <c:pt idx="4593">
                  <c:v>8.1915462814339202E-2</c:v>
                </c:pt>
                <c:pt idx="4594">
                  <c:v>8.1933297663634705E-2</c:v>
                </c:pt>
                <c:pt idx="4595">
                  <c:v>8.1951132512930194E-2</c:v>
                </c:pt>
                <c:pt idx="4596">
                  <c:v>8.1968967362225795E-2</c:v>
                </c:pt>
                <c:pt idx="4597">
                  <c:v>8.1986802211521298E-2</c:v>
                </c:pt>
                <c:pt idx="4598">
                  <c:v>8.2004637060816801E-2</c:v>
                </c:pt>
                <c:pt idx="4599">
                  <c:v>8.2022471910112305E-2</c:v>
                </c:pt>
                <c:pt idx="4600">
                  <c:v>8.2040306759407794E-2</c:v>
                </c:pt>
                <c:pt idx="4601">
                  <c:v>8.2058141608703394E-2</c:v>
                </c:pt>
                <c:pt idx="4602">
                  <c:v>8.2075976457998898E-2</c:v>
                </c:pt>
                <c:pt idx="4603">
                  <c:v>8.2093811307294401E-2</c:v>
                </c:pt>
                <c:pt idx="4604">
                  <c:v>8.2111646156589904E-2</c:v>
                </c:pt>
                <c:pt idx="4605">
                  <c:v>8.2129481005885505E-2</c:v>
                </c:pt>
                <c:pt idx="4606">
                  <c:v>8.2147315855180994E-2</c:v>
                </c:pt>
                <c:pt idx="4607">
                  <c:v>8.2165150704476497E-2</c:v>
                </c:pt>
                <c:pt idx="4608">
                  <c:v>8.2182985553772001E-2</c:v>
                </c:pt>
                <c:pt idx="4609">
                  <c:v>8.2200820403067601E-2</c:v>
                </c:pt>
                <c:pt idx="4610">
                  <c:v>8.2218655252363104E-2</c:v>
                </c:pt>
                <c:pt idx="4611">
                  <c:v>8.2236490101658594E-2</c:v>
                </c:pt>
                <c:pt idx="4612">
                  <c:v>8.2254324950954097E-2</c:v>
                </c:pt>
                <c:pt idx="4613">
                  <c:v>8.22721598002496E-2</c:v>
                </c:pt>
                <c:pt idx="4614">
                  <c:v>8.2289994649545201E-2</c:v>
                </c:pt>
                <c:pt idx="4615">
                  <c:v>8.2307829498840704E-2</c:v>
                </c:pt>
                <c:pt idx="4616">
                  <c:v>8.2325664348136193E-2</c:v>
                </c:pt>
                <c:pt idx="4617">
                  <c:v>8.2343499197431697E-2</c:v>
                </c:pt>
                <c:pt idx="4618">
                  <c:v>8.2361334046727297E-2</c:v>
                </c:pt>
                <c:pt idx="4619">
                  <c:v>8.23791688960228E-2</c:v>
                </c:pt>
                <c:pt idx="4620">
                  <c:v>8.2397003745318304E-2</c:v>
                </c:pt>
                <c:pt idx="4621">
                  <c:v>8.2414838594613807E-2</c:v>
                </c:pt>
                <c:pt idx="4622">
                  <c:v>8.2432673443909393E-2</c:v>
                </c:pt>
                <c:pt idx="4623">
                  <c:v>8.2450508293204897E-2</c:v>
                </c:pt>
                <c:pt idx="4624">
                  <c:v>8.24683431425004E-2</c:v>
                </c:pt>
                <c:pt idx="4625">
                  <c:v>8.2486177991795903E-2</c:v>
                </c:pt>
                <c:pt idx="4626">
                  <c:v>8.2504012841091406E-2</c:v>
                </c:pt>
                <c:pt idx="4627">
                  <c:v>8.2521847690387007E-2</c:v>
                </c:pt>
                <c:pt idx="4628">
                  <c:v>8.2539682539682496E-2</c:v>
                </c:pt>
                <c:pt idx="4629">
                  <c:v>8.2557517388978E-2</c:v>
                </c:pt>
                <c:pt idx="4630">
                  <c:v>8.2575352238273503E-2</c:v>
                </c:pt>
                <c:pt idx="4631">
                  <c:v>8.2593187087569103E-2</c:v>
                </c:pt>
                <c:pt idx="4632">
                  <c:v>8.2611021936864606E-2</c:v>
                </c:pt>
                <c:pt idx="4633">
                  <c:v>8.2628856786160096E-2</c:v>
                </c:pt>
                <c:pt idx="4634">
                  <c:v>8.2646691635455599E-2</c:v>
                </c:pt>
                <c:pt idx="4635">
                  <c:v>8.26645264847512E-2</c:v>
                </c:pt>
                <c:pt idx="4636">
                  <c:v>8.2682361334046703E-2</c:v>
                </c:pt>
                <c:pt idx="4637">
                  <c:v>8.2700196183342206E-2</c:v>
                </c:pt>
                <c:pt idx="4638">
                  <c:v>8.2718031032637696E-2</c:v>
                </c:pt>
                <c:pt idx="4639">
                  <c:v>8.2735865881933296E-2</c:v>
                </c:pt>
                <c:pt idx="4640">
                  <c:v>8.2753700731228799E-2</c:v>
                </c:pt>
                <c:pt idx="4641">
                  <c:v>8.2771535580524302E-2</c:v>
                </c:pt>
                <c:pt idx="4642">
                  <c:v>8.2789370429819806E-2</c:v>
                </c:pt>
                <c:pt idx="4643">
                  <c:v>8.2807205279115295E-2</c:v>
                </c:pt>
                <c:pt idx="4644">
                  <c:v>8.2825040128410896E-2</c:v>
                </c:pt>
                <c:pt idx="4645">
                  <c:v>8.2842874977706399E-2</c:v>
                </c:pt>
                <c:pt idx="4646">
                  <c:v>8.2860709827001902E-2</c:v>
                </c:pt>
                <c:pt idx="4647">
                  <c:v>8.2878544676297405E-2</c:v>
                </c:pt>
                <c:pt idx="4648">
                  <c:v>8.2896379525593006E-2</c:v>
                </c:pt>
                <c:pt idx="4649">
                  <c:v>8.2914214374888495E-2</c:v>
                </c:pt>
                <c:pt idx="4650">
                  <c:v>8.2932049224183998E-2</c:v>
                </c:pt>
                <c:pt idx="4651">
                  <c:v>8.2949884073479502E-2</c:v>
                </c:pt>
                <c:pt idx="4652">
                  <c:v>8.2967718922775102E-2</c:v>
                </c:pt>
                <c:pt idx="4653">
                  <c:v>8.2985553772070605E-2</c:v>
                </c:pt>
                <c:pt idx="4654">
                  <c:v>8.3003388621366095E-2</c:v>
                </c:pt>
                <c:pt idx="4655">
                  <c:v>8.3021223470661598E-2</c:v>
                </c:pt>
                <c:pt idx="4656">
                  <c:v>8.3039058319957199E-2</c:v>
                </c:pt>
                <c:pt idx="4657">
                  <c:v>8.3056893169252702E-2</c:v>
                </c:pt>
                <c:pt idx="4658">
                  <c:v>8.3074728018548205E-2</c:v>
                </c:pt>
                <c:pt idx="4659">
                  <c:v>8.3092562867843694E-2</c:v>
                </c:pt>
                <c:pt idx="4660">
                  <c:v>8.3110397717139295E-2</c:v>
                </c:pt>
                <c:pt idx="4661">
                  <c:v>8.3128232566434798E-2</c:v>
                </c:pt>
                <c:pt idx="4662">
                  <c:v>8.3146067415730301E-2</c:v>
                </c:pt>
                <c:pt idx="4663">
                  <c:v>8.3163902265025805E-2</c:v>
                </c:pt>
                <c:pt idx="4664">
                  <c:v>8.3181737114321294E-2</c:v>
                </c:pt>
                <c:pt idx="4665">
                  <c:v>8.3199571963616895E-2</c:v>
                </c:pt>
                <c:pt idx="4666">
                  <c:v>8.3217406812912398E-2</c:v>
                </c:pt>
                <c:pt idx="4667">
                  <c:v>8.3235241662207901E-2</c:v>
                </c:pt>
                <c:pt idx="4668">
                  <c:v>8.3253076511503404E-2</c:v>
                </c:pt>
                <c:pt idx="4669">
                  <c:v>8.3270911360799005E-2</c:v>
                </c:pt>
                <c:pt idx="4670">
                  <c:v>8.3288746210094494E-2</c:v>
                </c:pt>
                <c:pt idx="4671">
                  <c:v>8.3306581059389997E-2</c:v>
                </c:pt>
                <c:pt idx="4672">
                  <c:v>8.3324415908685501E-2</c:v>
                </c:pt>
                <c:pt idx="4673">
                  <c:v>8.3342250757981101E-2</c:v>
                </c:pt>
                <c:pt idx="4674">
                  <c:v>8.3360085607276604E-2</c:v>
                </c:pt>
                <c:pt idx="4675">
                  <c:v>8.3377920456572094E-2</c:v>
                </c:pt>
                <c:pt idx="4676">
                  <c:v>8.3395755305867597E-2</c:v>
                </c:pt>
                <c:pt idx="4677">
                  <c:v>8.34135901551631E-2</c:v>
                </c:pt>
                <c:pt idx="4678">
                  <c:v>8.3431425004458701E-2</c:v>
                </c:pt>
                <c:pt idx="4679">
                  <c:v>8.3449259853754204E-2</c:v>
                </c:pt>
                <c:pt idx="4680">
                  <c:v>8.3467094703049693E-2</c:v>
                </c:pt>
                <c:pt idx="4681">
                  <c:v>8.3484929552345197E-2</c:v>
                </c:pt>
                <c:pt idx="4682">
                  <c:v>8.3502764401640797E-2</c:v>
                </c:pt>
                <c:pt idx="4683">
                  <c:v>8.35205992509363E-2</c:v>
                </c:pt>
                <c:pt idx="4684">
                  <c:v>8.3538434100231804E-2</c:v>
                </c:pt>
                <c:pt idx="4685">
                  <c:v>8.3556268949527293E-2</c:v>
                </c:pt>
                <c:pt idx="4686">
                  <c:v>8.3574103798822894E-2</c:v>
                </c:pt>
                <c:pt idx="4687">
                  <c:v>8.3591938648118397E-2</c:v>
                </c:pt>
                <c:pt idx="4688">
                  <c:v>8.36097734974139E-2</c:v>
                </c:pt>
                <c:pt idx="4689">
                  <c:v>8.3627608346709403E-2</c:v>
                </c:pt>
                <c:pt idx="4690">
                  <c:v>8.3645443196004907E-2</c:v>
                </c:pt>
                <c:pt idx="4691">
                  <c:v>8.3663278045300493E-2</c:v>
                </c:pt>
                <c:pt idx="4692">
                  <c:v>8.3681112894595996E-2</c:v>
                </c:pt>
                <c:pt idx="4693">
                  <c:v>8.36989477438915E-2</c:v>
                </c:pt>
                <c:pt idx="4694">
                  <c:v>8.3716782593187003E-2</c:v>
                </c:pt>
                <c:pt idx="4695">
                  <c:v>8.3734617442482603E-2</c:v>
                </c:pt>
                <c:pt idx="4696">
                  <c:v>8.3752452291778107E-2</c:v>
                </c:pt>
                <c:pt idx="4697">
                  <c:v>8.3770287141073596E-2</c:v>
                </c:pt>
                <c:pt idx="4698">
                  <c:v>8.3788121990369099E-2</c:v>
                </c:pt>
                <c:pt idx="4699">
                  <c:v>8.38059568396647E-2</c:v>
                </c:pt>
                <c:pt idx="4700">
                  <c:v>8.3823791688960203E-2</c:v>
                </c:pt>
                <c:pt idx="4701">
                  <c:v>8.3841626538255706E-2</c:v>
                </c:pt>
                <c:pt idx="4702">
                  <c:v>8.3859461387551196E-2</c:v>
                </c:pt>
                <c:pt idx="4703">
                  <c:v>8.3877296236846796E-2</c:v>
                </c:pt>
                <c:pt idx="4704">
                  <c:v>8.3895131086142299E-2</c:v>
                </c:pt>
                <c:pt idx="4705">
                  <c:v>8.3912965935437803E-2</c:v>
                </c:pt>
                <c:pt idx="4706">
                  <c:v>8.3930800784733306E-2</c:v>
                </c:pt>
                <c:pt idx="4707">
                  <c:v>8.3948635634028795E-2</c:v>
                </c:pt>
                <c:pt idx="4708">
                  <c:v>8.3966470483324396E-2</c:v>
                </c:pt>
                <c:pt idx="4709">
                  <c:v>8.3984305332619899E-2</c:v>
                </c:pt>
                <c:pt idx="4710">
                  <c:v>8.4002140181915402E-2</c:v>
                </c:pt>
                <c:pt idx="4711">
                  <c:v>8.4019975031210906E-2</c:v>
                </c:pt>
                <c:pt idx="4712">
                  <c:v>8.4037809880506506E-2</c:v>
                </c:pt>
                <c:pt idx="4713">
                  <c:v>8.4055644729801995E-2</c:v>
                </c:pt>
                <c:pt idx="4714">
                  <c:v>8.4073479579097499E-2</c:v>
                </c:pt>
                <c:pt idx="4715">
                  <c:v>8.4091314428393002E-2</c:v>
                </c:pt>
                <c:pt idx="4716">
                  <c:v>8.4109149277688602E-2</c:v>
                </c:pt>
                <c:pt idx="4717">
                  <c:v>8.4126984126984106E-2</c:v>
                </c:pt>
                <c:pt idx="4718">
                  <c:v>8.4144818976279595E-2</c:v>
                </c:pt>
                <c:pt idx="4719">
                  <c:v>8.4162653825575098E-2</c:v>
                </c:pt>
                <c:pt idx="4720">
                  <c:v>8.4180488674870699E-2</c:v>
                </c:pt>
                <c:pt idx="4721">
                  <c:v>8.4198323524166202E-2</c:v>
                </c:pt>
                <c:pt idx="4722">
                  <c:v>8.4216158373461705E-2</c:v>
                </c:pt>
                <c:pt idx="4723">
                  <c:v>8.4233993222757195E-2</c:v>
                </c:pt>
                <c:pt idx="4724">
                  <c:v>8.4251828072052795E-2</c:v>
                </c:pt>
                <c:pt idx="4725">
                  <c:v>8.4269662921348298E-2</c:v>
                </c:pt>
                <c:pt idx="4726">
                  <c:v>8.4287497770643802E-2</c:v>
                </c:pt>
                <c:pt idx="4727">
                  <c:v>8.4305332619939305E-2</c:v>
                </c:pt>
                <c:pt idx="4728">
                  <c:v>8.4323167469234794E-2</c:v>
                </c:pt>
                <c:pt idx="4729">
                  <c:v>8.4341002318530395E-2</c:v>
                </c:pt>
                <c:pt idx="4730">
                  <c:v>8.4358837167825898E-2</c:v>
                </c:pt>
                <c:pt idx="4731">
                  <c:v>8.4376672017121401E-2</c:v>
                </c:pt>
                <c:pt idx="4732">
                  <c:v>8.4394506866416905E-2</c:v>
                </c:pt>
                <c:pt idx="4733">
                  <c:v>8.4412341715712505E-2</c:v>
                </c:pt>
                <c:pt idx="4734">
                  <c:v>8.4430176565007994E-2</c:v>
                </c:pt>
                <c:pt idx="4735">
                  <c:v>8.4448011414303498E-2</c:v>
                </c:pt>
                <c:pt idx="4736">
                  <c:v>8.4465846263599001E-2</c:v>
                </c:pt>
                <c:pt idx="4737">
                  <c:v>8.4483681112894601E-2</c:v>
                </c:pt>
                <c:pt idx="4738">
                  <c:v>8.4501515962190105E-2</c:v>
                </c:pt>
                <c:pt idx="4739">
                  <c:v>8.4519350811485594E-2</c:v>
                </c:pt>
                <c:pt idx="4740">
                  <c:v>8.4537185660781097E-2</c:v>
                </c:pt>
                <c:pt idx="4741">
                  <c:v>8.4555020510076601E-2</c:v>
                </c:pt>
                <c:pt idx="4742">
                  <c:v>8.4572855359372201E-2</c:v>
                </c:pt>
                <c:pt idx="4743">
                  <c:v>8.4590690208667704E-2</c:v>
                </c:pt>
                <c:pt idx="4744">
                  <c:v>8.4608525057963194E-2</c:v>
                </c:pt>
                <c:pt idx="4745">
                  <c:v>8.4626359907258697E-2</c:v>
                </c:pt>
                <c:pt idx="4746">
                  <c:v>8.4644194756554297E-2</c:v>
                </c:pt>
                <c:pt idx="4747">
                  <c:v>8.4662029605849801E-2</c:v>
                </c:pt>
                <c:pt idx="4748">
                  <c:v>8.4679864455145304E-2</c:v>
                </c:pt>
                <c:pt idx="4749">
                  <c:v>8.4697699304440793E-2</c:v>
                </c:pt>
                <c:pt idx="4750">
                  <c:v>8.4715534153736394E-2</c:v>
                </c:pt>
                <c:pt idx="4751">
                  <c:v>8.4733369003031897E-2</c:v>
                </c:pt>
                <c:pt idx="4752">
                  <c:v>8.47512038523274E-2</c:v>
                </c:pt>
                <c:pt idx="4753">
                  <c:v>8.4769038701622904E-2</c:v>
                </c:pt>
                <c:pt idx="4754">
                  <c:v>8.4786873550918407E-2</c:v>
                </c:pt>
                <c:pt idx="4755">
                  <c:v>8.4804708400213993E-2</c:v>
                </c:pt>
                <c:pt idx="4756">
                  <c:v>8.4822543249509497E-2</c:v>
                </c:pt>
                <c:pt idx="4757">
                  <c:v>8.4840378098805E-2</c:v>
                </c:pt>
                <c:pt idx="4758">
                  <c:v>8.4858212948100503E-2</c:v>
                </c:pt>
                <c:pt idx="4759">
                  <c:v>8.4876047797396104E-2</c:v>
                </c:pt>
                <c:pt idx="4760">
                  <c:v>8.4893882646691607E-2</c:v>
                </c:pt>
                <c:pt idx="4761">
                  <c:v>8.4911717495987096E-2</c:v>
                </c:pt>
                <c:pt idx="4762">
                  <c:v>8.49295523452826E-2</c:v>
                </c:pt>
                <c:pt idx="4763">
                  <c:v>8.49473871945782E-2</c:v>
                </c:pt>
                <c:pt idx="4764">
                  <c:v>8.4965222043873703E-2</c:v>
                </c:pt>
                <c:pt idx="4765">
                  <c:v>8.4983056893169207E-2</c:v>
                </c:pt>
                <c:pt idx="4766">
                  <c:v>8.5000891742464696E-2</c:v>
                </c:pt>
                <c:pt idx="4767">
                  <c:v>8.5018726591760296E-2</c:v>
                </c:pt>
                <c:pt idx="4768">
                  <c:v>8.50365614410558E-2</c:v>
                </c:pt>
                <c:pt idx="4769">
                  <c:v>8.5054396290351303E-2</c:v>
                </c:pt>
                <c:pt idx="4770">
                  <c:v>8.5072231139646806E-2</c:v>
                </c:pt>
                <c:pt idx="4771">
                  <c:v>8.5090065988942296E-2</c:v>
                </c:pt>
                <c:pt idx="4772">
                  <c:v>8.5107900838237896E-2</c:v>
                </c:pt>
                <c:pt idx="4773">
                  <c:v>8.5125735687533399E-2</c:v>
                </c:pt>
                <c:pt idx="4774">
                  <c:v>8.5143570536828903E-2</c:v>
                </c:pt>
                <c:pt idx="4775">
                  <c:v>8.5161405386124406E-2</c:v>
                </c:pt>
                <c:pt idx="4776">
                  <c:v>8.5179240235420006E-2</c:v>
                </c:pt>
                <c:pt idx="4777">
                  <c:v>8.5197075084715496E-2</c:v>
                </c:pt>
                <c:pt idx="4778">
                  <c:v>8.5214909934010999E-2</c:v>
                </c:pt>
                <c:pt idx="4779">
                  <c:v>8.5232744783306502E-2</c:v>
                </c:pt>
                <c:pt idx="4780">
                  <c:v>8.5250579632602103E-2</c:v>
                </c:pt>
                <c:pt idx="4781">
                  <c:v>8.5268414481897606E-2</c:v>
                </c:pt>
                <c:pt idx="4782">
                  <c:v>8.5286249331193095E-2</c:v>
                </c:pt>
                <c:pt idx="4783">
                  <c:v>8.5304084180488599E-2</c:v>
                </c:pt>
                <c:pt idx="4784">
                  <c:v>8.5321919029784199E-2</c:v>
                </c:pt>
                <c:pt idx="4785">
                  <c:v>8.5339753879079702E-2</c:v>
                </c:pt>
                <c:pt idx="4786">
                  <c:v>8.5357588728375206E-2</c:v>
                </c:pt>
                <c:pt idx="4787">
                  <c:v>8.5375423577670695E-2</c:v>
                </c:pt>
                <c:pt idx="4788">
                  <c:v>8.5393258426966295E-2</c:v>
                </c:pt>
                <c:pt idx="4789">
                  <c:v>8.5411093276261799E-2</c:v>
                </c:pt>
                <c:pt idx="4790">
                  <c:v>8.5428928125557302E-2</c:v>
                </c:pt>
                <c:pt idx="4791">
                  <c:v>8.5446762974852805E-2</c:v>
                </c:pt>
                <c:pt idx="4792">
                  <c:v>8.5464597824148295E-2</c:v>
                </c:pt>
                <c:pt idx="4793">
                  <c:v>8.5482432673443895E-2</c:v>
                </c:pt>
                <c:pt idx="4794">
                  <c:v>8.5500267522739398E-2</c:v>
                </c:pt>
                <c:pt idx="4795">
                  <c:v>8.5518102372034902E-2</c:v>
                </c:pt>
                <c:pt idx="4796">
                  <c:v>8.5535937221330405E-2</c:v>
                </c:pt>
                <c:pt idx="4797">
                  <c:v>8.5553772070626005E-2</c:v>
                </c:pt>
                <c:pt idx="4798">
                  <c:v>8.5571606919921495E-2</c:v>
                </c:pt>
                <c:pt idx="4799">
                  <c:v>8.5589441769216998E-2</c:v>
                </c:pt>
                <c:pt idx="4800">
                  <c:v>8.5607276618512501E-2</c:v>
                </c:pt>
                <c:pt idx="4801">
                  <c:v>8.5625111467808102E-2</c:v>
                </c:pt>
                <c:pt idx="4802">
                  <c:v>8.5642946317103605E-2</c:v>
                </c:pt>
                <c:pt idx="4803">
                  <c:v>8.5660781166399094E-2</c:v>
                </c:pt>
                <c:pt idx="4804">
                  <c:v>8.5678616015694598E-2</c:v>
                </c:pt>
                <c:pt idx="4805">
                  <c:v>8.5696450864990101E-2</c:v>
                </c:pt>
                <c:pt idx="4806">
                  <c:v>8.5714285714285701E-2</c:v>
                </c:pt>
                <c:pt idx="4807">
                  <c:v>8.5732120563581204E-2</c:v>
                </c:pt>
                <c:pt idx="4808">
                  <c:v>8.5749955412876694E-2</c:v>
                </c:pt>
                <c:pt idx="4809">
                  <c:v>8.5767790262172197E-2</c:v>
                </c:pt>
                <c:pt idx="4810">
                  <c:v>8.5785625111467798E-2</c:v>
                </c:pt>
                <c:pt idx="4811">
                  <c:v>8.5803459960763301E-2</c:v>
                </c:pt>
                <c:pt idx="4812">
                  <c:v>8.5821294810058804E-2</c:v>
                </c:pt>
                <c:pt idx="4813">
                  <c:v>8.5839129659354294E-2</c:v>
                </c:pt>
                <c:pt idx="4814">
                  <c:v>8.5856964508649894E-2</c:v>
                </c:pt>
                <c:pt idx="4815">
                  <c:v>8.5874799357945397E-2</c:v>
                </c:pt>
                <c:pt idx="4816">
                  <c:v>8.58926342072409E-2</c:v>
                </c:pt>
                <c:pt idx="4817">
                  <c:v>8.5910469056536404E-2</c:v>
                </c:pt>
                <c:pt idx="4818">
                  <c:v>8.5928303905831893E-2</c:v>
                </c:pt>
                <c:pt idx="4819">
                  <c:v>8.5946138755127494E-2</c:v>
                </c:pt>
                <c:pt idx="4820">
                  <c:v>8.5963973604422997E-2</c:v>
                </c:pt>
                <c:pt idx="4821">
                  <c:v>8.59818084537185E-2</c:v>
                </c:pt>
                <c:pt idx="4822">
                  <c:v>8.5999643303014003E-2</c:v>
                </c:pt>
                <c:pt idx="4823">
                  <c:v>8.6017478152309604E-2</c:v>
                </c:pt>
                <c:pt idx="4824">
                  <c:v>8.6035313001605093E-2</c:v>
                </c:pt>
                <c:pt idx="4825">
                  <c:v>8.6053147850900596E-2</c:v>
                </c:pt>
                <c:pt idx="4826">
                  <c:v>8.60709827001961E-2</c:v>
                </c:pt>
                <c:pt idx="4827">
                  <c:v>8.60888175494917E-2</c:v>
                </c:pt>
                <c:pt idx="4828">
                  <c:v>8.6106652398787203E-2</c:v>
                </c:pt>
                <c:pt idx="4829">
                  <c:v>8.6124487248082707E-2</c:v>
                </c:pt>
                <c:pt idx="4830">
                  <c:v>8.6142322097378196E-2</c:v>
                </c:pt>
                <c:pt idx="4831">
                  <c:v>8.6160156946673797E-2</c:v>
                </c:pt>
                <c:pt idx="4832">
                  <c:v>8.61779917959693E-2</c:v>
                </c:pt>
                <c:pt idx="4833">
                  <c:v>8.6195826645264803E-2</c:v>
                </c:pt>
                <c:pt idx="4834">
                  <c:v>8.6213661494560306E-2</c:v>
                </c:pt>
                <c:pt idx="4835">
                  <c:v>8.6231496343855796E-2</c:v>
                </c:pt>
                <c:pt idx="4836">
                  <c:v>8.6249331193151396E-2</c:v>
                </c:pt>
                <c:pt idx="4837">
                  <c:v>8.6267166042446899E-2</c:v>
                </c:pt>
                <c:pt idx="4838">
                  <c:v>8.6285000891742403E-2</c:v>
                </c:pt>
                <c:pt idx="4839">
                  <c:v>8.6302835741037906E-2</c:v>
                </c:pt>
                <c:pt idx="4840">
                  <c:v>8.6320670590333506E-2</c:v>
                </c:pt>
                <c:pt idx="4841">
                  <c:v>8.6338505439628996E-2</c:v>
                </c:pt>
                <c:pt idx="4842">
                  <c:v>8.6356340288924499E-2</c:v>
                </c:pt>
                <c:pt idx="4843">
                  <c:v>8.6374175138220002E-2</c:v>
                </c:pt>
                <c:pt idx="4844">
                  <c:v>8.6392009987515603E-2</c:v>
                </c:pt>
                <c:pt idx="4845">
                  <c:v>8.6409844836811106E-2</c:v>
                </c:pt>
                <c:pt idx="4846">
                  <c:v>8.6427679686106595E-2</c:v>
                </c:pt>
                <c:pt idx="4847">
                  <c:v>8.6445514535402099E-2</c:v>
                </c:pt>
                <c:pt idx="4848">
                  <c:v>8.6463349384697699E-2</c:v>
                </c:pt>
                <c:pt idx="4849">
                  <c:v>8.6481184233993202E-2</c:v>
                </c:pt>
                <c:pt idx="4850">
                  <c:v>8.6499019083288706E-2</c:v>
                </c:pt>
                <c:pt idx="4851">
                  <c:v>8.6516853932584195E-2</c:v>
                </c:pt>
                <c:pt idx="4852">
                  <c:v>8.6534688781879796E-2</c:v>
                </c:pt>
                <c:pt idx="4853">
                  <c:v>8.6552523631175299E-2</c:v>
                </c:pt>
                <c:pt idx="4854">
                  <c:v>8.6570358480470802E-2</c:v>
                </c:pt>
                <c:pt idx="4855">
                  <c:v>8.6588193329766305E-2</c:v>
                </c:pt>
                <c:pt idx="4856">
                  <c:v>8.6606028179061795E-2</c:v>
                </c:pt>
                <c:pt idx="4857">
                  <c:v>8.6623863028357395E-2</c:v>
                </c:pt>
                <c:pt idx="4858">
                  <c:v>8.6641697877652898E-2</c:v>
                </c:pt>
                <c:pt idx="4859">
                  <c:v>8.6659532726948402E-2</c:v>
                </c:pt>
                <c:pt idx="4860">
                  <c:v>8.6677367576243905E-2</c:v>
                </c:pt>
                <c:pt idx="4861">
                  <c:v>8.6695202425539505E-2</c:v>
                </c:pt>
                <c:pt idx="4862">
                  <c:v>8.6713037274834995E-2</c:v>
                </c:pt>
                <c:pt idx="4863">
                  <c:v>8.6730872124130498E-2</c:v>
                </c:pt>
                <c:pt idx="4864">
                  <c:v>8.6748706973426001E-2</c:v>
                </c:pt>
                <c:pt idx="4865">
                  <c:v>8.6766541822721602E-2</c:v>
                </c:pt>
                <c:pt idx="4866">
                  <c:v>8.6784376672017105E-2</c:v>
                </c:pt>
                <c:pt idx="4867">
                  <c:v>8.6802211521312594E-2</c:v>
                </c:pt>
                <c:pt idx="4868">
                  <c:v>8.6820046370608098E-2</c:v>
                </c:pt>
                <c:pt idx="4869">
                  <c:v>8.6837881219903698E-2</c:v>
                </c:pt>
                <c:pt idx="4870">
                  <c:v>8.6855716069199201E-2</c:v>
                </c:pt>
                <c:pt idx="4871">
                  <c:v>8.6873550918494705E-2</c:v>
                </c:pt>
                <c:pt idx="4872">
                  <c:v>8.6891385767790194E-2</c:v>
                </c:pt>
                <c:pt idx="4873">
                  <c:v>8.6909220617085697E-2</c:v>
                </c:pt>
                <c:pt idx="4874">
                  <c:v>8.6927055466381298E-2</c:v>
                </c:pt>
                <c:pt idx="4875">
                  <c:v>8.6944890315676801E-2</c:v>
                </c:pt>
                <c:pt idx="4876">
                  <c:v>8.6962725164972304E-2</c:v>
                </c:pt>
                <c:pt idx="4877">
                  <c:v>8.6980560014267794E-2</c:v>
                </c:pt>
                <c:pt idx="4878">
                  <c:v>8.6998394863563394E-2</c:v>
                </c:pt>
                <c:pt idx="4879">
                  <c:v>8.7016229712858897E-2</c:v>
                </c:pt>
                <c:pt idx="4880">
                  <c:v>8.7034064562154401E-2</c:v>
                </c:pt>
                <c:pt idx="4881">
                  <c:v>8.7051899411449904E-2</c:v>
                </c:pt>
                <c:pt idx="4882">
                  <c:v>8.7069734260745393E-2</c:v>
                </c:pt>
                <c:pt idx="4883">
                  <c:v>8.7087569110040994E-2</c:v>
                </c:pt>
                <c:pt idx="4884">
                  <c:v>8.7105403959336497E-2</c:v>
                </c:pt>
                <c:pt idx="4885">
                  <c:v>8.7123238808632E-2</c:v>
                </c:pt>
                <c:pt idx="4886">
                  <c:v>8.7141073657927504E-2</c:v>
                </c:pt>
                <c:pt idx="4887">
                  <c:v>8.7158908507223104E-2</c:v>
                </c:pt>
                <c:pt idx="4888">
                  <c:v>8.7176743356518593E-2</c:v>
                </c:pt>
                <c:pt idx="4889">
                  <c:v>8.7194578205814097E-2</c:v>
                </c:pt>
                <c:pt idx="4890">
                  <c:v>8.72124130551096E-2</c:v>
                </c:pt>
                <c:pt idx="4891">
                  <c:v>8.72302479044052E-2</c:v>
                </c:pt>
                <c:pt idx="4892">
                  <c:v>8.7248082753700704E-2</c:v>
                </c:pt>
                <c:pt idx="4893">
                  <c:v>8.7265917602996207E-2</c:v>
                </c:pt>
                <c:pt idx="4894">
                  <c:v>8.7283752452291696E-2</c:v>
                </c:pt>
                <c:pt idx="4895">
                  <c:v>8.7301587301587297E-2</c:v>
                </c:pt>
                <c:pt idx="4896">
                  <c:v>8.73194221508828E-2</c:v>
                </c:pt>
                <c:pt idx="4897">
                  <c:v>8.7337257000178303E-2</c:v>
                </c:pt>
                <c:pt idx="4898">
                  <c:v>8.7355091849473807E-2</c:v>
                </c:pt>
                <c:pt idx="4899">
                  <c:v>8.7372926698769393E-2</c:v>
                </c:pt>
                <c:pt idx="4900">
                  <c:v>8.7390761548064896E-2</c:v>
                </c:pt>
                <c:pt idx="4901">
                  <c:v>8.74085963973604E-2</c:v>
                </c:pt>
                <c:pt idx="4902">
                  <c:v>8.7426431246655903E-2</c:v>
                </c:pt>
                <c:pt idx="4903">
                  <c:v>8.7444266095951406E-2</c:v>
                </c:pt>
                <c:pt idx="4904">
                  <c:v>8.7462100945247007E-2</c:v>
                </c:pt>
                <c:pt idx="4905">
                  <c:v>8.7479935794542496E-2</c:v>
                </c:pt>
                <c:pt idx="4906">
                  <c:v>8.7497770643837999E-2</c:v>
                </c:pt>
                <c:pt idx="4907">
                  <c:v>8.7515605493133503E-2</c:v>
                </c:pt>
                <c:pt idx="4908">
                  <c:v>8.7533440342429103E-2</c:v>
                </c:pt>
                <c:pt idx="4909">
                  <c:v>8.7551275191724606E-2</c:v>
                </c:pt>
                <c:pt idx="4910">
                  <c:v>8.7569110041020096E-2</c:v>
                </c:pt>
                <c:pt idx="4911">
                  <c:v>8.7586944890315599E-2</c:v>
                </c:pt>
                <c:pt idx="4912">
                  <c:v>8.7604779739611199E-2</c:v>
                </c:pt>
                <c:pt idx="4913">
                  <c:v>8.7622614588906703E-2</c:v>
                </c:pt>
                <c:pt idx="4914">
                  <c:v>8.7640449438202206E-2</c:v>
                </c:pt>
                <c:pt idx="4915">
                  <c:v>8.7658284287497695E-2</c:v>
                </c:pt>
                <c:pt idx="4916">
                  <c:v>8.7676119136793296E-2</c:v>
                </c:pt>
                <c:pt idx="4917">
                  <c:v>8.7693953986088799E-2</c:v>
                </c:pt>
                <c:pt idx="4918">
                  <c:v>8.7711788835384302E-2</c:v>
                </c:pt>
                <c:pt idx="4919">
                  <c:v>8.7729623684679806E-2</c:v>
                </c:pt>
                <c:pt idx="4920">
                  <c:v>8.7747458533975295E-2</c:v>
                </c:pt>
                <c:pt idx="4921">
                  <c:v>8.7765293383270895E-2</c:v>
                </c:pt>
                <c:pt idx="4922">
                  <c:v>8.7783128232566399E-2</c:v>
                </c:pt>
                <c:pt idx="4923">
                  <c:v>8.7800963081861902E-2</c:v>
                </c:pt>
                <c:pt idx="4924">
                  <c:v>8.7818797931157405E-2</c:v>
                </c:pt>
                <c:pt idx="4925">
                  <c:v>8.7836632780453006E-2</c:v>
                </c:pt>
                <c:pt idx="4926">
                  <c:v>8.7854467629748495E-2</c:v>
                </c:pt>
                <c:pt idx="4927">
                  <c:v>8.7872302479043998E-2</c:v>
                </c:pt>
                <c:pt idx="4928">
                  <c:v>8.7890137328339502E-2</c:v>
                </c:pt>
                <c:pt idx="4929">
                  <c:v>8.7907972177635102E-2</c:v>
                </c:pt>
                <c:pt idx="4930">
                  <c:v>8.7925807026930605E-2</c:v>
                </c:pt>
                <c:pt idx="4931">
                  <c:v>8.7943641876226095E-2</c:v>
                </c:pt>
                <c:pt idx="4932">
                  <c:v>8.7961476725521598E-2</c:v>
                </c:pt>
                <c:pt idx="4933">
                  <c:v>8.7979311574817198E-2</c:v>
                </c:pt>
                <c:pt idx="4934">
                  <c:v>8.7997146424112702E-2</c:v>
                </c:pt>
                <c:pt idx="4935">
                  <c:v>8.8014981273408205E-2</c:v>
                </c:pt>
                <c:pt idx="4936">
                  <c:v>8.8032816122703694E-2</c:v>
                </c:pt>
                <c:pt idx="4937">
                  <c:v>8.8050650971999198E-2</c:v>
                </c:pt>
                <c:pt idx="4938">
                  <c:v>8.8068485821294798E-2</c:v>
                </c:pt>
                <c:pt idx="4939">
                  <c:v>8.8086320670590301E-2</c:v>
                </c:pt>
                <c:pt idx="4940">
                  <c:v>8.8104155519885805E-2</c:v>
                </c:pt>
                <c:pt idx="4941">
                  <c:v>8.8121990369181294E-2</c:v>
                </c:pt>
                <c:pt idx="4942">
                  <c:v>8.8139825218476894E-2</c:v>
                </c:pt>
                <c:pt idx="4943">
                  <c:v>8.8157660067772398E-2</c:v>
                </c:pt>
                <c:pt idx="4944">
                  <c:v>8.8175494917067901E-2</c:v>
                </c:pt>
                <c:pt idx="4945">
                  <c:v>8.8193329766363404E-2</c:v>
                </c:pt>
                <c:pt idx="4946">
                  <c:v>8.8211164615659005E-2</c:v>
                </c:pt>
                <c:pt idx="4947">
                  <c:v>8.8228999464954494E-2</c:v>
                </c:pt>
                <c:pt idx="4948">
                  <c:v>8.8246834314249997E-2</c:v>
                </c:pt>
                <c:pt idx="4949">
                  <c:v>8.8264669163545501E-2</c:v>
                </c:pt>
                <c:pt idx="4950">
                  <c:v>8.8282504012841004E-2</c:v>
                </c:pt>
                <c:pt idx="4951">
                  <c:v>8.8300338862136604E-2</c:v>
                </c:pt>
                <c:pt idx="4952">
                  <c:v>8.8318173711432094E-2</c:v>
                </c:pt>
                <c:pt idx="4953">
                  <c:v>8.8336008560727597E-2</c:v>
                </c:pt>
                <c:pt idx="4954">
                  <c:v>8.83538434100231E-2</c:v>
                </c:pt>
                <c:pt idx="4955">
                  <c:v>8.8371678259318701E-2</c:v>
                </c:pt>
                <c:pt idx="4956">
                  <c:v>8.8389513108614204E-2</c:v>
                </c:pt>
                <c:pt idx="4957">
                  <c:v>8.8407347957909693E-2</c:v>
                </c:pt>
                <c:pt idx="4958">
                  <c:v>8.8425182807205197E-2</c:v>
                </c:pt>
                <c:pt idx="4959">
                  <c:v>8.8443017656500797E-2</c:v>
                </c:pt>
                <c:pt idx="4960">
                  <c:v>8.84608525057963E-2</c:v>
                </c:pt>
                <c:pt idx="4961">
                  <c:v>8.8478687355091803E-2</c:v>
                </c:pt>
                <c:pt idx="4962">
                  <c:v>8.8496522204387307E-2</c:v>
                </c:pt>
                <c:pt idx="4963">
                  <c:v>8.8514357053682893E-2</c:v>
                </c:pt>
                <c:pt idx="4964">
                  <c:v>8.8532191902978397E-2</c:v>
                </c:pt>
                <c:pt idx="4965">
                  <c:v>8.85500267522739E-2</c:v>
                </c:pt>
                <c:pt idx="4966">
                  <c:v>8.8567861601569403E-2</c:v>
                </c:pt>
                <c:pt idx="4967">
                  <c:v>8.8585696450864906E-2</c:v>
                </c:pt>
                <c:pt idx="4968">
                  <c:v>8.8603531300160507E-2</c:v>
                </c:pt>
                <c:pt idx="4969">
                  <c:v>8.8621366149455996E-2</c:v>
                </c:pt>
                <c:pt idx="4970">
                  <c:v>8.8639200998751499E-2</c:v>
                </c:pt>
                <c:pt idx="4971">
                  <c:v>8.8657035848047003E-2</c:v>
                </c:pt>
                <c:pt idx="4972">
                  <c:v>8.8674870697342603E-2</c:v>
                </c:pt>
                <c:pt idx="4973">
                  <c:v>8.8692705546638106E-2</c:v>
                </c:pt>
                <c:pt idx="4974">
                  <c:v>8.8710540395933596E-2</c:v>
                </c:pt>
                <c:pt idx="4975">
                  <c:v>8.8728375245229099E-2</c:v>
                </c:pt>
                <c:pt idx="4976">
                  <c:v>8.87462100945247E-2</c:v>
                </c:pt>
                <c:pt idx="4977">
                  <c:v>8.8764044943820203E-2</c:v>
                </c:pt>
                <c:pt idx="4978">
                  <c:v>8.8781879793115706E-2</c:v>
                </c:pt>
                <c:pt idx="4979">
                  <c:v>8.8799714642411195E-2</c:v>
                </c:pt>
                <c:pt idx="4980">
                  <c:v>8.8817549491706796E-2</c:v>
                </c:pt>
                <c:pt idx="4981">
                  <c:v>8.8835384341002299E-2</c:v>
                </c:pt>
                <c:pt idx="4982">
                  <c:v>8.8853219190297802E-2</c:v>
                </c:pt>
                <c:pt idx="4983">
                  <c:v>8.8871054039593306E-2</c:v>
                </c:pt>
                <c:pt idx="4984">
                  <c:v>8.8888888888888795E-2</c:v>
                </c:pt>
                <c:pt idx="4985">
                  <c:v>8.8906723738184396E-2</c:v>
                </c:pt>
                <c:pt idx="4986">
                  <c:v>8.8924558587479899E-2</c:v>
                </c:pt>
                <c:pt idx="4987">
                  <c:v>8.8942393436775402E-2</c:v>
                </c:pt>
                <c:pt idx="4988">
                  <c:v>8.8960228286070905E-2</c:v>
                </c:pt>
                <c:pt idx="4989">
                  <c:v>8.8978063135366506E-2</c:v>
                </c:pt>
                <c:pt idx="4990">
                  <c:v>8.8995897984661995E-2</c:v>
                </c:pt>
                <c:pt idx="4991">
                  <c:v>8.9013732833957498E-2</c:v>
                </c:pt>
                <c:pt idx="4992">
                  <c:v>8.9031567683253002E-2</c:v>
                </c:pt>
                <c:pt idx="4993">
                  <c:v>8.9049402532548602E-2</c:v>
                </c:pt>
                <c:pt idx="4994">
                  <c:v>8.9067237381844105E-2</c:v>
                </c:pt>
                <c:pt idx="4995">
                  <c:v>8.9085072231139595E-2</c:v>
                </c:pt>
                <c:pt idx="4996">
                  <c:v>8.9102907080435098E-2</c:v>
                </c:pt>
                <c:pt idx="4997">
                  <c:v>8.9120741929730699E-2</c:v>
                </c:pt>
                <c:pt idx="4998">
                  <c:v>8.9138576779026202E-2</c:v>
                </c:pt>
                <c:pt idx="4999">
                  <c:v>8.9156411628321705E-2</c:v>
                </c:pt>
                <c:pt idx="5000">
                  <c:v>8.9174246477617194E-2</c:v>
                </c:pt>
                <c:pt idx="5001">
                  <c:v>8.9192081326912698E-2</c:v>
                </c:pt>
                <c:pt idx="5002">
                  <c:v>8.9209916176208298E-2</c:v>
                </c:pt>
                <c:pt idx="5003">
                  <c:v>8.9227751025503801E-2</c:v>
                </c:pt>
                <c:pt idx="5004">
                  <c:v>8.9245585874799305E-2</c:v>
                </c:pt>
                <c:pt idx="5005">
                  <c:v>8.9263420724094794E-2</c:v>
                </c:pt>
                <c:pt idx="5006">
                  <c:v>8.9281255573390395E-2</c:v>
                </c:pt>
                <c:pt idx="5007">
                  <c:v>8.9299090422685898E-2</c:v>
                </c:pt>
                <c:pt idx="5008">
                  <c:v>8.9316925271981401E-2</c:v>
                </c:pt>
                <c:pt idx="5009">
                  <c:v>8.9334760121276904E-2</c:v>
                </c:pt>
                <c:pt idx="5010">
                  <c:v>8.9352594970572505E-2</c:v>
                </c:pt>
                <c:pt idx="5011">
                  <c:v>8.9370429819867994E-2</c:v>
                </c:pt>
                <c:pt idx="5012">
                  <c:v>8.9388264669163497E-2</c:v>
                </c:pt>
                <c:pt idx="5013">
                  <c:v>8.9406099518459001E-2</c:v>
                </c:pt>
                <c:pt idx="5014">
                  <c:v>8.9423934367754504E-2</c:v>
                </c:pt>
                <c:pt idx="5015">
                  <c:v>8.9441769217050104E-2</c:v>
                </c:pt>
                <c:pt idx="5016">
                  <c:v>8.9459604066345594E-2</c:v>
                </c:pt>
                <c:pt idx="5017">
                  <c:v>8.9477438915641097E-2</c:v>
                </c:pt>
                <c:pt idx="5018">
                  <c:v>8.94952737649366E-2</c:v>
                </c:pt>
                <c:pt idx="5019">
                  <c:v>8.9513108614232201E-2</c:v>
                </c:pt>
                <c:pt idx="5020">
                  <c:v>8.9530943463527704E-2</c:v>
                </c:pt>
                <c:pt idx="5021">
                  <c:v>8.9548778312823193E-2</c:v>
                </c:pt>
                <c:pt idx="5022">
                  <c:v>8.9566613162118697E-2</c:v>
                </c:pt>
                <c:pt idx="5023">
                  <c:v>8.9584448011414297E-2</c:v>
                </c:pt>
                <c:pt idx="5024">
                  <c:v>8.96022828607098E-2</c:v>
                </c:pt>
                <c:pt idx="5025">
                  <c:v>8.9620117710005304E-2</c:v>
                </c:pt>
                <c:pt idx="5026">
                  <c:v>8.9637952559300793E-2</c:v>
                </c:pt>
                <c:pt idx="5027">
                  <c:v>8.9655787408596394E-2</c:v>
                </c:pt>
                <c:pt idx="5028">
                  <c:v>8.9673622257891897E-2</c:v>
                </c:pt>
                <c:pt idx="5029">
                  <c:v>8.96914571071874E-2</c:v>
                </c:pt>
                <c:pt idx="5030">
                  <c:v>8.9709291956482903E-2</c:v>
                </c:pt>
                <c:pt idx="5031">
                  <c:v>8.9727126805778407E-2</c:v>
                </c:pt>
                <c:pt idx="5032">
                  <c:v>8.9744961655073993E-2</c:v>
                </c:pt>
                <c:pt idx="5033">
                  <c:v>8.9762796504369496E-2</c:v>
                </c:pt>
                <c:pt idx="5034">
                  <c:v>8.9780631353665E-2</c:v>
                </c:pt>
                <c:pt idx="5035">
                  <c:v>8.9798466202960503E-2</c:v>
                </c:pt>
                <c:pt idx="5036">
                  <c:v>8.9816301052256103E-2</c:v>
                </c:pt>
                <c:pt idx="5037">
                  <c:v>8.9834135901551607E-2</c:v>
                </c:pt>
                <c:pt idx="5038">
                  <c:v>8.9851970750847096E-2</c:v>
                </c:pt>
                <c:pt idx="5039">
                  <c:v>8.9869805600142599E-2</c:v>
                </c:pt>
                <c:pt idx="5040">
                  <c:v>8.98876404494382E-2</c:v>
                </c:pt>
                <c:pt idx="5041">
                  <c:v>8.9905475298733703E-2</c:v>
                </c:pt>
                <c:pt idx="5042">
                  <c:v>8.9923310148029206E-2</c:v>
                </c:pt>
                <c:pt idx="5043">
                  <c:v>8.9941144997324696E-2</c:v>
                </c:pt>
                <c:pt idx="5044">
                  <c:v>8.9958979846620296E-2</c:v>
                </c:pt>
                <c:pt idx="5045">
                  <c:v>8.9976814695915799E-2</c:v>
                </c:pt>
                <c:pt idx="5046">
                  <c:v>8.9994649545211303E-2</c:v>
                </c:pt>
                <c:pt idx="5047">
                  <c:v>9.0012484394506806E-2</c:v>
                </c:pt>
                <c:pt idx="5048">
                  <c:v>9.0030319243802295E-2</c:v>
                </c:pt>
                <c:pt idx="5049">
                  <c:v>9.0048154093097896E-2</c:v>
                </c:pt>
                <c:pt idx="5050">
                  <c:v>9.0065988942393399E-2</c:v>
                </c:pt>
                <c:pt idx="5051">
                  <c:v>9.0083823791688902E-2</c:v>
                </c:pt>
                <c:pt idx="5052">
                  <c:v>9.0101658640984406E-2</c:v>
                </c:pt>
                <c:pt idx="5053">
                  <c:v>9.0119493490280006E-2</c:v>
                </c:pt>
                <c:pt idx="5054">
                  <c:v>9.0137328339575495E-2</c:v>
                </c:pt>
                <c:pt idx="5055">
                  <c:v>9.0155163188870999E-2</c:v>
                </c:pt>
                <c:pt idx="5056">
                  <c:v>9.0172998038166502E-2</c:v>
                </c:pt>
                <c:pt idx="5057">
                  <c:v>9.0190832887462102E-2</c:v>
                </c:pt>
                <c:pt idx="5058">
                  <c:v>9.0208667736757606E-2</c:v>
                </c:pt>
                <c:pt idx="5059">
                  <c:v>9.0226502586053095E-2</c:v>
                </c:pt>
                <c:pt idx="5060">
                  <c:v>9.0244337435348598E-2</c:v>
                </c:pt>
                <c:pt idx="5061">
                  <c:v>9.0262172284644199E-2</c:v>
                </c:pt>
                <c:pt idx="5062">
                  <c:v>9.0280007133939702E-2</c:v>
                </c:pt>
                <c:pt idx="5063">
                  <c:v>9.0297841983235205E-2</c:v>
                </c:pt>
                <c:pt idx="5064">
                  <c:v>9.0315676832530695E-2</c:v>
                </c:pt>
                <c:pt idx="5065">
                  <c:v>9.0333511681826295E-2</c:v>
                </c:pt>
                <c:pt idx="5066">
                  <c:v>9.0351346531121798E-2</c:v>
                </c:pt>
                <c:pt idx="5067">
                  <c:v>9.0369181380417302E-2</c:v>
                </c:pt>
                <c:pt idx="5068">
                  <c:v>9.0387016229712805E-2</c:v>
                </c:pt>
                <c:pt idx="5069">
                  <c:v>9.0404851079008294E-2</c:v>
                </c:pt>
                <c:pt idx="5070">
                  <c:v>9.0422685928303895E-2</c:v>
                </c:pt>
                <c:pt idx="5071">
                  <c:v>9.0440520777599398E-2</c:v>
                </c:pt>
                <c:pt idx="5072">
                  <c:v>9.0458355626894901E-2</c:v>
                </c:pt>
                <c:pt idx="5073">
                  <c:v>9.0476190476190405E-2</c:v>
                </c:pt>
                <c:pt idx="5074">
                  <c:v>9.0494025325486005E-2</c:v>
                </c:pt>
                <c:pt idx="5075">
                  <c:v>9.0511860174781494E-2</c:v>
                </c:pt>
                <c:pt idx="5076">
                  <c:v>9.0529695024076998E-2</c:v>
                </c:pt>
                <c:pt idx="5077">
                  <c:v>9.0547529873372501E-2</c:v>
                </c:pt>
                <c:pt idx="5078">
                  <c:v>9.0565364722668004E-2</c:v>
                </c:pt>
                <c:pt idx="5079">
                  <c:v>9.0583199571963605E-2</c:v>
                </c:pt>
                <c:pt idx="5080">
                  <c:v>9.0601034421259094E-2</c:v>
                </c:pt>
                <c:pt idx="5081">
                  <c:v>9.0618869270554597E-2</c:v>
                </c:pt>
                <c:pt idx="5082">
                  <c:v>9.0636704119850101E-2</c:v>
                </c:pt>
                <c:pt idx="5083">
                  <c:v>9.0654538969145701E-2</c:v>
                </c:pt>
                <c:pt idx="5084">
                  <c:v>9.0672373818441204E-2</c:v>
                </c:pt>
                <c:pt idx="5085">
                  <c:v>9.0690208667736694E-2</c:v>
                </c:pt>
                <c:pt idx="5086">
                  <c:v>9.0708043517032197E-2</c:v>
                </c:pt>
                <c:pt idx="5087">
                  <c:v>9.0725878366327797E-2</c:v>
                </c:pt>
                <c:pt idx="5088">
                  <c:v>9.0743713215623301E-2</c:v>
                </c:pt>
                <c:pt idx="5089">
                  <c:v>9.0761548064918804E-2</c:v>
                </c:pt>
                <c:pt idx="5090">
                  <c:v>9.0779382914214293E-2</c:v>
                </c:pt>
                <c:pt idx="5091">
                  <c:v>9.0797217763509894E-2</c:v>
                </c:pt>
                <c:pt idx="5092">
                  <c:v>9.0815052612805397E-2</c:v>
                </c:pt>
                <c:pt idx="5093">
                  <c:v>9.08328874621009E-2</c:v>
                </c:pt>
                <c:pt idx="5094">
                  <c:v>9.0850722311396404E-2</c:v>
                </c:pt>
                <c:pt idx="5095">
                  <c:v>9.0868557160691907E-2</c:v>
                </c:pt>
                <c:pt idx="5096">
                  <c:v>9.0886392009987493E-2</c:v>
                </c:pt>
                <c:pt idx="5097">
                  <c:v>9.0904226859282997E-2</c:v>
                </c:pt>
                <c:pt idx="5098">
                  <c:v>9.09220617085785E-2</c:v>
                </c:pt>
                <c:pt idx="5099">
                  <c:v>9.0939896557874003E-2</c:v>
                </c:pt>
                <c:pt idx="5100">
                  <c:v>9.0957731407169604E-2</c:v>
                </c:pt>
                <c:pt idx="5101">
                  <c:v>9.0975566256465107E-2</c:v>
                </c:pt>
                <c:pt idx="5102">
                  <c:v>9.0993401105760596E-2</c:v>
                </c:pt>
                <c:pt idx="5103">
                  <c:v>9.10112359550561E-2</c:v>
                </c:pt>
                <c:pt idx="5104">
                  <c:v>9.10290708043517E-2</c:v>
                </c:pt>
                <c:pt idx="5105">
                  <c:v>9.1046905653647203E-2</c:v>
                </c:pt>
                <c:pt idx="5106">
                  <c:v>9.1064740502942707E-2</c:v>
                </c:pt>
                <c:pt idx="5107">
                  <c:v>9.1082575352238196E-2</c:v>
                </c:pt>
                <c:pt idx="5108">
                  <c:v>9.1100410201533796E-2</c:v>
                </c:pt>
                <c:pt idx="5109">
                  <c:v>9.11182450508293E-2</c:v>
                </c:pt>
                <c:pt idx="5110">
                  <c:v>9.1136079900124803E-2</c:v>
                </c:pt>
                <c:pt idx="5111">
                  <c:v>9.1153914749420306E-2</c:v>
                </c:pt>
                <c:pt idx="5112">
                  <c:v>9.1171749598715796E-2</c:v>
                </c:pt>
                <c:pt idx="5113">
                  <c:v>9.1189584448011396E-2</c:v>
                </c:pt>
                <c:pt idx="5114">
                  <c:v>9.1207419297306899E-2</c:v>
                </c:pt>
                <c:pt idx="5115">
                  <c:v>9.1225254146602403E-2</c:v>
                </c:pt>
                <c:pt idx="5116">
                  <c:v>9.1243088995897906E-2</c:v>
                </c:pt>
                <c:pt idx="5117">
                  <c:v>9.1260923845193506E-2</c:v>
                </c:pt>
                <c:pt idx="5118">
                  <c:v>9.1278758694488996E-2</c:v>
                </c:pt>
                <c:pt idx="5119">
                  <c:v>9.1296593543784499E-2</c:v>
                </c:pt>
                <c:pt idx="5120">
                  <c:v>9.1314428393080002E-2</c:v>
                </c:pt>
                <c:pt idx="5121">
                  <c:v>9.1332263242375603E-2</c:v>
                </c:pt>
                <c:pt idx="5122">
                  <c:v>9.1350098091671106E-2</c:v>
                </c:pt>
                <c:pt idx="5123">
                  <c:v>9.1367932940966595E-2</c:v>
                </c:pt>
                <c:pt idx="5124">
                  <c:v>9.1385767790262099E-2</c:v>
                </c:pt>
                <c:pt idx="5125">
                  <c:v>9.1403602639557699E-2</c:v>
                </c:pt>
                <c:pt idx="5126">
                  <c:v>9.1421437488853202E-2</c:v>
                </c:pt>
                <c:pt idx="5127">
                  <c:v>9.1439272338148705E-2</c:v>
                </c:pt>
                <c:pt idx="5128">
                  <c:v>9.1457107187444195E-2</c:v>
                </c:pt>
                <c:pt idx="5129">
                  <c:v>9.1474942036739795E-2</c:v>
                </c:pt>
                <c:pt idx="5130">
                  <c:v>9.1492776886035299E-2</c:v>
                </c:pt>
                <c:pt idx="5131">
                  <c:v>9.1510611735330802E-2</c:v>
                </c:pt>
                <c:pt idx="5132">
                  <c:v>9.1528446584626305E-2</c:v>
                </c:pt>
                <c:pt idx="5133">
                  <c:v>9.1546281433921795E-2</c:v>
                </c:pt>
                <c:pt idx="5134">
                  <c:v>9.1564116283217395E-2</c:v>
                </c:pt>
                <c:pt idx="5135">
                  <c:v>9.1581951132512898E-2</c:v>
                </c:pt>
                <c:pt idx="5136">
                  <c:v>9.1599785981808401E-2</c:v>
                </c:pt>
                <c:pt idx="5137">
                  <c:v>9.1617620831103905E-2</c:v>
                </c:pt>
                <c:pt idx="5138">
                  <c:v>9.1635455680399505E-2</c:v>
                </c:pt>
                <c:pt idx="5139">
                  <c:v>9.1653290529694995E-2</c:v>
                </c:pt>
                <c:pt idx="5140">
                  <c:v>9.1671125378990498E-2</c:v>
                </c:pt>
                <c:pt idx="5141">
                  <c:v>9.1688960228286001E-2</c:v>
                </c:pt>
                <c:pt idx="5142">
                  <c:v>9.1706795077581504E-2</c:v>
                </c:pt>
                <c:pt idx="5143">
                  <c:v>9.1724629926877105E-2</c:v>
                </c:pt>
                <c:pt idx="5144">
                  <c:v>9.1742464776172594E-2</c:v>
                </c:pt>
                <c:pt idx="5145">
                  <c:v>9.1760299625468097E-2</c:v>
                </c:pt>
                <c:pt idx="5146">
                  <c:v>9.1778134474763601E-2</c:v>
                </c:pt>
                <c:pt idx="5147">
                  <c:v>9.1795969324059201E-2</c:v>
                </c:pt>
                <c:pt idx="5148">
                  <c:v>9.1813804173354704E-2</c:v>
                </c:pt>
                <c:pt idx="5149">
                  <c:v>9.1831639022650194E-2</c:v>
                </c:pt>
                <c:pt idx="5150">
                  <c:v>9.1849473871945697E-2</c:v>
                </c:pt>
                <c:pt idx="5151">
                  <c:v>9.1867308721241298E-2</c:v>
                </c:pt>
                <c:pt idx="5152">
                  <c:v>9.1885143570536801E-2</c:v>
                </c:pt>
                <c:pt idx="5153">
                  <c:v>9.1902978419832304E-2</c:v>
                </c:pt>
                <c:pt idx="5154">
                  <c:v>9.1920813269127793E-2</c:v>
                </c:pt>
                <c:pt idx="5155">
                  <c:v>9.1938648118423394E-2</c:v>
                </c:pt>
                <c:pt idx="5156">
                  <c:v>9.1956482967718897E-2</c:v>
                </c:pt>
                <c:pt idx="5157">
                  <c:v>9.19743178170144E-2</c:v>
                </c:pt>
                <c:pt idx="5158">
                  <c:v>9.1992152666309904E-2</c:v>
                </c:pt>
                <c:pt idx="5159">
                  <c:v>9.2009987515605393E-2</c:v>
                </c:pt>
                <c:pt idx="5160">
                  <c:v>9.2027822364900994E-2</c:v>
                </c:pt>
                <c:pt idx="5161">
                  <c:v>9.2045657214196497E-2</c:v>
                </c:pt>
                <c:pt idx="5162">
                  <c:v>9.2063492063492E-2</c:v>
                </c:pt>
                <c:pt idx="5163">
                  <c:v>9.2081326912787503E-2</c:v>
                </c:pt>
                <c:pt idx="5164">
                  <c:v>9.2099161762083104E-2</c:v>
                </c:pt>
                <c:pt idx="5165">
                  <c:v>9.2116996611378593E-2</c:v>
                </c:pt>
                <c:pt idx="5166">
                  <c:v>9.2134831460674096E-2</c:v>
                </c:pt>
                <c:pt idx="5167">
                  <c:v>9.21526663099696E-2</c:v>
                </c:pt>
                <c:pt idx="5168">
                  <c:v>9.21705011592652E-2</c:v>
                </c:pt>
                <c:pt idx="5169">
                  <c:v>9.2188336008560703E-2</c:v>
                </c:pt>
                <c:pt idx="5170">
                  <c:v>9.2206170857856207E-2</c:v>
                </c:pt>
                <c:pt idx="5171">
                  <c:v>9.2224005707151696E-2</c:v>
                </c:pt>
                <c:pt idx="5172">
                  <c:v>9.2241840556447297E-2</c:v>
                </c:pt>
                <c:pt idx="5173">
                  <c:v>9.22596754057428E-2</c:v>
                </c:pt>
                <c:pt idx="5174">
                  <c:v>9.2277510255038303E-2</c:v>
                </c:pt>
                <c:pt idx="5175">
                  <c:v>9.2295345104333806E-2</c:v>
                </c:pt>
                <c:pt idx="5176">
                  <c:v>9.2313179953629296E-2</c:v>
                </c:pt>
                <c:pt idx="5177">
                  <c:v>9.2331014802924896E-2</c:v>
                </c:pt>
                <c:pt idx="5178">
                  <c:v>9.2348849652220399E-2</c:v>
                </c:pt>
                <c:pt idx="5179">
                  <c:v>9.2366684501515903E-2</c:v>
                </c:pt>
                <c:pt idx="5180">
                  <c:v>9.2384519350811406E-2</c:v>
                </c:pt>
                <c:pt idx="5181">
                  <c:v>9.2402354200107006E-2</c:v>
                </c:pt>
                <c:pt idx="5182">
                  <c:v>9.2420189049402496E-2</c:v>
                </c:pt>
                <c:pt idx="5183">
                  <c:v>9.2438023898697999E-2</c:v>
                </c:pt>
                <c:pt idx="5184">
                  <c:v>9.2455858747993502E-2</c:v>
                </c:pt>
                <c:pt idx="5185">
                  <c:v>9.2473693597289103E-2</c:v>
                </c:pt>
                <c:pt idx="5186">
                  <c:v>9.2491528446584606E-2</c:v>
                </c:pt>
                <c:pt idx="5187">
                  <c:v>9.2509363295880095E-2</c:v>
                </c:pt>
                <c:pt idx="5188">
                  <c:v>9.2527198145175599E-2</c:v>
                </c:pt>
                <c:pt idx="5189">
                  <c:v>9.2545032994471199E-2</c:v>
                </c:pt>
                <c:pt idx="5190">
                  <c:v>9.2562867843766702E-2</c:v>
                </c:pt>
                <c:pt idx="5191">
                  <c:v>9.2580702693062206E-2</c:v>
                </c:pt>
                <c:pt idx="5192">
                  <c:v>9.2598537542357695E-2</c:v>
                </c:pt>
                <c:pt idx="5193">
                  <c:v>9.2616372391653295E-2</c:v>
                </c:pt>
                <c:pt idx="5194">
                  <c:v>9.2634207240948799E-2</c:v>
                </c:pt>
                <c:pt idx="5195">
                  <c:v>9.2652042090244302E-2</c:v>
                </c:pt>
                <c:pt idx="5196">
                  <c:v>9.2669876939539805E-2</c:v>
                </c:pt>
                <c:pt idx="5197">
                  <c:v>9.2687711788835295E-2</c:v>
                </c:pt>
                <c:pt idx="5198">
                  <c:v>9.2705546638130895E-2</c:v>
                </c:pt>
                <c:pt idx="5199">
                  <c:v>9.2723381487426398E-2</c:v>
                </c:pt>
                <c:pt idx="5200">
                  <c:v>9.2741216336721902E-2</c:v>
                </c:pt>
                <c:pt idx="5201">
                  <c:v>9.2759051186017405E-2</c:v>
                </c:pt>
                <c:pt idx="5202">
                  <c:v>9.2776886035313005E-2</c:v>
                </c:pt>
                <c:pt idx="5203">
                  <c:v>9.2794720884608495E-2</c:v>
                </c:pt>
                <c:pt idx="5204">
                  <c:v>9.2812555733903998E-2</c:v>
                </c:pt>
                <c:pt idx="5205">
                  <c:v>9.2830390583199501E-2</c:v>
                </c:pt>
                <c:pt idx="5206">
                  <c:v>9.2848225432495102E-2</c:v>
                </c:pt>
                <c:pt idx="5207">
                  <c:v>9.2866060281790605E-2</c:v>
                </c:pt>
                <c:pt idx="5208">
                  <c:v>9.2883895131086094E-2</c:v>
                </c:pt>
                <c:pt idx="5209">
                  <c:v>9.2901729980381598E-2</c:v>
                </c:pt>
                <c:pt idx="5210">
                  <c:v>9.2919564829677101E-2</c:v>
                </c:pt>
                <c:pt idx="5211">
                  <c:v>9.2937399678972701E-2</c:v>
                </c:pt>
                <c:pt idx="5212">
                  <c:v>9.2955234528268205E-2</c:v>
                </c:pt>
                <c:pt idx="5213">
                  <c:v>9.2973069377563694E-2</c:v>
                </c:pt>
                <c:pt idx="5214">
                  <c:v>9.2990904226859197E-2</c:v>
                </c:pt>
                <c:pt idx="5215">
                  <c:v>9.3008739076154798E-2</c:v>
                </c:pt>
                <c:pt idx="5216">
                  <c:v>9.3026573925450301E-2</c:v>
                </c:pt>
                <c:pt idx="5217">
                  <c:v>9.3044408774745804E-2</c:v>
                </c:pt>
                <c:pt idx="5218">
                  <c:v>9.3062243624041294E-2</c:v>
                </c:pt>
                <c:pt idx="5219">
                  <c:v>9.3080078473336894E-2</c:v>
                </c:pt>
                <c:pt idx="5220">
                  <c:v>9.3097913322632397E-2</c:v>
                </c:pt>
                <c:pt idx="5221">
                  <c:v>9.3115748171927901E-2</c:v>
                </c:pt>
                <c:pt idx="5222">
                  <c:v>9.3133583021223404E-2</c:v>
                </c:pt>
                <c:pt idx="5223">
                  <c:v>9.3151417870518893E-2</c:v>
                </c:pt>
                <c:pt idx="5224">
                  <c:v>9.3169252719814494E-2</c:v>
                </c:pt>
                <c:pt idx="5225">
                  <c:v>9.3187087569109997E-2</c:v>
                </c:pt>
                <c:pt idx="5226">
                  <c:v>9.32049224184055E-2</c:v>
                </c:pt>
                <c:pt idx="5227">
                  <c:v>9.3222757267701004E-2</c:v>
                </c:pt>
                <c:pt idx="5228">
                  <c:v>9.3240592116996604E-2</c:v>
                </c:pt>
                <c:pt idx="5229">
                  <c:v>9.3258426966292093E-2</c:v>
                </c:pt>
                <c:pt idx="5230">
                  <c:v>9.3276261815587597E-2</c:v>
                </c:pt>
                <c:pt idx="5231">
                  <c:v>9.32940966648831E-2</c:v>
                </c:pt>
                <c:pt idx="5232">
                  <c:v>9.33119315141787E-2</c:v>
                </c:pt>
                <c:pt idx="5233">
                  <c:v>9.3329766363474204E-2</c:v>
                </c:pt>
                <c:pt idx="5234">
                  <c:v>9.3347601212769707E-2</c:v>
                </c:pt>
                <c:pt idx="5235">
                  <c:v>9.3365436062065196E-2</c:v>
                </c:pt>
                <c:pt idx="5236">
                  <c:v>9.3383270911360797E-2</c:v>
                </c:pt>
                <c:pt idx="5237">
                  <c:v>9.34011057606563E-2</c:v>
                </c:pt>
                <c:pt idx="5238">
                  <c:v>9.3418940609951803E-2</c:v>
                </c:pt>
                <c:pt idx="5239">
                  <c:v>9.3436775459247307E-2</c:v>
                </c:pt>
                <c:pt idx="5240">
                  <c:v>9.3454610308542893E-2</c:v>
                </c:pt>
                <c:pt idx="5241">
                  <c:v>9.3472445157838396E-2</c:v>
                </c:pt>
                <c:pt idx="5242">
                  <c:v>9.34902800071339E-2</c:v>
                </c:pt>
                <c:pt idx="5243">
                  <c:v>9.3508114856429403E-2</c:v>
                </c:pt>
                <c:pt idx="5244">
                  <c:v>9.3525949705724906E-2</c:v>
                </c:pt>
                <c:pt idx="5245">
                  <c:v>9.3543784555020507E-2</c:v>
                </c:pt>
                <c:pt idx="5246">
                  <c:v>9.3561619404315996E-2</c:v>
                </c:pt>
                <c:pt idx="5247">
                  <c:v>9.3579454253611499E-2</c:v>
                </c:pt>
                <c:pt idx="5248">
                  <c:v>9.3597289102907003E-2</c:v>
                </c:pt>
                <c:pt idx="5249">
                  <c:v>9.3615123952202603E-2</c:v>
                </c:pt>
                <c:pt idx="5250">
                  <c:v>9.3632958801498106E-2</c:v>
                </c:pt>
                <c:pt idx="5251">
                  <c:v>9.3650793650793596E-2</c:v>
                </c:pt>
                <c:pt idx="5252">
                  <c:v>9.3668628500089099E-2</c:v>
                </c:pt>
                <c:pt idx="5253">
                  <c:v>9.3686463349384699E-2</c:v>
                </c:pt>
                <c:pt idx="5254">
                  <c:v>9.3704298198680203E-2</c:v>
                </c:pt>
                <c:pt idx="5255">
                  <c:v>9.3722133047975706E-2</c:v>
                </c:pt>
                <c:pt idx="5256">
                  <c:v>9.3739967897271195E-2</c:v>
                </c:pt>
                <c:pt idx="5257">
                  <c:v>9.3757802746566796E-2</c:v>
                </c:pt>
                <c:pt idx="5258">
                  <c:v>9.3775637595862299E-2</c:v>
                </c:pt>
                <c:pt idx="5259">
                  <c:v>9.3793472445157802E-2</c:v>
                </c:pt>
                <c:pt idx="5260">
                  <c:v>9.3811307294453306E-2</c:v>
                </c:pt>
                <c:pt idx="5261">
                  <c:v>9.3829142143748795E-2</c:v>
                </c:pt>
                <c:pt idx="5262">
                  <c:v>9.3846976993044395E-2</c:v>
                </c:pt>
                <c:pt idx="5263">
                  <c:v>9.3864811842339899E-2</c:v>
                </c:pt>
                <c:pt idx="5264">
                  <c:v>9.3882646691635402E-2</c:v>
                </c:pt>
                <c:pt idx="5265">
                  <c:v>9.3900481540930905E-2</c:v>
                </c:pt>
                <c:pt idx="5266">
                  <c:v>9.3918316390226506E-2</c:v>
                </c:pt>
                <c:pt idx="5267">
                  <c:v>9.3936151239521995E-2</c:v>
                </c:pt>
                <c:pt idx="5268">
                  <c:v>9.3953986088817498E-2</c:v>
                </c:pt>
                <c:pt idx="5269">
                  <c:v>9.3971820938113002E-2</c:v>
                </c:pt>
                <c:pt idx="5270">
                  <c:v>9.3989655787408602E-2</c:v>
                </c:pt>
                <c:pt idx="5271">
                  <c:v>9.4007490636704105E-2</c:v>
                </c:pt>
                <c:pt idx="5272">
                  <c:v>9.4025325485999595E-2</c:v>
                </c:pt>
                <c:pt idx="5273">
                  <c:v>9.4043160335295098E-2</c:v>
                </c:pt>
                <c:pt idx="5274">
                  <c:v>9.4060995184590601E-2</c:v>
                </c:pt>
                <c:pt idx="5275">
                  <c:v>9.4078830033886202E-2</c:v>
                </c:pt>
                <c:pt idx="5276">
                  <c:v>9.4096664883181705E-2</c:v>
                </c:pt>
                <c:pt idx="5277">
                  <c:v>9.4114499732477194E-2</c:v>
                </c:pt>
                <c:pt idx="5278">
                  <c:v>9.4132334581772698E-2</c:v>
                </c:pt>
                <c:pt idx="5279">
                  <c:v>9.4150169431068298E-2</c:v>
                </c:pt>
                <c:pt idx="5280">
                  <c:v>9.4168004280363801E-2</c:v>
                </c:pt>
                <c:pt idx="5281">
                  <c:v>9.4185839129659304E-2</c:v>
                </c:pt>
                <c:pt idx="5282">
                  <c:v>9.4203673978954794E-2</c:v>
                </c:pt>
                <c:pt idx="5283">
                  <c:v>9.4221508828250394E-2</c:v>
                </c:pt>
                <c:pt idx="5284">
                  <c:v>9.4239343677545898E-2</c:v>
                </c:pt>
                <c:pt idx="5285">
                  <c:v>9.4257178526841401E-2</c:v>
                </c:pt>
                <c:pt idx="5286">
                  <c:v>9.4275013376136904E-2</c:v>
                </c:pt>
                <c:pt idx="5287">
                  <c:v>9.4292848225432394E-2</c:v>
                </c:pt>
                <c:pt idx="5288">
                  <c:v>9.4310683074727994E-2</c:v>
                </c:pt>
                <c:pt idx="5289">
                  <c:v>9.4328517924023497E-2</c:v>
                </c:pt>
                <c:pt idx="5290">
                  <c:v>9.4346352773319E-2</c:v>
                </c:pt>
                <c:pt idx="5291">
                  <c:v>9.4364187622614504E-2</c:v>
                </c:pt>
                <c:pt idx="5292">
                  <c:v>9.4382022471910104E-2</c:v>
                </c:pt>
                <c:pt idx="5293">
                  <c:v>9.4399857321205594E-2</c:v>
                </c:pt>
                <c:pt idx="5294">
                  <c:v>9.4417692170501097E-2</c:v>
                </c:pt>
                <c:pt idx="5295">
                  <c:v>9.44355270197966E-2</c:v>
                </c:pt>
                <c:pt idx="5296">
                  <c:v>9.4453361869092201E-2</c:v>
                </c:pt>
                <c:pt idx="5297">
                  <c:v>9.4471196718387704E-2</c:v>
                </c:pt>
                <c:pt idx="5298">
                  <c:v>9.4489031567683193E-2</c:v>
                </c:pt>
                <c:pt idx="5299">
                  <c:v>9.4506866416978696E-2</c:v>
                </c:pt>
                <c:pt idx="5300">
                  <c:v>9.4524701266274297E-2</c:v>
                </c:pt>
                <c:pt idx="5301">
                  <c:v>9.45425361155698E-2</c:v>
                </c:pt>
                <c:pt idx="5302">
                  <c:v>9.4560370964865303E-2</c:v>
                </c:pt>
                <c:pt idx="5303">
                  <c:v>9.4578205814160807E-2</c:v>
                </c:pt>
                <c:pt idx="5304">
                  <c:v>9.4596040663456393E-2</c:v>
                </c:pt>
                <c:pt idx="5305">
                  <c:v>9.4613875512751897E-2</c:v>
                </c:pt>
                <c:pt idx="5306">
                  <c:v>9.46317103620474E-2</c:v>
                </c:pt>
                <c:pt idx="5307">
                  <c:v>9.4649545211342903E-2</c:v>
                </c:pt>
                <c:pt idx="5308">
                  <c:v>9.4667380060638406E-2</c:v>
                </c:pt>
                <c:pt idx="5309">
                  <c:v>9.4685214909934007E-2</c:v>
                </c:pt>
                <c:pt idx="5310">
                  <c:v>9.4703049759229496E-2</c:v>
                </c:pt>
                <c:pt idx="5311">
                  <c:v>9.4720884608524999E-2</c:v>
                </c:pt>
                <c:pt idx="5312">
                  <c:v>9.4738719457820503E-2</c:v>
                </c:pt>
                <c:pt idx="5313">
                  <c:v>9.4756554307116103E-2</c:v>
                </c:pt>
                <c:pt idx="5314">
                  <c:v>9.4774389156411606E-2</c:v>
                </c:pt>
                <c:pt idx="5315">
                  <c:v>9.4792224005707096E-2</c:v>
                </c:pt>
                <c:pt idx="5316">
                  <c:v>9.4810058855002599E-2</c:v>
                </c:pt>
                <c:pt idx="5317">
                  <c:v>9.48278937042982E-2</c:v>
                </c:pt>
                <c:pt idx="5318">
                  <c:v>9.4845728553593703E-2</c:v>
                </c:pt>
                <c:pt idx="5319">
                  <c:v>9.4863563402889206E-2</c:v>
                </c:pt>
                <c:pt idx="5320">
                  <c:v>9.4881398252184695E-2</c:v>
                </c:pt>
                <c:pt idx="5321">
                  <c:v>9.4899233101480296E-2</c:v>
                </c:pt>
                <c:pt idx="5322">
                  <c:v>9.4917067950775799E-2</c:v>
                </c:pt>
                <c:pt idx="5323">
                  <c:v>9.4934902800071302E-2</c:v>
                </c:pt>
                <c:pt idx="5324">
                  <c:v>9.4952737649366806E-2</c:v>
                </c:pt>
                <c:pt idx="5325">
                  <c:v>9.4970572498662295E-2</c:v>
                </c:pt>
                <c:pt idx="5326">
                  <c:v>9.4988407347957896E-2</c:v>
                </c:pt>
                <c:pt idx="5327">
                  <c:v>9.5006242197253399E-2</c:v>
                </c:pt>
                <c:pt idx="5328">
                  <c:v>9.5024077046548902E-2</c:v>
                </c:pt>
                <c:pt idx="5329">
                  <c:v>9.5041911895844405E-2</c:v>
                </c:pt>
                <c:pt idx="5330">
                  <c:v>9.5059746745140006E-2</c:v>
                </c:pt>
                <c:pt idx="5331">
                  <c:v>9.5077581594435495E-2</c:v>
                </c:pt>
                <c:pt idx="5332">
                  <c:v>9.5095416443730998E-2</c:v>
                </c:pt>
                <c:pt idx="5333">
                  <c:v>9.5113251293026502E-2</c:v>
                </c:pt>
                <c:pt idx="5334">
                  <c:v>9.5131086142322102E-2</c:v>
                </c:pt>
                <c:pt idx="5335">
                  <c:v>9.5148920991617605E-2</c:v>
                </c:pt>
                <c:pt idx="5336">
                  <c:v>9.5166755840913095E-2</c:v>
                </c:pt>
                <c:pt idx="5337">
                  <c:v>9.5184590690208598E-2</c:v>
                </c:pt>
                <c:pt idx="5338">
                  <c:v>9.5202425539504101E-2</c:v>
                </c:pt>
                <c:pt idx="5339">
                  <c:v>9.5220260388799702E-2</c:v>
                </c:pt>
                <c:pt idx="5340">
                  <c:v>9.5238095238095205E-2</c:v>
                </c:pt>
                <c:pt idx="5341">
                  <c:v>9.5255930087390694E-2</c:v>
                </c:pt>
                <c:pt idx="5342">
                  <c:v>9.5273764936686198E-2</c:v>
                </c:pt>
                <c:pt idx="5343">
                  <c:v>9.5291599785981798E-2</c:v>
                </c:pt>
                <c:pt idx="5344">
                  <c:v>9.5309434635277301E-2</c:v>
                </c:pt>
                <c:pt idx="5345">
                  <c:v>9.5327269484572805E-2</c:v>
                </c:pt>
                <c:pt idx="5346">
                  <c:v>9.5345104333868294E-2</c:v>
                </c:pt>
                <c:pt idx="5347">
                  <c:v>9.5362939183163895E-2</c:v>
                </c:pt>
                <c:pt idx="5348">
                  <c:v>9.5380774032459398E-2</c:v>
                </c:pt>
                <c:pt idx="5349">
                  <c:v>9.5398608881754901E-2</c:v>
                </c:pt>
                <c:pt idx="5350">
                  <c:v>9.5416443731050404E-2</c:v>
                </c:pt>
                <c:pt idx="5351">
                  <c:v>9.5434278580345894E-2</c:v>
                </c:pt>
                <c:pt idx="5352">
                  <c:v>9.5452113429641494E-2</c:v>
                </c:pt>
                <c:pt idx="5353">
                  <c:v>9.5469948278936997E-2</c:v>
                </c:pt>
                <c:pt idx="5354">
                  <c:v>9.5487783128232501E-2</c:v>
                </c:pt>
                <c:pt idx="5355">
                  <c:v>9.5505617977528004E-2</c:v>
                </c:pt>
                <c:pt idx="5356">
                  <c:v>9.5523452826823604E-2</c:v>
                </c:pt>
                <c:pt idx="5357">
                  <c:v>9.5541287676119094E-2</c:v>
                </c:pt>
                <c:pt idx="5358">
                  <c:v>9.5559122525414597E-2</c:v>
                </c:pt>
                <c:pt idx="5359">
                  <c:v>9.55769573747101E-2</c:v>
                </c:pt>
                <c:pt idx="5360">
                  <c:v>9.5594792224005701E-2</c:v>
                </c:pt>
                <c:pt idx="5361">
                  <c:v>9.5612627073301204E-2</c:v>
                </c:pt>
                <c:pt idx="5362">
                  <c:v>9.5630461922596693E-2</c:v>
                </c:pt>
                <c:pt idx="5363">
                  <c:v>9.5648296771892197E-2</c:v>
                </c:pt>
                <c:pt idx="5364">
                  <c:v>9.5666131621187797E-2</c:v>
                </c:pt>
                <c:pt idx="5365">
                  <c:v>9.56839664704833E-2</c:v>
                </c:pt>
                <c:pt idx="5366">
                  <c:v>9.5701801319778804E-2</c:v>
                </c:pt>
                <c:pt idx="5367">
                  <c:v>9.5719636169074293E-2</c:v>
                </c:pt>
                <c:pt idx="5368">
                  <c:v>9.5737471018369893E-2</c:v>
                </c:pt>
                <c:pt idx="5369">
                  <c:v>9.5755305867665397E-2</c:v>
                </c:pt>
                <c:pt idx="5370">
                  <c:v>9.57731407169609E-2</c:v>
                </c:pt>
                <c:pt idx="5371">
                  <c:v>9.5790975566256403E-2</c:v>
                </c:pt>
                <c:pt idx="5372">
                  <c:v>9.5808810415551907E-2</c:v>
                </c:pt>
                <c:pt idx="5373">
                  <c:v>9.5826645264847493E-2</c:v>
                </c:pt>
                <c:pt idx="5374">
                  <c:v>9.5844480114142996E-2</c:v>
                </c:pt>
                <c:pt idx="5375">
                  <c:v>9.58623149634385E-2</c:v>
                </c:pt>
                <c:pt idx="5376">
                  <c:v>9.5880149812734003E-2</c:v>
                </c:pt>
                <c:pt idx="5377">
                  <c:v>9.5897984662029603E-2</c:v>
                </c:pt>
                <c:pt idx="5378">
                  <c:v>9.5915819511325107E-2</c:v>
                </c:pt>
                <c:pt idx="5379">
                  <c:v>9.5933654360620596E-2</c:v>
                </c:pt>
                <c:pt idx="5380">
                  <c:v>9.5951489209916099E-2</c:v>
                </c:pt>
                <c:pt idx="5381">
                  <c:v>9.59693240592117E-2</c:v>
                </c:pt>
                <c:pt idx="5382">
                  <c:v>9.5987158908507203E-2</c:v>
                </c:pt>
                <c:pt idx="5383">
                  <c:v>9.6004993757802706E-2</c:v>
                </c:pt>
                <c:pt idx="5384">
                  <c:v>9.6022828607098196E-2</c:v>
                </c:pt>
                <c:pt idx="5385">
                  <c:v>9.6040663456393796E-2</c:v>
                </c:pt>
                <c:pt idx="5386">
                  <c:v>9.6058498305689299E-2</c:v>
                </c:pt>
                <c:pt idx="5387">
                  <c:v>9.6076333154984803E-2</c:v>
                </c:pt>
                <c:pt idx="5388">
                  <c:v>9.6094168004280306E-2</c:v>
                </c:pt>
                <c:pt idx="5389">
                  <c:v>9.6112002853575795E-2</c:v>
                </c:pt>
                <c:pt idx="5390">
                  <c:v>9.6129837702871396E-2</c:v>
                </c:pt>
                <c:pt idx="5391">
                  <c:v>9.6147672552166899E-2</c:v>
                </c:pt>
                <c:pt idx="5392">
                  <c:v>9.6165507401462402E-2</c:v>
                </c:pt>
                <c:pt idx="5393">
                  <c:v>9.6183342250757906E-2</c:v>
                </c:pt>
                <c:pt idx="5394">
                  <c:v>9.6201177100053506E-2</c:v>
                </c:pt>
                <c:pt idx="5395">
                  <c:v>9.6219011949348995E-2</c:v>
                </c:pt>
                <c:pt idx="5396">
                  <c:v>9.6236846798644499E-2</c:v>
                </c:pt>
                <c:pt idx="5397">
                  <c:v>9.6254681647940002E-2</c:v>
                </c:pt>
                <c:pt idx="5398">
                  <c:v>9.6272516497235602E-2</c:v>
                </c:pt>
                <c:pt idx="5399">
                  <c:v>9.6290351346531106E-2</c:v>
                </c:pt>
                <c:pt idx="5400">
                  <c:v>9.6308186195826595E-2</c:v>
                </c:pt>
                <c:pt idx="5401">
                  <c:v>9.6326021045122098E-2</c:v>
                </c:pt>
                <c:pt idx="5402">
                  <c:v>9.6343855894417699E-2</c:v>
                </c:pt>
                <c:pt idx="5403">
                  <c:v>9.6361690743713202E-2</c:v>
                </c:pt>
                <c:pt idx="5404">
                  <c:v>9.6379525593008705E-2</c:v>
                </c:pt>
                <c:pt idx="5405">
                  <c:v>9.6397360442304195E-2</c:v>
                </c:pt>
                <c:pt idx="5406">
                  <c:v>9.6415195291599698E-2</c:v>
                </c:pt>
                <c:pt idx="5407">
                  <c:v>9.6433030140895298E-2</c:v>
                </c:pt>
                <c:pt idx="5408">
                  <c:v>9.6450864990190802E-2</c:v>
                </c:pt>
                <c:pt idx="5409">
                  <c:v>9.6468699839486305E-2</c:v>
                </c:pt>
                <c:pt idx="5410">
                  <c:v>9.6486534688781794E-2</c:v>
                </c:pt>
                <c:pt idx="5411">
                  <c:v>9.6504369538077395E-2</c:v>
                </c:pt>
                <c:pt idx="5412">
                  <c:v>9.6522204387372898E-2</c:v>
                </c:pt>
                <c:pt idx="5413">
                  <c:v>9.6540039236668401E-2</c:v>
                </c:pt>
                <c:pt idx="5414">
                  <c:v>9.6557874085963905E-2</c:v>
                </c:pt>
                <c:pt idx="5415">
                  <c:v>9.6575708935259394E-2</c:v>
                </c:pt>
                <c:pt idx="5416">
                  <c:v>9.6593543784554994E-2</c:v>
                </c:pt>
                <c:pt idx="5417">
                  <c:v>9.6611378633850498E-2</c:v>
                </c:pt>
                <c:pt idx="5418">
                  <c:v>9.6629213483146001E-2</c:v>
                </c:pt>
                <c:pt idx="5419">
                  <c:v>9.6647048332441504E-2</c:v>
                </c:pt>
                <c:pt idx="5420">
                  <c:v>9.6664883181737105E-2</c:v>
                </c:pt>
                <c:pt idx="5421">
                  <c:v>9.6682718031032594E-2</c:v>
                </c:pt>
                <c:pt idx="5422">
                  <c:v>9.6700552880328097E-2</c:v>
                </c:pt>
                <c:pt idx="5423">
                  <c:v>9.6718387729623601E-2</c:v>
                </c:pt>
                <c:pt idx="5424">
                  <c:v>9.6736222578919201E-2</c:v>
                </c:pt>
                <c:pt idx="5425">
                  <c:v>9.6754057428214704E-2</c:v>
                </c:pt>
                <c:pt idx="5426">
                  <c:v>9.6771892277510194E-2</c:v>
                </c:pt>
                <c:pt idx="5427">
                  <c:v>9.6789727126805697E-2</c:v>
                </c:pt>
                <c:pt idx="5428">
                  <c:v>9.6807561976101297E-2</c:v>
                </c:pt>
                <c:pt idx="5429">
                  <c:v>9.6825396825396801E-2</c:v>
                </c:pt>
                <c:pt idx="5430">
                  <c:v>9.6843231674692304E-2</c:v>
                </c:pt>
                <c:pt idx="5431">
                  <c:v>9.6861066523987793E-2</c:v>
                </c:pt>
                <c:pt idx="5432">
                  <c:v>9.6878901373283394E-2</c:v>
                </c:pt>
                <c:pt idx="5433">
                  <c:v>9.6896736222578897E-2</c:v>
                </c:pt>
                <c:pt idx="5434">
                  <c:v>9.69145710718744E-2</c:v>
                </c:pt>
                <c:pt idx="5435">
                  <c:v>9.6932405921169904E-2</c:v>
                </c:pt>
                <c:pt idx="5436">
                  <c:v>9.6950240770465407E-2</c:v>
                </c:pt>
                <c:pt idx="5437">
                  <c:v>9.6968075619760993E-2</c:v>
                </c:pt>
                <c:pt idx="5438">
                  <c:v>9.6985910469056497E-2</c:v>
                </c:pt>
                <c:pt idx="5439">
                  <c:v>9.7003745318352E-2</c:v>
                </c:pt>
                <c:pt idx="5440">
                  <c:v>9.7021580167647503E-2</c:v>
                </c:pt>
                <c:pt idx="5441">
                  <c:v>9.7039415016943104E-2</c:v>
                </c:pt>
                <c:pt idx="5442">
                  <c:v>9.7057249866238607E-2</c:v>
                </c:pt>
                <c:pt idx="5443">
                  <c:v>9.7075084715534096E-2</c:v>
                </c:pt>
                <c:pt idx="5444">
                  <c:v>9.70929195648296E-2</c:v>
                </c:pt>
                <c:pt idx="5445">
                  <c:v>9.71107544141252E-2</c:v>
                </c:pt>
                <c:pt idx="5446">
                  <c:v>9.7128589263420703E-2</c:v>
                </c:pt>
                <c:pt idx="5447">
                  <c:v>9.7146424112716206E-2</c:v>
                </c:pt>
                <c:pt idx="5448">
                  <c:v>9.7164258962011696E-2</c:v>
                </c:pt>
                <c:pt idx="5449">
                  <c:v>9.7182093811307296E-2</c:v>
                </c:pt>
                <c:pt idx="5450">
                  <c:v>9.71999286606028E-2</c:v>
                </c:pt>
                <c:pt idx="5451">
                  <c:v>9.7217763509898303E-2</c:v>
                </c:pt>
                <c:pt idx="5452">
                  <c:v>9.7235598359193806E-2</c:v>
                </c:pt>
                <c:pt idx="5453">
                  <c:v>9.7253433208489296E-2</c:v>
                </c:pt>
                <c:pt idx="5454">
                  <c:v>9.7271268057784896E-2</c:v>
                </c:pt>
                <c:pt idx="5455">
                  <c:v>9.7289102907080399E-2</c:v>
                </c:pt>
                <c:pt idx="5456">
                  <c:v>9.7306937756375902E-2</c:v>
                </c:pt>
                <c:pt idx="5457">
                  <c:v>9.7324772605671406E-2</c:v>
                </c:pt>
                <c:pt idx="5458">
                  <c:v>9.7342607454967006E-2</c:v>
                </c:pt>
                <c:pt idx="5459">
                  <c:v>9.7360442304262496E-2</c:v>
                </c:pt>
                <c:pt idx="5460">
                  <c:v>9.7378277153557999E-2</c:v>
                </c:pt>
                <c:pt idx="5461">
                  <c:v>9.7396112002853502E-2</c:v>
                </c:pt>
                <c:pt idx="5462">
                  <c:v>9.7413946852149103E-2</c:v>
                </c:pt>
                <c:pt idx="5463">
                  <c:v>9.7431781701444606E-2</c:v>
                </c:pt>
                <c:pt idx="5464">
                  <c:v>9.7449616550740095E-2</c:v>
                </c:pt>
                <c:pt idx="5465">
                  <c:v>9.7467451400035598E-2</c:v>
                </c:pt>
                <c:pt idx="5466">
                  <c:v>9.7485286249331199E-2</c:v>
                </c:pt>
                <c:pt idx="5467">
                  <c:v>9.7503121098626702E-2</c:v>
                </c:pt>
                <c:pt idx="5468">
                  <c:v>9.7520955947922205E-2</c:v>
                </c:pt>
                <c:pt idx="5469">
                  <c:v>9.7538790797217695E-2</c:v>
                </c:pt>
                <c:pt idx="5470">
                  <c:v>9.7556625646513198E-2</c:v>
                </c:pt>
                <c:pt idx="5471">
                  <c:v>9.7574460495808799E-2</c:v>
                </c:pt>
                <c:pt idx="5472">
                  <c:v>9.7592295345104302E-2</c:v>
                </c:pt>
                <c:pt idx="5473">
                  <c:v>9.7610130194399805E-2</c:v>
                </c:pt>
                <c:pt idx="5474">
                  <c:v>9.7627965043695294E-2</c:v>
                </c:pt>
                <c:pt idx="5475">
                  <c:v>9.7645799892990895E-2</c:v>
                </c:pt>
                <c:pt idx="5476">
                  <c:v>9.7663634742286398E-2</c:v>
                </c:pt>
                <c:pt idx="5477">
                  <c:v>9.7681469591581901E-2</c:v>
                </c:pt>
                <c:pt idx="5478">
                  <c:v>9.7699304440877405E-2</c:v>
                </c:pt>
                <c:pt idx="5479">
                  <c:v>9.7717139290172894E-2</c:v>
                </c:pt>
                <c:pt idx="5480">
                  <c:v>9.7734974139468495E-2</c:v>
                </c:pt>
                <c:pt idx="5481">
                  <c:v>9.7752808988763998E-2</c:v>
                </c:pt>
                <c:pt idx="5482">
                  <c:v>9.7770643838059501E-2</c:v>
                </c:pt>
                <c:pt idx="5483">
                  <c:v>9.7788478687355004E-2</c:v>
                </c:pt>
                <c:pt idx="5484">
                  <c:v>9.7806313536650605E-2</c:v>
                </c:pt>
                <c:pt idx="5485">
                  <c:v>9.7824148385946094E-2</c:v>
                </c:pt>
                <c:pt idx="5486">
                  <c:v>9.7841983235241597E-2</c:v>
                </c:pt>
                <c:pt idx="5487">
                  <c:v>9.7859818084537101E-2</c:v>
                </c:pt>
                <c:pt idx="5488">
                  <c:v>9.7877652933832701E-2</c:v>
                </c:pt>
                <c:pt idx="5489">
                  <c:v>9.7895487783128204E-2</c:v>
                </c:pt>
                <c:pt idx="5490">
                  <c:v>9.7913322632423694E-2</c:v>
                </c:pt>
                <c:pt idx="5491">
                  <c:v>9.7931157481719197E-2</c:v>
                </c:pt>
                <c:pt idx="5492">
                  <c:v>9.7948992331014798E-2</c:v>
                </c:pt>
                <c:pt idx="5493">
                  <c:v>9.7966827180310301E-2</c:v>
                </c:pt>
                <c:pt idx="5494">
                  <c:v>9.7984662029605804E-2</c:v>
                </c:pt>
                <c:pt idx="5495">
                  <c:v>9.8002496878901293E-2</c:v>
                </c:pt>
                <c:pt idx="5496">
                  <c:v>9.8020331728196894E-2</c:v>
                </c:pt>
                <c:pt idx="5497">
                  <c:v>9.8038166577492397E-2</c:v>
                </c:pt>
                <c:pt idx="5498">
                  <c:v>9.80560014267879E-2</c:v>
                </c:pt>
                <c:pt idx="5499">
                  <c:v>9.8073836276083404E-2</c:v>
                </c:pt>
                <c:pt idx="5500">
                  <c:v>9.8091671125378893E-2</c:v>
                </c:pt>
                <c:pt idx="5501">
                  <c:v>9.8109505974674494E-2</c:v>
                </c:pt>
                <c:pt idx="5502">
                  <c:v>9.8127340823969997E-2</c:v>
                </c:pt>
                <c:pt idx="5503">
                  <c:v>9.81451756732655E-2</c:v>
                </c:pt>
                <c:pt idx="5504">
                  <c:v>9.8163010522561003E-2</c:v>
                </c:pt>
                <c:pt idx="5505">
                  <c:v>9.8180845371856604E-2</c:v>
                </c:pt>
                <c:pt idx="5506">
                  <c:v>9.8198680221152093E-2</c:v>
                </c:pt>
                <c:pt idx="5507">
                  <c:v>9.8216515070447596E-2</c:v>
                </c:pt>
                <c:pt idx="5508">
                  <c:v>9.82343499197431E-2</c:v>
                </c:pt>
                <c:pt idx="5509">
                  <c:v>9.82521847690387E-2</c:v>
                </c:pt>
                <c:pt idx="5510">
                  <c:v>9.8270019618334203E-2</c:v>
                </c:pt>
                <c:pt idx="5511">
                  <c:v>9.8287854467629707E-2</c:v>
                </c:pt>
                <c:pt idx="5512">
                  <c:v>9.8305689316925196E-2</c:v>
                </c:pt>
                <c:pt idx="5513">
                  <c:v>9.8323524166220796E-2</c:v>
                </c:pt>
                <c:pt idx="5514">
                  <c:v>9.83413590155163E-2</c:v>
                </c:pt>
                <c:pt idx="5515">
                  <c:v>9.8359193864811803E-2</c:v>
                </c:pt>
                <c:pt idx="5516">
                  <c:v>9.8377028714107306E-2</c:v>
                </c:pt>
                <c:pt idx="5517">
                  <c:v>9.8394863563402796E-2</c:v>
                </c:pt>
                <c:pt idx="5518">
                  <c:v>9.8412698412698396E-2</c:v>
                </c:pt>
                <c:pt idx="5519">
                  <c:v>9.8430533261993899E-2</c:v>
                </c:pt>
                <c:pt idx="5520">
                  <c:v>9.8448368111289403E-2</c:v>
                </c:pt>
                <c:pt idx="5521">
                  <c:v>9.8466202960584906E-2</c:v>
                </c:pt>
                <c:pt idx="5522">
                  <c:v>9.8484037809880506E-2</c:v>
                </c:pt>
                <c:pt idx="5523">
                  <c:v>9.8501872659175996E-2</c:v>
                </c:pt>
                <c:pt idx="5524">
                  <c:v>9.8519707508471499E-2</c:v>
                </c:pt>
                <c:pt idx="5525">
                  <c:v>9.8537542357767002E-2</c:v>
                </c:pt>
                <c:pt idx="5526">
                  <c:v>9.8555377207062603E-2</c:v>
                </c:pt>
                <c:pt idx="5527">
                  <c:v>9.8573212056358106E-2</c:v>
                </c:pt>
                <c:pt idx="5528">
                  <c:v>9.8591046905653595E-2</c:v>
                </c:pt>
                <c:pt idx="5529">
                  <c:v>9.8608881754949099E-2</c:v>
                </c:pt>
                <c:pt idx="5530">
                  <c:v>9.8626716604244699E-2</c:v>
                </c:pt>
                <c:pt idx="5531">
                  <c:v>9.8644551453540202E-2</c:v>
                </c:pt>
                <c:pt idx="5532">
                  <c:v>9.8662386302835706E-2</c:v>
                </c:pt>
                <c:pt idx="5533">
                  <c:v>9.8680221152131195E-2</c:v>
                </c:pt>
                <c:pt idx="5534">
                  <c:v>9.8698056001426698E-2</c:v>
                </c:pt>
                <c:pt idx="5535">
                  <c:v>9.8715890850722299E-2</c:v>
                </c:pt>
                <c:pt idx="5536">
                  <c:v>9.8733725700017802E-2</c:v>
                </c:pt>
                <c:pt idx="5537">
                  <c:v>9.8751560549313305E-2</c:v>
                </c:pt>
                <c:pt idx="5538">
                  <c:v>9.8769395398608795E-2</c:v>
                </c:pt>
                <c:pt idx="5539">
                  <c:v>9.8787230247904395E-2</c:v>
                </c:pt>
                <c:pt idx="5540">
                  <c:v>9.8805065097199898E-2</c:v>
                </c:pt>
                <c:pt idx="5541">
                  <c:v>9.8822899946495402E-2</c:v>
                </c:pt>
                <c:pt idx="5542">
                  <c:v>9.8840734795790905E-2</c:v>
                </c:pt>
                <c:pt idx="5543">
                  <c:v>9.8858569645086505E-2</c:v>
                </c:pt>
                <c:pt idx="5544">
                  <c:v>9.8876404494381995E-2</c:v>
                </c:pt>
                <c:pt idx="5545">
                  <c:v>9.8894239343677498E-2</c:v>
                </c:pt>
                <c:pt idx="5546">
                  <c:v>9.8912074192973001E-2</c:v>
                </c:pt>
                <c:pt idx="5547">
                  <c:v>9.8929909042268505E-2</c:v>
                </c:pt>
                <c:pt idx="5548">
                  <c:v>9.8947743891564105E-2</c:v>
                </c:pt>
                <c:pt idx="5549">
                  <c:v>9.8965578740859594E-2</c:v>
                </c:pt>
                <c:pt idx="5550">
                  <c:v>9.8983413590155098E-2</c:v>
                </c:pt>
                <c:pt idx="5551">
                  <c:v>9.9001248439450601E-2</c:v>
                </c:pt>
                <c:pt idx="5552">
                  <c:v>9.9019083288746201E-2</c:v>
                </c:pt>
                <c:pt idx="5553">
                  <c:v>9.9036918138041705E-2</c:v>
                </c:pt>
                <c:pt idx="5554">
                  <c:v>9.9054752987337194E-2</c:v>
                </c:pt>
                <c:pt idx="5555">
                  <c:v>9.9072587836632697E-2</c:v>
                </c:pt>
                <c:pt idx="5556">
                  <c:v>9.9090422685928298E-2</c:v>
                </c:pt>
                <c:pt idx="5557">
                  <c:v>9.9108257535223801E-2</c:v>
                </c:pt>
                <c:pt idx="5558">
                  <c:v>9.9126092384519304E-2</c:v>
                </c:pt>
                <c:pt idx="5559">
                  <c:v>9.9143927233814794E-2</c:v>
                </c:pt>
                <c:pt idx="5560">
                  <c:v>9.9161762083110394E-2</c:v>
                </c:pt>
                <c:pt idx="5561">
                  <c:v>9.9179596932405897E-2</c:v>
                </c:pt>
                <c:pt idx="5562">
                  <c:v>9.9197431781701401E-2</c:v>
                </c:pt>
                <c:pt idx="5563">
                  <c:v>9.9215266630996904E-2</c:v>
                </c:pt>
                <c:pt idx="5564">
                  <c:v>9.9233101480292393E-2</c:v>
                </c:pt>
                <c:pt idx="5565">
                  <c:v>9.9250936329587994E-2</c:v>
                </c:pt>
                <c:pt idx="5566">
                  <c:v>9.9268771178883497E-2</c:v>
                </c:pt>
                <c:pt idx="5567">
                  <c:v>9.9286606028179E-2</c:v>
                </c:pt>
                <c:pt idx="5568">
                  <c:v>9.9304440877474504E-2</c:v>
                </c:pt>
                <c:pt idx="5569">
                  <c:v>9.9322275726770104E-2</c:v>
                </c:pt>
                <c:pt idx="5570">
                  <c:v>9.9340110576065593E-2</c:v>
                </c:pt>
                <c:pt idx="5571">
                  <c:v>9.9357945425361097E-2</c:v>
                </c:pt>
                <c:pt idx="5572">
                  <c:v>9.93757802746566E-2</c:v>
                </c:pt>
                <c:pt idx="5573">
                  <c:v>9.93936151239522E-2</c:v>
                </c:pt>
                <c:pt idx="5574">
                  <c:v>9.9411449973247704E-2</c:v>
                </c:pt>
                <c:pt idx="5575">
                  <c:v>9.9429284822543207E-2</c:v>
                </c:pt>
                <c:pt idx="5576">
                  <c:v>9.9447119671838696E-2</c:v>
                </c:pt>
                <c:pt idx="5577">
                  <c:v>9.9464954521134297E-2</c:v>
                </c:pt>
                <c:pt idx="5578">
                  <c:v>9.94827893704298E-2</c:v>
                </c:pt>
                <c:pt idx="5579">
                  <c:v>9.9500624219725303E-2</c:v>
                </c:pt>
                <c:pt idx="5580">
                  <c:v>9.9518459069020807E-2</c:v>
                </c:pt>
                <c:pt idx="5581">
                  <c:v>9.9536293918316296E-2</c:v>
                </c:pt>
                <c:pt idx="5582">
                  <c:v>9.9554128767611896E-2</c:v>
                </c:pt>
                <c:pt idx="5583">
                  <c:v>9.95719636169074E-2</c:v>
                </c:pt>
                <c:pt idx="5584">
                  <c:v>9.9589798466202903E-2</c:v>
                </c:pt>
                <c:pt idx="5585">
                  <c:v>9.9607633315498406E-2</c:v>
                </c:pt>
                <c:pt idx="5586">
                  <c:v>9.9625468164794007E-2</c:v>
                </c:pt>
                <c:pt idx="5587">
                  <c:v>9.9643303014089496E-2</c:v>
                </c:pt>
                <c:pt idx="5588">
                  <c:v>9.9661137863384999E-2</c:v>
                </c:pt>
                <c:pt idx="5589">
                  <c:v>9.9678972712680503E-2</c:v>
                </c:pt>
                <c:pt idx="5590">
                  <c:v>9.9696807561976103E-2</c:v>
                </c:pt>
                <c:pt idx="5591">
                  <c:v>9.9714642411271606E-2</c:v>
                </c:pt>
                <c:pt idx="5592">
                  <c:v>9.9732477260567096E-2</c:v>
                </c:pt>
                <c:pt idx="5593">
                  <c:v>9.9750312109862599E-2</c:v>
                </c:pt>
                <c:pt idx="5594">
                  <c:v>9.9768146959158199E-2</c:v>
                </c:pt>
                <c:pt idx="5595">
                  <c:v>9.9785981808453703E-2</c:v>
                </c:pt>
                <c:pt idx="5596">
                  <c:v>9.9803816657749206E-2</c:v>
                </c:pt>
                <c:pt idx="5597">
                  <c:v>9.9821651507044695E-2</c:v>
                </c:pt>
                <c:pt idx="5598">
                  <c:v>9.9839486356340296E-2</c:v>
                </c:pt>
                <c:pt idx="5599">
                  <c:v>9.9857321205635799E-2</c:v>
                </c:pt>
                <c:pt idx="5600">
                  <c:v>9.9875156054931302E-2</c:v>
                </c:pt>
                <c:pt idx="5601">
                  <c:v>9.9892990904226805E-2</c:v>
                </c:pt>
                <c:pt idx="5602">
                  <c:v>9.9910825753522295E-2</c:v>
                </c:pt>
                <c:pt idx="5603">
                  <c:v>9.9928660602817895E-2</c:v>
                </c:pt>
                <c:pt idx="5604">
                  <c:v>9.9946495452113399E-2</c:v>
                </c:pt>
                <c:pt idx="5605">
                  <c:v>9.9964330301408902E-2</c:v>
                </c:pt>
                <c:pt idx="5606">
                  <c:v>9.9982165150704405E-2</c:v>
                </c:pt>
                <c:pt idx="5607">
                  <c:v>0.1</c:v>
                </c:pt>
                <c:pt idx="5608">
                  <c:v>0.100017834849295</c:v>
                </c:pt>
                <c:pt idx="5609">
                  <c:v>0.100035669698591</c:v>
                </c:pt>
                <c:pt idx="5610">
                  <c:v>0.100053504547886</c:v>
                </c:pt>
                <c:pt idx="5611">
                  <c:v>0.100071339397182</c:v>
                </c:pt>
                <c:pt idx="5612">
                  <c:v>0.10008917424647699</c:v>
                </c:pt>
                <c:pt idx="5613">
                  <c:v>0.100107009095773</c:v>
                </c:pt>
                <c:pt idx="5614">
                  <c:v>0.100124843945068</c:v>
                </c:pt>
                <c:pt idx="5615">
                  <c:v>0.100142678794364</c:v>
                </c:pt>
                <c:pt idx="5616">
                  <c:v>0.10016051364365899</c:v>
                </c:pt>
                <c:pt idx="5617">
                  <c:v>0.100178348492955</c:v>
                </c:pt>
                <c:pt idx="5618">
                  <c:v>0.10019618334225</c:v>
                </c:pt>
                <c:pt idx="5619">
                  <c:v>0.100214018191546</c:v>
                </c:pt>
                <c:pt idx="5620">
                  <c:v>0.10023185304084101</c:v>
                </c:pt>
                <c:pt idx="5621">
                  <c:v>0.100249687890137</c:v>
                </c:pt>
                <c:pt idx="5622">
                  <c:v>0.100267522739432</c:v>
                </c:pt>
                <c:pt idx="5623">
                  <c:v>0.100285357588728</c:v>
                </c:pt>
                <c:pt idx="5624">
                  <c:v>0.10030319243802301</c:v>
                </c:pt>
                <c:pt idx="5625">
                  <c:v>0.100321027287319</c:v>
                </c:pt>
                <c:pt idx="5626">
                  <c:v>0.100338862136614</c:v>
                </c:pt>
                <c:pt idx="5627">
                  <c:v>0.10035669698591</c:v>
                </c:pt>
                <c:pt idx="5628">
                  <c:v>0.10037453183520501</c:v>
                </c:pt>
                <c:pt idx="5629">
                  <c:v>0.10039236668450099</c:v>
                </c:pt>
                <c:pt idx="5630">
                  <c:v>0.100410201533797</c:v>
                </c:pt>
                <c:pt idx="5631">
                  <c:v>0.100428036383092</c:v>
                </c:pt>
                <c:pt idx="5632">
                  <c:v>0.100445871232388</c:v>
                </c:pt>
                <c:pt idx="5633">
                  <c:v>0.10046370608168299</c:v>
                </c:pt>
                <c:pt idx="5634">
                  <c:v>0.100481540930979</c:v>
                </c:pt>
                <c:pt idx="5635">
                  <c:v>0.100499375780274</c:v>
                </c:pt>
                <c:pt idx="5636">
                  <c:v>0.10051721062957</c:v>
                </c:pt>
                <c:pt idx="5637">
                  <c:v>0.10053504547886501</c:v>
                </c:pt>
                <c:pt idx="5638">
                  <c:v>0.100552880328161</c:v>
                </c:pt>
                <c:pt idx="5639">
                  <c:v>0.100570715177456</c:v>
                </c:pt>
                <c:pt idx="5640">
                  <c:v>0.100588550026752</c:v>
                </c:pt>
                <c:pt idx="5641">
                  <c:v>0.10060638487604701</c:v>
                </c:pt>
                <c:pt idx="5642">
                  <c:v>0.10062421972534299</c:v>
                </c:pt>
                <c:pt idx="5643">
                  <c:v>0.100642054574638</c:v>
                </c:pt>
                <c:pt idx="5644">
                  <c:v>0.100659889423934</c:v>
                </c:pt>
                <c:pt idx="5645">
                  <c:v>0.10067772427322901</c:v>
                </c:pt>
                <c:pt idx="5646">
                  <c:v>0.10069555912252499</c:v>
                </c:pt>
                <c:pt idx="5647">
                  <c:v>0.10071339397182</c:v>
                </c:pt>
                <c:pt idx="5648">
                  <c:v>0.100731228821116</c:v>
                </c:pt>
                <c:pt idx="5649">
                  <c:v>0.100749063670411</c:v>
                </c:pt>
                <c:pt idx="5650">
                  <c:v>0.10076689851970699</c:v>
                </c:pt>
                <c:pt idx="5651">
                  <c:v>0.100784733369003</c:v>
                </c:pt>
                <c:pt idx="5652">
                  <c:v>0.100802568218298</c:v>
                </c:pt>
                <c:pt idx="5653">
                  <c:v>0.100820403067594</c:v>
                </c:pt>
                <c:pt idx="5654">
                  <c:v>0.10083823791688901</c:v>
                </c:pt>
                <c:pt idx="5655">
                  <c:v>0.100856072766185</c:v>
                </c:pt>
                <c:pt idx="5656">
                  <c:v>0.10087390761548</c:v>
                </c:pt>
                <c:pt idx="5657">
                  <c:v>0.100891742464776</c:v>
                </c:pt>
                <c:pt idx="5658">
                  <c:v>0.10090957731407101</c:v>
                </c:pt>
                <c:pt idx="5659">
                  <c:v>0.10092741216336699</c:v>
                </c:pt>
                <c:pt idx="5660">
                  <c:v>0.100945247012662</c:v>
                </c:pt>
                <c:pt idx="5661">
                  <c:v>0.100963081861958</c:v>
                </c:pt>
                <c:pt idx="5662">
                  <c:v>0.100980916711253</c:v>
                </c:pt>
                <c:pt idx="5663">
                  <c:v>0.10099875156054899</c:v>
                </c:pt>
                <c:pt idx="5664">
                  <c:v>0.101016586409844</c:v>
                </c:pt>
                <c:pt idx="5665">
                  <c:v>0.10103442125914</c:v>
                </c:pt>
                <c:pt idx="5666">
                  <c:v>0.101052256108435</c:v>
                </c:pt>
                <c:pt idx="5667">
                  <c:v>0.10107009095773101</c:v>
                </c:pt>
                <c:pt idx="5668">
                  <c:v>0.101087925807026</c:v>
                </c:pt>
                <c:pt idx="5669">
                  <c:v>0.101105760656322</c:v>
                </c:pt>
                <c:pt idx="5670">
                  <c:v>0.101123595505617</c:v>
                </c:pt>
                <c:pt idx="5671">
                  <c:v>0.10114143035491301</c:v>
                </c:pt>
                <c:pt idx="5672">
                  <c:v>0.101159265204209</c:v>
                </c:pt>
                <c:pt idx="5673">
                  <c:v>0.101177100053504</c:v>
                </c:pt>
                <c:pt idx="5674">
                  <c:v>0.1011949349028</c:v>
                </c:pt>
                <c:pt idx="5675">
                  <c:v>0.10121276975209501</c:v>
                </c:pt>
                <c:pt idx="5676">
                  <c:v>0.10123060460139099</c:v>
                </c:pt>
                <c:pt idx="5677">
                  <c:v>0.101248439450686</c:v>
                </c:pt>
                <c:pt idx="5678">
                  <c:v>0.101266274299982</c:v>
                </c:pt>
                <c:pt idx="5679">
                  <c:v>0.101284109149277</c:v>
                </c:pt>
                <c:pt idx="5680">
                  <c:v>0.10130194399857299</c:v>
                </c:pt>
                <c:pt idx="5681">
                  <c:v>0.101319778847868</c:v>
                </c:pt>
                <c:pt idx="5682">
                  <c:v>0.101337613697164</c:v>
                </c:pt>
                <c:pt idx="5683">
                  <c:v>0.101355448546459</c:v>
                </c:pt>
                <c:pt idx="5684">
                  <c:v>0.10137328339575501</c:v>
                </c:pt>
                <c:pt idx="5685">
                  <c:v>0.10139111824505</c:v>
                </c:pt>
                <c:pt idx="5686">
                  <c:v>0.101408953094346</c:v>
                </c:pt>
                <c:pt idx="5687">
                  <c:v>0.101426787943641</c:v>
                </c:pt>
                <c:pt idx="5688">
                  <c:v>0.10144462279293701</c:v>
                </c:pt>
                <c:pt idx="5689">
                  <c:v>0.101462457642232</c:v>
                </c:pt>
                <c:pt idx="5690">
                  <c:v>0.101480292491528</c:v>
                </c:pt>
                <c:pt idx="5691">
                  <c:v>0.101498127340823</c:v>
                </c:pt>
                <c:pt idx="5692">
                  <c:v>0.10151596219011901</c:v>
                </c:pt>
                <c:pt idx="5693">
                  <c:v>0.10153379703941499</c:v>
                </c:pt>
                <c:pt idx="5694">
                  <c:v>0.10155163188871</c:v>
                </c:pt>
                <c:pt idx="5695">
                  <c:v>0.101569466738006</c:v>
                </c:pt>
                <c:pt idx="5696">
                  <c:v>0.101587301587301</c:v>
                </c:pt>
                <c:pt idx="5697">
                  <c:v>0.10160513643659699</c:v>
                </c:pt>
                <c:pt idx="5698">
                  <c:v>0.101622971285892</c:v>
                </c:pt>
                <c:pt idx="5699">
                  <c:v>0.101640806135188</c:v>
                </c:pt>
                <c:pt idx="5700">
                  <c:v>0.101658640984483</c:v>
                </c:pt>
                <c:pt idx="5701">
                  <c:v>0.10167647583377901</c:v>
                </c:pt>
                <c:pt idx="5702">
                  <c:v>0.101694310683074</c:v>
                </c:pt>
                <c:pt idx="5703">
                  <c:v>0.10171214553237</c:v>
                </c:pt>
                <c:pt idx="5704">
                  <c:v>0.101729980381665</c:v>
                </c:pt>
                <c:pt idx="5705">
                  <c:v>0.10174781523096101</c:v>
                </c:pt>
                <c:pt idx="5706">
                  <c:v>0.101765650080256</c:v>
                </c:pt>
                <c:pt idx="5707">
                  <c:v>0.101783484929552</c:v>
                </c:pt>
                <c:pt idx="5708">
                  <c:v>0.101801319778847</c:v>
                </c:pt>
                <c:pt idx="5709">
                  <c:v>0.101819154628143</c:v>
                </c:pt>
                <c:pt idx="5710">
                  <c:v>0.10183698947743799</c:v>
                </c:pt>
                <c:pt idx="5711">
                  <c:v>0.101854824326734</c:v>
                </c:pt>
                <c:pt idx="5712">
                  <c:v>0.101872659176029</c:v>
                </c:pt>
                <c:pt idx="5713">
                  <c:v>0.101890494025325</c:v>
                </c:pt>
                <c:pt idx="5714">
                  <c:v>0.10190832887462099</c:v>
                </c:pt>
                <c:pt idx="5715">
                  <c:v>0.101926163723916</c:v>
                </c:pt>
                <c:pt idx="5716">
                  <c:v>0.101943998573212</c:v>
                </c:pt>
                <c:pt idx="5717">
                  <c:v>0.101961833422507</c:v>
                </c:pt>
                <c:pt idx="5718">
                  <c:v>0.10197966827180301</c:v>
                </c:pt>
                <c:pt idx="5719">
                  <c:v>0.101997503121098</c:v>
                </c:pt>
                <c:pt idx="5720">
                  <c:v>0.102015337970394</c:v>
                </c:pt>
                <c:pt idx="5721">
                  <c:v>0.102033172819689</c:v>
                </c:pt>
                <c:pt idx="5722">
                  <c:v>0.10205100766898501</c:v>
                </c:pt>
                <c:pt idx="5723">
                  <c:v>0.10206884251828</c:v>
                </c:pt>
                <c:pt idx="5724">
                  <c:v>0.102086677367576</c:v>
                </c:pt>
                <c:pt idx="5725">
                  <c:v>0.102104512216871</c:v>
                </c:pt>
                <c:pt idx="5726">
                  <c:v>0.102122347066167</c:v>
                </c:pt>
                <c:pt idx="5727">
                  <c:v>0.10214018191546199</c:v>
                </c:pt>
                <c:pt idx="5728">
                  <c:v>0.102158016764758</c:v>
                </c:pt>
                <c:pt idx="5729">
                  <c:v>0.102175851614053</c:v>
                </c:pt>
                <c:pt idx="5730">
                  <c:v>0.102193686463349</c:v>
                </c:pt>
                <c:pt idx="5731">
                  <c:v>0.10221152131264399</c:v>
                </c:pt>
                <c:pt idx="5732">
                  <c:v>0.10222935616194</c:v>
                </c:pt>
                <c:pt idx="5733">
                  <c:v>0.102247191011235</c:v>
                </c:pt>
                <c:pt idx="5734">
                  <c:v>0.102265025860531</c:v>
                </c:pt>
                <c:pt idx="5735">
                  <c:v>0.10228286070982701</c:v>
                </c:pt>
                <c:pt idx="5736">
                  <c:v>0.102300695559122</c:v>
                </c:pt>
                <c:pt idx="5737">
                  <c:v>0.102318530408418</c:v>
                </c:pt>
                <c:pt idx="5738">
                  <c:v>0.102336365257713</c:v>
                </c:pt>
                <c:pt idx="5739">
                  <c:v>0.10235420010700901</c:v>
                </c:pt>
                <c:pt idx="5740">
                  <c:v>0.10237203495630399</c:v>
                </c:pt>
                <c:pt idx="5741">
                  <c:v>0.1023898698056</c:v>
                </c:pt>
                <c:pt idx="5742">
                  <c:v>0.102407704654895</c:v>
                </c:pt>
                <c:pt idx="5743">
                  <c:v>0.102425539504191</c:v>
                </c:pt>
                <c:pt idx="5744">
                  <c:v>0.10244337435348599</c:v>
                </c:pt>
                <c:pt idx="5745">
                  <c:v>0.102461209202782</c:v>
                </c:pt>
                <c:pt idx="5746">
                  <c:v>0.102479044052077</c:v>
                </c:pt>
                <c:pt idx="5747">
                  <c:v>0.102496878901373</c:v>
                </c:pt>
                <c:pt idx="5748">
                  <c:v>0.10251471375066799</c:v>
                </c:pt>
                <c:pt idx="5749">
                  <c:v>0.102532548599964</c:v>
                </c:pt>
                <c:pt idx="5750">
                  <c:v>0.102550383449259</c:v>
                </c:pt>
                <c:pt idx="5751">
                  <c:v>0.102568218298555</c:v>
                </c:pt>
                <c:pt idx="5752">
                  <c:v>0.10258605314785001</c:v>
                </c:pt>
                <c:pt idx="5753">
                  <c:v>0.102603887997146</c:v>
                </c:pt>
                <c:pt idx="5754">
                  <c:v>0.102621722846441</c:v>
                </c:pt>
                <c:pt idx="5755">
                  <c:v>0.102639557695737</c:v>
                </c:pt>
                <c:pt idx="5756">
                  <c:v>0.10265739254503201</c:v>
                </c:pt>
                <c:pt idx="5757">
                  <c:v>0.10267522739432799</c:v>
                </c:pt>
                <c:pt idx="5758">
                  <c:v>0.102693062243624</c:v>
                </c:pt>
                <c:pt idx="5759">
                  <c:v>0.102710897092919</c:v>
                </c:pt>
                <c:pt idx="5760">
                  <c:v>0.102728731942215</c:v>
                </c:pt>
                <c:pt idx="5761">
                  <c:v>0.10274656679150999</c:v>
                </c:pt>
                <c:pt idx="5762">
                  <c:v>0.102764401640806</c:v>
                </c:pt>
                <c:pt idx="5763">
                  <c:v>0.102782236490101</c:v>
                </c:pt>
                <c:pt idx="5764">
                  <c:v>0.102800071339397</c:v>
                </c:pt>
                <c:pt idx="5765">
                  <c:v>0.10281790618869199</c:v>
                </c:pt>
                <c:pt idx="5766">
                  <c:v>0.102835741037988</c:v>
                </c:pt>
                <c:pt idx="5767">
                  <c:v>0.102853575887283</c:v>
                </c:pt>
                <c:pt idx="5768">
                  <c:v>0.102871410736579</c:v>
                </c:pt>
                <c:pt idx="5769">
                  <c:v>0.10288924558587401</c:v>
                </c:pt>
                <c:pt idx="5770">
                  <c:v>0.10290708043517</c:v>
                </c:pt>
                <c:pt idx="5771">
                  <c:v>0.102924915284465</c:v>
                </c:pt>
                <c:pt idx="5772">
                  <c:v>0.102942750133761</c:v>
                </c:pt>
                <c:pt idx="5773">
                  <c:v>0.10296058498305601</c:v>
                </c:pt>
                <c:pt idx="5774">
                  <c:v>0.10297841983235199</c:v>
                </c:pt>
                <c:pt idx="5775">
                  <c:v>0.102996254681647</c:v>
                </c:pt>
                <c:pt idx="5776">
                  <c:v>0.103014089530943</c:v>
                </c:pt>
                <c:pt idx="5777">
                  <c:v>0.103031924380238</c:v>
                </c:pt>
                <c:pt idx="5778">
                  <c:v>0.10304975922953399</c:v>
                </c:pt>
                <c:pt idx="5779">
                  <c:v>0.10306759407883</c:v>
                </c:pt>
                <c:pt idx="5780">
                  <c:v>0.103085428928125</c:v>
                </c:pt>
                <c:pt idx="5781">
                  <c:v>0.103103263777421</c:v>
                </c:pt>
                <c:pt idx="5782">
                  <c:v>0.10312109862671601</c:v>
                </c:pt>
                <c:pt idx="5783">
                  <c:v>0.103138933476012</c:v>
                </c:pt>
                <c:pt idx="5784">
                  <c:v>0.103156768325307</c:v>
                </c:pt>
                <c:pt idx="5785">
                  <c:v>0.103174603174603</c:v>
                </c:pt>
                <c:pt idx="5786">
                  <c:v>0.10319243802389801</c:v>
                </c:pt>
                <c:pt idx="5787">
                  <c:v>0.103210272873194</c:v>
                </c:pt>
                <c:pt idx="5788">
                  <c:v>0.103228107722489</c:v>
                </c:pt>
                <c:pt idx="5789">
                  <c:v>0.103245942571785</c:v>
                </c:pt>
                <c:pt idx="5790">
                  <c:v>0.10326377742108001</c:v>
                </c:pt>
                <c:pt idx="5791">
                  <c:v>0.10328161227037599</c:v>
                </c:pt>
                <c:pt idx="5792">
                  <c:v>0.103299447119671</c:v>
                </c:pt>
                <c:pt idx="5793">
                  <c:v>0.103317281968967</c:v>
                </c:pt>
                <c:pt idx="5794">
                  <c:v>0.103335116818262</c:v>
                </c:pt>
                <c:pt idx="5795">
                  <c:v>0.10335295166755799</c:v>
                </c:pt>
                <c:pt idx="5796">
                  <c:v>0.103370786516853</c:v>
                </c:pt>
                <c:pt idx="5797">
                  <c:v>0.103388621366149</c:v>
                </c:pt>
                <c:pt idx="5798">
                  <c:v>0.103406456215444</c:v>
                </c:pt>
                <c:pt idx="5799">
                  <c:v>0.10342429106474001</c:v>
                </c:pt>
                <c:pt idx="5800">
                  <c:v>0.103442125914036</c:v>
                </c:pt>
                <c:pt idx="5801">
                  <c:v>0.103459960763331</c:v>
                </c:pt>
                <c:pt idx="5802">
                  <c:v>0.103477795612627</c:v>
                </c:pt>
                <c:pt idx="5803">
                  <c:v>0.10349563046192201</c:v>
                </c:pt>
                <c:pt idx="5804">
                  <c:v>0.10351346531121799</c:v>
                </c:pt>
                <c:pt idx="5805">
                  <c:v>0.103531300160513</c:v>
                </c:pt>
                <c:pt idx="5806">
                  <c:v>0.103549135009809</c:v>
                </c:pt>
                <c:pt idx="5807">
                  <c:v>0.103566969859104</c:v>
                </c:pt>
                <c:pt idx="5808">
                  <c:v>0.10358480470839999</c:v>
                </c:pt>
                <c:pt idx="5809">
                  <c:v>0.103602639557695</c:v>
                </c:pt>
                <c:pt idx="5810">
                  <c:v>0.103620474406991</c:v>
                </c:pt>
                <c:pt idx="5811">
                  <c:v>0.103638309256286</c:v>
                </c:pt>
                <c:pt idx="5812">
                  <c:v>0.10365614410558199</c:v>
                </c:pt>
                <c:pt idx="5813">
                  <c:v>0.103673978954877</c:v>
                </c:pt>
                <c:pt idx="5814">
                  <c:v>0.103691813804173</c:v>
                </c:pt>
                <c:pt idx="5815">
                  <c:v>0.103709648653468</c:v>
                </c:pt>
                <c:pt idx="5816">
                  <c:v>0.10372748350276401</c:v>
                </c:pt>
                <c:pt idx="5817">
                  <c:v>0.103745318352059</c:v>
                </c:pt>
                <c:pt idx="5818">
                  <c:v>0.103763153201355</c:v>
                </c:pt>
                <c:pt idx="5819">
                  <c:v>0.10378098805065</c:v>
                </c:pt>
                <c:pt idx="5820">
                  <c:v>0.10379882289994601</c:v>
                </c:pt>
                <c:pt idx="5821">
                  <c:v>0.10381665774924199</c:v>
                </c:pt>
                <c:pt idx="5822">
                  <c:v>0.103834492598537</c:v>
                </c:pt>
                <c:pt idx="5823">
                  <c:v>0.103852327447833</c:v>
                </c:pt>
                <c:pt idx="5824">
                  <c:v>0.103870162297128</c:v>
                </c:pt>
                <c:pt idx="5825">
                  <c:v>0.10388799714642399</c:v>
                </c:pt>
                <c:pt idx="5826">
                  <c:v>0.103905831995719</c:v>
                </c:pt>
                <c:pt idx="5827">
                  <c:v>0.103923666845015</c:v>
                </c:pt>
                <c:pt idx="5828">
                  <c:v>0.10394150169431</c:v>
                </c:pt>
                <c:pt idx="5829">
                  <c:v>0.10395933654360601</c:v>
                </c:pt>
                <c:pt idx="5830">
                  <c:v>0.103977171392901</c:v>
                </c:pt>
                <c:pt idx="5831">
                  <c:v>0.103995006242197</c:v>
                </c:pt>
                <c:pt idx="5832">
                  <c:v>0.104012841091492</c:v>
                </c:pt>
                <c:pt idx="5833">
                  <c:v>0.10403067594078801</c:v>
                </c:pt>
                <c:pt idx="5834">
                  <c:v>0.104048510790083</c:v>
                </c:pt>
                <c:pt idx="5835">
                  <c:v>0.104066345639379</c:v>
                </c:pt>
                <c:pt idx="5836">
                  <c:v>0.104084180488674</c:v>
                </c:pt>
                <c:pt idx="5837">
                  <c:v>0.10410201533797001</c:v>
                </c:pt>
                <c:pt idx="5838">
                  <c:v>0.104119850187265</c:v>
                </c:pt>
                <c:pt idx="5839">
                  <c:v>0.104137685036561</c:v>
                </c:pt>
                <c:pt idx="5840">
                  <c:v>0.104155519885856</c:v>
                </c:pt>
                <c:pt idx="5841">
                  <c:v>0.104173354735152</c:v>
                </c:pt>
                <c:pt idx="5842">
                  <c:v>0.10419118958444799</c:v>
                </c:pt>
                <c:pt idx="5843">
                  <c:v>0.104209024433743</c:v>
                </c:pt>
                <c:pt idx="5844">
                  <c:v>0.104226859283039</c:v>
                </c:pt>
                <c:pt idx="5845">
                  <c:v>0.104244694132334</c:v>
                </c:pt>
                <c:pt idx="5846">
                  <c:v>0.10426252898163001</c:v>
                </c:pt>
                <c:pt idx="5847">
                  <c:v>0.104280363830925</c:v>
                </c:pt>
                <c:pt idx="5848">
                  <c:v>0.104298198680221</c:v>
                </c:pt>
                <c:pt idx="5849">
                  <c:v>0.104316033529516</c:v>
                </c:pt>
                <c:pt idx="5850">
                  <c:v>0.10433386837881201</c:v>
                </c:pt>
                <c:pt idx="5851">
                  <c:v>0.104351703228107</c:v>
                </c:pt>
                <c:pt idx="5852">
                  <c:v>0.104369538077403</c:v>
                </c:pt>
                <c:pt idx="5853">
                  <c:v>0.104387372926698</c:v>
                </c:pt>
                <c:pt idx="5854">
                  <c:v>0.10440520777599401</c:v>
                </c:pt>
                <c:pt idx="5855">
                  <c:v>0.10442304262528899</c:v>
                </c:pt>
                <c:pt idx="5856">
                  <c:v>0.104440877474585</c:v>
                </c:pt>
                <c:pt idx="5857">
                  <c:v>0.10445871232388</c:v>
                </c:pt>
                <c:pt idx="5858">
                  <c:v>0.104476547173176</c:v>
                </c:pt>
                <c:pt idx="5859">
                  <c:v>0.10449438202247099</c:v>
                </c:pt>
                <c:pt idx="5860">
                  <c:v>0.104512216871767</c:v>
                </c:pt>
                <c:pt idx="5861">
                  <c:v>0.104530051721062</c:v>
                </c:pt>
                <c:pt idx="5862">
                  <c:v>0.104547886570358</c:v>
                </c:pt>
                <c:pt idx="5863">
                  <c:v>0.10456572141965401</c:v>
                </c:pt>
                <c:pt idx="5864">
                  <c:v>0.104583556268949</c:v>
                </c:pt>
                <c:pt idx="5865">
                  <c:v>0.104601391118245</c:v>
                </c:pt>
                <c:pt idx="5866">
                  <c:v>0.10461922596754</c:v>
                </c:pt>
                <c:pt idx="5867">
                  <c:v>0.10463706081683601</c:v>
                </c:pt>
                <c:pt idx="5868">
                  <c:v>0.104654895666131</c:v>
                </c:pt>
                <c:pt idx="5869">
                  <c:v>0.104672730515427</c:v>
                </c:pt>
                <c:pt idx="5870">
                  <c:v>0.104690565364722</c:v>
                </c:pt>
                <c:pt idx="5871">
                  <c:v>0.104708400214018</c:v>
                </c:pt>
                <c:pt idx="5872">
                  <c:v>0.10472623506331299</c:v>
                </c:pt>
                <c:pt idx="5873">
                  <c:v>0.104744069912609</c:v>
                </c:pt>
                <c:pt idx="5874">
                  <c:v>0.104761904761904</c:v>
                </c:pt>
                <c:pt idx="5875">
                  <c:v>0.1047797396112</c:v>
                </c:pt>
                <c:pt idx="5876">
                  <c:v>0.10479757446049499</c:v>
                </c:pt>
                <c:pt idx="5877">
                  <c:v>0.104815409309791</c:v>
                </c:pt>
                <c:pt idx="5878">
                  <c:v>0.104833244159086</c:v>
                </c:pt>
                <c:pt idx="5879">
                  <c:v>0.104851079008382</c:v>
                </c:pt>
                <c:pt idx="5880">
                  <c:v>0.10486891385767701</c:v>
                </c:pt>
                <c:pt idx="5881">
                  <c:v>0.104886748706973</c:v>
                </c:pt>
                <c:pt idx="5882">
                  <c:v>0.104904583556268</c:v>
                </c:pt>
                <c:pt idx="5883">
                  <c:v>0.104922418405564</c:v>
                </c:pt>
                <c:pt idx="5884">
                  <c:v>0.10494025325485901</c:v>
                </c:pt>
                <c:pt idx="5885">
                  <c:v>0.104958088104155</c:v>
                </c:pt>
                <c:pt idx="5886">
                  <c:v>0.104975922953451</c:v>
                </c:pt>
                <c:pt idx="5887">
                  <c:v>0.104993757802746</c:v>
                </c:pt>
                <c:pt idx="5888">
                  <c:v>0.105011592652042</c:v>
                </c:pt>
                <c:pt idx="5889">
                  <c:v>0.10502942750133699</c:v>
                </c:pt>
                <c:pt idx="5890">
                  <c:v>0.105047262350633</c:v>
                </c:pt>
                <c:pt idx="5891">
                  <c:v>0.105065097199928</c:v>
                </c:pt>
                <c:pt idx="5892">
                  <c:v>0.105082932049224</c:v>
                </c:pt>
                <c:pt idx="5893">
                  <c:v>0.10510076689851899</c:v>
                </c:pt>
                <c:pt idx="5894">
                  <c:v>0.105118601747815</c:v>
                </c:pt>
                <c:pt idx="5895">
                  <c:v>0.10513643659711</c:v>
                </c:pt>
                <c:pt idx="5896">
                  <c:v>0.105154271446406</c:v>
                </c:pt>
                <c:pt idx="5897">
                  <c:v>0.10517210629570101</c:v>
                </c:pt>
                <c:pt idx="5898">
                  <c:v>0.105189941144997</c:v>
                </c:pt>
                <c:pt idx="5899">
                  <c:v>0.105207775994292</c:v>
                </c:pt>
                <c:pt idx="5900">
                  <c:v>0.105225610843588</c:v>
                </c:pt>
                <c:pt idx="5901">
                  <c:v>0.10524344569288301</c:v>
                </c:pt>
                <c:pt idx="5902">
                  <c:v>0.10526128054217899</c:v>
                </c:pt>
                <c:pt idx="5903">
                  <c:v>0.105279115391474</c:v>
                </c:pt>
                <c:pt idx="5904">
                  <c:v>0.10529695024077</c:v>
                </c:pt>
                <c:pt idx="5905">
                  <c:v>0.10531478509006501</c:v>
                </c:pt>
                <c:pt idx="5906">
                  <c:v>0.10533261993936099</c:v>
                </c:pt>
                <c:pt idx="5907">
                  <c:v>0.105350454788657</c:v>
                </c:pt>
                <c:pt idx="5908">
                  <c:v>0.105368289637952</c:v>
                </c:pt>
                <c:pt idx="5909">
                  <c:v>0.105386124487248</c:v>
                </c:pt>
                <c:pt idx="5910">
                  <c:v>0.10540395933654299</c:v>
                </c:pt>
                <c:pt idx="5911">
                  <c:v>0.105421794185839</c:v>
                </c:pt>
                <c:pt idx="5912">
                  <c:v>0.105439629035134</c:v>
                </c:pt>
                <c:pt idx="5913">
                  <c:v>0.10545746388443</c:v>
                </c:pt>
                <c:pt idx="5914">
                  <c:v>0.10547529873372501</c:v>
                </c:pt>
                <c:pt idx="5915">
                  <c:v>0.105493133583021</c:v>
                </c:pt>
                <c:pt idx="5916">
                  <c:v>0.105510968432316</c:v>
                </c:pt>
                <c:pt idx="5917">
                  <c:v>0.105528803281612</c:v>
                </c:pt>
                <c:pt idx="5918">
                  <c:v>0.10554663813090701</c:v>
                </c:pt>
                <c:pt idx="5919">
                  <c:v>0.10556447298020299</c:v>
                </c:pt>
                <c:pt idx="5920">
                  <c:v>0.105582307829498</c:v>
                </c:pt>
                <c:pt idx="5921">
                  <c:v>0.105600142678794</c:v>
                </c:pt>
                <c:pt idx="5922">
                  <c:v>0.105617977528089</c:v>
                </c:pt>
                <c:pt idx="5923">
                  <c:v>0.10563581237738499</c:v>
                </c:pt>
                <c:pt idx="5924">
                  <c:v>0.10565364722668</c:v>
                </c:pt>
                <c:pt idx="5925">
                  <c:v>0.105671482075976</c:v>
                </c:pt>
                <c:pt idx="5926">
                  <c:v>0.105689316925271</c:v>
                </c:pt>
                <c:pt idx="5927">
                  <c:v>0.10570715177456699</c:v>
                </c:pt>
                <c:pt idx="5928">
                  <c:v>0.105724986623863</c:v>
                </c:pt>
                <c:pt idx="5929">
                  <c:v>0.105742821473158</c:v>
                </c:pt>
                <c:pt idx="5930">
                  <c:v>0.105760656322454</c:v>
                </c:pt>
                <c:pt idx="5931">
                  <c:v>0.10577849117174901</c:v>
                </c:pt>
                <c:pt idx="5932">
                  <c:v>0.105796326021045</c:v>
                </c:pt>
                <c:pt idx="5933">
                  <c:v>0.10581416087034</c:v>
                </c:pt>
                <c:pt idx="5934">
                  <c:v>0.105831995719636</c:v>
                </c:pt>
                <c:pt idx="5935">
                  <c:v>0.10584983056893101</c:v>
                </c:pt>
                <c:pt idx="5936">
                  <c:v>0.10586766541822699</c:v>
                </c:pt>
                <c:pt idx="5937">
                  <c:v>0.105885500267522</c:v>
                </c:pt>
                <c:pt idx="5938">
                  <c:v>0.105903335116818</c:v>
                </c:pt>
                <c:pt idx="5939">
                  <c:v>0.105921169966113</c:v>
                </c:pt>
                <c:pt idx="5940">
                  <c:v>0.10593900481540899</c:v>
                </c:pt>
                <c:pt idx="5941">
                  <c:v>0.105956839664704</c:v>
                </c:pt>
                <c:pt idx="5942">
                  <c:v>0.105974674514</c:v>
                </c:pt>
                <c:pt idx="5943">
                  <c:v>0.105992509363295</c:v>
                </c:pt>
                <c:pt idx="5944">
                  <c:v>0.10601034421259101</c:v>
                </c:pt>
                <c:pt idx="5945">
                  <c:v>0.106028179061886</c:v>
                </c:pt>
                <c:pt idx="5946">
                  <c:v>0.106046013911182</c:v>
                </c:pt>
                <c:pt idx="5947">
                  <c:v>0.106063848760477</c:v>
                </c:pt>
                <c:pt idx="5948">
                  <c:v>0.10608168360977301</c:v>
                </c:pt>
                <c:pt idx="5949">
                  <c:v>0.10609951845906899</c:v>
                </c:pt>
                <c:pt idx="5950">
                  <c:v>0.106117353308364</c:v>
                </c:pt>
                <c:pt idx="5951">
                  <c:v>0.10613518815766</c:v>
                </c:pt>
                <c:pt idx="5952">
                  <c:v>0.10615302300695501</c:v>
                </c:pt>
                <c:pt idx="5953">
                  <c:v>0.10617085785625099</c:v>
                </c:pt>
                <c:pt idx="5954">
                  <c:v>0.106188692705546</c:v>
                </c:pt>
                <c:pt idx="5955">
                  <c:v>0.106206527554842</c:v>
                </c:pt>
                <c:pt idx="5956">
                  <c:v>0.106224362404137</c:v>
                </c:pt>
                <c:pt idx="5957">
                  <c:v>0.10624219725343299</c:v>
                </c:pt>
                <c:pt idx="5958">
                  <c:v>0.106260032102728</c:v>
                </c:pt>
                <c:pt idx="5959">
                  <c:v>0.106277866952024</c:v>
                </c:pt>
                <c:pt idx="5960">
                  <c:v>0.106295701801319</c:v>
                </c:pt>
                <c:pt idx="5961">
                  <c:v>0.10631353665061501</c:v>
                </c:pt>
                <c:pt idx="5962">
                  <c:v>0.10633137149991</c:v>
                </c:pt>
                <c:pt idx="5963">
                  <c:v>0.106349206349206</c:v>
                </c:pt>
                <c:pt idx="5964">
                  <c:v>0.106367041198501</c:v>
                </c:pt>
                <c:pt idx="5965">
                  <c:v>0.10638487604779701</c:v>
                </c:pt>
                <c:pt idx="5966">
                  <c:v>0.106402710897092</c:v>
                </c:pt>
                <c:pt idx="5967">
                  <c:v>0.106420545746388</c:v>
                </c:pt>
                <c:pt idx="5968">
                  <c:v>0.106438380595683</c:v>
                </c:pt>
                <c:pt idx="5969">
                  <c:v>0.106456215444979</c:v>
                </c:pt>
                <c:pt idx="5970">
                  <c:v>0.10647405029427499</c:v>
                </c:pt>
                <c:pt idx="5971">
                  <c:v>0.10649188514357</c:v>
                </c:pt>
                <c:pt idx="5972">
                  <c:v>0.106509719992866</c:v>
                </c:pt>
                <c:pt idx="5973">
                  <c:v>0.106527554842161</c:v>
                </c:pt>
                <c:pt idx="5974">
                  <c:v>0.10654538969145699</c:v>
                </c:pt>
                <c:pt idx="5975">
                  <c:v>0.106563224540752</c:v>
                </c:pt>
                <c:pt idx="5976">
                  <c:v>0.106581059390048</c:v>
                </c:pt>
                <c:pt idx="5977">
                  <c:v>0.106598894239343</c:v>
                </c:pt>
                <c:pt idx="5978">
                  <c:v>0.10661672908863901</c:v>
                </c:pt>
                <c:pt idx="5979">
                  <c:v>0.106634563937934</c:v>
                </c:pt>
                <c:pt idx="5980">
                  <c:v>0.10665239878723</c:v>
                </c:pt>
                <c:pt idx="5981">
                  <c:v>0.106670233636525</c:v>
                </c:pt>
                <c:pt idx="5982">
                  <c:v>0.10668806848582101</c:v>
                </c:pt>
                <c:pt idx="5983">
                  <c:v>0.106705903335116</c:v>
                </c:pt>
                <c:pt idx="5984">
                  <c:v>0.106723738184412</c:v>
                </c:pt>
                <c:pt idx="5985">
                  <c:v>0.106741573033707</c:v>
                </c:pt>
                <c:pt idx="5986">
                  <c:v>0.106759407883003</c:v>
                </c:pt>
                <c:pt idx="5987">
                  <c:v>0.10677724273229799</c:v>
                </c:pt>
                <c:pt idx="5988">
                  <c:v>0.106795077581594</c:v>
                </c:pt>
                <c:pt idx="5989">
                  <c:v>0.106812912430889</c:v>
                </c:pt>
                <c:pt idx="5990">
                  <c:v>0.106830747280185</c:v>
                </c:pt>
                <c:pt idx="5991">
                  <c:v>0.10684858212948101</c:v>
                </c:pt>
                <c:pt idx="5992">
                  <c:v>0.106866416978776</c:v>
                </c:pt>
                <c:pt idx="5993">
                  <c:v>0.106884251828072</c:v>
                </c:pt>
                <c:pt idx="5994">
                  <c:v>0.106902086677367</c:v>
                </c:pt>
                <c:pt idx="5995">
                  <c:v>0.10691992152666301</c:v>
                </c:pt>
                <c:pt idx="5996">
                  <c:v>0.106937756375958</c:v>
                </c:pt>
                <c:pt idx="5997">
                  <c:v>0.106955591225254</c:v>
                </c:pt>
                <c:pt idx="5998">
                  <c:v>0.106973426074549</c:v>
                </c:pt>
                <c:pt idx="5999">
                  <c:v>0.10699126092384501</c:v>
                </c:pt>
                <c:pt idx="6000">
                  <c:v>0.10700909577313999</c:v>
                </c:pt>
                <c:pt idx="6001">
                  <c:v>0.107026930622436</c:v>
                </c:pt>
                <c:pt idx="6002">
                  <c:v>0.107044765471731</c:v>
                </c:pt>
                <c:pt idx="6003">
                  <c:v>0.107062600321027</c:v>
                </c:pt>
                <c:pt idx="6004">
                  <c:v>0.10708043517032199</c:v>
                </c:pt>
                <c:pt idx="6005">
                  <c:v>0.107098270019618</c:v>
                </c:pt>
                <c:pt idx="6006">
                  <c:v>0.107116104868913</c:v>
                </c:pt>
                <c:pt idx="6007">
                  <c:v>0.107133939718209</c:v>
                </c:pt>
                <c:pt idx="6008">
                  <c:v>0.10715177456750399</c:v>
                </c:pt>
                <c:pt idx="6009">
                  <c:v>0.1071696094168</c:v>
                </c:pt>
                <c:pt idx="6010">
                  <c:v>0.107187444266095</c:v>
                </c:pt>
                <c:pt idx="6011">
                  <c:v>0.107205279115391</c:v>
                </c:pt>
                <c:pt idx="6012">
                  <c:v>0.10722311396468601</c:v>
                </c:pt>
                <c:pt idx="6013">
                  <c:v>0.107240948813982</c:v>
                </c:pt>
                <c:pt idx="6014">
                  <c:v>0.107258783663278</c:v>
                </c:pt>
                <c:pt idx="6015">
                  <c:v>0.107276618512573</c:v>
                </c:pt>
                <c:pt idx="6016">
                  <c:v>0.107294453361869</c:v>
                </c:pt>
                <c:pt idx="6017">
                  <c:v>0.10731228821116399</c:v>
                </c:pt>
                <c:pt idx="6018">
                  <c:v>0.10733012306046</c:v>
                </c:pt>
                <c:pt idx="6019">
                  <c:v>0.107347957909755</c:v>
                </c:pt>
                <c:pt idx="6020">
                  <c:v>0.107365792759051</c:v>
                </c:pt>
                <c:pt idx="6021">
                  <c:v>0.10738362760834599</c:v>
                </c:pt>
                <c:pt idx="6022">
                  <c:v>0.107401462457642</c:v>
                </c:pt>
                <c:pt idx="6023">
                  <c:v>0.107419297306937</c:v>
                </c:pt>
                <c:pt idx="6024">
                  <c:v>0.107437132156233</c:v>
                </c:pt>
                <c:pt idx="6025">
                  <c:v>0.10745496700552799</c:v>
                </c:pt>
                <c:pt idx="6026">
                  <c:v>0.107472801854824</c:v>
                </c:pt>
                <c:pt idx="6027">
                  <c:v>0.107490636704119</c:v>
                </c:pt>
                <c:pt idx="6028">
                  <c:v>0.107508471553415</c:v>
                </c:pt>
                <c:pt idx="6029">
                  <c:v>0.10752630640271001</c:v>
                </c:pt>
                <c:pt idx="6030">
                  <c:v>0.107544141252006</c:v>
                </c:pt>
                <c:pt idx="6031">
                  <c:v>0.107561976101301</c:v>
                </c:pt>
                <c:pt idx="6032">
                  <c:v>0.107579810950597</c:v>
                </c:pt>
                <c:pt idx="6033">
                  <c:v>0.10759764579989201</c:v>
                </c:pt>
                <c:pt idx="6034">
                  <c:v>0.10761548064918799</c:v>
                </c:pt>
                <c:pt idx="6035">
                  <c:v>0.107633315498484</c:v>
                </c:pt>
                <c:pt idx="6036">
                  <c:v>0.107651150347779</c:v>
                </c:pt>
                <c:pt idx="6037">
                  <c:v>0.107668985197075</c:v>
                </c:pt>
                <c:pt idx="6038">
                  <c:v>0.10768682004636999</c:v>
                </c:pt>
                <c:pt idx="6039">
                  <c:v>0.107704654895666</c:v>
                </c:pt>
                <c:pt idx="6040">
                  <c:v>0.107722489744961</c:v>
                </c:pt>
                <c:pt idx="6041">
                  <c:v>0.107740324594257</c:v>
                </c:pt>
                <c:pt idx="6042">
                  <c:v>0.10775815944355201</c:v>
                </c:pt>
                <c:pt idx="6043">
                  <c:v>0.107775994292848</c:v>
                </c:pt>
                <c:pt idx="6044">
                  <c:v>0.107793829142143</c:v>
                </c:pt>
                <c:pt idx="6045">
                  <c:v>0.107811663991439</c:v>
                </c:pt>
                <c:pt idx="6046">
                  <c:v>0.10782949884073401</c:v>
                </c:pt>
                <c:pt idx="6047">
                  <c:v>0.10784733369003</c:v>
                </c:pt>
                <c:pt idx="6048">
                  <c:v>0.107865168539325</c:v>
                </c:pt>
                <c:pt idx="6049">
                  <c:v>0.107883003388621</c:v>
                </c:pt>
                <c:pt idx="6050">
                  <c:v>0.10790083823791601</c:v>
                </c:pt>
                <c:pt idx="6051">
                  <c:v>0.10791867308721199</c:v>
                </c:pt>
                <c:pt idx="6052">
                  <c:v>0.107936507936507</c:v>
                </c:pt>
                <c:pt idx="6053">
                  <c:v>0.107954342785803</c:v>
                </c:pt>
                <c:pt idx="6054">
                  <c:v>0.107972177635098</c:v>
                </c:pt>
                <c:pt idx="6055">
                  <c:v>0.10799001248439399</c:v>
                </c:pt>
                <c:pt idx="6056">
                  <c:v>0.10800784733369</c:v>
                </c:pt>
                <c:pt idx="6057">
                  <c:v>0.108025682182985</c:v>
                </c:pt>
                <c:pt idx="6058">
                  <c:v>0.108043517032281</c:v>
                </c:pt>
                <c:pt idx="6059">
                  <c:v>0.10806135188157601</c:v>
                </c:pt>
                <c:pt idx="6060">
                  <c:v>0.108079186730872</c:v>
                </c:pt>
                <c:pt idx="6061">
                  <c:v>0.108097021580167</c:v>
                </c:pt>
                <c:pt idx="6062">
                  <c:v>0.108114856429463</c:v>
                </c:pt>
                <c:pt idx="6063">
                  <c:v>0.10813269127875801</c:v>
                </c:pt>
                <c:pt idx="6064">
                  <c:v>0.10815052612805399</c:v>
                </c:pt>
                <c:pt idx="6065">
                  <c:v>0.108168360977349</c:v>
                </c:pt>
                <c:pt idx="6066">
                  <c:v>0.108186195826645</c:v>
                </c:pt>
                <c:pt idx="6067">
                  <c:v>0.10820403067594001</c:v>
                </c:pt>
                <c:pt idx="6068">
                  <c:v>0.10822186552523599</c:v>
                </c:pt>
                <c:pt idx="6069">
                  <c:v>0.108239700374531</c:v>
                </c:pt>
                <c:pt idx="6070">
                  <c:v>0.108257535223827</c:v>
                </c:pt>
                <c:pt idx="6071">
                  <c:v>0.108275370073122</c:v>
                </c:pt>
                <c:pt idx="6072">
                  <c:v>0.10829320492241799</c:v>
                </c:pt>
                <c:pt idx="6073">
                  <c:v>0.108311039771713</c:v>
                </c:pt>
                <c:pt idx="6074">
                  <c:v>0.108328874621009</c:v>
                </c:pt>
                <c:pt idx="6075">
                  <c:v>0.108346709470304</c:v>
                </c:pt>
                <c:pt idx="6076">
                  <c:v>0.10836454431960001</c:v>
                </c:pt>
                <c:pt idx="6077">
                  <c:v>0.108382379168896</c:v>
                </c:pt>
                <c:pt idx="6078">
                  <c:v>0.108400214018191</c:v>
                </c:pt>
                <c:pt idx="6079">
                  <c:v>0.108418048867487</c:v>
                </c:pt>
                <c:pt idx="6080">
                  <c:v>0.10843588371678201</c:v>
                </c:pt>
                <c:pt idx="6081">
                  <c:v>0.10845371856607799</c:v>
                </c:pt>
                <c:pt idx="6082">
                  <c:v>0.108471553415373</c:v>
                </c:pt>
                <c:pt idx="6083">
                  <c:v>0.108489388264669</c:v>
                </c:pt>
                <c:pt idx="6084">
                  <c:v>0.108507223113964</c:v>
                </c:pt>
                <c:pt idx="6085">
                  <c:v>0.10852505796325999</c:v>
                </c:pt>
                <c:pt idx="6086">
                  <c:v>0.108542892812555</c:v>
                </c:pt>
                <c:pt idx="6087">
                  <c:v>0.108560727661851</c:v>
                </c:pt>
                <c:pt idx="6088">
                  <c:v>0.108578562511146</c:v>
                </c:pt>
                <c:pt idx="6089">
                  <c:v>0.10859639736044201</c:v>
                </c:pt>
                <c:pt idx="6090">
                  <c:v>0.108614232209737</c:v>
                </c:pt>
                <c:pt idx="6091">
                  <c:v>0.108632067059033</c:v>
                </c:pt>
                <c:pt idx="6092">
                  <c:v>0.108649901908328</c:v>
                </c:pt>
                <c:pt idx="6093">
                  <c:v>0.10866773675762401</c:v>
                </c:pt>
                <c:pt idx="6094">
                  <c:v>0.108685571606919</c:v>
                </c:pt>
                <c:pt idx="6095">
                  <c:v>0.108703406456215</c:v>
                </c:pt>
                <c:pt idx="6096">
                  <c:v>0.10872124130551</c:v>
                </c:pt>
                <c:pt idx="6097">
                  <c:v>0.10873907615480601</c:v>
                </c:pt>
                <c:pt idx="6098">
                  <c:v>0.10875691100410199</c:v>
                </c:pt>
                <c:pt idx="6099">
                  <c:v>0.108774745853397</c:v>
                </c:pt>
                <c:pt idx="6100">
                  <c:v>0.108792580702693</c:v>
                </c:pt>
                <c:pt idx="6101">
                  <c:v>0.108810415551988</c:v>
                </c:pt>
                <c:pt idx="6102">
                  <c:v>0.10882825040128399</c:v>
                </c:pt>
                <c:pt idx="6103">
                  <c:v>0.108846085250579</c:v>
                </c:pt>
                <c:pt idx="6104">
                  <c:v>0.108863920099875</c:v>
                </c:pt>
                <c:pt idx="6105">
                  <c:v>0.10888175494917</c:v>
                </c:pt>
                <c:pt idx="6106">
                  <c:v>0.10889958979846601</c:v>
                </c:pt>
                <c:pt idx="6107">
                  <c:v>0.108917424647761</c:v>
                </c:pt>
                <c:pt idx="6108">
                  <c:v>0.108935259497057</c:v>
                </c:pt>
                <c:pt idx="6109">
                  <c:v>0.108953094346352</c:v>
                </c:pt>
                <c:pt idx="6110">
                  <c:v>0.10897092919564801</c:v>
                </c:pt>
                <c:pt idx="6111">
                  <c:v>0.108988764044943</c:v>
                </c:pt>
                <c:pt idx="6112">
                  <c:v>0.109006598894239</c:v>
                </c:pt>
                <c:pt idx="6113">
                  <c:v>0.109024433743534</c:v>
                </c:pt>
                <c:pt idx="6114">
                  <c:v>0.10904226859283001</c:v>
                </c:pt>
                <c:pt idx="6115">
                  <c:v>0.10906010344212499</c:v>
                </c:pt>
                <c:pt idx="6116">
                  <c:v>0.109077938291421</c:v>
                </c:pt>
                <c:pt idx="6117">
                  <c:v>0.109095773140716</c:v>
                </c:pt>
                <c:pt idx="6118">
                  <c:v>0.109113607990012</c:v>
                </c:pt>
                <c:pt idx="6119">
                  <c:v>0.10913144283930799</c:v>
                </c:pt>
                <c:pt idx="6120">
                  <c:v>0.109149277688603</c:v>
                </c:pt>
                <c:pt idx="6121">
                  <c:v>0.109167112537899</c:v>
                </c:pt>
                <c:pt idx="6122">
                  <c:v>0.109184947387194</c:v>
                </c:pt>
                <c:pt idx="6123">
                  <c:v>0.10920278223649001</c:v>
                </c:pt>
                <c:pt idx="6124">
                  <c:v>0.109220617085785</c:v>
                </c:pt>
                <c:pt idx="6125">
                  <c:v>0.109238451935081</c:v>
                </c:pt>
                <c:pt idx="6126">
                  <c:v>0.109256286784376</c:v>
                </c:pt>
                <c:pt idx="6127">
                  <c:v>0.10927412163367201</c:v>
                </c:pt>
                <c:pt idx="6128">
                  <c:v>0.109291956482967</c:v>
                </c:pt>
                <c:pt idx="6129">
                  <c:v>0.109309791332263</c:v>
                </c:pt>
                <c:pt idx="6130">
                  <c:v>0.109327626181558</c:v>
                </c:pt>
                <c:pt idx="6131">
                  <c:v>0.109345461030854</c:v>
                </c:pt>
                <c:pt idx="6132">
                  <c:v>0.10936329588014899</c:v>
                </c:pt>
                <c:pt idx="6133">
                  <c:v>0.109381130729445</c:v>
                </c:pt>
                <c:pt idx="6134">
                  <c:v>0.10939896557874</c:v>
                </c:pt>
                <c:pt idx="6135">
                  <c:v>0.109416800428036</c:v>
                </c:pt>
                <c:pt idx="6136">
                  <c:v>0.10943463527733099</c:v>
                </c:pt>
                <c:pt idx="6137">
                  <c:v>0.109452470126627</c:v>
                </c:pt>
                <c:pt idx="6138">
                  <c:v>0.109470304975922</c:v>
                </c:pt>
                <c:pt idx="6139">
                  <c:v>0.109488139825218</c:v>
                </c:pt>
                <c:pt idx="6140">
                  <c:v>0.10950597467451401</c:v>
                </c:pt>
                <c:pt idx="6141">
                  <c:v>0.109523809523809</c:v>
                </c:pt>
                <c:pt idx="6142">
                  <c:v>0.109541644373105</c:v>
                </c:pt>
                <c:pt idx="6143">
                  <c:v>0.1095594792224</c:v>
                </c:pt>
                <c:pt idx="6144">
                  <c:v>0.10957731407169601</c:v>
                </c:pt>
                <c:pt idx="6145">
                  <c:v>0.109595148920991</c:v>
                </c:pt>
                <c:pt idx="6146">
                  <c:v>0.109612983770287</c:v>
                </c:pt>
                <c:pt idx="6147">
                  <c:v>0.109630818619582</c:v>
                </c:pt>
                <c:pt idx="6148">
                  <c:v>0.109648653468878</c:v>
                </c:pt>
                <c:pt idx="6149">
                  <c:v>0.10966648831817299</c:v>
                </c:pt>
                <c:pt idx="6150">
                  <c:v>0.109684323167469</c:v>
                </c:pt>
                <c:pt idx="6151">
                  <c:v>0.109702158016764</c:v>
                </c:pt>
                <c:pt idx="6152">
                  <c:v>0.10971999286606</c:v>
                </c:pt>
                <c:pt idx="6153">
                  <c:v>0.10973782771535499</c:v>
                </c:pt>
                <c:pt idx="6154">
                  <c:v>0.109755662564651</c:v>
                </c:pt>
                <c:pt idx="6155">
                  <c:v>0.109773497413946</c:v>
                </c:pt>
                <c:pt idx="6156">
                  <c:v>0.109791332263242</c:v>
                </c:pt>
                <c:pt idx="6157">
                  <c:v>0.10980916711253701</c:v>
                </c:pt>
                <c:pt idx="6158">
                  <c:v>0.109827001961833</c:v>
                </c:pt>
                <c:pt idx="6159">
                  <c:v>0.109844836811128</c:v>
                </c:pt>
                <c:pt idx="6160">
                  <c:v>0.109862671660424</c:v>
                </c:pt>
                <c:pt idx="6161">
                  <c:v>0.10988050650971901</c:v>
                </c:pt>
                <c:pt idx="6162">
                  <c:v>0.10989834135901499</c:v>
                </c:pt>
                <c:pt idx="6163">
                  <c:v>0.109916176208311</c:v>
                </c:pt>
                <c:pt idx="6164">
                  <c:v>0.109934011057606</c:v>
                </c:pt>
                <c:pt idx="6165">
                  <c:v>0.109951845906902</c:v>
                </c:pt>
                <c:pt idx="6166">
                  <c:v>0.10996968075619699</c:v>
                </c:pt>
                <c:pt idx="6167">
                  <c:v>0.109987515605493</c:v>
                </c:pt>
                <c:pt idx="6168">
                  <c:v>0.110005350454788</c:v>
                </c:pt>
                <c:pt idx="6169">
                  <c:v>0.110023185304084</c:v>
                </c:pt>
                <c:pt idx="6170">
                  <c:v>0.11004102015337899</c:v>
                </c:pt>
                <c:pt idx="6171">
                  <c:v>0.110058855002675</c:v>
                </c:pt>
                <c:pt idx="6172">
                  <c:v>0.11007668985197</c:v>
                </c:pt>
                <c:pt idx="6173">
                  <c:v>0.110094524701266</c:v>
                </c:pt>
                <c:pt idx="6174">
                  <c:v>0.11011235955056101</c:v>
                </c:pt>
                <c:pt idx="6175">
                  <c:v>0.110130194399857</c:v>
                </c:pt>
                <c:pt idx="6176">
                  <c:v>0.110148029249152</c:v>
                </c:pt>
                <c:pt idx="6177">
                  <c:v>0.110165864098448</c:v>
                </c:pt>
                <c:pt idx="6178">
                  <c:v>0.11018369894774301</c:v>
                </c:pt>
                <c:pt idx="6179">
                  <c:v>0.11020153379703899</c:v>
                </c:pt>
                <c:pt idx="6180">
                  <c:v>0.110219368646334</c:v>
                </c:pt>
                <c:pt idx="6181">
                  <c:v>0.11023720349563</c:v>
                </c:pt>
                <c:pt idx="6182">
                  <c:v>0.110255038344925</c:v>
                </c:pt>
                <c:pt idx="6183">
                  <c:v>0.11027287319422099</c:v>
                </c:pt>
                <c:pt idx="6184">
                  <c:v>0.110290708043517</c:v>
                </c:pt>
                <c:pt idx="6185">
                  <c:v>0.110308542892812</c:v>
                </c:pt>
                <c:pt idx="6186">
                  <c:v>0.110326377742108</c:v>
                </c:pt>
                <c:pt idx="6187">
                  <c:v>0.11034421259140299</c:v>
                </c:pt>
                <c:pt idx="6188">
                  <c:v>0.110362047440699</c:v>
                </c:pt>
                <c:pt idx="6189">
                  <c:v>0.110379882289994</c:v>
                </c:pt>
                <c:pt idx="6190">
                  <c:v>0.11039771713929</c:v>
                </c:pt>
                <c:pt idx="6191">
                  <c:v>0.11041555198858501</c:v>
                </c:pt>
                <c:pt idx="6192">
                  <c:v>0.110433386837881</c:v>
                </c:pt>
                <c:pt idx="6193">
                  <c:v>0.110451221687176</c:v>
                </c:pt>
                <c:pt idx="6194">
                  <c:v>0.110469056536472</c:v>
                </c:pt>
                <c:pt idx="6195">
                  <c:v>0.11048689138576701</c:v>
                </c:pt>
                <c:pt idx="6196">
                  <c:v>0.11050472623506299</c:v>
                </c:pt>
                <c:pt idx="6197">
                  <c:v>0.110522561084358</c:v>
                </c:pt>
                <c:pt idx="6198">
                  <c:v>0.110540395933654</c:v>
                </c:pt>
                <c:pt idx="6199">
                  <c:v>0.110558230782949</c:v>
                </c:pt>
                <c:pt idx="6200">
                  <c:v>0.11057606563224499</c:v>
                </c:pt>
                <c:pt idx="6201">
                  <c:v>0.11059390048154</c:v>
                </c:pt>
                <c:pt idx="6202">
                  <c:v>0.110611735330836</c:v>
                </c:pt>
                <c:pt idx="6203">
                  <c:v>0.110629570180131</c:v>
                </c:pt>
                <c:pt idx="6204">
                  <c:v>0.11064740502942701</c:v>
                </c:pt>
                <c:pt idx="6205">
                  <c:v>0.110665239878723</c:v>
                </c:pt>
                <c:pt idx="6206">
                  <c:v>0.110683074728018</c:v>
                </c:pt>
                <c:pt idx="6207">
                  <c:v>0.110700909577314</c:v>
                </c:pt>
                <c:pt idx="6208">
                  <c:v>0.11071874442660901</c:v>
                </c:pt>
                <c:pt idx="6209">
                  <c:v>0.11073657927590499</c:v>
                </c:pt>
                <c:pt idx="6210">
                  <c:v>0.1107544141252</c:v>
                </c:pt>
                <c:pt idx="6211">
                  <c:v>0.110772248974496</c:v>
                </c:pt>
                <c:pt idx="6212">
                  <c:v>0.11079008382379101</c:v>
                </c:pt>
                <c:pt idx="6213">
                  <c:v>0.11080791867308699</c:v>
                </c:pt>
                <c:pt idx="6214">
                  <c:v>0.110825753522382</c:v>
                </c:pt>
                <c:pt idx="6215">
                  <c:v>0.110843588371678</c:v>
                </c:pt>
                <c:pt idx="6216">
                  <c:v>0.110861423220973</c:v>
                </c:pt>
                <c:pt idx="6217">
                  <c:v>0.11087925807026899</c:v>
                </c:pt>
                <c:pt idx="6218">
                  <c:v>0.110897092919564</c:v>
                </c:pt>
                <c:pt idx="6219">
                  <c:v>0.11091492776886</c:v>
                </c:pt>
                <c:pt idx="6220">
                  <c:v>0.110932762618155</c:v>
                </c:pt>
                <c:pt idx="6221">
                  <c:v>0.11095059746745101</c:v>
                </c:pt>
                <c:pt idx="6222">
                  <c:v>0.110968432316746</c:v>
                </c:pt>
                <c:pt idx="6223">
                  <c:v>0.110986267166042</c:v>
                </c:pt>
                <c:pt idx="6224">
                  <c:v>0.111004102015337</c:v>
                </c:pt>
                <c:pt idx="6225">
                  <c:v>0.11102193686463301</c:v>
                </c:pt>
                <c:pt idx="6226">
                  <c:v>0.11103977171392899</c:v>
                </c:pt>
                <c:pt idx="6227">
                  <c:v>0.111057606563224</c:v>
                </c:pt>
                <c:pt idx="6228">
                  <c:v>0.11107544141252</c:v>
                </c:pt>
                <c:pt idx="6229">
                  <c:v>0.111093276261815</c:v>
                </c:pt>
                <c:pt idx="6230">
                  <c:v>0.11111111111111099</c:v>
                </c:pt>
                <c:pt idx="6231">
                  <c:v>0.111128945960406</c:v>
                </c:pt>
                <c:pt idx="6232">
                  <c:v>0.111146780809702</c:v>
                </c:pt>
                <c:pt idx="6233">
                  <c:v>0.111164615658997</c:v>
                </c:pt>
                <c:pt idx="6234">
                  <c:v>0.11118245050829299</c:v>
                </c:pt>
                <c:pt idx="6235">
                  <c:v>0.111200285357588</c:v>
                </c:pt>
                <c:pt idx="6236">
                  <c:v>0.111218120206884</c:v>
                </c:pt>
                <c:pt idx="6237">
                  <c:v>0.111235955056179</c:v>
                </c:pt>
                <c:pt idx="6238">
                  <c:v>0.11125378990547501</c:v>
                </c:pt>
                <c:pt idx="6239">
                  <c:v>0.11127162475477</c:v>
                </c:pt>
                <c:pt idx="6240">
                  <c:v>0.111289459604066</c:v>
                </c:pt>
                <c:pt idx="6241">
                  <c:v>0.111307294453361</c:v>
                </c:pt>
                <c:pt idx="6242">
                  <c:v>0.11132512930265701</c:v>
                </c:pt>
                <c:pt idx="6243">
                  <c:v>0.111342964151952</c:v>
                </c:pt>
                <c:pt idx="6244">
                  <c:v>0.111360799001248</c:v>
                </c:pt>
                <c:pt idx="6245">
                  <c:v>0.111378633850543</c:v>
                </c:pt>
                <c:pt idx="6246">
                  <c:v>0.111396468699839</c:v>
                </c:pt>
                <c:pt idx="6247">
                  <c:v>0.11141430354913499</c:v>
                </c:pt>
                <c:pt idx="6248">
                  <c:v>0.11143213839843</c:v>
                </c:pt>
                <c:pt idx="6249">
                  <c:v>0.111449973247726</c:v>
                </c:pt>
                <c:pt idx="6250">
                  <c:v>0.111467808097021</c:v>
                </c:pt>
                <c:pt idx="6251">
                  <c:v>0.11148564294631701</c:v>
                </c:pt>
                <c:pt idx="6252">
                  <c:v>0.111503477795612</c:v>
                </c:pt>
                <c:pt idx="6253">
                  <c:v>0.111521312644908</c:v>
                </c:pt>
                <c:pt idx="6254">
                  <c:v>0.111539147494203</c:v>
                </c:pt>
                <c:pt idx="6255">
                  <c:v>0.11155698234349901</c:v>
                </c:pt>
                <c:pt idx="6256">
                  <c:v>0.111574817192794</c:v>
                </c:pt>
                <c:pt idx="6257">
                  <c:v>0.11159265204209</c:v>
                </c:pt>
                <c:pt idx="6258">
                  <c:v>0.111610486891385</c:v>
                </c:pt>
                <c:pt idx="6259">
                  <c:v>0.11162832174068101</c:v>
                </c:pt>
                <c:pt idx="6260">
                  <c:v>0.111646156589976</c:v>
                </c:pt>
                <c:pt idx="6261">
                  <c:v>0.111663991439272</c:v>
                </c:pt>
                <c:pt idx="6262">
                  <c:v>0.111681826288567</c:v>
                </c:pt>
                <c:pt idx="6263">
                  <c:v>0.111699661137863</c:v>
                </c:pt>
                <c:pt idx="6264">
                  <c:v>0.11171749598715799</c:v>
                </c:pt>
                <c:pt idx="6265">
                  <c:v>0.111735330836454</c:v>
                </c:pt>
                <c:pt idx="6266">
                  <c:v>0.111753165685749</c:v>
                </c:pt>
                <c:pt idx="6267">
                  <c:v>0.111771000535045</c:v>
                </c:pt>
                <c:pt idx="6268">
                  <c:v>0.11178883538434101</c:v>
                </c:pt>
                <c:pt idx="6269">
                  <c:v>0.111806670233636</c:v>
                </c:pt>
                <c:pt idx="6270">
                  <c:v>0.111824505082932</c:v>
                </c:pt>
                <c:pt idx="6271">
                  <c:v>0.111842339932227</c:v>
                </c:pt>
                <c:pt idx="6272">
                  <c:v>0.11186017478152301</c:v>
                </c:pt>
                <c:pt idx="6273">
                  <c:v>0.111878009630818</c:v>
                </c:pt>
                <c:pt idx="6274">
                  <c:v>0.111895844480114</c:v>
                </c:pt>
                <c:pt idx="6275">
                  <c:v>0.111913679329409</c:v>
                </c:pt>
                <c:pt idx="6276">
                  <c:v>0.111931514178705</c:v>
                </c:pt>
                <c:pt idx="6277">
                  <c:v>0.11194934902799999</c:v>
                </c:pt>
                <c:pt idx="6278">
                  <c:v>0.111967183877296</c:v>
                </c:pt>
                <c:pt idx="6279">
                  <c:v>0.111985018726591</c:v>
                </c:pt>
                <c:pt idx="6280">
                  <c:v>0.112002853575887</c:v>
                </c:pt>
                <c:pt idx="6281">
                  <c:v>0.11202068842518199</c:v>
                </c:pt>
                <c:pt idx="6282">
                  <c:v>0.112038523274478</c:v>
                </c:pt>
                <c:pt idx="6283">
                  <c:v>0.112056358123773</c:v>
                </c:pt>
                <c:pt idx="6284">
                  <c:v>0.112074192973069</c:v>
                </c:pt>
                <c:pt idx="6285">
                  <c:v>0.11209202782236399</c:v>
                </c:pt>
                <c:pt idx="6286">
                  <c:v>0.11210986267166</c:v>
                </c:pt>
                <c:pt idx="6287">
                  <c:v>0.112127697520955</c:v>
                </c:pt>
                <c:pt idx="6288">
                  <c:v>0.112145532370251</c:v>
                </c:pt>
                <c:pt idx="6289">
                  <c:v>0.11216336721954601</c:v>
                </c:pt>
                <c:pt idx="6290">
                  <c:v>0.112181202068842</c:v>
                </c:pt>
                <c:pt idx="6291">
                  <c:v>0.112199036918138</c:v>
                </c:pt>
                <c:pt idx="6292">
                  <c:v>0.112216871767433</c:v>
                </c:pt>
                <c:pt idx="6293">
                  <c:v>0.112234706616729</c:v>
                </c:pt>
                <c:pt idx="6294">
                  <c:v>0.11225254146602399</c:v>
                </c:pt>
                <c:pt idx="6295">
                  <c:v>0.11227037631532</c:v>
                </c:pt>
                <c:pt idx="6296">
                  <c:v>0.112288211164615</c:v>
                </c:pt>
                <c:pt idx="6297">
                  <c:v>0.112306046013911</c:v>
                </c:pt>
                <c:pt idx="6298">
                  <c:v>0.11232388086320599</c:v>
                </c:pt>
                <c:pt idx="6299">
                  <c:v>0.112341715712502</c:v>
                </c:pt>
                <c:pt idx="6300">
                  <c:v>0.112359550561797</c:v>
                </c:pt>
                <c:pt idx="6301">
                  <c:v>0.112377385411093</c:v>
                </c:pt>
                <c:pt idx="6302">
                  <c:v>0.11239522026038801</c:v>
                </c:pt>
                <c:pt idx="6303">
                  <c:v>0.112413055109684</c:v>
                </c:pt>
                <c:pt idx="6304">
                  <c:v>0.112430889958979</c:v>
                </c:pt>
                <c:pt idx="6305">
                  <c:v>0.112448724808275</c:v>
                </c:pt>
                <c:pt idx="6306">
                  <c:v>0.11246655965757001</c:v>
                </c:pt>
                <c:pt idx="6307">
                  <c:v>0.112484394506866</c:v>
                </c:pt>
                <c:pt idx="6308">
                  <c:v>0.112502229356161</c:v>
                </c:pt>
                <c:pt idx="6309">
                  <c:v>0.112520064205457</c:v>
                </c:pt>
                <c:pt idx="6310">
                  <c:v>0.11253789905475201</c:v>
                </c:pt>
                <c:pt idx="6311">
                  <c:v>0.11255573390404799</c:v>
                </c:pt>
                <c:pt idx="6312">
                  <c:v>0.112573568753344</c:v>
                </c:pt>
                <c:pt idx="6313">
                  <c:v>0.112591403602639</c:v>
                </c:pt>
                <c:pt idx="6314">
                  <c:v>0.112609238451935</c:v>
                </c:pt>
                <c:pt idx="6315">
                  <c:v>0.11262707330122999</c:v>
                </c:pt>
                <c:pt idx="6316">
                  <c:v>0.112644908150526</c:v>
                </c:pt>
                <c:pt idx="6317">
                  <c:v>0.112662742999821</c:v>
                </c:pt>
                <c:pt idx="6318">
                  <c:v>0.112680577849117</c:v>
                </c:pt>
                <c:pt idx="6319">
                  <c:v>0.11269841269841201</c:v>
                </c:pt>
                <c:pt idx="6320">
                  <c:v>0.112716247547708</c:v>
                </c:pt>
                <c:pt idx="6321">
                  <c:v>0.112734082397003</c:v>
                </c:pt>
                <c:pt idx="6322">
                  <c:v>0.112751917246299</c:v>
                </c:pt>
                <c:pt idx="6323">
                  <c:v>0.11276975209559401</c:v>
                </c:pt>
                <c:pt idx="6324">
                  <c:v>0.11278758694488999</c:v>
                </c:pt>
                <c:pt idx="6325">
                  <c:v>0.112805421794185</c:v>
                </c:pt>
                <c:pt idx="6326">
                  <c:v>0.112823256643481</c:v>
                </c:pt>
                <c:pt idx="6327">
                  <c:v>0.11284109149277601</c:v>
                </c:pt>
                <c:pt idx="6328">
                  <c:v>0.11285892634207199</c:v>
                </c:pt>
                <c:pt idx="6329">
                  <c:v>0.112876761191367</c:v>
                </c:pt>
                <c:pt idx="6330">
                  <c:v>0.112894596040663</c:v>
                </c:pt>
                <c:pt idx="6331">
                  <c:v>0.112912430889958</c:v>
                </c:pt>
                <c:pt idx="6332">
                  <c:v>0.11293026573925399</c:v>
                </c:pt>
                <c:pt idx="6333">
                  <c:v>0.11294810058855</c:v>
                </c:pt>
                <c:pt idx="6334">
                  <c:v>0.112965935437845</c:v>
                </c:pt>
                <c:pt idx="6335">
                  <c:v>0.112983770287141</c:v>
                </c:pt>
                <c:pt idx="6336">
                  <c:v>0.11300160513643601</c:v>
                </c:pt>
                <c:pt idx="6337">
                  <c:v>0.113019439985732</c:v>
                </c:pt>
                <c:pt idx="6338">
                  <c:v>0.113037274835027</c:v>
                </c:pt>
                <c:pt idx="6339">
                  <c:v>0.113055109684323</c:v>
                </c:pt>
                <c:pt idx="6340">
                  <c:v>0.11307294453361801</c:v>
                </c:pt>
                <c:pt idx="6341">
                  <c:v>0.11309077938291399</c:v>
                </c:pt>
                <c:pt idx="6342">
                  <c:v>0.113108614232209</c:v>
                </c:pt>
                <c:pt idx="6343">
                  <c:v>0.113126449081505</c:v>
                </c:pt>
                <c:pt idx="6344">
                  <c:v>0.1131442839308</c:v>
                </c:pt>
                <c:pt idx="6345">
                  <c:v>0.11316211878009599</c:v>
                </c:pt>
                <c:pt idx="6346">
                  <c:v>0.113179953629391</c:v>
                </c:pt>
                <c:pt idx="6347">
                  <c:v>0.113197788478687</c:v>
                </c:pt>
                <c:pt idx="6348">
                  <c:v>0.113215623327982</c:v>
                </c:pt>
                <c:pt idx="6349">
                  <c:v>0.11323345817727801</c:v>
                </c:pt>
                <c:pt idx="6350">
                  <c:v>0.113251293026573</c:v>
                </c:pt>
                <c:pt idx="6351">
                  <c:v>0.113269127875869</c:v>
                </c:pt>
                <c:pt idx="6352">
                  <c:v>0.113286962725164</c:v>
                </c:pt>
                <c:pt idx="6353">
                  <c:v>0.11330479757446001</c:v>
                </c:pt>
                <c:pt idx="6354">
                  <c:v>0.113322632423756</c:v>
                </c:pt>
                <c:pt idx="6355">
                  <c:v>0.113340467273051</c:v>
                </c:pt>
                <c:pt idx="6356">
                  <c:v>0.113358302122347</c:v>
                </c:pt>
                <c:pt idx="6357">
                  <c:v>0.11337613697164201</c:v>
                </c:pt>
                <c:pt idx="6358">
                  <c:v>0.11339397182093799</c:v>
                </c:pt>
                <c:pt idx="6359">
                  <c:v>0.113411806670233</c:v>
                </c:pt>
                <c:pt idx="6360">
                  <c:v>0.113429641519529</c:v>
                </c:pt>
                <c:pt idx="6361">
                  <c:v>0.113447476368824</c:v>
                </c:pt>
                <c:pt idx="6362">
                  <c:v>0.11346531121811999</c:v>
                </c:pt>
                <c:pt idx="6363">
                  <c:v>0.113483146067415</c:v>
                </c:pt>
                <c:pt idx="6364">
                  <c:v>0.113500980916711</c:v>
                </c:pt>
                <c:pt idx="6365">
                  <c:v>0.113518815766006</c:v>
                </c:pt>
                <c:pt idx="6366">
                  <c:v>0.11353665061530201</c:v>
                </c:pt>
                <c:pt idx="6367">
                  <c:v>0.113554485464597</c:v>
                </c:pt>
                <c:pt idx="6368">
                  <c:v>0.113572320313893</c:v>
                </c:pt>
                <c:pt idx="6369">
                  <c:v>0.113590155163188</c:v>
                </c:pt>
                <c:pt idx="6370">
                  <c:v>0.11360799001248401</c:v>
                </c:pt>
                <c:pt idx="6371">
                  <c:v>0.113625824861779</c:v>
                </c:pt>
                <c:pt idx="6372">
                  <c:v>0.113643659711075</c:v>
                </c:pt>
                <c:pt idx="6373">
                  <c:v>0.11366149456037</c:v>
                </c:pt>
                <c:pt idx="6374">
                  <c:v>0.11367932940966601</c:v>
                </c:pt>
                <c:pt idx="6375">
                  <c:v>0.11369716425896199</c:v>
                </c:pt>
                <c:pt idx="6376">
                  <c:v>0.113714999108257</c:v>
                </c:pt>
                <c:pt idx="6377">
                  <c:v>0.113732833957553</c:v>
                </c:pt>
                <c:pt idx="6378">
                  <c:v>0.113750668806848</c:v>
                </c:pt>
                <c:pt idx="6379">
                  <c:v>0.11376850365614399</c:v>
                </c:pt>
                <c:pt idx="6380">
                  <c:v>0.113786338505439</c:v>
                </c:pt>
                <c:pt idx="6381">
                  <c:v>0.113804173354735</c:v>
                </c:pt>
                <c:pt idx="6382">
                  <c:v>0.11382200820403</c:v>
                </c:pt>
                <c:pt idx="6383">
                  <c:v>0.11383984305332601</c:v>
                </c:pt>
                <c:pt idx="6384">
                  <c:v>0.113857677902621</c:v>
                </c:pt>
                <c:pt idx="6385">
                  <c:v>0.113875512751917</c:v>
                </c:pt>
                <c:pt idx="6386">
                  <c:v>0.113893347601212</c:v>
                </c:pt>
                <c:pt idx="6387">
                  <c:v>0.11391118245050801</c:v>
                </c:pt>
                <c:pt idx="6388">
                  <c:v>0.113929017299803</c:v>
                </c:pt>
                <c:pt idx="6389">
                  <c:v>0.113946852149099</c:v>
                </c:pt>
                <c:pt idx="6390">
                  <c:v>0.113964686998394</c:v>
                </c:pt>
                <c:pt idx="6391">
                  <c:v>0.11398252184769</c:v>
                </c:pt>
                <c:pt idx="6392">
                  <c:v>0.11400035669698499</c:v>
                </c:pt>
                <c:pt idx="6393">
                  <c:v>0.114018191546281</c:v>
                </c:pt>
                <c:pt idx="6394">
                  <c:v>0.114036026395576</c:v>
                </c:pt>
                <c:pt idx="6395">
                  <c:v>0.114053861244872</c:v>
                </c:pt>
                <c:pt idx="6396">
                  <c:v>0.11407169609416801</c:v>
                </c:pt>
                <c:pt idx="6397">
                  <c:v>0.114089530943463</c:v>
                </c:pt>
                <c:pt idx="6398">
                  <c:v>0.114107365792759</c:v>
                </c:pt>
                <c:pt idx="6399">
                  <c:v>0.114125200642054</c:v>
                </c:pt>
                <c:pt idx="6400">
                  <c:v>0.11414303549135001</c:v>
                </c:pt>
                <c:pt idx="6401">
                  <c:v>0.114160870340645</c:v>
                </c:pt>
                <c:pt idx="6402">
                  <c:v>0.114178705189941</c:v>
                </c:pt>
                <c:pt idx="6403">
                  <c:v>0.114196540039236</c:v>
                </c:pt>
                <c:pt idx="6404">
                  <c:v>0.11421437488853201</c:v>
                </c:pt>
                <c:pt idx="6405">
                  <c:v>0.114232209737827</c:v>
                </c:pt>
                <c:pt idx="6406">
                  <c:v>0.114250044587123</c:v>
                </c:pt>
                <c:pt idx="6407">
                  <c:v>0.114267879436418</c:v>
                </c:pt>
                <c:pt idx="6408">
                  <c:v>0.114285714285714</c:v>
                </c:pt>
                <c:pt idx="6409">
                  <c:v>0.11430354913500899</c:v>
                </c:pt>
                <c:pt idx="6410">
                  <c:v>0.114321383984305</c:v>
                </c:pt>
                <c:pt idx="6411">
                  <c:v>0.1143392188336</c:v>
                </c:pt>
                <c:pt idx="6412">
                  <c:v>0.114357053682896</c:v>
                </c:pt>
                <c:pt idx="6413">
                  <c:v>0.11437488853219099</c:v>
                </c:pt>
                <c:pt idx="6414">
                  <c:v>0.114392723381487</c:v>
                </c:pt>
                <c:pt idx="6415">
                  <c:v>0.114410558230782</c:v>
                </c:pt>
                <c:pt idx="6416">
                  <c:v>0.114428393080078</c:v>
                </c:pt>
                <c:pt idx="6417">
                  <c:v>0.11444622792937301</c:v>
                </c:pt>
                <c:pt idx="6418">
                  <c:v>0.114464062778669</c:v>
                </c:pt>
                <c:pt idx="6419">
                  <c:v>0.114481897627965</c:v>
                </c:pt>
                <c:pt idx="6420">
                  <c:v>0.11449973247726</c:v>
                </c:pt>
                <c:pt idx="6421">
                  <c:v>0.11451756732655601</c:v>
                </c:pt>
                <c:pt idx="6422">
                  <c:v>0.11453540217585099</c:v>
                </c:pt>
                <c:pt idx="6423">
                  <c:v>0.114553237025147</c:v>
                </c:pt>
                <c:pt idx="6424">
                  <c:v>0.114571071874442</c:v>
                </c:pt>
                <c:pt idx="6425">
                  <c:v>0.114588906723738</c:v>
                </c:pt>
                <c:pt idx="6426">
                  <c:v>0.11460674157303299</c:v>
                </c:pt>
                <c:pt idx="6427">
                  <c:v>0.114624576422329</c:v>
                </c:pt>
                <c:pt idx="6428">
                  <c:v>0.114642411271624</c:v>
                </c:pt>
                <c:pt idx="6429">
                  <c:v>0.11466024612092</c:v>
                </c:pt>
                <c:pt idx="6430">
                  <c:v>0.11467808097021499</c:v>
                </c:pt>
                <c:pt idx="6431">
                  <c:v>0.114695915819511</c:v>
                </c:pt>
                <c:pt idx="6432">
                  <c:v>0.114713750668806</c:v>
                </c:pt>
                <c:pt idx="6433">
                  <c:v>0.114731585518102</c:v>
                </c:pt>
                <c:pt idx="6434">
                  <c:v>0.11474942036739701</c:v>
                </c:pt>
                <c:pt idx="6435">
                  <c:v>0.114767255216693</c:v>
                </c:pt>
                <c:pt idx="6436">
                  <c:v>0.114785090065988</c:v>
                </c:pt>
                <c:pt idx="6437">
                  <c:v>0.114802924915284</c:v>
                </c:pt>
                <c:pt idx="6438">
                  <c:v>0.11482075976457901</c:v>
                </c:pt>
                <c:pt idx="6439">
                  <c:v>0.11483859461387499</c:v>
                </c:pt>
                <c:pt idx="6440">
                  <c:v>0.114856429463171</c:v>
                </c:pt>
                <c:pt idx="6441">
                  <c:v>0.114874264312466</c:v>
                </c:pt>
                <c:pt idx="6442">
                  <c:v>0.114892099161762</c:v>
                </c:pt>
                <c:pt idx="6443">
                  <c:v>0.11490993401105699</c:v>
                </c:pt>
                <c:pt idx="6444">
                  <c:v>0.114927768860353</c:v>
                </c:pt>
                <c:pt idx="6445">
                  <c:v>0.114945603709648</c:v>
                </c:pt>
                <c:pt idx="6446">
                  <c:v>0.114963438558944</c:v>
                </c:pt>
                <c:pt idx="6447">
                  <c:v>0.11498127340823899</c:v>
                </c:pt>
                <c:pt idx="6448">
                  <c:v>0.114999108257535</c:v>
                </c:pt>
                <c:pt idx="6449">
                  <c:v>0.11501694310683</c:v>
                </c:pt>
                <c:pt idx="6450">
                  <c:v>0.115034777956126</c:v>
                </c:pt>
                <c:pt idx="6451">
                  <c:v>0.11505261280542101</c:v>
                </c:pt>
                <c:pt idx="6452">
                  <c:v>0.115070447654717</c:v>
                </c:pt>
                <c:pt idx="6453">
                  <c:v>0.115088282504012</c:v>
                </c:pt>
                <c:pt idx="6454">
                  <c:v>0.115106117353308</c:v>
                </c:pt>
                <c:pt idx="6455">
                  <c:v>0.11512395220260301</c:v>
                </c:pt>
                <c:pt idx="6456">
                  <c:v>0.11514178705189899</c:v>
                </c:pt>
                <c:pt idx="6457">
                  <c:v>0.115159621901194</c:v>
                </c:pt>
                <c:pt idx="6458">
                  <c:v>0.11517745675049</c:v>
                </c:pt>
                <c:pt idx="6459">
                  <c:v>0.115195291599785</c:v>
                </c:pt>
                <c:pt idx="6460">
                  <c:v>0.11521312644908099</c:v>
                </c:pt>
                <c:pt idx="6461">
                  <c:v>0.115230961298377</c:v>
                </c:pt>
                <c:pt idx="6462">
                  <c:v>0.115248796147672</c:v>
                </c:pt>
                <c:pt idx="6463">
                  <c:v>0.115266630996968</c:v>
                </c:pt>
                <c:pt idx="6464">
                  <c:v>0.11528446584626301</c:v>
                </c:pt>
                <c:pt idx="6465">
                  <c:v>0.115302300695559</c:v>
                </c:pt>
                <c:pt idx="6466">
                  <c:v>0.115320135544854</c:v>
                </c:pt>
                <c:pt idx="6467">
                  <c:v>0.11533797039415</c:v>
                </c:pt>
                <c:pt idx="6468">
                  <c:v>0.11535580524344501</c:v>
                </c:pt>
                <c:pt idx="6469">
                  <c:v>0.11537364009274099</c:v>
                </c:pt>
                <c:pt idx="6470">
                  <c:v>0.115391474942036</c:v>
                </c:pt>
                <c:pt idx="6471">
                  <c:v>0.115409309791332</c:v>
                </c:pt>
                <c:pt idx="6472">
                  <c:v>0.11542714464062701</c:v>
                </c:pt>
                <c:pt idx="6473">
                  <c:v>0.11544497948992299</c:v>
                </c:pt>
                <c:pt idx="6474">
                  <c:v>0.115462814339218</c:v>
                </c:pt>
                <c:pt idx="6475">
                  <c:v>0.115480649188514</c:v>
                </c:pt>
                <c:pt idx="6476">
                  <c:v>0.115498484037809</c:v>
                </c:pt>
                <c:pt idx="6477">
                  <c:v>0.11551631888710499</c:v>
                </c:pt>
                <c:pt idx="6478">
                  <c:v>0.1155341537364</c:v>
                </c:pt>
                <c:pt idx="6479">
                  <c:v>0.115551988585696</c:v>
                </c:pt>
                <c:pt idx="6480">
                  <c:v>0.115569823434991</c:v>
                </c:pt>
                <c:pt idx="6481">
                  <c:v>0.11558765828428701</c:v>
                </c:pt>
                <c:pt idx="6482">
                  <c:v>0.115605493133583</c:v>
                </c:pt>
                <c:pt idx="6483">
                  <c:v>0.115623327982878</c:v>
                </c:pt>
                <c:pt idx="6484">
                  <c:v>0.115641162832174</c:v>
                </c:pt>
                <c:pt idx="6485">
                  <c:v>0.11565899768146901</c:v>
                </c:pt>
                <c:pt idx="6486">
                  <c:v>0.11567683253076499</c:v>
                </c:pt>
                <c:pt idx="6487">
                  <c:v>0.11569466738006</c:v>
                </c:pt>
                <c:pt idx="6488">
                  <c:v>0.115712502229356</c:v>
                </c:pt>
                <c:pt idx="6489">
                  <c:v>0.115730337078651</c:v>
                </c:pt>
                <c:pt idx="6490">
                  <c:v>0.11574817192794699</c:v>
                </c:pt>
                <c:pt idx="6491">
                  <c:v>0.115766006777242</c:v>
                </c:pt>
                <c:pt idx="6492">
                  <c:v>0.115783841626538</c:v>
                </c:pt>
                <c:pt idx="6493">
                  <c:v>0.115801676475833</c:v>
                </c:pt>
                <c:pt idx="6494">
                  <c:v>0.11581951132512899</c:v>
                </c:pt>
                <c:pt idx="6495">
                  <c:v>0.115837346174424</c:v>
                </c:pt>
                <c:pt idx="6496">
                  <c:v>0.11585518102372</c:v>
                </c:pt>
                <c:pt idx="6497">
                  <c:v>0.115873015873015</c:v>
                </c:pt>
                <c:pt idx="6498">
                  <c:v>0.11589085072231101</c:v>
                </c:pt>
                <c:pt idx="6499">
                  <c:v>0.115908685571606</c:v>
                </c:pt>
                <c:pt idx="6500">
                  <c:v>0.115926520420902</c:v>
                </c:pt>
                <c:pt idx="6501">
                  <c:v>0.115944355270197</c:v>
                </c:pt>
                <c:pt idx="6502">
                  <c:v>0.11596219011949301</c:v>
                </c:pt>
                <c:pt idx="6503">
                  <c:v>0.11598002496878899</c:v>
                </c:pt>
                <c:pt idx="6504">
                  <c:v>0.115997859818084</c:v>
                </c:pt>
                <c:pt idx="6505">
                  <c:v>0.11601569466738</c:v>
                </c:pt>
                <c:pt idx="6506">
                  <c:v>0.116033529516675</c:v>
                </c:pt>
                <c:pt idx="6507">
                  <c:v>0.11605136436597099</c:v>
                </c:pt>
                <c:pt idx="6508">
                  <c:v>0.116069199215266</c:v>
                </c:pt>
                <c:pt idx="6509">
                  <c:v>0.116087034064562</c:v>
                </c:pt>
                <c:pt idx="6510">
                  <c:v>0.116104868913857</c:v>
                </c:pt>
                <c:pt idx="6511">
                  <c:v>0.11612270376315301</c:v>
                </c:pt>
                <c:pt idx="6512">
                  <c:v>0.116140538612448</c:v>
                </c:pt>
                <c:pt idx="6513">
                  <c:v>0.116158373461744</c:v>
                </c:pt>
                <c:pt idx="6514">
                  <c:v>0.116176208311039</c:v>
                </c:pt>
                <c:pt idx="6515">
                  <c:v>0.11619404316033501</c:v>
                </c:pt>
                <c:pt idx="6516">
                  <c:v>0.11621187800963</c:v>
                </c:pt>
                <c:pt idx="6517">
                  <c:v>0.116229712858926</c:v>
                </c:pt>
                <c:pt idx="6518">
                  <c:v>0.116247547708221</c:v>
                </c:pt>
                <c:pt idx="6519">
                  <c:v>0.11626538255751701</c:v>
                </c:pt>
                <c:pt idx="6520">
                  <c:v>0.116283217406812</c:v>
                </c:pt>
                <c:pt idx="6521">
                  <c:v>0.116301052256108</c:v>
                </c:pt>
                <c:pt idx="6522">
                  <c:v>0.116318887105403</c:v>
                </c:pt>
                <c:pt idx="6523">
                  <c:v>0.116336721954699</c:v>
                </c:pt>
                <c:pt idx="6524">
                  <c:v>0.11635455680399499</c:v>
                </c:pt>
                <c:pt idx="6525">
                  <c:v>0.11637239165329</c:v>
                </c:pt>
                <c:pt idx="6526">
                  <c:v>0.116390226502586</c:v>
                </c:pt>
                <c:pt idx="6527">
                  <c:v>0.116408061351881</c:v>
                </c:pt>
                <c:pt idx="6528">
                  <c:v>0.11642589620117701</c:v>
                </c:pt>
                <c:pt idx="6529">
                  <c:v>0.116443731050472</c:v>
                </c:pt>
                <c:pt idx="6530">
                  <c:v>0.116461565899768</c:v>
                </c:pt>
                <c:pt idx="6531">
                  <c:v>0.116479400749063</c:v>
                </c:pt>
                <c:pt idx="6532">
                  <c:v>0.11649723559835901</c:v>
                </c:pt>
                <c:pt idx="6533">
                  <c:v>0.116515070447654</c:v>
                </c:pt>
                <c:pt idx="6534">
                  <c:v>0.11653290529695</c:v>
                </c:pt>
                <c:pt idx="6535">
                  <c:v>0.116550740146245</c:v>
                </c:pt>
                <c:pt idx="6536">
                  <c:v>0.116568574995541</c:v>
                </c:pt>
                <c:pt idx="6537">
                  <c:v>0.11658640984483599</c:v>
                </c:pt>
                <c:pt idx="6538">
                  <c:v>0.116604244694132</c:v>
                </c:pt>
                <c:pt idx="6539">
                  <c:v>0.116622079543427</c:v>
                </c:pt>
                <c:pt idx="6540">
                  <c:v>0.116639914392723</c:v>
                </c:pt>
                <c:pt idx="6541">
                  <c:v>0.11665774924201799</c:v>
                </c:pt>
                <c:pt idx="6542">
                  <c:v>0.116675584091314</c:v>
                </c:pt>
                <c:pt idx="6543">
                  <c:v>0.116693418940609</c:v>
                </c:pt>
                <c:pt idx="6544">
                  <c:v>0.116711253789905</c:v>
                </c:pt>
                <c:pt idx="6545">
                  <c:v>0.11672908863919999</c:v>
                </c:pt>
                <c:pt idx="6546">
                  <c:v>0.116746923488496</c:v>
                </c:pt>
                <c:pt idx="6547">
                  <c:v>0.116764758337792</c:v>
                </c:pt>
                <c:pt idx="6548">
                  <c:v>0.116782593187087</c:v>
                </c:pt>
                <c:pt idx="6549">
                  <c:v>0.11680042803638301</c:v>
                </c:pt>
                <c:pt idx="6550">
                  <c:v>0.116818262885678</c:v>
                </c:pt>
                <c:pt idx="6551">
                  <c:v>0.116836097734974</c:v>
                </c:pt>
                <c:pt idx="6552">
                  <c:v>0.116853932584269</c:v>
                </c:pt>
                <c:pt idx="6553">
                  <c:v>0.116871767433565</c:v>
                </c:pt>
                <c:pt idx="6554">
                  <c:v>0.11688960228285999</c:v>
                </c:pt>
                <c:pt idx="6555">
                  <c:v>0.116907437132156</c:v>
                </c:pt>
                <c:pt idx="6556">
                  <c:v>0.116925271981451</c:v>
                </c:pt>
                <c:pt idx="6557">
                  <c:v>0.116943106830747</c:v>
                </c:pt>
                <c:pt idx="6558">
                  <c:v>0.11696094168004199</c:v>
                </c:pt>
                <c:pt idx="6559">
                  <c:v>0.116978776529338</c:v>
                </c:pt>
                <c:pt idx="6560">
                  <c:v>0.116996611378633</c:v>
                </c:pt>
                <c:pt idx="6561">
                  <c:v>0.117014446227929</c:v>
                </c:pt>
                <c:pt idx="6562">
                  <c:v>0.11703228107722401</c:v>
                </c:pt>
                <c:pt idx="6563">
                  <c:v>0.11705011592652</c:v>
                </c:pt>
                <c:pt idx="6564">
                  <c:v>0.117067950775815</c:v>
                </c:pt>
                <c:pt idx="6565">
                  <c:v>0.117085785625111</c:v>
                </c:pt>
                <c:pt idx="6566">
                  <c:v>0.11710362047440601</c:v>
                </c:pt>
                <c:pt idx="6567">
                  <c:v>0.117121455323702</c:v>
                </c:pt>
                <c:pt idx="6568">
                  <c:v>0.117139290172998</c:v>
                </c:pt>
                <c:pt idx="6569">
                  <c:v>0.117157125022293</c:v>
                </c:pt>
                <c:pt idx="6570">
                  <c:v>0.117174959871589</c:v>
                </c:pt>
                <c:pt idx="6571">
                  <c:v>0.11719279472088399</c:v>
                </c:pt>
                <c:pt idx="6572">
                  <c:v>0.11721062957018</c:v>
                </c:pt>
                <c:pt idx="6573">
                  <c:v>0.117228464419475</c:v>
                </c:pt>
                <c:pt idx="6574">
                  <c:v>0.117246299268771</c:v>
                </c:pt>
                <c:pt idx="6575">
                  <c:v>0.11726413411806599</c:v>
                </c:pt>
                <c:pt idx="6576">
                  <c:v>0.117281968967362</c:v>
                </c:pt>
                <c:pt idx="6577">
                  <c:v>0.117299803816657</c:v>
                </c:pt>
                <c:pt idx="6578">
                  <c:v>0.117317638665953</c:v>
                </c:pt>
                <c:pt idx="6579">
                  <c:v>0.11733547351524801</c:v>
                </c:pt>
                <c:pt idx="6580">
                  <c:v>0.117353308364544</c:v>
                </c:pt>
                <c:pt idx="6581">
                  <c:v>0.117371143213839</c:v>
                </c:pt>
                <c:pt idx="6582">
                  <c:v>0.117388978063135</c:v>
                </c:pt>
                <c:pt idx="6583">
                  <c:v>0.11740681291243001</c:v>
                </c:pt>
                <c:pt idx="6584">
                  <c:v>0.11742464776172599</c:v>
                </c:pt>
                <c:pt idx="6585">
                  <c:v>0.117442482611021</c:v>
                </c:pt>
                <c:pt idx="6586">
                  <c:v>0.117460317460317</c:v>
                </c:pt>
                <c:pt idx="6587">
                  <c:v>0.11747815230961201</c:v>
                </c:pt>
                <c:pt idx="6588">
                  <c:v>0.11749598715890799</c:v>
                </c:pt>
                <c:pt idx="6589">
                  <c:v>0.117513822008204</c:v>
                </c:pt>
                <c:pt idx="6590">
                  <c:v>0.117531656857499</c:v>
                </c:pt>
                <c:pt idx="6591">
                  <c:v>0.117549491706795</c:v>
                </c:pt>
                <c:pt idx="6592">
                  <c:v>0.11756732655608999</c:v>
                </c:pt>
                <c:pt idx="6593">
                  <c:v>0.117585161405386</c:v>
                </c:pt>
                <c:pt idx="6594">
                  <c:v>0.117602996254681</c:v>
                </c:pt>
                <c:pt idx="6595">
                  <c:v>0.117620831103977</c:v>
                </c:pt>
                <c:pt idx="6596">
                  <c:v>0.11763866595327201</c:v>
                </c:pt>
                <c:pt idx="6597">
                  <c:v>0.117656500802568</c:v>
                </c:pt>
                <c:pt idx="6598">
                  <c:v>0.117674335651863</c:v>
                </c:pt>
                <c:pt idx="6599">
                  <c:v>0.117692170501159</c:v>
                </c:pt>
                <c:pt idx="6600">
                  <c:v>0.11771000535045401</c:v>
                </c:pt>
                <c:pt idx="6601">
                  <c:v>0.11772784019974999</c:v>
                </c:pt>
                <c:pt idx="6602">
                  <c:v>0.117745675049045</c:v>
                </c:pt>
                <c:pt idx="6603">
                  <c:v>0.117763509898341</c:v>
                </c:pt>
                <c:pt idx="6604">
                  <c:v>0.117781344747636</c:v>
                </c:pt>
                <c:pt idx="6605">
                  <c:v>0.11779917959693199</c:v>
                </c:pt>
                <c:pt idx="6606">
                  <c:v>0.117817014446227</c:v>
                </c:pt>
                <c:pt idx="6607">
                  <c:v>0.117834849295523</c:v>
                </c:pt>
                <c:pt idx="6608">
                  <c:v>0.117852684144818</c:v>
                </c:pt>
                <c:pt idx="6609">
                  <c:v>0.11787051899411401</c:v>
                </c:pt>
                <c:pt idx="6610">
                  <c:v>0.11788835384341</c:v>
                </c:pt>
                <c:pt idx="6611">
                  <c:v>0.117906188692705</c:v>
                </c:pt>
                <c:pt idx="6612">
                  <c:v>0.117924023542001</c:v>
                </c:pt>
                <c:pt idx="6613">
                  <c:v>0.11794185839129601</c:v>
                </c:pt>
                <c:pt idx="6614">
                  <c:v>0.117959693240592</c:v>
                </c:pt>
                <c:pt idx="6615">
                  <c:v>0.117977528089887</c:v>
                </c:pt>
                <c:pt idx="6616">
                  <c:v>0.117995362939183</c:v>
                </c:pt>
                <c:pt idx="6617">
                  <c:v>0.11801319778847801</c:v>
                </c:pt>
                <c:pt idx="6618">
                  <c:v>0.11803103263777399</c:v>
                </c:pt>
                <c:pt idx="6619">
                  <c:v>0.118048867487069</c:v>
                </c:pt>
                <c:pt idx="6620">
                  <c:v>0.118066702336365</c:v>
                </c:pt>
                <c:pt idx="6621">
                  <c:v>0.11808453718566</c:v>
                </c:pt>
                <c:pt idx="6622">
                  <c:v>0.11810237203495599</c:v>
                </c:pt>
                <c:pt idx="6623">
                  <c:v>0.118120206884251</c:v>
                </c:pt>
                <c:pt idx="6624">
                  <c:v>0.118138041733547</c:v>
                </c:pt>
                <c:pt idx="6625">
                  <c:v>0.118155876582842</c:v>
                </c:pt>
                <c:pt idx="6626">
                  <c:v>0.11817371143213801</c:v>
                </c:pt>
                <c:pt idx="6627">
                  <c:v>0.118191546281433</c:v>
                </c:pt>
                <c:pt idx="6628">
                  <c:v>0.118209381130729</c:v>
                </c:pt>
                <c:pt idx="6629">
                  <c:v>0.118227215980024</c:v>
                </c:pt>
                <c:pt idx="6630">
                  <c:v>0.11824505082932001</c:v>
                </c:pt>
                <c:pt idx="6631">
                  <c:v>0.11826288567861599</c:v>
                </c:pt>
                <c:pt idx="6632">
                  <c:v>0.118280720527911</c:v>
                </c:pt>
                <c:pt idx="6633">
                  <c:v>0.118298555377207</c:v>
                </c:pt>
                <c:pt idx="6634">
                  <c:v>0.11831639022650201</c:v>
                </c:pt>
                <c:pt idx="6635">
                  <c:v>0.11833422507579799</c:v>
                </c:pt>
                <c:pt idx="6636">
                  <c:v>0.118352059925093</c:v>
                </c:pt>
                <c:pt idx="6637">
                  <c:v>0.118369894774389</c:v>
                </c:pt>
                <c:pt idx="6638">
                  <c:v>0.118387729623684</c:v>
                </c:pt>
                <c:pt idx="6639">
                  <c:v>0.11840556447297999</c:v>
                </c:pt>
                <c:pt idx="6640">
                  <c:v>0.118423399322275</c:v>
                </c:pt>
                <c:pt idx="6641">
                  <c:v>0.118441234171571</c:v>
                </c:pt>
                <c:pt idx="6642">
                  <c:v>0.118459069020866</c:v>
                </c:pt>
                <c:pt idx="6643">
                  <c:v>0.11847690387016201</c:v>
                </c:pt>
                <c:pt idx="6644">
                  <c:v>0.118494738719457</c:v>
                </c:pt>
                <c:pt idx="6645">
                  <c:v>0.118512573568753</c:v>
                </c:pt>
                <c:pt idx="6646">
                  <c:v>0.118530408418048</c:v>
                </c:pt>
                <c:pt idx="6647">
                  <c:v>0.11854824326734401</c:v>
                </c:pt>
                <c:pt idx="6648">
                  <c:v>0.118566078116639</c:v>
                </c:pt>
                <c:pt idx="6649">
                  <c:v>0.118583912965935</c:v>
                </c:pt>
                <c:pt idx="6650">
                  <c:v>0.11860174781523</c:v>
                </c:pt>
                <c:pt idx="6651">
                  <c:v>0.118619582664526</c:v>
                </c:pt>
                <c:pt idx="6652">
                  <c:v>0.11863741751382199</c:v>
                </c:pt>
                <c:pt idx="6653">
                  <c:v>0.118655252363117</c:v>
                </c:pt>
                <c:pt idx="6654">
                  <c:v>0.118673087212413</c:v>
                </c:pt>
                <c:pt idx="6655">
                  <c:v>0.118690922061708</c:v>
                </c:pt>
                <c:pt idx="6656">
                  <c:v>0.11870875691100399</c:v>
                </c:pt>
                <c:pt idx="6657">
                  <c:v>0.118726591760299</c:v>
                </c:pt>
                <c:pt idx="6658">
                  <c:v>0.118744426609595</c:v>
                </c:pt>
                <c:pt idx="6659">
                  <c:v>0.11876226145889</c:v>
                </c:pt>
                <c:pt idx="6660">
                  <c:v>0.11878009630818601</c:v>
                </c:pt>
                <c:pt idx="6661">
                  <c:v>0.118797931157481</c:v>
                </c:pt>
                <c:pt idx="6662">
                  <c:v>0.118815766006777</c:v>
                </c:pt>
                <c:pt idx="6663">
                  <c:v>0.118833600856072</c:v>
                </c:pt>
                <c:pt idx="6664">
                  <c:v>0.11885143570536801</c:v>
                </c:pt>
                <c:pt idx="6665">
                  <c:v>0.118869270554663</c:v>
                </c:pt>
                <c:pt idx="6666">
                  <c:v>0.118887105403959</c:v>
                </c:pt>
                <c:pt idx="6667">
                  <c:v>0.118904940253254</c:v>
                </c:pt>
                <c:pt idx="6668">
                  <c:v>0.11892277510255</c:v>
                </c:pt>
                <c:pt idx="6669">
                  <c:v>0.11894060995184499</c:v>
                </c:pt>
                <c:pt idx="6670">
                  <c:v>0.118958444801141</c:v>
                </c:pt>
                <c:pt idx="6671">
                  <c:v>0.118976279650436</c:v>
                </c:pt>
                <c:pt idx="6672">
                  <c:v>0.118994114499732</c:v>
                </c:pt>
                <c:pt idx="6673">
                  <c:v>0.11901194934902801</c:v>
                </c:pt>
                <c:pt idx="6674">
                  <c:v>0.119029784198323</c:v>
                </c:pt>
                <c:pt idx="6675">
                  <c:v>0.119047619047619</c:v>
                </c:pt>
                <c:pt idx="6676">
                  <c:v>0.119065453896914</c:v>
                </c:pt>
                <c:pt idx="6677">
                  <c:v>0.11908328874621001</c:v>
                </c:pt>
                <c:pt idx="6678">
                  <c:v>0.119101123595505</c:v>
                </c:pt>
                <c:pt idx="6679">
                  <c:v>0.119118958444801</c:v>
                </c:pt>
                <c:pt idx="6680">
                  <c:v>0.119136793294096</c:v>
                </c:pt>
                <c:pt idx="6681">
                  <c:v>0.11915462814339201</c:v>
                </c:pt>
                <c:pt idx="6682">
                  <c:v>0.11917246299268699</c:v>
                </c:pt>
                <c:pt idx="6683">
                  <c:v>0.119190297841983</c:v>
                </c:pt>
                <c:pt idx="6684">
                  <c:v>0.119208132691278</c:v>
                </c:pt>
                <c:pt idx="6685">
                  <c:v>0.119225967540574</c:v>
                </c:pt>
                <c:pt idx="6686">
                  <c:v>0.11924380238986899</c:v>
                </c:pt>
                <c:pt idx="6687">
                  <c:v>0.119261637239165</c:v>
                </c:pt>
                <c:pt idx="6688">
                  <c:v>0.11927947208846</c:v>
                </c:pt>
                <c:pt idx="6689">
                  <c:v>0.119297306937756</c:v>
                </c:pt>
                <c:pt idx="6690">
                  <c:v>0.11931514178705099</c:v>
                </c:pt>
                <c:pt idx="6691">
                  <c:v>0.119332976636347</c:v>
                </c:pt>
                <c:pt idx="6692">
                  <c:v>0.119350811485642</c:v>
                </c:pt>
                <c:pt idx="6693">
                  <c:v>0.119368646334938</c:v>
                </c:pt>
                <c:pt idx="6694">
                  <c:v>0.11938648118423301</c:v>
                </c:pt>
                <c:pt idx="6695">
                  <c:v>0.119404316033529</c:v>
                </c:pt>
                <c:pt idx="6696">
                  <c:v>0.119422150882825</c:v>
                </c:pt>
                <c:pt idx="6697">
                  <c:v>0.11943998573212</c:v>
                </c:pt>
                <c:pt idx="6698">
                  <c:v>0.119457820581416</c:v>
                </c:pt>
                <c:pt idx="6699">
                  <c:v>0.11947565543071099</c:v>
                </c:pt>
                <c:pt idx="6700">
                  <c:v>0.119493490280007</c:v>
                </c:pt>
                <c:pt idx="6701">
                  <c:v>0.119511325129302</c:v>
                </c:pt>
                <c:pt idx="6702">
                  <c:v>0.119529159978598</c:v>
                </c:pt>
                <c:pt idx="6703">
                  <c:v>0.11954699482789299</c:v>
                </c:pt>
                <c:pt idx="6704">
                  <c:v>0.119564829677189</c:v>
                </c:pt>
                <c:pt idx="6705">
                  <c:v>0.119582664526484</c:v>
                </c:pt>
                <c:pt idx="6706">
                  <c:v>0.11960049937578</c:v>
                </c:pt>
                <c:pt idx="6707">
                  <c:v>0.11961833422507499</c:v>
                </c:pt>
                <c:pt idx="6708">
                  <c:v>0.119636169074371</c:v>
                </c:pt>
                <c:pt idx="6709">
                  <c:v>0.119654003923666</c:v>
                </c:pt>
                <c:pt idx="6710">
                  <c:v>0.119671838772962</c:v>
                </c:pt>
                <c:pt idx="6711">
                  <c:v>0.11968967362225701</c:v>
                </c:pt>
                <c:pt idx="6712">
                  <c:v>0.119707508471553</c:v>
                </c:pt>
                <c:pt idx="6713">
                  <c:v>0.119725343320848</c:v>
                </c:pt>
                <c:pt idx="6714">
                  <c:v>0.119743178170144</c:v>
                </c:pt>
                <c:pt idx="6715">
                  <c:v>0.11976101301943901</c:v>
                </c:pt>
                <c:pt idx="6716">
                  <c:v>0.11977884786873499</c:v>
                </c:pt>
                <c:pt idx="6717">
                  <c:v>0.119796682718031</c:v>
                </c:pt>
                <c:pt idx="6718">
                  <c:v>0.119814517567326</c:v>
                </c:pt>
                <c:pt idx="6719">
                  <c:v>0.119832352416622</c:v>
                </c:pt>
                <c:pt idx="6720">
                  <c:v>0.11985018726591699</c:v>
                </c:pt>
                <c:pt idx="6721">
                  <c:v>0.119868022115213</c:v>
                </c:pt>
                <c:pt idx="6722">
                  <c:v>0.119885856964508</c:v>
                </c:pt>
                <c:pt idx="6723">
                  <c:v>0.119903691813804</c:v>
                </c:pt>
                <c:pt idx="6724">
                  <c:v>0.11992152666309901</c:v>
                </c:pt>
                <c:pt idx="6725">
                  <c:v>0.119939361512395</c:v>
                </c:pt>
                <c:pt idx="6726">
                  <c:v>0.11995719636169</c:v>
                </c:pt>
                <c:pt idx="6727">
                  <c:v>0.119975031210986</c:v>
                </c:pt>
                <c:pt idx="6728">
                  <c:v>0.11999286606028101</c:v>
                </c:pt>
                <c:pt idx="6729">
                  <c:v>0.12001070090957699</c:v>
                </c:pt>
                <c:pt idx="6730">
                  <c:v>0.120028535758872</c:v>
                </c:pt>
                <c:pt idx="6731">
                  <c:v>0.120046370608168</c:v>
                </c:pt>
                <c:pt idx="6732">
                  <c:v>0.12006420545746301</c:v>
                </c:pt>
                <c:pt idx="6733">
                  <c:v>0.12008204030675899</c:v>
                </c:pt>
                <c:pt idx="6734">
                  <c:v>0.120099875156054</c:v>
                </c:pt>
                <c:pt idx="6735">
                  <c:v>0.12011771000535</c:v>
                </c:pt>
                <c:pt idx="6736">
                  <c:v>0.120135544854645</c:v>
                </c:pt>
                <c:pt idx="6737">
                  <c:v>0.12015337970394099</c:v>
                </c:pt>
                <c:pt idx="6738">
                  <c:v>0.120171214553237</c:v>
                </c:pt>
                <c:pt idx="6739">
                  <c:v>0.120189049402532</c:v>
                </c:pt>
                <c:pt idx="6740">
                  <c:v>0.120206884251828</c:v>
                </c:pt>
                <c:pt idx="6741">
                  <c:v>0.12022471910112301</c:v>
                </c:pt>
                <c:pt idx="6742">
                  <c:v>0.120242553950419</c:v>
                </c:pt>
                <c:pt idx="6743">
                  <c:v>0.120260388799714</c:v>
                </c:pt>
                <c:pt idx="6744">
                  <c:v>0.12027822364901</c:v>
                </c:pt>
                <c:pt idx="6745">
                  <c:v>0.12029605849830501</c:v>
                </c:pt>
                <c:pt idx="6746">
                  <c:v>0.12031389334760099</c:v>
                </c:pt>
                <c:pt idx="6747">
                  <c:v>0.120331728196896</c:v>
                </c:pt>
                <c:pt idx="6748">
                  <c:v>0.120349563046192</c:v>
                </c:pt>
                <c:pt idx="6749">
                  <c:v>0.120367397895487</c:v>
                </c:pt>
                <c:pt idx="6750">
                  <c:v>0.12038523274478299</c:v>
                </c:pt>
                <c:pt idx="6751">
                  <c:v>0.120403067594078</c:v>
                </c:pt>
                <c:pt idx="6752">
                  <c:v>0.120420902443374</c:v>
                </c:pt>
                <c:pt idx="6753">
                  <c:v>0.120438737292669</c:v>
                </c:pt>
                <c:pt idx="6754">
                  <c:v>0.12045657214196499</c:v>
                </c:pt>
                <c:pt idx="6755">
                  <c:v>0.12047440699126</c:v>
                </c:pt>
                <c:pt idx="6756">
                  <c:v>0.120492241840556</c:v>
                </c:pt>
                <c:pt idx="6757">
                  <c:v>0.120510076689851</c:v>
                </c:pt>
                <c:pt idx="6758">
                  <c:v>0.12052791153914701</c:v>
                </c:pt>
                <c:pt idx="6759">
                  <c:v>0.120545746388443</c:v>
                </c:pt>
                <c:pt idx="6760">
                  <c:v>0.120563581237738</c:v>
                </c:pt>
                <c:pt idx="6761">
                  <c:v>0.120581416087034</c:v>
                </c:pt>
                <c:pt idx="6762">
                  <c:v>0.12059925093632901</c:v>
                </c:pt>
                <c:pt idx="6763">
                  <c:v>0.12061708578562499</c:v>
                </c:pt>
                <c:pt idx="6764">
                  <c:v>0.12063492063492</c:v>
                </c:pt>
                <c:pt idx="6765">
                  <c:v>0.120652755484216</c:v>
                </c:pt>
                <c:pt idx="6766">
                  <c:v>0.120670590333511</c:v>
                </c:pt>
                <c:pt idx="6767">
                  <c:v>0.12068842518280699</c:v>
                </c:pt>
                <c:pt idx="6768">
                  <c:v>0.120706260032102</c:v>
                </c:pt>
                <c:pt idx="6769">
                  <c:v>0.120724094881398</c:v>
                </c:pt>
                <c:pt idx="6770">
                  <c:v>0.120741929730693</c:v>
                </c:pt>
                <c:pt idx="6771">
                  <c:v>0.12075976457998901</c:v>
                </c:pt>
                <c:pt idx="6772">
                  <c:v>0.120777599429284</c:v>
                </c:pt>
                <c:pt idx="6773">
                  <c:v>0.12079543427858</c:v>
                </c:pt>
                <c:pt idx="6774">
                  <c:v>0.120813269127875</c:v>
                </c:pt>
                <c:pt idx="6775">
                  <c:v>0.12083110397717101</c:v>
                </c:pt>
                <c:pt idx="6776">
                  <c:v>0.120848938826466</c:v>
                </c:pt>
                <c:pt idx="6777">
                  <c:v>0.120866773675762</c:v>
                </c:pt>
                <c:pt idx="6778">
                  <c:v>0.120884608525057</c:v>
                </c:pt>
                <c:pt idx="6779">
                  <c:v>0.12090244337435301</c:v>
                </c:pt>
                <c:pt idx="6780">
                  <c:v>0.12092027822364899</c:v>
                </c:pt>
                <c:pt idx="6781">
                  <c:v>0.120938113072944</c:v>
                </c:pt>
                <c:pt idx="6782">
                  <c:v>0.12095594792224</c:v>
                </c:pt>
                <c:pt idx="6783">
                  <c:v>0.120973782771535</c:v>
                </c:pt>
                <c:pt idx="6784">
                  <c:v>0.12099161762083099</c:v>
                </c:pt>
                <c:pt idx="6785">
                  <c:v>0.121009452470126</c:v>
                </c:pt>
                <c:pt idx="6786">
                  <c:v>0.121027287319422</c:v>
                </c:pt>
                <c:pt idx="6787">
                  <c:v>0.121045122168717</c:v>
                </c:pt>
                <c:pt idx="6788">
                  <c:v>0.12106295701801301</c:v>
                </c:pt>
                <c:pt idx="6789">
                  <c:v>0.121080791867308</c:v>
                </c:pt>
                <c:pt idx="6790">
                  <c:v>0.121098626716604</c:v>
                </c:pt>
                <c:pt idx="6791">
                  <c:v>0.121116461565899</c:v>
                </c:pt>
                <c:pt idx="6792">
                  <c:v>0.12113429641519501</c:v>
                </c:pt>
                <c:pt idx="6793">
                  <c:v>0.12115213126449</c:v>
                </c:pt>
                <c:pt idx="6794">
                  <c:v>0.121169966113786</c:v>
                </c:pt>
                <c:pt idx="6795">
                  <c:v>0.121187800963081</c:v>
                </c:pt>
                <c:pt idx="6796">
                  <c:v>0.12120563581237701</c:v>
                </c:pt>
                <c:pt idx="6797">
                  <c:v>0.12122347066167199</c:v>
                </c:pt>
                <c:pt idx="6798">
                  <c:v>0.121241305510968</c:v>
                </c:pt>
                <c:pt idx="6799">
                  <c:v>0.121259140360263</c:v>
                </c:pt>
                <c:pt idx="6800">
                  <c:v>0.121276975209559</c:v>
                </c:pt>
                <c:pt idx="6801">
                  <c:v>0.12129481005885499</c:v>
                </c:pt>
                <c:pt idx="6802">
                  <c:v>0.12131264490815</c:v>
                </c:pt>
                <c:pt idx="6803">
                  <c:v>0.121330479757446</c:v>
                </c:pt>
                <c:pt idx="6804">
                  <c:v>0.121348314606741</c:v>
                </c:pt>
                <c:pt idx="6805">
                  <c:v>0.12136614945603701</c:v>
                </c:pt>
                <c:pt idx="6806">
                  <c:v>0.121383984305332</c:v>
                </c:pt>
                <c:pt idx="6807">
                  <c:v>0.121401819154628</c:v>
                </c:pt>
                <c:pt idx="6808">
                  <c:v>0.121419654003923</c:v>
                </c:pt>
                <c:pt idx="6809">
                  <c:v>0.12143748885321901</c:v>
                </c:pt>
                <c:pt idx="6810">
                  <c:v>0.121455323702514</c:v>
                </c:pt>
                <c:pt idx="6811">
                  <c:v>0.12147315855181</c:v>
                </c:pt>
                <c:pt idx="6812">
                  <c:v>0.121490993401105</c:v>
                </c:pt>
                <c:pt idx="6813">
                  <c:v>0.121508828250401</c:v>
                </c:pt>
                <c:pt idx="6814">
                  <c:v>0.12152666309969599</c:v>
                </c:pt>
                <c:pt idx="6815">
                  <c:v>0.121544497948992</c:v>
                </c:pt>
                <c:pt idx="6816">
                  <c:v>0.121562332798287</c:v>
                </c:pt>
                <c:pt idx="6817">
                  <c:v>0.121580167647583</c:v>
                </c:pt>
                <c:pt idx="6818">
                  <c:v>0.12159800249687799</c:v>
                </c:pt>
                <c:pt idx="6819">
                  <c:v>0.121615837346174</c:v>
                </c:pt>
                <c:pt idx="6820">
                  <c:v>0.121633672195469</c:v>
                </c:pt>
                <c:pt idx="6821">
                  <c:v>0.121651507044765</c:v>
                </c:pt>
                <c:pt idx="6822">
                  <c:v>0.12166934189406001</c:v>
                </c:pt>
                <c:pt idx="6823">
                  <c:v>0.121687176743356</c:v>
                </c:pt>
                <c:pt idx="6824">
                  <c:v>0.121705011592652</c:v>
                </c:pt>
                <c:pt idx="6825">
                  <c:v>0.121722846441947</c:v>
                </c:pt>
                <c:pt idx="6826">
                  <c:v>0.12174068129124301</c:v>
                </c:pt>
                <c:pt idx="6827">
                  <c:v>0.121758516140538</c:v>
                </c:pt>
                <c:pt idx="6828">
                  <c:v>0.121776350989834</c:v>
                </c:pt>
                <c:pt idx="6829">
                  <c:v>0.121794185839129</c:v>
                </c:pt>
                <c:pt idx="6830">
                  <c:v>0.121812020688425</c:v>
                </c:pt>
                <c:pt idx="6831">
                  <c:v>0.12182985553771999</c:v>
                </c:pt>
                <c:pt idx="6832">
                  <c:v>0.121847690387016</c:v>
                </c:pt>
                <c:pt idx="6833">
                  <c:v>0.121865525236311</c:v>
                </c:pt>
                <c:pt idx="6834">
                  <c:v>0.121883360085607</c:v>
                </c:pt>
                <c:pt idx="6835">
                  <c:v>0.12190119493490199</c:v>
                </c:pt>
                <c:pt idx="6836">
                  <c:v>0.121919029784198</c:v>
                </c:pt>
                <c:pt idx="6837">
                  <c:v>0.121936864633493</c:v>
                </c:pt>
                <c:pt idx="6838">
                  <c:v>0.121954699482789</c:v>
                </c:pt>
                <c:pt idx="6839">
                  <c:v>0.12197253433208401</c:v>
                </c:pt>
                <c:pt idx="6840">
                  <c:v>0.12199036918138</c:v>
                </c:pt>
                <c:pt idx="6841">
                  <c:v>0.122008204030675</c:v>
                </c:pt>
                <c:pt idx="6842">
                  <c:v>0.122026038879971</c:v>
                </c:pt>
                <c:pt idx="6843">
                  <c:v>0.12204387372926601</c:v>
                </c:pt>
                <c:pt idx="6844">
                  <c:v>0.12206170857856199</c:v>
                </c:pt>
                <c:pt idx="6845">
                  <c:v>0.122079543427858</c:v>
                </c:pt>
                <c:pt idx="6846">
                  <c:v>0.122097378277153</c:v>
                </c:pt>
                <c:pt idx="6847">
                  <c:v>0.122115213126449</c:v>
                </c:pt>
                <c:pt idx="6848">
                  <c:v>0.12213304797574399</c:v>
                </c:pt>
                <c:pt idx="6849">
                  <c:v>0.12215088282504</c:v>
                </c:pt>
                <c:pt idx="6850">
                  <c:v>0.122168717674335</c:v>
                </c:pt>
                <c:pt idx="6851">
                  <c:v>0.122186552523631</c:v>
                </c:pt>
                <c:pt idx="6852">
                  <c:v>0.12220438737292599</c:v>
                </c:pt>
                <c:pt idx="6853">
                  <c:v>0.122222222222222</c:v>
                </c:pt>
                <c:pt idx="6854">
                  <c:v>0.122240057071517</c:v>
                </c:pt>
                <c:pt idx="6855">
                  <c:v>0.122257891920813</c:v>
                </c:pt>
                <c:pt idx="6856">
                  <c:v>0.12227572677010801</c:v>
                </c:pt>
                <c:pt idx="6857">
                  <c:v>0.122293561619404</c:v>
                </c:pt>
                <c:pt idx="6858">
                  <c:v>0.122311396468699</c:v>
                </c:pt>
                <c:pt idx="6859">
                  <c:v>0.122329231317995</c:v>
                </c:pt>
                <c:pt idx="6860">
                  <c:v>0.12234706616729001</c:v>
                </c:pt>
                <c:pt idx="6861">
                  <c:v>0.12236490101658599</c:v>
                </c:pt>
                <c:pt idx="6862">
                  <c:v>0.122382735865881</c:v>
                </c:pt>
                <c:pt idx="6863">
                  <c:v>0.122400570715177</c:v>
                </c:pt>
                <c:pt idx="6864">
                  <c:v>0.122418405564472</c:v>
                </c:pt>
                <c:pt idx="6865">
                  <c:v>0.12243624041376799</c:v>
                </c:pt>
                <c:pt idx="6866">
                  <c:v>0.122454075263064</c:v>
                </c:pt>
                <c:pt idx="6867">
                  <c:v>0.122471910112359</c:v>
                </c:pt>
                <c:pt idx="6868">
                  <c:v>0.122489744961655</c:v>
                </c:pt>
                <c:pt idx="6869">
                  <c:v>0.12250757981095001</c:v>
                </c:pt>
                <c:pt idx="6870">
                  <c:v>0.122525414660246</c:v>
                </c:pt>
                <c:pt idx="6871">
                  <c:v>0.122543249509541</c:v>
                </c:pt>
                <c:pt idx="6872">
                  <c:v>0.122561084358837</c:v>
                </c:pt>
                <c:pt idx="6873">
                  <c:v>0.12257891920813201</c:v>
                </c:pt>
                <c:pt idx="6874">
                  <c:v>0.122596754057428</c:v>
                </c:pt>
                <c:pt idx="6875">
                  <c:v>0.122614588906723</c:v>
                </c:pt>
                <c:pt idx="6876">
                  <c:v>0.122632423756019</c:v>
                </c:pt>
                <c:pt idx="6877">
                  <c:v>0.12265025860531401</c:v>
                </c:pt>
                <c:pt idx="6878">
                  <c:v>0.12266809345460999</c:v>
                </c:pt>
                <c:pt idx="6879">
                  <c:v>0.122685928303905</c:v>
                </c:pt>
                <c:pt idx="6880">
                  <c:v>0.122703763153201</c:v>
                </c:pt>
                <c:pt idx="6881">
                  <c:v>0.122721598002496</c:v>
                </c:pt>
                <c:pt idx="6882">
                  <c:v>0.12273943285179199</c:v>
                </c:pt>
                <c:pt idx="6883">
                  <c:v>0.122757267701087</c:v>
                </c:pt>
                <c:pt idx="6884">
                  <c:v>0.122775102550383</c:v>
                </c:pt>
                <c:pt idx="6885">
                  <c:v>0.122792937399678</c:v>
                </c:pt>
                <c:pt idx="6886">
                  <c:v>0.12281077224897401</c:v>
                </c:pt>
                <c:pt idx="6887">
                  <c:v>0.12282860709827</c:v>
                </c:pt>
                <c:pt idx="6888">
                  <c:v>0.122846441947565</c:v>
                </c:pt>
                <c:pt idx="6889">
                  <c:v>0.122864276796861</c:v>
                </c:pt>
                <c:pt idx="6890">
                  <c:v>0.12288211164615601</c:v>
                </c:pt>
                <c:pt idx="6891">
                  <c:v>0.12289994649545199</c:v>
                </c:pt>
                <c:pt idx="6892">
                  <c:v>0.122917781344747</c:v>
                </c:pt>
                <c:pt idx="6893">
                  <c:v>0.122935616194043</c:v>
                </c:pt>
                <c:pt idx="6894">
                  <c:v>0.12295345104333801</c:v>
                </c:pt>
                <c:pt idx="6895">
                  <c:v>0.12297128589263399</c:v>
                </c:pt>
                <c:pt idx="6896">
                  <c:v>0.122989120741929</c:v>
                </c:pt>
                <c:pt idx="6897">
                  <c:v>0.123006955591225</c:v>
                </c:pt>
                <c:pt idx="6898">
                  <c:v>0.12302479044052</c:v>
                </c:pt>
                <c:pt idx="6899">
                  <c:v>0.12304262528981599</c:v>
                </c:pt>
                <c:pt idx="6900">
                  <c:v>0.123060460139111</c:v>
                </c:pt>
                <c:pt idx="6901">
                  <c:v>0.123078294988407</c:v>
                </c:pt>
                <c:pt idx="6902">
                  <c:v>0.123096129837702</c:v>
                </c:pt>
                <c:pt idx="6903">
                  <c:v>0.12311396468699801</c:v>
                </c:pt>
                <c:pt idx="6904">
                  <c:v>0.123131799536293</c:v>
                </c:pt>
                <c:pt idx="6905">
                  <c:v>0.123149634385589</c:v>
                </c:pt>
                <c:pt idx="6906">
                  <c:v>0.123167469234884</c:v>
                </c:pt>
                <c:pt idx="6907">
                  <c:v>0.12318530408418001</c:v>
                </c:pt>
                <c:pt idx="6908">
                  <c:v>0.12320313893347599</c:v>
                </c:pt>
                <c:pt idx="6909">
                  <c:v>0.123220973782771</c:v>
                </c:pt>
                <c:pt idx="6910">
                  <c:v>0.123238808632067</c:v>
                </c:pt>
                <c:pt idx="6911">
                  <c:v>0.123256643481362</c:v>
                </c:pt>
                <c:pt idx="6912">
                  <c:v>0.12327447833065799</c:v>
                </c:pt>
                <c:pt idx="6913">
                  <c:v>0.123292313179953</c:v>
                </c:pt>
                <c:pt idx="6914">
                  <c:v>0.123310148029249</c:v>
                </c:pt>
                <c:pt idx="6915">
                  <c:v>0.123327982878544</c:v>
                </c:pt>
                <c:pt idx="6916">
                  <c:v>0.12334581772783999</c:v>
                </c:pt>
                <c:pt idx="6917">
                  <c:v>0.123363652577135</c:v>
                </c:pt>
                <c:pt idx="6918">
                  <c:v>0.123381487426431</c:v>
                </c:pt>
                <c:pt idx="6919">
                  <c:v>0.123399322275726</c:v>
                </c:pt>
                <c:pt idx="6920">
                  <c:v>0.12341715712502201</c:v>
                </c:pt>
                <c:pt idx="6921">
                  <c:v>0.123434991974317</c:v>
                </c:pt>
                <c:pt idx="6922">
                  <c:v>0.123452826823613</c:v>
                </c:pt>
                <c:pt idx="6923">
                  <c:v>0.123470661672908</c:v>
                </c:pt>
                <c:pt idx="6924">
                  <c:v>0.12348849652220401</c:v>
                </c:pt>
                <c:pt idx="6925">
                  <c:v>0.123506331371499</c:v>
                </c:pt>
                <c:pt idx="6926">
                  <c:v>0.123524166220795</c:v>
                </c:pt>
                <c:pt idx="6927">
                  <c:v>0.12354200107009</c:v>
                </c:pt>
                <c:pt idx="6928">
                  <c:v>0.123559835919386</c:v>
                </c:pt>
                <c:pt idx="6929">
                  <c:v>0.12357767076868199</c:v>
                </c:pt>
                <c:pt idx="6930">
                  <c:v>0.123595505617977</c:v>
                </c:pt>
                <c:pt idx="6931">
                  <c:v>0.123613340467273</c:v>
                </c:pt>
                <c:pt idx="6932">
                  <c:v>0.123631175316568</c:v>
                </c:pt>
                <c:pt idx="6933">
                  <c:v>0.12364901016586401</c:v>
                </c:pt>
                <c:pt idx="6934">
                  <c:v>0.123666845015159</c:v>
                </c:pt>
                <c:pt idx="6935">
                  <c:v>0.123684679864455</c:v>
                </c:pt>
                <c:pt idx="6936">
                  <c:v>0.12370251471375</c:v>
                </c:pt>
                <c:pt idx="6937">
                  <c:v>0.12372034956304601</c:v>
                </c:pt>
                <c:pt idx="6938">
                  <c:v>0.123738184412341</c:v>
                </c:pt>
                <c:pt idx="6939">
                  <c:v>0.123756019261637</c:v>
                </c:pt>
                <c:pt idx="6940">
                  <c:v>0.123773854110932</c:v>
                </c:pt>
                <c:pt idx="6941">
                  <c:v>0.12379168896022801</c:v>
                </c:pt>
                <c:pt idx="6942">
                  <c:v>0.12380952380952299</c:v>
                </c:pt>
                <c:pt idx="6943">
                  <c:v>0.123827358658819</c:v>
                </c:pt>
                <c:pt idx="6944">
                  <c:v>0.123845193508114</c:v>
                </c:pt>
                <c:pt idx="6945">
                  <c:v>0.12386302835741</c:v>
                </c:pt>
                <c:pt idx="6946">
                  <c:v>0.12388086320670499</c:v>
                </c:pt>
                <c:pt idx="6947">
                  <c:v>0.123898698056001</c:v>
                </c:pt>
                <c:pt idx="6948">
                  <c:v>0.123916532905296</c:v>
                </c:pt>
                <c:pt idx="6949">
                  <c:v>0.123934367754592</c:v>
                </c:pt>
                <c:pt idx="6950">
                  <c:v>0.12395220260388699</c:v>
                </c:pt>
                <c:pt idx="6951">
                  <c:v>0.123970037453183</c:v>
                </c:pt>
                <c:pt idx="6952">
                  <c:v>0.123987872302479</c:v>
                </c:pt>
                <c:pt idx="6953">
                  <c:v>0.124005707151774</c:v>
                </c:pt>
                <c:pt idx="6954">
                  <c:v>0.12402354200107001</c:v>
                </c:pt>
                <c:pt idx="6955">
                  <c:v>0.124041376850365</c:v>
                </c:pt>
                <c:pt idx="6956">
                  <c:v>0.124059211699661</c:v>
                </c:pt>
                <c:pt idx="6957">
                  <c:v>0.124077046548956</c:v>
                </c:pt>
                <c:pt idx="6958">
                  <c:v>0.124094881398252</c:v>
                </c:pt>
                <c:pt idx="6959">
                  <c:v>0.12411271624754699</c:v>
                </c:pt>
                <c:pt idx="6960">
                  <c:v>0.124130551096843</c:v>
                </c:pt>
                <c:pt idx="6961">
                  <c:v>0.124148385946138</c:v>
                </c:pt>
                <c:pt idx="6962">
                  <c:v>0.124166220795434</c:v>
                </c:pt>
                <c:pt idx="6963">
                  <c:v>0.12418405564472899</c:v>
                </c:pt>
                <c:pt idx="6964">
                  <c:v>0.124201890494025</c:v>
                </c:pt>
                <c:pt idx="6965">
                  <c:v>0.12421972534332</c:v>
                </c:pt>
                <c:pt idx="6966">
                  <c:v>0.124237560192616</c:v>
                </c:pt>
                <c:pt idx="6967">
                  <c:v>0.12425539504191099</c:v>
                </c:pt>
                <c:pt idx="6968">
                  <c:v>0.124273229891207</c:v>
                </c:pt>
                <c:pt idx="6969">
                  <c:v>0.124291064740502</c:v>
                </c:pt>
                <c:pt idx="6970">
                  <c:v>0.124308899589798</c:v>
                </c:pt>
                <c:pt idx="6971">
                  <c:v>0.12432673443909301</c:v>
                </c:pt>
                <c:pt idx="6972">
                  <c:v>0.124344569288389</c:v>
                </c:pt>
                <c:pt idx="6973">
                  <c:v>0.124362404137685</c:v>
                </c:pt>
                <c:pt idx="6974">
                  <c:v>0.12438023898698</c:v>
                </c:pt>
                <c:pt idx="6975">
                  <c:v>0.124398073836276</c:v>
                </c:pt>
                <c:pt idx="6976">
                  <c:v>0.12441590868557099</c:v>
                </c:pt>
                <c:pt idx="6977">
                  <c:v>0.124433743534867</c:v>
                </c:pt>
                <c:pt idx="6978">
                  <c:v>0.124451578384162</c:v>
                </c:pt>
                <c:pt idx="6979">
                  <c:v>0.124469413233458</c:v>
                </c:pt>
                <c:pt idx="6980">
                  <c:v>0.12448724808275299</c:v>
                </c:pt>
                <c:pt idx="6981">
                  <c:v>0.124505082932049</c:v>
                </c:pt>
                <c:pt idx="6982">
                  <c:v>0.124522917781344</c:v>
                </c:pt>
                <c:pt idx="6983">
                  <c:v>0.12454075263064</c:v>
                </c:pt>
                <c:pt idx="6984">
                  <c:v>0.12455858747993501</c:v>
                </c:pt>
                <c:pt idx="6985">
                  <c:v>0.124576422329231</c:v>
                </c:pt>
                <c:pt idx="6986">
                  <c:v>0.124594257178526</c:v>
                </c:pt>
                <c:pt idx="6987">
                  <c:v>0.124612092027822</c:v>
                </c:pt>
                <c:pt idx="6988">
                  <c:v>0.12462992687711701</c:v>
                </c:pt>
                <c:pt idx="6989">
                  <c:v>0.124647761726413</c:v>
                </c:pt>
                <c:pt idx="6990">
                  <c:v>0.124665596575708</c:v>
                </c:pt>
                <c:pt idx="6991">
                  <c:v>0.124683431425004</c:v>
                </c:pt>
                <c:pt idx="6992">
                  <c:v>0.12470126627429901</c:v>
                </c:pt>
                <c:pt idx="6993">
                  <c:v>0.12471910112359499</c:v>
                </c:pt>
                <c:pt idx="6994">
                  <c:v>0.124736935972891</c:v>
                </c:pt>
                <c:pt idx="6995">
                  <c:v>0.124754770822186</c:v>
                </c:pt>
                <c:pt idx="6996">
                  <c:v>0.124772605671482</c:v>
                </c:pt>
                <c:pt idx="6997">
                  <c:v>0.12479044052077699</c:v>
                </c:pt>
                <c:pt idx="6998">
                  <c:v>0.124808275370073</c:v>
                </c:pt>
                <c:pt idx="6999">
                  <c:v>0.124826110219368</c:v>
                </c:pt>
                <c:pt idx="7000">
                  <c:v>0.124843945068664</c:v>
                </c:pt>
                <c:pt idx="7001">
                  <c:v>0.12486177991795901</c:v>
                </c:pt>
                <c:pt idx="7002">
                  <c:v>0.124879614767255</c:v>
                </c:pt>
                <c:pt idx="7003">
                  <c:v>0.12489744961655</c:v>
                </c:pt>
                <c:pt idx="7004">
                  <c:v>0.124915284465846</c:v>
                </c:pt>
                <c:pt idx="7005">
                  <c:v>0.12493311931514101</c:v>
                </c:pt>
                <c:pt idx="7006">
                  <c:v>0.12495095416443699</c:v>
                </c:pt>
                <c:pt idx="7007">
                  <c:v>0.124968789013732</c:v>
                </c:pt>
                <c:pt idx="7008">
                  <c:v>0.124986623863028</c:v>
                </c:pt>
                <c:pt idx="7009">
                  <c:v>0.12500445871232299</c:v>
                </c:pt>
                <c:pt idx="7010">
                  <c:v>0.12502229356161901</c:v>
                </c:pt>
                <c:pt idx="7011">
                  <c:v>0.125040128410914</c:v>
                </c:pt>
                <c:pt idx="7012">
                  <c:v>0.12505796326020999</c:v>
                </c:pt>
                <c:pt idx="7013">
                  <c:v>0.125075798109505</c:v>
                </c:pt>
                <c:pt idx="7014">
                  <c:v>0.12509363295880099</c:v>
                </c:pt>
                <c:pt idx="7015">
                  <c:v>0.12511146780809701</c:v>
                </c:pt>
                <c:pt idx="7016">
                  <c:v>0.125129302657392</c:v>
                </c:pt>
                <c:pt idx="7017">
                  <c:v>0.12514713750668799</c:v>
                </c:pt>
                <c:pt idx="7018">
                  <c:v>0.12516497235598301</c:v>
                </c:pt>
                <c:pt idx="7019">
                  <c:v>0.125182807205279</c:v>
                </c:pt>
                <c:pt idx="7020">
                  <c:v>0.12520064205457401</c:v>
                </c:pt>
                <c:pt idx="7021">
                  <c:v>0.12521847690387</c:v>
                </c:pt>
                <c:pt idx="7022">
                  <c:v>0.12523631175316499</c:v>
                </c:pt>
                <c:pt idx="7023">
                  <c:v>0.12525414660246101</c:v>
                </c:pt>
                <c:pt idx="7024">
                  <c:v>0.125271981451756</c:v>
                </c:pt>
                <c:pt idx="7025">
                  <c:v>0.12528981630105199</c:v>
                </c:pt>
                <c:pt idx="7026">
                  <c:v>0.125307651150347</c:v>
                </c:pt>
                <c:pt idx="7027">
                  <c:v>0.12532548599964299</c:v>
                </c:pt>
                <c:pt idx="7028">
                  <c:v>0.12534332084893801</c:v>
                </c:pt>
                <c:pt idx="7029">
                  <c:v>0.125361155698234</c:v>
                </c:pt>
                <c:pt idx="7030">
                  <c:v>0.12537899054752899</c:v>
                </c:pt>
                <c:pt idx="7031">
                  <c:v>0.12539682539682501</c:v>
                </c:pt>
                <c:pt idx="7032">
                  <c:v>0.12541466024612</c:v>
                </c:pt>
                <c:pt idx="7033">
                  <c:v>0.12543249509541601</c:v>
                </c:pt>
                <c:pt idx="7034">
                  <c:v>0.125450329944711</c:v>
                </c:pt>
                <c:pt idx="7035">
                  <c:v>0.12546816479400699</c:v>
                </c:pt>
                <c:pt idx="7036">
                  <c:v>0.12548599964330301</c:v>
                </c:pt>
                <c:pt idx="7037">
                  <c:v>0.125503834492598</c:v>
                </c:pt>
                <c:pt idx="7038">
                  <c:v>0.12552166934189399</c:v>
                </c:pt>
                <c:pt idx="7039">
                  <c:v>0.12553950419118901</c:v>
                </c:pt>
                <c:pt idx="7040">
                  <c:v>0.12555733904048499</c:v>
                </c:pt>
                <c:pt idx="7041">
                  <c:v>0.12557517388978001</c:v>
                </c:pt>
                <c:pt idx="7042">
                  <c:v>0.125593008739076</c:v>
                </c:pt>
                <c:pt idx="7043">
                  <c:v>0.12561084358837099</c:v>
                </c:pt>
                <c:pt idx="7044">
                  <c:v>0.12562867843766701</c:v>
                </c:pt>
                <c:pt idx="7045">
                  <c:v>0.125646513286962</c:v>
                </c:pt>
                <c:pt idx="7046">
                  <c:v>0.12566434813625799</c:v>
                </c:pt>
                <c:pt idx="7047">
                  <c:v>0.125682182985553</c:v>
                </c:pt>
                <c:pt idx="7048">
                  <c:v>0.12570001783484899</c:v>
                </c:pt>
                <c:pt idx="7049">
                  <c:v>0.12571785268414401</c:v>
                </c:pt>
                <c:pt idx="7050">
                  <c:v>0.12573568753344</c:v>
                </c:pt>
                <c:pt idx="7051">
                  <c:v>0.12575352238273499</c:v>
                </c:pt>
                <c:pt idx="7052">
                  <c:v>0.12577135723203101</c:v>
                </c:pt>
                <c:pt idx="7053">
                  <c:v>0.125789192081326</c:v>
                </c:pt>
                <c:pt idx="7054">
                  <c:v>0.12580702693062201</c:v>
                </c:pt>
                <c:pt idx="7055">
                  <c:v>0.125824861779917</c:v>
                </c:pt>
                <c:pt idx="7056">
                  <c:v>0.12584269662921299</c:v>
                </c:pt>
                <c:pt idx="7057">
                  <c:v>0.12586053147850901</c:v>
                </c:pt>
                <c:pt idx="7058">
                  <c:v>0.125878366327804</c:v>
                </c:pt>
                <c:pt idx="7059">
                  <c:v>0.12589620117709999</c:v>
                </c:pt>
                <c:pt idx="7060">
                  <c:v>0.125914036026395</c:v>
                </c:pt>
                <c:pt idx="7061">
                  <c:v>0.12593187087569099</c:v>
                </c:pt>
                <c:pt idx="7062">
                  <c:v>0.12594970572498601</c:v>
                </c:pt>
                <c:pt idx="7063">
                  <c:v>0.125967540574282</c:v>
                </c:pt>
                <c:pt idx="7064">
                  <c:v>0.12598537542357699</c:v>
                </c:pt>
                <c:pt idx="7065">
                  <c:v>0.12600321027287301</c:v>
                </c:pt>
                <c:pt idx="7066">
                  <c:v>0.126021045122168</c:v>
                </c:pt>
                <c:pt idx="7067">
                  <c:v>0.12603887997146401</c:v>
                </c:pt>
                <c:pt idx="7068">
                  <c:v>0.126056714820759</c:v>
                </c:pt>
                <c:pt idx="7069">
                  <c:v>0.12607454967005499</c:v>
                </c:pt>
                <c:pt idx="7070">
                  <c:v>0.12609238451935001</c:v>
                </c:pt>
                <c:pt idx="7071">
                  <c:v>0.126110219368646</c:v>
                </c:pt>
                <c:pt idx="7072">
                  <c:v>0.12612805421794099</c:v>
                </c:pt>
                <c:pt idx="7073">
                  <c:v>0.126145889067237</c:v>
                </c:pt>
                <c:pt idx="7074">
                  <c:v>0.12616372391653199</c:v>
                </c:pt>
                <c:pt idx="7075">
                  <c:v>0.12618155876582801</c:v>
                </c:pt>
                <c:pt idx="7076">
                  <c:v>0.126199393615123</c:v>
                </c:pt>
                <c:pt idx="7077">
                  <c:v>0.12621722846441899</c:v>
                </c:pt>
                <c:pt idx="7078">
                  <c:v>0.12623506331371501</c:v>
                </c:pt>
                <c:pt idx="7079">
                  <c:v>0.12625289816301</c:v>
                </c:pt>
                <c:pt idx="7080">
                  <c:v>0.12627073301230601</c:v>
                </c:pt>
                <c:pt idx="7081">
                  <c:v>0.126288567861601</c:v>
                </c:pt>
                <c:pt idx="7082">
                  <c:v>0.12630640271089699</c:v>
                </c:pt>
                <c:pt idx="7083">
                  <c:v>0.12632423756019201</c:v>
                </c:pt>
                <c:pt idx="7084">
                  <c:v>0.126342072409488</c:v>
                </c:pt>
                <c:pt idx="7085">
                  <c:v>0.12635990725878299</c:v>
                </c:pt>
                <c:pt idx="7086">
                  <c:v>0.12637774210807901</c:v>
                </c:pt>
                <c:pt idx="7087">
                  <c:v>0.126395576957374</c:v>
                </c:pt>
                <c:pt idx="7088">
                  <c:v>0.12641341180667001</c:v>
                </c:pt>
                <c:pt idx="7089">
                  <c:v>0.126431246655965</c:v>
                </c:pt>
                <c:pt idx="7090">
                  <c:v>0.12644908150526099</c:v>
                </c:pt>
                <c:pt idx="7091">
                  <c:v>0.12646691635455601</c:v>
                </c:pt>
                <c:pt idx="7092">
                  <c:v>0.126484751203852</c:v>
                </c:pt>
                <c:pt idx="7093">
                  <c:v>0.12650258605314699</c:v>
                </c:pt>
                <c:pt idx="7094">
                  <c:v>0.126520420902443</c:v>
                </c:pt>
                <c:pt idx="7095">
                  <c:v>0.12653825575173799</c:v>
                </c:pt>
                <c:pt idx="7096">
                  <c:v>0.12655609060103401</c:v>
                </c:pt>
                <c:pt idx="7097">
                  <c:v>0.126573925450329</c:v>
                </c:pt>
                <c:pt idx="7098">
                  <c:v>0.12659176029962499</c:v>
                </c:pt>
                <c:pt idx="7099">
                  <c:v>0.12660959514892001</c:v>
                </c:pt>
                <c:pt idx="7100">
                  <c:v>0.126627429998216</c:v>
                </c:pt>
                <c:pt idx="7101">
                  <c:v>0.12664526484751201</c:v>
                </c:pt>
                <c:pt idx="7102">
                  <c:v>0.126663099696807</c:v>
                </c:pt>
                <c:pt idx="7103">
                  <c:v>0.12668093454610299</c:v>
                </c:pt>
                <c:pt idx="7104">
                  <c:v>0.12669876939539801</c:v>
                </c:pt>
                <c:pt idx="7105">
                  <c:v>0.126716604244694</c:v>
                </c:pt>
                <c:pt idx="7106">
                  <c:v>0.12673443909398899</c:v>
                </c:pt>
                <c:pt idx="7107">
                  <c:v>0.126752273943285</c:v>
                </c:pt>
                <c:pt idx="7108">
                  <c:v>0.12677010879257999</c:v>
                </c:pt>
                <c:pt idx="7109">
                  <c:v>0.12678794364187601</c:v>
                </c:pt>
                <c:pt idx="7110">
                  <c:v>0.126805778491171</c:v>
                </c:pt>
                <c:pt idx="7111">
                  <c:v>0.12682361334046699</c:v>
                </c:pt>
                <c:pt idx="7112">
                  <c:v>0.12684144818976201</c:v>
                </c:pt>
                <c:pt idx="7113">
                  <c:v>0.126859283039058</c:v>
                </c:pt>
                <c:pt idx="7114">
                  <c:v>0.12687711788835301</c:v>
                </c:pt>
                <c:pt idx="7115">
                  <c:v>0.126894952737649</c:v>
                </c:pt>
                <c:pt idx="7116">
                  <c:v>0.12691278758694399</c:v>
                </c:pt>
                <c:pt idx="7117">
                  <c:v>0.12693062243624001</c:v>
                </c:pt>
                <c:pt idx="7118">
                  <c:v>0.126948457285535</c:v>
                </c:pt>
                <c:pt idx="7119">
                  <c:v>0.12696629213483099</c:v>
                </c:pt>
                <c:pt idx="7120">
                  <c:v>0.12698412698412601</c:v>
                </c:pt>
                <c:pt idx="7121">
                  <c:v>0.12700196183342199</c:v>
                </c:pt>
                <c:pt idx="7122">
                  <c:v>0.12701979668271801</c:v>
                </c:pt>
                <c:pt idx="7123">
                  <c:v>0.127037631532013</c:v>
                </c:pt>
                <c:pt idx="7124">
                  <c:v>0.12705546638130899</c:v>
                </c:pt>
                <c:pt idx="7125">
                  <c:v>0.12707330123060401</c:v>
                </c:pt>
                <c:pt idx="7126">
                  <c:v>0.1270911360799</c:v>
                </c:pt>
                <c:pt idx="7127">
                  <c:v>0.12710897092919499</c:v>
                </c:pt>
                <c:pt idx="7128">
                  <c:v>0.127126805778491</c:v>
                </c:pt>
                <c:pt idx="7129">
                  <c:v>0.12714464062778599</c:v>
                </c:pt>
                <c:pt idx="7130">
                  <c:v>0.12716247547708201</c:v>
                </c:pt>
                <c:pt idx="7131">
                  <c:v>0.127180310326377</c:v>
                </c:pt>
                <c:pt idx="7132">
                  <c:v>0.12719814517567299</c:v>
                </c:pt>
                <c:pt idx="7133">
                  <c:v>0.12721598002496801</c:v>
                </c:pt>
                <c:pt idx="7134">
                  <c:v>0.127233814874264</c:v>
                </c:pt>
                <c:pt idx="7135">
                  <c:v>0.12725164972355901</c:v>
                </c:pt>
                <c:pt idx="7136">
                  <c:v>0.127269484572855</c:v>
                </c:pt>
                <c:pt idx="7137">
                  <c:v>0.12728731942214999</c:v>
                </c:pt>
                <c:pt idx="7138">
                  <c:v>0.12730515427144601</c:v>
                </c:pt>
                <c:pt idx="7139">
                  <c:v>0.127322989120741</c:v>
                </c:pt>
                <c:pt idx="7140">
                  <c:v>0.12734082397003699</c:v>
                </c:pt>
                <c:pt idx="7141">
                  <c:v>0.127358658819332</c:v>
                </c:pt>
                <c:pt idx="7142">
                  <c:v>0.12737649366862799</c:v>
                </c:pt>
                <c:pt idx="7143">
                  <c:v>0.12739432851792401</c:v>
                </c:pt>
                <c:pt idx="7144">
                  <c:v>0.127412163367219</c:v>
                </c:pt>
                <c:pt idx="7145">
                  <c:v>0.12742999821651499</c:v>
                </c:pt>
                <c:pt idx="7146">
                  <c:v>0.12744783306581001</c:v>
                </c:pt>
                <c:pt idx="7147">
                  <c:v>0.127465667915106</c:v>
                </c:pt>
                <c:pt idx="7148">
                  <c:v>0.12748350276440101</c:v>
                </c:pt>
                <c:pt idx="7149">
                  <c:v>0.127501337613697</c:v>
                </c:pt>
                <c:pt idx="7150">
                  <c:v>0.12751917246299199</c:v>
                </c:pt>
                <c:pt idx="7151">
                  <c:v>0.12753700731228801</c:v>
                </c:pt>
                <c:pt idx="7152">
                  <c:v>0.127554842161583</c:v>
                </c:pt>
                <c:pt idx="7153">
                  <c:v>0.12757267701087899</c:v>
                </c:pt>
                <c:pt idx="7154">
                  <c:v>0.12759051186017401</c:v>
                </c:pt>
                <c:pt idx="7155">
                  <c:v>0.12760834670946999</c:v>
                </c:pt>
                <c:pt idx="7156">
                  <c:v>0.12762618155876501</c:v>
                </c:pt>
                <c:pt idx="7157">
                  <c:v>0.127644016408061</c:v>
                </c:pt>
                <c:pt idx="7158">
                  <c:v>0.12766185125735599</c:v>
                </c:pt>
                <c:pt idx="7159">
                  <c:v>0.12767968610665201</c:v>
                </c:pt>
                <c:pt idx="7160">
                  <c:v>0.127697520955947</c:v>
                </c:pt>
                <c:pt idx="7161">
                  <c:v>0.12771535580524301</c:v>
                </c:pt>
                <c:pt idx="7162">
                  <c:v>0.127733190654538</c:v>
                </c:pt>
                <c:pt idx="7163">
                  <c:v>0.12775102550383399</c:v>
                </c:pt>
                <c:pt idx="7164">
                  <c:v>0.12776886035313001</c:v>
                </c:pt>
                <c:pt idx="7165">
                  <c:v>0.127786695202425</c:v>
                </c:pt>
                <c:pt idx="7166">
                  <c:v>0.12780453005172099</c:v>
                </c:pt>
                <c:pt idx="7167">
                  <c:v>0.12782236490101601</c:v>
                </c:pt>
                <c:pt idx="7168">
                  <c:v>0.12784019975031199</c:v>
                </c:pt>
                <c:pt idx="7169">
                  <c:v>0.12785803459960701</c:v>
                </c:pt>
                <c:pt idx="7170">
                  <c:v>0.127875869448903</c:v>
                </c:pt>
                <c:pt idx="7171">
                  <c:v>0.12789370429819799</c:v>
                </c:pt>
                <c:pt idx="7172">
                  <c:v>0.12791153914749401</c:v>
                </c:pt>
                <c:pt idx="7173">
                  <c:v>0.127929373996789</c:v>
                </c:pt>
                <c:pt idx="7174">
                  <c:v>0.12794720884608499</c:v>
                </c:pt>
                <c:pt idx="7175">
                  <c:v>0.12796504369538</c:v>
                </c:pt>
                <c:pt idx="7176">
                  <c:v>0.12798287854467599</c:v>
                </c:pt>
                <c:pt idx="7177">
                  <c:v>0.12800071339397101</c:v>
                </c:pt>
                <c:pt idx="7178">
                  <c:v>0.128018548243267</c:v>
                </c:pt>
                <c:pt idx="7179">
                  <c:v>0.12803638309256199</c:v>
                </c:pt>
                <c:pt idx="7180">
                  <c:v>0.12805421794185801</c:v>
                </c:pt>
                <c:pt idx="7181">
                  <c:v>0.128072052791153</c:v>
                </c:pt>
                <c:pt idx="7182">
                  <c:v>0.12808988764044901</c:v>
                </c:pt>
                <c:pt idx="7183">
                  <c:v>0.128107722489744</c:v>
                </c:pt>
                <c:pt idx="7184">
                  <c:v>0.12812555733903999</c:v>
                </c:pt>
                <c:pt idx="7185">
                  <c:v>0.12814339218833601</c:v>
                </c:pt>
                <c:pt idx="7186">
                  <c:v>0.128161227037631</c:v>
                </c:pt>
                <c:pt idx="7187">
                  <c:v>0.12817906188692699</c:v>
                </c:pt>
                <c:pt idx="7188">
                  <c:v>0.128196896736222</c:v>
                </c:pt>
                <c:pt idx="7189">
                  <c:v>0.12821473158551799</c:v>
                </c:pt>
                <c:pt idx="7190">
                  <c:v>0.12823256643481301</c:v>
                </c:pt>
                <c:pt idx="7191">
                  <c:v>0.128250401284109</c:v>
                </c:pt>
                <c:pt idx="7192">
                  <c:v>0.12826823613340399</c:v>
                </c:pt>
                <c:pt idx="7193">
                  <c:v>0.12828607098270001</c:v>
                </c:pt>
                <c:pt idx="7194">
                  <c:v>0.128303905831995</c:v>
                </c:pt>
                <c:pt idx="7195">
                  <c:v>0.12832174068129101</c:v>
                </c:pt>
                <c:pt idx="7196">
                  <c:v>0.128339575530586</c:v>
                </c:pt>
                <c:pt idx="7197">
                  <c:v>0.12835741037988199</c:v>
                </c:pt>
                <c:pt idx="7198">
                  <c:v>0.12837524522917701</c:v>
                </c:pt>
                <c:pt idx="7199">
                  <c:v>0.128393080078473</c:v>
                </c:pt>
                <c:pt idx="7200">
                  <c:v>0.12841091492776799</c:v>
                </c:pt>
                <c:pt idx="7201">
                  <c:v>0.12842874977706401</c:v>
                </c:pt>
                <c:pt idx="7202">
                  <c:v>0.12844658462635899</c:v>
                </c:pt>
                <c:pt idx="7203">
                  <c:v>0.12846441947565501</c:v>
                </c:pt>
                <c:pt idx="7204">
                  <c:v>0.12848225432495</c:v>
                </c:pt>
                <c:pt idx="7205">
                  <c:v>0.12850008917424599</c:v>
                </c:pt>
                <c:pt idx="7206">
                  <c:v>0.12851792402354201</c:v>
                </c:pt>
                <c:pt idx="7207">
                  <c:v>0.128535758872837</c:v>
                </c:pt>
                <c:pt idx="7208">
                  <c:v>0.12855359372213301</c:v>
                </c:pt>
                <c:pt idx="7209">
                  <c:v>0.128571428571428</c:v>
                </c:pt>
                <c:pt idx="7210">
                  <c:v>0.12858926342072399</c:v>
                </c:pt>
                <c:pt idx="7211">
                  <c:v>0.12860709827001901</c:v>
                </c:pt>
                <c:pt idx="7212">
                  <c:v>0.128624933119315</c:v>
                </c:pt>
                <c:pt idx="7213">
                  <c:v>0.12864276796860999</c:v>
                </c:pt>
                <c:pt idx="7214">
                  <c:v>0.12866060281790601</c:v>
                </c:pt>
                <c:pt idx="7215">
                  <c:v>0.128678437667201</c:v>
                </c:pt>
                <c:pt idx="7216">
                  <c:v>0.12869627251649701</c:v>
                </c:pt>
                <c:pt idx="7217">
                  <c:v>0.128714107365792</c:v>
                </c:pt>
                <c:pt idx="7218">
                  <c:v>0.12873194221508799</c:v>
                </c:pt>
                <c:pt idx="7219">
                  <c:v>0.12874977706438301</c:v>
                </c:pt>
                <c:pt idx="7220">
                  <c:v>0.128767611913679</c:v>
                </c:pt>
                <c:pt idx="7221">
                  <c:v>0.12878544676297399</c:v>
                </c:pt>
                <c:pt idx="7222">
                  <c:v>0.12880328161227</c:v>
                </c:pt>
                <c:pt idx="7223">
                  <c:v>0.12882111646156499</c:v>
                </c:pt>
                <c:pt idx="7224">
                  <c:v>0.12883895131086101</c:v>
                </c:pt>
                <c:pt idx="7225">
                  <c:v>0.128856786160156</c:v>
                </c:pt>
                <c:pt idx="7226">
                  <c:v>0.12887462100945199</c:v>
                </c:pt>
                <c:pt idx="7227">
                  <c:v>0.12889245585874801</c:v>
                </c:pt>
                <c:pt idx="7228">
                  <c:v>0.128910290708043</c:v>
                </c:pt>
                <c:pt idx="7229">
                  <c:v>0.12892812555733901</c:v>
                </c:pt>
                <c:pt idx="7230">
                  <c:v>0.128945960406634</c:v>
                </c:pt>
                <c:pt idx="7231">
                  <c:v>0.12896379525592999</c:v>
                </c:pt>
                <c:pt idx="7232">
                  <c:v>0.12898163010522501</c:v>
                </c:pt>
                <c:pt idx="7233">
                  <c:v>0.128999464954521</c:v>
                </c:pt>
                <c:pt idx="7234">
                  <c:v>0.12901729980381599</c:v>
                </c:pt>
                <c:pt idx="7235">
                  <c:v>0.129035134653112</c:v>
                </c:pt>
                <c:pt idx="7236">
                  <c:v>0.12905296950240699</c:v>
                </c:pt>
                <c:pt idx="7237">
                  <c:v>0.12907080435170301</c:v>
                </c:pt>
                <c:pt idx="7238">
                  <c:v>0.129088639200998</c:v>
                </c:pt>
                <c:pt idx="7239">
                  <c:v>0.12910647405029399</c:v>
                </c:pt>
                <c:pt idx="7240">
                  <c:v>0.12912430889958901</c:v>
                </c:pt>
                <c:pt idx="7241">
                  <c:v>0.129142143748885</c:v>
                </c:pt>
                <c:pt idx="7242">
                  <c:v>0.12915997859817999</c:v>
                </c:pt>
                <c:pt idx="7243">
                  <c:v>0.129177813447476</c:v>
                </c:pt>
                <c:pt idx="7244">
                  <c:v>0.12919564829677099</c:v>
                </c:pt>
                <c:pt idx="7245">
                  <c:v>0.12921348314606701</c:v>
                </c:pt>
                <c:pt idx="7246">
                  <c:v>0.129231317995362</c:v>
                </c:pt>
                <c:pt idx="7247">
                  <c:v>0.12924915284465799</c:v>
                </c:pt>
                <c:pt idx="7248">
                  <c:v>0.12926698769395301</c:v>
                </c:pt>
                <c:pt idx="7249">
                  <c:v>0.129284822543249</c:v>
                </c:pt>
                <c:pt idx="7250">
                  <c:v>0.12930265739254501</c:v>
                </c:pt>
                <c:pt idx="7251">
                  <c:v>0.12932049224184</c:v>
                </c:pt>
                <c:pt idx="7252">
                  <c:v>0.12933832709113599</c:v>
                </c:pt>
                <c:pt idx="7253">
                  <c:v>0.12935616194043101</c:v>
                </c:pt>
                <c:pt idx="7254">
                  <c:v>0.129373996789727</c:v>
                </c:pt>
                <c:pt idx="7255">
                  <c:v>0.12939183163902199</c:v>
                </c:pt>
                <c:pt idx="7256">
                  <c:v>0.129409666488318</c:v>
                </c:pt>
                <c:pt idx="7257">
                  <c:v>0.12942750133761299</c:v>
                </c:pt>
                <c:pt idx="7258">
                  <c:v>0.12944533618690901</c:v>
                </c:pt>
                <c:pt idx="7259">
                  <c:v>0.129463171036204</c:v>
                </c:pt>
                <c:pt idx="7260">
                  <c:v>0.12948100588549999</c:v>
                </c:pt>
                <c:pt idx="7261">
                  <c:v>0.12949884073479501</c:v>
                </c:pt>
                <c:pt idx="7262">
                  <c:v>0.129516675584091</c:v>
                </c:pt>
                <c:pt idx="7263">
                  <c:v>0.12953451043338601</c:v>
                </c:pt>
                <c:pt idx="7264">
                  <c:v>0.129552345282682</c:v>
                </c:pt>
                <c:pt idx="7265">
                  <c:v>0.12957018013197699</c:v>
                </c:pt>
                <c:pt idx="7266">
                  <c:v>0.12958801498127301</c:v>
                </c:pt>
                <c:pt idx="7267">
                  <c:v>0.129605849830568</c:v>
                </c:pt>
                <c:pt idx="7268">
                  <c:v>0.12962368467986399</c:v>
                </c:pt>
                <c:pt idx="7269">
                  <c:v>0.12964151952915901</c:v>
                </c:pt>
                <c:pt idx="7270">
                  <c:v>0.12965935437845499</c:v>
                </c:pt>
                <c:pt idx="7271">
                  <c:v>0.12967718922775101</c:v>
                </c:pt>
                <c:pt idx="7272">
                  <c:v>0.129695024077046</c:v>
                </c:pt>
                <c:pt idx="7273">
                  <c:v>0.12971285892634199</c:v>
                </c:pt>
                <c:pt idx="7274">
                  <c:v>0.12973069377563701</c:v>
                </c:pt>
                <c:pt idx="7275">
                  <c:v>0.129748528624933</c:v>
                </c:pt>
                <c:pt idx="7276">
                  <c:v>0.12976636347422801</c:v>
                </c:pt>
                <c:pt idx="7277">
                  <c:v>0.129784198323524</c:v>
                </c:pt>
                <c:pt idx="7278">
                  <c:v>0.12980203317281899</c:v>
                </c:pt>
                <c:pt idx="7279">
                  <c:v>0.12981986802211501</c:v>
                </c:pt>
                <c:pt idx="7280">
                  <c:v>0.12983770287141</c:v>
                </c:pt>
                <c:pt idx="7281">
                  <c:v>0.12985553772070599</c:v>
                </c:pt>
                <c:pt idx="7282">
                  <c:v>0.12987337257000101</c:v>
                </c:pt>
                <c:pt idx="7283">
                  <c:v>0.12989120741929699</c:v>
                </c:pt>
                <c:pt idx="7284">
                  <c:v>0.12990904226859201</c:v>
                </c:pt>
                <c:pt idx="7285">
                  <c:v>0.129926877117888</c:v>
                </c:pt>
                <c:pt idx="7286">
                  <c:v>0.12994471196718299</c:v>
                </c:pt>
                <c:pt idx="7287">
                  <c:v>0.12996254681647901</c:v>
                </c:pt>
                <c:pt idx="7288">
                  <c:v>0.129980381665774</c:v>
                </c:pt>
                <c:pt idx="7289">
                  <c:v>0.12999821651506999</c:v>
                </c:pt>
                <c:pt idx="7290">
                  <c:v>0.130016051364365</c:v>
                </c:pt>
                <c:pt idx="7291">
                  <c:v>0.13003388621366099</c:v>
                </c:pt>
                <c:pt idx="7292">
                  <c:v>0.13005172106295701</c:v>
                </c:pt>
                <c:pt idx="7293">
                  <c:v>0.130069555912252</c:v>
                </c:pt>
                <c:pt idx="7294">
                  <c:v>0.13008739076154799</c:v>
                </c:pt>
                <c:pt idx="7295">
                  <c:v>0.13010522561084301</c:v>
                </c:pt>
                <c:pt idx="7296">
                  <c:v>0.130123060460139</c:v>
                </c:pt>
                <c:pt idx="7297">
                  <c:v>0.13014089530943401</c:v>
                </c:pt>
                <c:pt idx="7298">
                  <c:v>0.13015873015873</c:v>
                </c:pt>
                <c:pt idx="7299">
                  <c:v>0.13017656500802499</c:v>
                </c:pt>
                <c:pt idx="7300">
                  <c:v>0.13019439985732101</c:v>
                </c:pt>
                <c:pt idx="7301">
                  <c:v>0.130212234706616</c:v>
                </c:pt>
                <c:pt idx="7302">
                  <c:v>0.13023006955591199</c:v>
                </c:pt>
                <c:pt idx="7303">
                  <c:v>0.130247904405207</c:v>
                </c:pt>
                <c:pt idx="7304">
                  <c:v>0.13026573925450299</c:v>
                </c:pt>
                <c:pt idx="7305">
                  <c:v>0.13028357410379801</c:v>
                </c:pt>
                <c:pt idx="7306">
                  <c:v>0.130301408953094</c:v>
                </c:pt>
                <c:pt idx="7307">
                  <c:v>0.13031924380238899</c:v>
                </c:pt>
                <c:pt idx="7308">
                  <c:v>0.13033707865168501</c:v>
                </c:pt>
                <c:pt idx="7309">
                  <c:v>0.13035491350098</c:v>
                </c:pt>
                <c:pt idx="7310">
                  <c:v>0.13037274835027601</c:v>
                </c:pt>
                <c:pt idx="7311">
                  <c:v>0.130390583199571</c:v>
                </c:pt>
                <c:pt idx="7312">
                  <c:v>0.13040841804886699</c:v>
                </c:pt>
                <c:pt idx="7313">
                  <c:v>0.13042625289816301</c:v>
                </c:pt>
                <c:pt idx="7314">
                  <c:v>0.130444087747458</c:v>
                </c:pt>
                <c:pt idx="7315">
                  <c:v>0.13046192259675399</c:v>
                </c:pt>
                <c:pt idx="7316">
                  <c:v>0.13047975744604901</c:v>
                </c:pt>
                <c:pt idx="7317">
                  <c:v>0.13049759229534499</c:v>
                </c:pt>
                <c:pt idx="7318">
                  <c:v>0.13051542714464001</c:v>
                </c:pt>
                <c:pt idx="7319">
                  <c:v>0.130533261993936</c:v>
                </c:pt>
                <c:pt idx="7320">
                  <c:v>0.13055109684323099</c:v>
                </c:pt>
                <c:pt idx="7321">
                  <c:v>0.13056893169252701</c:v>
                </c:pt>
                <c:pt idx="7322">
                  <c:v>0.130586766541822</c:v>
                </c:pt>
                <c:pt idx="7323">
                  <c:v>0.13060460139111801</c:v>
                </c:pt>
                <c:pt idx="7324">
                  <c:v>0.130622436240413</c:v>
                </c:pt>
                <c:pt idx="7325">
                  <c:v>0.13064027108970899</c:v>
                </c:pt>
                <c:pt idx="7326">
                  <c:v>0.13065810593900401</c:v>
                </c:pt>
                <c:pt idx="7327">
                  <c:v>0.1306759407883</c:v>
                </c:pt>
                <c:pt idx="7328">
                  <c:v>0.13069377563759499</c:v>
                </c:pt>
                <c:pt idx="7329">
                  <c:v>0.13071161048689101</c:v>
                </c:pt>
                <c:pt idx="7330">
                  <c:v>0.130729445336186</c:v>
                </c:pt>
                <c:pt idx="7331">
                  <c:v>0.13074728018548201</c:v>
                </c:pt>
                <c:pt idx="7332">
                  <c:v>0.130765115034777</c:v>
                </c:pt>
                <c:pt idx="7333">
                  <c:v>0.13078294988407299</c:v>
                </c:pt>
                <c:pt idx="7334">
                  <c:v>0.13080078473336901</c:v>
                </c:pt>
                <c:pt idx="7335">
                  <c:v>0.130818619582664</c:v>
                </c:pt>
                <c:pt idx="7336">
                  <c:v>0.13083645443195999</c:v>
                </c:pt>
                <c:pt idx="7337">
                  <c:v>0.130854289281255</c:v>
                </c:pt>
                <c:pt idx="7338">
                  <c:v>0.13087212413055099</c:v>
                </c:pt>
                <c:pt idx="7339">
                  <c:v>0.13088995897984601</c:v>
                </c:pt>
                <c:pt idx="7340">
                  <c:v>0.130907793829142</c:v>
                </c:pt>
                <c:pt idx="7341">
                  <c:v>0.13092562867843699</c:v>
                </c:pt>
                <c:pt idx="7342">
                  <c:v>0.13094346352773301</c:v>
                </c:pt>
                <c:pt idx="7343">
                  <c:v>0.130961298377028</c:v>
                </c:pt>
                <c:pt idx="7344">
                  <c:v>0.13097913322632401</c:v>
                </c:pt>
                <c:pt idx="7345">
                  <c:v>0.130996968075619</c:v>
                </c:pt>
                <c:pt idx="7346">
                  <c:v>0.13101480292491499</c:v>
                </c:pt>
                <c:pt idx="7347">
                  <c:v>0.13103263777421001</c:v>
                </c:pt>
                <c:pt idx="7348">
                  <c:v>0.131050472623506</c:v>
                </c:pt>
                <c:pt idx="7349">
                  <c:v>0.13106830747280099</c:v>
                </c:pt>
                <c:pt idx="7350">
                  <c:v>0.131086142322097</c:v>
                </c:pt>
                <c:pt idx="7351">
                  <c:v>0.13110397717139199</c:v>
                </c:pt>
                <c:pt idx="7352">
                  <c:v>0.13112181202068801</c:v>
                </c:pt>
                <c:pt idx="7353">
                  <c:v>0.131139646869983</c:v>
                </c:pt>
                <c:pt idx="7354">
                  <c:v>0.13115748171927899</c:v>
                </c:pt>
                <c:pt idx="7355">
                  <c:v>0.13117531656857501</c:v>
                </c:pt>
                <c:pt idx="7356">
                  <c:v>0.13119315141787</c:v>
                </c:pt>
                <c:pt idx="7357">
                  <c:v>0.13121098626716601</c:v>
                </c:pt>
                <c:pt idx="7358">
                  <c:v>0.131228821116461</c:v>
                </c:pt>
                <c:pt idx="7359">
                  <c:v>0.13124665596575699</c:v>
                </c:pt>
                <c:pt idx="7360">
                  <c:v>0.13126449081505201</c:v>
                </c:pt>
                <c:pt idx="7361">
                  <c:v>0.131282325664348</c:v>
                </c:pt>
                <c:pt idx="7362">
                  <c:v>0.13130016051364299</c:v>
                </c:pt>
                <c:pt idx="7363">
                  <c:v>0.13131799536293901</c:v>
                </c:pt>
                <c:pt idx="7364">
                  <c:v>0.13133583021223399</c:v>
                </c:pt>
                <c:pt idx="7365">
                  <c:v>0.13135366506153001</c:v>
                </c:pt>
                <c:pt idx="7366">
                  <c:v>0.131371499910825</c:v>
                </c:pt>
                <c:pt idx="7367">
                  <c:v>0.13138933476012099</c:v>
                </c:pt>
                <c:pt idx="7368">
                  <c:v>0.13140716960941601</c:v>
                </c:pt>
                <c:pt idx="7369">
                  <c:v>0.131425004458712</c:v>
                </c:pt>
                <c:pt idx="7370">
                  <c:v>0.13144283930800699</c:v>
                </c:pt>
                <c:pt idx="7371">
                  <c:v>0.131460674157303</c:v>
                </c:pt>
                <c:pt idx="7372">
                  <c:v>0.13147850900659799</c:v>
                </c:pt>
                <c:pt idx="7373">
                  <c:v>0.13149634385589401</c:v>
                </c:pt>
                <c:pt idx="7374">
                  <c:v>0.131514178705189</c:v>
                </c:pt>
                <c:pt idx="7375">
                  <c:v>0.13153201355448499</c:v>
                </c:pt>
                <c:pt idx="7376">
                  <c:v>0.13154984840378001</c:v>
                </c:pt>
                <c:pt idx="7377">
                  <c:v>0.131567683253076</c:v>
                </c:pt>
                <c:pt idx="7378">
                  <c:v>0.13158551810237201</c:v>
                </c:pt>
                <c:pt idx="7379">
                  <c:v>0.131603352951667</c:v>
                </c:pt>
                <c:pt idx="7380">
                  <c:v>0.13162118780096299</c:v>
                </c:pt>
                <c:pt idx="7381">
                  <c:v>0.13163902265025801</c:v>
                </c:pt>
                <c:pt idx="7382">
                  <c:v>0.131656857499554</c:v>
                </c:pt>
                <c:pt idx="7383">
                  <c:v>0.13167469234884899</c:v>
                </c:pt>
                <c:pt idx="7384">
                  <c:v>0.131692527198145</c:v>
                </c:pt>
                <c:pt idx="7385">
                  <c:v>0.13171036204743999</c:v>
                </c:pt>
                <c:pt idx="7386">
                  <c:v>0.13172819689673601</c:v>
                </c:pt>
                <c:pt idx="7387">
                  <c:v>0.131746031746031</c:v>
                </c:pt>
                <c:pt idx="7388">
                  <c:v>0.13176386659532699</c:v>
                </c:pt>
                <c:pt idx="7389">
                  <c:v>0.13178170144462201</c:v>
                </c:pt>
                <c:pt idx="7390">
                  <c:v>0.131799536293918</c:v>
                </c:pt>
                <c:pt idx="7391">
                  <c:v>0.13181737114321301</c:v>
                </c:pt>
                <c:pt idx="7392">
                  <c:v>0.131835205992509</c:v>
                </c:pt>
                <c:pt idx="7393">
                  <c:v>0.13185304084180399</c:v>
                </c:pt>
                <c:pt idx="7394">
                  <c:v>0.13187087569110001</c:v>
                </c:pt>
                <c:pt idx="7395">
                  <c:v>0.131888710540395</c:v>
                </c:pt>
                <c:pt idx="7396">
                  <c:v>0.13190654538969099</c:v>
                </c:pt>
                <c:pt idx="7397">
                  <c:v>0.13192438023898601</c:v>
                </c:pt>
                <c:pt idx="7398">
                  <c:v>0.13194221508828199</c:v>
                </c:pt>
                <c:pt idx="7399">
                  <c:v>0.13196004993757801</c:v>
                </c:pt>
                <c:pt idx="7400">
                  <c:v>0.131977884786873</c:v>
                </c:pt>
                <c:pt idx="7401">
                  <c:v>0.13199571963616899</c:v>
                </c:pt>
                <c:pt idx="7402">
                  <c:v>0.13201355448546401</c:v>
                </c:pt>
                <c:pt idx="7403">
                  <c:v>0.13203138933476</c:v>
                </c:pt>
                <c:pt idx="7404">
                  <c:v>0.13204922418405499</c:v>
                </c:pt>
                <c:pt idx="7405">
                  <c:v>0.132067059033351</c:v>
                </c:pt>
                <c:pt idx="7406">
                  <c:v>0.13208489388264599</c:v>
                </c:pt>
                <c:pt idx="7407">
                  <c:v>0.13210272873194201</c:v>
                </c:pt>
                <c:pt idx="7408">
                  <c:v>0.132120563581237</c:v>
                </c:pt>
                <c:pt idx="7409">
                  <c:v>0.13213839843053299</c:v>
                </c:pt>
                <c:pt idx="7410">
                  <c:v>0.13215623327982801</c:v>
                </c:pt>
                <c:pt idx="7411">
                  <c:v>0.13217406812912399</c:v>
                </c:pt>
                <c:pt idx="7412">
                  <c:v>0.13219190297841901</c:v>
                </c:pt>
                <c:pt idx="7413">
                  <c:v>0.132209737827715</c:v>
                </c:pt>
                <c:pt idx="7414">
                  <c:v>0.13222757267700999</c:v>
                </c:pt>
                <c:pt idx="7415">
                  <c:v>0.13224540752630601</c:v>
                </c:pt>
                <c:pt idx="7416">
                  <c:v>0.132263242375601</c:v>
                </c:pt>
                <c:pt idx="7417">
                  <c:v>0.13228107722489699</c:v>
                </c:pt>
                <c:pt idx="7418">
                  <c:v>0.132298912074192</c:v>
                </c:pt>
                <c:pt idx="7419">
                  <c:v>0.13231674692348799</c:v>
                </c:pt>
                <c:pt idx="7420">
                  <c:v>0.13233458177278401</c:v>
                </c:pt>
                <c:pt idx="7421">
                  <c:v>0.132352416622079</c:v>
                </c:pt>
                <c:pt idx="7422">
                  <c:v>0.13237025147137499</c:v>
                </c:pt>
                <c:pt idx="7423">
                  <c:v>0.13238808632067001</c:v>
                </c:pt>
                <c:pt idx="7424">
                  <c:v>0.132405921169966</c:v>
                </c:pt>
                <c:pt idx="7425">
                  <c:v>0.13242375601926101</c:v>
                </c:pt>
                <c:pt idx="7426">
                  <c:v>0.132441590868557</c:v>
                </c:pt>
                <c:pt idx="7427">
                  <c:v>0.13245942571785199</c:v>
                </c:pt>
                <c:pt idx="7428">
                  <c:v>0.13247726056714801</c:v>
                </c:pt>
                <c:pt idx="7429">
                  <c:v>0.132495095416443</c:v>
                </c:pt>
                <c:pt idx="7430">
                  <c:v>0.13251293026573899</c:v>
                </c:pt>
                <c:pt idx="7431">
                  <c:v>0.132530765115034</c:v>
                </c:pt>
                <c:pt idx="7432">
                  <c:v>0.13254859996432999</c:v>
                </c:pt>
                <c:pt idx="7433">
                  <c:v>0.13256643481362501</c:v>
                </c:pt>
                <c:pt idx="7434">
                  <c:v>0.132584269662921</c:v>
                </c:pt>
                <c:pt idx="7435">
                  <c:v>0.13260210451221599</c:v>
                </c:pt>
                <c:pt idx="7436">
                  <c:v>0.13261993936151201</c:v>
                </c:pt>
                <c:pt idx="7437">
                  <c:v>0.132637774210807</c:v>
                </c:pt>
                <c:pt idx="7438">
                  <c:v>0.13265560906010301</c:v>
                </c:pt>
                <c:pt idx="7439">
                  <c:v>0.132673443909398</c:v>
                </c:pt>
                <c:pt idx="7440">
                  <c:v>0.13269127875869399</c:v>
                </c:pt>
                <c:pt idx="7441">
                  <c:v>0.13270911360799001</c:v>
                </c:pt>
                <c:pt idx="7442">
                  <c:v>0.132726948457285</c:v>
                </c:pt>
                <c:pt idx="7443">
                  <c:v>0.13274478330658099</c:v>
                </c:pt>
                <c:pt idx="7444">
                  <c:v>0.13276261815587601</c:v>
                </c:pt>
                <c:pt idx="7445">
                  <c:v>0.13278045300517199</c:v>
                </c:pt>
                <c:pt idx="7446">
                  <c:v>0.13279828785446701</c:v>
                </c:pt>
                <c:pt idx="7447">
                  <c:v>0.132816122703763</c:v>
                </c:pt>
                <c:pt idx="7448">
                  <c:v>0.13283395755305799</c:v>
                </c:pt>
                <c:pt idx="7449">
                  <c:v>0.13285179240235401</c:v>
                </c:pt>
                <c:pt idx="7450">
                  <c:v>0.132869627251649</c:v>
                </c:pt>
                <c:pt idx="7451">
                  <c:v>0.13288746210094499</c:v>
                </c:pt>
                <c:pt idx="7452">
                  <c:v>0.13290529695024</c:v>
                </c:pt>
                <c:pt idx="7453">
                  <c:v>0.13292313179953599</c:v>
                </c:pt>
                <c:pt idx="7454">
                  <c:v>0.13294096664883101</c:v>
                </c:pt>
                <c:pt idx="7455">
                  <c:v>0.132958801498127</c:v>
                </c:pt>
                <c:pt idx="7456">
                  <c:v>0.13297663634742199</c:v>
                </c:pt>
                <c:pt idx="7457">
                  <c:v>0.13299447119671801</c:v>
                </c:pt>
                <c:pt idx="7458">
                  <c:v>0.133012306046013</c:v>
                </c:pt>
                <c:pt idx="7459">
                  <c:v>0.13303014089530901</c:v>
                </c:pt>
                <c:pt idx="7460">
                  <c:v>0.133047975744604</c:v>
                </c:pt>
                <c:pt idx="7461">
                  <c:v>0.13306581059389999</c:v>
                </c:pt>
                <c:pt idx="7462">
                  <c:v>0.13308364544319601</c:v>
                </c:pt>
                <c:pt idx="7463">
                  <c:v>0.133101480292491</c:v>
                </c:pt>
                <c:pt idx="7464">
                  <c:v>0.13311931514178699</c:v>
                </c:pt>
                <c:pt idx="7465">
                  <c:v>0.133137149991082</c:v>
                </c:pt>
                <c:pt idx="7466">
                  <c:v>0.13315498484037799</c:v>
                </c:pt>
                <c:pt idx="7467">
                  <c:v>0.13317281968967301</c:v>
                </c:pt>
                <c:pt idx="7468">
                  <c:v>0.133190654538969</c:v>
                </c:pt>
                <c:pt idx="7469">
                  <c:v>0.13320848938826399</c:v>
                </c:pt>
                <c:pt idx="7470">
                  <c:v>0.13322632423756001</c:v>
                </c:pt>
                <c:pt idx="7471">
                  <c:v>0.133244159086855</c:v>
                </c:pt>
                <c:pt idx="7472">
                  <c:v>0.13326199393615101</c:v>
                </c:pt>
                <c:pt idx="7473">
                  <c:v>0.133279828785446</c:v>
                </c:pt>
                <c:pt idx="7474">
                  <c:v>0.13329766363474199</c:v>
                </c:pt>
                <c:pt idx="7475">
                  <c:v>0.13331549848403701</c:v>
                </c:pt>
                <c:pt idx="7476">
                  <c:v>0.133333333333333</c:v>
                </c:pt>
                <c:pt idx="7477">
                  <c:v>0.13335116818262799</c:v>
                </c:pt>
                <c:pt idx="7478">
                  <c:v>0.133369003031924</c:v>
                </c:pt>
                <c:pt idx="7479">
                  <c:v>0.13338683788121899</c:v>
                </c:pt>
                <c:pt idx="7480">
                  <c:v>0.13340467273051501</c:v>
                </c:pt>
                <c:pt idx="7481">
                  <c:v>0.13342250757981</c:v>
                </c:pt>
                <c:pt idx="7482">
                  <c:v>0.13344034242910599</c:v>
                </c:pt>
                <c:pt idx="7483">
                  <c:v>0.13345817727840201</c:v>
                </c:pt>
                <c:pt idx="7484">
                  <c:v>0.133476012127697</c:v>
                </c:pt>
                <c:pt idx="7485">
                  <c:v>0.13349384697699301</c:v>
                </c:pt>
                <c:pt idx="7486">
                  <c:v>0.133511681826288</c:v>
                </c:pt>
                <c:pt idx="7487">
                  <c:v>0.13352951667558399</c:v>
                </c:pt>
                <c:pt idx="7488">
                  <c:v>0.13354735152487901</c:v>
                </c:pt>
                <c:pt idx="7489">
                  <c:v>0.133565186374175</c:v>
                </c:pt>
                <c:pt idx="7490">
                  <c:v>0.13358302122346999</c:v>
                </c:pt>
                <c:pt idx="7491">
                  <c:v>0.13360085607276601</c:v>
                </c:pt>
                <c:pt idx="7492">
                  <c:v>0.133618690922061</c:v>
                </c:pt>
                <c:pt idx="7493">
                  <c:v>0.13363652577135701</c:v>
                </c:pt>
                <c:pt idx="7494">
                  <c:v>0.133654360620652</c:v>
                </c:pt>
                <c:pt idx="7495">
                  <c:v>0.13367219546994799</c:v>
                </c:pt>
                <c:pt idx="7496">
                  <c:v>0.13369003031924301</c:v>
                </c:pt>
                <c:pt idx="7497">
                  <c:v>0.133707865168539</c:v>
                </c:pt>
                <c:pt idx="7498">
                  <c:v>0.13372570001783399</c:v>
                </c:pt>
                <c:pt idx="7499">
                  <c:v>0.13374353486713</c:v>
                </c:pt>
                <c:pt idx="7500">
                  <c:v>0.13376136971642499</c:v>
                </c:pt>
                <c:pt idx="7501">
                  <c:v>0.13377920456572101</c:v>
                </c:pt>
                <c:pt idx="7502">
                  <c:v>0.133797039415016</c:v>
                </c:pt>
                <c:pt idx="7503">
                  <c:v>0.13381487426431199</c:v>
                </c:pt>
                <c:pt idx="7504">
                  <c:v>0.13383270911360701</c:v>
                </c:pt>
                <c:pt idx="7505">
                  <c:v>0.133850543962903</c:v>
                </c:pt>
                <c:pt idx="7506">
                  <c:v>0.13386837881219901</c:v>
                </c:pt>
                <c:pt idx="7507">
                  <c:v>0.133886213661494</c:v>
                </c:pt>
                <c:pt idx="7508">
                  <c:v>0.13390404851078999</c:v>
                </c:pt>
                <c:pt idx="7509">
                  <c:v>0.13392188336008501</c:v>
                </c:pt>
                <c:pt idx="7510">
                  <c:v>0.133939718209381</c:v>
                </c:pt>
                <c:pt idx="7511">
                  <c:v>0.13395755305867599</c:v>
                </c:pt>
                <c:pt idx="7512">
                  <c:v>0.133975387907972</c:v>
                </c:pt>
                <c:pt idx="7513">
                  <c:v>0.13399322275726699</c:v>
                </c:pt>
                <c:pt idx="7514">
                  <c:v>0.13401105760656301</c:v>
                </c:pt>
                <c:pt idx="7515">
                  <c:v>0.134028892455858</c:v>
                </c:pt>
                <c:pt idx="7516">
                  <c:v>0.13404672730515399</c:v>
                </c:pt>
                <c:pt idx="7517">
                  <c:v>0.13406456215444901</c:v>
                </c:pt>
                <c:pt idx="7518">
                  <c:v>0.134082397003745</c:v>
                </c:pt>
                <c:pt idx="7519">
                  <c:v>0.13410023185303999</c:v>
                </c:pt>
                <c:pt idx="7520">
                  <c:v>0.134118066702336</c:v>
                </c:pt>
                <c:pt idx="7521">
                  <c:v>0.13413590155163099</c:v>
                </c:pt>
                <c:pt idx="7522">
                  <c:v>0.13415373640092701</c:v>
                </c:pt>
                <c:pt idx="7523">
                  <c:v>0.134171571250222</c:v>
                </c:pt>
                <c:pt idx="7524">
                  <c:v>0.13418940609951799</c:v>
                </c:pt>
                <c:pt idx="7525">
                  <c:v>0.13420724094881301</c:v>
                </c:pt>
                <c:pt idx="7526">
                  <c:v>0.13422507579810899</c:v>
                </c:pt>
                <c:pt idx="7527">
                  <c:v>0.13424291064740501</c:v>
                </c:pt>
                <c:pt idx="7528">
                  <c:v>0.1342607454967</c:v>
                </c:pt>
                <c:pt idx="7529">
                  <c:v>0.13427858034599599</c:v>
                </c:pt>
                <c:pt idx="7530">
                  <c:v>0.13429641519529101</c:v>
                </c:pt>
                <c:pt idx="7531">
                  <c:v>0.134314250044587</c:v>
                </c:pt>
                <c:pt idx="7532">
                  <c:v>0.13433208489388199</c:v>
                </c:pt>
                <c:pt idx="7533">
                  <c:v>0.134349919743178</c:v>
                </c:pt>
                <c:pt idx="7534">
                  <c:v>0.13436775459247299</c:v>
                </c:pt>
                <c:pt idx="7535">
                  <c:v>0.13438558944176901</c:v>
                </c:pt>
                <c:pt idx="7536">
                  <c:v>0.134403424291064</c:v>
                </c:pt>
                <c:pt idx="7537">
                  <c:v>0.13442125914035999</c:v>
                </c:pt>
                <c:pt idx="7538">
                  <c:v>0.13443909398965501</c:v>
                </c:pt>
                <c:pt idx="7539">
                  <c:v>0.134456928838951</c:v>
                </c:pt>
                <c:pt idx="7540">
                  <c:v>0.13447476368824601</c:v>
                </c:pt>
                <c:pt idx="7541">
                  <c:v>0.134492598537542</c:v>
                </c:pt>
                <c:pt idx="7542">
                  <c:v>0.13451043338683699</c:v>
                </c:pt>
                <c:pt idx="7543">
                  <c:v>0.13452826823613301</c:v>
                </c:pt>
                <c:pt idx="7544">
                  <c:v>0.134546103085428</c:v>
                </c:pt>
                <c:pt idx="7545">
                  <c:v>0.13456393793472399</c:v>
                </c:pt>
                <c:pt idx="7546">
                  <c:v>0.134581772784019</c:v>
                </c:pt>
                <c:pt idx="7547">
                  <c:v>0.13459960763331499</c:v>
                </c:pt>
                <c:pt idx="7548">
                  <c:v>0.13461744248261101</c:v>
                </c:pt>
                <c:pt idx="7549">
                  <c:v>0.134635277331906</c:v>
                </c:pt>
                <c:pt idx="7550">
                  <c:v>0.13465311218120199</c:v>
                </c:pt>
                <c:pt idx="7551">
                  <c:v>0.13467094703049701</c:v>
                </c:pt>
                <c:pt idx="7552">
                  <c:v>0.134688781879793</c:v>
                </c:pt>
                <c:pt idx="7553">
                  <c:v>0.13470661672908801</c:v>
                </c:pt>
                <c:pt idx="7554">
                  <c:v>0.134724451578384</c:v>
                </c:pt>
                <c:pt idx="7555">
                  <c:v>0.13474228642767899</c:v>
                </c:pt>
                <c:pt idx="7556">
                  <c:v>0.13476012127697501</c:v>
                </c:pt>
                <c:pt idx="7557">
                  <c:v>0.13477795612627</c:v>
                </c:pt>
                <c:pt idx="7558">
                  <c:v>0.13479579097556599</c:v>
                </c:pt>
                <c:pt idx="7559">
                  <c:v>0.13481362582486101</c:v>
                </c:pt>
                <c:pt idx="7560">
                  <c:v>0.13483146067415699</c:v>
                </c:pt>
                <c:pt idx="7561">
                  <c:v>0.13484929552345201</c:v>
                </c:pt>
                <c:pt idx="7562">
                  <c:v>0.134867130372748</c:v>
                </c:pt>
                <c:pt idx="7563">
                  <c:v>0.13488496522204299</c:v>
                </c:pt>
                <c:pt idx="7564">
                  <c:v>0.13490280007133901</c:v>
                </c:pt>
                <c:pt idx="7565">
                  <c:v>0.134920634920634</c:v>
                </c:pt>
                <c:pt idx="7566">
                  <c:v>0.13493846976992999</c:v>
                </c:pt>
                <c:pt idx="7567">
                  <c:v>0.134956304619225</c:v>
                </c:pt>
                <c:pt idx="7568">
                  <c:v>0.13497413946852099</c:v>
                </c:pt>
                <c:pt idx="7569">
                  <c:v>0.13499197431781701</c:v>
                </c:pt>
                <c:pt idx="7570">
                  <c:v>0.135009809167112</c:v>
                </c:pt>
                <c:pt idx="7571">
                  <c:v>0.13502764401640799</c:v>
                </c:pt>
                <c:pt idx="7572">
                  <c:v>0.13504547886570301</c:v>
                </c:pt>
                <c:pt idx="7573">
                  <c:v>0.13506331371499899</c:v>
                </c:pt>
                <c:pt idx="7574">
                  <c:v>0.13508114856429401</c:v>
                </c:pt>
                <c:pt idx="7575">
                  <c:v>0.13509898341359</c:v>
                </c:pt>
                <c:pt idx="7576">
                  <c:v>0.13511681826288499</c:v>
                </c:pt>
                <c:pt idx="7577">
                  <c:v>0.13513465311218101</c:v>
                </c:pt>
                <c:pt idx="7578">
                  <c:v>0.135152487961476</c:v>
                </c:pt>
                <c:pt idx="7579">
                  <c:v>0.13517032281077199</c:v>
                </c:pt>
                <c:pt idx="7580">
                  <c:v>0.135188157660067</c:v>
                </c:pt>
                <c:pt idx="7581">
                  <c:v>0.13520599250936299</c:v>
                </c:pt>
                <c:pt idx="7582">
                  <c:v>0.13522382735865801</c:v>
                </c:pt>
                <c:pt idx="7583">
                  <c:v>0.135241662207954</c:v>
                </c:pt>
                <c:pt idx="7584">
                  <c:v>0.13525949705724899</c:v>
                </c:pt>
                <c:pt idx="7585">
                  <c:v>0.13527733190654501</c:v>
                </c:pt>
                <c:pt idx="7586">
                  <c:v>0.13529516675584</c:v>
                </c:pt>
                <c:pt idx="7587">
                  <c:v>0.13531300160513601</c:v>
                </c:pt>
                <c:pt idx="7588">
                  <c:v>0.135330836454431</c:v>
                </c:pt>
                <c:pt idx="7589">
                  <c:v>0.13534867130372699</c:v>
                </c:pt>
                <c:pt idx="7590">
                  <c:v>0.13536650615302301</c:v>
                </c:pt>
                <c:pt idx="7591">
                  <c:v>0.135384341002318</c:v>
                </c:pt>
                <c:pt idx="7592">
                  <c:v>0.13540217585161399</c:v>
                </c:pt>
                <c:pt idx="7593">
                  <c:v>0.135420010700909</c:v>
                </c:pt>
                <c:pt idx="7594">
                  <c:v>0.13543784555020499</c:v>
                </c:pt>
                <c:pt idx="7595">
                  <c:v>0.13545568039950001</c:v>
                </c:pt>
                <c:pt idx="7596">
                  <c:v>0.135473515248796</c:v>
                </c:pt>
                <c:pt idx="7597">
                  <c:v>0.13549135009809099</c:v>
                </c:pt>
                <c:pt idx="7598">
                  <c:v>0.13550918494738701</c:v>
                </c:pt>
                <c:pt idx="7599">
                  <c:v>0.135527019796682</c:v>
                </c:pt>
                <c:pt idx="7600">
                  <c:v>0.13554485464597801</c:v>
                </c:pt>
                <c:pt idx="7601">
                  <c:v>0.135562689495273</c:v>
                </c:pt>
                <c:pt idx="7602">
                  <c:v>0.13558052434456899</c:v>
                </c:pt>
                <c:pt idx="7603">
                  <c:v>0.13559835919386401</c:v>
                </c:pt>
                <c:pt idx="7604">
                  <c:v>0.13561619404316</c:v>
                </c:pt>
                <c:pt idx="7605">
                  <c:v>0.13563402889245499</c:v>
                </c:pt>
                <c:pt idx="7606">
                  <c:v>0.13565186374175101</c:v>
                </c:pt>
                <c:pt idx="7607">
                  <c:v>0.135669698591046</c:v>
                </c:pt>
                <c:pt idx="7608">
                  <c:v>0.13568753344034201</c:v>
                </c:pt>
                <c:pt idx="7609">
                  <c:v>0.135705368289637</c:v>
                </c:pt>
                <c:pt idx="7610">
                  <c:v>0.13572320313893299</c:v>
                </c:pt>
                <c:pt idx="7611">
                  <c:v>0.13574103798822901</c:v>
                </c:pt>
                <c:pt idx="7612">
                  <c:v>0.135758872837524</c:v>
                </c:pt>
                <c:pt idx="7613">
                  <c:v>0.13577670768681999</c:v>
                </c:pt>
                <c:pt idx="7614">
                  <c:v>0.135794542536115</c:v>
                </c:pt>
                <c:pt idx="7615">
                  <c:v>0.13581237738541099</c:v>
                </c:pt>
                <c:pt idx="7616">
                  <c:v>0.13583021223470601</c:v>
                </c:pt>
                <c:pt idx="7617">
                  <c:v>0.135848047084002</c:v>
                </c:pt>
                <c:pt idx="7618">
                  <c:v>0.13586588193329699</c:v>
                </c:pt>
                <c:pt idx="7619">
                  <c:v>0.13588371678259301</c:v>
                </c:pt>
                <c:pt idx="7620">
                  <c:v>0.135901551631888</c:v>
                </c:pt>
                <c:pt idx="7621">
                  <c:v>0.13591938648118401</c:v>
                </c:pt>
                <c:pt idx="7622">
                  <c:v>0.135937221330479</c:v>
                </c:pt>
                <c:pt idx="7623">
                  <c:v>0.13595505617977499</c:v>
                </c:pt>
                <c:pt idx="7624">
                  <c:v>0.13597289102907001</c:v>
                </c:pt>
                <c:pt idx="7625">
                  <c:v>0.135990725878366</c:v>
                </c:pt>
                <c:pt idx="7626">
                  <c:v>0.13600856072766099</c:v>
                </c:pt>
                <c:pt idx="7627">
                  <c:v>0.136026395576957</c:v>
                </c:pt>
                <c:pt idx="7628">
                  <c:v>0.13604423042625199</c:v>
                </c:pt>
                <c:pt idx="7629">
                  <c:v>0.13606206527554801</c:v>
                </c:pt>
                <c:pt idx="7630">
                  <c:v>0.136079900124843</c:v>
                </c:pt>
                <c:pt idx="7631">
                  <c:v>0.13609773497413899</c:v>
                </c:pt>
                <c:pt idx="7632">
                  <c:v>0.13611556982343401</c:v>
                </c:pt>
                <c:pt idx="7633">
                  <c:v>0.13613340467273</c:v>
                </c:pt>
                <c:pt idx="7634">
                  <c:v>0.13615123952202601</c:v>
                </c:pt>
                <c:pt idx="7635">
                  <c:v>0.136169074371321</c:v>
                </c:pt>
                <c:pt idx="7636">
                  <c:v>0.13618690922061699</c:v>
                </c:pt>
                <c:pt idx="7637">
                  <c:v>0.13620474406991201</c:v>
                </c:pt>
                <c:pt idx="7638">
                  <c:v>0.136222578919208</c:v>
                </c:pt>
                <c:pt idx="7639">
                  <c:v>0.13624041376850299</c:v>
                </c:pt>
                <c:pt idx="7640">
                  <c:v>0.136258248617799</c:v>
                </c:pt>
                <c:pt idx="7641">
                  <c:v>0.13627608346709399</c:v>
                </c:pt>
                <c:pt idx="7642">
                  <c:v>0.13629391831639001</c:v>
                </c:pt>
                <c:pt idx="7643">
                  <c:v>0.136311753165685</c:v>
                </c:pt>
                <c:pt idx="7644">
                  <c:v>0.13632958801498099</c:v>
                </c:pt>
                <c:pt idx="7645">
                  <c:v>0.13634742286427601</c:v>
                </c:pt>
                <c:pt idx="7646">
                  <c:v>0.136365257713572</c:v>
                </c:pt>
                <c:pt idx="7647">
                  <c:v>0.13638309256286699</c:v>
                </c:pt>
                <c:pt idx="7648">
                  <c:v>0.136400927412163</c:v>
                </c:pt>
                <c:pt idx="7649">
                  <c:v>0.13641876226145799</c:v>
                </c:pt>
                <c:pt idx="7650">
                  <c:v>0.13643659711075401</c:v>
                </c:pt>
                <c:pt idx="7651">
                  <c:v>0.136454431960049</c:v>
                </c:pt>
                <c:pt idx="7652">
                  <c:v>0.13647226680934499</c:v>
                </c:pt>
                <c:pt idx="7653">
                  <c:v>0.13649010165864001</c:v>
                </c:pt>
                <c:pt idx="7654">
                  <c:v>0.136507936507936</c:v>
                </c:pt>
                <c:pt idx="7655">
                  <c:v>0.13652577135723201</c:v>
                </c:pt>
                <c:pt idx="7656">
                  <c:v>0.136543606206527</c:v>
                </c:pt>
                <c:pt idx="7657">
                  <c:v>0.13656144105582299</c:v>
                </c:pt>
                <c:pt idx="7658">
                  <c:v>0.13657927590511801</c:v>
                </c:pt>
                <c:pt idx="7659">
                  <c:v>0.136597110754414</c:v>
                </c:pt>
                <c:pt idx="7660">
                  <c:v>0.13661494560370899</c:v>
                </c:pt>
                <c:pt idx="7661">
                  <c:v>0.136632780453005</c:v>
                </c:pt>
                <c:pt idx="7662">
                  <c:v>0.13665061530229999</c:v>
                </c:pt>
                <c:pt idx="7663">
                  <c:v>0.13666845015159601</c:v>
                </c:pt>
                <c:pt idx="7664">
                  <c:v>0.136686285000891</c:v>
                </c:pt>
                <c:pt idx="7665">
                  <c:v>0.13670411985018699</c:v>
                </c:pt>
                <c:pt idx="7666">
                  <c:v>0.13672195469948201</c:v>
                </c:pt>
                <c:pt idx="7667">
                  <c:v>0.136739789548778</c:v>
                </c:pt>
                <c:pt idx="7668">
                  <c:v>0.13675762439807301</c:v>
                </c:pt>
                <c:pt idx="7669">
                  <c:v>0.136775459247369</c:v>
                </c:pt>
                <c:pt idx="7670">
                  <c:v>0.13679329409666399</c:v>
                </c:pt>
                <c:pt idx="7671">
                  <c:v>0.13681112894596001</c:v>
                </c:pt>
                <c:pt idx="7672">
                  <c:v>0.136828963795255</c:v>
                </c:pt>
                <c:pt idx="7673">
                  <c:v>0.13684679864455099</c:v>
                </c:pt>
                <c:pt idx="7674">
                  <c:v>0.13686463349384601</c:v>
                </c:pt>
                <c:pt idx="7675">
                  <c:v>0.13688246834314199</c:v>
                </c:pt>
                <c:pt idx="7676">
                  <c:v>0.13690030319243801</c:v>
                </c:pt>
                <c:pt idx="7677">
                  <c:v>0.136918138041733</c:v>
                </c:pt>
                <c:pt idx="7678">
                  <c:v>0.13693597289102899</c:v>
                </c:pt>
                <c:pt idx="7679">
                  <c:v>0.13695380774032401</c:v>
                </c:pt>
                <c:pt idx="7680">
                  <c:v>0.13697164258962</c:v>
                </c:pt>
                <c:pt idx="7681">
                  <c:v>0.13698947743891501</c:v>
                </c:pt>
                <c:pt idx="7682">
                  <c:v>0.137007312288211</c:v>
                </c:pt>
                <c:pt idx="7683">
                  <c:v>0.13702514713750599</c:v>
                </c:pt>
                <c:pt idx="7684">
                  <c:v>0.13704298198680201</c:v>
                </c:pt>
                <c:pt idx="7685">
                  <c:v>0.137060816836097</c:v>
                </c:pt>
                <c:pt idx="7686">
                  <c:v>0.13707865168539299</c:v>
                </c:pt>
                <c:pt idx="7687">
                  <c:v>0.13709648653468801</c:v>
                </c:pt>
                <c:pt idx="7688">
                  <c:v>0.13711432138398399</c:v>
                </c:pt>
                <c:pt idx="7689">
                  <c:v>0.13713215623327901</c:v>
                </c:pt>
                <c:pt idx="7690">
                  <c:v>0.137149991082575</c:v>
                </c:pt>
                <c:pt idx="7691">
                  <c:v>0.13716782593186999</c:v>
                </c:pt>
                <c:pt idx="7692">
                  <c:v>0.13718566078116601</c:v>
                </c:pt>
                <c:pt idx="7693">
                  <c:v>0.137203495630461</c:v>
                </c:pt>
                <c:pt idx="7694">
                  <c:v>0.13722133047975699</c:v>
                </c:pt>
                <c:pt idx="7695">
                  <c:v>0.137239165329052</c:v>
                </c:pt>
                <c:pt idx="7696">
                  <c:v>0.13725700017834799</c:v>
                </c:pt>
                <c:pt idx="7697">
                  <c:v>0.13727483502764401</c:v>
                </c:pt>
                <c:pt idx="7698">
                  <c:v>0.137292669876939</c:v>
                </c:pt>
                <c:pt idx="7699">
                  <c:v>0.13731050472623499</c:v>
                </c:pt>
                <c:pt idx="7700">
                  <c:v>0.13732833957553001</c:v>
                </c:pt>
                <c:pt idx="7701">
                  <c:v>0.137346174424826</c:v>
                </c:pt>
                <c:pt idx="7702">
                  <c:v>0.13736400927412101</c:v>
                </c:pt>
                <c:pt idx="7703">
                  <c:v>0.137381844123417</c:v>
                </c:pt>
                <c:pt idx="7704">
                  <c:v>0.13739967897271199</c:v>
                </c:pt>
                <c:pt idx="7705">
                  <c:v>0.13741751382200801</c:v>
                </c:pt>
                <c:pt idx="7706">
                  <c:v>0.137435348671303</c:v>
                </c:pt>
                <c:pt idx="7707">
                  <c:v>0.13745318352059899</c:v>
                </c:pt>
                <c:pt idx="7708">
                  <c:v>0.137471018369894</c:v>
                </c:pt>
                <c:pt idx="7709">
                  <c:v>0.13748885321918999</c:v>
                </c:pt>
                <c:pt idx="7710">
                  <c:v>0.13750668806848501</c:v>
                </c:pt>
                <c:pt idx="7711">
                  <c:v>0.137524522917781</c:v>
                </c:pt>
                <c:pt idx="7712">
                  <c:v>0.13754235776707599</c:v>
                </c:pt>
                <c:pt idx="7713">
                  <c:v>0.13756019261637201</c:v>
                </c:pt>
                <c:pt idx="7714">
                  <c:v>0.137578027465667</c:v>
                </c:pt>
                <c:pt idx="7715">
                  <c:v>0.13759586231496301</c:v>
                </c:pt>
                <c:pt idx="7716">
                  <c:v>0.137613697164258</c:v>
                </c:pt>
                <c:pt idx="7717">
                  <c:v>0.13763153201355399</c:v>
                </c:pt>
                <c:pt idx="7718">
                  <c:v>0.13764936686285001</c:v>
                </c:pt>
                <c:pt idx="7719">
                  <c:v>0.137667201712145</c:v>
                </c:pt>
                <c:pt idx="7720">
                  <c:v>0.13768503656144099</c:v>
                </c:pt>
                <c:pt idx="7721">
                  <c:v>0.13770287141073601</c:v>
                </c:pt>
                <c:pt idx="7722">
                  <c:v>0.13772070626003199</c:v>
                </c:pt>
                <c:pt idx="7723">
                  <c:v>0.13773854110932701</c:v>
                </c:pt>
                <c:pt idx="7724">
                  <c:v>0.137756375958623</c:v>
                </c:pt>
                <c:pt idx="7725">
                  <c:v>0.13777421080791799</c:v>
                </c:pt>
                <c:pt idx="7726">
                  <c:v>0.13779204565721401</c:v>
                </c:pt>
                <c:pt idx="7727">
                  <c:v>0.137809880506509</c:v>
                </c:pt>
                <c:pt idx="7728">
                  <c:v>0.13782771535580501</c:v>
                </c:pt>
                <c:pt idx="7729">
                  <c:v>0.1378455502051</c:v>
                </c:pt>
                <c:pt idx="7730">
                  <c:v>0.13786338505439599</c:v>
                </c:pt>
                <c:pt idx="7731">
                  <c:v>0.13788121990369101</c:v>
                </c:pt>
                <c:pt idx="7732">
                  <c:v>0.137899054752987</c:v>
                </c:pt>
                <c:pt idx="7733">
                  <c:v>0.13791688960228199</c:v>
                </c:pt>
                <c:pt idx="7734">
                  <c:v>0.13793472445157801</c:v>
                </c:pt>
                <c:pt idx="7735">
                  <c:v>0.137952559300873</c:v>
                </c:pt>
                <c:pt idx="7736">
                  <c:v>0.13797039415016901</c:v>
                </c:pt>
                <c:pt idx="7737">
                  <c:v>0.137988228999464</c:v>
                </c:pt>
                <c:pt idx="7738">
                  <c:v>0.13800606384875999</c:v>
                </c:pt>
                <c:pt idx="7739">
                  <c:v>0.13802389869805601</c:v>
                </c:pt>
                <c:pt idx="7740">
                  <c:v>0.138041733547351</c:v>
                </c:pt>
                <c:pt idx="7741">
                  <c:v>0.13805956839664699</c:v>
                </c:pt>
                <c:pt idx="7742">
                  <c:v>0.138077403245942</c:v>
                </c:pt>
                <c:pt idx="7743">
                  <c:v>0.13809523809523799</c:v>
                </c:pt>
                <c:pt idx="7744">
                  <c:v>0.13811307294453301</c:v>
                </c:pt>
                <c:pt idx="7745">
                  <c:v>0.138130907793829</c:v>
                </c:pt>
                <c:pt idx="7746">
                  <c:v>0.13814874264312399</c:v>
                </c:pt>
                <c:pt idx="7747">
                  <c:v>0.13816657749242001</c:v>
                </c:pt>
                <c:pt idx="7748">
                  <c:v>0.138184412341715</c:v>
                </c:pt>
                <c:pt idx="7749">
                  <c:v>0.13820224719101101</c:v>
                </c:pt>
                <c:pt idx="7750">
                  <c:v>0.138220082040306</c:v>
                </c:pt>
                <c:pt idx="7751">
                  <c:v>0.13823791688960199</c:v>
                </c:pt>
                <c:pt idx="7752">
                  <c:v>0.13825575173889701</c:v>
                </c:pt>
                <c:pt idx="7753">
                  <c:v>0.138273586588193</c:v>
                </c:pt>
                <c:pt idx="7754">
                  <c:v>0.13829142143748799</c:v>
                </c:pt>
                <c:pt idx="7755">
                  <c:v>0.138309256286784</c:v>
                </c:pt>
                <c:pt idx="7756">
                  <c:v>0.13832709113607899</c:v>
                </c:pt>
                <c:pt idx="7757">
                  <c:v>0.13834492598537501</c:v>
                </c:pt>
                <c:pt idx="7758">
                  <c:v>0.13836276083467</c:v>
                </c:pt>
                <c:pt idx="7759">
                  <c:v>0.13838059568396599</c:v>
                </c:pt>
                <c:pt idx="7760">
                  <c:v>0.13839843053326201</c:v>
                </c:pt>
                <c:pt idx="7761">
                  <c:v>0.138416265382557</c:v>
                </c:pt>
                <c:pt idx="7762">
                  <c:v>0.13843410023185301</c:v>
                </c:pt>
                <c:pt idx="7763">
                  <c:v>0.138451935081148</c:v>
                </c:pt>
                <c:pt idx="7764">
                  <c:v>0.13846976993044399</c:v>
                </c:pt>
                <c:pt idx="7765">
                  <c:v>0.13848760477973901</c:v>
                </c:pt>
                <c:pt idx="7766">
                  <c:v>0.138505439629035</c:v>
                </c:pt>
                <c:pt idx="7767">
                  <c:v>0.13852327447832999</c:v>
                </c:pt>
                <c:pt idx="7768">
                  <c:v>0.13854110932762601</c:v>
                </c:pt>
                <c:pt idx="7769">
                  <c:v>0.138558944176921</c:v>
                </c:pt>
                <c:pt idx="7770">
                  <c:v>0.13857677902621701</c:v>
                </c:pt>
                <c:pt idx="7771">
                  <c:v>0.138594613875512</c:v>
                </c:pt>
                <c:pt idx="7772">
                  <c:v>0.13861244872480799</c:v>
                </c:pt>
                <c:pt idx="7773">
                  <c:v>0.13863028357410301</c:v>
                </c:pt>
                <c:pt idx="7774">
                  <c:v>0.138648118423399</c:v>
                </c:pt>
                <c:pt idx="7775">
                  <c:v>0.13866595327269399</c:v>
                </c:pt>
                <c:pt idx="7776">
                  <c:v>0.13868378812199</c:v>
                </c:pt>
                <c:pt idx="7777">
                  <c:v>0.13870162297128499</c:v>
                </c:pt>
                <c:pt idx="7778">
                  <c:v>0.13871945782058101</c:v>
                </c:pt>
                <c:pt idx="7779">
                  <c:v>0.138737292669876</c:v>
                </c:pt>
                <c:pt idx="7780">
                  <c:v>0.13875512751917199</c:v>
                </c:pt>
                <c:pt idx="7781">
                  <c:v>0.13877296236846701</c:v>
                </c:pt>
                <c:pt idx="7782">
                  <c:v>0.138790797217763</c:v>
                </c:pt>
                <c:pt idx="7783">
                  <c:v>0.13880863206705901</c:v>
                </c:pt>
                <c:pt idx="7784">
                  <c:v>0.138826466916354</c:v>
                </c:pt>
                <c:pt idx="7785">
                  <c:v>0.13884430176564999</c:v>
                </c:pt>
                <c:pt idx="7786">
                  <c:v>0.13886213661494501</c:v>
                </c:pt>
                <c:pt idx="7787">
                  <c:v>0.138879971464241</c:v>
                </c:pt>
                <c:pt idx="7788">
                  <c:v>0.13889780631353599</c:v>
                </c:pt>
                <c:pt idx="7789">
                  <c:v>0.138915641162832</c:v>
                </c:pt>
                <c:pt idx="7790">
                  <c:v>0.13893347601212699</c:v>
                </c:pt>
                <c:pt idx="7791">
                  <c:v>0.13895131086142301</c:v>
                </c:pt>
                <c:pt idx="7792">
                  <c:v>0.138969145710718</c:v>
                </c:pt>
                <c:pt idx="7793">
                  <c:v>0.13898698056001399</c:v>
                </c:pt>
                <c:pt idx="7794">
                  <c:v>0.13900481540930901</c:v>
                </c:pt>
                <c:pt idx="7795">
                  <c:v>0.139022650258605</c:v>
                </c:pt>
                <c:pt idx="7796">
                  <c:v>0.13904048510790001</c:v>
                </c:pt>
                <c:pt idx="7797">
                  <c:v>0.139058319957196</c:v>
                </c:pt>
                <c:pt idx="7798">
                  <c:v>0.13907615480649099</c:v>
                </c:pt>
                <c:pt idx="7799">
                  <c:v>0.13909398965578701</c:v>
                </c:pt>
                <c:pt idx="7800">
                  <c:v>0.139111824505082</c:v>
                </c:pt>
                <c:pt idx="7801">
                  <c:v>0.13912965935437799</c:v>
                </c:pt>
                <c:pt idx="7802">
                  <c:v>0.13914749420367301</c:v>
                </c:pt>
                <c:pt idx="7803">
                  <c:v>0.13916532905296899</c:v>
                </c:pt>
                <c:pt idx="7804">
                  <c:v>0.13918316390226501</c:v>
                </c:pt>
                <c:pt idx="7805">
                  <c:v>0.13920099875156</c:v>
                </c:pt>
                <c:pt idx="7806">
                  <c:v>0.13921883360085599</c:v>
                </c:pt>
                <c:pt idx="7807">
                  <c:v>0.13923666845015101</c:v>
                </c:pt>
                <c:pt idx="7808">
                  <c:v>0.139254503299447</c:v>
                </c:pt>
                <c:pt idx="7809">
                  <c:v>0.13927233814874199</c:v>
                </c:pt>
                <c:pt idx="7810">
                  <c:v>0.139290172998038</c:v>
                </c:pt>
                <c:pt idx="7811">
                  <c:v>0.13930800784733299</c:v>
                </c:pt>
                <c:pt idx="7812">
                  <c:v>0.13932584269662901</c:v>
                </c:pt>
                <c:pt idx="7813">
                  <c:v>0.139343677545924</c:v>
                </c:pt>
                <c:pt idx="7814">
                  <c:v>0.13936151239521999</c:v>
                </c:pt>
                <c:pt idx="7815">
                  <c:v>0.13937934724451501</c:v>
                </c:pt>
                <c:pt idx="7816">
                  <c:v>0.139397182093811</c:v>
                </c:pt>
                <c:pt idx="7817">
                  <c:v>0.13941501694310601</c:v>
                </c:pt>
                <c:pt idx="7818">
                  <c:v>0.139432851792402</c:v>
                </c:pt>
                <c:pt idx="7819">
                  <c:v>0.13945068664169699</c:v>
                </c:pt>
                <c:pt idx="7820">
                  <c:v>0.13946852149099301</c:v>
                </c:pt>
                <c:pt idx="7821">
                  <c:v>0.139486356340288</c:v>
                </c:pt>
                <c:pt idx="7822">
                  <c:v>0.13950419118958399</c:v>
                </c:pt>
                <c:pt idx="7823">
                  <c:v>0.139522026038879</c:v>
                </c:pt>
                <c:pt idx="7824">
                  <c:v>0.13953986088817499</c:v>
                </c:pt>
                <c:pt idx="7825">
                  <c:v>0.13955769573747101</c:v>
                </c:pt>
                <c:pt idx="7826">
                  <c:v>0.139575530586766</c:v>
                </c:pt>
                <c:pt idx="7827">
                  <c:v>0.13959336543606199</c:v>
                </c:pt>
                <c:pt idx="7828">
                  <c:v>0.13961120028535701</c:v>
                </c:pt>
                <c:pt idx="7829">
                  <c:v>0.139629035134653</c:v>
                </c:pt>
                <c:pt idx="7830">
                  <c:v>0.13964686998394801</c:v>
                </c:pt>
                <c:pt idx="7831">
                  <c:v>0.139664704833244</c:v>
                </c:pt>
                <c:pt idx="7832">
                  <c:v>0.13968253968253899</c:v>
                </c:pt>
                <c:pt idx="7833">
                  <c:v>0.13970037453183501</c:v>
                </c:pt>
                <c:pt idx="7834">
                  <c:v>0.13971820938113</c:v>
                </c:pt>
                <c:pt idx="7835">
                  <c:v>0.13973604423042599</c:v>
                </c:pt>
                <c:pt idx="7836">
                  <c:v>0.13975387907972101</c:v>
                </c:pt>
                <c:pt idx="7837">
                  <c:v>0.13977171392901699</c:v>
                </c:pt>
                <c:pt idx="7838">
                  <c:v>0.13978954877831201</c:v>
                </c:pt>
                <c:pt idx="7839">
                  <c:v>0.139807383627608</c:v>
                </c:pt>
                <c:pt idx="7840">
                  <c:v>0.13982521847690299</c:v>
                </c:pt>
                <c:pt idx="7841">
                  <c:v>0.13984305332619901</c:v>
                </c:pt>
                <c:pt idx="7842">
                  <c:v>0.139860888175494</c:v>
                </c:pt>
                <c:pt idx="7843">
                  <c:v>0.13987872302479001</c:v>
                </c:pt>
                <c:pt idx="7844">
                  <c:v>0.139896557874085</c:v>
                </c:pt>
                <c:pt idx="7845">
                  <c:v>0.13991439272338099</c:v>
                </c:pt>
                <c:pt idx="7846">
                  <c:v>0.13993222757267701</c:v>
                </c:pt>
                <c:pt idx="7847">
                  <c:v>0.139950062421972</c:v>
                </c:pt>
                <c:pt idx="7848">
                  <c:v>0.13996789727126799</c:v>
                </c:pt>
                <c:pt idx="7849">
                  <c:v>0.13998573212056301</c:v>
                </c:pt>
                <c:pt idx="7850">
                  <c:v>0.14000356696985899</c:v>
                </c:pt>
                <c:pt idx="7851">
                  <c:v>0.14002140181915401</c:v>
                </c:pt>
                <c:pt idx="7852">
                  <c:v>0.14003923666845</c:v>
                </c:pt>
                <c:pt idx="7853">
                  <c:v>0.14005707151774499</c:v>
                </c:pt>
                <c:pt idx="7854">
                  <c:v>0.14007490636704101</c:v>
                </c:pt>
                <c:pt idx="7855">
                  <c:v>0.140092741216336</c:v>
                </c:pt>
                <c:pt idx="7856">
                  <c:v>0.14011057606563199</c:v>
                </c:pt>
                <c:pt idx="7857">
                  <c:v>0.140128410914927</c:v>
                </c:pt>
                <c:pt idx="7858">
                  <c:v>0.14014624576422299</c:v>
                </c:pt>
                <c:pt idx="7859">
                  <c:v>0.14016408061351801</c:v>
                </c:pt>
                <c:pt idx="7860">
                  <c:v>0.140181915462814</c:v>
                </c:pt>
                <c:pt idx="7861">
                  <c:v>0.14019975031210899</c:v>
                </c:pt>
                <c:pt idx="7862">
                  <c:v>0.14021758516140501</c:v>
                </c:pt>
                <c:pt idx="7863">
                  <c:v>0.1402354200107</c:v>
                </c:pt>
                <c:pt idx="7864">
                  <c:v>0.14025325485999601</c:v>
                </c:pt>
                <c:pt idx="7865">
                  <c:v>0.140271089709291</c:v>
                </c:pt>
                <c:pt idx="7866">
                  <c:v>0.14028892455858699</c:v>
                </c:pt>
                <c:pt idx="7867">
                  <c:v>0.14030675940788301</c:v>
                </c:pt>
                <c:pt idx="7868">
                  <c:v>0.140324594257178</c:v>
                </c:pt>
                <c:pt idx="7869">
                  <c:v>0.14034242910647399</c:v>
                </c:pt>
                <c:pt idx="7870">
                  <c:v>0.140360263955769</c:v>
                </c:pt>
                <c:pt idx="7871">
                  <c:v>0.14037809880506499</c:v>
                </c:pt>
                <c:pt idx="7872">
                  <c:v>0.14039593365436001</c:v>
                </c:pt>
                <c:pt idx="7873">
                  <c:v>0.140413768503656</c:v>
                </c:pt>
                <c:pt idx="7874">
                  <c:v>0.14043160335295099</c:v>
                </c:pt>
                <c:pt idx="7875">
                  <c:v>0.14044943820224701</c:v>
                </c:pt>
                <c:pt idx="7876">
                  <c:v>0.140467273051542</c:v>
                </c:pt>
                <c:pt idx="7877">
                  <c:v>0.14048510790083801</c:v>
                </c:pt>
                <c:pt idx="7878">
                  <c:v>0.140502942750133</c:v>
                </c:pt>
                <c:pt idx="7879">
                  <c:v>0.14052077759942899</c:v>
                </c:pt>
                <c:pt idx="7880">
                  <c:v>0.14053861244872401</c:v>
                </c:pt>
                <c:pt idx="7881">
                  <c:v>0.14055644729802</c:v>
                </c:pt>
                <c:pt idx="7882">
                  <c:v>0.14057428214731499</c:v>
                </c:pt>
                <c:pt idx="7883">
                  <c:v>0.14059211699661101</c:v>
                </c:pt>
                <c:pt idx="7884">
                  <c:v>0.14060995184590599</c:v>
                </c:pt>
                <c:pt idx="7885">
                  <c:v>0.14062778669520201</c:v>
                </c:pt>
                <c:pt idx="7886">
                  <c:v>0.140645621544497</c:v>
                </c:pt>
                <c:pt idx="7887">
                  <c:v>0.14066345639379299</c:v>
                </c:pt>
                <c:pt idx="7888">
                  <c:v>0.14068129124308901</c:v>
                </c:pt>
                <c:pt idx="7889">
                  <c:v>0.140699126092384</c:v>
                </c:pt>
                <c:pt idx="7890">
                  <c:v>0.14071696094168001</c:v>
                </c:pt>
                <c:pt idx="7891">
                  <c:v>0.140734795790975</c:v>
                </c:pt>
                <c:pt idx="7892">
                  <c:v>0.14075263064027099</c:v>
                </c:pt>
                <c:pt idx="7893">
                  <c:v>0.14077046548956601</c:v>
                </c:pt>
                <c:pt idx="7894">
                  <c:v>0.140788300338862</c:v>
                </c:pt>
                <c:pt idx="7895">
                  <c:v>0.14080613518815699</c:v>
                </c:pt>
                <c:pt idx="7896">
                  <c:v>0.14082397003745301</c:v>
                </c:pt>
                <c:pt idx="7897">
                  <c:v>0.140841804886748</c:v>
                </c:pt>
                <c:pt idx="7898">
                  <c:v>0.14085963973604401</c:v>
                </c:pt>
                <c:pt idx="7899">
                  <c:v>0.140877474585339</c:v>
                </c:pt>
                <c:pt idx="7900">
                  <c:v>0.14089530943463499</c:v>
                </c:pt>
                <c:pt idx="7901">
                  <c:v>0.14091314428393001</c:v>
                </c:pt>
                <c:pt idx="7902">
                  <c:v>0.140930979133226</c:v>
                </c:pt>
                <c:pt idx="7903">
                  <c:v>0.14094881398252099</c:v>
                </c:pt>
                <c:pt idx="7904">
                  <c:v>0.140966648831817</c:v>
                </c:pt>
                <c:pt idx="7905">
                  <c:v>0.14098448368111199</c:v>
                </c:pt>
                <c:pt idx="7906">
                  <c:v>0.14100231853040801</c:v>
                </c:pt>
                <c:pt idx="7907">
                  <c:v>0.141020153379703</c:v>
                </c:pt>
                <c:pt idx="7908">
                  <c:v>0.14103798822899899</c:v>
                </c:pt>
                <c:pt idx="7909">
                  <c:v>0.14105582307829401</c:v>
                </c:pt>
                <c:pt idx="7910">
                  <c:v>0.14107365792759</c:v>
                </c:pt>
                <c:pt idx="7911">
                  <c:v>0.14109149277688601</c:v>
                </c:pt>
                <c:pt idx="7912">
                  <c:v>0.141109327626181</c:v>
                </c:pt>
                <c:pt idx="7913">
                  <c:v>0.14112716247547699</c:v>
                </c:pt>
                <c:pt idx="7914">
                  <c:v>0.14114499732477201</c:v>
                </c:pt>
                <c:pt idx="7915">
                  <c:v>0.141162832174068</c:v>
                </c:pt>
                <c:pt idx="7916">
                  <c:v>0.14118066702336299</c:v>
                </c:pt>
                <c:pt idx="7917">
                  <c:v>0.141198501872659</c:v>
                </c:pt>
                <c:pt idx="7918">
                  <c:v>0.14121633672195399</c:v>
                </c:pt>
                <c:pt idx="7919">
                  <c:v>0.14123417157125001</c:v>
                </c:pt>
                <c:pt idx="7920">
                  <c:v>0.141252006420545</c:v>
                </c:pt>
                <c:pt idx="7921">
                  <c:v>0.14126984126984099</c:v>
                </c:pt>
                <c:pt idx="7922">
                  <c:v>0.14128767611913601</c:v>
                </c:pt>
                <c:pt idx="7923">
                  <c:v>0.141305510968432</c:v>
                </c:pt>
                <c:pt idx="7924">
                  <c:v>0.14132334581772699</c:v>
                </c:pt>
                <c:pt idx="7925">
                  <c:v>0.141341180667023</c:v>
                </c:pt>
                <c:pt idx="7926">
                  <c:v>0.14135901551631799</c:v>
                </c:pt>
                <c:pt idx="7927">
                  <c:v>0.14137685036561401</c:v>
                </c:pt>
                <c:pt idx="7928">
                  <c:v>0.141394685214909</c:v>
                </c:pt>
                <c:pt idx="7929">
                  <c:v>0.14141252006420499</c:v>
                </c:pt>
                <c:pt idx="7930">
                  <c:v>0.14143035491350001</c:v>
                </c:pt>
                <c:pt idx="7931">
                  <c:v>0.14144818976279599</c:v>
                </c:pt>
                <c:pt idx="7932">
                  <c:v>0.14146602461209201</c:v>
                </c:pt>
                <c:pt idx="7933">
                  <c:v>0.141483859461387</c:v>
                </c:pt>
                <c:pt idx="7934">
                  <c:v>0.14150169431068299</c:v>
                </c:pt>
                <c:pt idx="7935">
                  <c:v>0.14151952915997801</c:v>
                </c:pt>
                <c:pt idx="7936">
                  <c:v>0.141537364009274</c:v>
                </c:pt>
                <c:pt idx="7937">
                  <c:v>0.14155519885856899</c:v>
                </c:pt>
                <c:pt idx="7938">
                  <c:v>0.141573033707865</c:v>
                </c:pt>
                <c:pt idx="7939">
                  <c:v>0.14159086855715999</c:v>
                </c:pt>
                <c:pt idx="7940">
                  <c:v>0.14160870340645601</c:v>
                </c:pt>
                <c:pt idx="7941">
                  <c:v>0.141626538255751</c:v>
                </c:pt>
                <c:pt idx="7942">
                  <c:v>0.14164437310504699</c:v>
                </c:pt>
                <c:pt idx="7943">
                  <c:v>0.14166220795434201</c:v>
                </c:pt>
                <c:pt idx="7944">
                  <c:v>0.141680042803638</c:v>
                </c:pt>
                <c:pt idx="7945">
                  <c:v>0.14169787765293301</c:v>
                </c:pt>
                <c:pt idx="7946">
                  <c:v>0.141715712502229</c:v>
                </c:pt>
                <c:pt idx="7947">
                  <c:v>0.14173354735152399</c:v>
                </c:pt>
                <c:pt idx="7948">
                  <c:v>0.14175138220082001</c:v>
                </c:pt>
                <c:pt idx="7949">
                  <c:v>0.141769217050115</c:v>
                </c:pt>
                <c:pt idx="7950">
                  <c:v>0.14178705189941099</c:v>
                </c:pt>
                <c:pt idx="7951">
                  <c:v>0.141804886748706</c:v>
                </c:pt>
                <c:pt idx="7952">
                  <c:v>0.14182272159800199</c:v>
                </c:pt>
                <c:pt idx="7953">
                  <c:v>0.14184055644729801</c:v>
                </c:pt>
                <c:pt idx="7954">
                  <c:v>0.141858391296593</c:v>
                </c:pt>
                <c:pt idx="7955">
                  <c:v>0.14187622614588899</c:v>
                </c:pt>
                <c:pt idx="7956">
                  <c:v>0.14189406099518401</c:v>
                </c:pt>
                <c:pt idx="7957">
                  <c:v>0.14191189584448</c:v>
                </c:pt>
                <c:pt idx="7958">
                  <c:v>0.14192973069377501</c:v>
                </c:pt>
                <c:pt idx="7959">
                  <c:v>0.141947565543071</c:v>
                </c:pt>
                <c:pt idx="7960">
                  <c:v>0.14196540039236599</c:v>
                </c:pt>
                <c:pt idx="7961">
                  <c:v>0.14198323524166201</c:v>
                </c:pt>
                <c:pt idx="7962">
                  <c:v>0.142001070090957</c:v>
                </c:pt>
                <c:pt idx="7963">
                  <c:v>0.14201890494025299</c:v>
                </c:pt>
                <c:pt idx="7964">
                  <c:v>0.14203673978954801</c:v>
                </c:pt>
                <c:pt idx="7965">
                  <c:v>0.14205457463884399</c:v>
                </c:pt>
                <c:pt idx="7966">
                  <c:v>0.14207240948813901</c:v>
                </c:pt>
                <c:pt idx="7967">
                  <c:v>0.142090244337435</c:v>
                </c:pt>
                <c:pt idx="7968">
                  <c:v>0.14210807918672999</c:v>
                </c:pt>
                <c:pt idx="7969">
                  <c:v>0.14212591403602601</c:v>
                </c:pt>
                <c:pt idx="7970">
                  <c:v>0.142143748885321</c:v>
                </c:pt>
                <c:pt idx="7971">
                  <c:v>0.14216158373461699</c:v>
                </c:pt>
                <c:pt idx="7972">
                  <c:v>0.142179418583912</c:v>
                </c:pt>
                <c:pt idx="7973">
                  <c:v>0.14219725343320799</c:v>
                </c:pt>
                <c:pt idx="7974">
                  <c:v>0.14221508828250401</c:v>
                </c:pt>
                <c:pt idx="7975">
                  <c:v>0.142232923131799</c:v>
                </c:pt>
                <c:pt idx="7976">
                  <c:v>0.14225075798109499</c:v>
                </c:pt>
                <c:pt idx="7977">
                  <c:v>0.14226859283039001</c:v>
                </c:pt>
                <c:pt idx="7978">
                  <c:v>0.142286427679686</c:v>
                </c:pt>
                <c:pt idx="7979">
                  <c:v>0.14230426252898101</c:v>
                </c:pt>
                <c:pt idx="7980">
                  <c:v>0.142322097378277</c:v>
                </c:pt>
                <c:pt idx="7981">
                  <c:v>0.14233993222757199</c:v>
                </c:pt>
                <c:pt idx="7982">
                  <c:v>0.14235776707686801</c:v>
                </c:pt>
                <c:pt idx="7983">
                  <c:v>0.142375601926163</c:v>
                </c:pt>
                <c:pt idx="7984">
                  <c:v>0.14239343677545899</c:v>
                </c:pt>
                <c:pt idx="7985">
                  <c:v>0.142411271624754</c:v>
                </c:pt>
                <c:pt idx="7986">
                  <c:v>0.14242910647404999</c:v>
                </c:pt>
                <c:pt idx="7987">
                  <c:v>0.14244694132334501</c:v>
                </c:pt>
                <c:pt idx="7988">
                  <c:v>0.142464776172641</c:v>
                </c:pt>
                <c:pt idx="7989">
                  <c:v>0.14248261102193599</c:v>
                </c:pt>
                <c:pt idx="7990">
                  <c:v>0.14250044587123201</c:v>
                </c:pt>
                <c:pt idx="7991">
                  <c:v>0.142518280720527</c:v>
                </c:pt>
                <c:pt idx="7992">
                  <c:v>0.14253611556982301</c:v>
                </c:pt>
                <c:pt idx="7993">
                  <c:v>0.142553950419118</c:v>
                </c:pt>
                <c:pt idx="7994">
                  <c:v>0.14257178526841399</c:v>
                </c:pt>
                <c:pt idx="7995">
                  <c:v>0.14258962011771001</c:v>
                </c:pt>
                <c:pt idx="7996">
                  <c:v>0.142607454967005</c:v>
                </c:pt>
                <c:pt idx="7997">
                  <c:v>0.14262528981630099</c:v>
                </c:pt>
                <c:pt idx="7998">
                  <c:v>0.14264312466559601</c:v>
                </c:pt>
                <c:pt idx="7999">
                  <c:v>0.14266095951489199</c:v>
                </c:pt>
                <c:pt idx="8000">
                  <c:v>0.14267879436418701</c:v>
                </c:pt>
                <c:pt idx="8001">
                  <c:v>0.142696629213483</c:v>
                </c:pt>
                <c:pt idx="8002">
                  <c:v>0.14271446406277799</c:v>
                </c:pt>
                <c:pt idx="8003">
                  <c:v>0.14273229891207401</c:v>
                </c:pt>
                <c:pt idx="8004">
                  <c:v>0.142750133761369</c:v>
                </c:pt>
                <c:pt idx="8005">
                  <c:v>0.14276796861066501</c:v>
                </c:pt>
                <c:pt idx="8006">
                  <c:v>0.14278580345996</c:v>
                </c:pt>
                <c:pt idx="8007">
                  <c:v>0.14280363830925599</c:v>
                </c:pt>
                <c:pt idx="8008">
                  <c:v>0.14282147315855101</c:v>
                </c:pt>
                <c:pt idx="8009">
                  <c:v>0.142839308007847</c:v>
                </c:pt>
                <c:pt idx="8010">
                  <c:v>0.14285714285714199</c:v>
                </c:pt>
                <c:pt idx="8011">
                  <c:v>0.14287497770643801</c:v>
                </c:pt>
                <c:pt idx="8012">
                  <c:v>0.142892812555733</c:v>
                </c:pt>
                <c:pt idx="8013">
                  <c:v>0.14291064740502901</c:v>
                </c:pt>
                <c:pt idx="8014">
                  <c:v>0.142928482254324</c:v>
                </c:pt>
                <c:pt idx="8015">
                  <c:v>0.14294631710361999</c:v>
                </c:pt>
                <c:pt idx="8016">
                  <c:v>0.14296415195291601</c:v>
                </c:pt>
                <c:pt idx="8017">
                  <c:v>0.142981986802211</c:v>
                </c:pt>
                <c:pt idx="8018">
                  <c:v>0.14299982165150699</c:v>
                </c:pt>
                <c:pt idx="8019">
                  <c:v>0.143017656500802</c:v>
                </c:pt>
                <c:pt idx="8020">
                  <c:v>0.14303549135009799</c:v>
                </c:pt>
                <c:pt idx="8021">
                  <c:v>0.14305332619939301</c:v>
                </c:pt>
                <c:pt idx="8022">
                  <c:v>0.143071161048689</c:v>
                </c:pt>
                <c:pt idx="8023">
                  <c:v>0.14308899589798399</c:v>
                </c:pt>
                <c:pt idx="8024">
                  <c:v>0.14310683074728001</c:v>
                </c:pt>
                <c:pt idx="8025">
                  <c:v>0.143124665596575</c:v>
                </c:pt>
                <c:pt idx="8026">
                  <c:v>0.14314250044587101</c:v>
                </c:pt>
                <c:pt idx="8027">
                  <c:v>0.143160335295166</c:v>
                </c:pt>
                <c:pt idx="8028">
                  <c:v>0.14317817014446199</c:v>
                </c:pt>
                <c:pt idx="8029">
                  <c:v>0.14319600499375701</c:v>
                </c:pt>
                <c:pt idx="8030">
                  <c:v>0.143213839843053</c:v>
                </c:pt>
                <c:pt idx="8031">
                  <c:v>0.14323167469234799</c:v>
                </c:pt>
                <c:pt idx="8032">
                  <c:v>0.143249509541644</c:v>
                </c:pt>
                <c:pt idx="8033">
                  <c:v>0.14326734439093899</c:v>
                </c:pt>
                <c:pt idx="8034">
                  <c:v>0.14328517924023501</c:v>
                </c:pt>
                <c:pt idx="8035">
                  <c:v>0.14330301408953</c:v>
                </c:pt>
                <c:pt idx="8036">
                  <c:v>0.14332084893882599</c:v>
                </c:pt>
                <c:pt idx="8037">
                  <c:v>0.14333868378812101</c:v>
                </c:pt>
                <c:pt idx="8038">
                  <c:v>0.143356518637417</c:v>
                </c:pt>
                <c:pt idx="8039">
                  <c:v>0.14337435348671301</c:v>
                </c:pt>
                <c:pt idx="8040">
                  <c:v>0.143392188336008</c:v>
                </c:pt>
                <c:pt idx="8041">
                  <c:v>0.14341002318530399</c:v>
                </c:pt>
                <c:pt idx="8042">
                  <c:v>0.14342785803459901</c:v>
                </c:pt>
                <c:pt idx="8043">
                  <c:v>0.143445692883895</c:v>
                </c:pt>
                <c:pt idx="8044">
                  <c:v>0.14346352773318999</c:v>
                </c:pt>
                <c:pt idx="8045">
                  <c:v>0.14348136258248601</c:v>
                </c:pt>
                <c:pt idx="8046">
                  <c:v>0.14349919743178099</c:v>
                </c:pt>
                <c:pt idx="8047">
                  <c:v>0.14351703228107701</c:v>
                </c:pt>
                <c:pt idx="8048">
                  <c:v>0.143534867130372</c:v>
                </c:pt>
                <c:pt idx="8049">
                  <c:v>0.14355270197966799</c:v>
                </c:pt>
                <c:pt idx="8050">
                  <c:v>0.14357053682896301</c:v>
                </c:pt>
                <c:pt idx="8051">
                  <c:v>0.143588371678259</c:v>
                </c:pt>
                <c:pt idx="8052">
                  <c:v>0.14360620652755399</c:v>
                </c:pt>
                <c:pt idx="8053">
                  <c:v>0.14362404137685</c:v>
                </c:pt>
                <c:pt idx="8054">
                  <c:v>0.14364187622614499</c:v>
                </c:pt>
                <c:pt idx="8055">
                  <c:v>0.14365971107544101</c:v>
                </c:pt>
                <c:pt idx="8056">
                  <c:v>0.143677545924736</c:v>
                </c:pt>
                <c:pt idx="8057">
                  <c:v>0.14369538077403199</c:v>
                </c:pt>
                <c:pt idx="8058">
                  <c:v>0.14371321562332701</c:v>
                </c:pt>
                <c:pt idx="8059">
                  <c:v>0.143731050472623</c:v>
                </c:pt>
                <c:pt idx="8060">
                  <c:v>0.14374888532191901</c:v>
                </c:pt>
                <c:pt idx="8061">
                  <c:v>0.143766720171214</c:v>
                </c:pt>
                <c:pt idx="8062">
                  <c:v>0.14378455502050999</c:v>
                </c:pt>
                <c:pt idx="8063">
                  <c:v>0.14380238986980501</c:v>
                </c:pt>
                <c:pt idx="8064">
                  <c:v>0.143820224719101</c:v>
                </c:pt>
                <c:pt idx="8065">
                  <c:v>0.14383805956839599</c:v>
                </c:pt>
                <c:pt idx="8066">
                  <c:v>0.143855894417692</c:v>
                </c:pt>
                <c:pt idx="8067">
                  <c:v>0.14387372926698699</c:v>
                </c:pt>
                <c:pt idx="8068">
                  <c:v>0.14389156411628301</c:v>
                </c:pt>
                <c:pt idx="8069">
                  <c:v>0.143909398965578</c:v>
                </c:pt>
                <c:pt idx="8070">
                  <c:v>0.14392723381487399</c:v>
                </c:pt>
                <c:pt idx="8071">
                  <c:v>0.14394506866416901</c:v>
                </c:pt>
                <c:pt idx="8072">
                  <c:v>0.143962903513465</c:v>
                </c:pt>
                <c:pt idx="8073">
                  <c:v>0.14398073836276001</c:v>
                </c:pt>
                <c:pt idx="8074">
                  <c:v>0.143998573212056</c:v>
                </c:pt>
                <c:pt idx="8075">
                  <c:v>0.14401640806135099</c:v>
                </c:pt>
                <c:pt idx="8076">
                  <c:v>0.14403424291064701</c:v>
                </c:pt>
                <c:pt idx="8077">
                  <c:v>0.144052077759942</c:v>
                </c:pt>
                <c:pt idx="8078">
                  <c:v>0.14406991260923799</c:v>
                </c:pt>
                <c:pt idx="8079">
                  <c:v>0.14408774745853301</c:v>
                </c:pt>
                <c:pt idx="8080">
                  <c:v>0.14410558230782899</c:v>
                </c:pt>
                <c:pt idx="8081">
                  <c:v>0.14412341715712501</c:v>
                </c:pt>
                <c:pt idx="8082">
                  <c:v>0.14414125200642</c:v>
                </c:pt>
                <c:pt idx="8083">
                  <c:v>0.14415908685571599</c:v>
                </c:pt>
                <c:pt idx="8084">
                  <c:v>0.14417692170501101</c:v>
                </c:pt>
                <c:pt idx="8085">
                  <c:v>0.144194756554307</c:v>
                </c:pt>
                <c:pt idx="8086">
                  <c:v>0.14421259140360199</c:v>
                </c:pt>
                <c:pt idx="8087">
                  <c:v>0.144230426252898</c:v>
                </c:pt>
                <c:pt idx="8088">
                  <c:v>0.14424826110219299</c:v>
                </c:pt>
                <c:pt idx="8089">
                  <c:v>0.14426609595148901</c:v>
                </c:pt>
                <c:pt idx="8090">
                  <c:v>0.144283930800784</c:v>
                </c:pt>
                <c:pt idx="8091">
                  <c:v>0.14430176565007999</c:v>
                </c:pt>
                <c:pt idx="8092">
                  <c:v>0.14431960049937501</c:v>
                </c:pt>
                <c:pt idx="8093">
                  <c:v>0.14433743534867099</c:v>
                </c:pt>
                <c:pt idx="8094">
                  <c:v>0.14435527019796601</c:v>
                </c:pt>
                <c:pt idx="8095">
                  <c:v>0.144373105047262</c:v>
                </c:pt>
                <c:pt idx="8096">
                  <c:v>0.14439093989655699</c:v>
                </c:pt>
                <c:pt idx="8097">
                  <c:v>0.14440877474585301</c:v>
                </c:pt>
                <c:pt idx="8098">
                  <c:v>0.144426609595148</c:v>
                </c:pt>
                <c:pt idx="8099">
                  <c:v>0.14444444444444399</c:v>
                </c:pt>
                <c:pt idx="8100">
                  <c:v>0.144462279293739</c:v>
                </c:pt>
                <c:pt idx="8101">
                  <c:v>0.14448011414303499</c:v>
                </c:pt>
                <c:pt idx="8102">
                  <c:v>0.14449794899233101</c:v>
                </c:pt>
                <c:pt idx="8103">
                  <c:v>0.144515783841626</c:v>
                </c:pt>
                <c:pt idx="8104">
                  <c:v>0.14453361869092199</c:v>
                </c:pt>
                <c:pt idx="8105">
                  <c:v>0.14455145354021701</c:v>
                </c:pt>
                <c:pt idx="8106">
                  <c:v>0.144569288389513</c:v>
                </c:pt>
                <c:pt idx="8107">
                  <c:v>0.14458712323880801</c:v>
                </c:pt>
                <c:pt idx="8108">
                  <c:v>0.144604958088104</c:v>
                </c:pt>
                <c:pt idx="8109">
                  <c:v>0.14462279293739899</c:v>
                </c:pt>
                <c:pt idx="8110">
                  <c:v>0.14464062778669501</c:v>
                </c:pt>
                <c:pt idx="8111">
                  <c:v>0.14465846263599</c:v>
                </c:pt>
                <c:pt idx="8112">
                  <c:v>0.14467629748528599</c:v>
                </c:pt>
                <c:pt idx="8113">
                  <c:v>0.144694132334581</c:v>
                </c:pt>
                <c:pt idx="8114">
                  <c:v>0.14471196718387699</c:v>
                </c:pt>
                <c:pt idx="8115">
                  <c:v>0.14472980203317201</c:v>
                </c:pt>
                <c:pt idx="8116">
                  <c:v>0.144747636882468</c:v>
                </c:pt>
                <c:pt idx="8117">
                  <c:v>0.14476547173176299</c:v>
                </c:pt>
                <c:pt idx="8118">
                  <c:v>0.14478330658105901</c:v>
                </c:pt>
                <c:pt idx="8119">
                  <c:v>0.144801141430354</c:v>
                </c:pt>
                <c:pt idx="8120">
                  <c:v>0.14481897627965001</c:v>
                </c:pt>
                <c:pt idx="8121">
                  <c:v>0.144836811128945</c:v>
                </c:pt>
                <c:pt idx="8122">
                  <c:v>0.14485464597824099</c:v>
                </c:pt>
                <c:pt idx="8123">
                  <c:v>0.14487248082753701</c:v>
                </c:pt>
                <c:pt idx="8124">
                  <c:v>0.144890315676832</c:v>
                </c:pt>
                <c:pt idx="8125">
                  <c:v>0.14490815052612799</c:v>
                </c:pt>
                <c:pt idx="8126">
                  <c:v>0.14492598537542301</c:v>
                </c:pt>
                <c:pt idx="8127">
                  <c:v>0.14494382022471899</c:v>
                </c:pt>
                <c:pt idx="8128">
                  <c:v>0.14496165507401401</c:v>
                </c:pt>
                <c:pt idx="8129">
                  <c:v>0.14497948992331</c:v>
                </c:pt>
                <c:pt idx="8130">
                  <c:v>0.14499732477260499</c:v>
                </c:pt>
                <c:pt idx="8131">
                  <c:v>0.14501515962190101</c:v>
                </c:pt>
                <c:pt idx="8132">
                  <c:v>0.145032994471196</c:v>
                </c:pt>
                <c:pt idx="8133">
                  <c:v>0.14505082932049199</c:v>
                </c:pt>
                <c:pt idx="8134">
                  <c:v>0.145068664169787</c:v>
                </c:pt>
                <c:pt idx="8135">
                  <c:v>0.14508649901908299</c:v>
                </c:pt>
                <c:pt idx="8136">
                  <c:v>0.14510433386837801</c:v>
                </c:pt>
                <c:pt idx="8137">
                  <c:v>0.145122168717674</c:v>
                </c:pt>
                <c:pt idx="8138">
                  <c:v>0.14514000356696899</c:v>
                </c:pt>
                <c:pt idx="8139">
                  <c:v>0.14515783841626501</c:v>
                </c:pt>
                <c:pt idx="8140">
                  <c:v>0.14517567326556</c:v>
                </c:pt>
                <c:pt idx="8141">
                  <c:v>0.14519350811485601</c:v>
                </c:pt>
                <c:pt idx="8142">
                  <c:v>0.145211342964151</c:v>
                </c:pt>
                <c:pt idx="8143">
                  <c:v>0.14522917781344699</c:v>
                </c:pt>
                <c:pt idx="8144">
                  <c:v>0.14524701266274301</c:v>
                </c:pt>
                <c:pt idx="8145">
                  <c:v>0.145264847512038</c:v>
                </c:pt>
                <c:pt idx="8146">
                  <c:v>0.14528268236133399</c:v>
                </c:pt>
                <c:pt idx="8147">
                  <c:v>0.145300517210629</c:v>
                </c:pt>
                <c:pt idx="8148">
                  <c:v>0.14531835205992499</c:v>
                </c:pt>
                <c:pt idx="8149">
                  <c:v>0.14533618690922001</c:v>
                </c:pt>
                <c:pt idx="8150">
                  <c:v>0.145354021758516</c:v>
                </c:pt>
                <c:pt idx="8151">
                  <c:v>0.14537185660781099</c:v>
                </c:pt>
                <c:pt idx="8152">
                  <c:v>0.14538969145710701</c:v>
                </c:pt>
                <c:pt idx="8153">
                  <c:v>0.145407526306402</c:v>
                </c:pt>
                <c:pt idx="8154">
                  <c:v>0.14542536115569801</c:v>
                </c:pt>
                <c:pt idx="8155">
                  <c:v>0.145443196004993</c:v>
                </c:pt>
                <c:pt idx="8156">
                  <c:v>0.14546103085428899</c:v>
                </c:pt>
                <c:pt idx="8157">
                  <c:v>0.14547886570358401</c:v>
                </c:pt>
                <c:pt idx="8158">
                  <c:v>0.14549670055288</c:v>
                </c:pt>
                <c:pt idx="8159">
                  <c:v>0.14551453540217499</c:v>
                </c:pt>
                <c:pt idx="8160">
                  <c:v>0.145532370251471</c:v>
                </c:pt>
                <c:pt idx="8161">
                  <c:v>0.14555020510076599</c:v>
                </c:pt>
                <c:pt idx="8162">
                  <c:v>0.14556803995006201</c:v>
                </c:pt>
                <c:pt idx="8163">
                  <c:v>0.145585874799357</c:v>
                </c:pt>
                <c:pt idx="8164">
                  <c:v>0.14560370964865299</c:v>
                </c:pt>
                <c:pt idx="8165">
                  <c:v>0.14562154449794801</c:v>
                </c:pt>
                <c:pt idx="8166">
                  <c:v>0.145639379347244</c:v>
                </c:pt>
                <c:pt idx="8167">
                  <c:v>0.14565721419654001</c:v>
                </c:pt>
                <c:pt idx="8168">
                  <c:v>0.145675049045835</c:v>
                </c:pt>
                <c:pt idx="8169">
                  <c:v>0.14569288389513099</c:v>
                </c:pt>
                <c:pt idx="8170">
                  <c:v>0.14571071874442601</c:v>
                </c:pt>
                <c:pt idx="8171">
                  <c:v>0.145728553593722</c:v>
                </c:pt>
                <c:pt idx="8172">
                  <c:v>0.14574638844301699</c:v>
                </c:pt>
                <c:pt idx="8173">
                  <c:v>0.14576422329231301</c:v>
                </c:pt>
                <c:pt idx="8174">
                  <c:v>0.145782058141608</c:v>
                </c:pt>
                <c:pt idx="8175">
                  <c:v>0.14579989299090401</c:v>
                </c:pt>
                <c:pt idx="8176">
                  <c:v>0.145817727840199</c:v>
                </c:pt>
                <c:pt idx="8177">
                  <c:v>0.14583556268949499</c:v>
                </c:pt>
                <c:pt idx="8178">
                  <c:v>0.14585339753879001</c:v>
                </c:pt>
                <c:pt idx="8179">
                  <c:v>0.145871232388086</c:v>
                </c:pt>
                <c:pt idx="8180">
                  <c:v>0.14588906723738099</c:v>
                </c:pt>
                <c:pt idx="8181">
                  <c:v>0.145906902086677</c:v>
                </c:pt>
                <c:pt idx="8182">
                  <c:v>0.14592473693597199</c:v>
                </c:pt>
                <c:pt idx="8183">
                  <c:v>0.14594257178526801</c:v>
                </c:pt>
                <c:pt idx="8184">
                  <c:v>0.145960406634563</c:v>
                </c:pt>
                <c:pt idx="8185">
                  <c:v>0.14597824148385899</c:v>
                </c:pt>
                <c:pt idx="8186">
                  <c:v>0.14599607633315401</c:v>
                </c:pt>
                <c:pt idx="8187">
                  <c:v>0.14601391118245</c:v>
                </c:pt>
                <c:pt idx="8188">
                  <c:v>0.14603174603174601</c:v>
                </c:pt>
                <c:pt idx="8189">
                  <c:v>0.146049580881041</c:v>
                </c:pt>
                <c:pt idx="8190">
                  <c:v>0.14606741573033699</c:v>
                </c:pt>
                <c:pt idx="8191">
                  <c:v>0.14608525057963201</c:v>
                </c:pt>
                <c:pt idx="8192">
                  <c:v>0.146103085428928</c:v>
                </c:pt>
                <c:pt idx="8193">
                  <c:v>0.14612092027822299</c:v>
                </c:pt>
                <c:pt idx="8194">
                  <c:v>0.146138755127519</c:v>
                </c:pt>
                <c:pt idx="8195">
                  <c:v>0.14615658997681399</c:v>
                </c:pt>
                <c:pt idx="8196">
                  <c:v>0.14617442482611001</c:v>
                </c:pt>
                <c:pt idx="8197">
                  <c:v>0.146192259675405</c:v>
                </c:pt>
                <c:pt idx="8198">
                  <c:v>0.14621009452470099</c:v>
                </c:pt>
                <c:pt idx="8199">
                  <c:v>0.14622792937399601</c:v>
                </c:pt>
                <c:pt idx="8200">
                  <c:v>0.146245764223292</c:v>
                </c:pt>
                <c:pt idx="8201">
                  <c:v>0.14626359907258701</c:v>
                </c:pt>
                <c:pt idx="8202">
                  <c:v>0.146281433921883</c:v>
                </c:pt>
                <c:pt idx="8203">
                  <c:v>0.14629926877117799</c:v>
                </c:pt>
                <c:pt idx="8204">
                  <c:v>0.14631710362047401</c:v>
                </c:pt>
                <c:pt idx="8205">
                  <c:v>0.146334938469769</c:v>
                </c:pt>
                <c:pt idx="8206">
                  <c:v>0.14635277331906499</c:v>
                </c:pt>
                <c:pt idx="8207">
                  <c:v>0.14637060816836001</c:v>
                </c:pt>
                <c:pt idx="8208">
                  <c:v>0.14638844301765599</c:v>
                </c:pt>
                <c:pt idx="8209">
                  <c:v>0.14640627786695201</c:v>
                </c:pt>
                <c:pt idx="8210">
                  <c:v>0.146424112716247</c:v>
                </c:pt>
                <c:pt idx="8211">
                  <c:v>0.14644194756554299</c:v>
                </c:pt>
                <c:pt idx="8212">
                  <c:v>0.14645978241483801</c:v>
                </c:pt>
                <c:pt idx="8213">
                  <c:v>0.146477617264134</c:v>
                </c:pt>
                <c:pt idx="8214">
                  <c:v>0.14649545211342899</c:v>
                </c:pt>
                <c:pt idx="8215">
                  <c:v>0.146513286962725</c:v>
                </c:pt>
                <c:pt idx="8216">
                  <c:v>0.14653112181201999</c:v>
                </c:pt>
                <c:pt idx="8217">
                  <c:v>0.14654895666131601</c:v>
                </c:pt>
                <c:pt idx="8218">
                  <c:v>0.146566791510611</c:v>
                </c:pt>
                <c:pt idx="8219">
                  <c:v>0.14658462635990699</c:v>
                </c:pt>
                <c:pt idx="8220">
                  <c:v>0.14660246120920201</c:v>
                </c:pt>
                <c:pt idx="8221">
                  <c:v>0.146620296058498</c:v>
                </c:pt>
                <c:pt idx="8222">
                  <c:v>0.14663813090779301</c:v>
                </c:pt>
                <c:pt idx="8223">
                  <c:v>0.146655965757089</c:v>
                </c:pt>
                <c:pt idx="8224">
                  <c:v>0.14667380060638399</c:v>
                </c:pt>
                <c:pt idx="8225">
                  <c:v>0.14669163545568001</c:v>
                </c:pt>
                <c:pt idx="8226">
                  <c:v>0.146709470304975</c:v>
                </c:pt>
                <c:pt idx="8227">
                  <c:v>0.14672730515427099</c:v>
                </c:pt>
                <c:pt idx="8228">
                  <c:v>0.146745140003566</c:v>
                </c:pt>
                <c:pt idx="8229">
                  <c:v>0.14676297485286199</c:v>
                </c:pt>
                <c:pt idx="8230">
                  <c:v>0.14678080970215801</c:v>
                </c:pt>
                <c:pt idx="8231">
                  <c:v>0.146798644551453</c:v>
                </c:pt>
                <c:pt idx="8232">
                  <c:v>0.14681647940074899</c:v>
                </c:pt>
                <c:pt idx="8233">
                  <c:v>0.14683431425004401</c:v>
                </c:pt>
                <c:pt idx="8234">
                  <c:v>0.14685214909934</c:v>
                </c:pt>
                <c:pt idx="8235">
                  <c:v>0.14686998394863501</c:v>
                </c:pt>
                <c:pt idx="8236">
                  <c:v>0.146887818797931</c:v>
                </c:pt>
                <c:pt idx="8237">
                  <c:v>0.14690565364722599</c:v>
                </c:pt>
                <c:pt idx="8238">
                  <c:v>0.14692348849652201</c:v>
                </c:pt>
                <c:pt idx="8239">
                  <c:v>0.146941323345817</c:v>
                </c:pt>
                <c:pt idx="8240">
                  <c:v>0.14695915819511299</c:v>
                </c:pt>
                <c:pt idx="8241">
                  <c:v>0.14697699304440801</c:v>
                </c:pt>
                <c:pt idx="8242">
                  <c:v>0.14699482789370399</c:v>
                </c:pt>
                <c:pt idx="8243">
                  <c:v>0.14701266274299901</c:v>
                </c:pt>
                <c:pt idx="8244">
                  <c:v>0.147030497592295</c:v>
                </c:pt>
                <c:pt idx="8245">
                  <c:v>0.14704833244158999</c:v>
                </c:pt>
                <c:pt idx="8246">
                  <c:v>0.14706616729088601</c:v>
                </c:pt>
                <c:pt idx="8247">
                  <c:v>0.147084002140181</c:v>
                </c:pt>
                <c:pt idx="8248">
                  <c:v>0.14710183698947699</c:v>
                </c:pt>
                <c:pt idx="8249">
                  <c:v>0.147119671838772</c:v>
                </c:pt>
                <c:pt idx="8250">
                  <c:v>0.14713750668806799</c:v>
                </c:pt>
                <c:pt idx="8251">
                  <c:v>0.14715534153736401</c:v>
                </c:pt>
                <c:pt idx="8252">
                  <c:v>0.147173176386659</c:v>
                </c:pt>
                <c:pt idx="8253">
                  <c:v>0.14719101123595499</c:v>
                </c:pt>
                <c:pt idx="8254">
                  <c:v>0.14720884608525001</c:v>
                </c:pt>
                <c:pt idx="8255">
                  <c:v>0.14722668093454599</c:v>
                </c:pt>
                <c:pt idx="8256">
                  <c:v>0.14724451578384101</c:v>
                </c:pt>
                <c:pt idx="8257">
                  <c:v>0.147262350633137</c:v>
                </c:pt>
                <c:pt idx="8258">
                  <c:v>0.14728018548243199</c:v>
                </c:pt>
                <c:pt idx="8259">
                  <c:v>0.14729802033172801</c:v>
                </c:pt>
                <c:pt idx="8260">
                  <c:v>0.147315855181023</c:v>
                </c:pt>
                <c:pt idx="8261">
                  <c:v>0.14733369003031899</c:v>
                </c:pt>
                <c:pt idx="8262">
                  <c:v>0.147351524879614</c:v>
                </c:pt>
                <c:pt idx="8263">
                  <c:v>0.14736935972890999</c:v>
                </c:pt>
                <c:pt idx="8264">
                  <c:v>0.14738719457820501</c:v>
                </c:pt>
                <c:pt idx="8265">
                  <c:v>0.147405029427501</c:v>
                </c:pt>
                <c:pt idx="8266">
                  <c:v>0.14742286427679599</c:v>
                </c:pt>
                <c:pt idx="8267">
                  <c:v>0.14744069912609201</c:v>
                </c:pt>
                <c:pt idx="8268">
                  <c:v>0.147458533975387</c:v>
                </c:pt>
                <c:pt idx="8269">
                  <c:v>0.14747636882468301</c:v>
                </c:pt>
                <c:pt idx="8270">
                  <c:v>0.147494203673978</c:v>
                </c:pt>
                <c:pt idx="8271">
                  <c:v>0.14751203852327399</c:v>
                </c:pt>
                <c:pt idx="8272">
                  <c:v>0.14752987337257001</c:v>
                </c:pt>
                <c:pt idx="8273">
                  <c:v>0.147547708221865</c:v>
                </c:pt>
                <c:pt idx="8274">
                  <c:v>0.14756554307116099</c:v>
                </c:pt>
                <c:pt idx="8275">
                  <c:v>0.147583377920456</c:v>
                </c:pt>
                <c:pt idx="8276">
                  <c:v>0.14760121276975199</c:v>
                </c:pt>
                <c:pt idx="8277">
                  <c:v>0.14761904761904701</c:v>
                </c:pt>
                <c:pt idx="8278">
                  <c:v>0.147636882468343</c:v>
                </c:pt>
                <c:pt idx="8279">
                  <c:v>0.14765471731763799</c:v>
                </c:pt>
                <c:pt idx="8280">
                  <c:v>0.14767255216693401</c:v>
                </c:pt>
                <c:pt idx="8281">
                  <c:v>0.147690387016229</c:v>
                </c:pt>
                <c:pt idx="8282">
                  <c:v>0.14770822186552501</c:v>
                </c:pt>
                <c:pt idx="8283">
                  <c:v>0.14772605671482</c:v>
                </c:pt>
                <c:pt idx="8284">
                  <c:v>0.14774389156411599</c:v>
                </c:pt>
                <c:pt idx="8285">
                  <c:v>0.14776172641341101</c:v>
                </c:pt>
                <c:pt idx="8286">
                  <c:v>0.147779561262707</c:v>
                </c:pt>
                <c:pt idx="8287">
                  <c:v>0.14779739611200199</c:v>
                </c:pt>
                <c:pt idx="8288">
                  <c:v>0.14781523096129801</c:v>
                </c:pt>
                <c:pt idx="8289">
                  <c:v>0.147833065810593</c:v>
                </c:pt>
                <c:pt idx="8290">
                  <c:v>0.14785090065988901</c:v>
                </c:pt>
                <c:pt idx="8291">
                  <c:v>0.147868735509184</c:v>
                </c:pt>
                <c:pt idx="8292">
                  <c:v>0.14788657035847999</c:v>
                </c:pt>
                <c:pt idx="8293">
                  <c:v>0.14790440520777601</c:v>
                </c:pt>
                <c:pt idx="8294">
                  <c:v>0.147922240057071</c:v>
                </c:pt>
                <c:pt idx="8295">
                  <c:v>0.14794007490636699</c:v>
                </c:pt>
                <c:pt idx="8296">
                  <c:v>0.147957909755662</c:v>
                </c:pt>
                <c:pt idx="8297">
                  <c:v>0.14797574460495799</c:v>
                </c:pt>
                <c:pt idx="8298">
                  <c:v>0.14799357945425301</c:v>
                </c:pt>
                <c:pt idx="8299">
                  <c:v>0.148011414303549</c:v>
                </c:pt>
                <c:pt idx="8300">
                  <c:v>0.14802924915284399</c:v>
                </c:pt>
                <c:pt idx="8301">
                  <c:v>0.14804708400214001</c:v>
                </c:pt>
                <c:pt idx="8302">
                  <c:v>0.148064918851435</c:v>
                </c:pt>
                <c:pt idx="8303">
                  <c:v>0.14808275370073101</c:v>
                </c:pt>
                <c:pt idx="8304">
                  <c:v>0.148100588550026</c:v>
                </c:pt>
                <c:pt idx="8305">
                  <c:v>0.14811842339932199</c:v>
                </c:pt>
                <c:pt idx="8306">
                  <c:v>0.14813625824861701</c:v>
                </c:pt>
                <c:pt idx="8307">
                  <c:v>0.148154093097913</c:v>
                </c:pt>
                <c:pt idx="8308">
                  <c:v>0.14817192794720799</c:v>
                </c:pt>
                <c:pt idx="8309">
                  <c:v>0.148189762796504</c:v>
                </c:pt>
                <c:pt idx="8310">
                  <c:v>0.14820759764579899</c:v>
                </c:pt>
                <c:pt idx="8311">
                  <c:v>0.14822543249509501</c:v>
                </c:pt>
                <c:pt idx="8312">
                  <c:v>0.14824326734439</c:v>
                </c:pt>
                <c:pt idx="8313">
                  <c:v>0.14826110219368599</c:v>
                </c:pt>
                <c:pt idx="8314">
                  <c:v>0.14827893704298101</c:v>
                </c:pt>
                <c:pt idx="8315">
                  <c:v>0.148296771892277</c:v>
                </c:pt>
                <c:pt idx="8316">
                  <c:v>0.14831460674157301</c:v>
                </c:pt>
                <c:pt idx="8317">
                  <c:v>0.148332441590868</c:v>
                </c:pt>
                <c:pt idx="8318">
                  <c:v>0.14835027644016399</c:v>
                </c:pt>
                <c:pt idx="8319">
                  <c:v>0.14836811128945901</c:v>
                </c:pt>
                <c:pt idx="8320">
                  <c:v>0.148385946138755</c:v>
                </c:pt>
                <c:pt idx="8321">
                  <c:v>0.14840378098804999</c:v>
                </c:pt>
                <c:pt idx="8322">
                  <c:v>0.148421615837346</c:v>
                </c:pt>
                <c:pt idx="8323">
                  <c:v>0.14843945068664099</c:v>
                </c:pt>
                <c:pt idx="8324">
                  <c:v>0.14845728553593701</c:v>
                </c:pt>
                <c:pt idx="8325">
                  <c:v>0.148475120385232</c:v>
                </c:pt>
                <c:pt idx="8326">
                  <c:v>0.14849295523452799</c:v>
                </c:pt>
                <c:pt idx="8327">
                  <c:v>0.14851079008382301</c:v>
                </c:pt>
                <c:pt idx="8328">
                  <c:v>0.148528624933119</c:v>
                </c:pt>
                <c:pt idx="8329">
                  <c:v>0.14854645978241399</c:v>
                </c:pt>
                <c:pt idx="8330">
                  <c:v>0.14856429463171</c:v>
                </c:pt>
                <c:pt idx="8331">
                  <c:v>0.14858212948100499</c:v>
                </c:pt>
                <c:pt idx="8332">
                  <c:v>0.14859996433030101</c:v>
                </c:pt>
                <c:pt idx="8333">
                  <c:v>0.148617799179596</c:v>
                </c:pt>
                <c:pt idx="8334">
                  <c:v>0.14863563402889199</c:v>
                </c:pt>
                <c:pt idx="8335">
                  <c:v>0.14865346887818701</c:v>
                </c:pt>
                <c:pt idx="8336">
                  <c:v>0.148671303727483</c:v>
                </c:pt>
                <c:pt idx="8337">
                  <c:v>0.14868913857677901</c:v>
                </c:pt>
                <c:pt idx="8338">
                  <c:v>0.148706973426074</c:v>
                </c:pt>
                <c:pt idx="8339">
                  <c:v>0.14872480827536999</c:v>
                </c:pt>
                <c:pt idx="8340">
                  <c:v>0.14874264312466501</c:v>
                </c:pt>
                <c:pt idx="8341">
                  <c:v>0.148760477973961</c:v>
                </c:pt>
                <c:pt idx="8342">
                  <c:v>0.14877831282325599</c:v>
                </c:pt>
                <c:pt idx="8343">
                  <c:v>0.148796147672552</c:v>
                </c:pt>
                <c:pt idx="8344">
                  <c:v>0.14881398252184699</c:v>
                </c:pt>
                <c:pt idx="8345">
                  <c:v>0.14883181737114301</c:v>
                </c:pt>
                <c:pt idx="8346">
                  <c:v>0.148849652220438</c:v>
                </c:pt>
                <c:pt idx="8347">
                  <c:v>0.14886748706973399</c:v>
                </c:pt>
                <c:pt idx="8348">
                  <c:v>0.14888532191902901</c:v>
                </c:pt>
                <c:pt idx="8349">
                  <c:v>0.148903156768325</c:v>
                </c:pt>
                <c:pt idx="8350">
                  <c:v>0.14892099161762001</c:v>
                </c:pt>
                <c:pt idx="8351">
                  <c:v>0.148938826466916</c:v>
                </c:pt>
                <c:pt idx="8352">
                  <c:v>0.14895666131621099</c:v>
                </c:pt>
                <c:pt idx="8353">
                  <c:v>0.14897449616550701</c:v>
                </c:pt>
                <c:pt idx="8354">
                  <c:v>0.148992331014802</c:v>
                </c:pt>
                <c:pt idx="8355">
                  <c:v>0.14901016586409799</c:v>
                </c:pt>
                <c:pt idx="8356">
                  <c:v>0.14902800071339301</c:v>
                </c:pt>
                <c:pt idx="8357">
                  <c:v>0.14904583556268899</c:v>
                </c:pt>
                <c:pt idx="8358">
                  <c:v>0.14906367041198501</c:v>
                </c:pt>
                <c:pt idx="8359">
                  <c:v>0.14908150526128</c:v>
                </c:pt>
                <c:pt idx="8360">
                  <c:v>0.14909934011057599</c:v>
                </c:pt>
                <c:pt idx="8361">
                  <c:v>0.14911717495987101</c:v>
                </c:pt>
                <c:pt idx="8362">
                  <c:v>0.149135009809167</c:v>
                </c:pt>
                <c:pt idx="8363">
                  <c:v>0.14915284465846201</c:v>
                </c:pt>
                <c:pt idx="8364">
                  <c:v>0.149170679507758</c:v>
                </c:pt>
                <c:pt idx="8365">
                  <c:v>0.14918851435705299</c:v>
                </c:pt>
                <c:pt idx="8366">
                  <c:v>0.14920634920634901</c:v>
                </c:pt>
                <c:pt idx="8367">
                  <c:v>0.149224184055644</c:v>
                </c:pt>
                <c:pt idx="8368">
                  <c:v>0.14924201890493999</c:v>
                </c:pt>
                <c:pt idx="8369">
                  <c:v>0.14925985375423501</c:v>
                </c:pt>
                <c:pt idx="8370">
                  <c:v>0.14927768860353099</c:v>
                </c:pt>
                <c:pt idx="8371">
                  <c:v>0.14929552345282601</c:v>
                </c:pt>
                <c:pt idx="8372">
                  <c:v>0.149313358302122</c:v>
                </c:pt>
                <c:pt idx="8373">
                  <c:v>0.14933119315141699</c:v>
                </c:pt>
                <c:pt idx="8374">
                  <c:v>0.14934902800071301</c:v>
                </c:pt>
                <c:pt idx="8375">
                  <c:v>0.149366862850008</c:v>
                </c:pt>
                <c:pt idx="8376">
                  <c:v>0.14938469769930399</c:v>
                </c:pt>
                <c:pt idx="8377">
                  <c:v>0.149402532548599</c:v>
                </c:pt>
                <c:pt idx="8378">
                  <c:v>0.14942036739789499</c:v>
                </c:pt>
                <c:pt idx="8379">
                  <c:v>0.14943820224719101</c:v>
                </c:pt>
                <c:pt idx="8380">
                  <c:v>0.149456037096486</c:v>
                </c:pt>
                <c:pt idx="8381">
                  <c:v>0.14947387194578199</c:v>
                </c:pt>
                <c:pt idx="8382">
                  <c:v>0.14949170679507701</c:v>
                </c:pt>
                <c:pt idx="8383">
                  <c:v>0.149509541644373</c:v>
                </c:pt>
                <c:pt idx="8384">
                  <c:v>0.14952737649366801</c:v>
                </c:pt>
                <c:pt idx="8385">
                  <c:v>0.149545211342964</c:v>
                </c:pt>
                <c:pt idx="8386">
                  <c:v>0.14956304619225899</c:v>
                </c:pt>
                <c:pt idx="8387">
                  <c:v>0.14958088104155501</c:v>
                </c:pt>
                <c:pt idx="8388">
                  <c:v>0.14959871589085</c:v>
                </c:pt>
                <c:pt idx="8389">
                  <c:v>0.14961655074014599</c:v>
                </c:pt>
                <c:pt idx="8390">
                  <c:v>0.149634385589441</c:v>
                </c:pt>
                <c:pt idx="8391">
                  <c:v>0.14965222043873699</c:v>
                </c:pt>
                <c:pt idx="8392">
                  <c:v>0.14967005528803201</c:v>
                </c:pt>
                <c:pt idx="8393">
                  <c:v>0.149687890137328</c:v>
                </c:pt>
                <c:pt idx="8394">
                  <c:v>0.14970572498662299</c:v>
                </c:pt>
                <c:pt idx="8395">
                  <c:v>0.14972355983591901</c:v>
                </c:pt>
                <c:pt idx="8396">
                  <c:v>0.149741394685214</c:v>
                </c:pt>
                <c:pt idx="8397">
                  <c:v>0.14975922953451001</c:v>
                </c:pt>
                <c:pt idx="8398">
                  <c:v>0.149777064383805</c:v>
                </c:pt>
                <c:pt idx="8399">
                  <c:v>0.14979489923310099</c:v>
                </c:pt>
                <c:pt idx="8400">
                  <c:v>0.14981273408239701</c:v>
                </c:pt>
                <c:pt idx="8401">
                  <c:v>0.149830568931692</c:v>
                </c:pt>
                <c:pt idx="8402">
                  <c:v>0.14984840378098799</c:v>
                </c:pt>
                <c:pt idx="8403">
                  <c:v>0.14986623863028301</c:v>
                </c:pt>
                <c:pt idx="8404">
                  <c:v>0.14988407347957899</c:v>
                </c:pt>
                <c:pt idx="8405">
                  <c:v>0.14990190832887401</c:v>
                </c:pt>
                <c:pt idx="8406">
                  <c:v>0.14991974317817</c:v>
                </c:pt>
                <c:pt idx="8407">
                  <c:v>0.14993757802746499</c:v>
                </c:pt>
                <c:pt idx="8408">
                  <c:v>0.14995541287676101</c:v>
                </c:pt>
                <c:pt idx="8409">
                  <c:v>0.149973247726056</c:v>
                </c:pt>
                <c:pt idx="8410">
                  <c:v>0.14999108257535201</c:v>
                </c:pt>
                <c:pt idx="8411">
                  <c:v>0.150008917424647</c:v>
                </c:pt>
                <c:pt idx="8412">
                  <c:v>0.15002675227394299</c:v>
                </c:pt>
                <c:pt idx="8413">
                  <c:v>0.15004458712323801</c:v>
                </c:pt>
                <c:pt idx="8414">
                  <c:v>0.150062421972534</c:v>
                </c:pt>
                <c:pt idx="8415">
                  <c:v>0.15008025682182899</c:v>
                </c:pt>
                <c:pt idx="8416">
                  <c:v>0.15009809167112501</c:v>
                </c:pt>
                <c:pt idx="8417">
                  <c:v>0.15011592652042</c:v>
                </c:pt>
                <c:pt idx="8418">
                  <c:v>0.15013376136971601</c:v>
                </c:pt>
                <c:pt idx="8419">
                  <c:v>0.150151596219011</c:v>
                </c:pt>
                <c:pt idx="8420">
                  <c:v>0.15016943106830699</c:v>
                </c:pt>
                <c:pt idx="8421">
                  <c:v>0.15018726591760301</c:v>
                </c:pt>
                <c:pt idx="8422">
                  <c:v>0.150205100766898</c:v>
                </c:pt>
                <c:pt idx="8423">
                  <c:v>0.15022293561619399</c:v>
                </c:pt>
                <c:pt idx="8424">
                  <c:v>0.150240770465489</c:v>
                </c:pt>
                <c:pt idx="8425">
                  <c:v>0.15025860531478499</c:v>
                </c:pt>
                <c:pt idx="8426">
                  <c:v>0.15027644016408001</c:v>
                </c:pt>
                <c:pt idx="8427">
                  <c:v>0.150294275013376</c:v>
                </c:pt>
                <c:pt idx="8428">
                  <c:v>0.15031210986267099</c:v>
                </c:pt>
                <c:pt idx="8429">
                  <c:v>0.15032994471196701</c:v>
                </c:pt>
                <c:pt idx="8430">
                  <c:v>0.150347779561262</c:v>
                </c:pt>
                <c:pt idx="8431">
                  <c:v>0.15036561441055801</c:v>
                </c:pt>
                <c:pt idx="8432">
                  <c:v>0.150383449259853</c:v>
                </c:pt>
                <c:pt idx="8433">
                  <c:v>0.15040128410914899</c:v>
                </c:pt>
                <c:pt idx="8434">
                  <c:v>0.15041911895844401</c:v>
                </c:pt>
                <c:pt idx="8435">
                  <c:v>0.15043695380774</c:v>
                </c:pt>
                <c:pt idx="8436">
                  <c:v>0.15045478865703499</c:v>
                </c:pt>
                <c:pt idx="8437">
                  <c:v>0.150472623506331</c:v>
                </c:pt>
                <c:pt idx="8438">
                  <c:v>0.15049045835562599</c:v>
                </c:pt>
                <c:pt idx="8439">
                  <c:v>0.15050829320492201</c:v>
                </c:pt>
                <c:pt idx="8440">
                  <c:v>0.150526128054217</c:v>
                </c:pt>
                <c:pt idx="8441">
                  <c:v>0.15054396290351299</c:v>
                </c:pt>
                <c:pt idx="8442">
                  <c:v>0.15056179775280801</c:v>
                </c:pt>
                <c:pt idx="8443">
                  <c:v>0.150579632602104</c:v>
                </c:pt>
                <c:pt idx="8444">
                  <c:v>0.15059746745140001</c:v>
                </c:pt>
                <c:pt idx="8445">
                  <c:v>0.150615302300695</c:v>
                </c:pt>
                <c:pt idx="8446">
                  <c:v>0.15063313714999099</c:v>
                </c:pt>
                <c:pt idx="8447">
                  <c:v>0.15065097199928601</c:v>
                </c:pt>
                <c:pt idx="8448">
                  <c:v>0.150668806848582</c:v>
                </c:pt>
                <c:pt idx="8449">
                  <c:v>0.15068664169787699</c:v>
                </c:pt>
                <c:pt idx="8450">
                  <c:v>0.15070447654717301</c:v>
                </c:pt>
                <c:pt idx="8451">
                  <c:v>0.150722311396468</c:v>
                </c:pt>
                <c:pt idx="8452">
                  <c:v>0.15074014624576401</c:v>
                </c:pt>
                <c:pt idx="8453">
                  <c:v>0.150757981095059</c:v>
                </c:pt>
                <c:pt idx="8454">
                  <c:v>0.15077581594435499</c:v>
                </c:pt>
                <c:pt idx="8455">
                  <c:v>0.15079365079365001</c:v>
                </c:pt>
                <c:pt idx="8456">
                  <c:v>0.150811485642946</c:v>
                </c:pt>
                <c:pt idx="8457">
                  <c:v>0.15082932049224099</c:v>
                </c:pt>
                <c:pt idx="8458">
                  <c:v>0.150847155341537</c:v>
                </c:pt>
                <c:pt idx="8459">
                  <c:v>0.15086499019083199</c:v>
                </c:pt>
                <c:pt idx="8460">
                  <c:v>0.15088282504012801</c:v>
                </c:pt>
                <c:pt idx="8461">
                  <c:v>0.150900659889423</c:v>
                </c:pt>
                <c:pt idx="8462">
                  <c:v>0.15091849473871899</c:v>
                </c:pt>
                <c:pt idx="8463">
                  <c:v>0.15093632958801401</c:v>
                </c:pt>
                <c:pt idx="8464">
                  <c:v>0.15095416443731</c:v>
                </c:pt>
                <c:pt idx="8465">
                  <c:v>0.15097199928660601</c:v>
                </c:pt>
                <c:pt idx="8466">
                  <c:v>0.150989834135901</c:v>
                </c:pt>
                <c:pt idx="8467">
                  <c:v>0.15100766898519699</c:v>
                </c:pt>
                <c:pt idx="8468">
                  <c:v>0.15102550383449201</c:v>
                </c:pt>
                <c:pt idx="8469">
                  <c:v>0.151043338683788</c:v>
                </c:pt>
                <c:pt idx="8470">
                  <c:v>0.15106117353308299</c:v>
                </c:pt>
                <c:pt idx="8471">
                  <c:v>0.151079008382379</c:v>
                </c:pt>
                <c:pt idx="8472">
                  <c:v>0.15109684323167399</c:v>
                </c:pt>
                <c:pt idx="8473">
                  <c:v>0.15111467808097001</c:v>
                </c:pt>
                <c:pt idx="8474">
                  <c:v>0.151132512930265</c:v>
                </c:pt>
                <c:pt idx="8475">
                  <c:v>0.15115034777956099</c:v>
                </c:pt>
                <c:pt idx="8476">
                  <c:v>0.15116818262885601</c:v>
                </c:pt>
                <c:pt idx="8477">
                  <c:v>0.151186017478152</c:v>
                </c:pt>
                <c:pt idx="8478">
                  <c:v>0.15120385232744701</c:v>
                </c:pt>
                <c:pt idx="8479">
                  <c:v>0.151221687176743</c:v>
                </c:pt>
                <c:pt idx="8480">
                  <c:v>0.15123952202603799</c:v>
                </c:pt>
                <c:pt idx="8481">
                  <c:v>0.15125735687533401</c:v>
                </c:pt>
                <c:pt idx="8482">
                  <c:v>0.151275191724629</c:v>
                </c:pt>
                <c:pt idx="8483">
                  <c:v>0.15129302657392499</c:v>
                </c:pt>
                <c:pt idx="8484">
                  <c:v>0.15131086142322001</c:v>
                </c:pt>
                <c:pt idx="8485">
                  <c:v>0.15132869627251599</c:v>
                </c:pt>
                <c:pt idx="8486">
                  <c:v>0.15134653112181201</c:v>
                </c:pt>
                <c:pt idx="8487">
                  <c:v>0.151364365971107</c:v>
                </c:pt>
                <c:pt idx="8488">
                  <c:v>0.15138220082040299</c:v>
                </c:pt>
                <c:pt idx="8489">
                  <c:v>0.15140003566969801</c:v>
                </c:pt>
                <c:pt idx="8490">
                  <c:v>0.151417870518994</c:v>
                </c:pt>
                <c:pt idx="8491">
                  <c:v>0.15143570536828899</c:v>
                </c:pt>
                <c:pt idx="8492">
                  <c:v>0.151453540217585</c:v>
                </c:pt>
                <c:pt idx="8493">
                  <c:v>0.15147137506687999</c:v>
                </c:pt>
                <c:pt idx="8494">
                  <c:v>0.15148920991617601</c:v>
                </c:pt>
                <c:pt idx="8495">
                  <c:v>0.151507044765471</c:v>
                </c:pt>
                <c:pt idx="8496">
                  <c:v>0.15152487961476699</c:v>
                </c:pt>
                <c:pt idx="8497">
                  <c:v>0.15154271446406201</c:v>
                </c:pt>
                <c:pt idx="8498">
                  <c:v>0.151560549313358</c:v>
                </c:pt>
                <c:pt idx="8499">
                  <c:v>0.15157838416265301</c:v>
                </c:pt>
                <c:pt idx="8500">
                  <c:v>0.151596219011949</c:v>
                </c:pt>
                <c:pt idx="8501">
                  <c:v>0.15161405386124399</c:v>
                </c:pt>
                <c:pt idx="8502">
                  <c:v>0.15163188871054001</c:v>
                </c:pt>
                <c:pt idx="8503">
                  <c:v>0.151649723559835</c:v>
                </c:pt>
                <c:pt idx="8504">
                  <c:v>0.15166755840913099</c:v>
                </c:pt>
                <c:pt idx="8505">
                  <c:v>0.151685393258426</c:v>
                </c:pt>
                <c:pt idx="8506">
                  <c:v>0.15170322810772199</c:v>
                </c:pt>
                <c:pt idx="8507">
                  <c:v>0.15172106295701801</c:v>
                </c:pt>
                <c:pt idx="8508">
                  <c:v>0.151738897806313</c:v>
                </c:pt>
                <c:pt idx="8509">
                  <c:v>0.15175673265560899</c:v>
                </c:pt>
                <c:pt idx="8510">
                  <c:v>0.15177456750490401</c:v>
                </c:pt>
                <c:pt idx="8511">
                  <c:v>0.1517924023542</c:v>
                </c:pt>
                <c:pt idx="8512">
                  <c:v>0.15181023720349501</c:v>
                </c:pt>
                <c:pt idx="8513">
                  <c:v>0.151828072052791</c:v>
                </c:pt>
                <c:pt idx="8514">
                  <c:v>0.15184590690208599</c:v>
                </c:pt>
                <c:pt idx="8515">
                  <c:v>0.15186374175138201</c:v>
                </c:pt>
                <c:pt idx="8516">
                  <c:v>0.151881576600677</c:v>
                </c:pt>
                <c:pt idx="8517">
                  <c:v>0.15189941144997299</c:v>
                </c:pt>
                <c:pt idx="8518">
                  <c:v>0.15191724629926801</c:v>
                </c:pt>
                <c:pt idx="8519">
                  <c:v>0.15193508114856399</c:v>
                </c:pt>
                <c:pt idx="8520">
                  <c:v>0.15195291599785901</c:v>
                </c:pt>
                <c:pt idx="8521">
                  <c:v>0.151970750847155</c:v>
                </c:pt>
                <c:pt idx="8522">
                  <c:v>0.15198858569644999</c:v>
                </c:pt>
                <c:pt idx="8523">
                  <c:v>0.15200642054574601</c:v>
                </c:pt>
                <c:pt idx="8524">
                  <c:v>0.152024255395041</c:v>
                </c:pt>
                <c:pt idx="8525">
                  <c:v>0.15204209024433701</c:v>
                </c:pt>
                <c:pt idx="8526">
                  <c:v>0.152059925093632</c:v>
                </c:pt>
                <c:pt idx="8527">
                  <c:v>0.15207775994292799</c:v>
                </c:pt>
                <c:pt idx="8528">
                  <c:v>0.15209559479222401</c:v>
                </c:pt>
                <c:pt idx="8529">
                  <c:v>0.152113429641519</c:v>
                </c:pt>
                <c:pt idx="8530">
                  <c:v>0.15213126449081499</c:v>
                </c:pt>
                <c:pt idx="8531">
                  <c:v>0.15214909934011001</c:v>
                </c:pt>
                <c:pt idx="8532">
                  <c:v>0.15216693418940599</c:v>
                </c:pt>
                <c:pt idx="8533">
                  <c:v>0.15218476903870101</c:v>
                </c:pt>
                <c:pt idx="8534">
                  <c:v>0.152202603887997</c:v>
                </c:pt>
                <c:pt idx="8535">
                  <c:v>0.15222043873729199</c:v>
                </c:pt>
                <c:pt idx="8536">
                  <c:v>0.15223827358658801</c:v>
                </c:pt>
                <c:pt idx="8537">
                  <c:v>0.152256108435883</c:v>
                </c:pt>
                <c:pt idx="8538">
                  <c:v>0.15227394328517899</c:v>
                </c:pt>
                <c:pt idx="8539">
                  <c:v>0.152291778134474</c:v>
                </c:pt>
                <c:pt idx="8540">
                  <c:v>0.15230961298376999</c:v>
                </c:pt>
                <c:pt idx="8541">
                  <c:v>0.15232744783306501</c:v>
                </c:pt>
                <c:pt idx="8542">
                  <c:v>0.152345282682361</c:v>
                </c:pt>
                <c:pt idx="8543">
                  <c:v>0.15236311753165599</c:v>
                </c:pt>
                <c:pt idx="8544">
                  <c:v>0.15238095238095201</c:v>
                </c:pt>
                <c:pt idx="8545">
                  <c:v>0.152398787230247</c:v>
                </c:pt>
                <c:pt idx="8546">
                  <c:v>0.15241662207954301</c:v>
                </c:pt>
                <c:pt idx="8547">
                  <c:v>0.152434456928838</c:v>
                </c:pt>
                <c:pt idx="8548">
                  <c:v>0.15245229177813399</c:v>
                </c:pt>
                <c:pt idx="8549">
                  <c:v>0.15247012662743001</c:v>
                </c:pt>
                <c:pt idx="8550">
                  <c:v>0.152487961476725</c:v>
                </c:pt>
                <c:pt idx="8551">
                  <c:v>0.15250579632602099</c:v>
                </c:pt>
                <c:pt idx="8552">
                  <c:v>0.152523631175316</c:v>
                </c:pt>
                <c:pt idx="8553">
                  <c:v>0.15254146602461199</c:v>
                </c:pt>
                <c:pt idx="8554">
                  <c:v>0.15255930087390701</c:v>
                </c:pt>
                <c:pt idx="8555">
                  <c:v>0.152577135723203</c:v>
                </c:pt>
                <c:pt idx="8556">
                  <c:v>0.15259497057249799</c:v>
                </c:pt>
                <c:pt idx="8557">
                  <c:v>0.15261280542179401</c:v>
                </c:pt>
                <c:pt idx="8558">
                  <c:v>0.152630640271089</c:v>
                </c:pt>
                <c:pt idx="8559">
                  <c:v>0.15264847512038501</c:v>
                </c:pt>
                <c:pt idx="8560">
                  <c:v>0.15266630996968</c:v>
                </c:pt>
                <c:pt idx="8561">
                  <c:v>0.15268414481897599</c:v>
                </c:pt>
                <c:pt idx="8562">
                  <c:v>0.15270197966827101</c:v>
                </c:pt>
                <c:pt idx="8563">
                  <c:v>0.152719814517567</c:v>
                </c:pt>
                <c:pt idx="8564">
                  <c:v>0.15273764936686199</c:v>
                </c:pt>
                <c:pt idx="8565">
                  <c:v>0.15275548421615801</c:v>
                </c:pt>
                <c:pt idx="8566">
                  <c:v>0.15277331906545299</c:v>
                </c:pt>
                <c:pt idx="8567">
                  <c:v>0.15279115391474901</c:v>
                </c:pt>
                <c:pt idx="8568">
                  <c:v>0.152808988764044</c:v>
                </c:pt>
                <c:pt idx="8569">
                  <c:v>0.15282682361333999</c:v>
                </c:pt>
                <c:pt idx="8570">
                  <c:v>0.15284465846263501</c:v>
                </c:pt>
                <c:pt idx="8571">
                  <c:v>0.152862493311931</c:v>
                </c:pt>
                <c:pt idx="8572">
                  <c:v>0.15288032816122701</c:v>
                </c:pt>
                <c:pt idx="8573">
                  <c:v>0.152898163010522</c:v>
                </c:pt>
                <c:pt idx="8574">
                  <c:v>0.15291599785981799</c:v>
                </c:pt>
                <c:pt idx="8575">
                  <c:v>0.15293383270911301</c:v>
                </c:pt>
                <c:pt idx="8576">
                  <c:v>0.152951667558409</c:v>
                </c:pt>
                <c:pt idx="8577">
                  <c:v>0.15296950240770399</c:v>
                </c:pt>
                <c:pt idx="8578">
                  <c:v>0.15298733725700001</c:v>
                </c:pt>
                <c:pt idx="8579">
                  <c:v>0.153005172106295</c:v>
                </c:pt>
                <c:pt idx="8580">
                  <c:v>0.15302300695559101</c:v>
                </c:pt>
                <c:pt idx="8581">
                  <c:v>0.153040841804886</c:v>
                </c:pt>
                <c:pt idx="8582">
                  <c:v>0.15305867665418199</c:v>
                </c:pt>
                <c:pt idx="8583">
                  <c:v>0.15307651150347701</c:v>
                </c:pt>
                <c:pt idx="8584">
                  <c:v>0.153094346352773</c:v>
                </c:pt>
                <c:pt idx="8585">
                  <c:v>0.15311218120206799</c:v>
                </c:pt>
                <c:pt idx="8586">
                  <c:v>0.153130016051364</c:v>
                </c:pt>
                <c:pt idx="8587">
                  <c:v>0.15314785090065899</c:v>
                </c:pt>
                <c:pt idx="8588">
                  <c:v>0.15316568574995501</c:v>
                </c:pt>
                <c:pt idx="8589">
                  <c:v>0.15318352059925</c:v>
                </c:pt>
                <c:pt idx="8590">
                  <c:v>0.15320135544854599</c:v>
                </c:pt>
                <c:pt idx="8591">
                  <c:v>0.15321919029784101</c:v>
                </c:pt>
                <c:pt idx="8592">
                  <c:v>0.153237025147137</c:v>
                </c:pt>
                <c:pt idx="8593">
                  <c:v>0.15325485999643301</c:v>
                </c:pt>
                <c:pt idx="8594">
                  <c:v>0.153272694845728</c:v>
                </c:pt>
                <c:pt idx="8595">
                  <c:v>0.15329052969502399</c:v>
                </c:pt>
                <c:pt idx="8596">
                  <c:v>0.15330836454431901</c:v>
                </c:pt>
                <c:pt idx="8597">
                  <c:v>0.153326199393615</c:v>
                </c:pt>
                <c:pt idx="8598">
                  <c:v>0.15334403424290999</c:v>
                </c:pt>
                <c:pt idx="8599">
                  <c:v>0.153361869092206</c:v>
                </c:pt>
                <c:pt idx="8600">
                  <c:v>0.15337970394150099</c:v>
                </c:pt>
                <c:pt idx="8601">
                  <c:v>0.15339753879079701</c:v>
                </c:pt>
                <c:pt idx="8602">
                  <c:v>0.153415373640092</c:v>
                </c:pt>
                <c:pt idx="8603">
                  <c:v>0.15343320848938799</c:v>
                </c:pt>
                <c:pt idx="8604">
                  <c:v>0.15345104333868301</c:v>
                </c:pt>
                <c:pt idx="8605">
                  <c:v>0.153468878187979</c:v>
                </c:pt>
                <c:pt idx="8606">
                  <c:v>0.15348671303727399</c:v>
                </c:pt>
                <c:pt idx="8607">
                  <c:v>0.15350454788657</c:v>
                </c:pt>
                <c:pt idx="8608">
                  <c:v>0.15352238273586499</c:v>
                </c:pt>
                <c:pt idx="8609">
                  <c:v>0.15354021758516101</c:v>
                </c:pt>
                <c:pt idx="8610">
                  <c:v>0.153558052434456</c:v>
                </c:pt>
                <c:pt idx="8611">
                  <c:v>0.15357588728375199</c:v>
                </c:pt>
                <c:pt idx="8612">
                  <c:v>0.15359372213304701</c:v>
                </c:pt>
                <c:pt idx="8613">
                  <c:v>0.15361155698234299</c:v>
                </c:pt>
                <c:pt idx="8614">
                  <c:v>0.15362939183163901</c:v>
                </c:pt>
                <c:pt idx="8615">
                  <c:v>0.153647226680934</c:v>
                </c:pt>
                <c:pt idx="8616">
                  <c:v>0.15366506153022999</c:v>
                </c:pt>
                <c:pt idx="8617">
                  <c:v>0.15368289637952501</c:v>
                </c:pt>
                <c:pt idx="8618">
                  <c:v>0.153700731228821</c:v>
                </c:pt>
                <c:pt idx="8619">
                  <c:v>0.15371856607811599</c:v>
                </c:pt>
                <c:pt idx="8620">
                  <c:v>0.153736400927412</c:v>
                </c:pt>
                <c:pt idx="8621">
                  <c:v>0.15375423577670699</c:v>
                </c:pt>
                <c:pt idx="8622">
                  <c:v>0.15377207062600301</c:v>
                </c:pt>
                <c:pt idx="8623">
                  <c:v>0.153789905475298</c:v>
                </c:pt>
                <c:pt idx="8624">
                  <c:v>0.15380774032459399</c:v>
                </c:pt>
                <c:pt idx="8625">
                  <c:v>0.15382557517388901</c:v>
                </c:pt>
                <c:pt idx="8626">
                  <c:v>0.153843410023185</c:v>
                </c:pt>
                <c:pt idx="8627">
                  <c:v>0.15386124487248001</c:v>
                </c:pt>
                <c:pt idx="8628">
                  <c:v>0.153879079721776</c:v>
                </c:pt>
                <c:pt idx="8629">
                  <c:v>0.15389691457107099</c:v>
                </c:pt>
                <c:pt idx="8630">
                  <c:v>0.15391474942036701</c:v>
                </c:pt>
                <c:pt idx="8631">
                  <c:v>0.153932584269662</c:v>
                </c:pt>
                <c:pt idx="8632">
                  <c:v>0.15395041911895799</c:v>
                </c:pt>
                <c:pt idx="8633">
                  <c:v>0.153968253968253</c:v>
                </c:pt>
                <c:pt idx="8634">
                  <c:v>0.15398608881754899</c:v>
                </c:pt>
                <c:pt idx="8635">
                  <c:v>0.15400392366684501</c:v>
                </c:pt>
                <c:pt idx="8636">
                  <c:v>0.15402175851614</c:v>
                </c:pt>
                <c:pt idx="8637">
                  <c:v>0.15403959336543599</c:v>
                </c:pt>
                <c:pt idx="8638">
                  <c:v>0.15405742821473101</c:v>
                </c:pt>
                <c:pt idx="8639">
                  <c:v>0.154075263064027</c:v>
                </c:pt>
                <c:pt idx="8640">
                  <c:v>0.15409309791332201</c:v>
                </c:pt>
                <c:pt idx="8641">
                  <c:v>0.154110932762618</c:v>
                </c:pt>
                <c:pt idx="8642">
                  <c:v>0.15412876761191299</c:v>
                </c:pt>
                <c:pt idx="8643">
                  <c:v>0.15414660246120901</c:v>
                </c:pt>
                <c:pt idx="8644">
                  <c:v>0.154164437310504</c:v>
                </c:pt>
                <c:pt idx="8645">
                  <c:v>0.15418227215979999</c:v>
                </c:pt>
                <c:pt idx="8646">
                  <c:v>0.15420010700909501</c:v>
                </c:pt>
                <c:pt idx="8647">
                  <c:v>0.15421794185839099</c:v>
                </c:pt>
                <c:pt idx="8648">
                  <c:v>0.15423577670768601</c:v>
                </c:pt>
                <c:pt idx="8649">
                  <c:v>0.154253611556982</c:v>
                </c:pt>
                <c:pt idx="8650">
                  <c:v>0.15427144640627699</c:v>
                </c:pt>
                <c:pt idx="8651">
                  <c:v>0.15428928125557301</c:v>
                </c:pt>
                <c:pt idx="8652">
                  <c:v>0.154307116104868</c:v>
                </c:pt>
                <c:pt idx="8653">
                  <c:v>0.15432495095416399</c:v>
                </c:pt>
                <c:pt idx="8654">
                  <c:v>0.154342785803459</c:v>
                </c:pt>
                <c:pt idx="8655">
                  <c:v>0.15436062065275499</c:v>
                </c:pt>
                <c:pt idx="8656">
                  <c:v>0.15437845550205101</c:v>
                </c:pt>
                <c:pt idx="8657">
                  <c:v>0.154396290351346</c:v>
                </c:pt>
                <c:pt idx="8658">
                  <c:v>0.15441412520064199</c:v>
                </c:pt>
                <c:pt idx="8659">
                  <c:v>0.15443196004993701</c:v>
                </c:pt>
                <c:pt idx="8660">
                  <c:v>0.15444979489923299</c:v>
                </c:pt>
                <c:pt idx="8661">
                  <c:v>0.15446762974852801</c:v>
                </c:pt>
                <c:pt idx="8662">
                  <c:v>0.154485464597824</c:v>
                </c:pt>
                <c:pt idx="8663">
                  <c:v>0.15450329944711899</c:v>
                </c:pt>
                <c:pt idx="8664">
                  <c:v>0.15452113429641501</c:v>
                </c:pt>
                <c:pt idx="8665">
                  <c:v>0.15453896914571</c:v>
                </c:pt>
                <c:pt idx="8666">
                  <c:v>0.15455680399500599</c:v>
                </c:pt>
                <c:pt idx="8667">
                  <c:v>0.154574638844301</c:v>
                </c:pt>
                <c:pt idx="8668">
                  <c:v>0.15459247369359699</c:v>
                </c:pt>
                <c:pt idx="8669">
                  <c:v>0.15461030854289201</c:v>
                </c:pt>
                <c:pt idx="8670">
                  <c:v>0.154628143392188</c:v>
                </c:pt>
                <c:pt idx="8671">
                  <c:v>0.15464597824148299</c:v>
                </c:pt>
                <c:pt idx="8672">
                  <c:v>0.15466381309077901</c:v>
                </c:pt>
                <c:pt idx="8673">
                  <c:v>0.154681647940074</c:v>
                </c:pt>
                <c:pt idx="8674">
                  <c:v>0.15469948278937001</c:v>
                </c:pt>
                <c:pt idx="8675">
                  <c:v>0.154717317638665</c:v>
                </c:pt>
                <c:pt idx="8676">
                  <c:v>0.15473515248796099</c:v>
                </c:pt>
                <c:pt idx="8677">
                  <c:v>0.15475298733725701</c:v>
                </c:pt>
                <c:pt idx="8678">
                  <c:v>0.154770822186552</c:v>
                </c:pt>
                <c:pt idx="8679">
                  <c:v>0.15478865703584799</c:v>
                </c:pt>
                <c:pt idx="8680">
                  <c:v>0.154806491885143</c:v>
                </c:pt>
                <c:pt idx="8681">
                  <c:v>0.15482432673443899</c:v>
                </c:pt>
                <c:pt idx="8682">
                  <c:v>0.15484216158373401</c:v>
                </c:pt>
                <c:pt idx="8683">
                  <c:v>0.15485999643303</c:v>
                </c:pt>
                <c:pt idx="8684">
                  <c:v>0.15487783128232499</c:v>
                </c:pt>
                <c:pt idx="8685">
                  <c:v>0.15489566613162101</c:v>
                </c:pt>
                <c:pt idx="8686">
                  <c:v>0.154913500980916</c:v>
                </c:pt>
                <c:pt idx="8687">
                  <c:v>0.15493133583021201</c:v>
                </c:pt>
                <c:pt idx="8688">
                  <c:v>0.154949170679507</c:v>
                </c:pt>
                <c:pt idx="8689">
                  <c:v>0.15496700552880299</c:v>
                </c:pt>
                <c:pt idx="8690">
                  <c:v>0.15498484037809801</c:v>
                </c:pt>
                <c:pt idx="8691">
                  <c:v>0.155002675227394</c:v>
                </c:pt>
                <c:pt idx="8692">
                  <c:v>0.15502051007668899</c:v>
                </c:pt>
                <c:pt idx="8693">
                  <c:v>0.15503834492598501</c:v>
                </c:pt>
                <c:pt idx="8694">
                  <c:v>0.15505617977528</c:v>
                </c:pt>
                <c:pt idx="8695">
                  <c:v>0.15507401462457601</c:v>
                </c:pt>
                <c:pt idx="8696">
                  <c:v>0.155091849473871</c:v>
                </c:pt>
                <c:pt idx="8697">
                  <c:v>0.15510968432316699</c:v>
                </c:pt>
                <c:pt idx="8698">
                  <c:v>0.15512751917246201</c:v>
                </c:pt>
                <c:pt idx="8699">
                  <c:v>0.155145354021758</c:v>
                </c:pt>
                <c:pt idx="8700">
                  <c:v>0.15516318887105399</c:v>
                </c:pt>
                <c:pt idx="8701">
                  <c:v>0.155181023720349</c:v>
                </c:pt>
                <c:pt idx="8702">
                  <c:v>0.15519885856964499</c:v>
                </c:pt>
                <c:pt idx="8703">
                  <c:v>0.15521669341894001</c:v>
                </c:pt>
                <c:pt idx="8704">
                  <c:v>0.155234528268236</c:v>
                </c:pt>
                <c:pt idx="8705">
                  <c:v>0.15525236311753099</c:v>
                </c:pt>
                <c:pt idx="8706">
                  <c:v>0.15527019796682701</c:v>
                </c:pt>
                <c:pt idx="8707">
                  <c:v>0.155288032816122</c:v>
                </c:pt>
                <c:pt idx="8708">
                  <c:v>0.15530586766541801</c:v>
                </c:pt>
                <c:pt idx="8709">
                  <c:v>0.155323702514713</c:v>
                </c:pt>
                <c:pt idx="8710">
                  <c:v>0.15534153736400899</c:v>
                </c:pt>
                <c:pt idx="8711">
                  <c:v>0.15535937221330401</c:v>
                </c:pt>
                <c:pt idx="8712">
                  <c:v>0.1553772070626</c:v>
                </c:pt>
                <c:pt idx="8713">
                  <c:v>0.15539504191189499</c:v>
                </c:pt>
                <c:pt idx="8714">
                  <c:v>0.155412876761191</c:v>
                </c:pt>
                <c:pt idx="8715">
                  <c:v>0.15543071161048599</c:v>
                </c:pt>
                <c:pt idx="8716">
                  <c:v>0.15544854645978201</c:v>
                </c:pt>
                <c:pt idx="8717">
                  <c:v>0.155466381309077</c:v>
                </c:pt>
                <c:pt idx="8718">
                  <c:v>0.15548421615837299</c:v>
                </c:pt>
                <c:pt idx="8719">
                  <c:v>0.15550205100766801</c:v>
                </c:pt>
                <c:pt idx="8720">
                  <c:v>0.155519885856964</c:v>
                </c:pt>
                <c:pt idx="8721">
                  <c:v>0.15553772070626001</c:v>
                </c:pt>
                <c:pt idx="8722">
                  <c:v>0.155555555555555</c:v>
                </c:pt>
                <c:pt idx="8723">
                  <c:v>0.15557339040485099</c:v>
                </c:pt>
                <c:pt idx="8724">
                  <c:v>0.15559122525414601</c:v>
                </c:pt>
                <c:pt idx="8725">
                  <c:v>0.155609060103442</c:v>
                </c:pt>
                <c:pt idx="8726">
                  <c:v>0.15562689495273699</c:v>
                </c:pt>
                <c:pt idx="8727">
                  <c:v>0.15564472980203301</c:v>
                </c:pt>
                <c:pt idx="8728">
                  <c:v>0.15566256465132799</c:v>
                </c:pt>
                <c:pt idx="8729">
                  <c:v>0.15568039950062401</c:v>
                </c:pt>
                <c:pt idx="8730">
                  <c:v>0.155698234349919</c:v>
                </c:pt>
                <c:pt idx="8731">
                  <c:v>0.15571606919921499</c:v>
                </c:pt>
                <c:pt idx="8732">
                  <c:v>0.15573390404851001</c:v>
                </c:pt>
                <c:pt idx="8733">
                  <c:v>0.155751738897806</c:v>
                </c:pt>
                <c:pt idx="8734">
                  <c:v>0.15576957374710099</c:v>
                </c:pt>
                <c:pt idx="8735">
                  <c:v>0.155787408596397</c:v>
                </c:pt>
                <c:pt idx="8736">
                  <c:v>0.15580524344569199</c:v>
                </c:pt>
                <c:pt idx="8737">
                  <c:v>0.15582307829498801</c:v>
                </c:pt>
                <c:pt idx="8738">
                  <c:v>0.155840913144283</c:v>
                </c:pt>
                <c:pt idx="8739">
                  <c:v>0.15585874799357899</c:v>
                </c:pt>
                <c:pt idx="8740">
                  <c:v>0.15587658284287401</c:v>
                </c:pt>
                <c:pt idx="8741">
                  <c:v>0.15589441769217</c:v>
                </c:pt>
                <c:pt idx="8742">
                  <c:v>0.15591225254146601</c:v>
                </c:pt>
                <c:pt idx="8743">
                  <c:v>0.155930087390761</c:v>
                </c:pt>
                <c:pt idx="8744">
                  <c:v>0.15594792224005699</c:v>
                </c:pt>
                <c:pt idx="8745">
                  <c:v>0.15596575708935201</c:v>
                </c:pt>
                <c:pt idx="8746">
                  <c:v>0.155983591938648</c:v>
                </c:pt>
                <c:pt idx="8747">
                  <c:v>0.15600142678794299</c:v>
                </c:pt>
                <c:pt idx="8748">
                  <c:v>0.156019261637239</c:v>
                </c:pt>
                <c:pt idx="8749">
                  <c:v>0.15603709648653399</c:v>
                </c:pt>
                <c:pt idx="8750">
                  <c:v>0.15605493133583001</c:v>
                </c:pt>
                <c:pt idx="8751">
                  <c:v>0.156072766185125</c:v>
                </c:pt>
                <c:pt idx="8752">
                  <c:v>0.15609060103442099</c:v>
                </c:pt>
                <c:pt idx="8753">
                  <c:v>0.15610843588371601</c:v>
                </c:pt>
                <c:pt idx="8754">
                  <c:v>0.156126270733012</c:v>
                </c:pt>
                <c:pt idx="8755">
                  <c:v>0.15614410558230701</c:v>
                </c:pt>
                <c:pt idx="8756">
                  <c:v>0.156161940431603</c:v>
                </c:pt>
                <c:pt idx="8757">
                  <c:v>0.15617977528089799</c:v>
                </c:pt>
                <c:pt idx="8758">
                  <c:v>0.15619761013019401</c:v>
                </c:pt>
                <c:pt idx="8759">
                  <c:v>0.156215444979489</c:v>
                </c:pt>
                <c:pt idx="8760">
                  <c:v>0.15623327982878499</c:v>
                </c:pt>
                <c:pt idx="8761">
                  <c:v>0.15625111467808001</c:v>
                </c:pt>
                <c:pt idx="8762">
                  <c:v>0.15626894952737599</c:v>
                </c:pt>
                <c:pt idx="8763">
                  <c:v>0.15628678437667201</c:v>
                </c:pt>
                <c:pt idx="8764">
                  <c:v>0.156304619225967</c:v>
                </c:pt>
                <c:pt idx="8765">
                  <c:v>0.15632245407526299</c:v>
                </c:pt>
                <c:pt idx="8766">
                  <c:v>0.15634028892455801</c:v>
                </c:pt>
                <c:pt idx="8767">
                  <c:v>0.156358123773854</c:v>
                </c:pt>
                <c:pt idx="8768">
                  <c:v>0.15637595862314899</c:v>
                </c:pt>
                <c:pt idx="8769">
                  <c:v>0.156393793472445</c:v>
                </c:pt>
                <c:pt idx="8770">
                  <c:v>0.15641162832173999</c:v>
                </c:pt>
                <c:pt idx="8771">
                  <c:v>0.15642946317103601</c:v>
                </c:pt>
                <c:pt idx="8772">
                  <c:v>0.156447298020331</c:v>
                </c:pt>
                <c:pt idx="8773">
                  <c:v>0.15646513286962699</c:v>
                </c:pt>
                <c:pt idx="8774">
                  <c:v>0.15648296771892201</c:v>
                </c:pt>
                <c:pt idx="8775">
                  <c:v>0.15650080256821799</c:v>
                </c:pt>
                <c:pt idx="8776">
                  <c:v>0.15651863741751301</c:v>
                </c:pt>
                <c:pt idx="8777">
                  <c:v>0.156536472266809</c:v>
                </c:pt>
                <c:pt idx="8778">
                  <c:v>0.15655430711610399</c:v>
                </c:pt>
                <c:pt idx="8779">
                  <c:v>0.15657214196540001</c:v>
                </c:pt>
                <c:pt idx="8780">
                  <c:v>0.156589976814695</c:v>
                </c:pt>
                <c:pt idx="8781">
                  <c:v>0.15660781166399099</c:v>
                </c:pt>
                <c:pt idx="8782">
                  <c:v>0.156625646513286</c:v>
                </c:pt>
                <c:pt idx="8783">
                  <c:v>0.15664348136258199</c:v>
                </c:pt>
                <c:pt idx="8784">
                  <c:v>0.15666131621187801</c:v>
                </c:pt>
                <c:pt idx="8785">
                  <c:v>0.156679151061173</c:v>
                </c:pt>
                <c:pt idx="8786">
                  <c:v>0.15669698591046899</c:v>
                </c:pt>
                <c:pt idx="8787">
                  <c:v>0.15671482075976401</c:v>
                </c:pt>
                <c:pt idx="8788">
                  <c:v>0.15673265560906</c:v>
                </c:pt>
                <c:pt idx="8789">
                  <c:v>0.15675049045835501</c:v>
                </c:pt>
                <c:pt idx="8790">
                  <c:v>0.156768325307651</c:v>
                </c:pt>
                <c:pt idx="8791">
                  <c:v>0.15678616015694599</c:v>
                </c:pt>
                <c:pt idx="8792">
                  <c:v>0.15680399500624201</c:v>
                </c:pt>
                <c:pt idx="8793">
                  <c:v>0.156821829855537</c:v>
                </c:pt>
                <c:pt idx="8794">
                  <c:v>0.15683966470483299</c:v>
                </c:pt>
                <c:pt idx="8795">
                  <c:v>0.156857499554128</c:v>
                </c:pt>
                <c:pt idx="8796">
                  <c:v>0.15687533440342399</c:v>
                </c:pt>
                <c:pt idx="8797">
                  <c:v>0.15689316925271901</c:v>
                </c:pt>
                <c:pt idx="8798">
                  <c:v>0.156911004102015</c:v>
                </c:pt>
                <c:pt idx="8799">
                  <c:v>0.15692883895130999</c:v>
                </c:pt>
                <c:pt idx="8800">
                  <c:v>0.15694667380060601</c:v>
                </c:pt>
                <c:pt idx="8801">
                  <c:v>0.156964508649901</c:v>
                </c:pt>
                <c:pt idx="8802">
                  <c:v>0.15698234349919701</c:v>
                </c:pt>
                <c:pt idx="8803">
                  <c:v>0.157000178348492</c:v>
                </c:pt>
                <c:pt idx="8804">
                  <c:v>0.15701801319778799</c:v>
                </c:pt>
                <c:pt idx="8805">
                  <c:v>0.15703584804708401</c:v>
                </c:pt>
                <c:pt idx="8806">
                  <c:v>0.157053682896379</c:v>
                </c:pt>
                <c:pt idx="8807">
                  <c:v>0.15707151774567499</c:v>
                </c:pt>
                <c:pt idx="8808">
                  <c:v>0.15708935259497001</c:v>
                </c:pt>
                <c:pt idx="8809">
                  <c:v>0.15710718744426599</c:v>
                </c:pt>
                <c:pt idx="8810">
                  <c:v>0.15712502229356101</c:v>
                </c:pt>
                <c:pt idx="8811">
                  <c:v>0.157142857142857</c:v>
                </c:pt>
                <c:pt idx="8812">
                  <c:v>0.15716069199215199</c:v>
                </c:pt>
                <c:pt idx="8813">
                  <c:v>0.15717852684144801</c:v>
                </c:pt>
                <c:pt idx="8814">
                  <c:v>0.157196361690743</c:v>
                </c:pt>
                <c:pt idx="8815">
                  <c:v>0.15721419654003899</c:v>
                </c:pt>
                <c:pt idx="8816">
                  <c:v>0.157232031389334</c:v>
                </c:pt>
                <c:pt idx="8817">
                  <c:v>0.15724986623862999</c:v>
                </c:pt>
                <c:pt idx="8818">
                  <c:v>0.15726770108792501</c:v>
                </c:pt>
                <c:pt idx="8819">
                  <c:v>0.157285535937221</c:v>
                </c:pt>
                <c:pt idx="8820">
                  <c:v>0.15730337078651599</c:v>
                </c:pt>
                <c:pt idx="8821">
                  <c:v>0.15732120563581201</c:v>
                </c:pt>
                <c:pt idx="8822">
                  <c:v>0.157339040485107</c:v>
                </c:pt>
                <c:pt idx="8823">
                  <c:v>0.15735687533440301</c:v>
                </c:pt>
                <c:pt idx="8824">
                  <c:v>0.157374710183698</c:v>
                </c:pt>
                <c:pt idx="8825">
                  <c:v>0.15739254503299399</c:v>
                </c:pt>
                <c:pt idx="8826">
                  <c:v>0.15741037988229001</c:v>
                </c:pt>
                <c:pt idx="8827">
                  <c:v>0.157428214731585</c:v>
                </c:pt>
                <c:pt idx="8828">
                  <c:v>0.15744604958088099</c:v>
                </c:pt>
                <c:pt idx="8829">
                  <c:v>0.157463884430176</c:v>
                </c:pt>
                <c:pt idx="8830">
                  <c:v>0.15748171927947199</c:v>
                </c:pt>
                <c:pt idx="8831">
                  <c:v>0.15749955412876701</c:v>
                </c:pt>
                <c:pt idx="8832">
                  <c:v>0.157517388978063</c:v>
                </c:pt>
                <c:pt idx="8833">
                  <c:v>0.15753522382735799</c:v>
                </c:pt>
                <c:pt idx="8834">
                  <c:v>0.15755305867665401</c:v>
                </c:pt>
                <c:pt idx="8835">
                  <c:v>0.157570893525949</c:v>
                </c:pt>
                <c:pt idx="8836">
                  <c:v>0.15758872837524501</c:v>
                </c:pt>
                <c:pt idx="8837">
                  <c:v>0.15760656322454</c:v>
                </c:pt>
                <c:pt idx="8838">
                  <c:v>0.15762439807383599</c:v>
                </c:pt>
                <c:pt idx="8839">
                  <c:v>0.15764223292313101</c:v>
                </c:pt>
                <c:pt idx="8840">
                  <c:v>0.157660067772427</c:v>
                </c:pt>
                <c:pt idx="8841">
                  <c:v>0.15767790262172199</c:v>
                </c:pt>
                <c:pt idx="8842">
                  <c:v>0.157695737471018</c:v>
                </c:pt>
                <c:pt idx="8843">
                  <c:v>0.15771357232031299</c:v>
                </c:pt>
                <c:pt idx="8844">
                  <c:v>0.15773140716960901</c:v>
                </c:pt>
                <c:pt idx="8845">
                  <c:v>0.157749242018904</c:v>
                </c:pt>
                <c:pt idx="8846">
                  <c:v>0.15776707686819999</c:v>
                </c:pt>
                <c:pt idx="8847">
                  <c:v>0.15778491171749501</c:v>
                </c:pt>
                <c:pt idx="8848">
                  <c:v>0.157802746566791</c:v>
                </c:pt>
                <c:pt idx="8849">
                  <c:v>0.15782058141608701</c:v>
                </c:pt>
                <c:pt idx="8850">
                  <c:v>0.157838416265382</c:v>
                </c:pt>
                <c:pt idx="8851">
                  <c:v>0.15785625111467799</c:v>
                </c:pt>
                <c:pt idx="8852">
                  <c:v>0.15787408596397301</c:v>
                </c:pt>
                <c:pt idx="8853">
                  <c:v>0.157891920813269</c:v>
                </c:pt>
                <c:pt idx="8854">
                  <c:v>0.15790975566256399</c:v>
                </c:pt>
                <c:pt idx="8855">
                  <c:v>0.15792759051186001</c:v>
                </c:pt>
                <c:pt idx="8856">
                  <c:v>0.157945425361155</c:v>
                </c:pt>
                <c:pt idx="8857">
                  <c:v>0.15796326021045101</c:v>
                </c:pt>
                <c:pt idx="8858">
                  <c:v>0.157981095059746</c:v>
                </c:pt>
                <c:pt idx="8859">
                  <c:v>0.15799892990904199</c:v>
                </c:pt>
                <c:pt idx="8860">
                  <c:v>0.15801676475833701</c:v>
                </c:pt>
                <c:pt idx="8861">
                  <c:v>0.158034599607633</c:v>
                </c:pt>
                <c:pt idx="8862">
                  <c:v>0.15805243445692799</c:v>
                </c:pt>
                <c:pt idx="8863">
                  <c:v>0.158070269306224</c:v>
                </c:pt>
                <c:pt idx="8864">
                  <c:v>0.15808810415551899</c:v>
                </c:pt>
                <c:pt idx="8865">
                  <c:v>0.15810593900481501</c:v>
                </c:pt>
                <c:pt idx="8866">
                  <c:v>0.15812377385411</c:v>
                </c:pt>
                <c:pt idx="8867">
                  <c:v>0.15814160870340599</c:v>
                </c:pt>
                <c:pt idx="8868">
                  <c:v>0.15815944355270101</c:v>
                </c:pt>
                <c:pt idx="8869">
                  <c:v>0.158177278401997</c:v>
                </c:pt>
                <c:pt idx="8870">
                  <c:v>0.15819511325129301</c:v>
                </c:pt>
                <c:pt idx="8871">
                  <c:v>0.158212948100588</c:v>
                </c:pt>
                <c:pt idx="8872">
                  <c:v>0.15823078294988399</c:v>
                </c:pt>
                <c:pt idx="8873">
                  <c:v>0.15824861779917901</c:v>
                </c:pt>
                <c:pt idx="8874">
                  <c:v>0.158266452648475</c:v>
                </c:pt>
                <c:pt idx="8875">
                  <c:v>0.15828428749776999</c:v>
                </c:pt>
                <c:pt idx="8876">
                  <c:v>0.158302122347066</c:v>
                </c:pt>
                <c:pt idx="8877">
                  <c:v>0.15831995719636099</c:v>
                </c:pt>
                <c:pt idx="8878">
                  <c:v>0.15833779204565701</c:v>
                </c:pt>
                <c:pt idx="8879">
                  <c:v>0.158355626894952</c:v>
                </c:pt>
                <c:pt idx="8880">
                  <c:v>0.15837346174424799</c:v>
                </c:pt>
                <c:pt idx="8881">
                  <c:v>0.15839129659354301</c:v>
                </c:pt>
                <c:pt idx="8882">
                  <c:v>0.158409131442839</c:v>
                </c:pt>
                <c:pt idx="8883">
                  <c:v>0.15842696629213401</c:v>
                </c:pt>
                <c:pt idx="8884">
                  <c:v>0.15844480114143</c:v>
                </c:pt>
                <c:pt idx="8885">
                  <c:v>0.15846263599072499</c:v>
                </c:pt>
                <c:pt idx="8886">
                  <c:v>0.15848047084002101</c:v>
                </c:pt>
                <c:pt idx="8887">
                  <c:v>0.158498305689316</c:v>
                </c:pt>
                <c:pt idx="8888">
                  <c:v>0.15851614053861199</c:v>
                </c:pt>
                <c:pt idx="8889">
                  <c:v>0.15853397538790701</c:v>
                </c:pt>
                <c:pt idx="8890">
                  <c:v>0.15855181023720299</c:v>
                </c:pt>
                <c:pt idx="8891">
                  <c:v>0.15856964508649901</c:v>
                </c:pt>
                <c:pt idx="8892">
                  <c:v>0.158587479935794</c:v>
                </c:pt>
                <c:pt idx="8893">
                  <c:v>0.15860531478508999</c:v>
                </c:pt>
                <c:pt idx="8894">
                  <c:v>0.15862314963438501</c:v>
                </c:pt>
                <c:pt idx="8895">
                  <c:v>0.158640984483681</c:v>
                </c:pt>
                <c:pt idx="8896">
                  <c:v>0.15865881933297599</c:v>
                </c:pt>
                <c:pt idx="8897">
                  <c:v>0.158676654182272</c:v>
                </c:pt>
                <c:pt idx="8898">
                  <c:v>0.15869448903156699</c:v>
                </c:pt>
                <c:pt idx="8899">
                  <c:v>0.15871232388086301</c:v>
                </c:pt>
                <c:pt idx="8900">
                  <c:v>0.158730158730158</c:v>
                </c:pt>
                <c:pt idx="8901">
                  <c:v>0.15874799357945399</c:v>
                </c:pt>
                <c:pt idx="8902">
                  <c:v>0.15876582842874901</c:v>
                </c:pt>
                <c:pt idx="8903">
                  <c:v>0.158783663278045</c:v>
                </c:pt>
                <c:pt idx="8904">
                  <c:v>0.15880149812734001</c:v>
                </c:pt>
                <c:pt idx="8905">
                  <c:v>0.158819332976636</c:v>
                </c:pt>
                <c:pt idx="8906">
                  <c:v>0.15883716782593099</c:v>
                </c:pt>
                <c:pt idx="8907">
                  <c:v>0.15885500267522701</c:v>
                </c:pt>
                <c:pt idx="8908">
                  <c:v>0.158872837524522</c:v>
                </c:pt>
                <c:pt idx="8909">
                  <c:v>0.15889067237381799</c:v>
                </c:pt>
                <c:pt idx="8910">
                  <c:v>0.158908507223113</c:v>
                </c:pt>
                <c:pt idx="8911">
                  <c:v>0.15892634207240899</c:v>
                </c:pt>
                <c:pt idx="8912">
                  <c:v>0.15894417692170501</c:v>
                </c:pt>
                <c:pt idx="8913">
                  <c:v>0.158962011771</c:v>
                </c:pt>
                <c:pt idx="8914">
                  <c:v>0.15897984662029599</c:v>
                </c:pt>
                <c:pt idx="8915">
                  <c:v>0.15899768146959101</c:v>
                </c:pt>
                <c:pt idx="8916">
                  <c:v>0.159015516318887</c:v>
                </c:pt>
                <c:pt idx="8917">
                  <c:v>0.15903335116818201</c:v>
                </c:pt>
                <c:pt idx="8918">
                  <c:v>0.159051186017478</c:v>
                </c:pt>
                <c:pt idx="8919">
                  <c:v>0.15906902086677299</c:v>
                </c:pt>
                <c:pt idx="8920">
                  <c:v>0.15908685571606901</c:v>
                </c:pt>
                <c:pt idx="8921">
                  <c:v>0.159104690565364</c:v>
                </c:pt>
                <c:pt idx="8922">
                  <c:v>0.15912252541465999</c:v>
                </c:pt>
                <c:pt idx="8923">
                  <c:v>0.15914036026395501</c:v>
                </c:pt>
                <c:pt idx="8924">
                  <c:v>0.15915819511325099</c:v>
                </c:pt>
                <c:pt idx="8925">
                  <c:v>0.15917602996254601</c:v>
                </c:pt>
                <c:pt idx="8926">
                  <c:v>0.159193864811842</c:v>
                </c:pt>
                <c:pt idx="8927">
                  <c:v>0.15921169966113699</c:v>
                </c:pt>
                <c:pt idx="8928">
                  <c:v>0.15922953451043301</c:v>
                </c:pt>
                <c:pt idx="8929">
                  <c:v>0.159247369359728</c:v>
                </c:pt>
                <c:pt idx="8930">
                  <c:v>0.15926520420902401</c:v>
                </c:pt>
                <c:pt idx="8931">
                  <c:v>0.159283039058319</c:v>
                </c:pt>
                <c:pt idx="8932">
                  <c:v>0.15930087390761499</c:v>
                </c:pt>
                <c:pt idx="8933">
                  <c:v>0.15931870875691101</c:v>
                </c:pt>
                <c:pt idx="8934">
                  <c:v>0.159336543606206</c:v>
                </c:pt>
                <c:pt idx="8935">
                  <c:v>0.15935437845550199</c:v>
                </c:pt>
                <c:pt idx="8936">
                  <c:v>0.15937221330479701</c:v>
                </c:pt>
                <c:pt idx="8937">
                  <c:v>0.15939004815409299</c:v>
                </c:pt>
                <c:pt idx="8938">
                  <c:v>0.15940788300338801</c:v>
                </c:pt>
                <c:pt idx="8939">
                  <c:v>0.159425717852684</c:v>
                </c:pt>
                <c:pt idx="8940">
                  <c:v>0.15944355270197899</c:v>
                </c:pt>
                <c:pt idx="8941">
                  <c:v>0.15946138755127501</c:v>
                </c:pt>
                <c:pt idx="8942">
                  <c:v>0.15947922240057</c:v>
                </c:pt>
                <c:pt idx="8943">
                  <c:v>0.15949705724986599</c:v>
                </c:pt>
                <c:pt idx="8944">
                  <c:v>0.159514892099161</c:v>
                </c:pt>
                <c:pt idx="8945">
                  <c:v>0.15953272694845699</c:v>
                </c:pt>
                <c:pt idx="8946">
                  <c:v>0.15955056179775201</c:v>
                </c:pt>
                <c:pt idx="8947">
                  <c:v>0.159568396647048</c:v>
                </c:pt>
                <c:pt idx="8948">
                  <c:v>0.15958623149634299</c:v>
                </c:pt>
                <c:pt idx="8949">
                  <c:v>0.15960406634563901</c:v>
                </c:pt>
                <c:pt idx="8950">
                  <c:v>0.159621901194934</c:v>
                </c:pt>
                <c:pt idx="8951">
                  <c:v>0.15963973604423001</c:v>
                </c:pt>
                <c:pt idx="8952">
                  <c:v>0.159657570893525</c:v>
                </c:pt>
                <c:pt idx="8953">
                  <c:v>0.15967540574282099</c:v>
                </c:pt>
                <c:pt idx="8954">
                  <c:v>0.15969324059211701</c:v>
                </c:pt>
                <c:pt idx="8955">
                  <c:v>0.159711075441412</c:v>
                </c:pt>
                <c:pt idx="8956">
                  <c:v>0.15972891029070799</c:v>
                </c:pt>
                <c:pt idx="8957">
                  <c:v>0.159746745140003</c:v>
                </c:pt>
                <c:pt idx="8958">
                  <c:v>0.15976457998929899</c:v>
                </c:pt>
                <c:pt idx="8959">
                  <c:v>0.15978241483859401</c:v>
                </c:pt>
                <c:pt idx="8960">
                  <c:v>0.15980024968789</c:v>
                </c:pt>
                <c:pt idx="8961">
                  <c:v>0.15981808453718499</c:v>
                </c:pt>
                <c:pt idx="8962">
                  <c:v>0.15983591938648101</c:v>
                </c:pt>
                <c:pt idx="8963">
                  <c:v>0.159853754235776</c:v>
                </c:pt>
                <c:pt idx="8964">
                  <c:v>0.15987158908507201</c:v>
                </c:pt>
                <c:pt idx="8965">
                  <c:v>0.159889423934367</c:v>
                </c:pt>
                <c:pt idx="8966">
                  <c:v>0.15990725878366299</c:v>
                </c:pt>
                <c:pt idx="8967">
                  <c:v>0.15992509363295801</c:v>
                </c:pt>
                <c:pt idx="8968">
                  <c:v>0.159942928482254</c:v>
                </c:pt>
                <c:pt idx="8969">
                  <c:v>0.15996076333154899</c:v>
                </c:pt>
                <c:pt idx="8970">
                  <c:v>0.15997859818084501</c:v>
                </c:pt>
                <c:pt idx="8971">
                  <c:v>0.15999643303014</c:v>
                </c:pt>
                <c:pt idx="8972">
                  <c:v>0.16001426787943601</c:v>
                </c:pt>
                <c:pt idx="8973">
                  <c:v>0.160032102728731</c:v>
                </c:pt>
                <c:pt idx="8974">
                  <c:v>0.16004993757802699</c:v>
                </c:pt>
                <c:pt idx="8975">
                  <c:v>0.16006777242732201</c:v>
                </c:pt>
                <c:pt idx="8976">
                  <c:v>0.160085607276618</c:v>
                </c:pt>
                <c:pt idx="8977">
                  <c:v>0.16010344212591399</c:v>
                </c:pt>
                <c:pt idx="8978">
                  <c:v>0.160121276975209</c:v>
                </c:pt>
                <c:pt idx="8979">
                  <c:v>0.16013911182450499</c:v>
                </c:pt>
                <c:pt idx="8980">
                  <c:v>0.16015694667380001</c:v>
                </c:pt>
                <c:pt idx="8981">
                  <c:v>0.160174781523096</c:v>
                </c:pt>
                <c:pt idx="8982">
                  <c:v>0.16019261637239099</c:v>
                </c:pt>
                <c:pt idx="8983">
                  <c:v>0.16021045122168701</c:v>
                </c:pt>
                <c:pt idx="8984">
                  <c:v>0.160228286070982</c:v>
                </c:pt>
                <c:pt idx="8985">
                  <c:v>0.16024612092027801</c:v>
                </c:pt>
                <c:pt idx="8986">
                  <c:v>0.160263955769573</c:v>
                </c:pt>
                <c:pt idx="8987">
                  <c:v>0.16028179061886899</c:v>
                </c:pt>
                <c:pt idx="8988">
                  <c:v>0.16029962546816401</c:v>
                </c:pt>
                <c:pt idx="8989">
                  <c:v>0.16031746031746</c:v>
                </c:pt>
                <c:pt idx="8990">
                  <c:v>0.16033529516675499</c:v>
                </c:pt>
                <c:pt idx="8991">
                  <c:v>0.160353130016051</c:v>
                </c:pt>
                <c:pt idx="8992">
                  <c:v>0.16037096486534599</c:v>
                </c:pt>
                <c:pt idx="8993">
                  <c:v>0.16038879971464201</c:v>
                </c:pt>
                <c:pt idx="8994">
                  <c:v>0.160406634563937</c:v>
                </c:pt>
                <c:pt idx="8995">
                  <c:v>0.16042446941323299</c:v>
                </c:pt>
                <c:pt idx="8996">
                  <c:v>0.16044230426252801</c:v>
                </c:pt>
                <c:pt idx="8997">
                  <c:v>0.160460139111824</c:v>
                </c:pt>
                <c:pt idx="8998">
                  <c:v>0.16047797396112001</c:v>
                </c:pt>
                <c:pt idx="8999">
                  <c:v>0.160495808810415</c:v>
                </c:pt>
                <c:pt idx="9000">
                  <c:v>0.16051364365971099</c:v>
                </c:pt>
                <c:pt idx="9001">
                  <c:v>0.16053147850900601</c:v>
                </c:pt>
                <c:pt idx="9002">
                  <c:v>0.160549313358302</c:v>
                </c:pt>
                <c:pt idx="9003">
                  <c:v>0.16056714820759699</c:v>
                </c:pt>
                <c:pt idx="9004">
                  <c:v>0.160584983056893</c:v>
                </c:pt>
                <c:pt idx="9005">
                  <c:v>0.16060281790618799</c:v>
                </c:pt>
                <c:pt idx="9006">
                  <c:v>0.16062065275548401</c:v>
                </c:pt>
                <c:pt idx="9007">
                  <c:v>0.160638487604779</c:v>
                </c:pt>
                <c:pt idx="9008">
                  <c:v>0.16065632245407499</c:v>
                </c:pt>
                <c:pt idx="9009">
                  <c:v>0.16067415730337001</c:v>
                </c:pt>
                <c:pt idx="9010">
                  <c:v>0.160691992152666</c:v>
                </c:pt>
                <c:pt idx="9011">
                  <c:v>0.16070982700196099</c:v>
                </c:pt>
                <c:pt idx="9012">
                  <c:v>0.160727661851257</c:v>
                </c:pt>
                <c:pt idx="9013">
                  <c:v>0.16074549670055199</c:v>
                </c:pt>
                <c:pt idx="9014">
                  <c:v>0.16076333154984801</c:v>
                </c:pt>
                <c:pt idx="9015">
                  <c:v>0.160781166399143</c:v>
                </c:pt>
                <c:pt idx="9016">
                  <c:v>0.16079900124843899</c:v>
                </c:pt>
                <c:pt idx="9017">
                  <c:v>0.16081683609773401</c:v>
                </c:pt>
                <c:pt idx="9018">
                  <c:v>0.16083467094703</c:v>
                </c:pt>
                <c:pt idx="9019">
                  <c:v>0.16085250579632601</c:v>
                </c:pt>
                <c:pt idx="9020">
                  <c:v>0.160870340645621</c:v>
                </c:pt>
                <c:pt idx="9021">
                  <c:v>0.16088817549491699</c:v>
                </c:pt>
                <c:pt idx="9022">
                  <c:v>0.16090601034421201</c:v>
                </c:pt>
                <c:pt idx="9023">
                  <c:v>0.160923845193508</c:v>
                </c:pt>
                <c:pt idx="9024">
                  <c:v>0.16094168004280299</c:v>
                </c:pt>
                <c:pt idx="9025">
                  <c:v>0.160959514892099</c:v>
                </c:pt>
                <c:pt idx="9026">
                  <c:v>0.16097734974139399</c:v>
                </c:pt>
                <c:pt idx="9027">
                  <c:v>0.16099518459069001</c:v>
                </c:pt>
                <c:pt idx="9028">
                  <c:v>0.161013019439985</c:v>
                </c:pt>
                <c:pt idx="9029">
                  <c:v>0.16103085428928099</c:v>
                </c:pt>
                <c:pt idx="9030">
                  <c:v>0.16104868913857601</c:v>
                </c:pt>
                <c:pt idx="9031">
                  <c:v>0.161066523987872</c:v>
                </c:pt>
                <c:pt idx="9032">
                  <c:v>0.16108435883716701</c:v>
                </c:pt>
                <c:pt idx="9033">
                  <c:v>0.161102193686463</c:v>
                </c:pt>
                <c:pt idx="9034">
                  <c:v>0.16112002853575799</c:v>
                </c:pt>
                <c:pt idx="9035">
                  <c:v>0.16113786338505401</c:v>
                </c:pt>
                <c:pt idx="9036">
                  <c:v>0.161155698234349</c:v>
                </c:pt>
                <c:pt idx="9037">
                  <c:v>0.16117353308364499</c:v>
                </c:pt>
                <c:pt idx="9038">
                  <c:v>0.16119136793294001</c:v>
                </c:pt>
                <c:pt idx="9039">
                  <c:v>0.16120920278223599</c:v>
                </c:pt>
                <c:pt idx="9040">
                  <c:v>0.16122703763153201</c:v>
                </c:pt>
                <c:pt idx="9041">
                  <c:v>0.161244872480827</c:v>
                </c:pt>
                <c:pt idx="9042">
                  <c:v>0.16126270733012299</c:v>
                </c:pt>
                <c:pt idx="9043">
                  <c:v>0.16128054217941801</c:v>
                </c:pt>
                <c:pt idx="9044">
                  <c:v>0.161298377028714</c:v>
                </c:pt>
                <c:pt idx="9045">
                  <c:v>0.16131621187800901</c:v>
                </c:pt>
                <c:pt idx="9046">
                  <c:v>0.161334046727305</c:v>
                </c:pt>
                <c:pt idx="9047">
                  <c:v>0.16135188157659999</c:v>
                </c:pt>
                <c:pt idx="9048">
                  <c:v>0.16136971642589601</c:v>
                </c:pt>
                <c:pt idx="9049">
                  <c:v>0.161387551275191</c:v>
                </c:pt>
                <c:pt idx="9050">
                  <c:v>0.16140538612448699</c:v>
                </c:pt>
                <c:pt idx="9051">
                  <c:v>0.16142322097378201</c:v>
                </c:pt>
                <c:pt idx="9052">
                  <c:v>0.16144105582307799</c:v>
                </c:pt>
                <c:pt idx="9053">
                  <c:v>0.16145889067237301</c:v>
                </c:pt>
                <c:pt idx="9054">
                  <c:v>0.161476725521669</c:v>
                </c:pt>
                <c:pt idx="9055">
                  <c:v>0.16149456037096399</c:v>
                </c:pt>
                <c:pt idx="9056">
                  <c:v>0.16151239522026001</c:v>
                </c:pt>
                <c:pt idx="9057">
                  <c:v>0.161530230069555</c:v>
                </c:pt>
                <c:pt idx="9058">
                  <c:v>0.16154806491885099</c:v>
                </c:pt>
                <c:pt idx="9059">
                  <c:v>0.161565899768146</c:v>
                </c:pt>
                <c:pt idx="9060">
                  <c:v>0.16158373461744199</c:v>
                </c:pt>
                <c:pt idx="9061">
                  <c:v>0.16160156946673801</c:v>
                </c:pt>
                <c:pt idx="9062">
                  <c:v>0.161619404316033</c:v>
                </c:pt>
                <c:pt idx="9063">
                  <c:v>0.16163723916532899</c:v>
                </c:pt>
                <c:pt idx="9064">
                  <c:v>0.16165507401462401</c:v>
                </c:pt>
                <c:pt idx="9065">
                  <c:v>0.16167290886392</c:v>
                </c:pt>
                <c:pt idx="9066">
                  <c:v>0.16169074371321501</c:v>
                </c:pt>
                <c:pt idx="9067">
                  <c:v>0.161708578562511</c:v>
                </c:pt>
                <c:pt idx="9068">
                  <c:v>0.16172641341180599</c:v>
                </c:pt>
                <c:pt idx="9069">
                  <c:v>0.16174424826110201</c:v>
                </c:pt>
                <c:pt idx="9070">
                  <c:v>0.161762083110397</c:v>
                </c:pt>
                <c:pt idx="9071">
                  <c:v>0.16177991795969299</c:v>
                </c:pt>
                <c:pt idx="9072">
                  <c:v>0.161797752808988</c:v>
                </c:pt>
                <c:pt idx="9073">
                  <c:v>0.16181558765828399</c:v>
                </c:pt>
                <c:pt idx="9074">
                  <c:v>0.16183342250757901</c:v>
                </c:pt>
                <c:pt idx="9075">
                  <c:v>0.161851257356875</c:v>
                </c:pt>
                <c:pt idx="9076">
                  <c:v>0.16186909220616999</c:v>
                </c:pt>
                <c:pt idx="9077">
                  <c:v>0.16188692705546601</c:v>
                </c:pt>
                <c:pt idx="9078">
                  <c:v>0.161904761904761</c:v>
                </c:pt>
                <c:pt idx="9079">
                  <c:v>0.16192259675405701</c:v>
                </c:pt>
                <c:pt idx="9080">
                  <c:v>0.161940431603352</c:v>
                </c:pt>
                <c:pt idx="9081">
                  <c:v>0.16195826645264799</c:v>
                </c:pt>
                <c:pt idx="9082">
                  <c:v>0.16197610130194401</c:v>
                </c:pt>
                <c:pt idx="9083">
                  <c:v>0.161993936151239</c:v>
                </c:pt>
                <c:pt idx="9084">
                  <c:v>0.16201177100053499</c:v>
                </c:pt>
                <c:pt idx="9085">
                  <c:v>0.16202960584983001</c:v>
                </c:pt>
                <c:pt idx="9086">
                  <c:v>0.16204744069912599</c:v>
                </c:pt>
                <c:pt idx="9087">
                  <c:v>0.16206527554842101</c:v>
                </c:pt>
                <c:pt idx="9088">
                  <c:v>0.162083110397717</c:v>
                </c:pt>
                <c:pt idx="9089">
                  <c:v>0.16210094524701199</c:v>
                </c:pt>
                <c:pt idx="9090">
                  <c:v>0.16211878009630801</c:v>
                </c:pt>
                <c:pt idx="9091">
                  <c:v>0.162136614945603</c:v>
                </c:pt>
                <c:pt idx="9092">
                  <c:v>0.16215444979489901</c:v>
                </c:pt>
                <c:pt idx="9093">
                  <c:v>0.162172284644194</c:v>
                </c:pt>
                <c:pt idx="9094">
                  <c:v>0.16219011949348999</c:v>
                </c:pt>
                <c:pt idx="9095">
                  <c:v>0.16220795434278501</c:v>
                </c:pt>
                <c:pt idx="9096">
                  <c:v>0.162225789192081</c:v>
                </c:pt>
                <c:pt idx="9097">
                  <c:v>0.16224362404137599</c:v>
                </c:pt>
                <c:pt idx="9098">
                  <c:v>0.16226145889067201</c:v>
                </c:pt>
                <c:pt idx="9099">
                  <c:v>0.162279293739967</c:v>
                </c:pt>
                <c:pt idx="9100">
                  <c:v>0.16229712858926301</c:v>
                </c:pt>
                <c:pt idx="9101">
                  <c:v>0.162314963438558</c:v>
                </c:pt>
                <c:pt idx="9102">
                  <c:v>0.16233279828785399</c:v>
                </c:pt>
                <c:pt idx="9103">
                  <c:v>0.16235063313714901</c:v>
                </c:pt>
                <c:pt idx="9104">
                  <c:v>0.162368467986445</c:v>
                </c:pt>
                <c:pt idx="9105">
                  <c:v>0.16238630283574099</c:v>
                </c:pt>
                <c:pt idx="9106">
                  <c:v>0.162404137685036</c:v>
                </c:pt>
                <c:pt idx="9107">
                  <c:v>0.16242197253433199</c:v>
                </c:pt>
                <c:pt idx="9108">
                  <c:v>0.16243980738362701</c:v>
                </c:pt>
                <c:pt idx="9109">
                  <c:v>0.162457642232923</c:v>
                </c:pt>
                <c:pt idx="9110">
                  <c:v>0.16247547708221799</c:v>
                </c:pt>
                <c:pt idx="9111">
                  <c:v>0.16249331193151401</c:v>
                </c:pt>
                <c:pt idx="9112">
                  <c:v>0.162511146780809</c:v>
                </c:pt>
                <c:pt idx="9113">
                  <c:v>0.16252898163010501</c:v>
                </c:pt>
                <c:pt idx="9114">
                  <c:v>0.1625468164794</c:v>
                </c:pt>
                <c:pt idx="9115">
                  <c:v>0.16256465132869599</c:v>
                </c:pt>
                <c:pt idx="9116">
                  <c:v>0.16258248617799101</c:v>
                </c:pt>
                <c:pt idx="9117">
                  <c:v>0.162600321027287</c:v>
                </c:pt>
                <c:pt idx="9118">
                  <c:v>0.16261815587658199</c:v>
                </c:pt>
                <c:pt idx="9119">
                  <c:v>0.162635990725878</c:v>
                </c:pt>
                <c:pt idx="9120">
                  <c:v>0.16265382557517299</c:v>
                </c:pt>
                <c:pt idx="9121">
                  <c:v>0.16267166042446901</c:v>
                </c:pt>
                <c:pt idx="9122">
                  <c:v>0.162689495273764</c:v>
                </c:pt>
                <c:pt idx="9123">
                  <c:v>0.16270733012305999</c:v>
                </c:pt>
                <c:pt idx="9124">
                  <c:v>0.16272516497235501</c:v>
                </c:pt>
                <c:pt idx="9125">
                  <c:v>0.162742999821651</c:v>
                </c:pt>
                <c:pt idx="9126">
                  <c:v>0.16276083467094701</c:v>
                </c:pt>
                <c:pt idx="9127">
                  <c:v>0.162778669520242</c:v>
                </c:pt>
                <c:pt idx="9128">
                  <c:v>0.16279650436953799</c:v>
                </c:pt>
                <c:pt idx="9129">
                  <c:v>0.16281433921883301</c:v>
                </c:pt>
                <c:pt idx="9130">
                  <c:v>0.162832174068129</c:v>
                </c:pt>
                <c:pt idx="9131">
                  <c:v>0.16285000891742399</c:v>
                </c:pt>
                <c:pt idx="9132">
                  <c:v>0.16286784376672001</c:v>
                </c:pt>
                <c:pt idx="9133">
                  <c:v>0.16288567861601499</c:v>
                </c:pt>
                <c:pt idx="9134">
                  <c:v>0.16290351346531101</c:v>
                </c:pt>
                <c:pt idx="9135">
                  <c:v>0.162921348314606</c:v>
                </c:pt>
                <c:pt idx="9136">
                  <c:v>0.16293918316390199</c:v>
                </c:pt>
                <c:pt idx="9137">
                  <c:v>0.16295701801319701</c:v>
                </c:pt>
                <c:pt idx="9138">
                  <c:v>0.162974852862493</c:v>
                </c:pt>
                <c:pt idx="9139">
                  <c:v>0.16299268771178799</c:v>
                </c:pt>
                <c:pt idx="9140">
                  <c:v>0.163010522561084</c:v>
                </c:pt>
                <c:pt idx="9141">
                  <c:v>0.16302835741037899</c:v>
                </c:pt>
                <c:pt idx="9142">
                  <c:v>0.16304619225967501</c:v>
                </c:pt>
                <c:pt idx="9143">
                  <c:v>0.16306402710897</c:v>
                </c:pt>
                <c:pt idx="9144">
                  <c:v>0.16308186195826599</c:v>
                </c:pt>
                <c:pt idx="9145">
                  <c:v>0.16309969680756101</c:v>
                </c:pt>
                <c:pt idx="9146">
                  <c:v>0.163117531656857</c:v>
                </c:pt>
                <c:pt idx="9147">
                  <c:v>0.16313536650615301</c:v>
                </c:pt>
                <c:pt idx="9148">
                  <c:v>0.163153201355448</c:v>
                </c:pt>
                <c:pt idx="9149">
                  <c:v>0.16317103620474399</c:v>
                </c:pt>
                <c:pt idx="9150">
                  <c:v>0.16318887105403901</c:v>
                </c:pt>
                <c:pt idx="9151">
                  <c:v>0.163206705903335</c:v>
                </c:pt>
                <c:pt idx="9152">
                  <c:v>0.16322454075262999</c:v>
                </c:pt>
                <c:pt idx="9153">
                  <c:v>0.163242375601926</c:v>
                </c:pt>
                <c:pt idx="9154">
                  <c:v>0.16326021045122099</c:v>
                </c:pt>
                <c:pt idx="9155">
                  <c:v>0.16327804530051701</c:v>
                </c:pt>
                <c:pt idx="9156">
                  <c:v>0.163295880149812</c:v>
                </c:pt>
                <c:pt idx="9157">
                  <c:v>0.16331371499910799</c:v>
                </c:pt>
                <c:pt idx="9158">
                  <c:v>0.16333154984840301</c:v>
                </c:pt>
                <c:pt idx="9159">
                  <c:v>0.163349384697699</c:v>
                </c:pt>
                <c:pt idx="9160">
                  <c:v>0.16336721954699401</c:v>
                </c:pt>
                <c:pt idx="9161">
                  <c:v>0.16338505439629</c:v>
                </c:pt>
                <c:pt idx="9162">
                  <c:v>0.16340288924558499</c:v>
                </c:pt>
                <c:pt idx="9163">
                  <c:v>0.16342072409488101</c:v>
                </c:pt>
                <c:pt idx="9164">
                  <c:v>0.163438558944176</c:v>
                </c:pt>
                <c:pt idx="9165">
                  <c:v>0.16345639379347199</c:v>
                </c:pt>
                <c:pt idx="9166">
                  <c:v>0.16347422864276701</c:v>
                </c:pt>
                <c:pt idx="9167">
                  <c:v>0.16349206349206299</c:v>
                </c:pt>
                <c:pt idx="9168">
                  <c:v>0.16350989834135901</c:v>
                </c:pt>
                <c:pt idx="9169">
                  <c:v>0.163527733190654</c:v>
                </c:pt>
                <c:pt idx="9170">
                  <c:v>0.16354556803994999</c:v>
                </c:pt>
                <c:pt idx="9171">
                  <c:v>0.16356340288924501</c:v>
                </c:pt>
                <c:pt idx="9172">
                  <c:v>0.163581237738541</c:v>
                </c:pt>
                <c:pt idx="9173">
                  <c:v>0.16359907258783599</c:v>
                </c:pt>
                <c:pt idx="9174">
                  <c:v>0.163616907437132</c:v>
                </c:pt>
                <c:pt idx="9175">
                  <c:v>0.16363474228642699</c:v>
                </c:pt>
                <c:pt idx="9176">
                  <c:v>0.16365257713572301</c:v>
                </c:pt>
                <c:pt idx="9177">
                  <c:v>0.163670411985018</c:v>
                </c:pt>
                <c:pt idx="9178">
                  <c:v>0.16368824683431399</c:v>
                </c:pt>
                <c:pt idx="9179">
                  <c:v>0.16370608168360901</c:v>
                </c:pt>
                <c:pt idx="9180">
                  <c:v>0.163723916532905</c:v>
                </c:pt>
                <c:pt idx="9181">
                  <c:v>0.16374175138220001</c:v>
                </c:pt>
                <c:pt idx="9182">
                  <c:v>0.163759586231496</c:v>
                </c:pt>
                <c:pt idx="9183">
                  <c:v>0.16377742108079099</c:v>
                </c:pt>
                <c:pt idx="9184">
                  <c:v>0.16379525593008701</c:v>
                </c:pt>
                <c:pt idx="9185">
                  <c:v>0.163813090779382</c:v>
                </c:pt>
                <c:pt idx="9186">
                  <c:v>0.16383092562867799</c:v>
                </c:pt>
                <c:pt idx="9187">
                  <c:v>0.163848760477973</c:v>
                </c:pt>
                <c:pt idx="9188">
                  <c:v>0.16386659532726899</c:v>
                </c:pt>
                <c:pt idx="9189">
                  <c:v>0.16388443017656501</c:v>
                </c:pt>
                <c:pt idx="9190">
                  <c:v>0.16390226502586</c:v>
                </c:pt>
                <c:pt idx="9191">
                  <c:v>0.16392009987515599</c:v>
                </c:pt>
                <c:pt idx="9192">
                  <c:v>0.16393793472445101</c:v>
                </c:pt>
                <c:pt idx="9193">
                  <c:v>0.163955769573747</c:v>
                </c:pt>
                <c:pt idx="9194">
                  <c:v>0.16397360442304201</c:v>
                </c:pt>
                <c:pt idx="9195">
                  <c:v>0.163991439272338</c:v>
                </c:pt>
                <c:pt idx="9196">
                  <c:v>0.16400927412163299</c:v>
                </c:pt>
                <c:pt idx="9197">
                  <c:v>0.16402710897092901</c:v>
                </c:pt>
                <c:pt idx="9198">
                  <c:v>0.164044943820224</c:v>
                </c:pt>
                <c:pt idx="9199">
                  <c:v>0.16406277866951999</c:v>
                </c:pt>
                <c:pt idx="9200">
                  <c:v>0.16408061351881501</c:v>
                </c:pt>
                <c:pt idx="9201">
                  <c:v>0.16409844836811099</c:v>
                </c:pt>
                <c:pt idx="9202">
                  <c:v>0.16411628321740601</c:v>
                </c:pt>
                <c:pt idx="9203">
                  <c:v>0.164134118066702</c:v>
                </c:pt>
                <c:pt idx="9204">
                  <c:v>0.16415195291599699</c:v>
                </c:pt>
                <c:pt idx="9205">
                  <c:v>0.16416978776529301</c:v>
                </c:pt>
                <c:pt idx="9206">
                  <c:v>0.164187622614588</c:v>
                </c:pt>
                <c:pt idx="9207">
                  <c:v>0.16420545746388401</c:v>
                </c:pt>
                <c:pt idx="9208">
                  <c:v>0.164223292313179</c:v>
                </c:pt>
                <c:pt idx="9209">
                  <c:v>0.16424112716247499</c:v>
                </c:pt>
                <c:pt idx="9210">
                  <c:v>0.16425896201177101</c:v>
                </c:pt>
                <c:pt idx="9211">
                  <c:v>0.164276796861066</c:v>
                </c:pt>
                <c:pt idx="9212">
                  <c:v>0.16429463171036199</c:v>
                </c:pt>
                <c:pt idx="9213">
                  <c:v>0.16431246655965701</c:v>
                </c:pt>
                <c:pt idx="9214">
                  <c:v>0.16433030140895299</c:v>
                </c:pt>
                <c:pt idx="9215">
                  <c:v>0.16434813625824801</c:v>
                </c:pt>
                <c:pt idx="9216">
                  <c:v>0.164365971107544</c:v>
                </c:pt>
                <c:pt idx="9217">
                  <c:v>0.16438380595683899</c:v>
                </c:pt>
                <c:pt idx="9218">
                  <c:v>0.16440164080613501</c:v>
                </c:pt>
                <c:pt idx="9219">
                  <c:v>0.16441947565543</c:v>
                </c:pt>
                <c:pt idx="9220">
                  <c:v>0.16443731050472599</c:v>
                </c:pt>
                <c:pt idx="9221">
                  <c:v>0.164455145354021</c:v>
                </c:pt>
                <c:pt idx="9222">
                  <c:v>0.16447298020331699</c:v>
                </c:pt>
                <c:pt idx="9223">
                  <c:v>0.16449081505261201</c:v>
                </c:pt>
                <c:pt idx="9224">
                  <c:v>0.164508649901908</c:v>
                </c:pt>
                <c:pt idx="9225">
                  <c:v>0.16452648475120299</c:v>
                </c:pt>
                <c:pt idx="9226">
                  <c:v>0.16454431960049901</c:v>
                </c:pt>
                <c:pt idx="9227">
                  <c:v>0.164562154449794</c:v>
                </c:pt>
                <c:pt idx="9228">
                  <c:v>0.16457998929909001</c:v>
                </c:pt>
                <c:pt idx="9229">
                  <c:v>0.164597824148385</c:v>
                </c:pt>
                <c:pt idx="9230">
                  <c:v>0.16461565899768099</c:v>
                </c:pt>
                <c:pt idx="9231">
                  <c:v>0.16463349384697601</c:v>
                </c:pt>
                <c:pt idx="9232">
                  <c:v>0.164651328696272</c:v>
                </c:pt>
                <c:pt idx="9233">
                  <c:v>0.16466916354556799</c:v>
                </c:pt>
                <c:pt idx="9234">
                  <c:v>0.164686998394863</c:v>
                </c:pt>
                <c:pt idx="9235">
                  <c:v>0.16470483324415899</c:v>
                </c:pt>
                <c:pt idx="9236">
                  <c:v>0.16472266809345401</c:v>
                </c:pt>
                <c:pt idx="9237">
                  <c:v>0.16474050294275</c:v>
                </c:pt>
                <c:pt idx="9238">
                  <c:v>0.16475833779204499</c:v>
                </c:pt>
                <c:pt idx="9239">
                  <c:v>0.16477617264134101</c:v>
                </c:pt>
                <c:pt idx="9240">
                  <c:v>0.164794007490636</c:v>
                </c:pt>
                <c:pt idx="9241">
                  <c:v>0.16481184233993201</c:v>
                </c:pt>
                <c:pt idx="9242">
                  <c:v>0.164829677189227</c:v>
                </c:pt>
                <c:pt idx="9243">
                  <c:v>0.16484751203852299</c:v>
                </c:pt>
                <c:pt idx="9244">
                  <c:v>0.16486534688781801</c:v>
                </c:pt>
                <c:pt idx="9245">
                  <c:v>0.164883181737114</c:v>
                </c:pt>
                <c:pt idx="9246">
                  <c:v>0.16490101658640899</c:v>
                </c:pt>
                <c:pt idx="9247">
                  <c:v>0.16491885143570501</c:v>
                </c:pt>
                <c:pt idx="9248">
                  <c:v>0.16493668628499999</c:v>
                </c:pt>
                <c:pt idx="9249">
                  <c:v>0.16495452113429601</c:v>
                </c:pt>
                <c:pt idx="9250">
                  <c:v>0.164972355983591</c:v>
                </c:pt>
                <c:pt idx="9251">
                  <c:v>0.16499019083288699</c:v>
                </c:pt>
                <c:pt idx="9252">
                  <c:v>0.16500802568218201</c:v>
                </c:pt>
                <c:pt idx="9253">
                  <c:v>0.165025860531478</c:v>
                </c:pt>
                <c:pt idx="9254">
                  <c:v>0.16504369538077401</c:v>
                </c:pt>
                <c:pt idx="9255">
                  <c:v>0.165061530230069</c:v>
                </c:pt>
                <c:pt idx="9256">
                  <c:v>0.16507936507936499</c:v>
                </c:pt>
                <c:pt idx="9257">
                  <c:v>0.16509719992866001</c:v>
                </c:pt>
                <c:pt idx="9258">
                  <c:v>0.165115034777956</c:v>
                </c:pt>
                <c:pt idx="9259">
                  <c:v>0.16513286962725099</c:v>
                </c:pt>
                <c:pt idx="9260">
                  <c:v>0.16515070447654701</c:v>
                </c:pt>
                <c:pt idx="9261">
                  <c:v>0.165168539325842</c:v>
                </c:pt>
                <c:pt idx="9262">
                  <c:v>0.16518637417513801</c:v>
                </c:pt>
                <c:pt idx="9263">
                  <c:v>0.165204209024433</c:v>
                </c:pt>
                <c:pt idx="9264">
                  <c:v>0.16522204387372899</c:v>
                </c:pt>
                <c:pt idx="9265">
                  <c:v>0.16523987872302401</c:v>
                </c:pt>
                <c:pt idx="9266">
                  <c:v>0.16525771357232</c:v>
                </c:pt>
                <c:pt idx="9267">
                  <c:v>0.16527554842161499</c:v>
                </c:pt>
                <c:pt idx="9268">
                  <c:v>0.165293383270911</c:v>
                </c:pt>
                <c:pt idx="9269">
                  <c:v>0.16531121812020599</c:v>
                </c:pt>
                <c:pt idx="9270">
                  <c:v>0.16532905296950201</c:v>
                </c:pt>
                <c:pt idx="9271">
                  <c:v>0.165346887818797</c:v>
                </c:pt>
                <c:pt idx="9272">
                  <c:v>0.16536472266809299</c:v>
                </c:pt>
                <c:pt idx="9273">
                  <c:v>0.16538255751738801</c:v>
                </c:pt>
                <c:pt idx="9274">
                  <c:v>0.165400392366684</c:v>
                </c:pt>
                <c:pt idx="9275">
                  <c:v>0.16541822721598001</c:v>
                </c:pt>
                <c:pt idx="9276">
                  <c:v>0.165436062065275</c:v>
                </c:pt>
                <c:pt idx="9277">
                  <c:v>0.16545389691457099</c:v>
                </c:pt>
                <c:pt idx="9278">
                  <c:v>0.16547173176386601</c:v>
                </c:pt>
                <c:pt idx="9279">
                  <c:v>0.165489566613162</c:v>
                </c:pt>
                <c:pt idx="9280">
                  <c:v>0.16550740146245699</c:v>
                </c:pt>
                <c:pt idx="9281">
                  <c:v>0.165525236311753</c:v>
                </c:pt>
                <c:pt idx="9282">
                  <c:v>0.16554307116104799</c:v>
                </c:pt>
                <c:pt idx="9283">
                  <c:v>0.16556090601034401</c:v>
                </c:pt>
                <c:pt idx="9284">
                  <c:v>0.165578740859639</c:v>
                </c:pt>
                <c:pt idx="9285">
                  <c:v>0.16559657570893499</c:v>
                </c:pt>
                <c:pt idx="9286">
                  <c:v>0.16561441055823001</c:v>
                </c:pt>
                <c:pt idx="9287">
                  <c:v>0.165632245407526</c:v>
                </c:pt>
                <c:pt idx="9288">
                  <c:v>0.16565008025682099</c:v>
                </c:pt>
                <c:pt idx="9289">
                  <c:v>0.165667915106117</c:v>
                </c:pt>
                <c:pt idx="9290">
                  <c:v>0.16568574995541199</c:v>
                </c:pt>
                <c:pt idx="9291">
                  <c:v>0.16570358480470801</c:v>
                </c:pt>
                <c:pt idx="9292">
                  <c:v>0.165721419654003</c:v>
                </c:pt>
                <c:pt idx="9293">
                  <c:v>0.16573925450329899</c:v>
                </c:pt>
                <c:pt idx="9294">
                  <c:v>0.16575708935259401</c:v>
                </c:pt>
                <c:pt idx="9295">
                  <c:v>0.16577492420188999</c:v>
                </c:pt>
                <c:pt idx="9296">
                  <c:v>0.16579275905118601</c:v>
                </c:pt>
                <c:pt idx="9297">
                  <c:v>0.165810593900481</c:v>
                </c:pt>
                <c:pt idx="9298">
                  <c:v>0.16582842874977699</c:v>
                </c:pt>
                <c:pt idx="9299">
                  <c:v>0.16584626359907201</c:v>
                </c:pt>
                <c:pt idx="9300">
                  <c:v>0.165864098448368</c:v>
                </c:pt>
                <c:pt idx="9301">
                  <c:v>0.16588193329766299</c:v>
                </c:pt>
                <c:pt idx="9302">
                  <c:v>0.165899768146959</c:v>
                </c:pt>
                <c:pt idx="9303">
                  <c:v>0.16591760299625399</c:v>
                </c:pt>
                <c:pt idx="9304">
                  <c:v>0.16593543784555001</c:v>
                </c:pt>
                <c:pt idx="9305">
                  <c:v>0.165953272694845</c:v>
                </c:pt>
                <c:pt idx="9306">
                  <c:v>0.16597110754414099</c:v>
                </c:pt>
                <c:pt idx="9307">
                  <c:v>0.16598894239343601</c:v>
                </c:pt>
                <c:pt idx="9308">
                  <c:v>0.166006777242732</c:v>
                </c:pt>
                <c:pt idx="9309">
                  <c:v>0.16602461209202701</c:v>
                </c:pt>
                <c:pt idx="9310">
                  <c:v>0.166042446941323</c:v>
                </c:pt>
                <c:pt idx="9311">
                  <c:v>0.16606028179061799</c:v>
                </c:pt>
                <c:pt idx="9312">
                  <c:v>0.16607811663991401</c:v>
                </c:pt>
                <c:pt idx="9313">
                  <c:v>0.166095951489209</c:v>
                </c:pt>
                <c:pt idx="9314">
                  <c:v>0.16611378633850499</c:v>
                </c:pt>
                <c:pt idx="9315">
                  <c:v>0.1661316211878</c:v>
                </c:pt>
                <c:pt idx="9316">
                  <c:v>0.16614945603709599</c:v>
                </c:pt>
                <c:pt idx="9317">
                  <c:v>0.16616729088639201</c:v>
                </c:pt>
                <c:pt idx="9318">
                  <c:v>0.166185125735687</c:v>
                </c:pt>
                <c:pt idx="9319">
                  <c:v>0.16620296058498299</c:v>
                </c:pt>
                <c:pt idx="9320">
                  <c:v>0.16622079543427801</c:v>
                </c:pt>
                <c:pt idx="9321">
                  <c:v>0.166238630283574</c:v>
                </c:pt>
                <c:pt idx="9322">
                  <c:v>0.16625646513286901</c:v>
                </c:pt>
                <c:pt idx="9323">
                  <c:v>0.166274299982165</c:v>
                </c:pt>
                <c:pt idx="9324">
                  <c:v>0.16629213483145999</c:v>
                </c:pt>
                <c:pt idx="9325">
                  <c:v>0.16630996968075601</c:v>
                </c:pt>
                <c:pt idx="9326">
                  <c:v>0.166327804530051</c:v>
                </c:pt>
                <c:pt idx="9327">
                  <c:v>0.16634563937934699</c:v>
                </c:pt>
                <c:pt idx="9328">
                  <c:v>0.16636347422864201</c:v>
                </c:pt>
                <c:pt idx="9329">
                  <c:v>0.16638130907793799</c:v>
                </c:pt>
                <c:pt idx="9330">
                  <c:v>0.16639914392723301</c:v>
                </c:pt>
                <c:pt idx="9331">
                  <c:v>0.166416978776529</c:v>
                </c:pt>
                <c:pt idx="9332">
                  <c:v>0.16643481362582399</c:v>
                </c:pt>
                <c:pt idx="9333">
                  <c:v>0.16645264847512001</c:v>
                </c:pt>
                <c:pt idx="9334">
                  <c:v>0.166470483324415</c:v>
                </c:pt>
                <c:pt idx="9335">
                  <c:v>0.16648831817371099</c:v>
                </c:pt>
                <c:pt idx="9336">
                  <c:v>0.166506153023006</c:v>
                </c:pt>
                <c:pt idx="9337">
                  <c:v>0.16652398787230199</c:v>
                </c:pt>
                <c:pt idx="9338">
                  <c:v>0.16654182272159801</c:v>
                </c:pt>
                <c:pt idx="9339">
                  <c:v>0.166559657570893</c:v>
                </c:pt>
                <c:pt idx="9340">
                  <c:v>0.16657749242018899</c:v>
                </c:pt>
                <c:pt idx="9341">
                  <c:v>0.16659532726948401</c:v>
                </c:pt>
                <c:pt idx="9342">
                  <c:v>0.16661316211877999</c:v>
                </c:pt>
                <c:pt idx="9343">
                  <c:v>0.16663099696807501</c:v>
                </c:pt>
                <c:pt idx="9344">
                  <c:v>0.166648831817371</c:v>
                </c:pt>
                <c:pt idx="9345">
                  <c:v>0.16666666666666599</c:v>
                </c:pt>
                <c:pt idx="9346">
                  <c:v>0.16668450151596201</c:v>
                </c:pt>
                <c:pt idx="9347">
                  <c:v>0.166702336365257</c:v>
                </c:pt>
                <c:pt idx="9348">
                  <c:v>0.16672017121455299</c:v>
                </c:pt>
                <c:pt idx="9349">
                  <c:v>0.166738006063848</c:v>
                </c:pt>
                <c:pt idx="9350">
                  <c:v>0.16675584091314399</c:v>
                </c:pt>
                <c:pt idx="9351">
                  <c:v>0.16677367576243901</c:v>
                </c:pt>
                <c:pt idx="9352">
                  <c:v>0.166791510611735</c:v>
                </c:pt>
                <c:pt idx="9353">
                  <c:v>0.16680934546102999</c:v>
                </c:pt>
                <c:pt idx="9354">
                  <c:v>0.16682718031032601</c:v>
                </c:pt>
                <c:pt idx="9355">
                  <c:v>0.166845015159621</c:v>
                </c:pt>
                <c:pt idx="9356">
                  <c:v>0.16686285000891701</c:v>
                </c:pt>
                <c:pt idx="9357">
                  <c:v>0.166880684858212</c:v>
                </c:pt>
                <c:pt idx="9358">
                  <c:v>0.16689851970750799</c:v>
                </c:pt>
                <c:pt idx="9359">
                  <c:v>0.16691635455680401</c:v>
                </c:pt>
                <c:pt idx="9360">
                  <c:v>0.166934189406099</c:v>
                </c:pt>
                <c:pt idx="9361">
                  <c:v>0.16695202425539499</c:v>
                </c:pt>
                <c:pt idx="9362">
                  <c:v>0.16696985910469</c:v>
                </c:pt>
                <c:pt idx="9363">
                  <c:v>0.16698769395398599</c:v>
                </c:pt>
                <c:pt idx="9364">
                  <c:v>0.16700552880328101</c:v>
                </c:pt>
                <c:pt idx="9365">
                  <c:v>0.167023363652577</c:v>
                </c:pt>
                <c:pt idx="9366">
                  <c:v>0.16704119850187199</c:v>
                </c:pt>
                <c:pt idx="9367">
                  <c:v>0.16705903335116801</c:v>
                </c:pt>
                <c:pt idx="9368">
                  <c:v>0.167076868200463</c:v>
                </c:pt>
                <c:pt idx="9369">
                  <c:v>0.16709470304975901</c:v>
                </c:pt>
                <c:pt idx="9370">
                  <c:v>0.167112537899054</c:v>
                </c:pt>
                <c:pt idx="9371">
                  <c:v>0.16713037274834999</c:v>
                </c:pt>
                <c:pt idx="9372">
                  <c:v>0.16714820759764501</c:v>
                </c:pt>
                <c:pt idx="9373">
                  <c:v>0.167166042446941</c:v>
                </c:pt>
                <c:pt idx="9374">
                  <c:v>0.16718387729623599</c:v>
                </c:pt>
                <c:pt idx="9375">
                  <c:v>0.16720171214553201</c:v>
                </c:pt>
                <c:pt idx="9376">
                  <c:v>0.167219546994827</c:v>
                </c:pt>
                <c:pt idx="9377">
                  <c:v>0.16723738184412301</c:v>
                </c:pt>
                <c:pt idx="9378">
                  <c:v>0.167255216693418</c:v>
                </c:pt>
                <c:pt idx="9379">
                  <c:v>0.16727305154271399</c:v>
                </c:pt>
                <c:pt idx="9380">
                  <c:v>0.16729088639200901</c:v>
                </c:pt>
                <c:pt idx="9381">
                  <c:v>0.167308721241305</c:v>
                </c:pt>
                <c:pt idx="9382">
                  <c:v>0.16732655609060099</c:v>
                </c:pt>
                <c:pt idx="9383">
                  <c:v>0.167344390939896</c:v>
                </c:pt>
                <c:pt idx="9384">
                  <c:v>0.16736222578919199</c:v>
                </c:pt>
                <c:pt idx="9385">
                  <c:v>0.16738006063848701</c:v>
                </c:pt>
                <c:pt idx="9386">
                  <c:v>0.167397895487783</c:v>
                </c:pt>
                <c:pt idx="9387">
                  <c:v>0.16741573033707799</c:v>
                </c:pt>
                <c:pt idx="9388">
                  <c:v>0.16743356518637401</c:v>
                </c:pt>
                <c:pt idx="9389">
                  <c:v>0.167451400035669</c:v>
                </c:pt>
                <c:pt idx="9390">
                  <c:v>0.16746923488496501</c:v>
                </c:pt>
                <c:pt idx="9391">
                  <c:v>0.16748706973426</c:v>
                </c:pt>
                <c:pt idx="9392">
                  <c:v>0.16750490458355599</c:v>
                </c:pt>
                <c:pt idx="9393">
                  <c:v>0.16752273943285101</c:v>
                </c:pt>
                <c:pt idx="9394">
                  <c:v>0.167540574282147</c:v>
                </c:pt>
                <c:pt idx="9395">
                  <c:v>0.16755840913144199</c:v>
                </c:pt>
                <c:pt idx="9396">
                  <c:v>0.167576243980738</c:v>
                </c:pt>
                <c:pt idx="9397">
                  <c:v>0.16759407883003299</c:v>
                </c:pt>
                <c:pt idx="9398">
                  <c:v>0.16761191367932901</c:v>
                </c:pt>
                <c:pt idx="9399">
                  <c:v>0.167629748528624</c:v>
                </c:pt>
                <c:pt idx="9400">
                  <c:v>0.16764758337791999</c:v>
                </c:pt>
                <c:pt idx="9401">
                  <c:v>0.16766541822721501</c:v>
                </c:pt>
                <c:pt idx="9402">
                  <c:v>0.167683253076511</c:v>
                </c:pt>
                <c:pt idx="9403">
                  <c:v>0.16770108792580701</c:v>
                </c:pt>
                <c:pt idx="9404">
                  <c:v>0.167718922775102</c:v>
                </c:pt>
                <c:pt idx="9405">
                  <c:v>0.16773675762439799</c:v>
                </c:pt>
                <c:pt idx="9406">
                  <c:v>0.16775459247369301</c:v>
                </c:pt>
                <c:pt idx="9407">
                  <c:v>0.167772427322989</c:v>
                </c:pt>
                <c:pt idx="9408">
                  <c:v>0.16779026217228399</c:v>
                </c:pt>
                <c:pt idx="9409">
                  <c:v>0.16780809702158</c:v>
                </c:pt>
                <c:pt idx="9410">
                  <c:v>0.16782593187087499</c:v>
                </c:pt>
                <c:pt idx="9411">
                  <c:v>0.16784376672017101</c:v>
                </c:pt>
                <c:pt idx="9412">
                  <c:v>0.167861601569466</c:v>
                </c:pt>
                <c:pt idx="9413">
                  <c:v>0.16787943641876199</c:v>
                </c:pt>
                <c:pt idx="9414">
                  <c:v>0.16789727126805701</c:v>
                </c:pt>
                <c:pt idx="9415">
                  <c:v>0.167915106117353</c:v>
                </c:pt>
                <c:pt idx="9416">
                  <c:v>0.16793294096664799</c:v>
                </c:pt>
                <c:pt idx="9417">
                  <c:v>0.167950775815944</c:v>
                </c:pt>
                <c:pt idx="9418">
                  <c:v>0.16796861066523899</c:v>
                </c:pt>
                <c:pt idx="9419">
                  <c:v>0.16798644551453501</c:v>
                </c:pt>
                <c:pt idx="9420">
                  <c:v>0.16800428036383</c:v>
                </c:pt>
                <c:pt idx="9421">
                  <c:v>0.16802211521312599</c:v>
                </c:pt>
                <c:pt idx="9422">
                  <c:v>0.16803995006242101</c:v>
                </c:pt>
                <c:pt idx="9423">
                  <c:v>0.168057784911717</c:v>
                </c:pt>
                <c:pt idx="9424">
                  <c:v>0.16807561976101301</c:v>
                </c:pt>
                <c:pt idx="9425">
                  <c:v>0.168093454610308</c:v>
                </c:pt>
                <c:pt idx="9426">
                  <c:v>0.16811128945960399</c:v>
                </c:pt>
                <c:pt idx="9427">
                  <c:v>0.16812912430889901</c:v>
                </c:pt>
                <c:pt idx="9428">
                  <c:v>0.168146959158195</c:v>
                </c:pt>
                <c:pt idx="9429">
                  <c:v>0.16816479400748999</c:v>
                </c:pt>
                <c:pt idx="9430">
                  <c:v>0.168182628856786</c:v>
                </c:pt>
                <c:pt idx="9431">
                  <c:v>0.16820046370608099</c:v>
                </c:pt>
                <c:pt idx="9432">
                  <c:v>0.16821829855537701</c:v>
                </c:pt>
                <c:pt idx="9433">
                  <c:v>0.168236133404672</c:v>
                </c:pt>
                <c:pt idx="9434">
                  <c:v>0.16825396825396799</c:v>
                </c:pt>
                <c:pt idx="9435">
                  <c:v>0.16827180310326301</c:v>
                </c:pt>
                <c:pt idx="9436">
                  <c:v>0.168289637952559</c:v>
                </c:pt>
                <c:pt idx="9437">
                  <c:v>0.16830747280185401</c:v>
                </c:pt>
                <c:pt idx="9438">
                  <c:v>0.16832530765115</c:v>
                </c:pt>
                <c:pt idx="9439">
                  <c:v>0.16834314250044499</c:v>
                </c:pt>
                <c:pt idx="9440">
                  <c:v>0.16836097734974101</c:v>
                </c:pt>
                <c:pt idx="9441">
                  <c:v>0.168378812199036</c:v>
                </c:pt>
                <c:pt idx="9442">
                  <c:v>0.16839664704833199</c:v>
                </c:pt>
                <c:pt idx="9443">
                  <c:v>0.16841448189762701</c:v>
                </c:pt>
                <c:pt idx="9444">
                  <c:v>0.16843231674692299</c:v>
                </c:pt>
                <c:pt idx="9445">
                  <c:v>0.16845015159621901</c:v>
                </c:pt>
                <c:pt idx="9446">
                  <c:v>0.168467986445514</c:v>
                </c:pt>
                <c:pt idx="9447">
                  <c:v>0.16848582129480999</c:v>
                </c:pt>
                <c:pt idx="9448">
                  <c:v>0.16850365614410501</c:v>
                </c:pt>
                <c:pt idx="9449">
                  <c:v>0.168521490993401</c:v>
                </c:pt>
                <c:pt idx="9450">
                  <c:v>0.16853932584269599</c:v>
                </c:pt>
                <c:pt idx="9451">
                  <c:v>0.168557160691992</c:v>
                </c:pt>
                <c:pt idx="9452">
                  <c:v>0.16857499554128699</c:v>
                </c:pt>
                <c:pt idx="9453">
                  <c:v>0.16859283039058301</c:v>
                </c:pt>
                <c:pt idx="9454">
                  <c:v>0.168610665239878</c:v>
                </c:pt>
                <c:pt idx="9455">
                  <c:v>0.16862850008917399</c:v>
                </c:pt>
                <c:pt idx="9456">
                  <c:v>0.16864633493846901</c:v>
                </c:pt>
                <c:pt idx="9457">
                  <c:v>0.16866416978776499</c:v>
                </c:pt>
                <c:pt idx="9458">
                  <c:v>0.16868200463706001</c:v>
                </c:pt>
                <c:pt idx="9459">
                  <c:v>0.168699839486356</c:v>
                </c:pt>
                <c:pt idx="9460">
                  <c:v>0.16871767433565099</c:v>
                </c:pt>
                <c:pt idx="9461">
                  <c:v>0.16873550918494701</c:v>
                </c:pt>
                <c:pt idx="9462">
                  <c:v>0.168753344034242</c:v>
                </c:pt>
                <c:pt idx="9463">
                  <c:v>0.16877117888353799</c:v>
                </c:pt>
                <c:pt idx="9464">
                  <c:v>0.168789013732833</c:v>
                </c:pt>
                <c:pt idx="9465">
                  <c:v>0.16880684858212899</c:v>
                </c:pt>
                <c:pt idx="9466">
                  <c:v>0.16882468343142501</c:v>
                </c:pt>
                <c:pt idx="9467">
                  <c:v>0.16884251828072</c:v>
                </c:pt>
                <c:pt idx="9468">
                  <c:v>0.16886035313001599</c:v>
                </c:pt>
                <c:pt idx="9469">
                  <c:v>0.16887818797931101</c:v>
                </c:pt>
                <c:pt idx="9470">
                  <c:v>0.168896022828607</c:v>
                </c:pt>
                <c:pt idx="9471">
                  <c:v>0.16891385767790201</c:v>
                </c:pt>
                <c:pt idx="9472">
                  <c:v>0.168931692527198</c:v>
                </c:pt>
                <c:pt idx="9473">
                  <c:v>0.16894952737649299</c:v>
                </c:pt>
                <c:pt idx="9474">
                  <c:v>0.16896736222578901</c:v>
                </c:pt>
                <c:pt idx="9475">
                  <c:v>0.168985197075084</c:v>
                </c:pt>
                <c:pt idx="9476">
                  <c:v>0.16900303192437999</c:v>
                </c:pt>
                <c:pt idx="9477">
                  <c:v>0.169020866773675</c:v>
                </c:pt>
                <c:pt idx="9478">
                  <c:v>0.16903870162297099</c:v>
                </c:pt>
                <c:pt idx="9479">
                  <c:v>0.16905653647226601</c:v>
                </c:pt>
                <c:pt idx="9480">
                  <c:v>0.169074371321562</c:v>
                </c:pt>
                <c:pt idx="9481">
                  <c:v>0.16909220617085699</c:v>
                </c:pt>
                <c:pt idx="9482">
                  <c:v>0.16911004102015301</c:v>
                </c:pt>
                <c:pt idx="9483">
                  <c:v>0.169127875869448</c:v>
                </c:pt>
                <c:pt idx="9484">
                  <c:v>0.16914571071874401</c:v>
                </c:pt>
                <c:pt idx="9485">
                  <c:v>0.169163545568039</c:v>
                </c:pt>
                <c:pt idx="9486">
                  <c:v>0.16918138041733499</c:v>
                </c:pt>
                <c:pt idx="9487">
                  <c:v>0.16919921526663101</c:v>
                </c:pt>
                <c:pt idx="9488">
                  <c:v>0.169217050115926</c:v>
                </c:pt>
                <c:pt idx="9489">
                  <c:v>0.16923488496522199</c:v>
                </c:pt>
                <c:pt idx="9490">
                  <c:v>0.16925271981451701</c:v>
                </c:pt>
                <c:pt idx="9491">
                  <c:v>0.16927055466381299</c:v>
                </c:pt>
                <c:pt idx="9492">
                  <c:v>0.16928838951310801</c:v>
                </c:pt>
                <c:pt idx="9493">
                  <c:v>0.169306224362404</c:v>
                </c:pt>
                <c:pt idx="9494">
                  <c:v>0.16932405921169899</c:v>
                </c:pt>
                <c:pt idx="9495">
                  <c:v>0.16934189406099501</c:v>
                </c:pt>
                <c:pt idx="9496">
                  <c:v>0.16935972891029</c:v>
                </c:pt>
                <c:pt idx="9497">
                  <c:v>0.16937756375958599</c:v>
                </c:pt>
                <c:pt idx="9498">
                  <c:v>0.169395398608881</c:v>
                </c:pt>
                <c:pt idx="9499">
                  <c:v>0.16941323345817699</c:v>
                </c:pt>
                <c:pt idx="9500">
                  <c:v>0.16943106830747201</c:v>
                </c:pt>
                <c:pt idx="9501">
                  <c:v>0.169448903156768</c:v>
                </c:pt>
                <c:pt idx="9502">
                  <c:v>0.16946673800606299</c:v>
                </c:pt>
                <c:pt idx="9503">
                  <c:v>0.16948457285535901</c:v>
                </c:pt>
                <c:pt idx="9504">
                  <c:v>0.169502407704654</c:v>
                </c:pt>
                <c:pt idx="9505">
                  <c:v>0.16952024255395001</c:v>
                </c:pt>
                <c:pt idx="9506">
                  <c:v>0.169538077403245</c:v>
                </c:pt>
                <c:pt idx="9507">
                  <c:v>0.16955591225254099</c:v>
                </c:pt>
                <c:pt idx="9508">
                  <c:v>0.16957374710183601</c:v>
                </c:pt>
                <c:pt idx="9509">
                  <c:v>0.169591581951132</c:v>
                </c:pt>
                <c:pt idx="9510">
                  <c:v>0.16960941680042799</c:v>
                </c:pt>
                <c:pt idx="9511">
                  <c:v>0.169627251649723</c:v>
                </c:pt>
                <c:pt idx="9512">
                  <c:v>0.16964508649901899</c:v>
                </c:pt>
                <c:pt idx="9513">
                  <c:v>0.16966292134831401</c:v>
                </c:pt>
                <c:pt idx="9514">
                  <c:v>0.16968075619761</c:v>
                </c:pt>
                <c:pt idx="9515">
                  <c:v>0.16969859104690499</c:v>
                </c:pt>
                <c:pt idx="9516">
                  <c:v>0.16971642589620101</c:v>
                </c:pt>
                <c:pt idx="9517">
                  <c:v>0.169734260745496</c:v>
                </c:pt>
                <c:pt idx="9518">
                  <c:v>0.16975209559479201</c:v>
                </c:pt>
                <c:pt idx="9519">
                  <c:v>0.169769930444087</c:v>
                </c:pt>
                <c:pt idx="9520">
                  <c:v>0.16978776529338299</c:v>
                </c:pt>
                <c:pt idx="9521">
                  <c:v>0.16980560014267801</c:v>
                </c:pt>
                <c:pt idx="9522">
                  <c:v>0.169823434991974</c:v>
                </c:pt>
                <c:pt idx="9523">
                  <c:v>0.16984126984126899</c:v>
                </c:pt>
                <c:pt idx="9524">
                  <c:v>0.169859104690565</c:v>
                </c:pt>
                <c:pt idx="9525">
                  <c:v>0.16987693953985999</c:v>
                </c:pt>
                <c:pt idx="9526">
                  <c:v>0.16989477438915601</c:v>
                </c:pt>
                <c:pt idx="9527">
                  <c:v>0.169912609238451</c:v>
                </c:pt>
                <c:pt idx="9528">
                  <c:v>0.16993044408774699</c:v>
                </c:pt>
                <c:pt idx="9529">
                  <c:v>0.16994827893704201</c:v>
                </c:pt>
                <c:pt idx="9530">
                  <c:v>0.169966113786338</c:v>
                </c:pt>
                <c:pt idx="9531">
                  <c:v>0.16998394863563401</c:v>
                </c:pt>
                <c:pt idx="9532">
                  <c:v>0.170001783484929</c:v>
                </c:pt>
                <c:pt idx="9533">
                  <c:v>0.17001961833422499</c:v>
                </c:pt>
                <c:pt idx="9534">
                  <c:v>0.17003745318352001</c:v>
                </c:pt>
                <c:pt idx="9535">
                  <c:v>0.170055288032816</c:v>
                </c:pt>
                <c:pt idx="9536">
                  <c:v>0.17007312288211099</c:v>
                </c:pt>
                <c:pt idx="9537">
                  <c:v>0.17009095773140701</c:v>
                </c:pt>
                <c:pt idx="9538">
                  <c:v>0.170108792580702</c:v>
                </c:pt>
                <c:pt idx="9539">
                  <c:v>0.17012662742999801</c:v>
                </c:pt>
                <c:pt idx="9540">
                  <c:v>0.170144462279293</c:v>
                </c:pt>
                <c:pt idx="9541">
                  <c:v>0.17016229712858899</c:v>
                </c:pt>
                <c:pt idx="9542">
                  <c:v>0.17018013197788401</c:v>
                </c:pt>
                <c:pt idx="9543">
                  <c:v>0.17019796682718</c:v>
                </c:pt>
                <c:pt idx="9544">
                  <c:v>0.17021580167647499</c:v>
                </c:pt>
                <c:pt idx="9545">
                  <c:v>0.170233636525771</c:v>
                </c:pt>
                <c:pt idx="9546">
                  <c:v>0.17025147137506599</c:v>
                </c:pt>
                <c:pt idx="9547">
                  <c:v>0.17026930622436201</c:v>
                </c:pt>
                <c:pt idx="9548">
                  <c:v>0.170287141073657</c:v>
                </c:pt>
                <c:pt idx="9549">
                  <c:v>0.17030497592295299</c:v>
                </c:pt>
                <c:pt idx="9550">
                  <c:v>0.17032281077224801</c:v>
                </c:pt>
                <c:pt idx="9551">
                  <c:v>0.170340645621544</c:v>
                </c:pt>
                <c:pt idx="9552">
                  <c:v>0.17035848047084001</c:v>
                </c:pt>
                <c:pt idx="9553">
                  <c:v>0.170376315320135</c:v>
                </c:pt>
                <c:pt idx="9554">
                  <c:v>0.17039415016943099</c:v>
                </c:pt>
                <c:pt idx="9555">
                  <c:v>0.17041198501872601</c:v>
                </c:pt>
                <c:pt idx="9556">
                  <c:v>0.170429819868022</c:v>
                </c:pt>
                <c:pt idx="9557">
                  <c:v>0.17044765471731699</c:v>
                </c:pt>
                <c:pt idx="9558">
                  <c:v>0.170465489566613</c:v>
                </c:pt>
                <c:pt idx="9559">
                  <c:v>0.17048332441590799</c:v>
                </c:pt>
                <c:pt idx="9560">
                  <c:v>0.17050115926520401</c:v>
                </c:pt>
                <c:pt idx="9561">
                  <c:v>0.170518994114499</c:v>
                </c:pt>
                <c:pt idx="9562">
                  <c:v>0.17053682896379499</c:v>
                </c:pt>
                <c:pt idx="9563">
                  <c:v>0.17055466381309001</c:v>
                </c:pt>
                <c:pt idx="9564">
                  <c:v>0.170572498662386</c:v>
                </c:pt>
                <c:pt idx="9565">
                  <c:v>0.17059033351168101</c:v>
                </c:pt>
                <c:pt idx="9566">
                  <c:v>0.170608168360977</c:v>
                </c:pt>
                <c:pt idx="9567">
                  <c:v>0.17062600321027199</c:v>
                </c:pt>
                <c:pt idx="9568">
                  <c:v>0.17064383805956801</c:v>
                </c:pt>
                <c:pt idx="9569">
                  <c:v>0.170661672908863</c:v>
                </c:pt>
                <c:pt idx="9570">
                  <c:v>0.17067950775815899</c:v>
                </c:pt>
                <c:pt idx="9571">
                  <c:v>0.17069734260745401</c:v>
                </c:pt>
                <c:pt idx="9572">
                  <c:v>0.17071517745674999</c:v>
                </c:pt>
                <c:pt idx="9573">
                  <c:v>0.17073301230604601</c:v>
                </c:pt>
                <c:pt idx="9574">
                  <c:v>0.170750847155341</c:v>
                </c:pt>
                <c:pt idx="9575">
                  <c:v>0.17076868200463699</c:v>
                </c:pt>
                <c:pt idx="9576">
                  <c:v>0.17078651685393201</c:v>
                </c:pt>
                <c:pt idx="9577">
                  <c:v>0.170804351703228</c:v>
                </c:pt>
                <c:pt idx="9578">
                  <c:v>0.17082218655252299</c:v>
                </c:pt>
                <c:pt idx="9579">
                  <c:v>0.170840021401819</c:v>
                </c:pt>
                <c:pt idx="9580">
                  <c:v>0.17085785625111399</c:v>
                </c:pt>
                <c:pt idx="9581">
                  <c:v>0.17087569110041001</c:v>
                </c:pt>
                <c:pt idx="9582">
                  <c:v>0.170893525949705</c:v>
                </c:pt>
                <c:pt idx="9583">
                  <c:v>0.17091136079900099</c:v>
                </c:pt>
                <c:pt idx="9584">
                  <c:v>0.17092919564829601</c:v>
                </c:pt>
                <c:pt idx="9585">
                  <c:v>0.170947030497592</c:v>
                </c:pt>
                <c:pt idx="9586">
                  <c:v>0.17096486534688701</c:v>
                </c:pt>
                <c:pt idx="9587">
                  <c:v>0.170982700196183</c:v>
                </c:pt>
                <c:pt idx="9588">
                  <c:v>0.17100053504547799</c:v>
                </c:pt>
                <c:pt idx="9589">
                  <c:v>0.17101836989477401</c:v>
                </c:pt>
                <c:pt idx="9590">
                  <c:v>0.171036204744069</c:v>
                </c:pt>
                <c:pt idx="9591">
                  <c:v>0.17105403959336499</c:v>
                </c:pt>
                <c:pt idx="9592">
                  <c:v>0.17107187444266</c:v>
                </c:pt>
                <c:pt idx="9593">
                  <c:v>0.17108970929195599</c:v>
                </c:pt>
                <c:pt idx="9594">
                  <c:v>0.17110754414125201</c:v>
                </c:pt>
                <c:pt idx="9595">
                  <c:v>0.171125378990547</c:v>
                </c:pt>
                <c:pt idx="9596">
                  <c:v>0.17114321383984299</c:v>
                </c:pt>
                <c:pt idx="9597">
                  <c:v>0.17116104868913801</c:v>
                </c:pt>
                <c:pt idx="9598">
                  <c:v>0.171178883538434</c:v>
                </c:pt>
                <c:pt idx="9599">
                  <c:v>0.17119671838772901</c:v>
                </c:pt>
                <c:pt idx="9600">
                  <c:v>0.171214553237025</c:v>
                </c:pt>
                <c:pt idx="9601">
                  <c:v>0.17123238808631999</c:v>
                </c:pt>
                <c:pt idx="9602">
                  <c:v>0.17125022293561601</c:v>
                </c:pt>
                <c:pt idx="9603">
                  <c:v>0.171268057784911</c:v>
                </c:pt>
                <c:pt idx="9604">
                  <c:v>0.17128589263420699</c:v>
                </c:pt>
                <c:pt idx="9605">
                  <c:v>0.17130372748350201</c:v>
                </c:pt>
                <c:pt idx="9606">
                  <c:v>0.17132156233279799</c:v>
                </c:pt>
                <c:pt idx="9607">
                  <c:v>0.17133939718209301</c:v>
                </c:pt>
                <c:pt idx="9608">
                  <c:v>0.171357232031389</c:v>
                </c:pt>
                <c:pt idx="9609">
                  <c:v>0.17137506688068399</c:v>
                </c:pt>
                <c:pt idx="9610">
                  <c:v>0.17139290172998001</c:v>
                </c:pt>
                <c:pt idx="9611">
                  <c:v>0.171410736579275</c:v>
                </c:pt>
                <c:pt idx="9612">
                  <c:v>0.17142857142857101</c:v>
                </c:pt>
                <c:pt idx="9613">
                  <c:v>0.171446406277866</c:v>
                </c:pt>
                <c:pt idx="9614">
                  <c:v>0.17146424112716199</c:v>
                </c:pt>
                <c:pt idx="9615">
                  <c:v>0.17148207597645801</c:v>
                </c:pt>
                <c:pt idx="9616">
                  <c:v>0.171499910825753</c:v>
                </c:pt>
                <c:pt idx="9617">
                  <c:v>0.17151774567504899</c:v>
                </c:pt>
                <c:pt idx="9618">
                  <c:v>0.17153558052434401</c:v>
                </c:pt>
                <c:pt idx="9619">
                  <c:v>0.17155341537363999</c:v>
                </c:pt>
                <c:pt idx="9620">
                  <c:v>0.17157125022293501</c:v>
                </c:pt>
                <c:pt idx="9621">
                  <c:v>0.171589085072231</c:v>
                </c:pt>
                <c:pt idx="9622">
                  <c:v>0.17160691992152599</c:v>
                </c:pt>
                <c:pt idx="9623">
                  <c:v>0.17162475477082201</c:v>
                </c:pt>
                <c:pt idx="9624">
                  <c:v>0.171642589620117</c:v>
                </c:pt>
                <c:pt idx="9625">
                  <c:v>0.17166042446941299</c:v>
                </c:pt>
                <c:pt idx="9626">
                  <c:v>0.171678259318708</c:v>
                </c:pt>
                <c:pt idx="9627">
                  <c:v>0.17169609416800399</c:v>
                </c:pt>
                <c:pt idx="9628">
                  <c:v>0.17171392901729901</c:v>
                </c:pt>
                <c:pt idx="9629">
                  <c:v>0.171731763866595</c:v>
                </c:pt>
                <c:pt idx="9630">
                  <c:v>0.17174959871588999</c:v>
                </c:pt>
                <c:pt idx="9631">
                  <c:v>0.17176743356518601</c:v>
                </c:pt>
                <c:pt idx="9632">
                  <c:v>0.171785268414481</c:v>
                </c:pt>
                <c:pt idx="9633">
                  <c:v>0.17180310326377701</c:v>
                </c:pt>
                <c:pt idx="9634">
                  <c:v>0.171820938113072</c:v>
                </c:pt>
                <c:pt idx="9635">
                  <c:v>0.17183877296236799</c:v>
                </c:pt>
                <c:pt idx="9636">
                  <c:v>0.17185660781166301</c:v>
                </c:pt>
                <c:pt idx="9637">
                  <c:v>0.171874442660959</c:v>
                </c:pt>
                <c:pt idx="9638">
                  <c:v>0.17189227751025499</c:v>
                </c:pt>
                <c:pt idx="9639">
                  <c:v>0.17191011235955</c:v>
                </c:pt>
                <c:pt idx="9640">
                  <c:v>0.17192794720884599</c:v>
                </c:pt>
                <c:pt idx="9641">
                  <c:v>0.17194578205814101</c:v>
                </c:pt>
                <c:pt idx="9642">
                  <c:v>0.171963616907437</c:v>
                </c:pt>
                <c:pt idx="9643">
                  <c:v>0.17198145175673199</c:v>
                </c:pt>
                <c:pt idx="9644">
                  <c:v>0.17199928660602801</c:v>
                </c:pt>
                <c:pt idx="9645">
                  <c:v>0.172017121455323</c:v>
                </c:pt>
                <c:pt idx="9646">
                  <c:v>0.17203495630461901</c:v>
                </c:pt>
                <c:pt idx="9647">
                  <c:v>0.172052791153914</c:v>
                </c:pt>
                <c:pt idx="9648">
                  <c:v>0.17207062600320999</c:v>
                </c:pt>
                <c:pt idx="9649">
                  <c:v>0.17208846085250501</c:v>
                </c:pt>
                <c:pt idx="9650">
                  <c:v>0.172106295701801</c:v>
                </c:pt>
                <c:pt idx="9651">
                  <c:v>0.17212413055109599</c:v>
                </c:pt>
                <c:pt idx="9652">
                  <c:v>0.17214196540039201</c:v>
                </c:pt>
                <c:pt idx="9653">
                  <c:v>0.172159800249687</c:v>
                </c:pt>
                <c:pt idx="9654">
                  <c:v>0.17217763509898301</c:v>
                </c:pt>
                <c:pt idx="9655">
                  <c:v>0.172195469948278</c:v>
                </c:pt>
                <c:pt idx="9656">
                  <c:v>0.17221330479757399</c:v>
                </c:pt>
                <c:pt idx="9657">
                  <c:v>0.17223113964686901</c:v>
                </c:pt>
                <c:pt idx="9658">
                  <c:v>0.172248974496165</c:v>
                </c:pt>
                <c:pt idx="9659">
                  <c:v>0.17226680934546101</c:v>
                </c:pt>
                <c:pt idx="9660">
                  <c:v>0.172284644194756</c:v>
                </c:pt>
                <c:pt idx="9661">
                  <c:v>0.17230247904405199</c:v>
                </c:pt>
                <c:pt idx="9662">
                  <c:v>0.17232031389334701</c:v>
                </c:pt>
                <c:pt idx="9663">
                  <c:v>0.172338148742643</c:v>
                </c:pt>
                <c:pt idx="9664">
                  <c:v>0.17235598359193799</c:v>
                </c:pt>
                <c:pt idx="9665">
                  <c:v>0.17237381844123401</c:v>
                </c:pt>
                <c:pt idx="9666">
                  <c:v>0.172391653290529</c:v>
                </c:pt>
                <c:pt idx="9667">
                  <c:v>0.17240948813982501</c:v>
                </c:pt>
                <c:pt idx="9668">
                  <c:v>0.17242732298912</c:v>
                </c:pt>
                <c:pt idx="9669">
                  <c:v>0.17244515783841599</c:v>
                </c:pt>
                <c:pt idx="9670">
                  <c:v>0.17246299268771101</c:v>
                </c:pt>
                <c:pt idx="9671">
                  <c:v>0.172480827537007</c:v>
                </c:pt>
                <c:pt idx="9672">
                  <c:v>0.17249866238630199</c:v>
                </c:pt>
                <c:pt idx="9673">
                  <c:v>0.172516497235598</c:v>
                </c:pt>
                <c:pt idx="9674">
                  <c:v>0.17253433208489299</c:v>
                </c:pt>
                <c:pt idx="9675">
                  <c:v>0.17255216693418901</c:v>
                </c:pt>
                <c:pt idx="9676">
                  <c:v>0.172570001783484</c:v>
                </c:pt>
                <c:pt idx="9677">
                  <c:v>0.17258783663277999</c:v>
                </c:pt>
                <c:pt idx="9678">
                  <c:v>0.17260567148207501</c:v>
                </c:pt>
                <c:pt idx="9679">
                  <c:v>0.172623506331371</c:v>
                </c:pt>
                <c:pt idx="9680">
                  <c:v>0.17264134118066701</c:v>
                </c:pt>
                <c:pt idx="9681">
                  <c:v>0.172659176029962</c:v>
                </c:pt>
                <c:pt idx="9682">
                  <c:v>0.17267701087925799</c:v>
                </c:pt>
                <c:pt idx="9683">
                  <c:v>0.17269484572855301</c:v>
                </c:pt>
                <c:pt idx="9684">
                  <c:v>0.172712680577849</c:v>
                </c:pt>
                <c:pt idx="9685">
                  <c:v>0.17273051542714399</c:v>
                </c:pt>
                <c:pt idx="9686">
                  <c:v>0.17274835027644</c:v>
                </c:pt>
                <c:pt idx="9687">
                  <c:v>0.17276618512573499</c:v>
                </c:pt>
                <c:pt idx="9688">
                  <c:v>0.17278401997503101</c:v>
                </c:pt>
                <c:pt idx="9689">
                  <c:v>0.172801854824326</c:v>
                </c:pt>
                <c:pt idx="9690">
                  <c:v>0.17281968967362199</c:v>
                </c:pt>
                <c:pt idx="9691">
                  <c:v>0.17283752452291701</c:v>
                </c:pt>
                <c:pt idx="9692">
                  <c:v>0.172855359372213</c:v>
                </c:pt>
                <c:pt idx="9693">
                  <c:v>0.17287319422150799</c:v>
                </c:pt>
                <c:pt idx="9694">
                  <c:v>0.172891029070804</c:v>
                </c:pt>
                <c:pt idx="9695">
                  <c:v>0.17290886392009899</c:v>
                </c:pt>
                <c:pt idx="9696">
                  <c:v>0.17292669876939501</c:v>
                </c:pt>
                <c:pt idx="9697">
                  <c:v>0.17294453361869</c:v>
                </c:pt>
                <c:pt idx="9698">
                  <c:v>0.17296236846798599</c:v>
                </c:pt>
                <c:pt idx="9699">
                  <c:v>0.17298020331728101</c:v>
                </c:pt>
                <c:pt idx="9700">
                  <c:v>0.172998038166577</c:v>
                </c:pt>
                <c:pt idx="9701">
                  <c:v>0.17301587301587301</c:v>
                </c:pt>
                <c:pt idx="9702">
                  <c:v>0.173033707865168</c:v>
                </c:pt>
                <c:pt idx="9703">
                  <c:v>0.17305154271446399</c:v>
                </c:pt>
                <c:pt idx="9704">
                  <c:v>0.17306937756375901</c:v>
                </c:pt>
                <c:pt idx="9705">
                  <c:v>0.173087212413055</c:v>
                </c:pt>
                <c:pt idx="9706">
                  <c:v>0.17310504726234999</c:v>
                </c:pt>
                <c:pt idx="9707">
                  <c:v>0.173122882111646</c:v>
                </c:pt>
                <c:pt idx="9708">
                  <c:v>0.17314071696094099</c:v>
                </c:pt>
                <c:pt idx="9709">
                  <c:v>0.17315855181023701</c:v>
                </c:pt>
                <c:pt idx="9710">
                  <c:v>0.173176386659532</c:v>
                </c:pt>
                <c:pt idx="9711">
                  <c:v>0.17319422150882799</c:v>
                </c:pt>
                <c:pt idx="9712">
                  <c:v>0.17321205635812301</c:v>
                </c:pt>
                <c:pt idx="9713">
                  <c:v>0.173229891207419</c:v>
                </c:pt>
                <c:pt idx="9714">
                  <c:v>0.17324772605671401</c:v>
                </c:pt>
                <c:pt idx="9715">
                  <c:v>0.17326556090601</c:v>
                </c:pt>
                <c:pt idx="9716">
                  <c:v>0.17328339575530499</c:v>
                </c:pt>
                <c:pt idx="9717">
                  <c:v>0.17330123060460101</c:v>
                </c:pt>
                <c:pt idx="9718">
                  <c:v>0.173319065453896</c:v>
                </c:pt>
                <c:pt idx="9719">
                  <c:v>0.17333690030319199</c:v>
                </c:pt>
                <c:pt idx="9720">
                  <c:v>0.17335473515248701</c:v>
                </c:pt>
                <c:pt idx="9721">
                  <c:v>0.17337257000178299</c:v>
                </c:pt>
                <c:pt idx="9722">
                  <c:v>0.17339040485107901</c:v>
                </c:pt>
                <c:pt idx="9723">
                  <c:v>0.173408239700374</c:v>
                </c:pt>
                <c:pt idx="9724">
                  <c:v>0.17342607454966999</c:v>
                </c:pt>
                <c:pt idx="9725">
                  <c:v>0.17344390939896501</c:v>
                </c:pt>
                <c:pt idx="9726">
                  <c:v>0.173461744248261</c:v>
                </c:pt>
                <c:pt idx="9727">
                  <c:v>0.17347957909755601</c:v>
                </c:pt>
                <c:pt idx="9728">
                  <c:v>0.173497413946852</c:v>
                </c:pt>
                <c:pt idx="9729">
                  <c:v>0.17351524879614699</c:v>
                </c:pt>
                <c:pt idx="9730">
                  <c:v>0.17353308364544301</c:v>
                </c:pt>
                <c:pt idx="9731">
                  <c:v>0.173550918494738</c:v>
                </c:pt>
                <c:pt idx="9732">
                  <c:v>0.17356875334403399</c:v>
                </c:pt>
                <c:pt idx="9733">
                  <c:v>0.17358658819332901</c:v>
                </c:pt>
                <c:pt idx="9734">
                  <c:v>0.17360442304262499</c:v>
                </c:pt>
                <c:pt idx="9735">
                  <c:v>0.17362225789192001</c:v>
                </c:pt>
                <c:pt idx="9736">
                  <c:v>0.173640092741216</c:v>
                </c:pt>
                <c:pt idx="9737">
                  <c:v>0.17365792759051099</c:v>
                </c:pt>
                <c:pt idx="9738">
                  <c:v>0.17367576243980701</c:v>
                </c:pt>
                <c:pt idx="9739">
                  <c:v>0.173693597289102</c:v>
                </c:pt>
                <c:pt idx="9740">
                  <c:v>0.17371143213839799</c:v>
                </c:pt>
                <c:pt idx="9741">
                  <c:v>0.173729266987693</c:v>
                </c:pt>
                <c:pt idx="9742">
                  <c:v>0.17374710183698899</c:v>
                </c:pt>
                <c:pt idx="9743">
                  <c:v>0.17376493668628501</c:v>
                </c:pt>
                <c:pt idx="9744">
                  <c:v>0.17378277153558</c:v>
                </c:pt>
                <c:pt idx="9745">
                  <c:v>0.17380060638487599</c:v>
                </c:pt>
                <c:pt idx="9746">
                  <c:v>0.17381844123417101</c:v>
                </c:pt>
                <c:pt idx="9747">
                  <c:v>0.173836276083467</c:v>
                </c:pt>
                <c:pt idx="9748">
                  <c:v>0.17385411093276201</c:v>
                </c:pt>
                <c:pt idx="9749">
                  <c:v>0.173871945782058</c:v>
                </c:pt>
                <c:pt idx="9750">
                  <c:v>0.17388978063135299</c:v>
                </c:pt>
                <c:pt idx="9751">
                  <c:v>0.17390761548064901</c:v>
                </c:pt>
                <c:pt idx="9752">
                  <c:v>0.173925450329944</c:v>
                </c:pt>
                <c:pt idx="9753">
                  <c:v>0.17394328517923999</c:v>
                </c:pt>
                <c:pt idx="9754">
                  <c:v>0.173961120028535</c:v>
                </c:pt>
                <c:pt idx="9755">
                  <c:v>0.17397895487783099</c:v>
                </c:pt>
                <c:pt idx="9756">
                  <c:v>0.17399678972712601</c:v>
                </c:pt>
                <c:pt idx="9757">
                  <c:v>0.174014624576422</c:v>
                </c:pt>
                <c:pt idx="9758">
                  <c:v>0.17403245942571699</c:v>
                </c:pt>
                <c:pt idx="9759">
                  <c:v>0.17405029427501301</c:v>
                </c:pt>
                <c:pt idx="9760">
                  <c:v>0.174068129124308</c:v>
                </c:pt>
                <c:pt idx="9761">
                  <c:v>0.17408596397360401</c:v>
                </c:pt>
                <c:pt idx="9762">
                  <c:v>0.174103798822899</c:v>
                </c:pt>
                <c:pt idx="9763">
                  <c:v>0.17412163367219499</c:v>
                </c:pt>
                <c:pt idx="9764">
                  <c:v>0.17413946852149001</c:v>
                </c:pt>
                <c:pt idx="9765">
                  <c:v>0.174157303370786</c:v>
                </c:pt>
                <c:pt idx="9766">
                  <c:v>0.17417513822008199</c:v>
                </c:pt>
                <c:pt idx="9767">
                  <c:v>0.17419297306937701</c:v>
                </c:pt>
                <c:pt idx="9768">
                  <c:v>0.17421080791867299</c:v>
                </c:pt>
                <c:pt idx="9769">
                  <c:v>0.17422864276796801</c:v>
                </c:pt>
                <c:pt idx="9770">
                  <c:v>0.174246477617264</c:v>
                </c:pt>
                <c:pt idx="9771">
                  <c:v>0.17426431246655899</c:v>
                </c:pt>
                <c:pt idx="9772">
                  <c:v>0.17428214731585501</c:v>
                </c:pt>
                <c:pt idx="9773">
                  <c:v>0.17429998216515</c:v>
                </c:pt>
                <c:pt idx="9774">
                  <c:v>0.17431781701444601</c:v>
                </c:pt>
                <c:pt idx="9775">
                  <c:v>0.174335651863741</c:v>
                </c:pt>
                <c:pt idx="9776">
                  <c:v>0.17435348671303699</c:v>
                </c:pt>
                <c:pt idx="9777">
                  <c:v>0.17437132156233201</c:v>
                </c:pt>
                <c:pt idx="9778">
                  <c:v>0.174389156411628</c:v>
                </c:pt>
                <c:pt idx="9779">
                  <c:v>0.17440699126092299</c:v>
                </c:pt>
                <c:pt idx="9780">
                  <c:v>0.17442482611021901</c:v>
                </c:pt>
                <c:pt idx="9781">
                  <c:v>0.174442660959514</c:v>
                </c:pt>
                <c:pt idx="9782">
                  <c:v>0.17446049580881001</c:v>
                </c:pt>
                <c:pt idx="9783">
                  <c:v>0.174478330658105</c:v>
                </c:pt>
                <c:pt idx="9784">
                  <c:v>0.17449616550740099</c:v>
                </c:pt>
                <c:pt idx="9785">
                  <c:v>0.17451400035669601</c:v>
                </c:pt>
                <c:pt idx="9786">
                  <c:v>0.174531835205992</c:v>
                </c:pt>
                <c:pt idx="9787">
                  <c:v>0.17454967005528799</c:v>
                </c:pt>
                <c:pt idx="9788">
                  <c:v>0.174567504904583</c:v>
                </c:pt>
                <c:pt idx="9789">
                  <c:v>0.17458533975387899</c:v>
                </c:pt>
                <c:pt idx="9790">
                  <c:v>0.17460317460317401</c:v>
                </c:pt>
                <c:pt idx="9791">
                  <c:v>0.17462100945247</c:v>
                </c:pt>
                <c:pt idx="9792">
                  <c:v>0.17463884430176499</c:v>
                </c:pt>
                <c:pt idx="9793">
                  <c:v>0.17465667915106101</c:v>
                </c:pt>
                <c:pt idx="9794">
                  <c:v>0.174674514000356</c:v>
                </c:pt>
                <c:pt idx="9795">
                  <c:v>0.17469234884965201</c:v>
                </c:pt>
                <c:pt idx="9796">
                  <c:v>0.174710183698947</c:v>
                </c:pt>
                <c:pt idx="9797">
                  <c:v>0.17472801854824299</c:v>
                </c:pt>
                <c:pt idx="9798">
                  <c:v>0.17474585339753801</c:v>
                </c:pt>
                <c:pt idx="9799">
                  <c:v>0.174763688246834</c:v>
                </c:pt>
                <c:pt idx="9800">
                  <c:v>0.17478152309612899</c:v>
                </c:pt>
                <c:pt idx="9801">
                  <c:v>0.174799357945425</c:v>
                </c:pt>
                <c:pt idx="9802">
                  <c:v>0.17481719279471999</c:v>
                </c:pt>
                <c:pt idx="9803">
                  <c:v>0.17483502764401601</c:v>
                </c:pt>
                <c:pt idx="9804">
                  <c:v>0.174852862493311</c:v>
                </c:pt>
                <c:pt idx="9805">
                  <c:v>0.17487069734260699</c:v>
                </c:pt>
                <c:pt idx="9806">
                  <c:v>0.17488853219190201</c:v>
                </c:pt>
                <c:pt idx="9807">
                  <c:v>0.174906367041198</c:v>
                </c:pt>
                <c:pt idx="9808">
                  <c:v>0.17492420189049401</c:v>
                </c:pt>
                <c:pt idx="9809">
                  <c:v>0.174942036739789</c:v>
                </c:pt>
                <c:pt idx="9810">
                  <c:v>0.17495987158908499</c:v>
                </c:pt>
                <c:pt idx="9811">
                  <c:v>0.17497770643838001</c:v>
                </c:pt>
                <c:pt idx="9812">
                  <c:v>0.174995541287676</c:v>
                </c:pt>
                <c:pt idx="9813">
                  <c:v>0.17501337613697099</c:v>
                </c:pt>
                <c:pt idx="9814">
                  <c:v>0.17503121098626701</c:v>
                </c:pt>
                <c:pt idx="9815">
                  <c:v>0.17504904583556199</c:v>
                </c:pt>
                <c:pt idx="9816">
                  <c:v>0.17506688068485801</c:v>
                </c:pt>
                <c:pt idx="9817">
                  <c:v>0.175084715534153</c:v>
                </c:pt>
                <c:pt idx="9818">
                  <c:v>0.17510255038344899</c:v>
                </c:pt>
                <c:pt idx="9819">
                  <c:v>0.17512038523274401</c:v>
                </c:pt>
                <c:pt idx="9820">
                  <c:v>0.17513822008204</c:v>
                </c:pt>
                <c:pt idx="9821">
                  <c:v>0.17515605493133499</c:v>
                </c:pt>
                <c:pt idx="9822">
                  <c:v>0.175173889780631</c:v>
                </c:pt>
                <c:pt idx="9823">
                  <c:v>0.17519172462992599</c:v>
                </c:pt>
                <c:pt idx="9824">
                  <c:v>0.17520955947922201</c:v>
                </c:pt>
                <c:pt idx="9825">
                  <c:v>0.175227394328517</c:v>
                </c:pt>
                <c:pt idx="9826">
                  <c:v>0.17524522917781299</c:v>
                </c:pt>
                <c:pt idx="9827">
                  <c:v>0.17526306402710801</c:v>
                </c:pt>
                <c:pt idx="9828">
                  <c:v>0.175280898876404</c:v>
                </c:pt>
                <c:pt idx="9829">
                  <c:v>0.17529873372570001</c:v>
                </c:pt>
                <c:pt idx="9830">
                  <c:v>0.175316568574995</c:v>
                </c:pt>
                <c:pt idx="9831">
                  <c:v>0.17533440342429099</c:v>
                </c:pt>
                <c:pt idx="9832">
                  <c:v>0.17535223827358601</c:v>
                </c:pt>
                <c:pt idx="9833">
                  <c:v>0.175370073122882</c:v>
                </c:pt>
                <c:pt idx="9834">
                  <c:v>0.17538790797217699</c:v>
                </c:pt>
                <c:pt idx="9835">
                  <c:v>0.175405742821473</c:v>
                </c:pt>
                <c:pt idx="9836">
                  <c:v>0.17542357767076799</c:v>
                </c:pt>
                <c:pt idx="9837">
                  <c:v>0.17544141252006401</c:v>
                </c:pt>
                <c:pt idx="9838">
                  <c:v>0.175459247369359</c:v>
                </c:pt>
                <c:pt idx="9839">
                  <c:v>0.17547708221865499</c:v>
                </c:pt>
                <c:pt idx="9840">
                  <c:v>0.17549491706795001</c:v>
                </c:pt>
                <c:pt idx="9841">
                  <c:v>0.175512751917246</c:v>
                </c:pt>
                <c:pt idx="9842">
                  <c:v>0.17553058676654101</c:v>
                </c:pt>
                <c:pt idx="9843">
                  <c:v>0.175548421615837</c:v>
                </c:pt>
                <c:pt idx="9844">
                  <c:v>0.17556625646513199</c:v>
                </c:pt>
                <c:pt idx="9845">
                  <c:v>0.17558409131442801</c:v>
                </c:pt>
                <c:pt idx="9846">
                  <c:v>0.175601926163723</c:v>
                </c:pt>
                <c:pt idx="9847">
                  <c:v>0.17561976101301899</c:v>
                </c:pt>
                <c:pt idx="9848">
                  <c:v>0.17563759586231401</c:v>
                </c:pt>
                <c:pt idx="9849">
                  <c:v>0.17565543071160999</c:v>
                </c:pt>
                <c:pt idx="9850">
                  <c:v>0.17567326556090601</c:v>
                </c:pt>
                <c:pt idx="9851">
                  <c:v>0.175691100410201</c:v>
                </c:pt>
                <c:pt idx="9852">
                  <c:v>0.17570893525949699</c:v>
                </c:pt>
                <c:pt idx="9853">
                  <c:v>0.17572677010879201</c:v>
                </c:pt>
                <c:pt idx="9854">
                  <c:v>0.175744604958088</c:v>
                </c:pt>
                <c:pt idx="9855">
                  <c:v>0.17576243980738299</c:v>
                </c:pt>
                <c:pt idx="9856">
                  <c:v>0.175780274656679</c:v>
                </c:pt>
                <c:pt idx="9857">
                  <c:v>0.17579810950597399</c:v>
                </c:pt>
                <c:pt idx="9858">
                  <c:v>0.17581594435527001</c:v>
                </c:pt>
                <c:pt idx="9859">
                  <c:v>0.175833779204565</c:v>
                </c:pt>
                <c:pt idx="9860">
                  <c:v>0.17585161405386099</c:v>
                </c:pt>
                <c:pt idx="9861">
                  <c:v>0.17586944890315601</c:v>
                </c:pt>
                <c:pt idx="9862">
                  <c:v>0.17588728375245199</c:v>
                </c:pt>
                <c:pt idx="9863">
                  <c:v>0.17590511860174701</c:v>
                </c:pt>
                <c:pt idx="9864">
                  <c:v>0.175922953451043</c:v>
                </c:pt>
                <c:pt idx="9865">
                  <c:v>0.17594078830033799</c:v>
                </c:pt>
                <c:pt idx="9866">
                  <c:v>0.17595862314963401</c:v>
                </c:pt>
                <c:pt idx="9867">
                  <c:v>0.175976457998929</c:v>
                </c:pt>
                <c:pt idx="9868">
                  <c:v>0.17599429284822499</c:v>
                </c:pt>
                <c:pt idx="9869">
                  <c:v>0.17601212769752</c:v>
                </c:pt>
                <c:pt idx="9870">
                  <c:v>0.17602996254681599</c:v>
                </c:pt>
                <c:pt idx="9871">
                  <c:v>0.17604779739611201</c:v>
                </c:pt>
                <c:pt idx="9872">
                  <c:v>0.176065632245407</c:v>
                </c:pt>
                <c:pt idx="9873">
                  <c:v>0.17608346709470299</c:v>
                </c:pt>
                <c:pt idx="9874">
                  <c:v>0.17610130194399801</c:v>
                </c:pt>
                <c:pt idx="9875">
                  <c:v>0.176119136793294</c:v>
                </c:pt>
                <c:pt idx="9876">
                  <c:v>0.17613697164258901</c:v>
                </c:pt>
                <c:pt idx="9877">
                  <c:v>0.176154806491885</c:v>
                </c:pt>
                <c:pt idx="9878">
                  <c:v>0.17617264134117999</c:v>
                </c:pt>
                <c:pt idx="9879">
                  <c:v>0.17619047619047601</c:v>
                </c:pt>
                <c:pt idx="9880">
                  <c:v>0.176208311039771</c:v>
                </c:pt>
                <c:pt idx="9881">
                  <c:v>0.17622614588906699</c:v>
                </c:pt>
                <c:pt idx="9882">
                  <c:v>0.176243980738362</c:v>
                </c:pt>
                <c:pt idx="9883">
                  <c:v>0.17626181558765799</c:v>
                </c:pt>
                <c:pt idx="9884">
                  <c:v>0.17627965043695301</c:v>
                </c:pt>
                <c:pt idx="9885">
                  <c:v>0.176297485286249</c:v>
                </c:pt>
                <c:pt idx="9886">
                  <c:v>0.17631532013554399</c:v>
                </c:pt>
                <c:pt idx="9887">
                  <c:v>0.17633315498484001</c:v>
                </c:pt>
                <c:pt idx="9888">
                  <c:v>0.176350989834135</c:v>
                </c:pt>
                <c:pt idx="9889">
                  <c:v>0.17636882468343101</c:v>
                </c:pt>
                <c:pt idx="9890">
                  <c:v>0.176386659532726</c:v>
                </c:pt>
                <c:pt idx="9891">
                  <c:v>0.17640449438202199</c:v>
                </c:pt>
                <c:pt idx="9892">
                  <c:v>0.17642232923131801</c:v>
                </c:pt>
                <c:pt idx="9893">
                  <c:v>0.176440164080613</c:v>
                </c:pt>
                <c:pt idx="9894">
                  <c:v>0.17645799892990899</c:v>
                </c:pt>
                <c:pt idx="9895">
                  <c:v>0.17647583377920401</c:v>
                </c:pt>
                <c:pt idx="9896">
                  <c:v>0.17649366862849999</c:v>
                </c:pt>
                <c:pt idx="9897">
                  <c:v>0.17651150347779501</c:v>
                </c:pt>
                <c:pt idx="9898">
                  <c:v>0.176529338327091</c:v>
                </c:pt>
                <c:pt idx="9899">
                  <c:v>0.17654717317638599</c:v>
                </c:pt>
                <c:pt idx="9900">
                  <c:v>0.17656500802568201</c:v>
                </c:pt>
                <c:pt idx="9901">
                  <c:v>0.176582842874977</c:v>
                </c:pt>
                <c:pt idx="9902">
                  <c:v>0.17660067772427299</c:v>
                </c:pt>
                <c:pt idx="9903">
                  <c:v>0.176618512573568</c:v>
                </c:pt>
                <c:pt idx="9904">
                  <c:v>0.17663634742286399</c:v>
                </c:pt>
                <c:pt idx="9905">
                  <c:v>0.17665418227215901</c:v>
                </c:pt>
                <c:pt idx="9906">
                  <c:v>0.176672017121455</c:v>
                </c:pt>
                <c:pt idx="9907">
                  <c:v>0.17668985197074999</c:v>
                </c:pt>
                <c:pt idx="9908">
                  <c:v>0.17670768682004601</c:v>
                </c:pt>
                <c:pt idx="9909">
                  <c:v>0.176725521669341</c:v>
                </c:pt>
                <c:pt idx="9910">
                  <c:v>0.17674335651863701</c:v>
                </c:pt>
                <c:pt idx="9911">
                  <c:v>0.176761191367932</c:v>
                </c:pt>
                <c:pt idx="9912">
                  <c:v>0.17677902621722799</c:v>
                </c:pt>
                <c:pt idx="9913">
                  <c:v>0.17679686106652301</c:v>
                </c:pt>
                <c:pt idx="9914">
                  <c:v>0.176814695915819</c:v>
                </c:pt>
                <c:pt idx="9915">
                  <c:v>0.17683253076511499</c:v>
                </c:pt>
                <c:pt idx="9916">
                  <c:v>0.17685036561441</c:v>
                </c:pt>
                <c:pt idx="9917">
                  <c:v>0.17686820046370599</c:v>
                </c:pt>
                <c:pt idx="9918">
                  <c:v>0.17688603531300101</c:v>
                </c:pt>
                <c:pt idx="9919">
                  <c:v>0.176903870162297</c:v>
                </c:pt>
                <c:pt idx="9920">
                  <c:v>0.17692170501159199</c:v>
                </c:pt>
                <c:pt idx="9921">
                  <c:v>0.17693953986088801</c:v>
                </c:pt>
                <c:pt idx="9922">
                  <c:v>0.176957374710183</c:v>
                </c:pt>
                <c:pt idx="9923">
                  <c:v>0.17697520955947901</c:v>
                </c:pt>
                <c:pt idx="9924">
                  <c:v>0.176993044408774</c:v>
                </c:pt>
                <c:pt idx="9925">
                  <c:v>0.17701087925806999</c:v>
                </c:pt>
                <c:pt idx="9926">
                  <c:v>0.17702871410736501</c:v>
                </c:pt>
                <c:pt idx="9927">
                  <c:v>0.177046548956661</c:v>
                </c:pt>
                <c:pt idx="9928">
                  <c:v>0.17706438380595599</c:v>
                </c:pt>
                <c:pt idx="9929">
                  <c:v>0.17708221865525201</c:v>
                </c:pt>
                <c:pt idx="9930">
                  <c:v>0.17710005350454699</c:v>
                </c:pt>
                <c:pt idx="9931">
                  <c:v>0.17711788835384301</c:v>
                </c:pt>
                <c:pt idx="9932">
                  <c:v>0.177135723203138</c:v>
                </c:pt>
                <c:pt idx="9933">
                  <c:v>0.17715355805243399</c:v>
                </c:pt>
                <c:pt idx="9934">
                  <c:v>0.17717139290172901</c:v>
                </c:pt>
                <c:pt idx="9935">
                  <c:v>0.177189227751025</c:v>
                </c:pt>
                <c:pt idx="9936">
                  <c:v>0.17720706260032101</c:v>
                </c:pt>
                <c:pt idx="9937">
                  <c:v>0.177224897449616</c:v>
                </c:pt>
                <c:pt idx="9938">
                  <c:v>0.17724273229891199</c:v>
                </c:pt>
                <c:pt idx="9939">
                  <c:v>0.17726056714820701</c:v>
                </c:pt>
                <c:pt idx="9940">
                  <c:v>0.177278401997503</c:v>
                </c:pt>
                <c:pt idx="9941">
                  <c:v>0.17729623684679799</c:v>
                </c:pt>
                <c:pt idx="9942">
                  <c:v>0.17731407169609401</c:v>
                </c:pt>
                <c:pt idx="9943">
                  <c:v>0.177331906545389</c:v>
                </c:pt>
                <c:pt idx="9944">
                  <c:v>0.17734974139468501</c:v>
                </c:pt>
                <c:pt idx="9945">
                  <c:v>0.17736757624398</c:v>
                </c:pt>
                <c:pt idx="9946">
                  <c:v>0.17738541109327599</c:v>
                </c:pt>
                <c:pt idx="9947">
                  <c:v>0.17740324594257101</c:v>
                </c:pt>
                <c:pt idx="9948">
                  <c:v>0.177421080791867</c:v>
                </c:pt>
                <c:pt idx="9949">
                  <c:v>0.17743891564116199</c:v>
                </c:pt>
                <c:pt idx="9950">
                  <c:v>0.177456750490458</c:v>
                </c:pt>
                <c:pt idx="9951">
                  <c:v>0.17747458533975299</c:v>
                </c:pt>
                <c:pt idx="9952">
                  <c:v>0.17749242018904901</c:v>
                </c:pt>
                <c:pt idx="9953">
                  <c:v>0.177510255038344</c:v>
                </c:pt>
                <c:pt idx="9954">
                  <c:v>0.17752808988763999</c:v>
                </c:pt>
                <c:pt idx="9955">
                  <c:v>0.17754592473693501</c:v>
                </c:pt>
                <c:pt idx="9956">
                  <c:v>0.177563759586231</c:v>
                </c:pt>
                <c:pt idx="9957">
                  <c:v>0.17758159443552701</c:v>
                </c:pt>
                <c:pt idx="9958">
                  <c:v>0.177599429284822</c:v>
                </c:pt>
                <c:pt idx="9959">
                  <c:v>0.17761726413411799</c:v>
                </c:pt>
                <c:pt idx="9960">
                  <c:v>0.17763509898341301</c:v>
                </c:pt>
                <c:pt idx="9961">
                  <c:v>0.177652933832709</c:v>
                </c:pt>
                <c:pt idx="9962">
                  <c:v>0.17767076868200399</c:v>
                </c:pt>
                <c:pt idx="9963">
                  <c:v>0.1776886035313</c:v>
                </c:pt>
                <c:pt idx="9964">
                  <c:v>0.17770643838059499</c:v>
                </c:pt>
                <c:pt idx="9965">
                  <c:v>0.17772427322989101</c:v>
                </c:pt>
                <c:pt idx="9966">
                  <c:v>0.177742108079186</c:v>
                </c:pt>
                <c:pt idx="9967">
                  <c:v>0.17775994292848199</c:v>
                </c:pt>
                <c:pt idx="9968">
                  <c:v>0.17777777777777701</c:v>
                </c:pt>
                <c:pt idx="9969">
                  <c:v>0.177795612627073</c:v>
                </c:pt>
                <c:pt idx="9970">
                  <c:v>0.17781344747636799</c:v>
                </c:pt>
                <c:pt idx="9971">
                  <c:v>0.177831282325664</c:v>
                </c:pt>
                <c:pt idx="9972">
                  <c:v>0.17784911717495899</c:v>
                </c:pt>
                <c:pt idx="9973">
                  <c:v>0.17786695202425501</c:v>
                </c:pt>
                <c:pt idx="9974">
                  <c:v>0.17788478687355</c:v>
                </c:pt>
                <c:pt idx="9975">
                  <c:v>0.17790262172284599</c:v>
                </c:pt>
                <c:pt idx="9976">
                  <c:v>0.17792045657214101</c:v>
                </c:pt>
                <c:pt idx="9977">
                  <c:v>0.17793829142143699</c:v>
                </c:pt>
                <c:pt idx="9978">
                  <c:v>0.17795612627073301</c:v>
                </c:pt>
                <c:pt idx="9979">
                  <c:v>0.177973961120028</c:v>
                </c:pt>
                <c:pt idx="9980">
                  <c:v>0.17799179596932399</c:v>
                </c:pt>
                <c:pt idx="9981">
                  <c:v>0.17800963081861901</c:v>
                </c:pt>
                <c:pt idx="9982">
                  <c:v>0.178027465667915</c:v>
                </c:pt>
                <c:pt idx="9983">
                  <c:v>0.17804530051720999</c:v>
                </c:pt>
                <c:pt idx="9984">
                  <c:v>0.178063135366506</c:v>
                </c:pt>
                <c:pt idx="9985">
                  <c:v>0.17808097021580099</c:v>
                </c:pt>
                <c:pt idx="9986">
                  <c:v>0.17809880506509701</c:v>
                </c:pt>
                <c:pt idx="9987">
                  <c:v>0.178116639914392</c:v>
                </c:pt>
                <c:pt idx="9988">
                  <c:v>0.17813447476368799</c:v>
                </c:pt>
                <c:pt idx="9989">
                  <c:v>0.17815230961298301</c:v>
                </c:pt>
                <c:pt idx="9990">
                  <c:v>0.178170144462279</c:v>
                </c:pt>
                <c:pt idx="9991">
                  <c:v>0.17818797931157401</c:v>
                </c:pt>
                <c:pt idx="9992">
                  <c:v>0.17820581416087</c:v>
                </c:pt>
                <c:pt idx="9993">
                  <c:v>0.17822364901016499</c:v>
                </c:pt>
                <c:pt idx="9994">
                  <c:v>0.17824148385946101</c:v>
                </c:pt>
                <c:pt idx="9995">
                  <c:v>0.178259318708756</c:v>
                </c:pt>
                <c:pt idx="9996">
                  <c:v>0.17827715355805199</c:v>
                </c:pt>
                <c:pt idx="9997">
                  <c:v>0.178294988407347</c:v>
                </c:pt>
                <c:pt idx="9998">
                  <c:v>0.17831282325664299</c:v>
                </c:pt>
                <c:pt idx="9999">
                  <c:v>0.17833065810593901</c:v>
                </c:pt>
                <c:pt idx="10000">
                  <c:v>0.178348492955234</c:v>
                </c:pt>
                <c:pt idx="10001">
                  <c:v>0.17836632780452999</c:v>
                </c:pt>
                <c:pt idx="10002">
                  <c:v>0.17838416265382501</c:v>
                </c:pt>
                <c:pt idx="10003">
                  <c:v>0.178401997503121</c:v>
                </c:pt>
                <c:pt idx="10004">
                  <c:v>0.17841983235241601</c:v>
                </c:pt>
                <c:pt idx="10005">
                  <c:v>0.178437667201712</c:v>
                </c:pt>
                <c:pt idx="10006">
                  <c:v>0.17845550205100699</c:v>
                </c:pt>
                <c:pt idx="10007">
                  <c:v>0.17847333690030301</c:v>
                </c:pt>
                <c:pt idx="10008">
                  <c:v>0.178491171749598</c:v>
                </c:pt>
                <c:pt idx="10009">
                  <c:v>0.17850900659889399</c:v>
                </c:pt>
                <c:pt idx="10010">
                  <c:v>0.17852684144818901</c:v>
                </c:pt>
                <c:pt idx="10011">
                  <c:v>0.17854467629748499</c:v>
                </c:pt>
                <c:pt idx="10012">
                  <c:v>0.17856251114678001</c:v>
                </c:pt>
                <c:pt idx="10013">
                  <c:v>0.178580345996076</c:v>
                </c:pt>
                <c:pt idx="10014">
                  <c:v>0.17859818084537099</c:v>
                </c:pt>
                <c:pt idx="10015">
                  <c:v>0.17861601569466701</c:v>
                </c:pt>
                <c:pt idx="10016">
                  <c:v>0.178633850543962</c:v>
                </c:pt>
                <c:pt idx="10017">
                  <c:v>0.17865168539325799</c:v>
                </c:pt>
                <c:pt idx="10018">
                  <c:v>0.178669520242553</c:v>
                </c:pt>
                <c:pt idx="10019">
                  <c:v>0.17868735509184899</c:v>
                </c:pt>
                <c:pt idx="10020">
                  <c:v>0.17870518994114501</c:v>
                </c:pt>
                <c:pt idx="10021">
                  <c:v>0.17872302479044</c:v>
                </c:pt>
                <c:pt idx="10022">
                  <c:v>0.17874085963973599</c:v>
                </c:pt>
                <c:pt idx="10023">
                  <c:v>0.17875869448903101</c:v>
                </c:pt>
                <c:pt idx="10024">
                  <c:v>0.17877652933832699</c:v>
                </c:pt>
                <c:pt idx="10025">
                  <c:v>0.17879436418762201</c:v>
                </c:pt>
                <c:pt idx="10026">
                  <c:v>0.178812199036918</c:v>
                </c:pt>
                <c:pt idx="10027">
                  <c:v>0.17883003388621299</c:v>
                </c:pt>
                <c:pt idx="10028">
                  <c:v>0.17884786873550901</c:v>
                </c:pt>
                <c:pt idx="10029">
                  <c:v>0.178865703584804</c:v>
                </c:pt>
                <c:pt idx="10030">
                  <c:v>0.17888353843409999</c:v>
                </c:pt>
                <c:pt idx="10031">
                  <c:v>0.178901373283395</c:v>
                </c:pt>
                <c:pt idx="10032">
                  <c:v>0.17891920813269099</c:v>
                </c:pt>
                <c:pt idx="10033">
                  <c:v>0.17893704298198601</c:v>
                </c:pt>
                <c:pt idx="10034">
                  <c:v>0.178954877831282</c:v>
                </c:pt>
                <c:pt idx="10035">
                  <c:v>0.17897271268057699</c:v>
                </c:pt>
                <c:pt idx="10036">
                  <c:v>0.17899054752987301</c:v>
                </c:pt>
                <c:pt idx="10037">
                  <c:v>0.179008382379168</c:v>
                </c:pt>
                <c:pt idx="10038">
                  <c:v>0.17902621722846401</c:v>
                </c:pt>
                <c:pt idx="10039">
                  <c:v>0.179044052077759</c:v>
                </c:pt>
                <c:pt idx="10040">
                  <c:v>0.17906188692705499</c:v>
                </c:pt>
                <c:pt idx="10041">
                  <c:v>0.17907972177635001</c:v>
                </c:pt>
                <c:pt idx="10042">
                  <c:v>0.179097556625646</c:v>
                </c:pt>
                <c:pt idx="10043">
                  <c:v>0.17911539147494199</c:v>
                </c:pt>
                <c:pt idx="10044">
                  <c:v>0.179133226324237</c:v>
                </c:pt>
                <c:pt idx="10045">
                  <c:v>0.17915106117353299</c:v>
                </c:pt>
                <c:pt idx="10046">
                  <c:v>0.17916889602282801</c:v>
                </c:pt>
                <c:pt idx="10047">
                  <c:v>0.179186730872124</c:v>
                </c:pt>
                <c:pt idx="10048">
                  <c:v>0.17920456572141899</c:v>
                </c:pt>
                <c:pt idx="10049">
                  <c:v>0.17922240057071501</c:v>
                </c:pt>
                <c:pt idx="10050">
                  <c:v>0.17924023542001</c:v>
                </c:pt>
                <c:pt idx="10051">
                  <c:v>0.17925807026930601</c:v>
                </c:pt>
                <c:pt idx="10052">
                  <c:v>0.179275905118601</c:v>
                </c:pt>
                <c:pt idx="10053">
                  <c:v>0.17929373996789699</c:v>
                </c:pt>
                <c:pt idx="10054">
                  <c:v>0.17931157481719201</c:v>
                </c:pt>
                <c:pt idx="10055">
                  <c:v>0.179329409666488</c:v>
                </c:pt>
                <c:pt idx="10056">
                  <c:v>0.17934724451578299</c:v>
                </c:pt>
                <c:pt idx="10057">
                  <c:v>0.17936507936507901</c:v>
                </c:pt>
                <c:pt idx="10058">
                  <c:v>0.179382914214374</c:v>
                </c:pt>
                <c:pt idx="10059">
                  <c:v>0.17940074906367001</c:v>
                </c:pt>
                <c:pt idx="10060">
                  <c:v>0.179418583912965</c:v>
                </c:pt>
                <c:pt idx="10061">
                  <c:v>0.17943641876226099</c:v>
                </c:pt>
                <c:pt idx="10062">
                  <c:v>0.17945425361155601</c:v>
                </c:pt>
                <c:pt idx="10063">
                  <c:v>0.179472088460852</c:v>
                </c:pt>
                <c:pt idx="10064">
                  <c:v>0.17948992331014799</c:v>
                </c:pt>
                <c:pt idx="10065">
                  <c:v>0.179507758159443</c:v>
                </c:pt>
                <c:pt idx="10066">
                  <c:v>0.17952559300873899</c:v>
                </c:pt>
                <c:pt idx="10067">
                  <c:v>0.17954342785803401</c:v>
                </c:pt>
                <c:pt idx="10068">
                  <c:v>0.17956126270733</c:v>
                </c:pt>
                <c:pt idx="10069">
                  <c:v>0.17957909755662499</c:v>
                </c:pt>
                <c:pt idx="10070">
                  <c:v>0.17959693240592101</c:v>
                </c:pt>
                <c:pt idx="10071">
                  <c:v>0.179614767255216</c:v>
                </c:pt>
                <c:pt idx="10072">
                  <c:v>0.17963260210451201</c:v>
                </c:pt>
                <c:pt idx="10073">
                  <c:v>0.179650436953807</c:v>
                </c:pt>
                <c:pt idx="10074">
                  <c:v>0.17966827180310299</c:v>
                </c:pt>
                <c:pt idx="10075">
                  <c:v>0.17968610665239801</c:v>
                </c:pt>
                <c:pt idx="10076">
                  <c:v>0.179703941501694</c:v>
                </c:pt>
                <c:pt idx="10077">
                  <c:v>0.17972177635098899</c:v>
                </c:pt>
                <c:pt idx="10078">
                  <c:v>0.179739611200285</c:v>
                </c:pt>
                <c:pt idx="10079">
                  <c:v>0.17975744604957999</c:v>
                </c:pt>
                <c:pt idx="10080">
                  <c:v>0.17977528089887601</c:v>
                </c:pt>
                <c:pt idx="10081">
                  <c:v>0.179793115748171</c:v>
                </c:pt>
                <c:pt idx="10082">
                  <c:v>0.17981095059746699</c:v>
                </c:pt>
                <c:pt idx="10083">
                  <c:v>0.17982878544676201</c:v>
                </c:pt>
                <c:pt idx="10084">
                  <c:v>0.179846620296058</c:v>
                </c:pt>
                <c:pt idx="10085">
                  <c:v>0.17986445514535401</c:v>
                </c:pt>
                <c:pt idx="10086">
                  <c:v>0.179882289994649</c:v>
                </c:pt>
                <c:pt idx="10087">
                  <c:v>0.17990012484394499</c:v>
                </c:pt>
                <c:pt idx="10088">
                  <c:v>0.17991795969324001</c:v>
                </c:pt>
                <c:pt idx="10089">
                  <c:v>0.179935794542536</c:v>
                </c:pt>
                <c:pt idx="10090">
                  <c:v>0.17995362939183099</c:v>
                </c:pt>
                <c:pt idx="10091">
                  <c:v>0.179971464241127</c:v>
                </c:pt>
                <c:pt idx="10092">
                  <c:v>0.17998929909042199</c:v>
                </c:pt>
                <c:pt idx="10093">
                  <c:v>0.18000713393971801</c:v>
                </c:pt>
                <c:pt idx="10094">
                  <c:v>0.180024968789013</c:v>
                </c:pt>
                <c:pt idx="10095">
                  <c:v>0.18004280363830899</c:v>
                </c:pt>
                <c:pt idx="10096">
                  <c:v>0.18006063848760401</c:v>
                </c:pt>
                <c:pt idx="10097">
                  <c:v>0.1800784733369</c:v>
                </c:pt>
                <c:pt idx="10098">
                  <c:v>0.18009630818619499</c:v>
                </c:pt>
                <c:pt idx="10099">
                  <c:v>0.180114143035491</c:v>
                </c:pt>
                <c:pt idx="10100">
                  <c:v>0.18013197788478599</c:v>
                </c:pt>
                <c:pt idx="10101">
                  <c:v>0.18014981273408201</c:v>
                </c:pt>
                <c:pt idx="10102">
                  <c:v>0.180167647583377</c:v>
                </c:pt>
                <c:pt idx="10103">
                  <c:v>0.18018548243267299</c:v>
                </c:pt>
                <c:pt idx="10104">
                  <c:v>0.18020331728196801</c:v>
                </c:pt>
                <c:pt idx="10105">
                  <c:v>0.180221152131264</c:v>
                </c:pt>
                <c:pt idx="10106">
                  <c:v>0.18023898698056001</c:v>
                </c:pt>
                <c:pt idx="10107">
                  <c:v>0.180256821829855</c:v>
                </c:pt>
                <c:pt idx="10108">
                  <c:v>0.18027465667915099</c:v>
                </c:pt>
                <c:pt idx="10109">
                  <c:v>0.18029249152844601</c:v>
                </c:pt>
                <c:pt idx="10110">
                  <c:v>0.180310326377742</c:v>
                </c:pt>
                <c:pt idx="10111">
                  <c:v>0.18032816122703699</c:v>
                </c:pt>
                <c:pt idx="10112">
                  <c:v>0.180345996076333</c:v>
                </c:pt>
                <c:pt idx="10113">
                  <c:v>0.18036383092562799</c:v>
                </c:pt>
                <c:pt idx="10114">
                  <c:v>0.18038166577492401</c:v>
                </c:pt>
                <c:pt idx="10115">
                  <c:v>0.180399500624219</c:v>
                </c:pt>
                <c:pt idx="10116">
                  <c:v>0.18041733547351499</c:v>
                </c:pt>
                <c:pt idx="10117">
                  <c:v>0.18043517032281001</c:v>
                </c:pt>
                <c:pt idx="10118">
                  <c:v>0.180453005172106</c:v>
                </c:pt>
                <c:pt idx="10119">
                  <c:v>0.18047084002140101</c:v>
                </c:pt>
                <c:pt idx="10120">
                  <c:v>0.180488674870697</c:v>
                </c:pt>
                <c:pt idx="10121">
                  <c:v>0.18050650971999199</c:v>
                </c:pt>
                <c:pt idx="10122">
                  <c:v>0.18052434456928801</c:v>
                </c:pt>
                <c:pt idx="10123">
                  <c:v>0.180542179418583</c:v>
                </c:pt>
                <c:pt idx="10124">
                  <c:v>0.18056001426787899</c:v>
                </c:pt>
                <c:pt idx="10125">
                  <c:v>0.18057784911717401</c:v>
                </c:pt>
                <c:pt idx="10126">
                  <c:v>0.18059568396646999</c:v>
                </c:pt>
                <c:pt idx="10127">
                  <c:v>0.18061351881576601</c:v>
                </c:pt>
                <c:pt idx="10128">
                  <c:v>0.180631353665061</c:v>
                </c:pt>
                <c:pt idx="10129">
                  <c:v>0.18064918851435699</c:v>
                </c:pt>
                <c:pt idx="10130">
                  <c:v>0.18066702336365201</c:v>
                </c:pt>
                <c:pt idx="10131">
                  <c:v>0.180684858212948</c:v>
                </c:pt>
                <c:pt idx="10132">
                  <c:v>0.18070269306224301</c:v>
                </c:pt>
                <c:pt idx="10133">
                  <c:v>0.180720527911539</c:v>
                </c:pt>
                <c:pt idx="10134">
                  <c:v>0.18073836276083399</c:v>
                </c:pt>
                <c:pt idx="10135">
                  <c:v>0.18075619761013001</c:v>
                </c:pt>
                <c:pt idx="10136">
                  <c:v>0.180774032459425</c:v>
                </c:pt>
                <c:pt idx="10137">
                  <c:v>0.18079186730872099</c:v>
                </c:pt>
                <c:pt idx="10138">
                  <c:v>0.18080970215801601</c:v>
                </c:pt>
                <c:pt idx="10139">
                  <c:v>0.18082753700731199</c:v>
                </c:pt>
                <c:pt idx="10140">
                  <c:v>0.18084537185660701</c:v>
                </c:pt>
                <c:pt idx="10141">
                  <c:v>0.180863206705903</c:v>
                </c:pt>
                <c:pt idx="10142">
                  <c:v>0.18088104155519799</c:v>
                </c:pt>
                <c:pt idx="10143">
                  <c:v>0.18089887640449401</c:v>
                </c:pt>
                <c:pt idx="10144">
                  <c:v>0.180916711253789</c:v>
                </c:pt>
                <c:pt idx="10145">
                  <c:v>0.18093454610308499</c:v>
                </c:pt>
                <c:pt idx="10146">
                  <c:v>0.18095238095238</c:v>
                </c:pt>
                <c:pt idx="10147">
                  <c:v>0.18097021580167599</c:v>
                </c:pt>
                <c:pt idx="10148">
                  <c:v>0.18098805065097201</c:v>
                </c:pt>
                <c:pt idx="10149">
                  <c:v>0.181005885500267</c:v>
                </c:pt>
                <c:pt idx="10150">
                  <c:v>0.18102372034956299</c:v>
                </c:pt>
                <c:pt idx="10151">
                  <c:v>0.18104155519885801</c:v>
                </c:pt>
                <c:pt idx="10152">
                  <c:v>0.181059390048154</c:v>
                </c:pt>
                <c:pt idx="10153">
                  <c:v>0.18107722489744901</c:v>
                </c:pt>
                <c:pt idx="10154">
                  <c:v>0.181095059746745</c:v>
                </c:pt>
                <c:pt idx="10155">
                  <c:v>0.18111289459603999</c:v>
                </c:pt>
                <c:pt idx="10156">
                  <c:v>0.18113072944533601</c:v>
                </c:pt>
                <c:pt idx="10157">
                  <c:v>0.181148564294631</c:v>
                </c:pt>
                <c:pt idx="10158">
                  <c:v>0.18116639914392699</c:v>
                </c:pt>
                <c:pt idx="10159">
                  <c:v>0.181184233993222</c:v>
                </c:pt>
                <c:pt idx="10160">
                  <c:v>0.18120206884251799</c:v>
                </c:pt>
                <c:pt idx="10161">
                  <c:v>0.18121990369181301</c:v>
                </c:pt>
                <c:pt idx="10162">
                  <c:v>0.181237738541109</c:v>
                </c:pt>
                <c:pt idx="10163">
                  <c:v>0.18125557339040399</c:v>
                </c:pt>
                <c:pt idx="10164">
                  <c:v>0.18127340823970001</c:v>
                </c:pt>
                <c:pt idx="10165">
                  <c:v>0.181291243088995</c:v>
                </c:pt>
                <c:pt idx="10166">
                  <c:v>0.18130907793829101</c:v>
                </c:pt>
                <c:pt idx="10167">
                  <c:v>0.181326912787586</c:v>
                </c:pt>
                <c:pt idx="10168">
                  <c:v>0.18134474763688199</c:v>
                </c:pt>
                <c:pt idx="10169">
                  <c:v>0.18136258248617701</c:v>
                </c:pt>
                <c:pt idx="10170">
                  <c:v>0.181380417335473</c:v>
                </c:pt>
                <c:pt idx="10171">
                  <c:v>0.18139825218476899</c:v>
                </c:pt>
                <c:pt idx="10172">
                  <c:v>0.18141608703406401</c:v>
                </c:pt>
                <c:pt idx="10173">
                  <c:v>0.18143392188335999</c:v>
                </c:pt>
                <c:pt idx="10174">
                  <c:v>0.18145175673265501</c:v>
                </c:pt>
                <c:pt idx="10175">
                  <c:v>0.181469591581951</c:v>
                </c:pt>
                <c:pt idx="10176">
                  <c:v>0.18148742643124599</c:v>
                </c:pt>
                <c:pt idx="10177">
                  <c:v>0.18150526128054201</c:v>
                </c:pt>
                <c:pt idx="10178">
                  <c:v>0.181523096129837</c:v>
                </c:pt>
                <c:pt idx="10179">
                  <c:v>0.18154093097913299</c:v>
                </c:pt>
                <c:pt idx="10180">
                  <c:v>0.181558765828428</c:v>
                </c:pt>
                <c:pt idx="10181">
                  <c:v>0.18157660067772399</c:v>
                </c:pt>
                <c:pt idx="10182">
                  <c:v>0.18159443552701901</c:v>
                </c:pt>
                <c:pt idx="10183">
                  <c:v>0.181612270376315</c:v>
                </c:pt>
                <c:pt idx="10184">
                  <c:v>0.18163010522560999</c:v>
                </c:pt>
                <c:pt idx="10185">
                  <c:v>0.18164794007490601</c:v>
                </c:pt>
                <c:pt idx="10186">
                  <c:v>0.181665774924201</c:v>
                </c:pt>
                <c:pt idx="10187">
                  <c:v>0.18168360977349701</c:v>
                </c:pt>
                <c:pt idx="10188">
                  <c:v>0.181701444622792</c:v>
                </c:pt>
                <c:pt idx="10189">
                  <c:v>0.18171927947208799</c:v>
                </c:pt>
                <c:pt idx="10190">
                  <c:v>0.18173711432138301</c:v>
                </c:pt>
                <c:pt idx="10191">
                  <c:v>0.181754949170679</c:v>
                </c:pt>
                <c:pt idx="10192">
                  <c:v>0.18177278401997499</c:v>
                </c:pt>
                <c:pt idx="10193">
                  <c:v>0.18179061886927</c:v>
                </c:pt>
                <c:pt idx="10194">
                  <c:v>0.18180845371856599</c:v>
                </c:pt>
                <c:pt idx="10195">
                  <c:v>0.18182628856786101</c:v>
                </c:pt>
                <c:pt idx="10196">
                  <c:v>0.181844123417157</c:v>
                </c:pt>
                <c:pt idx="10197">
                  <c:v>0.18186195826645199</c:v>
                </c:pt>
                <c:pt idx="10198">
                  <c:v>0.18187979311574801</c:v>
                </c:pt>
                <c:pt idx="10199">
                  <c:v>0.181897627965043</c:v>
                </c:pt>
                <c:pt idx="10200">
                  <c:v>0.18191546281433901</c:v>
                </c:pt>
                <c:pt idx="10201">
                  <c:v>0.181933297663634</c:v>
                </c:pt>
                <c:pt idx="10202">
                  <c:v>0.18195113251292999</c:v>
                </c:pt>
                <c:pt idx="10203">
                  <c:v>0.18196896736222501</c:v>
                </c:pt>
                <c:pt idx="10204">
                  <c:v>0.181986802211521</c:v>
                </c:pt>
                <c:pt idx="10205">
                  <c:v>0.18200463706081599</c:v>
                </c:pt>
                <c:pt idx="10206">
                  <c:v>0.182022471910112</c:v>
                </c:pt>
                <c:pt idx="10207">
                  <c:v>0.18204030675940699</c:v>
                </c:pt>
                <c:pt idx="10208">
                  <c:v>0.18205814160870301</c:v>
                </c:pt>
                <c:pt idx="10209">
                  <c:v>0.182075976457998</c:v>
                </c:pt>
                <c:pt idx="10210">
                  <c:v>0.18209381130729399</c:v>
                </c:pt>
                <c:pt idx="10211">
                  <c:v>0.18211164615658901</c:v>
                </c:pt>
                <c:pt idx="10212">
                  <c:v>0.182129481005885</c:v>
                </c:pt>
                <c:pt idx="10213">
                  <c:v>0.18214731585518101</c:v>
                </c:pt>
                <c:pt idx="10214">
                  <c:v>0.182165150704476</c:v>
                </c:pt>
                <c:pt idx="10215">
                  <c:v>0.18218298555377199</c:v>
                </c:pt>
                <c:pt idx="10216">
                  <c:v>0.18220082040306701</c:v>
                </c:pt>
                <c:pt idx="10217">
                  <c:v>0.182218655252363</c:v>
                </c:pt>
                <c:pt idx="10218">
                  <c:v>0.18223649010165799</c:v>
                </c:pt>
                <c:pt idx="10219">
                  <c:v>0.18225432495095401</c:v>
                </c:pt>
                <c:pt idx="10220">
                  <c:v>0.182272159800249</c:v>
                </c:pt>
                <c:pt idx="10221">
                  <c:v>0.18228999464954501</c:v>
                </c:pt>
                <c:pt idx="10222">
                  <c:v>0.18230782949884</c:v>
                </c:pt>
                <c:pt idx="10223">
                  <c:v>0.18232566434813599</c:v>
                </c:pt>
                <c:pt idx="10224">
                  <c:v>0.18234349919743101</c:v>
                </c:pt>
                <c:pt idx="10225">
                  <c:v>0.182361334046727</c:v>
                </c:pt>
                <c:pt idx="10226">
                  <c:v>0.18237916889602199</c:v>
                </c:pt>
                <c:pt idx="10227">
                  <c:v>0.182397003745318</c:v>
                </c:pt>
                <c:pt idx="10228">
                  <c:v>0.18241483859461299</c:v>
                </c:pt>
                <c:pt idx="10229">
                  <c:v>0.18243267344390901</c:v>
                </c:pt>
                <c:pt idx="10230">
                  <c:v>0.182450508293204</c:v>
                </c:pt>
                <c:pt idx="10231">
                  <c:v>0.18246834314249999</c:v>
                </c:pt>
                <c:pt idx="10232">
                  <c:v>0.18248617799179501</c:v>
                </c:pt>
                <c:pt idx="10233">
                  <c:v>0.182504012841091</c:v>
                </c:pt>
                <c:pt idx="10234">
                  <c:v>0.18252184769038701</c:v>
                </c:pt>
                <c:pt idx="10235">
                  <c:v>0.182539682539682</c:v>
                </c:pt>
                <c:pt idx="10236">
                  <c:v>0.18255751738897799</c:v>
                </c:pt>
                <c:pt idx="10237">
                  <c:v>0.18257535223827301</c:v>
                </c:pt>
                <c:pt idx="10238">
                  <c:v>0.182593187087569</c:v>
                </c:pt>
                <c:pt idx="10239">
                  <c:v>0.18261102193686399</c:v>
                </c:pt>
                <c:pt idx="10240">
                  <c:v>0.18262885678616</c:v>
                </c:pt>
                <c:pt idx="10241">
                  <c:v>0.18264669163545499</c:v>
                </c:pt>
                <c:pt idx="10242">
                  <c:v>0.18266452648475101</c:v>
                </c:pt>
                <c:pt idx="10243">
                  <c:v>0.182682361334046</c:v>
                </c:pt>
                <c:pt idx="10244">
                  <c:v>0.18270019618334199</c:v>
                </c:pt>
                <c:pt idx="10245">
                  <c:v>0.18271803103263701</c:v>
                </c:pt>
                <c:pt idx="10246">
                  <c:v>0.182735865881933</c:v>
                </c:pt>
                <c:pt idx="10247">
                  <c:v>0.18275370073122801</c:v>
                </c:pt>
                <c:pt idx="10248">
                  <c:v>0.182771535580524</c:v>
                </c:pt>
                <c:pt idx="10249">
                  <c:v>0.18278937042981899</c:v>
                </c:pt>
                <c:pt idx="10250">
                  <c:v>0.18280720527911501</c:v>
                </c:pt>
                <c:pt idx="10251">
                  <c:v>0.18282504012841</c:v>
                </c:pt>
                <c:pt idx="10252">
                  <c:v>0.18284287497770599</c:v>
                </c:pt>
                <c:pt idx="10253">
                  <c:v>0.18286070982700101</c:v>
                </c:pt>
                <c:pt idx="10254">
                  <c:v>0.18287854467629699</c:v>
                </c:pt>
                <c:pt idx="10255">
                  <c:v>0.18289637952559301</c:v>
                </c:pt>
                <c:pt idx="10256">
                  <c:v>0.182914214374888</c:v>
                </c:pt>
                <c:pt idx="10257">
                  <c:v>0.18293204922418399</c:v>
                </c:pt>
                <c:pt idx="10258">
                  <c:v>0.18294988407347901</c:v>
                </c:pt>
                <c:pt idx="10259">
                  <c:v>0.182967718922775</c:v>
                </c:pt>
                <c:pt idx="10260">
                  <c:v>0.18298555377206999</c:v>
                </c:pt>
                <c:pt idx="10261">
                  <c:v>0.183003388621366</c:v>
                </c:pt>
                <c:pt idx="10262">
                  <c:v>0.18302122347066099</c:v>
                </c:pt>
                <c:pt idx="10263">
                  <c:v>0.18303905831995701</c:v>
                </c:pt>
                <c:pt idx="10264">
                  <c:v>0.183056893169252</c:v>
                </c:pt>
                <c:pt idx="10265">
                  <c:v>0.18307472801854799</c:v>
                </c:pt>
                <c:pt idx="10266">
                  <c:v>0.18309256286784301</c:v>
                </c:pt>
                <c:pt idx="10267">
                  <c:v>0.183110397717139</c:v>
                </c:pt>
                <c:pt idx="10268">
                  <c:v>0.18312823256643401</c:v>
                </c:pt>
                <c:pt idx="10269">
                  <c:v>0.18314606741573</c:v>
                </c:pt>
                <c:pt idx="10270">
                  <c:v>0.18316390226502499</c:v>
                </c:pt>
                <c:pt idx="10271">
                  <c:v>0.18318173711432101</c:v>
                </c:pt>
                <c:pt idx="10272">
                  <c:v>0.183199571963616</c:v>
                </c:pt>
                <c:pt idx="10273">
                  <c:v>0.18321740681291199</c:v>
                </c:pt>
                <c:pt idx="10274">
                  <c:v>0.183235241662207</c:v>
                </c:pt>
                <c:pt idx="10275">
                  <c:v>0.18325307651150299</c:v>
                </c:pt>
                <c:pt idx="10276">
                  <c:v>0.18327091136079901</c:v>
                </c:pt>
                <c:pt idx="10277">
                  <c:v>0.183288746210094</c:v>
                </c:pt>
                <c:pt idx="10278">
                  <c:v>0.18330658105938999</c:v>
                </c:pt>
                <c:pt idx="10279">
                  <c:v>0.18332441590868501</c:v>
                </c:pt>
                <c:pt idx="10280">
                  <c:v>0.183342250757981</c:v>
                </c:pt>
                <c:pt idx="10281">
                  <c:v>0.18336008560727601</c:v>
                </c:pt>
                <c:pt idx="10282">
                  <c:v>0.183377920456572</c:v>
                </c:pt>
                <c:pt idx="10283">
                  <c:v>0.18339575530586699</c:v>
                </c:pt>
                <c:pt idx="10284">
                  <c:v>0.18341359015516301</c:v>
                </c:pt>
                <c:pt idx="10285">
                  <c:v>0.183431425004458</c:v>
                </c:pt>
                <c:pt idx="10286">
                  <c:v>0.18344925985375399</c:v>
                </c:pt>
                <c:pt idx="10287">
                  <c:v>0.18346709470304901</c:v>
                </c:pt>
                <c:pt idx="10288">
                  <c:v>0.18348492955234499</c:v>
                </c:pt>
                <c:pt idx="10289">
                  <c:v>0.18350276440164001</c:v>
                </c:pt>
                <c:pt idx="10290">
                  <c:v>0.183520599250936</c:v>
                </c:pt>
                <c:pt idx="10291">
                  <c:v>0.18353843410023099</c:v>
                </c:pt>
                <c:pt idx="10292">
                  <c:v>0.18355626894952701</c:v>
                </c:pt>
                <c:pt idx="10293">
                  <c:v>0.183574103798822</c:v>
                </c:pt>
                <c:pt idx="10294">
                  <c:v>0.18359193864811801</c:v>
                </c:pt>
                <c:pt idx="10295">
                  <c:v>0.183609773497413</c:v>
                </c:pt>
                <c:pt idx="10296">
                  <c:v>0.18362760834670899</c:v>
                </c:pt>
                <c:pt idx="10297">
                  <c:v>0.18364544319600401</c:v>
                </c:pt>
                <c:pt idx="10298">
                  <c:v>0.1836632780453</c:v>
                </c:pt>
                <c:pt idx="10299">
                  <c:v>0.18368111289459599</c:v>
                </c:pt>
                <c:pt idx="10300">
                  <c:v>0.18369894774389101</c:v>
                </c:pt>
                <c:pt idx="10301">
                  <c:v>0.18371678259318699</c:v>
                </c:pt>
                <c:pt idx="10302">
                  <c:v>0.18373461744248201</c:v>
                </c:pt>
                <c:pt idx="10303">
                  <c:v>0.183752452291778</c:v>
                </c:pt>
                <c:pt idx="10304">
                  <c:v>0.18377028714107299</c:v>
                </c:pt>
                <c:pt idx="10305">
                  <c:v>0.18378812199036901</c:v>
                </c:pt>
                <c:pt idx="10306">
                  <c:v>0.183805956839664</c:v>
                </c:pt>
                <c:pt idx="10307">
                  <c:v>0.18382379168895999</c:v>
                </c:pt>
                <c:pt idx="10308">
                  <c:v>0.183841626538255</c:v>
                </c:pt>
                <c:pt idx="10309">
                  <c:v>0.18385946138755099</c:v>
                </c:pt>
                <c:pt idx="10310">
                  <c:v>0.18387729623684601</c:v>
                </c:pt>
                <c:pt idx="10311">
                  <c:v>0.183895131086142</c:v>
                </c:pt>
                <c:pt idx="10312">
                  <c:v>0.18391296593543699</c:v>
                </c:pt>
                <c:pt idx="10313">
                  <c:v>0.18393080078473301</c:v>
                </c:pt>
                <c:pt idx="10314">
                  <c:v>0.183948635634028</c:v>
                </c:pt>
                <c:pt idx="10315">
                  <c:v>0.18396647048332401</c:v>
                </c:pt>
                <c:pt idx="10316">
                  <c:v>0.183984305332619</c:v>
                </c:pt>
                <c:pt idx="10317">
                  <c:v>0.18400214018191499</c:v>
                </c:pt>
                <c:pt idx="10318">
                  <c:v>0.18401997503121001</c:v>
                </c:pt>
                <c:pt idx="10319">
                  <c:v>0.184037809880506</c:v>
                </c:pt>
                <c:pt idx="10320">
                  <c:v>0.18405564472980199</c:v>
                </c:pt>
                <c:pt idx="10321">
                  <c:v>0.184073479579097</c:v>
                </c:pt>
                <c:pt idx="10322">
                  <c:v>0.18409131442839299</c:v>
                </c:pt>
                <c:pt idx="10323">
                  <c:v>0.18410914927768801</c:v>
                </c:pt>
                <c:pt idx="10324">
                  <c:v>0.184126984126984</c:v>
                </c:pt>
                <c:pt idx="10325">
                  <c:v>0.18414481897627899</c:v>
                </c:pt>
                <c:pt idx="10326">
                  <c:v>0.18416265382557501</c:v>
                </c:pt>
                <c:pt idx="10327">
                  <c:v>0.18418048867487</c:v>
                </c:pt>
                <c:pt idx="10328">
                  <c:v>0.18419832352416601</c:v>
                </c:pt>
                <c:pt idx="10329">
                  <c:v>0.184216158373461</c:v>
                </c:pt>
                <c:pt idx="10330">
                  <c:v>0.18423399322275699</c:v>
                </c:pt>
                <c:pt idx="10331">
                  <c:v>0.18425182807205201</c:v>
                </c:pt>
                <c:pt idx="10332">
                  <c:v>0.184269662921348</c:v>
                </c:pt>
                <c:pt idx="10333">
                  <c:v>0.18428749777064299</c:v>
                </c:pt>
                <c:pt idx="10334">
                  <c:v>0.18430533261993901</c:v>
                </c:pt>
                <c:pt idx="10335">
                  <c:v>0.18432316746923399</c:v>
                </c:pt>
                <c:pt idx="10336">
                  <c:v>0.18434100231853001</c:v>
                </c:pt>
                <c:pt idx="10337">
                  <c:v>0.184358837167825</c:v>
                </c:pt>
                <c:pt idx="10338">
                  <c:v>0.18437667201712099</c:v>
                </c:pt>
                <c:pt idx="10339">
                  <c:v>0.18439450686641601</c:v>
                </c:pt>
                <c:pt idx="10340">
                  <c:v>0.184412341715712</c:v>
                </c:pt>
                <c:pt idx="10341">
                  <c:v>0.18443017656500801</c:v>
                </c:pt>
                <c:pt idx="10342">
                  <c:v>0.184448011414303</c:v>
                </c:pt>
                <c:pt idx="10343">
                  <c:v>0.18446584626359899</c:v>
                </c:pt>
                <c:pt idx="10344">
                  <c:v>0.18448368111289401</c:v>
                </c:pt>
                <c:pt idx="10345">
                  <c:v>0.18450151596219</c:v>
                </c:pt>
                <c:pt idx="10346">
                  <c:v>0.18451935081148499</c:v>
                </c:pt>
                <c:pt idx="10347">
                  <c:v>0.18453718566078101</c:v>
                </c:pt>
                <c:pt idx="10348">
                  <c:v>0.184555020510076</c:v>
                </c:pt>
                <c:pt idx="10349">
                  <c:v>0.18457285535937201</c:v>
                </c:pt>
                <c:pt idx="10350">
                  <c:v>0.184590690208667</c:v>
                </c:pt>
                <c:pt idx="10351">
                  <c:v>0.18460852505796299</c:v>
                </c:pt>
                <c:pt idx="10352">
                  <c:v>0.18462635990725801</c:v>
                </c:pt>
                <c:pt idx="10353">
                  <c:v>0.184644194756554</c:v>
                </c:pt>
                <c:pt idx="10354">
                  <c:v>0.18466202960584899</c:v>
                </c:pt>
                <c:pt idx="10355">
                  <c:v>0.184679864455145</c:v>
                </c:pt>
                <c:pt idx="10356">
                  <c:v>0.18469769930443999</c:v>
                </c:pt>
                <c:pt idx="10357">
                  <c:v>0.18471553415373601</c:v>
                </c:pt>
                <c:pt idx="10358">
                  <c:v>0.184733369003031</c:v>
                </c:pt>
                <c:pt idx="10359">
                  <c:v>0.18475120385232699</c:v>
                </c:pt>
                <c:pt idx="10360">
                  <c:v>0.18476903870162201</c:v>
                </c:pt>
                <c:pt idx="10361">
                  <c:v>0.184786873550918</c:v>
                </c:pt>
                <c:pt idx="10362">
                  <c:v>0.18480470840021401</c:v>
                </c:pt>
                <c:pt idx="10363">
                  <c:v>0.184822543249509</c:v>
                </c:pt>
                <c:pt idx="10364">
                  <c:v>0.18484037809880499</c:v>
                </c:pt>
                <c:pt idx="10365">
                  <c:v>0.18485821294810001</c:v>
                </c:pt>
                <c:pt idx="10366">
                  <c:v>0.184876047797396</c:v>
                </c:pt>
                <c:pt idx="10367">
                  <c:v>0.18489388264669099</c:v>
                </c:pt>
                <c:pt idx="10368">
                  <c:v>0.184911717495987</c:v>
                </c:pt>
                <c:pt idx="10369">
                  <c:v>0.18492955234528199</c:v>
                </c:pt>
                <c:pt idx="10370">
                  <c:v>0.18494738719457801</c:v>
                </c:pt>
                <c:pt idx="10371">
                  <c:v>0.184965222043873</c:v>
                </c:pt>
                <c:pt idx="10372">
                  <c:v>0.18498305689316899</c:v>
                </c:pt>
                <c:pt idx="10373">
                  <c:v>0.18500089174246401</c:v>
                </c:pt>
                <c:pt idx="10374">
                  <c:v>0.18501872659176</c:v>
                </c:pt>
                <c:pt idx="10375">
                  <c:v>0.18503656144105499</c:v>
                </c:pt>
                <c:pt idx="10376">
                  <c:v>0.185054396290351</c:v>
                </c:pt>
                <c:pt idx="10377">
                  <c:v>0.18507223113964599</c:v>
                </c:pt>
                <c:pt idx="10378">
                  <c:v>0.18509006598894201</c:v>
                </c:pt>
                <c:pt idx="10379">
                  <c:v>0.185107900838237</c:v>
                </c:pt>
                <c:pt idx="10380">
                  <c:v>0.18512573568753299</c:v>
                </c:pt>
                <c:pt idx="10381">
                  <c:v>0.18514357053682801</c:v>
                </c:pt>
                <c:pt idx="10382">
                  <c:v>0.185161405386124</c:v>
                </c:pt>
                <c:pt idx="10383">
                  <c:v>0.18517924023542001</c:v>
                </c:pt>
                <c:pt idx="10384">
                  <c:v>0.185197075084715</c:v>
                </c:pt>
                <c:pt idx="10385">
                  <c:v>0.18521490993401099</c:v>
                </c:pt>
                <c:pt idx="10386">
                  <c:v>0.18523274478330601</c:v>
                </c:pt>
                <c:pt idx="10387">
                  <c:v>0.185250579632602</c:v>
                </c:pt>
                <c:pt idx="10388">
                  <c:v>0.18526841448189699</c:v>
                </c:pt>
                <c:pt idx="10389">
                  <c:v>0.185286249331193</c:v>
                </c:pt>
                <c:pt idx="10390">
                  <c:v>0.18530408418048799</c:v>
                </c:pt>
                <c:pt idx="10391">
                  <c:v>0.18532191902978401</c:v>
                </c:pt>
                <c:pt idx="10392">
                  <c:v>0.185339753879079</c:v>
                </c:pt>
                <c:pt idx="10393">
                  <c:v>0.18535758872837499</c:v>
                </c:pt>
                <c:pt idx="10394">
                  <c:v>0.18537542357767001</c:v>
                </c:pt>
                <c:pt idx="10395">
                  <c:v>0.185393258426966</c:v>
                </c:pt>
                <c:pt idx="10396">
                  <c:v>0.18541109327626101</c:v>
                </c:pt>
                <c:pt idx="10397">
                  <c:v>0.185428928125557</c:v>
                </c:pt>
                <c:pt idx="10398">
                  <c:v>0.18544676297485199</c:v>
                </c:pt>
                <c:pt idx="10399">
                  <c:v>0.18546459782414801</c:v>
                </c:pt>
                <c:pt idx="10400">
                  <c:v>0.185482432673443</c:v>
                </c:pt>
                <c:pt idx="10401">
                  <c:v>0.18550026752273899</c:v>
                </c:pt>
                <c:pt idx="10402">
                  <c:v>0.185518102372034</c:v>
                </c:pt>
                <c:pt idx="10403">
                  <c:v>0.18553593722132999</c:v>
                </c:pt>
                <c:pt idx="10404">
                  <c:v>0.18555377207062601</c:v>
                </c:pt>
                <c:pt idx="10405">
                  <c:v>0.185571606919921</c:v>
                </c:pt>
                <c:pt idx="10406">
                  <c:v>0.18558944176921699</c:v>
                </c:pt>
                <c:pt idx="10407">
                  <c:v>0.18560727661851201</c:v>
                </c:pt>
                <c:pt idx="10408">
                  <c:v>0.185625111467808</c:v>
                </c:pt>
                <c:pt idx="10409">
                  <c:v>0.18564294631710301</c:v>
                </c:pt>
                <c:pt idx="10410">
                  <c:v>0.185660781166399</c:v>
                </c:pt>
                <c:pt idx="10411">
                  <c:v>0.18567861601569399</c:v>
                </c:pt>
                <c:pt idx="10412">
                  <c:v>0.18569645086499001</c:v>
                </c:pt>
                <c:pt idx="10413">
                  <c:v>0.185714285714285</c:v>
                </c:pt>
                <c:pt idx="10414">
                  <c:v>0.18573212056358099</c:v>
                </c:pt>
                <c:pt idx="10415">
                  <c:v>0.18574995541287601</c:v>
                </c:pt>
                <c:pt idx="10416">
                  <c:v>0.18576779026217199</c:v>
                </c:pt>
                <c:pt idx="10417">
                  <c:v>0.18578562511146701</c:v>
                </c:pt>
                <c:pt idx="10418">
                  <c:v>0.185803459960763</c:v>
                </c:pt>
                <c:pt idx="10419">
                  <c:v>0.18582129481005799</c:v>
                </c:pt>
                <c:pt idx="10420">
                  <c:v>0.18583912965935401</c:v>
                </c:pt>
                <c:pt idx="10421">
                  <c:v>0.185856964508649</c:v>
                </c:pt>
                <c:pt idx="10422">
                  <c:v>0.18587479935794499</c:v>
                </c:pt>
                <c:pt idx="10423">
                  <c:v>0.18589263420724</c:v>
                </c:pt>
                <c:pt idx="10424">
                  <c:v>0.18591046905653599</c:v>
                </c:pt>
                <c:pt idx="10425">
                  <c:v>0.18592830390583101</c:v>
                </c:pt>
                <c:pt idx="10426">
                  <c:v>0.185946138755127</c:v>
                </c:pt>
                <c:pt idx="10427">
                  <c:v>0.18596397360442299</c:v>
                </c:pt>
                <c:pt idx="10428">
                  <c:v>0.18598180845371801</c:v>
                </c:pt>
                <c:pt idx="10429">
                  <c:v>0.185999643303014</c:v>
                </c:pt>
                <c:pt idx="10430">
                  <c:v>0.18601747815230901</c:v>
                </c:pt>
                <c:pt idx="10431">
                  <c:v>0.186035313001605</c:v>
                </c:pt>
                <c:pt idx="10432">
                  <c:v>0.18605314785089999</c:v>
                </c:pt>
                <c:pt idx="10433">
                  <c:v>0.18607098270019601</c:v>
                </c:pt>
                <c:pt idx="10434">
                  <c:v>0.186088817549491</c:v>
                </c:pt>
                <c:pt idx="10435">
                  <c:v>0.18610665239878699</c:v>
                </c:pt>
                <c:pt idx="10436">
                  <c:v>0.186124487248082</c:v>
                </c:pt>
                <c:pt idx="10437">
                  <c:v>0.18614232209737799</c:v>
                </c:pt>
                <c:pt idx="10438">
                  <c:v>0.18616015694667301</c:v>
                </c:pt>
                <c:pt idx="10439">
                  <c:v>0.186177991795969</c:v>
                </c:pt>
                <c:pt idx="10440">
                  <c:v>0.18619582664526399</c:v>
                </c:pt>
                <c:pt idx="10441">
                  <c:v>0.18621366149456001</c:v>
                </c:pt>
                <c:pt idx="10442">
                  <c:v>0.186231496343855</c:v>
                </c:pt>
                <c:pt idx="10443">
                  <c:v>0.18624933119315101</c:v>
                </c:pt>
                <c:pt idx="10444">
                  <c:v>0.186267166042446</c:v>
                </c:pt>
                <c:pt idx="10445">
                  <c:v>0.18628500089174199</c:v>
                </c:pt>
                <c:pt idx="10446">
                  <c:v>0.18630283574103701</c:v>
                </c:pt>
                <c:pt idx="10447">
                  <c:v>0.186320670590333</c:v>
                </c:pt>
                <c:pt idx="10448">
                  <c:v>0.18633850543962899</c:v>
                </c:pt>
                <c:pt idx="10449">
                  <c:v>0.18635634028892401</c:v>
                </c:pt>
                <c:pt idx="10450">
                  <c:v>0.18637417513821999</c:v>
                </c:pt>
                <c:pt idx="10451">
                  <c:v>0.18639200998751501</c:v>
                </c:pt>
                <c:pt idx="10452">
                  <c:v>0.186409844836811</c:v>
                </c:pt>
                <c:pt idx="10453">
                  <c:v>0.18642767968610599</c:v>
                </c:pt>
                <c:pt idx="10454">
                  <c:v>0.18644551453540201</c:v>
                </c:pt>
                <c:pt idx="10455">
                  <c:v>0.186463349384697</c:v>
                </c:pt>
                <c:pt idx="10456">
                  <c:v>0.18648118423399301</c:v>
                </c:pt>
                <c:pt idx="10457">
                  <c:v>0.186499019083288</c:v>
                </c:pt>
                <c:pt idx="10458">
                  <c:v>0.18651685393258399</c:v>
                </c:pt>
                <c:pt idx="10459">
                  <c:v>0.18653468878187901</c:v>
                </c:pt>
                <c:pt idx="10460">
                  <c:v>0.186552523631175</c:v>
                </c:pt>
                <c:pt idx="10461">
                  <c:v>0.18657035848046999</c:v>
                </c:pt>
                <c:pt idx="10462">
                  <c:v>0.18658819332976601</c:v>
                </c:pt>
                <c:pt idx="10463">
                  <c:v>0.186606028179061</c:v>
                </c:pt>
                <c:pt idx="10464">
                  <c:v>0.18662386302835701</c:v>
                </c:pt>
                <c:pt idx="10465">
                  <c:v>0.186641697877652</c:v>
                </c:pt>
                <c:pt idx="10466">
                  <c:v>0.18665953272694799</c:v>
                </c:pt>
                <c:pt idx="10467">
                  <c:v>0.18667736757624301</c:v>
                </c:pt>
                <c:pt idx="10468">
                  <c:v>0.186695202425539</c:v>
                </c:pt>
                <c:pt idx="10469">
                  <c:v>0.18671303727483499</c:v>
                </c:pt>
                <c:pt idx="10470">
                  <c:v>0.18673087212413</c:v>
                </c:pt>
                <c:pt idx="10471">
                  <c:v>0.18674870697342599</c:v>
                </c:pt>
                <c:pt idx="10472">
                  <c:v>0.18676654182272101</c:v>
                </c:pt>
                <c:pt idx="10473">
                  <c:v>0.186784376672017</c:v>
                </c:pt>
                <c:pt idx="10474">
                  <c:v>0.18680221152131199</c:v>
                </c:pt>
                <c:pt idx="10475">
                  <c:v>0.18682004637060801</c:v>
                </c:pt>
                <c:pt idx="10476">
                  <c:v>0.186837881219903</c:v>
                </c:pt>
                <c:pt idx="10477">
                  <c:v>0.18685571606919901</c:v>
                </c:pt>
                <c:pt idx="10478">
                  <c:v>0.186873550918494</c:v>
                </c:pt>
                <c:pt idx="10479">
                  <c:v>0.18689138576778999</c:v>
                </c:pt>
                <c:pt idx="10480">
                  <c:v>0.18690922061708501</c:v>
                </c:pt>
                <c:pt idx="10481">
                  <c:v>0.186927055466381</c:v>
                </c:pt>
                <c:pt idx="10482">
                  <c:v>0.18694489031567599</c:v>
                </c:pt>
                <c:pt idx="10483">
                  <c:v>0.186962725164972</c:v>
                </c:pt>
                <c:pt idx="10484">
                  <c:v>0.18698056001426699</c:v>
                </c:pt>
                <c:pt idx="10485">
                  <c:v>0.18699839486356301</c:v>
                </c:pt>
                <c:pt idx="10486">
                  <c:v>0.187016229712858</c:v>
                </c:pt>
                <c:pt idx="10487">
                  <c:v>0.18703406456215399</c:v>
                </c:pt>
                <c:pt idx="10488">
                  <c:v>0.18705189941144901</c:v>
                </c:pt>
                <c:pt idx="10489">
                  <c:v>0.187069734260745</c:v>
                </c:pt>
                <c:pt idx="10490">
                  <c:v>0.18708756911004101</c:v>
                </c:pt>
                <c:pt idx="10491">
                  <c:v>0.187105403959336</c:v>
                </c:pt>
                <c:pt idx="10492">
                  <c:v>0.18712323880863199</c:v>
                </c:pt>
                <c:pt idx="10493">
                  <c:v>0.18714107365792701</c:v>
                </c:pt>
                <c:pt idx="10494">
                  <c:v>0.187158908507223</c:v>
                </c:pt>
                <c:pt idx="10495">
                  <c:v>0.18717674335651799</c:v>
                </c:pt>
                <c:pt idx="10496">
                  <c:v>0.18719457820581401</c:v>
                </c:pt>
                <c:pt idx="10497">
                  <c:v>0.18721241305510899</c:v>
                </c:pt>
                <c:pt idx="10498">
                  <c:v>0.18723024790440501</c:v>
                </c:pt>
                <c:pt idx="10499">
                  <c:v>0.1872480827537</c:v>
                </c:pt>
                <c:pt idx="10500">
                  <c:v>0.18726591760299599</c:v>
                </c:pt>
                <c:pt idx="10501">
                  <c:v>0.18728375245229101</c:v>
                </c:pt>
                <c:pt idx="10502">
                  <c:v>0.187301587301587</c:v>
                </c:pt>
                <c:pt idx="10503">
                  <c:v>0.18731942215088199</c:v>
                </c:pt>
                <c:pt idx="10504">
                  <c:v>0.187337257000178</c:v>
                </c:pt>
                <c:pt idx="10505">
                  <c:v>0.18735509184947299</c:v>
                </c:pt>
                <c:pt idx="10506">
                  <c:v>0.18737292669876901</c:v>
                </c:pt>
                <c:pt idx="10507">
                  <c:v>0.187390761548064</c:v>
                </c:pt>
                <c:pt idx="10508">
                  <c:v>0.18740859639735999</c:v>
                </c:pt>
                <c:pt idx="10509">
                  <c:v>0.18742643124665501</c:v>
                </c:pt>
                <c:pt idx="10510">
                  <c:v>0.187444266095951</c:v>
                </c:pt>
                <c:pt idx="10511">
                  <c:v>0.18746210094524701</c:v>
                </c:pt>
                <c:pt idx="10512">
                  <c:v>0.187479935794542</c:v>
                </c:pt>
                <c:pt idx="10513">
                  <c:v>0.18749777064383799</c:v>
                </c:pt>
                <c:pt idx="10514">
                  <c:v>0.18751560549313301</c:v>
                </c:pt>
                <c:pt idx="10515">
                  <c:v>0.187533440342429</c:v>
                </c:pt>
                <c:pt idx="10516">
                  <c:v>0.18755127519172399</c:v>
                </c:pt>
                <c:pt idx="10517">
                  <c:v>0.18756911004102</c:v>
                </c:pt>
                <c:pt idx="10518">
                  <c:v>0.18758694489031499</c:v>
                </c:pt>
                <c:pt idx="10519">
                  <c:v>0.18760477973961101</c:v>
                </c:pt>
                <c:pt idx="10520">
                  <c:v>0.187622614588906</c:v>
                </c:pt>
                <c:pt idx="10521">
                  <c:v>0.18764044943820199</c:v>
                </c:pt>
                <c:pt idx="10522">
                  <c:v>0.18765828428749701</c:v>
                </c:pt>
                <c:pt idx="10523">
                  <c:v>0.187676119136793</c:v>
                </c:pt>
                <c:pt idx="10524">
                  <c:v>0.18769395398608801</c:v>
                </c:pt>
                <c:pt idx="10525">
                  <c:v>0.187711788835384</c:v>
                </c:pt>
                <c:pt idx="10526">
                  <c:v>0.18772962368467899</c:v>
                </c:pt>
                <c:pt idx="10527">
                  <c:v>0.18774745853397501</c:v>
                </c:pt>
                <c:pt idx="10528">
                  <c:v>0.18776529338327</c:v>
                </c:pt>
                <c:pt idx="10529">
                  <c:v>0.18778312823256599</c:v>
                </c:pt>
                <c:pt idx="10530">
                  <c:v>0.18780096308186101</c:v>
                </c:pt>
                <c:pt idx="10531">
                  <c:v>0.18781879793115699</c:v>
                </c:pt>
                <c:pt idx="10532">
                  <c:v>0.18783663278045301</c:v>
                </c:pt>
                <c:pt idx="10533">
                  <c:v>0.187854467629748</c:v>
                </c:pt>
                <c:pt idx="10534">
                  <c:v>0.18787230247904399</c:v>
                </c:pt>
                <c:pt idx="10535">
                  <c:v>0.18789013732833901</c:v>
                </c:pt>
                <c:pt idx="10536">
                  <c:v>0.187907972177635</c:v>
                </c:pt>
                <c:pt idx="10537">
                  <c:v>0.18792580702692999</c:v>
                </c:pt>
                <c:pt idx="10538">
                  <c:v>0.187943641876226</c:v>
                </c:pt>
                <c:pt idx="10539">
                  <c:v>0.18796147672552099</c:v>
                </c:pt>
                <c:pt idx="10540">
                  <c:v>0.18797931157481701</c:v>
                </c:pt>
                <c:pt idx="10541">
                  <c:v>0.187997146424112</c:v>
                </c:pt>
                <c:pt idx="10542">
                  <c:v>0.18801498127340799</c:v>
                </c:pt>
                <c:pt idx="10543">
                  <c:v>0.18803281612270301</c:v>
                </c:pt>
                <c:pt idx="10544">
                  <c:v>0.18805065097199899</c:v>
                </c:pt>
                <c:pt idx="10545">
                  <c:v>0.18806848582129401</c:v>
                </c:pt>
                <c:pt idx="10546">
                  <c:v>0.18808632067059</c:v>
                </c:pt>
                <c:pt idx="10547">
                  <c:v>0.18810415551988499</c:v>
                </c:pt>
                <c:pt idx="10548">
                  <c:v>0.18812199036918101</c:v>
                </c:pt>
                <c:pt idx="10549">
                  <c:v>0.188139825218476</c:v>
                </c:pt>
                <c:pt idx="10550">
                  <c:v>0.18815766006777199</c:v>
                </c:pt>
                <c:pt idx="10551">
                  <c:v>0.188175494917067</c:v>
                </c:pt>
                <c:pt idx="10552">
                  <c:v>0.18819332976636299</c:v>
                </c:pt>
                <c:pt idx="10553">
                  <c:v>0.18821116461565901</c:v>
                </c:pt>
                <c:pt idx="10554">
                  <c:v>0.188228999464954</c:v>
                </c:pt>
                <c:pt idx="10555">
                  <c:v>0.18824683431424999</c:v>
                </c:pt>
                <c:pt idx="10556">
                  <c:v>0.18826466916354501</c:v>
                </c:pt>
                <c:pt idx="10557">
                  <c:v>0.188282504012841</c:v>
                </c:pt>
                <c:pt idx="10558">
                  <c:v>0.18830033886213601</c:v>
                </c:pt>
                <c:pt idx="10559">
                  <c:v>0.188318173711432</c:v>
                </c:pt>
                <c:pt idx="10560">
                  <c:v>0.18833600856072699</c:v>
                </c:pt>
                <c:pt idx="10561">
                  <c:v>0.18835384341002301</c:v>
                </c:pt>
                <c:pt idx="10562">
                  <c:v>0.188371678259318</c:v>
                </c:pt>
                <c:pt idx="10563">
                  <c:v>0.18838951310861399</c:v>
                </c:pt>
                <c:pt idx="10564">
                  <c:v>0.188407347957909</c:v>
                </c:pt>
                <c:pt idx="10565">
                  <c:v>0.18842518280720499</c:v>
                </c:pt>
                <c:pt idx="10566">
                  <c:v>0.18844301765650001</c:v>
                </c:pt>
                <c:pt idx="10567">
                  <c:v>0.188460852505796</c:v>
                </c:pt>
                <c:pt idx="10568">
                  <c:v>0.18847868735509099</c:v>
                </c:pt>
                <c:pt idx="10569">
                  <c:v>0.18849652220438701</c:v>
                </c:pt>
                <c:pt idx="10570">
                  <c:v>0.188514357053682</c:v>
                </c:pt>
                <c:pt idx="10571">
                  <c:v>0.18853219190297801</c:v>
                </c:pt>
                <c:pt idx="10572">
                  <c:v>0.188550026752273</c:v>
                </c:pt>
                <c:pt idx="10573">
                  <c:v>0.18856786160156899</c:v>
                </c:pt>
                <c:pt idx="10574">
                  <c:v>0.18858569645086401</c:v>
                </c:pt>
                <c:pt idx="10575">
                  <c:v>0.18860353130016</c:v>
                </c:pt>
                <c:pt idx="10576">
                  <c:v>0.18862136614945599</c:v>
                </c:pt>
                <c:pt idx="10577">
                  <c:v>0.18863920099875101</c:v>
                </c:pt>
                <c:pt idx="10578">
                  <c:v>0.18865703584804699</c:v>
                </c:pt>
                <c:pt idx="10579">
                  <c:v>0.18867487069734201</c:v>
                </c:pt>
                <c:pt idx="10580">
                  <c:v>0.188692705546638</c:v>
                </c:pt>
                <c:pt idx="10581">
                  <c:v>0.18871054039593299</c:v>
                </c:pt>
                <c:pt idx="10582">
                  <c:v>0.18872837524522901</c:v>
                </c:pt>
                <c:pt idx="10583">
                  <c:v>0.188746210094524</c:v>
                </c:pt>
                <c:pt idx="10584">
                  <c:v>0.18876404494381999</c:v>
                </c:pt>
                <c:pt idx="10585">
                  <c:v>0.188781879793115</c:v>
                </c:pt>
                <c:pt idx="10586">
                  <c:v>0.18879971464241099</c:v>
                </c:pt>
                <c:pt idx="10587">
                  <c:v>0.18881754949170601</c:v>
                </c:pt>
                <c:pt idx="10588">
                  <c:v>0.188835384341002</c:v>
                </c:pt>
                <c:pt idx="10589">
                  <c:v>0.18885321919029699</c:v>
                </c:pt>
                <c:pt idx="10590">
                  <c:v>0.18887105403959301</c:v>
                </c:pt>
                <c:pt idx="10591">
                  <c:v>0.188888888888888</c:v>
                </c:pt>
                <c:pt idx="10592">
                  <c:v>0.18890672373818401</c:v>
                </c:pt>
                <c:pt idx="10593">
                  <c:v>0.188924558587479</c:v>
                </c:pt>
                <c:pt idx="10594">
                  <c:v>0.18894239343677499</c:v>
                </c:pt>
                <c:pt idx="10595">
                  <c:v>0.18896022828607001</c:v>
                </c:pt>
                <c:pt idx="10596">
                  <c:v>0.188978063135366</c:v>
                </c:pt>
                <c:pt idx="10597">
                  <c:v>0.18899589798466199</c:v>
                </c:pt>
                <c:pt idx="10598">
                  <c:v>0.189013732833957</c:v>
                </c:pt>
                <c:pt idx="10599">
                  <c:v>0.18903156768325299</c:v>
                </c:pt>
                <c:pt idx="10600">
                  <c:v>0.18904940253254801</c:v>
                </c:pt>
                <c:pt idx="10601">
                  <c:v>0.189067237381844</c:v>
                </c:pt>
                <c:pt idx="10602">
                  <c:v>0.18908507223113899</c:v>
                </c:pt>
                <c:pt idx="10603">
                  <c:v>0.18910290708043501</c:v>
                </c:pt>
                <c:pt idx="10604">
                  <c:v>0.18912074192973</c:v>
                </c:pt>
                <c:pt idx="10605">
                  <c:v>0.18913857677902601</c:v>
                </c:pt>
                <c:pt idx="10606">
                  <c:v>0.189156411628321</c:v>
                </c:pt>
                <c:pt idx="10607">
                  <c:v>0.18917424647761699</c:v>
                </c:pt>
                <c:pt idx="10608">
                  <c:v>0.18919208132691201</c:v>
                </c:pt>
                <c:pt idx="10609">
                  <c:v>0.189209916176208</c:v>
                </c:pt>
                <c:pt idx="10610">
                  <c:v>0.18922775102550299</c:v>
                </c:pt>
                <c:pt idx="10611">
                  <c:v>0.189245585874799</c:v>
                </c:pt>
                <c:pt idx="10612">
                  <c:v>0.18926342072409399</c:v>
                </c:pt>
                <c:pt idx="10613">
                  <c:v>0.18928125557339001</c:v>
                </c:pt>
                <c:pt idx="10614">
                  <c:v>0.189299090422685</c:v>
                </c:pt>
                <c:pt idx="10615">
                  <c:v>0.18931692527198099</c:v>
                </c:pt>
                <c:pt idx="10616">
                  <c:v>0.18933476012127601</c:v>
                </c:pt>
                <c:pt idx="10617">
                  <c:v>0.189352594970572</c:v>
                </c:pt>
                <c:pt idx="10618">
                  <c:v>0.18937042981986801</c:v>
                </c:pt>
                <c:pt idx="10619">
                  <c:v>0.189388264669163</c:v>
                </c:pt>
                <c:pt idx="10620">
                  <c:v>0.18940609951845899</c:v>
                </c:pt>
                <c:pt idx="10621">
                  <c:v>0.18942393436775401</c:v>
                </c:pt>
                <c:pt idx="10622">
                  <c:v>0.18944176921705</c:v>
                </c:pt>
                <c:pt idx="10623">
                  <c:v>0.18945960406634499</c:v>
                </c:pt>
                <c:pt idx="10624">
                  <c:v>0.18947743891564101</c:v>
                </c:pt>
                <c:pt idx="10625">
                  <c:v>0.189495273764936</c:v>
                </c:pt>
                <c:pt idx="10626">
                  <c:v>0.18951310861423201</c:v>
                </c:pt>
                <c:pt idx="10627">
                  <c:v>0.189530943463527</c:v>
                </c:pt>
                <c:pt idx="10628">
                  <c:v>0.18954877831282299</c:v>
                </c:pt>
                <c:pt idx="10629">
                  <c:v>0.18956661316211801</c:v>
                </c:pt>
                <c:pt idx="10630">
                  <c:v>0.189584448011414</c:v>
                </c:pt>
                <c:pt idx="10631">
                  <c:v>0.18960228286070899</c:v>
                </c:pt>
                <c:pt idx="10632">
                  <c:v>0.189620117710005</c:v>
                </c:pt>
                <c:pt idx="10633">
                  <c:v>0.18963795255929999</c:v>
                </c:pt>
                <c:pt idx="10634">
                  <c:v>0.18965578740859601</c:v>
                </c:pt>
                <c:pt idx="10635">
                  <c:v>0.189673622257891</c:v>
                </c:pt>
                <c:pt idx="10636">
                  <c:v>0.18969145710718699</c:v>
                </c:pt>
                <c:pt idx="10637">
                  <c:v>0.18970929195648201</c:v>
                </c:pt>
                <c:pt idx="10638">
                  <c:v>0.189727126805778</c:v>
                </c:pt>
                <c:pt idx="10639">
                  <c:v>0.18974496165507401</c:v>
                </c:pt>
                <c:pt idx="10640">
                  <c:v>0.189762796504369</c:v>
                </c:pt>
                <c:pt idx="10641">
                  <c:v>0.18978063135366499</c:v>
                </c:pt>
                <c:pt idx="10642">
                  <c:v>0.18979846620296001</c:v>
                </c:pt>
                <c:pt idx="10643">
                  <c:v>0.189816301052256</c:v>
                </c:pt>
                <c:pt idx="10644">
                  <c:v>0.18983413590155099</c:v>
                </c:pt>
                <c:pt idx="10645">
                  <c:v>0.189851970750847</c:v>
                </c:pt>
                <c:pt idx="10646">
                  <c:v>0.18986980560014199</c:v>
                </c:pt>
                <c:pt idx="10647">
                  <c:v>0.18988764044943801</c:v>
                </c:pt>
                <c:pt idx="10648">
                  <c:v>0.189905475298733</c:v>
                </c:pt>
                <c:pt idx="10649">
                  <c:v>0.18992331014802899</c:v>
                </c:pt>
                <c:pt idx="10650">
                  <c:v>0.18994114499732401</c:v>
                </c:pt>
                <c:pt idx="10651">
                  <c:v>0.18995897984662</c:v>
                </c:pt>
                <c:pt idx="10652">
                  <c:v>0.18997681469591499</c:v>
                </c:pt>
                <c:pt idx="10653">
                  <c:v>0.189994649545211</c:v>
                </c:pt>
                <c:pt idx="10654">
                  <c:v>0.19001248439450599</c:v>
                </c:pt>
                <c:pt idx="10655">
                  <c:v>0.19003031924380201</c:v>
                </c:pt>
                <c:pt idx="10656">
                  <c:v>0.190048154093097</c:v>
                </c:pt>
                <c:pt idx="10657">
                  <c:v>0.19006598894239299</c:v>
                </c:pt>
                <c:pt idx="10658">
                  <c:v>0.19008382379168801</c:v>
                </c:pt>
                <c:pt idx="10659">
                  <c:v>0.19010165864098399</c:v>
                </c:pt>
                <c:pt idx="10660">
                  <c:v>0.19011949349028001</c:v>
                </c:pt>
                <c:pt idx="10661">
                  <c:v>0.190137328339575</c:v>
                </c:pt>
                <c:pt idx="10662">
                  <c:v>0.19015516318887099</c:v>
                </c:pt>
                <c:pt idx="10663">
                  <c:v>0.19017299803816601</c:v>
                </c:pt>
                <c:pt idx="10664">
                  <c:v>0.190190832887462</c:v>
                </c:pt>
                <c:pt idx="10665">
                  <c:v>0.19020866773675699</c:v>
                </c:pt>
                <c:pt idx="10666">
                  <c:v>0.190226502586053</c:v>
                </c:pt>
                <c:pt idx="10667">
                  <c:v>0.19024433743534799</c:v>
                </c:pt>
                <c:pt idx="10668">
                  <c:v>0.19026217228464401</c:v>
                </c:pt>
                <c:pt idx="10669">
                  <c:v>0.190280007133939</c:v>
                </c:pt>
                <c:pt idx="10670">
                  <c:v>0.19029784198323499</c:v>
                </c:pt>
                <c:pt idx="10671">
                  <c:v>0.19031567683253001</c:v>
                </c:pt>
                <c:pt idx="10672">
                  <c:v>0.190333511681826</c:v>
                </c:pt>
                <c:pt idx="10673">
                  <c:v>0.19035134653112101</c:v>
                </c:pt>
                <c:pt idx="10674">
                  <c:v>0.190369181380417</c:v>
                </c:pt>
                <c:pt idx="10675">
                  <c:v>0.19038701622971199</c:v>
                </c:pt>
                <c:pt idx="10676">
                  <c:v>0.19040485107900801</c:v>
                </c:pt>
                <c:pt idx="10677">
                  <c:v>0.190422685928303</c:v>
                </c:pt>
                <c:pt idx="10678">
                  <c:v>0.19044052077759899</c:v>
                </c:pt>
                <c:pt idx="10679">
                  <c:v>0.190458355626894</c:v>
                </c:pt>
                <c:pt idx="10680">
                  <c:v>0.19047619047618999</c:v>
                </c:pt>
                <c:pt idx="10681">
                  <c:v>0.19049402532548601</c:v>
                </c:pt>
                <c:pt idx="10682">
                  <c:v>0.190511860174781</c:v>
                </c:pt>
                <c:pt idx="10683">
                  <c:v>0.19052969502407699</c:v>
                </c:pt>
                <c:pt idx="10684">
                  <c:v>0.19054752987337201</c:v>
                </c:pt>
                <c:pt idx="10685">
                  <c:v>0.190565364722668</c:v>
                </c:pt>
                <c:pt idx="10686">
                  <c:v>0.19058319957196301</c:v>
                </c:pt>
                <c:pt idx="10687">
                  <c:v>0.190601034421259</c:v>
                </c:pt>
                <c:pt idx="10688">
                  <c:v>0.19061886927055399</c:v>
                </c:pt>
                <c:pt idx="10689">
                  <c:v>0.19063670411985001</c:v>
                </c:pt>
                <c:pt idx="10690">
                  <c:v>0.190654538969145</c:v>
                </c:pt>
                <c:pt idx="10691">
                  <c:v>0.19067237381844099</c:v>
                </c:pt>
                <c:pt idx="10692">
                  <c:v>0.19069020866773601</c:v>
                </c:pt>
                <c:pt idx="10693">
                  <c:v>0.19070804351703199</c:v>
                </c:pt>
                <c:pt idx="10694">
                  <c:v>0.19072587836632701</c:v>
                </c:pt>
                <c:pt idx="10695">
                  <c:v>0.190743713215623</c:v>
                </c:pt>
                <c:pt idx="10696">
                  <c:v>0.19076154806491799</c:v>
                </c:pt>
                <c:pt idx="10697">
                  <c:v>0.19077938291421401</c:v>
                </c:pt>
                <c:pt idx="10698">
                  <c:v>0.190797217763509</c:v>
                </c:pt>
                <c:pt idx="10699">
                  <c:v>0.19081505261280499</c:v>
                </c:pt>
                <c:pt idx="10700">
                  <c:v>0.1908328874621</c:v>
                </c:pt>
                <c:pt idx="10701">
                  <c:v>0.19085072231139599</c:v>
                </c:pt>
                <c:pt idx="10702">
                  <c:v>0.19086855716069101</c:v>
                </c:pt>
                <c:pt idx="10703">
                  <c:v>0.190886392009987</c:v>
                </c:pt>
                <c:pt idx="10704">
                  <c:v>0.19090422685928299</c:v>
                </c:pt>
                <c:pt idx="10705">
                  <c:v>0.19092206170857801</c:v>
                </c:pt>
                <c:pt idx="10706">
                  <c:v>0.19093989655787399</c:v>
                </c:pt>
                <c:pt idx="10707">
                  <c:v>0.19095773140716901</c:v>
                </c:pt>
                <c:pt idx="10708">
                  <c:v>0.190975566256465</c:v>
                </c:pt>
                <c:pt idx="10709">
                  <c:v>0.19099340110575999</c:v>
                </c:pt>
                <c:pt idx="10710">
                  <c:v>0.19101123595505601</c:v>
                </c:pt>
                <c:pt idx="10711">
                  <c:v>0.191029070804351</c:v>
                </c:pt>
                <c:pt idx="10712">
                  <c:v>0.19104690565364699</c:v>
                </c:pt>
                <c:pt idx="10713">
                  <c:v>0.191064740502942</c:v>
                </c:pt>
                <c:pt idx="10714">
                  <c:v>0.19108257535223799</c:v>
                </c:pt>
                <c:pt idx="10715">
                  <c:v>0.19110041020153301</c:v>
                </c:pt>
                <c:pt idx="10716">
                  <c:v>0.191118245050829</c:v>
                </c:pt>
                <c:pt idx="10717">
                  <c:v>0.19113607990012399</c:v>
                </c:pt>
                <c:pt idx="10718">
                  <c:v>0.19115391474942001</c:v>
                </c:pt>
                <c:pt idx="10719">
                  <c:v>0.191171749598715</c:v>
                </c:pt>
                <c:pt idx="10720">
                  <c:v>0.19118958444801101</c:v>
                </c:pt>
                <c:pt idx="10721">
                  <c:v>0.191207419297306</c:v>
                </c:pt>
                <c:pt idx="10722">
                  <c:v>0.19122525414660199</c:v>
                </c:pt>
                <c:pt idx="10723">
                  <c:v>0.19124308899589701</c:v>
                </c:pt>
                <c:pt idx="10724">
                  <c:v>0.191260923845193</c:v>
                </c:pt>
                <c:pt idx="10725">
                  <c:v>0.19127875869448899</c:v>
                </c:pt>
                <c:pt idx="10726">
                  <c:v>0.191296593543784</c:v>
                </c:pt>
                <c:pt idx="10727">
                  <c:v>0.19131442839307999</c:v>
                </c:pt>
                <c:pt idx="10728">
                  <c:v>0.19133226324237501</c:v>
                </c:pt>
                <c:pt idx="10729">
                  <c:v>0.191350098091671</c:v>
                </c:pt>
                <c:pt idx="10730">
                  <c:v>0.19136793294096599</c:v>
                </c:pt>
                <c:pt idx="10731">
                  <c:v>0.19138576779026201</c:v>
                </c:pt>
                <c:pt idx="10732">
                  <c:v>0.191403602639557</c:v>
                </c:pt>
                <c:pt idx="10733">
                  <c:v>0.19142143748885301</c:v>
                </c:pt>
                <c:pt idx="10734">
                  <c:v>0.191439272338148</c:v>
                </c:pt>
                <c:pt idx="10735">
                  <c:v>0.19145710718744399</c:v>
                </c:pt>
                <c:pt idx="10736">
                  <c:v>0.19147494203673901</c:v>
                </c:pt>
                <c:pt idx="10737">
                  <c:v>0.191492776886035</c:v>
                </c:pt>
                <c:pt idx="10738">
                  <c:v>0.19151061173532999</c:v>
                </c:pt>
                <c:pt idx="10739">
                  <c:v>0.19152844658462601</c:v>
                </c:pt>
                <c:pt idx="10740">
                  <c:v>0.191546281433921</c:v>
                </c:pt>
                <c:pt idx="10741">
                  <c:v>0.19156411628321701</c:v>
                </c:pt>
                <c:pt idx="10742">
                  <c:v>0.191581951132512</c:v>
                </c:pt>
                <c:pt idx="10743">
                  <c:v>0.19159978598180799</c:v>
                </c:pt>
                <c:pt idx="10744">
                  <c:v>0.19161762083110301</c:v>
                </c:pt>
                <c:pt idx="10745">
                  <c:v>0.191635455680399</c:v>
                </c:pt>
                <c:pt idx="10746">
                  <c:v>0.19165329052969499</c:v>
                </c:pt>
                <c:pt idx="10747">
                  <c:v>0.19167112537899</c:v>
                </c:pt>
                <c:pt idx="10748">
                  <c:v>0.19168896022828599</c:v>
                </c:pt>
                <c:pt idx="10749">
                  <c:v>0.19170679507758101</c:v>
                </c:pt>
                <c:pt idx="10750">
                  <c:v>0.191724629926877</c:v>
                </c:pt>
                <c:pt idx="10751">
                  <c:v>0.19174246477617199</c:v>
                </c:pt>
                <c:pt idx="10752">
                  <c:v>0.19176029962546801</c:v>
                </c:pt>
                <c:pt idx="10753">
                  <c:v>0.191778134474763</c:v>
                </c:pt>
                <c:pt idx="10754">
                  <c:v>0.19179596932405901</c:v>
                </c:pt>
                <c:pt idx="10755">
                  <c:v>0.191813804173354</c:v>
                </c:pt>
                <c:pt idx="10756">
                  <c:v>0.19183163902264999</c:v>
                </c:pt>
                <c:pt idx="10757">
                  <c:v>0.19184947387194501</c:v>
                </c:pt>
                <c:pt idx="10758">
                  <c:v>0.191867308721241</c:v>
                </c:pt>
                <c:pt idx="10759">
                  <c:v>0.19188514357053599</c:v>
                </c:pt>
                <c:pt idx="10760">
                  <c:v>0.191902978419832</c:v>
                </c:pt>
                <c:pt idx="10761">
                  <c:v>0.19192081326912699</c:v>
                </c:pt>
                <c:pt idx="10762">
                  <c:v>0.19193864811842301</c:v>
                </c:pt>
                <c:pt idx="10763">
                  <c:v>0.191956482967718</c:v>
                </c:pt>
                <c:pt idx="10764">
                  <c:v>0.19197431781701399</c:v>
                </c:pt>
                <c:pt idx="10765">
                  <c:v>0.19199215266630901</c:v>
                </c:pt>
                <c:pt idx="10766">
                  <c:v>0.192009987515605</c:v>
                </c:pt>
                <c:pt idx="10767">
                  <c:v>0.19202782236490101</c:v>
                </c:pt>
                <c:pt idx="10768">
                  <c:v>0.192045657214196</c:v>
                </c:pt>
                <c:pt idx="10769">
                  <c:v>0.19206349206349199</c:v>
                </c:pt>
                <c:pt idx="10770">
                  <c:v>0.19208132691278701</c:v>
                </c:pt>
                <c:pt idx="10771">
                  <c:v>0.192099161762083</c:v>
                </c:pt>
                <c:pt idx="10772">
                  <c:v>0.19211699661137799</c:v>
                </c:pt>
                <c:pt idx="10773">
                  <c:v>0.192134831460674</c:v>
                </c:pt>
                <c:pt idx="10774">
                  <c:v>0.19215266630996899</c:v>
                </c:pt>
                <c:pt idx="10775">
                  <c:v>0.19217050115926501</c:v>
                </c:pt>
                <c:pt idx="10776">
                  <c:v>0.19218833600856</c:v>
                </c:pt>
                <c:pt idx="10777">
                  <c:v>0.19220617085785599</c:v>
                </c:pt>
                <c:pt idx="10778">
                  <c:v>0.19222400570715101</c:v>
                </c:pt>
                <c:pt idx="10779">
                  <c:v>0.192241840556447</c:v>
                </c:pt>
                <c:pt idx="10780">
                  <c:v>0.19225967540574199</c:v>
                </c:pt>
                <c:pt idx="10781">
                  <c:v>0.192277510255038</c:v>
                </c:pt>
                <c:pt idx="10782">
                  <c:v>0.19229534510433299</c:v>
                </c:pt>
                <c:pt idx="10783">
                  <c:v>0.19231317995362901</c:v>
                </c:pt>
                <c:pt idx="10784">
                  <c:v>0.192331014802924</c:v>
                </c:pt>
                <c:pt idx="10785">
                  <c:v>0.19234884965221999</c:v>
                </c:pt>
                <c:pt idx="10786">
                  <c:v>0.19236668450151501</c:v>
                </c:pt>
                <c:pt idx="10787">
                  <c:v>0.192384519350811</c:v>
                </c:pt>
                <c:pt idx="10788">
                  <c:v>0.19240235420010701</c:v>
                </c:pt>
                <c:pt idx="10789">
                  <c:v>0.192420189049402</c:v>
                </c:pt>
                <c:pt idx="10790">
                  <c:v>0.19243802389869799</c:v>
                </c:pt>
                <c:pt idx="10791">
                  <c:v>0.19245585874799301</c:v>
                </c:pt>
                <c:pt idx="10792">
                  <c:v>0.192473693597289</c:v>
                </c:pt>
                <c:pt idx="10793">
                  <c:v>0.19249152844658399</c:v>
                </c:pt>
                <c:pt idx="10794">
                  <c:v>0.19250936329588</c:v>
                </c:pt>
                <c:pt idx="10795">
                  <c:v>0.19252719814517499</c:v>
                </c:pt>
                <c:pt idx="10796">
                  <c:v>0.19254503299447101</c:v>
                </c:pt>
                <c:pt idx="10797">
                  <c:v>0.192562867843766</c:v>
                </c:pt>
                <c:pt idx="10798">
                  <c:v>0.19258070269306199</c:v>
                </c:pt>
                <c:pt idx="10799">
                  <c:v>0.19259853754235701</c:v>
                </c:pt>
                <c:pt idx="10800">
                  <c:v>0.192616372391653</c:v>
                </c:pt>
                <c:pt idx="10801">
                  <c:v>0.19263420724094801</c:v>
                </c:pt>
                <c:pt idx="10802">
                  <c:v>0.192652042090244</c:v>
                </c:pt>
                <c:pt idx="10803">
                  <c:v>0.19266987693953899</c:v>
                </c:pt>
                <c:pt idx="10804">
                  <c:v>0.19268771178883501</c:v>
                </c:pt>
                <c:pt idx="10805">
                  <c:v>0.19270554663813</c:v>
                </c:pt>
                <c:pt idx="10806">
                  <c:v>0.19272338148742599</c:v>
                </c:pt>
                <c:pt idx="10807">
                  <c:v>0.19274121633672101</c:v>
                </c:pt>
                <c:pt idx="10808">
                  <c:v>0.19275905118601699</c:v>
                </c:pt>
                <c:pt idx="10809">
                  <c:v>0.19277688603531301</c:v>
                </c:pt>
                <c:pt idx="10810">
                  <c:v>0.192794720884608</c:v>
                </c:pt>
                <c:pt idx="10811">
                  <c:v>0.19281255573390399</c:v>
                </c:pt>
                <c:pt idx="10812">
                  <c:v>0.19283039058319901</c:v>
                </c:pt>
                <c:pt idx="10813">
                  <c:v>0.192848225432495</c:v>
                </c:pt>
                <c:pt idx="10814">
                  <c:v>0.19286606028179001</c:v>
                </c:pt>
                <c:pt idx="10815">
                  <c:v>0.192883895131086</c:v>
                </c:pt>
                <c:pt idx="10816">
                  <c:v>0.19290172998038099</c:v>
                </c:pt>
                <c:pt idx="10817">
                  <c:v>0.19291956482967701</c:v>
                </c:pt>
                <c:pt idx="10818">
                  <c:v>0.192937399678972</c:v>
                </c:pt>
                <c:pt idx="10819">
                  <c:v>0.19295523452826799</c:v>
                </c:pt>
                <c:pt idx="10820">
                  <c:v>0.19297306937756301</c:v>
                </c:pt>
                <c:pt idx="10821">
                  <c:v>0.19299090422685899</c:v>
                </c:pt>
                <c:pt idx="10822">
                  <c:v>0.19300873907615401</c:v>
                </c:pt>
                <c:pt idx="10823">
                  <c:v>0.19302657392545</c:v>
                </c:pt>
                <c:pt idx="10824">
                  <c:v>0.19304440877474499</c:v>
                </c:pt>
                <c:pt idx="10825">
                  <c:v>0.19306224362404101</c:v>
                </c:pt>
                <c:pt idx="10826">
                  <c:v>0.193080078473336</c:v>
                </c:pt>
                <c:pt idx="10827">
                  <c:v>0.19309791332263199</c:v>
                </c:pt>
                <c:pt idx="10828">
                  <c:v>0.193115748171927</c:v>
                </c:pt>
                <c:pt idx="10829">
                  <c:v>0.19313358302122299</c:v>
                </c:pt>
                <c:pt idx="10830">
                  <c:v>0.19315141787051801</c:v>
                </c:pt>
                <c:pt idx="10831">
                  <c:v>0.193169252719814</c:v>
                </c:pt>
                <c:pt idx="10832">
                  <c:v>0.19318708756910999</c:v>
                </c:pt>
                <c:pt idx="10833">
                  <c:v>0.19320492241840501</c:v>
                </c:pt>
                <c:pt idx="10834">
                  <c:v>0.193222757267701</c:v>
                </c:pt>
                <c:pt idx="10835">
                  <c:v>0.19324059211699601</c:v>
                </c:pt>
                <c:pt idx="10836">
                  <c:v>0.193258426966292</c:v>
                </c:pt>
                <c:pt idx="10837">
                  <c:v>0.19327626181558699</c:v>
                </c:pt>
                <c:pt idx="10838">
                  <c:v>0.19329409666488301</c:v>
                </c:pt>
                <c:pt idx="10839">
                  <c:v>0.193311931514178</c:v>
                </c:pt>
                <c:pt idx="10840">
                  <c:v>0.19332976636347399</c:v>
                </c:pt>
                <c:pt idx="10841">
                  <c:v>0.193347601212769</c:v>
                </c:pt>
                <c:pt idx="10842">
                  <c:v>0.19336543606206499</c:v>
                </c:pt>
                <c:pt idx="10843">
                  <c:v>0.19338327091136001</c:v>
                </c:pt>
                <c:pt idx="10844">
                  <c:v>0.193401105760656</c:v>
                </c:pt>
                <c:pt idx="10845">
                  <c:v>0.19341894060995099</c:v>
                </c:pt>
                <c:pt idx="10846">
                  <c:v>0.19343677545924701</c:v>
                </c:pt>
                <c:pt idx="10847">
                  <c:v>0.193454610308542</c:v>
                </c:pt>
                <c:pt idx="10848">
                  <c:v>0.19347244515783801</c:v>
                </c:pt>
                <c:pt idx="10849">
                  <c:v>0.193490280007133</c:v>
                </c:pt>
                <c:pt idx="10850">
                  <c:v>0.19350811485642899</c:v>
                </c:pt>
                <c:pt idx="10851">
                  <c:v>0.19352594970572401</c:v>
                </c:pt>
                <c:pt idx="10852">
                  <c:v>0.19354378455502</c:v>
                </c:pt>
                <c:pt idx="10853">
                  <c:v>0.19356161940431599</c:v>
                </c:pt>
                <c:pt idx="10854">
                  <c:v>0.19357945425361101</c:v>
                </c:pt>
                <c:pt idx="10855">
                  <c:v>0.19359728910290699</c:v>
                </c:pt>
                <c:pt idx="10856">
                  <c:v>0.19361512395220201</c:v>
                </c:pt>
                <c:pt idx="10857">
                  <c:v>0.193632958801498</c:v>
                </c:pt>
                <c:pt idx="10858">
                  <c:v>0.19365079365079299</c:v>
                </c:pt>
                <c:pt idx="10859">
                  <c:v>0.19366862850008901</c:v>
                </c:pt>
                <c:pt idx="10860">
                  <c:v>0.193686463349384</c:v>
                </c:pt>
                <c:pt idx="10861">
                  <c:v>0.19370429819868001</c:v>
                </c:pt>
                <c:pt idx="10862">
                  <c:v>0.193722133047975</c:v>
                </c:pt>
                <c:pt idx="10863">
                  <c:v>0.19373996789727099</c:v>
                </c:pt>
                <c:pt idx="10864">
                  <c:v>0.19375780274656601</c:v>
                </c:pt>
                <c:pt idx="10865">
                  <c:v>0.193775637595862</c:v>
                </c:pt>
                <c:pt idx="10866">
                  <c:v>0.19379347244515699</c:v>
                </c:pt>
                <c:pt idx="10867">
                  <c:v>0.19381130729445301</c:v>
                </c:pt>
                <c:pt idx="10868">
                  <c:v>0.193829142143748</c:v>
                </c:pt>
                <c:pt idx="10869">
                  <c:v>0.19384697699304401</c:v>
                </c:pt>
                <c:pt idx="10870">
                  <c:v>0.193864811842339</c:v>
                </c:pt>
                <c:pt idx="10871">
                  <c:v>0.19388264669163499</c:v>
                </c:pt>
                <c:pt idx="10872">
                  <c:v>0.19390048154093001</c:v>
                </c:pt>
                <c:pt idx="10873">
                  <c:v>0.193918316390226</c:v>
                </c:pt>
                <c:pt idx="10874">
                  <c:v>0.19393615123952199</c:v>
                </c:pt>
                <c:pt idx="10875">
                  <c:v>0.193953986088817</c:v>
                </c:pt>
                <c:pt idx="10876">
                  <c:v>0.19397182093811299</c:v>
                </c:pt>
                <c:pt idx="10877">
                  <c:v>0.19398965578740801</c:v>
                </c:pt>
                <c:pt idx="10878">
                  <c:v>0.194007490636704</c:v>
                </c:pt>
                <c:pt idx="10879">
                  <c:v>0.19402532548599899</c:v>
                </c:pt>
                <c:pt idx="10880">
                  <c:v>0.19404316033529501</c:v>
                </c:pt>
                <c:pt idx="10881">
                  <c:v>0.19406099518459</c:v>
                </c:pt>
                <c:pt idx="10882">
                  <c:v>0.19407883003388601</c:v>
                </c:pt>
                <c:pt idx="10883">
                  <c:v>0.194096664883181</c:v>
                </c:pt>
                <c:pt idx="10884">
                  <c:v>0.19411449973247699</c:v>
                </c:pt>
                <c:pt idx="10885">
                  <c:v>0.19413233458177201</c:v>
                </c:pt>
                <c:pt idx="10886">
                  <c:v>0.194150169431068</c:v>
                </c:pt>
                <c:pt idx="10887">
                  <c:v>0.19416800428036299</c:v>
                </c:pt>
                <c:pt idx="10888">
                  <c:v>0.194185839129659</c:v>
                </c:pt>
                <c:pt idx="10889">
                  <c:v>0.19420367397895399</c:v>
                </c:pt>
                <c:pt idx="10890">
                  <c:v>0.19422150882825001</c:v>
                </c:pt>
                <c:pt idx="10891">
                  <c:v>0.194239343677545</c:v>
                </c:pt>
                <c:pt idx="10892">
                  <c:v>0.19425717852684099</c:v>
                </c:pt>
                <c:pt idx="10893">
                  <c:v>0.19427501337613601</c:v>
                </c:pt>
                <c:pt idx="10894">
                  <c:v>0.194292848225432</c:v>
                </c:pt>
                <c:pt idx="10895">
                  <c:v>0.19431068307472801</c:v>
                </c:pt>
                <c:pt idx="10896">
                  <c:v>0.194328517924023</c:v>
                </c:pt>
                <c:pt idx="10897">
                  <c:v>0.19434635277331899</c:v>
                </c:pt>
                <c:pt idx="10898">
                  <c:v>0.19436418762261401</c:v>
                </c:pt>
                <c:pt idx="10899">
                  <c:v>0.19438202247191</c:v>
                </c:pt>
                <c:pt idx="10900">
                  <c:v>0.19439985732120499</c:v>
                </c:pt>
                <c:pt idx="10901">
                  <c:v>0.19441769217050101</c:v>
                </c:pt>
                <c:pt idx="10902">
                  <c:v>0.194435527019796</c:v>
                </c:pt>
                <c:pt idx="10903">
                  <c:v>0.19445336186909201</c:v>
                </c:pt>
                <c:pt idx="10904">
                  <c:v>0.194471196718387</c:v>
                </c:pt>
                <c:pt idx="10905">
                  <c:v>0.19448903156768299</c:v>
                </c:pt>
                <c:pt idx="10906">
                  <c:v>0.19450686641697801</c:v>
                </c:pt>
                <c:pt idx="10907">
                  <c:v>0.194524701266274</c:v>
                </c:pt>
                <c:pt idx="10908">
                  <c:v>0.19454253611556899</c:v>
                </c:pt>
                <c:pt idx="10909">
                  <c:v>0.194560370964865</c:v>
                </c:pt>
                <c:pt idx="10910">
                  <c:v>0.19457820581415999</c:v>
                </c:pt>
                <c:pt idx="10911">
                  <c:v>0.19459604066345601</c:v>
                </c:pt>
                <c:pt idx="10912">
                  <c:v>0.194613875512751</c:v>
                </c:pt>
                <c:pt idx="10913">
                  <c:v>0.19463171036204699</c:v>
                </c:pt>
                <c:pt idx="10914">
                  <c:v>0.19464954521134201</c:v>
                </c:pt>
                <c:pt idx="10915">
                  <c:v>0.194667380060638</c:v>
                </c:pt>
                <c:pt idx="10916">
                  <c:v>0.19468521490993401</c:v>
                </c:pt>
                <c:pt idx="10917">
                  <c:v>0.194703049759229</c:v>
                </c:pt>
                <c:pt idx="10918">
                  <c:v>0.19472088460852499</c:v>
                </c:pt>
                <c:pt idx="10919">
                  <c:v>0.19473871945782001</c:v>
                </c:pt>
                <c:pt idx="10920">
                  <c:v>0.194756554307116</c:v>
                </c:pt>
                <c:pt idx="10921">
                  <c:v>0.19477438915641099</c:v>
                </c:pt>
                <c:pt idx="10922">
                  <c:v>0.194792224005707</c:v>
                </c:pt>
                <c:pt idx="10923">
                  <c:v>0.19481005885500199</c:v>
                </c:pt>
                <c:pt idx="10924">
                  <c:v>0.19482789370429801</c:v>
                </c:pt>
                <c:pt idx="10925">
                  <c:v>0.194845728553593</c:v>
                </c:pt>
                <c:pt idx="10926">
                  <c:v>0.19486356340288899</c:v>
                </c:pt>
                <c:pt idx="10927">
                  <c:v>0.19488139825218401</c:v>
                </c:pt>
                <c:pt idx="10928">
                  <c:v>0.19489923310148</c:v>
                </c:pt>
                <c:pt idx="10929">
                  <c:v>0.19491706795077501</c:v>
                </c:pt>
                <c:pt idx="10930">
                  <c:v>0.194934902800071</c:v>
                </c:pt>
                <c:pt idx="10931">
                  <c:v>0.19495273764936599</c:v>
                </c:pt>
                <c:pt idx="10932">
                  <c:v>0.19497057249866201</c:v>
                </c:pt>
                <c:pt idx="10933">
                  <c:v>0.194988407347957</c:v>
                </c:pt>
                <c:pt idx="10934">
                  <c:v>0.19500624219725299</c:v>
                </c:pt>
                <c:pt idx="10935">
                  <c:v>0.19502407704654801</c:v>
                </c:pt>
                <c:pt idx="10936">
                  <c:v>0.19504191189584399</c:v>
                </c:pt>
                <c:pt idx="10937">
                  <c:v>0.19505974674514001</c:v>
                </c:pt>
                <c:pt idx="10938">
                  <c:v>0.195077581594435</c:v>
                </c:pt>
                <c:pt idx="10939">
                  <c:v>0.19509541644373099</c:v>
                </c:pt>
                <c:pt idx="10940">
                  <c:v>0.19511325129302601</c:v>
                </c:pt>
                <c:pt idx="10941">
                  <c:v>0.195131086142322</c:v>
                </c:pt>
                <c:pt idx="10942">
                  <c:v>0.19514892099161699</c:v>
                </c:pt>
                <c:pt idx="10943">
                  <c:v>0.195166755840913</c:v>
                </c:pt>
                <c:pt idx="10944">
                  <c:v>0.19518459069020799</c:v>
                </c:pt>
                <c:pt idx="10945">
                  <c:v>0.19520242553950401</c:v>
                </c:pt>
                <c:pt idx="10946">
                  <c:v>0.195220260388799</c:v>
                </c:pt>
                <c:pt idx="10947">
                  <c:v>0.19523809523809499</c:v>
                </c:pt>
                <c:pt idx="10948">
                  <c:v>0.19525593008739001</c:v>
                </c:pt>
                <c:pt idx="10949">
                  <c:v>0.195273764936686</c:v>
                </c:pt>
                <c:pt idx="10950">
                  <c:v>0.19529159978598101</c:v>
                </c:pt>
                <c:pt idx="10951">
                  <c:v>0.195309434635277</c:v>
                </c:pt>
                <c:pt idx="10952">
                  <c:v>0.19532726948457199</c:v>
                </c:pt>
                <c:pt idx="10953">
                  <c:v>0.19534510433386801</c:v>
                </c:pt>
                <c:pt idx="10954">
                  <c:v>0.195362939183163</c:v>
                </c:pt>
                <c:pt idx="10955">
                  <c:v>0.19538077403245899</c:v>
                </c:pt>
                <c:pt idx="10956">
                  <c:v>0.195398608881754</c:v>
                </c:pt>
                <c:pt idx="10957">
                  <c:v>0.19541644373104999</c:v>
                </c:pt>
                <c:pt idx="10958">
                  <c:v>0.19543427858034501</c:v>
                </c:pt>
                <c:pt idx="10959">
                  <c:v>0.195452113429641</c:v>
                </c:pt>
                <c:pt idx="10960">
                  <c:v>0.19546994827893699</c:v>
                </c:pt>
                <c:pt idx="10961">
                  <c:v>0.19548778312823201</c:v>
                </c:pt>
                <c:pt idx="10962">
                  <c:v>0.195505617977528</c:v>
                </c:pt>
                <c:pt idx="10963">
                  <c:v>0.19552345282682301</c:v>
                </c:pt>
                <c:pt idx="10964">
                  <c:v>0.195541287676119</c:v>
                </c:pt>
                <c:pt idx="10965">
                  <c:v>0.19555912252541399</c:v>
                </c:pt>
                <c:pt idx="10966">
                  <c:v>0.19557695737471001</c:v>
                </c:pt>
                <c:pt idx="10967">
                  <c:v>0.195594792224005</c:v>
                </c:pt>
                <c:pt idx="10968">
                  <c:v>0.19561262707330099</c:v>
                </c:pt>
                <c:pt idx="10969">
                  <c:v>0.19563046192259601</c:v>
                </c:pt>
                <c:pt idx="10970">
                  <c:v>0.19564829677189199</c:v>
                </c:pt>
                <c:pt idx="10971">
                  <c:v>0.19566613162118701</c:v>
                </c:pt>
                <c:pt idx="10972">
                  <c:v>0.195683966470483</c:v>
                </c:pt>
                <c:pt idx="10973">
                  <c:v>0.19570180131977799</c:v>
                </c:pt>
                <c:pt idx="10974">
                  <c:v>0.19571963616907401</c:v>
                </c:pt>
                <c:pt idx="10975">
                  <c:v>0.195737471018369</c:v>
                </c:pt>
                <c:pt idx="10976">
                  <c:v>0.19575530586766501</c:v>
                </c:pt>
                <c:pt idx="10977">
                  <c:v>0.19577314071696</c:v>
                </c:pt>
                <c:pt idx="10978">
                  <c:v>0.19579097556625599</c:v>
                </c:pt>
                <c:pt idx="10979">
                  <c:v>0.19580881041555101</c:v>
                </c:pt>
                <c:pt idx="10980">
                  <c:v>0.195826645264847</c:v>
                </c:pt>
                <c:pt idx="10981">
                  <c:v>0.19584448011414299</c:v>
                </c:pt>
                <c:pt idx="10982">
                  <c:v>0.19586231496343801</c:v>
                </c:pt>
                <c:pt idx="10983">
                  <c:v>0.19588014981273399</c:v>
                </c:pt>
                <c:pt idx="10984">
                  <c:v>0.19589798466202901</c:v>
                </c:pt>
                <c:pt idx="10985">
                  <c:v>0.195915819511325</c:v>
                </c:pt>
                <c:pt idx="10986">
                  <c:v>0.19593365436061999</c:v>
                </c:pt>
                <c:pt idx="10987">
                  <c:v>0.19595148920991601</c:v>
                </c:pt>
                <c:pt idx="10988">
                  <c:v>0.195969324059211</c:v>
                </c:pt>
                <c:pt idx="10989">
                  <c:v>0.19598715890850699</c:v>
                </c:pt>
                <c:pt idx="10990">
                  <c:v>0.196004993757802</c:v>
                </c:pt>
                <c:pt idx="10991">
                  <c:v>0.19602282860709799</c:v>
                </c:pt>
                <c:pt idx="10992">
                  <c:v>0.19604066345639301</c:v>
                </c:pt>
                <c:pt idx="10993">
                  <c:v>0.196058498305689</c:v>
                </c:pt>
                <c:pt idx="10994">
                  <c:v>0.19607633315498399</c:v>
                </c:pt>
                <c:pt idx="10995">
                  <c:v>0.19609416800428001</c:v>
                </c:pt>
                <c:pt idx="10996">
                  <c:v>0.196112002853575</c:v>
                </c:pt>
                <c:pt idx="10997">
                  <c:v>0.19612983770287101</c:v>
                </c:pt>
                <c:pt idx="10998">
                  <c:v>0.196147672552166</c:v>
                </c:pt>
                <c:pt idx="10999">
                  <c:v>0.19616550740146199</c:v>
                </c:pt>
                <c:pt idx="11000">
                  <c:v>0.19618334225075701</c:v>
                </c:pt>
                <c:pt idx="11001">
                  <c:v>0.196201177100053</c:v>
                </c:pt>
                <c:pt idx="11002">
                  <c:v>0.19621901194934899</c:v>
                </c:pt>
                <c:pt idx="11003">
                  <c:v>0.196236846798644</c:v>
                </c:pt>
                <c:pt idx="11004">
                  <c:v>0.19625468164793999</c:v>
                </c:pt>
                <c:pt idx="11005">
                  <c:v>0.19627251649723501</c:v>
                </c:pt>
                <c:pt idx="11006">
                  <c:v>0.196290351346531</c:v>
                </c:pt>
                <c:pt idx="11007">
                  <c:v>0.19630818619582599</c:v>
                </c:pt>
                <c:pt idx="11008">
                  <c:v>0.19632602104512201</c:v>
                </c:pt>
                <c:pt idx="11009">
                  <c:v>0.196343855894417</c:v>
                </c:pt>
                <c:pt idx="11010">
                  <c:v>0.19636169074371301</c:v>
                </c:pt>
                <c:pt idx="11011">
                  <c:v>0.196379525593008</c:v>
                </c:pt>
                <c:pt idx="11012">
                  <c:v>0.19639736044230399</c:v>
                </c:pt>
                <c:pt idx="11013">
                  <c:v>0.19641519529159901</c:v>
                </c:pt>
                <c:pt idx="11014">
                  <c:v>0.196433030140895</c:v>
                </c:pt>
                <c:pt idx="11015">
                  <c:v>0.19645086499018999</c:v>
                </c:pt>
                <c:pt idx="11016">
                  <c:v>0.19646869983948601</c:v>
                </c:pt>
                <c:pt idx="11017">
                  <c:v>0.19648653468878099</c:v>
                </c:pt>
                <c:pt idx="11018">
                  <c:v>0.19650436953807701</c:v>
                </c:pt>
                <c:pt idx="11019">
                  <c:v>0.196522204387372</c:v>
                </c:pt>
                <c:pt idx="11020">
                  <c:v>0.19654003923666799</c:v>
                </c:pt>
                <c:pt idx="11021">
                  <c:v>0.19655787408596301</c:v>
                </c:pt>
                <c:pt idx="11022">
                  <c:v>0.196575708935259</c:v>
                </c:pt>
                <c:pt idx="11023">
                  <c:v>0.19659354378455501</c:v>
                </c:pt>
                <c:pt idx="11024">
                  <c:v>0.19661137863385</c:v>
                </c:pt>
                <c:pt idx="11025">
                  <c:v>0.19662921348314599</c:v>
                </c:pt>
                <c:pt idx="11026">
                  <c:v>0.19664704833244101</c:v>
                </c:pt>
                <c:pt idx="11027">
                  <c:v>0.196664883181737</c:v>
                </c:pt>
                <c:pt idx="11028">
                  <c:v>0.19668271803103199</c:v>
                </c:pt>
                <c:pt idx="11029">
                  <c:v>0.19670055288032801</c:v>
                </c:pt>
                <c:pt idx="11030">
                  <c:v>0.196718387729623</c:v>
                </c:pt>
                <c:pt idx="11031">
                  <c:v>0.19673622257891901</c:v>
                </c:pt>
                <c:pt idx="11032">
                  <c:v>0.196754057428214</c:v>
                </c:pt>
                <c:pt idx="11033">
                  <c:v>0.19677189227750999</c:v>
                </c:pt>
                <c:pt idx="11034">
                  <c:v>0.19678972712680501</c:v>
                </c:pt>
                <c:pt idx="11035">
                  <c:v>0.196807561976101</c:v>
                </c:pt>
                <c:pt idx="11036">
                  <c:v>0.19682539682539599</c:v>
                </c:pt>
                <c:pt idx="11037">
                  <c:v>0.196843231674692</c:v>
                </c:pt>
                <c:pt idx="11038">
                  <c:v>0.19686106652398699</c:v>
                </c:pt>
                <c:pt idx="11039">
                  <c:v>0.19687890137328301</c:v>
                </c:pt>
                <c:pt idx="11040">
                  <c:v>0.196896736222578</c:v>
                </c:pt>
                <c:pt idx="11041">
                  <c:v>0.19691457107187399</c:v>
                </c:pt>
                <c:pt idx="11042">
                  <c:v>0.19693240592116901</c:v>
                </c:pt>
                <c:pt idx="11043">
                  <c:v>0.196950240770465</c:v>
                </c:pt>
                <c:pt idx="11044">
                  <c:v>0.19696807561976101</c:v>
                </c:pt>
                <c:pt idx="11045">
                  <c:v>0.196985910469056</c:v>
                </c:pt>
                <c:pt idx="11046">
                  <c:v>0.19700374531835199</c:v>
                </c:pt>
                <c:pt idx="11047">
                  <c:v>0.19702158016764701</c:v>
                </c:pt>
                <c:pt idx="11048">
                  <c:v>0.197039415016943</c:v>
                </c:pt>
                <c:pt idx="11049">
                  <c:v>0.19705724986623799</c:v>
                </c:pt>
                <c:pt idx="11050">
                  <c:v>0.197075084715534</c:v>
                </c:pt>
                <c:pt idx="11051">
                  <c:v>0.19709291956482899</c:v>
                </c:pt>
                <c:pt idx="11052">
                  <c:v>0.19711075441412501</c:v>
                </c:pt>
                <c:pt idx="11053">
                  <c:v>0.19712858926342</c:v>
                </c:pt>
                <c:pt idx="11054">
                  <c:v>0.19714642411271599</c:v>
                </c:pt>
                <c:pt idx="11055">
                  <c:v>0.19716425896201101</c:v>
                </c:pt>
                <c:pt idx="11056">
                  <c:v>0.197182093811307</c:v>
                </c:pt>
                <c:pt idx="11057">
                  <c:v>0.19719992866060199</c:v>
                </c:pt>
                <c:pt idx="11058">
                  <c:v>0.197217763509898</c:v>
                </c:pt>
                <c:pt idx="11059">
                  <c:v>0.19723559835919299</c:v>
                </c:pt>
                <c:pt idx="11060">
                  <c:v>0.19725343320848901</c:v>
                </c:pt>
                <c:pt idx="11061">
                  <c:v>0.197271268057784</c:v>
                </c:pt>
                <c:pt idx="11062">
                  <c:v>0.19728910290707999</c:v>
                </c:pt>
                <c:pt idx="11063">
                  <c:v>0.19730693775637501</c:v>
                </c:pt>
                <c:pt idx="11064">
                  <c:v>0.19732477260567099</c:v>
                </c:pt>
                <c:pt idx="11065">
                  <c:v>0.19734260745496701</c:v>
                </c:pt>
                <c:pt idx="11066">
                  <c:v>0.197360442304262</c:v>
                </c:pt>
                <c:pt idx="11067">
                  <c:v>0.19737827715355799</c:v>
                </c:pt>
                <c:pt idx="11068">
                  <c:v>0.19739611200285301</c:v>
                </c:pt>
                <c:pt idx="11069">
                  <c:v>0.197413946852149</c:v>
                </c:pt>
                <c:pt idx="11070">
                  <c:v>0.19743178170144399</c:v>
                </c:pt>
                <c:pt idx="11071">
                  <c:v>0.19744961655074</c:v>
                </c:pt>
                <c:pt idx="11072">
                  <c:v>0.19746745140003499</c:v>
                </c:pt>
                <c:pt idx="11073">
                  <c:v>0.19748528624933101</c:v>
                </c:pt>
                <c:pt idx="11074">
                  <c:v>0.197503121098626</c:v>
                </c:pt>
                <c:pt idx="11075">
                  <c:v>0.19752095594792199</c:v>
                </c:pt>
                <c:pt idx="11076">
                  <c:v>0.19753879079721701</c:v>
                </c:pt>
                <c:pt idx="11077">
                  <c:v>0.197556625646513</c:v>
                </c:pt>
                <c:pt idx="11078">
                  <c:v>0.19757446049580801</c:v>
                </c:pt>
                <c:pt idx="11079">
                  <c:v>0.197592295345104</c:v>
                </c:pt>
                <c:pt idx="11080">
                  <c:v>0.19761013019439899</c:v>
                </c:pt>
                <c:pt idx="11081">
                  <c:v>0.19762796504369501</c:v>
                </c:pt>
                <c:pt idx="11082">
                  <c:v>0.19764579989299</c:v>
                </c:pt>
                <c:pt idx="11083">
                  <c:v>0.19766363474228599</c:v>
                </c:pt>
                <c:pt idx="11084">
                  <c:v>0.197681469591581</c:v>
                </c:pt>
                <c:pt idx="11085">
                  <c:v>0.19769930444087699</c:v>
                </c:pt>
                <c:pt idx="11086">
                  <c:v>0.19771713929017301</c:v>
                </c:pt>
                <c:pt idx="11087">
                  <c:v>0.197734974139468</c:v>
                </c:pt>
                <c:pt idx="11088">
                  <c:v>0.19775280898876399</c:v>
                </c:pt>
                <c:pt idx="11089">
                  <c:v>0.19777064383805901</c:v>
                </c:pt>
                <c:pt idx="11090">
                  <c:v>0.197788478687355</c:v>
                </c:pt>
                <c:pt idx="11091">
                  <c:v>0.19780631353665001</c:v>
                </c:pt>
                <c:pt idx="11092">
                  <c:v>0.197824148385946</c:v>
                </c:pt>
                <c:pt idx="11093">
                  <c:v>0.19784198323524099</c:v>
                </c:pt>
                <c:pt idx="11094">
                  <c:v>0.19785981808453701</c:v>
                </c:pt>
                <c:pt idx="11095">
                  <c:v>0.197877652933832</c:v>
                </c:pt>
                <c:pt idx="11096">
                  <c:v>0.19789548778312799</c:v>
                </c:pt>
                <c:pt idx="11097">
                  <c:v>0.19791332263242301</c:v>
                </c:pt>
                <c:pt idx="11098">
                  <c:v>0.19793115748171899</c:v>
                </c:pt>
                <c:pt idx="11099">
                  <c:v>0.19794899233101401</c:v>
                </c:pt>
                <c:pt idx="11100">
                  <c:v>0.19796682718031</c:v>
                </c:pt>
                <c:pt idx="11101">
                  <c:v>0.19798466202960499</c:v>
                </c:pt>
                <c:pt idx="11102">
                  <c:v>0.19800249687890101</c:v>
                </c:pt>
                <c:pt idx="11103">
                  <c:v>0.198020331728196</c:v>
                </c:pt>
                <c:pt idx="11104">
                  <c:v>0.19803816657749199</c:v>
                </c:pt>
                <c:pt idx="11105">
                  <c:v>0.198056001426787</c:v>
                </c:pt>
                <c:pt idx="11106">
                  <c:v>0.19807383627608299</c:v>
                </c:pt>
                <c:pt idx="11107">
                  <c:v>0.19809167112537801</c:v>
                </c:pt>
                <c:pt idx="11108">
                  <c:v>0.198109505974674</c:v>
                </c:pt>
                <c:pt idx="11109">
                  <c:v>0.19812734082396999</c:v>
                </c:pt>
                <c:pt idx="11110">
                  <c:v>0.19814517567326501</c:v>
                </c:pt>
                <c:pt idx="11111">
                  <c:v>0.198163010522561</c:v>
                </c:pt>
                <c:pt idx="11112">
                  <c:v>0.19818084537185601</c:v>
                </c:pt>
                <c:pt idx="11113">
                  <c:v>0.198198680221152</c:v>
                </c:pt>
                <c:pt idx="11114">
                  <c:v>0.19821651507044699</c:v>
                </c:pt>
                <c:pt idx="11115">
                  <c:v>0.19823434991974301</c:v>
                </c:pt>
                <c:pt idx="11116">
                  <c:v>0.198252184769038</c:v>
                </c:pt>
                <c:pt idx="11117">
                  <c:v>0.19827001961833399</c:v>
                </c:pt>
                <c:pt idx="11118">
                  <c:v>0.198287854467629</c:v>
                </c:pt>
                <c:pt idx="11119">
                  <c:v>0.19830568931692499</c:v>
                </c:pt>
                <c:pt idx="11120">
                  <c:v>0.19832352416622001</c:v>
                </c:pt>
                <c:pt idx="11121">
                  <c:v>0.198341359015516</c:v>
                </c:pt>
                <c:pt idx="11122">
                  <c:v>0.19835919386481099</c:v>
                </c:pt>
                <c:pt idx="11123">
                  <c:v>0.19837702871410701</c:v>
                </c:pt>
                <c:pt idx="11124">
                  <c:v>0.198394863563402</c:v>
                </c:pt>
                <c:pt idx="11125">
                  <c:v>0.19841269841269801</c:v>
                </c:pt>
                <c:pt idx="11126">
                  <c:v>0.198430533261993</c:v>
                </c:pt>
                <c:pt idx="11127">
                  <c:v>0.19844836811128899</c:v>
                </c:pt>
                <c:pt idx="11128">
                  <c:v>0.19846620296058401</c:v>
                </c:pt>
                <c:pt idx="11129">
                  <c:v>0.19848403780988</c:v>
                </c:pt>
                <c:pt idx="11130">
                  <c:v>0.19850187265917599</c:v>
                </c:pt>
                <c:pt idx="11131">
                  <c:v>0.198519707508471</c:v>
                </c:pt>
                <c:pt idx="11132">
                  <c:v>0.19853754235776699</c:v>
                </c:pt>
                <c:pt idx="11133">
                  <c:v>0.19855537720706201</c:v>
                </c:pt>
                <c:pt idx="11134">
                  <c:v>0.198573212056358</c:v>
                </c:pt>
                <c:pt idx="11135">
                  <c:v>0.19859104690565299</c:v>
                </c:pt>
                <c:pt idx="11136">
                  <c:v>0.19860888175494901</c:v>
                </c:pt>
                <c:pt idx="11137">
                  <c:v>0.198626716604244</c:v>
                </c:pt>
                <c:pt idx="11138">
                  <c:v>0.19864455145354001</c:v>
                </c:pt>
                <c:pt idx="11139">
                  <c:v>0.198662386302835</c:v>
                </c:pt>
                <c:pt idx="11140">
                  <c:v>0.19868022115213099</c:v>
                </c:pt>
                <c:pt idx="11141">
                  <c:v>0.19869805600142601</c:v>
                </c:pt>
                <c:pt idx="11142">
                  <c:v>0.198715890850722</c:v>
                </c:pt>
                <c:pt idx="11143">
                  <c:v>0.19873372570001699</c:v>
                </c:pt>
                <c:pt idx="11144">
                  <c:v>0.19875156054931301</c:v>
                </c:pt>
                <c:pt idx="11145">
                  <c:v>0.198769395398608</c:v>
                </c:pt>
                <c:pt idx="11146">
                  <c:v>0.19878723024790401</c:v>
                </c:pt>
                <c:pt idx="11147">
                  <c:v>0.198805065097199</c:v>
                </c:pt>
                <c:pt idx="11148">
                  <c:v>0.19882289994649499</c:v>
                </c:pt>
                <c:pt idx="11149">
                  <c:v>0.19884073479579001</c:v>
                </c:pt>
                <c:pt idx="11150">
                  <c:v>0.198858569645086</c:v>
                </c:pt>
                <c:pt idx="11151">
                  <c:v>0.19887640449438199</c:v>
                </c:pt>
                <c:pt idx="11152">
                  <c:v>0.198894239343677</c:v>
                </c:pt>
                <c:pt idx="11153">
                  <c:v>0.19891207419297299</c:v>
                </c:pt>
                <c:pt idx="11154">
                  <c:v>0.19892990904226801</c:v>
                </c:pt>
                <c:pt idx="11155">
                  <c:v>0.198947743891564</c:v>
                </c:pt>
                <c:pt idx="11156">
                  <c:v>0.19896557874085899</c:v>
                </c:pt>
                <c:pt idx="11157">
                  <c:v>0.19898341359015501</c:v>
                </c:pt>
                <c:pt idx="11158">
                  <c:v>0.19900124843945</c:v>
                </c:pt>
                <c:pt idx="11159">
                  <c:v>0.19901908328874601</c:v>
                </c:pt>
                <c:pt idx="11160">
                  <c:v>0.199036918138041</c:v>
                </c:pt>
                <c:pt idx="11161">
                  <c:v>0.19905475298733699</c:v>
                </c:pt>
                <c:pt idx="11162">
                  <c:v>0.19907258783663201</c:v>
                </c:pt>
                <c:pt idx="11163">
                  <c:v>0.199090422685928</c:v>
                </c:pt>
                <c:pt idx="11164">
                  <c:v>0.19910825753522299</c:v>
                </c:pt>
                <c:pt idx="11165">
                  <c:v>0.199126092384519</c:v>
                </c:pt>
                <c:pt idx="11166">
                  <c:v>0.19914392723381399</c:v>
                </c:pt>
                <c:pt idx="11167">
                  <c:v>0.19916176208311001</c:v>
                </c:pt>
                <c:pt idx="11168">
                  <c:v>0.199179596932405</c:v>
                </c:pt>
                <c:pt idx="11169">
                  <c:v>0.19919743178170099</c:v>
                </c:pt>
                <c:pt idx="11170">
                  <c:v>0.19921526663099601</c:v>
                </c:pt>
                <c:pt idx="11171">
                  <c:v>0.199233101480292</c:v>
                </c:pt>
                <c:pt idx="11172">
                  <c:v>0.19925093632958801</c:v>
                </c:pt>
                <c:pt idx="11173">
                  <c:v>0.199268771178883</c:v>
                </c:pt>
                <c:pt idx="11174">
                  <c:v>0.19928660602817899</c:v>
                </c:pt>
                <c:pt idx="11175">
                  <c:v>0.19930444087747401</c:v>
                </c:pt>
                <c:pt idx="11176">
                  <c:v>0.19932227572677</c:v>
                </c:pt>
                <c:pt idx="11177">
                  <c:v>0.19934011057606499</c:v>
                </c:pt>
                <c:pt idx="11178">
                  <c:v>0.19935794542536101</c:v>
                </c:pt>
                <c:pt idx="11179">
                  <c:v>0.19937578027465599</c:v>
                </c:pt>
                <c:pt idx="11180">
                  <c:v>0.19939361512395201</c:v>
                </c:pt>
                <c:pt idx="11181">
                  <c:v>0.199411449973247</c:v>
                </c:pt>
                <c:pt idx="11182">
                  <c:v>0.19942928482254299</c:v>
                </c:pt>
                <c:pt idx="11183">
                  <c:v>0.19944711967183801</c:v>
                </c:pt>
                <c:pt idx="11184">
                  <c:v>0.199464954521134</c:v>
                </c:pt>
                <c:pt idx="11185">
                  <c:v>0.19948278937042899</c:v>
                </c:pt>
                <c:pt idx="11186">
                  <c:v>0.199500624219725</c:v>
                </c:pt>
                <c:pt idx="11187">
                  <c:v>0.19951845906901999</c:v>
                </c:pt>
                <c:pt idx="11188">
                  <c:v>0.19953629391831601</c:v>
                </c:pt>
                <c:pt idx="11189">
                  <c:v>0.199554128767611</c:v>
                </c:pt>
                <c:pt idx="11190">
                  <c:v>0.19957196361690699</c:v>
                </c:pt>
                <c:pt idx="11191">
                  <c:v>0.19958979846620201</c:v>
                </c:pt>
                <c:pt idx="11192">
                  <c:v>0.199607633315498</c:v>
                </c:pt>
                <c:pt idx="11193">
                  <c:v>0.19962546816479401</c:v>
                </c:pt>
                <c:pt idx="11194">
                  <c:v>0.199643303014089</c:v>
                </c:pt>
                <c:pt idx="11195">
                  <c:v>0.19966113786338499</c:v>
                </c:pt>
                <c:pt idx="11196">
                  <c:v>0.19967897271268001</c:v>
                </c:pt>
                <c:pt idx="11197">
                  <c:v>0.199696807561976</c:v>
                </c:pt>
                <c:pt idx="11198">
                  <c:v>0.19971464241127099</c:v>
                </c:pt>
                <c:pt idx="11199">
                  <c:v>0.199732477260567</c:v>
                </c:pt>
                <c:pt idx="11200">
                  <c:v>0.19975031210986199</c:v>
                </c:pt>
                <c:pt idx="11201">
                  <c:v>0.19976814695915801</c:v>
                </c:pt>
                <c:pt idx="11202">
                  <c:v>0.199785981808453</c:v>
                </c:pt>
                <c:pt idx="11203">
                  <c:v>0.19980381665774899</c:v>
                </c:pt>
                <c:pt idx="11204">
                  <c:v>0.19982165150704401</c:v>
                </c:pt>
                <c:pt idx="11205">
                  <c:v>0.19983948635634</c:v>
                </c:pt>
                <c:pt idx="11206">
                  <c:v>0.19985732120563501</c:v>
                </c:pt>
                <c:pt idx="11207">
                  <c:v>0.199875156054931</c:v>
                </c:pt>
                <c:pt idx="11208">
                  <c:v>0.19989299090422599</c:v>
                </c:pt>
                <c:pt idx="11209">
                  <c:v>0.19991082575352201</c:v>
                </c:pt>
                <c:pt idx="11210">
                  <c:v>0.199928660602817</c:v>
                </c:pt>
                <c:pt idx="11211">
                  <c:v>0.19994649545211299</c:v>
                </c:pt>
                <c:pt idx="11212">
                  <c:v>0.19996433030140801</c:v>
                </c:pt>
                <c:pt idx="11213">
                  <c:v>0.19998216515070399</c:v>
                </c:pt>
                <c:pt idx="11214">
                  <c:v>0.2</c:v>
                </c:pt>
                <c:pt idx="11215">
                  <c:v>0.200017834849295</c:v>
                </c:pt>
                <c:pt idx="11216">
                  <c:v>0.20003566969859099</c:v>
                </c:pt>
                <c:pt idx="11217">
                  <c:v>0.20005350454788601</c:v>
                </c:pt>
                <c:pt idx="11218">
                  <c:v>0.200071339397182</c:v>
                </c:pt>
                <c:pt idx="11219">
                  <c:v>0.20008917424647699</c:v>
                </c:pt>
                <c:pt idx="11220">
                  <c:v>0.200107009095773</c:v>
                </c:pt>
                <c:pt idx="11221">
                  <c:v>0.20012484394506799</c:v>
                </c:pt>
                <c:pt idx="11222">
                  <c:v>0.20014267879436401</c:v>
                </c:pt>
                <c:pt idx="11223">
                  <c:v>0.200160513643659</c:v>
                </c:pt>
                <c:pt idx="11224">
                  <c:v>0.20017834849295499</c:v>
                </c:pt>
                <c:pt idx="11225">
                  <c:v>0.20019618334225001</c:v>
                </c:pt>
                <c:pt idx="11226">
                  <c:v>0.20021401819154599</c:v>
                </c:pt>
                <c:pt idx="11227">
                  <c:v>0.20023185304084101</c:v>
                </c:pt>
                <c:pt idx="11228">
                  <c:v>0.200249687890137</c:v>
                </c:pt>
                <c:pt idx="11229">
                  <c:v>0.20026752273943199</c:v>
                </c:pt>
                <c:pt idx="11230">
                  <c:v>0.20028535758872801</c:v>
                </c:pt>
                <c:pt idx="11231">
                  <c:v>0.200303192438023</c:v>
                </c:pt>
                <c:pt idx="11232">
                  <c:v>0.20032102728731899</c:v>
                </c:pt>
                <c:pt idx="11233">
                  <c:v>0.200338862136614</c:v>
                </c:pt>
                <c:pt idx="11234">
                  <c:v>0.20035669698590999</c:v>
                </c:pt>
                <c:pt idx="11235">
                  <c:v>0.20037453183520501</c:v>
                </c:pt>
                <c:pt idx="11236">
                  <c:v>0.200392366684501</c:v>
                </c:pt>
                <c:pt idx="11237">
                  <c:v>0.20041020153379699</c:v>
                </c:pt>
                <c:pt idx="11238">
                  <c:v>0.20042803638309201</c:v>
                </c:pt>
                <c:pt idx="11239">
                  <c:v>0.200445871232388</c:v>
                </c:pt>
                <c:pt idx="11240">
                  <c:v>0.20046370608168301</c:v>
                </c:pt>
                <c:pt idx="11241">
                  <c:v>0.200481540930979</c:v>
                </c:pt>
                <c:pt idx="11242">
                  <c:v>0.20049937578027399</c:v>
                </c:pt>
                <c:pt idx="11243">
                  <c:v>0.20051721062957001</c:v>
                </c:pt>
                <c:pt idx="11244">
                  <c:v>0.200535045478865</c:v>
                </c:pt>
                <c:pt idx="11245">
                  <c:v>0.20055288032816099</c:v>
                </c:pt>
                <c:pt idx="11246">
                  <c:v>0.200570715177456</c:v>
                </c:pt>
                <c:pt idx="11247">
                  <c:v>0.20058855002675199</c:v>
                </c:pt>
                <c:pt idx="11248">
                  <c:v>0.20060638487604701</c:v>
                </c:pt>
                <c:pt idx="11249">
                  <c:v>0.200624219725343</c:v>
                </c:pt>
                <c:pt idx="11250">
                  <c:v>0.20064205457463799</c:v>
                </c:pt>
                <c:pt idx="11251">
                  <c:v>0.20065988942393401</c:v>
                </c:pt>
                <c:pt idx="11252">
                  <c:v>0.200677724273229</c:v>
                </c:pt>
                <c:pt idx="11253">
                  <c:v>0.20069555912252501</c:v>
                </c:pt>
                <c:pt idx="11254">
                  <c:v>0.20071339397182</c:v>
                </c:pt>
                <c:pt idx="11255">
                  <c:v>0.20073122882111599</c:v>
                </c:pt>
                <c:pt idx="11256">
                  <c:v>0.20074906367041101</c:v>
                </c:pt>
                <c:pt idx="11257">
                  <c:v>0.200766898519707</c:v>
                </c:pt>
                <c:pt idx="11258">
                  <c:v>0.20078473336900299</c:v>
                </c:pt>
                <c:pt idx="11259">
                  <c:v>0.20080256821829801</c:v>
                </c:pt>
                <c:pt idx="11260">
                  <c:v>0.20082040306759399</c:v>
                </c:pt>
                <c:pt idx="11261">
                  <c:v>0.20083823791688901</c:v>
                </c:pt>
                <c:pt idx="11262">
                  <c:v>0.200856072766185</c:v>
                </c:pt>
                <c:pt idx="11263">
                  <c:v>0.20087390761547999</c:v>
                </c:pt>
                <c:pt idx="11264">
                  <c:v>0.20089174246477601</c:v>
                </c:pt>
                <c:pt idx="11265">
                  <c:v>0.200909577314071</c:v>
                </c:pt>
                <c:pt idx="11266">
                  <c:v>0.20092741216336699</c:v>
                </c:pt>
                <c:pt idx="11267">
                  <c:v>0.200945247012662</c:v>
                </c:pt>
                <c:pt idx="11268">
                  <c:v>0.20096308186195799</c:v>
                </c:pt>
                <c:pt idx="11269">
                  <c:v>0.20098091671125301</c:v>
                </c:pt>
                <c:pt idx="11270">
                  <c:v>0.200998751560549</c:v>
                </c:pt>
                <c:pt idx="11271">
                  <c:v>0.20101658640984399</c:v>
                </c:pt>
                <c:pt idx="11272">
                  <c:v>0.20103442125914001</c:v>
                </c:pt>
                <c:pt idx="11273">
                  <c:v>0.201052256108435</c:v>
                </c:pt>
                <c:pt idx="11274">
                  <c:v>0.20107009095773101</c:v>
                </c:pt>
                <c:pt idx="11275">
                  <c:v>0.201087925807026</c:v>
                </c:pt>
                <c:pt idx="11276">
                  <c:v>0.20110576065632199</c:v>
                </c:pt>
                <c:pt idx="11277">
                  <c:v>0.20112359550561701</c:v>
                </c:pt>
                <c:pt idx="11278">
                  <c:v>0.201141430354913</c:v>
                </c:pt>
                <c:pt idx="11279">
                  <c:v>0.20115926520420899</c:v>
                </c:pt>
                <c:pt idx="11280">
                  <c:v>0.201177100053504</c:v>
                </c:pt>
                <c:pt idx="11281">
                  <c:v>0.20119493490279999</c:v>
                </c:pt>
                <c:pt idx="11282">
                  <c:v>0.20121276975209501</c:v>
                </c:pt>
                <c:pt idx="11283">
                  <c:v>0.201230604601391</c:v>
                </c:pt>
                <c:pt idx="11284">
                  <c:v>0.20124843945068599</c:v>
                </c:pt>
                <c:pt idx="11285">
                  <c:v>0.20126627429998201</c:v>
                </c:pt>
                <c:pt idx="11286">
                  <c:v>0.201284109149277</c:v>
                </c:pt>
                <c:pt idx="11287">
                  <c:v>0.20130194399857301</c:v>
                </c:pt>
                <c:pt idx="11288">
                  <c:v>0.201319778847868</c:v>
                </c:pt>
                <c:pt idx="11289">
                  <c:v>0.20133761369716399</c:v>
                </c:pt>
                <c:pt idx="11290">
                  <c:v>0.20135544854645901</c:v>
                </c:pt>
                <c:pt idx="11291">
                  <c:v>0.201373283395755</c:v>
                </c:pt>
                <c:pt idx="11292">
                  <c:v>0.20139111824504999</c:v>
                </c:pt>
                <c:pt idx="11293">
                  <c:v>0.201408953094346</c:v>
                </c:pt>
                <c:pt idx="11294">
                  <c:v>0.20142678794364099</c:v>
                </c:pt>
                <c:pt idx="11295">
                  <c:v>0.20144462279293701</c:v>
                </c:pt>
                <c:pt idx="11296">
                  <c:v>0.201462457642232</c:v>
                </c:pt>
                <c:pt idx="11297">
                  <c:v>0.20148029249152799</c:v>
                </c:pt>
                <c:pt idx="11298">
                  <c:v>0.20149812734082301</c:v>
                </c:pt>
                <c:pt idx="11299">
                  <c:v>0.201515962190119</c:v>
                </c:pt>
                <c:pt idx="11300">
                  <c:v>0.20153379703941501</c:v>
                </c:pt>
                <c:pt idx="11301">
                  <c:v>0.20155163188871</c:v>
                </c:pt>
                <c:pt idx="11302">
                  <c:v>0.20156946673800599</c:v>
                </c:pt>
                <c:pt idx="11303">
                  <c:v>0.20158730158730101</c:v>
                </c:pt>
                <c:pt idx="11304">
                  <c:v>0.201605136436597</c:v>
                </c:pt>
                <c:pt idx="11305">
                  <c:v>0.20162297128589199</c:v>
                </c:pt>
                <c:pt idx="11306">
                  <c:v>0.20164080613518801</c:v>
                </c:pt>
                <c:pt idx="11307">
                  <c:v>0.201658640984483</c:v>
                </c:pt>
                <c:pt idx="11308">
                  <c:v>0.20167647583377901</c:v>
                </c:pt>
                <c:pt idx="11309">
                  <c:v>0.201694310683074</c:v>
                </c:pt>
                <c:pt idx="11310">
                  <c:v>0.20171214553236999</c:v>
                </c:pt>
                <c:pt idx="11311">
                  <c:v>0.20172998038166501</c:v>
                </c:pt>
                <c:pt idx="11312">
                  <c:v>0.201747815230961</c:v>
                </c:pt>
                <c:pt idx="11313">
                  <c:v>0.20176565008025599</c:v>
                </c:pt>
                <c:pt idx="11314">
                  <c:v>0.201783484929552</c:v>
                </c:pt>
                <c:pt idx="11315">
                  <c:v>0.20180131977884699</c:v>
                </c:pt>
                <c:pt idx="11316">
                  <c:v>0.20181915462814301</c:v>
                </c:pt>
                <c:pt idx="11317">
                  <c:v>0.201836989477438</c:v>
                </c:pt>
                <c:pt idx="11318">
                  <c:v>0.20185482432673399</c:v>
                </c:pt>
                <c:pt idx="11319">
                  <c:v>0.20187265917602901</c:v>
                </c:pt>
                <c:pt idx="11320">
                  <c:v>0.201890494025325</c:v>
                </c:pt>
                <c:pt idx="11321">
                  <c:v>0.20190832887462101</c:v>
                </c:pt>
                <c:pt idx="11322">
                  <c:v>0.201926163723916</c:v>
                </c:pt>
                <c:pt idx="11323">
                  <c:v>0.20194399857321199</c:v>
                </c:pt>
                <c:pt idx="11324">
                  <c:v>0.20196183342250701</c:v>
                </c:pt>
                <c:pt idx="11325">
                  <c:v>0.201979668271803</c:v>
                </c:pt>
                <c:pt idx="11326">
                  <c:v>0.20199750312109799</c:v>
                </c:pt>
                <c:pt idx="11327">
                  <c:v>0.202015337970394</c:v>
                </c:pt>
                <c:pt idx="11328">
                  <c:v>0.20203317281968899</c:v>
                </c:pt>
                <c:pt idx="11329">
                  <c:v>0.20205100766898501</c:v>
                </c:pt>
                <c:pt idx="11330">
                  <c:v>0.20206884251828</c:v>
                </c:pt>
                <c:pt idx="11331">
                  <c:v>0.20208667736757599</c:v>
                </c:pt>
                <c:pt idx="11332">
                  <c:v>0.20210451221687101</c:v>
                </c:pt>
                <c:pt idx="11333">
                  <c:v>0.202122347066167</c:v>
                </c:pt>
                <c:pt idx="11334">
                  <c:v>0.20214018191546201</c:v>
                </c:pt>
                <c:pt idx="11335">
                  <c:v>0.202158016764758</c:v>
                </c:pt>
                <c:pt idx="11336">
                  <c:v>0.20217585161405299</c:v>
                </c:pt>
                <c:pt idx="11337">
                  <c:v>0.20219368646334901</c:v>
                </c:pt>
                <c:pt idx="11338">
                  <c:v>0.202211521312644</c:v>
                </c:pt>
                <c:pt idx="11339">
                  <c:v>0.20222935616193999</c:v>
                </c:pt>
                <c:pt idx="11340">
                  <c:v>0.20224719101123501</c:v>
                </c:pt>
                <c:pt idx="11341">
                  <c:v>0.20226502586053099</c:v>
                </c:pt>
                <c:pt idx="11342">
                  <c:v>0.20228286070982701</c:v>
                </c:pt>
                <c:pt idx="11343">
                  <c:v>0.202300695559122</c:v>
                </c:pt>
                <c:pt idx="11344">
                  <c:v>0.20231853040841799</c:v>
                </c:pt>
                <c:pt idx="11345">
                  <c:v>0.20233636525771301</c:v>
                </c:pt>
                <c:pt idx="11346">
                  <c:v>0.202354200107009</c:v>
                </c:pt>
                <c:pt idx="11347">
                  <c:v>0.20237203495630399</c:v>
                </c:pt>
                <c:pt idx="11348">
                  <c:v>0.2023898698056</c:v>
                </c:pt>
                <c:pt idx="11349">
                  <c:v>0.20240770465489499</c:v>
                </c:pt>
                <c:pt idx="11350">
                  <c:v>0.20242553950419101</c:v>
                </c:pt>
                <c:pt idx="11351">
                  <c:v>0.202443374353486</c:v>
                </c:pt>
                <c:pt idx="11352">
                  <c:v>0.20246120920278199</c:v>
                </c:pt>
                <c:pt idx="11353">
                  <c:v>0.20247904405207701</c:v>
                </c:pt>
                <c:pt idx="11354">
                  <c:v>0.202496878901373</c:v>
                </c:pt>
                <c:pt idx="11355">
                  <c:v>0.20251471375066801</c:v>
                </c:pt>
                <c:pt idx="11356">
                  <c:v>0.202532548599964</c:v>
                </c:pt>
                <c:pt idx="11357">
                  <c:v>0.20255038344925899</c:v>
                </c:pt>
                <c:pt idx="11358">
                  <c:v>0.20256821829855501</c:v>
                </c:pt>
                <c:pt idx="11359">
                  <c:v>0.20258605314785</c:v>
                </c:pt>
                <c:pt idx="11360">
                  <c:v>0.20260388799714599</c:v>
                </c:pt>
                <c:pt idx="11361">
                  <c:v>0.202621722846441</c:v>
                </c:pt>
                <c:pt idx="11362">
                  <c:v>0.20263955769573699</c:v>
                </c:pt>
                <c:pt idx="11363">
                  <c:v>0.20265739254503201</c:v>
                </c:pt>
                <c:pt idx="11364">
                  <c:v>0.202675227394328</c:v>
                </c:pt>
                <c:pt idx="11365">
                  <c:v>0.20269306224362399</c:v>
                </c:pt>
                <c:pt idx="11366">
                  <c:v>0.20271089709291901</c:v>
                </c:pt>
                <c:pt idx="11367">
                  <c:v>0.202728731942215</c:v>
                </c:pt>
                <c:pt idx="11368">
                  <c:v>0.20274656679151001</c:v>
                </c:pt>
                <c:pt idx="11369">
                  <c:v>0.202764401640806</c:v>
                </c:pt>
                <c:pt idx="11370">
                  <c:v>0.20278223649010099</c:v>
                </c:pt>
                <c:pt idx="11371">
                  <c:v>0.20280007133939701</c:v>
                </c:pt>
                <c:pt idx="11372">
                  <c:v>0.202817906188692</c:v>
                </c:pt>
                <c:pt idx="11373">
                  <c:v>0.20283574103798799</c:v>
                </c:pt>
                <c:pt idx="11374">
                  <c:v>0.20285357588728301</c:v>
                </c:pt>
                <c:pt idx="11375">
                  <c:v>0.20287141073657899</c:v>
                </c:pt>
                <c:pt idx="11376">
                  <c:v>0.20288924558587401</c:v>
                </c:pt>
                <c:pt idx="11377">
                  <c:v>0.20290708043517</c:v>
                </c:pt>
                <c:pt idx="11378">
                  <c:v>0.20292491528446499</c:v>
                </c:pt>
                <c:pt idx="11379">
                  <c:v>0.20294275013376101</c:v>
                </c:pt>
                <c:pt idx="11380">
                  <c:v>0.202960584983056</c:v>
                </c:pt>
                <c:pt idx="11381">
                  <c:v>0.20297841983235199</c:v>
                </c:pt>
                <c:pt idx="11382">
                  <c:v>0.202996254681647</c:v>
                </c:pt>
                <c:pt idx="11383">
                  <c:v>0.20301408953094299</c:v>
                </c:pt>
                <c:pt idx="11384">
                  <c:v>0.20303192438023801</c:v>
                </c:pt>
                <c:pt idx="11385">
                  <c:v>0.203049759229534</c:v>
                </c:pt>
                <c:pt idx="11386">
                  <c:v>0.20306759407882999</c:v>
                </c:pt>
                <c:pt idx="11387">
                  <c:v>0.20308542892812501</c:v>
                </c:pt>
                <c:pt idx="11388">
                  <c:v>0.20310326377742099</c:v>
                </c:pt>
                <c:pt idx="11389">
                  <c:v>0.20312109862671601</c:v>
                </c:pt>
                <c:pt idx="11390">
                  <c:v>0.203138933476012</c:v>
                </c:pt>
                <c:pt idx="11391">
                  <c:v>0.20315676832530699</c:v>
                </c:pt>
                <c:pt idx="11392">
                  <c:v>0.20317460317460301</c:v>
                </c:pt>
                <c:pt idx="11393">
                  <c:v>0.203192438023898</c:v>
                </c:pt>
                <c:pt idx="11394">
                  <c:v>0.20321027287319399</c:v>
                </c:pt>
                <c:pt idx="11395">
                  <c:v>0.203228107722489</c:v>
                </c:pt>
                <c:pt idx="11396">
                  <c:v>0.20324594257178499</c:v>
                </c:pt>
                <c:pt idx="11397">
                  <c:v>0.20326377742108001</c:v>
                </c:pt>
                <c:pt idx="11398">
                  <c:v>0.203281612270376</c:v>
                </c:pt>
                <c:pt idx="11399">
                  <c:v>0.20329944711967099</c:v>
                </c:pt>
                <c:pt idx="11400">
                  <c:v>0.20331728196896701</c:v>
                </c:pt>
                <c:pt idx="11401">
                  <c:v>0.203335116818262</c:v>
                </c:pt>
                <c:pt idx="11402">
                  <c:v>0.20335295166755801</c:v>
                </c:pt>
                <c:pt idx="11403">
                  <c:v>0.203370786516853</c:v>
                </c:pt>
                <c:pt idx="11404">
                  <c:v>0.20338862136614899</c:v>
                </c:pt>
                <c:pt idx="11405">
                  <c:v>0.20340645621544401</c:v>
                </c:pt>
                <c:pt idx="11406">
                  <c:v>0.20342429106474</c:v>
                </c:pt>
                <c:pt idx="11407">
                  <c:v>0.20344212591403599</c:v>
                </c:pt>
                <c:pt idx="11408">
                  <c:v>0.203459960763331</c:v>
                </c:pt>
                <c:pt idx="11409">
                  <c:v>0.20347779561262699</c:v>
                </c:pt>
                <c:pt idx="11410">
                  <c:v>0.20349563046192201</c:v>
                </c:pt>
                <c:pt idx="11411">
                  <c:v>0.203513465311218</c:v>
                </c:pt>
                <c:pt idx="11412">
                  <c:v>0.20353130016051299</c:v>
                </c:pt>
                <c:pt idx="11413">
                  <c:v>0.20354913500980901</c:v>
                </c:pt>
                <c:pt idx="11414">
                  <c:v>0.203566969859104</c:v>
                </c:pt>
                <c:pt idx="11415">
                  <c:v>0.20358480470840001</c:v>
                </c:pt>
                <c:pt idx="11416">
                  <c:v>0.203602639557695</c:v>
                </c:pt>
                <c:pt idx="11417">
                  <c:v>0.20362047440699099</c:v>
                </c:pt>
                <c:pt idx="11418">
                  <c:v>0.20363830925628601</c:v>
                </c:pt>
                <c:pt idx="11419">
                  <c:v>0.203656144105582</c:v>
                </c:pt>
                <c:pt idx="11420">
                  <c:v>0.20367397895487699</c:v>
                </c:pt>
                <c:pt idx="11421">
                  <c:v>0.20369181380417301</c:v>
                </c:pt>
                <c:pt idx="11422">
                  <c:v>0.203709648653468</c:v>
                </c:pt>
                <c:pt idx="11423">
                  <c:v>0.20372748350276401</c:v>
                </c:pt>
                <c:pt idx="11424">
                  <c:v>0.203745318352059</c:v>
                </c:pt>
                <c:pt idx="11425">
                  <c:v>0.20376315320135499</c:v>
                </c:pt>
                <c:pt idx="11426">
                  <c:v>0.20378098805065001</c:v>
                </c:pt>
                <c:pt idx="11427">
                  <c:v>0.203798822899946</c:v>
                </c:pt>
                <c:pt idx="11428">
                  <c:v>0.20381665774924199</c:v>
                </c:pt>
                <c:pt idx="11429">
                  <c:v>0.203834492598537</c:v>
                </c:pt>
                <c:pt idx="11430">
                  <c:v>0.20385232744783299</c:v>
                </c:pt>
                <c:pt idx="11431">
                  <c:v>0.20387016229712801</c:v>
                </c:pt>
                <c:pt idx="11432">
                  <c:v>0.203887997146424</c:v>
                </c:pt>
                <c:pt idx="11433">
                  <c:v>0.20390583199571899</c:v>
                </c:pt>
                <c:pt idx="11434">
                  <c:v>0.20392366684501501</c:v>
                </c:pt>
                <c:pt idx="11435">
                  <c:v>0.20394150169431</c:v>
                </c:pt>
                <c:pt idx="11436">
                  <c:v>0.20395933654360601</c:v>
                </c:pt>
                <c:pt idx="11437">
                  <c:v>0.203977171392901</c:v>
                </c:pt>
                <c:pt idx="11438">
                  <c:v>0.20399500624219699</c:v>
                </c:pt>
                <c:pt idx="11439">
                  <c:v>0.20401284109149201</c:v>
                </c:pt>
                <c:pt idx="11440">
                  <c:v>0.204030675940788</c:v>
                </c:pt>
                <c:pt idx="11441">
                  <c:v>0.20404851079008299</c:v>
                </c:pt>
                <c:pt idx="11442">
                  <c:v>0.204066345639379</c:v>
                </c:pt>
                <c:pt idx="11443">
                  <c:v>0.20408418048867399</c:v>
                </c:pt>
                <c:pt idx="11444">
                  <c:v>0.20410201533797001</c:v>
                </c:pt>
                <c:pt idx="11445">
                  <c:v>0.204119850187265</c:v>
                </c:pt>
                <c:pt idx="11446">
                  <c:v>0.20413768503656099</c:v>
                </c:pt>
                <c:pt idx="11447">
                  <c:v>0.20415551988585601</c:v>
                </c:pt>
                <c:pt idx="11448">
                  <c:v>0.204173354735152</c:v>
                </c:pt>
                <c:pt idx="11449">
                  <c:v>0.20419118958444801</c:v>
                </c:pt>
                <c:pt idx="11450">
                  <c:v>0.204209024433743</c:v>
                </c:pt>
                <c:pt idx="11451">
                  <c:v>0.20422685928303899</c:v>
                </c:pt>
                <c:pt idx="11452">
                  <c:v>0.20424469413233401</c:v>
                </c:pt>
                <c:pt idx="11453">
                  <c:v>0.20426252898163</c:v>
                </c:pt>
                <c:pt idx="11454">
                  <c:v>0.20428036383092499</c:v>
                </c:pt>
                <c:pt idx="11455">
                  <c:v>0.204298198680221</c:v>
                </c:pt>
                <c:pt idx="11456">
                  <c:v>0.20431603352951599</c:v>
                </c:pt>
                <c:pt idx="11457">
                  <c:v>0.20433386837881201</c:v>
                </c:pt>
                <c:pt idx="11458">
                  <c:v>0.204351703228107</c:v>
                </c:pt>
                <c:pt idx="11459">
                  <c:v>0.20436953807740299</c:v>
                </c:pt>
                <c:pt idx="11460">
                  <c:v>0.20438737292669801</c:v>
                </c:pt>
                <c:pt idx="11461">
                  <c:v>0.204405207775994</c:v>
                </c:pt>
                <c:pt idx="11462">
                  <c:v>0.20442304262528899</c:v>
                </c:pt>
                <c:pt idx="11463">
                  <c:v>0.204440877474585</c:v>
                </c:pt>
                <c:pt idx="11464">
                  <c:v>0.20445871232387999</c:v>
                </c:pt>
                <c:pt idx="11465">
                  <c:v>0.20447654717317601</c:v>
                </c:pt>
                <c:pt idx="11466">
                  <c:v>0.204494382022471</c:v>
                </c:pt>
                <c:pt idx="11467">
                  <c:v>0.20451221687176699</c:v>
                </c:pt>
                <c:pt idx="11468">
                  <c:v>0.20453005172106201</c:v>
                </c:pt>
                <c:pt idx="11469">
                  <c:v>0.204547886570358</c:v>
                </c:pt>
                <c:pt idx="11470">
                  <c:v>0.20456572141965401</c:v>
                </c:pt>
                <c:pt idx="11471">
                  <c:v>0.204583556268949</c:v>
                </c:pt>
                <c:pt idx="11472">
                  <c:v>0.20460139111824499</c:v>
                </c:pt>
                <c:pt idx="11473">
                  <c:v>0.20461922596754001</c:v>
                </c:pt>
                <c:pt idx="11474">
                  <c:v>0.204637060816836</c:v>
                </c:pt>
                <c:pt idx="11475">
                  <c:v>0.20465489566613099</c:v>
                </c:pt>
                <c:pt idx="11476">
                  <c:v>0.204672730515427</c:v>
                </c:pt>
                <c:pt idx="11477">
                  <c:v>0.20469056536472199</c:v>
                </c:pt>
                <c:pt idx="11478">
                  <c:v>0.20470840021401801</c:v>
                </c:pt>
                <c:pt idx="11479">
                  <c:v>0.204726235063313</c:v>
                </c:pt>
                <c:pt idx="11480">
                  <c:v>0.20474406991260899</c:v>
                </c:pt>
                <c:pt idx="11481">
                  <c:v>0.20476190476190401</c:v>
                </c:pt>
                <c:pt idx="11482">
                  <c:v>0.2047797396112</c:v>
                </c:pt>
                <c:pt idx="11483">
                  <c:v>0.20479757446049501</c:v>
                </c:pt>
                <c:pt idx="11484">
                  <c:v>0.204815409309791</c:v>
                </c:pt>
                <c:pt idx="11485">
                  <c:v>0.20483324415908599</c:v>
                </c:pt>
                <c:pt idx="11486">
                  <c:v>0.20485107900838201</c:v>
                </c:pt>
                <c:pt idx="11487">
                  <c:v>0.204868913857677</c:v>
                </c:pt>
                <c:pt idx="11488">
                  <c:v>0.20488674870697299</c:v>
                </c:pt>
                <c:pt idx="11489">
                  <c:v>0.20490458355626801</c:v>
                </c:pt>
                <c:pt idx="11490">
                  <c:v>0.20492241840556399</c:v>
                </c:pt>
                <c:pt idx="11491">
                  <c:v>0.20494025325485901</c:v>
                </c:pt>
                <c:pt idx="11492">
                  <c:v>0.204958088104155</c:v>
                </c:pt>
                <c:pt idx="11493">
                  <c:v>0.20497592295345099</c:v>
                </c:pt>
                <c:pt idx="11494">
                  <c:v>0.20499375780274601</c:v>
                </c:pt>
                <c:pt idx="11495">
                  <c:v>0.205011592652042</c:v>
                </c:pt>
                <c:pt idx="11496">
                  <c:v>0.20502942750133701</c:v>
                </c:pt>
                <c:pt idx="11497">
                  <c:v>0.205047262350633</c:v>
                </c:pt>
                <c:pt idx="11498">
                  <c:v>0.20506509719992799</c:v>
                </c:pt>
                <c:pt idx="11499">
                  <c:v>0.20508293204922401</c:v>
                </c:pt>
                <c:pt idx="11500">
                  <c:v>0.205100766898519</c:v>
                </c:pt>
                <c:pt idx="11501">
                  <c:v>0.20511860174781499</c:v>
                </c:pt>
                <c:pt idx="11502">
                  <c:v>0.20513643659711001</c:v>
                </c:pt>
                <c:pt idx="11503">
                  <c:v>0.20515427144640599</c:v>
                </c:pt>
                <c:pt idx="11504">
                  <c:v>0.20517210629570101</c:v>
                </c:pt>
                <c:pt idx="11505">
                  <c:v>0.205189941144997</c:v>
                </c:pt>
                <c:pt idx="11506">
                  <c:v>0.20520777599429199</c:v>
                </c:pt>
                <c:pt idx="11507">
                  <c:v>0.20522561084358801</c:v>
                </c:pt>
                <c:pt idx="11508">
                  <c:v>0.205243445692883</c:v>
                </c:pt>
                <c:pt idx="11509">
                  <c:v>0.20526128054217899</c:v>
                </c:pt>
                <c:pt idx="11510">
                  <c:v>0.205279115391474</c:v>
                </c:pt>
                <c:pt idx="11511">
                  <c:v>0.20529695024076999</c:v>
                </c:pt>
                <c:pt idx="11512">
                  <c:v>0.20531478509006501</c:v>
                </c:pt>
                <c:pt idx="11513">
                  <c:v>0.205332619939361</c:v>
                </c:pt>
                <c:pt idx="11514">
                  <c:v>0.20535045478865699</c:v>
                </c:pt>
                <c:pt idx="11515">
                  <c:v>0.20536828963795201</c:v>
                </c:pt>
                <c:pt idx="11516">
                  <c:v>0.205386124487248</c:v>
                </c:pt>
                <c:pt idx="11517">
                  <c:v>0.20540395933654301</c:v>
                </c:pt>
                <c:pt idx="11518">
                  <c:v>0.205421794185839</c:v>
                </c:pt>
                <c:pt idx="11519">
                  <c:v>0.20543962903513399</c:v>
                </c:pt>
                <c:pt idx="11520">
                  <c:v>0.20545746388443001</c:v>
                </c:pt>
                <c:pt idx="11521">
                  <c:v>0.205475298733725</c:v>
                </c:pt>
                <c:pt idx="11522">
                  <c:v>0.20549313358302099</c:v>
                </c:pt>
                <c:pt idx="11523">
                  <c:v>0.205510968432316</c:v>
                </c:pt>
                <c:pt idx="11524">
                  <c:v>0.20552880328161199</c:v>
                </c:pt>
                <c:pt idx="11525">
                  <c:v>0.20554663813090701</c:v>
                </c:pt>
                <c:pt idx="11526">
                  <c:v>0.205564472980203</c:v>
                </c:pt>
                <c:pt idx="11527">
                  <c:v>0.20558230782949799</c:v>
                </c:pt>
                <c:pt idx="11528">
                  <c:v>0.20560014267879401</c:v>
                </c:pt>
                <c:pt idx="11529">
                  <c:v>0.205617977528089</c:v>
                </c:pt>
                <c:pt idx="11530">
                  <c:v>0.20563581237738501</c:v>
                </c:pt>
                <c:pt idx="11531">
                  <c:v>0.20565364722668</c:v>
                </c:pt>
                <c:pt idx="11532">
                  <c:v>0.20567148207597599</c:v>
                </c:pt>
                <c:pt idx="11533">
                  <c:v>0.20568931692527101</c:v>
                </c:pt>
                <c:pt idx="11534">
                  <c:v>0.205707151774567</c:v>
                </c:pt>
                <c:pt idx="11535">
                  <c:v>0.20572498662386299</c:v>
                </c:pt>
                <c:pt idx="11536">
                  <c:v>0.20574282147315801</c:v>
                </c:pt>
                <c:pt idx="11537">
                  <c:v>0.20576065632245399</c:v>
                </c:pt>
                <c:pt idx="11538">
                  <c:v>0.20577849117174901</c:v>
                </c:pt>
                <c:pt idx="11539">
                  <c:v>0.205796326021045</c:v>
                </c:pt>
                <c:pt idx="11540">
                  <c:v>0.20581416087033999</c:v>
                </c:pt>
                <c:pt idx="11541">
                  <c:v>0.20583199571963601</c:v>
                </c:pt>
                <c:pt idx="11542">
                  <c:v>0.205849830568931</c:v>
                </c:pt>
                <c:pt idx="11543">
                  <c:v>0.20586766541822701</c:v>
                </c:pt>
                <c:pt idx="11544">
                  <c:v>0.205885500267522</c:v>
                </c:pt>
                <c:pt idx="11545">
                  <c:v>0.20590333511681799</c:v>
                </c:pt>
                <c:pt idx="11546">
                  <c:v>0.20592116996611301</c:v>
                </c:pt>
                <c:pt idx="11547">
                  <c:v>0.205939004815409</c:v>
                </c:pt>
                <c:pt idx="11548">
                  <c:v>0.20595683966470399</c:v>
                </c:pt>
                <c:pt idx="11549">
                  <c:v>0.20597467451400001</c:v>
                </c:pt>
                <c:pt idx="11550">
                  <c:v>0.205992509363295</c:v>
                </c:pt>
                <c:pt idx="11551">
                  <c:v>0.20601034421259101</c:v>
                </c:pt>
                <c:pt idx="11552">
                  <c:v>0.206028179061886</c:v>
                </c:pt>
                <c:pt idx="11553">
                  <c:v>0.20604601391118199</c:v>
                </c:pt>
                <c:pt idx="11554">
                  <c:v>0.20606384876047701</c:v>
                </c:pt>
                <c:pt idx="11555">
                  <c:v>0.206081683609773</c:v>
                </c:pt>
                <c:pt idx="11556">
                  <c:v>0.20609951845906899</c:v>
                </c:pt>
                <c:pt idx="11557">
                  <c:v>0.206117353308364</c:v>
                </c:pt>
                <c:pt idx="11558">
                  <c:v>0.20613518815765999</c:v>
                </c:pt>
                <c:pt idx="11559">
                  <c:v>0.20615302300695501</c:v>
                </c:pt>
                <c:pt idx="11560">
                  <c:v>0.206170857856251</c:v>
                </c:pt>
                <c:pt idx="11561">
                  <c:v>0.20618869270554599</c:v>
                </c:pt>
                <c:pt idx="11562">
                  <c:v>0.20620652755484201</c:v>
                </c:pt>
                <c:pt idx="11563">
                  <c:v>0.206224362404137</c:v>
                </c:pt>
                <c:pt idx="11564">
                  <c:v>0.20624219725343301</c:v>
                </c:pt>
                <c:pt idx="11565">
                  <c:v>0.206260032102728</c:v>
                </c:pt>
                <c:pt idx="11566">
                  <c:v>0.20627786695202399</c:v>
                </c:pt>
                <c:pt idx="11567">
                  <c:v>0.20629570180131901</c:v>
                </c:pt>
                <c:pt idx="11568">
                  <c:v>0.206313536650615</c:v>
                </c:pt>
                <c:pt idx="11569">
                  <c:v>0.20633137149990999</c:v>
                </c:pt>
                <c:pt idx="11570">
                  <c:v>0.206349206349206</c:v>
                </c:pt>
                <c:pt idx="11571">
                  <c:v>0.20636704119850099</c:v>
                </c:pt>
                <c:pt idx="11572">
                  <c:v>0.20638487604779701</c:v>
                </c:pt>
                <c:pt idx="11573">
                  <c:v>0.206402710897092</c:v>
                </c:pt>
                <c:pt idx="11574">
                  <c:v>0.20642054574638799</c:v>
                </c:pt>
                <c:pt idx="11575">
                  <c:v>0.20643838059568301</c:v>
                </c:pt>
                <c:pt idx="11576">
                  <c:v>0.206456215444979</c:v>
                </c:pt>
                <c:pt idx="11577">
                  <c:v>0.20647405029427501</c:v>
                </c:pt>
                <c:pt idx="11578">
                  <c:v>0.20649188514357</c:v>
                </c:pt>
                <c:pt idx="11579">
                  <c:v>0.20650971999286599</c:v>
                </c:pt>
                <c:pt idx="11580">
                  <c:v>0.20652755484216101</c:v>
                </c:pt>
                <c:pt idx="11581">
                  <c:v>0.206545389691457</c:v>
                </c:pt>
                <c:pt idx="11582">
                  <c:v>0.20656322454075199</c:v>
                </c:pt>
                <c:pt idx="11583">
                  <c:v>0.20658105939004801</c:v>
                </c:pt>
                <c:pt idx="11584">
                  <c:v>0.206598894239343</c:v>
                </c:pt>
                <c:pt idx="11585">
                  <c:v>0.20661672908863901</c:v>
                </c:pt>
                <c:pt idx="11586">
                  <c:v>0.206634563937934</c:v>
                </c:pt>
                <c:pt idx="11587">
                  <c:v>0.20665239878722999</c:v>
                </c:pt>
                <c:pt idx="11588">
                  <c:v>0.20667023363652501</c:v>
                </c:pt>
                <c:pt idx="11589">
                  <c:v>0.206688068485821</c:v>
                </c:pt>
                <c:pt idx="11590">
                  <c:v>0.20670590333511599</c:v>
                </c:pt>
                <c:pt idx="11591">
                  <c:v>0.206723738184412</c:v>
                </c:pt>
                <c:pt idx="11592">
                  <c:v>0.20674157303370699</c:v>
                </c:pt>
                <c:pt idx="11593">
                  <c:v>0.20675940788300301</c:v>
                </c:pt>
                <c:pt idx="11594">
                  <c:v>0.206777242732298</c:v>
                </c:pt>
                <c:pt idx="11595">
                  <c:v>0.20679507758159399</c:v>
                </c:pt>
                <c:pt idx="11596">
                  <c:v>0.20681291243088901</c:v>
                </c:pt>
                <c:pt idx="11597">
                  <c:v>0.206830747280185</c:v>
                </c:pt>
                <c:pt idx="11598">
                  <c:v>0.20684858212948101</c:v>
                </c:pt>
                <c:pt idx="11599">
                  <c:v>0.206866416978776</c:v>
                </c:pt>
                <c:pt idx="11600">
                  <c:v>0.20688425182807199</c:v>
                </c:pt>
                <c:pt idx="11601">
                  <c:v>0.20690208667736701</c:v>
                </c:pt>
                <c:pt idx="11602">
                  <c:v>0.206919921526663</c:v>
                </c:pt>
                <c:pt idx="11603">
                  <c:v>0.20693775637595799</c:v>
                </c:pt>
                <c:pt idx="11604">
                  <c:v>0.206955591225254</c:v>
                </c:pt>
                <c:pt idx="11605">
                  <c:v>0.20697342607454899</c:v>
                </c:pt>
                <c:pt idx="11606">
                  <c:v>0.20699126092384501</c:v>
                </c:pt>
                <c:pt idx="11607">
                  <c:v>0.20700909577314</c:v>
                </c:pt>
                <c:pt idx="11608">
                  <c:v>0.20702693062243599</c:v>
                </c:pt>
                <c:pt idx="11609">
                  <c:v>0.20704476547173101</c:v>
                </c:pt>
                <c:pt idx="11610">
                  <c:v>0.207062600321027</c:v>
                </c:pt>
                <c:pt idx="11611">
                  <c:v>0.20708043517032201</c:v>
                </c:pt>
                <c:pt idx="11612">
                  <c:v>0.207098270019618</c:v>
                </c:pt>
                <c:pt idx="11613">
                  <c:v>0.20711610486891299</c:v>
                </c:pt>
                <c:pt idx="11614">
                  <c:v>0.20713393971820901</c:v>
                </c:pt>
                <c:pt idx="11615">
                  <c:v>0.207151774567504</c:v>
                </c:pt>
                <c:pt idx="11616">
                  <c:v>0.20716960941679999</c:v>
                </c:pt>
                <c:pt idx="11617">
                  <c:v>0.20718744426609501</c:v>
                </c:pt>
                <c:pt idx="11618">
                  <c:v>0.20720527911539099</c:v>
                </c:pt>
                <c:pt idx="11619">
                  <c:v>0.20722311396468701</c:v>
                </c:pt>
                <c:pt idx="11620">
                  <c:v>0.207240948813982</c:v>
                </c:pt>
                <c:pt idx="11621">
                  <c:v>0.20725878366327799</c:v>
                </c:pt>
                <c:pt idx="11622">
                  <c:v>0.20727661851257301</c:v>
                </c:pt>
                <c:pt idx="11623">
                  <c:v>0.207294453361869</c:v>
                </c:pt>
                <c:pt idx="11624">
                  <c:v>0.20731228821116399</c:v>
                </c:pt>
                <c:pt idx="11625">
                  <c:v>0.20733012306046</c:v>
                </c:pt>
                <c:pt idx="11626">
                  <c:v>0.20734795790975499</c:v>
                </c:pt>
                <c:pt idx="11627">
                  <c:v>0.20736579275905101</c:v>
                </c:pt>
                <c:pt idx="11628">
                  <c:v>0.207383627608346</c:v>
                </c:pt>
                <c:pt idx="11629">
                  <c:v>0.20740146245764199</c:v>
                </c:pt>
                <c:pt idx="11630">
                  <c:v>0.20741929730693701</c:v>
                </c:pt>
                <c:pt idx="11631">
                  <c:v>0.207437132156233</c:v>
                </c:pt>
                <c:pt idx="11632">
                  <c:v>0.20745496700552801</c:v>
                </c:pt>
                <c:pt idx="11633">
                  <c:v>0.207472801854824</c:v>
                </c:pt>
                <c:pt idx="11634">
                  <c:v>0.20749063670411899</c:v>
                </c:pt>
                <c:pt idx="11635">
                  <c:v>0.20750847155341501</c:v>
                </c:pt>
                <c:pt idx="11636">
                  <c:v>0.20752630640271</c:v>
                </c:pt>
                <c:pt idx="11637">
                  <c:v>0.20754414125200599</c:v>
                </c:pt>
                <c:pt idx="11638">
                  <c:v>0.207561976101301</c:v>
                </c:pt>
                <c:pt idx="11639">
                  <c:v>0.20757981095059699</c:v>
                </c:pt>
                <c:pt idx="11640">
                  <c:v>0.20759764579989201</c:v>
                </c:pt>
                <c:pt idx="11641">
                  <c:v>0.207615480649188</c:v>
                </c:pt>
                <c:pt idx="11642">
                  <c:v>0.20763331549848399</c:v>
                </c:pt>
                <c:pt idx="11643">
                  <c:v>0.20765115034777901</c:v>
                </c:pt>
                <c:pt idx="11644">
                  <c:v>0.207668985197075</c:v>
                </c:pt>
                <c:pt idx="11645">
                  <c:v>0.20768682004637001</c:v>
                </c:pt>
                <c:pt idx="11646">
                  <c:v>0.207704654895666</c:v>
                </c:pt>
                <c:pt idx="11647">
                  <c:v>0.20772248974496099</c:v>
                </c:pt>
                <c:pt idx="11648">
                  <c:v>0.20774032459425701</c:v>
                </c:pt>
                <c:pt idx="11649">
                  <c:v>0.207758159443552</c:v>
                </c:pt>
                <c:pt idx="11650">
                  <c:v>0.20777599429284799</c:v>
                </c:pt>
                <c:pt idx="11651">
                  <c:v>0.20779382914214301</c:v>
                </c:pt>
                <c:pt idx="11652">
                  <c:v>0.20781166399143899</c:v>
                </c:pt>
                <c:pt idx="11653">
                  <c:v>0.20782949884073401</c:v>
                </c:pt>
                <c:pt idx="11654">
                  <c:v>0.20784733369003</c:v>
                </c:pt>
                <c:pt idx="11655">
                  <c:v>0.20786516853932499</c:v>
                </c:pt>
                <c:pt idx="11656">
                  <c:v>0.20788300338862101</c:v>
                </c:pt>
                <c:pt idx="11657">
                  <c:v>0.207900838237916</c:v>
                </c:pt>
                <c:pt idx="11658">
                  <c:v>0.20791867308721201</c:v>
                </c:pt>
                <c:pt idx="11659">
                  <c:v>0.207936507936507</c:v>
                </c:pt>
                <c:pt idx="11660">
                  <c:v>0.20795434278580299</c:v>
                </c:pt>
                <c:pt idx="11661">
                  <c:v>0.20797217763509801</c:v>
                </c:pt>
                <c:pt idx="11662">
                  <c:v>0.207990012484394</c:v>
                </c:pt>
                <c:pt idx="11663">
                  <c:v>0.20800784733368999</c:v>
                </c:pt>
                <c:pt idx="11664">
                  <c:v>0.20802568218298501</c:v>
                </c:pt>
                <c:pt idx="11665">
                  <c:v>0.20804351703228099</c:v>
                </c:pt>
                <c:pt idx="11666">
                  <c:v>0.20806135188157601</c:v>
                </c:pt>
                <c:pt idx="11667">
                  <c:v>0.208079186730872</c:v>
                </c:pt>
                <c:pt idx="11668">
                  <c:v>0.20809702158016699</c:v>
                </c:pt>
                <c:pt idx="11669">
                  <c:v>0.20811485642946301</c:v>
                </c:pt>
                <c:pt idx="11670">
                  <c:v>0.208132691278758</c:v>
                </c:pt>
                <c:pt idx="11671">
                  <c:v>0.20815052612805399</c:v>
                </c:pt>
                <c:pt idx="11672">
                  <c:v>0.208168360977349</c:v>
                </c:pt>
                <c:pt idx="11673">
                  <c:v>0.20818619582664499</c:v>
                </c:pt>
                <c:pt idx="11674">
                  <c:v>0.20820403067594001</c:v>
                </c:pt>
                <c:pt idx="11675">
                  <c:v>0.208221865525236</c:v>
                </c:pt>
                <c:pt idx="11676">
                  <c:v>0.20823970037453099</c:v>
                </c:pt>
                <c:pt idx="11677">
                  <c:v>0.20825753522382701</c:v>
                </c:pt>
                <c:pt idx="11678">
                  <c:v>0.208275370073122</c:v>
                </c:pt>
                <c:pt idx="11679">
                  <c:v>0.20829320492241801</c:v>
                </c:pt>
                <c:pt idx="11680">
                  <c:v>0.208311039771713</c:v>
                </c:pt>
                <c:pt idx="11681">
                  <c:v>0.20832887462100899</c:v>
                </c:pt>
                <c:pt idx="11682">
                  <c:v>0.20834670947030401</c:v>
                </c:pt>
                <c:pt idx="11683">
                  <c:v>0.2083645443196</c:v>
                </c:pt>
                <c:pt idx="11684">
                  <c:v>0.20838237916889599</c:v>
                </c:pt>
                <c:pt idx="11685">
                  <c:v>0.208400214018191</c:v>
                </c:pt>
                <c:pt idx="11686">
                  <c:v>0.20841804886748699</c:v>
                </c:pt>
                <c:pt idx="11687">
                  <c:v>0.20843588371678201</c:v>
                </c:pt>
                <c:pt idx="11688">
                  <c:v>0.208453718566078</c:v>
                </c:pt>
                <c:pt idx="11689">
                  <c:v>0.20847155341537299</c:v>
                </c:pt>
                <c:pt idx="11690">
                  <c:v>0.20848938826466901</c:v>
                </c:pt>
                <c:pt idx="11691">
                  <c:v>0.208507223113964</c:v>
                </c:pt>
                <c:pt idx="11692">
                  <c:v>0.20852505796326001</c:v>
                </c:pt>
                <c:pt idx="11693">
                  <c:v>0.208542892812555</c:v>
                </c:pt>
                <c:pt idx="11694">
                  <c:v>0.20856072766185099</c:v>
                </c:pt>
                <c:pt idx="11695">
                  <c:v>0.20857856251114601</c:v>
                </c:pt>
                <c:pt idx="11696">
                  <c:v>0.208596397360442</c:v>
                </c:pt>
                <c:pt idx="11697">
                  <c:v>0.20861423220973699</c:v>
                </c:pt>
                <c:pt idx="11698">
                  <c:v>0.20863206705903301</c:v>
                </c:pt>
                <c:pt idx="11699">
                  <c:v>0.20864990190832799</c:v>
                </c:pt>
                <c:pt idx="11700">
                  <c:v>0.20866773675762401</c:v>
                </c:pt>
                <c:pt idx="11701">
                  <c:v>0.208685571606919</c:v>
                </c:pt>
                <c:pt idx="11702">
                  <c:v>0.20870340645621499</c:v>
                </c:pt>
                <c:pt idx="11703">
                  <c:v>0.20872124130551001</c:v>
                </c:pt>
                <c:pt idx="11704">
                  <c:v>0.208739076154806</c:v>
                </c:pt>
                <c:pt idx="11705">
                  <c:v>0.20875691100410201</c:v>
                </c:pt>
                <c:pt idx="11706">
                  <c:v>0.208774745853397</c:v>
                </c:pt>
                <c:pt idx="11707">
                  <c:v>0.20879258070269299</c:v>
                </c:pt>
                <c:pt idx="11708">
                  <c:v>0.20881041555198801</c:v>
                </c:pt>
                <c:pt idx="11709">
                  <c:v>0.208828250401284</c:v>
                </c:pt>
                <c:pt idx="11710">
                  <c:v>0.20884608525057899</c:v>
                </c:pt>
                <c:pt idx="11711">
                  <c:v>0.20886392009987501</c:v>
                </c:pt>
                <c:pt idx="11712">
                  <c:v>0.20888175494917</c:v>
                </c:pt>
                <c:pt idx="11713">
                  <c:v>0.20889958979846601</c:v>
                </c:pt>
                <c:pt idx="11714">
                  <c:v>0.208917424647761</c:v>
                </c:pt>
                <c:pt idx="11715">
                  <c:v>0.20893525949705699</c:v>
                </c:pt>
                <c:pt idx="11716">
                  <c:v>0.20895309434635201</c:v>
                </c:pt>
                <c:pt idx="11717">
                  <c:v>0.208970929195648</c:v>
                </c:pt>
                <c:pt idx="11718">
                  <c:v>0.20898876404494299</c:v>
                </c:pt>
                <c:pt idx="11719">
                  <c:v>0.209006598894239</c:v>
                </c:pt>
                <c:pt idx="11720">
                  <c:v>0.20902443374353399</c:v>
                </c:pt>
                <c:pt idx="11721">
                  <c:v>0.20904226859283001</c:v>
                </c:pt>
                <c:pt idx="11722">
                  <c:v>0.209060103442125</c:v>
                </c:pt>
                <c:pt idx="11723">
                  <c:v>0.20907793829142099</c:v>
                </c:pt>
                <c:pt idx="11724">
                  <c:v>0.20909577314071601</c:v>
                </c:pt>
                <c:pt idx="11725">
                  <c:v>0.209113607990012</c:v>
                </c:pt>
                <c:pt idx="11726">
                  <c:v>0.20913144283930801</c:v>
                </c:pt>
                <c:pt idx="11727">
                  <c:v>0.209149277688603</c:v>
                </c:pt>
                <c:pt idx="11728">
                  <c:v>0.20916711253789899</c:v>
                </c:pt>
                <c:pt idx="11729">
                  <c:v>0.20918494738719401</c:v>
                </c:pt>
                <c:pt idx="11730">
                  <c:v>0.20920278223649</c:v>
                </c:pt>
                <c:pt idx="11731">
                  <c:v>0.20922061708578499</c:v>
                </c:pt>
                <c:pt idx="11732">
                  <c:v>0.209238451935081</c:v>
                </c:pt>
                <c:pt idx="11733">
                  <c:v>0.20925628678437599</c:v>
                </c:pt>
                <c:pt idx="11734">
                  <c:v>0.20927412163367201</c:v>
                </c:pt>
                <c:pt idx="11735">
                  <c:v>0.209291956482967</c:v>
                </c:pt>
                <c:pt idx="11736">
                  <c:v>0.20930979133226299</c:v>
                </c:pt>
                <c:pt idx="11737">
                  <c:v>0.20932762618155801</c:v>
                </c:pt>
                <c:pt idx="11738">
                  <c:v>0.209345461030854</c:v>
                </c:pt>
                <c:pt idx="11739">
                  <c:v>0.20936329588014899</c:v>
                </c:pt>
                <c:pt idx="11740">
                  <c:v>0.209381130729445</c:v>
                </c:pt>
                <c:pt idx="11741">
                  <c:v>0.20939896557873999</c:v>
                </c:pt>
                <c:pt idx="11742">
                  <c:v>0.20941680042803601</c:v>
                </c:pt>
                <c:pt idx="11743">
                  <c:v>0.209434635277331</c:v>
                </c:pt>
                <c:pt idx="11744">
                  <c:v>0.20945247012662699</c:v>
                </c:pt>
                <c:pt idx="11745">
                  <c:v>0.20947030497592201</c:v>
                </c:pt>
                <c:pt idx="11746">
                  <c:v>0.20948813982521799</c:v>
                </c:pt>
                <c:pt idx="11747">
                  <c:v>0.20950597467451401</c:v>
                </c:pt>
                <c:pt idx="11748">
                  <c:v>0.209523809523809</c:v>
                </c:pt>
                <c:pt idx="11749">
                  <c:v>0.20954164437310499</c:v>
                </c:pt>
                <c:pt idx="11750">
                  <c:v>0.20955947922240001</c:v>
                </c:pt>
                <c:pt idx="11751">
                  <c:v>0.209577314071696</c:v>
                </c:pt>
                <c:pt idx="11752">
                  <c:v>0.20959514892099099</c:v>
                </c:pt>
                <c:pt idx="11753">
                  <c:v>0.209612983770287</c:v>
                </c:pt>
                <c:pt idx="11754">
                  <c:v>0.20963081861958199</c:v>
                </c:pt>
                <c:pt idx="11755">
                  <c:v>0.20964865346887801</c:v>
                </c:pt>
                <c:pt idx="11756">
                  <c:v>0.209666488318173</c:v>
                </c:pt>
                <c:pt idx="11757">
                  <c:v>0.20968432316746899</c:v>
                </c:pt>
                <c:pt idx="11758">
                  <c:v>0.20970215801676401</c:v>
                </c:pt>
                <c:pt idx="11759">
                  <c:v>0.20971999286606</c:v>
                </c:pt>
                <c:pt idx="11760">
                  <c:v>0.20973782771535501</c:v>
                </c:pt>
                <c:pt idx="11761">
                  <c:v>0.209755662564651</c:v>
                </c:pt>
                <c:pt idx="11762">
                  <c:v>0.20977349741394599</c:v>
                </c:pt>
                <c:pt idx="11763">
                  <c:v>0.20979133226324201</c:v>
                </c:pt>
                <c:pt idx="11764">
                  <c:v>0.209809167112537</c:v>
                </c:pt>
                <c:pt idx="11765">
                  <c:v>0.20982700196183299</c:v>
                </c:pt>
                <c:pt idx="11766">
                  <c:v>0.209844836811128</c:v>
                </c:pt>
                <c:pt idx="11767">
                  <c:v>0.20986267166042399</c:v>
                </c:pt>
                <c:pt idx="11768">
                  <c:v>0.20988050650971901</c:v>
                </c:pt>
                <c:pt idx="11769">
                  <c:v>0.209898341359015</c:v>
                </c:pt>
                <c:pt idx="11770">
                  <c:v>0.20991617620831099</c:v>
                </c:pt>
                <c:pt idx="11771">
                  <c:v>0.20993401105760601</c:v>
                </c:pt>
                <c:pt idx="11772">
                  <c:v>0.209951845906902</c:v>
                </c:pt>
                <c:pt idx="11773">
                  <c:v>0.20996968075619701</c:v>
                </c:pt>
                <c:pt idx="11774">
                  <c:v>0.209987515605493</c:v>
                </c:pt>
                <c:pt idx="11775">
                  <c:v>0.21000535045478799</c:v>
                </c:pt>
                <c:pt idx="11776">
                  <c:v>0.21002318530408401</c:v>
                </c:pt>
                <c:pt idx="11777">
                  <c:v>0.210041020153379</c:v>
                </c:pt>
                <c:pt idx="11778">
                  <c:v>0.21005885500267499</c:v>
                </c:pt>
                <c:pt idx="11779">
                  <c:v>0.21007668985197001</c:v>
                </c:pt>
                <c:pt idx="11780">
                  <c:v>0.21009452470126599</c:v>
                </c:pt>
                <c:pt idx="11781">
                  <c:v>0.21011235955056101</c:v>
                </c:pt>
                <c:pt idx="11782">
                  <c:v>0.210130194399857</c:v>
                </c:pt>
                <c:pt idx="11783">
                  <c:v>0.21014802924915199</c:v>
                </c:pt>
                <c:pt idx="11784">
                  <c:v>0.21016586409844801</c:v>
                </c:pt>
                <c:pt idx="11785">
                  <c:v>0.210183698947743</c:v>
                </c:pt>
                <c:pt idx="11786">
                  <c:v>0.21020153379703899</c:v>
                </c:pt>
                <c:pt idx="11787">
                  <c:v>0.210219368646334</c:v>
                </c:pt>
                <c:pt idx="11788">
                  <c:v>0.21023720349562999</c:v>
                </c:pt>
                <c:pt idx="11789">
                  <c:v>0.21025503834492501</c:v>
                </c:pt>
                <c:pt idx="11790">
                  <c:v>0.210272873194221</c:v>
                </c:pt>
                <c:pt idx="11791">
                  <c:v>0.21029070804351699</c:v>
                </c:pt>
                <c:pt idx="11792">
                  <c:v>0.21030854289281201</c:v>
                </c:pt>
                <c:pt idx="11793">
                  <c:v>0.21032637774210799</c:v>
                </c:pt>
                <c:pt idx="11794">
                  <c:v>0.21034421259140301</c:v>
                </c:pt>
                <c:pt idx="11795">
                  <c:v>0.210362047440699</c:v>
                </c:pt>
                <c:pt idx="11796">
                  <c:v>0.21037988228999399</c:v>
                </c:pt>
                <c:pt idx="11797">
                  <c:v>0.21039771713929001</c:v>
                </c:pt>
                <c:pt idx="11798">
                  <c:v>0.210415551988585</c:v>
                </c:pt>
                <c:pt idx="11799">
                  <c:v>0.21043338683788099</c:v>
                </c:pt>
                <c:pt idx="11800">
                  <c:v>0.210451221687176</c:v>
                </c:pt>
                <c:pt idx="11801">
                  <c:v>0.21046905653647199</c:v>
                </c:pt>
                <c:pt idx="11802">
                  <c:v>0.21048689138576701</c:v>
                </c:pt>
                <c:pt idx="11803">
                  <c:v>0.210504726235063</c:v>
                </c:pt>
                <c:pt idx="11804">
                  <c:v>0.21052256108435799</c:v>
                </c:pt>
                <c:pt idx="11805">
                  <c:v>0.21054039593365401</c:v>
                </c:pt>
                <c:pt idx="11806">
                  <c:v>0.210558230782949</c:v>
                </c:pt>
                <c:pt idx="11807">
                  <c:v>0.21057606563224501</c:v>
                </c:pt>
                <c:pt idx="11808">
                  <c:v>0.21059390048154</c:v>
                </c:pt>
                <c:pt idx="11809">
                  <c:v>0.21061173533083599</c:v>
                </c:pt>
                <c:pt idx="11810">
                  <c:v>0.21062957018013101</c:v>
                </c:pt>
                <c:pt idx="11811">
                  <c:v>0.210647405029427</c:v>
                </c:pt>
                <c:pt idx="11812">
                  <c:v>0.21066523987872299</c:v>
                </c:pt>
                <c:pt idx="11813">
                  <c:v>0.210683074728018</c:v>
                </c:pt>
                <c:pt idx="11814">
                  <c:v>0.21070090957731399</c:v>
                </c:pt>
                <c:pt idx="11815">
                  <c:v>0.21071874442660901</c:v>
                </c:pt>
                <c:pt idx="11816">
                  <c:v>0.210736579275905</c:v>
                </c:pt>
                <c:pt idx="11817">
                  <c:v>0.21075441412519999</c:v>
                </c:pt>
                <c:pt idx="11818">
                  <c:v>0.21077224897449601</c:v>
                </c:pt>
                <c:pt idx="11819">
                  <c:v>0.210790083823791</c:v>
                </c:pt>
                <c:pt idx="11820">
                  <c:v>0.21080791867308701</c:v>
                </c:pt>
                <c:pt idx="11821">
                  <c:v>0.210825753522382</c:v>
                </c:pt>
                <c:pt idx="11822">
                  <c:v>0.21084358837167799</c:v>
                </c:pt>
                <c:pt idx="11823">
                  <c:v>0.21086142322097301</c:v>
                </c:pt>
                <c:pt idx="11824">
                  <c:v>0.210879258070269</c:v>
                </c:pt>
                <c:pt idx="11825">
                  <c:v>0.21089709291956399</c:v>
                </c:pt>
                <c:pt idx="11826">
                  <c:v>0.21091492776886001</c:v>
                </c:pt>
                <c:pt idx="11827">
                  <c:v>0.210932762618155</c:v>
                </c:pt>
                <c:pt idx="11828">
                  <c:v>0.21095059746745101</c:v>
                </c:pt>
                <c:pt idx="11829">
                  <c:v>0.210968432316746</c:v>
                </c:pt>
                <c:pt idx="11830">
                  <c:v>0.21098626716604199</c:v>
                </c:pt>
                <c:pt idx="11831">
                  <c:v>0.21100410201533701</c:v>
                </c:pt>
                <c:pt idx="11832">
                  <c:v>0.211021936864633</c:v>
                </c:pt>
                <c:pt idx="11833">
                  <c:v>0.21103977171392899</c:v>
                </c:pt>
                <c:pt idx="11834">
                  <c:v>0.211057606563224</c:v>
                </c:pt>
                <c:pt idx="11835">
                  <c:v>0.21107544141251999</c:v>
                </c:pt>
                <c:pt idx="11836">
                  <c:v>0.21109327626181501</c:v>
                </c:pt>
                <c:pt idx="11837">
                  <c:v>0.211111111111111</c:v>
                </c:pt>
                <c:pt idx="11838">
                  <c:v>0.21112894596040599</c:v>
                </c:pt>
                <c:pt idx="11839">
                  <c:v>0.21114678080970201</c:v>
                </c:pt>
                <c:pt idx="11840">
                  <c:v>0.211164615658997</c:v>
                </c:pt>
                <c:pt idx="11841">
                  <c:v>0.21118245050829301</c:v>
                </c:pt>
                <c:pt idx="11842">
                  <c:v>0.211200285357588</c:v>
                </c:pt>
                <c:pt idx="11843">
                  <c:v>0.21121812020688399</c:v>
                </c:pt>
                <c:pt idx="11844">
                  <c:v>0.21123595505617901</c:v>
                </c:pt>
                <c:pt idx="11845">
                  <c:v>0.211253789905475</c:v>
                </c:pt>
                <c:pt idx="11846">
                  <c:v>0.21127162475476999</c:v>
                </c:pt>
                <c:pt idx="11847">
                  <c:v>0.211289459604066</c:v>
                </c:pt>
                <c:pt idx="11848">
                  <c:v>0.21130729445336099</c:v>
                </c:pt>
                <c:pt idx="11849">
                  <c:v>0.21132512930265701</c:v>
                </c:pt>
                <c:pt idx="11850">
                  <c:v>0.211342964151952</c:v>
                </c:pt>
                <c:pt idx="11851">
                  <c:v>0.21136079900124799</c:v>
                </c:pt>
                <c:pt idx="11852">
                  <c:v>0.21137863385054301</c:v>
                </c:pt>
                <c:pt idx="11853">
                  <c:v>0.211396468699839</c:v>
                </c:pt>
                <c:pt idx="11854">
                  <c:v>0.21141430354913501</c:v>
                </c:pt>
                <c:pt idx="11855">
                  <c:v>0.21143213839843</c:v>
                </c:pt>
                <c:pt idx="11856">
                  <c:v>0.21144997324772599</c:v>
                </c:pt>
                <c:pt idx="11857">
                  <c:v>0.21146780809702101</c:v>
                </c:pt>
                <c:pt idx="11858">
                  <c:v>0.211485642946317</c:v>
                </c:pt>
                <c:pt idx="11859">
                  <c:v>0.21150347779561199</c:v>
                </c:pt>
                <c:pt idx="11860">
                  <c:v>0.211521312644908</c:v>
                </c:pt>
                <c:pt idx="11861">
                  <c:v>0.21153914749420299</c:v>
                </c:pt>
                <c:pt idx="11862">
                  <c:v>0.21155698234349901</c:v>
                </c:pt>
                <c:pt idx="11863">
                  <c:v>0.211574817192794</c:v>
                </c:pt>
                <c:pt idx="11864">
                  <c:v>0.21159265204208999</c:v>
                </c:pt>
                <c:pt idx="11865">
                  <c:v>0.21161048689138501</c:v>
                </c:pt>
                <c:pt idx="11866">
                  <c:v>0.211628321740681</c:v>
                </c:pt>
                <c:pt idx="11867">
                  <c:v>0.21164615658997599</c:v>
                </c:pt>
                <c:pt idx="11868">
                  <c:v>0.211663991439272</c:v>
                </c:pt>
                <c:pt idx="11869">
                  <c:v>0.21168182628856699</c:v>
                </c:pt>
                <c:pt idx="11870">
                  <c:v>0.21169966113786301</c:v>
                </c:pt>
                <c:pt idx="11871">
                  <c:v>0.211717495987158</c:v>
                </c:pt>
                <c:pt idx="11872">
                  <c:v>0.21173533083645399</c:v>
                </c:pt>
                <c:pt idx="11873">
                  <c:v>0.21175316568574901</c:v>
                </c:pt>
                <c:pt idx="11874">
                  <c:v>0.211771000535045</c:v>
                </c:pt>
                <c:pt idx="11875">
                  <c:v>0.21178883538434101</c:v>
                </c:pt>
                <c:pt idx="11876">
                  <c:v>0.211806670233636</c:v>
                </c:pt>
                <c:pt idx="11877">
                  <c:v>0.21182450508293199</c:v>
                </c:pt>
                <c:pt idx="11878">
                  <c:v>0.21184233993222701</c:v>
                </c:pt>
                <c:pt idx="11879">
                  <c:v>0.211860174781523</c:v>
                </c:pt>
                <c:pt idx="11880">
                  <c:v>0.21187800963081799</c:v>
                </c:pt>
                <c:pt idx="11881">
                  <c:v>0.211895844480114</c:v>
                </c:pt>
                <c:pt idx="11882">
                  <c:v>0.21191367932940899</c:v>
                </c:pt>
                <c:pt idx="11883">
                  <c:v>0.21193151417870501</c:v>
                </c:pt>
                <c:pt idx="11884">
                  <c:v>0.211949349028</c:v>
                </c:pt>
                <c:pt idx="11885">
                  <c:v>0.21196718387729599</c:v>
                </c:pt>
                <c:pt idx="11886">
                  <c:v>0.21198501872659101</c:v>
                </c:pt>
                <c:pt idx="11887">
                  <c:v>0.212002853575887</c:v>
                </c:pt>
                <c:pt idx="11888">
                  <c:v>0.21202068842518201</c:v>
                </c:pt>
                <c:pt idx="11889">
                  <c:v>0.212038523274478</c:v>
                </c:pt>
                <c:pt idx="11890">
                  <c:v>0.21205635812377299</c:v>
                </c:pt>
                <c:pt idx="11891">
                  <c:v>0.21207419297306901</c:v>
                </c:pt>
                <c:pt idx="11892">
                  <c:v>0.212092027822364</c:v>
                </c:pt>
                <c:pt idx="11893">
                  <c:v>0.21210986267165999</c:v>
                </c:pt>
                <c:pt idx="11894">
                  <c:v>0.21212769752095501</c:v>
                </c:pt>
                <c:pt idx="11895">
                  <c:v>0.21214553237025099</c:v>
                </c:pt>
                <c:pt idx="11896">
                  <c:v>0.21216336721954601</c:v>
                </c:pt>
                <c:pt idx="11897">
                  <c:v>0.212181202068842</c:v>
                </c:pt>
                <c:pt idx="11898">
                  <c:v>0.21219903691813799</c:v>
                </c:pt>
                <c:pt idx="11899">
                  <c:v>0.21221687176743301</c:v>
                </c:pt>
                <c:pt idx="11900">
                  <c:v>0.212234706616729</c:v>
                </c:pt>
                <c:pt idx="11901">
                  <c:v>0.21225254146602399</c:v>
                </c:pt>
                <c:pt idx="11902">
                  <c:v>0.21227037631532</c:v>
                </c:pt>
                <c:pt idx="11903">
                  <c:v>0.21228821116461499</c:v>
                </c:pt>
                <c:pt idx="11904">
                  <c:v>0.21230604601391101</c:v>
                </c:pt>
                <c:pt idx="11905">
                  <c:v>0.212323880863206</c:v>
                </c:pt>
                <c:pt idx="11906">
                  <c:v>0.21234171571250199</c:v>
                </c:pt>
                <c:pt idx="11907">
                  <c:v>0.21235955056179701</c:v>
                </c:pt>
                <c:pt idx="11908">
                  <c:v>0.21237738541109299</c:v>
                </c:pt>
                <c:pt idx="11909">
                  <c:v>0.21239522026038801</c:v>
                </c:pt>
                <c:pt idx="11910">
                  <c:v>0.212413055109684</c:v>
                </c:pt>
                <c:pt idx="11911">
                  <c:v>0.21243088995897899</c:v>
                </c:pt>
                <c:pt idx="11912">
                  <c:v>0.21244872480827501</c:v>
                </c:pt>
                <c:pt idx="11913">
                  <c:v>0.21246655965757</c:v>
                </c:pt>
                <c:pt idx="11914">
                  <c:v>0.21248439450686599</c:v>
                </c:pt>
                <c:pt idx="11915">
                  <c:v>0.212502229356161</c:v>
                </c:pt>
                <c:pt idx="11916">
                  <c:v>0.21252006420545699</c:v>
                </c:pt>
                <c:pt idx="11917">
                  <c:v>0.21253789905475201</c:v>
                </c:pt>
                <c:pt idx="11918">
                  <c:v>0.212555733904048</c:v>
                </c:pt>
                <c:pt idx="11919">
                  <c:v>0.21257356875334399</c:v>
                </c:pt>
                <c:pt idx="11920">
                  <c:v>0.21259140360263901</c:v>
                </c:pt>
                <c:pt idx="11921">
                  <c:v>0.212609238451935</c:v>
                </c:pt>
                <c:pt idx="11922">
                  <c:v>0.21262707330123001</c:v>
                </c:pt>
                <c:pt idx="11923">
                  <c:v>0.212644908150526</c:v>
                </c:pt>
                <c:pt idx="11924">
                  <c:v>0.21266274299982099</c:v>
                </c:pt>
                <c:pt idx="11925">
                  <c:v>0.21268057784911701</c:v>
                </c:pt>
                <c:pt idx="11926">
                  <c:v>0.212698412698412</c:v>
                </c:pt>
                <c:pt idx="11927">
                  <c:v>0.21271624754770799</c:v>
                </c:pt>
                <c:pt idx="11928">
                  <c:v>0.212734082397003</c:v>
                </c:pt>
                <c:pt idx="11929">
                  <c:v>0.21275191724629899</c:v>
                </c:pt>
                <c:pt idx="11930">
                  <c:v>0.21276975209559401</c:v>
                </c:pt>
                <c:pt idx="11931">
                  <c:v>0.21278758694489</c:v>
                </c:pt>
                <c:pt idx="11932">
                  <c:v>0.21280542179418499</c:v>
                </c:pt>
                <c:pt idx="11933">
                  <c:v>0.21282325664348101</c:v>
                </c:pt>
                <c:pt idx="11934">
                  <c:v>0.212841091492776</c:v>
                </c:pt>
                <c:pt idx="11935">
                  <c:v>0.21285892634207201</c:v>
                </c:pt>
                <c:pt idx="11936">
                  <c:v>0.212876761191367</c:v>
                </c:pt>
                <c:pt idx="11937">
                  <c:v>0.21289459604066299</c:v>
                </c:pt>
                <c:pt idx="11938">
                  <c:v>0.21291243088995801</c:v>
                </c:pt>
                <c:pt idx="11939">
                  <c:v>0.212930265739254</c:v>
                </c:pt>
                <c:pt idx="11940">
                  <c:v>0.21294810058854999</c:v>
                </c:pt>
                <c:pt idx="11941">
                  <c:v>0.21296593543784501</c:v>
                </c:pt>
                <c:pt idx="11942">
                  <c:v>0.21298377028714099</c:v>
                </c:pt>
                <c:pt idx="11943">
                  <c:v>0.21300160513643601</c:v>
                </c:pt>
                <c:pt idx="11944">
                  <c:v>0.213019439985732</c:v>
                </c:pt>
                <c:pt idx="11945">
                  <c:v>0.21303727483502699</c:v>
                </c:pt>
                <c:pt idx="11946">
                  <c:v>0.21305510968432301</c:v>
                </c:pt>
                <c:pt idx="11947">
                  <c:v>0.213072944533618</c:v>
                </c:pt>
                <c:pt idx="11948">
                  <c:v>0.21309077938291399</c:v>
                </c:pt>
                <c:pt idx="11949">
                  <c:v>0.213108614232209</c:v>
                </c:pt>
                <c:pt idx="11950">
                  <c:v>0.21312644908150499</c:v>
                </c:pt>
                <c:pt idx="11951">
                  <c:v>0.21314428393080001</c:v>
                </c:pt>
                <c:pt idx="11952">
                  <c:v>0.213162118780096</c:v>
                </c:pt>
                <c:pt idx="11953">
                  <c:v>0.21317995362939099</c:v>
                </c:pt>
                <c:pt idx="11954">
                  <c:v>0.21319778847868701</c:v>
                </c:pt>
                <c:pt idx="11955">
                  <c:v>0.213215623327982</c:v>
                </c:pt>
                <c:pt idx="11956">
                  <c:v>0.21323345817727801</c:v>
                </c:pt>
                <c:pt idx="11957">
                  <c:v>0.213251293026573</c:v>
                </c:pt>
                <c:pt idx="11958">
                  <c:v>0.21326912787586899</c:v>
                </c:pt>
                <c:pt idx="11959">
                  <c:v>0.21328696272516401</c:v>
                </c:pt>
                <c:pt idx="11960">
                  <c:v>0.21330479757446</c:v>
                </c:pt>
                <c:pt idx="11961">
                  <c:v>0.21332263242375599</c:v>
                </c:pt>
                <c:pt idx="11962">
                  <c:v>0.213340467273051</c:v>
                </c:pt>
                <c:pt idx="11963">
                  <c:v>0.21335830212234699</c:v>
                </c:pt>
                <c:pt idx="11964">
                  <c:v>0.21337613697164201</c:v>
                </c:pt>
                <c:pt idx="11965">
                  <c:v>0.213393971820938</c:v>
                </c:pt>
                <c:pt idx="11966">
                  <c:v>0.21341180667023299</c:v>
                </c:pt>
                <c:pt idx="11967">
                  <c:v>0.21342964151952901</c:v>
                </c:pt>
                <c:pt idx="11968">
                  <c:v>0.213447476368824</c:v>
                </c:pt>
                <c:pt idx="11969">
                  <c:v>0.21346531121812001</c:v>
                </c:pt>
                <c:pt idx="11970">
                  <c:v>0.213483146067415</c:v>
                </c:pt>
                <c:pt idx="11971">
                  <c:v>0.21350098091671099</c:v>
                </c:pt>
                <c:pt idx="11972">
                  <c:v>0.21351881576600601</c:v>
                </c:pt>
                <c:pt idx="11973">
                  <c:v>0.213536650615302</c:v>
                </c:pt>
                <c:pt idx="11974">
                  <c:v>0.21355448546459699</c:v>
                </c:pt>
                <c:pt idx="11975">
                  <c:v>0.213572320313893</c:v>
                </c:pt>
                <c:pt idx="11976">
                  <c:v>0.21359015516318799</c:v>
                </c:pt>
                <c:pt idx="11977">
                  <c:v>0.21360799001248401</c:v>
                </c:pt>
                <c:pt idx="11978">
                  <c:v>0.213625824861779</c:v>
                </c:pt>
                <c:pt idx="11979">
                  <c:v>0.21364365971107499</c:v>
                </c:pt>
                <c:pt idx="11980">
                  <c:v>0.21366149456037001</c:v>
                </c:pt>
                <c:pt idx="11981">
                  <c:v>0.213679329409666</c:v>
                </c:pt>
                <c:pt idx="11982">
                  <c:v>0.21369716425896201</c:v>
                </c:pt>
                <c:pt idx="11983">
                  <c:v>0.213714999108257</c:v>
                </c:pt>
                <c:pt idx="11984">
                  <c:v>0.21373283395755299</c:v>
                </c:pt>
                <c:pt idx="11985">
                  <c:v>0.21375066880684801</c:v>
                </c:pt>
                <c:pt idx="11986">
                  <c:v>0.213768503656144</c:v>
                </c:pt>
                <c:pt idx="11987">
                  <c:v>0.21378633850543899</c:v>
                </c:pt>
                <c:pt idx="11988">
                  <c:v>0.21380417335473501</c:v>
                </c:pt>
                <c:pt idx="11989">
                  <c:v>0.21382200820403</c:v>
                </c:pt>
                <c:pt idx="11990">
                  <c:v>0.21383984305332601</c:v>
                </c:pt>
                <c:pt idx="11991">
                  <c:v>0.213857677902621</c:v>
                </c:pt>
                <c:pt idx="11992">
                  <c:v>0.21387551275191699</c:v>
                </c:pt>
                <c:pt idx="11993">
                  <c:v>0.21389334760121201</c:v>
                </c:pt>
                <c:pt idx="11994">
                  <c:v>0.213911182450508</c:v>
                </c:pt>
                <c:pt idx="11995">
                  <c:v>0.21392901729980299</c:v>
                </c:pt>
                <c:pt idx="11996">
                  <c:v>0.213946852149099</c:v>
                </c:pt>
                <c:pt idx="11997">
                  <c:v>0.21396468699839399</c:v>
                </c:pt>
                <c:pt idx="11998">
                  <c:v>0.21398252184769001</c:v>
                </c:pt>
                <c:pt idx="11999">
                  <c:v>0.214000356696985</c:v>
                </c:pt>
                <c:pt idx="12000">
                  <c:v>0.21401819154628099</c:v>
                </c:pt>
                <c:pt idx="12001">
                  <c:v>0.21403602639557601</c:v>
                </c:pt>
                <c:pt idx="12002">
                  <c:v>0.214053861244872</c:v>
                </c:pt>
                <c:pt idx="12003">
                  <c:v>0.21407169609416801</c:v>
                </c:pt>
                <c:pt idx="12004">
                  <c:v>0.214089530943463</c:v>
                </c:pt>
                <c:pt idx="12005">
                  <c:v>0.21410736579275899</c:v>
                </c:pt>
                <c:pt idx="12006">
                  <c:v>0.21412520064205401</c:v>
                </c:pt>
                <c:pt idx="12007">
                  <c:v>0.21414303549135</c:v>
                </c:pt>
                <c:pt idx="12008">
                  <c:v>0.21416087034064499</c:v>
                </c:pt>
                <c:pt idx="12009">
                  <c:v>0.214178705189941</c:v>
                </c:pt>
                <c:pt idx="12010">
                  <c:v>0.21419654003923599</c:v>
                </c:pt>
                <c:pt idx="12011">
                  <c:v>0.21421437488853201</c:v>
                </c:pt>
                <c:pt idx="12012">
                  <c:v>0.214232209737827</c:v>
                </c:pt>
                <c:pt idx="12013">
                  <c:v>0.21425004458712299</c:v>
                </c:pt>
                <c:pt idx="12014">
                  <c:v>0.21426787943641801</c:v>
                </c:pt>
                <c:pt idx="12015">
                  <c:v>0.214285714285714</c:v>
                </c:pt>
                <c:pt idx="12016">
                  <c:v>0.21430354913500901</c:v>
                </c:pt>
                <c:pt idx="12017">
                  <c:v>0.214321383984305</c:v>
                </c:pt>
                <c:pt idx="12018">
                  <c:v>0.21433921883359999</c:v>
                </c:pt>
                <c:pt idx="12019">
                  <c:v>0.21435705368289601</c:v>
                </c:pt>
                <c:pt idx="12020">
                  <c:v>0.214374888532191</c:v>
                </c:pt>
                <c:pt idx="12021">
                  <c:v>0.21439272338148699</c:v>
                </c:pt>
                <c:pt idx="12022">
                  <c:v>0.21441055823078201</c:v>
                </c:pt>
                <c:pt idx="12023">
                  <c:v>0.21442839308007799</c:v>
                </c:pt>
                <c:pt idx="12024">
                  <c:v>0.21444622792937301</c:v>
                </c:pt>
                <c:pt idx="12025">
                  <c:v>0.214464062778669</c:v>
                </c:pt>
                <c:pt idx="12026">
                  <c:v>0.21448189762796499</c:v>
                </c:pt>
                <c:pt idx="12027">
                  <c:v>0.21449973247726001</c:v>
                </c:pt>
                <c:pt idx="12028">
                  <c:v>0.214517567326556</c:v>
                </c:pt>
                <c:pt idx="12029">
                  <c:v>0.21453540217585099</c:v>
                </c:pt>
                <c:pt idx="12030">
                  <c:v>0.214553237025147</c:v>
                </c:pt>
                <c:pt idx="12031">
                  <c:v>0.21457107187444199</c:v>
                </c:pt>
                <c:pt idx="12032">
                  <c:v>0.21458890672373801</c:v>
                </c:pt>
                <c:pt idx="12033">
                  <c:v>0.214606741573033</c:v>
                </c:pt>
                <c:pt idx="12034">
                  <c:v>0.21462457642232899</c:v>
                </c:pt>
                <c:pt idx="12035">
                  <c:v>0.21464241127162401</c:v>
                </c:pt>
                <c:pt idx="12036">
                  <c:v>0.21466024612092</c:v>
                </c:pt>
                <c:pt idx="12037">
                  <c:v>0.21467808097021501</c:v>
                </c:pt>
                <c:pt idx="12038">
                  <c:v>0.214695915819511</c:v>
                </c:pt>
                <c:pt idx="12039">
                  <c:v>0.21471375066880599</c:v>
                </c:pt>
                <c:pt idx="12040">
                  <c:v>0.21473158551810201</c:v>
                </c:pt>
                <c:pt idx="12041">
                  <c:v>0.214749420367397</c:v>
                </c:pt>
                <c:pt idx="12042">
                  <c:v>0.21476725521669299</c:v>
                </c:pt>
                <c:pt idx="12043">
                  <c:v>0.214785090065988</c:v>
                </c:pt>
                <c:pt idx="12044">
                  <c:v>0.21480292491528399</c:v>
                </c:pt>
                <c:pt idx="12045">
                  <c:v>0.21482075976457901</c:v>
                </c:pt>
                <c:pt idx="12046">
                  <c:v>0.214838594613875</c:v>
                </c:pt>
                <c:pt idx="12047">
                  <c:v>0.21485642946317099</c:v>
                </c:pt>
                <c:pt idx="12048">
                  <c:v>0.21487426431246601</c:v>
                </c:pt>
                <c:pt idx="12049">
                  <c:v>0.214892099161762</c:v>
                </c:pt>
                <c:pt idx="12050">
                  <c:v>0.21490993401105701</c:v>
                </c:pt>
                <c:pt idx="12051">
                  <c:v>0.214927768860353</c:v>
                </c:pt>
                <c:pt idx="12052">
                  <c:v>0.21494560370964799</c:v>
                </c:pt>
                <c:pt idx="12053">
                  <c:v>0.21496343855894401</c:v>
                </c:pt>
                <c:pt idx="12054">
                  <c:v>0.214981273408239</c:v>
                </c:pt>
                <c:pt idx="12055">
                  <c:v>0.21499910825753499</c:v>
                </c:pt>
                <c:pt idx="12056">
                  <c:v>0.21501694310683001</c:v>
                </c:pt>
                <c:pt idx="12057">
                  <c:v>0.21503477795612599</c:v>
                </c:pt>
                <c:pt idx="12058">
                  <c:v>0.21505261280542101</c:v>
                </c:pt>
                <c:pt idx="12059">
                  <c:v>0.215070447654717</c:v>
                </c:pt>
                <c:pt idx="12060">
                  <c:v>0.21508828250401199</c:v>
                </c:pt>
                <c:pt idx="12061">
                  <c:v>0.21510611735330801</c:v>
                </c:pt>
                <c:pt idx="12062">
                  <c:v>0.215123952202603</c:v>
                </c:pt>
                <c:pt idx="12063">
                  <c:v>0.21514178705189901</c:v>
                </c:pt>
                <c:pt idx="12064">
                  <c:v>0.215159621901194</c:v>
                </c:pt>
                <c:pt idx="12065">
                  <c:v>0.21517745675048999</c:v>
                </c:pt>
                <c:pt idx="12066">
                  <c:v>0.21519529159978501</c:v>
                </c:pt>
                <c:pt idx="12067">
                  <c:v>0.215213126449081</c:v>
                </c:pt>
                <c:pt idx="12068">
                  <c:v>0.21523096129837699</c:v>
                </c:pt>
                <c:pt idx="12069">
                  <c:v>0.21524879614767201</c:v>
                </c:pt>
                <c:pt idx="12070">
                  <c:v>0.21526663099696799</c:v>
                </c:pt>
                <c:pt idx="12071">
                  <c:v>0.21528446584626301</c:v>
                </c:pt>
                <c:pt idx="12072">
                  <c:v>0.215302300695559</c:v>
                </c:pt>
                <c:pt idx="12073">
                  <c:v>0.21532013554485399</c:v>
                </c:pt>
                <c:pt idx="12074">
                  <c:v>0.21533797039415001</c:v>
                </c:pt>
                <c:pt idx="12075">
                  <c:v>0.215355805243445</c:v>
                </c:pt>
                <c:pt idx="12076">
                  <c:v>0.21537364009274099</c:v>
                </c:pt>
                <c:pt idx="12077">
                  <c:v>0.215391474942036</c:v>
                </c:pt>
                <c:pt idx="12078">
                  <c:v>0.21540930979133199</c:v>
                </c:pt>
                <c:pt idx="12079">
                  <c:v>0.21542714464062701</c:v>
                </c:pt>
                <c:pt idx="12080">
                  <c:v>0.215444979489923</c:v>
                </c:pt>
                <c:pt idx="12081">
                  <c:v>0.21546281433921799</c:v>
                </c:pt>
                <c:pt idx="12082">
                  <c:v>0.21548064918851401</c:v>
                </c:pt>
                <c:pt idx="12083">
                  <c:v>0.215498484037809</c:v>
                </c:pt>
                <c:pt idx="12084">
                  <c:v>0.21551631888710501</c:v>
                </c:pt>
                <c:pt idx="12085">
                  <c:v>0.2155341537364</c:v>
                </c:pt>
                <c:pt idx="12086">
                  <c:v>0.21555198858569599</c:v>
                </c:pt>
                <c:pt idx="12087">
                  <c:v>0.21556982343499101</c:v>
                </c:pt>
                <c:pt idx="12088">
                  <c:v>0.215587658284287</c:v>
                </c:pt>
                <c:pt idx="12089">
                  <c:v>0.21560549313358299</c:v>
                </c:pt>
                <c:pt idx="12090">
                  <c:v>0.215623327982878</c:v>
                </c:pt>
                <c:pt idx="12091">
                  <c:v>0.21564116283217399</c:v>
                </c:pt>
                <c:pt idx="12092">
                  <c:v>0.21565899768146901</c:v>
                </c:pt>
                <c:pt idx="12093">
                  <c:v>0.215676832530765</c:v>
                </c:pt>
                <c:pt idx="12094">
                  <c:v>0.21569466738005999</c:v>
                </c:pt>
                <c:pt idx="12095">
                  <c:v>0.21571250222935601</c:v>
                </c:pt>
                <c:pt idx="12096">
                  <c:v>0.215730337078651</c:v>
                </c:pt>
                <c:pt idx="12097">
                  <c:v>0.21574817192794701</c:v>
                </c:pt>
                <c:pt idx="12098">
                  <c:v>0.215766006777242</c:v>
                </c:pt>
                <c:pt idx="12099">
                  <c:v>0.21578384162653799</c:v>
                </c:pt>
                <c:pt idx="12100">
                  <c:v>0.21580167647583301</c:v>
                </c:pt>
                <c:pt idx="12101">
                  <c:v>0.215819511325129</c:v>
                </c:pt>
                <c:pt idx="12102">
                  <c:v>0.21583734617442399</c:v>
                </c:pt>
                <c:pt idx="12103">
                  <c:v>0.21585518102372001</c:v>
                </c:pt>
                <c:pt idx="12104">
                  <c:v>0.215873015873015</c:v>
                </c:pt>
                <c:pt idx="12105">
                  <c:v>0.21589085072231101</c:v>
                </c:pt>
                <c:pt idx="12106">
                  <c:v>0.215908685571606</c:v>
                </c:pt>
                <c:pt idx="12107">
                  <c:v>0.21592652042090199</c:v>
                </c:pt>
                <c:pt idx="12108">
                  <c:v>0.21594435527019701</c:v>
                </c:pt>
                <c:pt idx="12109">
                  <c:v>0.215962190119493</c:v>
                </c:pt>
                <c:pt idx="12110">
                  <c:v>0.21598002496878899</c:v>
                </c:pt>
                <c:pt idx="12111">
                  <c:v>0.215997859818084</c:v>
                </c:pt>
                <c:pt idx="12112">
                  <c:v>0.21601569466737999</c:v>
                </c:pt>
                <c:pt idx="12113">
                  <c:v>0.21603352951667501</c:v>
                </c:pt>
                <c:pt idx="12114">
                  <c:v>0.216051364365971</c:v>
                </c:pt>
                <c:pt idx="12115">
                  <c:v>0.21606919921526599</c:v>
                </c:pt>
                <c:pt idx="12116">
                  <c:v>0.21608703406456201</c:v>
                </c:pt>
                <c:pt idx="12117">
                  <c:v>0.216104868913857</c:v>
                </c:pt>
                <c:pt idx="12118">
                  <c:v>0.21612270376315301</c:v>
                </c:pt>
                <c:pt idx="12119">
                  <c:v>0.216140538612448</c:v>
                </c:pt>
                <c:pt idx="12120">
                  <c:v>0.21615837346174399</c:v>
                </c:pt>
                <c:pt idx="12121">
                  <c:v>0.21617620831103901</c:v>
                </c:pt>
                <c:pt idx="12122">
                  <c:v>0.216194043160335</c:v>
                </c:pt>
                <c:pt idx="12123">
                  <c:v>0.21621187800962999</c:v>
                </c:pt>
                <c:pt idx="12124">
                  <c:v>0.216229712858926</c:v>
                </c:pt>
                <c:pt idx="12125">
                  <c:v>0.21624754770822099</c:v>
                </c:pt>
                <c:pt idx="12126">
                  <c:v>0.21626538255751701</c:v>
                </c:pt>
                <c:pt idx="12127">
                  <c:v>0.216283217406812</c:v>
                </c:pt>
                <c:pt idx="12128">
                  <c:v>0.21630105225610799</c:v>
                </c:pt>
                <c:pt idx="12129">
                  <c:v>0.21631888710540301</c:v>
                </c:pt>
                <c:pt idx="12130">
                  <c:v>0.216336721954699</c:v>
                </c:pt>
                <c:pt idx="12131">
                  <c:v>0.21635455680399501</c:v>
                </c:pt>
                <c:pt idx="12132">
                  <c:v>0.21637239165329</c:v>
                </c:pt>
                <c:pt idx="12133">
                  <c:v>0.21639022650258599</c:v>
                </c:pt>
                <c:pt idx="12134">
                  <c:v>0.21640806135188101</c:v>
                </c:pt>
                <c:pt idx="12135">
                  <c:v>0.216425896201177</c:v>
                </c:pt>
                <c:pt idx="12136">
                  <c:v>0.21644373105047199</c:v>
                </c:pt>
                <c:pt idx="12137">
                  <c:v>0.216461565899768</c:v>
                </c:pt>
                <c:pt idx="12138">
                  <c:v>0.21647940074906299</c:v>
                </c:pt>
                <c:pt idx="12139">
                  <c:v>0.21649723559835901</c:v>
                </c:pt>
                <c:pt idx="12140">
                  <c:v>0.216515070447654</c:v>
                </c:pt>
                <c:pt idx="12141">
                  <c:v>0.21653290529694999</c:v>
                </c:pt>
                <c:pt idx="12142">
                  <c:v>0.21655074014624501</c:v>
                </c:pt>
                <c:pt idx="12143">
                  <c:v>0.216568574995541</c:v>
                </c:pt>
                <c:pt idx="12144">
                  <c:v>0.21658640984483599</c:v>
                </c:pt>
                <c:pt idx="12145">
                  <c:v>0.216604244694132</c:v>
                </c:pt>
                <c:pt idx="12146">
                  <c:v>0.21662207954342699</c:v>
                </c:pt>
                <c:pt idx="12147">
                  <c:v>0.21663991439272301</c:v>
                </c:pt>
                <c:pt idx="12148">
                  <c:v>0.216657749242018</c:v>
                </c:pt>
                <c:pt idx="12149">
                  <c:v>0.21667558409131399</c:v>
                </c:pt>
                <c:pt idx="12150">
                  <c:v>0.21669341894060901</c:v>
                </c:pt>
                <c:pt idx="12151">
                  <c:v>0.216711253789905</c:v>
                </c:pt>
                <c:pt idx="12152">
                  <c:v>0.21672908863920101</c:v>
                </c:pt>
                <c:pt idx="12153">
                  <c:v>0.216746923488496</c:v>
                </c:pt>
                <c:pt idx="12154">
                  <c:v>0.21676475833779199</c:v>
                </c:pt>
                <c:pt idx="12155">
                  <c:v>0.21678259318708701</c:v>
                </c:pt>
                <c:pt idx="12156">
                  <c:v>0.216800428036383</c:v>
                </c:pt>
                <c:pt idx="12157">
                  <c:v>0.21681826288567799</c:v>
                </c:pt>
                <c:pt idx="12158">
                  <c:v>0.216836097734974</c:v>
                </c:pt>
                <c:pt idx="12159">
                  <c:v>0.21685393258426899</c:v>
                </c:pt>
                <c:pt idx="12160">
                  <c:v>0.21687176743356501</c:v>
                </c:pt>
                <c:pt idx="12161">
                  <c:v>0.21688960228286</c:v>
                </c:pt>
                <c:pt idx="12162">
                  <c:v>0.21690743713215599</c:v>
                </c:pt>
                <c:pt idx="12163">
                  <c:v>0.21692527198145101</c:v>
                </c:pt>
                <c:pt idx="12164">
                  <c:v>0.216943106830747</c:v>
                </c:pt>
                <c:pt idx="12165">
                  <c:v>0.21696094168004201</c:v>
                </c:pt>
                <c:pt idx="12166">
                  <c:v>0.216978776529338</c:v>
                </c:pt>
                <c:pt idx="12167">
                  <c:v>0.21699661137863299</c:v>
                </c:pt>
                <c:pt idx="12168">
                  <c:v>0.21701444622792901</c:v>
                </c:pt>
                <c:pt idx="12169">
                  <c:v>0.217032281077224</c:v>
                </c:pt>
                <c:pt idx="12170">
                  <c:v>0.21705011592651999</c:v>
                </c:pt>
                <c:pt idx="12171">
                  <c:v>0.21706795077581501</c:v>
                </c:pt>
                <c:pt idx="12172">
                  <c:v>0.21708578562511099</c:v>
                </c:pt>
                <c:pt idx="12173">
                  <c:v>0.21710362047440601</c:v>
                </c:pt>
                <c:pt idx="12174">
                  <c:v>0.217121455323702</c:v>
                </c:pt>
                <c:pt idx="12175">
                  <c:v>0.21713929017299799</c:v>
                </c:pt>
                <c:pt idx="12176">
                  <c:v>0.21715712502229301</c:v>
                </c:pt>
                <c:pt idx="12177">
                  <c:v>0.217174959871589</c:v>
                </c:pt>
                <c:pt idx="12178">
                  <c:v>0.21719279472088401</c:v>
                </c:pt>
                <c:pt idx="12179">
                  <c:v>0.21721062957018</c:v>
                </c:pt>
                <c:pt idx="12180">
                  <c:v>0.21722846441947499</c:v>
                </c:pt>
                <c:pt idx="12181">
                  <c:v>0.21724629926877101</c:v>
                </c:pt>
                <c:pt idx="12182">
                  <c:v>0.217264134118066</c:v>
                </c:pt>
                <c:pt idx="12183">
                  <c:v>0.21728196896736199</c:v>
                </c:pt>
                <c:pt idx="12184">
                  <c:v>0.21729980381665701</c:v>
                </c:pt>
                <c:pt idx="12185">
                  <c:v>0.21731763866595299</c:v>
                </c:pt>
                <c:pt idx="12186">
                  <c:v>0.21733547351524801</c:v>
                </c:pt>
                <c:pt idx="12187">
                  <c:v>0.217353308364544</c:v>
                </c:pt>
                <c:pt idx="12188">
                  <c:v>0.21737114321383899</c:v>
                </c:pt>
                <c:pt idx="12189">
                  <c:v>0.21738897806313501</c:v>
                </c:pt>
                <c:pt idx="12190">
                  <c:v>0.21740681291243</c:v>
                </c:pt>
                <c:pt idx="12191">
                  <c:v>0.21742464776172599</c:v>
                </c:pt>
                <c:pt idx="12192">
                  <c:v>0.217442482611021</c:v>
                </c:pt>
                <c:pt idx="12193">
                  <c:v>0.21746031746031699</c:v>
                </c:pt>
                <c:pt idx="12194">
                  <c:v>0.21747815230961201</c:v>
                </c:pt>
                <c:pt idx="12195">
                  <c:v>0.217495987158908</c:v>
                </c:pt>
                <c:pt idx="12196">
                  <c:v>0.21751382200820399</c:v>
                </c:pt>
                <c:pt idx="12197">
                  <c:v>0.21753165685749901</c:v>
                </c:pt>
                <c:pt idx="12198">
                  <c:v>0.217549491706795</c:v>
                </c:pt>
                <c:pt idx="12199">
                  <c:v>0.21756732655609001</c:v>
                </c:pt>
                <c:pt idx="12200">
                  <c:v>0.217585161405386</c:v>
                </c:pt>
                <c:pt idx="12201">
                  <c:v>0.21760299625468099</c:v>
                </c:pt>
                <c:pt idx="12202">
                  <c:v>0.21762083110397701</c:v>
                </c:pt>
                <c:pt idx="12203">
                  <c:v>0.217638665953272</c:v>
                </c:pt>
                <c:pt idx="12204">
                  <c:v>0.21765650080256799</c:v>
                </c:pt>
                <c:pt idx="12205">
                  <c:v>0.217674335651863</c:v>
                </c:pt>
                <c:pt idx="12206">
                  <c:v>0.21769217050115899</c:v>
                </c:pt>
                <c:pt idx="12207">
                  <c:v>0.21771000535045401</c:v>
                </c:pt>
                <c:pt idx="12208">
                  <c:v>0.21772784019975</c:v>
                </c:pt>
                <c:pt idx="12209">
                  <c:v>0.21774567504904499</c:v>
                </c:pt>
                <c:pt idx="12210">
                  <c:v>0.21776350989834101</c:v>
                </c:pt>
                <c:pt idx="12211">
                  <c:v>0.217781344747636</c:v>
                </c:pt>
                <c:pt idx="12212">
                  <c:v>0.21779917959693201</c:v>
                </c:pt>
                <c:pt idx="12213">
                  <c:v>0.217817014446227</c:v>
                </c:pt>
                <c:pt idx="12214">
                  <c:v>0.21783484929552299</c:v>
                </c:pt>
                <c:pt idx="12215">
                  <c:v>0.21785268414481801</c:v>
                </c:pt>
                <c:pt idx="12216">
                  <c:v>0.217870518994114</c:v>
                </c:pt>
                <c:pt idx="12217">
                  <c:v>0.21788835384340999</c:v>
                </c:pt>
                <c:pt idx="12218">
                  <c:v>0.21790618869270501</c:v>
                </c:pt>
                <c:pt idx="12219">
                  <c:v>0.21792402354200099</c:v>
                </c:pt>
                <c:pt idx="12220">
                  <c:v>0.21794185839129601</c:v>
                </c:pt>
                <c:pt idx="12221">
                  <c:v>0.217959693240592</c:v>
                </c:pt>
                <c:pt idx="12222">
                  <c:v>0.21797752808988699</c:v>
                </c:pt>
                <c:pt idx="12223">
                  <c:v>0.21799536293918301</c:v>
                </c:pt>
                <c:pt idx="12224">
                  <c:v>0.218013197788478</c:v>
                </c:pt>
                <c:pt idx="12225">
                  <c:v>0.21803103263777401</c:v>
                </c:pt>
                <c:pt idx="12226">
                  <c:v>0.218048867487069</c:v>
                </c:pt>
                <c:pt idx="12227">
                  <c:v>0.21806670233636499</c:v>
                </c:pt>
                <c:pt idx="12228">
                  <c:v>0.21808453718566001</c:v>
                </c:pt>
                <c:pt idx="12229">
                  <c:v>0.218102372034956</c:v>
                </c:pt>
                <c:pt idx="12230">
                  <c:v>0.21812020688425099</c:v>
                </c:pt>
                <c:pt idx="12231">
                  <c:v>0.21813804173354701</c:v>
                </c:pt>
                <c:pt idx="12232">
                  <c:v>0.218155876582842</c:v>
                </c:pt>
                <c:pt idx="12233">
                  <c:v>0.21817371143213801</c:v>
                </c:pt>
                <c:pt idx="12234">
                  <c:v>0.218191546281433</c:v>
                </c:pt>
                <c:pt idx="12235">
                  <c:v>0.21820938113072899</c:v>
                </c:pt>
                <c:pt idx="12236">
                  <c:v>0.21822721598002401</c:v>
                </c:pt>
                <c:pt idx="12237">
                  <c:v>0.21824505082932</c:v>
                </c:pt>
                <c:pt idx="12238">
                  <c:v>0.21826288567861599</c:v>
                </c:pt>
                <c:pt idx="12239">
                  <c:v>0.218280720527911</c:v>
                </c:pt>
                <c:pt idx="12240">
                  <c:v>0.21829855537720699</c:v>
                </c:pt>
                <c:pt idx="12241">
                  <c:v>0.21831639022650201</c:v>
                </c:pt>
                <c:pt idx="12242">
                  <c:v>0.218334225075798</c:v>
                </c:pt>
                <c:pt idx="12243">
                  <c:v>0.21835205992509299</c:v>
                </c:pt>
                <c:pt idx="12244">
                  <c:v>0.21836989477438901</c:v>
                </c:pt>
                <c:pt idx="12245">
                  <c:v>0.218387729623684</c:v>
                </c:pt>
                <c:pt idx="12246">
                  <c:v>0.21840556447298001</c:v>
                </c:pt>
                <c:pt idx="12247">
                  <c:v>0.218423399322275</c:v>
                </c:pt>
                <c:pt idx="12248">
                  <c:v>0.21844123417157099</c:v>
                </c:pt>
                <c:pt idx="12249">
                  <c:v>0.21845906902086601</c:v>
                </c:pt>
                <c:pt idx="12250">
                  <c:v>0.218476903870162</c:v>
                </c:pt>
                <c:pt idx="12251">
                  <c:v>0.21849473871945699</c:v>
                </c:pt>
                <c:pt idx="12252">
                  <c:v>0.218512573568753</c:v>
                </c:pt>
                <c:pt idx="12253">
                  <c:v>0.21853040841804799</c:v>
                </c:pt>
                <c:pt idx="12254">
                  <c:v>0.21854824326734401</c:v>
                </c:pt>
                <c:pt idx="12255">
                  <c:v>0.218566078116639</c:v>
                </c:pt>
                <c:pt idx="12256">
                  <c:v>0.21858391296593499</c:v>
                </c:pt>
                <c:pt idx="12257">
                  <c:v>0.21860174781523001</c:v>
                </c:pt>
                <c:pt idx="12258">
                  <c:v>0.218619582664526</c:v>
                </c:pt>
                <c:pt idx="12259">
                  <c:v>0.21863741751382201</c:v>
                </c:pt>
                <c:pt idx="12260">
                  <c:v>0.218655252363117</c:v>
                </c:pt>
                <c:pt idx="12261">
                  <c:v>0.21867308721241299</c:v>
                </c:pt>
                <c:pt idx="12262">
                  <c:v>0.21869092206170801</c:v>
                </c:pt>
                <c:pt idx="12263">
                  <c:v>0.218708756911004</c:v>
                </c:pt>
                <c:pt idx="12264">
                  <c:v>0.21872659176029899</c:v>
                </c:pt>
                <c:pt idx="12265">
                  <c:v>0.21874442660959501</c:v>
                </c:pt>
                <c:pt idx="12266">
                  <c:v>0.21876226145888999</c:v>
                </c:pt>
                <c:pt idx="12267">
                  <c:v>0.21878009630818601</c:v>
                </c:pt>
                <c:pt idx="12268">
                  <c:v>0.218797931157481</c:v>
                </c:pt>
                <c:pt idx="12269">
                  <c:v>0.21881576600677699</c:v>
                </c:pt>
                <c:pt idx="12270">
                  <c:v>0.21883360085607201</c:v>
                </c:pt>
                <c:pt idx="12271">
                  <c:v>0.218851435705368</c:v>
                </c:pt>
                <c:pt idx="12272">
                  <c:v>0.21886927055466299</c:v>
                </c:pt>
                <c:pt idx="12273">
                  <c:v>0.218887105403959</c:v>
                </c:pt>
                <c:pt idx="12274">
                  <c:v>0.21890494025325399</c:v>
                </c:pt>
                <c:pt idx="12275">
                  <c:v>0.21892277510255001</c:v>
                </c:pt>
                <c:pt idx="12276">
                  <c:v>0.218940609951845</c:v>
                </c:pt>
                <c:pt idx="12277">
                  <c:v>0.21895844480114099</c:v>
                </c:pt>
                <c:pt idx="12278">
                  <c:v>0.21897627965043601</c:v>
                </c:pt>
                <c:pt idx="12279">
                  <c:v>0.218994114499732</c:v>
                </c:pt>
                <c:pt idx="12280">
                  <c:v>0.21901194934902801</c:v>
                </c:pt>
                <c:pt idx="12281">
                  <c:v>0.219029784198323</c:v>
                </c:pt>
                <c:pt idx="12282">
                  <c:v>0.21904761904761899</c:v>
                </c:pt>
                <c:pt idx="12283">
                  <c:v>0.21906545389691401</c:v>
                </c:pt>
                <c:pt idx="12284">
                  <c:v>0.21908328874621</c:v>
                </c:pt>
                <c:pt idx="12285">
                  <c:v>0.21910112359550499</c:v>
                </c:pt>
                <c:pt idx="12286">
                  <c:v>0.219118958444801</c:v>
                </c:pt>
                <c:pt idx="12287">
                  <c:v>0.21913679329409599</c:v>
                </c:pt>
                <c:pt idx="12288">
                  <c:v>0.21915462814339201</c:v>
                </c:pt>
                <c:pt idx="12289">
                  <c:v>0.219172462992687</c:v>
                </c:pt>
                <c:pt idx="12290">
                  <c:v>0.21919029784198299</c:v>
                </c:pt>
                <c:pt idx="12291">
                  <c:v>0.21920813269127801</c:v>
                </c:pt>
                <c:pt idx="12292">
                  <c:v>0.219225967540574</c:v>
                </c:pt>
                <c:pt idx="12293">
                  <c:v>0.21924380238986901</c:v>
                </c:pt>
                <c:pt idx="12294">
                  <c:v>0.219261637239165</c:v>
                </c:pt>
                <c:pt idx="12295">
                  <c:v>0.21927947208845999</c:v>
                </c:pt>
                <c:pt idx="12296">
                  <c:v>0.21929730693775601</c:v>
                </c:pt>
                <c:pt idx="12297">
                  <c:v>0.219315141787051</c:v>
                </c:pt>
                <c:pt idx="12298">
                  <c:v>0.21933297663634699</c:v>
                </c:pt>
                <c:pt idx="12299">
                  <c:v>0.21935081148564201</c:v>
                </c:pt>
                <c:pt idx="12300">
                  <c:v>0.21936864633493799</c:v>
                </c:pt>
                <c:pt idx="12301">
                  <c:v>0.21938648118423301</c:v>
                </c:pt>
                <c:pt idx="12302">
                  <c:v>0.219404316033529</c:v>
                </c:pt>
                <c:pt idx="12303">
                  <c:v>0.21942215088282499</c:v>
                </c:pt>
                <c:pt idx="12304">
                  <c:v>0.21943998573212001</c:v>
                </c:pt>
                <c:pt idx="12305">
                  <c:v>0.219457820581416</c:v>
                </c:pt>
                <c:pt idx="12306">
                  <c:v>0.21947565543071099</c:v>
                </c:pt>
                <c:pt idx="12307">
                  <c:v>0.219493490280007</c:v>
                </c:pt>
                <c:pt idx="12308">
                  <c:v>0.21951132512930199</c:v>
                </c:pt>
                <c:pt idx="12309">
                  <c:v>0.21952915997859801</c:v>
                </c:pt>
                <c:pt idx="12310">
                  <c:v>0.219546994827893</c:v>
                </c:pt>
                <c:pt idx="12311">
                  <c:v>0.21956482967718899</c:v>
                </c:pt>
                <c:pt idx="12312">
                  <c:v>0.21958266452648401</c:v>
                </c:pt>
                <c:pt idx="12313">
                  <c:v>0.21960049937578</c:v>
                </c:pt>
                <c:pt idx="12314">
                  <c:v>0.21961833422507501</c:v>
                </c:pt>
                <c:pt idx="12315">
                  <c:v>0.219636169074371</c:v>
                </c:pt>
                <c:pt idx="12316">
                  <c:v>0.21965400392366599</c:v>
                </c:pt>
                <c:pt idx="12317">
                  <c:v>0.21967183877296201</c:v>
                </c:pt>
                <c:pt idx="12318">
                  <c:v>0.219689673622257</c:v>
                </c:pt>
                <c:pt idx="12319">
                  <c:v>0.21970750847155299</c:v>
                </c:pt>
                <c:pt idx="12320">
                  <c:v>0.219725343320848</c:v>
                </c:pt>
                <c:pt idx="12321">
                  <c:v>0.21974317817014399</c:v>
                </c:pt>
                <c:pt idx="12322">
                  <c:v>0.21976101301943901</c:v>
                </c:pt>
                <c:pt idx="12323">
                  <c:v>0.219778847868735</c:v>
                </c:pt>
                <c:pt idx="12324">
                  <c:v>0.21979668271803099</c:v>
                </c:pt>
                <c:pt idx="12325">
                  <c:v>0.21981451756732601</c:v>
                </c:pt>
                <c:pt idx="12326">
                  <c:v>0.219832352416622</c:v>
                </c:pt>
                <c:pt idx="12327">
                  <c:v>0.21985018726591701</c:v>
                </c:pt>
                <c:pt idx="12328">
                  <c:v>0.219868022115213</c:v>
                </c:pt>
                <c:pt idx="12329">
                  <c:v>0.21988585696450799</c:v>
                </c:pt>
                <c:pt idx="12330">
                  <c:v>0.21990369181380401</c:v>
                </c:pt>
                <c:pt idx="12331">
                  <c:v>0.219921526663099</c:v>
                </c:pt>
                <c:pt idx="12332">
                  <c:v>0.21993936151239499</c:v>
                </c:pt>
                <c:pt idx="12333">
                  <c:v>0.21995719636169</c:v>
                </c:pt>
                <c:pt idx="12334">
                  <c:v>0.21997503121098599</c:v>
                </c:pt>
                <c:pt idx="12335">
                  <c:v>0.21999286606028101</c:v>
                </c:pt>
                <c:pt idx="12336">
                  <c:v>0.220010700909577</c:v>
                </c:pt>
                <c:pt idx="12337">
                  <c:v>0.22002853575887199</c:v>
                </c:pt>
                <c:pt idx="12338">
                  <c:v>0.22004637060816801</c:v>
                </c:pt>
                <c:pt idx="12339">
                  <c:v>0.220064205457463</c:v>
                </c:pt>
                <c:pt idx="12340">
                  <c:v>0.22008204030675901</c:v>
                </c:pt>
                <c:pt idx="12341">
                  <c:v>0.220099875156054</c:v>
                </c:pt>
                <c:pt idx="12342">
                  <c:v>0.22011771000534999</c:v>
                </c:pt>
                <c:pt idx="12343">
                  <c:v>0.22013554485464501</c:v>
                </c:pt>
                <c:pt idx="12344">
                  <c:v>0.220153379703941</c:v>
                </c:pt>
                <c:pt idx="12345">
                  <c:v>0.22017121455323699</c:v>
                </c:pt>
                <c:pt idx="12346">
                  <c:v>0.22018904940253201</c:v>
                </c:pt>
                <c:pt idx="12347">
                  <c:v>0.22020688425182799</c:v>
                </c:pt>
                <c:pt idx="12348">
                  <c:v>0.22022471910112301</c:v>
                </c:pt>
                <c:pt idx="12349">
                  <c:v>0.220242553950419</c:v>
                </c:pt>
                <c:pt idx="12350">
                  <c:v>0.22026038879971399</c:v>
                </c:pt>
                <c:pt idx="12351">
                  <c:v>0.22027822364901001</c:v>
                </c:pt>
                <c:pt idx="12352">
                  <c:v>0.220296058498305</c:v>
                </c:pt>
                <c:pt idx="12353">
                  <c:v>0.22031389334760099</c:v>
                </c:pt>
                <c:pt idx="12354">
                  <c:v>0.220331728196896</c:v>
                </c:pt>
                <c:pt idx="12355">
                  <c:v>0.22034956304619199</c:v>
                </c:pt>
                <c:pt idx="12356">
                  <c:v>0.22036739789548701</c:v>
                </c:pt>
                <c:pt idx="12357">
                  <c:v>0.220385232744783</c:v>
                </c:pt>
                <c:pt idx="12358">
                  <c:v>0.22040306759407799</c:v>
                </c:pt>
                <c:pt idx="12359">
                  <c:v>0.22042090244337401</c:v>
                </c:pt>
                <c:pt idx="12360">
                  <c:v>0.220438737292669</c:v>
                </c:pt>
                <c:pt idx="12361">
                  <c:v>0.22045657214196501</c:v>
                </c:pt>
                <c:pt idx="12362">
                  <c:v>0.22047440699126</c:v>
                </c:pt>
                <c:pt idx="12363">
                  <c:v>0.22049224184055599</c:v>
                </c:pt>
                <c:pt idx="12364">
                  <c:v>0.22051007668985101</c:v>
                </c:pt>
                <c:pt idx="12365">
                  <c:v>0.220527911539147</c:v>
                </c:pt>
                <c:pt idx="12366">
                  <c:v>0.22054574638844299</c:v>
                </c:pt>
                <c:pt idx="12367">
                  <c:v>0.220563581237738</c:v>
                </c:pt>
                <c:pt idx="12368">
                  <c:v>0.22058141608703399</c:v>
                </c:pt>
                <c:pt idx="12369">
                  <c:v>0.22059925093632901</c:v>
                </c:pt>
                <c:pt idx="12370">
                  <c:v>0.220617085785625</c:v>
                </c:pt>
                <c:pt idx="12371">
                  <c:v>0.22063492063491999</c:v>
                </c:pt>
                <c:pt idx="12372">
                  <c:v>0.22065275548421601</c:v>
                </c:pt>
                <c:pt idx="12373">
                  <c:v>0.220670590333511</c:v>
                </c:pt>
                <c:pt idx="12374">
                  <c:v>0.22068842518280701</c:v>
                </c:pt>
                <c:pt idx="12375">
                  <c:v>0.220706260032102</c:v>
                </c:pt>
                <c:pt idx="12376">
                  <c:v>0.22072409488139799</c:v>
                </c:pt>
                <c:pt idx="12377">
                  <c:v>0.22074192973069301</c:v>
                </c:pt>
                <c:pt idx="12378">
                  <c:v>0.220759764579989</c:v>
                </c:pt>
                <c:pt idx="12379">
                  <c:v>0.22077759942928399</c:v>
                </c:pt>
                <c:pt idx="12380">
                  <c:v>0.22079543427858001</c:v>
                </c:pt>
                <c:pt idx="12381">
                  <c:v>0.22081326912787499</c:v>
                </c:pt>
                <c:pt idx="12382">
                  <c:v>0.22083110397717101</c:v>
                </c:pt>
                <c:pt idx="12383">
                  <c:v>0.220848938826466</c:v>
                </c:pt>
                <c:pt idx="12384">
                  <c:v>0.22086677367576199</c:v>
                </c:pt>
                <c:pt idx="12385">
                  <c:v>0.22088460852505701</c:v>
                </c:pt>
                <c:pt idx="12386">
                  <c:v>0.220902443374353</c:v>
                </c:pt>
                <c:pt idx="12387">
                  <c:v>0.22092027822364901</c:v>
                </c:pt>
                <c:pt idx="12388">
                  <c:v>0.220938113072944</c:v>
                </c:pt>
                <c:pt idx="12389">
                  <c:v>0.22095594792223999</c:v>
                </c:pt>
                <c:pt idx="12390">
                  <c:v>0.22097378277153501</c:v>
                </c:pt>
                <c:pt idx="12391">
                  <c:v>0.220991617620831</c:v>
                </c:pt>
                <c:pt idx="12392">
                  <c:v>0.22100945247012599</c:v>
                </c:pt>
                <c:pt idx="12393">
                  <c:v>0.22102728731942201</c:v>
                </c:pt>
                <c:pt idx="12394">
                  <c:v>0.221045122168717</c:v>
                </c:pt>
                <c:pt idx="12395">
                  <c:v>0.22106295701801301</c:v>
                </c:pt>
                <c:pt idx="12396">
                  <c:v>0.221080791867308</c:v>
                </c:pt>
                <c:pt idx="12397">
                  <c:v>0.22109862671660399</c:v>
                </c:pt>
                <c:pt idx="12398">
                  <c:v>0.22111646156589901</c:v>
                </c:pt>
                <c:pt idx="12399">
                  <c:v>0.221134296415195</c:v>
                </c:pt>
                <c:pt idx="12400">
                  <c:v>0.22115213126448999</c:v>
                </c:pt>
                <c:pt idx="12401">
                  <c:v>0.221169966113786</c:v>
                </c:pt>
                <c:pt idx="12402">
                  <c:v>0.22118780096308099</c:v>
                </c:pt>
                <c:pt idx="12403">
                  <c:v>0.22120563581237701</c:v>
                </c:pt>
                <c:pt idx="12404">
                  <c:v>0.221223470661672</c:v>
                </c:pt>
                <c:pt idx="12405">
                  <c:v>0.22124130551096799</c:v>
                </c:pt>
                <c:pt idx="12406">
                  <c:v>0.22125914036026301</c:v>
                </c:pt>
                <c:pt idx="12407">
                  <c:v>0.221276975209559</c:v>
                </c:pt>
                <c:pt idx="12408">
                  <c:v>0.22129481005885501</c:v>
                </c:pt>
                <c:pt idx="12409">
                  <c:v>0.22131264490815</c:v>
                </c:pt>
                <c:pt idx="12410">
                  <c:v>0.22133047975744599</c:v>
                </c:pt>
                <c:pt idx="12411">
                  <c:v>0.22134831460674101</c:v>
                </c:pt>
                <c:pt idx="12412">
                  <c:v>0.221366149456037</c:v>
                </c:pt>
                <c:pt idx="12413">
                  <c:v>0.22138398430533199</c:v>
                </c:pt>
                <c:pt idx="12414">
                  <c:v>0.221401819154628</c:v>
                </c:pt>
                <c:pt idx="12415">
                  <c:v>0.22141965400392299</c:v>
                </c:pt>
                <c:pt idx="12416">
                  <c:v>0.22143748885321901</c:v>
                </c:pt>
                <c:pt idx="12417">
                  <c:v>0.221455323702514</c:v>
                </c:pt>
                <c:pt idx="12418">
                  <c:v>0.22147315855180999</c:v>
                </c:pt>
                <c:pt idx="12419">
                  <c:v>0.22149099340110501</c:v>
                </c:pt>
                <c:pt idx="12420">
                  <c:v>0.221508828250401</c:v>
                </c:pt>
                <c:pt idx="12421">
                  <c:v>0.22152666309969599</c:v>
                </c:pt>
                <c:pt idx="12422">
                  <c:v>0.221544497948992</c:v>
                </c:pt>
                <c:pt idx="12423">
                  <c:v>0.22156233279828699</c:v>
                </c:pt>
                <c:pt idx="12424">
                  <c:v>0.22158016764758301</c:v>
                </c:pt>
                <c:pt idx="12425">
                  <c:v>0.221598002496878</c:v>
                </c:pt>
                <c:pt idx="12426">
                  <c:v>0.22161583734617399</c:v>
                </c:pt>
                <c:pt idx="12427">
                  <c:v>0.22163367219546901</c:v>
                </c:pt>
                <c:pt idx="12428">
                  <c:v>0.22165150704476499</c:v>
                </c:pt>
                <c:pt idx="12429">
                  <c:v>0.22166934189406001</c:v>
                </c:pt>
                <c:pt idx="12430">
                  <c:v>0.221687176743356</c:v>
                </c:pt>
                <c:pt idx="12431">
                  <c:v>0.22170501159265199</c:v>
                </c:pt>
                <c:pt idx="12432">
                  <c:v>0.22172284644194701</c:v>
                </c:pt>
                <c:pt idx="12433">
                  <c:v>0.221740681291243</c:v>
                </c:pt>
                <c:pt idx="12434">
                  <c:v>0.22175851614053799</c:v>
                </c:pt>
                <c:pt idx="12435">
                  <c:v>0.221776350989834</c:v>
                </c:pt>
                <c:pt idx="12436">
                  <c:v>0.22179418583912899</c:v>
                </c:pt>
                <c:pt idx="12437">
                  <c:v>0.22181202068842501</c:v>
                </c:pt>
                <c:pt idx="12438">
                  <c:v>0.22182985553772</c:v>
                </c:pt>
                <c:pt idx="12439">
                  <c:v>0.22184769038701599</c:v>
                </c:pt>
                <c:pt idx="12440">
                  <c:v>0.22186552523631101</c:v>
                </c:pt>
                <c:pt idx="12441">
                  <c:v>0.221883360085607</c:v>
                </c:pt>
                <c:pt idx="12442">
                  <c:v>0.22190119493490201</c:v>
                </c:pt>
                <c:pt idx="12443">
                  <c:v>0.221919029784198</c:v>
                </c:pt>
                <c:pt idx="12444">
                  <c:v>0.22193686463349299</c:v>
                </c:pt>
                <c:pt idx="12445">
                  <c:v>0.22195469948278901</c:v>
                </c:pt>
                <c:pt idx="12446">
                  <c:v>0.221972534332084</c:v>
                </c:pt>
                <c:pt idx="12447">
                  <c:v>0.22199036918137999</c:v>
                </c:pt>
                <c:pt idx="12448">
                  <c:v>0.222008204030675</c:v>
                </c:pt>
                <c:pt idx="12449">
                  <c:v>0.22202603887997099</c:v>
                </c:pt>
                <c:pt idx="12450">
                  <c:v>0.22204387372926601</c:v>
                </c:pt>
                <c:pt idx="12451">
                  <c:v>0.222061708578562</c:v>
                </c:pt>
                <c:pt idx="12452">
                  <c:v>0.22207954342785799</c:v>
                </c:pt>
                <c:pt idx="12453">
                  <c:v>0.22209737827715301</c:v>
                </c:pt>
                <c:pt idx="12454">
                  <c:v>0.222115213126449</c:v>
                </c:pt>
                <c:pt idx="12455">
                  <c:v>0.22213304797574401</c:v>
                </c:pt>
                <c:pt idx="12456">
                  <c:v>0.22215088282504</c:v>
                </c:pt>
                <c:pt idx="12457">
                  <c:v>0.22216871767433499</c:v>
                </c:pt>
                <c:pt idx="12458">
                  <c:v>0.22218655252363101</c:v>
                </c:pt>
                <c:pt idx="12459">
                  <c:v>0.222204387372926</c:v>
                </c:pt>
                <c:pt idx="12460">
                  <c:v>0.22222222222222199</c:v>
                </c:pt>
                <c:pt idx="12461">
                  <c:v>0.22224005707151701</c:v>
                </c:pt>
                <c:pt idx="12462">
                  <c:v>0.22225789192081299</c:v>
                </c:pt>
                <c:pt idx="12463">
                  <c:v>0.22227572677010801</c:v>
                </c:pt>
                <c:pt idx="12464">
                  <c:v>0.222293561619404</c:v>
                </c:pt>
                <c:pt idx="12465">
                  <c:v>0.22231139646869899</c:v>
                </c:pt>
                <c:pt idx="12466">
                  <c:v>0.22232923131799501</c:v>
                </c:pt>
                <c:pt idx="12467">
                  <c:v>0.22234706616729</c:v>
                </c:pt>
                <c:pt idx="12468">
                  <c:v>0.22236490101658599</c:v>
                </c:pt>
                <c:pt idx="12469">
                  <c:v>0.222382735865881</c:v>
                </c:pt>
                <c:pt idx="12470">
                  <c:v>0.22240057071517699</c:v>
                </c:pt>
                <c:pt idx="12471">
                  <c:v>0.22241840556447201</c:v>
                </c:pt>
                <c:pt idx="12472">
                  <c:v>0.222436240413768</c:v>
                </c:pt>
                <c:pt idx="12473">
                  <c:v>0.22245407526306399</c:v>
                </c:pt>
                <c:pt idx="12474">
                  <c:v>0.22247191011235901</c:v>
                </c:pt>
                <c:pt idx="12475">
                  <c:v>0.22248974496165499</c:v>
                </c:pt>
                <c:pt idx="12476">
                  <c:v>0.22250757981095001</c:v>
                </c:pt>
                <c:pt idx="12477">
                  <c:v>0.222525414660246</c:v>
                </c:pt>
                <c:pt idx="12478">
                  <c:v>0.22254324950954099</c:v>
                </c:pt>
                <c:pt idx="12479">
                  <c:v>0.22256108435883701</c:v>
                </c:pt>
                <c:pt idx="12480">
                  <c:v>0.222578919208132</c:v>
                </c:pt>
                <c:pt idx="12481">
                  <c:v>0.22259675405742799</c:v>
                </c:pt>
                <c:pt idx="12482">
                  <c:v>0.222614588906723</c:v>
                </c:pt>
                <c:pt idx="12483">
                  <c:v>0.22263242375601899</c:v>
                </c:pt>
                <c:pt idx="12484">
                  <c:v>0.22265025860531401</c:v>
                </c:pt>
                <c:pt idx="12485">
                  <c:v>0.22266809345461</c:v>
                </c:pt>
                <c:pt idx="12486">
                  <c:v>0.22268592830390499</c:v>
                </c:pt>
                <c:pt idx="12487">
                  <c:v>0.22270376315320101</c:v>
                </c:pt>
                <c:pt idx="12488">
                  <c:v>0.222721598002496</c:v>
                </c:pt>
                <c:pt idx="12489">
                  <c:v>0.22273943285179201</c:v>
                </c:pt>
                <c:pt idx="12490">
                  <c:v>0.222757267701087</c:v>
                </c:pt>
                <c:pt idx="12491">
                  <c:v>0.22277510255038299</c:v>
                </c:pt>
                <c:pt idx="12492">
                  <c:v>0.22279293739967801</c:v>
                </c:pt>
                <c:pt idx="12493">
                  <c:v>0.222810772248974</c:v>
                </c:pt>
                <c:pt idx="12494">
                  <c:v>0.22282860709826999</c:v>
                </c:pt>
                <c:pt idx="12495">
                  <c:v>0.222846441947565</c:v>
                </c:pt>
                <c:pt idx="12496">
                  <c:v>0.22286427679686099</c:v>
                </c:pt>
                <c:pt idx="12497">
                  <c:v>0.22288211164615601</c:v>
                </c:pt>
                <c:pt idx="12498">
                  <c:v>0.222899946495452</c:v>
                </c:pt>
                <c:pt idx="12499">
                  <c:v>0.22291778134474699</c:v>
                </c:pt>
                <c:pt idx="12500">
                  <c:v>0.22293561619404301</c:v>
                </c:pt>
                <c:pt idx="12501">
                  <c:v>0.222953451043338</c:v>
                </c:pt>
                <c:pt idx="12502">
                  <c:v>0.22297128589263401</c:v>
                </c:pt>
                <c:pt idx="12503">
                  <c:v>0.222989120741929</c:v>
                </c:pt>
                <c:pt idx="12504">
                  <c:v>0.22300695559122499</c:v>
                </c:pt>
                <c:pt idx="12505">
                  <c:v>0.22302479044052001</c:v>
                </c:pt>
                <c:pt idx="12506">
                  <c:v>0.223042625289816</c:v>
                </c:pt>
                <c:pt idx="12507">
                  <c:v>0.22306046013911099</c:v>
                </c:pt>
                <c:pt idx="12508">
                  <c:v>0.22307829498840701</c:v>
                </c:pt>
                <c:pt idx="12509">
                  <c:v>0.223096129837702</c:v>
                </c:pt>
                <c:pt idx="12510">
                  <c:v>0.22311396468699801</c:v>
                </c:pt>
                <c:pt idx="12511">
                  <c:v>0.223131799536293</c:v>
                </c:pt>
                <c:pt idx="12512">
                  <c:v>0.22314963438558899</c:v>
                </c:pt>
                <c:pt idx="12513">
                  <c:v>0.22316746923488401</c:v>
                </c:pt>
                <c:pt idx="12514">
                  <c:v>0.22318530408418</c:v>
                </c:pt>
                <c:pt idx="12515">
                  <c:v>0.22320313893347599</c:v>
                </c:pt>
                <c:pt idx="12516">
                  <c:v>0.223220973782771</c:v>
                </c:pt>
                <c:pt idx="12517">
                  <c:v>0.22323880863206699</c:v>
                </c:pt>
                <c:pt idx="12518">
                  <c:v>0.22325664348136201</c:v>
                </c:pt>
                <c:pt idx="12519">
                  <c:v>0.223274478330658</c:v>
                </c:pt>
                <c:pt idx="12520">
                  <c:v>0.22329231317995299</c:v>
                </c:pt>
                <c:pt idx="12521">
                  <c:v>0.22331014802924901</c:v>
                </c:pt>
                <c:pt idx="12522">
                  <c:v>0.223327982878544</c:v>
                </c:pt>
                <c:pt idx="12523">
                  <c:v>0.22334581772784001</c:v>
                </c:pt>
                <c:pt idx="12524">
                  <c:v>0.223363652577135</c:v>
                </c:pt>
                <c:pt idx="12525">
                  <c:v>0.22338148742643099</c:v>
                </c:pt>
                <c:pt idx="12526">
                  <c:v>0.22339932227572601</c:v>
                </c:pt>
                <c:pt idx="12527">
                  <c:v>0.223417157125022</c:v>
                </c:pt>
                <c:pt idx="12528">
                  <c:v>0.22343499197431699</c:v>
                </c:pt>
                <c:pt idx="12529">
                  <c:v>0.223452826823613</c:v>
                </c:pt>
                <c:pt idx="12530">
                  <c:v>0.22347066167290799</c:v>
                </c:pt>
                <c:pt idx="12531">
                  <c:v>0.22348849652220401</c:v>
                </c:pt>
                <c:pt idx="12532">
                  <c:v>0.223506331371499</c:v>
                </c:pt>
                <c:pt idx="12533">
                  <c:v>0.22352416622079499</c:v>
                </c:pt>
                <c:pt idx="12534">
                  <c:v>0.22354200107009001</c:v>
                </c:pt>
                <c:pt idx="12535">
                  <c:v>0.223559835919386</c:v>
                </c:pt>
                <c:pt idx="12536">
                  <c:v>0.22357767076868201</c:v>
                </c:pt>
                <c:pt idx="12537">
                  <c:v>0.223595505617977</c:v>
                </c:pt>
                <c:pt idx="12538">
                  <c:v>0.22361334046727299</c:v>
                </c:pt>
                <c:pt idx="12539">
                  <c:v>0.22363117531656801</c:v>
                </c:pt>
                <c:pt idx="12540">
                  <c:v>0.223649010165864</c:v>
                </c:pt>
                <c:pt idx="12541">
                  <c:v>0.22366684501515899</c:v>
                </c:pt>
                <c:pt idx="12542">
                  <c:v>0.223684679864455</c:v>
                </c:pt>
                <c:pt idx="12543">
                  <c:v>0.22370251471374999</c:v>
                </c:pt>
                <c:pt idx="12544">
                  <c:v>0.22372034956304601</c:v>
                </c:pt>
                <c:pt idx="12545">
                  <c:v>0.223738184412341</c:v>
                </c:pt>
                <c:pt idx="12546">
                  <c:v>0.22375601926163699</c:v>
                </c:pt>
                <c:pt idx="12547">
                  <c:v>0.22377385411093201</c:v>
                </c:pt>
                <c:pt idx="12548">
                  <c:v>0.223791688960228</c:v>
                </c:pt>
                <c:pt idx="12549">
                  <c:v>0.22380952380952299</c:v>
                </c:pt>
                <c:pt idx="12550">
                  <c:v>0.223827358658819</c:v>
                </c:pt>
                <c:pt idx="12551">
                  <c:v>0.22384519350811399</c:v>
                </c:pt>
                <c:pt idx="12552">
                  <c:v>0.22386302835741001</c:v>
                </c:pt>
                <c:pt idx="12553">
                  <c:v>0.223880863206705</c:v>
                </c:pt>
                <c:pt idx="12554">
                  <c:v>0.22389869805600099</c:v>
                </c:pt>
                <c:pt idx="12555">
                  <c:v>0.22391653290529601</c:v>
                </c:pt>
                <c:pt idx="12556">
                  <c:v>0.223934367754592</c:v>
                </c:pt>
                <c:pt idx="12557">
                  <c:v>0.22395220260388701</c:v>
                </c:pt>
                <c:pt idx="12558">
                  <c:v>0.223970037453183</c:v>
                </c:pt>
                <c:pt idx="12559">
                  <c:v>0.22398787230247899</c:v>
                </c:pt>
                <c:pt idx="12560">
                  <c:v>0.22400570715177401</c:v>
                </c:pt>
                <c:pt idx="12561">
                  <c:v>0.22402354200107</c:v>
                </c:pt>
                <c:pt idx="12562">
                  <c:v>0.22404137685036499</c:v>
                </c:pt>
                <c:pt idx="12563">
                  <c:v>0.224059211699661</c:v>
                </c:pt>
                <c:pt idx="12564">
                  <c:v>0.22407704654895599</c:v>
                </c:pt>
                <c:pt idx="12565">
                  <c:v>0.22409488139825201</c:v>
                </c:pt>
                <c:pt idx="12566">
                  <c:v>0.224112716247547</c:v>
                </c:pt>
                <c:pt idx="12567">
                  <c:v>0.22413055109684299</c:v>
                </c:pt>
                <c:pt idx="12568">
                  <c:v>0.22414838594613801</c:v>
                </c:pt>
                <c:pt idx="12569">
                  <c:v>0.224166220795434</c:v>
                </c:pt>
                <c:pt idx="12570">
                  <c:v>0.22418405564472901</c:v>
                </c:pt>
                <c:pt idx="12571">
                  <c:v>0.224201890494025</c:v>
                </c:pt>
                <c:pt idx="12572">
                  <c:v>0.22421972534331999</c:v>
                </c:pt>
                <c:pt idx="12573">
                  <c:v>0.22423756019261601</c:v>
                </c:pt>
                <c:pt idx="12574">
                  <c:v>0.224255395041911</c:v>
                </c:pt>
                <c:pt idx="12575">
                  <c:v>0.22427322989120699</c:v>
                </c:pt>
                <c:pt idx="12576">
                  <c:v>0.22429106474050201</c:v>
                </c:pt>
                <c:pt idx="12577">
                  <c:v>0.22430889958979799</c:v>
                </c:pt>
                <c:pt idx="12578">
                  <c:v>0.22432673443909301</c:v>
                </c:pt>
                <c:pt idx="12579">
                  <c:v>0.224344569288389</c:v>
                </c:pt>
                <c:pt idx="12580">
                  <c:v>0.22436240413768499</c:v>
                </c:pt>
                <c:pt idx="12581">
                  <c:v>0.22438023898698001</c:v>
                </c:pt>
                <c:pt idx="12582">
                  <c:v>0.224398073836276</c:v>
                </c:pt>
                <c:pt idx="12583">
                  <c:v>0.22441590868557099</c:v>
                </c:pt>
                <c:pt idx="12584">
                  <c:v>0.224433743534867</c:v>
                </c:pt>
                <c:pt idx="12585">
                  <c:v>0.22445157838416199</c:v>
                </c:pt>
                <c:pt idx="12586">
                  <c:v>0.22446941323345801</c:v>
                </c:pt>
                <c:pt idx="12587">
                  <c:v>0.224487248082753</c:v>
                </c:pt>
                <c:pt idx="12588">
                  <c:v>0.22450508293204899</c:v>
                </c:pt>
                <c:pt idx="12589">
                  <c:v>0.22452291778134401</c:v>
                </c:pt>
                <c:pt idx="12590">
                  <c:v>0.22454075263063999</c:v>
                </c:pt>
                <c:pt idx="12591">
                  <c:v>0.22455858747993501</c:v>
                </c:pt>
                <c:pt idx="12592">
                  <c:v>0.224576422329231</c:v>
                </c:pt>
                <c:pt idx="12593">
                  <c:v>0.22459425717852599</c:v>
                </c:pt>
                <c:pt idx="12594">
                  <c:v>0.22461209202782201</c:v>
                </c:pt>
                <c:pt idx="12595">
                  <c:v>0.224629926877117</c:v>
                </c:pt>
                <c:pt idx="12596">
                  <c:v>0.22464776172641299</c:v>
                </c:pt>
                <c:pt idx="12597">
                  <c:v>0.224665596575708</c:v>
                </c:pt>
                <c:pt idx="12598">
                  <c:v>0.22468343142500399</c:v>
                </c:pt>
                <c:pt idx="12599">
                  <c:v>0.22470126627429901</c:v>
                </c:pt>
                <c:pt idx="12600">
                  <c:v>0.224719101123595</c:v>
                </c:pt>
                <c:pt idx="12601">
                  <c:v>0.22473693597289099</c:v>
                </c:pt>
                <c:pt idx="12602">
                  <c:v>0.22475477082218601</c:v>
                </c:pt>
                <c:pt idx="12603">
                  <c:v>0.224772605671482</c:v>
                </c:pt>
                <c:pt idx="12604">
                  <c:v>0.22479044052077701</c:v>
                </c:pt>
                <c:pt idx="12605">
                  <c:v>0.224808275370073</c:v>
                </c:pt>
                <c:pt idx="12606">
                  <c:v>0.22482611021936799</c:v>
                </c:pt>
                <c:pt idx="12607">
                  <c:v>0.22484394506866401</c:v>
                </c:pt>
                <c:pt idx="12608">
                  <c:v>0.224861779917959</c:v>
                </c:pt>
                <c:pt idx="12609">
                  <c:v>0.22487961476725499</c:v>
                </c:pt>
                <c:pt idx="12610">
                  <c:v>0.22489744961655</c:v>
                </c:pt>
                <c:pt idx="12611">
                  <c:v>0.22491528446584599</c:v>
                </c:pt>
                <c:pt idx="12612">
                  <c:v>0.22493311931514101</c:v>
                </c:pt>
                <c:pt idx="12613">
                  <c:v>0.224950954164437</c:v>
                </c:pt>
                <c:pt idx="12614">
                  <c:v>0.22496878901373199</c:v>
                </c:pt>
                <c:pt idx="12615">
                  <c:v>0.22498662386302801</c:v>
                </c:pt>
                <c:pt idx="12616">
                  <c:v>0.225004458712323</c:v>
                </c:pt>
                <c:pt idx="12617">
                  <c:v>0.22502229356161901</c:v>
                </c:pt>
                <c:pt idx="12618">
                  <c:v>0.225040128410914</c:v>
                </c:pt>
                <c:pt idx="12619">
                  <c:v>0.22505796326020999</c:v>
                </c:pt>
                <c:pt idx="12620">
                  <c:v>0.22507579810950501</c:v>
                </c:pt>
                <c:pt idx="12621">
                  <c:v>0.225093632958801</c:v>
                </c:pt>
                <c:pt idx="12622">
                  <c:v>0.22511146780809699</c:v>
                </c:pt>
                <c:pt idx="12623">
                  <c:v>0.22512930265739201</c:v>
                </c:pt>
                <c:pt idx="12624">
                  <c:v>0.22514713750668799</c:v>
                </c:pt>
                <c:pt idx="12625">
                  <c:v>0.22516497235598301</c:v>
                </c:pt>
                <c:pt idx="12626">
                  <c:v>0.225182807205279</c:v>
                </c:pt>
                <c:pt idx="12627">
                  <c:v>0.22520064205457399</c:v>
                </c:pt>
                <c:pt idx="12628">
                  <c:v>0.22521847690387001</c:v>
                </c:pt>
                <c:pt idx="12629">
                  <c:v>0.225236311753165</c:v>
                </c:pt>
                <c:pt idx="12630">
                  <c:v>0.22525414660246099</c:v>
                </c:pt>
                <c:pt idx="12631">
                  <c:v>0.225271981451756</c:v>
                </c:pt>
                <c:pt idx="12632">
                  <c:v>0.22528981630105199</c:v>
                </c:pt>
                <c:pt idx="12633">
                  <c:v>0.22530765115034701</c:v>
                </c:pt>
                <c:pt idx="12634">
                  <c:v>0.225325485999643</c:v>
                </c:pt>
                <c:pt idx="12635">
                  <c:v>0.22534332084893799</c:v>
                </c:pt>
                <c:pt idx="12636">
                  <c:v>0.22536115569823401</c:v>
                </c:pt>
                <c:pt idx="12637">
                  <c:v>0.225378990547529</c:v>
                </c:pt>
                <c:pt idx="12638">
                  <c:v>0.22539682539682501</c:v>
                </c:pt>
                <c:pt idx="12639">
                  <c:v>0.22541466024612</c:v>
                </c:pt>
                <c:pt idx="12640">
                  <c:v>0.22543249509541599</c:v>
                </c:pt>
                <c:pt idx="12641">
                  <c:v>0.22545032994471101</c:v>
                </c:pt>
                <c:pt idx="12642">
                  <c:v>0.225468164794007</c:v>
                </c:pt>
                <c:pt idx="12643">
                  <c:v>0.22548599964330299</c:v>
                </c:pt>
                <c:pt idx="12644">
                  <c:v>0.225503834492598</c:v>
                </c:pt>
                <c:pt idx="12645">
                  <c:v>0.22552166934189399</c:v>
                </c:pt>
                <c:pt idx="12646">
                  <c:v>0.22553950419118901</c:v>
                </c:pt>
                <c:pt idx="12647">
                  <c:v>0.225557339040485</c:v>
                </c:pt>
                <c:pt idx="12648">
                  <c:v>0.22557517388977999</c:v>
                </c:pt>
                <c:pt idx="12649">
                  <c:v>0.22559300873907601</c:v>
                </c:pt>
                <c:pt idx="12650">
                  <c:v>0.225610843588371</c:v>
                </c:pt>
                <c:pt idx="12651">
                  <c:v>0.22562867843766701</c:v>
                </c:pt>
                <c:pt idx="12652">
                  <c:v>0.225646513286962</c:v>
                </c:pt>
                <c:pt idx="12653">
                  <c:v>0.22566434813625799</c:v>
                </c:pt>
                <c:pt idx="12654">
                  <c:v>0.22568218298555301</c:v>
                </c:pt>
                <c:pt idx="12655">
                  <c:v>0.225700017834849</c:v>
                </c:pt>
                <c:pt idx="12656">
                  <c:v>0.22571785268414399</c:v>
                </c:pt>
                <c:pt idx="12657">
                  <c:v>0.22573568753344</c:v>
                </c:pt>
                <c:pt idx="12658">
                  <c:v>0.22575352238273499</c:v>
                </c:pt>
                <c:pt idx="12659">
                  <c:v>0.22577135723203101</c:v>
                </c:pt>
                <c:pt idx="12660">
                  <c:v>0.225789192081326</c:v>
                </c:pt>
                <c:pt idx="12661">
                  <c:v>0.22580702693062199</c:v>
                </c:pt>
                <c:pt idx="12662">
                  <c:v>0.22582486177991701</c:v>
                </c:pt>
                <c:pt idx="12663">
                  <c:v>0.225842696629213</c:v>
                </c:pt>
                <c:pt idx="12664">
                  <c:v>0.22586053147850901</c:v>
                </c:pt>
                <c:pt idx="12665">
                  <c:v>0.225878366327804</c:v>
                </c:pt>
                <c:pt idx="12666">
                  <c:v>0.22589620117709999</c:v>
                </c:pt>
                <c:pt idx="12667">
                  <c:v>0.22591403602639501</c:v>
                </c:pt>
                <c:pt idx="12668">
                  <c:v>0.225931870875691</c:v>
                </c:pt>
                <c:pt idx="12669">
                  <c:v>0.22594970572498599</c:v>
                </c:pt>
                <c:pt idx="12670">
                  <c:v>0.22596754057428201</c:v>
                </c:pt>
                <c:pt idx="12671">
                  <c:v>0.225985375423577</c:v>
                </c:pt>
                <c:pt idx="12672">
                  <c:v>0.22600321027287301</c:v>
                </c:pt>
                <c:pt idx="12673">
                  <c:v>0.226021045122168</c:v>
                </c:pt>
                <c:pt idx="12674">
                  <c:v>0.22603887997146399</c:v>
                </c:pt>
                <c:pt idx="12675">
                  <c:v>0.22605671482075901</c:v>
                </c:pt>
                <c:pt idx="12676">
                  <c:v>0.226074549670055</c:v>
                </c:pt>
                <c:pt idx="12677">
                  <c:v>0.22609238451934999</c:v>
                </c:pt>
                <c:pt idx="12678">
                  <c:v>0.226110219368646</c:v>
                </c:pt>
                <c:pt idx="12679">
                  <c:v>0.22612805421794099</c:v>
                </c:pt>
                <c:pt idx="12680">
                  <c:v>0.22614588906723701</c:v>
                </c:pt>
                <c:pt idx="12681">
                  <c:v>0.226163723916532</c:v>
                </c:pt>
                <c:pt idx="12682">
                  <c:v>0.22618155876582799</c:v>
                </c:pt>
                <c:pt idx="12683">
                  <c:v>0.22619939361512301</c:v>
                </c:pt>
                <c:pt idx="12684">
                  <c:v>0.226217228464419</c:v>
                </c:pt>
                <c:pt idx="12685">
                  <c:v>0.22623506331371501</c:v>
                </c:pt>
                <c:pt idx="12686">
                  <c:v>0.22625289816301</c:v>
                </c:pt>
                <c:pt idx="12687">
                  <c:v>0.22627073301230599</c:v>
                </c:pt>
                <c:pt idx="12688">
                  <c:v>0.22628856786160101</c:v>
                </c:pt>
                <c:pt idx="12689">
                  <c:v>0.226306402710897</c:v>
                </c:pt>
                <c:pt idx="12690">
                  <c:v>0.22632423756019199</c:v>
                </c:pt>
                <c:pt idx="12691">
                  <c:v>0.226342072409488</c:v>
                </c:pt>
                <c:pt idx="12692">
                  <c:v>0.22635990725878299</c:v>
                </c:pt>
                <c:pt idx="12693">
                  <c:v>0.22637774210807901</c:v>
                </c:pt>
                <c:pt idx="12694">
                  <c:v>0.226395576957374</c:v>
                </c:pt>
                <c:pt idx="12695">
                  <c:v>0.22641341180666999</c:v>
                </c:pt>
                <c:pt idx="12696">
                  <c:v>0.22643124665596501</c:v>
                </c:pt>
                <c:pt idx="12697">
                  <c:v>0.226449081505261</c:v>
                </c:pt>
                <c:pt idx="12698">
                  <c:v>0.22646691635455601</c:v>
                </c:pt>
                <c:pt idx="12699">
                  <c:v>0.226484751203852</c:v>
                </c:pt>
                <c:pt idx="12700">
                  <c:v>0.22650258605314699</c:v>
                </c:pt>
                <c:pt idx="12701">
                  <c:v>0.22652042090244301</c:v>
                </c:pt>
                <c:pt idx="12702">
                  <c:v>0.226538255751738</c:v>
                </c:pt>
                <c:pt idx="12703">
                  <c:v>0.22655609060103399</c:v>
                </c:pt>
                <c:pt idx="12704">
                  <c:v>0.22657392545032901</c:v>
                </c:pt>
                <c:pt idx="12705">
                  <c:v>0.22659176029962499</c:v>
                </c:pt>
                <c:pt idx="12706">
                  <c:v>0.22660959514892001</c:v>
                </c:pt>
                <c:pt idx="12707">
                  <c:v>0.226627429998216</c:v>
                </c:pt>
                <c:pt idx="12708">
                  <c:v>0.22664526484751199</c:v>
                </c:pt>
                <c:pt idx="12709">
                  <c:v>0.22666309969680701</c:v>
                </c:pt>
                <c:pt idx="12710">
                  <c:v>0.226680934546103</c:v>
                </c:pt>
                <c:pt idx="12711">
                  <c:v>0.22669876939539799</c:v>
                </c:pt>
                <c:pt idx="12712">
                  <c:v>0.226716604244694</c:v>
                </c:pt>
                <c:pt idx="12713">
                  <c:v>0.22673443909398899</c:v>
                </c:pt>
                <c:pt idx="12714">
                  <c:v>0.22675227394328501</c:v>
                </c:pt>
                <c:pt idx="12715">
                  <c:v>0.22677010879258</c:v>
                </c:pt>
                <c:pt idx="12716">
                  <c:v>0.22678794364187599</c:v>
                </c:pt>
                <c:pt idx="12717">
                  <c:v>0.22680577849117101</c:v>
                </c:pt>
                <c:pt idx="12718">
                  <c:v>0.226823613340467</c:v>
                </c:pt>
                <c:pt idx="12719">
                  <c:v>0.22684144818976201</c:v>
                </c:pt>
                <c:pt idx="12720">
                  <c:v>0.226859283039058</c:v>
                </c:pt>
                <c:pt idx="12721">
                  <c:v>0.22687711788835299</c:v>
                </c:pt>
                <c:pt idx="12722">
                  <c:v>0.22689495273764901</c:v>
                </c:pt>
                <c:pt idx="12723">
                  <c:v>0.226912787586944</c:v>
                </c:pt>
                <c:pt idx="12724">
                  <c:v>0.22693062243623999</c:v>
                </c:pt>
                <c:pt idx="12725">
                  <c:v>0.226948457285535</c:v>
                </c:pt>
                <c:pt idx="12726">
                  <c:v>0.22696629213483099</c:v>
                </c:pt>
                <c:pt idx="12727">
                  <c:v>0.22698412698412601</c:v>
                </c:pt>
                <c:pt idx="12728">
                  <c:v>0.227001961833422</c:v>
                </c:pt>
                <c:pt idx="12729">
                  <c:v>0.22701979668271799</c:v>
                </c:pt>
                <c:pt idx="12730">
                  <c:v>0.22703763153201301</c:v>
                </c:pt>
                <c:pt idx="12731">
                  <c:v>0.227055466381309</c:v>
                </c:pt>
                <c:pt idx="12732">
                  <c:v>0.22707330123060401</c:v>
                </c:pt>
                <c:pt idx="12733">
                  <c:v>0.2270911360799</c:v>
                </c:pt>
                <c:pt idx="12734">
                  <c:v>0.22710897092919499</c:v>
                </c:pt>
                <c:pt idx="12735">
                  <c:v>0.22712680577849101</c:v>
                </c:pt>
                <c:pt idx="12736">
                  <c:v>0.227144640627786</c:v>
                </c:pt>
                <c:pt idx="12737">
                  <c:v>0.22716247547708199</c:v>
                </c:pt>
                <c:pt idx="12738">
                  <c:v>0.22718031032637701</c:v>
                </c:pt>
                <c:pt idx="12739">
                  <c:v>0.22719814517567299</c:v>
                </c:pt>
                <c:pt idx="12740">
                  <c:v>0.22721598002496801</c:v>
                </c:pt>
                <c:pt idx="12741">
                  <c:v>0.227233814874264</c:v>
                </c:pt>
                <c:pt idx="12742">
                  <c:v>0.22725164972355899</c:v>
                </c:pt>
                <c:pt idx="12743">
                  <c:v>0.22726948457285501</c:v>
                </c:pt>
                <c:pt idx="12744">
                  <c:v>0.22728731942215</c:v>
                </c:pt>
                <c:pt idx="12745">
                  <c:v>0.22730515427144601</c:v>
                </c:pt>
                <c:pt idx="12746">
                  <c:v>0.227322989120741</c:v>
                </c:pt>
                <c:pt idx="12747">
                  <c:v>0.22734082397003699</c:v>
                </c:pt>
                <c:pt idx="12748">
                  <c:v>0.22735865881933201</c:v>
                </c:pt>
                <c:pt idx="12749">
                  <c:v>0.227376493668628</c:v>
                </c:pt>
                <c:pt idx="12750">
                  <c:v>0.22739432851792399</c:v>
                </c:pt>
                <c:pt idx="12751">
                  <c:v>0.22741216336721901</c:v>
                </c:pt>
                <c:pt idx="12752">
                  <c:v>0.22742999821651499</c:v>
                </c:pt>
                <c:pt idx="12753">
                  <c:v>0.22744783306581001</c:v>
                </c:pt>
                <c:pt idx="12754">
                  <c:v>0.227465667915106</c:v>
                </c:pt>
                <c:pt idx="12755">
                  <c:v>0.22748350276440099</c:v>
                </c:pt>
                <c:pt idx="12756">
                  <c:v>0.22750133761369701</c:v>
                </c:pt>
                <c:pt idx="12757">
                  <c:v>0.227519172462992</c:v>
                </c:pt>
                <c:pt idx="12758">
                  <c:v>0.22753700731228799</c:v>
                </c:pt>
                <c:pt idx="12759">
                  <c:v>0.227554842161583</c:v>
                </c:pt>
                <c:pt idx="12760">
                  <c:v>0.22757267701087899</c:v>
                </c:pt>
                <c:pt idx="12761">
                  <c:v>0.22759051186017401</c:v>
                </c:pt>
                <c:pt idx="12762">
                  <c:v>0.22760834670947</c:v>
                </c:pt>
                <c:pt idx="12763">
                  <c:v>0.22762618155876499</c:v>
                </c:pt>
                <c:pt idx="12764">
                  <c:v>0.22764401640806101</c:v>
                </c:pt>
                <c:pt idx="12765">
                  <c:v>0.227661851257356</c:v>
                </c:pt>
                <c:pt idx="12766">
                  <c:v>0.22767968610665201</c:v>
                </c:pt>
                <c:pt idx="12767">
                  <c:v>0.227697520955947</c:v>
                </c:pt>
                <c:pt idx="12768">
                  <c:v>0.22771535580524299</c:v>
                </c:pt>
                <c:pt idx="12769">
                  <c:v>0.22773319065453801</c:v>
                </c:pt>
                <c:pt idx="12770">
                  <c:v>0.227751025503834</c:v>
                </c:pt>
                <c:pt idx="12771">
                  <c:v>0.22776886035312999</c:v>
                </c:pt>
                <c:pt idx="12772">
                  <c:v>0.227786695202425</c:v>
                </c:pt>
                <c:pt idx="12773">
                  <c:v>0.22780453005172099</c:v>
                </c:pt>
                <c:pt idx="12774">
                  <c:v>0.22782236490101601</c:v>
                </c:pt>
                <c:pt idx="12775">
                  <c:v>0.227840199750312</c:v>
                </c:pt>
                <c:pt idx="12776">
                  <c:v>0.22785803459960699</c:v>
                </c:pt>
                <c:pt idx="12777">
                  <c:v>0.22787586944890301</c:v>
                </c:pt>
                <c:pt idx="12778">
                  <c:v>0.227893704298198</c:v>
                </c:pt>
                <c:pt idx="12779">
                  <c:v>0.22791153914749401</c:v>
                </c:pt>
                <c:pt idx="12780">
                  <c:v>0.227929373996789</c:v>
                </c:pt>
                <c:pt idx="12781">
                  <c:v>0.22794720884608499</c:v>
                </c:pt>
                <c:pt idx="12782">
                  <c:v>0.22796504369538001</c:v>
                </c:pt>
                <c:pt idx="12783">
                  <c:v>0.227982878544676</c:v>
                </c:pt>
                <c:pt idx="12784">
                  <c:v>0.22800071339397099</c:v>
                </c:pt>
                <c:pt idx="12785">
                  <c:v>0.22801854824326701</c:v>
                </c:pt>
                <c:pt idx="12786">
                  <c:v>0.228036383092562</c:v>
                </c:pt>
                <c:pt idx="12787">
                  <c:v>0.22805421794185801</c:v>
                </c:pt>
                <c:pt idx="12788">
                  <c:v>0.228072052791153</c:v>
                </c:pt>
                <c:pt idx="12789">
                  <c:v>0.22808988764044899</c:v>
                </c:pt>
                <c:pt idx="12790">
                  <c:v>0.22810772248974401</c:v>
                </c:pt>
                <c:pt idx="12791">
                  <c:v>0.22812555733904</c:v>
                </c:pt>
                <c:pt idx="12792">
                  <c:v>0.22814339218833601</c:v>
                </c:pt>
                <c:pt idx="12793">
                  <c:v>0.228161227037631</c:v>
                </c:pt>
                <c:pt idx="12794">
                  <c:v>0.22817906188692699</c:v>
                </c:pt>
                <c:pt idx="12795">
                  <c:v>0.22819689673622201</c:v>
                </c:pt>
                <c:pt idx="12796">
                  <c:v>0.228214731585518</c:v>
                </c:pt>
                <c:pt idx="12797">
                  <c:v>0.22823256643481299</c:v>
                </c:pt>
                <c:pt idx="12798">
                  <c:v>0.22825040128410901</c:v>
                </c:pt>
                <c:pt idx="12799">
                  <c:v>0.228268236133404</c:v>
                </c:pt>
                <c:pt idx="12800">
                  <c:v>0.22828607098270001</c:v>
                </c:pt>
                <c:pt idx="12801">
                  <c:v>0.228303905831995</c:v>
                </c:pt>
                <c:pt idx="12802">
                  <c:v>0.22832174068129099</c:v>
                </c:pt>
                <c:pt idx="12803">
                  <c:v>0.22833957553058601</c:v>
                </c:pt>
                <c:pt idx="12804">
                  <c:v>0.228357410379882</c:v>
                </c:pt>
                <c:pt idx="12805">
                  <c:v>0.22837524522917699</c:v>
                </c:pt>
                <c:pt idx="12806">
                  <c:v>0.228393080078473</c:v>
                </c:pt>
                <c:pt idx="12807">
                  <c:v>0.22841091492776799</c:v>
                </c:pt>
                <c:pt idx="12808">
                  <c:v>0.22842874977706401</c:v>
                </c:pt>
                <c:pt idx="12809">
                  <c:v>0.228446584626359</c:v>
                </c:pt>
                <c:pt idx="12810">
                  <c:v>0.22846441947565499</c:v>
                </c:pt>
                <c:pt idx="12811">
                  <c:v>0.22848225432495001</c:v>
                </c:pt>
                <c:pt idx="12812">
                  <c:v>0.228500089174246</c:v>
                </c:pt>
                <c:pt idx="12813">
                  <c:v>0.22851792402354201</c:v>
                </c:pt>
                <c:pt idx="12814">
                  <c:v>0.228535758872837</c:v>
                </c:pt>
                <c:pt idx="12815">
                  <c:v>0.22855359372213299</c:v>
                </c:pt>
                <c:pt idx="12816">
                  <c:v>0.22857142857142801</c:v>
                </c:pt>
                <c:pt idx="12817">
                  <c:v>0.228589263420724</c:v>
                </c:pt>
                <c:pt idx="12818">
                  <c:v>0.22860709827001899</c:v>
                </c:pt>
                <c:pt idx="12819">
                  <c:v>0.228624933119315</c:v>
                </c:pt>
                <c:pt idx="12820">
                  <c:v>0.22864276796860999</c:v>
                </c:pt>
                <c:pt idx="12821">
                  <c:v>0.22866060281790601</c:v>
                </c:pt>
                <c:pt idx="12822">
                  <c:v>0.228678437667201</c:v>
                </c:pt>
                <c:pt idx="12823">
                  <c:v>0.22869627251649699</c:v>
                </c:pt>
                <c:pt idx="12824">
                  <c:v>0.22871410736579201</c:v>
                </c:pt>
                <c:pt idx="12825">
                  <c:v>0.228731942215088</c:v>
                </c:pt>
                <c:pt idx="12826">
                  <c:v>0.22874977706438299</c:v>
                </c:pt>
                <c:pt idx="12827">
                  <c:v>0.228767611913679</c:v>
                </c:pt>
                <c:pt idx="12828">
                  <c:v>0.22878544676297399</c:v>
                </c:pt>
                <c:pt idx="12829">
                  <c:v>0.22880328161227001</c:v>
                </c:pt>
                <c:pt idx="12830">
                  <c:v>0.228821116461565</c:v>
                </c:pt>
                <c:pt idx="12831">
                  <c:v>0.22883895131086099</c:v>
                </c:pt>
                <c:pt idx="12832">
                  <c:v>0.22885678616015601</c:v>
                </c:pt>
                <c:pt idx="12833">
                  <c:v>0.228874621009452</c:v>
                </c:pt>
                <c:pt idx="12834">
                  <c:v>0.22889245585874701</c:v>
                </c:pt>
                <c:pt idx="12835">
                  <c:v>0.228910290708043</c:v>
                </c:pt>
                <c:pt idx="12836">
                  <c:v>0.22892812555733899</c:v>
                </c:pt>
                <c:pt idx="12837">
                  <c:v>0.22894596040663401</c:v>
                </c:pt>
                <c:pt idx="12838">
                  <c:v>0.22896379525593</c:v>
                </c:pt>
                <c:pt idx="12839">
                  <c:v>0.22898163010522499</c:v>
                </c:pt>
                <c:pt idx="12840">
                  <c:v>0.228999464954521</c:v>
                </c:pt>
                <c:pt idx="12841">
                  <c:v>0.22901729980381599</c:v>
                </c:pt>
                <c:pt idx="12842">
                  <c:v>0.22903513465311201</c:v>
                </c:pt>
                <c:pt idx="12843">
                  <c:v>0.229052969502407</c:v>
                </c:pt>
                <c:pt idx="12844">
                  <c:v>0.22907080435170299</c:v>
                </c:pt>
                <c:pt idx="12845">
                  <c:v>0.22908863920099801</c:v>
                </c:pt>
                <c:pt idx="12846">
                  <c:v>0.229106474050294</c:v>
                </c:pt>
                <c:pt idx="12847">
                  <c:v>0.22912430889958901</c:v>
                </c:pt>
                <c:pt idx="12848">
                  <c:v>0.229142143748885</c:v>
                </c:pt>
                <c:pt idx="12849">
                  <c:v>0.22915997859817999</c:v>
                </c:pt>
                <c:pt idx="12850">
                  <c:v>0.22917781344747601</c:v>
                </c:pt>
                <c:pt idx="12851">
                  <c:v>0.229195648296771</c:v>
                </c:pt>
                <c:pt idx="12852">
                  <c:v>0.22921348314606699</c:v>
                </c:pt>
                <c:pt idx="12853">
                  <c:v>0.22923131799536201</c:v>
                </c:pt>
                <c:pt idx="12854">
                  <c:v>0.22924915284465799</c:v>
                </c:pt>
                <c:pt idx="12855">
                  <c:v>0.22926698769395301</c:v>
                </c:pt>
                <c:pt idx="12856">
                  <c:v>0.229284822543249</c:v>
                </c:pt>
                <c:pt idx="12857">
                  <c:v>0.22930265739254499</c:v>
                </c:pt>
                <c:pt idx="12858">
                  <c:v>0.22932049224184001</c:v>
                </c:pt>
                <c:pt idx="12859">
                  <c:v>0.229338327091136</c:v>
                </c:pt>
                <c:pt idx="12860">
                  <c:v>0.22935616194043101</c:v>
                </c:pt>
                <c:pt idx="12861">
                  <c:v>0.229373996789727</c:v>
                </c:pt>
                <c:pt idx="12862">
                  <c:v>0.22939183163902199</c:v>
                </c:pt>
                <c:pt idx="12863">
                  <c:v>0.22940966648831801</c:v>
                </c:pt>
                <c:pt idx="12864">
                  <c:v>0.229427501337613</c:v>
                </c:pt>
                <c:pt idx="12865">
                  <c:v>0.22944533618690899</c:v>
                </c:pt>
                <c:pt idx="12866">
                  <c:v>0.22946317103620401</c:v>
                </c:pt>
                <c:pt idx="12867">
                  <c:v>0.22948100588549999</c:v>
                </c:pt>
                <c:pt idx="12868">
                  <c:v>0.22949884073479501</c:v>
                </c:pt>
                <c:pt idx="12869">
                  <c:v>0.229516675584091</c:v>
                </c:pt>
                <c:pt idx="12870">
                  <c:v>0.22953451043338599</c:v>
                </c:pt>
                <c:pt idx="12871">
                  <c:v>0.22955234528268201</c:v>
                </c:pt>
                <c:pt idx="12872">
                  <c:v>0.229570180131977</c:v>
                </c:pt>
                <c:pt idx="12873">
                  <c:v>0.22958801498127299</c:v>
                </c:pt>
                <c:pt idx="12874">
                  <c:v>0.229605849830568</c:v>
                </c:pt>
                <c:pt idx="12875">
                  <c:v>0.22962368467986399</c:v>
                </c:pt>
                <c:pt idx="12876">
                  <c:v>0.22964151952915901</c:v>
                </c:pt>
                <c:pt idx="12877">
                  <c:v>0.229659354378455</c:v>
                </c:pt>
                <c:pt idx="12878">
                  <c:v>0.22967718922775099</c:v>
                </c:pt>
                <c:pt idx="12879">
                  <c:v>0.22969502407704601</c:v>
                </c:pt>
                <c:pt idx="12880">
                  <c:v>0.229712858926342</c:v>
                </c:pt>
                <c:pt idx="12881">
                  <c:v>0.22973069377563701</c:v>
                </c:pt>
                <c:pt idx="12882">
                  <c:v>0.229748528624933</c:v>
                </c:pt>
                <c:pt idx="12883">
                  <c:v>0.22976636347422799</c:v>
                </c:pt>
                <c:pt idx="12884">
                  <c:v>0.22978419832352401</c:v>
                </c:pt>
                <c:pt idx="12885">
                  <c:v>0.229802033172819</c:v>
                </c:pt>
                <c:pt idx="12886">
                  <c:v>0.22981986802211499</c:v>
                </c:pt>
                <c:pt idx="12887">
                  <c:v>0.22983770287141</c:v>
                </c:pt>
                <c:pt idx="12888">
                  <c:v>0.22985553772070599</c:v>
                </c:pt>
                <c:pt idx="12889">
                  <c:v>0.22987337257000101</c:v>
                </c:pt>
                <c:pt idx="12890">
                  <c:v>0.229891207419297</c:v>
                </c:pt>
                <c:pt idx="12891">
                  <c:v>0.22990904226859199</c:v>
                </c:pt>
                <c:pt idx="12892">
                  <c:v>0.22992687711788801</c:v>
                </c:pt>
                <c:pt idx="12893">
                  <c:v>0.229944711967183</c:v>
                </c:pt>
                <c:pt idx="12894">
                  <c:v>0.22996254681647901</c:v>
                </c:pt>
                <c:pt idx="12895">
                  <c:v>0.229980381665774</c:v>
                </c:pt>
                <c:pt idx="12896">
                  <c:v>0.22999821651506999</c:v>
                </c:pt>
                <c:pt idx="12897">
                  <c:v>0.23001605136436501</c:v>
                </c:pt>
                <c:pt idx="12898">
                  <c:v>0.230033886213661</c:v>
                </c:pt>
                <c:pt idx="12899">
                  <c:v>0.23005172106295699</c:v>
                </c:pt>
                <c:pt idx="12900">
                  <c:v>0.23006955591225201</c:v>
                </c:pt>
                <c:pt idx="12901">
                  <c:v>0.23008739076154799</c:v>
                </c:pt>
                <c:pt idx="12902">
                  <c:v>0.23010522561084301</c:v>
                </c:pt>
                <c:pt idx="12903">
                  <c:v>0.230123060460139</c:v>
                </c:pt>
                <c:pt idx="12904">
                  <c:v>0.23014089530943399</c:v>
                </c:pt>
                <c:pt idx="12905">
                  <c:v>0.23015873015873001</c:v>
                </c:pt>
                <c:pt idx="12906">
                  <c:v>0.230176565008025</c:v>
                </c:pt>
                <c:pt idx="12907">
                  <c:v>0.23019439985732101</c:v>
                </c:pt>
                <c:pt idx="12908">
                  <c:v>0.230212234706616</c:v>
                </c:pt>
                <c:pt idx="12909">
                  <c:v>0.23023006955591199</c:v>
                </c:pt>
                <c:pt idx="12910">
                  <c:v>0.23024790440520701</c:v>
                </c:pt>
                <c:pt idx="12911">
                  <c:v>0.230265739254503</c:v>
                </c:pt>
                <c:pt idx="12912">
                  <c:v>0.23028357410379799</c:v>
                </c:pt>
                <c:pt idx="12913">
                  <c:v>0.23030140895309401</c:v>
                </c:pt>
                <c:pt idx="12914">
                  <c:v>0.230319243802389</c:v>
                </c:pt>
                <c:pt idx="12915">
                  <c:v>0.23033707865168501</c:v>
                </c:pt>
                <c:pt idx="12916">
                  <c:v>0.23035491350098</c:v>
                </c:pt>
                <c:pt idx="12917">
                  <c:v>0.23037274835027599</c:v>
                </c:pt>
                <c:pt idx="12918">
                  <c:v>0.23039058319957101</c:v>
                </c:pt>
                <c:pt idx="12919">
                  <c:v>0.230408418048867</c:v>
                </c:pt>
                <c:pt idx="12920">
                  <c:v>0.23042625289816299</c:v>
                </c:pt>
                <c:pt idx="12921">
                  <c:v>0.230444087747458</c:v>
                </c:pt>
                <c:pt idx="12922">
                  <c:v>0.23046192259675399</c:v>
                </c:pt>
                <c:pt idx="12923">
                  <c:v>0.23047975744604901</c:v>
                </c:pt>
                <c:pt idx="12924">
                  <c:v>0.230497592295345</c:v>
                </c:pt>
                <c:pt idx="12925">
                  <c:v>0.23051542714463999</c:v>
                </c:pt>
                <c:pt idx="12926">
                  <c:v>0.23053326199393601</c:v>
                </c:pt>
                <c:pt idx="12927">
                  <c:v>0.230551096843231</c:v>
                </c:pt>
                <c:pt idx="12928">
                  <c:v>0.23056893169252701</c:v>
                </c:pt>
                <c:pt idx="12929">
                  <c:v>0.230586766541822</c:v>
                </c:pt>
                <c:pt idx="12930">
                  <c:v>0.23060460139111799</c:v>
                </c:pt>
                <c:pt idx="12931">
                  <c:v>0.23062243624041301</c:v>
                </c:pt>
                <c:pt idx="12932">
                  <c:v>0.230640271089709</c:v>
                </c:pt>
                <c:pt idx="12933">
                  <c:v>0.23065810593900399</c:v>
                </c:pt>
                <c:pt idx="12934">
                  <c:v>0.2306759407883</c:v>
                </c:pt>
                <c:pt idx="12935">
                  <c:v>0.23069377563759499</c:v>
                </c:pt>
                <c:pt idx="12936">
                  <c:v>0.23071161048689101</c:v>
                </c:pt>
                <c:pt idx="12937">
                  <c:v>0.230729445336186</c:v>
                </c:pt>
                <c:pt idx="12938">
                  <c:v>0.23074728018548199</c:v>
                </c:pt>
                <c:pt idx="12939">
                  <c:v>0.23076511503477701</c:v>
                </c:pt>
                <c:pt idx="12940">
                  <c:v>0.230782949884073</c:v>
                </c:pt>
                <c:pt idx="12941">
                  <c:v>0.23080078473336901</c:v>
                </c:pt>
                <c:pt idx="12942">
                  <c:v>0.230818619582664</c:v>
                </c:pt>
                <c:pt idx="12943">
                  <c:v>0.23083645443195999</c:v>
                </c:pt>
                <c:pt idx="12944">
                  <c:v>0.23085428928125501</c:v>
                </c:pt>
                <c:pt idx="12945">
                  <c:v>0.230872124130551</c:v>
                </c:pt>
                <c:pt idx="12946">
                  <c:v>0.23088995897984599</c:v>
                </c:pt>
                <c:pt idx="12947">
                  <c:v>0.23090779382914201</c:v>
                </c:pt>
                <c:pt idx="12948">
                  <c:v>0.23092562867843699</c:v>
                </c:pt>
                <c:pt idx="12949">
                  <c:v>0.23094346352773301</c:v>
                </c:pt>
                <c:pt idx="12950">
                  <c:v>0.230961298377028</c:v>
                </c:pt>
                <c:pt idx="12951">
                  <c:v>0.23097913322632399</c:v>
                </c:pt>
                <c:pt idx="12952">
                  <c:v>0.23099696807561901</c:v>
                </c:pt>
                <c:pt idx="12953">
                  <c:v>0.231014802924915</c:v>
                </c:pt>
                <c:pt idx="12954">
                  <c:v>0.23103263777420999</c:v>
                </c:pt>
                <c:pt idx="12955">
                  <c:v>0.231050472623506</c:v>
                </c:pt>
                <c:pt idx="12956">
                  <c:v>0.23106830747280099</c:v>
                </c:pt>
                <c:pt idx="12957">
                  <c:v>0.23108614232209701</c:v>
                </c:pt>
                <c:pt idx="12958">
                  <c:v>0.231103977171392</c:v>
                </c:pt>
                <c:pt idx="12959">
                  <c:v>0.23112181202068799</c:v>
                </c:pt>
                <c:pt idx="12960">
                  <c:v>0.23113964686998301</c:v>
                </c:pt>
                <c:pt idx="12961">
                  <c:v>0.231157481719279</c:v>
                </c:pt>
                <c:pt idx="12962">
                  <c:v>0.23117531656857401</c:v>
                </c:pt>
                <c:pt idx="12963">
                  <c:v>0.23119315141787</c:v>
                </c:pt>
                <c:pt idx="12964">
                  <c:v>0.23121098626716599</c:v>
                </c:pt>
                <c:pt idx="12965">
                  <c:v>0.23122882111646101</c:v>
                </c:pt>
                <c:pt idx="12966">
                  <c:v>0.231246655965757</c:v>
                </c:pt>
                <c:pt idx="12967">
                  <c:v>0.23126449081505199</c:v>
                </c:pt>
                <c:pt idx="12968">
                  <c:v>0.231282325664348</c:v>
                </c:pt>
                <c:pt idx="12969">
                  <c:v>0.23130016051364299</c:v>
                </c:pt>
                <c:pt idx="12970">
                  <c:v>0.23131799536293901</c:v>
                </c:pt>
                <c:pt idx="12971">
                  <c:v>0.231335830212234</c:v>
                </c:pt>
                <c:pt idx="12972">
                  <c:v>0.23135366506152999</c:v>
                </c:pt>
                <c:pt idx="12973">
                  <c:v>0.23137149991082501</c:v>
                </c:pt>
                <c:pt idx="12974">
                  <c:v>0.231389334760121</c:v>
                </c:pt>
                <c:pt idx="12975">
                  <c:v>0.23140716960941601</c:v>
                </c:pt>
                <c:pt idx="12976">
                  <c:v>0.231425004458712</c:v>
                </c:pt>
                <c:pt idx="12977">
                  <c:v>0.23144283930800699</c:v>
                </c:pt>
                <c:pt idx="12978">
                  <c:v>0.23146067415730301</c:v>
                </c:pt>
                <c:pt idx="12979">
                  <c:v>0.231478509006598</c:v>
                </c:pt>
                <c:pt idx="12980">
                  <c:v>0.23149634385589399</c:v>
                </c:pt>
                <c:pt idx="12981">
                  <c:v>0.23151417870518901</c:v>
                </c:pt>
                <c:pt idx="12982">
                  <c:v>0.23153201355448499</c:v>
                </c:pt>
                <c:pt idx="12983">
                  <c:v>0.23154984840378001</c:v>
                </c:pt>
                <c:pt idx="12984">
                  <c:v>0.231567683253076</c:v>
                </c:pt>
                <c:pt idx="12985">
                  <c:v>0.23158551810237199</c:v>
                </c:pt>
                <c:pt idx="12986">
                  <c:v>0.23160335295166701</c:v>
                </c:pt>
                <c:pt idx="12987">
                  <c:v>0.231621187800963</c:v>
                </c:pt>
                <c:pt idx="12988">
                  <c:v>0.23163902265025799</c:v>
                </c:pt>
                <c:pt idx="12989">
                  <c:v>0.231656857499554</c:v>
                </c:pt>
                <c:pt idx="12990">
                  <c:v>0.23167469234884899</c:v>
                </c:pt>
                <c:pt idx="12991">
                  <c:v>0.23169252719814501</c:v>
                </c:pt>
                <c:pt idx="12992">
                  <c:v>0.23171036204744</c:v>
                </c:pt>
                <c:pt idx="12993">
                  <c:v>0.23172819689673599</c:v>
                </c:pt>
                <c:pt idx="12994">
                  <c:v>0.23174603174603101</c:v>
                </c:pt>
                <c:pt idx="12995">
                  <c:v>0.23176386659532699</c:v>
                </c:pt>
                <c:pt idx="12996">
                  <c:v>0.23178170144462201</c:v>
                </c:pt>
                <c:pt idx="12997">
                  <c:v>0.231799536293918</c:v>
                </c:pt>
                <c:pt idx="12998">
                  <c:v>0.23181737114321299</c:v>
                </c:pt>
                <c:pt idx="12999">
                  <c:v>0.23183520599250901</c:v>
                </c:pt>
                <c:pt idx="13000">
                  <c:v>0.231853040841804</c:v>
                </c:pt>
                <c:pt idx="13001">
                  <c:v>0.23187087569109999</c:v>
                </c:pt>
                <c:pt idx="13002">
                  <c:v>0.231888710540395</c:v>
                </c:pt>
                <c:pt idx="13003">
                  <c:v>0.23190654538969099</c:v>
                </c:pt>
                <c:pt idx="13004">
                  <c:v>0.23192438023898601</c:v>
                </c:pt>
                <c:pt idx="13005">
                  <c:v>0.231942215088282</c:v>
                </c:pt>
                <c:pt idx="13006">
                  <c:v>0.23196004993757799</c:v>
                </c:pt>
                <c:pt idx="13007">
                  <c:v>0.23197788478687301</c:v>
                </c:pt>
                <c:pt idx="13008">
                  <c:v>0.231995719636169</c:v>
                </c:pt>
                <c:pt idx="13009">
                  <c:v>0.23201355448546401</c:v>
                </c:pt>
                <c:pt idx="13010">
                  <c:v>0.23203138933476</c:v>
                </c:pt>
                <c:pt idx="13011">
                  <c:v>0.23204922418405499</c:v>
                </c:pt>
                <c:pt idx="13012">
                  <c:v>0.23206705903335101</c:v>
                </c:pt>
                <c:pt idx="13013">
                  <c:v>0.232084893882646</c:v>
                </c:pt>
                <c:pt idx="13014">
                  <c:v>0.23210272873194199</c:v>
                </c:pt>
                <c:pt idx="13015">
                  <c:v>0.232120563581237</c:v>
                </c:pt>
                <c:pt idx="13016">
                  <c:v>0.23213839843053299</c:v>
                </c:pt>
                <c:pt idx="13017">
                  <c:v>0.23215623327982801</c:v>
                </c:pt>
                <c:pt idx="13018">
                  <c:v>0.232174068129124</c:v>
                </c:pt>
                <c:pt idx="13019">
                  <c:v>0.23219190297841899</c:v>
                </c:pt>
                <c:pt idx="13020">
                  <c:v>0.23220973782771501</c:v>
                </c:pt>
                <c:pt idx="13021">
                  <c:v>0.23222757267701</c:v>
                </c:pt>
                <c:pt idx="13022">
                  <c:v>0.23224540752630601</c:v>
                </c:pt>
                <c:pt idx="13023">
                  <c:v>0.232263242375601</c:v>
                </c:pt>
                <c:pt idx="13024">
                  <c:v>0.23228107722489699</c:v>
                </c:pt>
                <c:pt idx="13025">
                  <c:v>0.23229891207419201</c:v>
                </c:pt>
                <c:pt idx="13026">
                  <c:v>0.232316746923488</c:v>
                </c:pt>
                <c:pt idx="13027">
                  <c:v>0.23233458177278399</c:v>
                </c:pt>
                <c:pt idx="13028">
                  <c:v>0.23235241662207901</c:v>
                </c:pt>
                <c:pt idx="13029">
                  <c:v>0.23237025147137499</c:v>
                </c:pt>
                <c:pt idx="13030">
                  <c:v>0.23238808632067001</c:v>
                </c:pt>
                <c:pt idx="13031">
                  <c:v>0.232405921169966</c:v>
                </c:pt>
                <c:pt idx="13032">
                  <c:v>0.23242375601926099</c:v>
                </c:pt>
                <c:pt idx="13033">
                  <c:v>0.23244159086855701</c:v>
                </c:pt>
                <c:pt idx="13034">
                  <c:v>0.232459425717852</c:v>
                </c:pt>
                <c:pt idx="13035">
                  <c:v>0.23247726056714799</c:v>
                </c:pt>
                <c:pt idx="13036">
                  <c:v>0.232495095416443</c:v>
                </c:pt>
                <c:pt idx="13037">
                  <c:v>0.23251293026573899</c:v>
                </c:pt>
                <c:pt idx="13038">
                  <c:v>0.23253076511503401</c:v>
                </c:pt>
                <c:pt idx="13039">
                  <c:v>0.23254859996433</c:v>
                </c:pt>
                <c:pt idx="13040">
                  <c:v>0.23256643481362499</c:v>
                </c:pt>
                <c:pt idx="13041">
                  <c:v>0.23258426966292101</c:v>
                </c:pt>
                <c:pt idx="13042">
                  <c:v>0.232602104512216</c:v>
                </c:pt>
                <c:pt idx="13043">
                  <c:v>0.23261993936151201</c:v>
                </c:pt>
                <c:pt idx="13044">
                  <c:v>0.232637774210807</c:v>
                </c:pt>
                <c:pt idx="13045">
                  <c:v>0.23265560906010299</c:v>
                </c:pt>
                <c:pt idx="13046">
                  <c:v>0.23267344390939801</c:v>
                </c:pt>
                <c:pt idx="13047">
                  <c:v>0.232691278758694</c:v>
                </c:pt>
                <c:pt idx="13048">
                  <c:v>0.23270911360798999</c:v>
                </c:pt>
                <c:pt idx="13049">
                  <c:v>0.232726948457285</c:v>
                </c:pt>
                <c:pt idx="13050">
                  <c:v>0.23274478330658099</c:v>
                </c:pt>
                <c:pt idx="13051">
                  <c:v>0.23276261815587601</c:v>
                </c:pt>
                <c:pt idx="13052">
                  <c:v>0.232780453005172</c:v>
                </c:pt>
                <c:pt idx="13053">
                  <c:v>0.23279828785446699</c:v>
                </c:pt>
                <c:pt idx="13054">
                  <c:v>0.23281612270376301</c:v>
                </c:pt>
                <c:pt idx="13055">
                  <c:v>0.232833957553058</c:v>
                </c:pt>
                <c:pt idx="13056">
                  <c:v>0.23285179240235401</c:v>
                </c:pt>
                <c:pt idx="13057">
                  <c:v>0.232869627251649</c:v>
                </c:pt>
                <c:pt idx="13058">
                  <c:v>0.23288746210094499</c:v>
                </c:pt>
                <c:pt idx="13059">
                  <c:v>0.23290529695024001</c:v>
                </c:pt>
                <c:pt idx="13060">
                  <c:v>0.232923131799536</c:v>
                </c:pt>
                <c:pt idx="13061">
                  <c:v>0.23294096664883099</c:v>
                </c:pt>
                <c:pt idx="13062">
                  <c:v>0.232958801498127</c:v>
                </c:pt>
                <c:pt idx="13063">
                  <c:v>0.23297663634742199</c:v>
                </c:pt>
                <c:pt idx="13064">
                  <c:v>0.23299447119671801</c:v>
                </c:pt>
                <c:pt idx="13065">
                  <c:v>0.233012306046013</c:v>
                </c:pt>
                <c:pt idx="13066">
                  <c:v>0.23303014089530899</c:v>
                </c:pt>
                <c:pt idx="13067">
                  <c:v>0.23304797574460401</c:v>
                </c:pt>
                <c:pt idx="13068">
                  <c:v>0.2330658105939</c:v>
                </c:pt>
                <c:pt idx="13069">
                  <c:v>0.23308364544319601</c:v>
                </c:pt>
                <c:pt idx="13070">
                  <c:v>0.233101480292491</c:v>
                </c:pt>
                <c:pt idx="13071">
                  <c:v>0.23311931514178699</c:v>
                </c:pt>
                <c:pt idx="13072">
                  <c:v>0.23313714999108201</c:v>
                </c:pt>
                <c:pt idx="13073">
                  <c:v>0.233154984840378</c:v>
                </c:pt>
                <c:pt idx="13074">
                  <c:v>0.23317281968967299</c:v>
                </c:pt>
                <c:pt idx="13075">
                  <c:v>0.23319065453896901</c:v>
                </c:pt>
                <c:pt idx="13076">
                  <c:v>0.233208489388264</c:v>
                </c:pt>
                <c:pt idx="13077">
                  <c:v>0.23322632423756001</c:v>
                </c:pt>
                <c:pt idx="13078">
                  <c:v>0.233244159086855</c:v>
                </c:pt>
                <c:pt idx="13079">
                  <c:v>0.23326199393615099</c:v>
                </c:pt>
                <c:pt idx="13080">
                  <c:v>0.23327982878544601</c:v>
                </c:pt>
                <c:pt idx="13081">
                  <c:v>0.233297663634742</c:v>
                </c:pt>
                <c:pt idx="13082">
                  <c:v>0.23331549848403699</c:v>
                </c:pt>
                <c:pt idx="13083">
                  <c:v>0.233333333333333</c:v>
                </c:pt>
                <c:pt idx="13084">
                  <c:v>0.23335116818262799</c:v>
                </c:pt>
                <c:pt idx="13085">
                  <c:v>0.23336900303192401</c:v>
                </c:pt>
                <c:pt idx="13086">
                  <c:v>0.233386837881219</c:v>
                </c:pt>
                <c:pt idx="13087">
                  <c:v>0.23340467273051499</c:v>
                </c:pt>
                <c:pt idx="13088">
                  <c:v>0.23342250757981001</c:v>
                </c:pt>
                <c:pt idx="13089">
                  <c:v>0.233440342429106</c:v>
                </c:pt>
                <c:pt idx="13090">
                  <c:v>0.23345817727840101</c:v>
                </c:pt>
                <c:pt idx="13091">
                  <c:v>0.233476012127697</c:v>
                </c:pt>
                <c:pt idx="13092">
                  <c:v>0.23349384697699299</c:v>
                </c:pt>
                <c:pt idx="13093">
                  <c:v>0.23351168182628801</c:v>
                </c:pt>
                <c:pt idx="13094">
                  <c:v>0.233529516675584</c:v>
                </c:pt>
                <c:pt idx="13095">
                  <c:v>0.23354735152487899</c:v>
                </c:pt>
                <c:pt idx="13096">
                  <c:v>0.233565186374175</c:v>
                </c:pt>
                <c:pt idx="13097">
                  <c:v>0.23358302122346999</c:v>
                </c:pt>
                <c:pt idx="13098">
                  <c:v>0.23360085607276601</c:v>
                </c:pt>
                <c:pt idx="13099">
                  <c:v>0.233618690922061</c:v>
                </c:pt>
                <c:pt idx="13100">
                  <c:v>0.23363652577135699</c:v>
                </c:pt>
                <c:pt idx="13101">
                  <c:v>0.23365436062065201</c:v>
                </c:pt>
                <c:pt idx="13102">
                  <c:v>0.233672195469948</c:v>
                </c:pt>
                <c:pt idx="13103">
                  <c:v>0.23369003031924299</c:v>
                </c:pt>
                <c:pt idx="13104">
                  <c:v>0.233707865168539</c:v>
                </c:pt>
                <c:pt idx="13105">
                  <c:v>0.23372570001783399</c:v>
                </c:pt>
                <c:pt idx="13106">
                  <c:v>0.23374353486713001</c:v>
                </c:pt>
                <c:pt idx="13107">
                  <c:v>0.233761369716425</c:v>
                </c:pt>
                <c:pt idx="13108">
                  <c:v>0.23377920456572099</c:v>
                </c:pt>
                <c:pt idx="13109">
                  <c:v>0.23379703941501601</c:v>
                </c:pt>
                <c:pt idx="13110">
                  <c:v>0.23381487426431199</c:v>
                </c:pt>
                <c:pt idx="13111">
                  <c:v>0.23383270911360701</c:v>
                </c:pt>
                <c:pt idx="13112">
                  <c:v>0.233850543962903</c:v>
                </c:pt>
                <c:pt idx="13113">
                  <c:v>0.23386837881219899</c:v>
                </c:pt>
                <c:pt idx="13114">
                  <c:v>0.23388621366149401</c:v>
                </c:pt>
                <c:pt idx="13115">
                  <c:v>0.23390404851079</c:v>
                </c:pt>
                <c:pt idx="13116">
                  <c:v>0.23392188336008499</c:v>
                </c:pt>
                <c:pt idx="13117">
                  <c:v>0.233939718209381</c:v>
                </c:pt>
                <c:pt idx="13118">
                  <c:v>0.23395755305867599</c:v>
                </c:pt>
                <c:pt idx="13119">
                  <c:v>0.23397538790797201</c:v>
                </c:pt>
                <c:pt idx="13120">
                  <c:v>0.233993222757267</c:v>
                </c:pt>
                <c:pt idx="13121">
                  <c:v>0.23401105760656299</c:v>
                </c:pt>
                <c:pt idx="13122">
                  <c:v>0.23402889245585801</c:v>
                </c:pt>
                <c:pt idx="13123">
                  <c:v>0.234046727305154</c:v>
                </c:pt>
                <c:pt idx="13124">
                  <c:v>0.23406456215444901</c:v>
                </c:pt>
                <c:pt idx="13125">
                  <c:v>0.234082397003745</c:v>
                </c:pt>
                <c:pt idx="13126">
                  <c:v>0.23410023185303999</c:v>
                </c:pt>
                <c:pt idx="13127">
                  <c:v>0.23411806670233601</c:v>
                </c:pt>
                <c:pt idx="13128">
                  <c:v>0.234135901551631</c:v>
                </c:pt>
                <c:pt idx="13129">
                  <c:v>0.23415373640092699</c:v>
                </c:pt>
                <c:pt idx="13130">
                  <c:v>0.234171571250222</c:v>
                </c:pt>
                <c:pt idx="13131">
                  <c:v>0.23418940609951799</c:v>
                </c:pt>
                <c:pt idx="13132">
                  <c:v>0.23420724094881301</c:v>
                </c:pt>
                <c:pt idx="13133">
                  <c:v>0.234225075798109</c:v>
                </c:pt>
                <c:pt idx="13134">
                  <c:v>0.23424291064740499</c:v>
                </c:pt>
                <c:pt idx="13135">
                  <c:v>0.23426074549670001</c:v>
                </c:pt>
                <c:pt idx="13136">
                  <c:v>0.234278580345996</c:v>
                </c:pt>
                <c:pt idx="13137">
                  <c:v>0.23429641519529101</c:v>
                </c:pt>
                <c:pt idx="13138">
                  <c:v>0.234314250044587</c:v>
                </c:pt>
                <c:pt idx="13139">
                  <c:v>0.23433208489388199</c:v>
                </c:pt>
                <c:pt idx="13140">
                  <c:v>0.23434991974317801</c:v>
                </c:pt>
                <c:pt idx="13141">
                  <c:v>0.234367754592473</c:v>
                </c:pt>
                <c:pt idx="13142">
                  <c:v>0.23438558944176899</c:v>
                </c:pt>
                <c:pt idx="13143">
                  <c:v>0.23440342429106401</c:v>
                </c:pt>
                <c:pt idx="13144">
                  <c:v>0.23442125914035999</c:v>
                </c:pt>
                <c:pt idx="13145">
                  <c:v>0.23443909398965501</c:v>
                </c:pt>
                <c:pt idx="13146">
                  <c:v>0.234456928838951</c:v>
                </c:pt>
                <c:pt idx="13147">
                  <c:v>0.23447476368824599</c:v>
                </c:pt>
                <c:pt idx="13148">
                  <c:v>0.23449259853754201</c:v>
                </c:pt>
                <c:pt idx="13149">
                  <c:v>0.234510433386837</c:v>
                </c:pt>
                <c:pt idx="13150">
                  <c:v>0.23452826823613299</c:v>
                </c:pt>
                <c:pt idx="13151">
                  <c:v>0.234546103085428</c:v>
                </c:pt>
                <c:pt idx="13152">
                  <c:v>0.23456393793472399</c:v>
                </c:pt>
                <c:pt idx="13153">
                  <c:v>0.23458177278401901</c:v>
                </c:pt>
                <c:pt idx="13154">
                  <c:v>0.234599607633315</c:v>
                </c:pt>
                <c:pt idx="13155">
                  <c:v>0.23461744248261099</c:v>
                </c:pt>
                <c:pt idx="13156">
                  <c:v>0.23463527733190601</c:v>
                </c:pt>
                <c:pt idx="13157">
                  <c:v>0.23465311218120199</c:v>
                </c:pt>
                <c:pt idx="13158">
                  <c:v>0.23467094703049701</c:v>
                </c:pt>
                <c:pt idx="13159">
                  <c:v>0.234688781879793</c:v>
                </c:pt>
                <c:pt idx="13160">
                  <c:v>0.23470661672908799</c:v>
                </c:pt>
                <c:pt idx="13161">
                  <c:v>0.23472445157838401</c:v>
                </c:pt>
                <c:pt idx="13162">
                  <c:v>0.234742286427679</c:v>
                </c:pt>
                <c:pt idx="13163">
                  <c:v>0.23476012127697499</c:v>
                </c:pt>
                <c:pt idx="13164">
                  <c:v>0.23477795612627</c:v>
                </c:pt>
                <c:pt idx="13165">
                  <c:v>0.23479579097556599</c:v>
                </c:pt>
                <c:pt idx="13166">
                  <c:v>0.23481362582486101</c:v>
                </c:pt>
                <c:pt idx="13167">
                  <c:v>0.234831460674157</c:v>
                </c:pt>
                <c:pt idx="13168">
                  <c:v>0.23484929552345199</c:v>
                </c:pt>
                <c:pt idx="13169">
                  <c:v>0.23486713037274801</c:v>
                </c:pt>
                <c:pt idx="13170">
                  <c:v>0.234884965222043</c:v>
                </c:pt>
                <c:pt idx="13171">
                  <c:v>0.23490280007133901</c:v>
                </c:pt>
                <c:pt idx="13172">
                  <c:v>0.234920634920634</c:v>
                </c:pt>
                <c:pt idx="13173">
                  <c:v>0.23493846976992999</c:v>
                </c:pt>
                <c:pt idx="13174">
                  <c:v>0.23495630461922501</c:v>
                </c:pt>
                <c:pt idx="13175">
                  <c:v>0.234974139468521</c:v>
                </c:pt>
                <c:pt idx="13176">
                  <c:v>0.23499197431781699</c:v>
                </c:pt>
                <c:pt idx="13177">
                  <c:v>0.235009809167112</c:v>
                </c:pt>
                <c:pt idx="13178">
                  <c:v>0.23502764401640799</c:v>
                </c:pt>
                <c:pt idx="13179">
                  <c:v>0.23504547886570301</c:v>
                </c:pt>
                <c:pt idx="13180">
                  <c:v>0.235063313714999</c:v>
                </c:pt>
                <c:pt idx="13181">
                  <c:v>0.23508114856429399</c:v>
                </c:pt>
                <c:pt idx="13182">
                  <c:v>0.23509898341359001</c:v>
                </c:pt>
                <c:pt idx="13183">
                  <c:v>0.235116818262885</c:v>
                </c:pt>
                <c:pt idx="13184">
                  <c:v>0.23513465311218101</c:v>
                </c:pt>
                <c:pt idx="13185">
                  <c:v>0.235152487961476</c:v>
                </c:pt>
                <c:pt idx="13186">
                  <c:v>0.23517032281077199</c:v>
                </c:pt>
                <c:pt idx="13187">
                  <c:v>0.23518815766006701</c:v>
                </c:pt>
                <c:pt idx="13188">
                  <c:v>0.235205992509363</c:v>
                </c:pt>
                <c:pt idx="13189">
                  <c:v>0.23522382735865799</c:v>
                </c:pt>
                <c:pt idx="13190">
                  <c:v>0.23524166220795401</c:v>
                </c:pt>
                <c:pt idx="13191">
                  <c:v>0.235259497057249</c:v>
                </c:pt>
                <c:pt idx="13192">
                  <c:v>0.23527733190654501</c:v>
                </c:pt>
                <c:pt idx="13193">
                  <c:v>0.23529516675584</c:v>
                </c:pt>
                <c:pt idx="13194">
                  <c:v>0.23531300160513599</c:v>
                </c:pt>
                <c:pt idx="13195">
                  <c:v>0.23533083645443101</c:v>
                </c:pt>
                <c:pt idx="13196">
                  <c:v>0.235348671303727</c:v>
                </c:pt>
                <c:pt idx="13197">
                  <c:v>0.23536650615302299</c:v>
                </c:pt>
                <c:pt idx="13198">
                  <c:v>0.235384341002318</c:v>
                </c:pt>
                <c:pt idx="13199">
                  <c:v>0.23540217585161399</c:v>
                </c:pt>
                <c:pt idx="13200">
                  <c:v>0.23542001070090901</c:v>
                </c:pt>
                <c:pt idx="13201">
                  <c:v>0.235437845550205</c:v>
                </c:pt>
                <c:pt idx="13202">
                  <c:v>0.23545568039949999</c:v>
                </c:pt>
                <c:pt idx="13203">
                  <c:v>0.23547351524879601</c:v>
                </c:pt>
                <c:pt idx="13204">
                  <c:v>0.235491350098091</c:v>
                </c:pt>
                <c:pt idx="13205">
                  <c:v>0.23550918494738701</c:v>
                </c:pt>
                <c:pt idx="13206">
                  <c:v>0.235527019796682</c:v>
                </c:pt>
                <c:pt idx="13207">
                  <c:v>0.23554485464597799</c:v>
                </c:pt>
                <c:pt idx="13208">
                  <c:v>0.23556268949527301</c:v>
                </c:pt>
                <c:pt idx="13209">
                  <c:v>0.235580524344569</c:v>
                </c:pt>
                <c:pt idx="13210">
                  <c:v>0.23559835919386399</c:v>
                </c:pt>
                <c:pt idx="13211">
                  <c:v>0.23561619404316</c:v>
                </c:pt>
                <c:pt idx="13212">
                  <c:v>0.23563402889245499</c:v>
                </c:pt>
                <c:pt idx="13213">
                  <c:v>0.23565186374175101</c:v>
                </c:pt>
                <c:pt idx="13214">
                  <c:v>0.235669698591046</c:v>
                </c:pt>
                <c:pt idx="13215">
                  <c:v>0.23568753344034199</c:v>
                </c:pt>
                <c:pt idx="13216">
                  <c:v>0.23570536828963701</c:v>
                </c:pt>
                <c:pt idx="13217">
                  <c:v>0.235723203138933</c:v>
                </c:pt>
                <c:pt idx="13218">
                  <c:v>0.23574103798822901</c:v>
                </c:pt>
                <c:pt idx="13219">
                  <c:v>0.235758872837524</c:v>
                </c:pt>
                <c:pt idx="13220">
                  <c:v>0.23577670768681999</c:v>
                </c:pt>
                <c:pt idx="13221">
                  <c:v>0.23579454253611501</c:v>
                </c:pt>
                <c:pt idx="13222">
                  <c:v>0.235812377385411</c:v>
                </c:pt>
                <c:pt idx="13223">
                  <c:v>0.23583021223470599</c:v>
                </c:pt>
                <c:pt idx="13224">
                  <c:v>0.235848047084002</c:v>
                </c:pt>
                <c:pt idx="13225">
                  <c:v>0.23586588193329699</c:v>
                </c:pt>
                <c:pt idx="13226">
                  <c:v>0.23588371678259301</c:v>
                </c:pt>
                <c:pt idx="13227">
                  <c:v>0.235901551631888</c:v>
                </c:pt>
                <c:pt idx="13228">
                  <c:v>0.23591938648118399</c:v>
                </c:pt>
                <c:pt idx="13229">
                  <c:v>0.23593722133047901</c:v>
                </c:pt>
                <c:pt idx="13230">
                  <c:v>0.235955056179775</c:v>
                </c:pt>
                <c:pt idx="13231">
                  <c:v>0.23597289102906999</c:v>
                </c:pt>
                <c:pt idx="13232">
                  <c:v>0.235990725878366</c:v>
                </c:pt>
                <c:pt idx="13233">
                  <c:v>0.23600856072766099</c:v>
                </c:pt>
                <c:pt idx="13234">
                  <c:v>0.23602639557695701</c:v>
                </c:pt>
                <c:pt idx="13235">
                  <c:v>0.236044230426252</c:v>
                </c:pt>
                <c:pt idx="13236">
                  <c:v>0.23606206527554799</c:v>
                </c:pt>
                <c:pt idx="13237">
                  <c:v>0.23607990012484301</c:v>
                </c:pt>
                <c:pt idx="13238">
                  <c:v>0.236097734974139</c:v>
                </c:pt>
                <c:pt idx="13239">
                  <c:v>0.23611556982343401</c:v>
                </c:pt>
                <c:pt idx="13240">
                  <c:v>0.23613340467273</c:v>
                </c:pt>
                <c:pt idx="13241">
                  <c:v>0.23615123952202599</c:v>
                </c:pt>
                <c:pt idx="13242">
                  <c:v>0.23616907437132101</c:v>
                </c:pt>
                <c:pt idx="13243">
                  <c:v>0.236186909220617</c:v>
                </c:pt>
                <c:pt idx="13244">
                  <c:v>0.23620474406991199</c:v>
                </c:pt>
                <c:pt idx="13245">
                  <c:v>0.236222578919208</c:v>
                </c:pt>
                <c:pt idx="13246">
                  <c:v>0.23624041376850299</c:v>
                </c:pt>
                <c:pt idx="13247">
                  <c:v>0.23625824861779901</c:v>
                </c:pt>
                <c:pt idx="13248">
                  <c:v>0.236276083467094</c:v>
                </c:pt>
                <c:pt idx="13249">
                  <c:v>0.23629391831638999</c:v>
                </c:pt>
                <c:pt idx="13250">
                  <c:v>0.23631175316568501</c:v>
                </c:pt>
                <c:pt idx="13251">
                  <c:v>0.236329588014981</c:v>
                </c:pt>
                <c:pt idx="13252">
                  <c:v>0.23634742286427601</c:v>
                </c:pt>
                <c:pt idx="13253">
                  <c:v>0.236365257713572</c:v>
                </c:pt>
                <c:pt idx="13254">
                  <c:v>0.23638309256286699</c:v>
                </c:pt>
                <c:pt idx="13255">
                  <c:v>0.23640092741216301</c:v>
                </c:pt>
                <c:pt idx="13256">
                  <c:v>0.236418762261458</c:v>
                </c:pt>
                <c:pt idx="13257">
                  <c:v>0.23643659711075399</c:v>
                </c:pt>
                <c:pt idx="13258">
                  <c:v>0.23645443196004901</c:v>
                </c:pt>
                <c:pt idx="13259">
                  <c:v>0.23647226680934499</c:v>
                </c:pt>
                <c:pt idx="13260">
                  <c:v>0.23649010165864001</c:v>
                </c:pt>
                <c:pt idx="13261">
                  <c:v>0.236507936507936</c:v>
                </c:pt>
                <c:pt idx="13262">
                  <c:v>0.23652577135723199</c:v>
                </c:pt>
                <c:pt idx="13263">
                  <c:v>0.23654360620652701</c:v>
                </c:pt>
                <c:pt idx="13264">
                  <c:v>0.236561441055823</c:v>
                </c:pt>
                <c:pt idx="13265">
                  <c:v>0.23657927590511801</c:v>
                </c:pt>
                <c:pt idx="13266">
                  <c:v>0.236597110754414</c:v>
                </c:pt>
                <c:pt idx="13267">
                  <c:v>0.23661494560370899</c:v>
                </c:pt>
                <c:pt idx="13268">
                  <c:v>0.23663278045300501</c:v>
                </c:pt>
                <c:pt idx="13269">
                  <c:v>0.2366506153023</c:v>
                </c:pt>
                <c:pt idx="13270">
                  <c:v>0.23666845015159599</c:v>
                </c:pt>
                <c:pt idx="13271">
                  <c:v>0.23668628500089101</c:v>
                </c:pt>
                <c:pt idx="13272">
                  <c:v>0.23670411985018699</c:v>
                </c:pt>
                <c:pt idx="13273">
                  <c:v>0.23672195469948201</c:v>
                </c:pt>
                <c:pt idx="13274">
                  <c:v>0.236739789548778</c:v>
                </c:pt>
                <c:pt idx="13275">
                  <c:v>0.23675762439807299</c:v>
                </c:pt>
                <c:pt idx="13276">
                  <c:v>0.23677545924736901</c:v>
                </c:pt>
                <c:pt idx="13277">
                  <c:v>0.236793294096664</c:v>
                </c:pt>
                <c:pt idx="13278">
                  <c:v>0.23681112894595999</c:v>
                </c:pt>
                <c:pt idx="13279">
                  <c:v>0.236828963795255</c:v>
                </c:pt>
                <c:pt idx="13280">
                  <c:v>0.23684679864455099</c:v>
                </c:pt>
                <c:pt idx="13281">
                  <c:v>0.23686463349384601</c:v>
                </c:pt>
                <c:pt idx="13282">
                  <c:v>0.236882468343142</c:v>
                </c:pt>
                <c:pt idx="13283">
                  <c:v>0.23690030319243799</c:v>
                </c:pt>
                <c:pt idx="13284">
                  <c:v>0.23691813804173301</c:v>
                </c:pt>
                <c:pt idx="13285">
                  <c:v>0.236935972891029</c:v>
                </c:pt>
                <c:pt idx="13286">
                  <c:v>0.23695380774032401</c:v>
                </c:pt>
                <c:pt idx="13287">
                  <c:v>0.23697164258962</c:v>
                </c:pt>
                <c:pt idx="13288">
                  <c:v>0.23698947743891499</c:v>
                </c:pt>
                <c:pt idx="13289">
                  <c:v>0.23700731228821101</c:v>
                </c:pt>
                <c:pt idx="13290">
                  <c:v>0.237025147137506</c:v>
                </c:pt>
                <c:pt idx="13291">
                  <c:v>0.23704298198680199</c:v>
                </c:pt>
                <c:pt idx="13292">
                  <c:v>0.237060816836097</c:v>
                </c:pt>
                <c:pt idx="13293">
                  <c:v>0.23707865168539299</c:v>
                </c:pt>
                <c:pt idx="13294">
                  <c:v>0.23709648653468801</c:v>
                </c:pt>
                <c:pt idx="13295">
                  <c:v>0.237114321383984</c:v>
                </c:pt>
                <c:pt idx="13296">
                  <c:v>0.23713215623327899</c:v>
                </c:pt>
                <c:pt idx="13297">
                  <c:v>0.23714999108257501</c:v>
                </c:pt>
                <c:pt idx="13298">
                  <c:v>0.23716782593187</c:v>
                </c:pt>
                <c:pt idx="13299">
                  <c:v>0.23718566078116601</c:v>
                </c:pt>
                <c:pt idx="13300">
                  <c:v>0.237203495630461</c:v>
                </c:pt>
                <c:pt idx="13301">
                  <c:v>0.23722133047975699</c:v>
                </c:pt>
                <c:pt idx="13302">
                  <c:v>0.23723916532905201</c:v>
                </c:pt>
                <c:pt idx="13303">
                  <c:v>0.237257000178348</c:v>
                </c:pt>
                <c:pt idx="13304">
                  <c:v>0.23727483502764399</c:v>
                </c:pt>
                <c:pt idx="13305">
                  <c:v>0.23729266987693901</c:v>
                </c:pt>
                <c:pt idx="13306">
                  <c:v>0.23731050472623499</c:v>
                </c:pt>
                <c:pt idx="13307">
                  <c:v>0.23732833957553001</c:v>
                </c:pt>
                <c:pt idx="13308">
                  <c:v>0.237346174424826</c:v>
                </c:pt>
                <c:pt idx="13309">
                  <c:v>0.23736400927412099</c:v>
                </c:pt>
                <c:pt idx="13310">
                  <c:v>0.23738184412341701</c:v>
                </c:pt>
                <c:pt idx="13311">
                  <c:v>0.237399678972712</c:v>
                </c:pt>
                <c:pt idx="13312">
                  <c:v>0.23741751382200799</c:v>
                </c:pt>
                <c:pt idx="13313">
                  <c:v>0.237435348671303</c:v>
                </c:pt>
                <c:pt idx="13314">
                  <c:v>0.23745318352059899</c:v>
                </c:pt>
                <c:pt idx="13315">
                  <c:v>0.23747101836989401</c:v>
                </c:pt>
                <c:pt idx="13316">
                  <c:v>0.23748885321919</c:v>
                </c:pt>
                <c:pt idx="13317">
                  <c:v>0.23750668806848499</c:v>
                </c:pt>
                <c:pt idx="13318">
                  <c:v>0.23752452291778101</c:v>
                </c:pt>
                <c:pt idx="13319">
                  <c:v>0.237542357767076</c:v>
                </c:pt>
                <c:pt idx="13320">
                  <c:v>0.23756019261637201</c:v>
                </c:pt>
                <c:pt idx="13321">
                  <c:v>0.237578027465667</c:v>
                </c:pt>
                <c:pt idx="13322">
                  <c:v>0.23759586231496299</c:v>
                </c:pt>
                <c:pt idx="13323">
                  <c:v>0.23761369716425801</c:v>
                </c:pt>
                <c:pt idx="13324">
                  <c:v>0.237631532013554</c:v>
                </c:pt>
                <c:pt idx="13325">
                  <c:v>0.23764936686284999</c:v>
                </c:pt>
                <c:pt idx="13326">
                  <c:v>0.237667201712145</c:v>
                </c:pt>
                <c:pt idx="13327">
                  <c:v>0.23768503656144099</c:v>
                </c:pt>
                <c:pt idx="13328">
                  <c:v>0.23770287141073601</c:v>
                </c:pt>
                <c:pt idx="13329">
                  <c:v>0.237720706260032</c:v>
                </c:pt>
                <c:pt idx="13330">
                  <c:v>0.23773854110932699</c:v>
                </c:pt>
                <c:pt idx="13331">
                  <c:v>0.23775637595862301</c:v>
                </c:pt>
                <c:pt idx="13332">
                  <c:v>0.237774210807918</c:v>
                </c:pt>
                <c:pt idx="13333">
                  <c:v>0.23779204565721401</c:v>
                </c:pt>
                <c:pt idx="13334">
                  <c:v>0.237809880506509</c:v>
                </c:pt>
                <c:pt idx="13335">
                  <c:v>0.23782771535580499</c:v>
                </c:pt>
                <c:pt idx="13336">
                  <c:v>0.23784555020510001</c:v>
                </c:pt>
                <c:pt idx="13337">
                  <c:v>0.237863385054396</c:v>
                </c:pt>
                <c:pt idx="13338">
                  <c:v>0.23788121990369099</c:v>
                </c:pt>
                <c:pt idx="13339">
                  <c:v>0.237899054752987</c:v>
                </c:pt>
                <c:pt idx="13340">
                  <c:v>0.23791688960228199</c:v>
                </c:pt>
                <c:pt idx="13341">
                  <c:v>0.23793472445157801</c:v>
                </c:pt>
                <c:pt idx="13342">
                  <c:v>0.237952559300873</c:v>
                </c:pt>
                <c:pt idx="13343">
                  <c:v>0.23797039415016899</c:v>
                </c:pt>
                <c:pt idx="13344">
                  <c:v>0.23798822899946401</c:v>
                </c:pt>
                <c:pt idx="13345">
                  <c:v>0.23800606384876</c:v>
                </c:pt>
                <c:pt idx="13346">
                  <c:v>0.23802389869805601</c:v>
                </c:pt>
                <c:pt idx="13347">
                  <c:v>0.238041733547351</c:v>
                </c:pt>
                <c:pt idx="13348">
                  <c:v>0.23805956839664699</c:v>
                </c:pt>
                <c:pt idx="13349">
                  <c:v>0.23807740324594201</c:v>
                </c:pt>
                <c:pt idx="13350">
                  <c:v>0.238095238095238</c:v>
                </c:pt>
                <c:pt idx="13351">
                  <c:v>0.23811307294453299</c:v>
                </c:pt>
                <c:pt idx="13352">
                  <c:v>0.23813090779382901</c:v>
                </c:pt>
                <c:pt idx="13353">
                  <c:v>0.238148742643124</c:v>
                </c:pt>
                <c:pt idx="13354">
                  <c:v>0.23816657749242001</c:v>
                </c:pt>
                <c:pt idx="13355">
                  <c:v>0.238184412341715</c:v>
                </c:pt>
                <c:pt idx="13356">
                  <c:v>0.23820224719101099</c:v>
                </c:pt>
                <c:pt idx="13357">
                  <c:v>0.23822008204030601</c:v>
                </c:pt>
                <c:pt idx="13358">
                  <c:v>0.238237916889602</c:v>
                </c:pt>
                <c:pt idx="13359">
                  <c:v>0.23825575173889699</c:v>
                </c:pt>
                <c:pt idx="13360">
                  <c:v>0.238273586588193</c:v>
                </c:pt>
                <c:pt idx="13361">
                  <c:v>0.23829142143748799</c:v>
                </c:pt>
                <c:pt idx="13362">
                  <c:v>0.23830925628678401</c:v>
                </c:pt>
                <c:pt idx="13363">
                  <c:v>0.238327091136079</c:v>
                </c:pt>
                <c:pt idx="13364">
                  <c:v>0.23834492598537499</c:v>
                </c:pt>
                <c:pt idx="13365">
                  <c:v>0.23836276083467001</c:v>
                </c:pt>
                <c:pt idx="13366">
                  <c:v>0.238380595683966</c:v>
                </c:pt>
                <c:pt idx="13367">
                  <c:v>0.23839843053326101</c:v>
                </c:pt>
                <c:pt idx="13368">
                  <c:v>0.238416265382557</c:v>
                </c:pt>
                <c:pt idx="13369">
                  <c:v>0.23843410023185299</c:v>
                </c:pt>
                <c:pt idx="13370">
                  <c:v>0.23845193508114801</c:v>
                </c:pt>
                <c:pt idx="13371">
                  <c:v>0.238469769930444</c:v>
                </c:pt>
                <c:pt idx="13372">
                  <c:v>0.23848760477973899</c:v>
                </c:pt>
                <c:pt idx="13373">
                  <c:v>0.238505439629035</c:v>
                </c:pt>
                <c:pt idx="13374">
                  <c:v>0.23852327447832999</c:v>
                </c:pt>
                <c:pt idx="13375">
                  <c:v>0.23854110932762601</c:v>
                </c:pt>
                <c:pt idx="13376">
                  <c:v>0.238558944176921</c:v>
                </c:pt>
                <c:pt idx="13377">
                  <c:v>0.23857677902621699</c:v>
                </c:pt>
                <c:pt idx="13378">
                  <c:v>0.23859461387551201</c:v>
                </c:pt>
                <c:pt idx="13379">
                  <c:v>0.238612448724808</c:v>
                </c:pt>
                <c:pt idx="13380">
                  <c:v>0.23863028357410301</c:v>
                </c:pt>
                <c:pt idx="13381">
                  <c:v>0.238648118423399</c:v>
                </c:pt>
                <c:pt idx="13382">
                  <c:v>0.23866595327269399</c:v>
                </c:pt>
                <c:pt idx="13383">
                  <c:v>0.23868378812199001</c:v>
                </c:pt>
                <c:pt idx="13384">
                  <c:v>0.238701622971285</c:v>
                </c:pt>
                <c:pt idx="13385">
                  <c:v>0.23871945782058099</c:v>
                </c:pt>
                <c:pt idx="13386">
                  <c:v>0.23873729266987601</c:v>
                </c:pt>
                <c:pt idx="13387">
                  <c:v>0.23875512751917199</c:v>
                </c:pt>
                <c:pt idx="13388">
                  <c:v>0.23877296236846701</c:v>
                </c:pt>
                <c:pt idx="13389">
                  <c:v>0.238790797217763</c:v>
                </c:pt>
                <c:pt idx="13390">
                  <c:v>0.23880863206705899</c:v>
                </c:pt>
                <c:pt idx="13391">
                  <c:v>0.23882646691635401</c:v>
                </c:pt>
                <c:pt idx="13392">
                  <c:v>0.23884430176565</c:v>
                </c:pt>
                <c:pt idx="13393">
                  <c:v>0.23886213661494499</c:v>
                </c:pt>
                <c:pt idx="13394">
                  <c:v>0.238879971464241</c:v>
                </c:pt>
                <c:pt idx="13395">
                  <c:v>0.23889780631353599</c:v>
                </c:pt>
                <c:pt idx="13396">
                  <c:v>0.23891564116283201</c:v>
                </c:pt>
                <c:pt idx="13397">
                  <c:v>0.238933476012127</c:v>
                </c:pt>
                <c:pt idx="13398">
                  <c:v>0.23895131086142299</c:v>
                </c:pt>
                <c:pt idx="13399">
                  <c:v>0.23896914571071801</c:v>
                </c:pt>
                <c:pt idx="13400">
                  <c:v>0.238986980560014</c:v>
                </c:pt>
                <c:pt idx="13401">
                  <c:v>0.23900481540930901</c:v>
                </c:pt>
                <c:pt idx="13402">
                  <c:v>0.239022650258605</c:v>
                </c:pt>
                <c:pt idx="13403">
                  <c:v>0.23904048510789999</c:v>
                </c:pt>
                <c:pt idx="13404">
                  <c:v>0.23905831995719601</c:v>
                </c:pt>
                <c:pt idx="13405">
                  <c:v>0.239076154806491</c:v>
                </c:pt>
                <c:pt idx="13406">
                  <c:v>0.23909398965578699</c:v>
                </c:pt>
                <c:pt idx="13407">
                  <c:v>0.239111824505082</c:v>
                </c:pt>
                <c:pt idx="13408">
                  <c:v>0.23912965935437799</c:v>
                </c:pt>
                <c:pt idx="13409">
                  <c:v>0.23914749420367301</c:v>
                </c:pt>
                <c:pt idx="13410">
                  <c:v>0.239165329052969</c:v>
                </c:pt>
                <c:pt idx="13411">
                  <c:v>0.23918316390226499</c:v>
                </c:pt>
                <c:pt idx="13412">
                  <c:v>0.23920099875156001</c:v>
                </c:pt>
                <c:pt idx="13413">
                  <c:v>0.239218833600856</c:v>
                </c:pt>
                <c:pt idx="13414">
                  <c:v>0.23923666845015101</c:v>
                </c:pt>
                <c:pt idx="13415">
                  <c:v>0.239254503299447</c:v>
                </c:pt>
                <c:pt idx="13416">
                  <c:v>0.23927233814874199</c:v>
                </c:pt>
                <c:pt idx="13417">
                  <c:v>0.23929017299803801</c:v>
                </c:pt>
                <c:pt idx="13418">
                  <c:v>0.239308007847333</c:v>
                </c:pt>
                <c:pt idx="13419">
                  <c:v>0.23932584269662899</c:v>
                </c:pt>
                <c:pt idx="13420">
                  <c:v>0.23934367754592401</c:v>
                </c:pt>
                <c:pt idx="13421">
                  <c:v>0.23936151239521999</c:v>
                </c:pt>
                <c:pt idx="13422">
                  <c:v>0.23937934724451501</c:v>
                </c:pt>
                <c:pt idx="13423">
                  <c:v>0.239397182093811</c:v>
                </c:pt>
                <c:pt idx="13424">
                  <c:v>0.23941501694310599</c:v>
                </c:pt>
                <c:pt idx="13425">
                  <c:v>0.23943285179240201</c:v>
                </c:pt>
                <c:pt idx="13426">
                  <c:v>0.239450686641697</c:v>
                </c:pt>
                <c:pt idx="13427">
                  <c:v>0.23946852149099301</c:v>
                </c:pt>
                <c:pt idx="13428">
                  <c:v>0.239486356340288</c:v>
                </c:pt>
                <c:pt idx="13429">
                  <c:v>0.23950419118958399</c:v>
                </c:pt>
                <c:pt idx="13430">
                  <c:v>0.23952202603887901</c:v>
                </c:pt>
                <c:pt idx="13431">
                  <c:v>0.239539860888175</c:v>
                </c:pt>
                <c:pt idx="13432">
                  <c:v>0.23955769573747099</c:v>
                </c:pt>
                <c:pt idx="13433">
                  <c:v>0.23957553058676601</c:v>
                </c:pt>
                <c:pt idx="13434">
                  <c:v>0.23959336543606199</c:v>
                </c:pt>
                <c:pt idx="13435">
                  <c:v>0.23961120028535701</c:v>
                </c:pt>
                <c:pt idx="13436">
                  <c:v>0.239629035134653</c:v>
                </c:pt>
                <c:pt idx="13437">
                  <c:v>0.23964686998394799</c:v>
                </c:pt>
                <c:pt idx="13438">
                  <c:v>0.23966470483324401</c:v>
                </c:pt>
                <c:pt idx="13439">
                  <c:v>0.239682539682539</c:v>
                </c:pt>
                <c:pt idx="13440">
                  <c:v>0.23970037453183499</c:v>
                </c:pt>
                <c:pt idx="13441">
                  <c:v>0.23971820938113</c:v>
                </c:pt>
                <c:pt idx="13442">
                  <c:v>0.23973604423042599</c:v>
                </c:pt>
                <c:pt idx="13443">
                  <c:v>0.23975387907972101</c:v>
                </c:pt>
                <c:pt idx="13444">
                  <c:v>0.239771713929017</c:v>
                </c:pt>
                <c:pt idx="13445">
                  <c:v>0.23978954877831199</c:v>
                </c:pt>
                <c:pt idx="13446">
                  <c:v>0.23980738362760801</c:v>
                </c:pt>
                <c:pt idx="13447">
                  <c:v>0.239825218476903</c:v>
                </c:pt>
                <c:pt idx="13448">
                  <c:v>0.23984305332619901</c:v>
                </c:pt>
                <c:pt idx="13449">
                  <c:v>0.239860888175494</c:v>
                </c:pt>
                <c:pt idx="13450">
                  <c:v>0.23987872302478999</c:v>
                </c:pt>
                <c:pt idx="13451">
                  <c:v>0.23989655787408501</c:v>
                </c:pt>
                <c:pt idx="13452">
                  <c:v>0.239914392723381</c:v>
                </c:pt>
                <c:pt idx="13453">
                  <c:v>0.23993222757267699</c:v>
                </c:pt>
                <c:pt idx="13454">
                  <c:v>0.239950062421972</c:v>
                </c:pt>
                <c:pt idx="13455">
                  <c:v>0.23996789727126799</c:v>
                </c:pt>
                <c:pt idx="13456">
                  <c:v>0.23998573212056301</c:v>
                </c:pt>
                <c:pt idx="13457">
                  <c:v>0.240003566969859</c:v>
                </c:pt>
                <c:pt idx="13458">
                  <c:v>0.24002140181915399</c:v>
                </c:pt>
                <c:pt idx="13459">
                  <c:v>0.24003923666845001</c:v>
                </c:pt>
                <c:pt idx="13460">
                  <c:v>0.240057071517745</c:v>
                </c:pt>
                <c:pt idx="13461">
                  <c:v>0.24007490636704101</c:v>
                </c:pt>
                <c:pt idx="13462">
                  <c:v>0.240092741216336</c:v>
                </c:pt>
                <c:pt idx="13463">
                  <c:v>0.24011057606563199</c:v>
                </c:pt>
                <c:pt idx="13464">
                  <c:v>0.24012841091492701</c:v>
                </c:pt>
                <c:pt idx="13465">
                  <c:v>0.240146245764223</c:v>
                </c:pt>
                <c:pt idx="13466">
                  <c:v>0.24016408061351799</c:v>
                </c:pt>
                <c:pt idx="13467">
                  <c:v>0.24018191546281401</c:v>
                </c:pt>
                <c:pt idx="13468">
                  <c:v>0.24019975031210899</c:v>
                </c:pt>
                <c:pt idx="13469">
                  <c:v>0.24021758516140501</c:v>
                </c:pt>
                <c:pt idx="13470">
                  <c:v>0.2402354200107</c:v>
                </c:pt>
                <c:pt idx="13471">
                  <c:v>0.24025325485999599</c:v>
                </c:pt>
                <c:pt idx="13472">
                  <c:v>0.24027108970929101</c:v>
                </c:pt>
                <c:pt idx="13473">
                  <c:v>0.240288924558587</c:v>
                </c:pt>
                <c:pt idx="13474">
                  <c:v>0.24030675940788301</c:v>
                </c:pt>
                <c:pt idx="13475">
                  <c:v>0.240324594257178</c:v>
                </c:pt>
                <c:pt idx="13476">
                  <c:v>0.24034242910647399</c:v>
                </c:pt>
                <c:pt idx="13477">
                  <c:v>0.24036026395576901</c:v>
                </c:pt>
                <c:pt idx="13478">
                  <c:v>0.240378098805065</c:v>
                </c:pt>
                <c:pt idx="13479">
                  <c:v>0.24039593365435999</c:v>
                </c:pt>
                <c:pt idx="13480">
                  <c:v>0.24041376850365601</c:v>
                </c:pt>
                <c:pt idx="13481">
                  <c:v>0.240431603352951</c:v>
                </c:pt>
                <c:pt idx="13482">
                  <c:v>0.24044943820224701</c:v>
                </c:pt>
                <c:pt idx="13483">
                  <c:v>0.240467273051542</c:v>
                </c:pt>
                <c:pt idx="13484">
                  <c:v>0.24048510790083799</c:v>
                </c:pt>
                <c:pt idx="13485">
                  <c:v>0.24050294275013301</c:v>
                </c:pt>
                <c:pt idx="13486">
                  <c:v>0.240520777599429</c:v>
                </c:pt>
                <c:pt idx="13487">
                  <c:v>0.24053861244872399</c:v>
                </c:pt>
                <c:pt idx="13488">
                  <c:v>0.24055644729802</c:v>
                </c:pt>
                <c:pt idx="13489">
                  <c:v>0.24057428214731499</c:v>
                </c:pt>
                <c:pt idx="13490">
                  <c:v>0.24059211699661101</c:v>
                </c:pt>
                <c:pt idx="13491">
                  <c:v>0.240609951845906</c:v>
                </c:pt>
                <c:pt idx="13492">
                  <c:v>0.24062778669520199</c:v>
                </c:pt>
                <c:pt idx="13493">
                  <c:v>0.24064562154449701</c:v>
                </c:pt>
                <c:pt idx="13494">
                  <c:v>0.240663456393793</c:v>
                </c:pt>
                <c:pt idx="13495">
                  <c:v>0.24068129124308801</c:v>
                </c:pt>
                <c:pt idx="13496">
                  <c:v>0.240699126092384</c:v>
                </c:pt>
                <c:pt idx="13497">
                  <c:v>0.24071696094167999</c:v>
                </c:pt>
                <c:pt idx="13498">
                  <c:v>0.24073479579097501</c:v>
                </c:pt>
                <c:pt idx="13499">
                  <c:v>0.240752630640271</c:v>
                </c:pt>
                <c:pt idx="13500">
                  <c:v>0.24077046548956599</c:v>
                </c:pt>
                <c:pt idx="13501">
                  <c:v>0.240788300338862</c:v>
                </c:pt>
                <c:pt idx="13502">
                  <c:v>0.24080613518815699</c:v>
                </c:pt>
                <c:pt idx="13503">
                  <c:v>0.24082397003745301</c:v>
                </c:pt>
                <c:pt idx="13504">
                  <c:v>0.240841804886748</c:v>
                </c:pt>
                <c:pt idx="13505">
                  <c:v>0.24085963973604399</c:v>
                </c:pt>
                <c:pt idx="13506">
                  <c:v>0.24087747458533901</c:v>
                </c:pt>
                <c:pt idx="13507">
                  <c:v>0.240895309434635</c:v>
                </c:pt>
                <c:pt idx="13508">
                  <c:v>0.24091314428392999</c:v>
                </c:pt>
                <c:pt idx="13509">
                  <c:v>0.240930979133226</c:v>
                </c:pt>
                <c:pt idx="13510">
                  <c:v>0.24094881398252099</c:v>
                </c:pt>
                <c:pt idx="13511">
                  <c:v>0.24096664883181701</c:v>
                </c:pt>
                <c:pt idx="13512">
                  <c:v>0.240984483681112</c:v>
                </c:pt>
                <c:pt idx="13513">
                  <c:v>0.24100231853040799</c:v>
                </c:pt>
                <c:pt idx="13514">
                  <c:v>0.24102015337970301</c:v>
                </c:pt>
                <c:pt idx="13515">
                  <c:v>0.241037988228999</c:v>
                </c:pt>
                <c:pt idx="13516">
                  <c:v>0.24105582307829401</c:v>
                </c:pt>
                <c:pt idx="13517">
                  <c:v>0.24107365792759</c:v>
                </c:pt>
                <c:pt idx="13518">
                  <c:v>0.24109149277688599</c:v>
                </c:pt>
                <c:pt idx="13519">
                  <c:v>0.24110932762618101</c:v>
                </c:pt>
                <c:pt idx="13520">
                  <c:v>0.241127162475477</c:v>
                </c:pt>
                <c:pt idx="13521">
                  <c:v>0.24114499732477199</c:v>
                </c:pt>
                <c:pt idx="13522">
                  <c:v>0.241162832174068</c:v>
                </c:pt>
                <c:pt idx="13523">
                  <c:v>0.24118066702336299</c:v>
                </c:pt>
                <c:pt idx="13524">
                  <c:v>0.24119850187265901</c:v>
                </c:pt>
                <c:pt idx="13525">
                  <c:v>0.241216336721954</c:v>
                </c:pt>
                <c:pt idx="13526">
                  <c:v>0.24123417157124999</c:v>
                </c:pt>
                <c:pt idx="13527">
                  <c:v>0.24125200642054501</c:v>
                </c:pt>
                <c:pt idx="13528">
                  <c:v>0.241269841269841</c:v>
                </c:pt>
                <c:pt idx="13529">
                  <c:v>0.24128767611913601</c:v>
                </c:pt>
                <c:pt idx="13530">
                  <c:v>0.241305510968432</c:v>
                </c:pt>
                <c:pt idx="13531">
                  <c:v>0.24132334581772699</c:v>
                </c:pt>
                <c:pt idx="13532">
                  <c:v>0.24134118066702301</c:v>
                </c:pt>
                <c:pt idx="13533">
                  <c:v>0.241359015516318</c:v>
                </c:pt>
                <c:pt idx="13534">
                  <c:v>0.24137685036561399</c:v>
                </c:pt>
                <c:pt idx="13535">
                  <c:v>0.241394685214909</c:v>
                </c:pt>
                <c:pt idx="13536">
                  <c:v>0.24141252006420499</c:v>
                </c:pt>
                <c:pt idx="13537">
                  <c:v>0.24143035491350001</c:v>
                </c:pt>
                <c:pt idx="13538">
                  <c:v>0.241448189762796</c:v>
                </c:pt>
                <c:pt idx="13539">
                  <c:v>0.24146602461209199</c:v>
                </c:pt>
                <c:pt idx="13540">
                  <c:v>0.24148385946138701</c:v>
                </c:pt>
                <c:pt idx="13541">
                  <c:v>0.241501694310683</c:v>
                </c:pt>
                <c:pt idx="13542">
                  <c:v>0.24151952915997801</c:v>
                </c:pt>
                <c:pt idx="13543">
                  <c:v>0.241537364009274</c:v>
                </c:pt>
                <c:pt idx="13544">
                  <c:v>0.24155519885856899</c:v>
                </c:pt>
                <c:pt idx="13545">
                  <c:v>0.24157303370786501</c:v>
                </c:pt>
                <c:pt idx="13546">
                  <c:v>0.24159086855716</c:v>
                </c:pt>
                <c:pt idx="13547">
                  <c:v>0.24160870340645599</c:v>
                </c:pt>
                <c:pt idx="13548">
                  <c:v>0.24162653825575101</c:v>
                </c:pt>
                <c:pt idx="13549">
                  <c:v>0.24164437310504699</c:v>
                </c:pt>
                <c:pt idx="13550">
                  <c:v>0.24166220795434201</c:v>
                </c:pt>
                <c:pt idx="13551">
                  <c:v>0.241680042803638</c:v>
                </c:pt>
                <c:pt idx="13552">
                  <c:v>0.24169787765293299</c:v>
                </c:pt>
                <c:pt idx="13553">
                  <c:v>0.24171571250222901</c:v>
                </c:pt>
                <c:pt idx="13554">
                  <c:v>0.241733547351524</c:v>
                </c:pt>
                <c:pt idx="13555">
                  <c:v>0.24175138220081999</c:v>
                </c:pt>
                <c:pt idx="13556">
                  <c:v>0.241769217050115</c:v>
                </c:pt>
                <c:pt idx="13557">
                  <c:v>0.24178705189941099</c:v>
                </c:pt>
                <c:pt idx="13558">
                  <c:v>0.24180488674870601</c:v>
                </c:pt>
                <c:pt idx="13559">
                  <c:v>0.241822721598002</c:v>
                </c:pt>
                <c:pt idx="13560">
                  <c:v>0.24184055644729799</c:v>
                </c:pt>
                <c:pt idx="13561">
                  <c:v>0.24185839129659301</c:v>
                </c:pt>
                <c:pt idx="13562">
                  <c:v>0.241876226145889</c:v>
                </c:pt>
                <c:pt idx="13563">
                  <c:v>0.24189406099518401</c:v>
                </c:pt>
                <c:pt idx="13564">
                  <c:v>0.24191189584448</c:v>
                </c:pt>
                <c:pt idx="13565">
                  <c:v>0.24192973069377499</c:v>
                </c:pt>
                <c:pt idx="13566">
                  <c:v>0.24194756554307101</c:v>
                </c:pt>
                <c:pt idx="13567">
                  <c:v>0.241965400392366</c:v>
                </c:pt>
                <c:pt idx="13568">
                  <c:v>0.24198323524166199</c:v>
                </c:pt>
                <c:pt idx="13569">
                  <c:v>0.242001070090957</c:v>
                </c:pt>
                <c:pt idx="13570">
                  <c:v>0.24201890494025299</c:v>
                </c:pt>
                <c:pt idx="13571">
                  <c:v>0.24203673978954801</c:v>
                </c:pt>
                <c:pt idx="13572">
                  <c:v>0.242054574638844</c:v>
                </c:pt>
                <c:pt idx="13573">
                  <c:v>0.24207240948813899</c:v>
                </c:pt>
                <c:pt idx="13574">
                  <c:v>0.24209024433743501</c:v>
                </c:pt>
                <c:pt idx="13575">
                  <c:v>0.24210807918673</c:v>
                </c:pt>
                <c:pt idx="13576">
                  <c:v>0.24212591403602601</c:v>
                </c:pt>
                <c:pt idx="13577">
                  <c:v>0.242143748885321</c:v>
                </c:pt>
                <c:pt idx="13578">
                  <c:v>0.24216158373461699</c:v>
                </c:pt>
                <c:pt idx="13579">
                  <c:v>0.24217941858391201</c:v>
                </c:pt>
                <c:pt idx="13580">
                  <c:v>0.242197253433208</c:v>
                </c:pt>
                <c:pt idx="13581">
                  <c:v>0.24221508828250399</c:v>
                </c:pt>
                <c:pt idx="13582">
                  <c:v>0.24223292313179901</c:v>
                </c:pt>
                <c:pt idx="13583">
                  <c:v>0.24225075798109499</c:v>
                </c:pt>
                <c:pt idx="13584">
                  <c:v>0.24226859283039001</c:v>
                </c:pt>
                <c:pt idx="13585">
                  <c:v>0.242286427679686</c:v>
                </c:pt>
                <c:pt idx="13586">
                  <c:v>0.24230426252898099</c:v>
                </c:pt>
                <c:pt idx="13587">
                  <c:v>0.24232209737827701</c:v>
                </c:pt>
                <c:pt idx="13588">
                  <c:v>0.242339932227572</c:v>
                </c:pt>
                <c:pt idx="13589">
                  <c:v>0.24235776707686801</c:v>
                </c:pt>
                <c:pt idx="13590">
                  <c:v>0.242375601926163</c:v>
                </c:pt>
                <c:pt idx="13591">
                  <c:v>0.24239343677545899</c:v>
                </c:pt>
                <c:pt idx="13592">
                  <c:v>0.24241127162475401</c:v>
                </c:pt>
                <c:pt idx="13593">
                  <c:v>0.24242910647405</c:v>
                </c:pt>
                <c:pt idx="13594">
                  <c:v>0.24244694132334499</c:v>
                </c:pt>
                <c:pt idx="13595">
                  <c:v>0.24246477617264101</c:v>
                </c:pt>
                <c:pt idx="13596">
                  <c:v>0.242482611021936</c:v>
                </c:pt>
                <c:pt idx="13597">
                  <c:v>0.24250044587123201</c:v>
                </c:pt>
                <c:pt idx="13598">
                  <c:v>0.242518280720527</c:v>
                </c:pt>
                <c:pt idx="13599">
                  <c:v>0.24253611556982299</c:v>
                </c:pt>
                <c:pt idx="13600">
                  <c:v>0.24255395041911801</c:v>
                </c:pt>
                <c:pt idx="13601">
                  <c:v>0.242571785268414</c:v>
                </c:pt>
                <c:pt idx="13602">
                  <c:v>0.24258962011770999</c:v>
                </c:pt>
                <c:pt idx="13603">
                  <c:v>0.242607454967005</c:v>
                </c:pt>
                <c:pt idx="13604">
                  <c:v>0.24262528981630099</c:v>
                </c:pt>
                <c:pt idx="13605">
                  <c:v>0.24264312466559601</c:v>
                </c:pt>
                <c:pt idx="13606">
                  <c:v>0.242660959514892</c:v>
                </c:pt>
                <c:pt idx="13607">
                  <c:v>0.24267879436418699</c:v>
                </c:pt>
                <c:pt idx="13608">
                  <c:v>0.24269662921348301</c:v>
                </c:pt>
                <c:pt idx="13609">
                  <c:v>0.242714464062778</c:v>
                </c:pt>
                <c:pt idx="13610">
                  <c:v>0.24273229891207401</c:v>
                </c:pt>
                <c:pt idx="13611">
                  <c:v>0.242750133761369</c:v>
                </c:pt>
                <c:pt idx="13612">
                  <c:v>0.24276796861066499</c:v>
                </c:pt>
                <c:pt idx="13613">
                  <c:v>0.24278580345996001</c:v>
                </c:pt>
                <c:pt idx="13614">
                  <c:v>0.242803638309256</c:v>
                </c:pt>
                <c:pt idx="13615">
                  <c:v>0.24282147315855099</c:v>
                </c:pt>
                <c:pt idx="13616">
                  <c:v>0.242839308007847</c:v>
                </c:pt>
                <c:pt idx="13617">
                  <c:v>0.24285714285714199</c:v>
                </c:pt>
                <c:pt idx="13618">
                  <c:v>0.24287497770643801</c:v>
                </c:pt>
                <c:pt idx="13619">
                  <c:v>0.242892812555733</c:v>
                </c:pt>
                <c:pt idx="13620">
                  <c:v>0.24291064740502899</c:v>
                </c:pt>
                <c:pt idx="13621">
                  <c:v>0.24292848225432401</c:v>
                </c:pt>
                <c:pt idx="13622">
                  <c:v>0.24294631710362</c:v>
                </c:pt>
                <c:pt idx="13623">
                  <c:v>0.24296415195291499</c:v>
                </c:pt>
                <c:pt idx="13624">
                  <c:v>0.242981986802211</c:v>
                </c:pt>
                <c:pt idx="13625">
                  <c:v>0.24299982165150699</c:v>
                </c:pt>
                <c:pt idx="13626">
                  <c:v>0.24301765650080201</c:v>
                </c:pt>
                <c:pt idx="13627">
                  <c:v>0.243035491350098</c:v>
                </c:pt>
                <c:pt idx="13628">
                  <c:v>0.24305332619939299</c:v>
                </c:pt>
                <c:pt idx="13629">
                  <c:v>0.24307116104868901</c:v>
                </c:pt>
                <c:pt idx="13630">
                  <c:v>0.24308899589798399</c:v>
                </c:pt>
                <c:pt idx="13631">
                  <c:v>0.24310683074728001</c:v>
                </c:pt>
                <c:pt idx="13632">
                  <c:v>0.243124665596575</c:v>
                </c:pt>
                <c:pt idx="13633">
                  <c:v>0.24314250044587099</c:v>
                </c:pt>
                <c:pt idx="13634">
                  <c:v>0.24316033529516601</c:v>
                </c:pt>
                <c:pt idx="13635">
                  <c:v>0.243178170144462</c:v>
                </c:pt>
                <c:pt idx="13636">
                  <c:v>0.24319600499375699</c:v>
                </c:pt>
                <c:pt idx="13637">
                  <c:v>0.243213839843053</c:v>
                </c:pt>
                <c:pt idx="13638">
                  <c:v>0.24323167469234799</c:v>
                </c:pt>
                <c:pt idx="13639">
                  <c:v>0.24324950954164401</c:v>
                </c:pt>
                <c:pt idx="13640">
                  <c:v>0.243267344390939</c:v>
                </c:pt>
                <c:pt idx="13641">
                  <c:v>0.24328517924023499</c:v>
                </c:pt>
                <c:pt idx="13642">
                  <c:v>0.24330301408953001</c:v>
                </c:pt>
                <c:pt idx="13643">
                  <c:v>0.243320848938826</c:v>
                </c:pt>
                <c:pt idx="13644">
                  <c:v>0.24333868378812101</c:v>
                </c:pt>
                <c:pt idx="13645">
                  <c:v>0.243356518637417</c:v>
                </c:pt>
                <c:pt idx="13646">
                  <c:v>0.24337435348671299</c:v>
                </c:pt>
                <c:pt idx="13647">
                  <c:v>0.24339218833600801</c:v>
                </c:pt>
                <c:pt idx="13648">
                  <c:v>0.243410023185304</c:v>
                </c:pt>
                <c:pt idx="13649">
                  <c:v>0.24342785803459899</c:v>
                </c:pt>
                <c:pt idx="13650">
                  <c:v>0.243445692883895</c:v>
                </c:pt>
                <c:pt idx="13651">
                  <c:v>0.24346352773318999</c:v>
                </c:pt>
                <c:pt idx="13652">
                  <c:v>0.24348136258248601</c:v>
                </c:pt>
                <c:pt idx="13653">
                  <c:v>0.243499197431781</c:v>
                </c:pt>
                <c:pt idx="13654">
                  <c:v>0.24351703228107699</c:v>
                </c:pt>
                <c:pt idx="13655">
                  <c:v>0.24353486713037201</c:v>
                </c:pt>
                <c:pt idx="13656">
                  <c:v>0.243552701979668</c:v>
                </c:pt>
                <c:pt idx="13657">
                  <c:v>0.24357053682896301</c:v>
                </c:pt>
                <c:pt idx="13658">
                  <c:v>0.243588371678259</c:v>
                </c:pt>
                <c:pt idx="13659">
                  <c:v>0.24360620652755399</c:v>
                </c:pt>
                <c:pt idx="13660">
                  <c:v>0.24362404137685001</c:v>
                </c:pt>
                <c:pt idx="13661">
                  <c:v>0.243641876226145</c:v>
                </c:pt>
                <c:pt idx="13662">
                  <c:v>0.24365971107544099</c:v>
                </c:pt>
                <c:pt idx="13663">
                  <c:v>0.24367754592473601</c:v>
                </c:pt>
                <c:pt idx="13664">
                  <c:v>0.24369538077403199</c:v>
                </c:pt>
                <c:pt idx="13665">
                  <c:v>0.24371321562332701</c:v>
                </c:pt>
                <c:pt idx="13666">
                  <c:v>0.243731050472623</c:v>
                </c:pt>
                <c:pt idx="13667">
                  <c:v>0.24374888532191899</c:v>
                </c:pt>
                <c:pt idx="13668">
                  <c:v>0.24376672017121401</c:v>
                </c:pt>
                <c:pt idx="13669">
                  <c:v>0.24378455502051</c:v>
                </c:pt>
                <c:pt idx="13670">
                  <c:v>0.24380238986980499</c:v>
                </c:pt>
                <c:pt idx="13671">
                  <c:v>0.243820224719101</c:v>
                </c:pt>
                <c:pt idx="13672">
                  <c:v>0.24383805956839599</c:v>
                </c:pt>
                <c:pt idx="13673">
                  <c:v>0.24385589441769201</c:v>
                </c:pt>
                <c:pt idx="13674">
                  <c:v>0.243873729266987</c:v>
                </c:pt>
                <c:pt idx="13675">
                  <c:v>0.24389156411628299</c:v>
                </c:pt>
                <c:pt idx="13676">
                  <c:v>0.24390939896557801</c:v>
                </c:pt>
                <c:pt idx="13677">
                  <c:v>0.24392723381487399</c:v>
                </c:pt>
                <c:pt idx="13678">
                  <c:v>0.24394506866416901</c:v>
                </c:pt>
                <c:pt idx="13679">
                  <c:v>0.243962903513465</c:v>
                </c:pt>
                <c:pt idx="13680">
                  <c:v>0.24398073836275999</c:v>
                </c:pt>
                <c:pt idx="13681">
                  <c:v>0.24399857321205601</c:v>
                </c:pt>
                <c:pt idx="13682">
                  <c:v>0.244016408061351</c:v>
                </c:pt>
                <c:pt idx="13683">
                  <c:v>0.24403424291064699</c:v>
                </c:pt>
                <c:pt idx="13684">
                  <c:v>0.244052077759942</c:v>
                </c:pt>
                <c:pt idx="13685">
                  <c:v>0.24406991260923799</c:v>
                </c:pt>
                <c:pt idx="13686">
                  <c:v>0.24408774745853301</c:v>
                </c:pt>
                <c:pt idx="13687">
                  <c:v>0.244105582307829</c:v>
                </c:pt>
                <c:pt idx="13688">
                  <c:v>0.24412341715712499</c:v>
                </c:pt>
                <c:pt idx="13689">
                  <c:v>0.24414125200642001</c:v>
                </c:pt>
                <c:pt idx="13690">
                  <c:v>0.244159086855716</c:v>
                </c:pt>
                <c:pt idx="13691">
                  <c:v>0.24417692170501101</c:v>
                </c:pt>
                <c:pt idx="13692">
                  <c:v>0.244194756554307</c:v>
                </c:pt>
                <c:pt idx="13693">
                  <c:v>0.24421259140360199</c:v>
                </c:pt>
                <c:pt idx="13694">
                  <c:v>0.24423042625289801</c:v>
                </c:pt>
                <c:pt idx="13695">
                  <c:v>0.244248261102193</c:v>
                </c:pt>
                <c:pt idx="13696">
                  <c:v>0.24426609595148899</c:v>
                </c:pt>
                <c:pt idx="13697">
                  <c:v>0.244283930800784</c:v>
                </c:pt>
                <c:pt idx="13698">
                  <c:v>0.24430176565007999</c:v>
                </c:pt>
                <c:pt idx="13699">
                  <c:v>0.24431960049937501</c:v>
                </c:pt>
                <c:pt idx="13700">
                  <c:v>0.244337435348671</c:v>
                </c:pt>
                <c:pt idx="13701">
                  <c:v>0.24435527019796599</c:v>
                </c:pt>
                <c:pt idx="13702">
                  <c:v>0.24437310504726201</c:v>
                </c:pt>
                <c:pt idx="13703">
                  <c:v>0.244390939896557</c:v>
                </c:pt>
                <c:pt idx="13704">
                  <c:v>0.24440877474585301</c:v>
                </c:pt>
                <c:pt idx="13705">
                  <c:v>0.244426609595148</c:v>
                </c:pt>
                <c:pt idx="13706">
                  <c:v>0.24444444444444399</c:v>
                </c:pt>
                <c:pt idx="13707">
                  <c:v>0.24446227929373901</c:v>
                </c:pt>
                <c:pt idx="13708">
                  <c:v>0.244480114143035</c:v>
                </c:pt>
                <c:pt idx="13709">
                  <c:v>0.24449794899233099</c:v>
                </c:pt>
                <c:pt idx="13710">
                  <c:v>0.24451578384162601</c:v>
                </c:pt>
                <c:pt idx="13711">
                  <c:v>0.24453361869092199</c:v>
                </c:pt>
                <c:pt idx="13712">
                  <c:v>0.24455145354021701</c:v>
                </c:pt>
                <c:pt idx="13713">
                  <c:v>0.244569288389513</c:v>
                </c:pt>
                <c:pt idx="13714">
                  <c:v>0.24458712323880799</c:v>
                </c:pt>
                <c:pt idx="13715">
                  <c:v>0.24460495808810401</c:v>
                </c:pt>
                <c:pt idx="13716">
                  <c:v>0.244622792937399</c:v>
                </c:pt>
                <c:pt idx="13717">
                  <c:v>0.24464062778669499</c:v>
                </c:pt>
                <c:pt idx="13718">
                  <c:v>0.24465846263599</c:v>
                </c:pt>
                <c:pt idx="13719">
                  <c:v>0.24467629748528599</c:v>
                </c:pt>
                <c:pt idx="13720">
                  <c:v>0.24469413233458101</c:v>
                </c:pt>
                <c:pt idx="13721">
                  <c:v>0.244711967183877</c:v>
                </c:pt>
                <c:pt idx="13722">
                  <c:v>0.24472980203317199</c:v>
                </c:pt>
                <c:pt idx="13723">
                  <c:v>0.24474763688246801</c:v>
                </c:pt>
                <c:pt idx="13724">
                  <c:v>0.244765471731763</c:v>
                </c:pt>
                <c:pt idx="13725">
                  <c:v>0.24478330658105901</c:v>
                </c:pt>
                <c:pt idx="13726">
                  <c:v>0.244801141430354</c:v>
                </c:pt>
                <c:pt idx="13727">
                  <c:v>0.24481897627964999</c:v>
                </c:pt>
                <c:pt idx="13728">
                  <c:v>0.24483681112894501</c:v>
                </c:pt>
                <c:pt idx="13729">
                  <c:v>0.244854645978241</c:v>
                </c:pt>
                <c:pt idx="13730">
                  <c:v>0.24487248082753699</c:v>
                </c:pt>
                <c:pt idx="13731">
                  <c:v>0.244890315676832</c:v>
                </c:pt>
                <c:pt idx="13732">
                  <c:v>0.24490815052612799</c:v>
                </c:pt>
                <c:pt idx="13733">
                  <c:v>0.24492598537542301</c:v>
                </c:pt>
                <c:pt idx="13734">
                  <c:v>0.244943820224719</c:v>
                </c:pt>
                <c:pt idx="13735">
                  <c:v>0.24496165507401399</c:v>
                </c:pt>
                <c:pt idx="13736">
                  <c:v>0.24497948992331001</c:v>
                </c:pt>
                <c:pt idx="13737">
                  <c:v>0.244997324772605</c:v>
                </c:pt>
                <c:pt idx="13738">
                  <c:v>0.24501515962190101</c:v>
                </c:pt>
                <c:pt idx="13739">
                  <c:v>0.245032994471196</c:v>
                </c:pt>
                <c:pt idx="13740">
                  <c:v>0.24505082932049199</c:v>
                </c:pt>
                <c:pt idx="13741">
                  <c:v>0.24506866416978701</c:v>
                </c:pt>
                <c:pt idx="13742">
                  <c:v>0.245086499019083</c:v>
                </c:pt>
                <c:pt idx="13743">
                  <c:v>0.24510433386837799</c:v>
                </c:pt>
                <c:pt idx="13744">
                  <c:v>0.245122168717674</c:v>
                </c:pt>
                <c:pt idx="13745">
                  <c:v>0.24514000356696899</c:v>
                </c:pt>
                <c:pt idx="13746">
                  <c:v>0.24515783841626501</c:v>
                </c:pt>
                <c:pt idx="13747">
                  <c:v>0.24517567326556</c:v>
                </c:pt>
                <c:pt idx="13748">
                  <c:v>0.24519350811485599</c:v>
                </c:pt>
                <c:pt idx="13749">
                  <c:v>0.24521134296415101</c:v>
                </c:pt>
                <c:pt idx="13750">
                  <c:v>0.245229177813447</c:v>
                </c:pt>
                <c:pt idx="13751">
                  <c:v>0.24524701266274301</c:v>
                </c:pt>
                <c:pt idx="13752">
                  <c:v>0.245264847512038</c:v>
                </c:pt>
                <c:pt idx="13753">
                  <c:v>0.24528268236133399</c:v>
                </c:pt>
                <c:pt idx="13754">
                  <c:v>0.24530051721062901</c:v>
                </c:pt>
                <c:pt idx="13755">
                  <c:v>0.245318352059925</c:v>
                </c:pt>
                <c:pt idx="13756">
                  <c:v>0.24533618690921999</c:v>
                </c:pt>
                <c:pt idx="13757">
                  <c:v>0.24535402175851601</c:v>
                </c:pt>
                <c:pt idx="13758">
                  <c:v>0.245371856607811</c:v>
                </c:pt>
                <c:pt idx="13759">
                  <c:v>0.24538969145710701</c:v>
                </c:pt>
                <c:pt idx="13760">
                  <c:v>0.245407526306402</c:v>
                </c:pt>
                <c:pt idx="13761">
                  <c:v>0.24542536115569799</c:v>
                </c:pt>
                <c:pt idx="13762">
                  <c:v>0.24544319600499301</c:v>
                </c:pt>
                <c:pt idx="13763">
                  <c:v>0.245461030854289</c:v>
                </c:pt>
                <c:pt idx="13764">
                  <c:v>0.24547886570358399</c:v>
                </c:pt>
                <c:pt idx="13765">
                  <c:v>0.24549670055288</c:v>
                </c:pt>
                <c:pt idx="13766">
                  <c:v>0.24551453540217499</c:v>
                </c:pt>
                <c:pt idx="13767">
                  <c:v>0.24553237025147101</c:v>
                </c:pt>
                <c:pt idx="13768">
                  <c:v>0.245550205100766</c:v>
                </c:pt>
                <c:pt idx="13769">
                  <c:v>0.24556803995006199</c:v>
                </c:pt>
                <c:pt idx="13770">
                  <c:v>0.24558587479935701</c:v>
                </c:pt>
                <c:pt idx="13771">
                  <c:v>0.245603709648653</c:v>
                </c:pt>
                <c:pt idx="13772">
                  <c:v>0.24562154449794801</c:v>
                </c:pt>
                <c:pt idx="13773">
                  <c:v>0.245639379347244</c:v>
                </c:pt>
                <c:pt idx="13774">
                  <c:v>0.24565721419653999</c:v>
                </c:pt>
                <c:pt idx="13775">
                  <c:v>0.24567504904583501</c:v>
                </c:pt>
                <c:pt idx="13776">
                  <c:v>0.245692883895131</c:v>
                </c:pt>
                <c:pt idx="13777">
                  <c:v>0.24571071874442599</c:v>
                </c:pt>
                <c:pt idx="13778">
                  <c:v>0.245728553593722</c:v>
                </c:pt>
                <c:pt idx="13779">
                  <c:v>0.24574638844301699</c:v>
                </c:pt>
                <c:pt idx="13780">
                  <c:v>0.24576422329231301</c:v>
                </c:pt>
                <c:pt idx="13781">
                  <c:v>0.245782058141608</c:v>
                </c:pt>
                <c:pt idx="13782">
                  <c:v>0.24579989299090399</c:v>
                </c:pt>
                <c:pt idx="13783">
                  <c:v>0.24581772784019901</c:v>
                </c:pt>
                <c:pt idx="13784">
                  <c:v>0.245835562689495</c:v>
                </c:pt>
                <c:pt idx="13785">
                  <c:v>0.24585339753878999</c:v>
                </c:pt>
                <c:pt idx="13786">
                  <c:v>0.245871232388086</c:v>
                </c:pt>
                <c:pt idx="13787">
                  <c:v>0.24588906723738099</c:v>
                </c:pt>
                <c:pt idx="13788">
                  <c:v>0.24590690208667701</c:v>
                </c:pt>
                <c:pt idx="13789">
                  <c:v>0.245924736935972</c:v>
                </c:pt>
                <c:pt idx="13790">
                  <c:v>0.24594257178526799</c:v>
                </c:pt>
                <c:pt idx="13791">
                  <c:v>0.24596040663456301</c:v>
                </c:pt>
                <c:pt idx="13792">
                  <c:v>0.24597824148385899</c:v>
                </c:pt>
                <c:pt idx="13793">
                  <c:v>0.24599607633315401</c:v>
                </c:pt>
                <c:pt idx="13794">
                  <c:v>0.24601391118245</c:v>
                </c:pt>
                <c:pt idx="13795">
                  <c:v>0.24603174603174599</c:v>
                </c:pt>
                <c:pt idx="13796">
                  <c:v>0.24604958088104101</c:v>
                </c:pt>
                <c:pt idx="13797">
                  <c:v>0.246067415730337</c:v>
                </c:pt>
                <c:pt idx="13798">
                  <c:v>0.24608525057963199</c:v>
                </c:pt>
                <c:pt idx="13799">
                  <c:v>0.246103085428928</c:v>
                </c:pt>
                <c:pt idx="13800">
                  <c:v>0.24612092027822299</c:v>
                </c:pt>
                <c:pt idx="13801">
                  <c:v>0.24613875512751901</c:v>
                </c:pt>
                <c:pt idx="13802">
                  <c:v>0.246156589976814</c:v>
                </c:pt>
                <c:pt idx="13803">
                  <c:v>0.24617442482610999</c:v>
                </c:pt>
                <c:pt idx="13804">
                  <c:v>0.24619225967540501</c:v>
                </c:pt>
                <c:pt idx="13805">
                  <c:v>0.246210094524701</c:v>
                </c:pt>
                <c:pt idx="13806">
                  <c:v>0.24622792937399601</c:v>
                </c:pt>
                <c:pt idx="13807">
                  <c:v>0.246245764223292</c:v>
                </c:pt>
                <c:pt idx="13808">
                  <c:v>0.24626359907258699</c:v>
                </c:pt>
                <c:pt idx="13809">
                  <c:v>0.24628143392188301</c:v>
                </c:pt>
                <c:pt idx="13810">
                  <c:v>0.246299268771178</c:v>
                </c:pt>
                <c:pt idx="13811">
                  <c:v>0.24631710362047399</c:v>
                </c:pt>
                <c:pt idx="13812">
                  <c:v>0.246334938469769</c:v>
                </c:pt>
                <c:pt idx="13813">
                  <c:v>0.24635277331906499</c:v>
                </c:pt>
                <c:pt idx="13814">
                  <c:v>0.24637060816836001</c:v>
                </c:pt>
                <c:pt idx="13815">
                  <c:v>0.246388443017656</c:v>
                </c:pt>
                <c:pt idx="13816">
                  <c:v>0.24640627786695199</c:v>
                </c:pt>
                <c:pt idx="13817">
                  <c:v>0.24642411271624701</c:v>
                </c:pt>
                <c:pt idx="13818">
                  <c:v>0.246441947565543</c:v>
                </c:pt>
                <c:pt idx="13819">
                  <c:v>0.24645978241483801</c:v>
                </c:pt>
                <c:pt idx="13820">
                  <c:v>0.246477617264134</c:v>
                </c:pt>
                <c:pt idx="13821">
                  <c:v>0.24649545211342899</c:v>
                </c:pt>
                <c:pt idx="13822">
                  <c:v>0.24651328696272501</c:v>
                </c:pt>
                <c:pt idx="13823">
                  <c:v>0.24653112181202</c:v>
                </c:pt>
                <c:pt idx="13824">
                  <c:v>0.24654895666131599</c:v>
                </c:pt>
                <c:pt idx="13825">
                  <c:v>0.24656679151061101</c:v>
                </c:pt>
                <c:pt idx="13826">
                  <c:v>0.24658462635990699</c:v>
                </c:pt>
                <c:pt idx="13827">
                  <c:v>0.24660246120920201</c:v>
                </c:pt>
                <c:pt idx="13828">
                  <c:v>0.246620296058498</c:v>
                </c:pt>
                <c:pt idx="13829">
                  <c:v>0.24663813090779299</c:v>
                </c:pt>
                <c:pt idx="13830">
                  <c:v>0.24665596575708901</c:v>
                </c:pt>
                <c:pt idx="13831">
                  <c:v>0.246673800606384</c:v>
                </c:pt>
                <c:pt idx="13832">
                  <c:v>0.24669163545567999</c:v>
                </c:pt>
                <c:pt idx="13833">
                  <c:v>0.246709470304975</c:v>
                </c:pt>
                <c:pt idx="13834">
                  <c:v>0.24672730515427099</c:v>
                </c:pt>
                <c:pt idx="13835">
                  <c:v>0.24674514000356601</c:v>
                </c:pt>
                <c:pt idx="13836">
                  <c:v>0.246762974852862</c:v>
                </c:pt>
                <c:pt idx="13837">
                  <c:v>0.24678080970215799</c:v>
                </c:pt>
                <c:pt idx="13838">
                  <c:v>0.24679864455145301</c:v>
                </c:pt>
                <c:pt idx="13839">
                  <c:v>0.24681647940074899</c:v>
                </c:pt>
                <c:pt idx="13840">
                  <c:v>0.24683431425004401</c:v>
                </c:pt>
                <c:pt idx="13841">
                  <c:v>0.24685214909934</c:v>
                </c:pt>
                <c:pt idx="13842">
                  <c:v>0.24686998394863499</c:v>
                </c:pt>
                <c:pt idx="13843">
                  <c:v>0.24688781879793101</c:v>
                </c:pt>
                <c:pt idx="13844">
                  <c:v>0.246905653647226</c:v>
                </c:pt>
                <c:pt idx="13845">
                  <c:v>0.24692348849652199</c:v>
                </c:pt>
                <c:pt idx="13846">
                  <c:v>0.246941323345817</c:v>
                </c:pt>
                <c:pt idx="13847">
                  <c:v>0.24695915819511299</c:v>
                </c:pt>
                <c:pt idx="13848">
                  <c:v>0.24697699304440801</c:v>
                </c:pt>
                <c:pt idx="13849">
                  <c:v>0.246994827893704</c:v>
                </c:pt>
                <c:pt idx="13850">
                  <c:v>0.24701266274299899</c:v>
                </c:pt>
                <c:pt idx="13851">
                  <c:v>0.24703049759229501</c:v>
                </c:pt>
                <c:pt idx="13852">
                  <c:v>0.24704833244159</c:v>
                </c:pt>
                <c:pt idx="13853">
                  <c:v>0.24706616729088601</c:v>
                </c:pt>
                <c:pt idx="13854">
                  <c:v>0.247084002140181</c:v>
                </c:pt>
                <c:pt idx="13855">
                  <c:v>0.24710183698947699</c:v>
                </c:pt>
                <c:pt idx="13856">
                  <c:v>0.24711967183877201</c:v>
                </c:pt>
                <c:pt idx="13857">
                  <c:v>0.247137506688068</c:v>
                </c:pt>
                <c:pt idx="13858">
                  <c:v>0.24715534153736399</c:v>
                </c:pt>
                <c:pt idx="13859">
                  <c:v>0.247173176386659</c:v>
                </c:pt>
                <c:pt idx="13860">
                  <c:v>0.24719101123595499</c:v>
                </c:pt>
                <c:pt idx="13861">
                  <c:v>0.24720884608525001</c:v>
                </c:pt>
                <c:pt idx="13862">
                  <c:v>0.247226680934546</c:v>
                </c:pt>
                <c:pt idx="13863">
                  <c:v>0.24724451578384099</c:v>
                </c:pt>
                <c:pt idx="13864">
                  <c:v>0.24726235063313701</c:v>
                </c:pt>
                <c:pt idx="13865">
                  <c:v>0.247280185482432</c:v>
                </c:pt>
                <c:pt idx="13866">
                  <c:v>0.24729802033172801</c:v>
                </c:pt>
                <c:pt idx="13867">
                  <c:v>0.247315855181023</c:v>
                </c:pt>
                <c:pt idx="13868">
                  <c:v>0.24733369003031899</c:v>
                </c:pt>
                <c:pt idx="13869">
                  <c:v>0.24735152487961401</c:v>
                </c:pt>
                <c:pt idx="13870">
                  <c:v>0.24736935972891</c:v>
                </c:pt>
                <c:pt idx="13871">
                  <c:v>0.24738719457820499</c:v>
                </c:pt>
                <c:pt idx="13872">
                  <c:v>0.24740502942750101</c:v>
                </c:pt>
                <c:pt idx="13873">
                  <c:v>0.247422864276796</c:v>
                </c:pt>
                <c:pt idx="13874">
                  <c:v>0.24744069912609201</c:v>
                </c:pt>
                <c:pt idx="13875">
                  <c:v>0.247458533975387</c:v>
                </c:pt>
                <c:pt idx="13876">
                  <c:v>0.24747636882468299</c:v>
                </c:pt>
                <c:pt idx="13877">
                  <c:v>0.24749420367397801</c:v>
                </c:pt>
                <c:pt idx="13878">
                  <c:v>0.247512038523274</c:v>
                </c:pt>
                <c:pt idx="13879">
                  <c:v>0.24752987337256999</c:v>
                </c:pt>
                <c:pt idx="13880">
                  <c:v>0.247547708221865</c:v>
                </c:pt>
                <c:pt idx="13881">
                  <c:v>0.24756554307116099</c:v>
                </c:pt>
                <c:pt idx="13882">
                  <c:v>0.24758337792045601</c:v>
                </c:pt>
                <c:pt idx="13883">
                  <c:v>0.247601212769752</c:v>
                </c:pt>
                <c:pt idx="13884">
                  <c:v>0.24761904761904699</c:v>
                </c:pt>
                <c:pt idx="13885">
                  <c:v>0.24763688246834301</c:v>
                </c:pt>
                <c:pt idx="13886">
                  <c:v>0.247654717317638</c:v>
                </c:pt>
                <c:pt idx="13887">
                  <c:v>0.24767255216693401</c:v>
                </c:pt>
                <c:pt idx="13888">
                  <c:v>0.247690387016229</c:v>
                </c:pt>
                <c:pt idx="13889">
                  <c:v>0.24770822186552499</c:v>
                </c:pt>
                <c:pt idx="13890">
                  <c:v>0.24772605671482001</c:v>
                </c:pt>
                <c:pt idx="13891">
                  <c:v>0.247743891564116</c:v>
                </c:pt>
                <c:pt idx="13892">
                  <c:v>0.24776172641341099</c:v>
                </c:pt>
                <c:pt idx="13893">
                  <c:v>0.247779561262707</c:v>
                </c:pt>
                <c:pt idx="13894">
                  <c:v>0.24779739611200199</c:v>
                </c:pt>
                <c:pt idx="13895">
                  <c:v>0.24781523096129801</c:v>
                </c:pt>
                <c:pt idx="13896">
                  <c:v>0.247833065810593</c:v>
                </c:pt>
                <c:pt idx="13897">
                  <c:v>0.24785090065988899</c:v>
                </c:pt>
                <c:pt idx="13898">
                  <c:v>0.24786873550918401</c:v>
                </c:pt>
                <c:pt idx="13899">
                  <c:v>0.24788657035848</c:v>
                </c:pt>
                <c:pt idx="13900">
                  <c:v>0.24790440520777501</c:v>
                </c:pt>
                <c:pt idx="13901">
                  <c:v>0.247922240057071</c:v>
                </c:pt>
                <c:pt idx="13902">
                  <c:v>0.24794007490636699</c:v>
                </c:pt>
                <c:pt idx="13903">
                  <c:v>0.24795790975566201</c:v>
                </c:pt>
                <c:pt idx="13904">
                  <c:v>0.247975744604958</c:v>
                </c:pt>
                <c:pt idx="13905">
                  <c:v>0.24799357945425299</c:v>
                </c:pt>
                <c:pt idx="13906">
                  <c:v>0.248011414303549</c:v>
                </c:pt>
                <c:pt idx="13907">
                  <c:v>0.24802924915284399</c:v>
                </c:pt>
                <c:pt idx="13908">
                  <c:v>0.24804708400214001</c:v>
                </c:pt>
                <c:pt idx="13909">
                  <c:v>0.248064918851435</c:v>
                </c:pt>
                <c:pt idx="13910">
                  <c:v>0.24808275370073099</c:v>
                </c:pt>
                <c:pt idx="13911">
                  <c:v>0.24810058855002601</c:v>
                </c:pt>
                <c:pt idx="13912">
                  <c:v>0.248118423399322</c:v>
                </c:pt>
                <c:pt idx="13913">
                  <c:v>0.24813625824861699</c:v>
                </c:pt>
                <c:pt idx="13914">
                  <c:v>0.248154093097913</c:v>
                </c:pt>
                <c:pt idx="13915">
                  <c:v>0.24817192794720799</c:v>
                </c:pt>
                <c:pt idx="13916">
                  <c:v>0.24818976279650401</c:v>
                </c:pt>
                <c:pt idx="13917">
                  <c:v>0.248207597645799</c:v>
                </c:pt>
                <c:pt idx="13918">
                  <c:v>0.24822543249509499</c:v>
                </c:pt>
                <c:pt idx="13919">
                  <c:v>0.24824326734439001</c:v>
                </c:pt>
                <c:pt idx="13920">
                  <c:v>0.248261102193686</c:v>
                </c:pt>
                <c:pt idx="13921">
                  <c:v>0.24827893704298101</c:v>
                </c:pt>
                <c:pt idx="13922">
                  <c:v>0.248296771892277</c:v>
                </c:pt>
                <c:pt idx="13923">
                  <c:v>0.24831460674157299</c:v>
                </c:pt>
                <c:pt idx="13924">
                  <c:v>0.24833244159086801</c:v>
                </c:pt>
                <c:pt idx="13925">
                  <c:v>0.248350276440164</c:v>
                </c:pt>
                <c:pt idx="13926">
                  <c:v>0.24836811128945899</c:v>
                </c:pt>
                <c:pt idx="13927">
                  <c:v>0.248385946138755</c:v>
                </c:pt>
                <c:pt idx="13928">
                  <c:v>0.24840378098804999</c:v>
                </c:pt>
                <c:pt idx="13929">
                  <c:v>0.24842161583734601</c:v>
                </c:pt>
                <c:pt idx="13930">
                  <c:v>0.248439450686641</c:v>
                </c:pt>
                <c:pt idx="13931">
                  <c:v>0.24845728553593699</c:v>
                </c:pt>
                <c:pt idx="13932">
                  <c:v>0.24847512038523201</c:v>
                </c:pt>
                <c:pt idx="13933">
                  <c:v>0.248492955234528</c:v>
                </c:pt>
                <c:pt idx="13934">
                  <c:v>0.24851079008382301</c:v>
                </c:pt>
                <c:pt idx="13935">
                  <c:v>0.248528624933119</c:v>
                </c:pt>
                <c:pt idx="13936">
                  <c:v>0.24854645978241399</c:v>
                </c:pt>
                <c:pt idx="13937">
                  <c:v>0.24856429463171001</c:v>
                </c:pt>
                <c:pt idx="13938">
                  <c:v>0.248582129481005</c:v>
                </c:pt>
                <c:pt idx="13939">
                  <c:v>0.24859996433030099</c:v>
                </c:pt>
                <c:pt idx="13940">
                  <c:v>0.24861779917959601</c:v>
                </c:pt>
                <c:pt idx="13941">
                  <c:v>0.24863563402889199</c:v>
                </c:pt>
                <c:pt idx="13942">
                  <c:v>0.24865346887818701</c:v>
                </c:pt>
                <c:pt idx="13943">
                  <c:v>0.248671303727483</c:v>
                </c:pt>
                <c:pt idx="13944">
                  <c:v>0.24868913857677899</c:v>
                </c:pt>
                <c:pt idx="13945">
                  <c:v>0.24870697342607401</c:v>
                </c:pt>
                <c:pt idx="13946">
                  <c:v>0.24872480827537</c:v>
                </c:pt>
                <c:pt idx="13947">
                  <c:v>0.24874264312466501</c:v>
                </c:pt>
                <c:pt idx="13948">
                  <c:v>0.248760477973961</c:v>
                </c:pt>
                <c:pt idx="13949">
                  <c:v>0.24877831282325599</c:v>
                </c:pt>
                <c:pt idx="13950">
                  <c:v>0.24879614767255201</c:v>
                </c:pt>
                <c:pt idx="13951">
                  <c:v>0.248813982521847</c:v>
                </c:pt>
                <c:pt idx="13952">
                  <c:v>0.24883181737114299</c:v>
                </c:pt>
                <c:pt idx="13953">
                  <c:v>0.24884965222043801</c:v>
                </c:pt>
                <c:pt idx="13954">
                  <c:v>0.24886748706973399</c:v>
                </c:pt>
                <c:pt idx="13955">
                  <c:v>0.24888532191902901</c:v>
                </c:pt>
                <c:pt idx="13956">
                  <c:v>0.248903156768325</c:v>
                </c:pt>
                <c:pt idx="13957">
                  <c:v>0.24892099161761999</c:v>
                </c:pt>
                <c:pt idx="13958">
                  <c:v>0.24893882646691601</c:v>
                </c:pt>
                <c:pt idx="13959">
                  <c:v>0.248956661316211</c:v>
                </c:pt>
                <c:pt idx="13960">
                  <c:v>0.24897449616550699</c:v>
                </c:pt>
                <c:pt idx="13961">
                  <c:v>0.248992331014802</c:v>
                </c:pt>
                <c:pt idx="13962">
                  <c:v>0.24901016586409799</c:v>
                </c:pt>
                <c:pt idx="13963">
                  <c:v>0.24902800071339301</c:v>
                </c:pt>
                <c:pt idx="13964">
                  <c:v>0.249045835562689</c:v>
                </c:pt>
                <c:pt idx="13965">
                  <c:v>0.24906367041198499</c:v>
                </c:pt>
                <c:pt idx="13966">
                  <c:v>0.24908150526128001</c:v>
                </c:pt>
                <c:pt idx="13967">
                  <c:v>0.249099340110576</c:v>
                </c:pt>
                <c:pt idx="13968">
                  <c:v>0.24911717495987101</c:v>
                </c:pt>
                <c:pt idx="13969">
                  <c:v>0.249135009809167</c:v>
                </c:pt>
                <c:pt idx="13970">
                  <c:v>0.24915284465846199</c:v>
                </c:pt>
                <c:pt idx="13971">
                  <c:v>0.24917067950775801</c:v>
                </c:pt>
                <c:pt idx="13972">
                  <c:v>0.249188514357053</c:v>
                </c:pt>
                <c:pt idx="13973">
                  <c:v>0.24920634920634899</c:v>
                </c:pt>
                <c:pt idx="13974">
                  <c:v>0.249224184055644</c:v>
                </c:pt>
                <c:pt idx="13975">
                  <c:v>0.24924201890493999</c:v>
                </c:pt>
                <c:pt idx="13976">
                  <c:v>0.24925985375423501</c:v>
                </c:pt>
                <c:pt idx="13977">
                  <c:v>0.249277688603531</c:v>
                </c:pt>
                <c:pt idx="13978">
                  <c:v>0.24929552345282599</c:v>
                </c:pt>
                <c:pt idx="13979">
                  <c:v>0.24931335830212201</c:v>
                </c:pt>
                <c:pt idx="13980">
                  <c:v>0.249331193151417</c:v>
                </c:pt>
                <c:pt idx="13981">
                  <c:v>0.24934902800071301</c:v>
                </c:pt>
                <c:pt idx="13982">
                  <c:v>0.249366862850008</c:v>
                </c:pt>
                <c:pt idx="13983">
                  <c:v>0.24938469769930399</c:v>
                </c:pt>
                <c:pt idx="13984">
                  <c:v>0.24940253254859901</c:v>
                </c:pt>
                <c:pt idx="13985">
                  <c:v>0.249420367397895</c:v>
                </c:pt>
                <c:pt idx="13986">
                  <c:v>0.24943820224719099</c:v>
                </c:pt>
                <c:pt idx="13987">
                  <c:v>0.24945603709648601</c:v>
                </c:pt>
                <c:pt idx="13988">
                  <c:v>0.24947387194578199</c:v>
                </c:pt>
                <c:pt idx="13989">
                  <c:v>0.24949170679507701</c:v>
                </c:pt>
                <c:pt idx="13990">
                  <c:v>0.249509541644373</c:v>
                </c:pt>
                <c:pt idx="13991">
                  <c:v>0.24952737649366799</c:v>
                </c:pt>
                <c:pt idx="13992">
                  <c:v>0.24954521134296401</c:v>
                </c:pt>
                <c:pt idx="13993">
                  <c:v>0.249563046192259</c:v>
                </c:pt>
                <c:pt idx="13994">
                  <c:v>0.24958088104155501</c:v>
                </c:pt>
                <c:pt idx="13995">
                  <c:v>0.24959871589085</c:v>
                </c:pt>
                <c:pt idx="13996">
                  <c:v>0.24961655074014599</c:v>
                </c:pt>
                <c:pt idx="13997">
                  <c:v>0.24963438558944101</c:v>
                </c:pt>
                <c:pt idx="13998">
                  <c:v>0.249652220438737</c:v>
                </c:pt>
                <c:pt idx="13999">
                  <c:v>0.24967005528803199</c:v>
                </c:pt>
                <c:pt idx="14000">
                  <c:v>0.24968789013732801</c:v>
                </c:pt>
                <c:pt idx="14001">
                  <c:v>0.249705724986623</c:v>
                </c:pt>
                <c:pt idx="14002">
                  <c:v>0.24972355983591901</c:v>
                </c:pt>
                <c:pt idx="14003">
                  <c:v>0.249741394685214</c:v>
                </c:pt>
                <c:pt idx="14004">
                  <c:v>0.24975922953450999</c:v>
                </c:pt>
                <c:pt idx="14005">
                  <c:v>0.24977706438380501</c:v>
                </c:pt>
                <c:pt idx="14006">
                  <c:v>0.249794899233101</c:v>
                </c:pt>
                <c:pt idx="14007">
                  <c:v>0.24981273408239699</c:v>
                </c:pt>
                <c:pt idx="14008">
                  <c:v>0.249830568931692</c:v>
                </c:pt>
                <c:pt idx="14009">
                  <c:v>0.24984840378098799</c:v>
                </c:pt>
                <c:pt idx="14010">
                  <c:v>0.24986623863028301</c:v>
                </c:pt>
                <c:pt idx="14011">
                  <c:v>0.249884073479579</c:v>
                </c:pt>
                <c:pt idx="14012">
                  <c:v>0.24990190832887399</c:v>
                </c:pt>
                <c:pt idx="14013">
                  <c:v>0.24991974317817001</c:v>
                </c:pt>
                <c:pt idx="14014">
                  <c:v>0.249937578027465</c:v>
                </c:pt>
                <c:pt idx="14015">
                  <c:v>0.24995541287676101</c:v>
                </c:pt>
                <c:pt idx="14016">
                  <c:v>0.249973247726056</c:v>
                </c:pt>
                <c:pt idx="14017">
                  <c:v>0.24999108257535199</c:v>
                </c:pt>
                <c:pt idx="14018">
                  <c:v>0.25000891742464698</c:v>
                </c:pt>
                <c:pt idx="14019">
                  <c:v>0.250026752273943</c:v>
                </c:pt>
                <c:pt idx="14020">
                  <c:v>0.25004458712323802</c:v>
                </c:pt>
                <c:pt idx="14021">
                  <c:v>0.25006242197253398</c:v>
                </c:pt>
                <c:pt idx="14022">
                  <c:v>0.25008025682182899</c:v>
                </c:pt>
                <c:pt idx="14023">
                  <c:v>0.25009809167112501</c:v>
                </c:pt>
                <c:pt idx="14024">
                  <c:v>0.25011592652041997</c:v>
                </c:pt>
                <c:pt idx="14025">
                  <c:v>0.25013376136971599</c:v>
                </c:pt>
                <c:pt idx="14026">
                  <c:v>0.25015159621901101</c:v>
                </c:pt>
                <c:pt idx="14027">
                  <c:v>0.25016943106830702</c:v>
                </c:pt>
                <c:pt idx="14028">
                  <c:v>0.25018726591760299</c:v>
                </c:pt>
                <c:pt idx="14029">
                  <c:v>0.250205100766898</c:v>
                </c:pt>
                <c:pt idx="14030">
                  <c:v>0.25022293561619402</c:v>
                </c:pt>
                <c:pt idx="14031">
                  <c:v>0.25024077046548898</c:v>
                </c:pt>
                <c:pt idx="14032">
                  <c:v>0.250258605314785</c:v>
                </c:pt>
                <c:pt idx="14033">
                  <c:v>0.25027644016408002</c:v>
                </c:pt>
                <c:pt idx="14034">
                  <c:v>0.25029427501337598</c:v>
                </c:pt>
                <c:pt idx="14035">
                  <c:v>0.250312109862671</c:v>
                </c:pt>
                <c:pt idx="14036">
                  <c:v>0.25032994471196701</c:v>
                </c:pt>
                <c:pt idx="14037">
                  <c:v>0.25034777956126197</c:v>
                </c:pt>
                <c:pt idx="14038">
                  <c:v>0.25036561441055799</c:v>
                </c:pt>
                <c:pt idx="14039">
                  <c:v>0.25038344925985301</c:v>
                </c:pt>
                <c:pt idx="14040">
                  <c:v>0.25040128410914902</c:v>
                </c:pt>
                <c:pt idx="14041">
                  <c:v>0.25041911895844399</c:v>
                </c:pt>
                <c:pt idx="14042">
                  <c:v>0.25043695380774</c:v>
                </c:pt>
                <c:pt idx="14043">
                  <c:v>0.25045478865703502</c:v>
                </c:pt>
                <c:pt idx="14044">
                  <c:v>0.25047262350633098</c:v>
                </c:pt>
                <c:pt idx="14045">
                  <c:v>0.250490458355626</c:v>
                </c:pt>
                <c:pt idx="14046">
                  <c:v>0.25050829320492202</c:v>
                </c:pt>
                <c:pt idx="14047">
                  <c:v>0.25052612805421698</c:v>
                </c:pt>
                <c:pt idx="14048">
                  <c:v>0.250543962903513</c:v>
                </c:pt>
                <c:pt idx="14049">
                  <c:v>0.25056179775280901</c:v>
                </c:pt>
                <c:pt idx="14050">
                  <c:v>0.25057963260210397</c:v>
                </c:pt>
                <c:pt idx="14051">
                  <c:v>0.25059746745139999</c:v>
                </c:pt>
                <c:pt idx="14052">
                  <c:v>0.25061530230069501</c:v>
                </c:pt>
                <c:pt idx="14053">
                  <c:v>0.25063313714999103</c:v>
                </c:pt>
                <c:pt idx="14054">
                  <c:v>0.25065097199928599</c:v>
                </c:pt>
                <c:pt idx="14055">
                  <c:v>0.250668806848582</c:v>
                </c:pt>
                <c:pt idx="14056">
                  <c:v>0.25068664169787702</c:v>
                </c:pt>
                <c:pt idx="14057">
                  <c:v>0.25070447654717298</c:v>
                </c:pt>
                <c:pt idx="14058">
                  <c:v>0.250722311396468</c:v>
                </c:pt>
                <c:pt idx="14059">
                  <c:v>0.25074014624576402</c:v>
                </c:pt>
                <c:pt idx="14060">
                  <c:v>0.25075798109505898</c:v>
                </c:pt>
                <c:pt idx="14061">
                  <c:v>0.250775815944355</c:v>
                </c:pt>
                <c:pt idx="14062">
                  <c:v>0.25079365079365001</c:v>
                </c:pt>
                <c:pt idx="14063">
                  <c:v>0.25081148564294597</c:v>
                </c:pt>
                <c:pt idx="14064">
                  <c:v>0.25082932049224099</c:v>
                </c:pt>
                <c:pt idx="14065">
                  <c:v>0.25084715534153701</c:v>
                </c:pt>
                <c:pt idx="14066">
                  <c:v>0.25086499019083203</c:v>
                </c:pt>
                <c:pt idx="14067">
                  <c:v>0.25088282504012799</c:v>
                </c:pt>
                <c:pt idx="14068">
                  <c:v>0.25090065988942301</c:v>
                </c:pt>
                <c:pt idx="14069">
                  <c:v>0.25091849473871902</c:v>
                </c:pt>
                <c:pt idx="14070">
                  <c:v>0.25093632958801498</c:v>
                </c:pt>
                <c:pt idx="14071">
                  <c:v>0.25095416443731</c:v>
                </c:pt>
                <c:pt idx="14072">
                  <c:v>0.25097199928660602</c:v>
                </c:pt>
                <c:pt idx="14073">
                  <c:v>0.25098983413590098</c:v>
                </c:pt>
                <c:pt idx="14074">
                  <c:v>0.251007668985197</c:v>
                </c:pt>
                <c:pt idx="14075">
                  <c:v>0.25102550383449201</c:v>
                </c:pt>
                <c:pt idx="14076">
                  <c:v>0.25104333868378798</c:v>
                </c:pt>
                <c:pt idx="14077">
                  <c:v>0.25106117353308299</c:v>
                </c:pt>
                <c:pt idx="14078">
                  <c:v>0.25107900838237901</c:v>
                </c:pt>
                <c:pt idx="14079">
                  <c:v>0.25109684323167403</c:v>
                </c:pt>
                <c:pt idx="14080">
                  <c:v>0.25111467808096999</c:v>
                </c:pt>
                <c:pt idx="14081">
                  <c:v>0.25113251293026501</c:v>
                </c:pt>
                <c:pt idx="14082">
                  <c:v>0.25115034777956102</c:v>
                </c:pt>
                <c:pt idx="14083">
                  <c:v>0.25116818262885598</c:v>
                </c:pt>
                <c:pt idx="14084">
                  <c:v>0.251186017478152</c:v>
                </c:pt>
                <c:pt idx="14085">
                  <c:v>0.25120385232744702</c:v>
                </c:pt>
                <c:pt idx="14086">
                  <c:v>0.25122168717674298</c:v>
                </c:pt>
                <c:pt idx="14087">
                  <c:v>0.251239522026038</c:v>
                </c:pt>
                <c:pt idx="14088">
                  <c:v>0.25125735687533401</c:v>
                </c:pt>
                <c:pt idx="14089">
                  <c:v>0.25127519172462898</c:v>
                </c:pt>
                <c:pt idx="14090">
                  <c:v>0.25129302657392499</c:v>
                </c:pt>
                <c:pt idx="14091">
                  <c:v>0.25131086142322001</c:v>
                </c:pt>
                <c:pt idx="14092">
                  <c:v>0.25132869627251597</c:v>
                </c:pt>
                <c:pt idx="14093">
                  <c:v>0.25134653112181199</c:v>
                </c:pt>
                <c:pt idx="14094">
                  <c:v>0.25136436597110701</c:v>
                </c:pt>
                <c:pt idx="14095">
                  <c:v>0.25138220082040302</c:v>
                </c:pt>
                <c:pt idx="14096">
                  <c:v>0.25140003566969799</c:v>
                </c:pt>
                <c:pt idx="14097">
                  <c:v>0.251417870518994</c:v>
                </c:pt>
                <c:pt idx="14098">
                  <c:v>0.25143570536828902</c:v>
                </c:pt>
                <c:pt idx="14099">
                  <c:v>0.25145354021758498</c:v>
                </c:pt>
                <c:pt idx="14100">
                  <c:v>0.25147137506688</c:v>
                </c:pt>
                <c:pt idx="14101">
                  <c:v>0.25148920991617602</c:v>
                </c:pt>
                <c:pt idx="14102">
                  <c:v>0.25150704476547098</c:v>
                </c:pt>
                <c:pt idx="14103">
                  <c:v>0.25152487961476699</c:v>
                </c:pt>
                <c:pt idx="14104">
                  <c:v>0.25154271446406201</c:v>
                </c:pt>
                <c:pt idx="14105">
                  <c:v>0.25156054931335797</c:v>
                </c:pt>
                <c:pt idx="14106">
                  <c:v>0.25157838416265299</c:v>
                </c:pt>
                <c:pt idx="14107">
                  <c:v>0.25159621901194901</c:v>
                </c:pt>
                <c:pt idx="14108">
                  <c:v>0.25161405386124402</c:v>
                </c:pt>
                <c:pt idx="14109">
                  <c:v>0.25163188871053999</c:v>
                </c:pt>
                <c:pt idx="14110">
                  <c:v>0.251649723559835</c:v>
                </c:pt>
                <c:pt idx="14111">
                  <c:v>0.25166755840913102</c:v>
                </c:pt>
                <c:pt idx="14112">
                  <c:v>0.25168539325842698</c:v>
                </c:pt>
                <c:pt idx="14113">
                  <c:v>0.251703228107722</c:v>
                </c:pt>
                <c:pt idx="14114">
                  <c:v>0.25172106295701802</c:v>
                </c:pt>
                <c:pt idx="14115">
                  <c:v>0.25173889780631298</c:v>
                </c:pt>
                <c:pt idx="14116">
                  <c:v>0.25175673265560899</c:v>
                </c:pt>
                <c:pt idx="14117">
                  <c:v>0.25177456750490401</c:v>
                </c:pt>
                <c:pt idx="14118">
                  <c:v>0.25179240235419997</c:v>
                </c:pt>
                <c:pt idx="14119">
                  <c:v>0.25181023720349499</c:v>
                </c:pt>
                <c:pt idx="14120">
                  <c:v>0.25182807205279101</c:v>
                </c:pt>
                <c:pt idx="14121">
                  <c:v>0.25184590690208603</c:v>
                </c:pt>
                <c:pt idx="14122">
                  <c:v>0.25186374175138199</c:v>
                </c:pt>
                <c:pt idx="14123">
                  <c:v>0.251881576600677</c:v>
                </c:pt>
                <c:pt idx="14124">
                  <c:v>0.25189941144997302</c:v>
                </c:pt>
                <c:pt idx="14125">
                  <c:v>0.25191724629926798</c:v>
                </c:pt>
                <c:pt idx="14126">
                  <c:v>0.251935081148564</c:v>
                </c:pt>
                <c:pt idx="14127">
                  <c:v>0.25195291599785902</c:v>
                </c:pt>
                <c:pt idx="14128">
                  <c:v>0.25197075084715498</c:v>
                </c:pt>
                <c:pt idx="14129">
                  <c:v>0.25198858569645</c:v>
                </c:pt>
                <c:pt idx="14130">
                  <c:v>0.25200642054574601</c:v>
                </c:pt>
                <c:pt idx="14131">
                  <c:v>0.25202425539504097</c:v>
                </c:pt>
                <c:pt idx="14132">
                  <c:v>0.25204209024433699</c:v>
                </c:pt>
                <c:pt idx="14133">
                  <c:v>0.25205992509363201</c:v>
                </c:pt>
                <c:pt idx="14134">
                  <c:v>0.25207775994292803</c:v>
                </c:pt>
                <c:pt idx="14135">
                  <c:v>0.25209559479222399</c:v>
                </c:pt>
                <c:pt idx="14136">
                  <c:v>0.252113429641519</c:v>
                </c:pt>
                <c:pt idx="14137">
                  <c:v>0.25213126449081502</c:v>
                </c:pt>
                <c:pt idx="14138">
                  <c:v>0.25214909934010998</c:v>
                </c:pt>
                <c:pt idx="14139">
                  <c:v>0.252166934189406</c:v>
                </c:pt>
                <c:pt idx="14140">
                  <c:v>0.25218476903870102</c:v>
                </c:pt>
                <c:pt idx="14141">
                  <c:v>0.25220260388799698</c:v>
                </c:pt>
                <c:pt idx="14142">
                  <c:v>0.252220438737292</c:v>
                </c:pt>
                <c:pt idx="14143">
                  <c:v>0.25223827358658801</c:v>
                </c:pt>
                <c:pt idx="14144">
                  <c:v>0.25225610843588298</c:v>
                </c:pt>
                <c:pt idx="14145">
                  <c:v>0.25227394328517899</c:v>
                </c:pt>
                <c:pt idx="14146">
                  <c:v>0.25229177813447401</c:v>
                </c:pt>
                <c:pt idx="14147">
                  <c:v>0.25230961298377003</c:v>
                </c:pt>
                <c:pt idx="14148">
                  <c:v>0.25232744783306499</c:v>
                </c:pt>
                <c:pt idx="14149">
                  <c:v>0.25234528268236101</c:v>
                </c:pt>
                <c:pt idx="14150">
                  <c:v>0.25236311753165602</c:v>
                </c:pt>
                <c:pt idx="14151">
                  <c:v>0.25238095238095198</c:v>
                </c:pt>
                <c:pt idx="14152">
                  <c:v>0.252398787230247</c:v>
                </c:pt>
                <c:pt idx="14153">
                  <c:v>0.25241662207954302</c:v>
                </c:pt>
                <c:pt idx="14154">
                  <c:v>0.25243445692883798</c:v>
                </c:pt>
                <c:pt idx="14155">
                  <c:v>0.252452291778134</c:v>
                </c:pt>
                <c:pt idx="14156">
                  <c:v>0.25247012662743001</c:v>
                </c:pt>
                <c:pt idx="14157">
                  <c:v>0.25248796147672498</c:v>
                </c:pt>
                <c:pt idx="14158">
                  <c:v>0.25250579632602099</c:v>
                </c:pt>
                <c:pt idx="14159">
                  <c:v>0.25252363117531601</c:v>
                </c:pt>
                <c:pt idx="14160">
                  <c:v>0.25254146602461203</c:v>
                </c:pt>
                <c:pt idx="14161">
                  <c:v>0.25255930087390699</c:v>
                </c:pt>
                <c:pt idx="14162">
                  <c:v>0.25257713572320301</c:v>
                </c:pt>
                <c:pt idx="14163">
                  <c:v>0.25259497057249802</c:v>
                </c:pt>
                <c:pt idx="14164">
                  <c:v>0.25261280542179398</c:v>
                </c:pt>
                <c:pt idx="14165">
                  <c:v>0.252630640271089</c:v>
                </c:pt>
                <c:pt idx="14166">
                  <c:v>0.25264847512038502</c:v>
                </c:pt>
                <c:pt idx="14167">
                  <c:v>0.25266630996967998</c:v>
                </c:pt>
                <c:pt idx="14168">
                  <c:v>0.252684144818976</c:v>
                </c:pt>
                <c:pt idx="14169">
                  <c:v>0.25270197966827102</c:v>
                </c:pt>
                <c:pt idx="14170">
                  <c:v>0.25271981451756698</c:v>
                </c:pt>
                <c:pt idx="14171">
                  <c:v>0.25273764936686199</c:v>
                </c:pt>
                <c:pt idx="14172">
                  <c:v>0.25275548421615801</c:v>
                </c:pt>
                <c:pt idx="14173">
                  <c:v>0.25277331906545297</c:v>
                </c:pt>
                <c:pt idx="14174">
                  <c:v>0.25279115391474899</c:v>
                </c:pt>
                <c:pt idx="14175">
                  <c:v>0.25280898876404401</c:v>
                </c:pt>
                <c:pt idx="14176">
                  <c:v>0.25282682361334002</c:v>
                </c:pt>
                <c:pt idx="14177">
                  <c:v>0.25284465846263598</c:v>
                </c:pt>
                <c:pt idx="14178">
                  <c:v>0.252862493311931</c:v>
                </c:pt>
                <c:pt idx="14179">
                  <c:v>0.25288032816122702</c:v>
                </c:pt>
                <c:pt idx="14180">
                  <c:v>0.25289816301052198</c:v>
                </c:pt>
                <c:pt idx="14181">
                  <c:v>0.252915997859818</c:v>
                </c:pt>
                <c:pt idx="14182">
                  <c:v>0.25293383270911302</c:v>
                </c:pt>
                <c:pt idx="14183">
                  <c:v>0.25295166755840898</c:v>
                </c:pt>
                <c:pt idx="14184">
                  <c:v>0.25296950240770399</c:v>
                </c:pt>
                <c:pt idx="14185">
                  <c:v>0.25298733725700001</c:v>
                </c:pt>
                <c:pt idx="14186">
                  <c:v>0.25300517210629497</c:v>
                </c:pt>
                <c:pt idx="14187">
                  <c:v>0.25302300695559099</c:v>
                </c:pt>
                <c:pt idx="14188">
                  <c:v>0.25304084180488601</c:v>
                </c:pt>
                <c:pt idx="14189">
                  <c:v>0.25305867665418202</c:v>
                </c:pt>
                <c:pt idx="14190">
                  <c:v>0.25307651150347699</c:v>
                </c:pt>
                <c:pt idx="14191">
                  <c:v>0.253094346352773</c:v>
                </c:pt>
                <c:pt idx="14192">
                  <c:v>0.25311218120206802</c:v>
                </c:pt>
                <c:pt idx="14193">
                  <c:v>0.25313001605136398</c:v>
                </c:pt>
                <c:pt idx="14194">
                  <c:v>0.253147850900659</c:v>
                </c:pt>
                <c:pt idx="14195">
                  <c:v>0.25316568574995502</c:v>
                </c:pt>
                <c:pt idx="14196">
                  <c:v>0.25318352059924998</c:v>
                </c:pt>
                <c:pt idx="14197">
                  <c:v>0.25320135544854599</c:v>
                </c:pt>
                <c:pt idx="14198">
                  <c:v>0.25321919029784101</c:v>
                </c:pt>
                <c:pt idx="14199">
                  <c:v>0.25323702514713697</c:v>
                </c:pt>
                <c:pt idx="14200">
                  <c:v>0.25325485999643299</c:v>
                </c:pt>
                <c:pt idx="14201">
                  <c:v>0.25327269484572801</c:v>
                </c:pt>
                <c:pt idx="14202">
                  <c:v>0.25329052969502402</c:v>
                </c:pt>
                <c:pt idx="14203">
                  <c:v>0.25330836454431899</c:v>
                </c:pt>
                <c:pt idx="14204">
                  <c:v>0.253326199393615</c:v>
                </c:pt>
                <c:pt idx="14205">
                  <c:v>0.25334403424291002</c:v>
                </c:pt>
                <c:pt idx="14206">
                  <c:v>0.25336186909220598</c:v>
                </c:pt>
                <c:pt idx="14207">
                  <c:v>0.253379703941501</c:v>
                </c:pt>
                <c:pt idx="14208">
                  <c:v>0.25339753879079702</c:v>
                </c:pt>
                <c:pt idx="14209">
                  <c:v>0.25341537364009198</c:v>
                </c:pt>
                <c:pt idx="14210">
                  <c:v>0.253433208489388</c:v>
                </c:pt>
                <c:pt idx="14211">
                  <c:v>0.25345104333868301</c:v>
                </c:pt>
                <c:pt idx="14212">
                  <c:v>0.25346887818797897</c:v>
                </c:pt>
                <c:pt idx="14213">
                  <c:v>0.25348671303727399</c:v>
                </c:pt>
                <c:pt idx="14214">
                  <c:v>0.25350454788657001</c:v>
                </c:pt>
                <c:pt idx="14215">
                  <c:v>0.25352238273586503</c:v>
                </c:pt>
                <c:pt idx="14216">
                  <c:v>0.25354021758516099</c:v>
                </c:pt>
                <c:pt idx="14217">
                  <c:v>0.253558052434456</c:v>
                </c:pt>
                <c:pt idx="14218">
                  <c:v>0.25357588728375202</c:v>
                </c:pt>
                <c:pt idx="14219">
                  <c:v>0.25359372213304798</c:v>
                </c:pt>
                <c:pt idx="14220">
                  <c:v>0.253611556982343</c:v>
                </c:pt>
                <c:pt idx="14221">
                  <c:v>0.25362939183163902</c:v>
                </c:pt>
                <c:pt idx="14222">
                  <c:v>0.25364722668093398</c:v>
                </c:pt>
                <c:pt idx="14223">
                  <c:v>0.25366506153023</c:v>
                </c:pt>
                <c:pt idx="14224">
                  <c:v>0.25368289637952501</c:v>
                </c:pt>
                <c:pt idx="14225">
                  <c:v>0.25370073122882097</c:v>
                </c:pt>
                <c:pt idx="14226">
                  <c:v>0.25371856607811599</c:v>
                </c:pt>
                <c:pt idx="14227">
                  <c:v>0.25373640092741201</c:v>
                </c:pt>
                <c:pt idx="14228">
                  <c:v>0.25375423577670703</c:v>
                </c:pt>
                <c:pt idx="14229">
                  <c:v>0.25377207062600299</c:v>
                </c:pt>
                <c:pt idx="14230">
                  <c:v>0.25378990547529801</c:v>
                </c:pt>
                <c:pt idx="14231">
                  <c:v>0.25380774032459402</c:v>
                </c:pt>
                <c:pt idx="14232">
                  <c:v>0.25382557517388898</c:v>
                </c:pt>
                <c:pt idx="14233">
                  <c:v>0.253843410023185</c:v>
                </c:pt>
                <c:pt idx="14234">
                  <c:v>0.25386124487248002</c:v>
                </c:pt>
                <c:pt idx="14235">
                  <c:v>0.25387907972177598</c:v>
                </c:pt>
                <c:pt idx="14236">
                  <c:v>0.253896914571071</c:v>
                </c:pt>
                <c:pt idx="14237">
                  <c:v>0.25391474942036701</c:v>
                </c:pt>
                <c:pt idx="14238">
                  <c:v>0.25393258426966198</c:v>
                </c:pt>
                <c:pt idx="14239">
                  <c:v>0.25395041911895799</c:v>
                </c:pt>
                <c:pt idx="14240">
                  <c:v>0.25396825396825301</c:v>
                </c:pt>
                <c:pt idx="14241">
                  <c:v>0.25398608881754903</c:v>
                </c:pt>
                <c:pt idx="14242">
                  <c:v>0.25400392366684499</c:v>
                </c:pt>
                <c:pt idx="14243">
                  <c:v>0.25402175851614001</c:v>
                </c:pt>
                <c:pt idx="14244">
                  <c:v>0.25403959336543602</c:v>
                </c:pt>
                <c:pt idx="14245">
                  <c:v>0.25405742821473098</c:v>
                </c:pt>
                <c:pt idx="14246">
                  <c:v>0.254075263064027</c:v>
                </c:pt>
                <c:pt idx="14247">
                  <c:v>0.25409309791332202</c:v>
                </c:pt>
                <c:pt idx="14248">
                  <c:v>0.25411093276261798</c:v>
                </c:pt>
                <c:pt idx="14249">
                  <c:v>0.254128767611913</c:v>
                </c:pt>
                <c:pt idx="14250">
                  <c:v>0.25414660246120901</c:v>
                </c:pt>
                <c:pt idx="14251">
                  <c:v>0.25416443731050398</c:v>
                </c:pt>
                <c:pt idx="14252">
                  <c:v>0.25418227215979999</c:v>
                </c:pt>
                <c:pt idx="14253">
                  <c:v>0.25420010700909501</c:v>
                </c:pt>
                <c:pt idx="14254">
                  <c:v>0.25421794185839097</c:v>
                </c:pt>
                <c:pt idx="14255">
                  <c:v>0.25423577670768599</c:v>
                </c:pt>
                <c:pt idx="14256">
                  <c:v>0.25425361155698201</c:v>
                </c:pt>
                <c:pt idx="14257">
                  <c:v>0.25427144640627702</c:v>
                </c:pt>
                <c:pt idx="14258">
                  <c:v>0.25428928125557299</c:v>
                </c:pt>
                <c:pt idx="14259">
                  <c:v>0.254307116104868</c:v>
                </c:pt>
                <c:pt idx="14260">
                  <c:v>0.25432495095416402</c:v>
                </c:pt>
                <c:pt idx="14261">
                  <c:v>0.25434278580345998</c:v>
                </c:pt>
                <c:pt idx="14262">
                  <c:v>0.254360620652755</c:v>
                </c:pt>
                <c:pt idx="14263">
                  <c:v>0.25437845550205102</c:v>
                </c:pt>
                <c:pt idx="14264">
                  <c:v>0.25439629035134598</c:v>
                </c:pt>
                <c:pt idx="14265">
                  <c:v>0.25441412520064199</c:v>
                </c:pt>
                <c:pt idx="14266">
                  <c:v>0.25443196004993701</c:v>
                </c:pt>
                <c:pt idx="14267">
                  <c:v>0.25444979489923297</c:v>
                </c:pt>
                <c:pt idx="14268">
                  <c:v>0.25446762974852799</c:v>
                </c:pt>
                <c:pt idx="14269">
                  <c:v>0.25448546459782401</c:v>
                </c:pt>
                <c:pt idx="14270">
                  <c:v>0.25450329944711902</c:v>
                </c:pt>
                <c:pt idx="14271">
                  <c:v>0.25452113429641499</c:v>
                </c:pt>
                <c:pt idx="14272">
                  <c:v>0.25453896914571</c:v>
                </c:pt>
                <c:pt idx="14273">
                  <c:v>0.25455680399500602</c:v>
                </c:pt>
                <c:pt idx="14274">
                  <c:v>0.25457463884430098</c:v>
                </c:pt>
                <c:pt idx="14275">
                  <c:v>0.254592473693597</c:v>
                </c:pt>
                <c:pt idx="14276">
                  <c:v>0.25461030854289202</c:v>
                </c:pt>
                <c:pt idx="14277">
                  <c:v>0.25462814339218798</c:v>
                </c:pt>
                <c:pt idx="14278">
                  <c:v>0.254645978241483</c:v>
                </c:pt>
                <c:pt idx="14279">
                  <c:v>0.25466381309077901</c:v>
                </c:pt>
                <c:pt idx="14280">
                  <c:v>0.25468164794007397</c:v>
                </c:pt>
                <c:pt idx="14281">
                  <c:v>0.25469948278936999</c:v>
                </c:pt>
                <c:pt idx="14282">
                  <c:v>0.25471731763866501</c:v>
                </c:pt>
                <c:pt idx="14283">
                  <c:v>0.25473515248796103</c:v>
                </c:pt>
                <c:pt idx="14284">
                  <c:v>0.25475298733725699</c:v>
                </c:pt>
                <c:pt idx="14285">
                  <c:v>0.254770822186552</c:v>
                </c:pt>
                <c:pt idx="14286">
                  <c:v>0.25478865703584802</c:v>
                </c:pt>
                <c:pt idx="14287">
                  <c:v>0.25480649188514298</c:v>
                </c:pt>
                <c:pt idx="14288">
                  <c:v>0.254824326734439</c:v>
                </c:pt>
                <c:pt idx="14289">
                  <c:v>0.25484216158373402</c:v>
                </c:pt>
                <c:pt idx="14290">
                  <c:v>0.25485999643302998</c:v>
                </c:pt>
                <c:pt idx="14291">
                  <c:v>0.254877831282325</c:v>
                </c:pt>
                <c:pt idx="14292">
                  <c:v>0.25489566613162101</c:v>
                </c:pt>
                <c:pt idx="14293">
                  <c:v>0.25491350098091597</c:v>
                </c:pt>
                <c:pt idx="14294">
                  <c:v>0.25493133583021199</c:v>
                </c:pt>
                <c:pt idx="14295">
                  <c:v>0.25494917067950701</c:v>
                </c:pt>
                <c:pt idx="14296">
                  <c:v>0.25496700552880303</c:v>
                </c:pt>
                <c:pt idx="14297">
                  <c:v>0.25498484037809799</c:v>
                </c:pt>
                <c:pt idx="14298">
                  <c:v>0.255002675227394</c:v>
                </c:pt>
                <c:pt idx="14299">
                  <c:v>0.25502051007668902</c:v>
                </c:pt>
                <c:pt idx="14300">
                  <c:v>0.25503834492598498</c:v>
                </c:pt>
                <c:pt idx="14301">
                  <c:v>0.25505617977528</c:v>
                </c:pt>
                <c:pt idx="14302">
                  <c:v>0.25507401462457602</c:v>
                </c:pt>
                <c:pt idx="14303">
                  <c:v>0.25509184947387098</c:v>
                </c:pt>
                <c:pt idx="14304">
                  <c:v>0.255109684323167</c:v>
                </c:pt>
                <c:pt idx="14305">
                  <c:v>0.25512751917246301</c:v>
                </c:pt>
                <c:pt idx="14306">
                  <c:v>0.25514535402175798</c:v>
                </c:pt>
                <c:pt idx="14307">
                  <c:v>0.25516318887105399</c:v>
                </c:pt>
                <c:pt idx="14308">
                  <c:v>0.25518102372034901</c:v>
                </c:pt>
                <c:pt idx="14309">
                  <c:v>0.25519885856964503</c:v>
                </c:pt>
                <c:pt idx="14310">
                  <c:v>0.25521669341893999</c:v>
                </c:pt>
                <c:pt idx="14311">
                  <c:v>0.25523452826823601</c:v>
                </c:pt>
                <c:pt idx="14312">
                  <c:v>0.25525236311753102</c:v>
                </c:pt>
                <c:pt idx="14313">
                  <c:v>0.25527019796682698</c:v>
                </c:pt>
                <c:pt idx="14314">
                  <c:v>0.255288032816122</c:v>
                </c:pt>
                <c:pt idx="14315">
                  <c:v>0.25530586766541802</c:v>
                </c:pt>
                <c:pt idx="14316">
                  <c:v>0.25532370251471298</c:v>
                </c:pt>
                <c:pt idx="14317">
                  <c:v>0.255341537364009</c:v>
                </c:pt>
                <c:pt idx="14318">
                  <c:v>0.25535937221330401</c:v>
                </c:pt>
                <c:pt idx="14319">
                  <c:v>0.25537720706259998</c:v>
                </c:pt>
                <c:pt idx="14320">
                  <c:v>0.25539504191189499</c:v>
                </c:pt>
                <c:pt idx="14321">
                  <c:v>0.25541287676119101</c:v>
                </c:pt>
                <c:pt idx="14322">
                  <c:v>0.25543071161048603</c:v>
                </c:pt>
                <c:pt idx="14323">
                  <c:v>0.25544854645978199</c:v>
                </c:pt>
                <c:pt idx="14324">
                  <c:v>0.25546638130907701</c:v>
                </c:pt>
                <c:pt idx="14325">
                  <c:v>0.25548421615837302</c:v>
                </c:pt>
                <c:pt idx="14326">
                  <c:v>0.25550205100766898</c:v>
                </c:pt>
                <c:pt idx="14327">
                  <c:v>0.255519885856964</c:v>
                </c:pt>
                <c:pt idx="14328">
                  <c:v>0.25553772070626002</c:v>
                </c:pt>
                <c:pt idx="14329">
                  <c:v>0.25555555555555498</c:v>
                </c:pt>
                <c:pt idx="14330">
                  <c:v>0.255573390404851</c:v>
                </c:pt>
                <c:pt idx="14331">
                  <c:v>0.25559122525414602</c:v>
                </c:pt>
                <c:pt idx="14332">
                  <c:v>0.25560906010344198</c:v>
                </c:pt>
                <c:pt idx="14333">
                  <c:v>0.25562689495273699</c:v>
                </c:pt>
                <c:pt idx="14334">
                  <c:v>0.25564472980203301</c:v>
                </c:pt>
                <c:pt idx="14335">
                  <c:v>0.25566256465132797</c:v>
                </c:pt>
                <c:pt idx="14336">
                  <c:v>0.25568039950062399</c:v>
                </c:pt>
                <c:pt idx="14337">
                  <c:v>0.25569823434991901</c:v>
                </c:pt>
                <c:pt idx="14338">
                  <c:v>0.25571606919921502</c:v>
                </c:pt>
                <c:pt idx="14339">
                  <c:v>0.25573390404850999</c:v>
                </c:pt>
                <c:pt idx="14340">
                  <c:v>0.255751738897806</c:v>
                </c:pt>
                <c:pt idx="14341">
                  <c:v>0.25576957374710102</c:v>
                </c:pt>
                <c:pt idx="14342">
                  <c:v>0.25578740859639698</c:v>
                </c:pt>
                <c:pt idx="14343">
                  <c:v>0.255805243445692</c:v>
                </c:pt>
                <c:pt idx="14344">
                  <c:v>0.25582307829498802</c:v>
                </c:pt>
                <c:pt idx="14345">
                  <c:v>0.25584091314428298</c:v>
                </c:pt>
                <c:pt idx="14346">
                  <c:v>0.25585874799357899</c:v>
                </c:pt>
                <c:pt idx="14347">
                  <c:v>0.25587658284287401</c:v>
                </c:pt>
                <c:pt idx="14348">
                  <c:v>0.25589441769216997</c:v>
                </c:pt>
                <c:pt idx="14349">
                  <c:v>0.25591225254146599</c:v>
                </c:pt>
                <c:pt idx="14350">
                  <c:v>0.25593008739076101</c:v>
                </c:pt>
                <c:pt idx="14351">
                  <c:v>0.25594792224005702</c:v>
                </c:pt>
                <c:pt idx="14352">
                  <c:v>0.25596575708935199</c:v>
                </c:pt>
                <c:pt idx="14353">
                  <c:v>0.255983591938648</c:v>
                </c:pt>
                <c:pt idx="14354">
                  <c:v>0.25600142678794302</c:v>
                </c:pt>
                <c:pt idx="14355">
                  <c:v>0.25601926163723898</c:v>
                </c:pt>
                <c:pt idx="14356">
                  <c:v>0.256037096486534</c:v>
                </c:pt>
                <c:pt idx="14357">
                  <c:v>0.25605493133583002</c:v>
                </c:pt>
                <c:pt idx="14358">
                  <c:v>0.25607276618512498</c:v>
                </c:pt>
                <c:pt idx="14359">
                  <c:v>0.25609060103442099</c:v>
                </c:pt>
                <c:pt idx="14360">
                  <c:v>0.25610843588371601</c:v>
                </c:pt>
                <c:pt idx="14361">
                  <c:v>0.25612627073301197</c:v>
                </c:pt>
                <c:pt idx="14362">
                  <c:v>0.25614410558230699</c:v>
                </c:pt>
                <c:pt idx="14363">
                  <c:v>0.25616194043160301</c:v>
                </c:pt>
                <c:pt idx="14364">
                  <c:v>0.25617977528089803</c:v>
                </c:pt>
                <c:pt idx="14365">
                  <c:v>0.25619761013019399</c:v>
                </c:pt>
                <c:pt idx="14366">
                  <c:v>0.256215444979489</c:v>
                </c:pt>
                <c:pt idx="14367">
                  <c:v>0.25623327982878502</c:v>
                </c:pt>
                <c:pt idx="14368">
                  <c:v>0.25625111467808098</c:v>
                </c:pt>
                <c:pt idx="14369">
                  <c:v>0.256268949527376</c:v>
                </c:pt>
                <c:pt idx="14370">
                  <c:v>0.25628678437667202</c:v>
                </c:pt>
                <c:pt idx="14371">
                  <c:v>0.25630461922596698</c:v>
                </c:pt>
                <c:pt idx="14372">
                  <c:v>0.256322454075263</c:v>
                </c:pt>
                <c:pt idx="14373">
                  <c:v>0.25634028892455801</c:v>
                </c:pt>
                <c:pt idx="14374">
                  <c:v>0.25635812377385397</c:v>
                </c:pt>
                <c:pt idx="14375">
                  <c:v>0.25637595862314899</c:v>
                </c:pt>
                <c:pt idx="14376">
                  <c:v>0.25639379347244501</c:v>
                </c:pt>
                <c:pt idx="14377">
                  <c:v>0.25641162832174003</c:v>
                </c:pt>
                <c:pt idx="14378">
                  <c:v>0.25642946317103599</c:v>
                </c:pt>
                <c:pt idx="14379">
                  <c:v>0.256447298020331</c:v>
                </c:pt>
                <c:pt idx="14380">
                  <c:v>0.25646513286962702</c:v>
                </c:pt>
                <c:pt idx="14381">
                  <c:v>0.25648296771892198</c:v>
                </c:pt>
                <c:pt idx="14382">
                  <c:v>0.256500802568218</c:v>
                </c:pt>
                <c:pt idx="14383">
                  <c:v>0.25651863741751302</c:v>
                </c:pt>
                <c:pt idx="14384">
                  <c:v>0.25653647226680898</c:v>
                </c:pt>
                <c:pt idx="14385">
                  <c:v>0.256554307116104</c:v>
                </c:pt>
                <c:pt idx="14386">
                  <c:v>0.25657214196540001</c:v>
                </c:pt>
                <c:pt idx="14387">
                  <c:v>0.25658997681469498</c:v>
                </c:pt>
                <c:pt idx="14388">
                  <c:v>0.25660781166399099</c:v>
                </c:pt>
                <c:pt idx="14389">
                  <c:v>0.25662564651328601</c:v>
                </c:pt>
                <c:pt idx="14390">
                  <c:v>0.25664348136258203</c:v>
                </c:pt>
                <c:pt idx="14391">
                  <c:v>0.25666131621187799</c:v>
                </c:pt>
                <c:pt idx="14392">
                  <c:v>0.25667915106117301</c:v>
                </c:pt>
                <c:pt idx="14393">
                  <c:v>0.25669698591046902</c:v>
                </c:pt>
                <c:pt idx="14394">
                  <c:v>0.25671482075976398</c:v>
                </c:pt>
                <c:pt idx="14395">
                  <c:v>0.25673265560906</c:v>
                </c:pt>
                <c:pt idx="14396">
                  <c:v>0.25675049045835502</c:v>
                </c:pt>
                <c:pt idx="14397">
                  <c:v>0.25676832530765098</c:v>
                </c:pt>
                <c:pt idx="14398">
                  <c:v>0.256786160156946</c:v>
                </c:pt>
                <c:pt idx="14399">
                  <c:v>0.25680399500624201</c:v>
                </c:pt>
                <c:pt idx="14400">
                  <c:v>0.25682182985553698</c:v>
                </c:pt>
                <c:pt idx="14401">
                  <c:v>0.25683966470483299</c:v>
                </c:pt>
                <c:pt idx="14402">
                  <c:v>0.25685749955412801</c:v>
                </c:pt>
                <c:pt idx="14403">
                  <c:v>0.25687533440342403</c:v>
                </c:pt>
                <c:pt idx="14404">
                  <c:v>0.25689316925271899</c:v>
                </c:pt>
                <c:pt idx="14405">
                  <c:v>0.25691100410201501</c:v>
                </c:pt>
                <c:pt idx="14406">
                  <c:v>0.25692883895131002</c:v>
                </c:pt>
                <c:pt idx="14407">
                  <c:v>0.25694667380060598</c:v>
                </c:pt>
                <c:pt idx="14408">
                  <c:v>0.256964508649901</c:v>
                </c:pt>
                <c:pt idx="14409">
                  <c:v>0.25698234349919702</c:v>
                </c:pt>
                <c:pt idx="14410">
                  <c:v>0.25700017834849298</c:v>
                </c:pt>
                <c:pt idx="14411">
                  <c:v>0.257018013197788</c:v>
                </c:pt>
                <c:pt idx="14412">
                  <c:v>0.25703584804708401</c:v>
                </c:pt>
                <c:pt idx="14413">
                  <c:v>0.25705368289637898</c:v>
                </c:pt>
                <c:pt idx="14414">
                  <c:v>0.25707151774567499</c:v>
                </c:pt>
                <c:pt idx="14415">
                  <c:v>0.25708935259497001</c:v>
                </c:pt>
                <c:pt idx="14416">
                  <c:v>0.25710718744426603</c:v>
                </c:pt>
                <c:pt idx="14417">
                  <c:v>0.25712502229356099</c:v>
                </c:pt>
                <c:pt idx="14418">
                  <c:v>0.25714285714285701</c:v>
                </c:pt>
                <c:pt idx="14419">
                  <c:v>0.25716069199215202</c:v>
                </c:pt>
                <c:pt idx="14420">
                  <c:v>0.25717852684144799</c:v>
                </c:pt>
                <c:pt idx="14421">
                  <c:v>0.257196361690743</c:v>
                </c:pt>
                <c:pt idx="14422">
                  <c:v>0.25721419654003902</c:v>
                </c:pt>
                <c:pt idx="14423">
                  <c:v>0.25723203138933398</c:v>
                </c:pt>
                <c:pt idx="14424">
                  <c:v>0.25724986623863</c:v>
                </c:pt>
                <c:pt idx="14425">
                  <c:v>0.25726770108792502</c:v>
                </c:pt>
                <c:pt idx="14426">
                  <c:v>0.25728553593722098</c:v>
                </c:pt>
                <c:pt idx="14427">
                  <c:v>0.25730337078651599</c:v>
                </c:pt>
                <c:pt idx="14428">
                  <c:v>0.25732120563581201</c:v>
                </c:pt>
                <c:pt idx="14429">
                  <c:v>0.25733904048510697</c:v>
                </c:pt>
                <c:pt idx="14430">
                  <c:v>0.25735687533440299</c:v>
                </c:pt>
                <c:pt idx="14431">
                  <c:v>0.25737471018369801</c:v>
                </c:pt>
                <c:pt idx="14432">
                  <c:v>0.25739254503299402</c:v>
                </c:pt>
                <c:pt idx="14433">
                  <c:v>0.25741037988228999</c:v>
                </c:pt>
                <c:pt idx="14434">
                  <c:v>0.257428214731585</c:v>
                </c:pt>
                <c:pt idx="14435">
                  <c:v>0.25744604958088102</c:v>
                </c:pt>
                <c:pt idx="14436">
                  <c:v>0.25746388443017598</c:v>
                </c:pt>
                <c:pt idx="14437">
                  <c:v>0.257481719279472</c:v>
                </c:pt>
                <c:pt idx="14438">
                  <c:v>0.25749955412876702</c:v>
                </c:pt>
                <c:pt idx="14439">
                  <c:v>0.25751738897806298</c:v>
                </c:pt>
                <c:pt idx="14440">
                  <c:v>0.257535223827358</c:v>
                </c:pt>
                <c:pt idx="14441">
                  <c:v>0.25755305867665401</c:v>
                </c:pt>
                <c:pt idx="14442">
                  <c:v>0.25757089352594897</c:v>
                </c:pt>
                <c:pt idx="14443">
                  <c:v>0.25758872837524499</c:v>
                </c:pt>
                <c:pt idx="14444">
                  <c:v>0.25760656322454001</c:v>
                </c:pt>
                <c:pt idx="14445">
                  <c:v>0.25762439807383603</c:v>
                </c:pt>
                <c:pt idx="14446">
                  <c:v>0.25764223292313099</c:v>
                </c:pt>
                <c:pt idx="14447">
                  <c:v>0.257660067772427</c:v>
                </c:pt>
                <c:pt idx="14448">
                  <c:v>0.25767790262172202</c:v>
                </c:pt>
                <c:pt idx="14449">
                  <c:v>0.25769573747101798</c:v>
                </c:pt>
                <c:pt idx="14450">
                  <c:v>0.257713572320313</c:v>
                </c:pt>
                <c:pt idx="14451">
                  <c:v>0.25773140716960902</c:v>
                </c:pt>
                <c:pt idx="14452">
                  <c:v>0.25774924201890398</c:v>
                </c:pt>
                <c:pt idx="14453">
                  <c:v>0.2577670768682</c:v>
                </c:pt>
                <c:pt idx="14454">
                  <c:v>0.25778491171749601</c:v>
                </c:pt>
                <c:pt idx="14455">
                  <c:v>0.25780274656679097</c:v>
                </c:pt>
                <c:pt idx="14456">
                  <c:v>0.25782058141608699</c:v>
                </c:pt>
                <c:pt idx="14457">
                  <c:v>0.25783841626538201</c:v>
                </c:pt>
                <c:pt idx="14458">
                  <c:v>0.25785625111467803</c:v>
                </c:pt>
                <c:pt idx="14459">
                  <c:v>0.25787408596397299</c:v>
                </c:pt>
                <c:pt idx="14460">
                  <c:v>0.257891920813269</c:v>
                </c:pt>
                <c:pt idx="14461">
                  <c:v>0.25790975566256402</c:v>
                </c:pt>
                <c:pt idx="14462">
                  <c:v>0.25792759051185998</c:v>
                </c:pt>
                <c:pt idx="14463">
                  <c:v>0.257945425361155</c:v>
                </c:pt>
                <c:pt idx="14464">
                  <c:v>0.25796326021045102</c:v>
                </c:pt>
                <c:pt idx="14465">
                  <c:v>0.25798109505974598</c:v>
                </c:pt>
                <c:pt idx="14466">
                  <c:v>0.257998929909042</c:v>
                </c:pt>
                <c:pt idx="14467">
                  <c:v>0.25801676475833701</c:v>
                </c:pt>
                <c:pt idx="14468">
                  <c:v>0.25803459960763298</c:v>
                </c:pt>
                <c:pt idx="14469">
                  <c:v>0.25805243445692799</c:v>
                </c:pt>
                <c:pt idx="14470">
                  <c:v>0.25807026930622401</c:v>
                </c:pt>
                <c:pt idx="14471">
                  <c:v>0.25808810415551903</c:v>
                </c:pt>
                <c:pt idx="14472">
                  <c:v>0.25810593900481499</c:v>
                </c:pt>
                <c:pt idx="14473">
                  <c:v>0.25812377385411001</c:v>
                </c:pt>
                <c:pt idx="14474">
                  <c:v>0.25814160870340602</c:v>
                </c:pt>
                <c:pt idx="14475">
                  <c:v>0.25815944355270198</c:v>
                </c:pt>
                <c:pt idx="14476">
                  <c:v>0.258177278401997</c:v>
                </c:pt>
                <c:pt idx="14477">
                  <c:v>0.25819511325129302</c:v>
                </c:pt>
                <c:pt idx="14478">
                  <c:v>0.25821294810058798</c:v>
                </c:pt>
                <c:pt idx="14479">
                  <c:v>0.258230782949884</c:v>
                </c:pt>
                <c:pt idx="14480">
                  <c:v>0.25824861779917901</c:v>
                </c:pt>
                <c:pt idx="14481">
                  <c:v>0.25826645264847498</c:v>
                </c:pt>
                <c:pt idx="14482">
                  <c:v>0.25828428749776999</c:v>
                </c:pt>
                <c:pt idx="14483">
                  <c:v>0.25830212234706601</c:v>
                </c:pt>
                <c:pt idx="14484">
                  <c:v>0.25831995719636103</c:v>
                </c:pt>
                <c:pt idx="14485">
                  <c:v>0.25833779204565699</c:v>
                </c:pt>
                <c:pt idx="14486">
                  <c:v>0.25835562689495201</c:v>
                </c:pt>
                <c:pt idx="14487">
                  <c:v>0.25837346174424802</c:v>
                </c:pt>
                <c:pt idx="14488">
                  <c:v>0.25839129659354299</c:v>
                </c:pt>
                <c:pt idx="14489">
                  <c:v>0.258409131442839</c:v>
                </c:pt>
                <c:pt idx="14490">
                  <c:v>0.25842696629213402</c:v>
                </c:pt>
                <c:pt idx="14491">
                  <c:v>0.25844480114142998</c:v>
                </c:pt>
                <c:pt idx="14492">
                  <c:v>0.258462635990725</c:v>
                </c:pt>
                <c:pt idx="14493">
                  <c:v>0.25848047084002101</c:v>
                </c:pt>
                <c:pt idx="14494">
                  <c:v>0.25849830568931598</c:v>
                </c:pt>
                <c:pt idx="14495">
                  <c:v>0.25851614053861199</c:v>
                </c:pt>
                <c:pt idx="14496">
                  <c:v>0.25853397538790701</c:v>
                </c:pt>
                <c:pt idx="14497">
                  <c:v>0.25855181023720297</c:v>
                </c:pt>
                <c:pt idx="14498">
                  <c:v>0.25856964508649899</c:v>
                </c:pt>
                <c:pt idx="14499">
                  <c:v>0.25858747993579401</c:v>
                </c:pt>
                <c:pt idx="14500">
                  <c:v>0.25860531478509002</c:v>
                </c:pt>
                <c:pt idx="14501">
                  <c:v>0.25862314963438499</c:v>
                </c:pt>
                <c:pt idx="14502">
                  <c:v>0.258640984483681</c:v>
                </c:pt>
                <c:pt idx="14503">
                  <c:v>0.25865881933297602</c:v>
                </c:pt>
                <c:pt idx="14504">
                  <c:v>0.25867665418227198</c:v>
                </c:pt>
                <c:pt idx="14505">
                  <c:v>0.258694489031567</c:v>
                </c:pt>
                <c:pt idx="14506">
                  <c:v>0.25871232388086302</c:v>
                </c:pt>
                <c:pt idx="14507">
                  <c:v>0.25873015873015798</c:v>
                </c:pt>
                <c:pt idx="14508">
                  <c:v>0.25874799357945399</c:v>
                </c:pt>
                <c:pt idx="14509">
                  <c:v>0.25876582842874901</c:v>
                </c:pt>
                <c:pt idx="14510">
                  <c:v>0.25878366327804497</c:v>
                </c:pt>
                <c:pt idx="14511">
                  <c:v>0.25880149812733999</c:v>
                </c:pt>
                <c:pt idx="14512">
                  <c:v>0.25881933297663601</c:v>
                </c:pt>
                <c:pt idx="14513">
                  <c:v>0.25883716782593102</c:v>
                </c:pt>
                <c:pt idx="14514">
                  <c:v>0.25885500267522699</c:v>
                </c:pt>
                <c:pt idx="14515">
                  <c:v>0.258872837524522</c:v>
                </c:pt>
                <c:pt idx="14516">
                  <c:v>0.25889067237381802</c:v>
                </c:pt>
                <c:pt idx="14517">
                  <c:v>0.25890850722311398</c:v>
                </c:pt>
                <c:pt idx="14518">
                  <c:v>0.258926342072409</c:v>
                </c:pt>
                <c:pt idx="14519">
                  <c:v>0.25894417692170502</c:v>
                </c:pt>
                <c:pt idx="14520">
                  <c:v>0.25896201177099998</c:v>
                </c:pt>
                <c:pt idx="14521">
                  <c:v>0.25897984662029599</c:v>
                </c:pt>
                <c:pt idx="14522">
                  <c:v>0.25899768146959101</c:v>
                </c:pt>
                <c:pt idx="14523">
                  <c:v>0.25901551631888697</c:v>
                </c:pt>
                <c:pt idx="14524">
                  <c:v>0.25903335116818199</c:v>
                </c:pt>
                <c:pt idx="14525">
                  <c:v>0.25905118601747801</c:v>
                </c:pt>
                <c:pt idx="14526">
                  <c:v>0.25906902086677303</c:v>
                </c:pt>
                <c:pt idx="14527">
                  <c:v>0.25908685571606899</c:v>
                </c:pt>
                <c:pt idx="14528">
                  <c:v>0.259104690565364</c:v>
                </c:pt>
                <c:pt idx="14529">
                  <c:v>0.25912252541466002</c:v>
                </c:pt>
                <c:pt idx="14530">
                  <c:v>0.25914036026395498</c:v>
                </c:pt>
                <c:pt idx="14531">
                  <c:v>0.259158195113251</c:v>
                </c:pt>
                <c:pt idx="14532">
                  <c:v>0.25917602996254602</c:v>
                </c:pt>
                <c:pt idx="14533">
                  <c:v>0.25919386481184198</c:v>
                </c:pt>
                <c:pt idx="14534">
                  <c:v>0.259211699661137</c:v>
                </c:pt>
                <c:pt idx="14535">
                  <c:v>0.25922953451043301</c:v>
                </c:pt>
                <c:pt idx="14536">
                  <c:v>0.25924736935972797</c:v>
                </c:pt>
                <c:pt idx="14537">
                  <c:v>0.25926520420902399</c:v>
                </c:pt>
                <c:pt idx="14538">
                  <c:v>0.25928303905831901</c:v>
                </c:pt>
                <c:pt idx="14539">
                  <c:v>0.25930087390761503</c:v>
                </c:pt>
                <c:pt idx="14540">
                  <c:v>0.25931870875691099</c:v>
                </c:pt>
                <c:pt idx="14541">
                  <c:v>0.259336543606206</c:v>
                </c:pt>
                <c:pt idx="14542">
                  <c:v>0.25935437845550202</c:v>
                </c:pt>
                <c:pt idx="14543">
                  <c:v>0.25937221330479698</c:v>
                </c:pt>
                <c:pt idx="14544">
                  <c:v>0.259390048154093</c:v>
                </c:pt>
                <c:pt idx="14545">
                  <c:v>0.25940788300338802</c:v>
                </c:pt>
                <c:pt idx="14546">
                  <c:v>0.25942571785268398</c:v>
                </c:pt>
                <c:pt idx="14547">
                  <c:v>0.259443552701979</c:v>
                </c:pt>
                <c:pt idx="14548">
                  <c:v>0.25946138755127501</c:v>
                </c:pt>
                <c:pt idx="14549">
                  <c:v>0.25947922240056998</c:v>
                </c:pt>
                <c:pt idx="14550">
                  <c:v>0.25949705724986599</c:v>
                </c:pt>
                <c:pt idx="14551">
                  <c:v>0.25951489209916101</c:v>
                </c:pt>
                <c:pt idx="14552">
                  <c:v>0.25953272694845703</c:v>
                </c:pt>
                <c:pt idx="14553">
                  <c:v>0.25955056179775199</c:v>
                </c:pt>
                <c:pt idx="14554">
                  <c:v>0.25956839664704801</c:v>
                </c:pt>
                <c:pt idx="14555">
                  <c:v>0.25958623149634302</c:v>
                </c:pt>
                <c:pt idx="14556">
                  <c:v>0.25960406634563898</c:v>
                </c:pt>
                <c:pt idx="14557">
                  <c:v>0.259621901194934</c:v>
                </c:pt>
                <c:pt idx="14558">
                  <c:v>0.25963973604423002</c:v>
                </c:pt>
                <c:pt idx="14559">
                  <c:v>0.25965757089352498</c:v>
                </c:pt>
                <c:pt idx="14560">
                  <c:v>0.259675405742821</c:v>
                </c:pt>
                <c:pt idx="14561">
                  <c:v>0.25969324059211701</c:v>
                </c:pt>
                <c:pt idx="14562">
                  <c:v>0.25971107544141198</c:v>
                </c:pt>
                <c:pt idx="14563">
                  <c:v>0.25972891029070799</c:v>
                </c:pt>
                <c:pt idx="14564">
                  <c:v>0.25974674514000301</c:v>
                </c:pt>
                <c:pt idx="14565">
                  <c:v>0.25976457998929903</c:v>
                </c:pt>
                <c:pt idx="14566">
                  <c:v>0.25978241483859399</c:v>
                </c:pt>
                <c:pt idx="14567">
                  <c:v>0.25980024968789001</c:v>
                </c:pt>
                <c:pt idx="14568">
                  <c:v>0.25981808453718502</c:v>
                </c:pt>
                <c:pt idx="14569">
                  <c:v>0.25983591938648098</c:v>
                </c:pt>
                <c:pt idx="14570">
                  <c:v>0.259853754235776</c:v>
                </c:pt>
                <c:pt idx="14571">
                  <c:v>0.25987158908507202</c:v>
                </c:pt>
                <c:pt idx="14572">
                  <c:v>0.25988942393436698</c:v>
                </c:pt>
                <c:pt idx="14573">
                  <c:v>0.259907258783663</c:v>
                </c:pt>
                <c:pt idx="14574">
                  <c:v>0.25992509363295802</c:v>
                </c:pt>
                <c:pt idx="14575">
                  <c:v>0.25994292848225398</c:v>
                </c:pt>
                <c:pt idx="14576">
                  <c:v>0.25996076333154899</c:v>
                </c:pt>
                <c:pt idx="14577">
                  <c:v>0.25997859818084501</c:v>
                </c:pt>
                <c:pt idx="14578">
                  <c:v>0.25999643303013997</c:v>
                </c:pt>
                <c:pt idx="14579">
                  <c:v>0.26001426787943599</c:v>
                </c:pt>
                <c:pt idx="14580">
                  <c:v>0.26003210272873101</c:v>
                </c:pt>
                <c:pt idx="14581">
                  <c:v>0.26004993757802702</c:v>
                </c:pt>
                <c:pt idx="14582">
                  <c:v>0.26006777242732299</c:v>
                </c:pt>
                <c:pt idx="14583">
                  <c:v>0.260085607276618</c:v>
                </c:pt>
                <c:pt idx="14584">
                  <c:v>0.26010344212591402</c:v>
                </c:pt>
                <c:pt idx="14585">
                  <c:v>0.26012127697520898</c:v>
                </c:pt>
                <c:pt idx="14586">
                  <c:v>0.260139111824505</c:v>
                </c:pt>
                <c:pt idx="14587">
                  <c:v>0.26015694667380002</c:v>
                </c:pt>
                <c:pt idx="14588">
                  <c:v>0.26017478152309598</c:v>
                </c:pt>
                <c:pt idx="14589">
                  <c:v>0.26019261637239099</c:v>
                </c:pt>
                <c:pt idx="14590">
                  <c:v>0.26021045122168701</c:v>
                </c:pt>
                <c:pt idx="14591">
                  <c:v>0.26022828607098197</c:v>
                </c:pt>
                <c:pt idx="14592">
                  <c:v>0.26024612092027799</c:v>
                </c:pt>
                <c:pt idx="14593">
                  <c:v>0.26026395576957301</c:v>
                </c:pt>
                <c:pt idx="14594">
                  <c:v>0.26028179061886902</c:v>
                </c:pt>
                <c:pt idx="14595">
                  <c:v>0.26029962546816399</c:v>
                </c:pt>
                <c:pt idx="14596">
                  <c:v>0.26031746031746</c:v>
                </c:pt>
                <c:pt idx="14597">
                  <c:v>0.26033529516675502</c:v>
                </c:pt>
                <c:pt idx="14598">
                  <c:v>0.26035313001605098</c:v>
                </c:pt>
                <c:pt idx="14599">
                  <c:v>0.260370964865346</c:v>
                </c:pt>
                <c:pt idx="14600">
                  <c:v>0.26038879971464202</c:v>
                </c:pt>
                <c:pt idx="14601">
                  <c:v>0.26040663456393698</c:v>
                </c:pt>
                <c:pt idx="14602">
                  <c:v>0.260424469413233</c:v>
                </c:pt>
                <c:pt idx="14603">
                  <c:v>0.26044230426252801</c:v>
                </c:pt>
                <c:pt idx="14604">
                  <c:v>0.26046013911182397</c:v>
                </c:pt>
                <c:pt idx="14605">
                  <c:v>0.26047797396111999</c:v>
                </c:pt>
                <c:pt idx="14606">
                  <c:v>0.26049580881041501</c:v>
                </c:pt>
                <c:pt idx="14607">
                  <c:v>0.26051364365971102</c:v>
                </c:pt>
                <c:pt idx="14608">
                  <c:v>0.26053147850900599</c:v>
                </c:pt>
                <c:pt idx="14609">
                  <c:v>0.260549313358302</c:v>
                </c:pt>
                <c:pt idx="14610">
                  <c:v>0.26056714820759702</c:v>
                </c:pt>
                <c:pt idx="14611">
                  <c:v>0.26058498305689298</c:v>
                </c:pt>
                <c:pt idx="14612">
                  <c:v>0.260602817906188</c:v>
                </c:pt>
                <c:pt idx="14613">
                  <c:v>0.26062065275548402</c:v>
                </c:pt>
                <c:pt idx="14614">
                  <c:v>0.26063848760477898</c:v>
                </c:pt>
                <c:pt idx="14615">
                  <c:v>0.260656322454075</c:v>
                </c:pt>
                <c:pt idx="14616">
                  <c:v>0.26067415730337001</c:v>
                </c:pt>
                <c:pt idx="14617">
                  <c:v>0.26069199215266597</c:v>
                </c:pt>
                <c:pt idx="14618">
                  <c:v>0.26070982700196099</c:v>
                </c:pt>
                <c:pt idx="14619">
                  <c:v>0.26072766185125701</c:v>
                </c:pt>
                <c:pt idx="14620">
                  <c:v>0.26074549670055203</c:v>
                </c:pt>
                <c:pt idx="14621">
                  <c:v>0.26076333154984799</c:v>
                </c:pt>
                <c:pt idx="14622">
                  <c:v>0.26078116639914301</c:v>
                </c:pt>
                <c:pt idx="14623">
                  <c:v>0.26079900124843902</c:v>
                </c:pt>
                <c:pt idx="14624">
                  <c:v>0.26081683609773498</c:v>
                </c:pt>
                <c:pt idx="14625">
                  <c:v>0.26083467094703</c:v>
                </c:pt>
                <c:pt idx="14626">
                  <c:v>0.26085250579632602</c:v>
                </c:pt>
                <c:pt idx="14627">
                  <c:v>0.26087034064562098</c:v>
                </c:pt>
                <c:pt idx="14628">
                  <c:v>0.260888175494917</c:v>
                </c:pt>
                <c:pt idx="14629">
                  <c:v>0.26090601034421201</c:v>
                </c:pt>
                <c:pt idx="14630">
                  <c:v>0.26092384519350798</c:v>
                </c:pt>
                <c:pt idx="14631">
                  <c:v>0.26094168004280299</c:v>
                </c:pt>
                <c:pt idx="14632">
                  <c:v>0.26095951489209901</c:v>
                </c:pt>
                <c:pt idx="14633">
                  <c:v>0.26097734974139403</c:v>
                </c:pt>
                <c:pt idx="14634">
                  <c:v>0.26099518459068999</c:v>
                </c:pt>
                <c:pt idx="14635">
                  <c:v>0.26101301943998501</c:v>
                </c:pt>
                <c:pt idx="14636">
                  <c:v>0.26103085428928102</c:v>
                </c:pt>
                <c:pt idx="14637">
                  <c:v>0.26104868913857598</c:v>
                </c:pt>
                <c:pt idx="14638">
                  <c:v>0.261066523987872</c:v>
                </c:pt>
                <c:pt idx="14639">
                  <c:v>0.26108435883716702</c:v>
                </c:pt>
                <c:pt idx="14640">
                  <c:v>0.26110219368646298</c:v>
                </c:pt>
                <c:pt idx="14641">
                  <c:v>0.261120028535758</c:v>
                </c:pt>
                <c:pt idx="14642">
                  <c:v>0.26113786338505401</c:v>
                </c:pt>
                <c:pt idx="14643">
                  <c:v>0.26115569823434898</c:v>
                </c:pt>
                <c:pt idx="14644">
                  <c:v>0.26117353308364499</c:v>
                </c:pt>
                <c:pt idx="14645">
                  <c:v>0.26119136793294001</c:v>
                </c:pt>
                <c:pt idx="14646">
                  <c:v>0.26120920278223603</c:v>
                </c:pt>
                <c:pt idx="14647">
                  <c:v>0.26122703763153199</c:v>
                </c:pt>
                <c:pt idx="14648">
                  <c:v>0.26124487248082701</c:v>
                </c:pt>
                <c:pt idx="14649">
                  <c:v>0.26126270733012302</c:v>
                </c:pt>
                <c:pt idx="14650">
                  <c:v>0.26128054217941798</c:v>
                </c:pt>
                <c:pt idx="14651">
                  <c:v>0.261298377028714</c:v>
                </c:pt>
                <c:pt idx="14652">
                  <c:v>0.26131621187800902</c:v>
                </c:pt>
                <c:pt idx="14653">
                  <c:v>0.26133404672730498</c:v>
                </c:pt>
                <c:pt idx="14654">
                  <c:v>0.2613518815766</c:v>
                </c:pt>
                <c:pt idx="14655">
                  <c:v>0.26136971642589601</c:v>
                </c:pt>
                <c:pt idx="14656">
                  <c:v>0.26138755127519098</c:v>
                </c:pt>
                <c:pt idx="14657">
                  <c:v>0.26140538612448699</c:v>
                </c:pt>
                <c:pt idx="14658">
                  <c:v>0.26142322097378201</c:v>
                </c:pt>
                <c:pt idx="14659">
                  <c:v>0.26144105582307797</c:v>
                </c:pt>
                <c:pt idx="14660">
                  <c:v>0.26145889067237299</c:v>
                </c:pt>
                <c:pt idx="14661">
                  <c:v>0.26147672552166901</c:v>
                </c:pt>
                <c:pt idx="14662">
                  <c:v>0.26149456037096402</c:v>
                </c:pt>
                <c:pt idx="14663">
                  <c:v>0.26151239522025999</c:v>
                </c:pt>
                <c:pt idx="14664">
                  <c:v>0.261530230069555</c:v>
                </c:pt>
                <c:pt idx="14665">
                  <c:v>0.26154806491885102</c:v>
                </c:pt>
                <c:pt idx="14666">
                  <c:v>0.26156589976814698</c:v>
                </c:pt>
                <c:pt idx="14667">
                  <c:v>0.261583734617442</c:v>
                </c:pt>
                <c:pt idx="14668">
                  <c:v>0.26160156946673802</c:v>
                </c:pt>
                <c:pt idx="14669">
                  <c:v>0.26161940431603298</c:v>
                </c:pt>
                <c:pt idx="14670">
                  <c:v>0.26163723916532899</c:v>
                </c:pt>
                <c:pt idx="14671">
                  <c:v>0.26165507401462401</c:v>
                </c:pt>
                <c:pt idx="14672">
                  <c:v>0.26167290886391997</c:v>
                </c:pt>
                <c:pt idx="14673">
                  <c:v>0.26169074371321499</c:v>
                </c:pt>
                <c:pt idx="14674">
                  <c:v>0.26170857856251101</c:v>
                </c:pt>
                <c:pt idx="14675">
                  <c:v>0.26172641341180602</c:v>
                </c:pt>
                <c:pt idx="14676">
                  <c:v>0.26174424826110199</c:v>
                </c:pt>
                <c:pt idx="14677">
                  <c:v>0.261762083110397</c:v>
                </c:pt>
                <c:pt idx="14678">
                  <c:v>0.26177991795969302</c:v>
                </c:pt>
                <c:pt idx="14679">
                  <c:v>0.26179775280898798</c:v>
                </c:pt>
                <c:pt idx="14680">
                  <c:v>0.261815587658284</c:v>
                </c:pt>
                <c:pt idx="14681">
                  <c:v>0.26183342250757902</c:v>
                </c:pt>
                <c:pt idx="14682">
                  <c:v>0.26185125735687498</c:v>
                </c:pt>
                <c:pt idx="14683">
                  <c:v>0.26186909220617</c:v>
                </c:pt>
                <c:pt idx="14684">
                  <c:v>0.26188692705546601</c:v>
                </c:pt>
                <c:pt idx="14685">
                  <c:v>0.26190476190476097</c:v>
                </c:pt>
                <c:pt idx="14686">
                  <c:v>0.26192259675405699</c:v>
                </c:pt>
                <c:pt idx="14687">
                  <c:v>0.26194043160335201</c:v>
                </c:pt>
                <c:pt idx="14688">
                  <c:v>0.26195826645264803</c:v>
                </c:pt>
                <c:pt idx="14689">
                  <c:v>0.26197610130194399</c:v>
                </c:pt>
                <c:pt idx="14690">
                  <c:v>0.261993936151239</c:v>
                </c:pt>
                <c:pt idx="14691">
                  <c:v>0.26201177100053502</c:v>
                </c:pt>
                <c:pt idx="14692">
                  <c:v>0.26202960584982998</c:v>
                </c:pt>
                <c:pt idx="14693">
                  <c:v>0.262047440699126</c:v>
                </c:pt>
                <c:pt idx="14694">
                  <c:v>0.26206527554842102</c:v>
                </c:pt>
                <c:pt idx="14695">
                  <c:v>0.26208311039771698</c:v>
                </c:pt>
                <c:pt idx="14696">
                  <c:v>0.262100945247012</c:v>
                </c:pt>
                <c:pt idx="14697">
                  <c:v>0.26211878009630801</c:v>
                </c:pt>
                <c:pt idx="14698">
                  <c:v>0.26213661494560297</c:v>
                </c:pt>
                <c:pt idx="14699">
                  <c:v>0.26215444979489899</c:v>
                </c:pt>
                <c:pt idx="14700">
                  <c:v>0.26217228464419401</c:v>
                </c:pt>
                <c:pt idx="14701">
                  <c:v>0.26219011949349003</c:v>
                </c:pt>
                <c:pt idx="14702">
                  <c:v>0.26220795434278499</c:v>
                </c:pt>
                <c:pt idx="14703">
                  <c:v>0.262225789192081</c:v>
                </c:pt>
                <c:pt idx="14704">
                  <c:v>0.26224362404137602</c:v>
                </c:pt>
                <c:pt idx="14705">
                  <c:v>0.26226145889067198</c:v>
                </c:pt>
                <c:pt idx="14706">
                  <c:v>0.262279293739967</c:v>
                </c:pt>
                <c:pt idx="14707">
                  <c:v>0.26229712858926302</c:v>
                </c:pt>
                <c:pt idx="14708">
                  <c:v>0.26231496343855798</c:v>
                </c:pt>
                <c:pt idx="14709">
                  <c:v>0.262332798287854</c:v>
                </c:pt>
                <c:pt idx="14710">
                  <c:v>0.26235063313715001</c:v>
                </c:pt>
                <c:pt idx="14711">
                  <c:v>0.26236846798644498</c:v>
                </c:pt>
                <c:pt idx="14712">
                  <c:v>0.26238630283574099</c:v>
                </c:pt>
                <c:pt idx="14713">
                  <c:v>0.26240413768503601</c:v>
                </c:pt>
                <c:pt idx="14714">
                  <c:v>0.26242197253433203</c:v>
                </c:pt>
                <c:pt idx="14715">
                  <c:v>0.26243980738362699</c:v>
                </c:pt>
                <c:pt idx="14716">
                  <c:v>0.26245764223292301</c:v>
                </c:pt>
                <c:pt idx="14717">
                  <c:v>0.26247547708221802</c:v>
                </c:pt>
                <c:pt idx="14718">
                  <c:v>0.26249331193151398</c:v>
                </c:pt>
                <c:pt idx="14719">
                  <c:v>0.262511146780809</c:v>
                </c:pt>
                <c:pt idx="14720">
                  <c:v>0.26252898163010502</c:v>
                </c:pt>
                <c:pt idx="14721">
                  <c:v>0.26254681647939998</c:v>
                </c:pt>
                <c:pt idx="14722">
                  <c:v>0.262564651328696</c:v>
                </c:pt>
                <c:pt idx="14723">
                  <c:v>0.26258248617799101</c:v>
                </c:pt>
                <c:pt idx="14724">
                  <c:v>0.26260032102728698</c:v>
                </c:pt>
                <c:pt idx="14725">
                  <c:v>0.26261815587658199</c:v>
                </c:pt>
                <c:pt idx="14726">
                  <c:v>0.26263599072587801</c:v>
                </c:pt>
                <c:pt idx="14727">
                  <c:v>0.26265382557517303</c:v>
                </c:pt>
                <c:pt idx="14728">
                  <c:v>0.26267166042446899</c:v>
                </c:pt>
                <c:pt idx="14729">
                  <c:v>0.26268949527376401</c:v>
                </c:pt>
                <c:pt idx="14730">
                  <c:v>0.26270733012306002</c:v>
                </c:pt>
                <c:pt idx="14731">
                  <c:v>0.26272516497235598</c:v>
                </c:pt>
                <c:pt idx="14732">
                  <c:v>0.262742999821651</c:v>
                </c:pt>
                <c:pt idx="14733">
                  <c:v>0.26276083467094702</c:v>
                </c:pt>
                <c:pt idx="14734">
                  <c:v>0.26277866952024198</c:v>
                </c:pt>
                <c:pt idx="14735">
                  <c:v>0.262796504369538</c:v>
                </c:pt>
                <c:pt idx="14736">
                  <c:v>0.26281433921883302</c:v>
                </c:pt>
                <c:pt idx="14737">
                  <c:v>0.26283217406812898</c:v>
                </c:pt>
                <c:pt idx="14738">
                  <c:v>0.26285000891742399</c:v>
                </c:pt>
                <c:pt idx="14739">
                  <c:v>0.26286784376672001</c:v>
                </c:pt>
                <c:pt idx="14740">
                  <c:v>0.26288567861601497</c:v>
                </c:pt>
                <c:pt idx="14741">
                  <c:v>0.26290351346531099</c:v>
                </c:pt>
                <c:pt idx="14742">
                  <c:v>0.26292134831460601</c:v>
                </c:pt>
                <c:pt idx="14743">
                  <c:v>0.26293918316390202</c:v>
                </c:pt>
                <c:pt idx="14744">
                  <c:v>0.26295701801319699</c:v>
                </c:pt>
                <c:pt idx="14745">
                  <c:v>0.262974852862493</c:v>
                </c:pt>
                <c:pt idx="14746">
                  <c:v>0.26299268771178802</c:v>
                </c:pt>
                <c:pt idx="14747">
                  <c:v>0.26301052256108398</c:v>
                </c:pt>
                <c:pt idx="14748">
                  <c:v>0.263028357410379</c:v>
                </c:pt>
                <c:pt idx="14749">
                  <c:v>0.26304619225967502</c:v>
                </c:pt>
                <c:pt idx="14750">
                  <c:v>0.26306402710896998</c:v>
                </c:pt>
                <c:pt idx="14751">
                  <c:v>0.26308186195826599</c:v>
                </c:pt>
                <c:pt idx="14752">
                  <c:v>0.26309969680756101</c:v>
                </c:pt>
                <c:pt idx="14753">
                  <c:v>0.26311753165685697</c:v>
                </c:pt>
                <c:pt idx="14754">
                  <c:v>0.26313536650615299</c:v>
                </c:pt>
                <c:pt idx="14755">
                  <c:v>0.26315320135544801</c:v>
                </c:pt>
                <c:pt idx="14756">
                  <c:v>0.26317103620474402</c:v>
                </c:pt>
                <c:pt idx="14757">
                  <c:v>0.26318887105403899</c:v>
                </c:pt>
                <c:pt idx="14758">
                  <c:v>0.263206705903335</c:v>
                </c:pt>
                <c:pt idx="14759">
                  <c:v>0.26322454075263002</c:v>
                </c:pt>
                <c:pt idx="14760">
                  <c:v>0.26324237560192598</c:v>
                </c:pt>
                <c:pt idx="14761">
                  <c:v>0.263260210451221</c:v>
                </c:pt>
                <c:pt idx="14762">
                  <c:v>0.26327804530051702</c:v>
                </c:pt>
                <c:pt idx="14763">
                  <c:v>0.26329588014981198</c:v>
                </c:pt>
                <c:pt idx="14764">
                  <c:v>0.263313714999108</c:v>
                </c:pt>
                <c:pt idx="14765">
                  <c:v>0.26333154984840301</c:v>
                </c:pt>
                <c:pt idx="14766">
                  <c:v>0.26334938469769897</c:v>
                </c:pt>
                <c:pt idx="14767">
                  <c:v>0.26336721954699399</c:v>
                </c:pt>
                <c:pt idx="14768">
                  <c:v>0.26338505439629001</c:v>
                </c:pt>
                <c:pt idx="14769">
                  <c:v>0.26340288924558503</c:v>
                </c:pt>
                <c:pt idx="14770">
                  <c:v>0.26342072409488099</c:v>
                </c:pt>
                <c:pt idx="14771">
                  <c:v>0.263438558944176</c:v>
                </c:pt>
                <c:pt idx="14772">
                  <c:v>0.26345639379347202</c:v>
                </c:pt>
                <c:pt idx="14773">
                  <c:v>0.26347422864276798</c:v>
                </c:pt>
                <c:pt idx="14774">
                  <c:v>0.263492063492063</c:v>
                </c:pt>
                <c:pt idx="14775">
                  <c:v>0.26350989834135902</c:v>
                </c:pt>
                <c:pt idx="14776">
                  <c:v>0.26352773319065398</c:v>
                </c:pt>
                <c:pt idx="14777">
                  <c:v>0.26354556803995</c:v>
                </c:pt>
                <c:pt idx="14778">
                  <c:v>0.26356340288924501</c:v>
                </c:pt>
                <c:pt idx="14779">
                  <c:v>0.26358123773854097</c:v>
                </c:pt>
                <c:pt idx="14780">
                  <c:v>0.26359907258783599</c:v>
                </c:pt>
                <c:pt idx="14781">
                  <c:v>0.26361690743713201</c:v>
                </c:pt>
                <c:pt idx="14782">
                  <c:v>0.26363474228642703</c:v>
                </c:pt>
                <c:pt idx="14783">
                  <c:v>0.26365257713572299</c:v>
                </c:pt>
                <c:pt idx="14784">
                  <c:v>0.26367041198501801</c:v>
                </c:pt>
                <c:pt idx="14785">
                  <c:v>0.26368824683431402</c:v>
                </c:pt>
                <c:pt idx="14786">
                  <c:v>0.26370608168360898</c:v>
                </c:pt>
                <c:pt idx="14787">
                  <c:v>0.263723916532905</c:v>
                </c:pt>
                <c:pt idx="14788">
                  <c:v>0.26374175138220002</c:v>
                </c:pt>
                <c:pt idx="14789">
                  <c:v>0.26375958623149598</c:v>
                </c:pt>
                <c:pt idx="14790">
                  <c:v>0.263777421080791</c:v>
                </c:pt>
                <c:pt idx="14791">
                  <c:v>0.26379525593008701</c:v>
                </c:pt>
                <c:pt idx="14792">
                  <c:v>0.26381309077938198</c:v>
                </c:pt>
                <c:pt idx="14793">
                  <c:v>0.26383092562867799</c:v>
                </c:pt>
                <c:pt idx="14794">
                  <c:v>0.26384876047797301</c:v>
                </c:pt>
                <c:pt idx="14795">
                  <c:v>0.26386659532726903</c:v>
                </c:pt>
                <c:pt idx="14796">
                  <c:v>0.26388443017656499</c:v>
                </c:pt>
                <c:pt idx="14797">
                  <c:v>0.26390226502586001</c:v>
                </c:pt>
                <c:pt idx="14798">
                  <c:v>0.26392009987515602</c:v>
                </c:pt>
                <c:pt idx="14799">
                  <c:v>0.26393793472445098</c:v>
                </c:pt>
                <c:pt idx="14800">
                  <c:v>0.263955769573747</c:v>
                </c:pt>
                <c:pt idx="14801">
                  <c:v>0.26397360442304202</c:v>
                </c:pt>
                <c:pt idx="14802">
                  <c:v>0.26399143927233798</c:v>
                </c:pt>
                <c:pt idx="14803">
                  <c:v>0.264009274121633</c:v>
                </c:pt>
                <c:pt idx="14804">
                  <c:v>0.26402710897092901</c:v>
                </c:pt>
                <c:pt idx="14805">
                  <c:v>0.26404494382022398</c:v>
                </c:pt>
                <c:pt idx="14806">
                  <c:v>0.26406277866951999</c:v>
                </c:pt>
                <c:pt idx="14807">
                  <c:v>0.26408061351881501</c:v>
                </c:pt>
                <c:pt idx="14808">
                  <c:v>0.26409844836811103</c:v>
                </c:pt>
                <c:pt idx="14809">
                  <c:v>0.26411628321740599</c:v>
                </c:pt>
                <c:pt idx="14810">
                  <c:v>0.26413411806670201</c:v>
                </c:pt>
                <c:pt idx="14811">
                  <c:v>0.26415195291599702</c:v>
                </c:pt>
                <c:pt idx="14812">
                  <c:v>0.26416978776529298</c:v>
                </c:pt>
                <c:pt idx="14813">
                  <c:v>0.264187622614588</c:v>
                </c:pt>
                <c:pt idx="14814">
                  <c:v>0.26420545746388402</c:v>
                </c:pt>
                <c:pt idx="14815">
                  <c:v>0.26422329231317998</c:v>
                </c:pt>
                <c:pt idx="14816">
                  <c:v>0.264241127162475</c:v>
                </c:pt>
                <c:pt idx="14817">
                  <c:v>0.26425896201177101</c:v>
                </c:pt>
                <c:pt idx="14818">
                  <c:v>0.26427679686106598</c:v>
                </c:pt>
                <c:pt idx="14819">
                  <c:v>0.26429463171036199</c:v>
                </c:pt>
                <c:pt idx="14820">
                  <c:v>0.26431246655965701</c:v>
                </c:pt>
                <c:pt idx="14821">
                  <c:v>0.26433030140895297</c:v>
                </c:pt>
                <c:pt idx="14822">
                  <c:v>0.26434813625824799</c:v>
                </c:pt>
                <c:pt idx="14823">
                  <c:v>0.26436597110754401</c:v>
                </c:pt>
                <c:pt idx="14824">
                  <c:v>0.26438380595683902</c:v>
                </c:pt>
                <c:pt idx="14825">
                  <c:v>0.26440164080613499</c:v>
                </c:pt>
                <c:pt idx="14826">
                  <c:v>0.26441947565543</c:v>
                </c:pt>
                <c:pt idx="14827">
                  <c:v>0.26443731050472602</c:v>
                </c:pt>
                <c:pt idx="14828">
                  <c:v>0.26445514535402098</c:v>
                </c:pt>
                <c:pt idx="14829">
                  <c:v>0.264472980203317</c:v>
                </c:pt>
                <c:pt idx="14830">
                  <c:v>0.26449081505261202</c:v>
                </c:pt>
                <c:pt idx="14831">
                  <c:v>0.26450864990190798</c:v>
                </c:pt>
                <c:pt idx="14832">
                  <c:v>0.26452648475120299</c:v>
                </c:pt>
                <c:pt idx="14833">
                  <c:v>0.26454431960049901</c:v>
                </c:pt>
                <c:pt idx="14834">
                  <c:v>0.26456215444979397</c:v>
                </c:pt>
                <c:pt idx="14835">
                  <c:v>0.26457998929908999</c:v>
                </c:pt>
                <c:pt idx="14836">
                  <c:v>0.26459782414838501</c:v>
                </c:pt>
                <c:pt idx="14837">
                  <c:v>0.26461565899768102</c:v>
                </c:pt>
                <c:pt idx="14838">
                  <c:v>0.26463349384697699</c:v>
                </c:pt>
                <c:pt idx="14839">
                  <c:v>0.264651328696272</c:v>
                </c:pt>
                <c:pt idx="14840">
                  <c:v>0.26466916354556802</c:v>
                </c:pt>
                <c:pt idx="14841">
                  <c:v>0.26468699839486298</c:v>
                </c:pt>
                <c:pt idx="14842">
                  <c:v>0.264704833244159</c:v>
                </c:pt>
                <c:pt idx="14843">
                  <c:v>0.26472266809345402</c:v>
                </c:pt>
                <c:pt idx="14844">
                  <c:v>0.26474050294274998</c:v>
                </c:pt>
                <c:pt idx="14845">
                  <c:v>0.264758337792045</c:v>
                </c:pt>
                <c:pt idx="14846">
                  <c:v>0.26477617264134101</c:v>
                </c:pt>
                <c:pt idx="14847">
                  <c:v>0.26479400749063597</c:v>
                </c:pt>
                <c:pt idx="14848">
                  <c:v>0.26481184233993199</c:v>
                </c:pt>
                <c:pt idx="14849">
                  <c:v>0.26482967718922701</c:v>
                </c:pt>
                <c:pt idx="14850">
                  <c:v>0.26484751203852303</c:v>
                </c:pt>
                <c:pt idx="14851">
                  <c:v>0.26486534688781799</c:v>
                </c:pt>
                <c:pt idx="14852">
                  <c:v>0.264883181737114</c:v>
                </c:pt>
                <c:pt idx="14853">
                  <c:v>0.26490101658640902</c:v>
                </c:pt>
                <c:pt idx="14854">
                  <c:v>0.26491885143570498</c:v>
                </c:pt>
                <c:pt idx="14855">
                  <c:v>0.264936686285</c:v>
                </c:pt>
                <c:pt idx="14856">
                  <c:v>0.26495452113429602</c:v>
                </c:pt>
                <c:pt idx="14857">
                  <c:v>0.26497235598359098</c:v>
                </c:pt>
                <c:pt idx="14858">
                  <c:v>0.264990190832887</c:v>
                </c:pt>
                <c:pt idx="14859">
                  <c:v>0.26500802568218301</c:v>
                </c:pt>
                <c:pt idx="14860">
                  <c:v>0.26502586053147797</c:v>
                </c:pt>
                <c:pt idx="14861">
                  <c:v>0.26504369538077399</c:v>
                </c:pt>
                <c:pt idx="14862">
                  <c:v>0.26506153023006901</c:v>
                </c:pt>
                <c:pt idx="14863">
                  <c:v>0.26507936507936503</c:v>
                </c:pt>
                <c:pt idx="14864">
                  <c:v>0.26509719992865999</c:v>
                </c:pt>
                <c:pt idx="14865">
                  <c:v>0.265115034777956</c:v>
                </c:pt>
                <c:pt idx="14866">
                  <c:v>0.26513286962725102</c:v>
                </c:pt>
                <c:pt idx="14867">
                  <c:v>0.26515070447654698</c:v>
                </c:pt>
                <c:pt idx="14868">
                  <c:v>0.265168539325842</c:v>
                </c:pt>
                <c:pt idx="14869">
                  <c:v>0.26518637417513802</c:v>
                </c:pt>
                <c:pt idx="14870">
                  <c:v>0.26520420902443298</c:v>
                </c:pt>
                <c:pt idx="14871">
                  <c:v>0.265222043873729</c:v>
                </c:pt>
                <c:pt idx="14872">
                  <c:v>0.26523987872302401</c:v>
                </c:pt>
                <c:pt idx="14873">
                  <c:v>0.26525771357231998</c:v>
                </c:pt>
                <c:pt idx="14874">
                  <c:v>0.26527554842161499</c:v>
                </c:pt>
                <c:pt idx="14875">
                  <c:v>0.26529338327091101</c:v>
                </c:pt>
                <c:pt idx="14876">
                  <c:v>0.26531121812020603</c:v>
                </c:pt>
                <c:pt idx="14877">
                  <c:v>0.26532905296950199</c:v>
                </c:pt>
                <c:pt idx="14878">
                  <c:v>0.26534688781879701</c:v>
                </c:pt>
                <c:pt idx="14879">
                  <c:v>0.26536472266809302</c:v>
                </c:pt>
                <c:pt idx="14880">
                  <c:v>0.26538255751738898</c:v>
                </c:pt>
                <c:pt idx="14881">
                  <c:v>0.265400392366684</c:v>
                </c:pt>
                <c:pt idx="14882">
                  <c:v>0.26541822721598002</c:v>
                </c:pt>
                <c:pt idx="14883">
                  <c:v>0.26543606206527498</c:v>
                </c:pt>
                <c:pt idx="14884">
                  <c:v>0.265453896914571</c:v>
                </c:pt>
                <c:pt idx="14885">
                  <c:v>0.26547173176386601</c:v>
                </c:pt>
                <c:pt idx="14886">
                  <c:v>0.26548956661316198</c:v>
                </c:pt>
                <c:pt idx="14887">
                  <c:v>0.26550740146245699</c:v>
                </c:pt>
                <c:pt idx="14888">
                  <c:v>0.26552523631175301</c:v>
                </c:pt>
                <c:pt idx="14889">
                  <c:v>0.26554307116104803</c:v>
                </c:pt>
                <c:pt idx="14890">
                  <c:v>0.26556090601034399</c:v>
                </c:pt>
                <c:pt idx="14891">
                  <c:v>0.26557874085963901</c:v>
                </c:pt>
                <c:pt idx="14892">
                  <c:v>0.26559657570893502</c:v>
                </c:pt>
                <c:pt idx="14893">
                  <c:v>0.26561441055822999</c:v>
                </c:pt>
                <c:pt idx="14894">
                  <c:v>0.265632245407526</c:v>
                </c:pt>
                <c:pt idx="14895">
                  <c:v>0.26565008025682102</c:v>
                </c:pt>
                <c:pt idx="14896">
                  <c:v>0.26566791510611698</c:v>
                </c:pt>
                <c:pt idx="14897">
                  <c:v>0.265685749955412</c:v>
                </c:pt>
                <c:pt idx="14898">
                  <c:v>0.26570358480470802</c:v>
                </c:pt>
                <c:pt idx="14899">
                  <c:v>0.26572141965400298</c:v>
                </c:pt>
                <c:pt idx="14900">
                  <c:v>0.26573925450329899</c:v>
                </c:pt>
                <c:pt idx="14901">
                  <c:v>0.26575708935259401</c:v>
                </c:pt>
                <c:pt idx="14902">
                  <c:v>0.26577492420188997</c:v>
                </c:pt>
                <c:pt idx="14903">
                  <c:v>0.26579275905118599</c:v>
                </c:pt>
                <c:pt idx="14904">
                  <c:v>0.26581059390048101</c:v>
                </c:pt>
                <c:pt idx="14905">
                  <c:v>0.26582842874977702</c:v>
                </c:pt>
                <c:pt idx="14906">
                  <c:v>0.26584626359907199</c:v>
                </c:pt>
                <c:pt idx="14907">
                  <c:v>0.265864098448368</c:v>
                </c:pt>
                <c:pt idx="14908">
                  <c:v>0.26588193329766302</c:v>
                </c:pt>
                <c:pt idx="14909">
                  <c:v>0.26589976814695898</c:v>
                </c:pt>
                <c:pt idx="14910">
                  <c:v>0.265917602996254</c:v>
                </c:pt>
                <c:pt idx="14911">
                  <c:v>0.26593543784555002</c:v>
                </c:pt>
                <c:pt idx="14912">
                  <c:v>0.26595327269484498</c:v>
                </c:pt>
                <c:pt idx="14913">
                  <c:v>0.26597110754414099</c:v>
                </c:pt>
                <c:pt idx="14914">
                  <c:v>0.26598894239343601</c:v>
                </c:pt>
                <c:pt idx="14915">
                  <c:v>0.26600677724273197</c:v>
                </c:pt>
                <c:pt idx="14916">
                  <c:v>0.26602461209202699</c:v>
                </c:pt>
                <c:pt idx="14917">
                  <c:v>0.26604244694132301</c:v>
                </c:pt>
                <c:pt idx="14918">
                  <c:v>0.26606028179061803</c:v>
                </c:pt>
                <c:pt idx="14919">
                  <c:v>0.26607811663991399</c:v>
                </c:pt>
                <c:pt idx="14920">
                  <c:v>0.266095951489209</c:v>
                </c:pt>
                <c:pt idx="14921">
                  <c:v>0.26611378633850502</c:v>
                </c:pt>
                <c:pt idx="14922">
                  <c:v>0.26613162118780098</c:v>
                </c:pt>
                <c:pt idx="14923">
                  <c:v>0.266149456037096</c:v>
                </c:pt>
                <c:pt idx="14924">
                  <c:v>0.26616729088639202</c:v>
                </c:pt>
                <c:pt idx="14925">
                  <c:v>0.26618512573568698</c:v>
                </c:pt>
                <c:pt idx="14926">
                  <c:v>0.26620296058498299</c:v>
                </c:pt>
                <c:pt idx="14927">
                  <c:v>0.26622079543427801</c:v>
                </c:pt>
                <c:pt idx="14928">
                  <c:v>0.26623863028357397</c:v>
                </c:pt>
                <c:pt idx="14929">
                  <c:v>0.26625646513286899</c:v>
                </c:pt>
                <c:pt idx="14930">
                  <c:v>0.26627429998216501</c:v>
                </c:pt>
                <c:pt idx="14931">
                  <c:v>0.26629213483146003</c:v>
                </c:pt>
                <c:pt idx="14932">
                  <c:v>0.26630996968075599</c:v>
                </c:pt>
                <c:pt idx="14933">
                  <c:v>0.266327804530051</c:v>
                </c:pt>
                <c:pt idx="14934">
                  <c:v>0.26634563937934702</c:v>
                </c:pt>
                <c:pt idx="14935">
                  <c:v>0.26636347422864198</c:v>
                </c:pt>
                <c:pt idx="14936">
                  <c:v>0.266381309077938</c:v>
                </c:pt>
                <c:pt idx="14937">
                  <c:v>0.26639914392723302</c:v>
                </c:pt>
                <c:pt idx="14938">
                  <c:v>0.26641697877652898</c:v>
                </c:pt>
                <c:pt idx="14939">
                  <c:v>0.266434813625824</c:v>
                </c:pt>
                <c:pt idx="14940">
                  <c:v>0.26645264847512001</c:v>
                </c:pt>
                <c:pt idx="14941">
                  <c:v>0.26647048332441498</c:v>
                </c:pt>
                <c:pt idx="14942">
                  <c:v>0.26648831817371099</c:v>
                </c:pt>
                <c:pt idx="14943">
                  <c:v>0.26650615302300601</c:v>
                </c:pt>
                <c:pt idx="14944">
                  <c:v>0.26652398787230203</c:v>
                </c:pt>
                <c:pt idx="14945">
                  <c:v>0.26654182272159799</c:v>
                </c:pt>
                <c:pt idx="14946">
                  <c:v>0.266559657570893</c:v>
                </c:pt>
                <c:pt idx="14947">
                  <c:v>0.26657749242018902</c:v>
                </c:pt>
                <c:pt idx="14948">
                  <c:v>0.26659532726948398</c:v>
                </c:pt>
                <c:pt idx="14949">
                  <c:v>0.26661316211878</c:v>
                </c:pt>
                <c:pt idx="14950">
                  <c:v>0.26663099696807502</c:v>
                </c:pt>
                <c:pt idx="14951">
                  <c:v>0.26664883181737098</c:v>
                </c:pt>
                <c:pt idx="14952">
                  <c:v>0.266666666666666</c:v>
                </c:pt>
                <c:pt idx="14953">
                  <c:v>0.26668450151596201</c:v>
                </c:pt>
                <c:pt idx="14954">
                  <c:v>0.26670233636525698</c:v>
                </c:pt>
                <c:pt idx="14955">
                  <c:v>0.26672017121455299</c:v>
                </c:pt>
                <c:pt idx="14956">
                  <c:v>0.26673800606384801</c:v>
                </c:pt>
                <c:pt idx="14957">
                  <c:v>0.26675584091314403</c:v>
                </c:pt>
                <c:pt idx="14958">
                  <c:v>0.26677367576243899</c:v>
                </c:pt>
                <c:pt idx="14959">
                  <c:v>0.26679151061173501</c:v>
                </c:pt>
                <c:pt idx="14960">
                  <c:v>0.26680934546103002</c:v>
                </c:pt>
                <c:pt idx="14961">
                  <c:v>0.26682718031032598</c:v>
                </c:pt>
                <c:pt idx="14962">
                  <c:v>0.266845015159621</c:v>
                </c:pt>
                <c:pt idx="14963">
                  <c:v>0.26686285000891702</c:v>
                </c:pt>
                <c:pt idx="14964">
                  <c:v>0.26688068485821198</c:v>
                </c:pt>
                <c:pt idx="14965">
                  <c:v>0.266898519707508</c:v>
                </c:pt>
                <c:pt idx="14966">
                  <c:v>0.26691635455680401</c:v>
                </c:pt>
                <c:pt idx="14967">
                  <c:v>0.26693418940609898</c:v>
                </c:pt>
                <c:pt idx="14968">
                  <c:v>0.26695202425539499</c:v>
                </c:pt>
                <c:pt idx="14969">
                  <c:v>0.26696985910469001</c:v>
                </c:pt>
                <c:pt idx="14970">
                  <c:v>0.26698769395398603</c:v>
                </c:pt>
                <c:pt idx="14971">
                  <c:v>0.26700552880328099</c:v>
                </c:pt>
                <c:pt idx="14972">
                  <c:v>0.26702336365257701</c:v>
                </c:pt>
                <c:pt idx="14973">
                  <c:v>0.26704119850187202</c:v>
                </c:pt>
                <c:pt idx="14974">
                  <c:v>0.26705903335116798</c:v>
                </c:pt>
                <c:pt idx="14975">
                  <c:v>0.267076868200463</c:v>
                </c:pt>
                <c:pt idx="14976">
                  <c:v>0.26709470304975902</c:v>
                </c:pt>
                <c:pt idx="14977">
                  <c:v>0.26711253789905398</c:v>
                </c:pt>
                <c:pt idx="14978">
                  <c:v>0.26713037274835</c:v>
                </c:pt>
                <c:pt idx="14979">
                  <c:v>0.26714820759764502</c:v>
                </c:pt>
                <c:pt idx="14980">
                  <c:v>0.26716604244694098</c:v>
                </c:pt>
                <c:pt idx="14981">
                  <c:v>0.26718387729623599</c:v>
                </c:pt>
                <c:pt idx="14982">
                  <c:v>0.26720171214553201</c:v>
                </c:pt>
                <c:pt idx="14983">
                  <c:v>0.26721954699482697</c:v>
                </c:pt>
                <c:pt idx="14984">
                  <c:v>0.26723738184412299</c:v>
                </c:pt>
                <c:pt idx="14985">
                  <c:v>0.26725521669341801</c:v>
                </c:pt>
                <c:pt idx="14986">
                  <c:v>0.26727305154271402</c:v>
                </c:pt>
                <c:pt idx="14987">
                  <c:v>0.26729088639200999</c:v>
                </c:pt>
                <c:pt idx="14988">
                  <c:v>0.267308721241305</c:v>
                </c:pt>
                <c:pt idx="14989">
                  <c:v>0.26732655609060102</c:v>
                </c:pt>
                <c:pt idx="14990">
                  <c:v>0.26734439093989598</c:v>
                </c:pt>
                <c:pt idx="14991">
                  <c:v>0.267362225789192</c:v>
                </c:pt>
                <c:pt idx="14992">
                  <c:v>0.26738006063848702</c:v>
                </c:pt>
                <c:pt idx="14993">
                  <c:v>0.26739789548778298</c:v>
                </c:pt>
                <c:pt idx="14994">
                  <c:v>0.26741573033707799</c:v>
                </c:pt>
                <c:pt idx="14995">
                  <c:v>0.26743356518637401</c:v>
                </c:pt>
                <c:pt idx="14996">
                  <c:v>0.26745140003566897</c:v>
                </c:pt>
                <c:pt idx="14997">
                  <c:v>0.26746923488496499</c:v>
                </c:pt>
                <c:pt idx="14998">
                  <c:v>0.26748706973426001</c:v>
                </c:pt>
                <c:pt idx="14999">
                  <c:v>0.26750490458355602</c:v>
                </c:pt>
                <c:pt idx="15000">
                  <c:v>0.26752273943285099</c:v>
                </c:pt>
                <c:pt idx="15001">
                  <c:v>0.267540574282147</c:v>
                </c:pt>
                <c:pt idx="15002">
                  <c:v>0.26755840913144202</c:v>
                </c:pt>
                <c:pt idx="15003">
                  <c:v>0.26757624398073798</c:v>
                </c:pt>
                <c:pt idx="15004">
                  <c:v>0.267594078830033</c:v>
                </c:pt>
                <c:pt idx="15005">
                  <c:v>0.26761191367932902</c:v>
                </c:pt>
                <c:pt idx="15006">
                  <c:v>0.26762974852862398</c:v>
                </c:pt>
                <c:pt idx="15007">
                  <c:v>0.26764758337792</c:v>
                </c:pt>
                <c:pt idx="15008">
                  <c:v>0.26766541822721501</c:v>
                </c:pt>
                <c:pt idx="15009">
                  <c:v>0.26768325307651097</c:v>
                </c:pt>
                <c:pt idx="15010">
                  <c:v>0.26770108792580699</c:v>
                </c:pt>
                <c:pt idx="15011">
                  <c:v>0.26771892277510201</c:v>
                </c:pt>
                <c:pt idx="15012">
                  <c:v>0.26773675762439803</c:v>
                </c:pt>
                <c:pt idx="15013">
                  <c:v>0.26775459247369299</c:v>
                </c:pt>
                <c:pt idx="15014">
                  <c:v>0.267772427322989</c:v>
                </c:pt>
                <c:pt idx="15015">
                  <c:v>0.26779026217228402</c:v>
                </c:pt>
                <c:pt idx="15016">
                  <c:v>0.26780809702157998</c:v>
                </c:pt>
                <c:pt idx="15017">
                  <c:v>0.267825931870875</c:v>
                </c:pt>
                <c:pt idx="15018">
                  <c:v>0.26784376672017102</c:v>
                </c:pt>
                <c:pt idx="15019">
                  <c:v>0.26786160156946598</c:v>
                </c:pt>
                <c:pt idx="15020">
                  <c:v>0.267879436418762</c:v>
                </c:pt>
                <c:pt idx="15021">
                  <c:v>0.26789727126805701</c:v>
                </c:pt>
                <c:pt idx="15022">
                  <c:v>0.26791510611735297</c:v>
                </c:pt>
                <c:pt idx="15023">
                  <c:v>0.26793294096664799</c:v>
                </c:pt>
                <c:pt idx="15024">
                  <c:v>0.26795077581594401</c:v>
                </c:pt>
                <c:pt idx="15025">
                  <c:v>0.26796861066523903</c:v>
                </c:pt>
                <c:pt idx="15026">
                  <c:v>0.26798644551453499</c:v>
                </c:pt>
                <c:pt idx="15027">
                  <c:v>0.26800428036383001</c:v>
                </c:pt>
                <c:pt idx="15028">
                  <c:v>0.26802211521312602</c:v>
                </c:pt>
                <c:pt idx="15029">
                  <c:v>0.26803995006242198</c:v>
                </c:pt>
                <c:pt idx="15030">
                  <c:v>0.268057784911717</c:v>
                </c:pt>
                <c:pt idx="15031">
                  <c:v>0.26807561976101302</c:v>
                </c:pt>
                <c:pt idx="15032">
                  <c:v>0.26809345461030798</c:v>
                </c:pt>
                <c:pt idx="15033">
                  <c:v>0.268111289459604</c:v>
                </c:pt>
                <c:pt idx="15034">
                  <c:v>0.26812912430889901</c:v>
                </c:pt>
                <c:pt idx="15035">
                  <c:v>0.26814695915819498</c:v>
                </c:pt>
                <c:pt idx="15036">
                  <c:v>0.26816479400748999</c:v>
                </c:pt>
                <c:pt idx="15037">
                  <c:v>0.26818262885678601</c:v>
                </c:pt>
                <c:pt idx="15038">
                  <c:v>0.26820046370608103</c:v>
                </c:pt>
                <c:pt idx="15039">
                  <c:v>0.26821829855537699</c:v>
                </c:pt>
                <c:pt idx="15040">
                  <c:v>0.26823613340467201</c:v>
                </c:pt>
                <c:pt idx="15041">
                  <c:v>0.26825396825396802</c:v>
                </c:pt>
                <c:pt idx="15042">
                  <c:v>0.26827180310326298</c:v>
                </c:pt>
                <c:pt idx="15043">
                  <c:v>0.268289637952559</c:v>
                </c:pt>
                <c:pt idx="15044">
                  <c:v>0.26830747280185402</c:v>
                </c:pt>
                <c:pt idx="15045">
                  <c:v>0.26832530765114998</c:v>
                </c:pt>
                <c:pt idx="15046">
                  <c:v>0.268343142500445</c:v>
                </c:pt>
                <c:pt idx="15047">
                  <c:v>0.26836097734974101</c:v>
                </c:pt>
                <c:pt idx="15048">
                  <c:v>0.26837881219903598</c:v>
                </c:pt>
                <c:pt idx="15049">
                  <c:v>0.26839664704833199</c:v>
                </c:pt>
                <c:pt idx="15050">
                  <c:v>0.26841448189762701</c:v>
                </c:pt>
                <c:pt idx="15051">
                  <c:v>0.26843231674692303</c:v>
                </c:pt>
                <c:pt idx="15052">
                  <c:v>0.26845015159621899</c:v>
                </c:pt>
                <c:pt idx="15053">
                  <c:v>0.26846798644551401</c:v>
                </c:pt>
                <c:pt idx="15054">
                  <c:v>0.26848582129481002</c:v>
                </c:pt>
                <c:pt idx="15055">
                  <c:v>0.26850365614410499</c:v>
                </c:pt>
                <c:pt idx="15056">
                  <c:v>0.268521490993401</c:v>
                </c:pt>
                <c:pt idx="15057">
                  <c:v>0.26853932584269602</c:v>
                </c:pt>
                <c:pt idx="15058">
                  <c:v>0.26855716069199198</c:v>
                </c:pt>
                <c:pt idx="15059">
                  <c:v>0.268574995541287</c:v>
                </c:pt>
                <c:pt idx="15060">
                  <c:v>0.26859283039058302</c:v>
                </c:pt>
                <c:pt idx="15061">
                  <c:v>0.26861066523987798</c:v>
                </c:pt>
                <c:pt idx="15062">
                  <c:v>0.26862850008917399</c:v>
                </c:pt>
                <c:pt idx="15063">
                  <c:v>0.26864633493846901</c:v>
                </c:pt>
                <c:pt idx="15064">
                  <c:v>0.26866416978776497</c:v>
                </c:pt>
                <c:pt idx="15065">
                  <c:v>0.26868200463705999</c:v>
                </c:pt>
                <c:pt idx="15066">
                  <c:v>0.26869983948635601</c:v>
                </c:pt>
                <c:pt idx="15067">
                  <c:v>0.26871767433565102</c:v>
                </c:pt>
                <c:pt idx="15068">
                  <c:v>0.26873550918494699</c:v>
                </c:pt>
                <c:pt idx="15069">
                  <c:v>0.268753344034242</c:v>
                </c:pt>
                <c:pt idx="15070">
                  <c:v>0.26877117888353802</c:v>
                </c:pt>
                <c:pt idx="15071">
                  <c:v>0.26878901373283398</c:v>
                </c:pt>
                <c:pt idx="15072">
                  <c:v>0.268806848582129</c:v>
                </c:pt>
                <c:pt idx="15073">
                  <c:v>0.26882468343142502</c:v>
                </c:pt>
                <c:pt idx="15074">
                  <c:v>0.26884251828071998</c:v>
                </c:pt>
                <c:pt idx="15075">
                  <c:v>0.26886035313001599</c:v>
                </c:pt>
                <c:pt idx="15076">
                  <c:v>0.26887818797931101</c:v>
                </c:pt>
                <c:pt idx="15077">
                  <c:v>0.26889602282860697</c:v>
                </c:pt>
                <c:pt idx="15078">
                  <c:v>0.26891385767790199</c:v>
                </c:pt>
                <c:pt idx="15079">
                  <c:v>0.26893169252719801</c:v>
                </c:pt>
                <c:pt idx="15080">
                  <c:v>0.26894952737649302</c:v>
                </c:pt>
                <c:pt idx="15081">
                  <c:v>0.26896736222578899</c:v>
                </c:pt>
                <c:pt idx="15082">
                  <c:v>0.268985197075084</c:v>
                </c:pt>
                <c:pt idx="15083">
                  <c:v>0.26900303192438002</c:v>
                </c:pt>
                <c:pt idx="15084">
                  <c:v>0.26902086677367498</c:v>
                </c:pt>
                <c:pt idx="15085">
                  <c:v>0.269038701622971</c:v>
                </c:pt>
                <c:pt idx="15086">
                  <c:v>0.26905653647226602</c:v>
                </c:pt>
                <c:pt idx="15087">
                  <c:v>0.26907437132156198</c:v>
                </c:pt>
                <c:pt idx="15088">
                  <c:v>0.269092206170857</c:v>
                </c:pt>
                <c:pt idx="15089">
                  <c:v>0.26911004102015301</c:v>
                </c:pt>
                <c:pt idx="15090">
                  <c:v>0.26912787586944797</c:v>
                </c:pt>
                <c:pt idx="15091">
                  <c:v>0.26914571071874399</c:v>
                </c:pt>
                <c:pt idx="15092">
                  <c:v>0.26916354556803901</c:v>
                </c:pt>
                <c:pt idx="15093">
                  <c:v>0.26918138041733503</c:v>
                </c:pt>
                <c:pt idx="15094">
                  <c:v>0.26919921526663099</c:v>
                </c:pt>
                <c:pt idx="15095">
                  <c:v>0.269217050115926</c:v>
                </c:pt>
                <c:pt idx="15096">
                  <c:v>0.26923488496522202</c:v>
                </c:pt>
                <c:pt idx="15097">
                  <c:v>0.26925271981451698</c:v>
                </c:pt>
                <c:pt idx="15098">
                  <c:v>0.269270554663813</c:v>
                </c:pt>
                <c:pt idx="15099">
                  <c:v>0.26928838951310802</c:v>
                </c:pt>
                <c:pt idx="15100">
                  <c:v>0.26930622436240398</c:v>
                </c:pt>
                <c:pt idx="15101">
                  <c:v>0.269324059211699</c:v>
                </c:pt>
                <c:pt idx="15102">
                  <c:v>0.26934189406099501</c:v>
                </c:pt>
                <c:pt idx="15103">
                  <c:v>0.26935972891028998</c:v>
                </c:pt>
                <c:pt idx="15104">
                  <c:v>0.26937756375958599</c:v>
                </c:pt>
                <c:pt idx="15105">
                  <c:v>0.26939539860888101</c:v>
                </c:pt>
                <c:pt idx="15106">
                  <c:v>0.26941323345817703</c:v>
                </c:pt>
                <c:pt idx="15107">
                  <c:v>0.26943106830747199</c:v>
                </c:pt>
                <c:pt idx="15108">
                  <c:v>0.269448903156768</c:v>
                </c:pt>
                <c:pt idx="15109">
                  <c:v>0.26946673800606302</c:v>
                </c:pt>
                <c:pt idx="15110">
                  <c:v>0.26948457285535898</c:v>
                </c:pt>
                <c:pt idx="15111">
                  <c:v>0.269502407704654</c:v>
                </c:pt>
                <c:pt idx="15112">
                  <c:v>0.26952024255395002</c:v>
                </c:pt>
                <c:pt idx="15113">
                  <c:v>0.26953807740324498</c:v>
                </c:pt>
                <c:pt idx="15114">
                  <c:v>0.269555912252541</c:v>
                </c:pt>
                <c:pt idx="15115">
                  <c:v>0.26957374710183701</c:v>
                </c:pt>
                <c:pt idx="15116">
                  <c:v>0.26959158195113198</c:v>
                </c:pt>
                <c:pt idx="15117">
                  <c:v>0.26960941680042799</c:v>
                </c:pt>
                <c:pt idx="15118">
                  <c:v>0.26962725164972301</c:v>
                </c:pt>
                <c:pt idx="15119">
                  <c:v>0.26964508649901903</c:v>
                </c:pt>
                <c:pt idx="15120">
                  <c:v>0.26966292134831399</c:v>
                </c:pt>
                <c:pt idx="15121">
                  <c:v>0.26968075619761001</c:v>
                </c:pt>
                <c:pt idx="15122">
                  <c:v>0.26969859104690502</c:v>
                </c:pt>
                <c:pt idx="15123">
                  <c:v>0.26971642589620098</c:v>
                </c:pt>
                <c:pt idx="15124">
                  <c:v>0.269734260745496</c:v>
                </c:pt>
                <c:pt idx="15125">
                  <c:v>0.26975209559479202</c:v>
                </c:pt>
                <c:pt idx="15126">
                  <c:v>0.26976993044408698</c:v>
                </c:pt>
                <c:pt idx="15127">
                  <c:v>0.269787765293383</c:v>
                </c:pt>
                <c:pt idx="15128">
                  <c:v>0.26980560014267801</c:v>
                </c:pt>
                <c:pt idx="15129">
                  <c:v>0.26982343499197398</c:v>
                </c:pt>
                <c:pt idx="15130">
                  <c:v>0.26984126984126899</c:v>
                </c:pt>
                <c:pt idx="15131">
                  <c:v>0.26985910469056501</c:v>
                </c:pt>
                <c:pt idx="15132">
                  <c:v>0.26987693953985997</c:v>
                </c:pt>
                <c:pt idx="15133">
                  <c:v>0.26989477438915599</c:v>
                </c:pt>
                <c:pt idx="15134">
                  <c:v>0.26991260923845101</c:v>
                </c:pt>
                <c:pt idx="15135">
                  <c:v>0.26993044408774702</c:v>
                </c:pt>
                <c:pt idx="15136">
                  <c:v>0.26994827893704298</c:v>
                </c:pt>
                <c:pt idx="15137">
                  <c:v>0.269966113786338</c:v>
                </c:pt>
                <c:pt idx="15138">
                  <c:v>0.26998394863563402</c:v>
                </c:pt>
                <c:pt idx="15139">
                  <c:v>0.27000178348492898</c:v>
                </c:pt>
                <c:pt idx="15140">
                  <c:v>0.270019618334225</c:v>
                </c:pt>
                <c:pt idx="15141">
                  <c:v>0.27003745318352002</c:v>
                </c:pt>
                <c:pt idx="15142">
                  <c:v>0.27005528803281598</c:v>
                </c:pt>
                <c:pt idx="15143">
                  <c:v>0.27007312288211099</c:v>
                </c:pt>
                <c:pt idx="15144">
                  <c:v>0.27009095773140701</c:v>
                </c:pt>
                <c:pt idx="15145">
                  <c:v>0.27010879258070197</c:v>
                </c:pt>
                <c:pt idx="15146">
                  <c:v>0.27012662742999799</c:v>
                </c:pt>
                <c:pt idx="15147">
                  <c:v>0.27014446227929301</c:v>
                </c:pt>
                <c:pt idx="15148">
                  <c:v>0.27016229712858902</c:v>
                </c:pt>
                <c:pt idx="15149">
                  <c:v>0.27018013197788399</c:v>
                </c:pt>
                <c:pt idx="15150">
                  <c:v>0.27019796682718</c:v>
                </c:pt>
                <c:pt idx="15151">
                  <c:v>0.27021580167647502</c:v>
                </c:pt>
                <c:pt idx="15152">
                  <c:v>0.27023363652577098</c:v>
                </c:pt>
                <c:pt idx="15153">
                  <c:v>0.270251471375066</c:v>
                </c:pt>
                <c:pt idx="15154">
                  <c:v>0.27026930622436202</c:v>
                </c:pt>
                <c:pt idx="15155">
                  <c:v>0.27028714107365698</c:v>
                </c:pt>
                <c:pt idx="15156">
                  <c:v>0.27030497592295299</c:v>
                </c:pt>
                <c:pt idx="15157">
                  <c:v>0.27032281077224801</c:v>
                </c:pt>
                <c:pt idx="15158">
                  <c:v>0.27034064562154397</c:v>
                </c:pt>
                <c:pt idx="15159">
                  <c:v>0.27035848047083999</c:v>
                </c:pt>
                <c:pt idx="15160">
                  <c:v>0.27037631532013501</c:v>
                </c:pt>
                <c:pt idx="15161">
                  <c:v>0.27039415016943102</c:v>
                </c:pt>
                <c:pt idx="15162">
                  <c:v>0.27041198501872599</c:v>
                </c:pt>
                <c:pt idx="15163">
                  <c:v>0.270429819868022</c:v>
                </c:pt>
                <c:pt idx="15164">
                  <c:v>0.27044765471731702</c:v>
                </c:pt>
                <c:pt idx="15165">
                  <c:v>0.27046548956661298</c:v>
                </c:pt>
                <c:pt idx="15166">
                  <c:v>0.270483324415908</c:v>
                </c:pt>
                <c:pt idx="15167">
                  <c:v>0.27050115926520402</c:v>
                </c:pt>
                <c:pt idx="15168">
                  <c:v>0.27051899411449898</c:v>
                </c:pt>
                <c:pt idx="15169">
                  <c:v>0.270536828963795</c:v>
                </c:pt>
                <c:pt idx="15170">
                  <c:v>0.27055466381309001</c:v>
                </c:pt>
                <c:pt idx="15171">
                  <c:v>0.27057249866238597</c:v>
                </c:pt>
                <c:pt idx="15172">
                  <c:v>0.27059033351168099</c:v>
                </c:pt>
                <c:pt idx="15173">
                  <c:v>0.27060816836097701</c:v>
                </c:pt>
                <c:pt idx="15174">
                  <c:v>0.27062600321027203</c:v>
                </c:pt>
                <c:pt idx="15175">
                  <c:v>0.27064383805956799</c:v>
                </c:pt>
                <c:pt idx="15176">
                  <c:v>0.270661672908863</c:v>
                </c:pt>
                <c:pt idx="15177">
                  <c:v>0.27067950775815902</c:v>
                </c:pt>
                <c:pt idx="15178">
                  <c:v>0.27069734260745498</c:v>
                </c:pt>
                <c:pt idx="15179">
                  <c:v>0.27071517745675</c:v>
                </c:pt>
                <c:pt idx="15180">
                  <c:v>0.27073301230604602</c:v>
                </c:pt>
                <c:pt idx="15181">
                  <c:v>0.27075084715534098</c:v>
                </c:pt>
                <c:pt idx="15182">
                  <c:v>0.270768682004637</c:v>
                </c:pt>
                <c:pt idx="15183">
                  <c:v>0.27078651685393201</c:v>
                </c:pt>
                <c:pt idx="15184">
                  <c:v>0.27080435170322797</c:v>
                </c:pt>
                <c:pt idx="15185">
                  <c:v>0.27082218655252299</c:v>
                </c:pt>
                <c:pt idx="15186">
                  <c:v>0.27084002140181901</c:v>
                </c:pt>
                <c:pt idx="15187">
                  <c:v>0.27085785625111403</c:v>
                </c:pt>
                <c:pt idx="15188">
                  <c:v>0.27087569110040999</c:v>
                </c:pt>
                <c:pt idx="15189">
                  <c:v>0.27089352594970501</c:v>
                </c:pt>
                <c:pt idx="15190">
                  <c:v>0.27091136079900102</c:v>
                </c:pt>
                <c:pt idx="15191">
                  <c:v>0.27092919564829598</c:v>
                </c:pt>
                <c:pt idx="15192">
                  <c:v>0.270947030497592</c:v>
                </c:pt>
                <c:pt idx="15193">
                  <c:v>0.27096486534688702</c:v>
                </c:pt>
                <c:pt idx="15194">
                  <c:v>0.27098270019618298</c:v>
                </c:pt>
                <c:pt idx="15195">
                  <c:v>0.271000535045478</c:v>
                </c:pt>
                <c:pt idx="15196">
                  <c:v>0.27101836989477401</c:v>
                </c:pt>
                <c:pt idx="15197">
                  <c:v>0.27103620474406898</c:v>
                </c:pt>
                <c:pt idx="15198">
                  <c:v>0.27105403959336499</c:v>
                </c:pt>
                <c:pt idx="15199">
                  <c:v>0.27107187444266001</c:v>
                </c:pt>
                <c:pt idx="15200">
                  <c:v>0.27108970929195603</c:v>
                </c:pt>
                <c:pt idx="15201">
                  <c:v>0.27110754414125199</c:v>
                </c:pt>
                <c:pt idx="15202">
                  <c:v>0.27112537899054701</c:v>
                </c:pt>
                <c:pt idx="15203">
                  <c:v>0.27114321383984302</c:v>
                </c:pt>
                <c:pt idx="15204">
                  <c:v>0.27116104868913798</c:v>
                </c:pt>
                <c:pt idx="15205">
                  <c:v>0.271178883538434</c:v>
                </c:pt>
                <c:pt idx="15206">
                  <c:v>0.27119671838772902</c:v>
                </c:pt>
                <c:pt idx="15207">
                  <c:v>0.27121455323702498</c:v>
                </c:pt>
                <c:pt idx="15208">
                  <c:v>0.27123238808632</c:v>
                </c:pt>
                <c:pt idx="15209">
                  <c:v>0.27125022293561601</c:v>
                </c:pt>
                <c:pt idx="15210">
                  <c:v>0.27126805778491098</c:v>
                </c:pt>
                <c:pt idx="15211">
                  <c:v>0.27128589263420699</c:v>
                </c:pt>
                <c:pt idx="15212">
                  <c:v>0.27130372748350201</c:v>
                </c:pt>
                <c:pt idx="15213">
                  <c:v>0.27132156233279803</c:v>
                </c:pt>
                <c:pt idx="15214">
                  <c:v>0.27133939718209299</c:v>
                </c:pt>
                <c:pt idx="15215">
                  <c:v>0.27135723203138901</c:v>
                </c:pt>
                <c:pt idx="15216">
                  <c:v>0.27137506688068402</c:v>
                </c:pt>
                <c:pt idx="15217">
                  <c:v>0.27139290172997999</c:v>
                </c:pt>
                <c:pt idx="15218">
                  <c:v>0.271410736579275</c:v>
                </c:pt>
                <c:pt idx="15219">
                  <c:v>0.27142857142857102</c:v>
                </c:pt>
                <c:pt idx="15220">
                  <c:v>0.27144640627786598</c:v>
                </c:pt>
                <c:pt idx="15221">
                  <c:v>0.271464241127162</c:v>
                </c:pt>
                <c:pt idx="15222">
                  <c:v>0.27148207597645801</c:v>
                </c:pt>
                <c:pt idx="15223">
                  <c:v>0.27149991082575298</c:v>
                </c:pt>
                <c:pt idx="15224">
                  <c:v>0.27151774567504899</c:v>
                </c:pt>
                <c:pt idx="15225">
                  <c:v>0.27153558052434401</c:v>
                </c:pt>
                <c:pt idx="15226">
                  <c:v>0.27155341537363997</c:v>
                </c:pt>
                <c:pt idx="15227">
                  <c:v>0.27157125022293499</c:v>
                </c:pt>
                <c:pt idx="15228">
                  <c:v>0.27158908507223101</c:v>
                </c:pt>
                <c:pt idx="15229">
                  <c:v>0.27160691992152602</c:v>
                </c:pt>
                <c:pt idx="15230">
                  <c:v>0.27162475477082199</c:v>
                </c:pt>
                <c:pt idx="15231">
                  <c:v>0.271642589620117</c:v>
                </c:pt>
                <c:pt idx="15232">
                  <c:v>0.27166042446941302</c:v>
                </c:pt>
                <c:pt idx="15233">
                  <c:v>0.27167825931870798</c:v>
                </c:pt>
                <c:pt idx="15234">
                  <c:v>0.271696094168004</c:v>
                </c:pt>
                <c:pt idx="15235">
                  <c:v>0.27171392901729902</c:v>
                </c:pt>
                <c:pt idx="15236">
                  <c:v>0.27173176386659498</c:v>
                </c:pt>
                <c:pt idx="15237">
                  <c:v>0.27174959871589</c:v>
                </c:pt>
                <c:pt idx="15238">
                  <c:v>0.27176743356518601</c:v>
                </c:pt>
                <c:pt idx="15239">
                  <c:v>0.27178526841448097</c:v>
                </c:pt>
                <c:pt idx="15240">
                  <c:v>0.27180310326377699</c:v>
                </c:pt>
                <c:pt idx="15241">
                  <c:v>0.27182093811307201</c:v>
                </c:pt>
                <c:pt idx="15242">
                  <c:v>0.27183877296236802</c:v>
                </c:pt>
                <c:pt idx="15243">
                  <c:v>0.27185660781166399</c:v>
                </c:pt>
                <c:pt idx="15244">
                  <c:v>0.271874442660959</c:v>
                </c:pt>
                <c:pt idx="15245">
                  <c:v>0.27189227751025502</c:v>
                </c:pt>
                <c:pt idx="15246">
                  <c:v>0.27191011235954998</c:v>
                </c:pt>
                <c:pt idx="15247">
                  <c:v>0.271927947208846</c:v>
                </c:pt>
                <c:pt idx="15248">
                  <c:v>0.27194578205814102</c:v>
                </c:pt>
                <c:pt idx="15249">
                  <c:v>0.27196361690743698</c:v>
                </c:pt>
                <c:pt idx="15250">
                  <c:v>0.271981451756732</c:v>
                </c:pt>
                <c:pt idx="15251">
                  <c:v>0.27199928660602801</c:v>
                </c:pt>
                <c:pt idx="15252">
                  <c:v>0.27201712145532297</c:v>
                </c:pt>
                <c:pt idx="15253">
                  <c:v>0.27203495630461899</c:v>
                </c:pt>
                <c:pt idx="15254">
                  <c:v>0.27205279115391401</c:v>
                </c:pt>
                <c:pt idx="15255">
                  <c:v>0.27207062600321003</c:v>
                </c:pt>
                <c:pt idx="15256">
                  <c:v>0.27208846085250499</c:v>
                </c:pt>
                <c:pt idx="15257">
                  <c:v>0.272106295701801</c:v>
                </c:pt>
                <c:pt idx="15258">
                  <c:v>0.27212413055109602</c:v>
                </c:pt>
                <c:pt idx="15259">
                  <c:v>0.27214196540039198</c:v>
                </c:pt>
                <c:pt idx="15260">
                  <c:v>0.272159800249687</c:v>
                </c:pt>
                <c:pt idx="15261">
                  <c:v>0.27217763509898302</c:v>
                </c:pt>
                <c:pt idx="15262">
                  <c:v>0.27219546994827798</c:v>
                </c:pt>
                <c:pt idx="15263">
                  <c:v>0.272213304797574</c:v>
                </c:pt>
                <c:pt idx="15264">
                  <c:v>0.27223113964686901</c:v>
                </c:pt>
                <c:pt idx="15265">
                  <c:v>0.27224897449616497</c:v>
                </c:pt>
                <c:pt idx="15266">
                  <c:v>0.27226680934546099</c:v>
                </c:pt>
                <c:pt idx="15267">
                  <c:v>0.27228464419475601</c:v>
                </c:pt>
                <c:pt idx="15268">
                  <c:v>0.27230247904405203</c:v>
                </c:pt>
                <c:pt idx="15269">
                  <c:v>0.27232031389334699</c:v>
                </c:pt>
                <c:pt idx="15270">
                  <c:v>0.272338148742643</c:v>
                </c:pt>
                <c:pt idx="15271">
                  <c:v>0.27235598359193802</c:v>
                </c:pt>
                <c:pt idx="15272">
                  <c:v>0.27237381844123398</c:v>
                </c:pt>
                <c:pt idx="15273">
                  <c:v>0.272391653290529</c:v>
                </c:pt>
                <c:pt idx="15274">
                  <c:v>0.27240948813982502</c:v>
                </c:pt>
                <c:pt idx="15275">
                  <c:v>0.27242732298911998</c:v>
                </c:pt>
                <c:pt idx="15276">
                  <c:v>0.272445157838416</c:v>
                </c:pt>
                <c:pt idx="15277">
                  <c:v>0.27246299268771101</c:v>
                </c:pt>
                <c:pt idx="15278">
                  <c:v>0.27248082753700698</c:v>
                </c:pt>
                <c:pt idx="15279">
                  <c:v>0.27249866238630199</c:v>
                </c:pt>
                <c:pt idx="15280">
                  <c:v>0.27251649723559801</c:v>
                </c:pt>
                <c:pt idx="15281">
                  <c:v>0.27253433208489303</c:v>
                </c:pt>
                <c:pt idx="15282">
                  <c:v>0.27255216693418899</c:v>
                </c:pt>
                <c:pt idx="15283">
                  <c:v>0.27257000178348401</c:v>
                </c:pt>
                <c:pt idx="15284">
                  <c:v>0.27258783663278002</c:v>
                </c:pt>
                <c:pt idx="15285">
                  <c:v>0.27260567148207598</c:v>
                </c:pt>
                <c:pt idx="15286">
                  <c:v>0.272623506331371</c:v>
                </c:pt>
                <c:pt idx="15287">
                  <c:v>0.27264134118066702</c:v>
                </c:pt>
                <c:pt idx="15288">
                  <c:v>0.27265917602996198</c:v>
                </c:pt>
                <c:pt idx="15289">
                  <c:v>0.272677010879258</c:v>
                </c:pt>
                <c:pt idx="15290">
                  <c:v>0.27269484572855301</c:v>
                </c:pt>
                <c:pt idx="15291">
                  <c:v>0.27271268057784898</c:v>
                </c:pt>
                <c:pt idx="15292">
                  <c:v>0.27273051542714399</c:v>
                </c:pt>
                <c:pt idx="15293">
                  <c:v>0.27274835027644001</c:v>
                </c:pt>
                <c:pt idx="15294">
                  <c:v>0.27276618512573497</c:v>
                </c:pt>
                <c:pt idx="15295">
                  <c:v>0.27278401997503099</c:v>
                </c:pt>
                <c:pt idx="15296">
                  <c:v>0.27280185482432601</c:v>
                </c:pt>
                <c:pt idx="15297">
                  <c:v>0.27281968967362202</c:v>
                </c:pt>
                <c:pt idx="15298">
                  <c:v>0.27283752452291699</c:v>
                </c:pt>
                <c:pt idx="15299">
                  <c:v>0.272855359372213</c:v>
                </c:pt>
                <c:pt idx="15300">
                  <c:v>0.27287319422150802</c:v>
                </c:pt>
                <c:pt idx="15301">
                  <c:v>0.27289102907080398</c:v>
                </c:pt>
                <c:pt idx="15302">
                  <c:v>0.272908863920099</c:v>
                </c:pt>
                <c:pt idx="15303">
                  <c:v>0.27292669876939502</c:v>
                </c:pt>
                <c:pt idx="15304">
                  <c:v>0.27294453361868998</c:v>
                </c:pt>
                <c:pt idx="15305">
                  <c:v>0.27296236846798599</c:v>
                </c:pt>
                <c:pt idx="15306">
                  <c:v>0.27298020331728101</c:v>
                </c:pt>
                <c:pt idx="15307">
                  <c:v>0.27299803816657697</c:v>
                </c:pt>
                <c:pt idx="15308">
                  <c:v>0.27301587301587299</c:v>
                </c:pt>
                <c:pt idx="15309">
                  <c:v>0.27303370786516801</c:v>
                </c:pt>
                <c:pt idx="15310">
                  <c:v>0.27305154271446402</c:v>
                </c:pt>
                <c:pt idx="15311">
                  <c:v>0.27306937756375899</c:v>
                </c:pt>
                <c:pt idx="15312">
                  <c:v>0.273087212413055</c:v>
                </c:pt>
                <c:pt idx="15313">
                  <c:v>0.27310504726235002</c:v>
                </c:pt>
                <c:pt idx="15314">
                  <c:v>0.27312288211164598</c:v>
                </c:pt>
                <c:pt idx="15315">
                  <c:v>0.273140716960941</c:v>
                </c:pt>
                <c:pt idx="15316">
                  <c:v>0.27315855181023702</c:v>
                </c:pt>
                <c:pt idx="15317">
                  <c:v>0.27317638665953198</c:v>
                </c:pt>
                <c:pt idx="15318">
                  <c:v>0.27319422150882799</c:v>
                </c:pt>
                <c:pt idx="15319">
                  <c:v>0.27321205635812301</c:v>
                </c:pt>
                <c:pt idx="15320">
                  <c:v>0.27322989120741897</c:v>
                </c:pt>
                <c:pt idx="15321">
                  <c:v>0.27324772605671399</c:v>
                </c:pt>
                <c:pt idx="15322">
                  <c:v>0.27326556090601001</c:v>
                </c:pt>
                <c:pt idx="15323">
                  <c:v>0.27328339575530503</c:v>
                </c:pt>
                <c:pt idx="15324">
                  <c:v>0.27330123060460099</c:v>
                </c:pt>
                <c:pt idx="15325">
                  <c:v>0.273319065453896</c:v>
                </c:pt>
                <c:pt idx="15326">
                  <c:v>0.27333690030319202</c:v>
                </c:pt>
                <c:pt idx="15327">
                  <c:v>0.27335473515248798</c:v>
                </c:pt>
                <c:pt idx="15328">
                  <c:v>0.273372570001783</c:v>
                </c:pt>
                <c:pt idx="15329">
                  <c:v>0.27339040485107902</c:v>
                </c:pt>
                <c:pt idx="15330">
                  <c:v>0.27340823970037398</c:v>
                </c:pt>
                <c:pt idx="15331">
                  <c:v>0.27342607454967</c:v>
                </c:pt>
                <c:pt idx="15332">
                  <c:v>0.27344390939896501</c:v>
                </c:pt>
                <c:pt idx="15333">
                  <c:v>0.27346174424826097</c:v>
                </c:pt>
                <c:pt idx="15334">
                  <c:v>0.27347957909755599</c:v>
                </c:pt>
                <c:pt idx="15335">
                  <c:v>0.27349741394685201</c:v>
                </c:pt>
                <c:pt idx="15336">
                  <c:v>0.27351524879614703</c:v>
                </c:pt>
                <c:pt idx="15337">
                  <c:v>0.27353308364544299</c:v>
                </c:pt>
                <c:pt idx="15338">
                  <c:v>0.273550918494738</c:v>
                </c:pt>
                <c:pt idx="15339">
                  <c:v>0.27356875334403402</c:v>
                </c:pt>
                <c:pt idx="15340">
                  <c:v>0.27358658819332898</c:v>
                </c:pt>
                <c:pt idx="15341">
                  <c:v>0.273604423042625</c:v>
                </c:pt>
                <c:pt idx="15342">
                  <c:v>0.27362225789192002</c:v>
                </c:pt>
                <c:pt idx="15343">
                  <c:v>0.27364009274121598</c:v>
                </c:pt>
                <c:pt idx="15344">
                  <c:v>0.273657927590511</c:v>
                </c:pt>
                <c:pt idx="15345">
                  <c:v>0.27367576243980701</c:v>
                </c:pt>
                <c:pt idx="15346">
                  <c:v>0.27369359728910198</c:v>
                </c:pt>
                <c:pt idx="15347">
                  <c:v>0.27371143213839799</c:v>
                </c:pt>
                <c:pt idx="15348">
                  <c:v>0.27372926698769301</c:v>
                </c:pt>
                <c:pt idx="15349">
                  <c:v>0.27374710183698903</c:v>
                </c:pt>
                <c:pt idx="15350">
                  <c:v>0.27376493668628499</c:v>
                </c:pt>
                <c:pt idx="15351">
                  <c:v>0.27378277153558001</c:v>
                </c:pt>
                <c:pt idx="15352">
                  <c:v>0.27380060638487602</c:v>
                </c:pt>
                <c:pt idx="15353">
                  <c:v>0.27381844123417098</c:v>
                </c:pt>
                <c:pt idx="15354">
                  <c:v>0.273836276083467</c:v>
                </c:pt>
                <c:pt idx="15355">
                  <c:v>0.27385411093276202</c:v>
                </c:pt>
                <c:pt idx="15356">
                  <c:v>0.27387194578205798</c:v>
                </c:pt>
                <c:pt idx="15357">
                  <c:v>0.273889780631353</c:v>
                </c:pt>
                <c:pt idx="15358">
                  <c:v>0.27390761548064901</c:v>
                </c:pt>
                <c:pt idx="15359">
                  <c:v>0.27392545032994398</c:v>
                </c:pt>
                <c:pt idx="15360">
                  <c:v>0.27394328517923999</c:v>
                </c:pt>
                <c:pt idx="15361">
                  <c:v>0.27396112002853501</c:v>
                </c:pt>
                <c:pt idx="15362">
                  <c:v>0.27397895487783103</c:v>
                </c:pt>
                <c:pt idx="15363">
                  <c:v>0.27399678972712599</c:v>
                </c:pt>
                <c:pt idx="15364">
                  <c:v>0.27401462457642201</c:v>
                </c:pt>
                <c:pt idx="15365">
                  <c:v>0.27403245942571702</c:v>
                </c:pt>
                <c:pt idx="15366">
                  <c:v>0.27405029427501298</c:v>
                </c:pt>
                <c:pt idx="15367">
                  <c:v>0.274068129124308</c:v>
                </c:pt>
                <c:pt idx="15368">
                  <c:v>0.27408596397360402</c:v>
                </c:pt>
                <c:pt idx="15369">
                  <c:v>0.27410379882289898</c:v>
                </c:pt>
                <c:pt idx="15370">
                  <c:v>0.274121633672195</c:v>
                </c:pt>
                <c:pt idx="15371">
                  <c:v>0.27413946852149101</c:v>
                </c:pt>
                <c:pt idx="15372">
                  <c:v>0.27415730337078598</c:v>
                </c:pt>
                <c:pt idx="15373">
                  <c:v>0.27417513822008199</c:v>
                </c:pt>
                <c:pt idx="15374">
                  <c:v>0.27419297306937701</c:v>
                </c:pt>
                <c:pt idx="15375">
                  <c:v>0.27421080791867303</c:v>
                </c:pt>
                <c:pt idx="15376">
                  <c:v>0.27422864276796799</c:v>
                </c:pt>
                <c:pt idx="15377">
                  <c:v>0.27424647761726401</c:v>
                </c:pt>
                <c:pt idx="15378">
                  <c:v>0.27426431246655902</c:v>
                </c:pt>
                <c:pt idx="15379">
                  <c:v>0.27428214731585498</c:v>
                </c:pt>
                <c:pt idx="15380">
                  <c:v>0.27429998216515</c:v>
                </c:pt>
                <c:pt idx="15381">
                  <c:v>0.27431781701444602</c:v>
                </c:pt>
                <c:pt idx="15382">
                  <c:v>0.27433565186374098</c:v>
                </c:pt>
                <c:pt idx="15383">
                  <c:v>0.274353486713037</c:v>
                </c:pt>
                <c:pt idx="15384">
                  <c:v>0.27437132156233202</c:v>
                </c:pt>
                <c:pt idx="15385">
                  <c:v>0.27438915641162798</c:v>
                </c:pt>
                <c:pt idx="15386">
                  <c:v>0.27440699126092299</c:v>
                </c:pt>
                <c:pt idx="15387">
                  <c:v>0.27442482611021901</c:v>
                </c:pt>
                <c:pt idx="15388">
                  <c:v>0.27444266095951397</c:v>
                </c:pt>
                <c:pt idx="15389">
                  <c:v>0.27446049580880999</c:v>
                </c:pt>
                <c:pt idx="15390">
                  <c:v>0.27447833065810501</c:v>
                </c:pt>
                <c:pt idx="15391">
                  <c:v>0.27449616550740102</c:v>
                </c:pt>
                <c:pt idx="15392">
                  <c:v>0.27451400035669699</c:v>
                </c:pt>
                <c:pt idx="15393">
                  <c:v>0.274531835205992</c:v>
                </c:pt>
                <c:pt idx="15394">
                  <c:v>0.27454967005528802</c:v>
                </c:pt>
                <c:pt idx="15395">
                  <c:v>0.27456750490458298</c:v>
                </c:pt>
                <c:pt idx="15396">
                  <c:v>0.274585339753879</c:v>
                </c:pt>
                <c:pt idx="15397">
                  <c:v>0.27460317460317402</c:v>
                </c:pt>
                <c:pt idx="15398">
                  <c:v>0.27462100945246998</c:v>
                </c:pt>
                <c:pt idx="15399">
                  <c:v>0.27463884430176499</c:v>
                </c:pt>
                <c:pt idx="15400">
                  <c:v>0.27465667915106101</c:v>
                </c:pt>
                <c:pt idx="15401">
                  <c:v>0.27467451400035597</c:v>
                </c:pt>
                <c:pt idx="15402">
                  <c:v>0.27469234884965199</c:v>
                </c:pt>
                <c:pt idx="15403">
                  <c:v>0.27471018369894701</c:v>
                </c:pt>
                <c:pt idx="15404">
                  <c:v>0.27472801854824302</c:v>
                </c:pt>
                <c:pt idx="15405">
                  <c:v>0.27474585339753799</c:v>
                </c:pt>
                <c:pt idx="15406">
                  <c:v>0.274763688246834</c:v>
                </c:pt>
                <c:pt idx="15407">
                  <c:v>0.27478152309612902</c:v>
                </c:pt>
                <c:pt idx="15408">
                  <c:v>0.27479935794542498</c:v>
                </c:pt>
                <c:pt idx="15409">
                  <c:v>0.27481719279472</c:v>
                </c:pt>
                <c:pt idx="15410">
                  <c:v>0.27483502764401602</c:v>
                </c:pt>
                <c:pt idx="15411">
                  <c:v>0.27485286249331098</c:v>
                </c:pt>
                <c:pt idx="15412">
                  <c:v>0.274870697342607</c:v>
                </c:pt>
                <c:pt idx="15413">
                  <c:v>0.27488853219190201</c:v>
                </c:pt>
                <c:pt idx="15414">
                  <c:v>0.27490636704119797</c:v>
                </c:pt>
                <c:pt idx="15415">
                  <c:v>0.27492420189049399</c:v>
                </c:pt>
                <c:pt idx="15416">
                  <c:v>0.27494203673978901</c:v>
                </c:pt>
                <c:pt idx="15417">
                  <c:v>0.27495987158908503</c:v>
                </c:pt>
                <c:pt idx="15418">
                  <c:v>0.27497770643837999</c:v>
                </c:pt>
                <c:pt idx="15419">
                  <c:v>0.274995541287676</c:v>
                </c:pt>
                <c:pt idx="15420">
                  <c:v>0.27501337613697102</c:v>
                </c:pt>
                <c:pt idx="15421">
                  <c:v>0.27503121098626698</c:v>
                </c:pt>
                <c:pt idx="15422">
                  <c:v>0.275049045835562</c:v>
                </c:pt>
                <c:pt idx="15423">
                  <c:v>0.27506688068485802</c:v>
                </c:pt>
                <c:pt idx="15424">
                  <c:v>0.27508471553415298</c:v>
                </c:pt>
                <c:pt idx="15425">
                  <c:v>0.275102550383449</c:v>
                </c:pt>
                <c:pt idx="15426">
                  <c:v>0.27512038523274401</c:v>
                </c:pt>
                <c:pt idx="15427">
                  <c:v>0.27513822008203997</c:v>
                </c:pt>
                <c:pt idx="15428">
                  <c:v>0.27515605493133499</c:v>
                </c:pt>
                <c:pt idx="15429">
                  <c:v>0.27517388978063101</c:v>
                </c:pt>
                <c:pt idx="15430">
                  <c:v>0.27519172462992603</c:v>
                </c:pt>
                <c:pt idx="15431">
                  <c:v>0.27520955947922199</c:v>
                </c:pt>
                <c:pt idx="15432">
                  <c:v>0.27522739432851701</c:v>
                </c:pt>
                <c:pt idx="15433">
                  <c:v>0.27524522917781302</c:v>
                </c:pt>
                <c:pt idx="15434">
                  <c:v>0.27526306402710898</c:v>
                </c:pt>
                <c:pt idx="15435">
                  <c:v>0.275280898876404</c:v>
                </c:pt>
                <c:pt idx="15436">
                  <c:v>0.27529873372570002</c:v>
                </c:pt>
                <c:pt idx="15437">
                  <c:v>0.27531656857499498</c:v>
                </c:pt>
                <c:pt idx="15438">
                  <c:v>0.275334403424291</c:v>
                </c:pt>
                <c:pt idx="15439">
                  <c:v>0.27535223827358601</c:v>
                </c:pt>
                <c:pt idx="15440">
                  <c:v>0.27537007312288198</c:v>
                </c:pt>
                <c:pt idx="15441">
                  <c:v>0.27538790797217699</c:v>
                </c:pt>
                <c:pt idx="15442">
                  <c:v>0.27540574282147301</c:v>
                </c:pt>
                <c:pt idx="15443">
                  <c:v>0.27542357767076803</c:v>
                </c:pt>
                <c:pt idx="15444">
                  <c:v>0.27544141252006399</c:v>
                </c:pt>
                <c:pt idx="15445">
                  <c:v>0.27545924736935901</c:v>
                </c:pt>
                <c:pt idx="15446">
                  <c:v>0.27547708221865502</c:v>
                </c:pt>
                <c:pt idx="15447">
                  <c:v>0.27549491706794998</c:v>
                </c:pt>
                <c:pt idx="15448">
                  <c:v>0.275512751917246</c:v>
                </c:pt>
                <c:pt idx="15449">
                  <c:v>0.27553058676654102</c:v>
                </c:pt>
                <c:pt idx="15450">
                  <c:v>0.27554842161583698</c:v>
                </c:pt>
                <c:pt idx="15451">
                  <c:v>0.275566256465132</c:v>
                </c:pt>
                <c:pt idx="15452">
                  <c:v>0.27558409131442801</c:v>
                </c:pt>
                <c:pt idx="15453">
                  <c:v>0.27560192616372298</c:v>
                </c:pt>
                <c:pt idx="15454">
                  <c:v>0.27561976101301899</c:v>
                </c:pt>
                <c:pt idx="15455">
                  <c:v>0.27563759586231401</c:v>
                </c:pt>
                <c:pt idx="15456">
                  <c:v>0.27565543071161003</c:v>
                </c:pt>
                <c:pt idx="15457">
                  <c:v>0.27567326556090599</c:v>
                </c:pt>
                <c:pt idx="15458">
                  <c:v>0.27569110041020101</c:v>
                </c:pt>
                <c:pt idx="15459">
                  <c:v>0.27570893525949702</c:v>
                </c:pt>
                <c:pt idx="15460">
                  <c:v>0.27572677010879199</c:v>
                </c:pt>
                <c:pt idx="15461">
                  <c:v>0.275744604958088</c:v>
                </c:pt>
                <c:pt idx="15462">
                  <c:v>0.27576243980738302</c:v>
                </c:pt>
                <c:pt idx="15463">
                  <c:v>0.27578027465667898</c:v>
                </c:pt>
                <c:pt idx="15464">
                  <c:v>0.275798109505974</c:v>
                </c:pt>
                <c:pt idx="15465">
                  <c:v>0.27581594435527002</c:v>
                </c:pt>
                <c:pt idx="15466">
                  <c:v>0.27583377920456498</c:v>
                </c:pt>
                <c:pt idx="15467">
                  <c:v>0.27585161405386099</c:v>
                </c:pt>
                <c:pt idx="15468">
                  <c:v>0.27586944890315601</c:v>
                </c:pt>
                <c:pt idx="15469">
                  <c:v>0.27588728375245197</c:v>
                </c:pt>
                <c:pt idx="15470">
                  <c:v>0.27590511860174699</c:v>
                </c:pt>
                <c:pt idx="15471">
                  <c:v>0.27592295345104301</c:v>
                </c:pt>
                <c:pt idx="15472">
                  <c:v>0.27594078830033802</c:v>
                </c:pt>
                <c:pt idx="15473">
                  <c:v>0.27595862314963399</c:v>
                </c:pt>
                <c:pt idx="15474">
                  <c:v>0.275976457998929</c:v>
                </c:pt>
                <c:pt idx="15475">
                  <c:v>0.27599429284822502</c:v>
                </c:pt>
                <c:pt idx="15476">
                  <c:v>0.27601212769752098</c:v>
                </c:pt>
                <c:pt idx="15477">
                  <c:v>0.276029962546816</c:v>
                </c:pt>
                <c:pt idx="15478">
                  <c:v>0.27604779739611202</c:v>
                </c:pt>
                <c:pt idx="15479">
                  <c:v>0.27606563224540698</c:v>
                </c:pt>
                <c:pt idx="15480">
                  <c:v>0.27608346709470299</c:v>
                </c:pt>
                <c:pt idx="15481">
                  <c:v>0.27610130194399801</c:v>
                </c:pt>
                <c:pt idx="15482">
                  <c:v>0.27611913679329397</c:v>
                </c:pt>
                <c:pt idx="15483">
                  <c:v>0.27613697164258899</c:v>
                </c:pt>
                <c:pt idx="15484">
                  <c:v>0.27615480649188501</c:v>
                </c:pt>
                <c:pt idx="15485">
                  <c:v>0.27617264134118003</c:v>
                </c:pt>
                <c:pt idx="15486">
                  <c:v>0.27619047619047599</c:v>
                </c:pt>
                <c:pt idx="15487">
                  <c:v>0.276208311039771</c:v>
                </c:pt>
                <c:pt idx="15488">
                  <c:v>0.27622614588906702</c:v>
                </c:pt>
                <c:pt idx="15489">
                  <c:v>0.27624398073836198</c:v>
                </c:pt>
                <c:pt idx="15490">
                  <c:v>0.276261815587658</c:v>
                </c:pt>
                <c:pt idx="15491">
                  <c:v>0.27627965043695302</c:v>
                </c:pt>
                <c:pt idx="15492">
                  <c:v>0.27629748528624898</c:v>
                </c:pt>
                <c:pt idx="15493">
                  <c:v>0.276315320135544</c:v>
                </c:pt>
                <c:pt idx="15494">
                  <c:v>0.27633315498484001</c:v>
                </c:pt>
                <c:pt idx="15495">
                  <c:v>0.27635098983413497</c:v>
                </c:pt>
                <c:pt idx="15496">
                  <c:v>0.27636882468343099</c:v>
                </c:pt>
                <c:pt idx="15497">
                  <c:v>0.27638665953272601</c:v>
                </c:pt>
                <c:pt idx="15498">
                  <c:v>0.27640449438202203</c:v>
                </c:pt>
                <c:pt idx="15499">
                  <c:v>0.27642232923131799</c:v>
                </c:pt>
                <c:pt idx="15500">
                  <c:v>0.276440164080613</c:v>
                </c:pt>
                <c:pt idx="15501">
                  <c:v>0.27645799892990902</c:v>
                </c:pt>
                <c:pt idx="15502">
                  <c:v>0.27647583377920398</c:v>
                </c:pt>
                <c:pt idx="15503">
                  <c:v>0.2764936686285</c:v>
                </c:pt>
                <c:pt idx="15504">
                  <c:v>0.27651150347779502</c:v>
                </c:pt>
                <c:pt idx="15505">
                  <c:v>0.27652933832709098</c:v>
                </c:pt>
                <c:pt idx="15506">
                  <c:v>0.276547173176386</c:v>
                </c:pt>
                <c:pt idx="15507">
                  <c:v>0.27656500802568201</c:v>
                </c:pt>
                <c:pt idx="15508">
                  <c:v>0.27658284287497698</c:v>
                </c:pt>
                <c:pt idx="15509">
                  <c:v>0.27660067772427299</c:v>
                </c:pt>
                <c:pt idx="15510">
                  <c:v>0.27661851257356801</c:v>
                </c:pt>
                <c:pt idx="15511">
                  <c:v>0.27663634742286403</c:v>
                </c:pt>
                <c:pt idx="15512">
                  <c:v>0.27665418227215899</c:v>
                </c:pt>
                <c:pt idx="15513">
                  <c:v>0.27667201712145501</c:v>
                </c:pt>
                <c:pt idx="15514">
                  <c:v>0.27668985197075002</c:v>
                </c:pt>
                <c:pt idx="15515">
                  <c:v>0.27670768682004598</c:v>
                </c:pt>
                <c:pt idx="15516">
                  <c:v>0.276725521669341</c:v>
                </c:pt>
                <c:pt idx="15517">
                  <c:v>0.27674335651863702</c:v>
                </c:pt>
                <c:pt idx="15518">
                  <c:v>0.27676119136793198</c:v>
                </c:pt>
                <c:pt idx="15519">
                  <c:v>0.276779026217228</c:v>
                </c:pt>
                <c:pt idx="15520">
                  <c:v>0.27679686106652401</c:v>
                </c:pt>
                <c:pt idx="15521">
                  <c:v>0.27681469591581898</c:v>
                </c:pt>
                <c:pt idx="15522">
                  <c:v>0.27683253076511499</c:v>
                </c:pt>
                <c:pt idx="15523">
                  <c:v>0.27685036561441001</c:v>
                </c:pt>
                <c:pt idx="15524">
                  <c:v>0.27686820046370603</c:v>
                </c:pt>
                <c:pt idx="15525">
                  <c:v>0.27688603531300099</c:v>
                </c:pt>
                <c:pt idx="15526">
                  <c:v>0.27690387016229701</c:v>
                </c:pt>
                <c:pt idx="15527">
                  <c:v>0.27692170501159202</c:v>
                </c:pt>
                <c:pt idx="15528">
                  <c:v>0.27693953986088798</c:v>
                </c:pt>
                <c:pt idx="15529">
                  <c:v>0.276957374710183</c:v>
                </c:pt>
                <c:pt idx="15530">
                  <c:v>0.27697520955947902</c:v>
                </c:pt>
                <c:pt idx="15531">
                  <c:v>0.27699304440877398</c:v>
                </c:pt>
                <c:pt idx="15532">
                  <c:v>0.27701087925807</c:v>
                </c:pt>
                <c:pt idx="15533">
                  <c:v>0.27702871410736502</c:v>
                </c:pt>
                <c:pt idx="15534">
                  <c:v>0.27704654895666098</c:v>
                </c:pt>
                <c:pt idx="15535">
                  <c:v>0.27706438380595599</c:v>
                </c:pt>
                <c:pt idx="15536">
                  <c:v>0.27708221865525201</c:v>
                </c:pt>
                <c:pt idx="15537">
                  <c:v>0.27710005350454697</c:v>
                </c:pt>
                <c:pt idx="15538">
                  <c:v>0.27711788835384299</c:v>
                </c:pt>
                <c:pt idx="15539">
                  <c:v>0.27713572320313801</c:v>
                </c:pt>
                <c:pt idx="15540">
                  <c:v>0.27715355805243402</c:v>
                </c:pt>
                <c:pt idx="15541">
                  <c:v>0.27717139290172998</c:v>
                </c:pt>
                <c:pt idx="15542">
                  <c:v>0.277189227751025</c:v>
                </c:pt>
                <c:pt idx="15543">
                  <c:v>0.27720706260032102</c:v>
                </c:pt>
                <c:pt idx="15544">
                  <c:v>0.27722489744961598</c:v>
                </c:pt>
                <c:pt idx="15545">
                  <c:v>0.277242732298912</c:v>
                </c:pt>
                <c:pt idx="15546">
                  <c:v>0.27726056714820702</c:v>
                </c:pt>
                <c:pt idx="15547">
                  <c:v>0.27727840199750298</c:v>
                </c:pt>
                <c:pt idx="15548">
                  <c:v>0.27729623684679799</c:v>
                </c:pt>
                <c:pt idx="15549">
                  <c:v>0.27731407169609401</c:v>
                </c:pt>
                <c:pt idx="15550">
                  <c:v>0.27733190654538897</c:v>
                </c:pt>
                <c:pt idx="15551">
                  <c:v>0.27734974139468499</c:v>
                </c:pt>
                <c:pt idx="15552">
                  <c:v>0.27736757624398001</c:v>
                </c:pt>
                <c:pt idx="15553">
                  <c:v>0.27738541109327602</c:v>
                </c:pt>
                <c:pt idx="15554">
                  <c:v>0.27740324594257099</c:v>
                </c:pt>
                <c:pt idx="15555">
                  <c:v>0.277421080791867</c:v>
                </c:pt>
                <c:pt idx="15556">
                  <c:v>0.27743891564116202</c:v>
                </c:pt>
                <c:pt idx="15557">
                  <c:v>0.27745675049045798</c:v>
                </c:pt>
                <c:pt idx="15558">
                  <c:v>0.277474585339753</c:v>
                </c:pt>
                <c:pt idx="15559">
                  <c:v>0.27749242018904902</c:v>
                </c:pt>
                <c:pt idx="15560">
                  <c:v>0.27751025503834398</c:v>
                </c:pt>
                <c:pt idx="15561">
                  <c:v>0.27752808988763999</c:v>
                </c:pt>
                <c:pt idx="15562">
                  <c:v>0.27754592473693501</c:v>
                </c:pt>
                <c:pt idx="15563">
                  <c:v>0.27756375958623097</c:v>
                </c:pt>
                <c:pt idx="15564">
                  <c:v>0.27758159443552699</c:v>
                </c:pt>
                <c:pt idx="15565">
                  <c:v>0.27759942928482201</c:v>
                </c:pt>
                <c:pt idx="15566">
                  <c:v>0.27761726413411802</c:v>
                </c:pt>
                <c:pt idx="15567">
                  <c:v>0.27763509898341299</c:v>
                </c:pt>
                <c:pt idx="15568">
                  <c:v>0.277652933832709</c:v>
                </c:pt>
                <c:pt idx="15569">
                  <c:v>0.27767076868200402</c:v>
                </c:pt>
                <c:pt idx="15570">
                  <c:v>0.27768860353129998</c:v>
                </c:pt>
                <c:pt idx="15571">
                  <c:v>0.277706438380595</c:v>
                </c:pt>
                <c:pt idx="15572">
                  <c:v>0.27772427322989102</c:v>
                </c:pt>
                <c:pt idx="15573">
                  <c:v>0.27774210807918598</c:v>
                </c:pt>
                <c:pt idx="15574">
                  <c:v>0.277759942928482</c:v>
                </c:pt>
                <c:pt idx="15575">
                  <c:v>0.27777777777777701</c:v>
                </c:pt>
                <c:pt idx="15576">
                  <c:v>0.27779561262707297</c:v>
                </c:pt>
                <c:pt idx="15577">
                  <c:v>0.27781344747636799</c:v>
                </c:pt>
                <c:pt idx="15578">
                  <c:v>0.27783128232566401</c:v>
                </c:pt>
                <c:pt idx="15579">
                  <c:v>0.27784911717495903</c:v>
                </c:pt>
                <c:pt idx="15580">
                  <c:v>0.27786695202425499</c:v>
                </c:pt>
                <c:pt idx="15581">
                  <c:v>0.27788478687355</c:v>
                </c:pt>
                <c:pt idx="15582">
                  <c:v>0.27790262172284602</c:v>
                </c:pt>
                <c:pt idx="15583">
                  <c:v>0.27792045657214198</c:v>
                </c:pt>
                <c:pt idx="15584">
                  <c:v>0.277938291421437</c:v>
                </c:pt>
                <c:pt idx="15585">
                  <c:v>0.27795612627073302</c:v>
                </c:pt>
                <c:pt idx="15586">
                  <c:v>0.27797396112002798</c:v>
                </c:pt>
                <c:pt idx="15587">
                  <c:v>0.277991795969324</c:v>
                </c:pt>
                <c:pt idx="15588">
                  <c:v>0.27800963081861901</c:v>
                </c:pt>
                <c:pt idx="15589">
                  <c:v>0.27802746566791497</c:v>
                </c:pt>
                <c:pt idx="15590">
                  <c:v>0.27804530051720999</c:v>
                </c:pt>
                <c:pt idx="15591">
                  <c:v>0.27806313536650601</c:v>
                </c:pt>
                <c:pt idx="15592">
                  <c:v>0.27808097021580103</c:v>
                </c:pt>
                <c:pt idx="15593">
                  <c:v>0.27809880506509699</c:v>
                </c:pt>
                <c:pt idx="15594">
                  <c:v>0.27811663991439201</c:v>
                </c:pt>
                <c:pt idx="15595">
                  <c:v>0.27813447476368802</c:v>
                </c:pt>
                <c:pt idx="15596">
                  <c:v>0.27815230961298298</c:v>
                </c:pt>
                <c:pt idx="15597">
                  <c:v>0.278170144462279</c:v>
                </c:pt>
                <c:pt idx="15598">
                  <c:v>0.27818797931157402</c:v>
                </c:pt>
                <c:pt idx="15599">
                  <c:v>0.27820581416086998</c:v>
                </c:pt>
                <c:pt idx="15600">
                  <c:v>0.278223649010165</c:v>
                </c:pt>
                <c:pt idx="15601">
                  <c:v>0.27824148385946101</c:v>
                </c:pt>
                <c:pt idx="15602">
                  <c:v>0.27825931870875598</c:v>
                </c:pt>
                <c:pt idx="15603">
                  <c:v>0.27827715355805199</c:v>
                </c:pt>
                <c:pt idx="15604">
                  <c:v>0.27829498840734701</c:v>
                </c:pt>
                <c:pt idx="15605">
                  <c:v>0.27831282325664303</c:v>
                </c:pt>
                <c:pt idx="15606">
                  <c:v>0.27833065810593899</c:v>
                </c:pt>
                <c:pt idx="15607">
                  <c:v>0.27834849295523401</c:v>
                </c:pt>
                <c:pt idx="15608">
                  <c:v>0.27836632780453002</c:v>
                </c:pt>
                <c:pt idx="15609">
                  <c:v>0.27838416265382498</c:v>
                </c:pt>
                <c:pt idx="15610">
                  <c:v>0.278401997503121</c:v>
                </c:pt>
                <c:pt idx="15611">
                  <c:v>0.27841983235241602</c:v>
                </c:pt>
                <c:pt idx="15612">
                  <c:v>0.27843766720171198</c:v>
                </c:pt>
                <c:pt idx="15613">
                  <c:v>0.278455502051007</c:v>
                </c:pt>
                <c:pt idx="15614">
                  <c:v>0.27847333690030301</c:v>
                </c:pt>
                <c:pt idx="15615">
                  <c:v>0.27849117174959798</c:v>
                </c:pt>
                <c:pt idx="15616">
                  <c:v>0.27850900659889399</c:v>
                </c:pt>
                <c:pt idx="15617">
                  <c:v>0.27852684144818901</c:v>
                </c:pt>
                <c:pt idx="15618">
                  <c:v>0.27854467629748503</c:v>
                </c:pt>
                <c:pt idx="15619">
                  <c:v>0.27856251114677999</c:v>
                </c:pt>
                <c:pt idx="15620">
                  <c:v>0.27858034599607601</c:v>
                </c:pt>
                <c:pt idx="15621">
                  <c:v>0.27859818084537102</c:v>
                </c:pt>
                <c:pt idx="15622">
                  <c:v>0.27861601569466699</c:v>
                </c:pt>
                <c:pt idx="15623">
                  <c:v>0.278633850543962</c:v>
                </c:pt>
                <c:pt idx="15624">
                  <c:v>0.27865168539325802</c:v>
                </c:pt>
                <c:pt idx="15625">
                  <c:v>0.27866952024255298</c:v>
                </c:pt>
                <c:pt idx="15626">
                  <c:v>0.278687355091849</c:v>
                </c:pt>
                <c:pt idx="15627">
                  <c:v>0.27870518994114502</c:v>
                </c:pt>
                <c:pt idx="15628">
                  <c:v>0.27872302479043998</c:v>
                </c:pt>
                <c:pt idx="15629">
                  <c:v>0.27874085963973599</c:v>
                </c:pt>
                <c:pt idx="15630">
                  <c:v>0.27875869448903101</c:v>
                </c:pt>
                <c:pt idx="15631">
                  <c:v>0.27877652933832697</c:v>
                </c:pt>
                <c:pt idx="15632">
                  <c:v>0.27879436418762199</c:v>
                </c:pt>
                <c:pt idx="15633">
                  <c:v>0.27881219903691801</c:v>
                </c:pt>
                <c:pt idx="15634">
                  <c:v>0.27883003388621302</c:v>
                </c:pt>
                <c:pt idx="15635">
                  <c:v>0.27884786873550899</c:v>
                </c:pt>
                <c:pt idx="15636">
                  <c:v>0.278865703584804</c:v>
                </c:pt>
                <c:pt idx="15637">
                  <c:v>0.27888353843410002</c:v>
                </c:pt>
                <c:pt idx="15638">
                  <c:v>0.27890137328339498</c:v>
                </c:pt>
                <c:pt idx="15639">
                  <c:v>0.278919208132691</c:v>
                </c:pt>
                <c:pt idx="15640">
                  <c:v>0.27893704298198602</c:v>
                </c:pt>
                <c:pt idx="15641">
                  <c:v>0.27895487783128198</c:v>
                </c:pt>
                <c:pt idx="15642">
                  <c:v>0.278972712680577</c:v>
                </c:pt>
                <c:pt idx="15643">
                  <c:v>0.27899054752987301</c:v>
                </c:pt>
                <c:pt idx="15644">
                  <c:v>0.27900838237916797</c:v>
                </c:pt>
                <c:pt idx="15645">
                  <c:v>0.27902621722846399</c:v>
                </c:pt>
                <c:pt idx="15646">
                  <c:v>0.27904405207775901</c:v>
                </c:pt>
                <c:pt idx="15647">
                  <c:v>0.27906188692705503</c:v>
                </c:pt>
                <c:pt idx="15648">
                  <c:v>0.27907972177635099</c:v>
                </c:pt>
                <c:pt idx="15649">
                  <c:v>0.279097556625646</c:v>
                </c:pt>
                <c:pt idx="15650">
                  <c:v>0.27911539147494202</c:v>
                </c:pt>
                <c:pt idx="15651">
                  <c:v>0.27913322632423698</c:v>
                </c:pt>
                <c:pt idx="15652">
                  <c:v>0.279151061173533</c:v>
                </c:pt>
                <c:pt idx="15653">
                  <c:v>0.27916889602282802</c:v>
                </c:pt>
                <c:pt idx="15654">
                  <c:v>0.27918673087212398</c:v>
                </c:pt>
                <c:pt idx="15655">
                  <c:v>0.279204565721419</c:v>
                </c:pt>
                <c:pt idx="15656">
                  <c:v>0.27922240057071501</c:v>
                </c:pt>
                <c:pt idx="15657">
                  <c:v>0.27924023542000997</c:v>
                </c:pt>
                <c:pt idx="15658">
                  <c:v>0.27925807026930599</c:v>
                </c:pt>
                <c:pt idx="15659">
                  <c:v>0.27927590511860101</c:v>
                </c:pt>
                <c:pt idx="15660">
                  <c:v>0.27929373996789703</c:v>
                </c:pt>
                <c:pt idx="15661">
                  <c:v>0.27931157481719199</c:v>
                </c:pt>
                <c:pt idx="15662">
                  <c:v>0.279329409666488</c:v>
                </c:pt>
                <c:pt idx="15663">
                  <c:v>0.27934724451578302</c:v>
                </c:pt>
                <c:pt idx="15664">
                  <c:v>0.27936507936507898</c:v>
                </c:pt>
                <c:pt idx="15665">
                  <c:v>0.279382914214374</c:v>
                </c:pt>
                <c:pt idx="15666">
                  <c:v>0.27940074906367002</c:v>
                </c:pt>
                <c:pt idx="15667">
                  <c:v>0.27941858391296498</c:v>
                </c:pt>
                <c:pt idx="15668">
                  <c:v>0.279436418762261</c:v>
                </c:pt>
                <c:pt idx="15669">
                  <c:v>0.27945425361155601</c:v>
                </c:pt>
                <c:pt idx="15670">
                  <c:v>0.27947208846085198</c:v>
                </c:pt>
                <c:pt idx="15671">
                  <c:v>0.27948992331014799</c:v>
                </c:pt>
                <c:pt idx="15672">
                  <c:v>0.27950775815944301</c:v>
                </c:pt>
                <c:pt idx="15673">
                  <c:v>0.27952559300873903</c:v>
                </c:pt>
                <c:pt idx="15674">
                  <c:v>0.27954342785803399</c:v>
                </c:pt>
                <c:pt idx="15675">
                  <c:v>0.27956126270733</c:v>
                </c:pt>
                <c:pt idx="15676">
                  <c:v>0.27957909755662502</c:v>
                </c:pt>
                <c:pt idx="15677">
                  <c:v>0.27959693240592098</c:v>
                </c:pt>
                <c:pt idx="15678">
                  <c:v>0.279614767255216</c:v>
                </c:pt>
                <c:pt idx="15679">
                  <c:v>0.27963260210451202</c:v>
                </c:pt>
                <c:pt idx="15680">
                  <c:v>0.27965043695380698</c:v>
                </c:pt>
                <c:pt idx="15681">
                  <c:v>0.279668271803103</c:v>
                </c:pt>
                <c:pt idx="15682">
                  <c:v>0.27968610665239801</c:v>
                </c:pt>
                <c:pt idx="15683">
                  <c:v>0.27970394150169398</c:v>
                </c:pt>
                <c:pt idx="15684">
                  <c:v>0.27972177635098899</c:v>
                </c:pt>
                <c:pt idx="15685">
                  <c:v>0.27973961120028501</c:v>
                </c:pt>
                <c:pt idx="15686">
                  <c:v>0.27975744604958003</c:v>
                </c:pt>
                <c:pt idx="15687">
                  <c:v>0.27977528089887599</c:v>
                </c:pt>
                <c:pt idx="15688">
                  <c:v>0.27979311574817101</c:v>
                </c:pt>
                <c:pt idx="15689">
                  <c:v>0.27981095059746702</c:v>
                </c:pt>
                <c:pt idx="15690">
                  <c:v>0.27982878544676298</c:v>
                </c:pt>
                <c:pt idx="15691">
                  <c:v>0.279846620296058</c:v>
                </c:pt>
                <c:pt idx="15692">
                  <c:v>0.27986445514535402</c:v>
                </c:pt>
                <c:pt idx="15693">
                  <c:v>0.27988228999464898</c:v>
                </c:pt>
                <c:pt idx="15694">
                  <c:v>0.279900124843945</c:v>
                </c:pt>
                <c:pt idx="15695">
                  <c:v>0.27991795969324001</c:v>
                </c:pt>
                <c:pt idx="15696">
                  <c:v>0.27993579454253598</c:v>
                </c:pt>
                <c:pt idx="15697">
                  <c:v>0.27995362939183099</c:v>
                </c:pt>
                <c:pt idx="15698">
                  <c:v>0.27997146424112701</c:v>
                </c:pt>
                <c:pt idx="15699">
                  <c:v>0.27998929909042197</c:v>
                </c:pt>
                <c:pt idx="15700">
                  <c:v>0.28000713393971799</c:v>
                </c:pt>
                <c:pt idx="15701">
                  <c:v>0.28002496878901301</c:v>
                </c:pt>
                <c:pt idx="15702">
                  <c:v>0.28004280363830902</c:v>
                </c:pt>
                <c:pt idx="15703">
                  <c:v>0.28006063848760399</c:v>
                </c:pt>
                <c:pt idx="15704">
                  <c:v>0.2800784733369</c:v>
                </c:pt>
                <c:pt idx="15705">
                  <c:v>0.28009630818619502</c:v>
                </c:pt>
                <c:pt idx="15706">
                  <c:v>0.28011414303549098</c:v>
                </c:pt>
                <c:pt idx="15707">
                  <c:v>0.280131977884786</c:v>
                </c:pt>
                <c:pt idx="15708">
                  <c:v>0.28014981273408202</c:v>
                </c:pt>
                <c:pt idx="15709">
                  <c:v>0.28016764758337698</c:v>
                </c:pt>
                <c:pt idx="15710">
                  <c:v>0.28018548243267299</c:v>
                </c:pt>
                <c:pt idx="15711">
                  <c:v>0.28020331728196801</c:v>
                </c:pt>
                <c:pt idx="15712">
                  <c:v>0.28022115213126397</c:v>
                </c:pt>
                <c:pt idx="15713">
                  <c:v>0.28023898698055999</c:v>
                </c:pt>
                <c:pt idx="15714">
                  <c:v>0.28025682182985501</c:v>
                </c:pt>
                <c:pt idx="15715">
                  <c:v>0.28027465667915102</c:v>
                </c:pt>
                <c:pt idx="15716">
                  <c:v>0.28029249152844599</c:v>
                </c:pt>
                <c:pt idx="15717">
                  <c:v>0.280310326377742</c:v>
                </c:pt>
                <c:pt idx="15718">
                  <c:v>0.28032816122703702</c:v>
                </c:pt>
                <c:pt idx="15719">
                  <c:v>0.28034599607633298</c:v>
                </c:pt>
                <c:pt idx="15720">
                  <c:v>0.280363830925628</c:v>
                </c:pt>
                <c:pt idx="15721">
                  <c:v>0.28038166577492402</c:v>
                </c:pt>
                <c:pt idx="15722">
                  <c:v>0.28039950062421898</c:v>
                </c:pt>
                <c:pt idx="15723">
                  <c:v>0.28041733547351499</c:v>
                </c:pt>
                <c:pt idx="15724">
                  <c:v>0.28043517032281001</c:v>
                </c:pt>
                <c:pt idx="15725">
                  <c:v>0.28045300517210597</c:v>
                </c:pt>
                <c:pt idx="15726">
                  <c:v>0.28047084002140099</c:v>
                </c:pt>
                <c:pt idx="15727">
                  <c:v>0.28048867487069701</c:v>
                </c:pt>
                <c:pt idx="15728">
                  <c:v>0.28050650971999203</c:v>
                </c:pt>
                <c:pt idx="15729">
                  <c:v>0.28052434456928799</c:v>
                </c:pt>
                <c:pt idx="15730">
                  <c:v>0.280542179418583</c:v>
                </c:pt>
                <c:pt idx="15731">
                  <c:v>0.28056001426787902</c:v>
                </c:pt>
                <c:pt idx="15732">
                  <c:v>0.28057784911717498</c:v>
                </c:pt>
                <c:pt idx="15733">
                  <c:v>0.28059568396647</c:v>
                </c:pt>
                <c:pt idx="15734">
                  <c:v>0.28061351881576602</c:v>
                </c:pt>
                <c:pt idx="15735">
                  <c:v>0.28063135366506098</c:v>
                </c:pt>
                <c:pt idx="15736">
                  <c:v>0.280649188514357</c:v>
                </c:pt>
                <c:pt idx="15737">
                  <c:v>0.28066702336365201</c:v>
                </c:pt>
                <c:pt idx="15738">
                  <c:v>0.28068485821294797</c:v>
                </c:pt>
                <c:pt idx="15739">
                  <c:v>0.28070269306224299</c:v>
                </c:pt>
                <c:pt idx="15740">
                  <c:v>0.28072052791153901</c:v>
                </c:pt>
                <c:pt idx="15741">
                  <c:v>0.28073836276083403</c:v>
                </c:pt>
                <c:pt idx="15742">
                  <c:v>0.28075619761012999</c:v>
                </c:pt>
                <c:pt idx="15743">
                  <c:v>0.280774032459425</c:v>
                </c:pt>
                <c:pt idx="15744">
                  <c:v>0.28079186730872102</c:v>
                </c:pt>
                <c:pt idx="15745">
                  <c:v>0.28080970215801598</c:v>
                </c:pt>
                <c:pt idx="15746">
                  <c:v>0.280827537007312</c:v>
                </c:pt>
                <c:pt idx="15747">
                  <c:v>0.28084537185660702</c:v>
                </c:pt>
                <c:pt idx="15748">
                  <c:v>0.28086320670590298</c:v>
                </c:pt>
                <c:pt idx="15749">
                  <c:v>0.280881041555198</c:v>
                </c:pt>
                <c:pt idx="15750">
                  <c:v>0.28089887640449401</c:v>
                </c:pt>
                <c:pt idx="15751">
                  <c:v>0.28091671125378898</c:v>
                </c:pt>
                <c:pt idx="15752">
                  <c:v>0.28093454610308499</c:v>
                </c:pt>
                <c:pt idx="15753">
                  <c:v>0.28095238095238001</c:v>
                </c:pt>
                <c:pt idx="15754">
                  <c:v>0.28097021580167603</c:v>
                </c:pt>
                <c:pt idx="15755">
                  <c:v>0.28098805065097199</c:v>
                </c:pt>
                <c:pt idx="15756">
                  <c:v>0.28100588550026701</c:v>
                </c:pt>
                <c:pt idx="15757">
                  <c:v>0.28102372034956302</c:v>
                </c:pt>
                <c:pt idx="15758">
                  <c:v>0.28104155519885798</c:v>
                </c:pt>
                <c:pt idx="15759">
                  <c:v>0.281059390048154</c:v>
                </c:pt>
                <c:pt idx="15760">
                  <c:v>0.28107722489744902</c:v>
                </c:pt>
                <c:pt idx="15761">
                  <c:v>0.28109505974674498</c:v>
                </c:pt>
                <c:pt idx="15762">
                  <c:v>0.28111289459604</c:v>
                </c:pt>
                <c:pt idx="15763">
                  <c:v>0.28113072944533601</c:v>
                </c:pt>
                <c:pt idx="15764">
                  <c:v>0.28114856429463098</c:v>
                </c:pt>
                <c:pt idx="15765">
                  <c:v>0.28116639914392699</c:v>
                </c:pt>
                <c:pt idx="15766">
                  <c:v>0.28118423399322201</c:v>
                </c:pt>
                <c:pt idx="15767">
                  <c:v>0.28120206884251803</c:v>
                </c:pt>
                <c:pt idx="15768">
                  <c:v>0.28121990369181299</c:v>
                </c:pt>
                <c:pt idx="15769">
                  <c:v>0.28123773854110901</c:v>
                </c:pt>
                <c:pt idx="15770">
                  <c:v>0.28125557339040402</c:v>
                </c:pt>
                <c:pt idx="15771">
                  <c:v>0.28127340823969998</c:v>
                </c:pt>
                <c:pt idx="15772">
                  <c:v>0.281291243088995</c:v>
                </c:pt>
                <c:pt idx="15773">
                  <c:v>0.28130907793829102</c:v>
                </c:pt>
                <c:pt idx="15774">
                  <c:v>0.28132691278758598</c:v>
                </c:pt>
                <c:pt idx="15775">
                  <c:v>0.281344747636882</c:v>
                </c:pt>
                <c:pt idx="15776">
                  <c:v>0.28136258248617801</c:v>
                </c:pt>
                <c:pt idx="15777">
                  <c:v>0.28138041733547298</c:v>
                </c:pt>
                <c:pt idx="15778">
                  <c:v>0.28139825218476899</c:v>
                </c:pt>
                <c:pt idx="15779">
                  <c:v>0.28141608703406401</c:v>
                </c:pt>
                <c:pt idx="15780">
                  <c:v>0.28143392188336003</c:v>
                </c:pt>
                <c:pt idx="15781">
                  <c:v>0.28145175673265499</c:v>
                </c:pt>
                <c:pt idx="15782">
                  <c:v>0.28146959158195101</c:v>
                </c:pt>
                <c:pt idx="15783">
                  <c:v>0.28148742643124602</c:v>
                </c:pt>
                <c:pt idx="15784">
                  <c:v>0.28150526128054199</c:v>
                </c:pt>
                <c:pt idx="15785">
                  <c:v>0.281523096129837</c:v>
                </c:pt>
                <c:pt idx="15786">
                  <c:v>0.28154093097913302</c:v>
                </c:pt>
                <c:pt idx="15787">
                  <c:v>0.28155876582842798</c:v>
                </c:pt>
                <c:pt idx="15788">
                  <c:v>0.281576600677724</c:v>
                </c:pt>
                <c:pt idx="15789">
                  <c:v>0.28159443552701902</c:v>
                </c:pt>
                <c:pt idx="15790">
                  <c:v>0.28161227037631498</c:v>
                </c:pt>
                <c:pt idx="15791">
                  <c:v>0.28163010522560999</c:v>
                </c:pt>
                <c:pt idx="15792">
                  <c:v>0.28164794007490601</c:v>
                </c:pt>
                <c:pt idx="15793">
                  <c:v>0.28166577492420097</c:v>
                </c:pt>
                <c:pt idx="15794">
                  <c:v>0.28168360977349699</c:v>
                </c:pt>
                <c:pt idx="15795">
                  <c:v>0.28170144462279201</c:v>
                </c:pt>
                <c:pt idx="15796">
                  <c:v>0.28171927947208802</c:v>
                </c:pt>
                <c:pt idx="15797">
                  <c:v>0.28173711432138399</c:v>
                </c:pt>
                <c:pt idx="15798">
                  <c:v>0.281754949170679</c:v>
                </c:pt>
                <c:pt idx="15799">
                  <c:v>0.28177278401997502</c:v>
                </c:pt>
                <c:pt idx="15800">
                  <c:v>0.28179061886926998</c:v>
                </c:pt>
                <c:pt idx="15801">
                  <c:v>0.281808453718566</c:v>
                </c:pt>
                <c:pt idx="15802">
                  <c:v>0.28182628856786102</c:v>
                </c:pt>
                <c:pt idx="15803">
                  <c:v>0.28184412341715698</c:v>
                </c:pt>
                <c:pt idx="15804">
                  <c:v>0.281861958266452</c:v>
                </c:pt>
                <c:pt idx="15805">
                  <c:v>0.28187979311574801</c:v>
                </c:pt>
                <c:pt idx="15806">
                  <c:v>0.28189762796504297</c:v>
                </c:pt>
                <c:pt idx="15807">
                  <c:v>0.28191546281433899</c:v>
                </c:pt>
                <c:pt idx="15808">
                  <c:v>0.28193329766363401</c:v>
                </c:pt>
                <c:pt idx="15809">
                  <c:v>0.28195113251293002</c:v>
                </c:pt>
                <c:pt idx="15810">
                  <c:v>0.28196896736222499</c:v>
                </c:pt>
                <c:pt idx="15811">
                  <c:v>0.281986802211521</c:v>
                </c:pt>
                <c:pt idx="15812">
                  <c:v>0.28200463706081602</c:v>
                </c:pt>
                <c:pt idx="15813">
                  <c:v>0.28202247191011198</c:v>
                </c:pt>
                <c:pt idx="15814">
                  <c:v>0.282040306759407</c:v>
                </c:pt>
                <c:pt idx="15815">
                  <c:v>0.28205814160870302</c:v>
                </c:pt>
                <c:pt idx="15816">
                  <c:v>0.28207597645799798</c:v>
                </c:pt>
                <c:pt idx="15817">
                  <c:v>0.282093811307294</c:v>
                </c:pt>
                <c:pt idx="15818">
                  <c:v>0.28211164615658901</c:v>
                </c:pt>
                <c:pt idx="15819">
                  <c:v>0.28212948100588497</c:v>
                </c:pt>
                <c:pt idx="15820">
                  <c:v>0.28214731585518099</c:v>
                </c:pt>
                <c:pt idx="15821">
                  <c:v>0.28216515070447601</c:v>
                </c:pt>
                <c:pt idx="15822">
                  <c:v>0.28218298555377203</c:v>
                </c:pt>
                <c:pt idx="15823">
                  <c:v>0.28220082040306699</c:v>
                </c:pt>
                <c:pt idx="15824">
                  <c:v>0.282218655252363</c:v>
                </c:pt>
                <c:pt idx="15825">
                  <c:v>0.28223649010165802</c:v>
                </c:pt>
                <c:pt idx="15826">
                  <c:v>0.28225432495095398</c:v>
                </c:pt>
                <c:pt idx="15827">
                  <c:v>0.282272159800249</c:v>
                </c:pt>
                <c:pt idx="15828">
                  <c:v>0.28228999464954502</c:v>
                </c:pt>
                <c:pt idx="15829">
                  <c:v>0.28230782949883998</c:v>
                </c:pt>
                <c:pt idx="15830">
                  <c:v>0.282325664348136</c:v>
                </c:pt>
                <c:pt idx="15831">
                  <c:v>0.28234349919743101</c:v>
                </c:pt>
                <c:pt idx="15832">
                  <c:v>0.28236133404672698</c:v>
                </c:pt>
                <c:pt idx="15833">
                  <c:v>0.28237916889602199</c:v>
                </c:pt>
                <c:pt idx="15834">
                  <c:v>0.28239700374531801</c:v>
                </c:pt>
                <c:pt idx="15835">
                  <c:v>0.28241483859461303</c:v>
                </c:pt>
                <c:pt idx="15836">
                  <c:v>0.28243267344390899</c:v>
                </c:pt>
                <c:pt idx="15837">
                  <c:v>0.28245050829320401</c:v>
                </c:pt>
                <c:pt idx="15838">
                  <c:v>0.28246834314250002</c:v>
                </c:pt>
                <c:pt idx="15839">
                  <c:v>0.28248617799179598</c:v>
                </c:pt>
                <c:pt idx="15840">
                  <c:v>0.282504012841091</c:v>
                </c:pt>
                <c:pt idx="15841">
                  <c:v>0.28252184769038702</c:v>
                </c:pt>
                <c:pt idx="15842">
                  <c:v>0.28253968253968198</c:v>
                </c:pt>
                <c:pt idx="15843">
                  <c:v>0.282557517388978</c:v>
                </c:pt>
                <c:pt idx="15844">
                  <c:v>0.28257535223827301</c:v>
                </c:pt>
                <c:pt idx="15845">
                  <c:v>0.28259318708756898</c:v>
                </c:pt>
                <c:pt idx="15846">
                  <c:v>0.28261102193686399</c:v>
                </c:pt>
                <c:pt idx="15847">
                  <c:v>0.28262885678616001</c:v>
                </c:pt>
                <c:pt idx="15848">
                  <c:v>0.28264669163545503</c:v>
                </c:pt>
                <c:pt idx="15849">
                  <c:v>0.28266452648475099</c:v>
                </c:pt>
                <c:pt idx="15850">
                  <c:v>0.28268236133404601</c:v>
                </c:pt>
                <c:pt idx="15851">
                  <c:v>0.28270019618334202</c:v>
                </c:pt>
                <c:pt idx="15852">
                  <c:v>0.28271803103263698</c:v>
                </c:pt>
                <c:pt idx="15853">
                  <c:v>0.282735865881933</c:v>
                </c:pt>
                <c:pt idx="15854">
                  <c:v>0.28275370073122802</c:v>
                </c:pt>
                <c:pt idx="15855">
                  <c:v>0.28277153558052398</c:v>
                </c:pt>
                <c:pt idx="15856">
                  <c:v>0.282789370429819</c:v>
                </c:pt>
                <c:pt idx="15857">
                  <c:v>0.28280720527911501</c:v>
                </c:pt>
                <c:pt idx="15858">
                  <c:v>0.28282504012840998</c:v>
                </c:pt>
                <c:pt idx="15859">
                  <c:v>0.28284287497770599</c:v>
                </c:pt>
                <c:pt idx="15860">
                  <c:v>0.28286070982700101</c:v>
                </c:pt>
                <c:pt idx="15861">
                  <c:v>0.28287854467629697</c:v>
                </c:pt>
                <c:pt idx="15862">
                  <c:v>0.28289637952559299</c:v>
                </c:pt>
                <c:pt idx="15863">
                  <c:v>0.28291421437488801</c:v>
                </c:pt>
                <c:pt idx="15864">
                  <c:v>0.28293204922418402</c:v>
                </c:pt>
                <c:pt idx="15865">
                  <c:v>0.28294988407347899</c:v>
                </c:pt>
                <c:pt idx="15866">
                  <c:v>0.282967718922775</c:v>
                </c:pt>
                <c:pt idx="15867">
                  <c:v>0.28298555377207002</c:v>
                </c:pt>
                <c:pt idx="15868">
                  <c:v>0.28300338862136598</c:v>
                </c:pt>
                <c:pt idx="15869">
                  <c:v>0.283021223470661</c:v>
                </c:pt>
                <c:pt idx="15870">
                  <c:v>0.28303905831995702</c:v>
                </c:pt>
                <c:pt idx="15871">
                  <c:v>0.28305689316925198</c:v>
                </c:pt>
                <c:pt idx="15872">
                  <c:v>0.28307472801854799</c:v>
                </c:pt>
                <c:pt idx="15873">
                  <c:v>0.28309256286784301</c:v>
                </c:pt>
                <c:pt idx="15874">
                  <c:v>0.28311039771713897</c:v>
                </c:pt>
                <c:pt idx="15875">
                  <c:v>0.28312823256643399</c:v>
                </c:pt>
                <c:pt idx="15876">
                  <c:v>0.28314606741573001</c:v>
                </c:pt>
                <c:pt idx="15877">
                  <c:v>0.28316390226502502</c:v>
                </c:pt>
                <c:pt idx="15878">
                  <c:v>0.28318173711432099</c:v>
                </c:pt>
                <c:pt idx="15879">
                  <c:v>0.283199571963616</c:v>
                </c:pt>
                <c:pt idx="15880">
                  <c:v>0.28321740681291202</c:v>
                </c:pt>
                <c:pt idx="15881">
                  <c:v>0.28323524166220798</c:v>
                </c:pt>
                <c:pt idx="15882">
                  <c:v>0.283253076511503</c:v>
                </c:pt>
                <c:pt idx="15883">
                  <c:v>0.28327091136079902</c:v>
                </c:pt>
                <c:pt idx="15884">
                  <c:v>0.28328874621009398</c:v>
                </c:pt>
                <c:pt idx="15885">
                  <c:v>0.28330658105938999</c:v>
                </c:pt>
                <c:pt idx="15886">
                  <c:v>0.28332441590868501</c:v>
                </c:pt>
                <c:pt idx="15887">
                  <c:v>0.28334225075798097</c:v>
                </c:pt>
                <c:pt idx="15888">
                  <c:v>0.28336008560727599</c:v>
                </c:pt>
                <c:pt idx="15889">
                  <c:v>0.28337792045657201</c:v>
                </c:pt>
                <c:pt idx="15890">
                  <c:v>0.28339575530586703</c:v>
                </c:pt>
                <c:pt idx="15891">
                  <c:v>0.28341359015516299</c:v>
                </c:pt>
                <c:pt idx="15892">
                  <c:v>0.283431425004458</c:v>
                </c:pt>
                <c:pt idx="15893">
                  <c:v>0.28344925985375402</c:v>
                </c:pt>
                <c:pt idx="15894">
                  <c:v>0.28346709470304898</c:v>
                </c:pt>
                <c:pt idx="15895">
                  <c:v>0.283484929552345</c:v>
                </c:pt>
                <c:pt idx="15896">
                  <c:v>0.28350276440164002</c:v>
                </c:pt>
                <c:pt idx="15897">
                  <c:v>0.28352059925093598</c:v>
                </c:pt>
                <c:pt idx="15898">
                  <c:v>0.283538434100231</c:v>
                </c:pt>
                <c:pt idx="15899">
                  <c:v>0.28355626894952701</c:v>
                </c:pt>
                <c:pt idx="15900">
                  <c:v>0.28357410379882197</c:v>
                </c:pt>
                <c:pt idx="15901">
                  <c:v>0.28359193864811799</c:v>
                </c:pt>
                <c:pt idx="15902">
                  <c:v>0.28360977349741301</c:v>
                </c:pt>
                <c:pt idx="15903">
                  <c:v>0.28362760834670903</c:v>
                </c:pt>
                <c:pt idx="15904">
                  <c:v>0.28364544319600499</c:v>
                </c:pt>
                <c:pt idx="15905">
                  <c:v>0.2836632780453</c:v>
                </c:pt>
                <c:pt idx="15906">
                  <c:v>0.28368111289459602</c:v>
                </c:pt>
                <c:pt idx="15907">
                  <c:v>0.28369894774389098</c:v>
                </c:pt>
                <c:pt idx="15908">
                  <c:v>0.283716782593187</c:v>
                </c:pt>
                <c:pt idx="15909">
                  <c:v>0.28373461744248202</c:v>
                </c:pt>
                <c:pt idx="15910">
                  <c:v>0.28375245229177798</c:v>
                </c:pt>
                <c:pt idx="15911">
                  <c:v>0.283770287141073</c:v>
                </c:pt>
                <c:pt idx="15912">
                  <c:v>0.28378812199036901</c:v>
                </c:pt>
                <c:pt idx="15913">
                  <c:v>0.28380595683966398</c:v>
                </c:pt>
                <c:pt idx="15914">
                  <c:v>0.28382379168895999</c:v>
                </c:pt>
                <c:pt idx="15915">
                  <c:v>0.28384162653825501</c:v>
                </c:pt>
                <c:pt idx="15916">
                  <c:v>0.28385946138755103</c:v>
                </c:pt>
                <c:pt idx="15917">
                  <c:v>0.28387729623684599</c:v>
                </c:pt>
                <c:pt idx="15918">
                  <c:v>0.28389513108614201</c:v>
                </c:pt>
                <c:pt idx="15919">
                  <c:v>0.28391296593543702</c:v>
                </c:pt>
                <c:pt idx="15920">
                  <c:v>0.28393080078473298</c:v>
                </c:pt>
                <c:pt idx="15921">
                  <c:v>0.283948635634028</c:v>
                </c:pt>
                <c:pt idx="15922">
                  <c:v>0.28396647048332402</c:v>
                </c:pt>
                <c:pt idx="15923">
                  <c:v>0.28398430533261898</c:v>
                </c:pt>
                <c:pt idx="15924">
                  <c:v>0.284002140181915</c:v>
                </c:pt>
                <c:pt idx="15925">
                  <c:v>0.28401997503121101</c:v>
                </c:pt>
                <c:pt idx="15926">
                  <c:v>0.28403780988050598</c:v>
                </c:pt>
                <c:pt idx="15927">
                  <c:v>0.28405564472980199</c:v>
                </c:pt>
                <c:pt idx="15928">
                  <c:v>0.28407347957909701</c:v>
                </c:pt>
                <c:pt idx="15929">
                  <c:v>0.28409131442839303</c:v>
                </c:pt>
                <c:pt idx="15930">
                  <c:v>0.28410914927768799</c:v>
                </c:pt>
                <c:pt idx="15931">
                  <c:v>0.28412698412698401</c:v>
                </c:pt>
                <c:pt idx="15932">
                  <c:v>0.28414481897627902</c:v>
                </c:pt>
                <c:pt idx="15933">
                  <c:v>0.28416265382557498</c:v>
                </c:pt>
                <c:pt idx="15934">
                  <c:v>0.28418048867487</c:v>
                </c:pt>
                <c:pt idx="15935">
                  <c:v>0.28419832352416602</c:v>
                </c:pt>
                <c:pt idx="15936">
                  <c:v>0.28421615837346098</c:v>
                </c:pt>
                <c:pt idx="15937">
                  <c:v>0.284233993222757</c:v>
                </c:pt>
                <c:pt idx="15938">
                  <c:v>0.28425182807205202</c:v>
                </c:pt>
                <c:pt idx="15939">
                  <c:v>0.28426966292134798</c:v>
                </c:pt>
                <c:pt idx="15940">
                  <c:v>0.28428749777064299</c:v>
                </c:pt>
                <c:pt idx="15941">
                  <c:v>0.28430533261993901</c:v>
                </c:pt>
                <c:pt idx="15942">
                  <c:v>0.28432316746923397</c:v>
                </c:pt>
                <c:pt idx="15943">
                  <c:v>0.28434100231852999</c:v>
                </c:pt>
                <c:pt idx="15944">
                  <c:v>0.28435883716782501</c:v>
                </c:pt>
                <c:pt idx="15945">
                  <c:v>0.28437667201712102</c:v>
                </c:pt>
                <c:pt idx="15946">
                  <c:v>0.28439450686641699</c:v>
                </c:pt>
                <c:pt idx="15947">
                  <c:v>0.284412341715712</c:v>
                </c:pt>
                <c:pt idx="15948">
                  <c:v>0.28443017656500802</c:v>
                </c:pt>
                <c:pt idx="15949">
                  <c:v>0.28444801141430298</c:v>
                </c:pt>
                <c:pt idx="15950">
                  <c:v>0.284465846263599</c:v>
                </c:pt>
                <c:pt idx="15951">
                  <c:v>0.28448368111289402</c:v>
                </c:pt>
                <c:pt idx="15952">
                  <c:v>0.28450151596218998</c:v>
                </c:pt>
                <c:pt idx="15953">
                  <c:v>0.28451935081148499</c:v>
                </c:pt>
                <c:pt idx="15954">
                  <c:v>0.28453718566078101</c:v>
                </c:pt>
                <c:pt idx="15955">
                  <c:v>0.28455502051007597</c:v>
                </c:pt>
                <c:pt idx="15956">
                  <c:v>0.28457285535937199</c:v>
                </c:pt>
                <c:pt idx="15957">
                  <c:v>0.28459069020866701</c:v>
                </c:pt>
                <c:pt idx="15958">
                  <c:v>0.28460852505796302</c:v>
                </c:pt>
                <c:pt idx="15959">
                  <c:v>0.28462635990725799</c:v>
                </c:pt>
                <c:pt idx="15960">
                  <c:v>0.284644194756554</c:v>
                </c:pt>
                <c:pt idx="15961">
                  <c:v>0.28466202960584902</c:v>
                </c:pt>
                <c:pt idx="15962">
                  <c:v>0.28467986445514498</c:v>
                </c:pt>
                <c:pt idx="15963">
                  <c:v>0.28469769930444</c:v>
                </c:pt>
                <c:pt idx="15964">
                  <c:v>0.28471553415373602</c:v>
                </c:pt>
                <c:pt idx="15965">
                  <c:v>0.28473336900303098</c:v>
                </c:pt>
                <c:pt idx="15966">
                  <c:v>0.284751203852327</c:v>
                </c:pt>
                <c:pt idx="15967">
                  <c:v>0.28476903870162201</c:v>
                </c:pt>
                <c:pt idx="15968">
                  <c:v>0.28478687355091797</c:v>
                </c:pt>
                <c:pt idx="15969">
                  <c:v>0.28480470840021399</c:v>
                </c:pt>
                <c:pt idx="15970">
                  <c:v>0.28482254324950901</c:v>
                </c:pt>
                <c:pt idx="15971">
                  <c:v>0.28484037809880502</c:v>
                </c:pt>
                <c:pt idx="15972">
                  <c:v>0.28485821294809999</c:v>
                </c:pt>
                <c:pt idx="15973">
                  <c:v>0.284876047797396</c:v>
                </c:pt>
                <c:pt idx="15974">
                  <c:v>0.28489388264669102</c:v>
                </c:pt>
                <c:pt idx="15975">
                  <c:v>0.28491171749598698</c:v>
                </c:pt>
                <c:pt idx="15976">
                  <c:v>0.284929552345282</c:v>
                </c:pt>
                <c:pt idx="15977">
                  <c:v>0.28494738719457802</c:v>
                </c:pt>
                <c:pt idx="15978">
                  <c:v>0.28496522204387298</c:v>
                </c:pt>
                <c:pt idx="15979">
                  <c:v>0.284983056893169</c:v>
                </c:pt>
                <c:pt idx="15980">
                  <c:v>0.28500089174246401</c:v>
                </c:pt>
                <c:pt idx="15981">
                  <c:v>0.28501872659175997</c:v>
                </c:pt>
                <c:pt idx="15982">
                  <c:v>0.28503656144105499</c:v>
                </c:pt>
                <c:pt idx="15983">
                  <c:v>0.28505439629035101</c:v>
                </c:pt>
                <c:pt idx="15984">
                  <c:v>0.28507223113964603</c:v>
                </c:pt>
                <c:pt idx="15985">
                  <c:v>0.28509006598894199</c:v>
                </c:pt>
                <c:pt idx="15986">
                  <c:v>0.28510790083823701</c:v>
                </c:pt>
                <c:pt idx="15987">
                  <c:v>0.28512573568753302</c:v>
                </c:pt>
                <c:pt idx="15988">
                  <c:v>0.28514357053682898</c:v>
                </c:pt>
                <c:pt idx="15989">
                  <c:v>0.285161405386124</c:v>
                </c:pt>
                <c:pt idx="15990">
                  <c:v>0.28517924023542002</c:v>
                </c:pt>
                <c:pt idx="15991">
                  <c:v>0.28519707508471498</c:v>
                </c:pt>
                <c:pt idx="15992">
                  <c:v>0.285214909934011</c:v>
                </c:pt>
                <c:pt idx="15993">
                  <c:v>0.28523274478330601</c:v>
                </c:pt>
                <c:pt idx="15994">
                  <c:v>0.28525057963260197</c:v>
                </c:pt>
                <c:pt idx="15995">
                  <c:v>0.28526841448189699</c:v>
                </c:pt>
                <c:pt idx="15996">
                  <c:v>0.28528624933119301</c:v>
                </c:pt>
                <c:pt idx="15997">
                  <c:v>0.28530408418048803</c:v>
                </c:pt>
                <c:pt idx="15998">
                  <c:v>0.28532191902978399</c:v>
                </c:pt>
                <c:pt idx="15999">
                  <c:v>0.28533975387907901</c:v>
                </c:pt>
                <c:pt idx="16000">
                  <c:v>0.28535758872837502</c:v>
                </c:pt>
                <c:pt idx="16001">
                  <c:v>0.28537542357766998</c:v>
                </c:pt>
                <c:pt idx="16002">
                  <c:v>0.285393258426966</c:v>
                </c:pt>
                <c:pt idx="16003">
                  <c:v>0.28541109327626102</c:v>
                </c:pt>
                <c:pt idx="16004">
                  <c:v>0.28542892812555698</c:v>
                </c:pt>
                <c:pt idx="16005">
                  <c:v>0.285446762974852</c:v>
                </c:pt>
                <c:pt idx="16006">
                  <c:v>0.28546459782414801</c:v>
                </c:pt>
                <c:pt idx="16007">
                  <c:v>0.28548243267344298</c:v>
                </c:pt>
                <c:pt idx="16008">
                  <c:v>0.28550026752273899</c:v>
                </c:pt>
                <c:pt idx="16009">
                  <c:v>0.28551810237203401</c:v>
                </c:pt>
                <c:pt idx="16010">
                  <c:v>0.28553593722133003</c:v>
                </c:pt>
                <c:pt idx="16011">
                  <c:v>0.28555377207062599</c:v>
                </c:pt>
                <c:pt idx="16012">
                  <c:v>0.28557160691992101</c:v>
                </c:pt>
                <c:pt idx="16013">
                  <c:v>0.28558944176921702</c:v>
                </c:pt>
                <c:pt idx="16014">
                  <c:v>0.28560727661851198</c:v>
                </c:pt>
                <c:pt idx="16015">
                  <c:v>0.285625111467808</c:v>
                </c:pt>
                <c:pt idx="16016">
                  <c:v>0.28564294631710302</c:v>
                </c:pt>
                <c:pt idx="16017">
                  <c:v>0.28566078116639898</c:v>
                </c:pt>
                <c:pt idx="16018">
                  <c:v>0.285678616015694</c:v>
                </c:pt>
                <c:pt idx="16019">
                  <c:v>0.28569645086499001</c:v>
                </c:pt>
                <c:pt idx="16020">
                  <c:v>0.28571428571428498</c:v>
                </c:pt>
                <c:pt idx="16021">
                  <c:v>0.28573212056358099</c:v>
                </c:pt>
                <c:pt idx="16022">
                  <c:v>0.28574995541287601</c:v>
                </c:pt>
                <c:pt idx="16023">
                  <c:v>0.28576779026217197</c:v>
                </c:pt>
                <c:pt idx="16024">
                  <c:v>0.28578562511146699</c:v>
                </c:pt>
                <c:pt idx="16025">
                  <c:v>0.28580345996076301</c:v>
                </c:pt>
                <c:pt idx="16026">
                  <c:v>0.28582129481005802</c:v>
                </c:pt>
                <c:pt idx="16027">
                  <c:v>0.28583912965935399</c:v>
                </c:pt>
                <c:pt idx="16028">
                  <c:v>0.285856964508649</c:v>
                </c:pt>
                <c:pt idx="16029">
                  <c:v>0.28587479935794502</c:v>
                </c:pt>
                <c:pt idx="16030">
                  <c:v>0.28589263420723998</c:v>
                </c:pt>
                <c:pt idx="16031">
                  <c:v>0.285910469056536</c:v>
                </c:pt>
                <c:pt idx="16032">
                  <c:v>0.28592830390583202</c:v>
                </c:pt>
                <c:pt idx="16033">
                  <c:v>0.28594613875512698</c:v>
                </c:pt>
                <c:pt idx="16034">
                  <c:v>0.28596397360442299</c:v>
                </c:pt>
                <c:pt idx="16035">
                  <c:v>0.28598180845371801</c:v>
                </c:pt>
                <c:pt idx="16036">
                  <c:v>0.28599964330301397</c:v>
                </c:pt>
                <c:pt idx="16037">
                  <c:v>0.28601747815230899</c:v>
                </c:pt>
                <c:pt idx="16038">
                  <c:v>0.28603531300160501</c:v>
                </c:pt>
                <c:pt idx="16039">
                  <c:v>0.28605314785090002</c:v>
                </c:pt>
                <c:pt idx="16040">
                  <c:v>0.28607098270019599</c:v>
                </c:pt>
                <c:pt idx="16041">
                  <c:v>0.286088817549491</c:v>
                </c:pt>
                <c:pt idx="16042">
                  <c:v>0.28610665239878702</c:v>
                </c:pt>
                <c:pt idx="16043">
                  <c:v>0.28612448724808198</c:v>
                </c:pt>
                <c:pt idx="16044">
                  <c:v>0.286142322097378</c:v>
                </c:pt>
                <c:pt idx="16045">
                  <c:v>0.28616015694667302</c:v>
                </c:pt>
                <c:pt idx="16046">
                  <c:v>0.28617799179596898</c:v>
                </c:pt>
                <c:pt idx="16047">
                  <c:v>0.286195826645264</c:v>
                </c:pt>
                <c:pt idx="16048">
                  <c:v>0.28621366149456001</c:v>
                </c:pt>
                <c:pt idx="16049">
                  <c:v>0.28623149634385497</c:v>
                </c:pt>
                <c:pt idx="16050">
                  <c:v>0.28624933119315099</c:v>
                </c:pt>
                <c:pt idx="16051">
                  <c:v>0.28626716604244601</c:v>
                </c:pt>
                <c:pt idx="16052">
                  <c:v>0.28628500089174203</c:v>
                </c:pt>
                <c:pt idx="16053">
                  <c:v>0.28630283574103799</c:v>
                </c:pt>
                <c:pt idx="16054">
                  <c:v>0.286320670590333</c:v>
                </c:pt>
                <c:pt idx="16055">
                  <c:v>0.28633850543962902</c:v>
                </c:pt>
                <c:pt idx="16056">
                  <c:v>0.28635634028892398</c:v>
                </c:pt>
                <c:pt idx="16057">
                  <c:v>0.28637417513822</c:v>
                </c:pt>
                <c:pt idx="16058">
                  <c:v>0.28639200998751502</c:v>
                </c:pt>
                <c:pt idx="16059">
                  <c:v>0.28640984483681098</c:v>
                </c:pt>
                <c:pt idx="16060">
                  <c:v>0.286427679686106</c:v>
                </c:pt>
                <c:pt idx="16061">
                  <c:v>0.28644551453540201</c:v>
                </c:pt>
                <c:pt idx="16062">
                  <c:v>0.28646334938469697</c:v>
                </c:pt>
                <c:pt idx="16063">
                  <c:v>0.28648118423399299</c:v>
                </c:pt>
                <c:pt idx="16064">
                  <c:v>0.28649901908328801</c:v>
                </c:pt>
                <c:pt idx="16065">
                  <c:v>0.28651685393258403</c:v>
                </c:pt>
                <c:pt idx="16066">
                  <c:v>0.28653468878187899</c:v>
                </c:pt>
                <c:pt idx="16067">
                  <c:v>0.286552523631175</c:v>
                </c:pt>
                <c:pt idx="16068">
                  <c:v>0.28657035848047002</c:v>
                </c:pt>
                <c:pt idx="16069">
                  <c:v>0.28658819332976598</c:v>
                </c:pt>
                <c:pt idx="16070">
                  <c:v>0.286606028179061</c:v>
                </c:pt>
                <c:pt idx="16071">
                  <c:v>0.28662386302835702</c:v>
                </c:pt>
                <c:pt idx="16072">
                  <c:v>0.28664169787765198</c:v>
                </c:pt>
                <c:pt idx="16073">
                  <c:v>0.286659532726948</c:v>
                </c:pt>
                <c:pt idx="16074">
                  <c:v>0.28667736757624301</c:v>
                </c:pt>
                <c:pt idx="16075">
                  <c:v>0.28669520242553898</c:v>
                </c:pt>
                <c:pt idx="16076">
                  <c:v>0.28671303727483499</c:v>
                </c:pt>
                <c:pt idx="16077">
                  <c:v>0.28673087212413001</c:v>
                </c:pt>
                <c:pt idx="16078">
                  <c:v>0.28674870697342603</c:v>
                </c:pt>
                <c:pt idx="16079">
                  <c:v>0.28676654182272099</c:v>
                </c:pt>
                <c:pt idx="16080">
                  <c:v>0.28678437667201701</c:v>
                </c:pt>
                <c:pt idx="16081">
                  <c:v>0.28680221152131202</c:v>
                </c:pt>
                <c:pt idx="16082">
                  <c:v>0.28682004637060798</c:v>
                </c:pt>
                <c:pt idx="16083">
                  <c:v>0.286837881219903</c:v>
                </c:pt>
                <c:pt idx="16084">
                  <c:v>0.28685571606919902</c:v>
                </c:pt>
                <c:pt idx="16085">
                  <c:v>0.28687355091849398</c:v>
                </c:pt>
                <c:pt idx="16086">
                  <c:v>0.28689138576779</c:v>
                </c:pt>
                <c:pt idx="16087">
                  <c:v>0.28690922061708501</c:v>
                </c:pt>
                <c:pt idx="16088">
                  <c:v>0.28692705546638098</c:v>
                </c:pt>
                <c:pt idx="16089">
                  <c:v>0.28694489031567599</c:v>
                </c:pt>
                <c:pt idx="16090">
                  <c:v>0.28696272516497201</c:v>
                </c:pt>
                <c:pt idx="16091">
                  <c:v>0.28698056001426703</c:v>
                </c:pt>
                <c:pt idx="16092">
                  <c:v>0.28699839486356299</c:v>
                </c:pt>
                <c:pt idx="16093">
                  <c:v>0.28701622971285801</c:v>
                </c:pt>
                <c:pt idx="16094">
                  <c:v>0.28703406456215402</c:v>
                </c:pt>
                <c:pt idx="16095">
                  <c:v>0.28705189941144998</c:v>
                </c:pt>
                <c:pt idx="16096">
                  <c:v>0.287069734260745</c:v>
                </c:pt>
                <c:pt idx="16097">
                  <c:v>0.28708756911004102</c:v>
                </c:pt>
                <c:pt idx="16098">
                  <c:v>0.28710540395933598</c:v>
                </c:pt>
                <c:pt idx="16099">
                  <c:v>0.287123238808632</c:v>
                </c:pt>
                <c:pt idx="16100">
                  <c:v>0.28714107365792702</c:v>
                </c:pt>
                <c:pt idx="16101">
                  <c:v>0.28715890850722298</c:v>
                </c:pt>
                <c:pt idx="16102">
                  <c:v>0.28717674335651799</c:v>
                </c:pt>
                <c:pt idx="16103">
                  <c:v>0.28719457820581401</c:v>
                </c:pt>
                <c:pt idx="16104">
                  <c:v>0.28721241305510897</c:v>
                </c:pt>
                <c:pt idx="16105">
                  <c:v>0.28723024790440499</c:v>
                </c:pt>
                <c:pt idx="16106">
                  <c:v>0.28724808275370001</c:v>
                </c:pt>
                <c:pt idx="16107">
                  <c:v>0.28726591760299602</c:v>
                </c:pt>
                <c:pt idx="16108">
                  <c:v>0.28728375245229099</c:v>
                </c:pt>
                <c:pt idx="16109">
                  <c:v>0.287301587301587</c:v>
                </c:pt>
                <c:pt idx="16110">
                  <c:v>0.28731942215088202</c:v>
                </c:pt>
                <c:pt idx="16111">
                  <c:v>0.28733725700017798</c:v>
                </c:pt>
                <c:pt idx="16112">
                  <c:v>0.287355091849473</c:v>
                </c:pt>
                <c:pt idx="16113">
                  <c:v>0.28737292669876902</c:v>
                </c:pt>
                <c:pt idx="16114">
                  <c:v>0.28739076154806398</c:v>
                </c:pt>
                <c:pt idx="16115">
                  <c:v>0.28740859639735999</c:v>
                </c:pt>
                <c:pt idx="16116">
                  <c:v>0.28742643124665501</c:v>
                </c:pt>
                <c:pt idx="16117">
                  <c:v>0.28744426609595097</c:v>
                </c:pt>
                <c:pt idx="16118">
                  <c:v>0.28746210094524699</c:v>
                </c:pt>
                <c:pt idx="16119">
                  <c:v>0.28747993579454201</c:v>
                </c:pt>
                <c:pt idx="16120">
                  <c:v>0.28749777064383802</c:v>
                </c:pt>
                <c:pt idx="16121">
                  <c:v>0.28751560549313299</c:v>
                </c:pt>
                <c:pt idx="16122">
                  <c:v>0.287533440342429</c:v>
                </c:pt>
                <c:pt idx="16123">
                  <c:v>0.28755127519172402</c:v>
                </c:pt>
                <c:pt idx="16124">
                  <c:v>0.28756911004101998</c:v>
                </c:pt>
                <c:pt idx="16125">
                  <c:v>0.287586944890315</c:v>
                </c:pt>
                <c:pt idx="16126">
                  <c:v>0.28760477973961102</c:v>
                </c:pt>
                <c:pt idx="16127">
                  <c:v>0.28762261458890598</c:v>
                </c:pt>
                <c:pt idx="16128">
                  <c:v>0.28764044943820199</c:v>
                </c:pt>
                <c:pt idx="16129">
                  <c:v>0.28765828428749701</c:v>
                </c:pt>
                <c:pt idx="16130">
                  <c:v>0.28767611913679297</c:v>
                </c:pt>
                <c:pt idx="16131">
                  <c:v>0.28769395398608799</c:v>
                </c:pt>
                <c:pt idx="16132">
                  <c:v>0.28771178883538401</c:v>
                </c:pt>
                <c:pt idx="16133">
                  <c:v>0.28772962368467903</c:v>
                </c:pt>
                <c:pt idx="16134">
                  <c:v>0.28774745853397499</c:v>
                </c:pt>
                <c:pt idx="16135">
                  <c:v>0.28776529338327</c:v>
                </c:pt>
                <c:pt idx="16136">
                  <c:v>0.28778312823256602</c:v>
                </c:pt>
                <c:pt idx="16137">
                  <c:v>0.28780096308186198</c:v>
                </c:pt>
                <c:pt idx="16138">
                  <c:v>0.287818797931157</c:v>
                </c:pt>
                <c:pt idx="16139">
                  <c:v>0.28783663278045302</c:v>
                </c:pt>
                <c:pt idx="16140">
                  <c:v>0.28785446762974798</c:v>
                </c:pt>
                <c:pt idx="16141">
                  <c:v>0.287872302479044</c:v>
                </c:pt>
                <c:pt idx="16142">
                  <c:v>0.28789013732833901</c:v>
                </c:pt>
                <c:pt idx="16143">
                  <c:v>0.28790797217763497</c:v>
                </c:pt>
                <c:pt idx="16144">
                  <c:v>0.28792580702692999</c:v>
                </c:pt>
                <c:pt idx="16145">
                  <c:v>0.28794364187622601</c:v>
                </c:pt>
                <c:pt idx="16146">
                  <c:v>0.28796147672552103</c:v>
                </c:pt>
                <c:pt idx="16147">
                  <c:v>0.28797931157481699</c:v>
                </c:pt>
                <c:pt idx="16148">
                  <c:v>0.287997146424112</c:v>
                </c:pt>
                <c:pt idx="16149">
                  <c:v>0.28801498127340802</c:v>
                </c:pt>
                <c:pt idx="16150">
                  <c:v>0.28803281612270298</c:v>
                </c:pt>
                <c:pt idx="16151">
                  <c:v>0.288050650971999</c:v>
                </c:pt>
                <c:pt idx="16152">
                  <c:v>0.28806848582129402</c:v>
                </c:pt>
                <c:pt idx="16153">
                  <c:v>0.28808632067058998</c:v>
                </c:pt>
                <c:pt idx="16154">
                  <c:v>0.288104155519885</c:v>
                </c:pt>
                <c:pt idx="16155">
                  <c:v>0.28812199036918101</c:v>
                </c:pt>
                <c:pt idx="16156">
                  <c:v>0.28813982521847598</c:v>
                </c:pt>
                <c:pt idx="16157">
                  <c:v>0.28815766006777199</c:v>
                </c:pt>
                <c:pt idx="16158">
                  <c:v>0.28817549491706701</c:v>
                </c:pt>
                <c:pt idx="16159">
                  <c:v>0.28819332976636303</c:v>
                </c:pt>
                <c:pt idx="16160">
                  <c:v>0.28821116461565899</c:v>
                </c:pt>
                <c:pt idx="16161">
                  <c:v>0.28822899946495401</c:v>
                </c:pt>
                <c:pt idx="16162">
                  <c:v>0.28824683431425002</c:v>
                </c:pt>
                <c:pt idx="16163">
                  <c:v>0.28826466916354498</c:v>
                </c:pt>
                <c:pt idx="16164">
                  <c:v>0.288282504012841</c:v>
                </c:pt>
                <c:pt idx="16165">
                  <c:v>0.28830033886213602</c:v>
                </c:pt>
                <c:pt idx="16166">
                  <c:v>0.28831817371143198</c:v>
                </c:pt>
                <c:pt idx="16167">
                  <c:v>0.288336008560727</c:v>
                </c:pt>
                <c:pt idx="16168">
                  <c:v>0.28835384341002301</c:v>
                </c:pt>
                <c:pt idx="16169">
                  <c:v>0.28837167825931798</c:v>
                </c:pt>
                <c:pt idx="16170">
                  <c:v>0.28838951310861399</c:v>
                </c:pt>
                <c:pt idx="16171">
                  <c:v>0.28840734795790901</c:v>
                </c:pt>
                <c:pt idx="16172">
                  <c:v>0.28842518280720503</c:v>
                </c:pt>
                <c:pt idx="16173">
                  <c:v>0.28844301765649999</c:v>
                </c:pt>
                <c:pt idx="16174">
                  <c:v>0.28846085250579601</c:v>
                </c:pt>
                <c:pt idx="16175">
                  <c:v>0.28847868735509102</c:v>
                </c:pt>
                <c:pt idx="16176">
                  <c:v>0.28849652220438698</c:v>
                </c:pt>
                <c:pt idx="16177">
                  <c:v>0.288514357053682</c:v>
                </c:pt>
                <c:pt idx="16178">
                  <c:v>0.28853219190297802</c:v>
                </c:pt>
                <c:pt idx="16179">
                  <c:v>0.28855002675227298</c:v>
                </c:pt>
                <c:pt idx="16180">
                  <c:v>0.288567861601569</c:v>
                </c:pt>
                <c:pt idx="16181">
                  <c:v>0.28858569645086501</c:v>
                </c:pt>
                <c:pt idx="16182">
                  <c:v>0.28860353130015998</c:v>
                </c:pt>
                <c:pt idx="16183">
                  <c:v>0.28862136614945599</c:v>
                </c:pt>
                <c:pt idx="16184">
                  <c:v>0.28863920099875101</c:v>
                </c:pt>
                <c:pt idx="16185">
                  <c:v>0.28865703584804703</c:v>
                </c:pt>
                <c:pt idx="16186">
                  <c:v>0.28867487069734199</c:v>
                </c:pt>
                <c:pt idx="16187">
                  <c:v>0.28869270554663801</c:v>
                </c:pt>
                <c:pt idx="16188">
                  <c:v>0.28871054039593302</c:v>
                </c:pt>
                <c:pt idx="16189">
                  <c:v>0.28872837524522899</c:v>
                </c:pt>
                <c:pt idx="16190">
                  <c:v>0.288746210094524</c:v>
                </c:pt>
                <c:pt idx="16191">
                  <c:v>0.28876404494382002</c:v>
                </c:pt>
                <c:pt idx="16192">
                  <c:v>0.28878187979311498</c:v>
                </c:pt>
                <c:pt idx="16193">
                  <c:v>0.288799714642411</c:v>
                </c:pt>
                <c:pt idx="16194">
                  <c:v>0.28881754949170602</c:v>
                </c:pt>
                <c:pt idx="16195">
                  <c:v>0.28883538434100198</c:v>
                </c:pt>
                <c:pt idx="16196">
                  <c:v>0.28885321919029699</c:v>
                </c:pt>
                <c:pt idx="16197">
                  <c:v>0.28887105403959301</c:v>
                </c:pt>
                <c:pt idx="16198">
                  <c:v>0.28888888888888797</c:v>
                </c:pt>
                <c:pt idx="16199">
                  <c:v>0.28890672373818399</c:v>
                </c:pt>
                <c:pt idx="16200">
                  <c:v>0.28892455858747901</c:v>
                </c:pt>
                <c:pt idx="16201">
                  <c:v>0.28894239343677502</c:v>
                </c:pt>
                <c:pt idx="16202">
                  <c:v>0.28896022828607099</c:v>
                </c:pt>
                <c:pt idx="16203">
                  <c:v>0.288978063135366</c:v>
                </c:pt>
                <c:pt idx="16204">
                  <c:v>0.28899589798466202</c:v>
                </c:pt>
                <c:pt idx="16205">
                  <c:v>0.28901373283395698</c:v>
                </c:pt>
                <c:pt idx="16206">
                  <c:v>0.289031567683253</c:v>
                </c:pt>
                <c:pt idx="16207">
                  <c:v>0.28904940253254802</c:v>
                </c:pt>
                <c:pt idx="16208">
                  <c:v>0.28906723738184398</c:v>
                </c:pt>
                <c:pt idx="16209">
                  <c:v>0.289085072231139</c:v>
                </c:pt>
                <c:pt idx="16210">
                  <c:v>0.28910290708043501</c:v>
                </c:pt>
                <c:pt idx="16211">
                  <c:v>0.28912074192972997</c:v>
                </c:pt>
                <c:pt idx="16212">
                  <c:v>0.28913857677902599</c:v>
                </c:pt>
                <c:pt idx="16213">
                  <c:v>0.28915641162832101</c:v>
                </c:pt>
                <c:pt idx="16214">
                  <c:v>0.28917424647761703</c:v>
                </c:pt>
                <c:pt idx="16215">
                  <c:v>0.28919208132691199</c:v>
                </c:pt>
                <c:pt idx="16216">
                  <c:v>0.289209916176208</c:v>
                </c:pt>
                <c:pt idx="16217">
                  <c:v>0.28922775102550302</c:v>
                </c:pt>
                <c:pt idx="16218">
                  <c:v>0.28924558587479898</c:v>
                </c:pt>
                <c:pt idx="16219">
                  <c:v>0.289263420724094</c:v>
                </c:pt>
                <c:pt idx="16220">
                  <c:v>0.28928125557339002</c:v>
                </c:pt>
                <c:pt idx="16221">
                  <c:v>0.28929909042268498</c:v>
                </c:pt>
                <c:pt idx="16222">
                  <c:v>0.289316925271981</c:v>
                </c:pt>
                <c:pt idx="16223">
                  <c:v>0.28933476012127601</c:v>
                </c:pt>
                <c:pt idx="16224">
                  <c:v>0.28935259497057197</c:v>
                </c:pt>
                <c:pt idx="16225">
                  <c:v>0.28937042981986799</c:v>
                </c:pt>
                <c:pt idx="16226">
                  <c:v>0.28938826466916301</c:v>
                </c:pt>
                <c:pt idx="16227">
                  <c:v>0.28940609951845903</c:v>
                </c:pt>
                <c:pt idx="16228">
                  <c:v>0.28942393436775399</c:v>
                </c:pt>
                <c:pt idx="16229">
                  <c:v>0.28944176921705</c:v>
                </c:pt>
                <c:pt idx="16230">
                  <c:v>0.28945960406634502</c:v>
                </c:pt>
                <c:pt idx="16231">
                  <c:v>0.28947743891564098</c:v>
                </c:pt>
                <c:pt idx="16232">
                  <c:v>0.289495273764936</c:v>
                </c:pt>
                <c:pt idx="16233">
                  <c:v>0.28951310861423202</c:v>
                </c:pt>
                <c:pt idx="16234">
                  <c:v>0.28953094346352698</c:v>
                </c:pt>
                <c:pt idx="16235">
                  <c:v>0.289548778312823</c:v>
                </c:pt>
                <c:pt idx="16236">
                  <c:v>0.28956661316211801</c:v>
                </c:pt>
                <c:pt idx="16237">
                  <c:v>0.28958444801141398</c:v>
                </c:pt>
                <c:pt idx="16238">
                  <c:v>0.28960228286070899</c:v>
                </c:pt>
                <c:pt idx="16239">
                  <c:v>0.28962011771000501</c:v>
                </c:pt>
                <c:pt idx="16240">
                  <c:v>0.28963795255930003</c:v>
                </c:pt>
                <c:pt idx="16241">
                  <c:v>0.28965578740859599</c:v>
                </c:pt>
                <c:pt idx="16242">
                  <c:v>0.28967362225789101</c:v>
                </c:pt>
                <c:pt idx="16243">
                  <c:v>0.28969145710718702</c:v>
                </c:pt>
                <c:pt idx="16244">
                  <c:v>0.28970929195648298</c:v>
                </c:pt>
                <c:pt idx="16245">
                  <c:v>0.289727126805778</c:v>
                </c:pt>
                <c:pt idx="16246">
                  <c:v>0.28974496165507402</c:v>
                </c:pt>
                <c:pt idx="16247">
                  <c:v>0.28976279650436898</c:v>
                </c:pt>
                <c:pt idx="16248">
                  <c:v>0.289780631353665</c:v>
                </c:pt>
                <c:pt idx="16249">
                  <c:v>0.28979846620296001</c:v>
                </c:pt>
                <c:pt idx="16250">
                  <c:v>0.28981630105225598</c:v>
                </c:pt>
                <c:pt idx="16251">
                  <c:v>0.28983413590155099</c:v>
                </c:pt>
                <c:pt idx="16252">
                  <c:v>0.28985197075084701</c:v>
                </c:pt>
                <c:pt idx="16253">
                  <c:v>0.28986980560014203</c:v>
                </c:pt>
                <c:pt idx="16254">
                  <c:v>0.28988764044943799</c:v>
                </c:pt>
                <c:pt idx="16255">
                  <c:v>0.28990547529873301</c:v>
                </c:pt>
                <c:pt idx="16256">
                  <c:v>0.28992331014802902</c:v>
                </c:pt>
                <c:pt idx="16257">
                  <c:v>0.28994114499732399</c:v>
                </c:pt>
                <c:pt idx="16258">
                  <c:v>0.28995897984662</c:v>
                </c:pt>
                <c:pt idx="16259">
                  <c:v>0.28997681469591502</c:v>
                </c:pt>
                <c:pt idx="16260">
                  <c:v>0.28999464954521098</c:v>
                </c:pt>
                <c:pt idx="16261">
                  <c:v>0.290012484394506</c:v>
                </c:pt>
                <c:pt idx="16262">
                  <c:v>0.29003031924380202</c:v>
                </c:pt>
                <c:pt idx="16263">
                  <c:v>0.29004815409309698</c:v>
                </c:pt>
                <c:pt idx="16264">
                  <c:v>0.29006598894239299</c:v>
                </c:pt>
                <c:pt idx="16265">
                  <c:v>0.29008382379168801</c:v>
                </c:pt>
                <c:pt idx="16266">
                  <c:v>0.29010165864098397</c:v>
                </c:pt>
                <c:pt idx="16267">
                  <c:v>0.29011949349027999</c:v>
                </c:pt>
                <c:pt idx="16268">
                  <c:v>0.29013732833957501</c:v>
                </c:pt>
                <c:pt idx="16269">
                  <c:v>0.29015516318887102</c:v>
                </c:pt>
                <c:pt idx="16270">
                  <c:v>0.29017299803816599</c:v>
                </c:pt>
                <c:pt idx="16271">
                  <c:v>0.290190832887462</c:v>
                </c:pt>
                <c:pt idx="16272">
                  <c:v>0.29020866773675702</c:v>
                </c:pt>
                <c:pt idx="16273">
                  <c:v>0.29022650258605298</c:v>
                </c:pt>
                <c:pt idx="16274">
                  <c:v>0.290244337435348</c:v>
                </c:pt>
                <c:pt idx="16275">
                  <c:v>0.29026217228464402</c:v>
                </c:pt>
                <c:pt idx="16276">
                  <c:v>0.29028000713393898</c:v>
                </c:pt>
                <c:pt idx="16277">
                  <c:v>0.29029784198323499</c:v>
                </c:pt>
                <c:pt idx="16278">
                  <c:v>0.29031567683253001</c:v>
                </c:pt>
                <c:pt idx="16279">
                  <c:v>0.29033351168182597</c:v>
                </c:pt>
                <c:pt idx="16280">
                  <c:v>0.29035134653112099</c:v>
                </c:pt>
                <c:pt idx="16281">
                  <c:v>0.29036918138041701</c:v>
                </c:pt>
                <c:pt idx="16282">
                  <c:v>0.29038701622971202</c:v>
                </c:pt>
                <c:pt idx="16283">
                  <c:v>0.29040485107900799</c:v>
                </c:pt>
                <c:pt idx="16284">
                  <c:v>0.290422685928303</c:v>
                </c:pt>
                <c:pt idx="16285">
                  <c:v>0.29044052077759902</c:v>
                </c:pt>
                <c:pt idx="16286">
                  <c:v>0.29045835562689398</c:v>
                </c:pt>
                <c:pt idx="16287">
                  <c:v>0.29047619047619</c:v>
                </c:pt>
                <c:pt idx="16288">
                  <c:v>0.29049402532548602</c:v>
                </c:pt>
                <c:pt idx="16289">
                  <c:v>0.29051186017478098</c:v>
                </c:pt>
                <c:pt idx="16290">
                  <c:v>0.29052969502407699</c:v>
                </c:pt>
                <c:pt idx="16291">
                  <c:v>0.29054752987337201</c:v>
                </c:pt>
                <c:pt idx="16292">
                  <c:v>0.29056536472266797</c:v>
                </c:pt>
                <c:pt idx="16293">
                  <c:v>0.29058319957196299</c:v>
                </c:pt>
                <c:pt idx="16294">
                  <c:v>0.29060103442125901</c:v>
                </c:pt>
                <c:pt idx="16295">
                  <c:v>0.29061886927055403</c:v>
                </c:pt>
                <c:pt idx="16296">
                  <c:v>0.29063670411984999</c:v>
                </c:pt>
                <c:pt idx="16297">
                  <c:v>0.290654538969145</c:v>
                </c:pt>
                <c:pt idx="16298">
                  <c:v>0.29067237381844102</c:v>
                </c:pt>
                <c:pt idx="16299">
                  <c:v>0.29069020866773598</c:v>
                </c:pt>
                <c:pt idx="16300">
                  <c:v>0.290708043517032</c:v>
                </c:pt>
                <c:pt idx="16301">
                  <c:v>0.29072587836632702</c:v>
                </c:pt>
                <c:pt idx="16302">
                  <c:v>0.29074371321562298</c:v>
                </c:pt>
                <c:pt idx="16303">
                  <c:v>0.290761548064918</c:v>
                </c:pt>
                <c:pt idx="16304">
                  <c:v>0.29077938291421401</c:v>
                </c:pt>
                <c:pt idx="16305">
                  <c:v>0.29079721776350897</c:v>
                </c:pt>
                <c:pt idx="16306">
                  <c:v>0.29081505261280499</c:v>
                </c:pt>
                <c:pt idx="16307">
                  <c:v>0.29083288746210001</c:v>
                </c:pt>
                <c:pt idx="16308">
                  <c:v>0.29085072231139603</c:v>
                </c:pt>
                <c:pt idx="16309">
                  <c:v>0.29086855716069199</c:v>
                </c:pt>
                <c:pt idx="16310">
                  <c:v>0.290886392009987</c:v>
                </c:pt>
                <c:pt idx="16311">
                  <c:v>0.29090422685928302</c:v>
                </c:pt>
                <c:pt idx="16312">
                  <c:v>0.29092206170857798</c:v>
                </c:pt>
                <c:pt idx="16313">
                  <c:v>0.290939896557874</c:v>
                </c:pt>
                <c:pt idx="16314">
                  <c:v>0.29095773140716902</c:v>
                </c:pt>
                <c:pt idx="16315">
                  <c:v>0.29097556625646498</c:v>
                </c:pt>
                <c:pt idx="16316">
                  <c:v>0.29099340110576</c:v>
                </c:pt>
                <c:pt idx="16317">
                  <c:v>0.29101123595505601</c:v>
                </c:pt>
                <c:pt idx="16318">
                  <c:v>0.29102907080435098</c:v>
                </c:pt>
                <c:pt idx="16319">
                  <c:v>0.29104690565364699</c:v>
                </c:pt>
                <c:pt idx="16320">
                  <c:v>0.29106474050294201</c:v>
                </c:pt>
                <c:pt idx="16321">
                  <c:v>0.29108257535223803</c:v>
                </c:pt>
                <c:pt idx="16322">
                  <c:v>0.29110041020153299</c:v>
                </c:pt>
                <c:pt idx="16323">
                  <c:v>0.29111824505082901</c:v>
                </c:pt>
                <c:pt idx="16324">
                  <c:v>0.29113607990012402</c:v>
                </c:pt>
                <c:pt idx="16325">
                  <c:v>0.29115391474941998</c:v>
                </c:pt>
                <c:pt idx="16326">
                  <c:v>0.291171749598715</c:v>
                </c:pt>
                <c:pt idx="16327">
                  <c:v>0.29118958444801102</c:v>
                </c:pt>
                <c:pt idx="16328">
                  <c:v>0.29120741929730598</c:v>
                </c:pt>
                <c:pt idx="16329">
                  <c:v>0.291225254146602</c:v>
                </c:pt>
                <c:pt idx="16330">
                  <c:v>0.29124308899589701</c:v>
                </c:pt>
                <c:pt idx="16331">
                  <c:v>0.29126092384519298</c:v>
                </c:pt>
                <c:pt idx="16332">
                  <c:v>0.29127875869448899</c:v>
                </c:pt>
                <c:pt idx="16333">
                  <c:v>0.29129659354378401</c:v>
                </c:pt>
                <c:pt idx="16334">
                  <c:v>0.29131442839308003</c:v>
                </c:pt>
                <c:pt idx="16335">
                  <c:v>0.29133226324237499</c:v>
                </c:pt>
                <c:pt idx="16336">
                  <c:v>0.29135009809167101</c:v>
                </c:pt>
                <c:pt idx="16337">
                  <c:v>0.29136793294096602</c:v>
                </c:pt>
                <c:pt idx="16338">
                  <c:v>0.29138576779026198</c:v>
                </c:pt>
                <c:pt idx="16339">
                  <c:v>0.291403602639557</c:v>
                </c:pt>
                <c:pt idx="16340">
                  <c:v>0.29142143748885302</c:v>
                </c:pt>
                <c:pt idx="16341">
                  <c:v>0.29143927233814798</c:v>
                </c:pt>
                <c:pt idx="16342">
                  <c:v>0.291457107187444</c:v>
                </c:pt>
                <c:pt idx="16343">
                  <c:v>0.29147494203673902</c:v>
                </c:pt>
                <c:pt idx="16344">
                  <c:v>0.29149277688603498</c:v>
                </c:pt>
                <c:pt idx="16345">
                  <c:v>0.29151061173532999</c:v>
                </c:pt>
                <c:pt idx="16346">
                  <c:v>0.29152844658462601</c:v>
                </c:pt>
                <c:pt idx="16347">
                  <c:v>0.29154628143392097</c:v>
                </c:pt>
                <c:pt idx="16348">
                  <c:v>0.29156411628321699</c:v>
                </c:pt>
                <c:pt idx="16349">
                  <c:v>0.29158195113251201</c:v>
                </c:pt>
                <c:pt idx="16350">
                  <c:v>0.29159978598180802</c:v>
                </c:pt>
                <c:pt idx="16351">
                  <c:v>0.29161762083110399</c:v>
                </c:pt>
                <c:pt idx="16352">
                  <c:v>0.291635455680399</c:v>
                </c:pt>
                <c:pt idx="16353">
                  <c:v>0.29165329052969502</c:v>
                </c:pt>
                <c:pt idx="16354">
                  <c:v>0.29167112537898998</c:v>
                </c:pt>
                <c:pt idx="16355">
                  <c:v>0.291688960228286</c:v>
                </c:pt>
                <c:pt idx="16356">
                  <c:v>0.29170679507758102</c:v>
                </c:pt>
                <c:pt idx="16357">
                  <c:v>0.29172462992687698</c:v>
                </c:pt>
                <c:pt idx="16358">
                  <c:v>0.29174246477617199</c:v>
                </c:pt>
                <c:pt idx="16359">
                  <c:v>0.29176029962546801</c:v>
                </c:pt>
                <c:pt idx="16360">
                  <c:v>0.29177813447476297</c:v>
                </c:pt>
                <c:pt idx="16361">
                  <c:v>0.29179596932405899</c:v>
                </c:pt>
                <c:pt idx="16362">
                  <c:v>0.29181380417335401</c:v>
                </c:pt>
                <c:pt idx="16363">
                  <c:v>0.29183163902265002</c:v>
                </c:pt>
                <c:pt idx="16364">
                  <c:v>0.29184947387194499</c:v>
                </c:pt>
                <c:pt idx="16365">
                  <c:v>0.291867308721241</c:v>
                </c:pt>
                <c:pt idx="16366">
                  <c:v>0.29188514357053602</c:v>
                </c:pt>
                <c:pt idx="16367">
                  <c:v>0.29190297841983198</c:v>
                </c:pt>
                <c:pt idx="16368">
                  <c:v>0.291920813269127</c:v>
                </c:pt>
                <c:pt idx="16369">
                  <c:v>0.29193864811842302</c:v>
                </c:pt>
                <c:pt idx="16370">
                  <c:v>0.29195648296771798</c:v>
                </c:pt>
                <c:pt idx="16371">
                  <c:v>0.291974317817014</c:v>
                </c:pt>
                <c:pt idx="16372">
                  <c:v>0.29199215266630901</c:v>
                </c:pt>
                <c:pt idx="16373">
                  <c:v>0.29200998751560497</c:v>
                </c:pt>
                <c:pt idx="16374">
                  <c:v>0.29202782236490099</c:v>
                </c:pt>
                <c:pt idx="16375">
                  <c:v>0.29204565721419601</c:v>
                </c:pt>
                <c:pt idx="16376">
                  <c:v>0.29206349206349203</c:v>
                </c:pt>
                <c:pt idx="16377">
                  <c:v>0.29208132691278699</c:v>
                </c:pt>
                <c:pt idx="16378">
                  <c:v>0.292099161762083</c:v>
                </c:pt>
                <c:pt idx="16379">
                  <c:v>0.29211699661137802</c:v>
                </c:pt>
                <c:pt idx="16380">
                  <c:v>0.29213483146067398</c:v>
                </c:pt>
                <c:pt idx="16381">
                  <c:v>0.292152666309969</c:v>
                </c:pt>
                <c:pt idx="16382">
                  <c:v>0.29217050115926502</c:v>
                </c:pt>
                <c:pt idx="16383">
                  <c:v>0.29218833600855998</c:v>
                </c:pt>
                <c:pt idx="16384">
                  <c:v>0.292206170857856</c:v>
                </c:pt>
                <c:pt idx="16385">
                  <c:v>0.29222400570715101</c:v>
                </c:pt>
                <c:pt idx="16386">
                  <c:v>0.29224184055644697</c:v>
                </c:pt>
                <c:pt idx="16387">
                  <c:v>0.29225967540574199</c:v>
                </c:pt>
                <c:pt idx="16388">
                  <c:v>0.29227751025503801</c:v>
                </c:pt>
                <c:pt idx="16389">
                  <c:v>0.29229534510433303</c:v>
                </c:pt>
                <c:pt idx="16390">
                  <c:v>0.29231317995362899</c:v>
                </c:pt>
                <c:pt idx="16391">
                  <c:v>0.29233101480292401</c:v>
                </c:pt>
                <c:pt idx="16392">
                  <c:v>0.29234884965222002</c:v>
                </c:pt>
                <c:pt idx="16393">
                  <c:v>0.29236668450151598</c:v>
                </c:pt>
                <c:pt idx="16394">
                  <c:v>0.292384519350811</c:v>
                </c:pt>
                <c:pt idx="16395">
                  <c:v>0.29240235420010702</c:v>
                </c:pt>
                <c:pt idx="16396">
                  <c:v>0.29242018904940198</c:v>
                </c:pt>
                <c:pt idx="16397">
                  <c:v>0.292438023898698</c:v>
                </c:pt>
                <c:pt idx="16398">
                  <c:v>0.29245585874799301</c:v>
                </c:pt>
                <c:pt idx="16399">
                  <c:v>0.29247369359728898</c:v>
                </c:pt>
                <c:pt idx="16400">
                  <c:v>0.29249152844658399</c:v>
                </c:pt>
                <c:pt idx="16401">
                  <c:v>0.29250936329588001</c:v>
                </c:pt>
                <c:pt idx="16402">
                  <c:v>0.29252719814517503</c:v>
                </c:pt>
                <c:pt idx="16403">
                  <c:v>0.29254503299447099</c:v>
                </c:pt>
                <c:pt idx="16404">
                  <c:v>0.29256286784376601</c:v>
                </c:pt>
                <c:pt idx="16405">
                  <c:v>0.29258070269306202</c:v>
                </c:pt>
                <c:pt idx="16406">
                  <c:v>0.29259853754235698</c:v>
                </c:pt>
                <c:pt idx="16407">
                  <c:v>0.292616372391653</c:v>
                </c:pt>
                <c:pt idx="16408">
                  <c:v>0.29263420724094802</c:v>
                </c:pt>
                <c:pt idx="16409">
                  <c:v>0.29265204209024398</c:v>
                </c:pt>
                <c:pt idx="16410">
                  <c:v>0.292669876939539</c:v>
                </c:pt>
                <c:pt idx="16411">
                  <c:v>0.29268771178883501</c:v>
                </c:pt>
                <c:pt idx="16412">
                  <c:v>0.29270554663812998</c:v>
                </c:pt>
                <c:pt idx="16413">
                  <c:v>0.29272338148742599</c:v>
                </c:pt>
                <c:pt idx="16414">
                  <c:v>0.29274121633672101</c:v>
                </c:pt>
                <c:pt idx="16415">
                  <c:v>0.29275905118601703</c:v>
                </c:pt>
                <c:pt idx="16416">
                  <c:v>0.29277688603531299</c:v>
                </c:pt>
                <c:pt idx="16417">
                  <c:v>0.29279472088460801</c:v>
                </c:pt>
                <c:pt idx="16418">
                  <c:v>0.29281255573390402</c:v>
                </c:pt>
                <c:pt idx="16419">
                  <c:v>0.29283039058319899</c:v>
                </c:pt>
                <c:pt idx="16420">
                  <c:v>0.292848225432495</c:v>
                </c:pt>
                <c:pt idx="16421">
                  <c:v>0.29286606028179002</c:v>
                </c:pt>
                <c:pt idx="16422">
                  <c:v>0.29288389513108598</c:v>
                </c:pt>
                <c:pt idx="16423">
                  <c:v>0.292901729980381</c:v>
                </c:pt>
                <c:pt idx="16424">
                  <c:v>0.29291956482967701</c:v>
                </c:pt>
                <c:pt idx="16425">
                  <c:v>0.29293739967897198</c:v>
                </c:pt>
                <c:pt idx="16426">
                  <c:v>0.29295523452826799</c:v>
                </c:pt>
                <c:pt idx="16427">
                  <c:v>0.29297306937756301</c:v>
                </c:pt>
                <c:pt idx="16428">
                  <c:v>0.29299090422685897</c:v>
                </c:pt>
                <c:pt idx="16429">
                  <c:v>0.29300873907615399</c:v>
                </c:pt>
                <c:pt idx="16430">
                  <c:v>0.29302657392545001</c:v>
                </c:pt>
                <c:pt idx="16431">
                  <c:v>0.29304440877474502</c:v>
                </c:pt>
                <c:pt idx="16432">
                  <c:v>0.29306224362404099</c:v>
                </c:pt>
                <c:pt idx="16433">
                  <c:v>0.293080078473336</c:v>
                </c:pt>
                <c:pt idx="16434">
                  <c:v>0.29309791332263202</c:v>
                </c:pt>
                <c:pt idx="16435">
                  <c:v>0.29311574817192698</c:v>
                </c:pt>
                <c:pt idx="16436">
                  <c:v>0.293133583021223</c:v>
                </c:pt>
                <c:pt idx="16437">
                  <c:v>0.29315141787051902</c:v>
                </c:pt>
                <c:pt idx="16438">
                  <c:v>0.29316925271981398</c:v>
                </c:pt>
                <c:pt idx="16439">
                  <c:v>0.29318708756910999</c:v>
                </c:pt>
                <c:pt idx="16440">
                  <c:v>0.29320492241840501</c:v>
                </c:pt>
                <c:pt idx="16441">
                  <c:v>0.29322275726770097</c:v>
                </c:pt>
                <c:pt idx="16442">
                  <c:v>0.29324059211699599</c:v>
                </c:pt>
                <c:pt idx="16443">
                  <c:v>0.29325842696629201</c:v>
                </c:pt>
                <c:pt idx="16444">
                  <c:v>0.29327626181558702</c:v>
                </c:pt>
                <c:pt idx="16445">
                  <c:v>0.29329409666488299</c:v>
                </c:pt>
                <c:pt idx="16446">
                  <c:v>0.293311931514178</c:v>
                </c:pt>
                <c:pt idx="16447">
                  <c:v>0.29332976636347402</c:v>
                </c:pt>
                <c:pt idx="16448">
                  <c:v>0.29334760121276898</c:v>
                </c:pt>
                <c:pt idx="16449">
                  <c:v>0.293365436062065</c:v>
                </c:pt>
                <c:pt idx="16450">
                  <c:v>0.29338327091136002</c:v>
                </c:pt>
                <c:pt idx="16451">
                  <c:v>0.29340110576065598</c:v>
                </c:pt>
                <c:pt idx="16452">
                  <c:v>0.293418940609951</c:v>
                </c:pt>
                <c:pt idx="16453">
                  <c:v>0.29343677545924701</c:v>
                </c:pt>
                <c:pt idx="16454">
                  <c:v>0.29345461030854197</c:v>
                </c:pt>
                <c:pt idx="16455">
                  <c:v>0.29347244515783799</c:v>
                </c:pt>
                <c:pt idx="16456">
                  <c:v>0.29349028000713301</c:v>
                </c:pt>
                <c:pt idx="16457">
                  <c:v>0.29350811485642903</c:v>
                </c:pt>
                <c:pt idx="16458">
                  <c:v>0.29352594970572499</c:v>
                </c:pt>
                <c:pt idx="16459">
                  <c:v>0.29354378455502</c:v>
                </c:pt>
                <c:pt idx="16460">
                  <c:v>0.29356161940431602</c:v>
                </c:pt>
                <c:pt idx="16461">
                  <c:v>0.29357945425361098</c:v>
                </c:pt>
                <c:pt idx="16462">
                  <c:v>0.293597289102907</c:v>
                </c:pt>
                <c:pt idx="16463">
                  <c:v>0.29361512395220202</c:v>
                </c:pt>
                <c:pt idx="16464">
                  <c:v>0.29363295880149798</c:v>
                </c:pt>
                <c:pt idx="16465">
                  <c:v>0.293650793650793</c:v>
                </c:pt>
                <c:pt idx="16466">
                  <c:v>0.29366862850008901</c:v>
                </c:pt>
                <c:pt idx="16467">
                  <c:v>0.29368646334938397</c:v>
                </c:pt>
                <c:pt idx="16468">
                  <c:v>0.29370429819867999</c:v>
                </c:pt>
                <c:pt idx="16469">
                  <c:v>0.29372213304797501</c:v>
                </c:pt>
                <c:pt idx="16470">
                  <c:v>0.29373996789727103</c:v>
                </c:pt>
                <c:pt idx="16471">
                  <c:v>0.29375780274656599</c:v>
                </c:pt>
                <c:pt idx="16472">
                  <c:v>0.293775637595862</c:v>
                </c:pt>
                <c:pt idx="16473">
                  <c:v>0.29379347244515702</c:v>
                </c:pt>
                <c:pt idx="16474">
                  <c:v>0.29381130729445298</c:v>
                </c:pt>
                <c:pt idx="16475">
                  <c:v>0.293829142143748</c:v>
                </c:pt>
                <c:pt idx="16476">
                  <c:v>0.29384697699304402</c:v>
                </c:pt>
                <c:pt idx="16477">
                  <c:v>0.29386481184233898</c:v>
                </c:pt>
                <c:pt idx="16478">
                  <c:v>0.293882646691635</c:v>
                </c:pt>
                <c:pt idx="16479">
                  <c:v>0.29390048154093001</c:v>
                </c:pt>
                <c:pt idx="16480">
                  <c:v>0.29391831639022598</c:v>
                </c:pt>
                <c:pt idx="16481">
                  <c:v>0.29393615123952199</c:v>
                </c:pt>
                <c:pt idx="16482">
                  <c:v>0.29395398608881701</c:v>
                </c:pt>
                <c:pt idx="16483">
                  <c:v>0.29397182093811303</c:v>
                </c:pt>
                <c:pt idx="16484">
                  <c:v>0.29398965578740799</c:v>
                </c:pt>
                <c:pt idx="16485">
                  <c:v>0.29400749063670401</c:v>
                </c:pt>
                <c:pt idx="16486">
                  <c:v>0.29402532548599902</c:v>
                </c:pt>
                <c:pt idx="16487">
                  <c:v>0.29404316033529498</c:v>
                </c:pt>
                <c:pt idx="16488">
                  <c:v>0.29406099518459</c:v>
                </c:pt>
                <c:pt idx="16489">
                  <c:v>0.29407883003388602</c:v>
                </c:pt>
                <c:pt idx="16490">
                  <c:v>0.29409666488318098</c:v>
                </c:pt>
                <c:pt idx="16491">
                  <c:v>0.294114499732477</c:v>
                </c:pt>
                <c:pt idx="16492">
                  <c:v>0.29413233458177201</c:v>
                </c:pt>
                <c:pt idx="16493">
                  <c:v>0.29415016943106798</c:v>
                </c:pt>
                <c:pt idx="16494">
                  <c:v>0.29416800428036299</c:v>
                </c:pt>
                <c:pt idx="16495">
                  <c:v>0.29418583912965901</c:v>
                </c:pt>
                <c:pt idx="16496">
                  <c:v>0.29420367397895397</c:v>
                </c:pt>
                <c:pt idx="16497">
                  <c:v>0.29422150882824999</c:v>
                </c:pt>
                <c:pt idx="16498">
                  <c:v>0.29423934367754501</c:v>
                </c:pt>
                <c:pt idx="16499">
                  <c:v>0.29425717852684102</c:v>
                </c:pt>
                <c:pt idx="16500">
                  <c:v>0.29427501337613698</c:v>
                </c:pt>
                <c:pt idx="16501">
                  <c:v>0.294292848225432</c:v>
                </c:pt>
                <c:pt idx="16502">
                  <c:v>0.29431068307472802</c:v>
                </c:pt>
                <c:pt idx="16503">
                  <c:v>0.29432851792402298</c:v>
                </c:pt>
                <c:pt idx="16504">
                  <c:v>0.294346352773319</c:v>
                </c:pt>
                <c:pt idx="16505">
                  <c:v>0.29436418762261402</c:v>
                </c:pt>
                <c:pt idx="16506">
                  <c:v>0.29438202247190998</c:v>
                </c:pt>
                <c:pt idx="16507">
                  <c:v>0.29439985732120499</c:v>
                </c:pt>
                <c:pt idx="16508">
                  <c:v>0.29441769217050101</c:v>
                </c:pt>
                <c:pt idx="16509">
                  <c:v>0.29443552701979597</c:v>
                </c:pt>
                <c:pt idx="16510">
                  <c:v>0.29445336186909199</c:v>
                </c:pt>
                <c:pt idx="16511">
                  <c:v>0.29447119671838701</c:v>
                </c:pt>
                <c:pt idx="16512">
                  <c:v>0.29448903156768302</c:v>
                </c:pt>
                <c:pt idx="16513">
                  <c:v>0.29450686641697799</c:v>
                </c:pt>
                <c:pt idx="16514">
                  <c:v>0.294524701266274</c:v>
                </c:pt>
                <c:pt idx="16515">
                  <c:v>0.29454253611556902</c:v>
                </c:pt>
                <c:pt idx="16516">
                  <c:v>0.29456037096486498</c:v>
                </c:pt>
                <c:pt idx="16517">
                  <c:v>0.29457820581416</c:v>
                </c:pt>
                <c:pt idx="16518">
                  <c:v>0.29459604066345602</c:v>
                </c:pt>
                <c:pt idx="16519">
                  <c:v>0.29461387551275098</c:v>
                </c:pt>
                <c:pt idx="16520">
                  <c:v>0.29463171036204699</c:v>
                </c:pt>
                <c:pt idx="16521">
                  <c:v>0.29464954521134201</c:v>
                </c:pt>
                <c:pt idx="16522">
                  <c:v>0.29466738006063797</c:v>
                </c:pt>
                <c:pt idx="16523">
                  <c:v>0.29468521490993399</c:v>
                </c:pt>
                <c:pt idx="16524">
                  <c:v>0.29470304975922901</c:v>
                </c:pt>
                <c:pt idx="16525">
                  <c:v>0.29472088460852502</c:v>
                </c:pt>
                <c:pt idx="16526">
                  <c:v>0.29473871945781999</c:v>
                </c:pt>
                <c:pt idx="16527">
                  <c:v>0.294756554307116</c:v>
                </c:pt>
                <c:pt idx="16528">
                  <c:v>0.29477438915641102</c:v>
                </c:pt>
                <c:pt idx="16529">
                  <c:v>0.29479222400570698</c:v>
                </c:pt>
                <c:pt idx="16530">
                  <c:v>0.294810058855002</c:v>
                </c:pt>
                <c:pt idx="16531">
                  <c:v>0.29482789370429802</c:v>
                </c:pt>
                <c:pt idx="16532">
                  <c:v>0.29484572855359298</c:v>
                </c:pt>
                <c:pt idx="16533">
                  <c:v>0.294863563402889</c:v>
                </c:pt>
                <c:pt idx="16534">
                  <c:v>0.29488139825218401</c:v>
                </c:pt>
                <c:pt idx="16535">
                  <c:v>0.29489923310147997</c:v>
                </c:pt>
                <c:pt idx="16536">
                  <c:v>0.29491706795077499</c:v>
                </c:pt>
                <c:pt idx="16537">
                  <c:v>0.29493490280007101</c:v>
                </c:pt>
                <c:pt idx="16538">
                  <c:v>0.29495273764936603</c:v>
                </c:pt>
                <c:pt idx="16539">
                  <c:v>0.29497057249866199</c:v>
                </c:pt>
                <c:pt idx="16540">
                  <c:v>0.294988407347957</c:v>
                </c:pt>
                <c:pt idx="16541">
                  <c:v>0.29500624219725302</c:v>
                </c:pt>
                <c:pt idx="16542">
                  <c:v>0.29502407704654898</c:v>
                </c:pt>
                <c:pt idx="16543">
                  <c:v>0.295041911895844</c:v>
                </c:pt>
                <c:pt idx="16544">
                  <c:v>0.29505974674514002</c:v>
                </c:pt>
                <c:pt idx="16545">
                  <c:v>0.29507758159443498</c:v>
                </c:pt>
                <c:pt idx="16546">
                  <c:v>0.295095416443731</c:v>
                </c:pt>
                <c:pt idx="16547">
                  <c:v>0.29511325129302601</c:v>
                </c:pt>
                <c:pt idx="16548">
                  <c:v>0.29513108614232197</c:v>
                </c:pt>
                <c:pt idx="16549">
                  <c:v>0.29514892099161699</c:v>
                </c:pt>
                <c:pt idx="16550">
                  <c:v>0.29516675584091301</c:v>
                </c:pt>
                <c:pt idx="16551">
                  <c:v>0.29518459069020803</c:v>
                </c:pt>
                <c:pt idx="16552">
                  <c:v>0.29520242553950399</c:v>
                </c:pt>
                <c:pt idx="16553">
                  <c:v>0.29522026038879901</c:v>
                </c:pt>
                <c:pt idx="16554">
                  <c:v>0.29523809523809502</c:v>
                </c:pt>
                <c:pt idx="16555">
                  <c:v>0.29525593008738998</c:v>
                </c:pt>
                <c:pt idx="16556">
                  <c:v>0.295273764936686</c:v>
                </c:pt>
                <c:pt idx="16557">
                  <c:v>0.29529159978598102</c:v>
                </c:pt>
                <c:pt idx="16558">
                  <c:v>0.29530943463527698</c:v>
                </c:pt>
                <c:pt idx="16559">
                  <c:v>0.295327269484572</c:v>
                </c:pt>
                <c:pt idx="16560">
                  <c:v>0.29534510433386801</c:v>
                </c:pt>
                <c:pt idx="16561">
                  <c:v>0.29536293918316298</c:v>
                </c:pt>
                <c:pt idx="16562">
                  <c:v>0.29538077403245899</c:v>
                </c:pt>
                <c:pt idx="16563">
                  <c:v>0.29539860888175401</c:v>
                </c:pt>
                <c:pt idx="16564">
                  <c:v>0.29541644373105003</c:v>
                </c:pt>
                <c:pt idx="16565">
                  <c:v>0.29543427858034599</c:v>
                </c:pt>
                <c:pt idx="16566">
                  <c:v>0.29545211342964101</c:v>
                </c:pt>
                <c:pt idx="16567">
                  <c:v>0.29546994827893702</c:v>
                </c:pt>
                <c:pt idx="16568">
                  <c:v>0.29548778312823198</c:v>
                </c:pt>
                <c:pt idx="16569">
                  <c:v>0.295505617977528</c:v>
                </c:pt>
                <c:pt idx="16570">
                  <c:v>0.29552345282682302</c:v>
                </c:pt>
                <c:pt idx="16571">
                  <c:v>0.29554128767611898</c:v>
                </c:pt>
                <c:pt idx="16572">
                  <c:v>0.295559122525414</c:v>
                </c:pt>
                <c:pt idx="16573">
                  <c:v>0.29557695737471001</c:v>
                </c:pt>
                <c:pt idx="16574">
                  <c:v>0.29559479222400498</c:v>
                </c:pt>
                <c:pt idx="16575">
                  <c:v>0.29561262707330099</c:v>
                </c:pt>
                <c:pt idx="16576">
                  <c:v>0.29563046192259601</c:v>
                </c:pt>
                <c:pt idx="16577">
                  <c:v>0.29564829677189203</c:v>
                </c:pt>
                <c:pt idx="16578">
                  <c:v>0.29566613162118699</c:v>
                </c:pt>
                <c:pt idx="16579">
                  <c:v>0.29568396647048301</c:v>
                </c:pt>
                <c:pt idx="16580">
                  <c:v>0.29570180131977802</c:v>
                </c:pt>
                <c:pt idx="16581">
                  <c:v>0.29571963616907398</c:v>
                </c:pt>
                <c:pt idx="16582">
                  <c:v>0.295737471018369</c:v>
                </c:pt>
                <c:pt idx="16583">
                  <c:v>0.29575530586766502</c:v>
                </c:pt>
                <c:pt idx="16584">
                  <c:v>0.29577314071695998</c:v>
                </c:pt>
                <c:pt idx="16585">
                  <c:v>0.295790975566256</c:v>
                </c:pt>
                <c:pt idx="16586">
                  <c:v>0.29580881041555201</c:v>
                </c:pt>
                <c:pt idx="16587">
                  <c:v>0.29582664526484698</c:v>
                </c:pt>
                <c:pt idx="16588">
                  <c:v>0.29584448011414299</c:v>
                </c:pt>
                <c:pt idx="16589">
                  <c:v>0.29586231496343801</c:v>
                </c:pt>
                <c:pt idx="16590">
                  <c:v>0.29588014981273397</c:v>
                </c:pt>
                <c:pt idx="16591">
                  <c:v>0.29589798466202899</c:v>
                </c:pt>
                <c:pt idx="16592">
                  <c:v>0.29591581951132501</c:v>
                </c:pt>
                <c:pt idx="16593">
                  <c:v>0.29593365436062002</c:v>
                </c:pt>
                <c:pt idx="16594">
                  <c:v>0.29595148920991599</c:v>
                </c:pt>
                <c:pt idx="16595">
                  <c:v>0.295969324059211</c:v>
                </c:pt>
                <c:pt idx="16596">
                  <c:v>0.29598715890850702</c:v>
                </c:pt>
                <c:pt idx="16597">
                  <c:v>0.29600499375780198</c:v>
                </c:pt>
                <c:pt idx="16598">
                  <c:v>0.296022828607098</c:v>
                </c:pt>
                <c:pt idx="16599">
                  <c:v>0.29604066345639302</c:v>
                </c:pt>
                <c:pt idx="16600">
                  <c:v>0.29605849830568898</c:v>
                </c:pt>
                <c:pt idx="16601">
                  <c:v>0.29607633315498399</c:v>
                </c:pt>
                <c:pt idx="16602">
                  <c:v>0.29609416800428001</c:v>
                </c:pt>
                <c:pt idx="16603">
                  <c:v>0.29611200285357497</c:v>
                </c:pt>
                <c:pt idx="16604">
                  <c:v>0.29612983770287099</c:v>
                </c:pt>
                <c:pt idx="16605">
                  <c:v>0.29614767255216601</c:v>
                </c:pt>
                <c:pt idx="16606">
                  <c:v>0.29616550740146202</c:v>
                </c:pt>
                <c:pt idx="16607">
                  <c:v>0.29618334225075799</c:v>
                </c:pt>
                <c:pt idx="16608">
                  <c:v>0.296201177100053</c:v>
                </c:pt>
                <c:pt idx="16609">
                  <c:v>0.29621901194934902</c:v>
                </c:pt>
                <c:pt idx="16610">
                  <c:v>0.29623684679864398</c:v>
                </c:pt>
                <c:pt idx="16611">
                  <c:v>0.29625468164794</c:v>
                </c:pt>
                <c:pt idx="16612">
                  <c:v>0.29627251649723502</c:v>
                </c:pt>
                <c:pt idx="16613">
                  <c:v>0.29629035134653098</c:v>
                </c:pt>
                <c:pt idx="16614">
                  <c:v>0.296308186195826</c:v>
                </c:pt>
                <c:pt idx="16615">
                  <c:v>0.29632602104512201</c:v>
                </c:pt>
                <c:pt idx="16616">
                  <c:v>0.29634385589441697</c:v>
                </c:pt>
                <c:pt idx="16617">
                  <c:v>0.29636169074371299</c:v>
                </c:pt>
                <c:pt idx="16618">
                  <c:v>0.29637952559300801</c:v>
                </c:pt>
                <c:pt idx="16619">
                  <c:v>0.29639736044230403</c:v>
                </c:pt>
                <c:pt idx="16620">
                  <c:v>0.29641519529159899</c:v>
                </c:pt>
                <c:pt idx="16621">
                  <c:v>0.296433030140895</c:v>
                </c:pt>
                <c:pt idx="16622">
                  <c:v>0.29645086499019002</c:v>
                </c:pt>
                <c:pt idx="16623">
                  <c:v>0.29646869983948598</c:v>
                </c:pt>
                <c:pt idx="16624">
                  <c:v>0.296486534688781</c:v>
                </c:pt>
                <c:pt idx="16625">
                  <c:v>0.29650436953807702</c:v>
                </c:pt>
                <c:pt idx="16626">
                  <c:v>0.29652220438737198</c:v>
                </c:pt>
                <c:pt idx="16627">
                  <c:v>0.296540039236668</c:v>
                </c:pt>
                <c:pt idx="16628">
                  <c:v>0.29655787408596301</c:v>
                </c:pt>
                <c:pt idx="16629">
                  <c:v>0.29657570893525897</c:v>
                </c:pt>
                <c:pt idx="16630">
                  <c:v>0.29659354378455499</c:v>
                </c:pt>
                <c:pt idx="16631">
                  <c:v>0.29661137863385001</c:v>
                </c:pt>
                <c:pt idx="16632">
                  <c:v>0.29662921348314603</c:v>
                </c:pt>
                <c:pt idx="16633">
                  <c:v>0.29664704833244099</c:v>
                </c:pt>
                <c:pt idx="16634">
                  <c:v>0.296664883181737</c:v>
                </c:pt>
                <c:pt idx="16635">
                  <c:v>0.29668271803103202</c:v>
                </c:pt>
                <c:pt idx="16636">
                  <c:v>0.29670055288032798</c:v>
                </c:pt>
                <c:pt idx="16637">
                  <c:v>0.296718387729623</c:v>
                </c:pt>
                <c:pt idx="16638">
                  <c:v>0.29673622257891902</c:v>
                </c:pt>
                <c:pt idx="16639">
                  <c:v>0.29675405742821398</c:v>
                </c:pt>
                <c:pt idx="16640">
                  <c:v>0.29677189227751</c:v>
                </c:pt>
                <c:pt idx="16641">
                  <c:v>0.29678972712680501</c:v>
                </c:pt>
                <c:pt idx="16642">
                  <c:v>0.29680756197610098</c:v>
                </c:pt>
                <c:pt idx="16643">
                  <c:v>0.29682539682539599</c:v>
                </c:pt>
                <c:pt idx="16644">
                  <c:v>0.29684323167469201</c:v>
                </c:pt>
                <c:pt idx="16645">
                  <c:v>0.29686106652398703</c:v>
                </c:pt>
                <c:pt idx="16646">
                  <c:v>0.29687890137328299</c:v>
                </c:pt>
                <c:pt idx="16647">
                  <c:v>0.29689673622257801</c:v>
                </c:pt>
                <c:pt idx="16648">
                  <c:v>0.29691457107187402</c:v>
                </c:pt>
                <c:pt idx="16649">
                  <c:v>0.29693240592116998</c:v>
                </c:pt>
                <c:pt idx="16650">
                  <c:v>0.296950240770465</c:v>
                </c:pt>
                <c:pt idx="16651">
                  <c:v>0.29696807561976102</c:v>
                </c:pt>
                <c:pt idx="16652">
                  <c:v>0.29698591046905598</c:v>
                </c:pt>
                <c:pt idx="16653">
                  <c:v>0.297003745318352</c:v>
                </c:pt>
                <c:pt idx="16654">
                  <c:v>0.29702158016764701</c:v>
                </c:pt>
                <c:pt idx="16655">
                  <c:v>0.29703941501694298</c:v>
                </c:pt>
                <c:pt idx="16656">
                  <c:v>0.29705724986623799</c:v>
                </c:pt>
                <c:pt idx="16657">
                  <c:v>0.29707508471553401</c:v>
                </c:pt>
                <c:pt idx="16658">
                  <c:v>0.29709291956482897</c:v>
                </c:pt>
                <c:pt idx="16659">
                  <c:v>0.29711075441412499</c:v>
                </c:pt>
                <c:pt idx="16660">
                  <c:v>0.29712858926342001</c:v>
                </c:pt>
                <c:pt idx="16661">
                  <c:v>0.29714642411271602</c:v>
                </c:pt>
                <c:pt idx="16662">
                  <c:v>0.29716425896201099</c:v>
                </c:pt>
                <c:pt idx="16663">
                  <c:v>0.297182093811307</c:v>
                </c:pt>
                <c:pt idx="16664">
                  <c:v>0.29719992866060202</c:v>
                </c:pt>
                <c:pt idx="16665">
                  <c:v>0.29721776350989798</c:v>
                </c:pt>
                <c:pt idx="16666">
                  <c:v>0.297235598359193</c:v>
                </c:pt>
                <c:pt idx="16667">
                  <c:v>0.29725343320848902</c:v>
                </c:pt>
                <c:pt idx="16668">
                  <c:v>0.29727126805778398</c:v>
                </c:pt>
                <c:pt idx="16669">
                  <c:v>0.29728910290707999</c:v>
                </c:pt>
                <c:pt idx="16670">
                  <c:v>0.29730693775637501</c:v>
                </c:pt>
                <c:pt idx="16671">
                  <c:v>0.29732477260567097</c:v>
                </c:pt>
                <c:pt idx="16672">
                  <c:v>0.29734260745496699</c:v>
                </c:pt>
                <c:pt idx="16673">
                  <c:v>0.29736044230426201</c:v>
                </c:pt>
                <c:pt idx="16674">
                  <c:v>0.29737827715355802</c:v>
                </c:pt>
                <c:pt idx="16675">
                  <c:v>0.29739611200285299</c:v>
                </c:pt>
                <c:pt idx="16676">
                  <c:v>0.297413946852149</c:v>
                </c:pt>
                <c:pt idx="16677">
                  <c:v>0.29743178170144402</c:v>
                </c:pt>
                <c:pt idx="16678">
                  <c:v>0.29744961655073998</c:v>
                </c:pt>
                <c:pt idx="16679">
                  <c:v>0.297467451400035</c:v>
                </c:pt>
                <c:pt idx="16680">
                  <c:v>0.29748528624933102</c:v>
                </c:pt>
                <c:pt idx="16681">
                  <c:v>0.29750312109862598</c:v>
                </c:pt>
                <c:pt idx="16682">
                  <c:v>0.29752095594792199</c:v>
                </c:pt>
                <c:pt idx="16683">
                  <c:v>0.29753879079721701</c:v>
                </c:pt>
                <c:pt idx="16684">
                  <c:v>0.29755662564651297</c:v>
                </c:pt>
                <c:pt idx="16685">
                  <c:v>0.29757446049580799</c:v>
                </c:pt>
                <c:pt idx="16686">
                  <c:v>0.29759229534510401</c:v>
                </c:pt>
                <c:pt idx="16687">
                  <c:v>0.29761013019439903</c:v>
                </c:pt>
                <c:pt idx="16688">
                  <c:v>0.29762796504369499</c:v>
                </c:pt>
                <c:pt idx="16689">
                  <c:v>0.29764579989299</c:v>
                </c:pt>
                <c:pt idx="16690">
                  <c:v>0.29766363474228602</c:v>
                </c:pt>
                <c:pt idx="16691">
                  <c:v>0.29768146959158098</c:v>
                </c:pt>
                <c:pt idx="16692">
                  <c:v>0.297699304440877</c:v>
                </c:pt>
                <c:pt idx="16693">
                  <c:v>0.29771713929017302</c:v>
                </c:pt>
                <c:pt idx="16694">
                  <c:v>0.29773497413946798</c:v>
                </c:pt>
                <c:pt idx="16695">
                  <c:v>0.297752808988764</c:v>
                </c:pt>
                <c:pt idx="16696">
                  <c:v>0.29777064383805901</c:v>
                </c:pt>
                <c:pt idx="16697">
                  <c:v>0.29778847868735497</c:v>
                </c:pt>
                <c:pt idx="16698">
                  <c:v>0.29780631353664999</c:v>
                </c:pt>
                <c:pt idx="16699">
                  <c:v>0.29782414838594601</c:v>
                </c:pt>
                <c:pt idx="16700">
                  <c:v>0.29784198323524103</c:v>
                </c:pt>
                <c:pt idx="16701">
                  <c:v>0.29785981808453699</c:v>
                </c:pt>
                <c:pt idx="16702">
                  <c:v>0.297877652933832</c:v>
                </c:pt>
                <c:pt idx="16703">
                  <c:v>0.29789548778312802</c:v>
                </c:pt>
                <c:pt idx="16704">
                  <c:v>0.29791332263242298</c:v>
                </c:pt>
                <c:pt idx="16705">
                  <c:v>0.297931157481719</c:v>
                </c:pt>
                <c:pt idx="16706">
                  <c:v>0.29794899233101402</c:v>
                </c:pt>
                <c:pt idx="16707">
                  <c:v>0.29796682718030998</c:v>
                </c:pt>
                <c:pt idx="16708">
                  <c:v>0.297984662029605</c:v>
                </c:pt>
                <c:pt idx="16709">
                  <c:v>0.29800249687890101</c:v>
                </c:pt>
                <c:pt idx="16710">
                  <c:v>0.29802033172819598</c:v>
                </c:pt>
                <c:pt idx="16711">
                  <c:v>0.29803816657749199</c:v>
                </c:pt>
                <c:pt idx="16712">
                  <c:v>0.29805600142678701</c:v>
                </c:pt>
                <c:pt idx="16713">
                  <c:v>0.29807383627608303</c:v>
                </c:pt>
                <c:pt idx="16714">
                  <c:v>0.29809167112537899</c:v>
                </c:pt>
                <c:pt idx="16715">
                  <c:v>0.29810950597467401</c:v>
                </c:pt>
                <c:pt idx="16716">
                  <c:v>0.29812734082397002</c:v>
                </c:pt>
                <c:pt idx="16717">
                  <c:v>0.29814517567326498</c:v>
                </c:pt>
                <c:pt idx="16718">
                  <c:v>0.298163010522561</c:v>
                </c:pt>
                <c:pt idx="16719">
                  <c:v>0.29818084537185602</c:v>
                </c:pt>
                <c:pt idx="16720">
                  <c:v>0.29819868022115198</c:v>
                </c:pt>
                <c:pt idx="16721">
                  <c:v>0.298216515070447</c:v>
                </c:pt>
                <c:pt idx="16722">
                  <c:v>0.29823434991974301</c:v>
                </c:pt>
                <c:pt idx="16723">
                  <c:v>0.29825218476903798</c:v>
                </c:pt>
                <c:pt idx="16724">
                  <c:v>0.29827001961833399</c:v>
                </c:pt>
                <c:pt idx="16725">
                  <c:v>0.29828785446762901</c:v>
                </c:pt>
                <c:pt idx="16726">
                  <c:v>0.29830568931692503</c:v>
                </c:pt>
                <c:pt idx="16727">
                  <c:v>0.29832352416621999</c:v>
                </c:pt>
                <c:pt idx="16728">
                  <c:v>0.29834135901551601</c:v>
                </c:pt>
                <c:pt idx="16729">
                  <c:v>0.29835919386481102</c:v>
                </c:pt>
                <c:pt idx="16730">
                  <c:v>0.29837702871410698</c:v>
                </c:pt>
                <c:pt idx="16731">
                  <c:v>0.298394863563402</c:v>
                </c:pt>
                <c:pt idx="16732">
                  <c:v>0.29841269841269802</c:v>
                </c:pt>
                <c:pt idx="16733">
                  <c:v>0.29843053326199298</c:v>
                </c:pt>
                <c:pt idx="16734">
                  <c:v>0.298448368111289</c:v>
                </c:pt>
                <c:pt idx="16735">
                  <c:v>0.29846620296058402</c:v>
                </c:pt>
                <c:pt idx="16736">
                  <c:v>0.29848403780987998</c:v>
                </c:pt>
                <c:pt idx="16737">
                  <c:v>0.29850187265917599</c:v>
                </c:pt>
                <c:pt idx="16738">
                  <c:v>0.29851970750847101</c:v>
                </c:pt>
                <c:pt idx="16739">
                  <c:v>0.29853754235776703</c:v>
                </c:pt>
                <c:pt idx="16740">
                  <c:v>0.29855537720706199</c:v>
                </c:pt>
                <c:pt idx="16741">
                  <c:v>0.29857321205635801</c:v>
                </c:pt>
                <c:pt idx="16742">
                  <c:v>0.29859104690565302</c:v>
                </c:pt>
                <c:pt idx="16743">
                  <c:v>0.29860888175494898</c:v>
                </c:pt>
                <c:pt idx="16744">
                  <c:v>0.298626716604244</c:v>
                </c:pt>
                <c:pt idx="16745">
                  <c:v>0.29864455145354002</c:v>
                </c:pt>
                <c:pt idx="16746">
                  <c:v>0.29866238630283498</c:v>
                </c:pt>
                <c:pt idx="16747">
                  <c:v>0.298680221152131</c:v>
                </c:pt>
                <c:pt idx="16748">
                  <c:v>0.29869805600142602</c:v>
                </c:pt>
                <c:pt idx="16749">
                  <c:v>0.29871589085072198</c:v>
                </c:pt>
                <c:pt idx="16750">
                  <c:v>0.29873372570001699</c:v>
                </c:pt>
                <c:pt idx="16751">
                  <c:v>0.29875156054931301</c:v>
                </c:pt>
                <c:pt idx="16752">
                  <c:v>0.29876939539860797</c:v>
                </c:pt>
                <c:pt idx="16753">
                  <c:v>0.29878723024790399</c:v>
                </c:pt>
                <c:pt idx="16754">
                  <c:v>0.29880506509719901</c:v>
                </c:pt>
                <c:pt idx="16755">
                  <c:v>0.29882289994649502</c:v>
                </c:pt>
                <c:pt idx="16756">
                  <c:v>0.29884073479579099</c:v>
                </c:pt>
                <c:pt idx="16757">
                  <c:v>0.298858569645086</c:v>
                </c:pt>
                <c:pt idx="16758">
                  <c:v>0.29887640449438202</c:v>
                </c:pt>
                <c:pt idx="16759">
                  <c:v>0.29889423934367698</c:v>
                </c:pt>
                <c:pt idx="16760">
                  <c:v>0.298912074192973</c:v>
                </c:pt>
                <c:pt idx="16761">
                  <c:v>0.29892990904226802</c:v>
                </c:pt>
                <c:pt idx="16762">
                  <c:v>0.29894774389156398</c:v>
                </c:pt>
                <c:pt idx="16763">
                  <c:v>0.29896557874085899</c:v>
                </c:pt>
                <c:pt idx="16764">
                  <c:v>0.29898341359015501</c:v>
                </c:pt>
                <c:pt idx="16765">
                  <c:v>0.29900124843944997</c:v>
                </c:pt>
                <c:pt idx="16766">
                  <c:v>0.29901908328874599</c:v>
                </c:pt>
                <c:pt idx="16767">
                  <c:v>0.29903691813804101</c:v>
                </c:pt>
                <c:pt idx="16768">
                  <c:v>0.29905475298733702</c:v>
                </c:pt>
                <c:pt idx="16769">
                  <c:v>0.29907258783663199</c:v>
                </c:pt>
                <c:pt idx="16770">
                  <c:v>0.299090422685928</c:v>
                </c:pt>
                <c:pt idx="16771">
                  <c:v>0.29910825753522302</c:v>
                </c:pt>
                <c:pt idx="16772">
                  <c:v>0.29912609238451898</c:v>
                </c:pt>
                <c:pt idx="16773">
                  <c:v>0.299143927233814</c:v>
                </c:pt>
                <c:pt idx="16774">
                  <c:v>0.29916176208311002</c:v>
                </c:pt>
                <c:pt idx="16775">
                  <c:v>0.29917959693240498</c:v>
                </c:pt>
                <c:pt idx="16776">
                  <c:v>0.299197431781701</c:v>
                </c:pt>
                <c:pt idx="16777">
                  <c:v>0.29921526663099601</c:v>
                </c:pt>
                <c:pt idx="16778">
                  <c:v>0.29923310148029197</c:v>
                </c:pt>
                <c:pt idx="16779">
                  <c:v>0.29925093632958799</c:v>
                </c:pt>
                <c:pt idx="16780">
                  <c:v>0.29926877117888301</c:v>
                </c:pt>
                <c:pt idx="16781">
                  <c:v>0.29928660602817903</c:v>
                </c:pt>
                <c:pt idx="16782">
                  <c:v>0.29930444087747399</c:v>
                </c:pt>
                <c:pt idx="16783">
                  <c:v>0.29932227572677</c:v>
                </c:pt>
                <c:pt idx="16784">
                  <c:v>0.29934011057606502</c:v>
                </c:pt>
                <c:pt idx="16785">
                  <c:v>0.29935794542536098</c:v>
                </c:pt>
                <c:pt idx="16786">
                  <c:v>0.299375780274656</c:v>
                </c:pt>
                <c:pt idx="16787">
                  <c:v>0.29939361512395202</c:v>
                </c:pt>
                <c:pt idx="16788">
                  <c:v>0.29941144997324698</c:v>
                </c:pt>
                <c:pt idx="16789">
                  <c:v>0.299429284822543</c:v>
                </c:pt>
                <c:pt idx="16790">
                  <c:v>0.29944711967183801</c:v>
                </c:pt>
                <c:pt idx="16791">
                  <c:v>0.29946495452113397</c:v>
                </c:pt>
                <c:pt idx="16792">
                  <c:v>0.29948278937042899</c:v>
                </c:pt>
                <c:pt idx="16793">
                  <c:v>0.29950062421972501</c:v>
                </c:pt>
                <c:pt idx="16794">
                  <c:v>0.29951845906902003</c:v>
                </c:pt>
                <c:pt idx="16795">
                  <c:v>0.29953629391831599</c:v>
                </c:pt>
                <c:pt idx="16796">
                  <c:v>0.29955412876761101</c:v>
                </c:pt>
                <c:pt idx="16797">
                  <c:v>0.29957196361690702</c:v>
                </c:pt>
                <c:pt idx="16798">
                  <c:v>0.29958979846620298</c:v>
                </c:pt>
                <c:pt idx="16799">
                  <c:v>0.299607633315498</c:v>
                </c:pt>
                <c:pt idx="16800">
                  <c:v>0.29962546816479402</c:v>
                </c:pt>
                <c:pt idx="16801">
                  <c:v>0.29964330301408898</c:v>
                </c:pt>
                <c:pt idx="16802">
                  <c:v>0.299661137863385</c:v>
                </c:pt>
                <c:pt idx="16803">
                  <c:v>0.29967897271268001</c:v>
                </c:pt>
                <c:pt idx="16804">
                  <c:v>0.29969680756197598</c:v>
                </c:pt>
                <c:pt idx="16805">
                  <c:v>0.29971464241127099</c:v>
                </c:pt>
                <c:pt idx="16806">
                  <c:v>0.29973247726056701</c:v>
                </c:pt>
                <c:pt idx="16807">
                  <c:v>0.29975031210986203</c:v>
                </c:pt>
                <c:pt idx="16808">
                  <c:v>0.29976814695915799</c:v>
                </c:pt>
                <c:pt idx="16809">
                  <c:v>0.29978598180845301</c:v>
                </c:pt>
                <c:pt idx="16810">
                  <c:v>0.29980381665774902</c:v>
                </c:pt>
                <c:pt idx="16811">
                  <c:v>0.29982165150704398</c:v>
                </c:pt>
                <c:pt idx="16812">
                  <c:v>0.29983948635634</c:v>
                </c:pt>
                <c:pt idx="16813">
                  <c:v>0.29985732120563502</c:v>
                </c:pt>
                <c:pt idx="16814">
                  <c:v>0.29987515605493098</c:v>
                </c:pt>
                <c:pt idx="16815">
                  <c:v>0.299892990904226</c:v>
                </c:pt>
                <c:pt idx="16816">
                  <c:v>0.29991082575352201</c:v>
                </c:pt>
                <c:pt idx="16817">
                  <c:v>0.29992866060281698</c:v>
                </c:pt>
                <c:pt idx="16818">
                  <c:v>0.29994649545211299</c:v>
                </c:pt>
                <c:pt idx="16819">
                  <c:v>0.29996433030140801</c:v>
                </c:pt>
                <c:pt idx="16820">
                  <c:v>0.29998216515070403</c:v>
                </c:pt>
                <c:pt idx="16821">
                  <c:v>0.3</c:v>
                </c:pt>
                <c:pt idx="16822">
                  <c:v>0.30001783484929501</c:v>
                </c:pt>
                <c:pt idx="16823">
                  <c:v>0.30003566969859102</c:v>
                </c:pt>
                <c:pt idx="16824">
                  <c:v>0.30005350454788599</c:v>
                </c:pt>
                <c:pt idx="16825">
                  <c:v>0.300071339397182</c:v>
                </c:pt>
                <c:pt idx="16826">
                  <c:v>0.30008917424647702</c:v>
                </c:pt>
                <c:pt idx="16827">
                  <c:v>0.30010700909577298</c:v>
                </c:pt>
                <c:pt idx="16828">
                  <c:v>0.300124843945068</c:v>
                </c:pt>
                <c:pt idx="16829">
                  <c:v>0.30014267879436402</c:v>
                </c:pt>
                <c:pt idx="16830">
                  <c:v>0.30016051364365898</c:v>
                </c:pt>
                <c:pt idx="16831">
                  <c:v>0.30017834849295499</c:v>
                </c:pt>
                <c:pt idx="16832">
                  <c:v>0.30019618334225001</c:v>
                </c:pt>
                <c:pt idx="16833">
                  <c:v>0.30021401819154597</c:v>
                </c:pt>
                <c:pt idx="16834">
                  <c:v>0.30023185304084099</c:v>
                </c:pt>
                <c:pt idx="16835">
                  <c:v>0.30024968789013701</c:v>
                </c:pt>
                <c:pt idx="16836">
                  <c:v>0.30026752273943202</c:v>
                </c:pt>
                <c:pt idx="16837">
                  <c:v>0.30028535758872799</c:v>
                </c:pt>
                <c:pt idx="16838">
                  <c:v>0.300303192438023</c:v>
                </c:pt>
                <c:pt idx="16839">
                  <c:v>0.30032102728731902</c:v>
                </c:pt>
                <c:pt idx="16840">
                  <c:v>0.30033886213661398</c:v>
                </c:pt>
                <c:pt idx="16841">
                  <c:v>0.30035669698591</c:v>
                </c:pt>
                <c:pt idx="16842">
                  <c:v>0.30037453183520602</c:v>
                </c:pt>
                <c:pt idx="16843">
                  <c:v>0.30039236668450098</c:v>
                </c:pt>
                <c:pt idx="16844">
                  <c:v>0.30041020153379699</c:v>
                </c:pt>
                <c:pt idx="16845">
                  <c:v>0.30042803638309201</c:v>
                </c:pt>
                <c:pt idx="16846">
                  <c:v>0.30044587123238797</c:v>
                </c:pt>
                <c:pt idx="16847">
                  <c:v>0.30046370608168299</c:v>
                </c:pt>
                <c:pt idx="16848">
                  <c:v>0.30048154093097901</c:v>
                </c:pt>
                <c:pt idx="16849">
                  <c:v>0.30049937578027403</c:v>
                </c:pt>
                <c:pt idx="16850">
                  <c:v>0.30051721062956999</c:v>
                </c:pt>
                <c:pt idx="16851">
                  <c:v>0.300535045478865</c:v>
                </c:pt>
                <c:pt idx="16852">
                  <c:v>0.30055288032816102</c:v>
                </c:pt>
                <c:pt idx="16853">
                  <c:v>0.30057071517745598</c:v>
                </c:pt>
                <c:pt idx="16854">
                  <c:v>0.300588550026752</c:v>
                </c:pt>
                <c:pt idx="16855">
                  <c:v>0.30060638487604702</c:v>
                </c:pt>
                <c:pt idx="16856">
                  <c:v>0.30062421972534298</c:v>
                </c:pt>
                <c:pt idx="16857">
                  <c:v>0.300642054574638</c:v>
                </c:pt>
                <c:pt idx="16858">
                  <c:v>0.30065988942393401</c:v>
                </c:pt>
                <c:pt idx="16859">
                  <c:v>0.30067772427322897</c:v>
                </c:pt>
                <c:pt idx="16860">
                  <c:v>0.30069555912252499</c:v>
                </c:pt>
                <c:pt idx="16861">
                  <c:v>0.30071339397182001</c:v>
                </c:pt>
                <c:pt idx="16862">
                  <c:v>0.30073122882111603</c:v>
                </c:pt>
                <c:pt idx="16863">
                  <c:v>0.30074906367041199</c:v>
                </c:pt>
                <c:pt idx="16864">
                  <c:v>0.300766898519707</c:v>
                </c:pt>
                <c:pt idx="16865">
                  <c:v>0.30078473336900302</c:v>
                </c:pt>
                <c:pt idx="16866">
                  <c:v>0.30080256821829798</c:v>
                </c:pt>
                <c:pt idx="16867">
                  <c:v>0.300820403067594</c:v>
                </c:pt>
                <c:pt idx="16868">
                  <c:v>0.30083823791688902</c:v>
                </c:pt>
                <c:pt idx="16869">
                  <c:v>0.30085607276618498</c:v>
                </c:pt>
                <c:pt idx="16870">
                  <c:v>0.30087390761548</c:v>
                </c:pt>
                <c:pt idx="16871">
                  <c:v>0.30089174246477601</c:v>
                </c:pt>
                <c:pt idx="16872">
                  <c:v>0.30090957731407098</c:v>
                </c:pt>
                <c:pt idx="16873">
                  <c:v>0.30092741216336699</c:v>
                </c:pt>
                <c:pt idx="16874">
                  <c:v>0.30094524701266201</c:v>
                </c:pt>
                <c:pt idx="16875">
                  <c:v>0.30096308186195803</c:v>
                </c:pt>
                <c:pt idx="16876">
                  <c:v>0.30098091671125299</c:v>
                </c:pt>
                <c:pt idx="16877">
                  <c:v>0.300998751560549</c:v>
                </c:pt>
                <c:pt idx="16878">
                  <c:v>0.30101658640984402</c:v>
                </c:pt>
                <c:pt idx="16879">
                  <c:v>0.30103442125913998</c:v>
                </c:pt>
                <c:pt idx="16880">
                  <c:v>0.301052256108435</c:v>
                </c:pt>
                <c:pt idx="16881">
                  <c:v>0.30107009095773102</c:v>
                </c:pt>
                <c:pt idx="16882">
                  <c:v>0.30108792580702598</c:v>
                </c:pt>
                <c:pt idx="16883">
                  <c:v>0.301105760656322</c:v>
                </c:pt>
                <c:pt idx="16884">
                  <c:v>0.30112359550561701</c:v>
                </c:pt>
                <c:pt idx="16885">
                  <c:v>0.30114143035491298</c:v>
                </c:pt>
                <c:pt idx="16886">
                  <c:v>0.30115926520420899</c:v>
                </c:pt>
                <c:pt idx="16887">
                  <c:v>0.30117710005350401</c:v>
                </c:pt>
                <c:pt idx="16888">
                  <c:v>0.30119493490280003</c:v>
                </c:pt>
                <c:pt idx="16889">
                  <c:v>0.30121276975209499</c:v>
                </c:pt>
                <c:pt idx="16890">
                  <c:v>0.30123060460139101</c:v>
                </c:pt>
                <c:pt idx="16891">
                  <c:v>0.30124843945068602</c:v>
                </c:pt>
                <c:pt idx="16892">
                  <c:v>0.30126627429998198</c:v>
                </c:pt>
                <c:pt idx="16893">
                  <c:v>0.301284109149277</c:v>
                </c:pt>
                <c:pt idx="16894">
                  <c:v>0.30130194399857302</c:v>
                </c:pt>
                <c:pt idx="16895">
                  <c:v>0.30131977884786798</c:v>
                </c:pt>
                <c:pt idx="16896">
                  <c:v>0.301337613697164</c:v>
                </c:pt>
                <c:pt idx="16897">
                  <c:v>0.30135544854645901</c:v>
                </c:pt>
                <c:pt idx="16898">
                  <c:v>0.30137328339575498</c:v>
                </c:pt>
                <c:pt idx="16899">
                  <c:v>0.30139111824504999</c:v>
                </c:pt>
                <c:pt idx="16900">
                  <c:v>0.30140895309434601</c:v>
                </c:pt>
                <c:pt idx="16901">
                  <c:v>0.30142678794364097</c:v>
                </c:pt>
                <c:pt idx="16902">
                  <c:v>0.30144462279293699</c:v>
                </c:pt>
                <c:pt idx="16903">
                  <c:v>0.30146245764223201</c:v>
                </c:pt>
                <c:pt idx="16904">
                  <c:v>0.30148029249152802</c:v>
                </c:pt>
                <c:pt idx="16905">
                  <c:v>0.30149812734082398</c:v>
                </c:pt>
                <c:pt idx="16906">
                  <c:v>0.301515962190119</c:v>
                </c:pt>
                <c:pt idx="16907">
                  <c:v>0.30153379703941502</c:v>
                </c:pt>
                <c:pt idx="16908">
                  <c:v>0.30155163188870998</c:v>
                </c:pt>
                <c:pt idx="16909">
                  <c:v>0.301569466738006</c:v>
                </c:pt>
                <c:pt idx="16910">
                  <c:v>0.30158730158730102</c:v>
                </c:pt>
                <c:pt idx="16911">
                  <c:v>0.30160513643659698</c:v>
                </c:pt>
                <c:pt idx="16912">
                  <c:v>0.30162297128589199</c:v>
                </c:pt>
                <c:pt idx="16913">
                  <c:v>0.30164080613518801</c:v>
                </c:pt>
                <c:pt idx="16914">
                  <c:v>0.30165864098448297</c:v>
                </c:pt>
                <c:pt idx="16915">
                  <c:v>0.30167647583377899</c:v>
                </c:pt>
                <c:pt idx="16916">
                  <c:v>0.30169431068307401</c:v>
                </c:pt>
                <c:pt idx="16917">
                  <c:v>0.30171214553237002</c:v>
                </c:pt>
                <c:pt idx="16918">
                  <c:v>0.30172998038166499</c:v>
                </c:pt>
                <c:pt idx="16919">
                  <c:v>0.301747815230961</c:v>
                </c:pt>
                <c:pt idx="16920">
                  <c:v>0.30176565008025602</c:v>
                </c:pt>
                <c:pt idx="16921">
                  <c:v>0.30178348492955198</c:v>
                </c:pt>
                <c:pt idx="16922">
                  <c:v>0.301801319778847</c:v>
                </c:pt>
                <c:pt idx="16923">
                  <c:v>0.30181915462814302</c:v>
                </c:pt>
                <c:pt idx="16924">
                  <c:v>0.30183698947743798</c:v>
                </c:pt>
                <c:pt idx="16925">
                  <c:v>0.30185482432673399</c:v>
                </c:pt>
                <c:pt idx="16926">
                  <c:v>0.30187265917602901</c:v>
                </c:pt>
                <c:pt idx="16927">
                  <c:v>0.30189049402532497</c:v>
                </c:pt>
                <c:pt idx="16928">
                  <c:v>0.30190832887462099</c:v>
                </c:pt>
                <c:pt idx="16929">
                  <c:v>0.30192616372391601</c:v>
                </c:pt>
                <c:pt idx="16930">
                  <c:v>0.30194399857321202</c:v>
                </c:pt>
                <c:pt idx="16931">
                  <c:v>0.30196183342250699</c:v>
                </c:pt>
                <c:pt idx="16932">
                  <c:v>0.301979668271803</c:v>
                </c:pt>
                <c:pt idx="16933">
                  <c:v>0.30199750312109802</c:v>
                </c:pt>
                <c:pt idx="16934">
                  <c:v>0.30201533797039398</c:v>
                </c:pt>
                <c:pt idx="16935">
                  <c:v>0.302033172819689</c:v>
                </c:pt>
                <c:pt idx="16936">
                  <c:v>0.30205100766898502</c:v>
                </c:pt>
                <c:pt idx="16937">
                  <c:v>0.30206884251827998</c:v>
                </c:pt>
                <c:pt idx="16938">
                  <c:v>0.302086677367576</c:v>
                </c:pt>
                <c:pt idx="16939">
                  <c:v>0.30210451221687101</c:v>
                </c:pt>
                <c:pt idx="16940">
                  <c:v>0.30212234706616697</c:v>
                </c:pt>
                <c:pt idx="16941">
                  <c:v>0.30214018191546199</c:v>
                </c:pt>
                <c:pt idx="16942">
                  <c:v>0.30215801676475801</c:v>
                </c:pt>
                <c:pt idx="16943">
                  <c:v>0.30217585161405303</c:v>
                </c:pt>
                <c:pt idx="16944">
                  <c:v>0.30219368646334899</c:v>
                </c:pt>
                <c:pt idx="16945">
                  <c:v>0.302211521312644</c:v>
                </c:pt>
                <c:pt idx="16946">
                  <c:v>0.30222935616194002</c:v>
                </c:pt>
                <c:pt idx="16947">
                  <c:v>0.30224719101123598</c:v>
                </c:pt>
                <c:pt idx="16948">
                  <c:v>0.302265025860531</c:v>
                </c:pt>
                <c:pt idx="16949">
                  <c:v>0.30228286070982702</c:v>
                </c:pt>
                <c:pt idx="16950">
                  <c:v>0.30230069555912198</c:v>
                </c:pt>
                <c:pt idx="16951">
                  <c:v>0.302318530408418</c:v>
                </c:pt>
                <c:pt idx="16952">
                  <c:v>0.30233636525771301</c:v>
                </c:pt>
                <c:pt idx="16953">
                  <c:v>0.30235420010700897</c:v>
                </c:pt>
                <c:pt idx="16954">
                  <c:v>0.30237203495630399</c:v>
                </c:pt>
                <c:pt idx="16955">
                  <c:v>0.30238986980560001</c:v>
                </c:pt>
                <c:pt idx="16956">
                  <c:v>0.30240770465489503</c:v>
                </c:pt>
                <c:pt idx="16957">
                  <c:v>0.30242553950419099</c:v>
                </c:pt>
                <c:pt idx="16958">
                  <c:v>0.30244337435348601</c:v>
                </c:pt>
                <c:pt idx="16959">
                  <c:v>0.30246120920278202</c:v>
                </c:pt>
                <c:pt idx="16960">
                  <c:v>0.30247904405207698</c:v>
                </c:pt>
                <c:pt idx="16961">
                  <c:v>0.302496878901373</c:v>
                </c:pt>
                <c:pt idx="16962">
                  <c:v>0.30251471375066802</c:v>
                </c:pt>
                <c:pt idx="16963">
                  <c:v>0.30253254859996398</c:v>
                </c:pt>
                <c:pt idx="16964">
                  <c:v>0.302550383449259</c:v>
                </c:pt>
                <c:pt idx="16965">
                  <c:v>0.30256821829855501</c:v>
                </c:pt>
                <c:pt idx="16966">
                  <c:v>0.30258605314784998</c:v>
                </c:pt>
                <c:pt idx="16967">
                  <c:v>0.30260388799714599</c:v>
                </c:pt>
                <c:pt idx="16968">
                  <c:v>0.30262172284644101</c:v>
                </c:pt>
                <c:pt idx="16969">
                  <c:v>0.30263955769573703</c:v>
                </c:pt>
                <c:pt idx="16970">
                  <c:v>0.30265739254503299</c:v>
                </c:pt>
                <c:pt idx="16971">
                  <c:v>0.30267522739432801</c:v>
                </c:pt>
                <c:pt idx="16972">
                  <c:v>0.30269306224362402</c:v>
                </c:pt>
                <c:pt idx="16973">
                  <c:v>0.30271089709291898</c:v>
                </c:pt>
                <c:pt idx="16974">
                  <c:v>0.302728731942215</c:v>
                </c:pt>
                <c:pt idx="16975">
                  <c:v>0.30274656679151002</c:v>
                </c:pt>
                <c:pt idx="16976">
                  <c:v>0.30276440164080598</c:v>
                </c:pt>
                <c:pt idx="16977">
                  <c:v>0.302782236490101</c:v>
                </c:pt>
                <c:pt idx="16978">
                  <c:v>0.30280007133939701</c:v>
                </c:pt>
                <c:pt idx="16979">
                  <c:v>0.30281790618869198</c:v>
                </c:pt>
                <c:pt idx="16980">
                  <c:v>0.30283574103798799</c:v>
                </c:pt>
                <c:pt idx="16981">
                  <c:v>0.30285357588728301</c:v>
                </c:pt>
                <c:pt idx="16982">
                  <c:v>0.30287141073657903</c:v>
                </c:pt>
                <c:pt idx="16983">
                  <c:v>0.30288924558587399</c:v>
                </c:pt>
                <c:pt idx="16984">
                  <c:v>0.30290708043517001</c:v>
                </c:pt>
                <c:pt idx="16985">
                  <c:v>0.30292491528446502</c:v>
                </c:pt>
                <c:pt idx="16986">
                  <c:v>0.30294275013376099</c:v>
                </c:pt>
                <c:pt idx="16987">
                  <c:v>0.302960584983056</c:v>
                </c:pt>
                <c:pt idx="16988">
                  <c:v>0.30297841983235202</c:v>
                </c:pt>
                <c:pt idx="16989">
                  <c:v>0.30299625468164698</c:v>
                </c:pt>
                <c:pt idx="16990">
                  <c:v>0.303014089530943</c:v>
                </c:pt>
                <c:pt idx="16991">
                  <c:v>0.30303192438023802</c:v>
                </c:pt>
                <c:pt idx="16992">
                  <c:v>0.30304975922953398</c:v>
                </c:pt>
                <c:pt idx="16993">
                  <c:v>0.30306759407882999</c:v>
                </c:pt>
                <c:pt idx="16994">
                  <c:v>0.30308542892812501</c:v>
                </c:pt>
                <c:pt idx="16995">
                  <c:v>0.30310326377742097</c:v>
                </c:pt>
                <c:pt idx="16996">
                  <c:v>0.30312109862671599</c:v>
                </c:pt>
                <c:pt idx="16997">
                  <c:v>0.30313893347601201</c:v>
                </c:pt>
                <c:pt idx="16998">
                  <c:v>0.30315676832530702</c:v>
                </c:pt>
                <c:pt idx="16999">
                  <c:v>0.30317460317460299</c:v>
                </c:pt>
                <c:pt idx="17000">
                  <c:v>0.303192438023898</c:v>
                </c:pt>
                <c:pt idx="17001">
                  <c:v>0.30321027287319402</c:v>
                </c:pt>
                <c:pt idx="17002">
                  <c:v>0.30322810772248898</c:v>
                </c:pt>
                <c:pt idx="17003">
                  <c:v>0.303245942571785</c:v>
                </c:pt>
                <c:pt idx="17004">
                  <c:v>0.30326377742108002</c:v>
                </c:pt>
                <c:pt idx="17005">
                  <c:v>0.30328161227037598</c:v>
                </c:pt>
                <c:pt idx="17006">
                  <c:v>0.303299447119671</c:v>
                </c:pt>
                <c:pt idx="17007">
                  <c:v>0.30331728196896701</c:v>
                </c:pt>
                <c:pt idx="17008">
                  <c:v>0.30333511681826197</c:v>
                </c:pt>
                <c:pt idx="17009">
                  <c:v>0.30335295166755799</c:v>
                </c:pt>
                <c:pt idx="17010">
                  <c:v>0.30337078651685301</c:v>
                </c:pt>
                <c:pt idx="17011">
                  <c:v>0.30338862136614902</c:v>
                </c:pt>
                <c:pt idx="17012">
                  <c:v>0.30340645621544499</c:v>
                </c:pt>
                <c:pt idx="17013">
                  <c:v>0.30342429106474</c:v>
                </c:pt>
                <c:pt idx="17014">
                  <c:v>0.30344212591403602</c:v>
                </c:pt>
                <c:pt idx="17015">
                  <c:v>0.30345996076333098</c:v>
                </c:pt>
                <c:pt idx="17016">
                  <c:v>0.303477795612627</c:v>
                </c:pt>
                <c:pt idx="17017">
                  <c:v>0.30349563046192202</c:v>
                </c:pt>
                <c:pt idx="17018">
                  <c:v>0.30351346531121798</c:v>
                </c:pt>
                <c:pt idx="17019">
                  <c:v>0.303531300160513</c:v>
                </c:pt>
                <c:pt idx="17020">
                  <c:v>0.30354913500980901</c:v>
                </c:pt>
                <c:pt idx="17021">
                  <c:v>0.30356696985910397</c:v>
                </c:pt>
                <c:pt idx="17022">
                  <c:v>0.30358480470839999</c:v>
                </c:pt>
                <c:pt idx="17023">
                  <c:v>0.30360263955769501</c:v>
                </c:pt>
                <c:pt idx="17024">
                  <c:v>0.30362047440699103</c:v>
                </c:pt>
                <c:pt idx="17025">
                  <c:v>0.30363830925628599</c:v>
                </c:pt>
                <c:pt idx="17026">
                  <c:v>0.303656144105582</c:v>
                </c:pt>
                <c:pt idx="17027">
                  <c:v>0.30367397895487702</c:v>
                </c:pt>
                <c:pt idx="17028">
                  <c:v>0.30369181380417298</c:v>
                </c:pt>
                <c:pt idx="17029">
                  <c:v>0.303709648653468</c:v>
                </c:pt>
                <c:pt idx="17030">
                  <c:v>0.30372748350276402</c:v>
                </c:pt>
                <c:pt idx="17031">
                  <c:v>0.30374531835205898</c:v>
                </c:pt>
                <c:pt idx="17032">
                  <c:v>0.303763153201355</c:v>
                </c:pt>
                <c:pt idx="17033">
                  <c:v>0.30378098805065001</c:v>
                </c:pt>
                <c:pt idx="17034">
                  <c:v>0.30379882289994597</c:v>
                </c:pt>
                <c:pt idx="17035">
                  <c:v>0.30381665774924199</c:v>
                </c:pt>
                <c:pt idx="17036">
                  <c:v>0.30383449259853701</c:v>
                </c:pt>
                <c:pt idx="17037">
                  <c:v>0.30385232744783303</c:v>
                </c:pt>
                <c:pt idx="17038">
                  <c:v>0.30387016229712799</c:v>
                </c:pt>
                <c:pt idx="17039">
                  <c:v>0.303887997146424</c:v>
                </c:pt>
                <c:pt idx="17040">
                  <c:v>0.30390583199571902</c:v>
                </c:pt>
                <c:pt idx="17041">
                  <c:v>0.30392366684501498</c:v>
                </c:pt>
                <c:pt idx="17042">
                  <c:v>0.30394150169431</c:v>
                </c:pt>
                <c:pt idx="17043">
                  <c:v>0.30395933654360602</c:v>
                </c:pt>
                <c:pt idx="17044">
                  <c:v>0.30397717139290098</c:v>
                </c:pt>
                <c:pt idx="17045">
                  <c:v>0.303995006242197</c:v>
                </c:pt>
                <c:pt idx="17046">
                  <c:v>0.30401284109149201</c:v>
                </c:pt>
                <c:pt idx="17047">
                  <c:v>0.30403067594078798</c:v>
                </c:pt>
                <c:pt idx="17048">
                  <c:v>0.30404851079008299</c:v>
                </c:pt>
                <c:pt idx="17049">
                  <c:v>0.30406634563937901</c:v>
                </c:pt>
                <c:pt idx="17050">
                  <c:v>0.30408418048867403</c:v>
                </c:pt>
                <c:pt idx="17051">
                  <c:v>0.30410201533796999</c:v>
                </c:pt>
                <c:pt idx="17052">
                  <c:v>0.30411985018726501</c:v>
                </c:pt>
                <c:pt idx="17053">
                  <c:v>0.30413768503656102</c:v>
                </c:pt>
                <c:pt idx="17054">
                  <c:v>0.30415551988585698</c:v>
                </c:pt>
                <c:pt idx="17055">
                  <c:v>0.304173354735152</c:v>
                </c:pt>
                <c:pt idx="17056">
                  <c:v>0.30419118958444802</c:v>
                </c:pt>
                <c:pt idx="17057">
                  <c:v>0.30420902443374298</c:v>
                </c:pt>
                <c:pt idx="17058">
                  <c:v>0.304226859283039</c:v>
                </c:pt>
                <c:pt idx="17059">
                  <c:v>0.30424469413233401</c:v>
                </c:pt>
                <c:pt idx="17060">
                  <c:v>0.30426252898162998</c:v>
                </c:pt>
                <c:pt idx="17061">
                  <c:v>0.30428036383092499</c:v>
                </c:pt>
                <c:pt idx="17062">
                  <c:v>0.30429819868022101</c:v>
                </c:pt>
                <c:pt idx="17063">
                  <c:v>0.30431603352951597</c:v>
                </c:pt>
                <c:pt idx="17064">
                  <c:v>0.30433386837881199</c:v>
                </c:pt>
                <c:pt idx="17065">
                  <c:v>0.30435170322810701</c:v>
                </c:pt>
                <c:pt idx="17066">
                  <c:v>0.30436953807740302</c:v>
                </c:pt>
                <c:pt idx="17067">
                  <c:v>0.30438737292669799</c:v>
                </c:pt>
                <c:pt idx="17068">
                  <c:v>0.304405207775994</c:v>
                </c:pt>
                <c:pt idx="17069">
                  <c:v>0.30442304262528902</c:v>
                </c:pt>
                <c:pt idx="17070">
                  <c:v>0.30444087747458498</c:v>
                </c:pt>
                <c:pt idx="17071">
                  <c:v>0.30445871232388</c:v>
                </c:pt>
                <c:pt idx="17072">
                  <c:v>0.30447654717317602</c:v>
                </c:pt>
                <c:pt idx="17073">
                  <c:v>0.30449438202247098</c:v>
                </c:pt>
                <c:pt idx="17074">
                  <c:v>0.30451221687176699</c:v>
                </c:pt>
                <c:pt idx="17075">
                  <c:v>0.30453005172106201</c:v>
                </c:pt>
                <c:pt idx="17076">
                  <c:v>0.30454788657035797</c:v>
                </c:pt>
                <c:pt idx="17077">
                  <c:v>0.30456572141965399</c:v>
                </c:pt>
                <c:pt idx="17078">
                  <c:v>0.30458355626894901</c:v>
                </c:pt>
                <c:pt idx="17079">
                  <c:v>0.30460139111824502</c:v>
                </c:pt>
                <c:pt idx="17080">
                  <c:v>0.30461922596753999</c:v>
                </c:pt>
                <c:pt idx="17081">
                  <c:v>0.304637060816836</c:v>
                </c:pt>
                <c:pt idx="17082">
                  <c:v>0.30465489566613102</c:v>
                </c:pt>
                <c:pt idx="17083">
                  <c:v>0.30467273051542698</c:v>
                </c:pt>
                <c:pt idx="17084">
                  <c:v>0.304690565364722</c:v>
                </c:pt>
                <c:pt idx="17085">
                  <c:v>0.30470840021401802</c:v>
                </c:pt>
                <c:pt idx="17086">
                  <c:v>0.30472623506331298</c:v>
                </c:pt>
                <c:pt idx="17087">
                  <c:v>0.30474406991260899</c:v>
                </c:pt>
                <c:pt idx="17088">
                  <c:v>0.30476190476190401</c:v>
                </c:pt>
                <c:pt idx="17089">
                  <c:v>0.30477973961119997</c:v>
                </c:pt>
                <c:pt idx="17090">
                  <c:v>0.30479757446049499</c:v>
                </c:pt>
                <c:pt idx="17091">
                  <c:v>0.30481540930979101</c:v>
                </c:pt>
                <c:pt idx="17092">
                  <c:v>0.30483324415908603</c:v>
                </c:pt>
                <c:pt idx="17093">
                  <c:v>0.30485107900838199</c:v>
                </c:pt>
                <c:pt idx="17094">
                  <c:v>0.304868913857677</c:v>
                </c:pt>
                <c:pt idx="17095">
                  <c:v>0.30488674870697302</c:v>
                </c:pt>
                <c:pt idx="17096">
                  <c:v>0.30490458355626798</c:v>
                </c:pt>
                <c:pt idx="17097">
                  <c:v>0.304922418405564</c:v>
                </c:pt>
                <c:pt idx="17098">
                  <c:v>0.30494025325486002</c:v>
                </c:pt>
                <c:pt idx="17099">
                  <c:v>0.30495808810415498</c:v>
                </c:pt>
                <c:pt idx="17100">
                  <c:v>0.304975922953451</c:v>
                </c:pt>
                <c:pt idx="17101">
                  <c:v>0.30499375780274601</c:v>
                </c:pt>
                <c:pt idx="17102">
                  <c:v>0.30501159265204197</c:v>
                </c:pt>
                <c:pt idx="17103">
                  <c:v>0.30502942750133699</c:v>
                </c:pt>
                <c:pt idx="17104">
                  <c:v>0.30504726235063301</c:v>
                </c:pt>
                <c:pt idx="17105">
                  <c:v>0.30506509719992803</c:v>
                </c:pt>
                <c:pt idx="17106">
                  <c:v>0.30508293204922399</c:v>
                </c:pt>
                <c:pt idx="17107">
                  <c:v>0.305100766898519</c:v>
                </c:pt>
                <c:pt idx="17108">
                  <c:v>0.30511860174781502</c:v>
                </c:pt>
                <c:pt idx="17109">
                  <c:v>0.30513643659710998</c:v>
                </c:pt>
                <c:pt idx="17110">
                  <c:v>0.305154271446406</c:v>
                </c:pt>
                <c:pt idx="17111">
                  <c:v>0.30517210629570102</c:v>
                </c:pt>
                <c:pt idx="17112">
                  <c:v>0.30518994114499698</c:v>
                </c:pt>
                <c:pt idx="17113">
                  <c:v>0.305207775994292</c:v>
                </c:pt>
                <c:pt idx="17114">
                  <c:v>0.30522561084358801</c:v>
                </c:pt>
                <c:pt idx="17115">
                  <c:v>0.30524344569288298</c:v>
                </c:pt>
                <c:pt idx="17116">
                  <c:v>0.30526128054217899</c:v>
                </c:pt>
                <c:pt idx="17117">
                  <c:v>0.30527911539147401</c:v>
                </c:pt>
                <c:pt idx="17118">
                  <c:v>0.30529695024077003</c:v>
                </c:pt>
                <c:pt idx="17119">
                  <c:v>0.30531478509006599</c:v>
                </c:pt>
                <c:pt idx="17120">
                  <c:v>0.30533261993936101</c:v>
                </c:pt>
                <c:pt idx="17121">
                  <c:v>0.30535045478865702</c:v>
                </c:pt>
                <c:pt idx="17122">
                  <c:v>0.30536828963795198</c:v>
                </c:pt>
                <c:pt idx="17123">
                  <c:v>0.305386124487248</c:v>
                </c:pt>
                <c:pt idx="17124">
                  <c:v>0.30540395933654302</c:v>
                </c:pt>
                <c:pt idx="17125">
                  <c:v>0.30542179418583898</c:v>
                </c:pt>
                <c:pt idx="17126">
                  <c:v>0.305439629035134</c:v>
                </c:pt>
                <c:pt idx="17127">
                  <c:v>0.30545746388443001</c:v>
                </c:pt>
                <c:pt idx="17128">
                  <c:v>0.30547529873372498</c:v>
                </c:pt>
                <c:pt idx="17129">
                  <c:v>0.30549313358302099</c:v>
                </c:pt>
                <c:pt idx="17130">
                  <c:v>0.30551096843231601</c:v>
                </c:pt>
                <c:pt idx="17131">
                  <c:v>0.30552880328161203</c:v>
                </c:pt>
                <c:pt idx="17132">
                  <c:v>0.30554663813090699</c:v>
                </c:pt>
                <c:pt idx="17133">
                  <c:v>0.30556447298020301</c:v>
                </c:pt>
                <c:pt idx="17134">
                  <c:v>0.30558230782949802</c:v>
                </c:pt>
                <c:pt idx="17135">
                  <c:v>0.30560014267879398</c:v>
                </c:pt>
                <c:pt idx="17136">
                  <c:v>0.305617977528089</c:v>
                </c:pt>
                <c:pt idx="17137">
                  <c:v>0.30563581237738502</c:v>
                </c:pt>
                <c:pt idx="17138">
                  <c:v>0.30565364722667998</c:v>
                </c:pt>
                <c:pt idx="17139">
                  <c:v>0.305671482075976</c:v>
                </c:pt>
                <c:pt idx="17140">
                  <c:v>0.30568931692527102</c:v>
                </c:pt>
                <c:pt idx="17141">
                  <c:v>0.30570715177456698</c:v>
                </c:pt>
                <c:pt idx="17142">
                  <c:v>0.30572498662386299</c:v>
                </c:pt>
                <c:pt idx="17143">
                  <c:v>0.30574282147315801</c:v>
                </c:pt>
                <c:pt idx="17144">
                  <c:v>0.30576065632245403</c:v>
                </c:pt>
                <c:pt idx="17145">
                  <c:v>0.30577849117174899</c:v>
                </c:pt>
                <c:pt idx="17146">
                  <c:v>0.30579632602104501</c:v>
                </c:pt>
                <c:pt idx="17147">
                  <c:v>0.30581416087034002</c:v>
                </c:pt>
                <c:pt idx="17148">
                  <c:v>0.30583199571963599</c:v>
                </c:pt>
                <c:pt idx="17149">
                  <c:v>0.305849830568931</c:v>
                </c:pt>
                <c:pt idx="17150">
                  <c:v>0.30586766541822702</c:v>
                </c:pt>
                <c:pt idx="17151">
                  <c:v>0.30588550026752198</c:v>
                </c:pt>
                <c:pt idx="17152">
                  <c:v>0.305903335116818</c:v>
                </c:pt>
                <c:pt idx="17153">
                  <c:v>0.30592116996611302</c:v>
                </c:pt>
                <c:pt idx="17154">
                  <c:v>0.30593900481540898</c:v>
                </c:pt>
                <c:pt idx="17155">
                  <c:v>0.30595683966470399</c:v>
                </c:pt>
                <c:pt idx="17156">
                  <c:v>0.30597467451400001</c:v>
                </c:pt>
                <c:pt idx="17157">
                  <c:v>0.30599250936329497</c:v>
                </c:pt>
                <c:pt idx="17158">
                  <c:v>0.30601034421259099</c:v>
                </c:pt>
                <c:pt idx="17159">
                  <c:v>0.30602817906188601</c:v>
                </c:pt>
                <c:pt idx="17160">
                  <c:v>0.30604601391118202</c:v>
                </c:pt>
                <c:pt idx="17161">
                  <c:v>0.30606384876047799</c:v>
                </c:pt>
                <c:pt idx="17162">
                  <c:v>0.306081683609773</c:v>
                </c:pt>
                <c:pt idx="17163">
                  <c:v>0.30609951845906902</c:v>
                </c:pt>
                <c:pt idx="17164">
                  <c:v>0.30611735330836398</c:v>
                </c:pt>
                <c:pt idx="17165">
                  <c:v>0.30613518815766</c:v>
                </c:pt>
                <c:pt idx="17166">
                  <c:v>0.30615302300695502</c:v>
                </c:pt>
                <c:pt idx="17167">
                  <c:v>0.30617085785625098</c:v>
                </c:pt>
                <c:pt idx="17168">
                  <c:v>0.306188692705546</c:v>
                </c:pt>
                <c:pt idx="17169">
                  <c:v>0.30620652755484201</c:v>
                </c:pt>
                <c:pt idx="17170">
                  <c:v>0.30622436240413697</c:v>
                </c:pt>
                <c:pt idx="17171">
                  <c:v>0.30624219725343299</c:v>
                </c:pt>
                <c:pt idx="17172">
                  <c:v>0.30626003210272801</c:v>
                </c:pt>
                <c:pt idx="17173">
                  <c:v>0.30627786695202402</c:v>
                </c:pt>
                <c:pt idx="17174">
                  <c:v>0.30629570180131899</c:v>
                </c:pt>
                <c:pt idx="17175">
                  <c:v>0.306313536650615</c:v>
                </c:pt>
                <c:pt idx="17176">
                  <c:v>0.30633137149991002</c:v>
                </c:pt>
                <c:pt idx="17177">
                  <c:v>0.30634920634920598</c:v>
                </c:pt>
                <c:pt idx="17178">
                  <c:v>0.306367041198501</c:v>
                </c:pt>
                <c:pt idx="17179">
                  <c:v>0.30638487604779702</c:v>
                </c:pt>
                <c:pt idx="17180">
                  <c:v>0.30640271089709198</c:v>
                </c:pt>
                <c:pt idx="17181">
                  <c:v>0.306420545746388</c:v>
                </c:pt>
                <c:pt idx="17182">
                  <c:v>0.30643838059568301</c:v>
                </c:pt>
                <c:pt idx="17183">
                  <c:v>0.30645621544497897</c:v>
                </c:pt>
                <c:pt idx="17184">
                  <c:v>0.30647405029427499</c:v>
                </c:pt>
                <c:pt idx="17185">
                  <c:v>0.30649188514357001</c:v>
                </c:pt>
                <c:pt idx="17186">
                  <c:v>0.30650971999286603</c:v>
                </c:pt>
                <c:pt idx="17187">
                  <c:v>0.30652755484216099</c:v>
                </c:pt>
                <c:pt idx="17188">
                  <c:v>0.306545389691457</c:v>
                </c:pt>
                <c:pt idx="17189">
                  <c:v>0.30656322454075202</c:v>
                </c:pt>
                <c:pt idx="17190">
                  <c:v>0.30658105939004798</c:v>
                </c:pt>
                <c:pt idx="17191">
                  <c:v>0.306598894239343</c:v>
                </c:pt>
                <c:pt idx="17192">
                  <c:v>0.30661672908863902</c:v>
                </c:pt>
                <c:pt idx="17193">
                  <c:v>0.30663456393793398</c:v>
                </c:pt>
                <c:pt idx="17194">
                  <c:v>0.30665239878723</c:v>
                </c:pt>
                <c:pt idx="17195">
                  <c:v>0.30667023363652501</c:v>
                </c:pt>
                <c:pt idx="17196">
                  <c:v>0.30668806848582097</c:v>
                </c:pt>
                <c:pt idx="17197">
                  <c:v>0.30670590333511599</c:v>
                </c:pt>
                <c:pt idx="17198">
                  <c:v>0.30672373818441201</c:v>
                </c:pt>
                <c:pt idx="17199">
                  <c:v>0.30674157303370703</c:v>
                </c:pt>
                <c:pt idx="17200">
                  <c:v>0.30675940788300299</c:v>
                </c:pt>
                <c:pt idx="17201">
                  <c:v>0.30677724273229801</c:v>
                </c:pt>
                <c:pt idx="17202">
                  <c:v>0.30679507758159402</c:v>
                </c:pt>
                <c:pt idx="17203">
                  <c:v>0.30681291243088998</c:v>
                </c:pt>
                <c:pt idx="17204">
                  <c:v>0.306830747280185</c:v>
                </c:pt>
                <c:pt idx="17205">
                  <c:v>0.30684858212948102</c:v>
                </c:pt>
                <c:pt idx="17206">
                  <c:v>0.30686641697877598</c:v>
                </c:pt>
                <c:pt idx="17207">
                  <c:v>0.306884251828072</c:v>
                </c:pt>
                <c:pt idx="17208">
                  <c:v>0.30690208667736701</c:v>
                </c:pt>
                <c:pt idx="17209">
                  <c:v>0.30691992152666298</c:v>
                </c:pt>
                <c:pt idx="17210">
                  <c:v>0.30693775637595799</c:v>
                </c:pt>
                <c:pt idx="17211">
                  <c:v>0.30695559122525401</c:v>
                </c:pt>
                <c:pt idx="17212">
                  <c:v>0.30697342607454903</c:v>
                </c:pt>
                <c:pt idx="17213">
                  <c:v>0.30699126092384499</c:v>
                </c:pt>
                <c:pt idx="17214">
                  <c:v>0.30700909577314001</c:v>
                </c:pt>
                <c:pt idx="17215">
                  <c:v>0.30702693062243602</c:v>
                </c:pt>
                <c:pt idx="17216">
                  <c:v>0.30704476547173098</c:v>
                </c:pt>
                <c:pt idx="17217">
                  <c:v>0.307062600321027</c:v>
                </c:pt>
                <c:pt idx="17218">
                  <c:v>0.30708043517032202</c:v>
                </c:pt>
                <c:pt idx="17219">
                  <c:v>0.30709827001961798</c:v>
                </c:pt>
                <c:pt idx="17220">
                  <c:v>0.307116104868913</c:v>
                </c:pt>
                <c:pt idx="17221">
                  <c:v>0.30713393971820901</c:v>
                </c:pt>
                <c:pt idx="17222">
                  <c:v>0.30715177456750398</c:v>
                </c:pt>
                <c:pt idx="17223">
                  <c:v>0.30716960941679999</c:v>
                </c:pt>
                <c:pt idx="17224">
                  <c:v>0.30718744426609501</c:v>
                </c:pt>
                <c:pt idx="17225">
                  <c:v>0.30720527911539097</c:v>
                </c:pt>
                <c:pt idx="17226">
                  <c:v>0.30722311396468699</c:v>
                </c:pt>
                <c:pt idx="17227">
                  <c:v>0.30724094881398201</c:v>
                </c:pt>
                <c:pt idx="17228">
                  <c:v>0.30725878366327802</c:v>
                </c:pt>
                <c:pt idx="17229">
                  <c:v>0.30727661851257299</c:v>
                </c:pt>
                <c:pt idx="17230">
                  <c:v>0.307294453361869</c:v>
                </c:pt>
                <c:pt idx="17231">
                  <c:v>0.30731228821116402</c:v>
                </c:pt>
                <c:pt idx="17232">
                  <c:v>0.30733012306045998</c:v>
                </c:pt>
                <c:pt idx="17233">
                  <c:v>0.307347957909755</c:v>
                </c:pt>
                <c:pt idx="17234">
                  <c:v>0.30736579275905102</c:v>
                </c:pt>
                <c:pt idx="17235">
                  <c:v>0.30738362760834598</c:v>
                </c:pt>
                <c:pt idx="17236">
                  <c:v>0.30740146245764199</c:v>
                </c:pt>
                <c:pt idx="17237">
                  <c:v>0.30741929730693701</c:v>
                </c:pt>
                <c:pt idx="17238">
                  <c:v>0.30743713215623297</c:v>
                </c:pt>
                <c:pt idx="17239">
                  <c:v>0.30745496700552799</c:v>
                </c:pt>
                <c:pt idx="17240">
                  <c:v>0.30747280185482401</c:v>
                </c:pt>
                <c:pt idx="17241">
                  <c:v>0.30749063670411902</c:v>
                </c:pt>
                <c:pt idx="17242">
                  <c:v>0.30750847155341499</c:v>
                </c:pt>
                <c:pt idx="17243">
                  <c:v>0.30752630640271</c:v>
                </c:pt>
                <c:pt idx="17244">
                  <c:v>0.30754414125200602</c:v>
                </c:pt>
                <c:pt idx="17245">
                  <c:v>0.30756197610130098</c:v>
                </c:pt>
                <c:pt idx="17246">
                  <c:v>0.307579810950597</c:v>
                </c:pt>
                <c:pt idx="17247">
                  <c:v>0.30759764579989302</c:v>
                </c:pt>
                <c:pt idx="17248">
                  <c:v>0.30761548064918798</c:v>
                </c:pt>
                <c:pt idx="17249">
                  <c:v>0.30763331549848399</c:v>
                </c:pt>
                <c:pt idx="17250">
                  <c:v>0.30765115034777901</c:v>
                </c:pt>
                <c:pt idx="17251">
                  <c:v>0.30766898519707497</c:v>
                </c:pt>
                <c:pt idx="17252">
                  <c:v>0.30768682004636999</c:v>
                </c:pt>
                <c:pt idx="17253">
                  <c:v>0.30770465489566601</c:v>
                </c:pt>
                <c:pt idx="17254">
                  <c:v>0.30772248974496103</c:v>
                </c:pt>
                <c:pt idx="17255">
                  <c:v>0.30774032459425699</c:v>
                </c:pt>
                <c:pt idx="17256">
                  <c:v>0.307758159443552</c:v>
                </c:pt>
                <c:pt idx="17257">
                  <c:v>0.30777599429284802</c:v>
                </c:pt>
                <c:pt idx="17258">
                  <c:v>0.30779382914214298</c:v>
                </c:pt>
                <c:pt idx="17259">
                  <c:v>0.307811663991439</c:v>
                </c:pt>
                <c:pt idx="17260">
                  <c:v>0.30782949884073402</c:v>
                </c:pt>
                <c:pt idx="17261">
                  <c:v>0.30784733369002998</c:v>
                </c:pt>
                <c:pt idx="17262">
                  <c:v>0.307865168539325</c:v>
                </c:pt>
                <c:pt idx="17263">
                  <c:v>0.30788300338862101</c:v>
                </c:pt>
                <c:pt idx="17264">
                  <c:v>0.30790083823791597</c:v>
                </c:pt>
                <c:pt idx="17265">
                  <c:v>0.30791867308721199</c:v>
                </c:pt>
                <c:pt idx="17266">
                  <c:v>0.30793650793650701</c:v>
                </c:pt>
                <c:pt idx="17267">
                  <c:v>0.30795434278580303</c:v>
                </c:pt>
                <c:pt idx="17268">
                  <c:v>0.30797217763509899</c:v>
                </c:pt>
                <c:pt idx="17269">
                  <c:v>0.307990012484394</c:v>
                </c:pt>
                <c:pt idx="17270">
                  <c:v>0.30800784733369002</c:v>
                </c:pt>
                <c:pt idx="17271">
                  <c:v>0.30802568218298498</c:v>
                </c:pt>
                <c:pt idx="17272">
                  <c:v>0.308043517032281</c:v>
                </c:pt>
                <c:pt idx="17273">
                  <c:v>0.30806135188157602</c:v>
                </c:pt>
                <c:pt idx="17274">
                  <c:v>0.30807918673087198</c:v>
                </c:pt>
                <c:pt idx="17275">
                  <c:v>0.308097021580167</c:v>
                </c:pt>
                <c:pt idx="17276">
                  <c:v>0.30811485642946301</c:v>
                </c:pt>
                <c:pt idx="17277">
                  <c:v>0.30813269127875798</c:v>
                </c:pt>
                <c:pt idx="17278">
                  <c:v>0.30815052612805399</c:v>
                </c:pt>
                <c:pt idx="17279">
                  <c:v>0.30816836097734901</c:v>
                </c:pt>
                <c:pt idx="17280">
                  <c:v>0.30818619582664503</c:v>
                </c:pt>
                <c:pt idx="17281">
                  <c:v>0.30820403067593999</c:v>
                </c:pt>
                <c:pt idx="17282">
                  <c:v>0.30822186552523601</c:v>
                </c:pt>
                <c:pt idx="17283">
                  <c:v>0.30823970037453102</c:v>
                </c:pt>
                <c:pt idx="17284">
                  <c:v>0.30825753522382698</c:v>
                </c:pt>
                <c:pt idx="17285">
                  <c:v>0.308275370073122</c:v>
                </c:pt>
                <c:pt idx="17286">
                  <c:v>0.30829320492241802</c:v>
                </c:pt>
                <c:pt idx="17287">
                  <c:v>0.30831103977171298</c:v>
                </c:pt>
                <c:pt idx="17288">
                  <c:v>0.308328874621009</c:v>
                </c:pt>
                <c:pt idx="17289">
                  <c:v>0.30834670947030401</c:v>
                </c:pt>
                <c:pt idx="17290">
                  <c:v>0.30836454431959998</c:v>
                </c:pt>
                <c:pt idx="17291">
                  <c:v>0.30838237916889599</c:v>
                </c:pt>
                <c:pt idx="17292">
                  <c:v>0.30840021401819101</c:v>
                </c:pt>
                <c:pt idx="17293">
                  <c:v>0.30841804886748703</c:v>
                </c:pt>
                <c:pt idx="17294">
                  <c:v>0.30843588371678199</c:v>
                </c:pt>
                <c:pt idx="17295">
                  <c:v>0.30845371856607801</c:v>
                </c:pt>
                <c:pt idx="17296">
                  <c:v>0.30847155341537302</c:v>
                </c:pt>
                <c:pt idx="17297">
                  <c:v>0.30848938826466898</c:v>
                </c:pt>
                <c:pt idx="17298">
                  <c:v>0.308507223113964</c:v>
                </c:pt>
                <c:pt idx="17299">
                  <c:v>0.30852505796326002</c:v>
                </c:pt>
                <c:pt idx="17300">
                  <c:v>0.30854289281255498</c:v>
                </c:pt>
                <c:pt idx="17301">
                  <c:v>0.308560727661851</c:v>
                </c:pt>
                <c:pt idx="17302">
                  <c:v>0.30857856251114602</c:v>
                </c:pt>
                <c:pt idx="17303">
                  <c:v>0.30859639736044198</c:v>
                </c:pt>
                <c:pt idx="17304">
                  <c:v>0.30861423220973699</c:v>
                </c:pt>
                <c:pt idx="17305">
                  <c:v>0.30863206705903301</c:v>
                </c:pt>
                <c:pt idx="17306">
                  <c:v>0.30864990190832797</c:v>
                </c:pt>
                <c:pt idx="17307">
                  <c:v>0.30866773675762399</c:v>
                </c:pt>
                <c:pt idx="17308">
                  <c:v>0.30868557160691901</c:v>
                </c:pt>
                <c:pt idx="17309">
                  <c:v>0.30870340645621502</c:v>
                </c:pt>
                <c:pt idx="17310">
                  <c:v>0.30872124130551098</c:v>
                </c:pt>
                <c:pt idx="17311">
                  <c:v>0.308739076154806</c:v>
                </c:pt>
                <c:pt idx="17312">
                  <c:v>0.30875691100410202</c:v>
                </c:pt>
                <c:pt idx="17313">
                  <c:v>0.30877474585339698</c:v>
                </c:pt>
                <c:pt idx="17314">
                  <c:v>0.308792580702693</c:v>
                </c:pt>
                <c:pt idx="17315">
                  <c:v>0.30881041555198802</c:v>
                </c:pt>
                <c:pt idx="17316">
                  <c:v>0.30882825040128398</c:v>
                </c:pt>
                <c:pt idx="17317">
                  <c:v>0.30884608525057899</c:v>
                </c:pt>
                <c:pt idx="17318">
                  <c:v>0.30886392009987501</c:v>
                </c:pt>
                <c:pt idx="17319">
                  <c:v>0.30888175494916997</c:v>
                </c:pt>
                <c:pt idx="17320">
                  <c:v>0.30889958979846599</c:v>
                </c:pt>
                <c:pt idx="17321">
                  <c:v>0.30891742464776101</c:v>
                </c:pt>
                <c:pt idx="17322">
                  <c:v>0.30893525949705702</c:v>
                </c:pt>
                <c:pt idx="17323">
                  <c:v>0.30895309434635199</c:v>
                </c:pt>
                <c:pt idx="17324">
                  <c:v>0.308970929195648</c:v>
                </c:pt>
                <c:pt idx="17325">
                  <c:v>0.30898876404494302</c:v>
                </c:pt>
                <c:pt idx="17326">
                  <c:v>0.30900659889423898</c:v>
                </c:pt>
                <c:pt idx="17327">
                  <c:v>0.309024433743534</c:v>
                </c:pt>
                <c:pt idx="17328">
                  <c:v>0.30904226859283002</c:v>
                </c:pt>
                <c:pt idx="17329">
                  <c:v>0.30906010344212498</c:v>
                </c:pt>
                <c:pt idx="17330">
                  <c:v>0.30907793829142099</c:v>
                </c:pt>
                <c:pt idx="17331">
                  <c:v>0.30909577314071601</c:v>
                </c:pt>
                <c:pt idx="17332">
                  <c:v>0.30911360799001197</c:v>
                </c:pt>
                <c:pt idx="17333">
                  <c:v>0.30913144283930799</c:v>
                </c:pt>
                <c:pt idx="17334">
                  <c:v>0.30914927768860301</c:v>
                </c:pt>
                <c:pt idx="17335">
                  <c:v>0.30916711253789902</c:v>
                </c:pt>
                <c:pt idx="17336">
                  <c:v>0.30918494738719399</c:v>
                </c:pt>
                <c:pt idx="17337">
                  <c:v>0.30920278223649</c:v>
                </c:pt>
                <c:pt idx="17338">
                  <c:v>0.30922061708578502</c:v>
                </c:pt>
                <c:pt idx="17339">
                  <c:v>0.30923845193508098</c:v>
                </c:pt>
                <c:pt idx="17340">
                  <c:v>0.309256286784376</c:v>
                </c:pt>
                <c:pt idx="17341">
                  <c:v>0.30927412163367202</c:v>
                </c:pt>
                <c:pt idx="17342">
                  <c:v>0.30929195648296698</c:v>
                </c:pt>
                <c:pt idx="17343">
                  <c:v>0.309309791332263</c:v>
                </c:pt>
                <c:pt idx="17344">
                  <c:v>0.30932762618155801</c:v>
                </c:pt>
                <c:pt idx="17345">
                  <c:v>0.30934546103085397</c:v>
                </c:pt>
                <c:pt idx="17346">
                  <c:v>0.30936329588014899</c:v>
                </c:pt>
                <c:pt idx="17347">
                  <c:v>0.30938113072944501</c:v>
                </c:pt>
                <c:pt idx="17348">
                  <c:v>0.30939896557874003</c:v>
                </c:pt>
                <c:pt idx="17349">
                  <c:v>0.30941680042803599</c:v>
                </c:pt>
                <c:pt idx="17350">
                  <c:v>0.309434635277331</c:v>
                </c:pt>
                <c:pt idx="17351">
                  <c:v>0.30945247012662702</c:v>
                </c:pt>
                <c:pt idx="17352">
                  <c:v>0.30947030497592198</c:v>
                </c:pt>
                <c:pt idx="17353">
                  <c:v>0.309488139825218</c:v>
                </c:pt>
                <c:pt idx="17354">
                  <c:v>0.30950597467451402</c:v>
                </c:pt>
                <c:pt idx="17355">
                  <c:v>0.30952380952380898</c:v>
                </c:pt>
                <c:pt idx="17356">
                  <c:v>0.309541644373105</c:v>
                </c:pt>
                <c:pt idx="17357">
                  <c:v>0.30955947922240001</c:v>
                </c:pt>
                <c:pt idx="17358">
                  <c:v>0.30957731407169597</c:v>
                </c:pt>
                <c:pt idx="17359">
                  <c:v>0.30959514892099099</c:v>
                </c:pt>
                <c:pt idx="17360">
                  <c:v>0.30961298377028701</c:v>
                </c:pt>
                <c:pt idx="17361">
                  <c:v>0.30963081861958203</c:v>
                </c:pt>
                <c:pt idx="17362">
                  <c:v>0.30964865346887799</c:v>
                </c:pt>
                <c:pt idx="17363">
                  <c:v>0.30966648831817301</c:v>
                </c:pt>
                <c:pt idx="17364">
                  <c:v>0.30968432316746902</c:v>
                </c:pt>
                <c:pt idx="17365">
                  <c:v>0.30970215801676398</c:v>
                </c:pt>
                <c:pt idx="17366">
                  <c:v>0.30971999286606</c:v>
                </c:pt>
                <c:pt idx="17367">
                  <c:v>0.30973782771535502</c:v>
                </c:pt>
                <c:pt idx="17368">
                  <c:v>0.30975566256465098</c:v>
                </c:pt>
                <c:pt idx="17369">
                  <c:v>0.309773497413946</c:v>
                </c:pt>
                <c:pt idx="17370">
                  <c:v>0.30979133226324201</c:v>
                </c:pt>
                <c:pt idx="17371">
                  <c:v>0.30980916711253698</c:v>
                </c:pt>
                <c:pt idx="17372">
                  <c:v>0.30982700196183299</c:v>
                </c:pt>
                <c:pt idx="17373">
                  <c:v>0.30984483681112801</c:v>
                </c:pt>
                <c:pt idx="17374">
                  <c:v>0.30986267166042403</c:v>
                </c:pt>
                <c:pt idx="17375">
                  <c:v>0.30988050650971999</c:v>
                </c:pt>
                <c:pt idx="17376">
                  <c:v>0.30989834135901501</c:v>
                </c:pt>
                <c:pt idx="17377">
                  <c:v>0.30991617620831102</c:v>
                </c:pt>
                <c:pt idx="17378">
                  <c:v>0.30993401105760598</c:v>
                </c:pt>
                <c:pt idx="17379">
                  <c:v>0.309951845906902</c:v>
                </c:pt>
                <c:pt idx="17380">
                  <c:v>0.30996968075619702</c:v>
                </c:pt>
                <c:pt idx="17381">
                  <c:v>0.30998751560549298</c:v>
                </c:pt>
                <c:pt idx="17382">
                  <c:v>0.310005350454788</c:v>
                </c:pt>
                <c:pt idx="17383">
                  <c:v>0.31002318530408401</c:v>
                </c:pt>
                <c:pt idx="17384">
                  <c:v>0.31004102015337898</c:v>
                </c:pt>
                <c:pt idx="17385">
                  <c:v>0.31005885500267499</c:v>
                </c:pt>
                <c:pt idx="17386">
                  <c:v>0.31007668985197001</c:v>
                </c:pt>
                <c:pt idx="17387">
                  <c:v>0.31009452470126597</c:v>
                </c:pt>
                <c:pt idx="17388">
                  <c:v>0.31011235955056099</c:v>
                </c:pt>
                <c:pt idx="17389">
                  <c:v>0.31013019439985701</c:v>
                </c:pt>
                <c:pt idx="17390">
                  <c:v>0.31014802924915202</c:v>
                </c:pt>
                <c:pt idx="17391">
                  <c:v>0.31016586409844799</c:v>
                </c:pt>
                <c:pt idx="17392">
                  <c:v>0.310183698947743</c:v>
                </c:pt>
                <c:pt idx="17393">
                  <c:v>0.31020153379703902</c:v>
                </c:pt>
                <c:pt idx="17394">
                  <c:v>0.31021936864633398</c:v>
                </c:pt>
                <c:pt idx="17395">
                  <c:v>0.31023720349563</c:v>
                </c:pt>
                <c:pt idx="17396">
                  <c:v>0.31025503834492502</c:v>
                </c:pt>
                <c:pt idx="17397">
                  <c:v>0.31027287319422098</c:v>
                </c:pt>
                <c:pt idx="17398">
                  <c:v>0.31029070804351699</c:v>
                </c:pt>
                <c:pt idx="17399">
                  <c:v>0.31030854289281201</c:v>
                </c:pt>
                <c:pt idx="17400">
                  <c:v>0.31032637774210797</c:v>
                </c:pt>
                <c:pt idx="17401">
                  <c:v>0.31034421259140299</c:v>
                </c:pt>
                <c:pt idx="17402">
                  <c:v>0.31036204744069901</c:v>
                </c:pt>
                <c:pt idx="17403">
                  <c:v>0.31037988228999402</c:v>
                </c:pt>
                <c:pt idx="17404">
                  <c:v>0.31039771713928999</c:v>
                </c:pt>
                <c:pt idx="17405">
                  <c:v>0.310415551988585</c:v>
                </c:pt>
                <c:pt idx="17406">
                  <c:v>0.31043338683788102</c:v>
                </c:pt>
                <c:pt idx="17407">
                  <c:v>0.31045122168717598</c:v>
                </c:pt>
                <c:pt idx="17408">
                  <c:v>0.310469056536472</c:v>
                </c:pt>
                <c:pt idx="17409">
                  <c:v>0.31048689138576702</c:v>
                </c:pt>
                <c:pt idx="17410">
                  <c:v>0.31050472623506298</c:v>
                </c:pt>
                <c:pt idx="17411">
                  <c:v>0.310522561084358</c:v>
                </c:pt>
                <c:pt idx="17412">
                  <c:v>0.31054039593365401</c:v>
                </c:pt>
                <c:pt idx="17413">
                  <c:v>0.31055823078294897</c:v>
                </c:pt>
                <c:pt idx="17414">
                  <c:v>0.31057606563224499</c:v>
                </c:pt>
                <c:pt idx="17415">
                  <c:v>0.31059390048154001</c:v>
                </c:pt>
                <c:pt idx="17416">
                  <c:v>0.31061173533083603</c:v>
                </c:pt>
                <c:pt idx="17417">
                  <c:v>0.31062957018013199</c:v>
                </c:pt>
                <c:pt idx="17418">
                  <c:v>0.310647405029427</c:v>
                </c:pt>
                <c:pt idx="17419">
                  <c:v>0.31066523987872302</c:v>
                </c:pt>
                <c:pt idx="17420">
                  <c:v>0.31068307472801798</c:v>
                </c:pt>
                <c:pt idx="17421">
                  <c:v>0.310700909577314</c:v>
                </c:pt>
                <c:pt idx="17422">
                  <c:v>0.31071874442660902</c:v>
                </c:pt>
                <c:pt idx="17423">
                  <c:v>0.31073657927590498</c:v>
                </c:pt>
                <c:pt idx="17424">
                  <c:v>0.3107544141252</c:v>
                </c:pt>
                <c:pt idx="17425">
                  <c:v>0.31077224897449601</c:v>
                </c:pt>
                <c:pt idx="17426">
                  <c:v>0.31079008382379097</c:v>
                </c:pt>
                <c:pt idx="17427">
                  <c:v>0.31080791867308699</c:v>
                </c:pt>
                <c:pt idx="17428">
                  <c:v>0.31082575352238201</c:v>
                </c:pt>
                <c:pt idx="17429">
                  <c:v>0.31084358837167803</c:v>
                </c:pt>
                <c:pt idx="17430">
                  <c:v>0.31086142322097299</c:v>
                </c:pt>
                <c:pt idx="17431">
                  <c:v>0.310879258070269</c:v>
                </c:pt>
                <c:pt idx="17432">
                  <c:v>0.31089709291956402</c:v>
                </c:pt>
                <c:pt idx="17433">
                  <c:v>0.31091492776885998</c:v>
                </c:pt>
                <c:pt idx="17434">
                  <c:v>0.310932762618155</c:v>
                </c:pt>
                <c:pt idx="17435">
                  <c:v>0.31095059746745102</c:v>
                </c:pt>
                <c:pt idx="17436">
                  <c:v>0.31096843231674598</c:v>
                </c:pt>
                <c:pt idx="17437">
                  <c:v>0.310986267166042</c:v>
                </c:pt>
                <c:pt idx="17438">
                  <c:v>0.31100410201533701</c:v>
                </c:pt>
                <c:pt idx="17439">
                  <c:v>0.31102193686463298</c:v>
                </c:pt>
                <c:pt idx="17440">
                  <c:v>0.31103977171392899</c:v>
                </c:pt>
                <c:pt idx="17441">
                  <c:v>0.31105760656322401</c:v>
                </c:pt>
                <c:pt idx="17442">
                  <c:v>0.31107544141252003</c:v>
                </c:pt>
                <c:pt idx="17443">
                  <c:v>0.31109327626181499</c:v>
                </c:pt>
                <c:pt idx="17444">
                  <c:v>0.31111111111111101</c:v>
                </c:pt>
                <c:pt idx="17445">
                  <c:v>0.31112894596040602</c:v>
                </c:pt>
                <c:pt idx="17446">
                  <c:v>0.31114678080970198</c:v>
                </c:pt>
                <c:pt idx="17447">
                  <c:v>0.311164615658997</c:v>
                </c:pt>
                <c:pt idx="17448">
                  <c:v>0.31118245050829302</c:v>
                </c:pt>
                <c:pt idx="17449">
                  <c:v>0.31120028535758798</c:v>
                </c:pt>
                <c:pt idx="17450">
                  <c:v>0.311218120206884</c:v>
                </c:pt>
                <c:pt idx="17451">
                  <c:v>0.31123595505617901</c:v>
                </c:pt>
                <c:pt idx="17452">
                  <c:v>0.31125378990547498</c:v>
                </c:pt>
                <c:pt idx="17453">
                  <c:v>0.31127162475476999</c:v>
                </c:pt>
                <c:pt idx="17454">
                  <c:v>0.31128945960406601</c:v>
                </c:pt>
                <c:pt idx="17455">
                  <c:v>0.31130729445336103</c:v>
                </c:pt>
                <c:pt idx="17456">
                  <c:v>0.31132512930265699</c:v>
                </c:pt>
                <c:pt idx="17457">
                  <c:v>0.31134296415195201</c:v>
                </c:pt>
                <c:pt idx="17458">
                  <c:v>0.31136079900124802</c:v>
                </c:pt>
                <c:pt idx="17459">
                  <c:v>0.31137863385054398</c:v>
                </c:pt>
                <c:pt idx="17460">
                  <c:v>0.311396468699839</c:v>
                </c:pt>
                <c:pt idx="17461">
                  <c:v>0.31141430354913502</c:v>
                </c:pt>
                <c:pt idx="17462">
                  <c:v>0.31143213839842998</c:v>
                </c:pt>
                <c:pt idx="17463">
                  <c:v>0.311449973247726</c:v>
                </c:pt>
                <c:pt idx="17464">
                  <c:v>0.31146780809702102</c:v>
                </c:pt>
                <c:pt idx="17465">
                  <c:v>0.31148564294631698</c:v>
                </c:pt>
                <c:pt idx="17466">
                  <c:v>0.31150347779561199</c:v>
                </c:pt>
                <c:pt idx="17467">
                  <c:v>0.31152131264490801</c:v>
                </c:pt>
                <c:pt idx="17468">
                  <c:v>0.31153914749420297</c:v>
                </c:pt>
                <c:pt idx="17469">
                  <c:v>0.31155698234349899</c:v>
                </c:pt>
                <c:pt idx="17470">
                  <c:v>0.31157481719279401</c:v>
                </c:pt>
                <c:pt idx="17471">
                  <c:v>0.31159265204209002</c:v>
                </c:pt>
                <c:pt idx="17472">
                  <c:v>0.31161048689138499</c:v>
                </c:pt>
                <c:pt idx="17473">
                  <c:v>0.311628321740681</c:v>
                </c:pt>
                <c:pt idx="17474">
                  <c:v>0.31164615658997602</c:v>
                </c:pt>
                <c:pt idx="17475">
                  <c:v>0.31166399143927198</c:v>
                </c:pt>
                <c:pt idx="17476">
                  <c:v>0.311681826288567</c:v>
                </c:pt>
                <c:pt idx="17477">
                  <c:v>0.31169966113786302</c:v>
                </c:pt>
                <c:pt idx="17478">
                  <c:v>0.31171749598715798</c:v>
                </c:pt>
                <c:pt idx="17479">
                  <c:v>0.31173533083645399</c:v>
                </c:pt>
                <c:pt idx="17480">
                  <c:v>0.31175316568574901</c:v>
                </c:pt>
                <c:pt idx="17481">
                  <c:v>0.31177100053504497</c:v>
                </c:pt>
                <c:pt idx="17482">
                  <c:v>0.31178883538434099</c:v>
                </c:pt>
                <c:pt idx="17483">
                  <c:v>0.31180667023363601</c:v>
                </c:pt>
                <c:pt idx="17484">
                  <c:v>0.31182450508293202</c:v>
                </c:pt>
                <c:pt idx="17485">
                  <c:v>0.31184233993222699</c:v>
                </c:pt>
                <c:pt idx="17486">
                  <c:v>0.311860174781523</c:v>
                </c:pt>
                <c:pt idx="17487">
                  <c:v>0.31187800963081802</c:v>
                </c:pt>
                <c:pt idx="17488">
                  <c:v>0.31189584448011398</c:v>
                </c:pt>
                <c:pt idx="17489">
                  <c:v>0.311913679329409</c:v>
                </c:pt>
                <c:pt idx="17490">
                  <c:v>0.31193151417870502</c:v>
                </c:pt>
                <c:pt idx="17491">
                  <c:v>0.31194934902799998</c:v>
                </c:pt>
                <c:pt idx="17492">
                  <c:v>0.31196718387729599</c:v>
                </c:pt>
                <c:pt idx="17493">
                  <c:v>0.31198501872659101</c:v>
                </c:pt>
                <c:pt idx="17494">
                  <c:v>0.31200285357588697</c:v>
                </c:pt>
                <c:pt idx="17495">
                  <c:v>0.31202068842518199</c:v>
                </c:pt>
                <c:pt idx="17496">
                  <c:v>0.31203852327447801</c:v>
                </c:pt>
                <c:pt idx="17497">
                  <c:v>0.31205635812377303</c:v>
                </c:pt>
                <c:pt idx="17498">
                  <c:v>0.31207419297306899</c:v>
                </c:pt>
                <c:pt idx="17499">
                  <c:v>0.312092027822364</c:v>
                </c:pt>
                <c:pt idx="17500">
                  <c:v>0.31210986267166002</c:v>
                </c:pt>
                <c:pt idx="17501">
                  <c:v>0.31212769752095498</c:v>
                </c:pt>
                <c:pt idx="17502">
                  <c:v>0.312145532370251</c:v>
                </c:pt>
                <c:pt idx="17503">
                  <c:v>0.31216336721954702</c:v>
                </c:pt>
                <c:pt idx="17504">
                  <c:v>0.31218120206884198</c:v>
                </c:pt>
                <c:pt idx="17505">
                  <c:v>0.312199036918138</c:v>
                </c:pt>
                <c:pt idx="17506">
                  <c:v>0.31221687176743301</c:v>
                </c:pt>
                <c:pt idx="17507">
                  <c:v>0.31223470661672897</c:v>
                </c:pt>
                <c:pt idx="17508">
                  <c:v>0.31225254146602399</c:v>
                </c:pt>
                <c:pt idx="17509">
                  <c:v>0.31227037631532001</c:v>
                </c:pt>
                <c:pt idx="17510">
                  <c:v>0.31228821116461503</c:v>
                </c:pt>
                <c:pt idx="17511">
                  <c:v>0.31230604601391099</c:v>
                </c:pt>
                <c:pt idx="17512">
                  <c:v>0.312323880863206</c:v>
                </c:pt>
                <c:pt idx="17513">
                  <c:v>0.31234171571250202</c:v>
                </c:pt>
                <c:pt idx="17514">
                  <c:v>0.31235955056179698</c:v>
                </c:pt>
                <c:pt idx="17515">
                  <c:v>0.312377385411093</c:v>
                </c:pt>
                <c:pt idx="17516">
                  <c:v>0.31239522026038802</c:v>
                </c:pt>
                <c:pt idx="17517">
                  <c:v>0.31241305510968398</c:v>
                </c:pt>
                <c:pt idx="17518">
                  <c:v>0.312430889958979</c:v>
                </c:pt>
                <c:pt idx="17519">
                  <c:v>0.31244872480827501</c:v>
                </c:pt>
                <c:pt idx="17520">
                  <c:v>0.31246655965756998</c:v>
                </c:pt>
                <c:pt idx="17521">
                  <c:v>0.31248439450686599</c:v>
                </c:pt>
                <c:pt idx="17522">
                  <c:v>0.31250222935616101</c:v>
                </c:pt>
                <c:pt idx="17523">
                  <c:v>0.31252006420545703</c:v>
                </c:pt>
                <c:pt idx="17524">
                  <c:v>0.31253789905475299</c:v>
                </c:pt>
                <c:pt idx="17525">
                  <c:v>0.31255573390404801</c:v>
                </c:pt>
                <c:pt idx="17526">
                  <c:v>0.31257356875334402</c:v>
                </c:pt>
                <c:pt idx="17527">
                  <c:v>0.31259140360263898</c:v>
                </c:pt>
                <c:pt idx="17528">
                  <c:v>0.312609238451935</c:v>
                </c:pt>
                <c:pt idx="17529">
                  <c:v>0.31262707330123002</c:v>
                </c:pt>
                <c:pt idx="17530">
                  <c:v>0.31264490815052598</c:v>
                </c:pt>
                <c:pt idx="17531">
                  <c:v>0.312662742999821</c:v>
                </c:pt>
                <c:pt idx="17532">
                  <c:v>0.31268057784911701</c:v>
                </c:pt>
                <c:pt idx="17533">
                  <c:v>0.31269841269841198</c:v>
                </c:pt>
                <c:pt idx="17534">
                  <c:v>0.31271624754770799</c:v>
                </c:pt>
                <c:pt idx="17535">
                  <c:v>0.31273408239700301</c:v>
                </c:pt>
                <c:pt idx="17536">
                  <c:v>0.31275191724629903</c:v>
                </c:pt>
                <c:pt idx="17537">
                  <c:v>0.31276975209559399</c:v>
                </c:pt>
                <c:pt idx="17538">
                  <c:v>0.31278758694489001</c:v>
                </c:pt>
                <c:pt idx="17539">
                  <c:v>0.31280542179418502</c:v>
                </c:pt>
                <c:pt idx="17540">
                  <c:v>0.31282325664348098</c:v>
                </c:pt>
                <c:pt idx="17541">
                  <c:v>0.312841091492776</c:v>
                </c:pt>
                <c:pt idx="17542">
                  <c:v>0.31285892634207202</c:v>
                </c:pt>
                <c:pt idx="17543">
                  <c:v>0.31287676119136698</c:v>
                </c:pt>
                <c:pt idx="17544">
                  <c:v>0.312894596040663</c:v>
                </c:pt>
                <c:pt idx="17545">
                  <c:v>0.31291243088995802</c:v>
                </c:pt>
                <c:pt idx="17546">
                  <c:v>0.31293026573925398</c:v>
                </c:pt>
                <c:pt idx="17547">
                  <c:v>0.31294810058854999</c:v>
                </c:pt>
                <c:pt idx="17548">
                  <c:v>0.31296593543784501</c:v>
                </c:pt>
                <c:pt idx="17549">
                  <c:v>0.31298377028714103</c:v>
                </c:pt>
                <c:pt idx="17550">
                  <c:v>0.31300160513643599</c:v>
                </c:pt>
                <c:pt idx="17551">
                  <c:v>0.31301943998573201</c:v>
                </c:pt>
                <c:pt idx="17552">
                  <c:v>0.31303727483502702</c:v>
                </c:pt>
                <c:pt idx="17553">
                  <c:v>0.31305510968432299</c:v>
                </c:pt>
                <c:pt idx="17554">
                  <c:v>0.313072944533618</c:v>
                </c:pt>
                <c:pt idx="17555">
                  <c:v>0.31309077938291402</c:v>
                </c:pt>
                <c:pt idx="17556">
                  <c:v>0.31310861423220898</c:v>
                </c:pt>
                <c:pt idx="17557">
                  <c:v>0.313126449081505</c:v>
                </c:pt>
                <c:pt idx="17558">
                  <c:v>0.31314428393080002</c:v>
                </c:pt>
                <c:pt idx="17559">
                  <c:v>0.31316211878009598</c:v>
                </c:pt>
                <c:pt idx="17560">
                  <c:v>0.31317995362939099</c:v>
                </c:pt>
                <c:pt idx="17561">
                  <c:v>0.31319778847868701</c:v>
                </c:pt>
                <c:pt idx="17562">
                  <c:v>0.31321562332798197</c:v>
                </c:pt>
                <c:pt idx="17563">
                  <c:v>0.31323345817727799</c:v>
                </c:pt>
                <c:pt idx="17564">
                  <c:v>0.31325129302657301</c:v>
                </c:pt>
                <c:pt idx="17565">
                  <c:v>0.31326912787586902</c:v>
                </c:pt>
                <c:pt idx="17566">
                  <c:v>0.31328696272516499</c:v>
                </c:pt>
                <c:pt idx="17567">
                  <c:v>0.31330479757446</c:v>
                </c:pt>
                <c:pt idx="17568">
                  <c:v>0.31332263242375602</c:v>
                </c:pt>
                <c:pt idx="17569">
                  <c:v>0.31334046727305098</c:v>
                </c:pt>
                <c:pt idx="17570">
                  <c:v>0.313358302122347</c:v>
                </c:pt>
                <c:pt idx="17571">
                  <c:v>0.31337613697164202</c:v>
                </c:pt>
                <c:pt idx="17572">
                  <c:v>0.31339397182093798</c:v>
                </c:pt>
                <c:pt idx="17573">
                  <c:v>0.313411806670233</c:v>
                </c:pt>
                <c:pt idx="17574">
                  <c:v>0.31342964151952901</c:v>
                </c:pt>
                <c:pt idx="17575">
                  <c:v>0.31344747636882397</c:v>
                </c:pt>
                <c:pt idx="17576">
                  <c:v>0.31346531121811999</c:v>
                </c:pt>
                <c:pt idx="17577">
                  <c:v>0.31348314606741501</c:v>
                </c:pt>
                <c:pt idx="17578">
                  <c:v>0.31350098091671103</c:v>
                </c:pt>
                <c:pt idx="17579">
                  <c:v>0.31351881576600599</c:v>
                </c:pt>
                <c:pt idx="17580">
                  <c:v>0.313536650615302</c:v>
                </c:pt>
                <c:pt idx="17581">
                  <c:v>0.31355448546459702</c:v>
                </c:pt>
                <c:pt idx="17582">
                  <c:v>0.31357232031389298</c:v>
                </c:pt>
                <c:pt idx="17583">
                  <c:v>0.313590155163188</c:v>
                </c:pt>
                <c:pt idx="17584">
                  <c:v>0.31360799001248402</c:v>
                </c:pt>
                <c:pt idx="17585">
                  <c:v>0.31362582486177898</c:v>
                </c:pt>
                <c:pt idx="17586">
                  <c:v>0.313643659711075</c:v>
                </c:pt>
                <c:pt idx="17587">
                  <c:v>0.31366149456037001</c:v>
                </c:pt>
                <c:pt idx="17588">
                  <c:v>0.31367932940966597</c:v>
                </c:pt>
                <c:pt idx="17589">
                  <c:v>0.31369716425896199</c:v>
                </c:pt>
                <c:pt idx="17590">
                  <c:v>0.31371499910825701</c:v>
                </c:pt>
                <c:pt idx="17591">
                  <c:v>0.31373283395755303</c:v>
                </c:pt>
                <c:pt idx="17592">
                  <c:v>0.31375066880684799</c:v>
                </c:pt>
                <c:pt idx="17593">
                  <c:v>0.313768503656144</c:v>
                </c:pt>
                <c:pt idx="17594">
                  <c:v>0.31378633850543902</c:v>
                </c:pt>
                <c:pt idx="17595">
                  <c:v>0.31380417335473498</c:v>
                </c:pt>
                <c:pt idx="17596">
                  <c:v>0.31382200820403</c:v>
                </c:pt>
                <c:pt idx="17597">
                  <c:v>0.31383984305332602</c:v>
                </c:pt>
                <c:pt idx="17598">
                  <c:v>0.31385767790262098</c:v>
                </c:pt>
                <c:pt idx="17599">
                  <c:v>0.313875512751917</c:v>
                </c:pt>
                <c:pt idx="17600">
                  <c:v>0.31389334760121201</c:v>
                </c:pt>
                <c:pt idx="17601">
                  <c:v>0.31391118245050798</c:v>
                </c:pt>
                <c:pt idx="17602">
                  <c:v>0.31392901729980299</c:v>
                </c:pt>
                <c:pt idx="17603">
                  <c:v>0.31394685214909901</c:v>
                </c:pt>
                <c:pt idx="17604">
                  <c:v>0.31396468699839403</c:v>
                </c:pt>
                <c:pt idx="17605">
                  <c:v>0.31398252184768999</c:v>
                </c:pt>
                <c:pt idx="17606">
                  <c:v>0.31400035669698501</c:v>
                </c:pt>
                <c:pt idx="17607">
                  <c:v>0.31401819154628102</c:v>
                </c:pt>
                <c:pt idx="17608">
                  <c:v>0.31403602639557698</c:v>
                </c:pt>
                <c:pt idx="17609">
                  <c:v>0.314053861244872</c:v>
                </c:pt>
                <c:pt idx="17610">
                  <c:v>0.31407169609416802</c:v>
                </c:pt>
                <c:pt idx="17611">
                  <c:v>0.31408953094346298</c:v>
                </c:pt>
                <c:pt idx="17612">
                  <c:v>0.314107365792759</c:v>
                </c:pt>
                <c:pt idx="17613">
                  <c:v>0.31412520064205401</c:v>
                </c:pt>
                <c:pt idx="17614">
                  <c:v>0.31414303549134998</c:v>
                </c:pt>
                <c:pt idx="17615">
                  <c:v>0.31416087034064499</c:v>
                </c:pt>
                <c:pt idx="17616">
                  <c:v>0.31417870518994101</c:v>
                </c:pt>
                <c:pt idx="17617">
                  <c:v>0.31419654003923603</c:v>
                </c:pt>
                <c:pt idx="17618">
                  <c:v>0.31421437488853199</c:v>
                </c:pt>
                <c:pt idx="17619">
                  <c:v>0.31423220973782701</c:v>
                </c:pt>
                <c:pt idx="17620">
                  <c:v>0.31425004458712302</c:v>
                </c:pt>
                <c:pt idx="17621">
                  <c:v>0.31426787943641799</c:v>
                </c:pt>
                <c:pt idx="17622">
                  <c:v>0.314285714285714</c:v>
                </c:pt>
                <c:pt idx="17623">
                  <c:v>0.31430354913500902</c:v>
                </c:pt>
                <c:pt idx="17624">
                  <c:v>0.31432138398430498</c:v>
                </c:pt>
                <c:pt idx="17625">
                  <c:v>0.3143392188336</c:v>
                </c:pt>
                <c:pt idx="17626">
                  <c:v>0.31435705368289601</c:v>
                </c:pt>
                <c:pt idx="17627">
                  <c:v>0.31437488853219098</c:v>
                </c:pt>
                <c:pt idx="17628">
                  <c:v>0.31439272338148699</c:v>
                </c:pt>
                <c:pt idx="17629">
                  <c:v>0.31441055823078201</c:v>
                </c:pt>
                <c:pt idx="17630">
                  <c:v>0.31442839308007797</c:v>
                </c:pt>
                <c:pt idx="17631">
                  <c:v>0.31444622792937399</c:v>
                </c:pt>
                <c:pt idx="17632">
                  <c:v>0.31446406277866901</c:v>
                </c:pt>
                <c:pt idx="17633">
                  <c:v>0.31448189762796502</c:v>
                </c:pt>
                <c:pt idx="17634">
                  <c:v>0.31449973247725999</c:v>
                </c:pt>
                <c:pt idx="17635">
                  <c:v>0.314517567326556</c:v>
                </c:pt>
                <c:pt idx="17636">
                  <c:v>0.31453540217585102</c:v>
                </c:pt>
                <c:pt idx="17637">
                  <c:v>0.31455323702514698</c:v>
                </c:pt>
                <c:pt idx="17638">
                  <c:v>0.314571071874442</c:v>
                </c:pt>
                <c:pt idx="17639">
                  <c:v>0.31458890672373802</c:v>
                </c:pt>
                <c:pt idx="17640">
                  <c:v>0.31460674157303298</c:v>
                </c:pt>
                <c:pt idx="17641">
                  <c:v>0.31462457642232899</c:v>
                </c:pt>
                <c:pt idx="17642">
                  <c:v>0.31464241127162401</c:v>
                </c:pt>
                <c:pt idx="17643">
                  <c:v>0.31466024612091997</c:v>
                </c:pt>
                <c:pt idx="17644">
                  <c:v>0.31467808097021499</c:v>
                </c:pt>
                <c:pt idx="17645">
                  <c:v>0.31469591581951101</c:v>
                </c:pt>
                <c:pt idx="17646">
                  <c:v>0.31471375066880602</c:v>
                </c:pt>
                <c:pt idx="17647">
                  <c:v>0.31473158551810199</c:v>
                </c:pt>
                <c:pt idx="17648">
                  <c:v>0.314749420367397</c:v>
                </c:pt>
                <c:pt idx="17649">
                  <c:v>0.31476725521669302</c:v>
                </c:pt>
                <c:pt idx="17650">
                  <c:v>0.31478509006598798</c:v>
                </c:pt>
                <c:pt idx="17651">
                  <c:v>0.314802924915284</c:v>
                </c:pt>
                <c:pt idx="17652">
                  <c:v>0.31482075976458002</c:v>
                </c:pt>
                <c:pt idx="17653">
                  <c:v>0.31483859461387498</c:v>
                </c:pt>
                <c:pt idx="17654">
                  <c:v>0.31485642946317099</c:v>
                </c:pt>
                <c:pt idx="17655">
                  <c:v>0.31487426431246601</c:v>
                </c:pt>
                <c:pt idx="17656">
                  <c:v>0.31489209916176197</c:v>
                </c:pt>
                <c:pt idx="17657">
                  <c:v>0.31490993401105699</c:v>
                </c:pt>
                <c:pt idx="17658">
                  <c:v>0.31492776886035301</c:v>
                </c:pt>
                <c:pt idx="17659">
                  <c:v>0.31494560370964803</c:v>
                </c:pt>
                <c:pt idx="17660">
                  <c:v>0.31496343855894399</c:v>
                </c:pt>
                <c:pt idx="17661">
                  <c:v>0.314981273408239</c:v>
                </c:pt>
                <c:pt idx="17662">
                  <c:v>0.31499910825753502</c:v>
                </c:pt>
                <c:pt idx="17663">
                  <c:v>0.31501694310682998</c:v>
                </c:pt>
                <c:pt idx="17664">
                  <c:v>0.315034777956126</c:v>
                </c:pt>
                <c:pt idx="17665">
                  <c:v>0.31505261280542102</c:v>
                </c:pt>
                <c:pt idx="17666">
                  <c:v>0.31507044765471698</c:v>
                </c:pt>
                <c:pt idx="17667">
                  <c:v>0.315088282504012</c:v>
                </c:pt>
                <c:pt idx="17668">
                  <c:v>0.31510611735330801</c:v>
                </c:pt>
                <c:pt idx="17669">
                  <c:v>0.31512395220260297</c:v>
                </c:pt>
                <c:pt idx="17670">
                  <c:v>0.31514178705189899</c:v>
                </c:pt>
                <c:pt idx="17671">
                  <c:v>0.31515962190119401</c:v>
                </c:pt>
                <c:pt idx="17672">
                  <c:v>0.31517745675049003</c:v>
                </c:pt>
                <c:pt idx="17673">
                  <c:v>0.31519529159978599</c:v>
                </c:pt>
                <c:pt idx="17674">
                  <c:v>0.315213126449081</c:v>
                </c:pt>
                <c:pt idx="17675">
                  <c:v>0.31523096129837702</c:v>
                </c:pt>
                <c:pt idx="17676">
                  <c:v>0.31524879614767198</c:v>
                </c:pt>
                <c:pt idx="17677">
                  <c:v>0.315266630996968</c:v>
                </c:pt>
                <c:pt idx="17678">
                  <c:v>0.31528446584626302</c:v>
                </c:pt>
                <c:pt idx="17679">
                  <c:v>0.31530230069555898</c:v>
                </c:pt>
                <c:pt idx="17680">
                  <c:v>0.315320135544854</c:v>
                </c:pt>
                <c:pt idx="17681">
                  <c:v>0.31533797039415001</c:v>
                </c:pt>
                <c:pt idx="17682">
                  <c:v>0.31535580524344498</c:v>
                </c:pt>
                <c:pt idx="17683">
                  <c:v>0.31537364009274099</c:v>
                </c:pt>
                <c:pt idx="17684">
                  <c:v>0.31539147494203601</c:v>
                </c:pt>
                <c:pt idx="17685">
                  <c:v>0.31540930979133203</c:v>
                </c:pt>
                <c:pt idx="17686">
                  <c:v>0.31542714464062699</c:v>
                </c:pt>
                <c:pt idx="17687">
                  <c:v>0.31544497948992301</c:v>
                </c:pt>
                <c:pt idx="17688">
                  <c:v>0.31546281433921802</c:v>
                </c:pt>
                <c:pt idx="17689">
                  <c:v>0.31548064918851398</c:v>
                </c:pt>
                <c:pt idx="17690">
                  <c:v>0.315498484037809</c:v>
                </c:pt>
                <c:pt idx="17691">
                  <c:v>0.31551631888710502</c:v>
                </c:pt>
                <c:pt idx="17692">
                  <c:v>0.31553415373639998</c:v>
                </c:pt>
                <c:pt idx="17693">
                  <c:v>0.315551988585696</c:v>
                </c:pt>
                <c:pt idx="17694">
                  <c:v>0.31556982343499101</c:v>
                </c:pt>
                <c:pt idx="17695">
                  <c:v>0.31558765828428698</c:v>
                </c:pt>
                <c:pt idx="17696">
                  <c:v>0.31560549313358299</c:v>
                </c:pt>
                <c:pt idx="17697">
                  <c:v>0.31562332798287801</c:v>
                </c:pt>
                <c:pt idx="17698">
                  <c:v>0.31564116283217403</c:v>
                </c:pt>
                <c:pt idx="17699">
                  <c:v>0.31565899768146899</c:v>
                </c:pt>
                <c:pt idx="17700">
                  <c:v>0.31567683253076501</c:v>
                </c:pt>
                <c:pt idx="17701">
                  <c:v>0.31569466738006002</c:v>
                </c:pt>
                <c:pt idx="17702">
                  <c:v>0.31571250222935598</c:v>
                </c:pt>
                <c:pt idx="17703">
                  <c:v>0.315730337078651</c:v>
                </c:pt>
                <c:pt idx="17704">
                  <c:v>0.31574817192794702</c:v>
                </c:pt>
                <c:pt idx="17705">
                  <c:v>0.31576600677724198</c:v>
                </c:pt>
                <c:pt idx="17706">
                  <c:v>0.315783841626538</c:v>
                </c:pt>
                <c:pt idx="17707">
                  <c:v>0.31580167647583302</c:v>
                </c:pt>
                <c:pt idx="17708">
                  <c:v>0.31581951132512898</c:v>
                </c:pt>
                <c:pt idx="17709">
                  <c:v>0.31583734617442399</c:v>
                </c:pt>
                <c:pt idx="17710">
                  <c:v>0.31585518102372001</c:v>
                </c:pt>
                <c:pt idx="17711">
                  <c:v>0.31587301587301497</c:v>
                </c:pt>
                <c:pt idx="17712">
                  <c:v>0.31589085072231099</c:v>
                </c:pt>
                <c:pt idx="17713">
                  <c:v>0.31590868557160601</c:v>
                </c:pt>
                <c:pt idx="17714">
                  <c:v>0.31592652042090202</c:v>
                </c:pt>
                <c:pt idx="17715">
                  <c:v>0.31594435527019799</c:v>
                </c:pt>
                <c:pt idx="17716">
                  <c:v>0.315962190119493</c:v>
                </c:pt>
                <c:pt idx="17717">
                  <c:v>0.31598002496878902</c:v>
                </c:pt>
                <c:pt idx="17718">
                  <c:v>0.31599785981808398</c:v>
                </c:pt>
                <c:pt idx="17719">
                  <c:v>0.31601569466738</c:v>
                </c:pt>
                <c:pt idx="17720">
                  <c:v>0.31603352951667502</c:v>
                </c:pt>
                <c:pt idx="17721">
                  <c:v>0.31605136436597098</c:v>
                </c:pt>
                <c:pt idx="17722">
                  <c:v>0.31606919921526599</c:v>
                </c:pt>
                <c:pt idx="17723">
                  <c:v>0.31608703406456201</c:v>
                </c:pt>
                <c:pt idx="17724">
                  <c:v>0.31610486891385697</c:v>
                </c:pt>
                <c:pt idx="17725">
                  <c:v>0.31612270376315299</c:v>
                </c:pt>
                <c:pt idx="17726">
                  <c:v>0.31614053861244801</c:v>
                </c:pt>
                <c:pt idx="17727">
                  <c:v>0.31615837346174402</c:v>
                </c:pt>
                <c:pt idx="17728">
                  <c:v>0.31617620831103899</c:v>
                </c:pt>
                <c:pt idx="17729">
                  <c:v>0.316194043160335</c:v>
                </c:pt>
                <c:pt idx="17730">
                  <c:v>0.31621187800963002</c:v>
                </c:pt>
                <c:pt idx="17731">
                  <c:v>0.31622971285892598</c:v>
                </c:pt>
                <c:pt idx="17732">
                  <c:v>0.316247547708221</c:v>
                </c:pt>
                <c:pt idx="17733">
                  <c:v>0.31626538255751702</c:v>
                </c:pt>
                <c:pt idx="17734">
                  <c:v>0.31628321740681198</c:v>
                </c:pt>
                <c:pt idx="17735">
                  <c:v>0.316301052256108</c:v>
                </c:pt>
                <c:pt idx="17736">
                  <c:v>0.31631888710540301</c:v>
                </c:pt>
                <c:pt idx="17737">
                  <c:v>0.31633672195469897</c:v>
                </c:pt>
                <c:pt idx="17738">
                  <c:v>0.31635455680399499</c:v>
                </c:pt>
                <c:pt idx="17739">
                  <c:v>0.31637239165329001</c:v>
                </c:pt>
                <c:pt idx="17740">
                  <c:v>0.31639022650258602</c:v>
                </c:pt>
                <c:pt idx="17741">
                  <c:v>0.31640806135188099</c:v>
                </c:pt>
                <c:pt idx="17742">
                  <c:v>0.316425896201177</c:v>
                </c:pt>
                <c:pt idx="17743">
                  <c:v>0.31644373105047202</c:v>
                </c:pt>
                <c:pt idx="17744">
                  <c:v>0.31646156589976798</c:v>
                </c:pt>
                <c:pt idx="17745">
                  <c:v>0.316479400749063</c:v>
                </c:pt>
                <c:pt idx="17746">
                  <c:v>0.31649723559835902</c:v>
                </c:pt>
                <c:pt idx="17747">
                  <c:v>0.31651507044765398</c:v>
                </c:pt>
                <c:pt idx="17748">
                  <c:v>0.31653290529695</c:v>
                </c:pt>
                <c:pt idx="17749">
                  <c:v>0.31655074014624501</c:v>
                </c:pt>
                <c:pt idx="17750">
                  <c:v>0.31656857499554097</c:v>
                </c:pt>
                <c:pt idx="17751">
                  <c:v>0.31658640984483599</c:v>
                </c:pt>
                <c:pt idx="17752">
                  <c:v>0.31660424469413201</c:v>
                </c:pt>
                <c:pt idx="17753">
                  <c:v>0.31662207954342703</c:v>
                </c:pt>
                <c:pt idx="17754">
                  <c:v>0.31663991439272299</c:v>
                </c:pt>
                <c:pt idx="17755">
                  <c:v>0.31665774924201801</c:v>
                </c:pt>
                <c:pt idx="17756">
                  <c:v>0.31667558409131402</c:v>
                </c:pt>
                <c:pt idx="17757">
                  <c:v>0.31669341894060898</c:v>
                </c:pt>
                <c:pt idx="17758">
                  <c:v>0.316711253789905</c:v>
                </c:pt>
                <c:pt idx="17759">
                  <c:v>0.31672908863920102</c:v>
                </c:pt>
                <c:pt idx="17760">
                  <c:v>0.31674692348849598</c:v>
                </c:pt>
                <c:pt idx="17761">
                  <c:v>0.316764758337792</c:v>
                </c:pt>
                <c:pt idx="17762">
                  <c:v>0.31678259318708701</c:v>
                </c:pt>
                <c:pt idx="17763">
                  <c:v>0.31680042803638297</c:v>
                </c:pt>
                <c:pt idx="17764">
                  <c:v>0.31681826288567799</c:v>
                </c:pt>
                <c:pt idx="17765">
                  <c:v>0.31683609773497401</c:v>
                </c:pt>
                <c:pt idx="17766">
                  <c:v>0.31685393258426903</c:v>
                </c:pt>
                <c:pt idx="17767">
                  <c:v>0.31687176743356499</c:v>
                </c:pt>
                <c:pt idx="17768">
                  <c:v>0.31688960228286001</c:v>
                </c:pt>
                <c:pt idx="17769">
                  <c:v>0.31690743713215602</c:v>
                </c:pt>
                <c:pt idx="17770">
                  <c:v>0.31692527198145098</c:v>
                </c:pt>
                <c:pt idx="17771">
                  <c:v>0.316943106830747</c:v>
                </c:pt>
                <c:pt idx="17772">
                  <c:v>0.31696094168004202</c:v>
                </c:pt>
                <c:pt idx="17773">
                  <c:v>0.31697877652933798</c:v>
                </c:pt>
                <c:pt idx="17774">
                  <c:v>0.316996611378633</c:v>
                </c:pt>
                <c:pt idx="17775">
                  <c:v>0.31701444622792901</c:v>
                </c:pt>
                <c:pt idx="17776">
                  <c:v>0.31703228107722398</c:v>
                </c:pt>
                <c:pt idx="17777">
                  <c:v>0.31705011592651999</c:v>
                </c:pt>
                <c:pt idx="17778">
                  <c:v>0.31706795077581501</c:v>
                </c:pt>
                <c:pt idx="17779">
                  <c:v>0.31708578562511103</c:v>
                </c:pt>
                <c:pt idx="17780">
                  <c:v>0.31710362047440699</c:v>
                </c:pt>
                <c:pt idx="17781">
                  <c:v>0.31712145532370201</c:v>
                </c:pt>
                <c:pt idx="17782">
                  <c:v>0.31713929017299802</c:v>
                </c:pt>
                <c:pt idx="17783">
                  <c:v>0.31715712502229298</c:v>
                </c:pt>
                <c:pt idx="17784">
                  <c:v>0.317174959871589</c:v>
                </c:pt>
                <c:pt idx="17785">
                  <c:v>0.31719279472088402</c:v>
                </c:pt>
                <c:pt idx="17786">
                  <c:v>0.31721062957017998</c:v>
                </c:pt>
                <c:pt idx="17787">
                  <c:v>0.317228464419475</c:v>
                </c:pt>
                <c:pt idx="17788">
                  <c:v>0.31724629926877101</c:v>
                </c:pt>
                <c:pt idx="17789">
                  <c:v>0.31726413411806598</c:v>
                </c:pt>
                <c:pt idx="17790">
                  <c:v>0.31728196896736199</c:v>
                </c:pt>
                <c:pt idx="17791">
                  <c:v>0.31729980381665701</c:v>
                </c:pt>
                <c:pt idx="17792">
                  <c:v>0.31731763866595297</c:v>
                </c:pt>
                <c:pt idx="17793">
                  <c:v>0.31733547351524799</c:v>
                </c:pt>
                <c:pt idx="17794">
                  <c:v>0.31735330836454401</c:v>
                </c:pt>
                <c:pt idx="17795">
                  <c:v>0.31737114321383902</c:v>
                </c:pt>
                <c:pt idx="17796">
                  <c:v>0.31738897806313499</c:v>
                </c:pt>
                <c:pt idx="17797">
                  <c:v>0.31740681291243</c:v>
                </c:pt>
                <c:pt idx="17798">
                  <c:v>0.31742464776172602</c:v>
                </c:pt>
                <c:pt idx="17799">
                  <c:v>0.31744248261102098</c:v>
                </c:pt>
                <c:pt idx="17800">
                  <c:v>0.317460317460317</c:v>
                </c:pt>
                <c:pt idx="17801">
                  <c:v>0.31747815230961202</c:v>
                </c:pt>
                <c:pt idx="17802">
                  <c:v>0.31749598715890798</c:v>
                </c:pt>
                <c:pt idx="17803">
                  <c:v>0.31751382200820399</c:v>
                </c:pt>
                <c:pt idx="17804">
                  <c:v>0.31753165685749901</c:v>
                </c:pt>
                <c:pt idx="17805">
                  <c:v>0.31754949170679497</c:v>
                </c:pt>
                <c:pt idx="17806">
                  <c:v>0.31756732655608999</c:v>
                </c:pt>
                <c:pt idx="17807">
                  <c:v>0.31758516140538601</c:v>
                </c:pt>
                <c:pt idx="17808">
                  <c:v>0.31760299625468102</c:v>
                </c:pt>
                <c:pt idx="17809">
                  <c:v>0.31762083110397699</c:v>
                </c:pt>
                <c:pt idx="17810">
                  <c:v>0.317638665953272</c:v>
                </c:pt>
                <c:pt idx="17811">
                  <c:v>0.31765650080256802</c:v>
                </c:pt>
                <c:pt idx="17812">
                  <c:v>0.31767433565186298</c:v>
                </c:pt>
                <c:pt idx="17813">
                  <c:v>0.317692170501159</c:v>
                </c:pt>
                <c:pt idx="17814">
                  <c:v>0.31771000535045402</c:v>
                </c:pt>
                <c:pt idx="17815">
                  <c:v>0.31772784019974998</c:v>
                </c:pt>
                <c:pt idx="17816">
                  <c:v>0.317745675049045</c:v>
                </c:pt>
                <c:pt idx="17817">
                  <c:v>0.31776350989834101</c:v>
                </c:pt>
                <c:pt idx="17818">
                  <c:v>0.31778134474763597</c:v>
                </c:pt>
                <c:pt idx="17819">
                  <c:v>0.31779917959693199</c:v>
                </c:pt>
                <c:pt idx="17820">
                  <c:v>0.31781701444622701</c:v>
                </c:pt>
                <c:pt idx="17821">
                  <c:v>0.31783484929552303</c:v>
                </c:pt>
                <c:pt idx="17822">
                  <c:v>0.31785268414481899</c:v>
                </c:pt>
                <c:pt idx="17823">
                  <c:v>0.317870518994114</c:v>
                </c:pt>
                <c:pt idx="17824">
                  <c:v>0.31788835384341002</c:v>
                </c:pt>
                <c:pt idx="17825">
                  <c:v>0.31790618869270498</c:v>
                </c:pt>
                <c:pt idx="17826">
                  <c:v>0.317924023542001</c:v>
                </c:pt>
                <c:pt idx="17827">
                  <c:v>0.31794185839129602</c:v>
                </c:pt>
                <c:pt idx="17828">
                  <c:v>0.31795969324059198</c:v>
                </c:pt>
                <c:pt idx="17829">
                  <c:v>0.317977528089887</c:v>
                </c:pt>
                <c:pt idx="17830">
                  <c:v>0.31799536293918301</c:v>
                </c:pt>
                <c:pt idx="17831">
                  <c:v>0.31801319778847797</c:v>
                </c:pt>
                <c:pt idx="17832">
                  <c:v>0.31803103263777399</c:v>
                </c:pt>
                <c:pt idx="17833">
                  <c:v>0.31804886748706901</c:v>
                </c:pt>
                <c:pt idx="17834">
                  <c:v>0.31806670233636503</c:v>
                </c:pt>
                <c:pt idx="17835">
                  <c:v>0.31808453718565999</c:v>
                </c:pt>
                <c:pt idx="17836">
                  <c:v>0.318102372034956</c:v>
                </c:pt>
                <c:pt idx="17837">
                  <c:v>0.31812020688425102</c:v>
                </c:pt>
                <c:pt idx="17838">
                  <c:v>0.31813804173354698</c:v>
                </c:pt>
                <c:pt idx="17839">
                  <c:v>0.318155876582842</c:v>
                </c:pt>
                <c:pt idx="17840">
                  <c:v>0.31817371143213802</c:v>
                </c:pt>
                <c:pt idx="17841">
                  <c:v>0.31819154628143298</c:v>
                </c:pt>
                <c:pt idx="17842">
                  <c:v>0.318209381130729</c:v>
                </c:pt>
                <c:pt idx="17843">
                  <c:v>0.31822721598002401</c:v>
                </c:pt>
                <c:pt idx="17844">
                  <c:v>0.31824505082931998</c:v>
                </c:pt>
                <c:pt idx="17845">
                  <c:v>0.31826288567861599</c:v>
                </c:pt>
                <c:pt idx="17846">
                  <c:v>0.31828072052791101</c:v>
                </c:pt>
                <c:pt idx="17847">
                  <c:v>0.31829855537720703</c:v>
                </c:pt>
                <c:pt idx="17848">
                  <c:v>0.31831639022650199</c:v>
                </c:pt>
                <c:pt idx="17849">
                  <c:v>0.31833422507579801</c:v>
                </c:pt>
                <c:pt idx="17850">
                  <c:v>0.31835205992509302</c:v>
                </c:pt>
                <c:pt idx="17851">
                  <c:v>0.31836989477438898</c:v>
                </c:pt>
                <c:pt idx="17852">
                  <c:v>0.318387729623684</c:v>
                </c:pt>
                <c:pt idx="17853">
                  <c:v>0.31840556447298002</c:v>
                </c:pt>
                <c:pt idx="17854">
                  <c:v>0.31842339932227498</c:v>
                </c:pt>
                <c:pt idx="17855">
                  <c:v>0.318441234171571</c:v>
                </c:pt>
                <c:pt idx="17856">
                  <c:v>0.31845906902086601</c:v>
                </c:pt>
                <c:pt idx="17857">
                  <c:v>0.31847690387016198</c:v>
                </c:pt>
                <c:pt idx="17858">
                  <c:v>0.31849473871945699</c:v>
                </c:pt>
                <c:pt idx="17859">
                  <c:v>0.31851257356875301</c:v>
                </c:pt>
                <c:pt idx="17860">
                  <c:v>0.31853040841804803</c:v>
                </c:pt>
                <c:pt idx="17861">
                  <c:v>0.31854824326734399</c:v>
                </c:pt>
                <c:pt idx="17862">
                  <c:v>0.31856607811663901</c:v>
                </c:pt>
                <c:pt idx="17863">
                  <c:v>0.31858391296593502</c:v>
                </c:pt>
                <c:pt idx="17864">
                  <c:v>0.31860174781523098</c:v>
                </c:pt>
                <c:pt idx="17865">
                  <c:v>0.318619582664526</c:v>
                </c:pt>
                <c:pt idx="17866">
                  <c:v>0.31863741751382202</c:v>
                </c:pt>
                <c:pt idx="17867">
                  <c:v>0.31865525236311698</c:v>
                </c:pt>
                <c:pt idx="17868">
                  <c:v>0.318673087212413</c:v>
                </c:pt>
                <c:pt idx="17869">
                  <c:v>0.31869092206170802</c:v>
                </c:pt>
                <c:pt idx="17870">
                  <c:v>0.31870875691100398</c:v>
                </c:pt>
                <c:pt idx="17871">
                  <c:v>0.31872659176029899</c:v>
                </c:pt>
                <c:pt idx="17872">
                  <c:v>0.31874442660959501</c:v>
                </c:pt>
                <c:pt idx="17873">
                  <c:v>0.31876226145888997</c:v>
                </c:pt>
                <c:pt idx="17874">
                  <c:v>0.31878009630818599</c:v>
                </c:pt>
                <c:pt idx="17875">
                  <c:v>0.31879793115748101</c:v>
                </c:pt>
                <c:pt idx="17876">
                  <c:v>0.31881576600677702</c:v>
                </c:pt>
                <c:pt idx="17877">
                  <c:v>0.31883360085607199</c:v>
                </c:pt>
                <c:pt idx="17878">
                  <c:v>0.318851435705368</c:v>
                </c:pt>
                <c:pt idx="17879">
                  <c:v>0.31886927055466302</c:v>
                </c:pt>
                <c:pt idx="17880">
                  <c:v>0.31888710540395898</c:v>
                </c:pt>
                <c:pt idx="17881">
                  <c:v>0.318904940253254</c:v>
                </c:pt>
                <c:pt idx="17882">
                  <c:v>0.31892277510255002</c:v>
                </c:pt>
                <c:pt idx="17883">
                  <c:v>0.31894060995184498</c:v>
                </c:pt>
                <c:pt idx="17884">
                  <c:v>0.31895844480114099</c:v>
                </c:pt>
                <c:pt idx="17885">
                  <c:v>0.31897627965043601</c:v>
                </c:pt>
                <c:pt idx="17886">
                  <c:v>0.31899411449973197</c:v>
                </c:pt>
                <c:pt idx="17887">
                  <c:v>0.31901194934902799</c:v>
                </c:pt>
                <c:pt idx="17888">
                  <c:v>0.31902978419832301</c:v>
                </c:pt>
                <c:pt idx="17889">
                  <c:v>0.31904761904761902</c:v>
                </c:pt>
                <c:pt idx="17890">
                  <c:v>0.31906545389691399</c:v>
                </c:pt>
                <c:pt idx="17891">
                  <c:v>0.31908328874621</c:v>
                </c:pt>
                <c:pt idx="17892">
                  <c:v>0.31910112359550502</c:v>
                </c:pt>
                <c:pt idx="17893">
                  <c:v>0.31911895844480098</c:v>
                </c:pt>
                <c:pt idx="17894">
                  <c:v>0.319136793294096</c:v>
                </c:pt>
                <c:pt idx="17895">
                  <c:v>0.31915462814339202</c:v>
                </c:pt>
                <c:pt idx="17896">
                  <c:v>0.31917246299268698</c:v>
                </c:pt>
                <c:pt idx="17897">
                  <c:v>0.319190297841983</c:v>
                </c:pt>
                <c:pt idx="17898">
                  <c:v>0.31920813269127801</c:v>
                </c:pt>
                <c:pt idx="17899">
                  <c:v>0.31922596754057397</c:v>
                </c:pt>
                <c:pt idx="17900">
                  <c:v>0.31924380238986899</c:v>
                </c:pt>
                <c:pt idx="17901">
                  <c:v>0.31926163723916501</c:v>
                </c:pt>
                <c:pt idx="17902">
                  <c:v>0.31927947208846003</c:v>
                </c:pt>
                <c:pt idx="17903">
                  <c:v>0.31929730693775599</c:v>
                </c:pt>
                <c:pt idx="17904">
                  <c:v>0.319315141787051</c:v>
                </c:pt>
                <c:pt idx="17905">
                  <c:v>0.31933297663634702</c:v>
                </c:pt>
                <c:pt idx="17906">
                  <c:v>0.31935081148564198</c:v>
                </c:pt>
                <c:pt idx="17907">
                  <c:v>0.319368646334938</c:v>
                </c:pt>
                <c:pt idx="17908">
                  <c:v>0.31938648118423402</c:v>
                </c:pt>
                <c:pt idx="17909">
                  <c:v>0.31940431603352898</c:v>
                </c:pt>
                <c:pt idx="17910">
                  <c:v>0.319422150882825</c:v>
                </c:pt>
                <c:pt idx="17911">
                  <c:v>0.31943998573212001</c:v>
                </c:pt>
                <c:pt idx="17912">
                  <c:v>0.31945782058141597</c:v>
                </c:pt>
                <c:pt idx="17913">
                  <c:v>0.31947565543071099</c:v>
                </c:pt>
                <c:pt idx="17914">
                  <c:v>0.31949349028000701</c:v>
                </c:pt>
                <c:pt idx="17915">
                  <c:v>0.31951132512930203</c:v>
                </c:pt>
                <c:pt idx="17916">
                  <c:v>0.31952915997859799</c:v>
                </c:pt>
                <c:pt idx="17917">
                  <c:v>0.31954699482789301</c:v>
                </c:pt>
                <c:pt idx="17918">
                  <c:v>0.31956482967718902</c:v>
                </c:pt>
                <c:pt idx="17919">
                  <c:v>0.31958266452648398</c:v>
                </c:pt>
                <c:pt idx="17920">
                  <c:v>0.31960049937578</c:v>
                </c:pt>
                <c:pt idx="17921">
                  <c:v>0.31961833422507502</c:v>
                </c:pt>
                <c:pt idx="17922">
                  <c:v>0.31963616907437098</c:v>
                </c:pt>
                <c:pt idx="17923">
                  <c:v>0.319654003923666</c:v>
                </c:pt>
                <c:pt idx="17924">
                  <c:v>0.31967183877296201</c:v>
                </c:pt>
                <c:pt idx="17925">
                  <c:v>0.31968967362225698</c:v>
                </c:pt>
                <c:pt idx="17926">
                  <c:v>0.31970750847155299</c:v>
                </c:pt>
                <c:pt idx="17927">
                  <c:v>0.31972534332084801</c:v>
                </c:pt>
                <c:pt idx="17928">
                  <c:v>0.31974317817014403</c:v>
                </c:pt>
                <c:pt idx="17929">
                  <c:v>0.31976101301943999</c:v>
                </c:pt>
                <c:pt idx="17930">
                  <c:v>0.31977884786873501</c:v>
                </c:pt>
                <c:pt idx="17931">
                  <c:v>0.31979668271803102</c:v>
                </c:pt>
                <c:pt idx="17932">
                  <c:v>0.31981451756732598</c:v>
                </c:pt>
                <c:pt idx="17933">
                  <c:v>0.319832352416622</c:v>
                </c:pt>
                <c:pt idx="17934">
                  <c:v>0.31985018726591702</c:v>
                </c:pt>
                <c:pt idx="17935">
                  <c:v>0.31986802211521298</c:v>
                </c:pt>
                <c:pt idx="17936">
                  <c:v>0.319885856964508</c:v>
                </c:pt>
                <c:pt idx="17937">
                  <c:v>0.31990369181380401</c:v>
                </c:pt>
                <c:pt idx="17938">
                  <c:v>0.31992152666309898</c:v>
                </c:pt>
                <c:pt idx="17939">
                  <c:v>0.31993936151239499</c:v>
                </c:pt>
                <c:pt idx="17940">
                  <c:v>0.31995719636169001</c:v>
                </c:pt>
                <c:pt idx="17941">
                  <c:v>0.31997503121098603</c:v>
                </c:pt>
                <c:pt idx="17942">
                  <c:v>0.31999286606028099</c:v>
                </c:pt>
                <c:pt idx="17943">
                  <c:v>0.32001070090957701</c:v>
                </c:pt>
                <c:pt idx="17944">
                  <c:v>0.32002853575887202</c:v>
                </c:pt>
                <c:pt idx="17945">
                  <c:v>0.32004637060816798</c:v>
                </c:pt>
                <c:pt idx="17946">
                  <c:v>0.320064205457463</c:v>
                </c:pt>
                <c:pt idx="17947">
                  <c:v>0.32008204030675902</c:v>
                </c:pt>
                <c:pt idx="17948">
                  <c:v>0.32009987515605398</c:v>
                </c:pt>
                <c:pt idx="17949">
                  <c:v>0.32011771000535</c:v>
                </c:pt>
                <c:pt idx="17950">
                  <c:v>0.32013554485464502</c:v>
                </c:pt>
                <c:pt idx="17951">
                  <c:v>0.32015337970394098</c:v>
                </c:pt>
                <c:pt idx="17952">
                  <c:v>0.32017121455323699</c:v>
                </c:pt>
                <c:pt idx="17953">
                  <c:v>0.32018904940253201</c:v>
                </c:pt>
                <c:pt idx="17954">
                  <c:v>0.32020688425182797</c:v>
                </c:pt>
                <c:pt idx="17955">
                  <c:v>0.32022471910112299</c:v>
                </c:pt>
                <c:pt idx="17956">
                  <c:v>0.32024255395041901</c:v>
                </c:pt>
                <c:pt idx="17957">
                  <c:v>0.32026038879971402</c:v>
                </c:pt>
                <c:pt idx="17958">
                  <c:v>0.32027822364900999</c:v>
                </c:pt>
                <c:pt idx="17959">
                  <c:v>0.320296058498305</c:v>
                </c:pt>
                <c:pt idx="17960">
                  <c:v>0.32031389334760102</c:v>
                </c:pt>
                <c:pt idx="17961">
                  <c:v>0.32033172819689598</c:v>
                </c:pt>
                <c:pt idx="17962">
                  <c:v>0.320349563046192</c:v>
                </c:pt>
                <c:pt idx="17963">
                  <c:v>0.32036739789548702</c:v>
                </c:pt>
                <c:pt idx="17964">
                  <c:v>0.32038523274478298</c:v>
                </c:pt>
                <c:pt idx="17965">
                  <c:v>0.32040306759407799</c:v>
                </c:pt>
                <c:pt idx="17966">
                  <c:v>0.32042090244337401</c:v>
                </c:pt>
                <c:pt idx="17967">
                  <c:v>0.32043873729266897</c:v>
                </c:pt>
                <c:pt idx="17968">
                  <c:v>0.32045657214196499</c:v>
                </c:pt>
                <c:pt idx="17969">
                  <c:v>0.32047440699126001</c:v>
                </c:pt>
                <c:pt idx="17970">
                  <c:v>0.32049224184055602</c:v>
                </c:pt>
                <c:pt idx="17971">
                  <c:v>0.32051007668985199</c:v>
                </c:pt>
                <c:pt idx="17972">
                  <c:v>0.320527911539147</c:v>
                </c:pt>
                <c:pt idx="17973">
                  <c:v>0.32054574638844302</c:v>
                </c:pt>
                <c:pt idx="17974">
                  <c:v>0.32056358123773798</c:v>
                </c:pt>
                <c:pt idx="17975">
                  <c:v>0.320581416087034</c:v>
                </c:pt>
                <c:pt idx="17976">
                  <c:v>0.32059925093632902</c:v>
                </c:pt>
                <c:pt idx="17977">
                  <c:v>0.32061708578562498</c:v>
                </c:pt>
                <c:pt idx="17978">
                  <c:v>0.32063492063492</c:v>
                </c:pt>
                <c:pt idx="17979">
                  <c:v>0.32065275548421601</c:v>
                </c:pt>
                <c:pt idx="17980">
                  <c:v>0.32067059033351097</c:v>
                </c:pt>
                <c:pt idx="17981">
                  <c:v>0.32068842518280699</c:v>
                </c:pt>
                <c:pt idx="17982">
                  <c:v>0.32070626003210201</c:v>
                </c:pt>
                <c:pt idx="17983">
                  <c:v>0.32072409488139803</c:v>
                </c:pt>
                <c:pt idx="17984">
                  <c:v>0.32074192973069299</c:v>
                </c:pt>
                <c:pt idx="17985">
                  <c:v>0.320759764579989</c:v>
                </c:pt>
                <c:pt idx="17986">
                  <c:v>0.32077759942928402</c:v>
                </c:pt>
                <c:pt idx="17987">
                  <c:v>0.32079543427857998</c:v>
                </c:pt>
                <c:pt idx="17988">
                  <c:v>0.320813269127875</c:v>
                </c:pt>
                <c:pt idx="17989">
                  <c:v>0.32083110397717102</c:v>
                </c:pt>
                <c:pt idx="17990">
                  <c:v>0.32084893882646598</c:v>
                </c:pt>
                <c:pt idx="17991">
                  <c:v>0.320866773675762</c:v>
                </c:pt>
                <c:pt idx="17992">
                  <c:v>0.32088460852505701</c:v>
                </c:pt>
                <c:pt idx="17993">
                  <c:v>0.32090244337435297</c:v>
                </c:pt>
                <c:pt idx="17994">
                  <c:v>0.32092027822364899</c:v>
                </c:pt>
                <c:pt idx="17995">
                  <c:v>0.32093811307294401</c:v>
                </c:pt>
                <c:pt idx="17996">
                  <c:v>0.32095594792224003</c:v>
                </c:pt>
                <c:pt idx="17997">
                  <c:v>0.32097378277153499</c:v>
                </c:pt>
                <c:pt idx="17998">
                  <c:v>0.320991617620831</c:v>
                </c:pt>
                <c:pt idx="17999">
                  <c:v>0.32100945247012602</c:v>
                </c:pt>
                <c:pt idx="18000">
                  <c:v>0.32102728731942198</c:v>
                </c:pt>
                <c:pt idx="18001">
                  <c:v>0.321045122168717</c:v>
                </c:pt>
                <c:pt idx="18002">
                  <c:v>0.32106295701801302</c:v>
                </c:pt>
                <c:pt idx="18003">
                  <c:v>0.32108079186730798</c:v>
                </c:pt>
                <c:pt idx="18004">
                  <c:v>0.321098626716604</c:v>
                </c:pt>
                <c:pt idx="18005">
                  <c:v>0.32111646156589901</c:v>
                </c:pt>
                <c:pt idx="18006">
                  <c:v>0.32113429641519498</c:v>
                </c:pt>
                <c:pt idx="18007">
                  <c:v>0.32115213126448999</c:v>
                </c:pt>
                <c:pt idx="18008">
                  <c:v>0.32116996611378601</c:v>
                </c:pt>
                <c:pt idx="18009">
                  <c:v>0.32118780096308103</c:v>
                </c:pt>
                <c:pt idx="18010">
                  <c:v>0.32120563581237699</c:v>
                </c:pt>
                <c:pt idx="18011">
                  <c:v>0.32122347066167201</c:v>
                </c:pt>
                <c:pt idx="18012">
                  <c:v>0.32124130551096802</c:v>
                </c:pt>
                <c:pt idx="18013">
                  <c:v>0.32125914036026298</c:v>
                </c:pt>
                <c:pt idx="18014">
                  <c:v>0.321276975209559</c:v>
                </c:pt>
                <c:pt idx="18015">
                  <c:v>0.32129481005885502</c:v>
                </c:pt>
                <c:pt idx="18016">
                  <c:v>0.32131264490814998</c:v>
                </c:pt>
                <c:pt idx="18017">
                  <c:v>0.321330479757446</c:v>
                </c:pt>
                <c:pt idx="18018">
                  <c:v>0.32134831460674101</c:v>
                </c:pt>
                <c:pt idx="18019">
                  <c:v>0.32136614945603698</c:v>
                </c:pt>
                <c:pt idx="18020">
                  <c:v>0.32138398430533199</c:v>
                </c:pt>
                <c:pt idx="18021">
                  <c:v>0.32140181915462801</c:v>
                </c:pt>
                <c:pt idx="18022">
                  <c:v>0.32141965400392303</c:v>
                </c:pt>
                <c:pt idx="18023">
                  <c:v>0.32143748885321899</c:v>
                </c:pt>
                <c:pt idx="18024">
                  <c:v>0.32145532370251401</c:v>
                </c:pt>
                <c:pt idx="18025">
                  <c:v>0.32147315855181002</c:v>
                </c:pt>
                <c:pt idx="18026">
                  <c:v>0.32149099340110499</c:v>
                </c:pt>
                <c:pt idx="18027">
                  <c:v>0.321508828250401</c:v>
                </c:pt>
                <c:pt idx="18028">
                  <c:v>0.32152666309969602</c:v>
                </c:pt>
                <c:pt idx="18029">
                  <c:v>0.32154449794899198</c:v>
                </c:pt>
                <c:pt idx="18030">
                  <c:v>0.321562332798287</c:v>
                </c:pt>
                <c:pt idx="18031">
                  <c:v>0.32158016764758302</c:v>
                </c:pt>
                <c:pt idx="18032">
                  <c:v>0.32159800249687798</c:v>
                </c:pt>
                <c:pt idx="18033">
                  <c:v>0.32161583734617399</c:v>
                </c:pt>
                <c:pt idx="18034">
                  <c:v>0.32163367219546901</c:v>
                </c:pt>
                <c:pt idx="18035">
                  <c:v>0.32165150704476497</c:v>
                </c:pt>
                <c:pt idx="18036">
                  <c:v>0.32166934189406099</c:v>
                </c:pt>
                <c:pt idx="18037">
                  <c:v>0.32168717674335601</c:v>
                </c:pt>
                <c:pt idx="18038">
                  <c:v>0.32170501159265202</c:v>
                </c:pt>
                <c:pt idx="18039">
                  <c:v>0.32172284644194699</c:v>
                </c:pt>
                <c:pt idx="18040">
                  <c:v>0.321740681291243</c:v>
                </c:pt>
                <c:pt idx="18041">
                  <c:v>0.32175851614053802</c:v>
                </c:pt>
                <c:pt idx="18042">
                  <c:v>0.32177635098983398</c:v>
                </c:pt>
                <c:pt idx="18043">
                  <c:v>0.321794185839129</c:v>
                </c:pt>
                <c:pt idx="18044">
                  <c:v>0.32181202068842502</c:v>
                </c:pt>
                <c:pt idx="18045">
                  <c:v>0.32182985553771998</c:v>
                </c:pt>
                <c:pt idx="18046">
                  <c:v>0.32184769038701599</c:v>
                </c:pt>
                <c:pt idx="18047">
                  <c:v>0.32186552523631101</c:v>
                </c:pt>
                <c:pt idx="18048">
                  <c:v>0.32188336008560697</c:v>
                </c:pt>
                <c:pt idx="18049">
                  <c:v>0.32190119493490199</c:v>
                </c:pt>
                <c:pt idx="18050">
                  <c:v>0.32191902978419801</c:v>
                </c:pt>
                <c:pt idx="18051">
                  <c:v>0.32193686463349303</c:v>
                </c:pt>
                <c:pt idx="18052">
                  <c:v>0.32195469948278899</c:v>
                </c:pt>
                <c:pt idx="18053">
                  <c:v>0.321972534332084</c:v>
                </c:pt>
                <c:pt idx="18054">
                  <c:v>0.32199036918138002</c:v>
                </c:pt>
                <c:pt idx="18055">
                  <c:v>0.32200820403067498</c:v>
                </c:pt>
                <c:pt idx="18056">
                  <c:v>0.322026038879971</c:v>
                </c:pt>
                <c:pt idx="18057">
                  <c:v>0.32204387372926602</c:v>
                </c:pt>
                <c:pt idx="18058">
                  <c:v>0.32206170857856198</c:v>
                </c:pt>
                <c:pt idx="18059">
                  <c:v>0.32207954342785799</c:v>
                </c:pt>
                <c:pt idx="18060">
                  <c:v>0.32209737827715301</c:v>
                </c:pt>
                <c:pt idx="18061">
                  <c:v>0.32211521312644897</c:v>
                </c:pt>
                <c:pt idx="18062">
                  <c:v>0.32213304797574399</c:v>
                </c:pt>
                <c:pt idx="18063">
                  <c:v>0.32215088282504001</c:v>
                </c:pt>
                <c:pt idx="18064">
                  <c:v>0.32216871767433503</c:v>
                </c:pt>
                <c:pt idx="18065">
                  <c:v>0.32218655252363099</c:v>
                </c:pt>
                <c:pt idx="18066">
                  <c:v>0.322204387372926</c:v>
                </c:pt>
                <c:pt idx="18067">
                  <c:v>0.32222222222222202</c:v>
                </c:pt>
                <c:pt idx="18068">
                  <c:v>0.32224005707151698</c:v>
                </c:pt>
                <c:pt idx="18069">
                  <c:v>0.322257891920813</c:v>
                </c:pt>
                <c:pt idx="18070">
                  <c:v>0.32227572677010802</c:v>
                </c:pt>
                <c:pt idx="18071">
                  <c:v>0.32229356161940398</c:v>
                </c:pt>
                <c:pt idx="18072">
                  <c:v>0.322311396468699</c:v>
                </c:pt>
                <c:pt idx="18073">
                  <c:v>0.32232923131799501</c:v>
                </c:pt>
                <c:pt idx="18074">
                  <c:v>0.32234706616728998</c:v>
                </c:pt>
                <c:pt idx="18075">
                  <c:v>0.32236490101658599</c:v>
                </c:pt>
                <c:pt idx="18076">
                  <c:v>0.32238273586588101</c:v>
                </c:pt>
                <c:pt idx="18077">
                  <c:v>0.32240057071517703</c:v>
                </c:pt>
                <c:pt idx="18078">
                  <c:v>0.32241840556447299</c:v>
                </c:pt>
                <c:pt idx="18079">
                  <c:v>0.322436240413768</c:v>
                </c:pt>
                <c:pt idx="18080">
                  <c:v>0.32245407526306402</c:v>
                </c:pt>
                <c:pt idx="18081">
                  <c:v>0.32247191011235898</c:v>
                </c:pt>
                <c:pt idx="18082">
                  <c:v>0.322489744961655</c:v>
                </c:pt>
                <c:pt idx="18083">
                  <c:v>0.32250757981095002</c:v>
                </c:pt>
                <c:pt idx="18084">
                  <c:v>0.32252541466024598</c:v>
                </c:pt>
                <c:pt idx="18085">
                  <c:v>0.322543249509541</c:v>
                </c:pt>
                <c:pt idx="18086">
                  <c:v>0.32256108435883701</c:v>
                </c:pt>
                <c:pt idx="18087">
                  <c:v>0.32257891920813198</c:v>
                </c:pt>
                <c:pt idx="18088">
                  <c:v>0.32259675405742799</c:v>
                </c:pt>
                <c:pt idx="18089">
                  <c:v>0.32261458890672301</c:v>
                </c:pt>
                <c:pt idx="18090">
                  <c:v>0.32263242375601903</c:v>
                </c:pt>
                <c:pt idx="18091">
                  <c:v>0.32265025860531399</c:v>
                </c:pt>
                <c:pt idx="18092">
                  <c:v>0.32266809345461001</c:v>
                </c:pt>
                <c:pt idx="18093">
                  <c:v>0.32268592830390502</c:v>
                </c:pt>
                <c:pt idx="18094">
                  <c:v>0.32270376315320098</c:v>
                </c:pt>
                <c:pt idx="18095">
                  <c:v>0.322721598002496</c:v>
                </c:pt>
                <c:pt idx="18096">
                  <c:v>0.32273943285179202</c:v>
                </c:pt>
                <c:pt idx="18097">
                  <c:v>0.32275726770108698</c:v>
                </c:pt>
                <c:pt idx="18098">
                  <c:v>0.322775102550383</c:v>
                </c:pt>
                <c:pt idx="18099">
                  <c:v>0.32279293739967801</c:v>
                </c:pt>
                <c:pt idx="18100">
                  <c:v>0.32281077224897398</c:v>
                </c:pt>
                <c:pt idx="18101">
                  <c:v>0.32282860709826999</c:v>
                </c:pt>
                <c:pt idx="18102">
                  <c:v>0.32284644194756501</c:v>
                </c:pt>
                <c:pt idx="18103">
                  <c:v>0.32286427679686103</c:v>
                </c:pt>
                <c:pt idx="18104">
                  <c:v>0.32288211164615599</c:v>
                </c:pt>
                <c:pt idx="18105">
                  <c:v>0.32289994649545201</c:v>
                </c:pt>
                <c:pt idx="18106">
                  <c:v>0.32291778134474702</c:v>
                </c:pt>
                <c:pt idx="18107">
                  <c:v>0.32293561619404298</c:v>
                </c:pt>
                <c:pt idx="18108">
                  <c:v>0.322953451043338</c:v>
                </c:pt>
                <c:pt idx="18109">
                  <c:v>0.32297128589263402</c:v>
                </c:pt>
                <c:pt idx="18110">
                  <c:v>0.32298912074192898</c:v>
                </c:pt>
                <c:pt idx="18111">
                  <c:v>0.323006955591225</c:v>
                </c:pt>
                <c:pt idx="18112">
                  <c:v>0.32302479044052002</c:v>
                </c:pt>
                <c:pt idx="18113">
                  <c:v>0.32304262528981598</c:v>
                </c:pt>
                <c:pt idx="18114">
                  <c:v>0.32306046013911099</c:v>
                </c:pt>
                <c:pt idx="18115">
                  <c:v>0.32307829498840701</c:v>
                </c:pt>
                <c:pt idx="18116">
                  <c:v>0.32309612983770197</c:v>
                </c:pt>
                <c:pt idx="18117">
                  <c:v>0.32311396468699799</c:v>
                </c:pt>
                <c:pt idx="18118">
                  <c:v>0.32313179953629301</c:v>
                </c:pt>
                <c:pt idx="18119">
                  <c:v>0.32314963438558902</c:v>
                </c:pt>
                <c:pt idx="18120">
                  <c:v>0.32316746923488499</c:v>
                </c:pt>
                <c:pt idx="18121">
                  <c:v>0.32318530408418</c:v>
                </c:pt>
                <c:pt idx="18122">
                  <c:v>0.32320313893347602</c:v>
                </c:pt>
                <c:pt idx="18123">
                  <c:v>0.32322097378277098</c:v>
                </c:pt>
                <c:pt idx="18124">
                  <c:v>0.323238808632067</c:v>
                </c:pt>
                <c:pt idx="18125">
                  <c:v>0.32325664348136202</c:v>
                </c:pt>
                <c:pt idx="18126">
                  <c:v>0.32327447833065798</c:v>
                </c:pt>
                <c:pt idx="18127">
                  <c:v>0.32329231317995299</c:v>
                </c:pt>
                <c:pt idx="18128">
                  <c:v>0.32331014802924901</c:v>
                </c:pt>
                <c:pt idx="18129">
                  <c:v>0.32332798287854397</c:v>
                </c:pt>
                <c:pt idx="18130">
                  <c:v>0.32334581772783999</c:v>
                </c:pt>
                <c:pt idx="18131">
                  <c:v>0.32336365257713501</c:v>
                </c:pt>
                <c:pt idx="18132">
                  <c:v>0.32338148742643102</c:v>
                </c:pt>
                <c:pt idx="18133">
                  <c:v>0.32339932227572599</c:v>
                </c:pt>
                <c:pt idx="18134">
                  <c:v>0.323417157125022</c:v>
                </c:pt>
                <c:pt idx="18135">
                  <c:v>0.32343499197431702</c:v>
                </c:pt>
                <c:pt idx="18136">
                  <c:v>0.32345282682361298</c:v>
                </c:pt>
                <c:pt idx="18137">
                  <c:v>0.323470661672908</c:v>
                </c:pt>
                <c:pt idx="18138">
                  <c:v>0.32348849652220402</c:v>
                </c:pt>
                <c:pt idx="18139">
                  <c:v>0.32350633137149898</c:v>
                </c:pt>
                <c:pt idx="18140">
                  <c:v>0.323524166220795</c:v>
                </c:pt>
                <c:pt idx="18141">
                  <c:v>0.32354200107009001</c:v>
                </c:pt>
                <c:pt idx="18142">
                  <c:v>0.32355983591938597</c:v>
                </c:pt>
                <c:pt idx="18143">
                  <c:v>0.32357767076868199</c:v>
                </c:pt>
                <c:pt idx="18144">
                  <c:v>0.32359550561797701</c:v>
                </c:pt>
                <c:pt idx="18145">
                  <c:v>0.32361334046727303</c:v>
                </c:pt>
                <c:pt idx="18146">
                  <c:v>0.32363117531656799</c:v>
                </c:pt>
                <c:pt idx="18147">
                  <c:v>0.323649010165864</c:v>
                </c:pt>
                <c:pt idx="18148">
                  <c:v>0.32366684501515902</c:v>
                </c:pt>
                <c:pt idx="18149">
                  <c:v>0.32368467986445498</c:v>
                </c:pt>
                <c:pt idx="18150">
                  <c:v>0.32370251471375</c:v>
                </c:pt>
                <c:pt idx="18151">
                  <c:v>0.32372034956304602</c:v>
                </c:pt>
                <c:pt idx="18152">
                  <c:v>0.32373818441234098</c:v>
                </c:pt>
                <c:pt idx="18153">
                  <c:v>0.323756019261637</c:v>
                </c:pt>
                <c:pt idx="18154">
                  <c:v>0.32377385411093201</c:v>
                </c:pt>
                <c:pt idx="18155">
                  <c:v>0.32379168896022797</c:v>
                </c:pt>
                <c:pt idx="18156">
                  <c:v>0.32380952380952299</c:v>
                </c:pt>
                <c:pt idx="18157">
                  <c:v>0.32382735865881901</c:v>
                </c:pt>
                <c:pt idx="18158">
                  <c:v>0.32384519350811403</c:v>
                </c:pt>
                <c:pt idx="18159">
                  <c:v>0.32386302835740999</c:v>
                </c:pt>
                <c:pt idx="18160">
                  <c:v>0.32388086320670501</c:v>
                </c:pt>
                <c:pt idx="18161">
                  <c:v>0.32389869805600102</c:v>
                </c:pt>
                <c:pt idx="18162">
                  <c:v>0.32391653290529598</c:v>
                </c:pt>
                <c:pt idx="18163">
                  <c:v>0.323934367754592</c:v>
                </c:pt>
                <c:pt idx="18164">
                  <c:v>0.32395220260388802</c:v>
                </c:pt>
                <c:pt idx="18165">
                  <c:v>0.32397003745318298</c:v>
                </c:pt>
                <c:pt idx="18166">
                  <c:v>0.323987872302479</c:v>
                </c:pt>
                <c:pt idx="18167">
                  <c:v>0.32400570715177401</c:v>
                </c:pt>
                <c:pt idx="18168">
                  <c:v>0.32402354200106998</c:v>
                </c:pt>
                <c:pt idx="18169">
                  <c:v>0.32404137685036499</c:v>
                </c:pt>
                <c:pt idx="18170">
                  <c:v>0.32405921169966101</c:v>
                </c:pt>
                <c:pt idx="18171">
                  <c:v>0.32407704654895603</c:v>
                </c:pt>
                <c:pt idx="18172">
                  <c:v>0.32409488139825199</c:v>
                </c:pt>
                <c:pt idx="18173">
                  <c:v>0.32411271624754701</c:v>
                </c:pt>
                <c:pt idx="18174">
                  <c:v>0.32413055109684302</c:v>
                </c:pt>
                <c:pt idx="18175">
                  <c:v>0.32414838594613798</c:v>
                </c:pt>
                <c:pt idx="18176">
                  <c:v>0.324166220795434</c:v>
                </c:pt>
                <c:pt idx="18177">
                  <c:v>0.32418405564472902</c:v>
                </c:pt>
                <c:pt idx="18178">
                  <c:v>0.32420189049402498</c:v>
                </c:pt>
                <c:pt idx="18179">
                  <c:v>0.32421972534332</c:v>
                </c:pt>
                <c:pt idx="18180">
                  <c:v>0.32423756019261601</c:v>
                </c:pt>
                <c:pt idx="18181">
                  <c:v>0.32425539504191098</c:v>
                </c:pt>
                <c:pt idx="18182">
                  <c:v>0.32427322989120699</c:v>
                </c:pt>
                <c:pt idx="18183">
                  <c:v>0.32429106474050201</c:v>
                </c:pt>
                <c:pt idx="18184">
                  <c:v>0.32430889958979803</c:v>
                </c:pt>
                <c:pt idx="18185">
                  <c:v>0.32432673443909399</c:v>
                </c:pt>
                <c:pt idx="18186">
                  <c:v>0.32434456928838901</c:v>
                </c:pt>
                <c:pt idx="18187">
                  <c:v>0.32436240413768502</c:v>
                </c:pt>
                <c:pt idx="18188">
                  <c:v>0.32438023898697999</c:v>
                </c:pt>
                <c:pt idx="18189">
                  <c:v>0.324398073836276</c:v>
                </c:pt>
                <c:pt idx="18190">
                  <c:v>0.32441590868557102</c:v>
                </c:pt>
                <c:pt idx="18191">
                  <c:v>0.32443374353486698</c:v>
                </c:pt>
                <c:pt idx="18192">
                  <c:v>0.324451578384162</c:v>
                </c:pt>
                <c:pt idx="18193">
                  <c:v>0.32446941323345802</c:v>
                </c:pt>
                <c:pt idx="18194">
                  <c:v>0.32448724808275298</c:v>
                </c:pt>
                <c:pt idx="18195">
                  <c:v>0.32450508293204899</c:v>
                </c:pt>
                <c:pt idx="18196">
                  <c:v>0.32452291778134401</c:v>
                </c:pt>
                <c:pt idx="18197">
                  <c:v>0.32454075263063997</c:v>
                </c:pt>
                <c:pt idx="18198">
                  <c:v>0.32455858747993499</c:v>
                </c:pt>
                <c:pt idx="18199">
                  <c:v>0.32457642232923101</c:v>
                </c:pt>
                <c:pt idx="18200">
                  <c:v>0.32459425717852602</c:v>
                </c:pt>
                <c:pt idx="18201">
                  <c:v>0.32461209202782199</c:v>
                </c:pt>
                <c:pt idx="18202">
                  <c:v>0.324629926877117</c:v>
                </c:pt>
                <c:pt idx="18203">
                  <c:v>0.32464776172641302</c:v>
                </c:pt>
                <c:pt idx="18204">
                  <c:v>0.32466559657570798</c:v>
                </c:pt>
                <c:pt idx="18205">
                  <c:v>0.324683431425004</c:v>
                </c:pt>
                <c:pt idx="18206">
                  <c:v>0.32470126627429902</c:v>
                </c:pt>
                <c:pt idx="18207">
                  <c:v>0.32471910112359498</c:v>
                </c:pt>
                <c:pt idx="18208">
                  <c:v>0.32473693597289099</c:v>
                </c:pt>
                <c:pt idx="18209">
                  <c:v>0.32475477082218601</c:v>
                </c:pt>
                <c:pt idx="18210">
                  <c:v>0.32477260567148197</c:v>
                </c:pt>
                <c:pt idx="18211">
                  <c:v>0.32479044052077699</c:v>
                </c:pt>
                <c:pt idx="18212">
                  <c:v>0.32480827537007301</c:v>
                </c:pt>
                <c:pt idx="18213">
                  <c:v>0.32482611021936802</c:v>
                </c:pt>
                <c:pt idx="18214">
                  <c:v>0.32484394506866399</c:v>
                </c:pt>
                <c:pt idx="18215">
                  <c:v>0.324861779917959</c:v>
                </c:pt>
                <c:pt idx="18216">
                  <c:v>0.32487961476725502</c:v>
                </c:pt>
                <c:pt idx="18217">
                  <c:v>0.32489744961654998</c:v>
                </c:pt>
                <c:pt idx="18218">
                  <c:v>0.324915284465846</c:v>
                </c:pt>
                <c:pt idx="18219">
                  <c:v>0.32493311931514102</c:v>
                </c:pt>
                <c:pt idx="18220">
                  <c:v>0.32495095416443698</c:v>
                </c:pt>
                <c:pt idx="18221">
                  <c:v>0.324968789013732</c:v>
                </c:pt>
                <c:pt idx="18222">
                  <c:v>0.32498662386302801</c:v>
                </c:pt>
                <c:pt idx="18223">
                  <c:v>0.32500445871232297</c:v>
                </c:pt>
                <c:pt idx="18224">
                  <c:v>0.32502229356161899</c:v>
                </c:pt>
                <c:pt idx="18225">
                  <c:v>0.32504012841091401</c:v>
                </c:pt>
                <c:pt idx="18226">
                  <c:v>0.32505796326021003</c:v>
                </c:pt>
                <c:pt idx="18227">
                  <c:v>0.32507579810950599</c:v>
                </c:pt>
                <c:pt idx="18228">
                  <c:v>0.325093632958801</c:v>
                </c:pt>
                <c:pt idx="18229">
                  <c:v>0.32511146780809702</c:v>
                </c:pt>
                <c:pt idx="18230">
                  <c:v>0.32512930265739198</c:v>
                </c:pt>
                <c:pt idx="18231">
                  <c:v>0.325147137506688</c:v>
                </c:pt>
                <c:pt idx="18232">
                  <c:v>0.32516497235598302</c:v>
                </c:pt>
                <c:pt idx="18233">
                  <c:v>0.32518280720527898</c:v>
                </c:pt>
                <c:pt idx="18234">
                  <c:v>0.325200642054574</c:v>
                </c:pt>
                <c:pt idx="18235">
                  <c:v>0.32521847690387001</c:v>
                </c:pt>
                <c:pt idx="18236">
                  <c:v>0.32523631175316497</c:v>
                </c:pt>
                <c:pt idx="18237">
                  <c:v>0.32525414660246099</c:v>
                </c:pt>
                <c:pt idx="18238">
                  <c:v>0.32527198145175601</c:v>
                </c:pt>
                <c:pt idx="18239">
                  <c:v>0.32528981630105203</c:v>
                </c:pt>
                <c:pt idx="18240">
                  <c:v>0.32530765115034699</c:v>
                </c:pt>
                <c:pt idx="18241">
                  <c:v>0.325325485999643</c:v>
                </c:pt>
                <c:pt idx="18242">
                  <c:v>0.32534332084893802</c:v>
                </c:pt>
                <c:pt idx="18243">
                  <c:v>0.32536115569823398</c:v>
                </c:pt>
                <c:pt idx="18244">
                  <c:v>0.325378990547529</c:v>
                </c:pt>
                <c:pt idx="18245">
                  <c:v>0.32539682539682502</c:v>
                </c:pt>
                <c:pt idx="18246">
                  <c:v>0.32541466024611998</c:v>
                </c:pt>
                <c:pt idx="18247">
                  <c:v>0.325432495095416</c:v>
                </c:pt>
                <c:pt idx="18248">
                  <c:v>0.32545032994471101</c:v>
                </c:pt>
                <c:pt idx="18249">
                  <c:v>0.32546816479400698</c:v>
                </c:pt>
                <c:pt idx="18250">
                  <c:v>0.32548599964330299</c:v>
                </c:pt>
                <c:pt idx="18251">
                  <c:v>0.32550383449259801</c:v>
                </c:pt>
                <c:pt idx="18252">
                  <c:v>0.32552166934189403</c:v>
                </c:pt>
                <c:pt idx="18253">
                  <c:v>0.32553950419118899</c:v>
                </c:pt>
                <c:pt idx="18254">
                  <c:v>0.32555733904048501</c:v>
                </c:pt>
                <c:pt idx="18255">
                  <c:v>0.32557517388978002</c:v>
                </c:pt>
                <c:pt idx="18256">
                  <c:v>0.32559300873907598</c:v>
                </c:pt>
                <c:pt idx="18257">
                  <c:v>0.325610843588371</c:v>
                </c:pt>
                <c:pt idx="18258">
                  <c:v>0.32562867843766702</c:v>
                </c:pt>
                <c:pt idx="18259">
                  <c:v>0.32564651328696198</c:v>
                </c:pt>
                <c:pt idx="18260">
                  <c:v>0.325664348136258</c:v>
                </c:pt>
                <c:pt idx="18261">
                  <c:v>0.32568218298555301</c:v>
                </c:pt>
                <c:pt idx="18262">
                  <c:v>0.32570001783484898</c:v>
                </c:pt>
                <c:pt idx="18263">
                  <c:v>0.32571785268414399</c:v>
                </c:pt>
                <c:pt idx="18264">
                  <c:v>0.32573568753344001</c:v>
                </c:pt>
                <c:pt idx="18265">
                  <c:v>0.32575352238273497</c:v>
                </c:pt>
                <c:pt idx="18266">
                  <c:v>0.32577135723203099</c:v>
                </c:pt>
                <c:pt idx="18267">
                  <c:v>0.32578919208132601</c:v>
                </c:pt>
                <c:pt idx="18268">
                  <c:v>0.32580702693062202</c:v>
                </c:pt>
                <c:pt idx="18269">
                  <c:v>0.32582486177991798</c:v>
                </c:pt>
                <c:pt idx="18270">
                  <c:v>0.325842696629213</c:v>
                </c:pt>
                <c:pt idx="18271">
                  <c:v>0.32586053147850902</c:v>
                </c:pt>
                <c:pt idx="18272">
                  <c:v>0.32587836632780398</c:v>
                </c:pt>
                <c:pt idx="18273">
                  <c:v>0.3258962011771</c:v>
                </c:pt>
                <c:pt idx="18274">
                  <c:v>0.32591403602639502</c:v>
                </c:pt>
                <c:pt idx="18275">
                  <c:v>0.32593187087569098</c:v>
                </c:pt>
                <c:pt idx="18276">
                  <c:v>0.32594970572498599</c:v>
                </c:pt>
                <c:pt idx="18277">
                  <c:v>0.32596754057428201</c:v>
                </c:pt>
                <c:pt idx="18278">
                  <c:v>0.32598537542357697</c:v>
                </c:pt>
                <c:pt idx="18279">
                  <c:v>0.32600321027287299</c:v>
                </c:pt>
                <c:pt idx="18280">
                  <c:v>0.32602104512216801</c:v>
                </c:pt>
                <c:pt idx="18281">
                  <c:v>0.32603887997146402</c:v>
                </c:pt>
                <c:pt idx="18282">
                  <c:v>0.32605671482075899</c:v>
                </c:pt>
                <c:pt idx="18283">
                  <c:v>0.326074549670055</c:v>
                </c:pt>
                <c:pt idx="18284">
                  <c:v>0.32609238451935002</c:v>
                </c:pt>
                <c:pt idx="18285">
                  <c:v>0.32611021936864598</c:v>
                </c:pt>
                <c:pt idx="18286">
                  <c:v>0.326128054217941</c:v>
                </c:pt>
                <c:pt idx="18287">
                  <c:v>0.32614588906723702</c:v>
                </c:pt>
                <c:pt idx="18288">
                  <c:v>0.32616372391653198</c:v>
                </c:pt>
                <c:pt idx="18289">
                  <c:v>0.32618155876582799</c:v>
                </c:pt>
                <c:pt idx="18290">
                  <c:v>0.32619939361512301</c:v>
                </c:pt>
                <c:pt idx="18291">
                  <c:v>0.32621722846441897</c:v>
                </c:pt>
                <c:pt idx="18292">
                  <c:v>0.32623506331371499</c:v>
                </c:pt>
                <c:pt idx="18293">
                  <c:v>0.32625289816301001</c:v>
                </c:pt>
                <c:pt idx="18294">
                  <c:v>0.32627073301230602</c:v>
                </c:pt>
                <c:pt idx="18295">
                  <c:v>0.32628856786160099</c:v>
                </c:pt>
                <c:pt idx="18296">
                  <c:v>0.326306402710897</c:v>
                </c:pt>
                <c:pt idx="18297">
                  <c:v>0.32632423756019202</c:v>
                </c:pt>
                <c:pt idx="18298">
                  <c:v>0.32634207240948798</c:v>
                </c:pt>
                <c:pt idx="18299">
                  <c:v>0.326359907258783</c:v>
                </c:pt>
                <c:pt idx="18300">
                  <c:v>0.32637774210807902</c:v>
                </c:pt>
                <c:pt idx="18301">
                  <c:v>0.32639557695737398</c:v>
                </c:pt>
                <c:pt idx="18302">
                  <c:v>0.32641341180667</c:v>
                </c:pt>
                <c:pt idx="18303">
                  <c:v>0.32643124665596501</c:v>
                </c:pt>
                <c:pt idx="18304">
                  <c:v>0.32644908150526097</c:v>
                </c:pt>
                <c:pt idx="18305">
                  <c:v>0.32646691635455599</c:v>
                </c:pt>
                <c:pt idx="18306">
                  <c:v>0.32648475120385201</c:v>
                </c:pt>
                <c:pt idx="18307">
                  <c:v>0.32650258605314703</c:v>
                </c:pt>
                <c:pt idx="18308">
                  <c:v>0.32652042090244299</c:v>
                </c:pt>
                <c:pt idx="18309">
                  <c:v>0.326538255751738</c:v>
                </c:pt>
                <c:pt idx="18310">
                  <c:v>0.32655609060103402</c:v>
                </c:pt>
                <c:pt idx="18311">
                  <c:v>0.32657392545032898</c:v>
                </c:pt>
                <c:pt idx="18312">
                  <c:v>0.326591760299625</c:v>
                </c:pt>
                <c:pt idx="18313">
                  <c:v>0.32660959514892102</c:v>
                </c:pt>
                <c:pt idx="18314">
                  <c:v>0.32662742999821598</c:v>
                </c:pt>
                <c:pt idx="18315">
                  <c:v>0.326645264847512</c:v>
                </c:pt>
                <c:pt idx="18316">
                  <c:v>0.32666309969680701</c:v>
                </c:pt>
                <c:pt idx="18317">
                  <c:v>0.32668093454610297</c:v>
                </c:pt>
                <c:pt idx="18318">
                  <c:v>0.32669876939539799</c:v>
                </c:pt>
                <c:pt idx="18319">
                  <c:v>0.32671660424469401</c:v>
                </c:pt>
                <c:pt idx="18320">
                  <c:v>0.32673443909398903</c:v>
                </c:pt>
                <c:pt idx="18321">
                  <c:v>0.32675227394328499</c:v>
                </c:pt>
                <c:pt idx="18322">
                  <c:v>0.32677010879258001</c:v>
                </c:pt>
                <c:pt idx="18323">
                  <c:v>0.32678794364187602</c:v>
                </c:pt>
                <c:pt idx="18324">
                  <c:v>0.32680577849117098</c:v>
                </c:pt>
                <c:pt idx="18325">
                  <c:v>0.326823613340467</c:v>
                </c:pt>
                <c:pt idx="18326">
                  <c:v>0.32684144818976202</c:v>
                </c:pt>
                <c:pt idx="18327">
                  <c:v>0.32685928303905798</c:v>
                </c:pt>
                <c:pt idx="18328">
                  <c:v>0.326877117888353</c:v>
                </c:pt>
                <c:pt idx="18329">
                  <c:v>0.32689495273764901</c:v>
                </c:pt>
                <c:pt idx="18330">
                  <c:v>0.32691278758694398</c:v>
                </c:pt>
                <c:pt idx="18331">
                  <c:v>0.32693062243623999</c:v>
                </c:pt>
                <c:pt idx="18332">
                  <c:v>0.32694845728553501</c:v>
                </c:pt>
                <c:pt idx="18333">
                  <c:v>0.32696629213483103</c:v>
                </c:pt>
                <c:pt idx="18334">
                  <c:v>0.32698412698412699</c:v>
                </c:pt>
                <c:pt idx="18335">
                  <c:v>0.32700196183342201</c:v>
                </c:pt>
                <c:pt idx="18336">
                  <c:v>0.32701979668271802</c:v>
                </c:pt>
                <c:pt idx="18337">
                  <c:v>0.32703763153201298</c:v>
                </c:pt>
                <c:pt idx="18338">
                  <c:v>0.327055466381309</c:v>
                </c:pt>
                <c:pt idx="18339">
                  <c:v>0.32707330123060402</c:v>
                </c:pt>
                <c:pt idx="18340">
                  <c:v>0.32709113607989998</c:v>
                </c:pt>
                <c:pt idx="18341">
                  <c:v>0.327108970929195</c:v>
                </c:pt>
                <c:pt idx="18342">
                  <c:v>0.32712680577849101</c:v>
                </c:pt>
                <c:pt idx="18343">
                  <c:v>0.32714464062778598</c:v>
                </c:pt>
                <c:pt idx="18344">
                  <c:v>0.32716247547708199</c:v>
                </c:pt>
                <c:pt idx="18345">
                  <c:v>0.32718031032637701</c:v>
                </c:pt>
                <c:pt idx="18346">
                  <c:v>0.32719814517567303</c:v>
                </c:pt>
                <c:pt idx="18347">
                  <c:v>0.32721598002496799</c:v>
                </c:pt>
                <c:pt idx="18348">
                  <c:v>0.32723381487426401</c:v>
                </c:pt>
                <c:pt idx="18349">
                  <c:v>0.32725164972355902</c:v>
                </c:pt>
                <c:pt idx="18350">
                  <c:v>0.32726948457285499</c:v>
                </c:pt>
                <c:pt idx="18351">
                  <c:v>0.32728731942215</c:v>
                </c:pt>
                <c:pt idx="18352">
                  <c:v>0.32730515427144602</c:v>
                </c:pt>
                <c:pt idx="18353">
                  <c:v>0.32732298912074098</c:v>
                </c:pt>
                <c:pt idx="18354">
                  <c:v>0.327340823970037</c:v>
                </c:pt>
                <c:pt idx="18355">
                  <c:v>0.32735865881933202</c:v>
                </c:pt>
                <c:pt idx="18356">
                  <c:v>0.32737649366862798</c:v>
                </c:pt>
                <c:pt idx="18357">
                  <c:v>0.32739432851792399</c:v>
                </c:pt>
                <c:pt idx="18358">
                  <c:v>0.32741216336721901</c:v>
                </c:pt>
                <c:pt idx="18359">
                  <c:v>0.32742999821651497</c:v>
                </c:pt>
                <c:pt idx="18360">
                  <c:v>0.32744783306580999</c:v>
                </c:pt>
                <c:pt idx="18361">
                  <c:v>0.32746566791510601</c:v>
                </c:pt>
                <c:pt idx="18362">
                  <c:v>0.32748350276440102</c:v>
                </c:pt>
                <c:pt idx="18363">
                  <c:v>0.32750133761369699</c:v>
                </c:pt>
                <c:pt idx="18364">
                  <c:v>0.327519172462992</c:v>
                </c:pt>
                <c:pt idx="18365">
                  <c:v>0.32753700731228802</c:v>
                </c:pt>
                <c:pt idx="18366">
                  <c:v>0.32755484216158298</c:v>
                </c:pt>
                <c:pt idx="18367">
                  <c:v>0.327572677010879</c:v>
                </c:pt>
                <c:pt idx="18368">
                  <c:v>0.32759051186017402</c:v>
                </c:pt>
                <c:pt idx="18369">
                  <c:v>0.32760834670946998</c:v>
                </c:pt>
                <c:pt idx="18370">
                  <c:v>0.327626181558765</c:v>
                </c:pt>
                <c:pt idx="18371">
                  <c:v>0.32764401640806101</c:v>
                </c:pt>
                <c:pt idx="18372">
                  <c:v>0.32766185125735597</c:v>
                </c:pt>
                <c:pt idx="18373">
                  <c:v>0.32767968610665199</c:v>
                </c:pt>
                <c:pt idx="18374">
                  <c:v>0.32769752095594701</c:v>
                </c:pt>
                <c:pt idx="18375">
                  <c:v>0.32771535580524302</c:v>
                </c:pt>
                <c:pt idx="18376">
                  <c:v>0.32773319065453899</c:v>
                </c:pt>
                <c:pt idx="18377">
                  <c:v>0.327751025503834</c:v>
                </c:pt>
                <c:pt idx="18378">
                  <c:v>0.32776886035313002</c:v>
                </c:pt>
                <c:pt idx="18379">
                  <c:v>0.32778669520242498</c:v>
                </c:pt>
                <c:pt idx="18380">
                  <c:v>0.327804530051721</c:v>
                </c:pt>
                <c:pt idx="18381">
                  <c:v>0.32782236490101602</c:v>
                </c:pt>
                <c:pt idx="18382">
                  <c:v>0.32784019975031198</c:v>
                </c:pt>
                <c:pt idx="18383">
                  <c:v>0.327858034599607</c:v>
                </c:pt>
                <c:pt idx="18384">
                  <c:v>0.32787586944890301</c:v>
                </c:pt>
                <c:pt idx="18385">
                  <c:v>0.32789370429819797</c:v>
                </c:pt>
                <c:pt idx="18386">
                  <c:v>0.32791153914749399</c:v>
                </c:pt>
                <c:pt idx="18387">
                  <c:v>0.32792937399678901</c:v>
                </c:pt>
                <c:pt idx="18388">
                  <c:v>0.32794720884608503</c:v>
                </c:pt>
                <c:pt idx="18389">
                  <c:v>0.32796504369537999</c:v>
                </c:pt>
                <c:pt idx="18390">
                  <c:v>0.327982878544676</c:v>
                </c:pt>
                <c:pt idx="18391">
                  <c:v>0.32800071339397102</c:v>
                </c:pt>
                <c:pt idx="18392">
                  <c:v>0.32801854824326698</c:v>
                </c:pt>
                <c:pt idx="18393">
                  <c:v>0.328036383092562</c:v>
                </c:pt>
                <c:pt idx="18394">
                  <c:v>0.32805421794185802</c:v>
                </c:pt>
                <c:pt idx="18395">
                  <c:v>0.32807205279115298</c:v>
                </c:pt>
                <c:pt idx="18396">
                  <c:v>0.328089887640449</c:v>
                </c:pt>
                <c:pt idx="18397">
                  <c:v>0.32810772248974401</c:v>
                </c:pt>
                <c:pt idx="18398">
                  <c:v>0.32812555733903997</c:v>
                </c:pt>
                <c:pt idx="18399">
                  <c:v>0.32814339218833599</c:v>
                </c:pt>
                <c:pt idx="18400">
                  <c:v>0.32816122703763101</c:v>
                </c:pt>
                <c:pt idx="18401">
                  <c:v>0.32817906188692703</c:v>
                </c:pt>
                <c:pt idx="18402">
                  <c:v>0.32819689673622199</c:v>
                </c:pt>
                <c:pt idx="18403">
                  <c:v>0.328214731585518</c:v>
                </c:pt>
                <c:pt idx="18404">
                  <c:v>0.32823256643481302</c:v>
                </c:pt>
                <c:pt idx="18405">
                  <c:v>0.32825040128410898</c:v>
                </c:pt>
                <c:pt idx="18406">
                  <c:v>0.328268236133404</c:v>
                </c:pt>
                <c:pt idx="18407">
                  <c:v>0.32828607098270002</c:v>
                </c:pt>
                <c:pt idx="18408">
                  <c:v>0.32830390583199498</c:v>
                </c:pt>
                <c:pt idx="18409">
                  <c:v>0.328321740681291</c:v>
                </c:pt>
                <c:pt idx="18410">
                  <c:v>0.32833957553058601</c:v>
                </c:pt>
                <c:pt idx="18411">
                  <c:v>0.32835741037988198</c:v>
                </c:pt>
                <c:pt idx="18412">
                  <c:v>0.32837524522917699</c:v>
                </c:pt>
                <c:pt idx="18413">
                  <c:v>0.32839308007847301</c:v>
                </c:pt>
                <c:pt idx="18414">
                  <c:v>0.32841091492776803</c:v>
                </c:pt>
                <c:pt idx="18415">
                  <c:v>0.32842874977706399</c:v>
                </c:pt>
                <c:pt idx="18416">
                  <c:v>0.32844658462635901</c:v>
                </c:pt>
                <c:pt idx="18417">
                  <c:v>0.32846441947565502</c:v>
                </c:pt>
                <c:pt idx="18418">
                  <c:v>0.32848225432494998</c:v>
                </c:pt>
                <c:pt idx="18419">
                  <c:v>0.328500089174246</c:v>
                </c:pt>
                <c:pt idx="18420">
                  <c:v>0.32851792402354202</c:v>
                </c:pt>
                <c:pt idx="18421">
                  <c:v>0.32853575887283698</c:v>
                </c:pt>
                <c:pt idx="18422">
                  <c:v>0.328553593722133</c:v>
                </c:pt>
                <c:pt idx="18423">
                  <c:v>0.32857142857142801</c:v>
                </c:pt>
                <c:pt idx="18424">
                  <c:v>0.32858926342072398</c:v>
                </c:pt>
                <c:pt idx="18425">
                  <c:v>0.32860709827001899</c:v>
                </c:pt>
                <c:pt idx="18426">
                  <c:v>0.32862493311931501</c:v>
                </c:pt>
                <c:pt idx="18427">
                  <c:v>0.32864276796860997</c:v>
                </c:pt>
                <c:pt idx="18428">
                  <c:v>0.32866060281790599</c:v>
                </c:pt>
                <c:pt idx="18429">
                  <c:v>0.32867843766720101</c:v>
                </c:pt>
                <c:pt idx="18430">
                  <c:v>0.32869627251649702</c:v>
                </c:pt>
                <c:pt idx="18431">
                  <c:v>0.32871410736579199</c:v>
                </c:pt>
                <c:pt idx="18432">
                  <c:v>0.328731942215088</c:v>
                </c:pt>
                <c:pt idx="18433">
                  <c:v>0.32874977706438302</c:v>
                </c:pt>
                <c:pt idx="18434">
                  <c:v>0.32876761191367898</c:v>
                </c:pt>
                <c:pt idx="18435">
                  <c:v>0.328785446762974</c:v>
                </c:pt>
                <c:pt idx="18436">
                  <c:v>0.32880328161227002</c:v>
                </c:pt>
                <c:pt idx="18437">
                  <c:v>0.32882111646156498</c:v>
                </c:pt>
                <c:pt idx="18438">
                  <c:v>0.32883895131086099</c:v>
                </c:pt>
                <c:pt idx="18439">
                  <c:v>0.32885678616015601</c:v>
                </c:pt>
                <c:pt idx="18440">
                  <c:v>0.32887462100945197</c:v>
                </c:pt>
                <c:pt idx="18441">
                  <c:v>0.32889245585874799</c:v>
                </c:pt>
                <c:pt idx="18442">
                  <c:v>0.32891029070804301</c:v>
                </c:pt>
                <c:pt idx="18443">
                  <c:v>0.32892812555733902</c:v>
                </c:pt>
                <c:pt idx="18444">
                  <c:v>0.32894596040663399</c:v>
                </c:pt>
                <c:pt idx="18445">
                  <c:v>0.32896379525593</c:v>
                </c:pt>
                <c:pt idx="18446">
                  <c:v>0.32898163010522502</c:v>
                </c:pt>
                <c:pt idx="18447">
                  <c:v>0.32899946495452098</c:v>
                </c:pt>
                <c:pt idx="18448">
                  <c:v>0.329017299803816</c:v>
                </c:pt>
                <c:pt idx="18449">
                  <c:v>0.32903513465311202</c:v>
                </c:pt>
                <c:pt idx="18450">
                  <c:v>0.32905296950240698</c:v>
                </c:pt>
                <c:pt idx="18451">
                  <c:v>0.32907080435170299</c:v>
                </c:pt>
                <c:pt idx="18452">
                  <c:v>0.32908863920099801</c:v>
                </c:pt>
                <c:pt idx="18453">
                  <c:v>0.32910647405029397</c:v>
                </c:pt>
                <c:pt idx="18454">
                  <c:v>0.32912430889958899</c:v>
                </c:pt>
                <c:pt idx="18455">
                  <c:v>0.32914214374888501</c:v>
                </c:pt>
                <c:pt idx="18456">
                  <c:v>0.32915997859818003</c:v>
                </c:pt>
                <c:pt idx="18457">
                  <c:v>0.32917781344747599</c:v>
                </c:pt>
                <c:pt idx="18458">
                  <c:v>0.329195648296771</c:v>
                </c:pt>
                <c:pt idx="18459">
                  <c:v>0.32921348314606702</c:v>
                </c:pt>
                <c:pt idx="18460">
                  <c:v>0.32923131799536198</c:v>
                </c:pt>
                <c:pt idx="18461">
                  <c:v>0.329249152844658</c:v>
                </c:pt>
                <c:pt idx="18462">
                  <c:v>0.32926698769395302</c:v>
                </c:pt>
                <c:pt idx="18463">
                  <c:v>0.32928482254324898</c:v>
                </c:pt>
                <c:pt idx="18464">
                  <c:v>0.329302657392545</c:v>
                </c:pt>
                <c:pt idx="18465">
                  <c:v>0.32932049224184001</c:v>
                </c:pt>
                <c:pt idx="18466">
                  <c:v>0.32933832709113597</c:v>
                </c:pt>
                <c:pt idx="18467">
                  <c:v>0.32935616194043099</c:v>
                </c:pt>
                <c:pt idx="18468">
                  <c:v>0.32937399678972701</c:v>
                </c:pt>
                <c:pt idx="18469">
                  <c:v>0.32939183163902203</c:v>
                </c:pt>
                <c:pt idx="18470">
                  <c:v>0.32940966648831799</c:v>
                </c:pt>
                <c:pt idx="18471">
                  <c:v>0.329427501337613</c:v>
                </c:pt>
                <c:pt idx="18472">
                  <c:v>0.32944533618690902</c:v>
                </c:pt>
                <c:pt idx="18473">
                  <c:v>0.32946317103620398</c:v>
                </c:pt>
                <c:pt idx="18474">
                  <c:v>0.3294810058855</c:v>
                </c:pt>
                <c:pt idx="18475">
                  <c:v>0.32949884073479502</c:v>
                </c:pt>
                <c:pt idx="18476">
                  <c:v>0.32951667558409098</c:v>
                </c:pt>
                <c:pt idx="18477">
                  <c:v>0.329534510433386</c:v>
                </c:pt>
                <c:pt idx="18478">
                  <c:v>0.32955234528268201</c:v>
                </c:pt>
                <c:pt idx="18479">
                  <c:v>0.32957018013197698</c:v>
                </c:pt>
                <c:pt idx="18480">
                  <c:v>0.32958801498127299</c:v>
                </c:pt>
                <c:pt idx="18481">
                  <c:v>0.32960584983056801</c:v>
                </c:pt>
                <c:pt idx="18482">
                  <c:v>0.32962368467986403</c:v>
                </c:pt>
                <c:pt idx="18483">
                  <c:v>0.32964151952915999</c:v>
                </c:pt>
                <c:pt idx="18484">
                  <c:v>0.32965935437845501</c:v>
                </c:pt>
                <c:pt idx="18485">
                  <c:v>0.32967718922775102</c:v>
                </c:pt>
                <c:pt idx="18486">
                  <c:v>0.32969502407704598</c:v>
                </c:pt>
                <c:pt idx="18487">
                  <c:v>0.329712858926342</c:v>
                </c:pt>
                <c:pt idx="18488">
                  <c:v>0.32973069377563702</c:v>
                </c:pt>
                <c:pt idx="18489">
                  <c:v>0.32974852862493298</c:v>
                </c:pt>
                <c:pt idx="18490">
                  <c:v>0.329766363474228</c:v>
                </c:pt>
                <c:pt idx="18491">
                  <c:v>0.32978419832352401</c:v>
                </c:pt>
                <c:pt idx="18492">
                  <c:v>0.32980203317281898</c:v>
                </c:pt>
                <c:pt idx="18493">
                  <c:v>0.32981986802211499</c:v>
                </c:pt>
                <c:pt idx="18494">
                  <c:v>0.32983770287141001</c:v>
                </c:pt>
                <c:pt idx="18495">
                  <c:v>0.32985553772070603</c:v>
                </c:pt>
                <c:pt idx="18496">
                  <c:v>0.32987337257000099</c:v>
                </c:pt>
                <c:pt idx="18497">
                  <c:v>0.32989120741929701</c:v>
                </c:pt>
                <c:pt idx="18498">
                  <c:v>0.32990904226859202</c:v>
                </c:pt>
                <c:pt idx="18499">
                  <c:v>0.32992687711788798</c:v>
                </c:pt>
                <c:pt idx="18500">
                  <c:v>0.329944711967183</c:v>
                </c:pt>
                <c:pt idx="18501">
                  <c:v>0.32996254681647902</c:v>
                </c:pt>
                <c:pt idx="18502">
                  <c:v>0.32998038166577398</c:v>
                </c:pt>
                <c:pt idx="18503">
                  <c:v>0.32999821651507</c:v>
                </c:pt>
                <c:pt idx="18504">
                  <c:v>0.33001605136436502</c:v>
                </c:pt>
                <c:pt idx="18505">
                  <c:v>0.33003388621366098</c:v>
                </c:pt>
                <c:pt idx="18506">
                  <c:v>0.33005172106295699</c:v>
                </c:pt>
                <c:pt idx="18507">
                  <c:v>0.33006955591225201</c:v>
                </c:pt>
                <c:pt idx="18508">
                  <c:v>0.33008739076154803</c:v>
                </c:pt>
                <c:pt idx="18509">
                  <c:v>0.33010522561084299</c:v>
                </c:pt>
                <c:pt idx="18510">
                  <c:v>0.33012306046013901</c:v>
                </c:pt>
                <c:pt idx="18511">
                  <c:v>0.33014089530943402</c:v>
                </c:pt>
                <c:pt idx="18512">
                  <c:v>0.33015873015872998</c:v>
                </c:pt>
                <c:pt idx="18513">
                  <c:v>0.330176565008025</c:v>
                </c:pt>
                <c:pt idx="18514">
                  <c:v>0.33019439985732102</c:v>
                </c:pt>
                <c:pt idx="18515">
                  <c:v>0.33021223470661598</c:v>
                </c:pt>
                <c:pt idx="18516">
                  <c:v>0.330230069555912</c:v>
                </c:pt>
                <c:pt idx="18517">
                  <c:v>0.33024790440520702</c:v>
                </c:pt>
                <c:pt idx="18518">
                  <c:v>0.33026573925450298</c:v>
                </c:pt>
                <c:pt idx="18519">
                  <c:v>0.33028357410379799</c:v>
                </c:pt>
                <c:pt idx="18520">
                  <c:v>0.33030140895309401</c:v>
                </c:pt>
                <c:pt idx="18521">
                  <c:v>0.33031924380238897</c:v>
                </c:pt>
                <c:pt idx="18522">
                  <c:v>0.33033707865168499</c:v>
                </c:pt>
                <c:pt idx="18523">
                  <c:v>0.33035491350098001</c:v>
                </c:pt>
                <c:pt idx="18524">
                  <c:v>0.33037274835027602</c:v>
                </c:pt>
                <c:pt idx="18525">
                  <c:v>0.33039058319957199</c:v>
                </c:pt>
                <c:pt idx="18526">
                  <c:v>0.330408418048867</c:v>
                </c:pt>
                <c:pt idx="18527">
                  <c:v>0.33042625289816302</c:v>
                </c:pt>
                <c:pt idx="18528">
                  <c:v>0.33044408774745798</c:v>
                </c:pt>
                <c:pt idx="18529">
                  <c:v>0.330461922596754</c:v>
                </c:pt>
                <c:pt idx="18530">
                  <c:v>0.33047975744604902</c:v>
                </c:pt>
                <c:pt idx="18531">
                  <c:v>0.33049759229534498</c:v>
                </c:pt>
                <c:pt idx="18532">
                  <c:v>0.33051542714463999</c:v>
                </c:pt>
                <c:pt idx="18533">
                  <c:v>0.33053326199393601</c:v>
                </c:pt>
                <c:pt idx="18534">
                  <c:v>0.33055109684323097</c:v>
                </c:pt>
                <c:pt idx="18535">
                  <c:v>0.33056893169252699</c:v>
                </c:pt>
                <c:pt idx="18536">
                  <c:v>0.33058676654182201</c:v>
                </c:pt>
                <c:pt idx="18537">
                  <c:v>0.33060460139111802</c:v>
                </c:pt>
                <c:pt idx="18538">
                  <c:v>0.33062243624041299</c:v>
                </c:pt>
                <c:pt idx="18539">
                  <c:v>0.330640271089709</c:v>
                </c:pt>
                <c:pt idx="18540">
                  <c:v>0.33065810593900402</c:v>
                </c:pt>
                <c:pt idx="18541">
                  <c:v>0.33067594078829998</c:v>
                </c:pt>
                <c:pt idx="18542">
                  <c:v>0.330693775637595</c:v>
                </c:pt>
                <c:pt idx="18543">
                  <c:v>0.33071161048689102</c:v>
                </c:pt>
                <c:pt idx="18544">
                  <c:v>0.33072944533618598</c:v>
                </c:pt>
                <c:pt idx="18545">
                  <c:v>0.330747280185482</c:v>
                </c:pt>
                <c:pt idx="18546">
                  <c:v>0.33076511503477701</c:v>
                </c:pt>
                <c:pt idx="18547">
                  <c:v>0.33078294988407297</c:v>
                </c:pt>
                <c:pt idx="18548">
                  <c:v>0.33080078473336899</c:v>
                </c:pt>
                <c:pt idx="18549">
                  <c:v>0.33081861958266401</c:v>
                </c:pt>
                <c:pt idx="18550">
                  <c:v>0.33083645443196003</c:v>
                </c:pt>
                <c:pt idx="18551">
                  <c:v>0.33085428928125499</c:v>
                </c:pt>
                <c:pt idx="18552">
                  <c:v>0.330872124130551</c:v>
                </c:pt>
                <c:pt idx="18553">
                  <c:v>0.33088995897984602</c:v>
                </c:pt>
                <c:pt idx="18554">
                  <c:v>0.33090779382914198</c:v>
                </c:pt>
                <c:pt idx="18555">
                  <c:v>0.330925628678437</c:v>
                </c:pt>
                <c:pt idx="18556">
                  <c:v>0.33094346352773302</c:v>
                </c:pt>
                <c:pt idx="18557">
                  <c:v>0.33096129837702798</c:v>
                </c:pt>
                <c:pt idx="18558">
                  <c:v>0.330979133226324</c:v>
                </c:pt>
                <c:pt idx="18559">
                  <c:v>0.33099696807561901</c:v>
                </c:pt>
                <c:pt idx="18560">
                  <c:v>0.33101480292491497</c:v>
                </c:pt>
                <c:pt idx="18561">
                  <c:v>0.33103263777420999</c:v>
                </c:pt>
                <c:pt idx="18562">
                  <c:v>0.33105047262350601</c:v>
                </c:pt>
                <c:pt idx="18563">
                  <c:v>0.33106830747280103</c:v>
                </c:pt>
                <c:pt idx="18564">
                  <c:v>0.33108614232209699</c:v>
                </c:pt>
                <c:pt idx="18565">
                  <c:v>0.33110397717139201</c:v>
                </c:pt>
                <c:pt idx="18566">
                  <c:v>0.33112181202068802</c:v>
                </c:pt>
                <c:pt idx="18567">
                  <c:v>0.33113964686998298</c:v>
                </c:pt>
                <c:pt idx="18568">
                  <c:v>0.331157481719279</c:v>
                </c:pt>
                <c:pt idx="18569">
                  <c:v>0.33117531656857502</c:v>
                </c:pt>
                <c:pt idx="18570">
                  <c:v>0.33119315141786998</c:v>
                </c:pt>
                <c:pt idx="18571">
                  <c:v>0.331210986267166</c:v>
                </c:pt>
                <c:pt idx="18572">
                  <c:v>0.33122882111646101</c:v>
                </c:pt>
                <c:pt idx="18573">
                  <c:v>0.33124665596575698</c:v>
                </c:pt>
                <c:pt idx="18574">
                  <c:v>0.33126449081505199</c:v>
                </c:pt>
                <c:pt idx="18575">
                  <c:v>0.33128232566434801</c:v>
                </c:pt>
                <c:pt idx="18576">
                  <c:v>0.33130016051364303</c:v>
                </c:pt>
                <c:pt idx="18577">
                  <c:v>0.33131799536293899</c:v>
                </c:pt>
                <c:pt idx="18578">
                  <c:v>0.33133583021223401</c:v>
                </c:pt>
                <c:pt idx="18579">
                  <c:v>0.33135366506153002</c:v>
                </c:pt>
                <c:pt idx="18580">
                  <c:v>0.33137149991082498</c:v>
                </c:pt>
                <c:pt idx="18581">
                  <c:v>0.331389334760121</c:v>
                </c:pt>
                <c:pt idx="18582">
                  <c:v>0.33140716960941602</c:v>
                </c:pt>
                <c:pt idx="18583">
                  <c:v>0.33142500445871198</c:v>
                </c:pt>
                <c:pt idx="18584">
                  <c:v>0.331442839308007</c:v>
                </c:pt>
                <c:pt idx="18585">
                  <c:v>0.33146067415730301</c:v>
                </c:pt>
                <c:pt idx="18586">
                  <c:v>0.33147850900659798</c:v>
                </c:pt>
                <c:pt idx="18587">
                  <c:v>0.33149634385589399</c:v>
                </c:pt>
                <c:pt idx="18588">
                  <c:v>0.33151417870518901</c:v>
                </c:pt>
                <c:pt idx="18589">
                  <c:v>0.33153201355448503</c:v>
                </c:pt>
                <c:pt idx="18590">
                  <c:v>0.33154984840378099</c:v>
                </c:pt>
                <c:pt idx="18591">
                  <c:v>0.33156768325307601</c:v>
                </c:pt>
                <c:pt idx="18592">
                  <c:v>0.33158551810237202</c:v>
                </c:pt>
                <c:pt idx="18593">
                  <c:v>0.33160335295166699</c:v>
                </c:pt>
                <c:pt idx="18594">
                  <c:v>0.331621187800963</c:v>
                </c:pt>
                <c:pt idx="18595">
                  <c:v>0.33163902265025802</c:v>
                </c:pt>
                <c:pt idx="18596">
                  <c:v>0.33165685749955398</c:v>
                </c:pt>
                <c:pt idx="18597">
                  <c:v>0.331674692348849</c:v>
                </c:pt>
                <c:pt idx="18598">
                  <c:v>0.33169252719814502</c:v>
                </c:pt>
                <c:pt idx="18599">
                  <c:v>0.33171036204743998</c:v>
                </c:pt>
                <c:pt idx="18600">
                  <c:v>0.33172819689673599</c:v>
                </c:pt>
                <c:pt idx="18601">
                  <c:v>0.33174603174603101</c:v>
                </c:pt>
                <c:pt idx="18602">
                  <c:v>0.33176386659532697</c:v>
                </c:pt>
                <c:pt idx="18603">
                  <c:v>0.33178170144462199</c:v>
                </c:pt>
                <c:pt idx="18604">
                  <c:v>0.33179953629391801</c:v>
                </c:pt>
                <c:pt idx="18605">
                  <c:v>0.33181737114321302</c:v>
                </c:pt>
                <c:pt idx="18606">
                  <c:v>0.33183520599250899</c:v>
                </c:pt>
                <c:pt idx="18607">
                  <c:v>0.331853040841804</c:v>
                </c:pt>
                <c:pt idx="18608">
                  <c:v>0.33187087569110002</c:v>
                </c:pt>
                <c:pt idx="18609">
                  <c:v>0.33188871054039498</c:v>
                </c:pt>
                <c:pt idx="18610">
                  <c:v>0.331906545389691</c:v>
                </c:pt>
                <c:pt idx="18611">
                  <c:v>0.33192438023898602</c:v>
                </c:pt>
                <c:pt idx="18612">
                  <c:v>0.33194221508828198</c:v>
                </c:pt>
                <c:pt idx="18613">
                  <c:v>0.33196004993757799</c:v>
                </c:pt>
                <c:pt idx="18614">
                  <c:v>0.33197788478687301</c:v>
                </c:pt>
                <c:pt idx="18615">
                  <c:v>0.33199571963616897</c:v>
                </c:pt>
                <c:pt idx="18616">
                  <c:v>0.33201355448546399</c:v>
                </c:pt>
                <c:pt idx="18617">
                  <c:v>0.33203138933476001</c:v>
                </c:pt>
                <c:pt idx="18618">
                  <c:v>0.33204922418405503</c:v>
                </c:pt>
                <c:pt idx="18619">
                  <c:v>0.33206705903335099</c:v>
                </c:pt>
                <c:pt idx="18620">
                  <c:v>0.332084893882646</c:v>
                </c:pt>
                <c:pt idx="18621">
                  <c:v>0.33210272873194202</c:v>
                </c:pt>
                <c:pt idx="18622">
                  <c:v>0.33212056358123698</c:v>
                </c:pt>
                <c:pt idx="18623">
                  <c:v>0.332138398430533</c:v>
                </c:pt>
                <c:pt idx="18624">
                  <c:v>0.33215623327982802</c:v>
                </c:pt>
                <c:pt idx="18625">
                  <c:v>0.33217406812912398</c:v>
                </c:pt>
                <c:pt idx="18626">
                  <c:v>0.332191902978419</c:v>
                </c:pt>
                <c:pt idx="18627">
                  <c:v>0.33220973782771501</c:v>
                </c:pt>
                <c:pt idx="18628">
                  <c:v>0.33222757267700997</c:v>
                </c:pt>
                <c:pt idx="18629">
                  <c:v>0.33224540752630599</c:v>
                </c:pt>
                <c:pt idx="18630">
                  <c:v>0.33226324237560101</c:v>
                </c:pt>
                <c:pt idx="18631">
                  <c:v>0.33228107722489703</c:v>
                </c:pt>
                <c:pt idx="18632">
                  <c:v>0.33229891207419299</c:v>
                </c:pt>
                <c:pt idx="18633">
                  <c:v>0.332316746923488</c:v>
                </c:pt>
                <c:pt idx="18634">
                  <c:v>0.33233458177278402</c:v>
                </c:pt>
                <c:pt idx="18635">
                  <c:v>0.33235241662207898</c:v>
                </c:pt>
                <c:pt idx="18636">
                  <c:v>0.332370251471375</c:v>
                </c:pt>
                <c:pt idx="18637">
                  <c:v>0.33238808632067002</c:v>
                </c:pt>
                <c:pt idx="18638">
                  <c:v>0.33240592116996598</c:v>
                </c:pt>
                <c:pt idx="18639">
                  <c:v>0.332423756019261</c:v>
                </c:pt>
                <c:pt idx="18640">
                  <c:v>0.33244159086855701</c:v>
                </c:pt>
                <c:pt idx="18641">
                  <c:v>0.33245942571785198</c:v>
                </c:pt>
                <c:pt idx="18642">
                  <c:v>0.33247726056714799</c:v>
                </c:pt>
                <c:pt idx="18643">
                  <c:v>0.33249509541644301</c:v>
                </c:pt>
                <c:pt idx="18644">
                  <c:v>0.33251293026573903</c:v>
                </c:pt>
                <c:pt idx="18645">
                  <c:v>0.33253076511503399</c:v>
                </c:pt>
                <c:pt idx="18646">
                  <c:v>0.33254859996433001</c:v>
                </c:pt>
                <c:pt idx="18647">
                  <c:v>0.33256643481362502</c:v>
                </c:pt>
                <c:pt idx="18648">
                  <c:v>0.33258426966292098</c:v>
                </c:pt>
                <c:pt idx="18649">
                  <c:v>0.332602104512216</c:v>
                </c:pt>
                <c:pt idx="18650">
                  <c:v>0.33261993936151202</c:v>
                </c:pt>
                <c:pt idx="18651">
                  <c:v>0.33263777421080698</c:v>
                </c:pt>
                <c:pt idx="18652">
                  <c:v>0.332655609060103</c:v>
                </c:pt>
                <c:pt idx="18653">
                  <c:v>0.33267344390939801</c:v>
                </c:pt>
                <c:pt idx="18654">
                  <c:v>0.33269127875869398</c:v>
                </c:pt>
                <c:pt idx="18655">
                  <c:v>0.33270911360798999</c:v>
                </c:pt>
                <c:pt idx="18656">
                  <c:v>0.33272694845728501</c:v>
                </c:pt>
                <c:pt idx="18657">
                  <c:v>0.33274478330658103</c:v>
                </c:pt>
                <c:pt idx="18658">
                  <c:v>0.33276261815587599</c:v>
                </c:pt>
                <c:pt idx="18659">
                  <c:v>0.33278045300517201</c:v>
                </c:pt>
                <c:pt idx="18660">
                  <c:v>0.33279828785446702</c:v>
                </c:pt>
                <c:pt idx="18661">
                  <c:v>0.33281612270376298</c:v>
                </c:pt>
                <c:pt idx="18662">
                  <c:v>0.332833957553058</c:v>
                </c:pt>
                <c:pt idx="18663">
                  <c:v>0.33285179240235402</c:v>
                </c:pt>
                <c:pt idx="18664">
                  <c:v>0.33286962725164898</c:v>
                </c:pt>
                <c:pt idx="18665">
                  <c:v>0.332887462100945</c:v>
                </c:pt>
                <c:pt idx="18666">
                  <c:v>0.33290529695024001</c:v>
                </c:pt>
                <c:pt idx="18667">
                  <c:v>0.33292313179953598</c:v>
                </c:pt>
                <c:pt idx="18668">
                  <c:v>0.33294096664883099</c:v>
                </c:pt>
                <c:pt idx="18669">
                  <c:v>0.33295880149812701</c:v>
                </c:pt>
                <c:pt idx="18670">
                  <c:v>0.33297663634742197</c:v>
                </c:pt>
                <c:pt idx="18671">
                  <c:v>0.33299447119671799</c:v>
                </c:pt>
                <c:pt idx="18672">
                  <c:v>0.33301230604601301</c:v>
                </c:pt>
                <c:pt idx="18673">
                  <c:v>0.33303014089530902</c:v>
                </c:pt>
                <c:pt idx="18674">
                  <c:v>0.33304797574460498</c:v>
                </c:pt>
                <c:pt idx="18675">
                  <c:v>0.3330658105939</c:v>
                </c:pt>
                <c:pt idx="18676">
                  <c:v>0.33308364544319602</c:v>
                </c:pt>
                <c:pt idx="18677">
                  <c:v>0.33310148029249098</c:v>
                </c:pt>
                <c:pt idx="18678">
                  <c:v>0.333119315141787</c:v>
                </c:pt>
                <c:pt idx="18679">
                  <c:v>0.33313714999108202</c:v>
                </c:pt>
                <c:pt idx="18680">
                  <c:v>0.33315498484037798</c:v>
                </c:pt>
                <c:pt idx="18681">
                  <c:v>0.33317281968967299</c:v>
                </c:pt>
                <c:pt idx="18682">
                  <c:v>0.33319065453896901</c:v>
                </c:pt>
                <c:pt idx="18683">
                  <c:v>0.33320848938826397</c:v>
                </c:pt>
                <c:pt idx="18684">
                  <c:v>0.33322632423755999</c:v>
                </c:pt>
                <c:pt idx="18685">
                  <c:v>0.33324415908685501</c:v>
                </c:pt>
                <c:pt idx="18686">
                  <c:v>0.33326199393615102</c:v>
                </c:pt>
                <c:pt idx="18687">
                  <c:v>0.33327982878544599</c:v>
                </c:pt>
                <c:pt idx="18688">
                  <c:v>0.333297663634742</c:v>
                </c:pt>
                <c:pt idx="18689">
                  <c:v>0.33331549848403702</c:v>
                </c:pt>
                <c:pt idx="18690">
                  <c:v>0.33333333333333298</c:v>
                </c:pt>
                <c:pt idx="18691">
                  <c:v>0.333351168182628</c:v>
                </c:pt>
                <c:pt idx="18692">
                  <c:v>0.33336900303192402</c:v>
                </c:pt>
                <c:pt idx="18693">
                  <c:v>0.33338683788121898</c:v>
                </c:pt>
                <c:pt idx="18694">
                  <c:v>0.33340467273051499</c:v>
                </c:pt>
                <c:pt idx="18695">
                  <c:v>0.33342250757981001</c:v>
                </c:pt>
                <c:pt idx="18696">
                  <c:v>0.33344034242910597</c:v>
                </c:pt>
                <c:pt idx="18697">
                  <c:v>0.33345817727840199</c:v>
                </c:pt>
                <c:pt idx="18698">
                  <c:v>0.33347601212769701</c:v>
                </c:pt>
                <c:pt idx="18699">
                  <c:v>0.33349384697699302</c:v>
                </c:pt>
                <c:pt idx="18700">
                  <c:v>0.33351168182628799</c:v>
                </c:pt>
                <c:pt idx="18701">
                  <c:v>0.333529516675584</c:v>
                </c:pt>
                <c:pt idx="18702">
                  <c:v>0.33354735152487902</c:v>
                </c:pt>
                <c:pt idx="18703">
                  <c:v>0.33356518637417498</c:v>
                </c:pt>
                <c:pt idx="18704">
                  <c:v>0.33358302122347</c:v>
                </c:pt>
                <c:pt idx="18705">
                  <c:v>0.33360085607276602</c:v>
                </c:pt>
                <c:pt idx="18706">
                  <c:v>0.33361869092206098</c:v>
                </c:pt>
                <c:pt idx="18707">
                  <c:v>0.333636525771357</c:v>
                </c:pt>
                <c:pt idx="18708">
                  <c:v>0.33365436062065201</c:v>
                </c:pt>
                <c:pt idx="18709">
                  <c:v>0.33367219546994797</c:v>
                </c:pt>
                <c:pt idx="18710">
                  <c:v>0.33369003031924299</c:v>
                </c:pt>
                <c:pt idx="18711">
                  <c:v>0.33370786516853901</c:v>
                </c:pt>
                <c:pt idx="18712">
                  <c:v>0.33372570001783403</c:v>
                </c:pt>
                <c:pt idx="18713">
                  <c:v>0.33374353486712999</c:v>
                </c:pt>
                <c:pt idx="18714">
                  <c:v>0.333761369716425</c:v>
                </c:pt>
                <c:pt idx="18715">
                  <c:v>0.33377920456572102</c:v>
                </c:pt>
                <c:pt idx="18716">
                  <c:v>0.33379703941501598</c:v>
                </c:pt>
                <c:pt idx="18717">
                  <c:v>0.333814874264312</c:v>
                </c:pt>
                <c:pt idx="18718">
                  <c:v>0.33383270911360802</c:v>
                </c:pt>
                <c:pt idx="18719">
                  <c:v>0.33385054396290298</c:v>
                </c:pt>
                <c:pt idx="18720">
                  <c:v>0.333868378812199</c:v>
                </c:pt>
                <c:pt idx="18721">
                  <c:v>0.33388621366149401</c:v>
                </c:pt>
                <c:pt idx="18722">
                  <c:v>0.33390404851078997</c:v>
                </c:pt>
                <c:pt idx="18723">
                  <c:v>0.33392188336008499</c:v>
                </c:pt>
                <c:pt idx="18724">
                  <c:v>0.33393971820938101</c:v>
                </c:pt>
                <c:pt idx="18725">
                  <c:v>0.33395755305867603</c:v>
                </c:pt>
                <c:pt idx="18726">
                  <c:v>0.33397538790797199</c:v>
                </c:pt>
                <c:pt idx="18727">
                  <c:v>0.33399322275726701</c:v>
                </c:pt>
                <c:pt idx="18728">
                  <c:v>0.33401105760656302</c:v>
                </c:pt>
                <c:pt idx="18729">
                  <c:v>0.33402889245585798</c:v>
                </c:pt>
                <c:pt idx="18730">
                  <c:v>0.334046727305154</c:v>
                </c:pt>
                <c:pt idx="18731">
                  <c:v>0.33406456215444902</c:v>
                </c:pt>
                <c:pt idx="18732">
                  <c:v>0.33408239700374498</c:v>
                </c:pt>
                <c:pt idx="18733">
                  <c:v>0.33410023185304</c:v>
                </c:pt>
                <c:pt idx="18734">
                  <c:v>0.33411806670233601</c:v>
                </c:pt>
                <c:pt idx="18735">
                  <c:v>0.33413590155163098</c:v>
                </c:pt>
                <c:pt idx="18736">
                  <c:v>0.33415373640092699</c:v>
                </c:pt>
                <c:pt idx="18737">
                  <c:v>0.33417157125022201</c:v>
                </c:pt>
                <c:pt idx="18738">
                  <c:v>0.33418940609951803</c:v>
                </c:pt>
                <c:pt idx="18739">
                  <c:v>0.33420724094881399</c:v>
                </c:pt>
                <c:pt idx="18740">
                  <c:v>0.33422507579810901</c:v>
                </c:pt>
                <c:pt idx="18741">
                  <c:v>0.33424291064740502</c:v>
                </c:pt>
                <c:pt idx="18742">
                  <c:v>0.33426074549669998</c:v>
                </c:pt>
                <c:pt idx="18743">
                  <c:v>0.334278580345996</c:v>
                </c:pt>
                <c:pt idx="18744">
                  <c:v>0.33429641519529102</c:v>
                </c:pt>
                <c:pt idx="18745">
                  <c:v>0.33431425004458698</c:v>
                </c:pt>
                <c:pt idx="18746">
                  <c:v>0.334332084893882</c:v>
                </c:pt>
                <c:pt idx="18747">
                  <c:v>0.33434991974317801</c:v>
                </c:pt>
                <c:pt idx="18748">
                  <c:v>0.33436775459247298</c:v>
                </c:pt>
                <c:pt idx="18749">
                  <c:v>0.33438558944176899</c:v>
                </c:pt>
                <c:pt idx="18750">
                  <c:v>0.33440342429106401</c:v>
                </c:pt>
                <c:pt idx="18751">
                  <c:v>0.33442125914036003</c:v>
                </c:pt>
                <c:pt idx="18752">
                  <c:v>0.33443909398965499</c:v>
                </c:pt>
                <c:pt idx="18753">
                  <c:v>0.33445692883895101</c:v>
                </c:pt>
                <c:pt idx="18754">
                  <c:v>0.33447476368824602</c:v>
                </c:pt>
                <c:pt idx="18755">
                  <c:v>0.33449259853754199</c:v>
                </c:pt>
                <c:pt idx="18756">
                  <c:v>0.334510433386837</c:v>
                </c:pt>
                <c:pt idx="18757">
                  <c:v>0.33452826823613302</c:v>
                </c:pt>
                <c:pt idx="18758">
                  <c:v>0.33454610308542798</c:v>
                </c:pt>
                <c:pt idx="18759">
                  <c:v>0.334563937934724</c:v>
                </c:pt>
                <c:pt idx="18760">
                  <c:v>0.33458177278401902</c:v>
                </c:pt>
                <c:pt idx="18761">
                  <c:v>0.33459960763331498</c:v>
                </c:pt>
                <c:pt idx="18762">
                  <c:v>0.33461744248261099</c:v>
                </c:pt>
                <c:pt idx="18763">
                  <c:v>0.33463527733190601</c:v>
                </c:pt>
                <c:pt idx="18764">
                  <c:v>0.33465311218120197</c:v>
                </c:pt>
                <c:pt idx="18765">
                  <c:v>0.33467094703049699</c:v>
                </c:pt>
                <c:pt idx="18766">
                  <c:v>0.33468878187979301</c:v>
                </c:pt>
                <c:pt idx="18767">
                  <c:v>0.33470661672908802</c:v>
                </c:pt>
                <c:pt idx="18768">
                  <c:v>0.33472445157838399</c:v>
                </c:pt>
                <c:pt idx="18769">
                  <c:v>0.334742286427679</c:v>
                </c:pt>
                <c:pt idx="18770">
                  <c:v>0.33476012127697502</c:v>
                </c:pt>
                <c:pt idx="18771">
                  <c:v>0.33477795612626998</c:v>
                </c:pt>
                <c:pt idx="18772">
                  <c:v>0.334795790975566</c:v>
                </c:pt>
                <c:pt idx="18773">
                  <c:v>0.33481362582486102</c:v>
                </c:pt>
                <c:pt idx="18774">
                  <c:v>0.33483146067415698</c:v>
                </c:pt>
                <c:pt idx="18775">
                  <c:v>0.334849295523452</c:v>
                </c:pt>
                <c:pt idx="18776">
                  <c:v>0.33486713037274801</c:v>
                </c:pt>
                <c:pt idx="18777">
                  <c:v>0.33488496522204297</c:v>
                </c:pt>
                <c:pt idx="18778">
                  <c:v>0.33490280007133899</c:v>
                </c:pt>
                <c:pt idx="18779">
                  <c:v>0.33492063492063401</c:v>
                </c:pt>
                <c:pt idx="18780">
                  <c:v>0.33493846976993003</c:v>
                </c:pt>
                <c:pt idx="18781">
                  <c:v>0.33495630461922599</c:v>
                </c:pt>
                <c:pt idx="18782">
                  <c:v>0.334974139468521</c:v>
                </c:pt>
                <c:pt idx="18783">
                  <c:v>0.33499197431781702</c:v>
                </c:pt>
                <c:pt idx="18784">
                  <c:v>0.33500980916711198</c:v>
                </c:pt>
                <c:pt idx="18785">
                  <c:v>0.335027644016408</c:v>
                </c:pt>
                <c:pt idx="18786">
                  <c:v>0.33504547886570302</c:v>
                </c:pt>
                <c:pt idx="18787">
                  <c:v>0.33506331371499898</c:v>
                </c:pt>
                <c:pt idx="18788">
                  <c:v>0.335081148564294</c:v>
                </c:pt>
                <c:pt idx="18789">
                  <c:v>0.33509898341359001</c:v>
                </c:pt>
                <c:pt idx="18790">
                  <c:v>0.33511681826288497</c:v>
                </c:pt>
                <c:pt idx="18791">
                  <c:v>0.33513465311218099</c:v>
                </c:pt>
                <c:pt idx="18792">
                  <c:v>0.33515248796147601</c:v>
                </c:pt>
                <c:pt idx="18793">
                  <c:v>0.33517032281077203</c:v>
                </c:pt>
                <c:pt idx="18794">
                  <c:v>0.33518815766006699</c:v>
                </c:pt>
                <c:pt idx="18795">
                  <c:v>0.335205992509363</c:v>
                </c:pt>
                <c:pt idx="18796">
                  <c:v>0.33522382735865802</c:v>
                </c:pt>
                <c:pt idx="18797">
                  <c:v>0.33524166220795398</c:v>
                </c:pt>
                <c:pt idx="18798">
                  <c:v>0.335259497057249</c:v>
                </c:pt>
                <c:pt idx="18799">
                  <c:v>0.33527733190654502</c:v>
                </c:pt>
                <c:pt idx="18800">
                  <c:v>0.33529516675583998</c:v>
                </c:pt>
                <c:pt idx="18801">
                  <c:v>0.335313001605136</c:v>
                </c:pt>
                <c:pt idx="18802">
                  <c:v>0.33533083645443101</c:v>
                </c:pt>
                <c:pt idx="18803">
                  <c:v>0.33534867130372698</c:v>
                </c:pt>
                <c:pt idx="18804">
                  <c:v>0.33536650615302299</c:v>
                </c:pt>
                <c:pt idx="18805">
                  <c:v>0.33538434100231801</c:v>
                </c:pt>
                <c:pt idx="18806">
                  <c:v>0.33540217585161403</c:v>
                </c:pt>
                <c:pt idx="18807">
                  <c:v>0.33542001070090899</c:v>
                </c:pt>
                <c:pt idx="18808">
                  <c:v>0.335437845550205</c:v>
                </c:pt>
                <c:pt idx="18809">
                  <c:v>0.33545568039950002</c:v>
                </c:pt>
                <c:pt idx="18810">
                  <c:v>0.33547351524879598</c:v>
                </c:pt>
                <c:pt idx="18811">
                  <c:v>0.335491350098091</c:v>
                </c:pt>
                <c:pt idx="18812">
                  <c:v>0.33550918494738702</c:v>
                </c:pt>
                <c:pt idx="18813">
                  <c:v>0.33552701979668198</c:v>
                </c:pt>
                <c:pt idx="18814">
                  <c:v>0.335544854645978</c:v>
                </c:pt>
                <c:pt idx="18815">
                  <c:v>0.33556268949527301</c:v>
                </c:pt>
                <c:pt idx="18816">
                  <c:v>0.33558052434456898</c:v>
                </c:pt>
                <c:pt idx="18817">
                  <c:v>0.33559835919386399</c:v>
                </c:pt>
                <c:pt idx="18818">
                  <c:v>0.33561619404316001</c:v>
                </c:pt>
                <c:pt idx="18819">
                  <c:v>0.33563402889245503</c:v>
                </c:pt>
                <c:pt idx="18820">
                  <c:v>0.33565186374175099</c:v>
                </c:pt>
                <c:pt idx="18821">
                  <c:v>0.33566969859104601</c:v>
                </c:pt>
                <c:pt idx="18822">
                  <c:v>0.33568753344034202</c:v>
                </c:pt>
                <c:pt idx="18823">
                  <c:v>0.33570536828963699</c:v>
                </c:pt>
                <c:pt idx="18824">
                  <c:v>0.335723203138933</c:v>
                </c:pt>
                <c:pt idx="18825">
                  <c:v>0.33574103798822902</c:v>
                </c:pt>
                <c:pt idx="18826">
                  <c:v>0.33575887283752398</c:v>
                </c:pt>
                <c:pt idx="18827">
                  <c:v>0.33577670768682</c:v>
                </c:pt>
                <c:pt idx="18828">
                  <c:v>0.33579454253611501</c:v>
                </c:pt>
                <c:pt idx="18829">
                  <c:v>0.33581237738541098</c:v>
                </c:pt>
                <c:pt idx="18830">
                  <c:v>0.33583021223470599</c:v>
                </c:pt>
                <c:pt idx="18831">
                  <c:v>0.33584804708400201</c:v>
                </c:pt>
                <c:pt idx="18832">
                  <c:v>0.33586588193329697</c:v>
                </c:pt>
                <c:pt idx="18833">
                  <c:v>0.33588371678259299</c:v>
                </c:pt>
                <c:pt idx="18834">
                  <c:v>0.33590155163188801</c:v>
                </c:pt>
                <c:pt idx="18835">
                  <c:v>0.33591938648118402</c:v>
                </c:pt>
                <c:pt idx="18836">
                  <c:v>0.33593722133047899</c:v>
                </c:pt>
                <c:pt idx="18837">
                  <c:v>0.335955056179775</c:v>
                </c:pt>
                <c:pt idx="18838">
                  <c:v>0.33597289102907002</c:v>
                </c:pt>
                <c:pt idx="18839">
                  <c:v>0.33599072587836598</c:v>
                </c:pt>
                <c:pt idx="18840">
                  <c:v>0.336008560727661</c:v>
                </c:pt>
                <c:pt idx="18841">
                  <c:v>0.33602639557695702</c:v>
                </c:pt>
                <c:pt idx="18842">
                  <c:v>0.33604423042625198</c:v>
                </c:pt>
                <c:pt idx="18843">
                  <c:v>0.33606206527554799</c:v>
                </c:pt>
                <c:pt idx="18844">
                  <c:v>0.33607990012484301</c:v>
                </c:pt>
                <c:pt idx="18845">
                  <c:v>0.33609773497413897</c:v>
                </c:pt>
                <c:pt idx="18846">
                  <c:v>0.33611556982343499</c:v>
                </c:pt>
                <c:pt idx="18847">
                  <c:v>0.33613340467273001</c:v>
                </c:pt>
                <c:pt idx="18848">
                  <c:v>0.33615123952202602</c:v>
                </c:pt>
                <c:pt idx="18849">
                  <c:v>0.33616907437132099</c:v>
                </c:pt>
                <c:pt idx="18850">
                  <c:v>0.336186909220617</c:v>
                </c:pt>
                <c:pt idx="18851">
                  <c:v>0.33620474406991202</c:v>
                </c:pt>
                <c:pt idx="18852">
                  <c:v>0.33622257891920798</c:v>
                </c:pt>
                <c:pt idx="18853">
                  <c:v>0.336240413768503</c:v>
                </c:pt>
                <c:pt idx="18854">
                  <c:v>0.33625824861779902</c:v>
                </c:pt>
                <c:pt idx="18855">
                  <c:v>0.33627608346709398</c:v>
                </c:pt>
                <c:pt idx="18856">
                  <c:v>0.33629391831638999</c:v>
                </c:pt>
                <c:pt idx="18857">
                  <c:v>0.33631175316568501</c:v>
                </c:pt>
                <c:pt idx="18858">
                  <c:v>0.33632958801498097</c:v>
                </c:pt>
                <c:pt idx="18859">
                  <c:v>0.33634742286427599</c:v>
                </c:pt>
                <c:pt idx="18860">
                  <c:v>0.33636525771357201</c:v>
                </c:pt>
                <c:pt idx="18861">
                  <c:v>0.33638309256286703</c:v>
                </c:pt>
                <c:pt idx="18862">
                  <c:v>0.33640092741216299</c:v>
                </c:pt>
                <c:pt idx="18863">
                  <c:v>0.336418762261458</c:v>
                </c:pt>
                <c:pt idx="18864">
                  <c:v>0.33643659711075402</c:v>
                </c:pt>
                <c:pt idx="18865">
                  <c:v>0.33645443196004898</c:v>
                </c:pt>
                <c:pt idx="18866">
                  <c:v>0.336472266809345</c:v>
                </c:pt>
                <c:pt idx="18867">
                  <c:v>0.33649010165864002</c:v>
                </c:pt>
                <c:pt idx="18868">
                  <c:v>0.33650793650793598</c:v>
                </c:pt>
                <c:pt idx="18869">
                  <c:v>0.336525771357232</c:v>
                </c:pt>
                <c:pt idx="18870">
                  <c:v>0.33654360620652701</c:v>
                </c:pt>
                <c:pt idx="18871">
                  <c:v>0.33656144105582297</c:v>
                </c:pt>
                <c:pt idx="18872">
                  <c:v>0.33657927590511799</c:v>
                </c:pt>
                <c:pt idx="18873">
                  <c:v>0.33659711075441401</c:v>
                </c:pt>
                <c:pt idx="18874">
                  <c:v>0.33661494560370903</c:v>
                </c:pt>
                <c:pt idx="18875">
                  <c:v>0.33663278045300499</c:v>
                </c:pt>
                <c:pt idx="18876">
                  <c:v>0.3366506153023</c:v>
                </c:pt>
                <c:pt idx="18877">
                  <c:v>0.33666845015159602</c:v>
                </c:pt>
                <c:pt idx="18878">
                  <c:v>0.33668628500089098</c:v>
                </c:pt>
                <c:pt idx="18879">
                  <c:v>0.336704119850187</c:v>
                </c:pt>
                <c:pt idx="18880">
                  <c:v>0.33672195469948202</c:v>
                </c:pt>
                <c:pt idx="18881">
                  <c:v>0.33673978954877798</c:v>
                </c:pt>
                <c:pt idx="18882">
                  <c:v>0.336757624398073</c:v>
                </c:pt>
                <c:pt idx="18883">
                  <c:v>0.33677545924736901</c:v>
                </c:pt>
                <c:pt idx="18884">
                  <c:v>0.33679329409666398</c:v>
                </c:pt>
                <c:pt idx="18885">
                  <c:v>0.33681112894595999</c:v>
                </c:pt>
                <c:pt idx="18886">
                  <c:v>0.33682896379525501</c:v>
                </c:pt>
                <c:pt idx="18887">
                  <c:v>0.33684679864455103</c:v>
                </c:pt>
                <c:pt idx="18888">
                  <c:v>0.33686463349384699</c:v>
                </c:pt>
                <c:pt idx="18889">
                  <c:v>0.33688246834314201</c:v>
                </c:pt>
                <c:pt idx="18890">
                  <c:v>0.33690030319243802</c:v>
                </c:pt>
                <c:pt idx="18891">
                  <c:v>0.33691813804173298</c:v>
                </c:pt>
                <c:pt idx="18892">
                  <c:v>0.336935972891029</c:v>
                </c:pt>
                <c:pt idx="18893">
                  <c:v>0.33695380774032402</c:v>
                </c:pt>
                <c:pt idx="18894">
                  <c:v>0.33697164258961998</c:v>
                </c:pt>
                <c:pt idx="18895">
                  <c:v>0.336989477438915</c:v>
                </c:pt>
                <c:pt idx="18896">
                  <c:v>0.33700731228821101</c:v>
                </c:pt>
                <c:pt idx="18897">
                  <c:v>0.33702514713750598</c:v>
                </c:pt>
                <c:pt idx="18898">
                  <c:v>0.33704298198680199</c:v>
                </c:pt>
                <c:pt idx="18899">
                  <c:v>0.33706081683609701</c:v>
                </c:pt>
                <c:pt idx="18900">
                  <c:v>0.33707865168539303</c:v>
                </c:pt>
                <c:pt idx="18901">
                  <c:v>0.33709648653468799</c:v>
                </c:pt>
                <c:pt idx="18902">
                  <c:v>0.33711432138398401</c:v>
                </c:pt>
                <c:pt idx="18903">
                  <c:v>0.33713215623327902</c:v>
                </c:pt>
                <c:pt idx="18904">
                  <c:v>0.33714999108257498</c:v>
                </c:pt>
                <c:pt idx="18905">
                  <c:v>0.33716782593187</c:v>
                </c:pt>
                <c:pt idx="18906">
                  <c:v>0.33718566078116602</c:v>
                </c:pt>
                <c:pt idx="18907">
                  <c:v>0.33720349563046098</c:v>
                </c:pt>
                <c:pt idx="18908">
                  <c:v>0.337221330479757</c:v>
                </c:pt>
                <c:pt idx="18909">
                  <c:v>0.33723916532905202</c:v>
                </c:pt>
                <c:pt idx="18910">
                  <c:v>0.33725700017834798</c:v>
                </c:pt>
                <c:pt idx="18911">
                  <c:v>0.33727483502764399</c:v>
                </c:pt>
                <c:pt idx="18912">
                  <c:v>0.33729266987693901</c:v>
                </c:pt>
                <c:pt idx="18913">
                  <c:v>0.33731050472623503</c:v>
                </c:pt>
                <c:pt idx="18914">
                  <c:v>0.33732833957552999</c:v>
                </c:pt>
                <c:pt idx="18915">
                  <c:v>0.33734617442482601</c:v>
                </c:pt>
                <c:pt idx="18916">
                  <c:v>0.33736400927412102</c:v>
                </c:pt>
                <c:pt idx="18917">
                  <c:v>0.33738184412341699</c:v>
                </c:pt>
                <c:pt idx="18918">
                  <c:v>0.337399678972712</c:v>
                </c:pt>
                <c:pt idx="18919">
                  <c:v>0.33741751382200802</c:v>
                </c:pt>
                <c:pt idx="18920">
                  <c:v>0.33743534867130298</c:v>
                </c:pt>
                <c:pt idx="18921">
                  <c:v>0.337453183520599</c:v>
                </c:pt>
                <c:pt idx="18922">
                  <c:v>0.33747101836989402</c:v>
                </c:pt>
                <c:pt idx="18923">
                  <c:v>0.33748885321918998</c:v>
                </c:pt>
                <c:pt idx="18924">
                  <c:v>0.33750668806848499</c:v>
                </c:pt>
                <c:pt idx="18925">
                  <c:v>0.33752452291778101</c:v>
                </c:pt>
                <c:pt idx="18926">
                  <c:v>0.33754235776707597</c:v>
                </c:pt>
                <c:pt idx="18927">
                  <c:v>0.33756019261637199</c:v>
                </c:pt>
                <c:pt idx="18928">
                  <c:v>0.33757802746566701</c:v>
                </c:pt>
                <c:pt idx="18929">
                  <c:v>0.33759586231496302</c:v>
                </c:pt>
                <c:pt idx="18930">
                  <c:v>0.33761369716425899</c:v>
                </c:pt>
                <c:pt idx="18931">
                  <c:v>0.337631532013554</c:v>
                </c:pt>
                <c:pt idx="18932">
                  <c:v>0.33764936686285002</c:v>
                </c:pt>
                <c:pt idx="18933">
                  <c:v>0.33766720171214498</c:v>
                </c:pt>
                <c:pt idx="18934">
                  <c:v>0.337685036561441</c:v>
                </c:pt>
                <c:pt idx="18935">
                  <c:v>0.33770287141073602</c:v>
                </c:pt>
                <c:pt idx="18936">
                  <c:v>0.33772070626003198</c:v>
                </c:pt>
                <c:pt idx="18937">
                  <c:v>0.337738541109327</c:v>
                </c:pt>
                <c:pt idx="18938">
                  <c:v>0.33775637595862301</c:v>
                </c:pt>
                <c:pt idx="18939">
                  <c:v>0.33777421080791797</c:v>
                </c:pt>
                <c:pt idx="18940">
                  <c:v>0.33779204565721399</c:v>
                </c:pt>
                <c:pt idx="18941">
                  <c:v>0.33780988050650901</c:v>
                </c:pt>
                <c:pt idx="18942">
                  <c:v>0.33782771535580502</c:v>
                </c:pt>
                <c:pt idx="18943">
                  <c:v>0.33784555020509999</c:v>
                </c:pt>
                <c:pt idx="18944">
                  <c:v>0.337863385054396</c:v>
                </c:pt>
                <c:pt idx="18945">
                  <c:v>0.33788121990369102</c:v>
                </c:pt>
                <c:pt idx="18946">
                  <c:v>0.33789905475298698</c:v>
                </c:pt>
                <c:pt idx="18947">
                  <c:v>0.337916889602282</c:v>
                </c:pt>
                <c:pt idx="18948">
                  <c:v>0.33793472445157802</c:v>
                </c:pt>
                <c:pt idx="18949">
                  <c:v>0.33795255930087298</c:v>
                </c:pt>
                <c:pt idx="18950">
                  <c:v>0.337970394150169</c:v>
                </c:pt>
                <c:pt idx="18951">
                  <c:v>0.33798822899946401</c:v>
                </c:pt>
                <c:pt idx="18952">
                  <c:v>0.33800606384875997</c:v>
                </c:pt>
                <c:pt idx="18953">
                  <c:v>0.33802389869805599</c:v>
                </c:pt>
                <c:pt idx="18954">
                  <c:v>0.33804173354735101</c:v>
                </c:pt>
                <c:pt idx="18955">
                  <c:v>0.33805956839664703</c:v>
                </c:pt>
                <c:pt idx="18956">
                  <c:v>0.33807740324594199</c:v>
                </c:pt>
                <c:pt idx="18957">
                  <c:v>0.338095238095238</c:v>
                </c:pt>
                <c:pt idx="18958">
                  <c:v>0.33811307294453302</c:v>
                </c:pt>
                <c:pt idx="18959">
                  <c:v>0.33813090779382898</c:v>
                </c:pt>
                <c:pt idx="18960">
                  <c:v>0.338148742643124</c:v>
                </c:pt>
                <c:pt idx="18961">
                  <c:v>0.33816657749242002</c:v>
                </c:pt>
                <c:pt idx="18962">
                  <c:v>0.33818441234171498</c:v>
                </c:pt>
                <c:pt idx="18963">
                  <c:v>0.338202247191011</c:v>
                </c:pt>
                <c:pt idx="18964">
                  <c:v>0.33822008204030601</c:v>
                </c:pt>
                <c:pt idx="18965">
                  <c:v>0.33823791688960197</c:v>
                </c:pt>
                <c:pt idx="18966">
                  <c:v>0.33825575173889699</c:v>
                </c:pt>
                <c:pt idx="18967">
                  <c:v>0.33827358658819301</c:v>
                </c:pt>
                <c:pt idx="18968">
                  <c:v>0.33829142143748803</c:v>
                </c:pt>
                <c:pt idx="18969">
                  <c:v>0.33830925628678399</c:v>
                </c:pt>
                <c:pt idx="18970">
                  <c:v>0.33832709113607901</c:v>
                </c:pt>
                <c:pt idx="18971">
                  <c:v>0.33834492598537502</c:v>
                </c:pt>
                <c:pt idx="18972">
                  <c:v>0.33836276083466998</c:v>
                </c:pt>
                <c:pt idx="18973">
                  <c:v>0.338380595683966</c:v>
                </c:pt>
                <c:pt idx="18974">
                  <c:v>0.33839843053326202</c:v>
                </c:pt>
                <c:pt idx="18975">
                  <c:v>0.33841626538255698</c:v>
                </c:pt>
                <c:pt idx="18976">
                  <c:v>0.338434100231853</c:v>
                </c:pt>
                <c:pt idx="18977">
                  <c:v>0.33845193508114801</c:v>
                </c:pt>
                <c:pt idx="18978">
                  <c:v>0.33846976993044398</c:v>
                </c:pt>
                <c:pt idx="18979">
                  <c:v>0.33848760477973899</c:v>
                </c:pt>
                <c:pt idx="18980">
                  <c:v>0.33850543962903501</c:v>
                </c:pt>
                <c:pt idx="18981">
                  <c:v>0.33852327447833003</c:v>
                </c:pt>
                <c:pt idx="18982">
                  <c:v>0.33854110932762599</c:v>
                </c:pt>
                <c:pt idx="18983">
                  <c:v>0.33855894417692101</c:v>
                </c:pt>
                <c:pt idx="18984">
                  <c:v>0.33857677902621702</c:v>
                </c:pt>
                <c:pt idx="18985">
                  <c:v>0.33859461387551198</c:v>
                </c:pt>
                <c:pt idx="18986">
                  <c:v>0.338612448724808</c:v>
                </c:pt>
                <c:pt idx="18987">
                  <c:v>0.33863028357410302</c:v>
                </c:pt>
                <c:pt idx="18988">
                  <c:v>0.33864811842339898</c:v>
                </c:pt>
                <c:pt idx="18989">
                  <c:v>0.338665953272694</c:v>
                </c:pt>
                <c:pt idx="18990">
                  <c:v>0.33868378812199001</c:v>
                </c:pt>
                <c:pt idx="18991">
                  <c:v>0.33870162297128498</c:v>
                </c:pt>
                <c:pt idx="18992">
                  <c:v>0.33871945782058099</c:v>
                </c:pt>
                <c:pt idx="18993">
                  <c:v>0.33873729266987601</c:v>
                </c:pt>
                <c:pt idx="18994">
                  <c:v>0.33875512751917197</c:v>
                </c:pt>
                <c:pt idx="18995">
                  <c:v>0.33877296236846799</c:v>
                </c:pt>
                <c:pt idx="18996">
                  <c:v>0.33879079721776301</c:v>
                </c:pt>
                <c:pt idx="18997">
                  <c:v>0.33880863206705902</c:v>
                </c:pt>
                <c:pt idx="18998">
                  <c:v>0.33882646691635399</c:v>
                </c:pt>
                <c:pt idx="18999">
                  <c:v>0.33884430176565</c:v>
                </c:pt>
                <c:pt idx="19000">
                  <c:v>0.33886213661494502</c:v>
                </c:pt>
                <c:pt idx="19001">
                  <c:v>0.33887997146424098</c:v>
                </c:pt>
                <c:pt idx="19002">
                  <c:v>0.338897806313536</c:v>
                </c:pt>
                <c:pt idx="19003">
                  <c:v>0.33891564116283202</c:v>
                </c:pt>
                <c:pt idx="19004">
                  <c:v>0.33893347601212698</c:v>
                </c:pt>
                <c:pt idx="19005">
                  <c:v>0.33895131086142299</c:v>
                </c:pt>
                <c:pt idx="19006">
                  <c:v>0.33896914571071801</c:v>
                </c:pt>
                <c:pt idx="19007">
                  <c:v>0.33898698056001397</c:v>
                </c:pt>
                <c:pt idx="19008">
                  <c:v>0.33900481540930899</c:v>
                </c:pt>
                <c:pt idx="19009">
                  <c:v>0.33902265025860501</c:v>
                </c:pt>
                <c:pt idx="19010">
                  <c:v>0.33904048510790002</c:v>
                </c:pt>
                <c:pt idx="19011">
                  <c:v>0.33905831995719599</c:v>
                </c:pt>
                <c:pt idx="19012">
                  <c:v>0.339076154806491</c:v>
                </c:pt>
                <c:pt idx="19013">
                  <c:v>0.33909398965578702</c:v>
                </c:pt>
                <c:pt idx="19014">
                  <c:v>0.33911182450508198</c:v>
                </c:pt>
                <c:pt idx="19015">
                  <c:v>0.339129659354378</c:v>
                </c:pt>
                <c:pt idx="19016">
                  <c:v>0.33914749420367302</c:v>
                </c:pt>
                <c:pt idx="19017">
                  <c:v>0.33916532905296898</c:v>
                </c:pt>
                <c:pt idx="19018">
                  <c:v>0.33918316390226499</c:v>
                </c:pt>
                <c:pt idx="19019">
                  <c:v>0.33920099875156001</c:v>
                </c:pt>
                <c:pt idx="19020">
                  <c:v>0.33921883360085597</c:v>
                </c:pt>
                <c:pt idx="19021">
                  <c:v>0.33923666845015099</c:v>
                </c:pt>
                <c:pt idx="19022">
                  <c:v>0.33925450329944701</c:v>
                </c:pt>
                <c:pt idx="19023">
                  <c:v>0.33927233814874203</c:v>
                </c:pt>
                <c:pt idx="19024">
                  <c:v>0.33929017299803799</c:v>
                </c:pt>
                <c:pt idx="19025">
                  <c:v>0.339308007847333</c:v>
                </c:pt>
                <c:pt idx="19026">
                  <c:v>0.33932584269662902</c:v>
                </c:pt>
                <c:pt idx="19027">
                  <c:v>0.33934367754592398</c:v>
                </c:pt>
                <c:pt idx="19028">
                  <c:v>0.33936151239522</c:v>
                </c:pt>
                <c:pt idx="19029">
                  <c:v>0.33937934724451502</c:v>
                </c:pt>
                <c:pt idx="19030">
                  <c:v>0.33939718209381098</c:v>
                </c:pt>
                <c:pt idx="19031">
                  <c:v>0.339415016943106</c:v>
                </c:pt>
                <c:pt idx="19032">
                  <c:v>0.33943285179240201</c:v>
                </c:pt>
                <c:pt idx="19033">
                  <c:v>0.33945068664169697</c:v>
                </c:pt>
                <c:pt idx="19034">
                  <c:v>0.33946852149099299</c:v>
                </c:pt>
                <c:pt idx="19035">
                  <c:v>0.33948635634028801</c:v>
                </c:pt>
                <c:pt idx="19036">
                  <c:v>0.33950419118958403</c:v>
                </c:pt>
                <c:pt idx="19037">
                  <c:v>0.33952202603887999</c:v>
                </c:pt>
                <c:pt idx="19038">
                  <c:v>0.339539860888175</c:v>
                </c:pt>
                <c:pt idx="19039">
                  <c:v>0.33955769573747102</c:v>
                </c:pt>
                <c:pt idx="19040">
                  <c:v>0.33957553058676598</c:v>
                </c:pt>
                <c:pt idx="19041">
                  <c:v>0.339593365436062</c:v>
                </c:pt>
                <c:pt idx="19042">
                  <c:v>0.33961120028535702</c:v>
                </c:pt>
                <c:pt idx="19043">
                  <c:v>0.33962903513465298</c:v>
                </c:pt>
                <c:pt idx="19044">
                  <c:v>0.339646869983948</c:v>
                </c:pt>
                <c:pt idx="19045">
                  <c:v>0.33966470483324401</c:v>
                </c:pt>
                <c:pt idx="19046">
                  <c:v>0.33968253968253898</c:v>
                </c:pt>
                <c:pt idx="19047">
                  <c:v>0.33970037453183499</c:v>
                </c:pt>
                <c:pt idx="19048">
                  <c:v>0.33971820938113001</c:v>
                </c:pt>
                <c:pt idx="19049">
                  <c:v>0.33973604423042603</c:v>
                </c:pt>
                <c:pt idx="19050">
                  <c:v>0.33975387907972099</c:v>
                </c:pt>
                <c:pt idx="19051">
                  <c:v>0.33977171392901701</c:v>
                </c:pt>
                <c:pt idx="19052">
                  <c:v>0.33978954877831202</c:v>
                </c:pt>
                <c:pt idx="19053">
                  <c:v>0.33980738362760798</c:v>
                </c:pt>
                <c:pt idx="19054">
                  <c:v>0.339825218476903</c:v>
                </c:pt>
                <c:pt idx="19055">
                  <c:v>0.33984305332619902</c:v>
                </c:pt>
                <c:pt idx="19056">
                  <c:v>0.33986088817549398</c:v>
                </c:pt>
                <c:pt idx="19057">
                  <c:v>0.33987872302479</c:v>
                </c:pt>
                <c:pt idx="19058">
                  <c:v>0.33989655787408501</c:v>
                </c:pt>
                <c:pt idx="19059">
                  <c:v>0.33991439272338098</c:v>
                </c:pt>
                <c:pt idx="19060">
                  <c:v>0.33993222757267699</c:v>
                </c:pt>
                <c:pt idx="19061">
                  <c:v>0.33995006242197201</c:v>
                </c:pt>
                <c:pt idx="19062">
                  <c:v>0.33996789727126803</c:v>
                </c:pt>
                <c:pt idx="19063">
                  <c:v>0.33998573212056299</c:v>
                </c:pt>
                <c:pt idx="19064">
                  <c:v>0.34000356696985901</c:v>
                </c:pt>
                <c:pt idx="19065">
                  <c:v>0.34002140181915402</c:v>
                </c:pt>
                <c:pt idx="19066">
                  <c:v>0.34003923666844998</c:v>
                </c:pt>
                <c:pt idx="19067">
                  <c:v>0.340057071517745</c:v>
                </c:pt>
                <c:pt idx="19068">
                  <c:v>0.34007490636704102</c:v>
                </c:pt>
                <c:pt idx="19069">
                  <c:v>0.34009274121633598</c:v>
                </c:pt>
                <c:pt idx="19070">
                  <c:v>0.340110576065632</c:v>
                </c:pt>
                <c:pt idx="19071">
                  <c:v>0.34012841091492702</c:v>
                </c:pt>
                <c:pt idx="19072">
                  <c:v>0.34014624576422298</c:v>
                </c:pt>
                <c:pt idx="19073">
                  <c:v>0.34016408061351799</c:v>
                </c:pt>
                <c:pt idx="19074">
                  <c:v>0.34018191546281401</c:v>
                </c:pt>
                <c:pt idx="19075">
                  <c:v>0.34019975031210897</c:v>
                </c:pt>
                <c:pt idx="19076">
                  <c:v>0.34021758516140499</c:v>
                </c:pt>
                <c:pt idx="19077">
                  <c:v>0.34023542001070001</c:v>
                </c:pt>
                <c:pt idx="19078">
                  <c:v>0.34025325485999602</c:v>
                </c:pt>
                <c:pt idx="19079">
                  <c:v>0.34027108970929099</c:v>
                </c:pt>
                <c:pt idx="19080">
                  <c:v>0.340288924558587</c:v>
                </c:pt>
                <c:pt idx="19081">
                  <c:v>0.34030675940788302</c:v>
                </c:pt>
                <c:pt idx="19082">
                  <c:v>0.34032459425717798</c:v>
                </c:pt>
                <c:pt idx="19083">
                  <c:v>0.340342429106474</c:v>
                </c:pt>
                <c:pt idx="19084">
                  <c:v>0.34036026395576902</c:v>
                </c:pt>
                <c:pt idx="19085">
                  <c:v>0.34037809880506498</c:v>
                </c:pt>
                <c:pt idx="19086">
                  <c:v>0.34039593365435999</c:v>
                </c:pt>
                <c:pt idx="19087">
                  <c:v>0.34041376850365601</c:v>
                </c:pt>
                <c:pt idx="19088">
                  <c:v>0.34043160335295097</c:v>
                </c:pt>
                <c:pt idx="19089">
                  <c:v>0.34044943820224699</c:v>
                </c:pt>
                <c:pt idx="19090">
                  <c:v>0.34046727305154201</c:v>
                </c:pt>
                <c:pt idx="19091">
                  <c:v>0.34048510790083802</c:v>
                </c:pt>
                <c:pt idx="19092">
                  <c:v>0.34050294275013299</c:v>
                </c:pt>
                <c:pt idx="19093">
                  <c:v>0.340520777599429</c:v>
                </c:pt>
                <c:pt idx="19094">
                  <c:v>0.34053861244872402</c:v>
                </c:pt>
                <c:pt idx="19095">
                  <c:v>0.34055644729801998</c:v>
                </c:pt>
                <c:pt idx="19096">
                  <c:v>0.340574282147315</c:v>
                </c:pt>
                <c:pt idx="19097">
                  <c:v>0.34059211699661102</c:v>
                </c:pt>
                <c:pt idx="19098">
                  <c:v>0.34060995184590598</c:v>
                </c:pt>
                <c:pt idx="19099">
                  <c:v>0.340627786695202</c:v>
                </c:pt>
                <c:pt idx="19100">
                  <c:v>0.34064562154449701</c:v>
                </c:pt>
                <c:pt idx="19101">
                  <c:v>0.34066345639379297</c:v>
                </c:pt>
                <c:pt idx="19102">
                  <c:v>0.34068129124308899</c:v>
                </c:pt>
                <c:pt idx="19103">
                  <c:v>0.34069912609238401</c:v>
                </c:pt>
                <c:pt idx="19104">
                  <c:v>0.34071696094168002</c:v>
                </c:pt>
                <c:pt idx="19105">
                  <c:v>0.34073479579097499</c:v>
                </c:pt>
                <c:pt idx="19106">
                  <c:v>0.340752630640271</c:v>
                </c:pt>
                <c:pt idx="19107">
                  <c:v>0.34077046548956602</c:v>
                </c:pt>
                <c:pt idx="19108">
                  <c:v>0.34078830033886198</c:v>
                </c:pt>
                <c:pt idx="19109">
                  <c:v>0.340806135188157</c:v>
                </c:pt>
                <c:pt idx="19110">
                  <c:v>0.34082397003745302</c:v>
                </c:pt>
                <c:pt idx="19111">
                  <c:v>0.34084180488674798</c:v>
                </c:pt>
                <c:pt idx="19112">
                  <c:v>0.340859639736044</c:v>
                </c:pt>
                <c:pt idx="19113">
                  <c:v>0.34087747458533901</c:v>
                </c:pt>
                <c:pt idx="19114">
                  <c:v>0.34089530943463497</c:v>
                </c:pt>
                <c:pt idx="19115">
                  <c:v>0.34091314428392999</c:v>
                </c:pt>
                <c:pt idx="19116">
                  <c:v>0.34093097913322601</c:v>
                </c:pt>
                <c:pt idx="19117">
                  <c:v>0.34094881398252103</c:v>
                </c:pt>
                <c:pt idx="19118">
                  <c:v>0.34096664883181699</c:v>
                </c:pt>
                <c:pt idx="19119">
                  <c:v>0.34098448368111201</c:v>
                </c:pt>
                <c:pt idx="19120">
                  <c:v>0.34100231853040802</c:v>
                </c:pt>
                <c:pt idx="19121">
                  <c:v>0.34102015337970298</c:v>
                </c:pt>
                <c:pt idx="19122">
                  <c:v>0.341037988228999</c:v>
                </c:pt>
                <c:pt idx="19123">
                  <c:v>0.34105582307829402</c:v>
                </c:pt>
                <c:pt idx="19124">
                  <c:v>0.34107365792758998</c:v>
                </c:pt>
                <c:pt idx="19125">
                  <c:v>0.341091492776886</c:v>
                </c:pt>
                <c:pt idx="19126">
                  <c:v>0.34110932762618101</c:v>
                </c:pt>
                <c:pt idx="19127">
                  <c:v>0.34112716247547697</c:v>
                </c:pt>
                <c:pt idx="19128">
                  <c:v>0.34114499732477199</c:v>
                </c:pt>
                <c:pt idx="19129">
                  <c:v>0.34116283217406801</c:v>
                </c:pt>
                <c:pt idx="19130">
                  <c:v>0.34118066702336303</c:v>
                </c:pt>
                <c:pt idx="19131">
                  <c:v>0.34119850187265899</c:v>
                </c:pt>
                <c:pt idx="19132">
                  <c:v>0.34121633672195401</c:v>
                </c:pt>
                <c:pt idx="19133">
                  <c:v>0.34123417157125002</c:v>
                </c:pt>
                <c:pt idx="19134">
                  <c:v>0.34125200642054498</c:v>
                </c:pt>
                <c:pt idx="19135">
                  <c:v>0.341269841269841</c:v>
                </c:pt>
                <c:pt idx="19136">
                  <c:v>0.34128767611913602</c:v>
                </c:pt>
                <c:pt idx="19137">
                  <c:v>0.34130551096843198</c:v>
                </c:pt>
                <c:pt idx="19138">
                  <c:v>0.341323345817727</c:v>
                </c:pt>
                <c:pt idx="19139">
                  <c:v>0.34134118066702301</c:v>
                </c:pt>
                <c:pt idx="19140">
                  <c:v>0.34135901551631798</c:v>
                </c:pt>
                <c:pt idx="19141">
                  <c:v>0.34137685036561399</c:v>
                </c:pt>
                <c:pt idx="19142">
                  <c:v>0.34139468521490901</c:v>
                </c:pt>
                <c:pt idx="19143">
                  <c:v>0.34141252006420503</c:v>
                </c:pt>
                <c:pt idx="19144">
                  <c:v>0.34143035491350099</c:v>
                </c:pt>
                <c:pt idx="19145">
                  <c:v>0.34144818976279601</c:v>
                </c:pt>
                <c:pt idx="19146">
                  <c:v>0.34146602461209202</c:v>
                </c:pt>
                <c:pt idx="19147">
                  <c:v>0.34148385946138698</c:v>
                </c:pt>
                <c:pt idx="19148">
                  <c:v>0.341501694310683</c:v>
                </c:pt>
                <c:pt idx="19149">
                  <c:v>0.34151952915997802</c:v>
                </c:pt>
                <c:pt idx="19150">
                  <c:v>0.34153736400927398</c:v>
                </c:pt>
                <c:pt idx="19151">
                  <c:v>0.341555198858569</c:v>
                </c:pt>
                <c:pt idx="19152">
                  <c:v>0.34157303370786501</c:v>
                </c:pt>
                <c:pt idx="19153">
                  <c:v>0.34159086855715998</c:v>
                </c:pt>
                <c:pt idx="19154">
                  <c:v>0.34160870340645599</c:v>
                </c:pt>
                <c:pt idx="19155">
                  <c:v>0.34162653825575101</c:v>
                </c:pt>
                <c:pt idx="19156">
                  <c:v>0.34164437310504697</c:v>
                </c:pt>
                <c:pt idx="19157">
                  <c:v>0.34166220795434199</c:v>
                </c:pt>
                <c:pt idx="19158">
                  <c:v>0.34168004280363801</c:v>
                </c:pt>
                <c:pt idx="19159">
                  <c:v>0.34169787765293302</c:v>
                </c:pt>
                <c:pt idx="19160">
                  <c:v>0.34171571250222899</c:v>
                </c:pt>
                <c:pt idx="19161">
                  <c:v>0.341733547351524</c:v>
                </c:pt>
                <c:pt idx="19162">
                  <c:v>0.34175138220082002</c:v>
                </c:pt>
                <c:pt idx="19163">
                  <c:v>0.34176921705011498</c:v>
                </c:pt>
                <c:pt idx="19164">
                  <c:v>0.341787051899411</c:v>
                </c:pt>
                <c:pt idx="19165">
                  <c:v>0.34180488674870602</c:v>
                </c:pt>
                <c:pt idx="19166">
                  <c:v>0.34182272159800198</c:v>
                </c:pt>
                <c:pt idx="19167">
                  <c:v>0.34184055644729799</c:v>
                </c:pt>
                <c:pt idx="19168">
                  <c:v>0.34185839129659301</c:v>
                </c:pt>
                <c:pt idx="19169">
                  <c:v>0.34187622614588897</c:v>
                </c:pt>
                <c:pt idx="19170">
                  <c:v>0.34189406099518399</c:v>
                </c:pt>
                <c:pt idx="19171">
                  <c:v>0.34191189584448001</c:v>
                </c:pt>
                <c:pt idx="19172">
                  <c:v>0.34192973069377502</c:v>
                </c:pt>
                <c:pt idx="19173">
                  <c:v>0.34194756554307099</c:v>
                </c:pt>
                <c:pt idx="19174">
                  <c:v>0.341965400392366</c:v>
                </c:pt>
                <c:pt idx="19175">
                  <c:v>0.34198323524166202</c:v>
                </c:pt>
                <c:pt idx="19176">
                  <c:v>0.34200107009095698</c:v>
                </c:pt>
                <c:pt idx="19177">
                  <c:v>0.342018904940253</c:v>
                </c:pt>
                <c:pt idx="19178">
                  <c:v>0.34203673978954802</c:v>
                </c:pt>
                <c:pt idx="19179">
                  <c:v>0.34205457463884398</c:v>
                </c:pt>
                <c:pt idx="19180">
                  <c:v>0.342072409488139</c:v>
                </c:pt>
                <c:pt idx="19181">
                  <c:v>0.34209024433743501</c:v>
                </c:pt>
                <c:pt idx="19182">
                  <c:v>0.34210807918672997</c:v>
                </c:pt>
                <c:pt idx="19183">
                  <c:v>0.34212591403602599</c:v>
                </c:pt>
                <c:pt idx="19184">
                  <c:v>0.34214374888532101</c:v>
                </c:pt>
                <c:pt idx="19185">
                  <c:v>0.34216158373461703</c:v>
                </c:pt>
                <c:pt idx="19186">
                  <c:v>0.34217941858391299</c:v>
                </c:pt>
                <c:pt idx="19187">
                  <c:v>0.342197253433208</c:v>
                </c:pt>
                <c:pt idx="19188">
                  <c:v>0.34221508828250402</c:v>
                </c:pt>
                <c:pt idx="19189">
                  <c:v>0.34223292313179898</c:v>
                </c:pt>
                <c:pt idx="19190">
                  <c:v>0.342250757981095</c:v>
                </c:pt>
                <c:pt idx="19191">
                  <c:v>0.34226859283039002</c:v>
                </c:pt>
                <c:pt idx="19192">
                  <c:v>0.34228642767968598</c:v>
                </c:pt>
                <c:pt idx="19193">
                  <c:v>0.342304262528981</c:v>
                </c:pt>
                <c:pt idx="19194">
                  <c:v>0.34232209737827701</c:v>
                </c:pt>
                <c:pt idx="19195">
                  <c:v>0.34233993222757197</c:v>
                </c:pt>
                <c:pt idx="19196">
                  <c:v>0.34235776707686799</c:v>
                </c:pt>
                <c:pt idx="19197">
                  <c:v>0.34237560192616301</c:v>
                </c:pt>
                <c:pt idx="19198">
                  <c:v>0.34239343677545903</c:v>
                </c:pt>
                <c:pt idx="19199">
                  <c:v>0.34241127162475399</c:v>
                </c:pt>
                <c:pt idx="19200">
                  <c:v>0.34242910647405</c:v>
                </c:pt>
                <c:pt idx="19201">
                  <c:v>0.34244694132334502</c:v>
                </c:pt>
                <c:pt idx="19202">
                  <c:v>0.34246477617264098</c:v>
                </c:pt>
                <c:pt idx="19203">
                  <c:v>0.342482611021936</c:v>
                </c:pt>
                <c:pt idx="19204">
                  <c:v>0.34250044587123202</c:v>
                </c:pt>
                <c:pt idx="19205">
                  <c:v>0.34251828072052698</c:v>
                </c:pt>
                <c:pt idx="19206">
                  <c:v>0.342536115569823</c:v>
                </c:pt>
                <c:pt idx="19207">
                  <c:v>0.34255395041911801</c:v>
                </c:pt>
                <c:pt idx="19208">
                  <c:v>0.34257178526841398</c:v>
                </c:pt>
                <c:pt idx="19209">
                  <c:v>0.34258962011770999</c:v>
                </c:pt>
                <c:pt idx="19210">
                  <c:v>0.34260745496700501</c:v>
                </c:pt>
                <c:pt idx="19211">
                  <c:v>0.34262528981630103</c:v>
                </c:pt>
                <c:pt idx="19212">
                  <c:v>0.34264312466559599</c:v>
                </c:pt>
                <c:pt idx="19213">
                  <c:v>0.34266095951489201</c:v>
                </c:pt>
                <c:pt idx="19214">
                  <c:v>0.34267879436418702</c:v>
                </c:pt>
                <c:pt idx="19215">
                  <c:v>0.34269662921348298</c:v>
                </c:pt>
                <c:pt idx="19216">
                  <c:v>0.342714464062778</c:v>
                </c:pt>
                <c:pt idx="19217">
                  <c:v>0.34273229891207402</c:v>
                </c:pt>
                <c:pt idx="19218">
                  <c:v>0.34275013376136898</c:v>
                </c:pt>
                <c:pt idx="19219">
                  <c:v>0.342767968610665</c:v>
                </c:pt>
                <c:pt idx="19220">
                  <c:v>0.34278580345996001</c:v>
                </c:pt>
                <c:pt idx="19221">
                  <c:v>0.34280363830925598</c:v>
                </c:pt>
                <c:pt idx="19222">
                  <c:v>0.34282147315855099</c:v>
                </c:pt>
                <c:pt idx="19223">
                  <c:v>0.34283930800784701</c:v>
                </c:pt>
                <c:pt idx="19224">
                  <c:v>0.34285714285714203</c:v>
                </c:pt>
                <c:pt idx="19225">
                  <c:v>0.34287497770643799</c:v>
                </c:pt>
                <c:pt idx="19226">
                  <c:v>0.34289281255573301</c:v>
                </c:pt>
                <c:pt idx="19227">
                  <c:v>0.34291064740502902</c:v>
                </c:pt>
                <c:pt idx="19228">
                  <c:v>0.34292848225432399</c:v>
                </c:pt>
                <c:pt idx="19229">
                  <c:v>0.34294631710362</c:v>
                </c:pt>
                <c:pt idx="19230">
                  <c:v>0.34296415195291602</c:v>
                </c:pt>
                <c:pt idx="19231">
                  <c:v>0.34298198680221098</c:v>
                </c:pt>
                <c:pt idx="19232">
                  <c:v>0.342999821651507</c:v>
                </c:pt>
                <c:pt idx="19233">
                  <c:v>0.34301765650080202</c:v>
                </c:pt>
                <c:pt idx="19234">
                  <c:v>0.34303549135009798</c:v>
                </c:pt>
                <c:pt idx="19235">
                  <c:v>0.34305332619939299</c:v>
                </c:pt>
                <c:pt idx="19236">
                  <c:v>0.34307116104868901</c:v>
                </c:pt>
                <c:pt idx="19237">
                  <c:v>0.34308899589798397</c:v>
                </c:pt>
                <c:pt idx="19238">
                  <c:v>0.34310683074727999</c:v>
                </c:pt>
                <c:pt idx="19239">
                  <c:v>0.34312466559657501</c:v>
                </c:pt>
                <c:pt idx="19240">
                  <c:v>0.34314250044587102</c:v>
                </c:pt>
                <c:pt idx="19241">
                  <c:v>0.34316033529516599</c:v>
                </c:pt>
                <c:pt idx="19242">
                  <c:v>0.343178170144462</c:v>
                </c:pt>
                <c:pt idx="19243">
                  <c:v>0.34319600499375702</c:v>
                </c:pt>
                <c:pt idx="19244">
                  <c:v>0.34321383984305298</c:v>
                </c:pt>
                <c:pt idx="19245">
                  <c:v>0.343231674692348</c:v>
                </c:pt>
                <c:pt idx="19246">
                  <c:v>0.34324950954164402</c:v>
                </c:pt>
                <c:pt idx="19247">
                  <c:v>0.34326734439093898</c:v>
                </c:pt>
                <c:pt idx="19248">
                  <c:v>0.34328517924023499</c:v>
                </c:pt>
                <c:pt idx="19249">
                  <c:v>0.34330301408953001</c:v>
                </c:pt>
                <c:pt idx="19250">
                  <c:v>0.34332084893882597</c:v>
                </c:pt>
                <c:pt idx="19251">
                  <c:v>0.34333868378812199</c:v>
                </c:pt>
                <c:pt idx="19252">
                  <c:v>0.34335651863741701</c:v>
                </c:pt>
                <c:pt idx="19253">
                  <c:v>0.34337435348671302</c:v>
                </c:pt>
                <c:pt idx="19254">
                  <c:v>0.34339218833600799</c:v>
                </c:pt>
                <c:pt idx="19255">
                  <c:v>0.343410023185304</c:v>
                </c:pt>
                <c:pt idx="19256">
                  <c:v>0.34342785803459902</c:v>
                </c:pt>
                <c:pt idx="19257">
                  <c:v>0.34344569288389498</c:v>
                </c:pt>
                <c:pt idx="19258">
                  <c:v>0.34346352773319</c:v>
                </c:pt>
                <c:pt idx="19259">
                  <c:v>0.34348136258248602</c:v>
                </c:pt>
                <c:pt idx="19260">
                  <c:v>0.34349919743178098</c:v>
                </c:pt>
                <c:pt idx="19261">
                  <c:v>0.34351703228107699</c:v>
                </c:pt>
                <c:pt idx="19262">
                  <c:v>0.34353486713037201</c:v>
                </c:pt>
                <c:pt idx="19263">
                  <c:v>0.34355270197966797</c:v>
                </c:pt>
                <c:pt idx="19264">
                  <c:v>0.34357053682896299</c:v>
                </c:pt>
                <c:pt idx="19265">
                  <c:v>0.34358837167825901</c:v>
                </c:pt>
                <c:pt idx="19266">
                  <c:v>0.34360620652755403</c:v>
                </c:pt>
                <c:pt idx="19267">
                  <c:v>0.34362404137684999</c:v>
                </c:pt>
                <c:pt idx="19268">
                  <c:v>0.343641876226145</c:v>
                </c:pt>
                <c:pt idx="19269">
                  <c:v>0.34365971107544102</c:v>
                </c:pt>
                <c:pt idx="19270">
                  <c:v>0.34367754592473598</c:v>
                </c:pt>
                <c:pt idx="19271">
                  <c:v>0.343695380774032</c:v>
                </c:pt>
                <c:pt idx="19272">
                  <c:v>0.34371321562332702</c:v>
                </c:pt>
                <c:pt idx="19273">
                  <c:v>0.34373105047262298</c:v>
                </c:pt>
                <c:pt idx="19274">
                  <c:v>0.343748885321919</c:v>
                </c:pt>
                <c:pt idx="19275">
                  <c:v>0.34376672017121401</c:v>
                </c:pt>
                <c:pt idx="19276">
                  <c:v>0.34378455502050997</c:v>
                </c:pt>
                <c:pt idx="19277">
                  <c:v>0.34380238986980499</c:v>
                </c:pt>
                <c:pt idx="19278">
                  <c:v>0.34382022471910101</c:v>
                </c:pt>
                <c:pt idx="19279">
                  <c:v>0.34383805956839603</c:v>
                </c:pt>
                <c:pt idx="19280">
                  <c:v>0.34385589441769199</c:v>
                </c:pt>
                <c:pt idx="19281">
                  <c:v>0.343873729266987</c:v>
                </c:pt>
                <c:pt idx="19282">
                  <c:v>0.34389156411628302</c:v>
                </c:pt>
                <c:pt idx="19283">
                  <c:v>0.34390939896557798</c:v>
                </c:pt>
                <c:pt idx="19284">
                  <c:v>0.343927233814874</c:v>
                </c:pt>
                <c:pt idx="19285">
                  <c:v>0.34394506866416902</c:v>
                </c:pt>
                <c:pt idx="19286">
                  <c:v>0.34396290351346498</c:v>
                </c:pt>
                <c:pt idx="19287">
                  <c:v>0.34398073836276</c:v>
                </c:pt>
                <c:pt idx="19288">
                  <c:v>0.34399857321205601</c:v>
                </c:pt>
                <c:pt idx="19289">
                  <c:v>0.34401640806135098</c:v>
                </c:pt>
                <c:pt idx="19290">
                  <c:v>0.34403424291064699</c:v>
                </c:pt>
                <c:pt idx="19291">
                  <c:v>0.34405207775994201</c:v>
                </c:pt>
                <c:pt idx="19292">
                  <c:v>0.34406991260923803</c:v>
                </c:pt>
                <c:pt idx="19293">
                  <c:v>0.34408774745853399</c:v>
                </c:pt>
                <c:pt idx="19294">
                  <c:v>0.34410558230782901</c:v>
                </c:pt>
                <c:pt idx="19295">
                  <c:v>0.34412341715712502</c:v>
                </c:pt>
                <c:pt idx="19296">
                  <c:v>0.34414125200641998</c:v>
                </c:pt>
                <c:pt idx="19297">
                  <c:v>0.344159086855716</c:v>
                </c:pt>
                <c:pt idx="19298">
                  <c:v>0.34417692170501102</c:v>
                </c:pt>
                <c:pt idx="19299">
                  <c:v>0.34419475655430698</c:v>
                </c:pt>
                <c:pt idx="19300">
                  <c:v>0.344212591403602</c:v>
                </c:pt>
                <c:pt idx="19301">
                  <c:v>0.34423042625289801</c:v>
                </c:pt>
                <c:pt idx="19302">
                  <c:v>0.34424826110219298</c:v>
                </c:pt>
                <c:pt idx="19303">
                  <c:v>0.34426609595148899</c:v>
                </c:pt>
                <c:pt idx="19304">
                  <c:v>0.34428393080078401</c:v>
                </c:pt>
                <c:pt idx="19305">
                  <c:v>0.34430176565008003</c:v>
                </c:pt>
                <c:pt idx="19306">
                  <c:v>0.34431960049937499</c:v>
                </c:pt>
                <c:pt idx="19307">
                  <c:v>0.34433743534867101</c:v>
                </c:pt>
                <c:pt idx="19308">
                  <c:v>0.34435527019796602</c:v>
                </c:pt>
                <c:pt idx="19309">
                  <c:v>0.34437310504726198</c:v>
                </c:pt>
                <c:pt idx="19310">
                  <c:v>0.344390939896557</c:v>
                </c:pt>
                <c:pt idx="19311">
                  <c:v>0.34440877474585302</c:v>
                </c:pt>
                <c:pt idx="19312">
                  <c:v>0.34442660959514798</c:v>
                </c:pt>
                <c:pt idx="19313">
                  <c:v>0.344444444444444</c:v>
                </c:pt>
                <c:pt idx="19314">
                  <c:v>0.34446227929373902</c:v>
                </c:pt>
                <c:pt idx="19315">
                  <c:v>0.34448011414303498</c:v>
                </c:pt>
                <c:pt idx="19316">
                  <c:v>0.34449794899233099</c:v>
                </c:pt>
                <c:pt idx="19317">
                  <c:v>0.34451578384162601</c:v>
                </c:pt>
                <c:pt idx="19318">
                  <c:v>0.34453361869092203</c:v>
                </c:pt>
                <c:pt idx="19319">
                  <c:v>0.34455145354021699</c:v>
                </c:pt>
                <c:pt idx="19320">
                  <c:v>0.34456928838951301</c:v>
                </c:pt>
                <c:pt idx="19321">
                  <c:v>0.34458712323880802</c:v>
                </c:pt>
                <c:pt idx="19322">
                  <c:v>0.34460495808810399</c:v>
                </c:pt>
                <c:pt idx="19323">
                  <c:v>0.344622792937399</c:v>
                </c:pt>
                <c:pt idx="19324">
                  <c:v>0.34464062778669502</c:v>
                </c:pt>
                <c:pt idx="19325">
                  <c:v>0.34465846263598998</c:v>
                </c:pt>
                <c:pt idx="19326">
                  <c:v>0.344676297485286</c:v>
                </c:pt>
                <c:pt idx="19327">
                  <c:v>0.34469413233458102</c:v>
                </c:pt>
                <c:pt idx="19328">
                  <c:v>0.34471196718387698</c:v>
                </c:pt>
                <c:pt idx="19329">
                  <c:v>0.34472980203317199</c:v>
                </c:pt>
                <c:pt idx="19330">
                  <c:v>0.34474763688246801</c:v>
                </c:pt>
                <c:pt idx="19331">
                  <c:v>0.34476547173176297</c:v>
                </c:pt>
                <c:pt idx="19332">
                  <c:v>0.34478330658105899</c:v>
                </c:pt>
                <c:pt idx="19333">
                  <c:v>0.34480114143035401</c:v>
                </c:pt>
                <c:pt idx="19334">
                  <c:v>0.34481897627965002</c:v>
                </c:pt>
                <c:pt idx="19335">
                  <c:v>0.34483681112894599</c:v>
                </c:pt>
                <c:pt idx="19336">
                  <c:v>0.344854645978241</c:v>
                </c:pt>
                <c:pt idx="19337">
                  <c:v>0.34487248082753702</c:v>
                </c:pt>
                <c:pt idx="19338">
                  <c:v>0.34489031567683198</c:v>
                </c:pt>
                <c:pt idx="19339">
                  <c:v>0.344908150526128</c:v>
                </c:pt>
                <c:pt idx="19340">
                  <c:v>0.34492598537542302</c:v>
                </c:pt>
                <c:pt idx="19341">
                  <c:v>0.34494382022471898</c:v>
                </c:pt>
                <c:pt idx="19342">
                  <c:v>0.344961655074014</c:v>
                </c:pt>
                <c:pt idx="19343">
                  <c:v>0.34497948992331001</c:v>
                </c:pt>
                <c:pt idx="19344">
                  <c:v>0.34499732477260497</c:v>
                </c:pt>
                <c:pt idx="19345">
                  <c:v>0.34501515962190099</c:v>
                </c:pt>
                <c:pt idx="19346">
                  <c:v>0.34503299447119601</c:v>
                </c:pt>
                <c:pt idx="19347">
                  <c:v>0.34505082932049203</c:v>
                </c:pt>
                <c:pt idx="19348">
                  <c:v>0.34506866416978699</c:v>
                </c:pt>
                <c:pt idx="19349">
                  <c:v>0.345086499019083</c:v>
                </c:pt>
                <c:pt idx="19350">
                  <c:v>0.34510433386837802</c:v>
                </c:pt>
                <c:pt idx="19351">
                  <c:v>0.34512216871767398</c:v>
                </c:pt>
                <c:pt idx="19352">
                  <c:v>0.345140003566969</c:v>
                </c:pt>
                <c:pt idx="19353">
                  <c:v>0.34515783841626502</c:v>
                </c:pt>
                <c:pt idx="19354">
                  <c:v>0.34517567326555998</c:v>
                </c:pt>
                <c:pt idx="19355">
                  <c:v>0.345193508114856</c:v>
                </c:pt>
                <c:pt idx="19356">
                  <c:v>0.34521134296415101</c:v>
                </c:pt>
                <c:pt idx="19357">
                  <c:v>0.34522917781344697</c:v>
                </c:pt>
                <c:pt idx="19358">
                  <c:v>0.34524701266274299</c:v>
                </c:pt>
                <c:pt idx="19359">
                  <c:v>0.34526484751203801</c:v>
                </c:pt>
                <c:pt idx="19360">
                  <c:v>0.34528268236133403</c:v>
                </c:pt>
                <c:pt idx="19361">
                  <c:v>0.34530051721062899</c:v>
                </c:pt>
                <c:pt idx="19362">
                  <c:v>0.345318352059925</c:v>
                </c:pt>
                <c:pt idx="19363">
                  <c:v>0.34533618690922002</c:v>
                </c:pt>
                <c:pt idx="19364">
                  <c:v>0.34535402175851598</c:v>
                </c:pt>
                <c:pt idx="19365">
                  <c:v>0.345371856607811</c:v>
                </c:pt>
                <c:pt idx="19366">
                  <c:v>0.34538969145710702</c:v>
                </c:pt>
                <c:pt idx="19367">
                  <c:v>0.34540752630640198</c:v>
                </c:pt>
                <c:pt idx="19368">
                  <c:v>0.345425361155698</c:v>
                </c:pt>
                <c:pt idx="19369">
                  <c:v>0.34544319600499301</c:v>
                </c:pt>
                <c:pt idx="19370">
                  <c:v>0.34546103085428898</c:v>
                </c:pt>
                <c:pt idx="19371">
                  <c:v>0.34547886570358399</c:v>
                </c:pt>
                <c:pt idx="19372">
                  <c:v>0.34549670055288001</c:v>
                </c:pt>
                <c:pt idx="19373">
                  <c:v>0.34551453540217503</c:v>
                </c:pt>
                <c:pt idx="19374">
                  <c:v>0.34553237025147099</c:v>
                </c:pt>
                <c:pt idx="19375">
                  <c:v>0.34555020510076601</c:v>
                </c:pt>
                <c:pt idx="19376">
                  <c:v>0.34556803995006202</c:v>
                </c:pt>
                <c:pt idx="19377">
                  <c:v>0.34558587479935698</c:v>
                </c:pt>
                <c:pt idx="19378">
                  <c:v>0.345603709648653</c:v>
                </c:pt>
                <c:pt idx="19379">
                  <c:v>0.34562154449794902</c:v>
                </c:pt>
                <c:pt idx="19380">
                  <c:v>0.34563937934724398</c:v>
                </c:pt>
                <c:pt idx="19381">
                  <c:v>0.34565721419654</c:v>
                </c:pt>
                <c:pt idx="19382">
                  <c:v>0.34567504904583501</c:v>
                </c:pt>
                <c:pt idx="19383">
                  <c:v>0.34569288389513098</c:v>
                </c:pt>
                <c:pt idx="19384">
                  <c:v>0.34571071874442599</c:v>
                </c:pt>
                <c:pt idx="19385">
                  <c:v>0.34572855359372201</c:v>
                </c:pt>
                <c:pt idx="19386">
                  <c:v>0.34574638844301703</c:v>
                </c:pt>
                <c:pt idx="19387">
                  <c:v>0.34576422329231299</c:v>
                </c:pt>
                <c:pt idx="19388">
                  <c:v>0.34578205814160801</c:v>
                </c:pt>
                <c:pt idx="19389">
                  <c:v>0.34579989299090402</c:v>
                </c:pt>
                <c:pt idx="19390">
                  <c:v>0.34581772784019899</c:v>
                </c:pt>
                <c:pt idx="19391">
                  <c:v>0.345835562689495</c:v>
                </c:pt>
                <c:pt idx="19392">
                  <c:v>0.34585339753879002</c:v>
                </c:pt>
                <c:pt idx="19393">
                  <c:v>0.34587123238808598</c:v>
                </c:pt>
                <c:pt idx="19394">
                  <c:v>0.345889067237381</c:v>
                </c:pt>
                <c:pt idx="19395">
                  <c:v>0.34590690208667701</c:v>
                </c:pt>
                <c:pt idx="19396">
                  <c:v>0.34592473693597198</c:v>
                </c:pt>
                <c:pt idx="19397">
                  <c:v>0.34594257178526799</c:v>
                </c:pt>
                <c:pt idx="19398">
                  <c:v>0.34596040663456301</c:v>
                </c:pt>
                <c:pt idx="19399">
                  <c:v>0.34597824148385897</c:v>
                </c:pt>
                <c:pt idx="19400">
                  <c:v>0.34599607633315499</c:v>
                </c:pt>
                <c:pt idx="19401">
                  <c:v>0.34601391118245001</c:v>
                </c:pt>
                <c:pt idx="19402">
                  <c:v>0.34603174603174602</c:v>
                </c:pt>
                <c:pt idx="19403">
                  <c:v>0.34604958088104099</c:v>
                </c:pt>
                <c:pt idx="19404">
                  <c:v>0.346067415730337</c:v>
                </c:pt>
                <c:pt idx="19405">
                  <c:v>0.34608525057963202</c:v>
                </c:pt>
                <c:pt idx="19406">
                  <c:v>0.34610308542892798</c:v>
                </c:pt>
                <c:pt idx="19407">
                  <c:v>0.346120920278223</c:v>
                </c:pt>
                <c:pt idx="19408">
                  <c:v>0.34613875512751902</c:v>
                </c:pt>
                <c:pt idx="19409">
                  <c:v>0.34615658997681398</c:v>
                </c:pt>
                <c:pt idx="19410">
                  <c:v>0.34617442482610999</c:v>
                </c:pt>
                <c:pt idx="19411">
                  <c:v>0.34619225967540501</c:v>
                </c:pt>
                <c:pt idx="19412">
                  <c:v>0.34621009452470097</c:v>
                </c:pt>
                <c:pt idx="19413">
                  <c:v>0.34622792937399599</c:v>
                </c:pt>
                <c:pt idx="19414">
                  <c:v>0.34624576422329201</c:v>
                </c:pt>
                <c:pt idx="19415">
                  <c:v>0.34626359907258702</c:v>
                </c:pt>
                <c:pt idx="19416">
                  <c:v>0.34628143392188299</c:v>
                </c:pt>
                <c:pt idx="19417">
                  <c:v>0.346299268771178</c:v>
                </c:pt>
                <c:pt idx="19418">
                  <c:v>0.34631710362047402</c:v>
                </c:pt>
                <c:pt idx="19419">
                  <c:v>0.34633493846976898</c:v>
                </c:pt>
                <c:pt idx="19420">
                  <c:v>0.346352773319065</c:v>
                </c:pt>
                <c:pt idx="19421">
                  <c:v>0.34637060816836002</c:v>
                </c:pt>
                <c:pt idx="19422">
                  <c:v>0.34638844301765598</c:v>
                </c:pt>
                <c:pt idx="19423">
                  <c:v>0.34640627786695199</c:v>
                </c:pt>
                <c:pt idx="19424">
                  <c:v>0.34642411271624701</c:v>
                </c:pt>
                <c:pt idx="19425">
                  <c:v>0.34644194756554297</c:v>
                </c:pt>
                <c:pt idx="19426">
                  <c:v>0.34645978241483799</c:v>
                </c:pt>
                <c:pt idx="19427">
                  <c:v>0.34647761726413401</c:v>
                </c:pt>
                <c:pt idx="19428">
                  <c:v>0.34649545211342903</c:v>
                </c:pt>
                <c:pt idx="19429">
                  <c:v>0.34651328696272499</c:v>
                </c:pt>
                <c:pt idx="19430">
                  <c:v>0.34653112181202</c:v>
                </c:pt>
                <c:pt idx="19431">
                  <c:v>0.34654895666131602</c:v>
                </c:pt>
                <c:pt idx="19432">
                  <c:v>0.34656679151061098</c:v>
                </c:pt>
                <c:pt idx="19433">
                  <c:v>0.346584626359907</c:v>
                </c:pt>
                <c:pt idx="19434">
                  <c:v>0.34660246120920202</c:v>
                </c:pt>
                <c:pt idx="19435">
                  <c:v>0.34662029605849798</c:v>
                </c:pt>
                <c:pt idx="19436">
                  <c:v>0.346638130907793</c:v>
                </c:pt>
                <c:pt idx="19437">
                  <c:v>0.34665596575708901</c:v>
                </c:pt>
                <c:pt idx="19438">
                  <c:v>0.34667380060638397</c:v>
                </c:pt>
                <c:pt idx="19439">
                  <c:v>0.34669163545567999</c:v>
                </c:pt>
                <c:pt idx="19440">
                  <c:v>0.34670947030497501</c:v>
                </c:pt>
                <c:pt idx="19441">
                  <c:v>0.34672730515427103</c:v>
                </c:pt>
                <c:pt idx="19442">
                  <c:v>0.34674514000356699</c:v>
                </c:pt>
                <c:pt idx="19443">
                  <c:v>0.346762974852862</c:v>
                </c:pt>
                <c:pt idx="19444">
                  <c:v>0.34678080970215802</c:v>
                </c:pt>
                <c:pt idx="19445">
                  <c:v>0.34679864455145298</c:v>
                </c:pt>
                <c:pt idx="19446">
                  <c:v>0.346816479400749</c:v>
                </c:pt>
                <c:pt idx="19447">
                  <c:v>0.34683431425004402</c:v>
                </c:pt>
                <c:pt idx="19448">
                  <c:v>0.34685214909933998</c:v>
                </c:pt>
                <c:pt idx="19449">
                  <c:v>0.346869983948635</c:v>
                </c:pt>
                <c:pt idx="19450">
                  <c:v>0.34688781879793101</c:v>
                </c:pt>
                <c:pt idx="19451">
                  <c:v>0.34690565364722598</c:v>
                </c:pt>
                <c:pt idx="19452">
                  <c:v>0.34692348849652199</c:v>
                </c:pt>
                <c:pt idx="19453">
                  <c:v>0.34694132334581701</c:v>
                </c:pt>
                <c:pt idx="19454">
                  <c:v>0.34695915819511303</c:v>
                </c:pt>
                <c:pt idx="19455">
                  <c:v>0.34697699304440799</c:v>
                </c:pt>
                <c:pt idx="19456">
                  <c:v>0.34699482789370401</c:v>
                </c:pt>
                <c:pt idx="19457">
                  <c:v>0.34701266274299902</c:v>
                </c:pt>
                <c:pt idx="19458">
                  <c:v>0.34703049759229498</c:v>
                </c:pt>
                <c:pt idx="19459">
                  <c:v>0.34704833244159</c:v>
                </c:pt>
                <c:pt idx="19460">
                  <c:v>0.34706616729088602</c:v>
                </c:pt>
                <c:pt idx="19461">
                  <c:v>0.34708400214018098</c:v>
                </c:pt>
                <c:pt idx="19462">
                  <c:v>0.347101836989477</c:v>
                </c:pt>
                <c:pt idx="19463">
                  <c:v>0.34711967183877201</c:v>
                </c:pt>
                <c:pt idx="19464">
                  <c:v>0.34713750668806798</c:v>
                </c:pt>
                <c:pt idx="19465">
                  <c:v>0.34715534153736399</c:v>
                </c:pt>
                <c:pt idx="19466">
                  <c:v>0.34717317638665901</c:v>
                </c:pt>
                <c:pt idx="19467">
                  <c:v>0.34719101123595503</c:v>
                </c:pt>
                <c:pt idx="19468">
                  <c:v>0.34720884608524999</c:v>
                </c:pt>
                <c:pt idx="19469">
                  <c:v>0.34722668093454601</c:v>
                </c:pt>
                <c:pt idx="19470">
                  <c:v>0.34724451578384102</c:v>
                </c:pt>
                <c:pt idx="19471">
                  <c:v>0.34726235063313698</c:v>
                </c:pt>
                <c:pt idx="19472">
                  <c:v>0.347280185482432</c:v>
                </c:pt>
                <c:pt idx="19473">
                  <c:v>0.34729802033172802</c:v>
                </c:pt>
                <c:pt idx="19474">
                  <c:v>0.34731585518102298</c:v>
                </c:pt>
                <c:pt idx="19475">
                  <c:v>0.347333690030319</c:v>
                </c:pt>
                <c:pt idx="19476">
                  <c:v>0.34735152487961402</c:v>
                </c:pt>
                <c:pt idx="19477">
                  <c:v>0.34736935972890998</c:v>
                </c:pt>
                <c:pt idx="19478">
                  <c:v>0.34738719457820499</c:v>
                </c:pt>
                <c:pt idx="19479">
                  <c:v>0.34740502942750101</c:v>
                </c:pt>
                <c:pt idx="19480">
                  <c:v>0.34742286427679597</c:v>
                </c:pt>
                <c:pt idx="19481">
                  <c:v>0.34744069912609199</c:v>
                </c:pt>
                <c:pt idx="19482">
                  <c:v>0.34745853397538701</c:v>
                </c:pt>
                <c:pt idx="19483">
                  <c:v>0.34747636882468302</c:v>
                </c:pt>
                <c:pt idx="19484">
                  <c:v>0.34749420367397799</c:v>
                </c:pt>
                <c:pt idx="19485">
                  <c:v>0.347512038523274</c:v>
                </c:pt>
                <c:pt idx="19486">
                  <c:v>0.34752987337257002</c:v>
                </c:pt>
                <c:pt idx="19487">
                  <c:v>0.34754770822186498</c:v>
                </c:pt>
                <c:pt idx="19488">
                  <c:v>0.347565543071161</c:v>
                </c:pt>
                <c:pt idx="19489">
                  <c:v>0.34758337792045602</c:v>
                </c:pt>
                <c:pt idx="19490">
                  <c:v>0.34760121276975198</c:v>
                </c:pt>
                <c:pt idx="19491">
                  <c:v>0.34761904761904699</c:v>
                </c:pt>
                <c:pt idx="19492">
                  <c:v>0.34763688246834301</c:v>
                </c:pt>
                <c:pt idx="19493">
                  <c:v>0.34765471731763797</c:v>
                </c:pt>
                <c:pt idx="19494">
                  <c:v>0.34767255216693399</c:v>
                </c:pt>
                <c:pt idx="19495">
                  <c:v>0.34769038701622901</c:v>
                </c:pt>
                <c:pt idx="19496">
                  <c:v>0.34770822186552502</c:v>
                </c:pt>
                <c:pt idx="19497">
                  <c:v>0.34772605671481999</c:v>
                </c:pt>
                <c:pt idx="19498">
                  <c:v>0.347743891564116</c:v>
                </c:pt>
                <c:pt idx="19499">
                  <c:v>0.34776172641341102</c:v>
                </c:pt>
                <c:pt idx="19500">
                  <c:v>0.34777956126270698</c:v>
                </c:pt>
                <c:pt idx="19501">
                  <c:v>0.347797396112002</c:v>
                </c:pt>
                <c:pt idx="19502">
                  <c:v>0.34781523096129802</c:v>
                </c:pt>
                <c:pt idx="19503">
                  <c:v>0.34783306581059298</c:v>
                </c:pt>
                <c:pt idx="19504">
                  <c:v>0.347850900659889</c:v>
                </c:pt>
                <c:pt idx="19505">
                  <c:v>0.34786873550918401</c:v>
                </c:pt>
                <c:pt idx="19506">
                  <c:v>0.34788657035847997</c:v>
                </c:pt>
                <c:pt idx="19507">
                  <c:v>0.34790440520777599</c:v>
                </c:pt>
                <c:pt idx="19508">
                  <c:v>0.34792224005707101</c:v>
                </c:pt>
                <c:pt idx="19509">
                  <c:v>0.34794007490636703</c:v>
                </c:pt>
                <c:pt idx="19510">
                  <c:v>0.34795790975566199</c:v>
                </c:pt>
                <c:pt idx="19511">
                  <c:v>0.347975744604958</c:v>
                </c:pt>
                <c:pt idx="19512">
                  <c:v>0.34799357945425302</c:v>
                </c:pt>
                <c:pt idx="19513">
                  <c:v>0.34801141430354898</c:v>
                </c:pt>
                <c:pt idx="19514">
                  <c:v>0.348029249152844</c:v>
                </c:pt>
                <c:pt idx="19515">
                  <c:v>0.34804708400214002</c:v>
                </c:pt>
                <c:pt idx="19516">
                  <c:v>0.34806491885143498</c:v>
                </c:pt>
                <c:pt idx="19517">
                  <c:v>0.348082753700731</c:v>
                </c:pt>
                <c:pt idx="19518">
                  <c:v>0.34810058855002601</c:v>
                </c:pt>
                <c:pt idx="19519">
                  <c:v>0.34811842339932197</c:v>
                </c:pt>
                <c:pt idx="19520">
                  <c:v>0.34813625824861699</c:v>
                </c:pt>
                <c:pt idx="19521">
                  <c:v>0.34815409309791301</c:v>
                </c:pt>
                <c:pt idx="19522">
                  <c:v>0.34817192794720803</c:v>
                </c:pt>
                <c:pt idx="19523">
                  <c:v>0.34818976279650399</c:v>
                </c:pt>
                <c:pt idx="19524">
                  <c:v>0.34820759764579901</c:v>
                </c:pt>
                <c:pt idx="19525">
                  <c:v>0.34822543249509502</c:v>
                </c:pt>
                <c:pt idx="19526">
                  <c:v>0.34824326734438998</c:v>
                </c:pt>
                <c:pt idx="19527">
                  <c:v>0.348261102193686</c:v>
                </c:pt>
                <c:pt idx="19528">
                  <c:v>0.34827893704298102</c:v>
                </c:pt>
                <c:pt idx="19529">
                  <c:v>0.34829677189227698</c:v>
                </c:pt>
                <c:pt idx="19530">
                  <c:v>0.348314606741573</c:v>
                </c:pt>
                <c:pt idx="19531">
                  <c:v>0.34833244159086801</c:v>
                </c:pt>
                <c:pt idx="19532">
                  <c:v>0.34835027644016398</c:v>
                </c:pt>
                <c:pt idx="19533">
                  <c:v>0.34836811128945899</c:v>
                </c:pt>
                <c:pt idx="19534">
                  <c:v>0.34838594613875501</c:v>
                </c:pt>
                <c:pt idx="19535">
                  <c:v>0.34840378098805003</c:v>
                </c:pt>
                <c:pt idx="19536">
                  <c:v>0.34842161583734599</c:v>
                </c:pt>
                <c:pt idx="19537">
                  <c:v>0.34843945068664101</c:v>
                </c:pt>
                <c:pt idx="19538">
                  <c:v>0.34845728553593702</c:v>
                </c:pt>
                <c:pt idx="19539">
                  <c:v>0.34847512038523198</c:v>
                </c:pt>
                <c:pt idx="19540">
                  <c:v>0.348492955234528</c:v>
                </c:pt>
                <c:pt idx="19541">
                  <c:v>0.34851079008382302</c:v>
                </c:pt>
                <c:pt idx="19542">
                  <c:v>0.34852862493311898</c:v>
                </c:pt>
                <c:pt idx="19543">
                  <c:v>0.348546459782414</c:v>
                </c:pt>
                <c:pt idx="19544">
                  <c:v>0.34856429463171001</c:v>
                </c:pt>
                <c:pt idx="19545">
                  <c:v>0.34858212948100498</c:v>
                </c:pt>
                <c:pt idx="19546">
                  <c:v>0.34859996433030099</c:v>
                </c:pt>
                <c:pt idx="19547">
                  <c:v>0.34861779917959601</c:v>
                </c:pt>
                <c:pt idx="19548">
                  <c:v>0.34863563402889203</c:v>
                </c:pt>
                <c:pt idx="19549">
                  <c:v>0.34865346887818799</c:v>
                </c:pt>
                <c:pt idx="19550">
                  <c:v>0.34867130372748301</c:v>
                </c:pt>
                <c:pt idx="19551">
                  <c:v>0.34868913857677902</c:v>
                </c:pt>
                <c:pt idx="19552">
                  <c:v>0.34870697342607399</c:v>
                </c:pt>
                <c:pt idx="19553">
                  <c:v>0.34872480827537</c:v>
                </c:pt>
                <c:pt idx="19554">
                  <c:v>0.34874264312466502</c:v>
                </c:pt>
                <c:pt idx="19555">
                  <c:v>0.34876047797396098</c:v>
                </c:pt>
                <c:pt idx="19556">
                  <c:v>0.348778312823256</c:v>
                </c:pt>
                <c:pt idx="19557">
                  <c:v>0.34879614767255201</c:v>
                </c:pt>
                <c:pt idx="19558">
                  <c:v>0.34881398252184698</c:v>
                </c:pt>
                <c:pt idx="19559">
                  <c:v>0.34883181737114299</c:v>
                </c:pt>
                <c:pt idx="19560">
                  <c:v>0.34884965222043801</c:v>
                </c:pt>
                <c:pt idx="19561">
                  <c:v>0.34886748706973397</c:v>
                </c:pt>
                <c:pt idx="19562">
                  <c:v>0.34888532191902899</c:v>
                </c:pt>
                <c:pt idx="19563">
                  <c:v>0.34890315676832501</c:v>
                </c:pt>
                <c:pt idx="19564">
                  <c:v>0.34892099161762002</c:v>
                </c:pt>
                <c:pt idx="19565">
                  <c:v>0.34893882646691599</c:v>
                </c:pt>
                <c:pt idx="19566">
                  <c:v>0.348956661316211</c:v>
                </c:pt>
                <c:pt idx="19567">
                  <c:v>0.34897449616550702</c:v>
                </c:pt>
                <c:pt idx="19568">
                  <c:v>0.34899233101480198</c:v>
                </c:pt>
                <c:pt idx="19569">
                  <c:v>0.349010165864098</c:v>
                </c:pt>
                <c:pt idx="19570">
                  <c:v>0.34902800071339302</c:v>
                </c:pt>
                <c:pt idx="19571">
                  <c:v>0.34904583556268898</c:v>
                </c:pt>
                <c:pt idx="19572">
                  <c:v>0.34906367041198499</c:v>
                </c:pt>
                <c:pt idx="19573">
                  <c:v>0.34908150526128001</c:v>
                </c:pt>
                <c:pt idx="19574">
                  <c:v>0.34909934011057597</c:v>
                </c:pt>
                <c:pt idx="19575">
                  <c:v>0.34911717495987099</c:v>
                </c:pt>
                <c:pt idx="19576">
                  <c:v>0.34913500980916701</c:v>
                </c:pt>
                <c:pt idx="19577">
                  <c:v>0.34915284465846202</c:v>
                </c:pt>
                <c:pt idx="19578">
                  <c:v>0.34917067950775799</c:v>
                </c:pt>
                <c:pt idx="19579">
                  <c:v>0.349188514357053</c:v>
                </c:pt>
                <c:pt idx="19580">
                  <c:v>0.34920634920634902</c:v>
                </c:pt>
                <c:pt idx="19581">
                  <c:v>0.34922418405564398</c:v>
                </c:pt>
                <c:pt idx="19582">
                  <c:v>0.34924201890494</c:v>
                </c:pt>
                <c:pt idx="19583">
                  <c:v>0.34925985375423502</c:v>
                </c:pt>
                <c:pt idx="19584">
                  <c:v>0.34927768860353098</c:v>
                </c:pt>
                <c:pt idx="19585">
                  <c:v>0.349295523452826</c:v>
                </c:pt>
                <c:pt idx="19586">
                  <c:v>0.34931335830212201</c:v>
                </c:pt>
                <c:pt idx="19587">
                  <c:v>0.34933119315141697</c:v>
                </c:pt>
                <c:pt idx="19588">
                  <c:v>0.34934902800071299</c:v>
                </c:pt>
                <c:pt idx="19589">
                  <c:v>0.34936686285000801</c:v>
                </c:pt>
                <c:pt idx="19590">
                  <c:v>0.34938469769930403</c:v>
                </c:pt>
                <c:pt idx="19591">
                  <c:v>0.34940253254859999</c:v>
                </c:pt>
                <c:pt idx="19592">
                  <c:v>0.349420367397895</c:v>
                </c:pt>
                <c:pt idx="19593">
                  <c:v>0.34943820224719102</c:v>
                </c:pt>
                <c:pt idx="19594">
                  <c:v>0.34945603709648598</c:v>
                </c:pt>
                <c:pt idx="19595">
                  <c:v>0.349473871945782</c:v>
                </c:pt>
                <c:pt idx="19596">
                  <c:v>0.34949170679507702</c:v>
                </c:pt>
                <c:pt idx="19597">
                  <c:v>0.34950954164437298</c:v>
                </c:pt>
                <c:pt idx="19598">
                  <c:v>0.349527376493668</c:v>
                </c:pt>
                <c:pt idx="19599">
                  <c:v>0.34954521134296401</c:v>
                </c:pt>
                <c:pt idx="19600">
                  <c:v>0.34956304619225897</c:v>
                </c:pt>
                <c:pt idx="19601">
                  <c:v>0.34958088104155499</c:v>
                </c:pt>
                <c:pt idx="19602">
                  <c:v>0.34959871589085001</c:v>
                </c:pt>
                <c:pt idx="19603">
                  <c:v>0.34961655074014603</c:v>
                </c:pt>
                <c:pt idx="19604">
                  <c:v>0.34963438558944099</c:v>
                </c:pt>
                <c:pt idx="19605">
                  <c:v>0.349652220438737</c:v>
                </c:pt>
                <c:pt idx="19606">
                  <c:v>0.34967005528803202</c:v>
                </c:pt>
                <c:pt idx="19607">
                  <c:v>0.34968789013732798</c:v>
                </c:pt>
                <c:pt idx="19608">
                  <c:v>0.349705724986623</c:v>
                </c:pt>
                <c:pt idx="19609">
                  <c:v>0.34972355983591902</c:v>
                </c:pt>
                <c:pt idx="19610">
                  <c:v>0.34974139468521398</c:v>
                </c:pt>
                <c:pt idx="19611">
                  <c:v>0.34975922953451</c:v>
                </c:pt>
                <c:pt idx="19612">
                  <c:v>0.34977706438380501</c:v>
                </c:pt>
                <c:pt idx="19613">
                  <c:v>0.34979489923310098</c:v>
                </c:pt>
                <c:pt idx="19614">
                  <c:v>0.34981273408239699</c:v>
                </c:pt>
                <c:pt idx="19615">
                  <c:v>0.34983056893169201</c:v>
                </c:pt>
                <c:pt idx="19616">
                  <c:v>0.34984840378098803</c:v>
                </c:pt>
                <c:pt idx="19617">
                  <c:v>0.34986623863028299</c:v>
                </c:pt>
                <c:pt idx="19618">
                  <c:v>0.34988407347957901</c:v>
                </c:pt>
                <c:pt idx="19619">
                  <c:v>0.34990190832887402</c:v>
                </c:pt>
                <c:pt idx="19620">
                  <c:v>0.34991974317816998</c:v>
                </c:pt>
                <c:pt idx="19621">
                  <c:v>0.349937578027465</c:v>
                </c:pt>
                <c:pt idx="19622">
                  <c:v>0.34995541287676102</c:v>
                </c:pt>
                <c:pt idx="19623">
                  <c:v>0.34997324772605598</c:v>
                </c:pt>
                <c:pt idx="19624">
                  <c:v>0.349991082575352</c:v>
                </c:pt>
                <c:pt idx="19625">
                  <c:v>0.35000891742464701</c:v>
                </c:pt>
                <c:pt idx="19626">
                  <c:v>0.35002675227394298</c:v>
                </c:pt>
                <c:pt idx="19627">
                  <c:v>0.35004458712323799</c:v>
                </c:pt>
                <c:pt idx="19628">
                  <c:v>0.35006242197253401</c:v>
                </c:pt>
                <c:pt idx="19629">
                  <c:v>0.35008025682182897</c:v>
                </c:pt>
                <c:pt idx="19630">
                  <c:v>0.35009809167112499</c:v>
                </c:pt>
                <c:pt idx="19631">
                  <c:v>0.35011592652042001</c:v>
                </c:pt>
                <c:pt idx="19632">
                  <c:v>0.35013376136971602</c:v>
                </c:pt>
                <c:pt idx="19633">
                  <c:v>0.35015159621901099</c:v>
                </c:pt>
                <c:pt idx="19634">
                  <c:v>0.350169431068307</c:v>
                </c:pt>
                <c:pt idx="19635">
                  <c:v>0.35018726591760302</c:v>
                </c:pt>
                <c:pt idx="19636">
                  <c:v>0.35020510076689798</c:v>
                </c:pt>
                <c:pt idx="19637">
                  <c:v>0.350222935616194</c:v>
                </c:pt>
                <c:pt idx="19638">
                  <c:v>0.35024077046548902</c:v>
                </c:pt>
                <c:pt idx="19639">
                  <c:v>0.35025860531478498</c:v>
                </c:pt>
                <c:pt idx="19640">
                  <c:v>0.35027644016407999</c:v>
                </c:pt>
                <c:pt idx="19641">
                  <c:v>0.35029427501337601</c:v>
                </c:pt>
                <c:pt idx="19642">
                  <c:v>0.35031210986267097</c:v>
                </c:pt>
                <c:pt idx="19643">
                  <c:v>0.35032994471196699</c:v>
                </c:pt>
                <c:pt idx="19644">
                  <c:v>0.35034777956126201</c:v>
                </c:pt>
                <c:pt idx="19645">
                  <c:v>0.35036561441055802</c:v>
                </c:pt>
                <c:pt idx="19646">
                  <c:v>0.35038344925985299</c:v>
                </c:pt>
                <c:pt idx="19647">
                  <c:v>0.350401284109149</c:v>
                </c:pt>
                <c:pt idx="19648">
                  <c:v>0.35041911895844402</c:v>
                </c:pt>
                <c:pt idx="19649">
                  <c:v>0.35043695380773998</c:v>
                </c:pt>
                <c:pt idx="19650">
                  <c:v>0.350454788657035</c:v>
                </c:pt>
                <c:pt idx="19651">
                  <c:v>0.35047262350633102</c:v>
                </c:pt>
                <c:pt idx="19652">
                  <c:v>0.35049045835562598</c:v>
                </c:pt>
                <c:pt idx="19653">
                  <c:v>0.35050829320492199</c:v>
                </c:pt>
                <c:pt idx="19654">
                  <c:v>0.35052612805421701</c:v>
                </c:pt>
                <c:pt idx="19655">
                  <c:v>0.35054396290351297</c:v>
                </c:pt>
                <c:pt idx="19656">
                  <c:v>0.35056179775280899</c:v>
                </c:pt>
                <c:pt idx="19657">
                  <c:v>0.35057963260210401</c:v>
                </c:pt>
                <c:pt idx="19658">
                  <c:v>0.35059746745140002</c:v>
                </c:pt>
                <c:pt idx="19659">
                  <c:v>0.35061530230069499</c:v>
                </c:pt>
                <c:pt idx="19660">
                  <c:v>0.350633137149991</c:v>
                </c:pt>
                <c:pt idx="19661">
                  <c:v>0.35065097199928602</c:v>
                </c:pt>
                <c:pt idx="19662">
                  <c:v>0.35066880684858198</c:v>
                </c:pt>
                <c:pt idx="19663">
                  <c:v>0.350686641697877</c:v>
                </c:pt>
                <c:pt idx="19664">
                  <c:v>0.35070447654717302</c:v>
                </c:pt>
                <c:pt idx="19665">
                  <c:v>0.35072231139646798</c:v>
                </c:pt>
                <c:pt idx="19666">
                  <c:v>0.350740146245764</c:v>
                </c:pt>
                <c:pt idx="19667">
                  <c:v>0.35075798109505901</c:v>
                </c:pt>
                <c:pt idx="19668">
                  <c:v>0.35077581594435497</c:v>
                </c:pt>
                <c:pt idx="19669">
                  <c:v>0.35079365079364999</c:v>
                </c:pt>
                <c:pt idx="19670">
                  <c:v>0.35081148564294601</c:v>
                </c:pt>
                <c:pt idx="19671">
                  <c:v>0.35082932049224103</c:v>
                </c:pt>
                <c:pt idx="19672">
                  <c:v>0.35084715534153699</c:v>
                </c:pt>
                <c:pt idx="19673">
                  <c:v>0.350864990190832</c:v>
                </c:pt>
                <c:pt idx="19674">
                  <c:v>0.35088282504012802</c:v>
                </c:pt>
                <c:pt idx="19675">
                  <c:v>0.35090065988942298</c:v>
                </c:pt>
                <c:pt idx="19676">
                  <c:v>0.350918494738719</c:v>
                </c:pt>
                <c:pt idx="19677">
                  <c:v>0.35093632958801402</c:v>
                </c:pt>
                <c:pt idx="19678">
                  <c:v>0.35095416443730998</c:v>
                </c:pt>
                <c:pt idx="19679">
                  <c:v>0.350971999286606</c:v>
                </c:pt>
                <c:pt idx="19680">
                  <c:v>0.35098983413590101</c:v>
                </c:pt>
                <c:pt idx="19681">
                  <c:v>0.35100766898519697</c:v>
                </c:pt>
                <c:pt idx="19682">
                  <c:v>0.35102550383449199</c:v>
                </c:pt>
                <c:pt idx="19683">
                  <c:v>0.35104333868378801</c:v>
                </c:pt>
                <c:pt idx="19684">
                  <c:v>0.35106117353308303</c:v>
                </c:pt>
                <c:pt idx="19685">
                  <c:v>0.35107900838237899</c:v>
                </c:pt>
                <c:pt idx="19686">
                  <c:v>0.35109684323167401</c:v>
                </c:pt>
                <c:pt idx="19687">
                  <c:v>0.35111467808097002</c:v>
                </c:pt>
                <c:pt idx="19688">
                  <c:v>0.35113251293026498</c:v>
                </c:pt>
                <c:pt idx="19689">
                  <c:v>0.351150347779561</c:v>
                </c:pt>
                <c:pt idx="19690">
                  <c:v>0.35116818262885602</c:v>
                </c:pt>
                <c:pt idx="19691">
                  <c:v>0.35118601747815198</c:v>
                </c:pt>
                <c:pt idx="19692">
                  <c:v>0.351203852327447</c:v>
                </c:pt>
                <c:pt idx="19693">
                  <c:v>0.35122168717674301</c:v>
                </c:pt>
                <c:pt idx="19694">
                  <c:v>0.35123952202603798</c:v>
                </c:pt>
                <c:pt idx="19695">
                  <c:v>0.35125735687533399</c:v>
                </c:pt>
                <c:pt idx="19696">
                  <c:v>0.35127519172462901</c:v>
                </c:pt>
                <c:pt idx="19697">
                  <c:v>0.35129302657392503</c:v>
                </c:pt>
                <c:pt idx="19698">
                  <c:v>0.35131086142322099</c:v>
                </c:pt>
                <c:pt idx="19699">
                  <c:v>0.35132869627251601</c:v>
                </c:pt>
                <c:pt idx="19700">
                  <c:v>0.35134653112181202</c:v>
                </c:pt>
                <c:pt idx="19701">
                  <c:v>0.35136436597110698</c:v>
                </c:pt>
                <c:pt idx="19702">
                  <c:v>0.351382200820403</c:v>
                </c:pt>
                <c:pt idx="19703">
                  <c:v>0.35140003566969802</c:v>
                </c:pt>
                <c:pt idx="19704">
                  <c:v>0.35141787051899398</c:v>
                </c:pt>
                <c:pt idx="19705">
                  <c:v>0.351435705368289</c:v>
                </c:pt>
                <c:pt idx="19706">
                  <c:v>0.35145354021758501</c:v>
                </c:pt>
                <c:pt idx="19707">
                  <c:v>0.35147137506687998</c:v>
                </c:pt>
                <c:pt idx="19708">
                  <c:v>0.35148920991617599</c:v>
                </c:pt>
                <c:pt idx="19709">
                  <c:v>0.35150704476547101</c:v>
                </c:pt>
                <c:pt idx="19710">
                  <c:v>0.35152487961476703</c:v>
                </c:pt>
                <c:pt idx="19711">
                  <c:v>0.35154271446406199</c:v>
                </c:pt>
                <c:pt idx="19712">
                  <c:v>0.35156054931335801</c:v>
                </c:pt>
                <c:pt idx="19713">
                  <c:v>0.35157838416265302</c:v>
                </c:pt>
                <c:pt idx="19714">
                  <c:v>0.35159621901194898</c:v>
                </c:pt>
                <c:pt idx="19715">
                  <c:v>0.351614053861244</c:v>
                </c:pt>
                <c:pt idx="19716">
                  <c:v>0.35163188871054002</c:v>
                </c:pt>
                <c:pt idx="19717">
                  <c:v>0.35164972355983498</c:v>
                </c:pt>
                <c:pt idx="19718">
                  <c:v>0.351667558409131</c:v>
                </c:pt>
                <c:pt idx="19719">
                  <c:v>0.35168539325842602</c:v>
                </c:pt>
                <c:pt idx="19720">
                  <c:v>0.35170322810772198</c:v>
                </c:pt>
                <c:pt idx="19721">
                  <c:v>0.35172106295701799</c:v>
                </c:pt>
                <c:pt idx="19722">
                  <c:v>0.35173889780631301</c:v>
                </c:pt>
                <c:pt idx="19723">
                  <c:v>0.35175673265560897</c:v>
                </c:pt>
                <c:pt idx="19724">
                  <c:v>0.35177456750490399</c:v>
                </c:pt>
                <c:pt idx="19725">
                  <c:v>0.35179240235420001</c:v>
                </c:pt>
                <c:pt idx="19726">
                  <c:v>0.35181023720349502</c:v>
                </c:pt>
                <c:pt idx="19727">
                  <c:v>0.35182807205279099</c:v>
                </c:pt>
                <c:pt idx="19728">
                  <c:v>0.351845906902086</c:v>
                </c:pt>
                <c:pt idx="19729">
                  <c:v>0.35186374175138202</c:v>
                </c:pt>
                <c:pt idx="19730">
                  <c:v>0.35188157660067698</c:v>
                </c:pt>
                <c:pt idx="19731">
                  <c:v>0.351899411449973</c:v>
                </c:pt>
                <c:pt idx="19732">
                  <c:v>0.35191724629926802</c:v>
                </c:pt>
                <c:pt idx="19733">
                  <c:v>0.35193508114856398</c:v>
                </c:pt>
                <c:pt idx="19734">
                  <c:v>0.35195291599785899</c:v>
                </c:pt>
                <c:pt idx="19735">
                  <c:v>0.35197075084715501</c:v>
                </c:pt>
                <c:pt idx="19736">
                  <c:v>0.35198858569644997</c:v>
                </c:pt>
                <c:pt idx="19737">
                  <c:v>0.35200642054574599</c:v>
                </c:pt>
                <c:pt idx="19738">
                  <c:v>0.35202425539504101</c:v>
                </c:pt>
                <c:pt idx="19739">
                  <c:v>0.35204209024433702</c:v>
                </c:pt>
                <c:pt idx="19740">
                  <c:v>0.35205992509363299</c:v>
                </c:pt>
                <c:pt idx="19741">
                  <c:v>0.352077759942928</c:v>
                </c:pt>
                <c:pt idx="19742">
                  <c:v>0.35209559479222402</c:v>
                </c:pt>
                <c:pt idx="19743">
                  <c:v>0.35211342964151898</c:v>
                </c:pt>
                <c:pt idx="19744">
                  <c:v>0.352131264490815</c:v>
                </c:pt>
                <c:pt idx="19745">
                  <c:v>0.35214909934011002</c:v>
                </c:pt>
                <c:pt idx="19746">
                  <c:v>0.35216693418940598</c:v>
                </c:pt>
                <c:pt idx="19747">
                  <c:v>0.352184769038701</c:v>
                </c:pt>
                <c:pt idx="19748">
                  <c:v>0.35220260388799701</c:v>
                </c:pt>
                <c:pt idx="19749">
                  <c:v>0.35222043873729197</c:v>
                </c:pt>
                <c:pt idx="19750">
                  <c:v>0.35223827358658799</c:v>
                </c:pt>
                <c:pt idx="19751">
                  <c:v>0.35225610843588301</c:v>
                </c:pt>
                <c:pt idx="19752">
                  <c:v>0.35227394328517903</c:v>
                </c:pt>
                <c:pt idx="19753">
                  <c:v>0.35229177813447399</c:v>
                </c:pt>
                <c:pt idx="19754">
                  <c:v>0.35230961298377</c:v>
                </c:pt>
                <c:pt idx="19755">
                  <c:v>0.35232744783306502</c:v>
                </c:pt>
                <c:pt idx="19756">
                  <c:v>0.35234528268236098</c:v>
                </c:pt>
                <c:pt idx="19757">
                  <c:v>0.352363117531656</c:v>
                </c:pt>
                <c:pt idx="19758">
                  <c:v>0.35238095238095202</c:v>
                </c:pt>
                <c:pt idx="19759">
                  <c:v>0.35239878723024698</c:v>
                </c:pt>
                <c:pt idx="19760">
                  <c:v>0.352416622079543</c:v>
                </c:pt>
                <c:pt idx="19761">
                  <c:v>0.35243445692883801</c:v>
                </c:pt>
                <c:pt idx="19762">
                  <c:v>0.35245229177813397</c:v>
                </c:pt>
                <c:pt idx="19763">
                  <c:v>0.35247012662742999</c:v>
                </c:pt>
                <c:pt idx="19764">
                  <c:v>0.35248796147672501</c:v>
                </c:pt>
                <c:pt idx="19765">
                  <c:v>0.35250579632602103</c:v>
                </c:pt>
                <c:pt idx="19766">
                  <c:v>0.35252363117531599</c:v>
                </c:pt>
                <c:pt idx="19767">
                  <c:v>0.352541466024612</c:v>
                </c:pt>
                <c:pt idx="19768">
                  <c:v>0.35255930087390702</c:v>
                </c:pt>
                <c:pt idx="19769">
                  <c:v>0.35257713572320298</c:v>
                </c:pt>
                <c:pt idx="19770">
                  <c:v>0.352594970572498</c:v>
                </c:pt>
                <c:pt idx="19771">
                  <c:v>0.35261280542179402</c:v>
                </c:pt>
                <c:pt idx="19772">
                  <c:v>0.35263064027108898</c:v>
                </c:pt>
                <c:pt idx="19773">
                  <c:v>0.352648475120385</c:v>
                </c:pt>
                <c:pt idx="19774">
                  <c:v>0.35266630996968001</c:v>
                </c:pt>
                <c:pt idx="19775">
                  <c:v>0.35268414481897598</c:v>
                </c:pt>
                <c:pt idx="19776">
                  <c:v>0.35270197966827099</c:v>
                </c:pt>
                <c:pt idx="19777">
                  <c:v>0.35271981451756701</c:v>
                </c:pt>
                <c:pt idx="19778">
                  <c:v>0.35273764936686203</c:v>
                </c:pt>
                <c:pt idx="19779">
                  <c:v>0.35275548421615799</c:v>
                </c:pt>
                <c:pt idx="19780">
                  <c:v>0.35277331906545301</c:v>
                </c:pt>
                <c:pt idx="19781">
                  <c:v>0.35279115391474902</c:v>
                </c:pt>
                <c:pt idx="19782">
                  <c:v>0.35280898876404398</c:v>
                </c:pt>
                <c:pt idx="19783">
                  <c:v>0.35282682361334</c:v>
                </c:pt>
                <c:pt idx="19784">
                  <c:v>0.35284465846263602</c:v>
                </c:pt>
                <c:pt idx="19785">
                  <c:v>0.35286249331193098</c:v>
                </c:pt>
                <c:pt idx="19786">
                  <c:v>0.352880328161227</c:v>
                </c:pt>
                <c:pt idx="19787">
                  <c:v>0.35289816301052201</c:v>
                </c:pt>
                <c:pt idx="19788">
                  <c:v>0.35291599785981798</c:v>
                </c:pt>
                <c:pt idx="19789">
                  <c:v>0.35293383270911299</c:v>
                </c:pt>
                <c:pt idx="19790">
                  <c:v>0.35295166755840901</c:v>
                </c:pt>
                <c:pt idx="19791">
                  <c:v>0.35296950240770403</c:v>
                </c:pt>
                <c:pt idx="19792">
                  <c:v>0.35298733725699999</c:v>
                </c:pt>
                <c:pt idx="19793">
                  <c:v>0.35300517210629501</c:v>
                </c:pt>
                <c:pt idx="19794">
                  <c:v>0.35302300695559102</c:v>
                </c:pt>
                <c:pt idx="19795">
                  <c:v>0.35304084180488599</c:v>
                </c:pt>
                <c:pt idx="19796">
                  <c:v>0.353058676654182</c:v>
                </c:pt>
                <c:pt idx="19797">
                  <c:v>0.35307651150347702</c:v>
                </c:pt>
                <c:pt idx="19798">
                  <c:v>0.35309434635277298</c:v>
                </c:pt>
                <c:pt idx="19799">
                  <c:v>0.353112181202068</c:v>
                </c:pt>
                <c:pt idx="19800">
                  <c:v>0.35313001605136402</c:v>
                </c:pt>
                <c:pt idx="19801">
                  <c:v>0.35314785090065898</c:v>
                </c:pt>
                <c:pt idx="19802">
                  <c:v>0.35316568574995499</c:v>
                </c:pt>
                <c:pt idx="19803">
                  <c:v>0.35318352059925001</c:v>
                </c:pt>
                <c:pt idx="19804">
                  <c:v>0.35320135544854597</c:v>
                </c:pt>
                <c:pt idx="19805">
                  <c:v>0.35321919029784199</c:v>
                </c:pt>
                <c:pt idx="19806">
                  <c:v>0.35323702514713701</c:v>
                </c:pt>
                <c:pt idx="19807">
                  <c:v>0.35325485999643302</c:v>
                </c:pt>
                <c:pt idx="19808">
                  <c:v>0.35327269484572799</c:v>
                </c:pt>
                <c:pt idx="19809">
                  <c:v>0.353290529695024</c:v>
                </c:pt>
                <c:pt idx="19810">
                  <c:v>0.35330836454431902</c:v>
                </c:pt>
                <c:pt idx="19811">
                  <c:v>0.35332619939361498</c:v>
                </c:pt>
                <c:pt idx="19812">
                  <c:v>0.35334403424291</c:v>
                </c:pt>
                <c:pt idx="19813">
                  <c:v>0.35336186909220602</c:v>
                </c:pt>
                <c:pt idx="19814">
                  <c:v>0.35337970394150098</c:v>
                </c:pt>
                <c:pt idx="19815">
                  <c:v>0.35339753879079699</c:v>
                </c:pt>
                <c:pt idx="19816">
                  <c:v>0.35341537364009201</c:v>
                </c:pt>
                <c:pt idx="19817">
                  <c:v>0.35343320848938797</c:v>
                </c:pt>
                <c:pt idx="19818">
                  <c:v>0.35345104333868299</c:v>
                </c:pt>
                <c:pt idx="19819">
                  <c:v>0.35346887818797901</c:v>
                </c:pt>
                <c:pt idx="19820">
                  <c:v>0.35348671303727403</c:v>
                </c:pt>
                <c:pt idx="19821">
                  <c:v>0.35350454788656999</c:v>
                </c:pt>
                <c:pt idx="19822">
                  <c:v>0.353522382735865</c:v>
                </c:pt>
                <c:pt idx="19823">
                  <c:v>0.35354021758516102</c:v>
                </c:pt>
                <c:pt idx="19824">
                  <c:v>0.35355805243445598</c:v>
                </c:pt>
                <c:pt idx="19825">
                  <c:v>0.353575887283752</c:v>
                </c:pt>
                <c:pt idx="19826">
                  <c:v>0.35359372213304702</c:v>
                </c:pt>
                <c:pt idx="19827">
                  <c:v>0.35361155698234298</c:v>
                </c:pt>
                <c:pt idx="19828">
                  <c:v>0.353629391831639</c:v>
                </c:pt>
                <c:pt idx="19829">
                  <c:v>0.35364722668093401</c:v>
                </c:pt>
                <c:pt idx="19830">
                  <c:v>0.35366506153022997</c:v>
                </c:pt>
                <c:pt idx="19831">
                  <c:v>0.35368289637952499</c:v>
                </c:pt>
                <c:pt idx="19832">
                  <c:v>0.35370073122882101</c:v>
                </c:pt>
                <c:pt idx="19833">
                  <c:v>0.35371856607811603</c:v>
                </c:pt>
                <c:pt idx="19834">
                  <c:v>0.35373640092741199</c:v>
                </c:pt>
                <c:pt idx="19835">
                  <c:v>0.353754235776707</c:v>
                </c:pt>
                <c:pt idx="19836">
                  <c:v>0.35377207062600302</c:v>
                </c:pt>
                <c:pt idx="19837">
                  <c:v>0.35378990547529798</c:v>
                </c:pt>
                <c:pt idx="19838">
                  <c:v>0.353807740324594</c:v>
                </c:pt>
                <c:pt idx="19839">
                  <c:v>0.35382557517388902</c:v>
                </c:pt>
                <c:pt idx="19840">
                  <c:v>0.35384341002318498</c:v>
                </c:pt>
                <c:pt idx="19841">
                  <c:v>0.35386124487248</c:v>
                </c:pt>
                <c:pt idx="19842">
                  <c:v>0.35387907972177601</c:v>
                </c:pt>
                <c:pt idx="19843">
                  <c:v>0.35389691457107098</c:v>
                </c:pt>
                <c:pt idx="19844">
                  <c:v>0.35391474942036699</c:v>
                </c:pt>
                <c:pt idx="19845">
                  <c:v>0.35393258426966201</c:v>
                </c:pt>
                <c:pt idx="19846">
                  <c:v>0.35395041911895803</c:v>
                </c:pt>
                <c:pt idx="19847">
                  <c:v>0.35396825396825399</c:v>
                </c:pt>
                <c:pt idx="19848">
                  <c:v>0.35398608881754901</c:v>
                </c:pt>
                <c:pt idx="19849">
                  <c:v>0.35400392366684502</c:v>
                </c:pt>
                <c:pt idx="19850">
                  <c:v>0.35402175851613998</c:v>
                </c:pt>
                <c:pt idx="19851">
                  <c:v>0.354039593365436</c:v>
                </c:pt>
                <c:pt idx="19852">
                  <c:v>0.35405742821473102</c:v>
                </c:pt>
                <c:pt idx="19853">
                  <c:v>0.35407526306402698</c:v>
                </c:pt>
                <c:pt idx="19854">
                  <c:v>0.354093097913322</c:v>
                </c:pt>
                <c:pt idx="19855">
                  <c:v>0.35411093276261801</c:v>
                </c:pt>
                <c:pt idx="19856">
                  <c:v>0.35412876761191298</c:v>
                </c:pt>
                <c:pt idx="19857">
                  <c:v>0.35414660246120899</c:v>
                </c:pt>
                <c:pt idx="19858">
                  <c:v>0.35416443731050401</c:v>
                </c:pt>
                <c:pt idx="19859">
                  <c:v>0.35418227215980003</c:v>
                </c:pt>
                <c:pt idx="19860">
                  <c:v>0.35420010700909499</c:v>
                </c:pt>
                <c:pt idx="19861">
                  <c:v>0.35421794185839101</c:v>
                </c:pt>
                <c:pt idx="19862">
                  <c:v>0.35423577670768602</c:v>
                </c:pt>
                <c:pt idx="19863">
                  <c:v>0.35425361155698198</c:v>
                </c:pt>
                <c:pt idx="19864">
                  <c:v>0.354271446406277</c:v>
                </c:pt>
                <c:pt idx="19865">
                  <c:v>0.35428928125557302</c:v>
                </c:pt>
                <c:pt idx="19866">
                  <c:v>0.35430711610486798</c:v>
                </c:pt>
                <c:pt idx="19867">
                  <c:v>0.354324950954164</c:v>
                </c:pt>
                <c:pt idx="19868">
                  <c:v>0.35434278580345901</c:v>
                </c:pt>
                <c:pt idx="19869">
                  <c:v>0.35436062065275498</c:v>
                </c:pt>
                <c:pt idx="19870">
                  <c:v>0.35437845550205099</c:v>
                </c:pt>
                <c:pt idx="19871">
                  <c:v>0.35439629035134601</c:v>
                </c:pt>
                <c:pt idx="19872">
                  <c:v>0.35441412520064203</c:v>
                </c:pt>
                <c:pt idx="19873">
                  <c:v>0.35443196004993699</c:v>
                </c:pt>
                <c:pt idx="19874">
                  <c:v>0.35444979489923301</c:v>
                </c:pt>
                <c:pt idx="19875">
                  <c:v>0.35446762974852802</c:v>
                </c:pt>
                <c:pt idx="19876">
                  <c:v>0.35448546459782398</c:v>
                </c:pt>
                <c:pt idx="19877">
                  <c:v>0.354503299447119</c:v>
                </c:pt>
                <c:pt idx="19878">
                  <c:v>0.35452113429641502</c:v>
                </c:pt>
                <c:pt idx="19879">
                  <c:v>0.35453896914570998</c:v>
                </c:pt>
                <c:pt idx="19880">
                  <c:v>0.354556803995006</c:v>
                </c:pt>
                <c:pt idx="19881">
                  <c:v>0.35457463884430102</c:v>
                </c:pt>
                <c:pt idx="19882">
                  <c:v>0.35459247369359698</c:v>
                </c:pt>
                <c:pt idx="19883">
                  <c:v>0.35461030854289199</c:v>
                </c:pt>
                <c:pt idx="19884">
                  <c:v>0.35462814339218801</c:v>
                </c:pt>
                <c:pt idx="19885">
                  <c:v>0.35464597824148297</c:v>
                </c:pt>
                <c:pt idx="19886">
                  <c:v>0.35466381309077899</c:v>
                </c:pt>
                <c:pt idx="19887">
                  <c:v>0.35468164794007401</c:v>
                </c:pt>
                <c:pt idx="19888">
                  <c:v>0.35469948278937002</c:v>
                </c:pt>
                <c:pt idx="19889">
                  <c:v>0.35471731763866499</c:v>
                </c:pt>
                <c:pt idx="19890">
                  <c:v>0.354735152487961</c:v>
                </c:pt>
                <c:pt idx="19891">
                  <c:v>0.35475298733725702</c:v>
                </c:pt>
                <c:pt idx="19892">
                  <c:v>0.35477082218655198</c:v>
                </c:pt>
                <c:pt idx="19893">
                  <c:v>0.354788657035848</c:v>
                </c:pt>
                <c:pt idx="19894">
                  <c:v>0.35480649188514302</c:v>
                </c:pt>
                <c:pt idx="19895">
                  <c:v>0.35482432673443898</c:v>
                </c:pt>
                <c:pt idx="19896">
                  <c:v>0.35484216158373399</c:v>
                </c:pt>
                <c:pt idx="19897">
                  <c:v>0.35485999643303001</c:v>
                </c:pt>
                <c:pt idx="19898">
                  <c:v>0.35487783128232497</c:v>
                </c:pt>
                <c:pt idx="19899">
                  <c:v>0.35489566613162099</c:v>
                </c:pt>
                <c:pt idx="19900">
                  <c:v>0.35491350098091601</c:v>
                </c:pt>
                <c:pt idx="19901">
                  <c:v>0.35493133583021202</c:v>
                </c:pt>
                <c:pt idx="19902">
                  <c:v>0.35494917067950699</c:v>
                </c:pt>
                <c:pt idx="19903">
                  <c:v>0.354967005528803</c:v>
                </c:pt>
                <c:pt idx="19904">
                  <c:v>0.35498484037809802</c:v>
                </c:pt>
                <c:pt idx="19905">
                  <c:v>0.35500267522739398</c:v>
                </c:pt>
                <c:pt idx="19906">
                  <c:v>0.355020510076689</c:v>
                </c:pt>
                <c:pt idx="19907">
                  <c:v>0.35503834492598502</c:v>
                </c:pt>
                <c:pt idx="19908">
                  <c:v>0.35505617977527998</c:v>
                </c:pt>
                <c:pt idx="19909">
                  <c:v>0.355074014624576</c:v>
                </c:pt>
                <c:pt idx="19910">
                  <c:v>0.35509184947387101</c:v>
                </c:pt>
                <c:pt idx="19911">
                  <c:v>0.35510968432316697</c:v>
                </c:pt>
                <c:pt idx="19912">
                  <c:v>0.35512751917246299</c:v>
                </c:pt>
                <c:pt idx="19913">
                  <c:v>0.35514535402175801</c:v>
                </c:pt>
                <c:pt idx="19914">
                  <c:v>0.35516318887105403</c:v>
                </c:pt>
                <c:pt idx="19915">
                  <c:v>0.35518102372034899</c:v>
                </c:pt>
                <c:pt idx="19916">
                  <c:v>0.355198858569645</c:v>
                </c:pt>
                <c:pt idx="19917">
                  <c:v>0.35521669341894002</c:v>
                </c:pt>
                <c:pt idx="19918">
                  <c:v>0.35523452826823598</c:v>
                </c:pt>
                <c:pt idx="19919">
                  <c:v>0.355252363117531</c:v>
                </c:pt>
                <c:pt idx="19920">
                  <c:v>0.35527019796682702</c:v>
                </c:pt>
                <c:pt idx="19921">
                  <c:v>0.35528803281612198</c:v>
                </c:pt>
                <c:pt idx="19922">
                  <c:v>0.355305867665418</c:v>
                </c:pt>
                <c:pt idx="19923">
                  <c:v>0.35532370251471301</c:v>
                </c:pt>
                <c:pt idx="19924">
                  <c:v>0.35534153736400897</c:v>
                </c:pt>
                <c:pt idx="19925">
                  <c:v>0.35535937221330399</c:v>
                </c:pt>
                <c:pt idx="19926">
                  <c:v>0.35537720706260001</c:v>
                </c:pt>
                <c:pt idx="19927">
                  <c:v>0.35539504191189503</c:v>
                </c:pt>
                <c:pt idx="19928">
                  <c:v>0.35541287676119099</c:v>
                </c:pt>
                <c:pt idx="19929">
                  <c:v>0.35543071161048601</c:v>
                </c:pt>
                <c:pt idx="19930">
                  <c:v>0.35544854645978202</c:v>
                </c:pt>
                <c:pt idx="19931">
                  <c:v>0.35546638130907698</c:v>
                </c:pt>
                <c:pt idx="19932">
                  <c:v>0.355484216158373</c:v>
                </c:pt>
                <c:pt idx="19933">
                  <c:v>0.35550205100766802</c:v>
                </c:pt>
                <c:pt idx="19934">
                  <c:v>0.35551988585696398</c:v>
                </c:pt>
                <c:pt idx="19935">
                  <c:v>0.35553772070626</c:v>
                </c:pt>
                <c:pt idx="19936">
                  <c:v>0.35555555555555501</c:v>
                </c:pt>
                <c:pt idx="19937">
                  <c:v>0.35557339040485098</c:v>
                </c:pt>
                <c:pt idx="19938">
                  <c:v>0.35559122525414599</c:v>
                </c:pt>
                <c:pt idx="19939">
                  <c:v>0.35560906010344201</c:v>
                </c:pt>
                <c:pt idx="19940">
                  <c:v>0.35562689495273703</c:v>
                </c:pt>
                <c:pt idx="19941">
                  <c:v>0.35564472980203299</c:v>
                </c:pt>
                <c:pt idx="19942">
                  <c:v>0.35566256465132801</c:v>
                </c:pt>
                <c:pt idx="19943">
                  <c:v>0.35568039950062402</c:v>
                </c:pt>
                <c:pt idx="19944">
                  <c:v>0.35569823434991898</c:v>
                </c:pt>
                <c:pt idx="19945">
                  <c:v>0.355716069199215</c:v>
                </c:pt>
                <c:pt idx="19946">
                  <c:v>0.35573390404851002</c:v>
                </c:pt>
                <c:pt idx="19947">
                  <c:v>0.35575173889780598</c:v>
                </c:pt>
                <c:pt idx="19948">
                  <c:v>0.355769573747101</c:v>
                </c:pt>
                <c:pt idx="19949">
                  <c:v>0.35578740859639701</c:v>
                </c:pt>
                <c:pt idx="19950">
                  <c:v>0.35580524344569198</c:v>
                </c:pt>
                <c:pt idx="19951">
                  <c:v>0.35582307829498799</c:v>
                </c:pt>
                <c:pt idx="19952">
                  <c:v>0.35584091314428301</c:v>
                </c:pt>
                <c:pt idx="19953">
                  <c:v>0.35585874799357903</c:v>
                </c:pt>
                <c:pt idx="19954">
                  <c:v>0.35587658284287499</c:v>
                </c:pt>
                <c:pt idx="19955">
                  <c:v>0.35589441769217001</c:v>
                </c:pt>
                <c:pt idx="19956">
                  <c:v>0.35591225254146602</c:v>
                </c:pt>
                <c:pt idx="19957">
                  <c:v>0.35593008739076099</c:v>
                </c:pt>
                <c:pt idx="19958">
                  <c:v>0.355947922240057</c:v>
                </c:pt>
                <c:pt idx="19959">
                  <c:v>0.35596575708935202</c:v>
                </c:pt>
                <c:pt idx="19960">
                  <c:v>0.35598359193864798</c:v>
                </c:pt>
                <c:pt idx="19961">
                  <c:v>0.356001426787943</c:v>
                </c:pt>
                <c:pt idx="19962">
                  <c:v>0.35601926163723902</c:v>
                </c:pt>
                <c:pt idx="19963">
                  <c:v>0.35603709648653398</c:v>
                </c:pt>
                <c:pt idx="19964">
                  <c:v>0.35605493133582999</c:v>
                </c:pt>
                <c:pt idx="19965">
                  <c:v>0.35607276618512501</c:v>
                </c:pt>
                <c:pt idx="19966">
                  <c:v>0.35609060103442097</c:v>
                </c:pt>
                <c:pt idx="19967">
                  <c:v>0.35610843588371599</c:v>
                </c:pt>
                <c:pt idx="19968">
                  <c:v>0.35612627073301201</c:v>
                </c:pt>
                <c:pt idx="19969">
                  <c:v>0.35614410558230702</c:v>
                </c:pt>
                <c:pt idx="19970">
                  <c:v>0.35616194043160299</c:v>
                </c:pt>
                <c:pt idx="19971">
                  <c:v>0.356179775280898</c:v>
                </c:pt>
                <c:pt idx="19972">
                  <c:v>0.35619761013019402</c:v>
                </c:pt>
                <c:pt idx="19973">
                  <c:v>0.35621544497948898</c:v>
                </c:pt>
                <c:pt idx="19974">
                  <c:v>0.356233279828785</c:v>
                </c:pt>
                <c:pt idx="19975">
                  <c:v>0.35625111467808002</c:v>
                </c:pt>
                <c:pt idx="19976">
                  <c:v>0.35626894952737598</c:v>
                </c:pt>
                <c:pt idx="19977">
                  <c:v>0.35628678437667199</c:v>
                </c:pt>
                <c:pt idx="19978">
                  <c:v>0.35630461922596701</c:v>
                </c:pt>
                <c:pt idx="19979">
                  <c:v>0.35632245407526297</c:v>
                </c:pt>
                <c:pt idx="19980">
                  <c:v>0.35634028892455799</c:v>
                </c:pt>
                <c:pt idx="19981">
                  <c:v>0.35635812377385401</c:v>
                </c:pt>
                <c:pt idx="19982">
                  <c:v>0.35637595862314903</c:v>
                </c:pt>
                <c:pt idx="19983">
                  <c:v>0.35639379347244499</c:v>
                </c:pt>
                <c:pt idx="19984">
                  <c:v>0.35641162832174</c:v>
                </c:pt>
                <c:pt idx="19985">
                  <c:v>0.35642946317103602</c:v>
                </c:pt>
                <c:pt idx="19986">
                  <c:v>0.35644729802033098</c:v>
                </c:pt>
                <c:pt idx="19987">
                  <c:v>0.356465132869627</c:v>
                </c:pt>
                <c:pt idx="19988">
                  <c:v>0.35648296771892202</c:v>
                </c:pt>
                <c:pt idx="19989">
                  <c:v>0.35650080256821798</c:v>
                </c:pt>
                <c:pt idx="19990">
                  <c:v>0.356518637417513</c:v>
                </c:pt>
                <c:pt idx="19991">
                  <c:v>0.35653647226680901</c:v>
                </c:pt>
                <c:pt idx="19992">
                  <c:v>0.35655430711610397</c:v>
                </c:pt>
                <c:pt idx="19993">
                  <c:v>0.35657214196539999</c:v>
                </c:pt>
                <c:pt idx="19994">
                  <c:v>0.35658997681469501</c:v>
                </c:pt>
                <c:pt idx="19995">
                  <c:v>0.35660781166399103</c:v>
                </c:pt>
                <c:pt idx="19996">
                  <c:v>0.35662564651328699</c:v>
                </c:pt>
                <c:pt idx="19997">
                  <c:v>0.356643481362582</c:v>
                </c:pt>
                <c:pt idx="19998">
                  <c:v>0.35666131621187802</c:v>
                </c:pt>
                <c:pt idx="19999">
                  <c:v>0.35667915106117298</c:v>
                </c:pt>
                <c:pt idx="20000">
                  <c:v>0.356696985910469</c:v>
                </c:pt>
                <c:pt idx="20001">
                  <c:v>0.35671482075976402</c:v>
                </c:pt>
                <c:pt idx="20002">
                  <c:v>0.35673265560905998</c:v>
                </c:pt>
                <c:pt idx="20003">
                  <c:v>0.356750490458355</c:v>
                </c:pt>
                <c:pt idx="20004">
                  <c:v>0.35676832530765101</c:v>
                </c:pt>
                <c:pt idx="20005">
                  <c:v>0.35678616015694598</c:v>
                </c:pt>
                <c:pt idx="20006">
                  <c:v>0.35680399500624199</c:v>
                </c:pt>
                <c:pt idx="20007">
                  <c:v>0.35682182985553701</c:v>
                </c:pt>
                <c:pt idx="20008">
                  <c:v>0.35683966470483303</c:v>
                </c:pt>
                <c:pt idx="20009">
                  <c:v>0.35685749955412799</c:v>
                </c:pt>
                <c:pt idx="20010">
                  <c:v>0.356875334403424</c:v>
                </c:pt>
                <c:pt idx="20011">
                  <c:v>0.35689316925271902</c:v>
                </c:pt>
                <c:pt idx="20012">
                  <c:v>0.35691100410201498</c:v>
                </c:pt>
                <c:pt idx="20013">
                  <c:v>0.35692883895131</c:v>
                </c:pt>
                <c:pt idx="20014">
                  <c:v>0.35694667380060602</c:v>
                </c:pt>
                <c:pt idx="20015">
                  <c:v>0.35696450864990098</c:v>
                </c:pt>
                <c:pt idx="20016">
                  <c:v>0.356982343499197</c:v>
                </c:pt>
                <c:pt idx="20017">
                  <c:v>0.35700017834849201</c:v>
                </c:pt>
                <c:pt idx="20018">
                  <c:v>0.35701801319778798</c:v>
                </c:pt>
                <c:pt idx="20019">
                  <c:v>0.35703584804708399</c:v>
                </c:pt>
                <c:pt idx="20020">
                  <c:v>0.35705368289637901</c:v>
                </c:pt>
                <c:pt idx="20021">
                  <c:v>0.35707151774567503</c:v>
                </c:pt>
                <c:pt idx="20022">
                  <c:v>0.35708935259496999</c:v>
                </c:pt>
                <c:pt idx="20023">
                  <c:v>0.35710718744426601</c:v>
                </c:pt>
                <c:pt idx="20024">
                  <c:v>0.35712502229356102</c:v>
                </c:pt>
                <c:pt idx="20025">
                  <c:v>0.35714285714285698</c:v>
                </c:pt>
                <c:pt idx="20026">
                  <c:v>0.357160691992152</c:v>
                </c:pt>
                <c:pt idx="20027">
                  <c:v>0.35717852684144802</c:v>
                </c:pt>
                <c:pt idx="20028">
                  <c:v>0.35719636169074298</c:v>
                </c:pt>
                <c:pt idx="20029">
                  <c:v>0.357214196540039</c:v>
                </c:pt>
                <c:pt idx="20030">
                  <c:v>0.35723203138933401</c:v>
                </c:pt>
                <c:pt idx="20031">
                  <c:v>0.35724986623862998</c:v>
                </c:pt>
                <c:pt idx="20032">
                  <c:v>0.35726770108792499</c:v>
                </c:pt>
                <c:pt idx="20033">
                  <c:v>0.35728553593722101</c:v>
                </c:pt>
                <c:pt idx="20034">
                  <c:v>0.35730337078651597</c:v>
                </c:pt>
                <c:pt idx="20035">
                  <c:v>0.35732120563581199</c:v>
                </c:pt>
                <c:pt idx="20036">
                  <c:v>0.35733904048510701</c:v>
                </c:pt>
                <c:pt idx="20037">
                  <c:v>0.35735687533440302</c:v>
                </c:pt>
                <c:pt idx="20038">
                  <c:v>0.35737471018369799</c:v>
                </c:pt>
                <c:pt idx="20039">
                  <c:v>0.357392545032994</c:v>
                </c:pt>
                <c:pt idx="20040">
                  <c:v>0.35741037988229002</c:v>
                </c:pt>
                <c:pt idx="20041">
                  <c:v>0.35742821473158498</c:v>
                </c:pt>
                <c:pt idx="20042">
                  <c:v>0.357446049580881</c:v>
                </c:pt>
                <c:pt idx="20043">
                  <c:v>0.35746388443017602</c:v>
                </c:pt>
                <c:pt idx="20044">
                  <c:v>0.35748171927947198</c:v>
                </c:pt>
                <c:pt idx="20045">
                  <c:v>0.35749955412876699</c:v>
                </c:pt>
                <c:pt idx="20046">
                  <c:v>0.35751738897806301</c:v>
                </c:pt>
                <c:pt idx="20047">
                  <c:v>0.35753522382735797</c:v>
                </c:pt>
                <c:pt idx="20048">
                  <c:v>0.35755305867665399</c:v>
                </c:pt>
                <c:pt idx="20049">
                  <c:v>0.35757089352594901</c:v>
                </c:pt>
                <c:pt idx="20050">
                  <c:v>0.35758872837524502</c:v>
                </c:pt>
                <c:pt idx="20051">
                  <c:v>0.35760656322453999</c:v>
                </c:pt>
                <c:pt idx="20052">
                  <c:v>0.357624398073836</c:v>
                </c:pt>
                <c:pt idx="20053">
                  <c:v>0.35764223292313102</c:v>
                </c:pt>
                <c:pt idx="20054">
                  <c:v>0.35766006777242698</c:v>
                </c:pt>
                <c:pt idx="20055">
                  <c:v>0.357677902621722</c:v>
                </c:pt>
                <c:pt idx="20056">
                  <c:v>0.35769573747101802</c:v>
                </c:pt>
                <c:pt idx="20057">
                  <c:v>0.35771357232031298</c:v>
                </c:pt>
                <c:pt idx="20058">
                  <c:v>0.35773140716960899</c:v>
                </c:pt>
                <c:pt idx="20059">
                  <c:v>0.35774924201890401</c:v>
                </c:pt>
                <c:pt idx="20060">
                  <c:v>0.35776707686819997</c:v>
                </c:pt>
                <c:pt idx="20061">
                  <c:v>0.35778491171749599</c:v>
                </c:pt>
                <c:pt idx="20062">
                  <c:v>0.35780274656679101</c:v>
                </c:pt>
                <c:pt idx="20063">
                  <c:v>0.35782058141608702</c:v>
                </c:pt>
                <c:pt idx="20064">
                  <c:v>0.35783841626538199</c:v>
                </c:pt>
                <c:pt idx="20065">
                  <c:v>0.357856251114678</c:v>
                </c:pt>
                <c:pt idx="20066">
                  <c:v>0.35787408596397302</c:v>
                </c:pt>
                <c:pt idx="20067">
                  <c:v>0.35789192081326898</c:v>
                </c:pt>
                <c:pt idx="20068">
                  <c:v>0.357909755662564</c:v>
                </c:pt>
                <c:pt idx="20069">
                  <c:v>0.35792759051186002</c:v>
                </c:pt>
                <c:pt idx="20070">
                  <c:v>0.35794542536115498</c:v>
                </c:pt>
                <c:pt idx="20071">
                  <c:v>0.357963260210451</c:v>
                </c:pt>
                <c:pt idx="20072">
                  <c:v>0.35798109505974601</c:v>
                </c:pt>
                <c:pt idx="20073">
                  <c:v>0.35799892990904197</c:v>
                </c:pt>
                <c:pt idx="20074">
                  <c:v>0.35801676475833699</c:v>
                </c:pt>
                <c:pt idx="20075">
                  <c:v>0.35803459960763301</c:v>
                </c:pt>
                <c:pt idx="20076">
                  <c:v>0.35805243445692803</c:v>
                </c:pt>
                <c:pt idx="20077">
                  <c:v>0.35807026930622399</c:v>
                </c:pt>
                <c:pt idx="20078">
                  <c:v>0.358088104155519</c:v>
                </c:pt>
                <c:pt idx="20079">
                  <c:v>0.35810593900481502</c:v>
                </c:pt>
                <c:pt idx="20080">
                  <c:v>0.35812377385410998</c:v>
                </c:pt>
                <c:pt idx="20081">
                  <c:v>0.358141608703406</c:v>
                </c:pt>
                <c:pt idx="20082">
                  <c:v>0.35815944355270102</c:v>
                </c:pt>
                <c:pt idx="20083">
                  <c:v>0.35817727840199698</c:v>
                </c:pt>
                <c:pt idx="20084">
                  <c:v>0.358195113251293</c:v>
                </c:pt>
                <c:pt idx="20085">
                  <c:v>0.35821294810058801</c:v>
                </c:pt>
                <c:pt idx="20086">
                  <c:v>0.35823078294988397</c:v>
                </c:pt>
                <c:pt idx="20087">
                  <c:v>0.35824861779917899</c:v>
                </c:pt>
                <c:pt idx="20088">
                  <c:v>0.35826645264847501</c:v>
                </c:pt>
                <c:pt idx="20089">
                  <c:v>0.35828428749777003</c:v>
                </c:pt>
                <c:pt idx="20090">
                  <c:v>0.35830212234706599</c:v>
                </c:pt>
                <c:pt idx="20091">
                  <c:v>0.35831995719636101</c:v>
                </c:pt>
                <c:pt idx="20092">
                  <c:v>0.35833779204565702</c:v>
                </c:pt>
                <c:pt idx="20093">
                  <c:v>0.35835562689495198</c:v>
                </c:pt>
                <c:pt idx="20094">
                  <c:v>0.358373461744248</c:v>
                </c:pt>
                <c:pt idx="20095">
                  <c:v>0.35839129659354302</c:v>
                </c:pt>
                <c:pt idx="20096">
                  <c:v>0.35840913144283898</c:v>
                </c:pt>
                <c:pt idx="20097">
                  <c:v>0.358426966292134</c:v>
                </c:pt>
                <c:pt idx="20098">
                  <c:v>0.35844480114143001</c:v>
                </c:pt>
                <c:pt idx="20099">
                  <c:v>0.35846263599072498</c:v>
                </c:pt>
                <c:pt idx="20100">
                  <c:v>0.35848047084002099</c:v>
                </c:pt>
                <c:pt idx="20101">
                  <c:v>0.35849830568931601</c:v>
                </c:pt>
                <c:pt idx="20102">
                  <c:v>0.35851614053861203</c:v>
                </c:pt>
                <c:pt idx="20103">
                  <c:v>0.35853397538790799</c:v>
                </c:pt>
                <c:pt idx="20104">
                  <c:v>0.35855181023720301</c:v>
                </c:pt>
                <c:pt idx="20105">
                  <c:v>0.35856964508649902</c:v>
                </c:pt>
                <c:pt idx="20106">
                  <c:v>0.35858747993579398</c:v>
                </c:pt>
                <c:pt idx="20107">
                  <c:v>0.35860531478509</c:v>
                </c:pt>
                <c:pt idx="20108">
                  <c:v>0.35862314963438502</c:v>
                </c:pt>
                <c:pt idx="20109">
                  <c:v>0.35864098448368098</c:v>
                </c:pt>
                <c:pt idx="20110">
                  <c:v>0.358658819332976</c:v>
                </c:pt>
                <c:pt idx="20111">
                  <c:v>0.35867665418227201</c:v>
                </c:pt>
                <c:pt idx="20112">
                  <c:v>0.35869448903156698</c:v>
                </c:pt>
                <c:pt idx="20113">
                  <c:v>0.35871232388086299</c:v>
                </c:pt>
                <c:pt idx="20114">
                  <c:v>0.35873015873015801</c:v>
                </c:pt>
                <c:pt idx="20115">
                  <c:v>0.35874799357945403</c:v>
                </c:pt>
                <c:pt idx="20116">
                  <c:v>0.35876582842874899</c:v>
                </c:pt>
                <c:pt idx="20117">
                  <c:v>0.35878366327804501</c:v>
                </c:pt>
                <c:pt idx="20118">
                  <c:v>0.35880149812734002</c:v>
                </c:pt>
                <c:pt idx="20119">
                  <c:v>0.35881933297663599</c:v>
                </c:pt>
                <c:pt idx="20120">
                  <c:v>0.358837167825931</c:v>
                </c:pt>
                <c:pt idx="20121">
                  <c:v>0.35885500267522702</c:v>
                </c:pt>
                <c:pt idx="20122">
                  <c:v>0.35887283752452198</c:v>
                </c:pt>
                <c:pt idx="20123">
                  <c:v>0.358890672373818</c:v>
                </c:pt>
                <c:pt idx="20124">
                  <c:v>0.35890850722311302</c:v>
                </c:pt>
                <c:pt idx="20125">
                  <c:v>0.35892634207240898</c:v>
                </c:pt>
                <c:pt idx="20126">
                  <c:v>0.35894417692170499</c:v>
                </c:pt>
                <c:pt idx="20127">
                  <c:v>0.35896201177100001</c:v>
                </c:pt>
                <c:pt idx="20128">
                  <c:v>0.35897984662029597</c:v>
                </c:pt>
                <c:pt idx="20129">
                  <c:v>0.35899768146959099</c:v>
                </c:pt>
                <c:pt idx="20130">
                  <c:v>0.35901551631888701</c:v>
                </c:pt>
                <c:pt idx="20131">
                  <c:v>0.35903335116818202</c:v>
                </c:pt>
                <c:pt idx="20132">
                  <c:v>0.35905118601747799</c:v>
                </c:pt>
                <c:pt idx="20133">
                  <c:v>0.359069020866773</c:v>
                </c:pt>
                <c:pt idx="20134">
                  <c:v>0.35908685571606902</c:v>
                </c:pt>
                <c:pt idx="20135">
                  <c:v>0.35910469056536398</c:v>
                </c:pt>
                <c:pt idx="20136">
                  <c:v>0.35912252541466</c:v>
                </c:pt>
                <c:pt idx="20137">
                  <c:v>0.35914036026395502</c:v>
                </c:pt>
                <c:pt idx="20138">
                  <c:v>0.35915819511325098</c:v>
                </c:pt>
                <c:pt idx="20139">
                  <c:v>0.359176029962546</c:v>
                </c:pt>
                <c:pt idx="20140">
                  <c:v>0.35919386481184201</c:v>
                </c:pt>
                <c:pt idx="20141">
                  <c:v>0.35921169966113697</c:v>
                </c:pt>
                <c:pt idx="20142">
                  <c:v>0.35922953451043299</c:v>
                </c:pt>
                <c:pt idx="20143">
                  <c:v>0.35924736935972801</c:v>
                </c:pt>
                <c:pt idx="20144">
                  <c:v>0.35926520420902402</c:v>
                </c:pt>
                <c:pt idx="20145">
                  <c:v>0.35928303905831899</c:v>
                </c:pt>
                <c:pt idx="20146">
                  <c:v>0.359300873907615</c:v>
                </c:pt>
                <c:pt idx="20147">
                  <c:v>0.35931870875691102</c:v>
                </c:pt>
                <c:pt idx="20148">
                  <c:v>0.35933654360620598</c:v>
                </c:pt>
                <c:pt idx="20149">
                  <c:v>0.359354378455502</c:v>
                </c:pt>
                <c:pt idx="20150">
                  <c:v>0.35937221330479702</c:v>
                </c:pt>
                <c:pt idx="20151">
                  <c:v>0.35939004815409298</c:v>
                </c:pt>
                <c:pt idx="20152">
                  <c:v>0.359407883003388</c:v>
                </c:pt>
                <c:pt idx="20153">
                  <c:v>0.35942571785268401</c:v>
                </c:pt>
                <c:pt idx="20154">
                  <c:v>0.35944355270197897</c:v>
                </c:pt>
                <c:pt idx="20155">
                  <c:v>0.35946138755127499</c:v>
                </c:pt>
                <c:pt idx="20156">
                  <c:v>0.35947922240057001</c:v>
                </c:pt>
                <c:pt idx="20157">
                  <c:v>0.35949705724986603</c:v>
                </c:pt>
                <c:pt idx="20158">
                  <c:v>0.35951489209916099</c:v>
                </c:pt>
                <c:pt idx="20159">
                  <c:v>0.359532726948457</c:v>
                </c:pt>
                <c:pt idx="20160">
                  <c:v>0.35955056179775202</c:v>
                </c:pt>
                <c:pt idx="20161">
                  <c:v>0.35956839664704798</c:v>
                </c:pt>
                <c:pt idx="20162">
                  <c:v>0.359586231496343</c:v>
                </c:pt>
                <c:pt idx="20163">
                  <c:v>0.35960406634563902</c:v>
                </c:pt>
                <c:pt idx="20164">
                  <c:v>0.35962190119493398</c:v>
                </c:pt>
                <c:pt idx="20165">
                  <c:v>0.35963973604423</c:v>
                </c:pt>
                <c:pt idx="20166">
                  <c:v>0.35965757089352501</c:v>
                </c:pt>
                <c:pt idx="20167">
                  <c:v>0.35967540574282097</c:v>
                </c:pt>
                <c:pt idx="20168">
                  <c:v>0.35969324059211699</c:v>
                </c:pt>
                <c:pt idx="20169">
                  <c:v>0.35971107544141201</c:v>
                </c:pt>
                <c:pt idx="20170">
                  <c:v>0.35972891029070803</c:v>
                </c:pt>
                <c:pt idx="20171">
                  <c:v>0.35974674514000299</c:v>
                </c:pt>
                <c:pt idx="20172">
                  <c:v>0.359764579989299</c:v>
                </c:pt>
                <c:pt idx="20173">
                  <c:v>0.35978241483859402</c:v>
                </c:pt>
                <c:pt idx="20174">
                  <c:v>0.35980024968788998</c:v>
                </c:pt>
                <c:pt idx="20175">
                  <c:v>0.359818084537185</c:v>
                </c:pt>
                <c:pt idx="20176">
                  <c:v>0.35983591938648102</c:v>
                </c:pt>
                <c:pt idx="20177">
                  <c:v>0.35985375423577598</c:v>
                </c:pt>
                <c:pt idx="20178">
                  <c:v>0.359871589085072</c:v>
                </c:pt>
                <c:pt idx="20179">
                  <c:v>0.35988942393436701</c:v>
                </c:pt>
                <c:pt idx="20180">
                  <c:v>0.35990725878366298</c:v>
                </c:pt>
                <c:pt idx="20181">
                  <c:v>0.35992509363295799</c:v>
                </c:pt>
                <c:pt idx="20182">
                  <c:v>0.35994292848225401</c:v>
                </c:pt>
                <c:pt idx="20183">
                  <c:v>0.35996076333154903</c:v>
                </c:pt>
                <c:pt idx="20184">
                  <c:v>0.35997859818084499</c:v>
                </c:pt>
                <c:pt idx="20185">
                  <c:v>0.35999643303014001</c:v>
                </c:pt>
                <c:pt idx="20186">
                  <c:v>0.36001426787943602</c:v>
                </c:pt>
                <c:pt idx="20187">
                  <c:v>0.36003210272873098</c:v>
                </c:pt>
                <c:pt idx="20188">
                  <c:v>0.360049937578027</c:v>
                </c:pt>
                <c:pt idx="20189">
                  <c:v>0.36006777242732202</c:v>
                </c:pt>
                <c:pt idx="20190">
                  <c:v>0.36008560727661798</c:v>
                </c:pt>
                <c:pt idx="20191">
                  <c:v>0.360103442125914</c:v>
                </c:pt>
                <c:pt idx="20192">
                  <c:v>0.36012127697520901</c:v>
                </c:pt>
                <c:pt idx="20193">
                  <c:v>0.36013911182450498</c:v>
                </c:pt>
                <c:pt idx="20194">
                  <c:v>0.36015694667379999</c:v>
                </c:pt>
                <c:pt idx="20195">
                  <c:v>0.36017478152309601</c:v>
                </c:pt>
                <c:pt idx="20196">
                  <c:v>0.36019261637239097</c:v>
                </c:pt>
                <c:pt idx="20197">
                  <c:v>0.36021045122168699</c:v>
                </c:pt>
                <c:pt idx="20198">
                  <c:v>0.36022828607098201</c:v>
                </c:pt>
                <c:pt idx="20199">
                  <c:v>0.36024612092027802</c:v>
                </c:pt>
                <c:pt idx="20200">
                  <c:v>0.36026395576957299</c:v>
                </c:pt>
                <c:pt idx="20201">
                  <c:v>0.360281790618869</c:v>
                </c:pt>
                <c:pt idx="20202">
                  <c:v>0.36029962546816402</c:v>
                </c:pt>
                <c:pt idx="20203">
                  <c:v>0.36031746031745998</c:v>
                </c:pt>
                <c:pt idx="20204">
                  <c:v>0.360335295166755</c:v>
                </c:pt>
                <c:pt idx="20205">
                  <c:v>0.36035313001605102</c:v>
                </c:pt>
                <c:pt idx="20206">
                  <c:v>0.36037096486534598</c:v>
                </c:pt>
                <c:pt idx="20207">
                  <c:v>0.36038879971464199</c:v>
                </c:pt>
                <c:pt idx="20208">
                  <c:v>0.36040663456393701</c:v>
                </c:pt>
                <c:pt idx="20209">
                  <c:v>0.36042446941323297</c:v>
                </c:pt>
                <c:pt idx="20210">
                  <c:v>0.36044230426252899</c:v>
                </c:pt>
                <c:pt idx="20211">
                  <c:v>0.36046013911182401</c:v>
                </c:pt>
                <c:pt idx="20212">
                  <c:v>0.36047797396112002</c:v>
                </c:pt>
                <c:pt idx="20213">
                  <c:v>0.36049580881041499</c:v>
                </c:pt>
                <c:pt idx="20214">
                  <c:v>0.360513643659711</c:v>
                </c:pt>
                <c:pt idx="20215">
                  <c:v>0.36053147850900602</c:v>
                </c:pt>
                <c:pt idx="20216">
                  <c:v>0.36054931335830198</c:v>
                </c:pt>
                <c:pt idx="20217">
                  <c:v>0.360567148207597</c:v>
                </c:pt>
                <c:pt idx="20218">
                  <c:v>0.36058498305689302</c:v>
                </c:pt>
                <c:pt idx="20219">
                  <c:v>0.36060281790618798</c:v>
                </c:pt>
                <c:pt idx="20220">
                  <c:v>0.36062065275548399</c:v>
                </c:pt>
                <c:pt idx="20221">
                  <c:v>0.36063848760477901</c:v>
                </c:pt>
                <c:pt idx="20222">
                  <c:v>0.36065632245407497</c:v>
                </c:pt>
                <c:pt idx="20223">
                  <c:v>0.36067415730336999</c:v>
                </c:pt>
                <c:pt idx="20224">
                  <c:v>0.36069199215266601</c:v>
                </c:pt>
                <c:pt idx="20225">
                  <c:v>0.36070982700196103</c:v>
                </c:pt>
                <c:pt idx="20226">
                  <c:v>0.36072766185125699</c:v>
                </c:pt>
                <c:pt idx="20227">
                  <c:v>0.360745496700552</c:v>
                </c:pt>
                <c:pt idx="20228">
                  <c:v>0.36076333154984802</c:v>
                </c:pt>
                <c:pt idx="20229">
                  <c:v>0.36078116639914298</c:v>
                </c:pt>
                <c:pt idx="20230">
                  <c:v>0.360799001248439</c:v>
                </c:pt>
                <c:pt idx="20231">
                  <c:v>0.36081683609773402</c:v>
                </c:pt>
                <c:pt idx="20232">
                  <c:v>0.36083467094702998</c:v>
                </c:pt>
                <c:pt idx="20233">
                  <c:v>0.360852505796326</c:v>
                </c:pt>
                <c:pt idx="20234">
                  <c:v>0.36087034064562101</c:v>
                </c:pt>
                <c:pt idx="20235">
                  <c:v>0.36088817549491697</c:v>
                </c:pt>
                <c:pt idx="20236">
                  <c:v>0.36090601034421199</c:v>
                </c:pt>
                <c:pt idx="20237">
                  <c:v>0.36092384519350801</c:v>
                </c:pt>
                <c:pt idx="20238">
                  <c:v>0.36094168004280303</c:v>
                </c:pt>
                <c:pt idx="20239">
                  <c:v>0.36095951489209899</c:v>
                </c:pt>
                <c:pt idx="20240">
                  <c:v>0.360977349741394</c:v>
                </c:pt>
                <c:pt idx="20241">
                  <c:v>0.36099518459069002</c:v>
                </c:pt>
                <c:pt idx="20242">
                  <c:v>0.36101301943998498</c:v>
                </c:pt>
                <c:pt idx="20243">
                  <c:v>0.361030854289281</c:v>
                </c:pt>
                <c:pt idx="20244">
                  <c:v>0.36104868913857602</c:v>
                </c:pt>
                <c:pt idx="20245">
                  <c:v>0.36106652398787198</c:v>
                </c:pt>
                <c:pt idx="20246">
                  <c:v>0.361084358837167</c:v>
                </c:pt>
                <c:pt idx="20247">
                  <c:v>0.36110219368646301</c:v>
                </c:pt>
                <c:pt idx="20248">
                  <c:v>0.36112002853575798</c:v>
                </c:pt>
                <c:pt idx="20249">
                  <c:v>0.36113786338505399</c:v>
                </c:pt>
                <c:pt idx="20250">
                  <c:v>0.36115569823434901</c:v>
                </c:pt>
                <c:pt idx="20251">
                  <c:v>0.36117353308364503</c:v>
                </c:pt>
                <c:pt idx="20252">
                  <c:v>0.36119136793294099</c:v>
                </c:pt>
                <c:pt idx="20253">
                  <c:v>0.36120920278223601</c:v>
                </c:pt>
                <c:pt idx="20254">
                  <c:v>0.36122703763153202</c:v>
                </c:pt>
                <c:pt idx="20255">
                  <c:v>0.36124487248082698</c:v>
                </c:pt>
                <c:pt idx="20256">
                  <c:v>0.361262707330123</c:v>
                </c:pt>
                <c:pt idx="20257">
                  <c:v>0.36128054217941802</c:v>
                </c:pt>
                <c:pt idx="20258">
                  <c:v>0.36129837702871398</c:v>
                </c:pt>
                <c:pt idx="20259">
                  <c:v>0.361316211878009</c:v>
                </c:pt>
                <c:pt idx="20260">
                  <c:v>0.36133404672730501</c:v>
                </c:pt>
                <c:pt idx="20261">
                  <c:v>0.36135188157659998</c:v>
                </c:pt>
                <c:pt idx="20262">
                  <c:v>0.36136971642589599</c:v>
                </c:pt>
                <c:pt idx="20263">
                  <c:v>0.36138755127519101</c:v>
                </c:pt>
                <c:pt idx="20264">
                  <c:v>0.36140538612448703</c:v>
                </c:pt>
                <c:pt idx="20265">
                  <c:v>0.36142322097378199</c:v>
                </c:pt>
                <c:pt idx="20266">
                  <c:v>0.36144105582307801</c:v>
                </c:pt>
                <c:pt idx="20267">
                  <c:v>0.36145889067237302</c:v>
                </c:pt>
                <c:pt idx="20268">
                  <c:v>0.36147672552166898</c:v>
                </c:pt>
                <c:pt idx="20269">
                  <c:v>0.361494560370964</c:v>
                </c:pt>
                <c:pt idx="20270">
                  <c:v>0.36151239522026002</c:v>
                </c:pt>
                <c:pt idx="20271">
                  <c:v>0.36153023006955498</c:v>
                </c:pt>
                <c:pt idx="20272">
                  <c:v>0.361548064918851</c:v>
                </c:pt>
                <c:pt idx="20273">
                  <c:v>0.36156589976814602</c:v>
                </c:pt>
                <c:pt idx="20274">
                  <c:v>0.36158373461744198</c:v>
                </c:pt>
                <c:pt idx="20275">
                  <c:v>0.36160156946673799</c:v>
                </c:pt>
                <c:pt idx="20276">
                  <c:v>0.36161940431603301</c:v>
                </c:pt>
                <c:pt idx="20277">
                  <c:v>0.36163723916532903</c:v>
                </c:pt>
                <c:pt idx="20278">
                  <c:v>0.36165507401462399</c:v>
                </c:pt>
                <c:pt idx="20279">
                  <c:v>0.36167290886392001</c:v>
                </c:pt>
                <c:pt idx="20280">
                  <c:v>0.36169074371321502</c:v>
                </c:pt>
                <c:pt idx="20281">
                  <c:v>0.36170857856251099</c:v>
                </c:pt>
                <c:pt idx="20282">
                  <c:v>0.361726413411806</c:v>
                </c:pt>
                <c:pt idx="20283">
                  <c:v>0.36174424826110202</c:v>
                </c:pt>
                <c:pt idx="20284">
                  <c:v>0.36176208311039698</c:v>
                </c:pt>
                <c:pt idx="20285">
                  <c:v>0.361779917959693</c:v>
                </c:pt>
                <c:pt idx="20286">
                  <c:v>0.36179775280898802</c:v>
                </c:pt>
                <c:pt idx="20287">
                  <c:v>0.36181558765828398</c:v>
                </c:pt>
                <c:pt idx="20288">
                  <c:v>0.36183342250757899</c:v>
                </c:pt>
                <c:pt idx="20289">
                  <c:v>0.36185125735687501</c:v>
                </c:pt>
                <c:pt idx="20290">
                  <c:v>0.36186909220616997</c:v>
                </c:pt>
                <c:pt idx="20291">
                  <c:v>0.36188692705546599</c:v>
                </c:pt>
                <c:pt idx="20292">
                  <c:v>0.36190476190476101</c:v>
                </c:pt>
                <c:pt idx="20293">
                  <c:v>0.36192259675405702</c:v>
                </c:pt>
                <c:pt idx="20294">
                  <c:v>0.36194043160335199</c:v>
                </c:pt>
                <c:pt idx="20295">
                  <c:v>0.361958266452648</c:v>
                </c:pt>
                <c:pt idx="20296">
                  <c:v>0.36197610130194402</c:v>
                </c:pt>
                <c:pt idx="20297">
                  <c:v>0.36199393615123898</c:v>
                </c:pt>
                <c:pt idx="20298">
                  <c:v>0.362011771000535</c:v>
                </c:pt>
                <c:pt idx="20299">
                  <c:v>0.36202960584983002</c:v>
                </c:pt>
                <c:pt idx="20300">
                  <c:v>0.36204744069912598</c:v>
                </c:pt>
                <c:pt idx="20301">
                  <c:v>0.362065275548421</c:v>
                </c:pt>
                <c:pt idx="20302">
                  <c:v>0.36208311039771701</c:v>
                </c:pt>
                <c:pt idx="20303">
                  <c:v>0.36210094524701197</c:v>
                </c:pt>
                <c:pt idx="20304">
                  <c:v>0.36211878009630799</c:v>
                </c:pt>
                <c:pt idx="20305">
                  <c:v>0.36213661494560301</c:v>
                </c:pt>
                <c:pt idx="20306">
                  <c:v>0.36215444979489902</c:v>
                </c:pt>
                <c:pt idx="20307">
                  <c:v>0.36217228464419399</c:v>
                </c:pt>
                <c:pt idx="20308">
                  <c:v>0.36219011949349</c:v>
                </c:pt>
                <c:pt idx="20309">
                  <c:v>0.36220795434278502</c:v>
                </c:pt>
                <c:pt idx="20310">
                  <c:v>0.36222578919208098</c:v>
                </c:pt>
                <c:pt idx="20311">
                  <c:v>0.362243624041376</c:v>
                </c:pt>
                <c:pt idx="20312">
                  <c:v>0.36226145889067202</c:v>
                </c:pt>
                <c:pt idx="20313">
                  <c:v>0.36227929373996698</c:v>
                </c:pt>
                <c:pt idx="20314">
                  <c:v>0.362297128589263</c:v>
                </c:pt>
                <c:pt idx="20315">
                  <c:v>0.36231496343855801</c:v>
                </c:pt>
                <c:pt idx="20316">
                  <c:v>0.36233279828785397</c:v>
                </c:pt>
                <c:pt idx="20317">
                  <c:v>0.36235063313714999</c:v>
                </c:pt>
                <c:pt idx="20318">
                  <c:v>0.36236846798644501</c:v>
                </c:pt>
                <c:pt idx="20319">
                  <c:v>0.36238630283574103</c:v>
                </c:pt>
                <c:pt idx="20320">
                  <c:v>0.36240413768503599</c:v>
                </c:pt>
                <c:pt idx="20321">
                  <c:v>0.362421972534332</c:v>
                </c:pt>
                <c:pt idx="20322">
                  <c:v>0.36243980738362702</c:v>
                </c:pt>
                <c:pt idx="20323">
                  <c:v>0.36245764223292298</c:v>
                </c:pt>
                <c:pt idx="20324">
                  <c:v>0.362475477082218</c:v>
                </c:pt>
                <c:pt idx="20325">
                  <c:v>0.36249331193151402</c:v>
                </c:pt>
                <c:pt idx="20326">
                  <c:v>0.36251114678080898</c:v>
                </c:pt>
                <c:pt idx="20327">
                  <c:v>0.362528981630105</c:v>
                </c:pt>
                <c:pt idx="20328">
                  <c:v>0.36254681647940001</c:v>
                </c:pt>
                <c:pt idx="20329">
                  <c:v>0.36256465132869597</c:v>
                </c:pt>
                <c:pt idx="20330">
                  <c:v>0.36258248617799099</c:v>
                </c:pt>
                <c:pt idx="20331">
                  <c:v>0.36260032102728701</c:v>
                </c:pt>
                <c:pt idx="20332">
                  <c:v>0.36261815587658203</c:v>
                </c:pt>
                <c:pt idx="20333">
                  <c:v>0.36263599072587799</c:v>
                </c:pt>
                <c:pt idx="20334">
                  <c:v>0.36265382557517301</c:v>
                </c:pt>
                <c:pt idx="20335">
                  <c:v>0.36267166042446902</c:v>
                </c:pt>
                <c:pt idx="20336">
                  <c:v>0.36268949527376398</c:v>
                </c:pt>
                <c:pt idx="20337">
                  <c:v>0.36270733012306</c:v>
                </c:pt>
                <c:pt idx="20338">
                  <c:v>0.36272516497235502</c:v>
                </c:pt>
                <c:pt idx="20339">
                  <c:v>0.36274299982165098</c:v>
                </c:pt>
                <c:pt idx="20340">
                  <c:v>0.362760834670947</c:v>
                </c:pt>
                <c:pt idx="20341">
                  <c:v>0.36277866952024201</c:v>
                </c:pt>
                <c:pt idx="20342">
                  <c:v>0.36279650436953798</c:v>
                </c:pt>
                <c:pt idx="20343">
                  <c:v>0.36281433921883299</c:v>
                </c:pt>
                <c:pt idx="20344">
                  <c:v>0.36283217406812901</c:v>
                </c:pt>
                <c:pt idx="20345">
                  <c:v>0.36285000891742403</c:v>
                </c:pt>
                <c:pt idx="20346">
                  <c:v>0.36286784376671999</c:v>
                </c:pt>
                <c:pt idx="20347">
                  <c:v>0.36288567861601501</c:v>
                </c:pt>
                <c:pt idx="20348">
                  <c:v>0.36290351346531102</c:v>
                </c:pt>
                <c:pt idx="20349">
                  <c:v>0.36292134831460598</c:v>
                </c:pt>
                <c:pt idx="20350">
                  <c:v>0.362939183163902</c:v>
                </c:pt>
                <c:pt idx="20351">
                  <c:v>0.36295701801319702</c:v>
                </c:pt>
                <c:pt idx="20352">
                  <c:v>0.36297485286249298</c:v>
                </c:pt>
                <c:pt idx="20353">
                  <c:v>0.362992687711788</c:v>
                </c:pt>
                <c:pt idx="20354">
                  <c:v>0.36301052256108401</c:v>
                </c:pt>
                <c:pt idx="20355">
                  <c:v>0.36302835741037898</c:v>
                </c:pt>
                <c:pt idx="20356">
                  <c:v>0.36304619225967499</c:v>
                </c:pt>
                <c:pt idx="20357">
                  <c:v>0.36306402710897001</c:v>
                </c:pt>
                <c:pt idx="20358">
                  <c:v>0.36308186195826597</c:v>
                </c:pt>
                <c:pt idx="20359">
                  <c:v>0.36309969680756199</c:v>
                </c:pt>
                <c:pt idx="20360">
                  <c:v>0.36311753165685701</c:v>
                </c:pt>
                <c:pt idx="20361">
                  <c:v>0.36313536650615302</c:v>
                </c:pt>
                <c:pt idx="20362">
                  <c:v>0.36315320135544799</c:v>
                </c:pt>
                <c:pt idx="20363">
                  <c:v>0.363171036204744</c:v>
                </c:pt>
                <c:pt idx="20364">
                  <c:v>0.36318887105403902</c:v>
                </c:pt>
                <c:pt idx="20365">
                  <c:v>0.36320670590333498</c:v>
                </c:pt>
                <c:pt idx="20366">
                  <c:v>0.36322454075263</c:v>
                </c:pt>
                <c:pt idx="20367">
                  <c:v>0.36324237560192602</c:v>
                </c:pt>
                <c:pt idx="20368">
                  <c:v>0.36326021045122098</c:v>
                </c:pt>
                <c:pt idx="20369">
                  <c:v>0.36327804530051699</c:v>
                </c:pt>
                <c:pt idx="20370">
                  <c:v>0.36329588014981201</c:v>
                </c:pt>
                <c:pt idx="20371">
                  <c:v>0.36331371499910797</c:v>
                </c:pt>
                <c:pt idx="20372">
                  <c:v>0.36333154984840299</c:v>
                </c:pt>
                <c:pt idx="20373">
                  <c:v>0.36334938469769901</c:v>
                </c:pt>
                <c:pt idx="20374">
                  <c:v>0.36336721954699402</c:v>
                </c:pt>
                <c:pt idx="20375">
                  <c:v>0.36338505439628999</c:v>
                </c:pt>
                <c:pt idx="20376">
                  <c:v>0.363402889245585</c:v>
                </c:pt>
                <c:pt idx="20377">
                  <c:v>0.36342072409488102</c:v>
                </c:pt>
                <c:pt idx="20378">
                  <c:v>0.36343855894417598</c:v>
                </c:pt>
                <c:pt idx="20379">
                  <c:v>0.363456393793472</c:v>
                </c:pt>
                <c:pt idx="20380">
                  <c:v>0.36347422864276702</c:v>
                </c:pt>
                <c:pt idx="20381">
                  <c:v>0.36349206349206298</c:v>
                </c:pt>
                <c:pt idx="20382">
                  <c:v>0.36350989834135899</c:v>
                </c:pt>
                <c:pt idx="20383">
                  <c:v>0.36352773319065401</c:v>
                </c:pt>
                <c:pt idx="20384">
                  <c:v>0.36354556803994997</c:v>
                </c:pt>
                <c:pt idx="20385">
                  <c:v>0.36356340288924499</c:v>
                </c:pt>
                <c:pt idx="20386">
                  <c:v>0.36358123773854101</c:v>
                </c:pt>
                <c:pt idx="20387">
                  <c:v>0.36359907258783603</c:v>
                </c:pt>
                <c:pt idx="20388">
                  <c:v>0.36361690743713199</c:v>
                </c:pt>
                <c:pt idx="20389">
                  <c:v>0.363634742286427</c:v>
                </c:pt>
                <c:pt idx="20390">
                  <c:v>0.36365257713572302</c:v>
                </c:pt>
                <c:pt idx="20391">
                  <c:v>0.36367041198501798</c:v>
                </c:pt>
                <c:pt idx="20392">
                  <c:v>0.363688246834314</c:v>
                </c:pt>
                <c:pt idx="20393">
                  <c:v>0.36370608168360902</c:v>
                </c:pt>
                <c:pt idx="20394">
                  <c:v>0.36372391653290498</c:v>
                </c:pt>
                <c:pt idx="20395">
                  <c:v>0.3637417513822</c:v>
                </c:pt>
                <c:pt idx="20396">
                  <c:v>0.36375958623149601</c:v>
                </c:pt>
                <c:pt idx="20397">
                  <c:v>0.36377742108079097</c:v>
                </c:pt>
                <c:pt idx="20398">
                  <c:v>0.36379525593008699</c:v>
                </c:pt>
                <c:pt idx="20399">
                  <c:v>0.36381309077938201</c:v>
                </c:pt>
                <c:pt idx="20400">
                  <c:v>0.36383092562867803</c:v>
                </c:pt>
                <c:pt idx="20401">
                  <c:v>0.36384876047797399</c:v>
                </c:pt>
                <c:pt idx="20402">
                  <c:v>0.363866595327269</c:v>
                </c:pt>
                <c:pt idx="20403">
                  <c:v>0.36388443017656502</c:v>
                </c:pt>
                <c:pt idx="20404">
                  <c:v>0.36390226502585998</c:v>
                </c:pt>
                <c:pt idx="20405">
                  <c:v>0.363920099875156</c:v>
                </c:pt>
                <c:pt idx="20406">
                  <c:v>0.36393793472445102</c:v>
                </c:pt>
                <c:pt idx="20407">
                  <c:v>0.36395576957374698</c:v>
                </c:pt>
                <c:pt idx="20408">
                  <c:v>0.363973604423042</c:v>
                </c:pt>
                <c:pt idx="20409">
                  <c:v>0.36399143927233801</c:v>
                </c:pt>
                <c:pt idx="20410">
                  <c:v>0.36400927412163298</c:v>
                </c:pt>
                <c:pt idx="20411">
                  <c:v>0.36402710897092899</c:v>
                </c:pt>
                <c:pt idx="20412">
                  <c:v>0.36404494382022401</c:v>
                </c:pt>
                <c:pt idx="20413">
                  <c:v>0.36406277866952003</c:v>
                </c:pt>
                <c:pt idx="20414">
                  <c:v>0.36408061351881499</c:v>
                </c:pt>
                <c:pt idx="20415">
                  <c:v>0.36409844836811101</c:v>
                </c:pt>
                <c:pt idx="20416">
                  <c:v>0.36411628321740602</c:v>
                </c:pt>
                <c:pt idx="20417">
                  <c:v>0.36413411806670198</c:v>
                </c:pt>
                <c:pt idx="20418">
                  <c:v>0.364151952915997</c:v>
                </c:pt>
                <c:pt idx="20419">
                  <c:v>0.36416978776529302</c:v>
                </c:pt>
                <c:pt idx="20420">
                  <c:v>0.36418762261458798</c:v>
                </c:pt>
                <c:pt idx="20421">
                  <c:v>0.364205457463884</c:v>
                </c:pt>
                <c:pt idx="20422">
                  <c:v>0.36422329231317901</c:v>
                </c:pt>
                <c:pt idx="20423">
                  <c:v>0.36424112716247498</c:v>
                </c:pt>
                <c:pt idx="20424">
                  <c:v>0.36425896201177099</c:v>
                </c:pt>
                <c:pt idx="20425">
                  <c:v>0.36427679686106601</c:v>
                </c:pt>
                <c:pt idx="20426">
                  <c:v>0.36429463171036203</c:v>
                </c:pt>
                <c:pt idx="20427">
                  <c:v>0.36431246655965699</c:v>
                </c:pt>
                <c:pt idx="20428">
                  <c:v>0.36433030140895301</c:v>
                </c:pt>
                <c:pt idx="20429">
                  <c:v>0.36434813625824802</c:v>
                </c:pt>
                <c:pt idx="20430">
                  <c:v>0.36436597110754398</c:v>
                </c:pt>
                <c:pt idx="20431">
                  <c:v>0.364383805956839</c:v>
                </c:pt>
                <c:pt idx="20432">
                  <c:v>0.36440164080613502</c:v>
                </c:pt>
                <c:pt idx="20433">
                  <c:v>0.36441947565542998</c:v>
                </c:pt>
                <c:pt idx="20434">
                  <c:v>0.364437310504726</c:v>
                </c:pt>
                <c:pt idx="20435">
                  <c:v>0.36445514535402102</c:v>
                </c:pt>
                <c:pt idx="20436">
                  <c:v>0.36447298020331698</c:v>
                </c:pt>
                <c:pt idx="20437">
                  <c:v>0.36449081505261199</c:v>
                </c:pt>
                <c:pt idx="20438">
                  <c:v>0.36450864990190801</c:v>
                </c:pt>
                <c:pt idx="20439">
                  <c:v>0.36452648475120297</c:v>
                </c:pt>
                <c:pt idx="20440">
                  <c:v>0.36454431960049899</c:v>
                </c:pt>
                <c:pt idx="20441">
                  <c:v>0.36456215444979401</c:v>
                </c:pt>
                <c:pt idx="20442">
                  <c:v>0.36457998929909002</c:v>
                </c:pt>
                <c:pt idx="20443">
                  <c:v>0.36459782414838499</c:v>
                </c:pt>
                <c:pt idx="20444">
                  <c:v>0.364615658997681</c:v>
                </c:pt>
                <c:pt idx="20445">
                  <c:v>0.36463349384697702</c:v>
                </c:pt>
                <c:pt idx="20446">
                  <c:v>0.36465132869627198</c:v>
                </c:pt>
                <c:pt idx="20447">
                  <c:v>0.364669163545568</c:v>
                </c:pt>
                <c:pt idx="20448">
                  <c:v>0.36468699839486302</c:v>
                </c:pt>
                <c:pt idx="20449">
                  <c:v>0.36470483324415898</c:v>
                </c:pt>
                <c:pt idx="20450">
                  <c:v>0.36472266809345399</c:v>
                </c:pt>
                <c:pt idx="20451">
                  <c:v>0.36474050294275001</c:v>
                </c:pt>
                <c:pt idx="20452">
                  <c:v>0.36475833779204497</c:v>
                </c:pt>
                <c:pt idx="20453">
                  <c:v>0.36477617264134099</c:v>
                </c:pt>
                <c:pt idx="20454">
                  <c:v>0.36479400749063601</c:v>
                </c:pt>
                <c:pt idx="20455">
                  <c:v>0.36481184233993202</c:v>
                </c:pt>
                <c:pt idx="20456">
                  <c:v>0.36482967718922699</c:v>
                </c:pt>
                <c:pt idx="20457">
                  <c:v>0.364847512038523</c:v>
                </c:pt>
                <c:pt idx="20458">
                  <c:v>0.36486534688781802</c:v>
                </c:pt>
                <c:pt idx="20459">
                  <c:v>0.36488318173711398</c:v>
                </c:pt>
                <c:pt idx="20460">
                  <c:v>0.364901016586409</c:v>
                </c:pt>
                <c:pt idx="20461">
                  <c:v>0.36491885143570502</c:v>
                </c:pt>
                <c:pt idx="20462">
                  <c:v>0.36493668628499998</c:v>
                </c:pt>
                <c:pt idx="20463">
                  <c:v>0.36495452113429599</c:v>
                </c:pt>
                <c:pt idx="20464">
                  <c:v>0.36497235598359101</c:v>
                </c:pt>
                <c:pt idx="20465">
                  <c:v>0.36499019083288697</c:v>
                </c:pt>
                <c:pt idx="20466">
                  <c:v>0.36500802568218299</c:v>
                </c:pt>
                <c:pt idx="20467">
                  <c:v>0.36502586053147801</c:v>
                </c:pt>
                <c:pt idx="20468">
                  <c:v>0.36504369538077402</c:v>
                </c:pt>
                <c:pt idx="20469">
                  <c:v>0.36506153023006899</c:v>
                </c:pt>
                <c:pt idx="20470">
                  <c:v>0.365079365079365</c:v>
                </c:pt>
                <c:pt idx="20471">
                  <c:v>0.36509719992866002</c:v>
                </c:pt>
                <c:pt idx="20472">
                  <c:v>0.36511503477795598</c:v>
                </c:pt>
                <c:pt idx="20473">
                  <c:v>0.365132869627251</c:v>
                </c:pt>
                <c:pt idx="20474">
                  <c:v>0.36515070447654702</c:v>
                </c:pt>
                <c:pt idx="20475">
                  <c:v>0.36516853932584198</c:v>
                </c:pt>
                <c:pt idx="20476">
                  <c:v>0.365186374175138</c:v>
                </c:pt>
                <c:pt idx="20477">
                  <c:v>0.36520420902443301</c:v>
                </c:pt>
                <c:pt idx="20478">
                  <c:v>0.36522204387372897</c:v>
                </c:pt>
                <c:pt idx="20479">
                  <c:v>0.36523987872302399</c:v>
                </c:pt>
                <c:pt idx="20480">
                  <c:v>0.36525771357232001</c:v>
                </c:pt>
                <c:pt idx="20481">
                  <c:v>0.36527554842161503</c:v>
                </c:pt>
                <c:pt idx="20482">
                  <c:v>0.36529338327091099</c:v>
                </c:pt>
                <c:pt idx="20483">
                  <c:v>0.365311218120206</c:v>
                </c:pt>
                <c:pt idx="20484">
                  <c:v>0.36532905296950202</c:v>
                </c:pt>
                <c:pt idx="20485">
                  <c:v>0.36534688781879698</c:v>
                </c:pt>
                <c:pt idx="20486">
                  <c:v>0.365364722668093</c:v>
                </c:pt>
                <c:pt idx="20487">
                  <c:v>0.36538255751738802</c:v>
                </c:pt>
                <c:pt idx="20488">
                  <c:v>0.36540039236668398</c:v>
                </c:pt>
                <c:pt idx="20489">
                  <c:v>0.36541822721598</c:v>
                </c:pt>
                <c:pt idx="20490">
                  <c:v>0.36543606206527501</c:v>
                </c:pt>
                <c:pt idx="20491">
                  <c:v>0.36545389691457097</c:v>
                </c:pt>
                <c:pt idx="20492">
                  <c:v>0.36547173176386599</c:v>
                </c:pt>
                <c:pt idx="20493">
                  <c:v>0.36548956661316201</c:v>
                </c:pt>
                <c:pt idx="20494">
                  <c:v>0.36550740146245703</c:v>
                </c:pt>
                <c:pt idx="20495">
                  <c:v>0.36552523631175299</c:v>
                </c:pt>
                <c:pt idx="20496">
                  <c:v>0.36554307116104801</c:v>
                </c:pt>
                <c:pt idx="20497">
                  <c:v>0.36556090601034402</c:v>
                </c:pt>
                <c:pt idx="20498">
                  <c:v>0.36557874085963898</c:v>
                </c:pt>
                <c:pt idx="20499">
                  <c:v>0.365596575708935</c:v>
                </c:pt>
                <c:pt idx="20500">
                  <c:v>0.36561441055823002</c:v>
                </c:pt>
                <c:pt idx="20501">
                  <c:v>0.36563224540752598</c:v>
                </c:pt>
                <c:pt idx="20502">
                  <c:v>0.365650080256821</c:v>
                </c:pt>
                <c:pt idx="20503">
                  <c:v>0.36566791510611701</c:v>
                </c:pt>
                <c:pt idx="20504">
                  <c:v>0.36568574995541198</c:v>
                </c:pt>
                <c:pt idx="20505">
                  <c:v>0.36570358480470799</c:v>
                </c:pt>
                <c:pt idx="20506">
                  <c:v>0.36572141965400301</c:v>
                </c:pt>
                <c:pt idx="20507">
                  <c:v>0.36573925450329903</c:v>
                </c:pt>
                <c:pt idx="20508">
                  <c:v>0.36575708935259499</c:v>
                </c:pt>
                <c:pt idx="20509">
                  <c:v>0.36577492420189001</c:v>
                </c:pt>
                <c:pt idx="20510">
                  <c:v>0.36579275905118602</c:v>
                </c:pt>
                <c:pt idx="20511">
                  <c:v>0.36581059390048098</c:v>
                </c:pt>
                <c:pt idx="20512">
                  <c:v>0.365828428749777</c:v>
                </c:pt>
                <c:pt idx="20513">
                  <c:v>0.36584626359907202</c:v>
                </c:pt>
                <c:pt idx="20514">
                  <c:v>0.36586409844836798</c:v>
                </c:pt>
                <c:pt idx="20515">
                  <c:v>0.365881933297663</c:v>
                </c:pt>
                <c:pt idx="20516">
                  <c:v>0.36589976814695901</c:v>
                </c:pt>
                <c:pt idx="20517">
                  <c:v>0.36591760299625398</c:v>
                </c:pt>
                <c:pt idx="20518">
                  <c:v>0.36593543784554999</c:v>
                </c:pt>
                <c:pt idx="20519">
                  <c:v>0.36595327269484501</c:v>
                </c:pt>
                <c:pt idx="20520">
                  <c:v>0.36597110754414103</c:v>
                </c:pt>
                <c:pt idx="20521">
                  <c:v>0.36598894239343599</c:v>
                </c:pt>
                <c:pt idx="20522">
                  <c:v>0.36600677724273201</c:v>
                </c:pt>
                <c:pt idx="20523">
                  <c:v>0.36602461209202702</c:v>
                </c:pt>
                <c:pt idx="20524">
                  <c:v>0.36604244694132299</c:v>
                </c:pt>
                <c:pt idx="20525">
                  <c:v>0.366060281790618</c:v>
                </c:pt>
                <c:pt idx="20526">
                  <c:v>0.36607811663991402</c:v>
                </c:pt>
                <c:pt idx="20527">
                  <c:v>0.36609595148920898</c:v>
                </c:pt>
                <c:pt idx="20528">
                  <c:v>0.366113786338505</c:v>
                </c:pt>
                <c:pt idx="20529">
                  <c:v>0.36613162118780002</c:v>
                </c:pt>
                <c:pt idx="20530">
                  <c:v>0.36614945603709598</c:v>
                </c:pt>
                <c:pt idx="20531">
                  <c:v>0.36616729088639199</c:v>
                </c:pt>
                <c:pt idx="20532">
                  <c:v>0.36618512573568701</c:v>
                </c:pt>
                <c:pt idx="20533">
                  <c:v>0.36620296058498297</c:v>
                </c:pt>
                <c:pt idx="20534">
                  <c:v>0.36622079543427799</c:v>
                </c:pt>
                <c:pt idx="20535">
                  <c:v>0.36623863028357401</c:v>
                </c:pt>
                <c:pt idx="20536">
                  <c:v>0.36625646513286902</c:v>
                </c:pt>
                <c:pt idx="20537">
                  <c:v>0.36627429998216499</c:v>
                </c:pt>
                <c:pt idx="20538">
                  <c:v>0.36629213483146</c:v>
                </c:pt>
                <c:pt idx="20539">
                  <c:v>0.36630996968075602</c:v>
                </c:pt>
                <c:pt idx="20540">
                  <c:v>0.36632780453005098</c:v>
                </c:pt>
                <c:pt idx="20541">
                  <c:v>0.366345639379347</c:v>
                </c:pt>
                <c:pt idx="20542">
                  <c:v>0.36636347422864202</c:v>
                </c:pt>
                <c:pt idx="20543">
                  <c:v>0.36638130907793798</c:v>
                </c:pt>
                <c:pt idx="20544">
                  <c:v>0.366399143927233</c:v>
                </c:pt>
                <c:pt idx="20545">
                  <c:v>0.36641697877652901</c:v>
                </c:pt>
                <c:pt idx="20546">
                  <c:v>0.36643481362582397</c:v>
                </c:pt>
                <c:pt idx="20547">
                  <c:v>0.36645264847511999</c:v>
                </c:pt>
                <c:pt idx="20548">
                  <c:v>0.36647048332441501</c:v>
                </c:pt>
                <c:pt idx="20549">
                  <c:v>0.36648831817371103</c:v>
                </c:pt>
                <c:pt idx="20550">
                  <c:v>0.36650615302300599</c:v>
                </c:pt>
                <c:pt idx="20551">
                  <c:v>0.366523987872302</c:v>
                </c:pt>
                <c:pt idx="20552">
                  <c:v>0.36654182272159802</c:v>
                </c:pt>
                <c:pt idx="20553">
                  <c:v>0.36655965757089298</c:v>
                </c:pt>
                <c:pt idx="20554">
                  <c:v>0.366577492420189</c:v>
                </c:pt>
                <c:pt idx="20555">
                  <c:v>0.36659532726948402</c:v>
                </c:pt>
                <c:pt idx="20556">
                  <c:v>0.36661316211877998</c:v>
                </c:pt>
                <c:pt idx="20557">
                  <c:v>0.366630996968075</c:v>
                </c:pt>
                <c:pt idx="20558">
                  <c:v>0.36664883181737101</c:v>
                </c:pt>
                <c:pt idx="20559">
                  <c:v>0.36666666666666597</c:v>
                </c:pt>
                <c:pt idx="20560">
                  <c:v>0.36668450151596199</c:v>
                </c:pt>
                <c:pt idx="20561">
                  <c:v>0.36670233636525701</c:v>
                </c:pt>
                <c:pt idx="20562">
                  <c:v>0.36672017121455303</c:v>
                </c:pt>
                <c:pt idx="20563">
                  <c:v>0.36673800606384799</c:v>
                </c:pt>
                <c:pt idx="20564">
                  <c:v>0.366755840913144</c:v>
                </c:pt>
                <c:pt idx="20565">
                  <c:v>0.36677367576243902</c:v>
                </c:pt>
                <c:pt idx="20566">
                  <c:v>0.36679151061173498</c:v>
                </c:pt>
                <c:pt idx="20567">
                  <c:v>0.36680934546103</c:v>
                </c:pt>
                <c:pt idx="20568">
                  <c:v>0.36682718031032602</c:v>
                </c:pt>
                <c:pt idx="20569">
                  <c:v>0.36684501515962098</c:v>
                </c:pt>
                <c:pt idx="20570">
                  <c:v>0.366862850008917</c:v>
                </c:pt>
                <c:pt idx="20571">
                  <c:v>0.36688068485821201</c:v>
                </c:pt>
                <c:pt idx="20572">
                  <c:v>0.36689851970750798</c:v>
                </c:pt>
                <c:pt idx="20573">
                  <c:v>0.36691635455680399</c:v>
                </c:pt>
                <c:pt idx="20574">
                  <c:v>0.36693418940609901</c:v>
                </c:pt>
                <c:pt idx="20575">
                  <c:v>0.36695202425539503</c:v>
                </c:pt>
                <c:pt idx="20576">
                  <c:v>0.36696985910468999</c:v>
                </c:pt>
                <c:pt idx="20577">
                  <c:v>0.36698769395398601</c:v>
                </c:pt>
                <c:pt idx="20578">
                  <c:v>0.36700552880328102</c:v>
                </c:pt>
                <c:pt idx="20579">
                  <c:v>0.36702336365257698</c:v>
                </c:pt>
                <c:pt idx="20580">
                  <c:v>0.367041198501872</c:v>
                </c:pt>
                <c:pt idx="20581">
                  <c:v>0.36705903335116802</c:v>
                </c:pt>
                <c:pt idx="20582">
                  <c:v>0.36707686820046298</c:v>
                </c:pt>
                <c:pt idx="20583">
                  <c:v>0.367094703049759</c:v>
                </c:pt>
                <c:pt idx="20584">
                  <c:v>0.36711253789905401</c:v>
                </c:pt>
                <c:pt idx="20585">
                  <c:v>0.36713037274834998</c:v>
                </c:pt>
                <c:pt idx="20586">
                  <c:v>0.36714820759764499</c:v>
                </c:pt>
                <c:pt idx="20587">
                  <c:v>0.36716604244694101</c:v>
                </c:pt>
                <c:pt idx="20588">
                  <c:v>0.36718387729623603</c:v>
                </c:pt>
                <c:pt idx="20589">
                  <c:v>0.36720171214553199</c:v>
                </c:pt>
                <c:pt idx="20590">
                  <c:v>0.36721954699482701</c:v>
                </c:pt>
                <c:pt idx="20591">
                  <c:v>0.36723738184412302</c:v>
                </c:pt>
                <c:pt idx="20592">
                  <c:v>0.36725521669341799</c:v>
                </c:pt>
                <c:pt idx="20593">
                  <c:v>0.367273051542714</c:v>
                </c:pt>
                <c:pt idx="20594">
                  <c:v>0.36729088639200902</c:v>
                </c:pt>
                <c:pt idx="20595">
                  <c:v>0.36730872124130498</c:v>
                </c:pt>
                <c:pt idx="20596">
                  <c:v>0.367326556090601</c:v>
                </c:pt>
                <c:pt idx="20597">
                  <c:v>0.36734439093989601</c:v>
                </c:pt>
                <c:pt idx="20598">
                  <c:v>0.36736222578919198</c:v>
                </c:pt>
                <c:pt idx="20599">
                  <c:v>0.36738006063848699</c:v>
                </c:pt>
                <c:pt idx="20600">
                  <c:v>0.36739789548778301</c:v>
                </c:pt>
                <c:pt idx="20601">
                  <c:v>0.36741573033707797</c:v>
                </c:pt>
                <c:pt idx="20602">
                  <c:v>0.36743356518637399</c:v>
                </c:pt>
                <c:pt idx="20603">
                  <c:v>0.36745140003566901</c:v>
                </c:pt>
                <c:pt idx="20604">
                  <c:v>0.36746923488496502</c:v>
                </c:pt>
                <c:pt idx="20605">
                  <c:v>0.36748706973425999</c:v>
                </c:pt>
                <c:pt idx="20606">
                  <c:v>0.367504904583556</c:v>
                </c:pt>
                <c:pt idx="20607">
                  <c:v>0.36752273943285102</c:v>
                </c:pt>
                <c:pt idx="20608">
                  <c:v>0.36754057428214698</c:v>
                </c:pt>
                <c:pt idx="20609">
                  <c:v>0.367558409131442</c:v>
                </c:pt>
                <c:pt idx="20610">
                  <c:v>0.36757624398073802</c:v>
                </c:pt>
                <c:pt idx="20611">
                  <c:v>0.36759407883003298</c:v>
                </c:pt>
                <c:pt idx="20612">
                  <c:v>0.36761191367932899</c:v>
                </c:pt>
                <c:pt idx="20613">
                  <c:v>0.36762974852862401</c:v>
                </c:pt>
                <c:pt idx="20614">
                  <c:v>0.36764758337791997</c:v>
                </c:pt>
                <c:pt idx="20615">
                  <c:v>0.36766541822721599</c:v>
                </c:pt>
                <c:pt idx="20616">
                  <c:v>0.36768325307651101</c:v>
                </c:pt>
                <c:pt idx="20617">
                  <c:v>0.36770108792580702</c:v>
                </c:pt>
                <c:pt idx="20618">
                  <c:v>0.36771892277510199</c:v>
                </c:pt>
                <c:pt idx="20619">
                  <c:v>0.367736757624398</c:v>
                </c:pt>
                <c:pt idx="20620">
                  <c:v>0.36775459247369302</c:v>
                </c:pt>
                <c:pt idx="20621">
                  <c:v>0.36777242732298898</c:v>
                </c:pt>
                <c:pt idx="20622">
                  <c:v>0.367790262172284</c:v>
                </c:pt>
                <c:pt idx="20623">
                  <c:v>0.36780809702158002</c:v>
                </c:pt>
                <c:pt idx="20624">
                  <c:v>0.36782593187087498</c:v>
                </c:pt>
                <c:pt idx="20625">
                  <c:v>0.36784376672017099</c:v>
                </c:pt>
                <c:pt idx="20626">
                  <c:v>0.36786160156946601</c:v>
                </c:pt>
                <c:pt idx="20627">
                  <c:v>0.36787943641876197</c:v>
                </c:pt>
                <c:pt idx="20628">
                  <c:v>0.36789727126805699</c:v>
                </c:pt>
                <c:pt idx="20629">
                  <c:v>0.36791510611735301</c:v>
                </c:pt>
                <c:pt idx="20630">
                  <c:v>0.36793294096664803</c:v>
                </c:pt>
                <c:pt idx="20631">
                  <c:v>0.36795077581594399</c:v>
                </c:pt>
                <c:pt idx="20632">
                  <c:v>0.367968610665239</c:v>
                </c:pt>
                <c:pt idx="20633">
                  <c:v>0.36798644551453502</c:v>
                </c:pt>
                <c:pt idx="20634">
                  <c:v>0.36800428036382998</c:v>
                </c:pt>
                <c:pt idx="20635">
                  <c:v>0.368022115213126</c:v>
                </c:pt>
                <c:pt idx="20636">
                  <c:v>0.36803995006242102</c:v>
                </c:pt>
                <c:pt idx="20637">
                  <c:v>0.36805778491171698</c:v>
                </c:pt>
                <c:pt idx="20638">
                  <c:v>0.368075619761013</c:v>
                </c:pt>
                <c:pt idx="20639">
                  <c:v>0.36809345461030801</c:v>
                </c:pt>
                <c:pt idx="20640">
                  <c:v>0.36811128945960397</c:v>
                </c:pt>
                <c:pt idx="20641">
                  <c:v>0.36812912430889899</c:v>
                </c:pt>
                <c:pt idx="20642">
                  <c:v>0.36814695915819501</c:v>
                </c:pt>
                <c:pt idx="20643">
                  <c:v>0.36816479400749003</c:v>
                </c:pt>
                <c:pt idx="20644">
                  <c:v>0.36818262885678599</c:v>
                </c:pt>
                <c:pt idx="20645">
                  <c:v>0.368200463706081</c:v>
                </c:pt>
                <c:pt idx="20646">
                  <c:v>0.36821829855537702</c:v>
                </c:pt>
                <c:pt idx="20647">
                  <c:v>0.36823613340467198</c:v>
                </c:pt>
                <c:pt idx="20648">
                  <c:v>0.368253968253968</c:v>
                </c:pt>
                <c:pt idx="20649">
                  <c:v>0.36827180310326302</c:v>
                </c:pt>
                <c:pt idx="20650">
                  <c:v>0.36828963795255898</c:v>
                </c:pt>
                <c:pt idx="20651">
                  <c:v>0.368307472801854</c:v>
                </c:pt>
                <c:pt idx="20652">
                  <c:v>0.36832530765115001</c:v>
                </c:pt>
                <c:pt idx="20653">
                  <c:v>0.36834314250044498</c:v>
                </c:pt>
                <c:pt idx="20654">
                  <c:v>0.36836097734974099</c:v>
                </c:pt>
                <c:pt idx="20655">
                  <c:v>0.36837881219903601</c:v>
                </c:pt>
                <c:pt idx="20656">
                  <c:v>0.36839664704833203</c:v>
                </c:pt>
                <c:pt idx="20657">
                  <c:v>0.36841448189762799</c:v>
                </c:pt>
                <c:pt idx="20658">
                  <c:v>0.36843231674692301</c:v>
                </c:pt>
                <c:pt idx="20659">
                  <c:v>0.36845015159621902</c:v>
                </c:pt>
                <c:pt idx="20660">
                  <c:v>0.36846798644551398</c:v>
                </c:pt>
                <c:pt idx="20661">
                  <c:v>0.36848582129481</c:v>
                </c:pt>
                <c:pt idx="20662">
                  <c:v>0.36850365614410502</c:v>
                </c:pt>
                <c:pt idx="20663">
                  <c:v>0.36852149099340098</c:v>
                </c:pt>
                <c:pt idx="20664">
                  <c:v>0.368539325842696</c:v>
                </c:pt>
                <c:pt idx="20665">
                  <c:v>0.36855716069199201</c:v>
                </c:pt>
                <c:pt idx="20666">
                  <c:v>0.36857499554128698</c:v>
                </c:pt>
                <c:pt idx="20667">
                  <c:v>0.36859283039058299</c:v>
                </c:pt>
                <c:pt idx="20668">
                  <c:v>0.36861066523987801</c:v>
                </c:pt>
                <c:pt idx="20669">
                  <c:v>0.36862850008917403</c:v>
                </c:pt>
                <c:pt idx="20670">
                  <c:v>0.36864633493846899</c:v>
                </c:pt>
                <c:pt idx="20671">
                  <c:v>0.36866416978776501</c:v>
                </c:pt>
                <c:pt idx="20672">
                  <c:v>0.36868200463706002</c:v>
                </c:pt>
                <c:pt idx="20673">
                  <c:v>0.36869983948635598</c:v>
                </c:pt>
                <c:pt idx="20674">
                  <c:v>0.368717674335651</c:v>
                </c:pt>
                <c:pt idx="20675">
                  <c:v>0.36873550918494702</c:v>
                </c:pt>
                <c:pt idx="20676">
                  <c:v>0.36875334403424198</c:v>
                </c:pt>
                <c:pt idx="20677">
                  <c:v>0.368771178883538</c:v>
                </c:pt>
                <c:pt idx="20678">
                  <c:v>0.36878901373283302</c:v>
                </c:pt>
                <c:pt idx="20679">
                  <c:v>0.36880684858212898</c:v>
                </c:pt>
                <c:pt idx="20680">
                  <c:v>0.36882468343142499</c:v>
                </c:pt>
                <c:pt idx="20681">
                  <c:v>0.36884251828072001</c:v>
                </c:pt>
                <c:pt idx="20682">
                  <c:v>0.36886035313001603</c:v>
                </c:pt>
                <c:pt idx="20683">
                  <c:v>0.36887818797931099</c:v>
                </c:pt>
                <c:pt idx="20684">
                  <c:v>0.36889602282860701</c:v>
                </c:pt>
                <c:pt idx="20685">
                  <c:v>0.36891385767790202</c:v>
                </c:pt>
                <c:pt idx="20686">
                  <c:v>0.36893169252719799</c:v>
                </c:pt>
                <c:pt idx="20687">
                  <c:v>0.368949527376493</c:v>
                </c:pt>
                <c:pt idx="20688">
                  <c:v>0.36896736222578902</c:v>
                </c:pt>
                <c:pt idx="20689">
                  <c:v>0.36898519707508398</c:v>
                </c:pt>
                <c:pt idx="20690">
                  <c:v>0.36900303192438</c:v>
                </c:pt>
                <c:pt idx="20691">
                  <c:v>0.36902086677367502</c:v>
                </c:pt>
                <c:pt idx="20692">
                  <c:v>0.36903870162297098</c:v>
                </c:pt>
                <c:pt idx="20693">
                  <c:v>0.36905653647226599</c:v>
                </c:pt>
                <c:pt idx="20694">
                  <c:v>0.36907437132156201</c:v>
                </c:pt>
                <c:pt idx="20695">
                  <c:v>0.36909220617085697</c:v>
                </c:pt>
                <c:pt idx="20696">
                  <c:v>0.36911004102015299</c:v>
                </c:pt>
                <c:pt idx="20697">
                  <c:v>0.36912787586944801</c:v>
                </c:pt>
                <c:pt idx="20698">
                  <c:v>0.36914571071874402</c:v>
                </c:pt>
                <c:pt idx="20699">
                  <c:v>0.36916354556803899</c:v>
                </c:pt>
                <c:pt idx="20700">
                  <c:v>0.369181380417335</c:v>
                </c:pt>
                <c:pt idx="20701">
                  <c:v>0.36919921526663102</c:v>
                </c:pt>
                <c:pt idx="20702">
                  <c:v>0.36921705011592598</c:v>
                </c:pt>
                <c:pt idx="20703">
                  <c:v>0.369234884965222</c:v>
                </c:pt>
                <c:pt idx="20704">
                  <c:v>0.36925271981451702</c:v>
                </c:pt>
                <c:pt idx="20705">
                  <c:v>0.36927055466381298</c:v>
                </c:pt>
                <c:pt idx="20706">
                  <c:v>0.369288389513108</c:v>
                </c:pt>
                <c:pt idx="20707">
                  <c:v>0.36930622436240401</c:v>
                </c:pt>
                <c:pt idx="20708">
                  <c:v>0.36932405921169897</c:v>
                </c:pt>
                <c:pt idx="20709">
                  <c:v>0.36934189406099499</c:v>
                </c:pt>
                <c:pt idx="20710">
                  <c:v>0.36935972891029001</c:v>
                </c:pt>
                <c:pt idx="20711">
                  <c:v>0.36937756375958603</c:v>
                </c:pt>
                <c:pt idx="20712">
                  <c:v>0.36939539860888099</c:v>
                </c:pt>
                <c:pt idx="20713">
                  <c:v>0.369413233458177</c:v>
                </c:pt>
                <c:pt idx="20714">
                  <c:v>0.36943106830747202</c:v>
                </c:pt>
                <c:pt idx="20715">
                  <c:v>0.36944890315676798</c:v>
                </c:pt>
                <c:pt idx="20716">
                  <c:v>0.369466738006063</c:v>
                </c:pt>
                <c:pt idx="20717">
                  <c:v>0.36948457285535902</c:v>
                </c:pt>
                <c:pt idx="20718">
                  <c:v>0.36950240770465398</c:v>
                </c:pt>
                <c:pt idx="20719">
                  <c:v>0.36952024255395</c:v>
                </c:pt>
                <c:pt idx="20720">
                  <c:v>0.36953807740324501</c:v>
                </c:pt>
                <c:pt idx="20721">
                  <c:v>0.36955591225254097</c:v>
                </c:pt>
                <c:pt idx="20722">
                  <c:v>0.36957374710183699</c:v>
                </c:pt>
                <c:pt idx="20723">
                  <c:v>0.36959158195113201</c:v>
                </c:pt>
                <c:pt idx="20724">
                  <c:v>0.36960941680042803</c:v>
                </c:pt>
                <c:pt idx="20725">
                  <c:v>0.36962725164972299</c:v>
                </c:pt>
                <c:pt idx="20726">
                  <c:v>0.369645086499019</c:v>
                </c:pt>
                <c:pt idx="20727">
                  <c:v>0.36966292134831402</c:v>
                </c:pt>
                <c:pt idx="20728">
                  <c:v>0.36968075619760998</c:v>
                </c:pt>
                <c:pt idx="20729">
                  <c:v>0.369698591046905</c:v>
                </c:pt>
                <c:pt idx="20730">
                  <c:v>0.36971642589620102</c:v>
                </c:pt>
                <c:pt idx="20731">
                  <c:v>0.36973426074549598</c:v>
                </c:pt>
                <c:pt idx="20732">
                  <c:v>0.369752095594792</c:v>
                </c:pt>
                <c:pt idx="20733">
                  <c:v>0.36976993044408701</c:v>
                </c:pt>
                <c:pt idx="20734">
                  <c:v>0.36978776529338298</c:v>
                </c:pt>
                <c:pt idx="20735">
                  <c:v>0.36980560014267799</c:v>
                </c:pt>
                <c:pt idx="20736">
                  <c:v>0.36982343499197401</c:v>
                </c:pt>
                <c:pt idx="20737">
                  <c:v>0.36984126984126903</c:v>
                </c:pt>
                <c:pt idx="20738">
                  <c:v>0.36985910469056499</c:v>
                </c:pt>
                <c:pt idx="20739">
                  <c:v>0.36987693953986001</c:v>
                </c:pt>
                <c:pt idx="20740">
                  <c:v>0.36989477438915602</c:v>
                </c:pt>
                <c:pt idx="20741">
                  <c:v>0.36991260923845098</c:v>
                </c:pt>
                <c:pt idx="20742">
                  <c:v>0.369930444087747</c:v>
                </c:pt>
                <c:pt idx="20743">
                  <c:v>0.36994827893704202</c:v>
                </c:pt>
                <c:pt idx="20744">
                  <c:v>0.36996611378633798</c:v>
                </c:pt>
                <c:pt idx="20745">
                  <c:v>0.369983948635634</c:v>
                </c:pt>
                <c:pt idx="20746">
                  <c:v>0.37000178348492901</c:v>
                </c:pt>
                <c:pt idx="20747">
                  <c:v>0.37001961833422498</c:v>
                </c:pt>
                <c:pt idx="20748">
                  <c:v>0.37003745318351999</c:v>
                </c:pt>
                <c:pt idx="20749">
                  <c:v>0.37005528803281601</c:v>
                </c:pt>
                <c:pt idx="20750">
                  <c:v>0.37007312288211103</c:v>
                </c:pt>
                <c:pt idx="20751">
                  <c:v>0.37009095773140699</c:v>
                </c:pt>
                <c:pt idx="20752">
                  <c:v>0.37010879258070201</c:v>
                </c:pt>
                <c:pt idx="20753">
                  <c:v>0.37012662742999802</c:v>
                </c:pt>
                <c:pt idx="20754">
                  <c:v>0.37014446227929299</c:v>
                </c:pt>
                <c:pt idx="20755">
                  <c:v>0.370162297128589</c:v>
                </c:pt>
                <c:pt idx="20756">
                  <c:v>0.37018013197788402</c:v>
                </c:pt>
                <c:pt idx="20757">
                  <c:v>0.37019796682717998</c:v>
                </c:pt>
                <c:pt idx="20758">
                  <c:v>0.370215801676475</c:v>
                </c:pt>
                <c:pt idx="20759">
                  <c:v>0.37023363652577101</c:v>
                </c:pt>
                <c:pt idx="20760">
                  <c:v>0.37025147137506598</c:v>
                </c:pt>
                <c:pt idx="20761">
                  <c:v>0.37026930622436199</c:v>
                </c:pt>
                <c:pt idx="20762">
                  <c:v>0.37028714107365701</c:v>
                </c:pt>
                <c:pt idx="20763">
                  <c:v>0.37030497592295297</c:v>
                </c:pt>
                <c:pt idx="20764">
                  <c:v>0.37032281077224899</c:v>
                </c:pt>
                <c:pt idx="20765">
                  <c:v>0.37034064562154401</c:v>
                </c:pt>
                <c:pt idx="20766">
                  <c:v>0.37035848047084002</c:v>
                </c:pt>
                <c:pt idx="20767">
                  <c:v>0.37037631532013499</c:v>
                </c:pt>
                <c:pt idx="20768">
                  <c:v>0.370394150169431</c:v>
                </c:pt>
                <c:pt idx="20769">
                  <c:v>0.37041198501872602</c:v>
                </c:pt>
                <c:pt idx="20770">
                  <c:v>0.37042981986802198</c:v>
                </c:pt>
                <c:pt idx="20771">
                  <c:v>0.370447654717317</c:v>
                </c:pt>
                <c:pt idx="20772">
                  <c:v>0.37046548956661302</c:v>
                </c:pt>
                <c:pt idx="20773">
                  <c:v>0.37048332441590798</c:v>
                </c:pt>
                <c:pt idx="20774">
                  <c:v>0.37050115926520399</c:v>
                </c:pt>
                <c:pt idx="20775">
                  <c:v>0.37051899411449901</c:v>
                </c:pt>
                <c:pt idx="20776">
                  <c:v>0.37053682896379497</c:v>
                </c:pt>
                <c:pt idx="20777">
                  <c:v>0.37055466381308999</c:v>
                </c:pt>
                <c:pt idx="20778">
                  <c:v>0.37057249866238601</c:v>
                </c:pt>
                <c:pt idx="20779">
                  <c:v>0.37059033351168102</c:v>
                </c:pt>
                <c:pt idx="20780">
                  <c:v>0.37060816836097699</c:v>
                </c:pt>
                <c:pt idx="20781">
                  <c:v>0.370626003210272</c:v>
                </c:pt>
                <c:pt idx="20782">
                  <c:v>0.37064383805956802</c:v>
                </c:pt>
                <c:pt idx="20783">
                  <c:v>0.37066167290886298</c:v>
                </c:pt>
                <c:pt idx="20784">
                  <c:v>0.370679507758159</c:v>
                </c:pt>
                <c:pt idx="20785">
                  <c:v>0.37069734260745402</c:v>
                </c:pt>
                <c:pt idx="20786">
                  <c:v>0.37071517745674998</c:v>
                </c:pt>
                <c:pt idx="20787">
                  <c:v>0.37073301230604599</c:v>
                </c:pt>
                <c:pt idx="20788">
                  <c:v>0.37075084715534101</c:v>
                </c:pt>
                <c:pt idx="20789">
                  <c:v>0.37076868200463697</c:v>
                </c:pt>
                <c:pt idx="20790">
                  <c:v>0.37078651685393199</c:v>
                </c:pt>
                <c:pt idx="20791">
                  <c:v>0.37080435170322801</c:v>
                </c:pt>
                <c:pt idx="20792">
                  <c:v>0.37082218655252303</c:v>
                </c:pt>
                <c:pt idx="20793">
                  <c:v>0.37084002140181899</c:v>
                </c:pt>
                <c:pt idx="20794">
                  <c:v>0.370857856251114</c:v>
                </c:pt>
                <c:pt idx="20795">
                  <c:v>0.37087569110041002</c:v>
                </c:pt>
                <c:pt idx="20796">
                  <c:v>0.37089352594970498</c:v>
                </c:pt>
                <c:pt idx="20797">
                  <c:v>0.370911360799001</c:v>
                </c:pt>
                <c:pt idx="20798">
                  <c:v>0.37092919564829602</c:v>
                </c:pt>
                <c:pt idx="20799">
                  <c:v>0.37094703049759198</c:v>
                </c:pt>
                <c:pt idx="20800">
                  <c:v>0.370964865346887</c:v>
                </c:pt>
                <c:pt idx="20801">
                  <c:v>0.37098270019618301</c:v>
                </c:pt>
                <c:pt idx="20802">
                  <c:v>0.37100053504547797</c:v>
                </c:pt>
                <c:pt idx="20803">
                  <c:v>0.37101836989477399</c:v>
                </c:pt>
                <c:pt idx="20804">
                  <c:v>0.37103620474406901</c:v>
                </c:pt>
                <c:pt idx="20805">
                  <c:v>0.37105403959336503</c:v>
                </c:pt>
                <c:pt idx="20806">
                  <c:v>0.37107187444266099</c:v>
                </c:pt>
                <c:pt idx="20807">
                  <c:v>0.371089709291956</c:v>
                </c:pt>
                <c:pt idx="20808">
                  <c:v>0.37110754414125202</c:v>
                </c:pt>
                <c:pt idx="20809">
                  <c:v>0.37112537899054698</c:v>
                </c:pt>
                <c:pt idx="20810">
                  <c:v>0.371143213839843</c:v>
                </c:pt>
                <c:pt idx="20811">
                  <c:v>0.37116104868913802</c:v>
                </c:pt>
                <c:pt idx="20812">
                  <c:v>0.37117888353843398</c:v>
                </c:pt>
                <c:pt idx="20813">
                  <c:v>0.371196718387729</c:v>
                </c:pt>
                <c:pt idx="20814">
                  <c:v>0.37121455323702501</c:v>
                </c:pt>
                <c:pt idx="20815">
                  <c:v>0.37123238808631998</c:v>
                </c:pt>
                <c:pt idx="20816">
                  <c:v>0.37125022293561599</c:v>
                </c:pt>
                <c:pt idx="20817">
                  <c:v>0.37126805778491101</c:v>
                </c:pt>
                <c:pt idx="20818">
                  <c:v>0.37128589263420703</c:v>
                </c:pt>
                <c:pt idx="20819">
                  <c:v>0.37130372748350199</c:v>
                </c:pt>
                <c:pt idx="20820">
                  <c:v>0.37132156233279801</c:v>
                </c:pt>
                <c:pt idx="20821">
                  <c:v>0.37133939718209302</c:v>
                </c:pt>
                <c:pt idx="20822">
                  <c:v>0.37135723203138898</c:v>
                </c:pt>
                <c:pt idx="20823">
                  <c:v>0.371375066880684</c:v>
                </c:pt>
                <c:pt idx="20824">
                  <c:v>0.37139290172998002</c:v>
                </c:pt>
                <c:pt idx="20825">
                  <c:v>0.37141073657927498</c:v>
                </c:pt>
                <c:pt idx="20826">
                  <c:v>0.371428571428571</c:v>
                </c:pt>
                <c:pt idx="20827">
                  <c:v>0.37144640627786601</c:v>
                </c:pt>
                <c:pt idx="20828">
                  <c:v>0.37146424112716198</c:v>
                </c:pt>
                <c:pt idx="20829">
                  <c:v>0.37148207597645799</c:v>
                </c:pt>
                <c:pt idx="20830">
                  <c:v>0.37149991082575301</c:v>
                </c:pt>
                <c:pt idx="20831">
                  <c:v>0.37151774567504903</c:v>
                </c:pt>
                <c:pt idx="20832">
                  <c:v>0.37153558052434399</c:v>
                </c:pt>
                <c:pt idx="20833">
                  <c:v>0.37155341537364001</c:v>
                </c:pt>
                <c:pt idx="20834">
                  <c:v>0.37157125022293502</c:v>
                </c:pt>
                <c:pt idx="20835">
                  <c:v>0.37158908507223098</c:v>
                </c:pt>
                <c:pt idx="20836">
                  <c:v>0.371606919921526</c:v>
                </c:pt>
                <c:pt idx="20837">
                  <c:v>0.37162475477082202</c:v>
                </c:pt>
                <c:pt idx="20838">
                  <c:v>0.37164258962011698</c:v>
                </c:pt>
                <c:pt idx="20839">
                  <c:v>0.371660424469413</c:v>
                </c:pt>
                <c:pt idx="20840">
                  <c:v>0.37167825931870802</c:v>
                </c:pt>
                <c:pt idx="20841">
                  <c:v>0.37169609416800398</c:v>
                </c:pt>
                <c:pt idx="20842">
                  <c:v>0.37171392901729899</c:v>
                </c:pt>
                <c:pt idx="20843">
                  <c:v>0.37173176386659501</c:v>
                </c:pt>
                <c:pt idx="20844">
                  <c:v>0.37174959871588997</c:v>
                </c:pt>
                <c:pt idx="20845">
                  <c:v>0.37176743356518599</c:v>
                </c:pt>
                <c:pt idx="20846">
                  <c:v>0.37178526841448101</c:v>
                </c:pt>
                <c:pt idx="20847">
                  <c:v>0.37180310326377702</c:v>
                </c:pt>
                <c:pt idx="20848">
                  <c:v>0.37182093811307199</c:v>
                </c:pt>
                <c:pt idx="20849">
                  <c:v>0.371838772962368</c:v>
                </c:pt>
                <c:pt idx="20850">
                  <c:v>0.37185660781166302</c:v>
                </c:pt>
                <c:pt idx="20851">
                  <c:v>0.37187444266095898</c:v>
                </c:pt>
                <c:pt idx="20852">
                  <c:v>0.371892277510255</c:v>
                </c:pt>
                <c:pt idx="20853">
                  <c:v>0.37191011235955002</c:v>
                </c:pt>
                <c:pt idx="20854">
                  <c:v>0.37192794720884598</c:v>
                </c:pt>
                <c:pt idx="20855">
                  <c:v>0.37194578205814099</c:v>
                </c:pt>
                <c:pt idx="20856">
                  <c:v>0.37196361690743701</c:v>
                </c:pt>
                <c:pt idx="20857">
                  <c:v>0.37198145175673197</c:v>
                </c:pt>
                <c:pt idx="20858">
                  <c:v>0.37199928660602799</c:v>
                </c:pt>
                <c:pt idx="20859">
                  <c:v>0.37201712145532301</c:v>
                </c:pt>
                <c:pt idx="20860">
                  <c:v>0.37203495630461902</c:v>
                </c:pt>
                <c:pt idx="20861">
                  <c:v>0.37205279115391399</c:v>
                </c:pt>
                <c:pt idx="20862">
                  <c:v>0.37207062600321</c:v>
                </c:pt>
                <c:pt idx="20863">
                  <c:v>0.37208846085250502</c:v>
                </c:pt>
                <c:pt idx="20864">
                  <c:v>0.37210629570180098</c:v>
                </c:pt>
                <c:pt idx="20865">
                  <c:v>0.372124130551096</c:v>
                </c:pt>
                <c:pt idx="20866">
                  <c:v>0.37214196540039202</c:v>
                </c:pt>
                <c:pt idx="20867">
                  <c:v>0.37215980024968698</c:v>
                </c:pt>
                <c:pt idx="20868">
                  <c:v>0.372177635098983</c:v>
                </c:pt>
                <c:pt idx="20869">
                  <c:v>0.37219546994827801</c:v>
                </c:pt>
                <c:pt idx="20870">
                  <c:v>0.37221330479757397</c:v>
                </c:pt>
                <c:pt idx="20871">
                  <c:v>0.37223113964686999</c:v>
                </c:pt>
                <c:pt idx="20872">
                  <c:v>0.37224897449616501</c:v>
                </c:pt>
                <c:pt idx="20873">
                  <c:v>0.37226680934546102</c:v>
                </c:pt>
                <c:pt idx="20874">
                  <c:v>0.37228464419475599</c:v>
                </c:pt>
                <c:pt idx="20875">
                  <c:v>0.372302479044052</c:v>
                </c:pt>
                <c:pt idx="20876">
                  <c:v>0.37232031389334702</c:v>
                </c:pt>
                <c:pt idx="20877">
                  <c:v>0.37233814874264298</c:v>
                </c:pt>
                <c:pt idx="20878">
                  <c:v>0.372355983591938</c:v>
                </c:pt>
                <c:pt idx="20879">
                  <c:v>0.37237381844123402</c:v>
                </c:pt>
                <c:pt idx="20880">
                  <c:v>0.37239165329052898</c:v>
                </c:pt>
                <c:pt idx="20881">
                  <c:v>0.372409488139825</c:v>
                </c:pt>
                <c:pt idx="20882">
                  <c:v>0.37242732298912001</c:v>
                </c:pt>
                <c:pt idx="20883">
                  <c:v>0.37244515783841597</c:v>
                </c:pt>
                <c:pt idx="20884">
                  <c:v>0.37246299268771099</c:v>
                </c:pt>
                <c:pt idx="20885">
                  <c:v>0.37248082753700701</c:v>
                </c:pt>
                <c:pt idx="20886">
                  <c:v>0.37249866238630203</c:v>
                </c:pt>
                <c:pt idx="20887">
                  <c:v>0.37251649723559799</c:v>
                </c:pt>
                <c:pt idx="20888">
                  <c:v>0.37253433208489301</c:v>
                </c:pt>
                <c:pt idx="20889">
                  <c:v>0.37255216693418902</c:v>
                </c:pt>
                <c:pt idx="20890">
                  <c:v>0.37257000178348398</c:v>
                </c:pt>
                <c:pt idx="20891">
                  <c:v>0.37258783663278</c:v>
                </c:pt>
                <c:pt idx="20892">
                  <c:v>0.37260567148207502</c:v>
                </c:pt>
                <c:pt idx="20893">
                  <c:v>0.37262350633137098</c:v>
                </c:pt>
                <c:pt idx="20894">
                  <c:v>0.372641341180667</c:v>
                </c:pt>
                <c:pt idx="20895">
                  <c:v>0.37265917602996201</c:v>
                </c:pt>
                <c:pt idx="20896">
                  <c:v>0.37267701087925797</c:v>
                </c:pt>
                <c:pt idx="20897">
                  <c:v>0.37269484572855299</c:v>
                </c:pt>
                <c:pt idx="20898">
                  <c:v>0.37271268057784901</c:v>
                </c:pt>
                <c:pt idx="20899">
                  <c:v>0.37273051542714403</c:v>
                </c:pt>
                <c:pt idx="20900">
                  <c:v>0.37274835027643999</c:v>
                </c:pt>
                <c:pt idx="20901">
                  <c:v>0.37276618512573501</c:v>
                </c:pt>
                <c:pt idx="20902">
                  <c:v>0.37278401997503102</c:v>
                </c:pt>
                <c:pt idx="20903">
                  <c:v>0.37280185482432598</c:v>
                </c:pt>
                <c:pt idx="20904">
                  <c:v>0.372819689673622</c:v>
                </c:pt>
                <c:pt idx="20905">
                  <c:v>0.37283752452291702</c:v>
                </c:pt>
                <c:pt idx="20906">
                  <c:v>0.37285535937221298</c:v>
                </c:pt>
                <c:pt idx="20907">
                  <c:v>0.372873194221508</c:v>
                </c:pt>
                <c:pt idx="20908">
                  <c:v>0.37289102907080401</c:v>
                </c:pt>
                <c:pt idx="20909">
                  <c:v>0.37290886392009898</c:v>
                </c:pt>
                <c:pt idx="20910">
                  <c:v>0.37292669876939499</c:v>
                </c:pt>
                <c:pt idx="20911">
                  <c:v>0.37294453361869001</c:v>
                </c:pt>
                <c:pt idx="20912">
                  <c:v>0.37296236846798603</c:v>
                </c:pt>
                <c:pt idx="20913">
                  <c:v>0.37298020331728199</c:v>
                </c:pt>
                <c:pt idx="20914">
                  <c:v>0.37299803816657701</c:v>
                </c:pt>
                <c:pt idx="20915">
                  <c:v>0.37301587301587302</c:v>
                </c:pt>
                <c:pt idx="20916">
                  <c:v>0.37303370786516798</c:v>
                </c:pt>
                <c:pt idx="20917">
                  <c:v>0.373051542714464</c:v>
                </c:pt>
                <c:pt idx="20918">
                  <c:v>0.37306937756375902</c:v>
                </c:pt>
                <c:pt idx="20919">
                  <c:v>0.37308721241305498</c:v>
                </c:pt>
                <c:pt idx="20920">
                  <c:v>0.37310504726235</c:v>
                </c:pt>
                <c:pt idx="20921">
                  <c:v>0.37312288211164601</c:v>
                </c:pt>
                <c:pt idx="20922">
                  <c:v>0.37314071696094098</c:v>
                </c:pt>
                <c:pt idx="20923">
                  <c:v>0.37315855181023699</c:v>
                </c:pt>
                <c:pt idx="20924">
                  <c:v>0.37317638665953201</c:v>
                </c:pt>
                <c:pt idx="20925">
                  <c:v>0.37319422150882797</c:v>
                </c:pt>
                <c:pt idx="20926">
                  <c:v>0.37321205635812299</c:v>
                </c:pt>
                <c:pt idx="20927">
                  <c:v>0.37322989120741901</c:v>
                </c:pt>
                <c:pt idx="20928">
                  <c:v>0.37324772605671402</c:v>
                </c:pt>
                <c:pt idx="20929">
                  <c:v>0.37326556090600999</c:v>
                </c:pt>
                <c:pt idx="20930">
                  <c:v>0.373283395755305</c:v>
                </c:pt>
                <c:pt idx="20931">
                  <c:v>0.37330123060460102</c:v>
                </c:pt>
                <c:pt idx="20932">
                  <c:v>0.37331906545389598</c:v>
                </c:pt>
                <c:pt idx="20933">
                  <c:v>0.373336900303192</c:v>
                </c:pt>
                <c:pt idx="20934">
                  <c:v>0.37335473515248702</c:v>
                </c:pt>
                <c:pt idx="20935">
                  <c:v>0.37337257000178298</c:v>
                </c:pt>
                <c:pt idx="20936">
                  <c:v>0.37339040485107899</c:v>
                </c:pt>
                <c:pt idx="20937">
                  <c:v>0.37340823970037401</c:v>
                </c:pt>
                <c:pt idx="20938">
                  <c:v>0.37342607454966997</c:v>
                </c:pt>
                <c:pt idx="20939">
                  <c:v>0.37344390939896499</c:v>
                </c:pt>
                <c:pt idx="20940">
                  <c:v>0.37346174424826101</c:v>
                </c:pt>
                <c:pt idx="20941">
                  <c:v>0.37347957909755602</c:v>
                </c:pt>
                <c:pt idx="20942">
                  <c:v>0.37349741394685199</c:v>
                </c:pt>
                <c:pt idx="20943">
                  <c:v>0.373515248796147</c:v>
                </c:pt>
                <c:pt idx="20944">
                  <c:v>0.37353308364544302</c:v>
                </c:pt>
                <c:pt idx="20945">
                  <c:v>0.37355091849473798</c:v>
                </c:pt>
                <c:pt idx="20946">
                  <c:v>0.373568753344034</c:v>
                </c:pt>
                <c:pt idx="20947">
                  <c:v>0.37358658819332902</c:v>
                </c:pt>
                <c:pt idx="20948">
                  <c:v>0.37360442304262498</c:v>
                </c:pt>
                <c:pt idx="20949">
                  <c:v>0.37362225789192</c:v>
                </c:pt>
                <c:pt idx="20950">
                  <c:v>0.37364009274121601</c:v>
                </c:pt>
                <c:pt idx="20951">
                  <c:v>0.37365792759051097</c:v>
                </c:pt>
                <c:pt idx="20952">
                  <c:v>0.37367576243980699</c:v>
                </c:pt>
                <c:pt idx="20953">
                  <c:v>0.37369359728910201</c:v>
                </c:pt>
                <c:pt idx="20954">
                  <c:v>0.37371143213839803</c:v>
                </c:pt>
                <c:pt idx="20955">
                  <c:v>0.37372926698769299</c:v>
                </c:pt>
                <c:pt idx="20956">
                  <c:v>0.373747101836989</c:v>
                </c:pt>
                <c:pt idx="20957">
                  <c:v>0.37376493668628502</c:v>
                </c:pt>
                <c:pt idx="20958">
                  <c:v>0.37378277153557998</c:v>
                </c:pt>
                <c:pt idx="20959">
                  <c:v>0.373800606384876</c:v>
                </c:pt>
                <c:pt idx="20960">
                  <c:v>0.37381844123417102</c:v>
                </c:pt>
                <c:pt idx="20961">
                  <c:v>0.37383627608346698</c:v>
                </c:pt>
                <c:pt idx="20962">
                  <c:v>0.373854110932762</c:v>
                </c:pt>
                <c:pt idx="20963">
                  <c:v>0.37387194578205801</c:v>
                </c:pt>
                <c:pt idx="20964">
                  <c:v>0.37388978063135297</c:v>
                </c:pt>
                <c:pt idx="20965">
                  <c:v>0.37390761548064899</c:v>
                </c:pt>
                <c:pt idx="20966">
                  <c:v>0.37392545032994401</c:v>
                </c:pt>
                <c:pt idx="20967">
                  <c:v>0.37394328517924003</c:v>
                </c:pt>
                <c:pt idx="20968">
                  <c:v>0.37396112002853499</c:v>
                </c:pt>
                <c:pt idx="20969">
                  <c:v>0.373978954877831</c:v>
                </c:pt>
                <c:pt idx="20970">
                  <c:v>0.37399678972712602</c:v>
                </c:pt>
                <c:pt idx="20971">
                  <c:v>0.37401462457642198</c:v>
                </c:pt>
                <c:pt idx="20972">
                  <c:v>0.374032459425717</c:v>
                </c:pt>
                <c:pt idx="20973">
                  <c:v>0.37405029427501302</c:v>
                </c:pt>
                <c:pt idx="20974">
                  <c:v>0.37406812912430798</c:v>
                </c:pt>
                <c:pt idx="20975">
                  <c:v>0.374085963973604</c:v>
                </c:pt>
                <c:pt idx="20976">
                  <c:v>0.37410379882289901</c:v>
                </c:pt>
                <c:pt idx="20977">
                  <c:v>0.37412163367219498</c:v>
                </c:pt>
                <c:pt idx="20978">
                  <c:v>0.37413946852149099</c:v>
                </c:pt>
                <c:pt idx="20979">
                  <c:v>0.37415730337078601</c:v>
                </c:pt>
                <c:pt idx="20980">
                  <c:v>0.37417513822008203</c:v>
                </c:pt>
                <c:pt idx="20981">
                  <c:v>0.37419297306937699</c:v>
                </c:pt>
                <c:pt idx="20982">
                  <c:v>0.37421080791867301</c:v>
                </c:pt>
                <c:pt idx="20983">
                  <c:v>0.37422864276796802</c:v>
                </c:pt>
                <c:pt idx="20984">
                  <c:v>0.37424647761726398</c:v>
                </c:pt>
                <c:pt idx="20985">
                  <c:v>0.374264312466559</c:v>
                </c:pt>
                <c:pt idx="20986">
                  <c:v>0.37428214731585502</c:v>
                </c:pt>
                <c:pt idx="20987">
                  <c:v>0.37429998216514998</c:v>
                </c:pt>
                <c:pt idx="20988">
                  <c:v>0.374317817014446</c:v>
                </c:pt>
                <c:pt idx="20989">
                  <c:v>0.37433565186374101</c:v>
                </c:pt>
                <c:pt idx="20990">
                  <c:v>0.37435348671303698</c:v>
                </c:pt>
                <c:pt idx="20991">
                  <c:v>0.37437132156233199</c:v>
                </c:pt>
                <c:pt idx="20992">
                  <c:v>0.37438915641162801</c:v>
                </c:pt>
                <c:pt idx="20993">
                  <c:v>0.37440699126092303</c:v>
                </c:pt>
                <c:pt idx="20994">
                  <c:v>0.37442482611021899</c:v>
                </c:pt>
                <c:pt idx="20995">
                  <c:v>0.37444266095951401</c:v>
                </c:pt>
                <c:pt idx="20996">
                  <c:v>0.37446049580881002</c:v>
                </c:pt>
                <c:pt idx="20997">
                  <c:v>0.37447833065810499</c:v>
                </c:pt>
                <c:pt idx="20998">
                  <c:v>0.374496165507401</c:v>
                </c:pt>
                <c:pt idx="20999">
                  <c:v>0.37451400035669602</c:v>
                </c:pt>
                <c:pt idx="21000">
                  <c:v>0.37453183520599198</c:v>
                </c:pt>
                <c:pt idx="21001">
                  <c:v>0.374549670055288</c:v>
                </c:pt>
                <c:pt idx="21002">
                  <c:v>0.37456750490458302</c:v>
                </c:pt>
                <c:pt idx="21003">
                  <c:v>0.37458533975387898</c:v>
                </c:pt>
                <c:pt idx="21004">
                  <c:v>0.37460317460317399</c:v>
                </c:pt>
                <c:pt idx="21005">
                  <c:v>0.37462100945247001</c:v>
                </c:pt>
                <c:pt idx="21006">
                  <c:v>0.37463884430176497</c:v>
                </c:pt>
                <c:pt idx="21007">
                  <c:v>0.37465667915106099</c:v>
                </c:pt>
                <c:pt idx="21008">
                  <c:v>0.37467451400035601</c:v>
                </c:pt>
                <c:pt idx="21009">
                  <c:v>0.37469234884965202</c:v>
                </c:pt>
                <c:pt idx="21010">
                  <c:v>0.37471018369894699</c:v>
                </c:pt>
                <c:pt idx="21011">
                  <c:v>0.374728018548243</c:v>
                </c:pt>
                <c:pt idx="21012">
                  <c:v>0.37474585339753802</c:v>
                </c:pt>
                <c:pt idx="21013">
                  <c:v>0.37476368824683398</c:v>
                </c:pt>
                <c:pt idx="21014">
                  <c:v>0.374781523096129</c:v>
                </c:pt>
                <c:pt idx="21015">
                  <c:v>0.37479935794542502</c:v>
                </c:pt>
                <c:pt idx="21016">
                  <c:v>0.37481719279471998</c:v>
                </c:pt>
                <c:pt idx="21017">
                  <c:v>0.37483502764401599</c:v>
                </c:pt>
                <c:pt idx="21018">
                  <c:v>0.37485286249331101</c:v>
                </c:pt>
                <c:pt idx="21019">
                  <c:v>0.37487069734260697</c:v>
                </c:pt>
                <c:pt idx="21020">
                  <c:v>0.37488853219190299</c:v>
                </c:pt>
                <c:pt idx="21021">
                  <c:v>0.37490636704119801</c:v>
                </c:pt>
                <c:pt idx="21022">
                  <c:v>0.37492420189049402</c:v>
                </c:pt>
                <c:pt idx="21023">
                  <c:v>0.37494203673978899</c:v>
                </c:pt>
                <c:pt idx="21024">
                  <c:v>0.374959871589085</c:v>
                </c:pt>
                <c:pt idx="21025">
                  <c:v>0.37497770643838002</c:v>
                </c:pt>
                <c:pt idx="21026">
                  <c:v>0.37499554128767598</c:v>
                </c:pt>
                <c:pt idx="21027">
                  <c:v>0.375013376136971</c:v>
                </c:pt>
                <c:pt idx="21028">
                  <c:v>0.37503121098626702</c:v>
                </c:pt>
                <c:pt idx="21029">
                  <c:v>0.37504904583556198</c:v>
                </c:pt>
                <c:pt idx="21030">
                  <c:v>0.375066880684858</c:v>
                </c:pt>
                <c:pt idx="21031">
                  <c:v>0.37508471553415301</c:v>
                </c:pt>
                <c:pt idx="21032">
                  <c:v>0.37510255038344897</c:v>
                </c:pt>
                <c:pt idx="21033">
                  <c:v>0.37512038523274399</c:v>
                </c:pt>
                <c:pt idx="21034">
                  <c:v>0.37513822008204001</c:v>
                </c:pt>
                <c:pt idx="21035">
                  <c:v>0.37515605493133503</c:v>
                </c:pt>
                <c:pt idx="21036">
                  <c:v>0.37517388978063099</c:v>
                </c:pt>
                <c:pt idx="21037">
                  <c:v>0.375191724629926</c:v>
                </c:pt>
                <c:pt idx="21038">
                  <c:v>0.37520955947922202</c:v>
                </c:pt>
                <c:pt idx="21039">
                  <c:v>0.37522739432851698</c:v>
                </c:pt>
                <c:pt idx="21040">
                  <c:v>0.375245229177813</c:v>
                </c:pt>
                <c:pt idx="21041">
                  <c:v>0.37526306402710802</c:v>
                </c:pt>
                <c:pt idx="21042">
                  <c:v>0.37528089887640398</c:v>
                </c:pt>
                <c:pt idx="21043">
                  <c:v>0.3752987337257</c:v>
                </c:pt>
                <c:pt idx="21044">
                  <c:v>0.37531656857499501</c:v>
                </c:pt>
                <c:pt idx="21045">
                  <c:v>0.37533440342429097</c:v>
                </c:pt>
                <c:pt idx="21046">
                  <c:v>0.37535223827358599</c:v>
                </c:pt>
                <c:pt idx="21047">
                  <c:v>0.37537007312288201</c:v>
                </c:pt>
                <c:pt idx="21048">
                  <c:v>0.37538790797217703</c:v>
                </c:pt>
                <c:pt idx="21049">
                  <c:v>0.37540574282147299</c:v>
                </c:pt>
                <c:pt idx="21050">
                  <c:v>0.37542357767076801</c:v>
                </c:pt>
                <c:pt idx="21051">
                  <c:v>0.37544141252006402</c:v>
                </c:pt>
                <c:pt idx="21052">
                  <c:v>0.37545924736935898</c:v>
                </c:pt>
                <c:pt idx="21053">
                  <c:v>0.375477082218655</c:v>
                </c:pt>
                <c:pt idx="21054">
                  <c:v>0.37549491706795002</c:v>
                </c:pt>
                <c:pt idx="21055">
                  <c:v>0.37551275191724598</c:v>
                </c:pt>
                <c:pt idx="21056">
                  <c:v>0.375530586766541</c:v>
                </c:pt>
                <c:pt idx="21057">
                  <c:v>0.37554842161583701</c:v>
                </c:pt>
                <c:pt idx="21058">
                  <c:v>0.37556625646513198</c:v>
                </c:pt>
                <c:pt idx="21059">
                  <c:v>0.37558409131442799</c:v>
                </c:pt>
                <c:pt idx="21060">
                  <c:v>0.37560192616372301</c:v>
                </c:pt>
                <c:pt idx="21061">
                  <c:v>0.37561976101301903</c:v>
                </c:pt>
                <c:pt idx="21062">
                  <c:v>0.37563759586231499</c:v>
                </c:pt>
                <c:pt idx="21063">
                  <c:v>0.37565543071161001</c:v>
                </c:pt>
                <c:pt idx="21064">
                  <c:v>0.37567326556090602</c:v>
                </c:pt>
                <c:pt idx="21065">
                  <c:v>0.37569110041020098</c:v>
                </c:pt>
                <c:pt idx="21066">
                  <c:v>0.375708935259497</c:v>
                </c:pt>
                <c:pt idx="21067">
                  <c:v>0.37572677010879202</c:v>
                </c:pt>
                <c:pt idx="21068">
                  <c:v>0.37574460495808798</c:v>
                </c:pt>
                <c:pt idx="21069">
                  <c:v>0.375762439807383</c:v>
                </c:pt>
                <c:pt idx="21070">
                  <c:v>0.37578027465667901</c:v>
                </c:pt>
                <c:pt idx="21071">
                  <c:v>0.37579810950597398</c:v>
                </c:pt>
                <c:pt idx="21072">
                  <c:v>0.37581594435526999</c:v>
                </c:pt>
                <c:pt idx="21073">
                  <c:v>0.37583377920456501</c:v>
                </c:pt>
                <c:pt idx="21074">
                  <c:v>0.37585161405386103</c:v>
                </c:pt>
                <c:pt idx="21075">
                  <c:v>0.37586944890315599</c:v>
                </c:pt>
                <c:pt idx="21076">
                  <c:v>0.37588728375245201</c:v>
                </c:pt>
                <c:pt idx="21077">
                  <c:v>0.37590511860174702</c:v>
                </c:pt>
                <c:pt idx="21078">
                  <c:v>0.37592295345104298</c:v>
                </c:pt>
                <c:pt idx="21079">
                  <c:v>0.375940788300338</c:v>
                </c:pt>
                <c:pt idx="21080">
                  <c:v>0.37595862314963402</c:v>
                </c:pt>
                <c:pt idx="21081">
                  <c:v>0.37597645799892898</c:v>
                </c:pt>
                <c:pt idx="21082">
                  <c:v>0.375994292848225</c:v>
                </c:pt>
                <c:pt idx="21083">
                  <c:v>0.37601212769752002</c:v>
                </c:pt>
                <c:pt idx="21084">
                  <c:v>0.37602996254681598</c:v>
                </c:pt>
                <c:pt idx="21085">
                  <c:v>0.37604779739611199</c:v>
                </c:pt>
                <c:pt idx="21086">
                  <c:v>0.37606563224540701</c:v>
                </c:pt>
                <c:pt idx="21087">
                  <c:v>0.37608346709470297</c:v>
                </c:pt>
                <c:pt idx="21088">
                  <c:v>0.37610130194399799</c:v>
                </c:pt>
                <c:pt idx="21089">
                  <c:v>0.37611913679329401</c:v>
                </c:pt>
                <c:pt idx="21090">
                  <c:v>0.37613697164258902</c:v>
                </c:pt>
                <c:pt idx="21091">
                  <c:v>0.37615480649188499</c:v>
                </c:pt>
                <c:pt idx="21092">
                  <c:v>0.37617264134118</c:v>
                </c:pt>
                <c:pt idx="21093">
                  <c:v>0.37619047619047602</c:v>
                </c:pt>
                <c:pt idx="21094">
                  <c:v>0.37620831103977098</c:v>
                </c:pt>
                <c:pt idx="21095">
                  <c:v>0.376226145889067</c:v>
                </c:pt>
                <c:pt idx="21096">
                  <c:v>0.37624398073836202</c:v>
                </c:pt>
                <c:pt idx="21097">
                  <c:v>0.37626181558765798</c:v>
                </c:pt>
                <c:pt idx="21098">
                  <c:v>0.37627965043695299</c:v>
                </c:pt>
                <c:pt idx="21099">
                  <c:v>0.37629748528624901</c:v>
                </c:pt>
                <c:pt idx="21100">
                  <c:v>0.37631532013554397</c:v>
                </c:pt>
                <c:pt idx="21101">
                  <c:v>0.37633315498483999</c:v>
                </c:pt>
                <c:pt idx="21102">
                  <c:v>0.37635098983413501</c:v>
                </c:pt>
                <c:pt idx="21103">
                  <c:v>0.37636882468343102</c:v>
                </c:pt>
                <c:pt idx="21104">
                  <c:v>0.37638665953272599</c:v>
                </c:pt>
                <c:pt idx="21105">
                  <c:v>0.376404494382022</c:v>
                </c:pt>
                <c:pt idx="21106">
                  <c:v>0.37642232923131802</c:v>
                </c:pt>
                <c:pt idx="21107">
                  <c:v>0.37644016408061298</c:v>
                </c:pt>
                <c:pt idx="21108">
                  <c:v>0.376457998929909</c:v>
                </c:pt>
                <c:pt idx="21109">
                  <c:v>0.37647583377920402</c:v>
                </c:pt>
                <c:pt idx="21110">
                  <c:v>0.37649366862849998</c:v>
                </c:pt>
                <c:pt idx="21111">
                  <c:v>0.376511503477795</c:v>
                </c:pt>
                <c:pt idx="21112">
                  <c:v>0.37652933832709101</c:v>
                </c:pt>
                <c:pt idx="21113">
                  <c:v>0.37654717317638597</c:v>
                </c:pt>
                <c:pt idx="21114">
                  <c:v>0.37656500802568199</c:v>
                </c:pt>
                <c:pt idx="21115">
                  <c:v>0.37658284287497701</c:v>
                </c:pt>
                <c:pt idx="21116">
                  <c:v>0.37660067772427303</c:v>
                </c:pt>
                <c:pt idx="21117">
                  <c:v>0.37661851257356799</c:v>
                </c:pt>
                <c:pt idx="21118">
                  <c:v>0.376636347422864</c:v>
                </c:pt>
                <c:pt idx="21119">
                  <c:v>0.37665418227215902</c:v>
                </c:pt>
                <c:pt idx="21120">
                  <c:v>0.37667201712145498</c:v>
                </c:pt>
                <c:pt idx="21121">
                  <c:v>0.37668985197075</c:v>
                </c:pt>
                <c:pt idx="21122">
                  <c:v>0.37670768682004602</c:v>
                </c:pt>
                <c:pt idx="21123">
                  <c:v>0.37672552166934098</c:v>
                </c:pt>
                <c:pt idx="21124">
                  <c:v>0.376743356518637</c:v>
                </c:pt>
                <c:pt idx="21125">
                  <c:v>0.37676119136793201</c:v>
                </c:pt>
                <c:pt idx="21126">
                  <c:v>0.37677902621722797</c:v>
                </c:pt>
                <c:pt idx="21127">
                  <c:v>0.37679686106652399</c:v>
                </c:pt>
                <c:pt idx="21128">
                  <c:v>0.37681469591581901</c:v>
                </c:pt>
                <c:pt idx="21129">
                  <c:v>0.37683253076511503</c:v>
                </c:pt>
                <c:pt idx="21130">
                  <c:v>0.37685036561440999</c:v>
                </c:pt>
                <c:pt idx="21131">
                  <c:v>0.376868200463706</c:v>
                </c:pt>
                <c:pt idx="21132">
                  <c:v>0.37688603531300102</c:v>
                </c:pt>
                <c:pt idx="21133">
                  <c:v>0.37690387016229698</c:v>
                </c:pt>
                <c:pt idx="21134">
                  <c:v>0.376921705011592</c:v>
                </c:pt>
                <c:pt idx="21135">
                  <c:v>0.37693953986088802</c:v>
                </c:pt>
                <c:pt idx="21136">
                  <c:v>0.37695737471018298</c:v>
                </c:pt>
                <c:pt idx="21137">
                  <c:v>0.376975209559479</c:v>
                </c:pt>
                <c:pt idx="21138">
                  <c:v>0.37699304440877401</c:v>
                </c:pt>
                <c:pt idx="21139">
                  <c:v>0.37701087925806998</c:v>
                </c:pt>
                <c:pt idx="21140">
                  <c:v>0.37702871410736499</c:v>
                </c:pt>
                <c:pt idx="21141">
                  <c:v>0.37704654895666101</c:v>
                </c:pt>
                <c:pt idx="21142">
                  <c:v>0.37706438380595603</c:v>
                </c:pt>
                <c:pt idx="21143">
                  <c:v>0.37708221865525199</c:v>
                </c:pt>
                <c:pt idx="21144">
                  <c:v>0.37710005350454701</c:v>
                </c:pt>
                <c:pt idx="21145">
                  <c:v>0.37711788835384302</c:v>
                </c:pt>
                <c:pt idx="21146">
                  <c:v>0.37713572320313798</c:v>
                </c:pt>
                <c:pt idx="21147">
                  <c:v>0.377153558052434</c:v>
                </c:pt>
                <c:pt idx="21148">
                  <c:v>0.37717139290172902</c:v>
                </c:pt>
                <c:pt idx="21149">
                  <c:v>0.37718922775102498</c:v>
                </c:pt>
                <c:pt idx="21150">
                  <c:v>0.377207062600321</c:v>
                </c:pt>
                <c:pt idx="21151">
                  <c:v>0.37722489744961601</c:v>
                </c:pt>
                <c:pt idx="21152">
                  <c:v>0.37724273229891198</c:v>
                </c:pt>
                <c:pt idx="21153">
                  <c:v>0.37726056714820699</c:v>
                </c:pt>
                <c:pt idx="21154">
                  <c:v>0.37727840199750301</c:v>
                </c:pt>
                <c:pt idx="21155">
                  <c:v>0.37729623684679803</c:v>
                </c:pt>
                <c:pt idx="21156">
                  <c:v>0.37731407169609399</c:v>
                </c:pt>
                <c:pt idx="21157">
                  <c:v>0.37733190654538901</c:v>
                </c:pt>
                <c:pt idx="21158">
                  <c:v>0.37734974139468502</c:v>
                </c:pt>
                <c:pt idx="21159">
                  <c:v>0.37736757624397999</c:v>
                </c:pt>
                <c:pt idx="21160">
                  <c:v>0.377385411093276</c:v>
                </c:pt>
                <c:pt idx="21161">
                  <c:v>0.37740324594257102</c:v>
                </c:pt>
                <c:pt idx="21162">
                  <c:v>0.37742108079186698</c:v>
                </c:pt>
                <c:pt idx="21163">
                  <c:v>0.377438915641162</c:v>
                </c:pt>
                <c:pt idx="21164">
                  <c:v>0.37745675049045802</c:v>
                </c:pt>
                <c:pt idx="21165">
                  <c:v>0.37747458533975298</c:v>
                </c:pt>
                <c:pt idx="21166">
                  <c:v>0.37749242018904899</c:v>
                </c:pt>
                <c:pt idx="21167">
                  <c:v>0.37751025503834401</c:v>
                </c:pt>
                <c:pt idx="21168">
                  <c:v>0.37752808988763997</c:v>
                </c:pt>
                <c:pt idx="21169">
                  <c:v>0.37754592473693599</c:v>
                </c:pt>
                <c:pt idx="21170">
                  <c:v>0.37756375958623101</c:v>
                </c:pt>
                <c:pt idx="21171">
                  <c:v>0.37758159443552702</c:v>
                </c:pt>
                <c:pt idx="21172">
                  <c:v>0.37759942928482199</c:v>
                </c:pt>
                <c:pt idx="21173">
                  <c:v>0.377617264134118</c:v>
                </c:pt>
                <c:pt idx="21174">
                  <c:v>0.37763509898341302</c:v>
                </c:pt>
                <c:pt idx="21175">
                  <c:v>0.37765293383270898</c:v>
                </c:pt>
                <c:pt idx="21176">
                  <c:v>0.377670768682004</c:v>
                </c:pt>
                <c:pt idx="21177">
                  <c:v>0.37768860353130002</c:v>
                </c:pt>
                <c:pt idx="21178">
                  <c:v>0.37770643838059498</c:v>
                </c:pt>
                <c:pt idx="21179">
                  <c:v>0.37772427322989099</c:v>
                </c:pt>
                <c:pt idx="21180">
                  <c:v>0.37774210807918601</c:v>
                </c:pt>
                <c:pt idx="21181">
                  <c:v>0.37775994292848197</c:v>
                </c:pt>
                <c:pt idx="21182">
                  <c:v>0.37777777777777699</c:v>
                </c:pt>
                <c:pt idx="21183">
                  <c:v>0.37779561262707301</c:v>
                </c:pt>
                <c:pt idx="21184">
                  <c:v>0.37781344747636803</c:v>
                </c:pt>
                <c:pt idx="21185">
                  <c:v>0.37783128232566399</c:v>
                </c:pt>
                <c:pt idx="21186">
                  <c:v>0.377849117174959</c:v>
                </c:pt>
                <c:pt idx="21187">
                  <c:v>0.37786695202425502</c:v>
                </c:pt>
                <c:pt idx="21188">
                  <c:v>0.37788478687354998</c:v>
                </c:pt>
                <c:pt idx="21189">
                  <c:v>0.377902621722846</c:v>
                </c:pt>
                <c:pt idx="21190">
                  <c:v>0.37792045657214102</c:v>
                </c:pt>
                <c:pt idx="21191">
                  <c:v>0.37793829142143698</c:v>
                </c:pt>
                <c:pt idx="21192">
                  <c:v>0.37795612627073299</c:v>
                </c:pt>
                <c:pt idx="21193">
                  <c:v>0.37797396112002801</c:v>
                </c:pt>
                <c:pt idx="21194">
                  <c:v>0.37799179596932397</c:v>
                </c:pt>
                <c:pt idx="21195">
                  <c:v>0.37800963081861899</c:v>
                </c:pt>
                <c:pt idx="21196">
                  <c:v>0.37802746566791501</c:v>
                </c:pt>
                <c:pt idx="21197">
                  <c:v>0.37804530051721003</c:v>
                </c:pt>
                <c:pt idx="21198">
                  <c:v>0.37806313536650599</c:v>
                </c:pt>
                <c:pt idx="21199">
                  <c:v>0.378080970215801</c:v>
                </c:pt>
                <c:pt idx="21200">
                  <c:v>0.37809880506509702</c:v>
                </c:pt>
                <c:pt idx="21201">
                  <c:v>0.37811663991439198</c:v>
                </c:pt>
                <c:pt idx="21202">
                  <c:v>0.378134474763688</c:v>
                </c:pt>
                <c:pt idx="21203">
                  <c:v>0.37815230961298302</c:v>
                </c:pt>
                <c:pt idx="21204">
                  <c:v>0.37817014446227898</c:v>
                </c:pt>
                <c:pt idx="21205">
                  <c:v>0.378187979311574</c:v>
                </c:pt>
                <c:pt idx="21206">
                  <c:v>0.37820581416087001</c:v>
                </c:pt>
                <c:pt idx="21207">
                  <c:v>0.37822364901016498</c:v>
                </c:pt>
                <c:pt idx="21208">
                  <c:v>0.37824148385946099</c:v>
                </c:pt>
                <c:pt idx="21209">
                  <c:v>0.37825931870875601</c:v>
                </c:pt>
                <c:pt idx="21210">
                  <c:v>0.37827715355805203</c:v>
                </c:pt>
                <c:pt idx="21211">
                  <c:v>0.37829498840734699</c:v>
                </c:pt>
                <c:pt idx="21212">
                  <c:v>0.378312823256643</c:v>
                </c:pt>
                <c:pt idx="21213">
                  <c:v>0.37833065810593902</c:v>
                </c:pt>
                <c:pt idx="21214">
                  <c:v>0.37834849295523398</c:v>
                </c:pt>
                <c:pt idx="21215">
                  <c:v>0.37836632780453</c:v>
                </c:pt>
                <c:pt idx="21216">
                  <c:v>0.37838416265382502</c:v>
                </c:pt>
                <c:pt idx="21217">
                  <c:v>0.37840199750312098</c:v>
                </c:pt>
                <c:pt idx="21218">
                  <c:v>0.378419832352416</c:v>
                </c:pt>
                <c:pt idx="21219">
                  <c:v>0.37843766720171201</c:v>
                </c:pt>
                <c:pt idx="21220">
                  <c:v>0.37845550205100698</c:v>
                </c:pt>
                <c:pt idx="21221">
                  <c:v>0.37847333690030299</c:v>
                </c:pt>
                <c:pt idx="21222">
                  <c:v>0.37849117174959801</c:v>
                </c:pt>
                <c:pt idx="21223">
                  <c:v>0.37850900659889403</c:v>
                </c:pt>
                <c:pt idx="21224">
                  <c:v>0.37852684144818899</c:v>
                </c:pt>
                <c:pt idx="21225">
                  <c:v>0.37854467629748501</c:v>
                </c:pt>
                <c:pt idx="21226">
                  <c:v>0.37856251114678002</c:v>
                </c:pt>
                <c:pt idx="21227">
                  <c:v>0.37858034599607598</c:v>
                </c:pt>
                <c:pt idx="21228">
                  <c:v>0.378598180845371</c:v>
                </c:pt>
                <c:pt idx="21229">
                  <c:v>0.37861601569466702</c:v>
                </c:pt>
                <c:pt idx="21230">
                  <c:v>0.37863385054396198</c:v>
                </c:pt>
                <c:pt idx="21231">
                  <c:v>0.378651685393258</c:v>
                </c:pt>
                <c:pt idx="21232">
                  <c:v>0.37866952024255301</c:v>
                </c:pt>
                <c:pt idx="21233">
                  <c:v>0.37868735509184898</c:v>
                </c:pt>
                <c:pt idx="21234">
                  <c:v>0.37870518994114499</c:v>
                </c:pt>
                <c:pt idx="21235">
                  <c:v>0.37872302479044001</c:v>
                </c:pt>
                <c:pt idx="21236">
                  <c:v>0.37874085963973603</c:v>
                </c:pt>
                <c:pt idx="21237">
                  <c:v>0.37875869448903099</c:v>
                </c:pt>
                <c:pt idx="21238">
                  <c:v>0.37877652933832701</c:v>
                </c:pt>
                <c:pt idx="21239">
                  <c:v>0.37879436418762202</c:v>
                </c:pt>
                <c:pt idx="21240">
                  <c:v>0.37881219903691798</c:v>
                </c:pt>
                <c:pt idx="21241">
                  <c:v>0.378830033886213</c:v>
                </c:pt>
                <c:pt idx="21242">
                  <c:v>0.37884786873550902</c:v>
                </c:pt>
                <c:pt idx="21243">
                  <c:v>0.37886570358480398</c:v>
                </c:pt>
                <c:pt idx="21244">
                  <c:v>0.3788835384341</c:v>
                </c:pt>
                <c:pt idx="21245">
                  <c:v>0.37890137328339502</c:v>
                </c:pt>
                <c:pt idx="21246">
                  <c:v>0.37891920813269098</c:v>
                </c:pt>
                <c:pt idx="21247">
                  <c:v>0.37893704298198599</c:v>
                </c:pt>
                <c:pt idx="21248">
                  <c:v>0.37895487783128201</c:v>
                </c:pt>
                <c:pt idx="21249">
                  <c:v>0.37897271268057697</c:v>
                </c:pt>
                <c:pt idx="21250">
                  <c:v>0.37899054752987299</c:v>
                </c:pt>
                <c:pt idx="21251">
                  <c:v>0.37900838237916801</c:v>
                </c:pt>
                <c:pt idx="21252">
                  <c:v>0.37902621722846402</c:v>
                </c:pt>
                <c:pt idx="21253">
                  <c:v>0.37904405207775899</c:v>
                </c:pt>
                <c:pt idx="21254">
                  <c:v>0.379061886927055</c:v>
                </c:pt>
                <c:pt idx="21255">
                  <c:v>0.37907972177635002</c:v>
                </c:pt>
                <c:pt idx="21256">
                  <c:v>0.37909755662564598</c:v>
                </c:pt>
                <c:pt idx="21257">
                  <c:v>0.379115391474942</c:v>
                </c:pt>
                <c:pt idx="21258">
                  <c:v>0.37913322632423702</c:v>
                </c:pt>
                <c:pt idx="21259">
                  <c:v>0.37915106117353298</c:v>
                </c:pt>
                <c:pt idx="21260">
                  <c:v>0.37916889602282799</c:v>
                </c:pt>
                <c:pt idx="21261">
                  <c:v>0.37918673087212401</c:v>
                </c:pt>
                <c:pt idx="21262">
                  <c:v>0.37920456572141897</c:v>
                </c:pt>
                <c:pt idx="21263">
                  <c:v>0.37922240057071499</c:v>
                </c:pt>
                <c:pt idx="21264">
                  <c:v>0.37924023542001001</c:v>
                </c:pt>
                <c:pt idx="21265">
                  <c:v>0.37925807026930602</c:v>
                </c:pt>
                <c:pt idx="21266">
                  <c:v>0.37927590511860099</c:v>
                </c:pt>
                <c:pt idx="21267">
                  <c:v>0.379293739967897</c:v>
                </c:pt>
                <c:pt idx="21268">
                  <c:v>0.37931157481719202</c:v>
                </c:pt>
                <c:pt idx="21269">
                  <c:v>0.37932940966648798</c:v>
                </c:pt>
                <c:pt idx="21270">
                  <c:v>0.379347244515783</c:v>
                </c:pt>
                <c:pt idx="21271">
                  <c:v>0.37936507936507902</c:v>
                </c:pt>
                <c:pt idx="21272">
                  <c:v>0.37938291421437398</c:v>
                </c:pt>
                <c:pt idx="21273">
                  <c:v>0.37940074906367</c:v>
                </c:pt>
                <c:pt idx="21274">
                  <c:v>0.37941858391296501</c:v>
                </c:pt>
                <c:pt idx="21275">
                  <c:v>0.37943641876226097</c:v>
                </c:pt>
                <c:pt idx="21276">
                  <c:v>0.37945425361155699</c:v>
                </c:pt>
                <c:pt idx="21277">
                  <c:v>0.37947208846085201</c:v>
                </c:pt>
                <c:pt idx="21278">
                  <c:v>0.37948992331014803</c:v>
                </c:pt>
                <c:pt idx="21279">
                  <c:v>0.37950775815944299</c:v>
                </c:pt>
                <c:pt idx="21280">
                  <c:v>0.379525593008739</c:v>
                </c:pt>
                <c:pt idx="21281">
                  <c:v>0.37954342785803402</c:v>
                </c:pt>
                <c:pt idx="21282">
                  <c:v>0.37956126270732998</c:v>
                </c:pt>
                <c:pt idx="21283">
                  <c:v>0.379579097556625</c:v>
                </c:pt>
                <c:pt idx="21284">
                  <c:v>0.37959693240592102</c:v>
                </c:pt>
                <c:pt idx="21285">
                  <c:v>0.37961476725521598</c:v>
                </c:pt>
                <c:pt idx="21286">
                  <c:v>0.379632602104512</c:v>
                </c:pt>
                <c:pt idx="21287">
                  <c:v>0.37965043695380701</c:v>
                </c:pt>
                <c:pt idx="21288">
                  <c:v>0.37966827180310297</c:v>
                </c:pt>
                <c:pt idx="21289">
                  <c:v>0.37968610665239799</c:v>
                </c:pt>
                <c:pt idx="21290">
                  <c:v>0.37970394150169401</c:v>
                </c:pt>
                <c:pt idx="21291">
                  <c:v>0.37972177635098903</c:v>
                </c:pt>
                <c:pt idx="21292">
                  <c:v>0.37973961120028499</c:v>
                </c:pt>
                <c:pt idx="21293">
                  <c:v>0.37975744604958001</c:v>
                </c:pt>
                <c:pt idx="21294">
                  <c:v>0.37977528089887602</c:v>
                </c:pt>
                <c:pt idx="21295">
                  <c:v>0.37979311574817098</c:v>
                </c:pt>
                <c:pt idx="21296">
                  <c:v>0.379810950597467</c:v>
                </c:pt>
                <c:pt idx="21297">
                  <c:v>0.37982878544676202</c:v>
                </c:pt>
                <c:pt idx="21298">
                  <c:v>0.37984662029605798</c:v>
                </c:pt>
                <c:pt idx="21299">
                  <c:v>0.379864455145354</c:v>
                </c:pt>
                <c:pt idx="21300">
                  <c:v>0.37988228999464901</c:v>
                </c:pt>
                <c:pt idx="21301">
                  <c:v>0.37990012484394498</c:v>
                </c:pt>
                <c:pt idx="21302">
                  <c:v>0.37991795969323999</c:v>
                </c:pt>
                <c:pt idx="21303">
                  <c:v>0.37993579454253601</c:v>
                </c:pt>
                <c:pt idx="21304">
                  <c:v>0.37995362939183103</c:v>
                </c:pt>
                <c:pt idx="21305">
                  <c:v>0.37997146424112699</c:v>
                </c:pt>
                <c:pt idx="21306">
                  <c:v>0.37998929909042201</c:v>
                </c:pt>
                <c:pt idx="21307">
                  <c:v>0.38000713393971802</c:v>
                </c:pt>
                <c:pt idx="21308">
                  <c:v>0.38002496878901298</c:v>
                </c:pt>
                <c:pt idx="21309">
                  <c:v>0.380042803638309</c:v>
                </c:pt>
                <c:pt idx="21310">
                  <c:v>0.38006063848760402</c:v>
                </c:pt>
                <c:pt idx="21311">
                  <c:v>0.38007847333689998</c:v>
                </c:pt>
                <c:pt idx="21312">
                  <c:v>0.380096308186195</c:v>
                </c:pt>
                <c:pt idx="21313">
                  <c:v>0.38011414303549101</c:v>
                </c:pt>
                <c:pt idx="21314">
                  <c:v>0.38013197788478598</c:v>
                </c:pt>
                <c:pt idx="21315">
                  <c:v>0.38014981273408199</c:v>
                </c:pt>
                <c:pt idx="21316">
                  <c:v>0.38016764758337701</c:v>
                </c:pt>
                <c:pt idx="21317">
                  <c:v>0.38018548243267303</c:v>
                </c:pt>
                <c:pt idx="21318">
                  <c:v>0.38020331728196899</c:v>
                </c:pt>
                <c:pt idx="21319">
                  <c:v>0.38022115213126401</c:v>
                </c:pt>
                <c:pt idx="21320">
                  <c:v>0.38023898698056002</c:v>
                </c:pt>
                <c:pt idx="21321">
                  <c:v>0.38025682182985499</c:v>
                </c:pt>
                <c:pt idx="21322">
                  <c:v>0.380274656679151</c:v>
                </c:pt>
                <c:pt idx="21323">
                  <c:v>0.38029249152844602</c:v>
                </c:pt>
                <c:pt idx="21324">
                  <c:v>0.38031032637774198</c:v>
                </c:pt>
                <c:pt idx="21325">
                  <c:v>0.380328161227037</c:v>
                </c:pt>
                <c:pt idx="21326">
                  <c:v>0.38034599607633301</c:v>
                </c:pt>
                <c:pt idx="21327">
                  <c:v>0.38036383092562798</c:v>
                </c:pt>
                <c:pt idx="21328">
                  <c:v>0.38038166577492399</c:v>
                </c:pt>
                <c:pt idx="21329">
                  <c:v>0.38039950062421901</c:v>
                </c:pt>
                <c:pt idx="21330">
                  <c:v>0.38041733547351497</c:v>
                </c:pt>
                <c:pt idx="21331">
                  <c:v>0.38043517032280999</c:v>
                </c:pt>
                <c:pt idx="21332">
                  <c:v>0.38045300517210601</c:v>
                </c:pt>
                <c:pt idx="21333">
                  <c:v>0.38047084002140102</c:v>
                </c:pt>
                <c:pt idx="21334">
                  <c:v>0.38048867487069699</c:v>
                </c:pt>
                <c:pt idx="21335">
                  <c:v>0.380506509719992</c:v>
                </c:pt>
                <c:pt idx="21336">
                  <c:v>0.38052434456928802</c:v>
                </c:pt>
                <c:pt idx="21337">
                  <c:v>0.38054217941858298</c:v>
                </c:pt>
                <c:pt idx="21338">
                  <c:v>0.380560014267879</c:v>
                </c:pt>
                <c:pt idx="21339">
                  <c:v>0.38057784911717402</c:v>
                </c:pt>
                <c:pt idx="21340">
                  <c:v>0.38059568396646998</c:v>
                </c:pt>
                <c:pt idx="21341">
                  <c:v>0.38061351881576599</c:v>
                </c:pt>
                <c:pt idx="21342">
                  <c:v>0.38063135366506101</c:v>
                </c:pt>
                <c:pt idx="21343">
                  <c:v>0.38064918851435697</c:v>
                </c:pt>
                <c:pt idx="21344">
                  <c:v>0.38066702336365199</c:v>
                </c:pt>
                <c:pt idx="21345">
                  <c:v>0.38068485821294801</c:v>
                </c:pt>
                <c:pt idx="21346">
                  <c:v>0.38070269306224302</c:v>
                </c:pt>
                <c:pt idx="21347">
                  <c:v>0.38072052791153899</c:v>
                </c:pt>
                <c:pt idx="21348">
                  <c:v>0.380738362760834</c:v>
                </c:pt>
                <c:pt idx="21349">
                  <c:v>0.38075619761013002</c:v>
                </c:pt>
                <c:pt idx="21350">
                  <c:v>0.38077403245942498</c:v>
                </c:pt>
                <c:pt idx="21351">
                  <c:v>0.380791867308721</c:v>
                </c:pt>
                <c:pt idx="21352">
                  <c:v>0.38080970215801602</c:v>
                </c:pt>
                <c:pt idx="21353">
                  <c:v>0.38082753700731198</c:v>
                </c:pt>
                <c:pt idx="21354">
                  <c:v>0.380845371856607</c:v>
                </c:pt>
                <c:pt idx="21355">
                  <c:v>0.38086320670590301</c:v>
                </c:pt>
                <c:pt idx="21356">
                  <c:v>0.38088104155519797</c:v>
                </c:pt>
                <c:pt idx="21357">
                  <c:v>0.38089887640449399</c:v>
                </c:pt>
                <c:pt idx="21358">
                  <c:v>0.38091671125378901</c:v>
                </c:pt>
                <c:pt idx="21359">
                  <c:v>0.38093454610308503</c:v>
                </c:pt>
                <c:pt idx="21360">
                  <c:v>0.38095238095237999</c:v>
                </c:pt>
                <c:pt idx="21361">
                  <c:v>0.380970215801676</c:v>
                </c:pt>
                <c:pt idx="21362">
                  <c:v>0.38098805065097202</c:v>
                </c:pt>
                <c:pt idx="21363">
                  <c:v>0.38100588550026698</c:v>
                </c:pt>
                <c:pt idx="21364">
                  <c:v>0.381023720349563</c:v>
                </c:pt>
                <c:pt idx="21365">
                  <c:v>0.38104155519885802</c:v>
                </c:pt>
                <c:pt idx="21366">
                  <c:v>0.38105939004815398</c:v>
                </c:pt>
                <c:pt idx="21367">
                  <c:v>0.381077224897449</c:v>
                </c:pt>
                <c:pt idx="21368">
                  <c:v>0.38109505974674501</c:v>
                </c:pt>
                <c:pt idx="21369">
                  <c:v>0.38111289459603997</c:v>
                </c:pt>
                <c:pt idx="21370">
                  <c:v>0.38113072944533599</c:v>
                </c:pt>
                <c:pt idx="21371">
                  <c:v>0.38114856429463101</c:v>
                </c:pt>
                <c:pt idx="21372">
                  <c:v>0.38116639914392703</c:v>
                </c:pt>
                <c:pt idx="21373">
                  <c:v>0.38118423399322199</c:v>
                </c:pt>
                <c:pt idx="21374">
                  <c:v>0.381202068842518</c:v>
                </c:pt>
                <c:pt idx="21375">
                  <c:v>0.38121990369181302</c:v>
                </c:pt>
                <c:pt idx="21376">
                  <c:v>0.38123773854110898</c:v>
                </c:pt>
                <c:pt idx="21377">
                  <c:v>0.381255573390404</c:v>
                </c:pt>
                <c:pt idx="21378">
                  <c:v>0.38127340823970002</c:v>
                </c:pt>
                <c:pt idx="21379">
                  <c:v>0.38129124308899498</c:v>
                </c:pt>
                <c:pt idx="21380">
                  <c:v>0.381309077938291</c:v>
                </c:pt>
                <c:pt idx="21381">
                  <c:v>0.38132691278758601</c:v>
                </c:pt>
                <c:pt idx="21382">
                  <c:v>0.38134474763688198</c:v>
                </c:pt>
                <c:pt idx="21383">
                  <c:v>0.38136258248617799</c:v>
                </c:pt>
                <c:pt idx="21384">
                  <c:v>0.38138041733547301</c:v>
                </c:pt>
                <c:pt idx="21385">
                  <c:v>0.38139825218476903</c:v>
                </c:pt>
                <c:pt idx="21386">
                  <c:v>0.38141608703406399</c:v>
                </c:pt>
                <c:pt idx="21387">
                  <c:v>0.38143392188336001</c:v>
                </c:pt>
                <c:pt idx="21388">
                  <c:v>0.38145175673265502</c:v>
                </c:pt>
                <c:pt idx="21389">
                  <c:v>0.38146959158195098</c:v>
                </c:pt>
                <c:pt idx="21390">
                  <c:v>0.381487426431246</c:v>
                </c:pt>
                <c:pt idx="21391">
                  <c:v>0.38150526128054202</c:v>
                </c:pt>
                <c:pt idx="21392">
                  <c:v>0.38152309612983698</c:v>
                </c:pt>
                <c:pt idx="21393">
                  <c:v>0.381540930979133</c:v>
                </c:pt>
                <c:pt idx="21394">
                  <c:v>0.38155876582842801</c:v>
                </c:pt>
                <c:pt idx="21395">
                  <c:v>0.38157660067772398</c:v>
                </c:pt>
                <c:pt idx="21396">
                  <c:v>0.38159443552701899</c:v>
                </c:pt>
                <c:pt idx="21397">
                  <c:v>0.38161227037631501</c:v>
                </c:pt>
                <c:pt idx="21398">
                  <c:v>0.38163010522560997</c:v>
                </c:pt>
                <c:pt idx="21399">
                  <c:v>0.38164794007490599</c:v>
                </c:pt>
                <c:pt idx="21400">
                  <c:v>0.38166577492420101</c:v>
                </c:pt>
                <c:pt idx="21401">
                  <c:v>0.38168360977349702</c:v>
                </c:pt>
                <c:pt idx="21402">
                  <c:v>0.38170144462279199</c:v>
                </c:pt>
                <c:pt idx="21403">
                  <c:v>0.381719279472088</c:v>
                </c:pt>
                <c:pt idx="21404">
                  <c:v>0.38173711432138302</c:v>
                </c:pt>
                <c:pt idx="21405">
                  <c:v>0.38175494917067898</c:v>
                </c:pt>
                <c:pt idx="21406">
                  <c:v>0.381772784019975</c:v>
                </c:pt>
                <c:pt idx="21407">
                  <c:v>0.38179061886927002</c:v>
                </c:pt>
                <c:pt idx="21408">
                  <c:v>0.38180845371856598</c:v>
                </c:pt>
                <c:pt idx="21409">
                  <c:v>0.38182628856786099</c:v>
                </c:pt>
                <c:pt idx="21410">
                  <c:v>0.38184412341715701</c:v>
                </c:pt>
                <c:pt idx="21411">
                  <c:v>0.38186195826645197</c:v>
                </c:pt>
                <c:pt idx="21412">
                  <c:v>0.38187979311574799</c:v>
                </c:pt>
                <c:pt idx="21413">
                  <c:v>0.38189762796504301</c:v>
                </c:pt>
                <c:pt idx="21414">
                  <c:v>0.38191546281433902</c:v>
                </c:pt>
                <c:pt idx="21415">
                  <c:v>0.38193329766363399</c:v>
                </c:pt>
                <c:pt idx="21416">
                  <c:v>0.38195113251293</c:v>
                </c:pt>
                <c:pt idx="21417">
                  <c:v>0.38196896736222502</c:v>
                </c:pt>
                <c:pt idx="21418">
                  <c:v>0.38198680221152098</c:v>
                </c:pt>
                <c:pt idx="21419">
                  <c:v>0.382004637060816</c:v>
                </c:pt>
                <c:pt idx="21420">
                  <c:v>0.38202247191011202</c:v>
                </c:pt>
                <c:pt idx="21421">
                  <c:v>0.38204030675940698</c:v>
                </c:pt>
                <c:pt idx="21422">
                  <c:v>0.38205814160870299</c:v>
                </c:pt>
                <c:pt idx="21423">
                  <c:v>0.38207597645799801</c:v>
                </c:pt>
                <c:pt idx="21424">
                  <c:v>0.38209381130729397</c:v>
                </c:pt>
                <c:pt idx="21425">
                  <c:v>0.38211164615658999</c:v>
                </c:pt>
                <c:pt idx="21426">
                  <c:v>0.38212948100588501</c:v>
                </c:pt>
                <c:pt idx="21427">
                  <c:v>0.38214731585518102</c:v>
                </c:pt>
                <c:pt idx="21428">
                  <c:v>0.38216515070447599</c:v>
                </c:pt>
                <c:pt idx="21429">
                  <c:v>0.382182985553772</c:v>
                </c:pt>
                <c:pt idx="21430">
                  <c:v>0.38220082040306702</c:v>
                </c:pt>
                <c:pt idx="21431">
                  <c:v>0.38221865525236298</c:v>
                </c:pt>
                <c:pt idx="21432">
                  <c:v>0.382236490101658</c:v>
                </c:pt>
                <c:pt idx="21433">
                  <c:v>0.38225432495095402</c:v>
                </c:pt>
                <c:pt idx="21434">
                  <c:v>0.38227215980024898</c:v>
                </c:pt>
                <c:pt idx="21435">
                  <c:v>0.382289994649545</c:v>
                </c:pt>
                <c:pt idx="21436">
                  <c:v>0.38230782949884001</c:v>
                </c:pt>
                <c:pt idx="21437">
                  <c:v>0.38232566434813597</c:v>
                </c:pt>
                <c:pt idx="21438">
                  <c:v>0.38234349919743099</c:v>
                </c:pt>
                <c:pt idx="21439">
                  <c:v>0.38236133404672701</c:v>
                </c:pt>
                <c:pt idx="21440">
                  <c:v>0.38237916889602203</c:v>
                </c:pt>
                <c:pt idx="21441">
                  <c:v>0.38239700374531799</c:v>
                </c:pt>
                <c:pt idx="21442">
                  <c:v>0.382414838594613</c:v>
                </c:pt>
                <c:pt idx="21443">
                  <c:v>0.38243267344390902</c:v>
                </c:pt>
                <c:pt idx="21444">
                  <c:v>0.38245050829320398</c:v>
                </c:pt>
                <c:pt idx="21445">
                  <c:v>0.3824683431425</c:v>
                </c:pt>
                <c:pt idx="21446">
                  <c:v>0.38248617799179502</c:v>
                </c:pt>
                <c:pt idx="21447">
                  <c:v>0.38250401284109098</c:v>
                </c:pt>
                <c:pt idx="21448">
                  <c:v>0.382521847690387</c:v>
                </c:pt>
                <c:pt idx="21449">
                  <c:v>0.38253968253968201</c:v>
                </c:pt>
                <c:pt idx="21450">
                  <c:v>0.38255751738897797</c:v>
                </c:pt>
                <c:pt idx="21451">
                  <c:v>0.38257535223827299</c:v>
                </c:pt>
                <c:pt idx="21452">
                  <c:v>0.38259318708756901</c:v>
                </c:pt>
                <c:pt idx="21453">
                  <c:v>0.38261102193686403</c:v>
                </c:pt>
                <c:pt idx="21454">
                  <c:v>0.38262885678615999</c:v>
                </c:pt>
                <c:pt idx="21455">
                  <c:v>0.38264669163545501</c:v>
                </c:pt>
                <c:pt idx="21456">
                  <c:v>0.38266452648475102</c:v>
                </c:pt>
                <c:pt idx="21457">
                  <c:v>0.38268236133404598</c:v>
                </c:pt>
                <c:pt idx="21458">
                  <c:v>0.382700196183342</c:v>
                </c:pt>
                <c:pt idx="21459">
                  <c:v>0.38271803103263702</c:v>
                </c:pt>
                <c:pt idx="21460">
                  <c:v>0.38273586588193298</c:v>
                </c:pt>
                <c:pt idx="21461">
                  <c:v>0.382753700731228</c:v>
                </c:pt>
                <c:pt idx="21462">
                  <c:v>0.38277153558052401</c:v>
                </c:pt>
                <c:pt idx="21463">
                  <c:v>0.38278937042981898</c:v>
                </c:pt>
                <c:pt idx="21464">
                  <c:v>0.38280720527911499</c:v>
                </c:pt>
                <c:pt idx="21465">
                  <c:v>0.38282504012841001</c:v>
                </c:pt>
                <c:pt idx="21466">
                  <c:v>0.38284287497770603</c:v>
                </c:pt>
                <c:pt idx="21467">
                  <c:v>0.38286070982700199</c:v>
                </c:pt>
                <c:pt idx="21468">
                  <c:v>0.38287854467629701</c:v>
                </c:pt>
                <c:pt idx="21469">
                  <c:v>0.38289637952559302</c:v>
                </c:pt>
                <c:pt idx="21470">
                  <c:v>0.38291421437488798</c:v>
                </c:pt>
                <c:pt idx="21471">
                  <c:v>0.382932049224184</c:v>
                </c:pt>
                <c:pt idx="21472">
                  <c:v>0.38294988407347902</c:v>
                </c:pt>
                <c:pt idx="21473">
                  <c:v>0.38296771892277498</c:v>
                </c:pt>
                <c:pt idx="21474">
                  <c:v>0.38298555377207</c:v>
                </c:pt>
                <c:pt idx="21475">
                  <c:v>0.38300338862136601</c:v>
                </c:pt>
                <c:pt idx="21476">
                  <c:v>0.38302122347066098</c:v>
                </c:pt>
                <c:pt idx="21477">
                  <c:v>0.38303905831995699</c:v>
                </c:pt>
                <c:pt idx="21478">
                  <c:v>0.38305689316925201</c:v>
                </c:pt>
                <c:pt idx="21479">
                  <c:v>0.38307472801854803</c:v>
                </c:pt>
                <c:pt idx="21480">
                  <c:v>0.38309256286784299</c:v>
                </c:pt>
                <c:pt idx="21481">
                  <c:v>0.38311039771713901</c:v>
                </c:pt>
                <c:pt idx="21482">
                  <c:v>0.38312823256643402</c:v>
                </c:pt>
                <c:pt idx="21483">
                  <c:v>0.38314606741572999</c:v>
                </c:pt>
                <c:pt idx="21484">
                  <c:v>0.383163902265025</c:v>
                </c:pt>
                <c:pt idx="21485">
                  <c:v>0.38318173711432102</c:v>
                </c:pt>
                <c:pt idx="21486">
                  <c:v>0.38319957196361598</c:v>
                </c:pt>
                <c:pt idx="21487">
                  <c:v>0.383217406812912</c:v>
                </c:pt>
                <c:pt idx="21488">
                  <c:v>0.38323524166220702</c:v>
                </c:pt>
                <c:pt idx="21489">
                  <c:v>0.38325307651150298</c:v>
                </c:pt>
                <c:pt idx="21490">
                  <c:v>0.38327091136079899</c:v>
                </c:pt>
                <c:pt idx="21491">
                  <c:v>0.38328874621009401</c:v>
                </c:pt>
                <c:pt idx="21492">
                  <c:v>0.38330658105938997</c:v>
                </c:pt>
                <c:pt idx="21493">
                  <c:v>0.38332441590868499</c:v>
                </c:pt>
                <c:pt idx="21494">
                  <c:v>0.38334225075798101</c:v>
                </c:pt>
                <c:pt idx="21495">
                  <c:v>0.38336008560727602</c:v>
                </c:pt>
                <c:pt idx="21496">
                  <c:v>0.38337792045657199</c:v>
                </c:pt>
                <c:pt idx="21497">
                  <c:v>0.383395755305867</c:v>
                </c:pt>
                <c:pt idx="21498">
                  <c:v>0.38341359015516302</c:v>
                </c:pt>
                <c:pt idx="21499">
                  <c:v>0.38343142500445798</c:v>
                </c:pt>
                <c:pt idx="21500">
                  <c:v>0.383449259853754</c:v>
                </c:pt>
                <c:pt idx="21501">
                  <c:v>0.38346709470304902</c:v>
                </c:pt>
                <c:pt idx="21502">
                  <c:v>0.38348492955234498</c:v>
                </c:pt>
                <c:pt idx="21503">
                  <c:v>0.38350276440164</c:v>
                </c:pt>
                <c:pt idx="21504">
                  <c:v>0.38352059925093601</c:v>
                </c:pt>
                <c:pt idx="21505">
                  <c:v>0.38353843410023097</c:v>
                </c:pt>
                <c:pt idx="21506">
                  <c:v>0.38355626894952699</c:v>
                </c:pt>
                <c:pt idx="21507">
                  <c:v>0.38357410379882201</c:v>
                </c:pt>
                <c:pt idx="21508">
                  <c:v>0.38359193864811802</c:v>
                </c:pt>
                <c:pt idx="21509">
                  <c:v>0.38360977349741299</c:v>
                </c:pt>
                <c:pt idx="21510">
                  <c:v>0.383627608346709</c:v>
                </c:pt>
                <c:pt idx="21511">
                  <c:v>0.38364544319600502</c:v>
                </c:pt>
                <c:pt idx="21512">
                  <c:v>0.38366327804529998</c:v>
                </c:pt>
                <c:pt idx="21513">
                  <c:v>0.383681112894596</c:v>
                </c:pt>
                <c:pt idx="21514">
                  <c:v>0.38369894774389102</c:v>
                </c:pt>
                <c:pt idx="21515">
                  <c:v>0.38371678259318698</c:v>
                </c:pt>
                <c:pt idx="21516">
                  <c:v>0.383734617442482</c:v>
                </c:pt>
                <c:pt idx="21517">
                  <c:v>0.38375245229177801</c:v>
                </c:pt>
                <c:pt idx="21518">
                  <c:v>0.38377028714107297</c:v>
                </c:pt>
                <c:pt idx="21519">
                  <c:v>0.38378812199036899</c:v>
                </c:pt>
                <c:pt idx="21520">
                  <c:v>0.38380595683966401</c:v>
                </c:pt>
                <c:pt idx="21521">
                  <c:v>0.38382379168896003</c:v>
                </c:pt>
                <c:pt idx="21522">
                  <c:v>0.38384162653825499</c:v>
                </c:pt>
                <c:pt idx="21523">
                  <c:v>0.383859461387551</c:v>
                </c:pt>
                <c:pt idx="21524">
                  <c:v>0.38387729623684602</c:v>
                </c:pt>
                <c:pt idx="21525">
                  <c:v>0.38389513108614198</c:v>
                </c:pt>
                <c:pt idx="21526">
                  <c:v>0.383912965935437</c:v>
                </c:pt>
                <c:pt idx="21527">
                  <c:v>0.38393080078473302</c:v>
                </c:pt>
                <c:pt idx="21528">
                  <c:v>0.38394863563402798</c:v>
                </c:pt>
                <c:pt idx="21529">
                  <c:v>0.383966470483324</c:v>
                </c:pt>
                <c:pt idx="21530">
                  <c:v>0.38398430533261901</c:v>
                </c:pt>
                <c:pt idx="21531">
                  <c:v>0.38400214018191497</c:v>
                </c:pt>
                <c:pt idx="21532">
                  <c:v>0.38401997503121099</c:v>
                </c:pt>
                <c:pt idx="21533">
                  <c:v>0.38403780988050601</c:v>
                </c:pt>
                <c:pt idx="21534">
                  <c:v>0.38405564472980203</c:v>
                </c:pt>
                <c:pt idx="21535">
                  <c:v>0.38407347957909699</c:v>
                </c:pt>
                <c:pt idx="21536">
                  <c:v>0.384091314428393</c:v>
                </c:pt>
                <c:pt idx="21537">
                  <c:v>0.38410914927768802</c:v>
                </c:pt>
                <c:pt idx="21538">
                  <c:v>0.38412698412698398</c:v>
                </c:pt>
                <c:pt idx="21539">
                  <c:v>0.384144818976279</c:v>
                </c:pt>
                <c:pt idx="21540">
                  <c:v>0.38416265382557502</c:v>
                </c:pt>
                <c:pt idx="21541">
                  <c:v>0.38418048867486998</c:v>
                </c:pt>
                <c:pt idx="21542">
                  <c:v>0.384198323524166</c:v>
                </c:pt>
                <c:pt idx="21543">
                  <c:v>0.38421615837346101</c:v>
                </c:pt>
                <c:pt idx="21544">
                  <c:v>0.38423399322275698</c:v>
                </c:pt>
                <c:pt idx="21545">
                  <c:v>0.38425182807205199</c:v>
                </c:pt>
                <c:pt idx="21546">
                  <c:v>0.38426966292134801</c:v>
                </c:pt>
                <c:pt idx="21547">
                  <c:v>0.38428749777064303</c:v>
                </c:pt>
                <c:pt idx="21548">
                  <c:v>0.38430533261993899</c:v>
                </c:pt>
                <c:pt idx="21549">
                  <c:v>0.38432316746923401</c:v>
                </c:pt>
                <c:pt idx="21550">
                  <c:v>0.38434100231853002</c:v>
                </c:pt>
                <c:pt idx="21551">
                  <c:v>0.38435883716782498</c:v>
                </c:pt>
                <c:pt idx="21552">
                  <c:v>0.384376672017121</c:v>
                </c:pt>
                <c:pt idx="21553">
                  <c:v>0.38439450686641602</c:v>
                </c:pt>
                <c:pt idx="21554">
                  <c:v>0.38441234171571198</c:v>
                </c:pt>
                <c:pt idx="21555">
                  <c:v>0.384430176565008</c:v>
                </c:pt>
                <c:pt idx="21556">
                  <c:v>0.38444801141430301</c:v>
                </c:pt>
                <c:pt idx="21557">
                  <c:v>0.38446584626359898</c:v>
                </c:pt>
                <c:pt idx="21558">
                  <c:v>0.38448368111289399</c:v>
                </c:pt>
                <c:pt idx="21559">
                  <c:v>0.38450151596219001</c:v>
                </c:pt>
                <c:pt idx="21560">
                  <c:v>0.38451935081148497</c:v>
                </c:pt>
                <c:pt idx="21561">
                  <c:v>0.38453718566078099</c:v>
                </c:pt>
                <c:pt idx="21562">
                  <c:v>0.38455502051007601</c:v>
                </c:pt>
                <c:pt idx="21563">
                  <c:v>0.38457285535937202</c:v>
                </c:pt>
                <c:pt idx="21564">
                  <c:v>0.38459069020866699</c:v>
                </c:pt>
                <c:pt idx="21565">
                  <c:v>0.384608525057963</c:v>
                </c:pt>
                <c:pt idx="21566">
                  <c:v>0.38462635990725802</c:v>
                </c:pt>
                <c:pt idx="21567">
                  <c:v>0.38464419475655398</c:v>
                </c:pt>
                <c:pt idx="21568">
                  <c:v>0.384662029605849</c:v>
                </c:pt>
                <c:pt idx="21569">
                  <c:v>0.38467986445514502</c:v>
                </c:pt>
                <c:pt idx="21570">
                  <c:v>0.38469769930443998</c:v>
                </c:pt>
                <c:pt idx="21571">
                  <c:v>0.38471553415373599</c:v>
                </c:pt>
                <c:pt idx="21572">
                  <c:v>0.38473336900303101</c:v>
                </c:pt>
                <c:pt idx="21573">
                  <c:v>0.38475120385232697</c:v>
                </c:pt>
                <c:pt idx="21574">
                  <c:v>0.38476903870162299</c:v>
                </c:pt>
                <c:pt idx="21575">
                  <c:v>0.38478687355091801</c:v>
                </c:pt>
                <c:pt idx="21576">
                  <c:v>0.38480470840021402</c:v>
                </c:pt>
                <c:pt idx="21577">
                  <c:v>0.38482254324950899</c:v>
                </c:pt>
                <c:pt idx="21578">
                  <c:v>0.384840378098805</c:v>
                </c:pt>
                <c:pt idx="21579">
                  <c:v>0.38485821294810002</c:v>
                </c:pt>
                <c:pt idx="21580">
                  <c:v>0.38487604779739598</c:v>
                </c:pt>
                <c:pt idx="21581">
                  <c:v>0.384893882646691</c:v>
                </c:pt>
                <c:pt idx="21582">
                  <c:v>0.38491171749598702</c:v>
                </c:pt>
                <c:pt idx="21583">
                  <c:v>0.38492955234528198</c:v>
                </c:pt>
                <c:pt idx="21584">
                  <c:v>0.38494738719457799</c:v>
                </c:pt>
                <c:pt idx="21585">
                  <c:v>0.38496522204387301</c:v>
                </c:pt>
                <c:pt idx="21586">
                  <c:v>0.38498305689316897</c:v>
                </c:pt>
                <c:pt idx="21587">
                  <c:v>0.38500089174246399</c:v>
                </c:pt>
                <c:pt idx="21588">
                  <c:v>0.38501872659176001</c:v>
                </c:pt>
                <c:pt idx="21589">
                  <c:v>0.38503656144105503</c:v>
                </c:pt>
                <c:pt idx="21590">
                  <c:v>0.38505439629035099</c:v>
                </c:pt>
                <c:pt idx="21591">
                  <c:v>0.385072231139646</c:v>
                </c:pt>
                <c:pt idx="21592">
                  <c:v>0.38509006598894202</c:v>
                </c:pt>
                <c:pt idx="21593">
                  <c:v>0.38510790083823698</c:v>
                </c:pt>
                <c:pt idx="21594">
                  <c:v>0.385125735687533</c:v>
                </c:pt>
                <c:pt idx="21595">
                  <c:v>0.38514357053682802</c:v>
                </c:pt>
                <c:pt idx="21596">
                  <c:v>0.38516140538612398</c:v>
                </c:pt>
                <c:pt idx="21597">
                  <c:v>0.38517924023542</c:v>
                </c:pt>
                <c:pt idx="21598">
                  <c:v>0.38519707508471501</c:v>
                </c:pt>
                <c:pt idx="21599">
                  <c:v>0.38521490993401097</c:v>
                </c:pt>
                <c:pt idx="21600">
                  <c:v>0.38523274478330599</c:v>
                </c:pt>
                <c:pt idx="21601">
                  <c:v>0.38525057963260201</c:v>
                </c:pt>
                <c:pt idx="21602">
                  <c:v>0.38526841448189703</c:v>
                </c:pt>
                <c:pt idx="21603">
                  <c:v>0.38528624933119299</c:v>
                </c:pt>
                <c:pt idx="21604">
                  <c:v>0.385304084180488</c:v>
                </c:pt>
                <c:pt idx="21605">
                  <c:v>0.38532191902978402</c:v>
                </c:pt>
                <c:pt idx="21606">
                  <c:v>0.38533975387907898</c:v>
                </c:pt>
                <c:pt idx="21607">
                  <c:v>0.385357588728375</c:v>
                </c:pt>
                <c:pt idx="21608">
                  <c:v>0.38537542357767002</c:v>
                </c:pt>
                <c:pt idx="21609">
                  <c:v>0.38539325842696598</c:v>
                </c:pt>
                <c:pt idx="21610">
                  <c:v>0.385411093276261</c:v>
                </c:pt>
                <c:pt idx="21611">
                  <c:v>0.38542892812555701</c:v>
                </c:pt>
                <c:pt idx="21612">
                  <c:v>0.38544676297485198</c:v>
                </c:pt>
                <c:pt idx="21613">
                  <c:v>0.38546459782414799</c:v>
                </c:pt>
                <c:pt idx="21614">
                  <c:v>0.38548243267344301</c:v>
                </c:pt>
                <c:pt idx="21615">
                  <c:v>0.38550026752273903</c:v>
                </c:pt>
                <c:pt idx="21616">
                  <c:v>0.38551810237203399</c:v>
                </c:pt>
                <c:pt idx="21617">
                  <c:v>0.38553593722133001</c:v>
                </c:pt>
                <c:pt idx="21618">
                  <c:v>0.38555377207062602</c:v>
                </c:pt>
                <c:pt idx="21619">
                  <c:v>0.38557160691992098</c:v>
                </c:pt>
                <c:pt idx="21620">
                  <c:v>0.385589441769217</c:v>
                </c:pt>
                <c:pt idx="21621">
                  <c:v>0.38560727661851202</c:v>
                </c:pt>
                <c:pt idx="21622">
                  <c:v>0.38562511146780798</c:v>
                </c:pt>
                <c:pt idx="21623">
                  <c:v>0.385642946317103</c:v>
                </c:pt>
                <c:pt idx="21624">
                  <c:v>0.38566078116639901</c:v>
                </c:pt>
                <c:pt idx="21625">
                  <c:v>0.38567861601569398</c:v>
                </c:pt>
                <c:pt idx="21626">
                  <c:v>0.38569645086498999</c:v>
                </c:pt>
                <c:pt idx="21627">
                  <c:v>0.38571428571428501</c:v>
                </c:pt>
                <c:pt idx="21628">
                  <c:v>0.38573212056358103</c:v>
                </c:pt>
                <c:pt idx="21629">
                  <c:v>0.38574995541287599</c:v>
                </c:pt>
                <c:pt idx="21630">
                  <c:v>0.38576779026217201</c:v>
                </c:pt>
                <c:pt idx="21631">
                  <c:v>0.38578562511146702</c:v>
                </c:pt>
                <c:pt idx="21632">
                  <c:v>0.38580345996076298</c:v>
                </c:pt>
                <c:pt idx="21633">
                  <c:v>0.385821294810058</c:v>
                </c:pt>
                <c:pt idx="21634">
                  <c:v>0.38583912965935402</c:v>
                </c:pt>
                <c:pt idx="21635">
                  <c:v>0.38585696450864898</c:v>
                </c:pt>
                <c:pt idx="21636">
                  <c:v>0.385874799357945</c:v>
                </c:pt>
                <c:pt idx="21637">
                  <c:v>0.38589263420724002</c:v>
                </c:pt>
                <c:pt idx="21638">
                  <c:v>0.38591046905653598</c:v>
                </c:pt>
                <c:pt idx="21639">
                  <c:v>0.38592830390583199</c:v>
                </c:pt>
                <c:pt idx="21640">
                  <c:v>0.38594613875512701</c:v>
                </c:pt>
                <c:pt idx="21641">
                  <c:v>0.38596397360442303</c:v>
                </c:pt>
                <c:pt idx="21642">
                  <c:v>0.38598180845371799</c:v>
                </c:pt>
                <c:pt idx="21643">
                  <c:v>0.38599964330301401</c:v>
                </c:pt>
                <c:pt idx="21644">
                  <c:v>0.38601747815230902</c:v>
                </c:pt>
                <c:pt idx="21645">
                  <c:v>0.38603531300160498</c:v>
                </c:pt>
                <c:pt idx="21646">
                  <c:v>0.3860531478509</c:v>
                </c:pt>
                <c:pt idx="21647">
                  <c:v>0.38607098270019602</c:v>
                </c:pt>
                <c:pt idx="21648">
                  <c:v>0.38608881754949098</c:v>
                </c:pt>
                <c:pt idx="21649">
                  <c:v>0.386106652398787</c:v>
                </c:pt>
                <c:pt idx="21650">
                  <c:v>0.38612448724808202</c:v>
                </c:pt>
                <c:pt idx="21651">
                  <c:v>0.38614232209737798</c:v>
                </c:pt>
                <c:pt idx="21652">
                  <c:v>0.38616015694667299</c:v>
                </c:pt>
                <c:pt idx="21653">
                  <c:v>0.38617799179596901</c:v>
                </c:pt>
                <c:pt idx="21654">
                  <c:v>0.38619582664526397</c:v>
                </c:pt>
                <c:pt idx="21655">
                  <c:v>0.38621366149455999</c:v>
                </c:pt>
                <c:pt idx="21656">
                  <c:v>0.38623149634385501</c:v>
                </c:pt>
                <c:pt idx="21657">
                  <c:v>0.38624933119315102</c:v>
                </c:pt>
                <c:pt idx="21658">
                  <c:v>0.38626716604244599</c:v>
                </c:pt>
                <c:pt idx="21659">
                  <c:v>0.386285000891742</c:v>
                </c:pt>
                <c:pt idx="21660">
                  <c:v>0.38630283574103702</c:v>
                </c:pt>
                <c:pt idx="21661">
                  <c:v>0.38632067059033298</c:v>
                </c:pt>
                <c:pt idx="21662">
                  <c:v>0.386338505439629</c:v>
                </c:pt>
                <c:pt idx="21663">
                  <c:v>0.38635634028892402</c:v>
                </c:pt>
                <c:pt idx="21664">
                  <c:v>0.38637417513821998</c:v>
                </c:pt>
                <c:pt idx="21665">
                  <c:v>0.38639200998751499</c:v>
                </c:pt>
                <c:pt idx="21666">
                  <c:v>0.38640984483681101</c:v>
                </c:pt>
                <c:pt idx="21667">
                  <c:v>0.38642767968610597</c:v>
                </c:pt>
                <c:pt idx="21668">
                  <c:v>0.38644551453540199</c:v>
                </c:pt>
                <c:pt idx="21669">
                  <c:v>0.38646334938469701</c:v>
                </c:pt>
                <c:pt idx="21670">
                  <c:v>0.38648118423399302</c:v>
                </c:pt>
                <c:pt idx="21671">
                  <c:v>0.38649901908328799</c:v>
                </c:pt>
                <c:pt idx="21672">
                  <c:v>0.386516853932584</c:v>
                </c:pt>
                <c:pt idx="21673">
                  <c:v>0.38653468878187902</c:v>
                </c:pt>
                <c:pt idx="21674">
                  <c:v>0.38655252363117498</c:v>
                </c:pt>
                <c:pt idx="21675">
                  <c:v>0.38657035848047</c:v>
                </c:pt>
                <c:pt idx="21676">
                  <c:v>0.38658819332976602</c:v>
                </c:pt>
                <c:pt idx="21677">
                  <c:v>0.38660602817906098</c:v>
                </c:pt>
                <c:pt idx="21678">
                  <c:v>0.386623863028357</c:v>
                </c:pt>
                <c:pt idx="21679">
                  <c:v>0.38664169787765201</c:v>
                </c:pt>
                <c:pt idx="21680">
                  <c:v>0.38665953272694797</c:v>
                </c:pt>
                <c:pt idx="21681">
                  <c:v>0.38667736757624399</c:v>
                </c:pt>
                <c:pt idx="21682">
                  <c:v>0.38669520242553901</c:v>
                </c:pt>
                <c:pt idx="21683">
                  <c:v>0.38671303727483503</c:v>
                </c:pt>
                <c:pt idx="21684">
                  <c:v>0.38673087212412999</c:v>
                </c:pt>
                <c:pt idx="21685">
                  <c:v>0.386748706973426</c:v>
                </c:pt>
                <c:pt idx="21686">
                  <c:v>0.38676654182272102</c:v>
                </c:pt>
                <c:pt idx="21687">
                  <c:v>0.38678437667201698</c:v>
                </c:pt>
                <c:pt idx="21688">
                  <c:v>0.386802211521312</c:v>
                </c:pt>
                <c:pt idx="21689">
                  <c:v>0.38682004637060802</c:v>
                </c:pt>
                <c:pt idx="21690">
                  <c:v>0.38683788121990298</c:v>
                </c:pt>
                <c:pt idx="21691">
                  <c:v>0.386855716069199</c:v>
                </c:pt>
                <c:pt idx="21692">
                  <c:v>0.38687355091849401</c:v>
                </c:pt>
                <c:pt idx="21693">
                  <c:v>0.38689138576778997</c:v>
                </c:pt>
                <c:pt idx="21694">
                  <c:v>0.38690922061708499</c:v>
                </c:pt>
                <c:pt idx="21695">
                  <c:v>0.38692705546638101</c:v>
                </c:pt>
                <c:pt idx="21696">
                  <c:v>0.38694489031567603</c:v>
                </c:pt>
                <c:pt idx="21697">
                  <c:v>0.38696272516497199</c:v>
                </c:pt>
                <c:pt idx="21698">
                  <c:v>0.38698056001426701</c:v>
                </c:pt>
                <c:pt idx="21699">
                  <c:v>0.38699839486356302</c:v>
                </c:pt>
                <c:pt idx="21700">
                  <c:v>0.38701622971285798</c:v>
                </c:pt>
                <c:pt idx="21701">
                  <c:v>0.387034064562154</c:v>
                </c:pt>
                <c:pt idx="21702">
                  <c:v>0.38705189941144902</c:v>
                </c:pt>
                <c:pt idx="21703">
                  <c:v>0.38706973426074498</c:v>
                </c:pt>
                <c:pt idx="21704">
                  <c:v>0.387087569110041</c:v>
                </c:pt>
                <c:pt idx="21705">
                  <c:v>0.38710540395933601</c:v>
                </c:pt>
                <c:pt idx="21706">
                  <c:v>0.38712323880863198</c:v>
                </c:pt>
                <c:pt idx="21707">
                  <c:v>0.38714107365792699</c:v>
                </c:pt>
                <c:pt idx="21708">
                  <c:v>0.38715890850722301</c:v>
                </c:pt>
                <c:pt idx="21709">
                  <c:v>0.38717674335651803</c:v>
                </c:pt>
                <c:pt idx="21710">
                  <c:v>0.38719457820581399</c:v>
                </c:pt>
                <c:pt idx="21711">
                  <c:v>0.38721241305510901</c:v>
                </c:pt>
                <c:pt idx="21712">
                  <c:v>0.38723024790440502</c:v>
                </c:pt>
                <c:pt idx="21713">
                  <c:v>0.38724808275369998</c:v>
                </c:pt>
                <c:pt idx="21714">
                  <c:v>0.387265917602996</c:v>
                </c:pt>
                <c:pt idx="21715">
                  <c:v>0.38728375245229102</c:v>
                </c:pt>
                <c:pt idx="21716">
                  <c:v>0.38730158730158698</c:v>
                </c:pt>
                <c:pt idx="21717">
                  <c:v>0.387319422150882</c:v>
                </c:pt>
                <c:pt idx="21718">
                  <c:v>0.38733725700017801</c:v>
                </c:pt>
                <c:pt idx="21719">
                  <c:v>0.38735509184947298</c:v>
                </c:pt>
                <c:pt idx="21720">
                  <c:v>0.38737292669876899</c:v>
                </c:pt>
                <c:pt idx="21721">
                  <c:v>0.38739076154806401</c:v>
                </c:pt>
                <c:pt idx="21722">
                  <c:v>0.38740859639736003</c:v>
                </c:pt>
                <c:pt idx="21723">
                  <c:v>0.38742643124665599</c:v>
                </c:pt>
                <c:pt idx="21724">
                  <c:v>0.38744426609595101</c:v>
                </c:pt>
                <c:pt idx="21725">
                  <c:v>0.38746210094524702</c:v>
                </c:pt>
                <c:pt idx="21726">
                  <c:v>0.38747993579454199</c:v>
                </c:pt>
                <c:pt idx="21727">
                  <c:v>0.387497770643838</c:v>
                </c:pt>
                <c:pt idx="21728">
                  <c:v>0.38751560549313302</c:v>
                </c:pt>
                <c:pt idx="21729">
                  <c:v>0.38753344034242898</c:v>
                </c:pt>
                <c:pt idx="21730">
                  <c:v>0.387551275191724</c:v>
                </c:pt>
                <c:pt idx="21731">
                  <c:v>0.38756911004102002</c:v>
                </c:pt>
                <c:pt idx="21732">
                  <c:v>0.38758694489031498</c:v>
                </c:pt>
                <c:pt idx="21733">
                  <c:v>0.38760477973961099</c:v>
                </c:pt>
                <c:pt idx="21734">
                  <c:v>0.38762261458890601</c:v>
                </c:pt>
                <c:pt idx="21735">
                  <c:v>0.38764044943820197</c:v>
                </c:pt>
                <c:pt idx="21736">
                  <c:v>0.38765828428749699</c:v>
                </c:pt>
                <c:pt idx="21737">
                  <c:v>0.38767611913679301</c:v>
                </c:pt>
                <c:pt idx="21738">
                  <c:v>0.38769395398608802</c:v>
                </c:pt>
                <c:pt idx="21739">
                  <c:v>0.38771178883538399</c:v>
                </c:pt>
                <c:pt idx="21740">
                  <c:v>0.387729623684679</c:v>
                </c:pt>
                <c:pt idx="21741">
                  <c:v>0.38774745853397502</c:v>
                </c:pt>
                <c:pt idx="21742">
                  <c:v>0.38776529338326998</c:v>
                </c:pt>
                <c:pt idx="21743">
                  <c:v>0.387783128232566</c:v>
                </c:pt>
                <c:pt idx="21744">
                  <c:v>0.38780096308186102</c:v>
                </c:pt>
                <c:pt idx="21745">
                  <c:v>0.38781879793115698</c:v>
                </c:pt>
                <c:pt idx="21746">
                  <c:v>0.38783663278045299</c:v>
                </c:pt>
                <c:pt idx="21747">
                  <c:v>0.38785446762974801</c:v>
                </c:pt>
                <c:pt idx="21748">
                  <c:v>0.38787230247904397</c:v>
                </c:pt>
                <c:pt idx="21749">
                  <c:v>0.38789013732833899</c:v>
                </c:pt>
                <c:pt idx="21750">
                  <c:v>0.38790797217763501</c:v>
                </c:pt>
                <c:pt idx="21751">
                  <c:v>0.38792580702693003</c:v>
                </c:pt>
                <c:pt idx="21752">
                  <c:v>0.38794364187622599</c:v>
                </c:pt>
                <c:pt idx="21753">
                  <c:v>0.387961476725521</c:v>
                </c:pt>
                <c:pt idx="21754">
                  <c:v>0.38797931157481702</c:v>
                </c:pt>
                <c:pt idx="21755">
                  <c:v>0.38799714642411198</c:v>
                </c:pt>
                <c:pt idx="21756">
                  <c:v>0.388014981273408</c:v>
                </c:pt>
                <c:pt idx="21757">
                  <c:v>0.38803281612270302</c:v>
                </c:pt>
                <c:pt idx="21758">
                  <c:v>0.38805065097199898</c:v>
                </c:pt>
                <c:pt idx="21759">
                  <c:v>0.388068485821294</c:v>
                </c:pt>
                <c:pt idx="21760">
                  <c:v>0.38808632067059001</c:v>
                </c:pt>
                <c:pt idx="21761">
                  <c:v>0.38810415551988497</c:v>
                </c:pt>
                <c:pt idx="21762">
                  <c:v>0.38812199036918099</c:v>
                </c:pt>
                <c:pt idx="21763">
                  <c:v>0.38813982521847601</c:v>
                </c:pt>
                <c:pt idx="21764">
                  <c:v>0.38815766006777203</c:v>
                </c:pt>
                <c:pt idx="21765">
                  <c:v>0.38817549491706699</c:v>
                </c:pt>
                <c:pt idx="21766">
                  <c:v>0.388193329766363</c:v>
                </c:pt>
                <c:pt idx="21767">
                  <c:v>0.38821116461565902</c:v>
                </c:pt>
                <c:pt idx="21768">
                  <c:v>0.38822899946495398</c:v>
                </c:pt>
                <c:pt idx="21769">
                  <c:v>0.38824683431425</c:v>
                </c:pt>
                <c:pt idx="21770">
                  <c:v>0.38826466916354502</c:v>
                </c:pt>
                <c:pt idx="21771">
                  <c:v>0.38828250401284098</c:v>
                </c:pt>
                <c:pt idx="21772">
                  <c:v>0.388300338862136</c:v>
                </c:pt>
                <c:pt idx="21773">
                  <c:v>0.38831817371143201</c:v>
                </c:pt>
                <c:pt idx="21774">
                  <c:v>0.38833600856072698</c:v>
                </c:pt>
                <c:pt idx="21775">
                  <c:v>0.38835384341002299</c:v>
                </c:pt>
                <c:pt idx="21776">
                  <c:v>0.38837167825931801</c:v>
                </c:pt>
                <c:pt idx="21777">
                  <c:v>0.38838951310861403</c:v>
                </c:pt>
                <c:pt idx="21778">
                  <c:v>0.38840734795790899</c:v>
                </c:pt>
                <c:pt idx="21779">
                  <c:v>0.38842518280720501</c:v>
                </c:pt>
                <c:pt idx="21780">
                  <c:v>0.38844301765650002</c:v>
                </c:pt>
                <c:pt idx="21781">
                  <c:v>0.38846085250579598</c:v>
                </c:pt>
                <c:pt idx="21782">
                  <c:v>0.388478687355091</c:v>
                </c:pt>
                <c:pt idx="21783">
                  <c:v>0.38849652220438702</c:v>
                </c:pt>
                <c:pt idx="21784">
                  <c:v>0.38851435705368198</c:v>
                </c:pt>
                <c:pt idx="21785">
                  <c:v>0.388532191902978</c:v>
                </c:pt>
                <c:pt idx="21786">
                  <c:v>0.38855002675227301</c:v>
                </c:pt>
                <c:pt idx="21787">
                  <c:v>0.38856786160156898</c:v>
                </c:pt>
                <c:pt idx="21788">
                  <c:v>0.38858569645086499</c:v>
                </c:pt>
                <c:pt idx="21789">
                  <c:v>0.38860353130016001</c:v>
                </c:pt>
                <c:pt idx="21790">
                  <c:v>0.38862136614945603</c:v>
                </c:pt>
                <c:pt idx="21791">
                  <c:v>0.38863920099875099</c:v>
                </c:pt>
                <c:pt idx="21792">
                  <c:v>0.38865703584804701</c:v>
                </c:pt>
                <c:pt idx="21793">
                  <c:v>0.38867487069734202</c:v>
                </c:pt>
                <c:pt idx="21794">
                  <c:v>0.38869270554663798</c:v>
                </c:pt>
                <c:pt idx="21795">
                  <c:v>0.388710540395933</c:v>
                </c:pt>
                <c:pt idx="21796">
                  <c:v>0.38872837524522902</c:v>
                </c:pt>
                <c:pt idx="21797">
                  <c:v>0.38874621009452398</c:v>
                </c:pt>
                <c:pt idx="21798">
                  <c:v>0.38876404494382</c:v>
                </c:pt>
                <c:pt idx="21799">
                  <c:v>0.38878187979311501</c:v>
                </c:pt>
                <c:pt idx="21800">
                  <c:v>0.38879971464241098</c:v>
                </c:pt>
                <c:pt idx="21801">
                  <c:v>0.38881754949170599</c:v>
                </c:pt>
                <c:pt idx="21802">
                  <c:v>0.38883538434100201</c:v>
                </c:pt>
                <c:pt idx="21803">
                  <c:v>0.38885321919029697</c:v>
                </c:pt>
                <c:pt idx="21804">
                  <c:v>0.38887105403959299</c:v>
                </c:pt>
                <c:pt idx="21805">
                  <c:v>0.38888888888888801</c:v>
                </c:pt>
                <c:pt idx="21806">
                  <c:v>0.38890672373818402</c:v>
                </c:pt>
                <c:pt idx="21807">
                  <c:v>0.38892455858747899</c:v>
                </c:pt>
                <c:pt idx="21808">
                  <c:v>0.388942393436775</c:v>
                </c:pt>
                <c:pt idx="21809">
                  <c:v>0.38896022828607002</c:v>
                </c:pt>
                <c:pt idx="21810">
                  <c:v>0.38897806313536598</c:v>
                </c:pt>
                <c:pt idx="21811">
                  <c:v>0.388995897984662</c:v>
                </c:pt>
                <c:pt idx="21812">
                  <c:v>0.38901373283395702</c:v>
                </c:pt>
                <c:pt idx="21813">
                  <c:v>0.38903156768325298</c:v>
                </c:pt>
                <c:pt idx="21814">
                  <c:v>0.38904940253254799</c:v>
                </c:pt>
                <c:pt idx="21815">
                  <c:v>0.38906723738184401</c:v>
                </c:pt>
                <c:pt idx="21816">
                  <c:v>0.38908507223113897</c:v>
                </c:pt>
                <c:pt idx="21817">
                  <c:v>0.38910290708043499</c:v>
                </c:pt>
                <c:pt idx="21818">
                  <c:v>0.38912074192973001</c:v>
                </c:pt>
                <c:pt idx="21819">
                  <c:v>0.38913857677902602</c:v>
                </c:pt>
                <c:pt idx="21820">
                  <c:v>0.38915641162832099</c:v>
                </c:pt>
                <c:pt idx="21821">
                  <c:v>0.389174246477617</c:v>
                </c:pt>
                <c:pt idx="21822">
                  <c:v>0.38919208132691202</c:v>
                </c:pt>
                <c:pt idx="21823">
                  <c:v>0.38920991617620798</c:v>
                </c:pt>
                <c:pt idx="21824">
                  <c:v>0.389227751025503</c:v>
                </c:pt>
                <c:pt idx="21825">
                  <c:v>0.38924558587479902</c:v>
                </c:pt>
                <c:pt idx="21826">
                  <c:v>0.38926342072409398</c:v>
                </c:pt>
                <c:pt idx="21827">
                  <c:v>0.38928125557338999</c:v>
                </c:pt>
                <c:pt idx="21828">
                  <c:v>0.38929909042268501</c:v>
                </c:pt>
                <c:pt idx="21829">
                  <c:v>0.38931692527198097</c:v>
                </c:pt>
                <c:pt idx="21830">
                  <c:v>0.38933476012127699</c:v>
                </c:pt>
                <c:pt idx="21831">
                  <c:v>0.38935259497057201</c:v>
                </c:pt>
                <c:pt idx="21832">
                  <c:v>0.38937042981986802</c:v>
                </c:pt>
                <c:pt idx="21833">
                  <c:v>0.38938826466916299</c:v>
                </c:pt>
                <c:pt idx="21834">
                  <c:v>0.389406099518459</c:v>
                </c:pt>
                <c:pt idx="21835">
                  <c:v>0.38942393436775402</c:v>
                </c:pt>
                <c:pt idx="21836">
                  <c:v>0.38944176921704998</c:v>
                </c:pt>
                <c:pt idx="21837">
                  <c:v>0.389459604066345</c:v>
                </c:pt>
                <c:pt idx="21838">
                  <c:v>0.38947743891564102</c:v>
                </c:pt>
                <c:pt idx="21839">
                  <c:v>0.38949527376493598</c:v>
                </c:pt>
                <c:pt idx="21840">
                  <c:v>0.389513108614232</c:v>
                </c:pt>
                <c:pt idx="21841">
                  <c:v>0.38953094346352701</c:v>
                </c:pt>
                <c:pt idx="21842">
                  <c:v>0.38954877831282297</c:v>
                </c:pt>
                <c:pt idx="21843">
                  <c:v>0.38956661316211799</c:v>
                </c:pt>
                <c:pt idx="21844">
                  <c:v>0.38958444801141401</c:v>
                </c:pt>
                <c:pt idx="21845">
                  <c:v>0.38960228286070903</c:v>
                </c:pt>
                <c:pt idx="21846">
                  <c:v>0.38962011771000499</c:v>
                </c:pt>
                <c:pt idx="21847">
                  <c:v>0.3896379525593</c:v>
                </c:pt>
                <c:pt idx="21848">
                  <c:v>0.38965578740859602</c:v>
                </c:pt>
                <c:pt idx="21849">
                  <c:v>0.38967362225789098</c:v>
                </c:pt>
                <c:pt idx="21850">
                  <c:v>0.389691457107187</c:v>
                </c:pt>
                <c:pt idx="21851">
                  <c:v>0.38970929195648202</c:v>
                </c:pt>
                <c:pt idx="21852">
                  <c:v>0.38972712680577798</c:v>
                </c:pt>
                <c:pt idx="21853">
                  <c:v>0.389744961655074</c:v>
                </c:pt>
                <c:pt idx="21854">
                  <c:v>0.38976279650436901</c:v>
                </c:pt>
                <c:pt idx="21855">
                  <c:v>0.38978063135366497</c:v>
                </c:pt>
                <c:pt idx="21856">
                  <c:v>0.38979846620295999</c:v>
                </c:pt>
                <c:pt idx="21857">
                  <c:v>0.38981630105225601</c:v>
                </c:pt>
                <c:pt idx="21858">
                  <c:v>0.38983413590155103</c:v>
                </c:pt>
                <c:pt idx="21859">
                  <c:v>0.38985197075084699</c:v>
                </c:pt>
                <c:pt idx="21860">
                  <c:v>0.38986980560014201</c:v>
                </c:pt>
                <c:pt idx="21861">
                  <c:v>0.38988764044943802</c:v>
                </c:pt>
                <c:pt idx="21862">
                  <c:v>0.38990547529873298</c:v>
                </c:pt>
                <c:pt idx="21863">
                  <c:v>0.389923310148029</c:v>
                </c:pt>
                <c:pt idx="21864">
                  <c:v>0.38994114499732402</c:v>
                </c:pt>
                <c:pt idx="21865">
                  <c:v>0.38995897984661998</c:v>
                </c:pt>
                <c:pt idx="21866">
                  <c:v>0.389976814695915</c:v>
                </c:pt>
                <c:pt idx="21867">
                  <c:v>0.38999464954521101</c:v>
                </c:pt>
                <c:pt idx="21868">
                  <c:v>0.39001248439450598</c:v>
                </c:pt>
                <c:pt idx="21869">
                  <c:v>0.39003031924380199</c:v>
                </c:pt>
                <c:pt idx="21870">
                  <c:v>0.39004815409309701</c:v>
                </c:pt>
                <c:pt idx="21871">
                  <c:v>0.39006598894239303</c:v>
                </c:pt>
                <c:pt idx="21872">
                  <c:v>0.39008382379168799</c:v>
                </c:pt>
                <c:pt idx="21873">
                  <c:v>0.39010165864098401</c:v>
                </c:pt>
                <c:pt idx="21874">
                  <c:v>0.39011949349028002</c:v>
                </c:pt>
                <c:pt idx="21875">
                  <c:v>0.39013732833957498</c:v>
                </c:pt>
                <c:pt idx="21876">
                  <c:v>0.390155163188871</c:v>
                </c:pt>
                <c:pt idx="21877">
                  <c:v>0.39017299803816602</c:v>
                </c:pt>
                <c:pt idx="21878">
                  <c:v>0.39019083288746198</c:v>
                </c:pt>
                <c:pt idx="21879">
                  <c:v>0.390208667736757</c:v>
                </c:pt>
                <c:pt idx="21880">
                  <c:v>0.39022650258605301</c:v>
                </c:pt>
                <c:pt idx="21881">
                  <c:v>0.39024433743534798</c:v>
                </c:pt>
                <c:pt idx="21882">
                  <c:v>0.39026217228464399</c:v>
                </c:pt>
                <c:pt idx="21883">
                  <c:v>0.39028000713393901</c:v>
                </c:pt>
                <c:pt idx="21884">
                  <c:v>0.39029784198323503</c:v>
                </c:pt>
                <c:pt idx="21885">
                  <c:v>0.39031567683252999</c:v>
                </c:pt>
                <c:pt idx="21886">
                  <c:v>0.39033351168182601</c:v>
                </c:pt>
                <c:pt idx="21887">
                  <c:v>0.39035134653112102</c:v>
                </c:pt>
                <c:pt idx="21888">
                  <c:v>0.39036918138041699</c:v>
                </c:pt>
                <c:pt idx="21889">
                  <c:v>0.390387016229712</c:v>
                </c:pt>
                <c:pt idx="21890">
                  <c:v>0.39040485107900802</c:v>
                </c:pt>
                <c:pt idx="21891">
                  <c:v>0.39042268592830298</c:v>
                </c:pt>
                <c:pt idx="21892">
                  <c:v>0.390440520777599</c:v>
                </c:pt>
                <c:pt idx="21893">
                  <c:v>0.39045835562689402</c:v>
                </c:pt>
                <c:pt idx="21894">
                  <c:v>0.39047619047618998</c:v>
                </c:pt>
                <c:pt idx="21895">
                  <c:v>0.39049402532548599</c:v>
                </c:pt>
                <c:pt idx="21896">
                  <c:v>0.39051186017478101</c:v>
                </c:pt>
                <c:pt idx="21897">
                  <c:v>0.39052969502407697</c:v>
                </c:pt>
                <c:pt idx="21898">
                  <c:v>0.39054752987337199</c:v>
                </c:pt>
                <c:pt idx="21899">
                  <c:v>0.39056536472266801</c:v>
                </c:pt>
                <c:pt idx="21900">
                  <c:v>0.39058319957196302</c:v>
                </c:pt>
                <c:pt idx="21901">
                  <c:v>0.39060103442125899</c:v>
                </c:pt>
                <c:pt idx="21902">
                  <c:v>0.390618869270554</c:v>
                </c:pt>
                <c:pt idx="21903">
                  <c:v>0.39063670411985002</c:v>
                </c:pt>
                <c:pt idx="21904">
                  <c:v>0.39065453896914498</c:v>
                </c:pt>
                <c:pt idx="21905">
                  <c:v>0.390672373818441</c:v>
                </c:pt>
                <c:pt idx="21906">
                  <c:v>0.39069020866773602</c:v>
                </c:pt>
                <c:pt idx="21907">
                  <c:v>0.39070804351703198</c:v>
                </c:pt>
                <c:pt idx="21908">
                  <c:v>0.390725878366327</c:v>
                </c:pt>
                <c:pt idx="21909">
                  <c:v>0.39074371321562301</c:v>
                </c:pt>
                <c:pt idx="21910">
                  <c:v>0.39076154806491797</c:v>
                </c:pt>
                <c:pt idx="21911">
                  <c:v>0.39077938291421399</c:v>
                </c:pt>
                <c:pt idx="21912">
                  <c:v>0.39079721776350901</c:v>
                </c:pt>
                <c:pt idx="21913">
                  <c:v>0.39081505261280503</c:v>
                </c:pt>
                <c:pt idx="21914">
                  <c:v>0.39083288746209999</c:v>
                </c:pt>
                <c:pt idx="21915">
                  <c:v>0.390850722311396</c:v>
                </c:pt>
                <c:pt idx="21916">
                  <c:v>0.39086855716069102</c:v>
                </c:pt>
                <c:pt idx="21917">
                  <c:v>0.39088639200998698</c:v>
                </c:pt>
                <c:pt idx="21918">
                  <c:v>0.390904226859283</c:v>
                </c:pt>
                <c:pt idx="21919">
                  <c:v>0.39092206170857802</c:v>
                </c:pt>
                <c:pt idx="21920">
                  <c:v>0.39093989655787398</c:v>
                </c:pt>
                <c:pt idx="21921">
                  <c:v>0.390957731407169</c:v>
                </c:pt>
                <c:pt idx="21922">
                  <c:v>0.39097556625646501</c:v>
                </c:pt>
                <c:pt idx="21923">
                  <c:v>0.39099340110575997</c:v>
                </c:pt>
                <c:pt idx="21924">
                  <c:v>0.39101123595505599</c:v>
                </c:pt>
                <c:pt idx="21925">
                  <c:v>0.39102907080435101</c:v>
                </c:pt>
                <c:pt idx="21926">
                  <c:v>0.39104690565364703</c:v>
                </c:pt>
                <c:pt idx="21927">
                  <c:v>0.39106474050294199</c:v>
                </c:pt>
                <c:pt idx="21928">
                  <c:v>0.391082575352238</c:v>
                </c:pt>
                <c:pt idx="21929">
                  <c:v>0.39110041020153302</c:v>
                </c:pt>
                <c:pt idx="21930">
                  <c:v>0.39111824505082898</c:v>
                </c:pt>
                <c:pt idx="21931">
                  <c:v>0.391136079900124</c:v>
                </c:pt>
                <c:pt idx="21932">
                  <c:v>0.39115391474942002</c:v>
                </c:pt>
                <c:pt idx="21933">
                  <c:v>0.39117174959871498</c:v>
                </c:pt>
                <c:pt idx="21934">
                  <c:v>0.391189584448011</c:v>
                </c:pt>
                <c:pt idx="21935">
                  <c:v>0.39120741929730601</c:v>
                </c:pt>
                <c:pt idx="21936">
                  <c:v>0.39122525414660198</c:v>
                </c:pt>
                <c:pt idx="21937">
                  <c:v>0.39124308899589799</c:v>
                </c:pt>
                <c:pt idx="21938">
                  <c:v>0.39126092384519301</c:v>
                </c:pt>
                <c:pt idx="21939">
                  <c:v>0.39127875869448903</c:v>
                </c:pt>
                <c:pt idx="21940">
                  <c:v>0.39129659354378399</c:v>
                </c:pt>
                <c:pt idx="21941">
                  <c:v>0.39131442839308</c:v>
                </c:pt>
                <c:pt idx="21942">
                  <c:v>0.39133226324237502</c:v>
                </c:pt>
                <c:pt idx="21943">
                  <c:v>0.39135009809167098</c:v>
                </c:pt>
                <c:pt idx="21944">
                  <c:v>0.391367932940966</c:v>
                </c:pt>
                <c:pt idx="21945">
                  <c:v>0.39138576779026202</c:v>
                </c:pt>
                <c:pt idx="21946">
                  <c:v>0.39140360263955698</c:v>
                </c:pt>
                <c:pt idx="21947">
                  <c:v>0.391421437488853</c:v>
                </c:pt>
                <c:pt idx="21948">
                  <c:v>0.39143927233814801</c:v>
                </c:pt>
                <c:pt idx="21949">
                  <c:v>0.39145710718744398</c:v>
                </c:pt>
                <c:pt idx="21950">
                  <c:v>0.39147494203673899</c:v>
                </c:pt>
                <c:pt idx="21951">
                  <c:v>0.39149277688603501</c:v>
                </c:pt>
                <c:pt idx="21952">
                  <c:v>0.39151061173533003</c:v>
                </c:pt>
                <c:pt idx="21953">
                  <c:v>0.39152844658462599</c:v>
                </c:pt>
                <c:pt idx="21954">
                  <c:v>0.39154628143392101</c:v>
                </c:pt>
                <c:pt idx="21955">
                  <c:v>0.39156411628321702</c:v>
                </c:pt>
                <c:pt idx="21956">
                  <c:v>0.39158195113251199</c:v>
                </c:pt>
                <c:pt idx="21957">
                  <c:v>0.391599785981808</c:v>
                </c:pt>
                <c:pt idx="21958">
                  <c:v>0.39161762083110302</c:v>
                </c:pt>
                <c:pt idx="21959">
                  <c:v>0.39163545568039898</c:v>
                </c:pt>
                <c:pt idx="21960">
                  <c:v>0.391653290529695</c:v>
                </c:pt>
                <c:pt idx="21961">
                  <c:v>0.39167112537899001</c:v>
                </c:pt>
                <c:pt idx="21962">
                  <c:v>0.39168896022828598</c:v>
                </c:pt>
                <c:pt idx="21963">
                  <c:v>0.39170679507758099</c:v>
                </c:pt>
                <c:pt idx="21964">
                  <c:v>0.39172462992687701</c:v>
                </c:pt>
                <c:pt idx="21965">
                  <c:v>0.39174246477617197</c:v>
                </c:pt>
                <c:pt idx="21966">
                  <c:v>0.39176029962546799</c:v>
                </c:pt>
                <c:pt idx="21967">
                  <c:v>0.39177813447476301</c:v>
                </c:pt>
                <c:pt idx="21968">
                  <c:v>0.39179596932405902</c:v>
                </c:pt>
                <c:pt idx="21969">
                  <c:v>0.39181380417335399</c:v>
                </c:pt>
                <c:pt idx="21970">
                  <c:v>0.39183163902265</c:v>
                </c:pt>
                <c:pt idx="21971">
                  <c:v>0.39184947387194502</c:v>
                </c:pt>
                <c:pt idx="21972">
                  <c:v>0.39186730872124098</c:v>
                </c:pt>
                <c:pt idx="21973">
                  <c:v>0.391885143570536</c:v>
                </c:pt>
                <c:pt idx="21974">
                  <c:v>0.39190297841983202</c:v>
                </c:pt>
                <c:pt idx="21975">
                  <c:v>0.39192081326912698</c:v>
                </c:pt>
                <c:pt idx="21976">
                  <c:v>0.39193864811842299</c:v>
                </c:pt>
                <c:pt idx="21977">
                  <c:v>0.39195648296771801</c:v>
                </c:pt>
                <c:pt idx="21978">
                  <c:v>0.39197431781701397</c:v>
                </c:pt>
                <c:pt idx="21979">
                  <c:v>0.39199215266630999</c:v>
                </c:pt>
                <c:pt idx="21980">
                  <c:v>0.39200998751560501</c:v>
                </c:pt>
                <c:pt idx="21981">
                  <c:v>0.39202782236490102</c:v>
                </c:pt>
                <c:pt idx="21982">
                  <c:v>0.39204565721419599</c:v>
                </c:pt>
                <c:pt idx="21983">
                  <c:v>0.392063492063492</c:v>
                </c:pt>
                <c:pt idx="21984">
                  <c:v>0.39208132691278702</c:v>
                </c:pt>
                <c:pt idx="21985">
                  <c:v>0.39209916176208298</c:v>
                </c:pt>
                <c:pt idx="21986">
                  <c:v>0.392116996611378</c:v>
                </c:pt>
                <c:pt idx="21987">
                  <c:v>0.39213483146067402</c:v>
                </c:pt>
                <c:pt idx="21988">
                  <c:v>0.39215266630996898</c:v>
                </c:pt>
                <c:pt idx="21989">
                  <c:v>0.39217050115926499</c:v>
                </c:pt>
                <c:pt idx="21990">
                  <c:v>0.39218833600856001</c:v>
                </c:pt>
                <c:pt idx="21991">
                  <c:v>0.39220617085785597</c:v>
                </c:pt>
                <c:pt idx="21992">
                  <c:v>0.39222400570715099</c:v>
                </c:pt>
                <c:pt idx="21993">
                  <c:v>0.39224184055644701</c:v>
                </c:pt>
                <c:pt idx="21994">
                  <c:v>0.39225967540574203</c:v>
                </c:pt>
                <c:pt idx="21995">
                  <c:v>0.39227751025503799</c:v>
                </c:pt>
                <c:pt idx="21996">
                  <c:v>0.392295345104333</c:v>
                </c:pt>
                <c:pt idx="21997">
                  <c:v>0.39231317995362902</c:v>
                </c:pt>
                <c:pt idx="21998">
                  <c:v>0.39233101480292398</c:v>
                </c:pt>
                <c:pt idx="21999">
                  <c:v>0.39234884965222</c:v>
                </c:pt>
                <c:pt idx="22000">
                  <c:v>0.39236668450151502</c:v>
                </c:pt>
                <c:pt idx="22001">
                  <c:v>0.39238451935081098</c:v>
                </c:pt>
                <c:pt idx="22002">
                  <c:v>0.392402354200107</c:v>
                </c:pt>
                <c:pt idx="22003">
                  <c:v>0.39242018904940201</c:v>
                </c:pt>
                <c:pt idx="22004">
                  <c:v>0.39243802389869797</c:v>
                </c:pt>
                <c:pt idx="22005">
                  <c:v>0.39245585874799299</c:v>
                </c:pt>
                <c:pt idx="22006">
                  <c:v>0.39247369359728901</c:v>
                </c:pt>
                <c:pt idx="22007">
                  <c:v>0.39249152844658403</c:v>
                </c:pt>
                <c:pt idx="22008">
                  <c:v>0.39250936329587999</c:v>
                </c:pt>
                <c:pt idx="22009">
                  <c:v>0.392527198145175</c:v>
                </c:pt>
                <c:pt idx="22010">
                  <c:v>0.39254503299447102</c:v>
                </c:pt>
                <c:pt idx="22011">
                  <c:v>0.39256286784376598</c:v>
                </c:pt>
                <c:pt idx="22012">
                  <c:v>0.392580702693062</c:v>
                </c:pt>
                <c:pt idx="22013">
                  <c:v>0.39259853754235702</c:v>
                </c:pt>
                <c:pt idx="22014">
                  <c:v>0.39261637239165298</c:v>
                </c:pt>
                <c:pt idx="22015">
                  <c:v>0.392634207240948</c:v>
                </c:pt>
                <c:pt idx="22016">
                  <c:v>0.39265204209024401</c:v>
                </c:pt>
                <c:pt idx="22017">
                  <c:v>0.39266987693953898</c:v>
                </c:pt>
                <c:pt idx="22018">
                  <c:v>0.39268771178883499</c:v>
                </c:pt>
                <c:pt idx="22019">
                  <c:v>0.39270554663813001</c:v>
                </c:pt>
                <c:pt idx="22020">
                  <c:v>0.39272338148742603</c:v>
                </c:pt>
                <c:pt idx="22021">
                  <c:v>0.39274121633672099</c:v>
                </c:pt>
                <c:pt idx="22022">
                  <c:v>0.39275905118601701</c:v>
                </c:pt>
                <c:pt idx="22023">
                  <c:v>0.39277688603531302</c:v>
                </c:pt>
                <c:pt idx="22024">
                  <c:v>0.39279472088460798</c:v>
                </c:pt>
                <c:pt idx="22025">
                  <c:v>0.392812555733904</c:v>
                </c:pt>
                <c:pt idx="22026">
                  <c:v>0.39283039058319902</c:v>
                </c:pt>
                <c:pt idx="22027">
                  <c:v>0.39284822543249498</c:v>
                </c:pt>
                <c:pt idx="22028">
                  <c:v>0.39286606028179</c:v>
                </c:pt>
                <c:pt idx="22029">
                  <c:v>0.39288389513108601</c:v>
                </c:pt>
                <c:pt idx="22030">
                  <c:v>0.39290172998038098</c:v>
                </c:pt>
                <c:pt idx="22031">
                  <c:v>0.39291956482967699</c:v>
                </c:pt>
                <c:pt idx="22032">
                  <c:v>0.39293739967897201</c:v>
                </c:pt>
                <c:pt idx="22033">
                  <c:v>0.39295523452826803</c:v>
                </c:pt>
                <c:pt idx="22034">
                  <c:v>0.39297306937756299</c:v>
                </c:pt>
                <c:pt idx="22035">
                  <c:v>0.39299090422685901</c:v>
                </c:pt>
                <c:pt idx="22036">
                  <c:v>0.39300873907615402</c:v>
                </c:pt>
                <c:pt idx="22037">
                  <c:v>0.39302657392544998</c:v>
                </c:pt>
                <c:pt idx="22038">
                  <c:v>0.393044408774745</c:v>
                </c:pt>
                <c:pt idx="22039">
                  <c:v>0.39306224362404102</c:v>
                </c:pt>
                <c:pt idx="22040">
                  <c:v>0.39308007847333598</c:v>
                </c:pt>
                <c:pt idx="22041">
                  <c:v>0.393097913322632</c:v>
                </c:pt>
                <c:pt idx="22042">
                  <c:v>0.39311574817192702</c:v>
                </c:pt>
                <c:pt idx="22043">
                  <c:v>0.39313358302122298</c:v>
                </c:pt>
                <c:pt idx="22044">
                  <c:v>0.39315141787051899</c:v>
                </c:pt>
                <c:pt idx="22045">
                  <c:v>0.39316925271981401</c:v>
                </c:pt>
                <c:pt idx="22046">
                  <c:v>0.39318708756911003</c:v>
                </c:pt>
                <c:pt idx="22047">
                  <c:v>0.39320492241840499</c:v>
                </c:pt>
                <c:pt idx="22048">
                  <c:v>0.39322275726770101</c:v>
                </c:pt>
                <c:pt idx="22049">
                  <c:v>0.39324059211699602</c:v>
                </c:pt>
                <c:pt idx="22050">
                  <c:v>0.39325842696629199</c:v>
                </c:pt>
                <c:pt idx="22051">
                  <c:v>0.393276261815587</c:v>
                </c:pt>
                <c:pt idx="22052">
                  <c:v>0.39329409666488302</c:v>
                </c:pt>
                <c:pt idx="22053">
                  <c:v>0.39331193151417798</c:v>
                </c:pt>
                <c:pt idx="22054">
                  <c:v>0.393329766363474</c:v>
                </c:pt>
                <c:pt idx="22055">
                  <c:v>0.39334760121276902</c:v>
                </c:pt>
                <c:pt idx="22056">
                  <c:v>0.39336543606206498</c:v>
                </c:pt>
                <c:pt idx="22057">
                  <c:v>0.39338327091135999</c:v>
                </c:pt>
                <c:pt idx="22058">
                  <c:v>0.39340110576065601</c:v>
                </c:pt>
                <c:pt idx="22059">
                  <c:v>0.39341894060995097</c:v>
                </c:pt>
                <c:pt idx="22060">
                  <c:v>0.39343677545924699</c:v>
                </c:pt>
                <c:pt idx="22061">
                  <c:v>0.39345461030854201</c:v>
                </c:pt>
                <c:pt idx="22062">
                  <c:v>0.39347244515783802</c:v>
                </c:pt>
                <c:pt idx="22063">
                  <c:v>0.39349028000713299</c:v>
                </c:pt>
                <c:pt idx="22064">
                  <c:v>0.393508114856429</c:v>
                </c:pt>
                <c:pt idx="22065">
                  <c:v>0.39352594970572402</c:v>
                </c:pt>
                <c:pt idx="22066">
                  <c:v>0.39354378455501998</c:v>
                </c:pt>
                <c:pt idx="22067">
                  <c:v>0.393561619404316</c:v>
                </c:pt>
                <c:pt idx="22068">
                  <c:v>0.39357945425361102</c:v>
                </c:pt>
                <c:pt idx="22069">
                  <c:v>0.39359728910290698</c:v>
                </c:pt>
                <c:pt idx="22070">
                  <c:v>0.393615123952202</c:v>
                </c:pt>
                <c:pt idx="22071">
                  <c:v>0.39363295880149801</c:v>
                </c:pt>
                <c:pt idx="22072">
                  <c:v>0.39365079365079297</c:v>
                </c:pt>
                <c:pt idx="22073">
                  <c:v>0.39366862850008899</c:v>
                </c:pt>
                <c:pt idx="22074">
                  <c:v>0.39368646334938401</c:v>
                </c:pt>
                <c:pt idx="22075">
                  <c:v>0.39370429819868002</c:v>
                </c:pt>
                <c:pt idx="22076">
                  <c:v>0.39372213304797499</c:v>
                </c:pt>
                <c:pt idx="22077">
                  <c:v>0.393739967897271</c:v>
                </c:pt>
                <c:pt idx="22078">
                  <c:v>0.39375780274656602</c:v>
                </c:pt>
                <c:pt idx="22079">
                  <c:v>0.39377563759586198</c:v>
                </c:pt>
                <c:pt idx="22080">
                  <c:v>0.393793472445157</c:v>
                </c:pt>
                <c:pt idx="22081">
                  <c:v>0.39381130729445302</c:v>
                </c:pt>
                <c:pt idx="22082">
                  <c:v>0.39382914214374798</c:v>
                </c:pt>
                <c:pt idx="22083">
                  <c:v>0.393846976993044</c:v>
                </c:pt>
                <c:pt idx="22084">
                  <c:v>0.39386481184233901</c:v>
                </c:pt>
                <c:pt idx="22085">
                  <c:v>0.39388264669163497</c:v>
                </c:pt>
                <c:pt idx="22086">
                  <c:v>0.39390048154093099</c:v>
                </c:pt>
                <c:pt idx="22087">
                  <c:v>0.39391831639022601</c:v>
                </c:pt>
                <c:pt idx="22088">
                  <c:v>0.39393615123952203</c:v>
                </c:pt>
                <c:pt idx="22089">
                  <c:v>0.39395398608881699</c:v>
                </c:pt>
                <c:pt idx="22090">
                  <c:v>0.393971820938113</c:v>
                </c:pt>
                <c:pt idx="22091">
                  <c:v>0.39398965578740802</c:v>
                </c:pt>
                <c:pt idx="22092">
                  <c:v>0.39400749063670398</c:v>
                </c:pt>
                <c:pt idx="22093">
                  <c:v>0.394025325485999</c:v>
                </c:pt>
                <c:pt idx="22094">
                  <c:v>0.39404316033529502</c:v>
                </c:pt>
                <c:pt idx="22095">
                  <c:v>0.39406099518458998</c:v>
                </c:pt>
                <c:pt idx="22096">
                  <c:v>0.394078830033886</c:v>
                </c:pt>
                <c:pt idx="22097">
                  <c:v>0.39409666488318101</c:v>
                </c:pt>
                <c:pt idx="22098">
                  <c:v>0.39411449973247697</c:v>
                </c:pt>
                <c:pt idx="22099">
                  <c:v>0.39413233458177199</c:v>
                </c:pt>
                <c:pt idx="22100">
                  <c:v>0.39415016943106801</c:v>
                </c:pt>
                <c:pt idx="22101">
                  <c:v>0.39416800428036303</c:v>
                </c:pt>
                <c:pt idx="22102">
                  <c:v>0.39418583912965899</c:v>
                </c:pt>
                <c:pt idx="22103">
                  <c:v>0.39420367397895401</c:v>
                </c:pt>
                <c:pt idx="22104">
                  <c:v>0.39422150882825002</c:v>
                </c:pt>
                <c:pt idx="22105">
                  <c:v>0.39423934367754498</c:v>
                </c:pt>
                <c:pt idx="22106">
                  <c:v>0.394257178526841</c:v>
                </c:pt>
                <c:pt idx="22107">
                  <c:v>0.39427501337613602</c:v>
                </c:pt>
                <c:pt idx="22108">
                  <c:v>0.39429284822543198</c:v>
                </c:pt>
                <c:pt idx="22109">
                  <c:v>0.394310683074728</c:v>
                </c:pt>
                <c:pt idx="22110">
                  <c:v>0.39432851792402301</c:v>
                </c:pt>
                <c:pt idx="22111">
                  <c:v>0.39434635277331898</c:v>
                </c:pt>
                <c:pt idx="22112">
                  <c:v>0.39436418762261399</c:v>
                </c:pt>
                <c:pt idx="22113">
                  <c:v>0.39438202247191001</c:v>
                </c:pt>
                <c:pt idx="22114">
                  <c:v>0.39439985732120503</c:v>
                </c:pt>
                <c:pt idx="22115">
                  <c:v>0.39441769217050099</c:v>
                </c:pt>
                <c:pt idx="22116">
                  <c:v>0.39443552701979601</c:v>
                </c:pt>
                <c:pt idx="22117">
                  <c:v>0.39445336186909202</c:v>
                </c:pt>
                <c:pt idx="22118">
                  <c:v>0.39447119671838698</c:v>
                </c:pt>
                <c:pt idx="22119">
                  <c:v>0.394489031567683</c:v>
                </c:pt>
                <c:pt idx="22120">
                  <c:v>0.39450686641697802</c:v>
                </c:pt>
                <c:pt idx="22121">
                  <c:v>0.39452470126627398</c:v>
                </c:pt>
                <c:pt idx="22122">
                  <c:v>0.394542536115569</c:v>
                </c:pt>
                <c:pt idx="22123">
                  <c:v>0.39456037096486501</c:v>
                </c:pt>
                <c:pt idx="22124">
                  <c:v>0.39457820581415998</c:v>
                </c:pt>
                <c:pt idx="22125">
                  <c:v>0.39459604066345599</c:v>
                </c:pt>
                <c:pt idx="22126">
                  <c:v>0.39461387551275101</c:v>
                </c:pt>
                <c:pt idx="22127">
                  <c:v>0.39463171036204697</c:v>
                </c:pt>
                <c:pt idx="22128">
                  <c:v>0.39464954521134299</c:v>
                </c:pt>
                <c:pt idx="22129">
                  <c:v>0.39466738006063801</c:v>
                </c:pt>
                <c:pt idx="22130">
                  <c:v>0.39468521490993402</c:v>
                </c:pt>
                <c:pt idx="22131">
                  <c:v>0.39470304975922899</c:v>
                </c:pt>
                <c:pt idx="22132">
                  <c:v>0.394720884608525</c:v>
                </c:pt>
                <c:pt idx="22133">
                  <c:v>0.39473871945782002</c:v>
                </c:pt>
                <c:pt idx="22134">
                  <c:v>0.39475655430711598</c:v>
                </c:pt>
                <c:pt idx="22135">
                  <c:v>0.394774389156411</c:v>
                </c:pt>
                <c:pt idx="22136">
                  <c:v>0.39479222400570702</c:v>
                </c:pt>
                <c:pt idx="22137">
                  <c:v>0.39481005885500198</c:v>
                </c:pt>
                <c:pt idx="22138">
                  <c:v>0.39482789370429799</c:v>
                </c:pt>
                <c:pt idx="22139">
                  <c:v>0.39484572855359301</c:v>
                </c:pt>
                <c:pt idx="22140">
                  <c:v>0.39486356340288897</c:v>
                </c:pt>
                <c:pt idx="22141">
                  <c:v>0.39488139825218399</c:v>
                </c:pt>
                <c:pt idx="22142">
                  <c:v>0.39489923310148001</c:v>
                </c:pt>
                <c:pt idx="22143">
                  <c:v>0.39491706795077502</c:v>
                </c:pt>
                <c:pt idx="22144">
                  <c:v>0.39493490280007099</c:v>
                </c:pt>
                <c:pt idx="22145">
                  <c:v>0.394952737649366</c:v>
                </c:pt>
                <c:pt idx="22146">
                  <c:v>0.39497057249866202</c:v>
                </c:pt>
                <c:pt idx="22147">
                  <c:v>0.39498840734795698</c:v>
                </c:pt>
                <c:pt idx="22148">
                  <c:v>0.395006242197253</c:v>
                </c:pt>
                <c:pt idx="22149">
                  <c:v>0.39502407704654802</c:v>
                </c:pt>
                <c:pt idx="22150">
                  <c:v>0.39504191189584398</c:v>
                </c:pt>
                <c:pt idx="22151">
                  <c:v>0.39505974674513999</c:v>
                </c:pt>
                <c:pt idx="22152">
                  <c:v>0.39507758159443501</c:v>
                </c:pt>
                <c:pt idx="22153">
                  <c:v>0.39509541644373097</c:v>
                </c:pt>
                <c:pt idx="22154">
                  <c:v>0.39511325129302599</c:v>
                </c:pt>
                <c:pt idx="22155">
                  <c:v>0.39513108614232201</c:v>
                </c:pt>
                <c:pt idx="22156">
                  <c:v>0.39514892099161703</c:v>
                </c:pt>
                <c:pt idx="22157">
                  <c:v>0.39516675584091299</c:v>
                </c:pt>
                <c:pt idx="22158">
                  <c:v>0.395184590690208</c:v>
                </c:pt>
                <c:pt idx="22159">
                  <c:v>0.39520242553950402</c:v>
                </c:pt>
                <c:pt idx="22160">
                  <c:v>0.39522026038879898</c:v>
                </c:pt>
                <c:pt idx="22161">
                  <c:v>0.395238095238095</c:v>
                </c:pt>
                <c:pt idx="22162">
                  <c:v>0.39525593008739002</c:v>
                </c:pt>
                <c:pt idx="22163">
                  <c:v>0.39527376493668598</c:v>
                </c:pt>
                <c:pt idx="22164">
                  <c:v>0.395291599785981</c:v>
                </c:pt>
                <c:pt idx="22165">
                  <c:v>0.39530943463527701</c:v>
                </c:pt>
                <c:pt idx="22166">
                  <c:v>0.39532726948457197</c:v>
                </c:pt>
                <c:pt idx="22167">
                  <c:v>0.39534510433386799</c:v>
                </c:pt>
                <c:pt idx="22168">
                  <c:v>0.39536293918316301</c:v>
                </c:pt>
                <c:pt idx="22169">
                  <c:v>0.39538077403245903</c:v>
                </c:pt>
                <c:pt idx="22170">
                  <c:v>0.39539860888175399</c:v>
                </c:pt>
                <c:pt idx="22171">
                  <c:v>0.39541644373105</c:v>
                </c:pt>
                <c:pt idx="22172">
                  <c:v>0.39543427858034602</c:v>
                </c:pt>
                <c:pt idx="22173">
                  <c:v>0.39545211342964098</c:v>
                </c:pt>
                <c:pt idx="22174">
                  <c:v>0.395469948278937</c:v>
                </c:pt>
                <c:pt idx="22175">
                  <c:v>0.39548778312823202</c:v>
                </c:pt>
                <c:pt idx="22176">
                  <c:v>0.39550561797752798</c:v>
                </c:pt>
                <c:pt idx="22177">
                  <c:v>0.395523452826823</c:v>
                </c:pt>
                <c:pt idx="22178">
                  <c:v>0.39554128767611901</c:v>
                </c:pt>
                <c:pt idx="22179">
                  <c:v>0.39555912252541398</c:v>
                </c:pt>
                <c:pt idx="22180">
                  <c:v>0.39557695737470999</c:v>
                </c:pt>
                <c:pt idx="22181">
                  <c:v>0.39559479222400501</c:v>
                </c:pt>
                <c:pt idx="22182">
                  <c:v>0.39561262707330103</c:v>
                </c:pt>
                <c:pt idx="22183">
                  <c:v>0.39563046192259599</c:v>
                </c:pt>
                <c:pt idx="22184">
                  <c:v>0.39564829677189201</c:v>
                </c:pt>
                <c:pt idx="22185">
                  <c:v>0.39566613162118702</c:v>
                </c:pt>
                <c:pt idx="22186">
                  <c:v>0.39568396647048298</c:v>
                </c:pt>
                <c:pt idx="22187">
                  <c:v>0.395701801319778</c:v>
                </c:pt>
                <c:pt idx="22188">
                  <c:v>0.39571963616907402</c:v>
                </c:pt>
                <c:pt idx="22189">
                  <c:v>0.39573747101836898</c:v>
                </c:pt>
                <c:pt idx="22190">
                  <c:v>0.395755305867665</c:v>
                </c:pt>
                <c:pt idx="22191">
                  <c:v>0.39577314071696001</c:v>
                </c:pt>
                <c:pt idx="22192">
                  <c:v>0.39579097556625598</c:v>
                </c:pt>
                <c:pt idx="22193">
                  <c:v>0.39580881041555199</c:v>
                </c:pt>
                <c:pt idx="22194">
                  <c:v>0.39582664526484701</c:v>
                </c:pt>
                <c:pt idx="22195">
                  <c:v>0.39584448011414303</c:v>
                </c:pt>
                <c:pt idx="22196">
                  <c:v>0.39586231496343799</c:v>
                </c:pt>
                <c:pt idx="22197">
                  <c:v>0.39588014981273401</c:v>
                </c:pt>
                <c:pt idx="22198">
                  <c:v>0.39589798466202902</c:v>
                </c:pt>
                <c:pt idx="22199">
                  <c:v>0.39591581951132498</c:v>
                </c:pt>
                <c:pt idx="22200">
                  <c:v>0.39593365436062</c:v>
                </c:pt>
                <c:pt idx="22201">
                  <c:v>0.39595148920991602</c:v>
                </c:pt>
                <c:pt idx="22202">
                  <c:v>0.39596932405921098</c:v>
                </c:pt>
                <c:pt idx="22203">
                  <c:v>0.395987158908507</c:v>
                </c:pt>
                <c:pt idx="22204">
                  <c:v>0.39600499375780202</c:v>
                </c:pt>
                <c:pt idx="22205">
                  <c:v>0.39602282860709798</c:v>
                </c:pt>
                <c:pt idx="22206">
                  <c:v>0.39604066345639299</c:v>
                </c:pt>
                <c:pt idx="22207">
                  <c:v>0.39605849830568901</c:v>
                </c:pt>
                <c:pt idx="22208">
                  <c:v>0.39607633315498397</c:v>
                </c:pt>
                <c:pt idx="22209">
                  <c:v>0.39609416800427999</c:v>
                </c:pt>
                <c:pt idx="22210">
                  <c:v>0.39611200285357501</c:v>
                </c:pt>
                <c:pt idx="22211">
                  <c:v>0.39612983770287102</c:v>
                </c:pt>
                <c:pt idx="22212">
                  <c:v>0.39614767255216599</c:v>
                </c:pt>
                <c:pt idx="22213">
                  <c:v>0.396165507401462</c:v>
                </c:pt>
                <c:pt idx="22214">
                  <c:v>0.39618334225075702</c:v>
                </c:pt>
                <c:pt idx="22215">
                  <c:v>0.39620117710005298</c:v>
                </c:pt>
                <c:pt idx="22216">
                  <c:v>0.396219011949349</c:v>
                </c:pt>
                <c:pt idx="22217">
                  <c:v>0.39623684679864402</c:v>
                </c:pt>
                <c:pt idx="22218">
                  <c:v>0.39625468164793998</c:v>
                </c:pt>
                <c:pt idx="22219">
                  <c:v>0.39627251649723499</c:v>
                </c:pt>
                <c:pt idx="22220">
                  <c:v>0.39629035134653101</c:v>
                </c:pt>
                <c:pt idx="22221">
                  <c:v>0.39630818619582597</c:v>
                </c:pt>
                <c:pt idx="22222">
                  <c:v>0.39632602104512199</c:v>
                </c:pt>
                <c:pt idx="22223">
                  <c:v>0.39634385589441701</c:v>
                </c:pt>
                <c:pt idx="22224">
                  <c:v>0.39636169074371302</c:v>
                </c:pt>
                <c:pt idx="22225">
                  <c:v>0.39637952559300799</c:v>
                </c:pt>
                <c:pt idx="22226">
                  <c:v>0.396397360442304</c:v>
                </c:pt>
                <c:pt idx="22227">
                  <c:v>0.39641519529159902</c:v>
                </c:pt>
                <c:pt idx="22228">
                  <c:v>0.39643303014089498</c:v>
                </c:pt>
                <c:pt idx="22229">
                  <c:v>0.39645086499019</c:v>
                </c:pt>
                <c:pt idx="22230">
                  <c:v>0.39646869983948602</c:v>
                </c:pt>
                <c:pt idx="22231">
                  <c:v>0.39648653468878098</c:v>
                </c:pt>
                <c:pt idx="22232">
                  <c:v>0.396504369538077</c:v>
                </c:pt>
                <c:pt idx="22233">
                  <c:v>0.39652220438737201</c:v>
                </c:pt>
                <c:pt idx="22234">
                  <c:v>0.39654003923666797</c:v>
                </c:pt>
                <c:pt idx="22235">
                  <c:v>0.39655787408596399</c:v>
                </c:pt>
                <c:pt idx="22236">
                  <c:v>0.39657570893525901</c:v>
                </c:pt>
                <c:pt idx="22237">
                  <c:v>0.39659354378455502</c:v>
                </c:pt>
                <c:pt idx="22238">
                  <c:v>0.39661137863384999</c:v>
                </c:pt>
                <c:pt idx="22239">
                  <c:v>0.396629213483146</c:v>
                </c:pt>
                <c:pt idx="22240">
                  <c:v>0.39664704833244102</c:v>
                </c:pt>
                <c:pt idx="22241">
                  <c:v>0.39666488318173698</c:v>
                </c:pt>
                <c:pt idx="22242">
                  <c:v>0.396682718031032</c:v>
                </c:pt>
                <c:pt idx="22243">
                  <c:v>0.39670055288032802</c:v>
                </c:pt>
                <c:pt idx="22244">
                  <c:v>0.39671838772962298</c:v>
                </c:pt>
                <c:pt idx="22245">
                  <c:v>0.396736222578919</c:v>
                </c:pt>
                <c:pt idx="22246">
                  <c:v>0.39675405742821401</c:v>
                </c:pt>
                <c:pt idx="22247">
                  <c:v>0.39677189227750997</c:v>
                </c:pt>
                <c:pt idx="22248">
                  <c:v>0.39678972712680499</c:v>
                </c:pt>
                <c:pt idx="22249">
                  <c:v>0.39680756197610101</c:v>
                </c:pt>
                <c:pt idx="22250">
                  <c:v>0.39682539682539603</c:v>
                </c:pt>
                <c:pt idx="22251">
                  <c:v>0.39684323167469199</c:v>
                </c:pt>
                <c:pt idx="22252">
                  <c:v>0.39686106652398701</c:v>
                </c:pt>
                <c:pt idx="22253">
                  <c:v>0.39687890137328302</c:v>
                </c:pt>
                <c:pt idx="22254">
                  <c:v>0.39689673622257798</c:v>
                </c:pt>
                <c:pt idx="22255">
                  <c:v>0.396914571071874</c:v>
                </c:pt>
                <c:pt idx="22256">
                  <c:v>0.39693240592116902</c:v>
                </c:pt>
                <c:pt idx="22257">
                  <c:v>0.39695024077046498</c:v>
                </c:pt>
                <c:pt idx="22258">
                  <c:v>0.396968075619761</c:v>
                </c:pt>
                <c:pt idx="22259">
                  <c:v>0.39698591046905601</c:v>
                </c:pt>
                <c:pt idx="22260">
                  <c:v>0.39700374531835197</c:v>
                </c:pt>
                <c:pt idx="22261">
                  <c:v>0.39702158016764699</c:v>
                </c:pt>
                <c:pt idx="22262">
                  <c:v>0.39703941501694301</c:v>
                </c:pt>
                <c:pt idx="22263">
                  <c:v>0.39705724986623803</c:v>
                </c:pt>
                <c:pt idx="22264">
                  <c:v>0.39707508471553399</c:v>
                </c:pt>
                <c:pt idx="22265">
                  <c:v>0.39709291956482901</c:v>
                </c:pt>
                <c:pt idx="22266">
                  <c:v>0.39711075441412502</c:v>
                </c:pt>
                <c:pt idx="22267">
                  <c:v>0.39712858926341998</c:v>
                </c:pt>
                <c:pt idx="22268">
                  <c:v>0.397146424112716</c:v>
                </c:pt>
                <c:pt idx="22269">
                  <c:v>0.39716425896201102</c:v>
                </c:pt>
                <c:pt idx="22270">
                  <c:v>0.39718209381130698</c:v>
                </c:pt>
                <c:pt idx="22271">
                  <c:v>0.397199928660602</c:v>
                </c:pt>
                <c:pt idx="22272">
                  <c:v>0.39721776350989801</c:v>
                </c:pt>
                <c:pt idx="22273">
                  <c:v>0.39723559835919298</c:v>
                </c:pt>
                <c:pt idx="22274">
                  <c:v>0.39725343320848899</c:v>
                </c:pt>
                <c:pt idx="22275">
                  <c:v>0.39727126805778401</c:v>
                </c:pt>
                <c:pt idx="22276">
                  <c:v>0.39728910290708003</c:v>
                </c:pt>
                <c:pt idx="22277">
                  <c:v>0.39730693775637499</c:v>
                </c:pt>
                <c:pt idx="22278">
                  <c:v>0.39732477260567101</c:v>
                </c:pt>
                <c:pt idx="22279">
                  <c:v>0.39734260745496702</c:v>
                </c:pt>
                <c:pt idx="22280">
                  <c:v>0.39736044230426198</c:v>
                </c:pt>
                <c:pt idx="22281">
                  <c:v>0.397378277153558</c:v>
                </c:pt>
                <c:pt idx="22282">
                  <c:v>0.39739611200285302</c:v>
                </c:pt>
                <c:pt idx="22283">
                  <c:v>0.39741394685214898</c:v>
                </c:pt>
                <c:pt idx="22284">
                  <c:v>0.397431781701444</c:v>
                </c:pt>
                <c:pt idx="22285">
                  <c:v>0.39744961655074001</c:v>
                </c:pt>
                <c:pt idx="22286">
                  <c:v>0.39746745140003498</c:v>
                </c:pt>
                <c:pt idx="22287">
                  <c:v>0.39748528624933099</c:v>
                </c:pt>
                <c:pt idx="22288">
                  <c:v>0.39750312109862601</c:v>
                </c:pt>
                <c:pt idx="22289">
                  <c:v>0.39752095594792197</c:v>
                </c:pt>
                <c:pt idx="22290">
                  <c:v>0.39753879079721699</c:v>
                </c:pt>
                <c:pt idx="22291">
                  <c:v>0.39755662564651301</c:v>
                </c:pt>
                <c:pt idx="22292">
                  <c:v>0.39757446049580802</c:v>
                </c:pt>
                <c:pt idx="22293">
                  <c:v>0.39759229534510399</c:v>
                </c:pt>
                <c:pt idx="22294">
                  <c:v>0.397610130194399</c:v>
                </c:pt>
                <c:pt idx="22295">
                  <c:v>0.39762796504369502</c:v>
                </c:pt>
                <c:pt idx="22296">
                  <c:v>0.39764579989298998</c:v>
                </c:pt>
                <c:pt idx="22297">
                  <c:v>0.397663634742286</c:v>
                </c:pt>
                <c:pt idx="22298">
                  <c:v>0.39768146959158102</c:v>
                </c:pt>
                <c:pt idx="22299">
                  <c:v>0.39769930444087698</c:v>
                </c:pt>
                <c:pt idx="22300">
                  <c:v>0.39771713929017299</c:v>
                </c:pt>
                <c:pt idx="22301">
                  <c:v>0.39773497413946801</c:v>
                </c:pt>
                <c:pt idx="22302">
                  <c:v>0.39775280898876397</c:v>
                </c:pt>
                <c:pt idx="22303">
                  <c:v>0.39777064383805899</c:v>
                </c:pt>
                <c:pt idx="22304">
                  <c:v>0.39778847868735501</c:v>
                </c:pt>
                <c:pt idx="22305">
                  <c:v>0.39780631353665002</c:v>
                </c:pt>
                <c:pt idx="22306">
                  <c:v>0.39782414838594599</c:v>
                </c:pt>
                <c:pt idx="22307">
                  <c:v>0.397841983235241</c:v>
                </c:pt>
                <c:pt idx="22308">
                  <c:v>0.39785981808453702</c:v>
                </c:pt>
                <c:pt idx="22309">
                  <c:v>0.39787765293383198</c:v>
                </c:pt>
                <c:pt idx="22310">
                  <c:v>0.397895487783128</c:v>
                </c:pt>
                <c:pt idx="22311">
                  <c:v>0.39791332263242302</c:v>
                </c:pt>
                <c:pt idx="22312">
                  <c:v>0.39793115748171898</c:v>
                </c:pt>
                <c:pt idx="22313">
                  <c:v>0.397948992331014</c:v>
                </c:pt>
                <c:pt idx="22314">
                  <c:v>0.39796682718031001</c:v>
                </c:pt>
                <c:pt idx="22315">
                  <c:v>0.39798466202960497</c:v>
                </c:pt>
                <c:pt idx="22316">
                  <c:v>0.39800249687890099</c:v>
                </c:pt>
                <c:pt idx="22317">
                  <c:v>0.39802033172819601</c:v>
                </c:pt>
                <c:pt idx="22318">
                  <c:v>0.39803816657749203</c:v>
                </c:pt>
                <c:pt idx="22319">
                  <c:v>0.39805600142678699</c:v>
                </c:pt>
                <c:pt idx="22320">
                  <c:v>0.398073836276083</c:v>
                </c:pt>
                <c:pt idx="22321">
                  <c:v>0.39809167112537802</c:v>
                </c:pt>
                <c:pt idx="22322">
                  <c:v>0.39810950597467398</c:v>
                </c:pt>
                <c:pt idx="22323">
                  <c:v>0.39812734082397</c:v>
                </c:pt>
                <c:pt idx="22324">
                  <c:v>0.39814517567326502</c:v>
                </c:pt>
                <c:pt idx="22325">
                  <c:v>0.39816301052256098</c:v>
                </c:pt>
                <c:pt idx="22326">
                  <c:v>0.398180845371856</c:v>
                </c:pt>
                <c:pt idx="22327">
                  <c:v>0.39819868022115201</c:v>
                </c:pt>
                <c:pt idx="22328">
                  <c:v>0.39821651507044697</c:v>
                </c:pt>
                <c:pt idx="22329">
                  <c:v>0.39823434991974299</c:v>
                </c:pt>
                <c:pt idx="22330">
                  <c:v>0.39825218476903801</c:v>
                </c:pt>
                <c:pt idx="22331">
                  <c:v>0.39827001961833403</c:v>
                </c:pt>
                <c:pt idx="22332">
                  <c:v>0.39828785446762899</c:v>
                </c:pt>
                <c:pt idx="22333">
                  <c:v>0.398305689316925</c:v>
                </c:pt>
                <c:pt idx="22334">
                  <c:v>0.39832352416622002</c:v>
                </c:pt>
                <c:pt idx="22335">
                  <c:v>0.39834135901551598</c:v>
                </c:pt>
                <c:pt idx="22336">
                  <c:v>0.398359193864811</c:v>
                </c:pt>
                <c:pt idx="22337">
                  <c:v>0.39837702871410702</c:v>
                </c:pt>
                <c:pt idx="22338">
                  <c:v>0.39839486356340198</c:v>
                </c:pt>
                <c:pt idx="22339">
                  <c:v>0.398412698412698</c:v>
                </c:pt>
                <c:pt idx="22340">
                  <c:v>0.39843053326199301</c:v>
                </c:pt>
                <c:pt idx="22341">
                  <c:v>0.39844836811128898</c:v>
                </c:pt>
                <c:pt idx="22342">
                  <c:v>0.39846620296058499</c:v>
                </c:pt>
                <c:pt idx="22343">
                  <c:v>0.39848403780988001</c:v>
                </c:pt>
                <c:pt idx="22344">
                  <c:v>0.39850187265917603</c:v>
                </c:pt>
                <c:pt idx="22345">
                  <c:v>0.39851970750847099</c:v>
                </c:pt>
                <c:pt idx="22346">
                  <c:v>0.39853754235776701</c:v>
                </c:pt>
                <c:pt idx="22347">
                  <c:v>0.39855537720706202</c:v>
                </c:pt>
                <c:pt idx="22348">
                  <c:v>0.39857321205635798</c:v>
                </c:pt>
                <c:pt idx="22349">
                  <c:v>0.398591046905653</c:v>
                </c:pt>
                <c:pt idx="22350">
                  <c:v>0.39860888175494902</c:v>
                </c:pt>
                <c:pt idx="22351">
                  <c:v>0.39862671660424398</c:v>
                </c:pt>
                <c:pt idx="22352">
                  <c:v>0.39864455145354</c:v>
                </c:pt>
                <c:pt idx="22353">
                  <c:v>0.39866238630283501</c:v>
                </c:pt>
                <c:pt idx="22354">
                  <c:v>0.39868022115213098</c:v>
                </c:pt>
                <c:pt idx="22355">
                  <c:v>0.39869805600142599</c:v>
                </c:pt>
                <c:pt idx="22356">
                  <c:v>0.39871589085072201</c:v>
                </c:pt>
                <c:pt idx="22357">
                  <c:v>0.39873372570001703</c:v>
                </c:pt>
                <c:pt idx="22358">
                  <c:v>0.39875156054931299</c:v>
                </c:pt>
                <c:pt idx="22359">
                  <c:v>0.39876939539860801</c:v>
                </c:pt>
                <c:pt idx="22360">
                  <c:v>0.39878723024790402</c:v>
                </c:pt>
                <c:pt idx="22361">
                  <c:v>0.39880506509719899</c:v>
                </c:pt>
                <c:pt idx="22362">
                  <c:v>0.398822899946495</c:v>
                </c:pt>
                <c:pt idx="22363">
                  <c:v>0.39884073479579002</c:v>
                </c:pt>
                <c:pt idx="22364">
                  <c:v>0.39885856964508598</c:v>
                </c:pt>
                <c:pt idx="22365">
                  <c:v>0.398876404494382</c:v>
                </c:pt>
                <c:pt idx="22366">
                  <c:v>0.39889423934367702</c:v>
                </c:pt>
                <c:pt idx="22367">
                  <c:v>0.39891207419297298</c:v>
                </c:pt>
                <c:pt idx="22368">
                  <c:v>0.39892990904226799</c:v>
                </c:pt>
                <c:pt idx="22369">
                  <c:v>0.39894774389156401</c:v>
                </c:pt>
                <c:pt idx="22370">
                  <c:v>0.39896557874085897</c:v>
                </c:pt>
                <c:pt idx="22371">
                  <c:v>0.39898341359015499</c:v>
                </c:pt>
                <c:pt idx="22372">
                  <c:v>0.39900124843945001</c:v>
                </c:pt>
                <c:pt idx="22373">
                  <c:v>0.39901908328874602</c:v>
                </c:pt>
                <c:pt idx="22374">
                  <c:v>0.39903691813804099</c:v>
                </c:pt>
                <c:pt idx="22375">
                  <c:v>0.399054752987337</c:v>
                </c:pt>
                <c:pt idx="22376">
                  <c:v>0.39907258783663202</c:v>
                </c:pt>
                <c:pt idx="22377">
                  <c:v>0.39909042268592798</c:v>
                </c:pt>
                <c:pt idx="22378">
                  <c:v>0.399108257535223</c:v>
                </c:pt>
                <c:pt idx="22379">
                  <c:v>0.39912609238451902</c:v>
                </c:pt>
                <c:pt idx="22380">
                  <c:v>0.39914392723381398</c:v>
                </c:pt>
                <c:pt idx="22381">
                  <c:v>0.39916176208310999</c:v>
                </c:pt>
                <c:pt idx="22382">
                  <c:v>0.39917959693240501</c:v>
                </c:pt>
                <c:pt idx="22383">
                  <c:v>0.39919743178170097</c:v>
                </c:pt>
                <c:pt idx="22384">
                  <c:v>0.39921526663099699</c:v>
                </c:pt>
                <c:pt idx="22385">
                  <c:v>0.39923310148029201</c:v>
                </c:pt>
                <c:pt idx="22386">
                  <c:v>0.39925093632958802</c:v>
                </c:pt>
                <c:pt idx="22387">
                  <c:v>0.39926877117888299</c:v>
                </c:pt>
                <c:pt idx="22388">
                  <c:v>0.399286606028179</c:v>
                </c:pt>
                <c:pt idx="22389">
                  <c:v>0.39930444087747402</c:v>
                </c:pt>
                <c:pt idx="22390">
                  <c:v>0.39932227572676998</c:v>
                </c:pt>
                <c:pt idx="22391">
                  <c:v>0.399340110576065</c:v>
                </c:pt>
                <c:pt idx="22392">
                  <c:v>0.39935794542536102</c:v>
                </c:pt>
                <c:pt idx="22393">
                  <c:v>0.39937578027465598</c:v>
                </c:pt>
                <c:pt idx="22394">
                  <c:v>0.39939361512395199</c:v>
                </c:pt>
                <c:pt idx="22395">
                  <c:v>0.39941144997324701</c:v>
                </c:pt>
                <c:pt idx="22396">
                  <c:v>0.39942928482254297</c:v>
                </c:pt>
                <c:pt idx="22397">
                  <c:v>0.39944711967183799</c:v>
                </c:pt>
                <c:pt idx="22398">
                  <c:v>0.39946495452113401</c:v>
                </c:pt>
                <c:pt idx="22399">
                  <c:v>0.39948278937042903</c:v>
                </c:pt>
                <c:pt idx="22400">
                  <c:v>0.39950062421972499</c:v>
                </c:pt>
                <c:pt idx="22401">
                  <c:v>0.39951845906902</c:v>
                </c:pt>
                <c:pt idx="22402">
                  <c:v>0.39953629391831602</c:v>
                </c:pt>
                <c:pt idx="22403">
                  <c:v>0.39955412876761098</c:v>
                </c:pt>
                <c:pt idx="22404">
                  <c:v>0.399571963616907</c:v>
                </c:pt>
                <c:pt idx="22405">
                  <c:v>0.39958979846620202</c:v>
                </c:pt>
                <c:pt idx="22406">
                  <c:v>0.39960763331549798</c:v>
                </c:pt>
                <c:pt idx="22407">
                  <c:v>0.399625468164794</c:v>
                </c:pt>
                <c:pt idx="22408">
                  <c:v>0.39964330301408901</c:v>
                </c:pt>
                <c:pt idx="22409">
                  <c:v>0.39966113786338497</c:v>
                </c:pt>
                <c:pt idx="22410">
                  <c:v>0.39967897271267999</c:v>
                </c:pt>
                <c:pt idx="22411">
                  <c:v>0.39969680756197601</c:v>
                </c:pt>
                <c:pt idx="22412">
                  <c:v>0.39971464241127103</c:v>
                </c:pt>
                <c:pt idx="22413">
                  <c:v>0.39973247726056699</c:v>
                </c:pt>
                <c:pt idx="22414">
                  <c:v>0.399750312109862</c:v>
                </c:pt>
                <c:pt idx="22415">
                  <c:v>0.39976814695915802</c:v>
                </c:pt>
                <c:pt idx="22416">
                  <c:v>0.39978598180845298</c:v>
                </c:pt>
                <c:pt idx="22417">
                  <c:v>0.399803816657749</c:v>
                </c:pt>
                <c:pt idx="22418">
                  <c:v>0.39982165150704402</c:v>
                </c:pt>
                <c:pt idx="22419">
                  <c:v>0.39983948635633998</c:v>
                </c:pt>
                <c:pt idx="22420">
                  <c:v>0.399857321205635</c:v>
                </c:pt>
                <c:pt idx="22421">
                  <c:v>0.39987515605493101</c:v>
                </c:pt>
                <c:pt idx="22422">
                  <c:v>0.39989299090422598</c:v>
                </c:pt>
                <c:pt idx="22423">
                  <c:v>0.39991082575352199</c:v>
                </c:pt>
                <c:pt idx="22424">
                  <c:v>0.39992866060281701</c:v>
                </c:pt>
                <c:pt idx="22425">
                  <c:v>0.39994649545211303</c:v>
                </c:pt>
                <c:pt idx="22426">
                  <c:v>0.39996433030140799</c:v>
                </c:pt>
                <c:pt idx="22427">
                  <c:v>0.39998216515070401</c:v>
                </c:pt>
                <c:pt idx="22428">
                  <c:v>0.4</c:v>
                </c:pt>
                <c:pt idx="22429">
                  <c:v>0.40001783484929498</c:v>
                </c:pt>
                <c:pt idx="22430">
                  <c:v>0.400035669698591</c:v>
                </c:pt>
                <c:pt idx="22431">
                  <c:v>0.40005350454788602</c:v>
                </c:pt>
                <c:pt idx="22432">
                  <c:v>0.40007133939718198</c:v>
                </c:pt>
                <c:pt idx="22433">
                  <c:v>0.400089174246477</c:v>
                </c:pt>
                <c:pt idx="22434">
                  <c:v>0.40010700909577301</c:v>
                </c:pt>
                <c:pt idx="22435">
                  <c:v>0.40012484394506798</c:v>
                </c:pt>
                <c:pt idx="22436">
                  <c:v>0.40014267879436399</c:v>
                </c:pt>
                <c:pt idx="22437">
                  <c:v>0.40016051364365901</c:v>
                </c:pt>
                <c:pt idx="22438">
                  <c:v>0.40017834849295503</c:v>
                </c:pt>
                <c:pt idx="22439">
                  <c:v>0.40019618334224999</c:v>
                </c:pt>
                <c:pt idx="22440">
                  <c:v>0.40021401819154601</c:v>
                </c:pt>
                <c:pt idx="22441">
                  <c:v>0.40023185304084102</c:v>
                </c:pt>
                <c:pt idx="22442">
                  <c:v>0.40024968789013698</c:v>
                </c:pt>
                <c:pt idx="22443">
                  <c:v>0.400267522739432</c:v>
                </c:pt>
                <c:pt idx="22444">
                  <c:v>0.40028535758872802</c:v>
                </c:pt>
                <c:pt idx="22445">
                  <c:v>0.40030319243802298</c:v>
                </c:pt>
                <c:pt idx="22446">
                  <c:v>0.400321027287319</c:v>
                </c:pt>
                <c:pt idx="22447">
                  <c:v>0.40033886213661402</c:v>
                </c:pt>
                <c:pt idx="22448">
                  <c:v>0.40035669698590998</c:v>
                </c:pt>
                <c:pt idx="22449">
                  <c:v>0.40037453183520599</c:v>
                </c:pt>
                <c:pt idx="22450">
                  <c:v>0.40039236668450101</c:v>
                </c:pt>
                <c:pt idx="22451">
                  <c:v>0.40041020153379703</c:v>
                </c:pt>
                <c:pt idx="22452">
                  <c:v>0.40042803638309199</c:v>
                </c:pt>
                <c:pt idx="22453">
                  <c:v>0.40044587123238801</c:v>
                </c:pt>
                <c:pt idx="22454">
                  <c:v>0.40046370608168302</c:v>
                </c:pt>
                <c:pt idx="22455">
                  <c:v>0.40048154093097899</c:v>
                </c:pt>
                <c:pt idx="22456">
                  <c:v>0.400499375780274</c:v>
                </c:pt>
                <c:pt idx="22457">
                  <c:v>0.40051721062957002</c:v>
                </c:pt>
                <c:pt idx="22458">
                  <c:v>0.40053504547886498</c:v>
                </c:pt>
                <c:pt idx="22459">
                  <c:v>0.400552880328161</c:v>
                </c:pt>
                <c:pt idx="22460">
                  <c:v>0.40057071517745602</c:v>
                </c:pt>
                <c:pt idx="22461">
                  <c:v>0.40058855002675198</c:v>
                </c:pt>
                <c:pt idx="22462">
                  <c:v>0.40060638487604699</c:v>
                </c:pt>
                <c:pt idx="22463">
                  <c:v>0.40062421972534301</c:v>
                </c:pt>
                <c:pt idx="22464">
                  <c:v>0.40064205457463797</c:v>
                </c:pt>
                <c:pt idx="22465">
                  <c:v>0.40065988942393399</c:v>
                </c:pt>
                <c:pt idx="22466">
                  <c:v>0.40067772427322901</c:v>
                </c:pt>
                <c:pt idx="22467">
                  <c:v>0.40069555912252502</c:v>
                </c:pt>
                <c:pt idx="22468">
                  <c:v>0.40071339397181999</c:v>
                </c:pt>
                <c:pt idx="22469">
                  <c:v>0.400731228821116</c:v>
                </c:pt>
                <c:pt idx="22470">
                  <c:v>0.40074906367041102</c:v>
                </c:pt>
                <c:pt idx="22471">
                  <c:v>0.40076689851970698</c:v>
                </c:pt>
                <c:pt idx="22472">
                  <c:v>0.400784733369003</c:v>
                </c:pt>
                <c:pt idx="22473">
                  <c:v>0.40080256821829802</c:v>
                </c:pt>
                <c:pt idx="22474">
                  <c:v>0.40082040306759398</c:v>
                </c:pt>
                <c:pt idx="22475">
                  <c:v>0.400838237916889</c:v>
                </c:pt>
                <c:pt idx="22476">
                  <c:v>0.40085607276618501</c:v>
                </c:pt>
                <c:pt idx="22477">
                  <c:v>0.40087390761547997</c:v>
                </c:pt>
                <c:pt idx="22478">
                  <c:v>0.40089174246477599</c:v>
                </c:pt>
                <c:pt idx="22479">
                  <c:v>0.40090957731407101</c:v>
                </c:pt>
                <c:pt idx="22480">
                  <c:v>0.40092741216336703</c:v>
                </c:pt>
                <c:pt idx="22481">
                  <c:v>0.40094524701266199</c:v>
                </c:pt>
                <c:pt idx="22482">
                  <c:v>0.400963081861958</c:v>
                </c:pt>
                <c:pt idx="22483">
                  <c:v>0.40098091671125302</c:v>
                </c:pt>
                <c:pt idx="22484">
                  <c:v>0.40099875156054898</c:v>
                </c:pt>
                <c:pt idx="22485">
                  <c:v>0.401016586409844</c:v>
                </c:pt>
                <c:pt idx="22486">
                  <c:v>0.40103442125914002</c:v>
                </c:pt>
                <c:pt idx="22487">
                  <c:v>0.40105225610843498</c:v>
                </c:pt>
                <c:pt idx="22488">
                  <c:v>0.401070090957731</c:v>
                </c:pt>
                <c:pt idx="22489">
                  <c:v>0.40108792580702601</c:v>
                </c:pt>
                <c:pt idx="22490">
                  <c:v>0.40110576065632197</c:v>
                </c:pt>
                <c:pt idx="22491">
                  <c:v>0.40112359550561799</c:v>
                </c:pt>
                <c:pt idx="22492">
                  <c:v>0.40114143035491301</c:v>
                </c:pt>
                <c:pt idx="22493">
                  <c:v>0.40115926520420903</c:v>
                </c:pt>
                <c:pt idx="22494">
                  <c:v>0.40117710005350399</c:v>
                </c:pt>
                <c:pt idx="22495">
                  <c:v>0.4011949349028</c:v>
                </c:pt>
                <c:pt idx="22496">
                  <c:v>0.40121276975209502</c:v>
                </c:pt>
                <c:pt idx="22497">
                  <c:v>0.40123060460139098</c:v>
                </c:pt>
                <c:pt idx="22498">
                  <c:v>0.401248439450686</c:v>
                </c:pt>
                <c:pt idx="22499">
                  <c:v>0.40126627429998202</c:v>
                </c:pt>
                <c:pt idx="22500">
                  <c:v>0.40128410914927698</c:v>
                </c:pt>
                <c:pt idx="22501">
                  <c:v>0.401301943998573</c:v>
                </c:pt>
                <c:pt idx="22502">
                  <c:v>0.40131977884786801</c:v>
                </c:pt>
                <c:pt idx="22503">
                  <c:v>0.40133761369716398</c:v>
                </c:pt>
                <c:pt idx="22504">
                  <c:v>0.40135544854645899</c:v>
                </c:pt>
                <c:pt idx="22505">
                  <c:v>0.40137328339575501</c:v>
                </c:pt>
                <c:pt idx="22506">
                  <c:v>0.40139111824505003</c:v>
                </c:pt>
                <c:pt idx="22507">
                  <c:v>0.40140895309434599</c:v>
                </c:pt>
                <c:pt idx="22508">
                  <c:v>0.40142678794364101</c:v>
                </c:pt>
                <c:pt idx="22509">
                  <c:v>0.40144462279293702</c:v>
                </c:pt>
                <c:pt idx="22510">
                  <c:v>0.40146245764223198</c:v>
                </c:pt>
                <c:pt idx="22511">
                  <c:v>0.401480292491528</c:v>
                </c:pt>
                <c:pt idx="22512">
                  <c:v>0.40149812734082302</c:v>
                </c:pt>
                <c:pt idx="22513">
                  <c:v>0.40151596219011898</c:v>
                </c:pt>
                <c:pt idx="22514">
                  <c:v>0.401533797039415</c:v>
                </c:pt>
                <c:pt idx="22515">
                  <c:v>0.40155163188871001</c:v>
                </c:pt>
                <c:pt idx="22516">
                  <c:v>0.40156946673800598</c:v>
                </c:pt>
                <c:pt idx="22517">
                  <c:v>0.40158730158730099</c:v>
                </c:pt>
                <c:pt idx="22518">
                  <c:v>0.40160513643659701</c:v>
                </c:pt>
                <c:pt idx="22519">
                  <c:v>0.40162297128589203</c:v>
                </c:pt>
                <c:pt idx="22520">
                  <c:v>0.40164080613518799</c:v>
                </c:pt>
                <c:pt idx="22521">
                  <c:v>0.40165864098448301</c:v>
                </c:pt>
                <c:pt idx="22522">
                  <c:v>0.40167647583377902</c:v>
                </c:pt>
                <c:pt idx="22523">
                  <c:v>0.40169431068307399</c:v>
                </c:pt>
                <c:pt idx="22524">
                  <c:v>0.40171214553237</c:v>
                </c:pt>
                <c:pt idx="22525">
                  <c:v>0.40172998038166502</c:v>
                </c:pt>
                <c:pt idx="22526">
                  <c:v>0.40174781523096098</c:v>
                </c:pt>
                <c:pt idx="22527">
                  <c:v>0.401765650080256</c:v>
                </c:pt>
                <c:pt idx="22528">
                  <c:v>0.40178348492955201</c:v>
                </c:pt>
                <c:pt idx="22529">
                  <c:v>0.40180131977884698</c:v>
                </c:pt>
                <c:pt idx="22530">
                  <c:v>0.40181915462814299</c:v>
                </c:pt>
                <c:pt idx="22531">
                  <c:v>0.40183698947743801</c:v>
                </c:pt>
                <c:pt idx="22532">
                  <c:v>0.40185482432673397</c:v>
                </c:pt>
                <c:pt idx="22533">
                  <c:v>0.40187265917602999</c:v>
                </c:pt>
                <c:pt idx="22534">
                  <c:v>0.40189049402532501</c:v>
                </c:pt>
                <c:pt idx="22535">
                  <c:v>0.40190832887462102</c:v>
                </c:pt>
                <c:pt idx="22536">
                  <c:v>0.40192616372391599</c:v>
                </c:pt>
                <c:pt idx="22537">
                  <c:v>0.401943998573212</c:v>
                </c:pt>
                <c:pt idx="22538">
                  <c:v>0.40196183342250702</c:v>
                </c:pt>
                <c:pt idx="22539">
                  <c:v>0.40197966827180298</c:v>
                </c:pt>
                <c:pt idx="22540">
                  <c:v>0.401997503121098</c:v>
                </c:pt>
                <c:pt idx="22541">
                  <c:v>0.40201533797039402</c:v>
                </c:pt>
                <c:pt idx="22542">
                  <c:v>0.40203317281968898</c:v>
                </c:pt>
                <c:pt idx="22543">
                  <c:v>0.40205100766898499</c:v>
                </c:pt>
                <c:pt idx="22544">
                  <c:v>0.40206884251828001</c:v>
                </c:pt>
                <c:pt idx="22545">
                  <c:v>0.40208667736757597</c:v>
                </c:pt>
                <c:pt idx="22546">
                  <c:v>0.40210451221687099</c:v>
                </c:pt>
                <c:pt idx="22547">
                  <c:v>0.40212234706616701</c:v>
                </c:pt>
                <c:pt idx="22548">
                  <c:v>0.40214018191546202</c:v>
                </c:pt>
                <c:pt idx="22549">
                  <c:v>0.40215801676475799</c:v>
                </c:pt>
                <c:pt idx="22550">
                  <c:v>0.402175851614053</c:v>
                </c:pt>
                <c:pt idx="22551">
                  <c:v>0.40219368646334902</c:v>
                </c:pt>
                <c:pt idx="22552">
                  <c:v>0.40221152131264398</c:v>
                </c:pt>
                <c:pt idx="22553">
                  <c:v>0.40222935616194</c:v>
                </c:pt>
                <c:pt idx="22554">
                  <c:v>0.40224719101123502</c:v>
                </c:pt>
                <c:pt idx="22555">
                  <c:v>0.40226502586053098</c:v>
                </c:pt>
                <c:pt idx="22556">
                  <c:v>0.40228286070982699</c:v>
                </c:pt>
                <c:pt idx="22557">
                  <c:v>0.40230069555912201</c:v>
                </c:pt>
                <c:pt idx="22558">
                  <c:v>0.40231853040841797</c:v>
                </c:pt>
                <c:pt idx="22559">
                  <c:v>0.40233636525771299</c:v>
                </c:pt>
                <c:pt idx="22560">
                  <c:v>0.40235420010700901</c:v>
                </c:pt>
                <c:pt idx="22561">
                  <c:v>0.40237203495630403</c:v>
                </c:pt>
                <c:pt idx="22562">
                  <c:v>0.40238986980559999</c:v>
                </c:pt>
                <c:pt idx="22563">
                  <c:v>0.402407704654895</c:v>
                </c:pt>
                <c:pt idx="22564">
                  <c:v>0.40242553950419102</c:v>
                </c:pt>
                <c:pt idx="22565">
                  <c:v>0.40244337435348598</c:v>
                </c:pt>
                <c:pt idx="22566">
                  <c:v>0.402461209202782</c:v>
                </c:pt>
                <c:pt idx="22567">
                  <c:v>0.40247904405207702</c:v>
                </c:pt>
                <c:pt idx="22568">
                  <c:v>0.40249687890137298</c:v>
                </c:pt>
                <c:pt idx="22569">
                  <c:v>0.402514713750668</c:v>
                </c:pt>
                <c:pt idx="22570">
                  <c:v>0.40253254859996401</c:v>
                </c:pt>
                <c:pt idx="22571">
                  <c:v>0.40255038344925897</c:v>
                </c:pt>
                <c:pt idx="22572">
                  <c:v>0.40256821829855499</c:v>
                </c:pt>
                <c:pt idx="22573">
                  <c:v>0.40258605314785001</c:v>
                </c:pt>
                <c:pt idx="22574">
                  <c:v>0.40260388799714603</c:v>
                </c:pt>
                <c:pt idx="22575">
                  <c:v>0.40262172284644099</c:v>
                </c:pt>
                <c:pt idx="22576">
                  <c:v>0.402639557695737</c:v>
                </c:pt>
                <c:pt idx="22577">
                  <c:v>0.40265739254503302</c:v>
                </c:pt>
                <c:pt idx="22578">
                  <c:v>0.40267522739432798</c:v>
                </c:pt>
                <c:pt idx="22579">
                  <c:v>0.402693062243624</c:v>
                </c:pt>
                <c:pt idx="22580">
                  <c:v>0.40271089709291902</c:v>
                </c:pt>
                <c:pt idx="22581">
                  <c:v>0.40272873194221498</c:v>
                </c:pt>
                <c:pt idx="22582">
                  <c:v>0.40274656679151</c:v>
                </c:pt>
                <c:pt idx="22583">
                  <c:v>0.40276440164080601</c:v>
                </c:pt>
                <c:pt idx="22584">
                  <c:v>0.40278223649010098</c:v>
                </c:pt>
                <c:pt idx="22585">
                  <c:v>0.40280007133939699</c:v>
                </c:pt>
                <c:pt idx="22586">
                  <c:v>0.40281790618869201</c:v>
                </c:pt>
                <c:pt idx="22587">
                  <c:v>0.40283574103798803</c:v>
                </c:pt>
                <c:pt idx="22588">
                  <c:v>0.40285357588728299</c:v>
                </c:pt>
                <c:pt idx="22589">
                  <c:v>0.40287141073657901</c:v>
                </c:pt>
                <c:pt idx="22590">
                  <c:v>0.40288924558587402</c:v>
                </c:pt>
                <c:pt idx="22591">
                  <c:v>0.40290708043516998</c:v>
                </c:pt>
                <c:pt idx="22592">
                  <c:v>0.402924915284465</c:v>
                </c:pt>
                <c:pt idx="22593">
                  <c:v>0.40294275013376102</c:v>
                </c:pt>
                <c:pt idx="22594">
                  <c:v>0.40296058498305598</c:v>
                </c:pt>
                <c:pt idx="22595">
                  <c:v>0.402978419832352</c:v>
                </c:pt>
                <c:pt idx="22596">
                  <c:v>0.40299625468164701</c:v>
                </c:pt>
                <c:pt idx="22597">
                  <c:v>0.40301408953094298</c:v>
                </c:pt>
                <c:pt idx="22598">
                  <c:v>0.40303192438023899</c:v>
                </c:pt>
                <c:pt idx="22599">
                  <c:v>0.40304975922953401</c:v>
                </c:pt>
                <c:pt idx="22600">
                  <c:v>0.40306759407883003</c:v>
                </c:pt>
                <c:pt idx="22601">
                  <c:v>0.40308542892812499</c:v>
                </c:pt>
                <c:pt idx="22602">
                  <c:v>0.40310326377742101</c:v>
                </c:pt>
                <c:pt idx="22603">
                  <c:v>0.40312109862671602</c:v>
                </c:pt>
                <c:pt idx="22604">
                  <c:v>0.40313893347601198</c:v>
                </c:pt>
                <c:pt idx="22605">
                  <c:v>0.403156768325307</c:v>
                </c:pt>
                <c:pt idx="22606">
                  <c:v>0.40317460317460302</c:v>
                </c:pt>
                <c:pt idx="22607">
                  <c:v>0.40319243802389798</c:v>
                </c:pt>
                <c:pt idx="22608">
                  <c:v>0.403210272873194</c:v>
                </c:pt>
                <c:pt idx="22609">
                  <c:v>0.40322810772248902</c:v>
                </c:pt>
                <c:pt idx="22610">
                  <c:v>0.40324594257178498</c:v>
                </c:pt>
                <c:pt idx="22611">
                  <c:v>0.40326377742107999</c:v>
                </c:pt>
                <c:pt idx="22612">
                  <c:v>0.40328161227037601</c:v>
                </c:pt>
                <c:pt idx="22613">
                  <c:v>0.40329944711967097</c:v>
                </c:pt>
                <c:pt idx="22614">
                  <c:v>0.40331728196896699</c:v>
                </c:pt>
                <c:pt idx="22615">
                  <c:v>0.40333511681826201</c:v>
                </c:pt>
                <c:pt idx="22616">
                  <c:v>0.40335295166755802</c:v>
                </c:pt>
                <c:pt idx="22617">
                  <c:v>0.40337078651685299</c:v>
                </c:pt>
                <c:pt idx="22618">
                  <c:v>0.403388621366149</c:v>
                </c:pt>
                <c:pt idx="22619">
                  <c:v>0.40340645621544402</c:v>
                </c:pt>
                <c:pt idx="22620">
                  <c:v>0.40342429106473998</c:v>
                </c:pt>
                <c:pt idx="22621">
                  <c:v>0.403442125914036</c:v>
                </c:pt>
                <c:pt idx="22622">
                  <c:v>0.40345996076333102</c:v>
                </c:pt>
                <c:pt idx="22623">
                  <c:v>0.40347779561262698</c:v>
                </c:pt>
                <c:pt idx="22624">
                  <c:v>0.40349563046192199</c:v>
                </c:pt>
                <c:pt idx="22625">
                  <c:v>0.40351346531121801</c:v>
                </c:pt>
                <c:pt idx="22626">
                  <c:v>0.40353130016051297</c:v>
                </c:pt>
                <c:pt idx="22627">
                  <c:v>0.40354913500980899</c:v>
                </c:pt>
                <c:pt idx="22628">
                  <c:v>0.40356696985910401</c:v>
                </c:pt>
                <c:pt idx="22629">
                  <c:v>0.40358480470840002</c:v>
                </c:pt>
                <c:pt idx="22630">
                  <c:v>0.40360263955769499</c:v>
                </c:pt>
                <c:pt idx="22631">
                  <c:v>0.403620474406991</c:v>
                </c:pt>
                <c:pt idx="22632">
                  <c:v>0.40363830925628602</c:v>
                </c:pt>
                <c:pt idx="22633">
                  <c:v>0.40365614410558198</c:v>
                </c:pt>
                <c:pt idx="22634">
                  <c:v>0.403673978954877</c:v>
                </c:pt>
                <c:pt idx="22635">
                  <c:v>0.40369181380417302</c:v>
                </c:pt>
                <c:pt idx="22636">
                  <c:v>0.40370964865346798</c:v>
                </c:pt>
                <c:pt idx="22637">
                  <c:v>0.403727483502764</c:v>
                </c:pt>
                <c:pt idx="22638">
                  <c:v>0.40374531835205901</c:v>
                </c:pt>
                <c:pt idx="22639">
                  <c:v>0.40376315320135497</c:v>
                </c:pt>
                <c:pt idx="22640">
                  <c:v>0.40378098805065099</c:v>
                </c:pt>
                <c:pt idx="22641">
                  <c:v>0.40379882289994601</c:v>
                </c:pt>
                <c:pt idx="22642">
                  <c:v>0.40381665774924203</c:v>
                </c:pt>
                <c:pt idx="22643">
                  <c:v>0.40383449259853699</c:v>
                </c:pt>
                <c:pt idx="22644">
                  <c:v>0.403852327447833</c:v>
                </c:pt>
                <c:pt idx="22645">
                  <c:v>0.40387016229712802</c:v>
                </c:pt>
                <c:pt idx="22646">
                  <c:v>0.40388799714642398</c:v>
                </c:pt>
                <c:pt idx="22647">
                  <c:v>0.403905831995719</c:v>
                </c:pt>
                <c:pt idx="22648">
                  <c:v>0.40392366684501502</c:v>
                </c:pt>
                <c:pt idx="22649">
                  <c:v>0.40394150169430998</c:v>
                </c:pt>
                <c:pt idx="22650">
                  <c:v>0.403959336543606</c:v>
                </c:pt>
                <c:pt idx="22651">
                  <c:v>0.40397717139290101</c:v>
                </c:pt>
                <c:pt idx="22652">
                  <c:v>0.40399500624219697</c:v>
                </c:pt>
                <c:pt idx="22653">
                  <c:v>0.40401284109149199</c:v>
                </c:pt>
                <c:pt idx="22654">
                  <c:v>0.40403067594078801</c:v>
                </c:pt>
                <c:pt idx="22655">
                  <c:v>0.40404851079008303</c:v>
                </c:pt>
                <c:pt idx="22656">
                  <c:v>0.40406634563937899</c:v>
                </c:pt>
                <c:pt idx="22657">
                  <c:v>0.40408418048867401</c:v>
                </c:pt>
                <c:pt idx="22658">
                  <c:v>0.40410201533797002</c:v>
                </c:pt>
                <c:pt idx="22659">
                  <c:v>0.40411985018726498</c:v>
                </c:pt>
                <c:pt idx="22660">
                  <c:v>0.404137685036561</c:v>
                </c:pt>
                <c:pt idx="22661">
                  <c:v>0.40415551988585602</c:v>
                </c:pt>
                <c:pt idx="22662">
                  <c:v>0.40417335473515198</c:v>
                </c:pt>
                <c:pt idx="22663">
                  <c:v>0.404191189584448</c:v>
                </c:pt>
                <c:pt idx="22664">
                  <c:v>0.40420902443374301</c:v>
                </c:pt>
                <c:pt idx="22665">
                  <c:v>0.40422685928303898</c:v>
                </c:pt>
                <c:pt idx="22666">
                  <c:v>0.40424469413233399</c:v>
                </c:pt>
                <c:pt idx="22667">
                  <c:v>0.40426252898163001</c:v>
                </c:pt>
                <c:pt idx="22668">
                  <c:v>0.40428036383092503</c:v>
                </c:pt>
                <c:pt idx="22669">
                  <c:v>0.40429819868022099</c:v>
                </c:pt>
                <c:pt idx="22670">
                  <c:v>0.40431603352951601</c:v>
                </c:pt>
                <c:pt idx="22671">
                  <c:v>0.40433386837881202</c:v>
                </c:pt>
                <c:pt idx="22672">
                  <c:v>0.40435170322810698</c:v>
                </c:pt>
                <c:pt idx="22673">
                  <c:v>0.404369538077403</c:v>
                </c:pt>
                <c:pt idx="22674">
                  <c:v>0.40438737292669802</c:v>
                </c:pt>
                <c:pt idx="22675">
                  <c:v>0.40440520777599398</c:v>
                </c:pt>
                <c:pt idx="22676">
                  <c:v>0.404423042625289</c:v>
                </c:pt>
                <c:pt idx="22677">
                  <c:v>0.40444087747458501</c:v>
                </c:pt>
                <c:pt idx="22678">
                  <c:v>0.40445871232387998</c:v>
                </c:pt>
                <c:pt idx="22679">
                  <c:v>0.40447654717317599</c:v>
                </c:pt>
                <c:pt idx="22680">
                  <c:v>0.40449438202247101</c:v>
                </c:pt>
                <c:pt idx="22681">
                  <c:v>0.40451221687176703</c:v>
                </c:pt>
                <c:pt idx="22682">
                  <c:v>0.40453005172106199</c:v>
                </c:pt>
                <c:pt idx="22683">
                  <c:v>0.40454788657035801</c:v>
                </c:pt>
                <c:pt idx="22684">
                  <c:v>0.40456572141965402</c:v>
                </c:pt>
                <c:pt idx="22685">
                  <c:v>0.40458355626894899</c:v>
                </c:pt>
                <c:pt idx="22686">
                  <c:v>0.404601391118245</c:v>
                </c:pt>
                <c:pt idx="22687">
                  <c:v>0.40461922596754002</c:v>
                </c:pt>
                <c:pt idx="22688">
                  <c:v>0.40463706081683598</c:v>
                </c:pt>
                <c:pt idx="22689">
                  <c:v>0.404654895666131</c:v>
                </c:pt>
                <c:pt idx="22690">
                  <c:v>0.40467273051542701</c:v>
                </c:pt>
                <c:pt idx="22691">
                  <c:v>0.40469056536472198</c:v>
                </c:pt>
                <c:pt idx="22692">
                  <c:v>0.40470840021401799</c:v>
                </c:pt>
                <c:pt idx="22693">
                  <c:v>0.40472623506331301</c:v>
                </c:pt>
                <c:pt idx="22694">
                  <c:v>0.40474406991260897</c:v>
                </c:pt>
                <c:pt idx="22695">
                  <c:v>0.40476190476190399</c:v>
                </c:pt>
                <c:pt idx="22696">
                  <c:v>0.40477973961120001</c:v>
                </c:pt>
                <c:pt idx="22697">
                  <c:v>0.40479757446049502</c:v>
                </c:pt>
                <c:pt idx="22698">
                  <c:v>0.40481540930979099</c:v>
                </c:pt>
                <c:pt idx="22699">
                  <c:v>0.404833244159086</c:v>
                </c:pt>
                <c:pt idx="22700">
                  <c:v>0.40485107900838202</c:v>
                </c:pt>
                <c:pt idx="22701">
                  <c:v>0.40486891385767698</c:v>
                </c:pt>
                <c:pt idx="22702">
                  <c:v>0.404886748706973</c:v>
                </c:pt>
                <c:pt idx="22703">
                  <c:v>0.40490458355626802</c:v>
                </c:pt>
                <c:pt idx="22704">
                  <c:v>0.40492241840556398</c:v>
                </c:pt>
                <c:pt idx="22705">
                  <c:v>0.40494025325485999</c:v>
                </c:pt>
                <c:pt idx="22706">
                  <c:v>0.40495808810415501</c:v>
                </c:pt>
                <c:pt idx="22707">
                  <c:v>0.40497592295345097</c:v>
                </c:pt>
                <c:pt idx="22708">
                  <c:v>0.40499375780274599</c:v>
                </c:pt>
                <c:pt idx="22709">
                  <c:v>0.40501159265204201</c:v>
                </c:pt>
                <c:pt idx="22710">
                  <c:v>0.40502942750133702</c:v>
                </c:pt>
                <c:pt idx="22711">
                  <c:v>0.40504726235063299</c:v>
                </c:pt>
                <c:pt idx="22712">
                  <c:v>0.405065097199928</c:v>
                </c:pt>
                <c:pt idx="22713">
                  <c:v>0.40508293204922402</c:v>
                </c:pt>
                <c:pt idx="22714">
                  <c:v>0.40510076689851898</c:v>
                </c:pt>
                <c:pt idx="22715">
                  <c:v>0.405118601747815</c:v>
                </c:pt>
                <c:pt idx="22716">
                  <c:v>0.40513643659711002</c:v>
                </c:pt>
                <c:pt idx="22717">
                  <c:v>0.40515427144640598</c:v>
                </c:pt>
                <c:pt idx="22718">
                  <c:v>0.405172106295701</c:v>
                </c:pt>
                <c:pt idx="22719">
                  <c:v>0.40518994114499701</c:v>
                </c:pt>
                <c:pt idx="22720">
                  <c:v>0.40520777599429197</c:v>
                </c:pt>
                <c:pt idx="22721">
                  <c:v>0.40522561084358799</c:v>
                </c:pt>
                <c:pt idx="22722">
                  <c:v>0.40524344569288301</c:v>
                </c:pt>
                <c:pt idx="22723">
                  <c:v>0.40526128054217903</c:v>
                </c:pt>
                <c:pt idx="22724">
                  <c:v>0.40527911539147399</c:v>
                </c:pt>
                <c:pt idx="22725">
                  <c:v>0.40529695024077</c:v>
                </c:pt>
                <c:pt idx="22726">
                  <c:v>0.40531478509006502</c:v>
                </c:pt>
                <c:pt idx="22727">
                  <c:v>0.40533261993936098</c:v>
                </c:pt>
                <c:pt idx="22728">
                  <c:v>0.405350454788657</c:v>
                </c:pt>
                <c:pt idx="22729">
                  <c:v>0.40536828963795202</c:v>
                </c:pt>
                <c:pt idx="22730">
                  <c:v>0.40538612448724798</c:v>
                </c:pt>
                <c:pt idx="22731">
                  <c:v>0.405403959336543</c:v>
                </c:pt>
                <c:pt idx="22732">
                  <c:v>0.40542179418583901</c:v>
                </c:pt>
                <c:pt idx="22733">
                  <c:v>0.40543962903513397</c:v>
                </c:pt>
                <c:pt idx="22734">
                  <c:v>0.40545746388442999</c:v>
                </c:pt>
                <c:pt idx="22735">
                  <c:v>0.40547529873372501</c:v>
                </c:pt>
                <c:pt idx="22736">
                  <c:v>0.40549313358302103</c:v>
                </c:pt>
                <c:pt idx="22737">
                  <c:v>0.40551096843231599</c:v>
                </c:pt>
                <c:pt idx="22738">
                  <c:v>0.405528803281612</c:v>
                </c:pt>
                <c:pt idx="22739">
                  <c:v>0.40554663813090702</c:v>
                </c:pt>
                <c:pt idx="22740">
                  <c:v>0.40556447298020298</c:v>
                </c:pt>
                <c:pt idx="22741">
                  <c:v>0.405582307829498</c:v>
                </c:pt>
                <c:pt idx="22742">
                  <c:v>0.40560014267879402</c:v>
                </c:pt>
                <c:pt idx="22743">
                  <c:v>0.40561797752808898</c:v>
                </c:pt>
                <c:pt idx="22744">
                  <c:v>0.405635812377385</c:v>
                </c:pt>
                <c:pt idx="22745">
                  <c:v>0.40565364722668001</c:v>
                </c:pt>
                <c:pt idx="22746">
                  <c:v>0.40567148207597598</c:v>
                </c:pt>
                <c:pt idx="22747">
                  <c:v>0.40568931692527199</c:v>
                </c:pt>
                <c:pt idx="22748">
                  <c:v>0.40570715177456701</c:v>
                </c:pt>
                <c:pt idx="22749">
                  <c:v>0.40572498662386303</c:v>
                </c:pt>
                <c:pt idx="22750">
                  <c:v>0.40574282147315799</c:v>
                </c:pt>
                <c:pt idx="22751">
                  <c:v>0.40576065632245401</c:v>
                </c:pt>
                <c:pt idx="22752">
                  <c:v>0.40577849117174902</c:v>
                </c:pt>
                <c:pt idx="22753">
                  <c:v>0.40579632602104498</c:v>
                </c:pt>
                <c:pt idx="22754">
                  <c:v>0.40581416087034</c:v>
                </c:pt>
                <c:pt idx="22755">
                  <c:v>0.40583199571963602</c:v>
                </c:pt>
                <c:pt idx="22756">
                  <c:v>0.40584983056893098</c:v>
                </c:pt>
                <c:pt idx="22757">
                  <c:v>0.405867665418227</c:v>
                </c:pt>
                <c:pt idx="22758">
                  <c:v>0.40588550026752201</c:v>
                </c:pt>
                <c:pt idx="22759">
                  <c:v>0.40590333511681798</c:v>
                </c:pt>
                <c:pt idx="22760">
                  <c:v>0.40592116996611299</c:v>
                </c:pt>
                <c:pt idx="22761">
                  <c:v>0.40593900481540901</c:v>
                </c:pt>
                <c:pt idx="22762">
                  <c:v>0.40595683966470397</c:v>
                </c:pt>
                <c:pt idx="22763">
                  <c:v>0.40597467451399999</c:v>
                </c:pt>
                <c:pt idx="22764">
                  <c:v>0.40599250936329501</c:v>
                </c:pt>
                <c:pt idx="22765">
                  <c:v>0.40601034421259102</c:v>
                </c:pt>
                <c:pt idx="22766">
                  <c:v>0.40602817906188599</c:v>
                </c:pt>
                <c:pt idx="22767">
                  <c:v>0.406046013911182</c:v>
                </c:pt>
                <c:pt idx="22768">
                  <c:v>0.40606384876047702</c:v>
                </c:pt>
                <c:pt idx="22769">
                  <c:v>0.40608168360977298</c:v>
                </c:pt>
                <c:pt idx="22770">
                  <c:v>0.406099518459069</c:v>
                </c:pt>
                <c:pt idx="22771">
                  <c:v>0.40611735330836402</c:v>
                </c:pt>
                <c:pt idx="22772">
                  <c:v>0.40613518815765998</c:v>
                </c:pt>
                <c:pt idx="22773">
                  <c:v>0.40615302300695499</c:v>
                </c:pt>
                <c:pt idx="22774">
                  <c:v>0.40617085785625101</c:v>
                </c:pt>
                <c:pt idx="22775">
                  <c:v>0.40618869270554597</c:v>
                </c:pt>
                <c:pt idx="22776">
                  <c:v>0.40620652755484199</c:v>
                </c:pt>
                <c:pt idx="22777">
                  <c:v>0.40622436240413701</c:v>
                </c:pt>
                <c:pt idx="22778">
                  <c:v>0.40624219725343302</c:v>
                </c:pt>
                <c:pt idx="22779">
                  <c:v>0.40626003210272799</c:v>
                </c:pt>
                <c:pt idx="22780">
                  <c:v>0.406277866952024</c:v>
                </c:pt>
                <c:pt idx="22781">
                  <c:v>0.40629570180131902</c:v>
                </c:pt>
                <c:pt idx="22782">
                  <c:v>0.40631353665061498</c:v>
                </c:pt>
                <c:pt idx="22783">
                  <c:v>0.40633137149991</c:v>
                </c:pt>
                <c:pt idx="22784">
                  <c:v>0.40634920634920602</c:v>
                </c:pt>
                <c:pt idx="22785">
                  <c:v>0.40636704119850098</c:v>
                </c:pt>
                <c:pt idx="22786">
                  <c:v>0.40638487604779699</c:v>
                </c:pt>
                <c:pt idx="22787">
                  <c:v>0.40640271089709201</c:v>
                </c:pt>
                <c:pt idx="22788">
                  <c:v>0.40642054574638797</c:v>
                </c:pt>
                <c:pt idx="22789">
                  <c:v>0.40643838059568399</c:v>
                </c:pt>
                <c:pt idx="22790">
                  <c:v>0.40645621544497901</c:v>
                </c:pt>
                <c:pt idx="22791">
                  <c:v>0.40647405029427502</c:v>
                </c:pt>
                <c:pt idx="22792">
                  <c:v>0.40649188514356999</c:v>
                </c:pt>
                <c:pt idx="22793">
                  <c:v>0.406509719992866</c:v>
                </c:pt>
                <c:pt idx="22794">
                  <c:v>0.40652755484216102</c:v>
                </c:pt>
                <c:pt idx="22795">
                  <c:v>0.40654538969145698</c:v>
                </c:pt>
                <c:pt idx="22796">
                  <c:v>0.406563224540752</c:v>
                </c:pt>
                <c:pt idx="22797">
                  <c:v>0.40658105939004802</c:v>
                </c:pt>
                <c:pt idx="22798">
                  <c:v>0.40659889423934298</c:v>
                </c:pt>
                <c:pt idx="22799">
                  <c:v>0.406616729088639</c:v>
                </c:pt>
                <c:pt idx="22800">
                  <c:v>0.40663456393793401</c:v>
                </c:pt>
                <c:pt idx="22801">
                  <c:v>0.40665239878722997</c:v>
                </c:pt>
                <c:pt idx="22802">
                  <c:v>0.40667023363652499</c:v>
                </c:pt>
                <c:pt idx="22803">
                  <c:v>0.40668806848582101</c:v>
                </c:pt>
                <c:pt idx="22804">
                  <c:v>0.40670590333511603</c:v>
                </c:pt>
                <c:pt idx="22805">
                  <c:v>0.40672373818441199</c:v>
                </c:pt>
                <c:pt idx="22806">
                  <c:v>0.406741573033707</c:v>
                </c:pt>
                <c:pt idx="22807">
                  <c:v>0.40675940788300302</c:v>
                </c:pt>
                <c:pt idx="22808">
                  <c:v>0.40677724273229798</c:v>
                </c:pt>
                <c:pt idx="22809">
                  <c:v>0.406795077581594</c:v>
                </c:pt>
                <c:pt idx="22810">
                  <c:v>0.40681291243088902</c:v>
                </c:pt>
                <c:pt idx="22811">
                  <c:v>0.40683074728018498</c:v>
                </c:pt>
                <c:pt idx="22812">
                  <c:v>0.406848582129481</c:v>
                </c:pt>
                <c:pt idx="22813">
                  <c:v>0.40686641697877601</c:v>
                </c:pt>
                <c:pt idx="22814">
                  <c:v>0.40688425182807197</c:v>
                </c:pt>
                <c:pt idx="22815">
                  <c:v>0.40690208667736699</c:v>
                </c:pt>
                <c:pt idx="22816">
                  <c:v>0.40691992152666301</c:v>
                </c:pt>
                <c:pt idx="22817">
                  <c:v>0.40693775637595803</c:v>
                </c:pt>
                <c:pt idx="22818">
                  <c:v>0.40695559122525399</c:v>
                </c:pt>
                <c:pt idx="22819">
                  <c:v>0.40697342607454901</c:v>
                </c:pt>
                <c:pt idx="22820">
                  <c:v>0.40699126092384502</c:v>
                </c:pt>
                <c:pt idx="22821">
                  <c:v>0.40700909577313998</c:v>
                </c:pt>
                <c:pt idx="22822">
                  <c:v>0.407026930622436</c:v>
                </c:pt>
                <c:pt idx="22823">
                  <c:v>0.40704476547173102</c:v>
                </c:pt>
                <c:pt idx="22824">
                  <c:v>0.40706260032102698</c:v>
                </c:pt>
                <c:pt idx="22825">
                  <c:v>0.407080435170322</c:v>
                </c:pt>
                <c:pt idx="22826">
                  <c:v>0.40709827001961801</c:v>
                </c:pt>
                <c:pt idx="22827">
                  <c:v>0.40711610486891298</c:v>
                </c:pt>
                <c:pt idx="22828">
                  <c:v>0.40713393971820899</c:v>
                </c:pt>
                <c:pt idx="22829">
                  <c:v>0.40715177456750401</c:v>
                </c:pt>
                <c:pt idx="22830">
                  <c:v>0.40716960941680003</c:v>
                </c:pt>
                <c:pt idx="22831">
                  <c:v>0.40718744426609499</c:v>
                </c:pt>
                <c:pt idx="22832">
                  <c:v>0.40720527911539101</c:v>
                </c:pt>
                <c:pt idx="22833">
                  <c:v>0.40722311396468702</c:v>
                </c:pt>
                <c:pt idx="22834">
                  <c:v>0.40724094881398198</c:v>
                </c:pt>
                <c:pt idx="22835">
                  <c:v>0.407258783663278</c:v>
                </c:pt>
                <c:pt idx="22836">
                  <c:v>0.40727661851257302</c:v>
                </c:pt>
                <c:pt idx="22837">
                  <c:v>0.40729445336186898</c:v>
                </c:pt>
                <c:pt idx="22838">
                  <c:v>0.407312288211164</c:v>
                </c:pt>
                <c:pt idx="22839">
                  <c:v>0.40733012306046001</c:v>
                </c:pt>
                <c:pt idx="22840">
                  <c:v>0.40734795790975498</c:v>
                </c:pt>
                <c:pt idx="22841">
                  <c:v>0.40736579275905099</c:v>
                </c:pt>
                <c:pt idx="22842">
                  <c:v>0.40738362760834601</c:v>
                </c:pt>
                <c:pt idx="22843">
                  <c:v>0.40740146245764203</c:v>
                </c:pt>
                <c:pt idx="22844">
                  <c:v>0.40741929730693699</c:v>
                </c:pt>
                <c:pt idx="22845">
                  <c:v>0.40743713215623301</c:v>
                </c:pt>
                <c:pt idx="22846">
                  <c:v>0.40745496700552802</c:v>
                </c:pt>
                <c:pt idx="22847">
                  <c:v>0.40747280185482398</c:v>
                </c:pt>
                <c:pt idx="22848">
                  <c:v>0.407490636704119</c:v>
                </c:pt>
                <c:pt idx="22849">
                  <c:v>0.40750847155341502</c:v>
                </c:pt>
                <c:pt idx="22850">
                  <c:v>0.40752630640270998</c:v>
                </c:pt>
                <c:pt idx="22851">
                  <c:v>0.407544141252006</c:v>
                </c:pt>
                <c:pt idx="22852">
                  <c:v>0.40756197610130102</c:v>
                </c:pt>
                <c:pt idx="22853">
                  <c:v>0.40757981095059698</c:v>
                </c:pt>
                <c:pt idx="22854">
                  <c:v>0.40759764579989299</c:v>
                </c:pt>
                <c:pt idx="22855">
                  <c:v>0.40761548064918801</c:v>
                </c:pt>
                <c:pt idx="22856">
                  <c:v>0.40763331549848397</c:v>
                </c:pt>
                <c:pt idx="22857">
                  <c:v>0.40765115034777899</c:v>
                </c:pt>
                <c:pt idx="22858">
                  <c:v>0.40766898519707501</c:v>
                </c:pt>
                <c:pt idx="22859">
                  <c:v>0.40768682004637002</c:v>
                </c:pt>
                <c:pt idx="22860">
                  <c:v>0.40770465489566599</c:v>
                </c:pt>
                <c:pt idx="22861">
                  <c:v>0.407722489744961</c:v>
                </c:pt>
                <c:pt idx="22862">
                  <c:v>0.40774032459425702</c:v>
                </c:pt>
                <c:pt idx="22863">
                  <c:v>0.40775815944355198</c:v>
                </c:pt>
                <c:pt idx="22864">
                  <c:v>0.407775994292848</c:v>
                </c:pt>
                <c:pt idx="22865">
                  <c:v>0.40779382914214302</c:v>
                </c:pt>
                <c:pt idx="22866">
                  <c:v>0.40781166399143898</c:v>
                </c:pt>
                <c:pt idx="22867">
                  <c:v>0.40782949884073399</c:v>
                </c:pt>
                <c:pt idx="22868">
                  <c:v>0.40784733369003001</c:v>
                </c:pt>
                <c:pt idx="22869">
                  <c:v>0.40786516853932497</c:v>
                </c:pt>
                <c:pt idx="22870">
                  <c:v>0.40788300338862099</c:v>
                </c:pt>
                <c:pt idx="22871">
                  <c:v>0.40790083823791601</c:v>
                </c:pt>
                <c:pt idx="22872">
                  <c:v>0.40791867308721202</c:v>
                </c:pt>
                <c:pt idx="22873">
                  <c:v>0.40793650793650699</c:v>
                </c:pt>
                <c:pt idx="22874">
                  <c:v>0.407954342785803</c:v>
                </c:pt>
                <c:pt idx="22875">
                  <c:v>0.40797217763509802</c:v>
                </c:pt>
                <c:pt idx="22876">
                  <c:v>0.40799001248439398</c:v>
                </c:pt>
                <c:pt idx="22877">
                  <c:v>0.40800784733369</c:v>
                </c:pt>
                <c:pt idx="22878">
                  <c:v>0.40802568218298502</c:v>
                </c:pt>
                <c:pt idx="22879">
                  <c:v>0.40804351703228098</c:v>
                </c:pt>
                <c:pt idx="22880">
                  <c:v>0.408061351881576</c:v>
                </c:pt>
                <c:pt idx="22881">
                  <c:v>0.40807918673087201</c:v>
                </c:pt>
                <c:pt idx="22882">
                  <c:v>0.40809702158016697</c:v>
                </c:pt>
                <c:pt idx="22883">
                  <c:v>0.40811485642946299</c:v>
                </c:pt>
                <c:pt idx="22884">
                  <c:v>0.40813269127875801</c:v>
                </c:pt>
                <c:pt idx="22885">
                  <c:v>0.40815052612805403</c:v>
                </c:pt>
                <c:pt idx="22886">
                  <c:v>0.40816836097734899</c:v>
                </c:pt>
                <c:pt idx="22887">
                  <c:v>0.408186195826645</c:v>
                </c:pt>
                <c:pt idx="22888">
                  <c:v>0.40820403067594002</c:v>
                </c:pt>
                <c:pt idx="22889">
                  <c:v>0.40822186552523598</c:v>
                </c:pt>
                <c:pt idx="22890">
                  <c:v>0.408239700374531</c:v>
                </c:pt>
                <c:pt idx="22891">
                  <c:v>0.40825753522382702</c:v>
                </c:pt>
                <c:pt idx="22892">
                  <c:v>0.40827537007312198</c:v>
                </c:pt>
                <c:pt idx="22893">
                  <c:v>0.408293204922418</c:v>
                </c:pt>
                <c:pt idx="22894">
                  <c:v>0.40831103977171301</c:v>
                </c:pt>
                <c:pt idx="22895">
                  <c:v>0.40832887462100897</c:v>
                </c:pt>
                <c:pt idx="22896">
                  <c:v>0.40834670947030499</c:v>
                </c:pt>
                <c:pt idx="22897">
                  <c:v>0.40836454431960001</c:v>
                </c:pt>
                <c:pt idx="22898">
                  <c:v>0.40838237916889603</c:v>
                </c:pt>
                <c:pt idx="22899">
                  <c:v>0.40840021401819099</c:v>
                </c:pt>
                <c:pt idx="22900">
                  <c:v>0.408418048867487</c:v>
                </c:pt>
                <c:pt idx="22901">
                  <c:v>0.40843588371678202</c:v>
                </c:pt>
                <c:pt idx="22902">
                  <c:v>0.40845371856607798</c:v>
                </c:pt>
                <c:pt idx="22903">
                  <c:v>0.408471553415373</c:v>
                </c:pt>
                <c:pt idx="22904">
                  <c:v>0.40848938826466902</c:v>
                </c:pt>
                <c:pt idx="22905">
                  <c:v>0.40850722311396398</c:v>
                </c:pt>
                <c:pt idx="22906">
                  <c:v>0.40852505796326</c:v>
                </c:pt>
                <c:pt idx="22907">
                  <c:v>0.40854289281255501</c:v>
                </c:pt>
                <c:pt idx="22908">
                  <c:v>0.40856072766185098</c:v>
                </c:pt>
                <c:pt idx="22909">
                  <c:v>0.40857856251114599</c:v>
                </c:pt>
                <c:pt idx="22910">
                  <c:v>0.40859639736044201</c:v>
                </c:pt>
                <c:pt idx="22911">
                  <c:v>0.40861423220973703</c:v>
                </c:pt>
                <c:pt idx="22912">
                  <c:v>0.40863206705903299</c:v>
                </c:pt>
                <c:pt idx="22913">
                  <c:v>0.40864990190832801</c:v>
                </c:pt>
                <c:pt idx="22914">
                  <c:v>0.40866773675762402</c:v>
                </c:pt>
                <c:pt idx="22915">
                  <c:v>0.40868557160691898</c:v>
                </c:pt>
                <c:pt idx="22916">
                  <c:v>0.408703406456215</c:v>
                </c:pt>
                <c:pt idx="22917">
                  <c:v>0.40872124130551002</c:v>
                </c:pt>
                <c:pt idx="22918">
                  <c:v>0.40873907615480598</c:v>
                </c:pt>
                <c:pt idx="22919">
                  <c:v>0.408756911004102</c:v>
                </c:pt>
                <c:pt idx="22920">
                  <c:v>0.40877474585339701</c:v>
                </c:pt>
                <c:pt idx="22921">
                  <c:v>0.40879258070269298</c:v>
                </c:pt>
                <c:pt idx="22922">
                  <c:v>0.40881041555198799</c:v>
                </c:pt>
                <c:pt idx="22923">
                  <c:v>0.40882825040128401</c:v>
                </c:pt>
                <c:pt idx="22924">
                  <c:v>0.40884608525057903</c:v>
                </c:pt>
                <c:pt idx="22925">
                  <c:v>0.40886392009987499</c:v>
                </c:pt>
                <c:pt idx="22926">
                  <c:v>0.40888175494917001</c:v>
                </c:pt>
                <c:pt idx="22927">
                  <c:v>0.40889958979846602</c:v>
                </c:pt>
                <c:pt idx="22928">
                  <c:v>0.40891742464776099</c:v>
                </c:pt>
                <c:pt idx="22929">
                  <c:v>0.408935259497057</c:v>
                </c:pt>
                <c:pt idx="22930">
                  <c:v>0.40895309434635202</c:v>
                </c:pt>
                <c:pt idx="22931">
                  <c:v>0.40897092919564798</c:v>
                </c:pt>
                <c:pt idx="22932">
                  <c:v>0.408988764044943</c:v>
                </c:pt>
                <c:pt idx="22933">
                  <c:v>0.40900659889423902</c:v>
                </c:pt>
                <c:pt idx="22934">
                  <c:v>0.40902443374353398</c:v>
                </c:pt>
                <c:pt idx="22935">
                  <c:v>0.40904226859282999</c:v>
                </c:pt>
                <c:pt idx="22936">
                  <c:v>0.40906010344212501</c:v>
                </c:pt>
                <c:pt idx="22937">
                  <c:v>0.40907793829142097</c:v>
                </c:pt>
                <c:pt idx="22938">
                  <c:v>0.40909577314071599</c:v>
                </c:pt>
                <c:pt idx="22939">
                  <c:v>0.40911360799001201</c:v>
                </c:pt>
                <c:pt idx="22940">
                  <c:v>0.40913144283930802</c:v>
                </c:pt>
                <c:pt idx="22941">
                  <c:v>0.40914927768860299</c:v>
                </c:pt>
                <c:pt idx="22942">
                  <c:v>0.409167112537899</c:v>
                </c:pt>
                <c:pt idx="22943">
                  <c:v>0.40918494738719402</c:v>
                </c:pt>
                <c:pt idx="22944">
                  <c:v>0.40920278223648998</c:v>
                </c:pt>
                <c:pt idx="22945">
                  <c:v>0.409220617085785</c:v>
                </c:pt>
                <c:pt idx="22946">
                  <c:v>0.40923845193508102</c:v>
                </c:pt>
                <c:pt idx="22947">
                  <c:v>0.40925628678437598</c:v>
                </c:pt>
                <c:pt idx="22948">
                  <c:v>0.40927412163367199</c:v>
                </c:pt>
                <c:pt idx="22949">
                  <c:v>0.40929195648296701</c:v>
                </c:pt>
                <c:pt idx="22950">
                  <c:v>0.40930979133226297</c:v>
                </c:pt>
                <c:pt idx="22951">
                  <c:v>0.40932762618155799</c:v>
                </c:pt>
                <c:pt idx="22952">
                  <c:v>0.40934546103085401</c:v>
                </c:pt>
                <c:pt idx="22953">
                  <c:v>0.40936329588014903</c:v>
                </c:pt>
                <c:pt idx="22954">
                  <c:v>0.40938113072944499</c:v>
                </c:pt>
                <c:pt idx="22955">
                  <c:v>0.40939896557874</c:v>
                </c:pt>
                <c:pt idx="22956">
                  <c:v>0.40941680042803602</c:v>
                </c:pt>
                <c:pt idx="22957">
                  <c:v>0.40943463527733098</c:v>
                </c:pt>
                <c:pt idx="22958">
                  <c:v>0.409452470126627</c:v>
                </c:pt>
                <c:pt idx="22959">
                  <c:v>0.40947030497592202</c:v>
                </c:pt>
                <c:pt idx="22960">
                  <c:v>0.40948813982521798</c:v>
                </c:pt>
                <c:pt idx="22961">
                  <c:v>0.409505974674514</c:v>
                </c:pt>
                <c:pt idx="22962">
                  <c:v>0.40952380952380901</c:v>
                </c:pt>
                <c:pt idx="22963">
                  <c:v>0.40954164437310497</c:v>
                </c:pt>
                <c:pt idx="22964">
                  <c:v>0.40955947922239999</c:v>
                </c:pt>
                <c:pt idx="22965">
                  <c:v>0.40957731407169601</c:v>
                </c:pt>
                <c:pt idx="22966">
                  <c:v>0.40959514892099103</c:v>
                </c:pt>
                <c:pt idx="22967">
                  <c:v>0.40961298377028699</c:v>
                </c:pt>
                <c:pt idx="22968">
                  <c:v>0.409630818619582</c:v>
                </c:pt>
                <c:pt idx="22969">
                  <c:v>0.40964865346887802</c:v>
                </c:pt>
                <c:pt idx="22970">
                  <c:v>0.40966648831817298</c:v>
                </c:pt>
                <c:pt idx="22971">
                  <c:v>0.409684323167469</c:v>
                </c:pt>
                <c:pt idx="22972">
                  <c:v>0.40970215801676402</c:v>
                </c:pt>
                <c:pt idx="22973">
                  <c:v>0.40971999286605998</c:v>
                </c:pt>
                <c:pt idx="22974">
                  <c:v>0.409737827715355</c:v>
                </c:pt>
                <c:pt idx="22975">
                  <c:v>0.40975566256465101</c:v>
                </c:pt>
                <c:pt idx="22976">
                  <c:v>0.40977349741394598</c:v>
                </c:pt>
                <c:pt idx="22977">
                  <c:v>0.40979133226324199</c:v>
                </c:pt>
                <c:pt idx="22978">
                  <c:v>0.40980916711253701</c:v>
                </c:pt>
                <c:pt idx="22979">
                  <c:v>0.40982700196183303</c:v>
                </c:pt>
                <c:pt idx="22980">
                  <c:v>0.40984483681112799</c:v>
                </c:pt>
                <c:pt idx="22981">
                  <c:v>0.40986267166042401</c:v>
                </c:pt>
                <c:pt idx="22982">
                  <c:v>0.40988050650971902</c:v>
                </c:pt>
                <c:pt idx="22983">
                  <c:v>0.40989834135901498</c:v>
                </c:pt>
                <c:pt idx="22984">
                  <c:v>0.409916176208311</c:v>
                </c:pt>
                <c:pt idx="22985">
                  <c:v>0.40993401105760602</c:v>
                </c:pt>
                <c:pt idx="22986">
                  <c:v>0.40995184590690198</c:v>
                </c:pt>
                <c:pt idx="22987">
                  <c:v>0.409969680756197</c:v>
                </c:pt>
                <c:pt idx="22988">
                  <c:v>0.40998751560549301</c:v>
                </c:pt>
                <c:pt idx="22989">
                  <c:v>0.41000535045478798</c:v>
                </c:pt>
                <c:pt idx="22990">
                  <c:v>0.41002318530408399</c:v>
                </c:pt>
                <c:pt idx="22991">
                  <c:v>0.41004102015337901</c:v>
                </c:pt>
                <c:pt idx="22992">
                  <c:v>0.41005885500267503</c:v>
                </c:pt>
                <c:pt idx="22993">
                  <c:v>0.41007668985196999</c:v>
                </c:pt>
                <c:pt idx="22994">
                  <c:v>0.41009452470126601</c:v>
                </c:pt>
                <c:pt idx="22995">
                  <c:v>0.41011235955056102</c:v>
                </c:pt>
                <c:pt idx="22996">
                  <c:v>0.41013019439985698</c:v>
                </c:pt>
                <c:pt idx="22997">
                  <c:v>0.410148029249152</c:v>
                </c:pt>
                <c:pt idx="22998">
                  <c:v>0.41016586409844802</c:v>
                </c:pt>
                <c:pt idx="22999">
                  <c:v>0.41018369894774298</c:v>
                </c:pt>
                <c:pt idx="23000">
                  <c:v>0.410201533797039</c:v>
                </c:pt>
                <c:pt idx="23001">
                  <c:v>0.41021936864633401</c:v>
                </c:pt>
                <c:pt idx="23002">
                  <c:v>0.41023720349562998</c:v>
                </c:pt>
                <c:pt idx="23003">
                  <c:v>0.41025503834492599</c:v>
                </c:pt>
                <c:pt idx="23004">
                  <c:v>0.41027287319422101</c:v>
                </c:pt>
                <c:pt idx="23005">
                  <c:v>0.41029070804351703</c:v>
                </c:pt>
                <c:pt idx="23006">
                  <c:v>0.41030854289281199</c:v>
                </c:pt>
                <c:pt idx="23007">
                  <c:v>0.41032637774210801</c:v>
                </c:pt>
                <c:pt idx="23008">
                  <c:v>0.41034421259140302</c:v>
                </c:pt>
                <c:pt idx="23009">
                  <c:v>0.41036204744069898</c:v>
                </c:pt>
                <c:pt idx="23010">
                  <c:v>0.410379882289994</c:v>
                </c:pt>
                <c:pt idx="23011">
                  <c:v>0.41039771713929002</c:v>
                </c:pt>
                <c:pt idx="23012">
                  <c:v>0.41041555198858498</c:v>
                </c:pt>
                <c:pt idx="23013">
                  <c:v>0.410433386837881</c:v>
                </c:pt>
                <c:pt idx="23014">
                  <c:v>0.41045122168717602</c:v>
                </c:pt>
                <c:pt idx="23015">
                  <c:v>0.41046905653647198</c:v>
                </c:pt>
                <c:pt idx="23016">
                  <c:v>0.41048689138576699</c:v>
                </c:pt>
                <c:pt idx="23017">
                  <c:v>0.41050472623506301</c:v>
                </c:pt>
                <c:pt idx="23018">
                  <c:v>0.41052256108435797</c:v>
                </c:pt>
                <c:pt idx="23019">
                  <c:v>0.41054039593365399</c:v>
                </c:pt>
                <c:pt idx="23020">
                  <c:v>0.41055823078294901</c:v>
                </c:pt>
                <c:pt idx="23021">
                  <c:v>0.41057606563224502</c:v>
                </c:pt>
                <c:pt idx="23022">
                  <c:v>0.41059390048153999</c:v>
                </c:pt>
                <c:pt idx="23023">
                  <c:v>0.410611735330836</c:v>
                </c:pt>
                <c:pt idx="23024">
                  <c:v>0.41062957018013102</c:v>
                </c:pt>
                <c:pt idx="23025">
                  <c:v>0.41064740502942698</c:v>
                </c:pt>
                <c:pt idx="23026">
                  <c:v>0.410665239878723</c:v>
                </c:pt>
                <c:pt idx="23027">
                  <c:v>0.41068307472801802</c:v>
                </c:pt>
                <c:pt idx="23028">
                  <c:v>0.41070090957731398</c:v>
                </c:pt>
                <c:pt idx="23029">
                  <c:v>0.41071874442660899</c:v>
                </c:pt>
                <c:pt idx="23030">
                  <c:v>0.41073657927590501</c:v>
                </c:pt>
                <c:pt idx="23031">
                  <c:v>0.41075441412519997</c:v>
                </c:pt>
                <c:pt idx="23032">
                  <c:v>0.41077224897449599</c:v>
                </c:pt>
                <c:pt idx="23033">
                  <c:v>0.41079008382379101</c:v>
                </c:pt>
                <c:pt idx="23034">
                  <c:v>0.41080791867308702</c:v>
                </c:pt>
                <c:pt idx="23035">
                  <c:v>0.41082575352238199</c:v>
                </c:pt>
                <c:pt idx="23036">
                  <c:v>0.410843588371678</c:v>
                </c:pt>
                <c:pt idx="23037">
                  <c:v>0.41086142322097302</c:v>
                </c:pt>
                <c:pt idx="23038">
                  <c:v>0.41087925807026898</c:v>
                </c:pt>
                <c:pt idx="23039">
                  <c:v>0.410897092919564</c:v>
                </c:pt>
                <c:pt idx="23040">
                  <c:v>0.41091492776886002</c:v>
                </c:pt>
                <c:pt idx="23041">
                  <c:v>0.41093276261815498</c:v>
                </c:pt>
                <c:pt idx="23042">
                  <c:v>0.410950597467451</c:v>
                </c:pt>
                <c:pt idx="23043">
                  <c:v>0.41096843231674601</c:v>
                </c:pt>
                <c:pt idx="23044">
                  <c:v>0.41098626716604197</c:v>
                </c:pt>
                <c:pt idx="23045">
                  <c:v>0.41100410201533799</c:v>
                </c:pt>
                <c:pt idx="23046">
                  <c:v>0.41102193686463301</c:v>
                </c:pt>
                <c:pt idx="23047">
                  <c:v>0.41103977171392903</c:v>
                </c:pt>
                <c:pt idx="23048">
                  <c:v>0.41105760656322399</c:v>
                </c:pt>
                <c:pt idx="23049">
                  <c:v>0.41107544141252</c:v>
                </c:pt>
                <c:pt idx="23050">
                  <c:v>0.41109327626181502</c:v>
                </c:pt>
                <c:pt idx="23051">
                  <c:v>0.41111111111111098</c:v>
                </c:pt>
                <c:pt idx="23052">
                  <c:v>0.411128945960406</c:v>
                </c:pt>
                <c:pt idx="23053">
                  <c:v>0.41114678080970202</c:v>
                </c:pt>
                <c:pt idx="23054">
                  <c:v>0.41116461565899698</c:v>
                </c:pt>
                <c:pt idx="23055">
                  <c:v>0.411182450508293</c:v>
                </c:pt>
                <c:pt idx="23056">
                  <c:v>0.41120028535758801</c:v>
                </c:pt>
                <c:pt idx="23057">
                  <c:v>0.41121812020688397</c:v>
                </c:pt>
                <c:pt idx="23058">
                  <c:v>0.41123595505617899</c:v>
                </c:pt>
                <c:pt idx="23059">
                  <c:v>0.41125378990547501</c:v>
                </c:pt>
                <c:pt idx="23060">
                  <c:v>0.41127162475477003</c:v>
                </c:pt>
                <c:pt idx="23061">
                  <c:v>0.41128945960406599</c:v>
                </c:pt>
                <c:pt idx="23062">
                  <c:v>0.41130729445336101</c:v>
                </c:pt>
                <c:pt idx="23063">
                  <c:v>0.41132512930265702</c:v>
                </c:pt>
                <c:pt idx="23064">
                  <c:v>0.41134296415195198</c:v>
                </c:pt>
                <c:pt idx="23065">
                  <c:v>0.411360799001248</c:v>
                </c:pt>
                <c:pt idx="23066">
                  <c:v>0.41137863385054302</c:v>
                </c:pt>
                <c:pt idx="23067">
                  <c:v>0.41139646869983898</c:v>
                </c:pt>
                <c:pt idx="23068">
                  <c:v>0.411414303549135</c:v>
                </c:pt>
                <c:pt idx="23069">
                  <c:v>0.41143213839843001</c:v>
                </c:pt>
                <c:pt idx="23070">
                  <c:v>0.41144997324772598</c:v>
                </c:pt>
                <c:pt idx="23071">
                  <c:v>0.41146780809702099</c:v>
                </c:pt>
                <c:pt idx="23072">
                  <c:v>0.41148564294631701</c:v>
                </c:pt>
                <c:pt idx="23073">
                  <c:v>0.41150347779561203</c:v>
                </c:pt>
                <c:pt idx="23074">
                  <c:v>0.41152131264490799</c:v>
                </c:pt>
                <c:pt idx="23075">
                  <c:v>0.41153914749420301</c:v>
                </c:pt>
                <c:pt idx="23076">
                  <c:v>0.41155698234349902</c:v>
                </c:pt>
                <c:pt idx="23077">
                  <c:v>0.41157481719279398</c:v>
                </c:pt>
                <c:pt idx="23078">
                  <c:v>0.41159265204209</c:v>
                </c:pt>
                <c:pt idx="23079">
                  <c:v>0.41161048689138502</c:v>
                </c:pt>
                <c:pt idx="23080">
                  <c:v>0.41162832174068098</c:v>
                </c:pt>
                <c:pt idx="23081">
                  <c:v>0.411646156589976</c:v>
                </c:pt>
                <c:pt idx="23082">
                  <c:v>0.41166399143927201</c:v>
                </c:pt>
                <c:pt idx="23083">
                  <c:v>0.41168182628856698</c:v>
                </c:pt>
                <c:pt idx="23084">
                  <c:v>0.41169966113786299</c:v>
                </c:pt>
                <c:pt idx="23085">
                  <c:v>0.41171749598715801</c:v>
                </c:pt>
                <c:pt idx="23086">
                  <c:v>0.41173533083645403</c:v>
                </c:pt>
                <c:pt idx="23087">
                  <c:v>0.41175316568574899</c:v>
                </c:pt>
                <c:pt idx="23088">
                  <c:v>0.41177100053504501</c:v>
                </c:pt>
                <c:pt idx="23089">
                  <c:v>0.41178883538434102</c:v>
                </c:pt>
                <c:pt idx="23090">
                  <c:v>0.41180667023363599</c:v>
                </c:pt>
                <c:pt idx="23091">
                  <c:v>0.411824505082932</c:v>
                </c:pt>
                <c:pt idx="23092">
                  <c:v>0.41184233993222702</c:v>
                </c:pt>
                <c:pt idx="23093">
                  <c:v>0.41186017478152298</c:v>
                </c:pt>
                <c:pt idx="23094">
                  <c:v>0.411878009630818</c:v>
                </c:pt>
                <c:pt idx="23095">
                  <c:v>0.41189584448011402</c:v>
                </c:pt>
                <c:pt idx="23096">
                  <c:v>0.41191367932940898</c:v>
                </c:pt>
                <c:pt idx="23097">
                  <c:v>0.41193151417870499</c:v>
                </c:pt>
                <c:pt idx="23098">
                  <c:v>0.41194934902800001</c:v>
                </c:pt>
                <c:pt idx="23099">
                  <c:v>0.41196718387729597</c:v>
                </c:pt>
                <c:pt idx="23100">
                  <c:v>0.41198501872659099</c:v>
                </c:pt>
                <c:pt idx="23101">
                  <c:v>0.41200285357588701</c:v>
                </c:pt>
                <c:pt idx="23102">
                  <c:v>0.41202068842518202</c:v>
                </c:pt>
                <c:pt idx="23103">
                  <c:v>0.41203852327447799</c:v>
                </c:pt>
                <c:pt idx="23104">
                  <c:v>0.412056358123773</c:v>
                </c:pt>
                <c:pt idx="23105">
                  <c:v>0.41207419297306902</c:v>
                </c:pt>
                <c:pt idx="23106">
                  <c:v>0.41209202782236398</c:v>
                </c:pt>
                <c:pt idx="23107">
                  <c:v>0.41210986267166</c:v>
                </c:pt>
                <c:pt idx="23108">
                  <c:v>0.41212769752095502</c:v>
                </c:pt>
                <c:pt idx="23109">
                  <c:v>0.41214553237025098</c:v>
                </c:pt>
                <c:pt idx="23110">
                  <c:v>0.41216336721954699</c:v>
                </c:pt>
                <c:pt idx="23111">
                  <c:v>0.41218120206884201</c:v>
                </c:pt>
                <c:pt idx="23112">
                  <c:v>0.41219903691813797</c:v>
                </c:pt>
                <c:pt idx="23113">
                  <c:v>0.41221687176743299</c:v>
                </c:pt>
                <c:pt idx="23114">
                  <c:v>0.41223470661672901</c:v>
                </c:pt>
                <c:pt idx="23115">
                  <c:v>0.41225254146602403</c:v>
                </c:pt>
                <c:pt idx="23116">
                  <c:v>0.41227037631531999</c:v>
                </c:pt>
                <c:pt idx="23117">
                  <c:v>0.412288211164615</c:v>
                </c:pt>
                <c:pt idx="23118">
                  <c:v>0.41230604601391102</c:v>
                </c:pt>
                <c:pt idx="23119">
                  <c:v>0.41232388086320598</c:v>
                </c:pt>
                <c:pt idx="23120">
                  <c:v>0.412341715712502</c:v>
                </c:pt>
                <c:pt idx="23121">
                  <c:v>0.41235955056179702</c:v>
                </c:pt>
                <c:pt idx="23122">
                  <c:v>0.41237738541109298</c:v>
                </c:pt>
                <c:pt idx="23123">
                  <c:v>0.412395220260388</c:v>
                </c:pt>
                <c:pt idx="23124">
                  <c:v>0.41241305510968401</c:v>
                </c:pt>
                <c:pt idx="23125">
                  <c:v>0.41243088995897897</c:v>
                </c:pt>
                <c:pt idx="23126">
                  <c:v>0.41244872480827499</c:v>
                </c:pt>
                <c:pt idx="23127">
                  <c:v>0.41246655965757001</c:v>
                </c:pt>
                <c:pt idx="23128">
                  <c:v>0.41248439450686603</c:v>
                </c:pt>
                <c:pt idx="23129">
                  <c:v>0.41250222935616099</c:v>
                </c:pt>
                <c:pt idx="23130">
                  <c:v>0.412520064205457</c:v>
                </c:pt>
                <c:pt idx="23131">
                  <c:v>0.41253789905475202</c:v>
                </c:pt>
                <c:pt idx="23132">
                  <c:v>0.41255573390404798</c:v>
                </c:pt>
                <c:pt idx="23133">
                  <c:v>0.412573568753344</c:v>
                </c:pt>
                <c:pt idx="23134">
                  <c:v>0.41259140360263902</c:v>
                </c:pt>
                <c:pt idx="23135">
                  <c:v>0.41260923845193498</c:v>
                </c:pt>
                <c:pt idx="23136">
                  <c:v>0.41262707330123</c:v>
                </c:pt>
                <c:pt idx="23137">
                  <c:v>0.41264490815052601</c:v>
                </c:pt>
                <c:pt idx="23138">
                  <c:v>0.41266274299982098</c:v>
                </c:pt>
                <c:pt idx="23139">
                  <c:v>0.41268057784911699</c:v>
                </c:pt>
                <c:pt idx="23140">
                  <c:v>0.41269841269841201</c:v>
                </c:pt>
                <c:pt idx="23141">
                  <c:v>0.41271624754770803</c:v>
                </c:pt>
                <c:pt idx="23142">
                  <c:v>0.41273408239700299</c:v>
                </c:pt>
                <c:pt idx="23143">
                  <c:v>0.412751917246299</c:v>
                </c:pt>
                <c:pt idx="23144">
                  <c:v>0.41276975209559402</c:v>
                </c:pt>
                <c:pt idx="23145">
                  <c:v>0.41278758694488998</c:v>
                </c:pt>
                <c:pt idx="23146">
                  <c:v>0.412805421794185</c:v>
                </c:pt>
                <c:pt idx="23147">
                  <c:v>0.41282325664348102</c:v>
                </c:pt>
                <c:pt idx="23148">
                  <c:v>0.41284109149277598</c:v>
                </c:pt>
                <c:pt idx="23149">
                  <c:v>0.412858926342072</c:v>
                </c:pt>
                <c:pt idx="23150">
                  <c:v>0.41287676119136701</c:v>
                </c:pt>
                <c:pt idx="23151">
                  <c:v>0.41289459604066298</c:v>
                </c:pt>
                <c:pt idx="23152">
                  <c:v>0.41291243088995899</c:v>
                </c:pt>
                <c:pt idx="23153">
                  <c:v>0.41293026573925401</c:v>
                </c:pt>
                <c:pt idx="23154">
                  <c:v>0.41294810058855003</c:v>
                </c:pt>
                <c:pt idx="23155">
                  <c:v>0.41296593543784499</c:v>
                </c:pt>
                <c:pt idx="23156">
                  <c:v>0.41298377028714101</c:v>
                </c:pt>
                <c:pt idx="23157">
                  <c:v>0.41300160513643602</c:v>
                </c:pt>
                <c:pt idx="23158">
                  <c:v>0.41301943998573198</c:v>
                </c:pt>
                <c:pt idx="23159">
                  <c:v>0.413037274835027</c:v>
                </c:pt>
                <c:pt idx="23160">
                  <c:v>0.41305510968432302</c:v>
                </c:pt>
                <c:pt idx="23161">
                  <c:v>0.41307294453361798</c:v>
                </c:pt>
                <c:pt idx="23162">
                  <c:v>0.413090779382914</c:v>
                </c:pt>
                <c:pt idx="23163">
                  <c:v>0.41310861423220901</c:v>
                </c:pt>
                <c:pt idx="23164">
                  <c:v>0.41312644908150498</c:v>
                </c:pt>
                <c:pt idx="23165">
                  <c:v>0.41314428393079999</c:v>
                </c:pt>
                <c:pt idx="23166">
                  <c:v>0.41316211878009601</c:v>
                </c:pt>
                <c:pt idx="23167">
                  <c:v>0.41317995362939097</c:v>
                </c:pt>
                <c:pt idx="23168">
                  <c:v>0.41319778847868699</c:v>
                </c:pt>
                <c:pt idx="23169">
                  <c:v>0.41321562332798201</c:v>
                </c:pt>
                <c:pt idx="23170">
                  <c:v>0.41323345817727802</c:v>
                </c:pt>
                <c:pt idx="23171">
                  <c:v>0.41325129302657299</c:v>
                </c:pt>
                <c:pt idx="23172">
                  <c:v>0.413269127875869</c:v>
                </c:pt>
                <c:pt idx="23173">
                  <c:v>0.41328696272516402</c:v>
                </c:pt>
                <c:pt idx="23174">
                  <c:v>0.41330479757445998</c:v>
                </c:pt>
                <c:pt idx="23175">
                  <c:v>0.413322632423756</c:v>
                </c:pt>
                <c:pt idx="23176">
                  <c:v>0.41334046727305102</c:v>
                </c:pt>
                <c:pt idx="23177">
                  <c:v>0.41335830212234698</c:v>
                </c:pt>
                <c:pt idx="23178">
                  <c:v>0.41337613697164199</c:v>
                </c:pt>
                <c:pt idx="23179">
                  <c:v>0.41339397182093801</c:v>
                </c:pt>
                <c:pt idx="23180">
                  <c:v>0.41341180667023297</c:v>
                </c:pt>
                <c:pt idx="23181">
                  <c:v>0.41342964151952899</c:v>
                </c:pt>
                <c:pt idx="23182">
                  <c:v>0.41344747636882401</c:v>
                </c:pt>
                <c:pt idx="23183">
                  <c:v>0.41346531121812002</c:v>
                </c:pt>
                <c:pt idx="23184">
                  <c:v>0.41348314606741499</c:v>
                </c:pt>
                <c:pt idx="23185">
                  <c:v>0.413500980916711</c:v>
                </c:pt>
                <c:pt idx="23186">
                  <c:v>0.41351881576600602</c:v>
                </c:pt>
                <c:pt idx="23187">
                  <c:v>0.41353665061530198</c:v>
                </c:pt>
                <c:pt idx="23188">
                  <c:v>0.413554485464597</c:v>
                </c:pt>
                <c:pt idx="23189">
                  <c:v>0.41357232031389302</c:v>
                </c:pt>
                <c:pt idx="23190">
                  <c:v>0.41359015516318798</c:v>
                </c:pt>
                <c:pt idx="23191">
                  <c:v>0.41360799001248399</c:v>
                </c:pt>
                <c:pt idx="23192">
                  <c:v>0.41362582486177901</c:v>
                </c:pt>
                <c:pt idx="23193">
                  <c:v>0.41364365971107497</c:v>
                </c:pt>
                <c:pt idx="23194">
                  <c:v>0.41366149456037099</c:v>
                </c:pt>
                <c:pt idx="23195">
                  <c:v>0.41367932940966601</c:v>
                </c:pt>
                <c:pt idx="23196">
                  <c:v>0.41369716425896202</c:v>
                </c:pt>
                <c:pt idx="23197">
                  <c:v>0.41371499910825699</c:v>
                </c:pt>
                <c:pt idx="23198">
                  <c:v>0.413732833957553</c:v>
                </c:pt>
                <c:pt idx="23199">
                  <c:v>0.41375066880684802</c:v>
                </c:pt>
                <c:pt idx="23200">
                  <c:v>0.41376850365614398</c:v>
                </c:pt>
                <c:pt idx="23201">
                  <c:v>0.413786338505439</c:v>
                </c:pt>
                <c:pt idx="23202">
                  <c:v>0.41380417335473502</c:v>
                </c:pt>
                <c:pt idx="23203">
                  <c:v>0.41382200820402998</c:v>
                </c:pt>
                <c:pt idx="23204">
                  <c:v>0.413839843053326</c:v>
                </c:pt>
                <c:pt idx="23205">
                  <c:v>0.41385767790262101</c:v>
                </c:pt>
                <c:pt idx="23206">
                  <c:v>0.41387551275191697</c:v>
                </c:pt>
                <c:pt idx="23207">
                  <c:v>0.41389334760121199</c:v>
                </c:pt>
                <c:pt idx="23208">
                  <c:v>0.41391118245050801</c:v>
                </c:pt>
                <c:pt idx="23209">
                  <c:v>0.41392901729980303</c:v>
                </c:pt>
                <c:pt idx="23210">
                  <c:v>0.41394685214909899</c:v>
                </c:pt>
                <c:pt idx="23211">
                  <c:v>0.413964686998394</c:v>
                </c:pt>
                <c:pt idx="23212">
                  <c:v>0.41398252184769002</c:v>
                </c:pt>
                <c:pt idx="23213">
                  <c:v>0.41400035669698498</c:v>
                </c:pt>
                <c:pt idx="23214">
                  <c:v>0.414018191546281</c:v>
                </c:pt>
                <c:pt idx="23215">
                  <c:v>0.41403602639557602</c:v>
                </c:pt>
                <c:pt idx="23216">
                  <c:v>0.41405386124487198</c:v>
                </c:pt>
                <c:pt idx="23217">
                  <c:v>0.414071696094168</c:v>
                </c:pt>
                <c:pt idx="23218">
                  <c:v>0.41408953094346301</c:v>
                </c:pt>
                <c:pt idx="23219">
                  <c:v>0.41410736579275897</c:v>
                </c:pt>
                <c:pt idx="23220">
                  <c:v>0.41412520064205399</c:v>
                </c:pt>
                <c:pt idx="23221">
                  <c:v>0.41414303549135001</c:v>
                </c:pt>
                <c:pt idx="23222">
                  <c:v>0.41416087034064503</c:v>
                </c:pt>
                <c:pt idx="23223">
                  <c:v>0.41417870518994099</c:v>
                </c:pt>
                <c:pt idx="23224">
                  <c:v>0.41419654003923601</c:v>
                </c:pt>
                <c:pt idx="23225">
                  <c:v>0.41421437488853202</c:v>
                </c:pt>
                <c:pt idx="23226">
                  <c:v>0.41423220973782698</c:v>
                </c:pt>
                <c:pt idx="23227">
                  <c:v>0.414250044587123</c:v>
                </c:pt>
                <c:pt idx="23228">
                  <c:v>0.41426787943641802</c:v>
                </c:pt>
                <c:pt idx="23229">
                  <c:v>0.41428571428571398</c:v>
                </c:pt>
                <c:pt idx="23230">
                  <c:v>0.414303549135009</c:v>
                </c:pt>
                <c:pt idx="23231">
                  <c:v>0.41432138398430501</c:v>
                </c:pt>
                <c:pt idx="23232">
                  <c:v>0.41433921883359998</c:v>
                </c:pt>
                <c:pt idx="23233">
                  <c:v>0.41435705368289599</c:v>
                </c:pt>
                <c:pt idx="23234">
                  <c:v>0.41437488853219101</c:v>
                </c:pt>
                <c:pt idx="23235">
                  <c:v>0.41439272338148703</c:v>
                </c:pt>
                <c:pt idx="23236">
                  <c:v>0.41441055823078199</c:v>
                </c:pt>
                <c:pt idx="23237">
                  <c:v>0.41442839308007801</c:v>
                </c:pt>
                <c:pt idx="23238">
                  <c:v>0.41444622792937402</c:v>
                </c:pt>
                <c:pt idx="23239">
                  <c:v>0.41446406277866898</c:v>
                </c:pt>
                <c:pt idx="23240">
                  <c:v>0.414481897627965</c:v>
                </c:pt>
                <c:pt idx="23241">
                  <c:v>0.41449973247726002</c:v>
                </c:pt>
                <c:pt idx="23242">
                  <c:v>0.41451756732655598</c:v>
                </c:pt>
                <c:pt idx="23243">
                  <c:v>0.414535402175851</c:v>
                </c:pt>
                <c:pt idx="23244">
                  <c:v>0.41455323702514701</c:v>
                </c:pt>
                <c:pt idx="23245">
                  <c:v>0.41457107187444198</c:v>
                </c:pt>
                <c:pt idx="23246">
                  <c:v>0.41458890672373799</c:v>
                </c:pt>
                <c:pt idx="23247">
                  <c:v>0.41460674157303301</c:v>
                </c:pt>
                <c:pt idx="23248">
                  <c:v>0.41462457642232903</c:v>
                </c:pt>
                <c:pt idx="23249">
                  <c:v>0.41464241127162399</c:v>
                </c:pt>
                <c:pt idx="23250">
                  <c:v>0.41466024612092001</c:v>
                </c:pt>
                <c:pt idx="23251">
                  <c:v>0.41467808097021502</c:v>
                </c:pt>
                <c:pt idx="23252">
                  <c:v>0.41469591581951099</c:v>
                </c:pt>
                <c:pt idx="23253">
                  <c:v>0.414713750668806</c:v>
                </c:pt>
                <c:pt idx="23254">
                  <c:v>0.41473158551810202</c:v>
                </c:pt>
                <c:pt idx="23255">
                  <c:v>0.41474942036739698</c:v>
                </c:pt>
                <c:pt idx="23256">
                  <c:v>0.414767255216693</c:v>
                </c:pt>
                <c:pt idx="23257">
                  <c:v>0.41478509006598802</c:v>
                </c:pt>
                <c:pt idx="23258">
                  <c:v>0.41480292491528398</c:v>
                </c:pt>
                <c:pt idx="23259">
                  <c:v>0.41482075976457999</c:v>
                </c:pt>
                <c:pt idx="23260">
                  <c:v>0.41483859461387501</c:v>
                </c:pt>
                <c:pt idx="23261">
                  <c:v>0.41485642946317097</c:v>
                </c:pt>
                <c:pt idx="23262">
                  <c:v>0.41487426431246599</c:v>
                </c:pt>
                <c:pt idx="23263">
                  <c:v>0.41489209916176201</c:v>
                </c:pt>
                <c:pt idx="23264">
                  <c:v>0.41490993401105702</c:v>
                </c:pt>
                <c:pt idx="23265">
                  <c:v>0.41492776886035299</c:v>
                </c:pt>
                <c:pt idx="23266">
                  <c:v>0.414945603709648</c:v>
                </c:pt>
                <c:pt idx="23267">
                  <c:v>0.41496343855894402</c:v>
                </c:pt>
                <c:pt idx="23268">
                  <c:v>0.41498127340823898</c:v>
                </c:pt>
                <c:pt idx="23269">
                  <c:v>0.414999108257535</c:v>
                </c:pt>
                <c:pt idx="23270">
                  <c:v>0.41501694310683002</c:v>
                </c:pt>
                <c:pt idx="23271">
                  <c:v>0.41503477795612598</c:v>
                </c:pt>
                <c:pt idx="23272">
                  <c:v>0.415052612805421</c:v>
                </c:pt>
                <c:pt idx="23273">
                  <c:v>0.41507044765471701</c:v>
                </c:pt>
                <c:pt idx="23274">
                  <c:v>0.41508828250401197</c:v>
                </c:pt>
                <c:pt idx="23275">
                  <c:v>0.41510611735330799</c:v>
                </c:pt>
                <c:pt idx="23276">
                  <c:v>0.41512395220260301</c:v>
                </c:pt>
                <c:pt idx="23277">
                  <c:v>0.41514178705189902</c:v>
                </c:pt>
                <c:pt idx="23278">
                  <c:v>0.41515962190119399</c:v>
                </c:pt>
                <c:pt idx="23279">
                  <c:v>0.41517745675049</c:v>
                </c:pt>
                <c:pt idx="23280">
                  <c:v>0.41519529159978502</c:v>
                </c:pt>
                <c:pt idx="23281">
                  <c:v>0.41521312644908098</c:v>
                </c:pt>
                <c:pt idx="23282">
                  <c:v>0.415230961298377</c:v>
                </c:pt>
                <c:pt idx="23283">
                  <c:v>0.41524879614767202</c:v>
                </c:pt>
                <c:pt idx="23284">
                  <c:v>0.41526663099696798</c:v>
                </c:pt>
                <c:pt idx="23285">
                  <c:v>0.415284465846263</c:v>
                </c:pt>
                <c:pt idx="23286">
                  <c:v>0.41530230069555901</c:v>
                </c:pt>
                <c:pt idx="23287">
                  <c:v>0.41532013554485397</c:v>
                </c:pt>
                <c:pt idx="23288">
                  <c:v>0.41533797039414999</c:v>
                </c:pt>
                <c:pt idx="23289">
                  <c:v>0.41535580524344501</c:v>
                </c:pt>
                <c:pt idx="23290">
                  <c:v>0.41537364009274103</c:v>
                </c:pt>
                <c:pt idx="23291">
                  <c:v>0.41539147494203599</c:v>
                </c:pt>
                <c:pt idx="23292">
                  <c:v>0.415409309791332</c:v>
                </c:pt>
                <c:pt idx="23293">
                  <c:v>0.41542714464062702</c:v>
                </c:pt>
                <c:pt idx="23294">
                  <c:v>0.41544497948992298</c:v>
                </c:pt>
                <c:pt idx="23295">
                  <c:v>0.415462814339218</c:v>
                </c:pt>
                <c:pt idx="23296">
                  <c:v>0.41548064918851402</c:v>
                </c:pt>
                <c:pt idx="23297">
                  <c:v>0.41549848403780898</c:v>
                </c:pt>
                <c:pt idx="23298">
                  <c:v>0.415516318887105</c:v>
                </c:pt>
                <c:pt idx="23299">
                  <c:v>0.41553415373640001</c:v>
                </c:pt>
                <c:pt idx="23300">
                  <c:v>0.41555198858569597</c:v>
                </c:pt>
                <c:pt idx="23301">
                  <c:v>0.41556982343499199</c:v>
                </c:pt>
                <c:pt idx="23302">
                  <c:v>0.41558765828428701</c:v>
                </c:pt>
                <c:pt idx="23303">
                  <c:v>0.41560549313358303</c:v>
                </c:pt>
                <c:pt idx="23304">
                  <c:v>0.41562332798287799</c:v>
                </c:pt>
                <c:pt idx="23305">
                  <c:v>0.415641162832174</c:v>
                </c:pt>
                <c:pt idx="23306">
                  <c:v>0.41565899768146902</c:v>
                </c:pt>
                <c:pt idx="23307">
                  <c:v>0.41567683253076498</c:v>
                </c:pt>
                <c:pt idx="23308">
                  <c:v>0.41569466738006</c:v>
                </c:pt>
                <c:pt idx="23309">
                  <c:v>0.41571250222935602</c:v>
                </c:pt>
                <c:pt idx="23310">
                  <c:v>0.41573033707865098</c:v>
                </c:pt>
                <c:pt idx="23311">
                  <c:v>0.415748171927947</c:v>
                </c:pt>
                <c:pt idx="23312">
                  <c:v>0.41576600677724201</c:v>
                </c:pt>
                <c:pt idx="23313">
                  <c:v>0.41578384162653798</c:v>
                </c:pt>
                <c:pt idx="23314">
                  <c:v>0.41580167647583299</c:v>
                </c:pt>
                <c:pt idx="23315">
                  <c:v>0.41581951132512901</c:v>
                </c:pt>
                <c:pt idx="23316">
                  <c:v>0.41583734617442403</c:v>
                </c:pt>
                <c:pt idx="23317">
                  <c:v>0.41585518102371999</c:v>
                </c:pt>
                <c:pt idx="23318">
                  <c:v>0.41587301587301501</c:v>
                </c:pt>
                <c:pt idx="23319">
                  <c:v>0.41589085072231102</c:v>
                </c:pt>
                <c:pt idx="23320">
                  <c:v>0.41590868557160598</c:v>
                </c:pt>
                <c:pt idx="23321">
                  <c:v>0.415926520420902</c:v>
                </c:pt>
                <c:pt idx="23322">
                  <c:v>0.41594435527019702</c:v>
                </c:pt>
                <c:pt idx="23323">
                  <c:v>0.41596219011949298</c:v>
                </c:pt>
                <c:pt idx="23324">
                  <c:v>0.415980024968789</c:v>
                </c:pt>
                <c:pt idx="23325">
                  <c:v>0.41599785981808401</c:v>
                </c:pt>
                <c:pt idx="23326">
                  <c:v>0.41601569466737998</c:v>
                </c:pt>
                <c:pt idx="23327">
                  <c:v>0.41603352951667499</c:v>
                </c:pt>
                <c:pt idx="23328">
                  <c:v>0.41605136436597101</c:v>
                </c:pt>
                <c:pt idx="23329">
                  <c:v>0.41606919921526597</c:v>
                </c:pt>
                <c:pt idx="23330">
                  <c:v>0.41608703406456199</c:v>
                </c:pt>
                <c:pt idx="23331">
                  <c:v>0.41610486891385701</c:v>
                </c:pt>
                <c:pt idx="23332">
                  <c:v>0.41612270376315302</c:v>
                </c:pt>
                <c:pt idx="23333">
                  <c:v>0.41614053861244799</c:v>
                </c:pt>
                <c:pt idx="23334">
                  <c:v>0.416158373461744</c:v>
                </c:pt>
                <c:pt idx="23335">
                  <c:v>0.41617620831103902</c:v>
                </c:pt>
                <c:pt idx="23336">
                  <c:v>0.41619404316033498</c:v>
                </c:pt>
                <c:pt idx="23337">
                  <c:v>0.41621187800963</c:v>
                </c:pt>
                <c:pt idx="23338">
                  <c:v>0.41622971285892602</c:v>
                </c:pt>
                <c:pt idx="23339">
                  <c:v>0.41624754770822098</c:v>
                </c:pt>
                <c:pt idx="23340">
                  <c:v>0.41626538255751699</c:v>
                </c:pt>
                <c:pt idx="23341">
                  <c:v>0.41628321740681201</c:v>
                </c:pt>
                <c:pt idx="23342">
                  <c:v>0.41630105225610797</c:v>
                </c:pt>
                <c:pt idx="23343">
                  <c:v>0.41631888710540299</c:v>
                </c:pt>
                <c:pt idx="23344">
                  <c:v>0.41633672195469901</c:v>
                </c:pt>
                <c:pt idx="23345">
                  <c:v>0.41635455680399502</c:v>
                </c:pt>
                <c:pt idx="23346">
                  <c:v>0.41637239165328999</c:v>
                </c:pt>
                <c:pt idx="23347">
                  <c:v>0.416390226502586</c:v>
                </c:pt>
                <c:pt idx="23348">
                  <c:v>0.41640806135188102</c:v>
                </c:pt>
                <c:pt idx="23349">
                  <c:v>0.41642589620117698</c:v>
                </c:pt>
                <c:pt idx="23350">
                  <c:v>0.416443731050472</c:v>
                </c:pt>
                <c:pt idx="23351">
                  <c:v>0.41646156589976802</c:v>
                </c:pt>
                <c:pt idx="23352">
                  <c:v>0.41647940074906298</c:v>
                </c:pt>
                <c:pt idx="23353">
                  <c:v>0.41649723559835899</c:v>
                </c:pt>
                <c:pt idx="23354">
                  <c:v>0.41651507044765401</c:v>
                </c:pt>
                <c:pt idx="23355">
                  <c:v>0.41653290529694997</c:v>
                </c:pt>
                <c:pt idx="23356">
                  <c:v>0.41655074014624499</c:v>
                </c:pt>
                <c:pt idx="23357">
                  <c:v>0.41656857499554101</c:v>
                </c:pt>
                <c:pt idx="23358">
                  <c:v>0.41658640984483603</c:v>
                </c:pt>
                <c:pt idx="23359">
                  <c:v>0.41660424469413199</c:v>
                </c:pt>
                <c:pt idx="23360">
                  <c:v>0.416622079543427</c:v>
                </c:pt>
                <c:pt idx="23361">
                  <c:v>0.41663991439272302</c:v>
                </c:pt>
                <c:pt idx="23362">
                  <c:v>0.41665774924201798</c:v>
                </c:pt>
                <c:pt idx="23363">
                  <c:v>0.416675584091314</c:v>
                </c:pt>
                <c:pt idx="23364">
                  <c:v>0.41669341894060902</c:v>
                </c:pt>
                <c:pt idx="23365">
                  <c:v>0.41671125378990498</c:v>
                </c:pt>
                <c:pt idx="23366">
                  <c:v>0.416729088639201</c:v>
                </c:pt>
                <c:pt idx="23367">
                  <c:v>0.41674692348849601</c:v>
                </c:pt>
                <c:pt idx="23368">
                  <c:v>0.41676475833779197</c:v>
                </c:pt>
                <c:pt idx="23369">
                  <c:v>0.41678259318708699</c:v>
                </c:pt>
                <c:pt idx="23370">
                  <c:v>0.41680042803638301</c:v>
                </c:pt>
                <c:pt idx="23371">
                  <c:v>0.41681826288567803</c:v>
                </c:pt>
                <c:pt idx="23372">
                  <c:v>0.41683609773497399</c:v>
                </c:pt>
                <c:pt idx="23373">
                  <c:v>0.416853932584269</c:v>
                </c:pt>
                <c:pt idx="23374">
                  <c:v>0.41687176743356502</c:v>
                </c:pt>
                <c:pt idx="23375">
                  <c:v>0.41688960228285998</c:v>
                </c:pt>
                <c:pt idx="23376">
                  <c:v>0.416907437132156</c:v>
                </c:pt>
                <c:pt idx="23377">
                  <c:v>0.41692527198145102</c:v>
                </c:pt>
                <c:pt idx="23378">
                  <c:v>0.41694310683074698</c:v>
                </c:pt>
                <c:pt idx="23379">
                  <c:v>0.416960941680042</c:v>
                </c:pt>
                <c:pt idx="23380">
                  <c:v>0.41697877652933801</c:v>
                </c:pt>
                <c:pt idx="23381">
                  <c:v>0.41699661137863298</c:v>
                </c:pt>
                <c:pt idx="23382">
                  <c:v>0.41701444622792899</c:v>
                </c:pt>
                <c:pt idx="23383">
                  <c:v>0.41703228107722401</c:v>
                </c:pt>
                <c:pt idx="23384">
                  <c:v>0.41705011592652003</c:v>
                </c:pt>
                <c:pt idx="23385">
                  <c:v>0.41706795077581499</c:v>
                </c:pt>
                <c:pt idx="23386">
                  <c:v>0.41708578562511101</c:v>
                </c:pt>
                <c:pt idx="23387">
                  <c:v>0.41710362047440602</c:v>
                </c:pt>
                <c:pt idx="23388">
                  <c:v>0.41712145532370198</c:v>
                </c:pt>
                <c:pt idx="23389">
                  <c:v>0.417139290172998</c:v>
                </c:pt>
                <c:pt idx="23390">
                  <c:v>0.41715712502229302</c:v>
                </c:pt>
                <c:pt idx="23391">
                  <c:v>0.41717495987158898</c:v>
                </c:pt>
                <c:pt idx="23392">
                  <c:v>0.417192794720884</c:v>
                </c:pt>
                <c:pt idx="23393">
                  <c:v>0.41721062957018001</c:v>
                </c:pt>
                <c:pt idx="23394">
                  <c:v>0.41722846441947498</c:v>
                </c:pt>
                <c:pt idx="23395">
                  <c:v>0.41724629926877099</c:v>
                </c:pt>
                <c:pt idx="23396">
                  <c:v>0.41726413411806601</c:v>
                </c:pt>
                <c:pt idx="23397">
                  <c:v>0.41728196896736203</c:v>
                </c:pt>
                <c:pt idx="23398">
                  <c:v>0.41729980381665699</c:v>
                </c:pt>
                <c:pt idx="23399">
                  <c:v>0.41731763866595301</c:v>
                </c:pt>
                <c:pt idx="23400">
                  <c:v>0.41733547351524802</c:v>
                </c:pt>
                <c:pt idx="23401">
                  <c:v>0.41735330836454398</c:v>
                </c:pt>
                <c:pt idx="23402">
                  <c:v>0.417371143213839</c:v>
                </c:pt>
                <c:pt idx="23403">
                  <c:v>0.41738897806313502</c:v>
                </c:pt>
                <c:pt idx="23404">
                  <c:v>0.41740681291242998</c:v>
                </c:pt>
                <c:pt idx="23405">
                  <c:v>0.417424647761726</c:v>
                </c:pt>
                <c:pt idx="23406">
                  <c:v>0.41744248261102102</c:v>
                </c:pt>
                <c:pt idx="23407">
                  <c:v>0.41746031746031698</c:v>
                </c:pt>
                <c:pt idx="23408">
                  <c:v>0.41747815230961299</c:v>
                </c:pt>
                <c:pt idx="23409">
                  <c:v>0.41749598715890801</c:v>
                </c:pt>
                <c:pt idx="23410">
                  <c:v>0.41751382200820403</c:v>
                </c:pt>
                <c:pt idx="23411">
                  <c:v>0.41753165685749899</c:v>
                </c:pt>
                <c:pt idx="23412">
                  <c:v>0.41754949170679501</c:v>
                </c:pt>
                <c:pt idx="23413">
                  <c:v>0.41756732655609002</c:v>
                </c:pt>
                <c:pt idx="23414">
                  <c:v>0.41758516140538599</c:v>
                </c:pt>
                <c:pt idx="23415">
                  <c:v>0.417602996254681</c:v>
                </c:pt>
                <c:pt idx="23416">
                  <c:v>0.41762083110397702</c:v>
                </c:pt>
                <c:pt idx="23417">
                  <c:v>0.41763866595327198</c:v>
                </c:pt>
                <c:pt idx="23418">
                  <c:v>0.417656500802568</c:v>
                </c:pt>
                <c:pt idx="23419">
                  <c:v>0.41767433565186302</c:v>
                </c:pt>
                <c:pt idx="23420">
                  <c:v>0.41769217050115898</c:v>
                </c:pt>
                <c:pt idx="23421">
                  <c:v>0.41771000535045399</c:v>
                </c:pt>
                <c:pt idx="23422">
                  <c:v>0.41772784019975001</c:v>
                </c:pt>
                <c:pt idx="23423">
                  <c:v>0.41774567504904497</c:v>
                </c:pt>
                <c:pt idx="23424">
                  <c:v>0.41776350989834099</c:v>
                </c:pt>
                <c:pt idx="23425">
                  <c:v>0.41778134474763601</c:v>
                </c:pt>
                <c:pt idx="23426">
                  <c:v>0.41779917959693202</c:v>
                </c:pt>
                <c:pt idx="23427">
                  <c:v>0.41781701444622699</c:v>
                </c:pt>
                <c:pt idx="23428">
                  <c:v>0.417834849295523</c:v>
                </c:pt>
                <c:pt idx="23429">
                  <c:v>0.41785268414481802</c:v>
                </c:pt>
                <c:pt idx="23430">
                  <c:v>0.41787051899411398</c:v>
                </c:pt>
                <c:pt idx="23431">
                  <c:v>0.41788835384341</c:v>
                </c:pt>
                <c:pt idx="23432">
                  <c:v>0.41790618869270502</c:v>
                </c:pt>
                <c:pt idx="23433">
                  <c:v>0.41792402354200098</c:v>
                </c:pt>
                <c:pt idx="23434">
                  <c:v>0.417941858391296</c:v>
                </c:pt>
                <c:pt idx="23435">
                  <c:v>0.41795969324059201</c:v>
                </c:pt>
                <c:pt idx="23436">
                  <c:v>0.41797752808988697</c:v>
                </c:pt>
                <c:pt idx="23437">
                  <c:v>0.41799536293918299</c:v>
                </c:pt>
                <c:pt idx="23438">
                  <c:v>0.41801319778847801</c:v>
                </c:pt>
                <c:pt idx="23439">
                  <c:v>0.41803103263777402</c:v>
                </c:pt>
                <c:pt idx="23440">
                  <c:v>0.41804886748706899</c:v>
                </c:pt>
                <c:pt idx="23441">
                  <c:v>0.418066702336365</c:v>
                </c:pt>
                <c:pt idx="23442">
                  <c:v>0.41808453718566002</c:v>
                </c:pt>
                <c:pt idx="23443">
                  <c:v>0.41810237203495598</c:v>
                </c:pt>
                <c:pt idx="23444">
                  <c:v>0.418120206884251</c:v>
                </c:pt>
                <c:pt idx="23445">
                  <c:v>0.41813804173354702</c:v>
                </c:pt>
                <c:pt idx="23446">
                  <c:v>0.41815587658284198</c:v>
                </c:pt>
                <c:pt idx="23447">
                  <c:v>0.418173711432138</c:v>
                </c:pt>
                <c:pt idx="23448">
                  <c:v>0.41819154628143301</c:v>
                </c:pt>
                <c:pt idx="23449">
                  <c:v>0.41820938113072897</c:v>
                </c:pt>
                <c:pt idx="23450">
                  <c:v>0.41822721598002499</c:v>
                </c:pt>
                <c:pt idx="23451">
                  <c:v>0.41824505082932001</c:v>
                </c:pt>
                <c:pt idx="23452">
                  <c:v>0.41826288567861603</c:v>
                </c:pt>
                <c:pt idx="23453">
                  <c:v>0.41828072052791099</c:v>
                </c:pt>
                <c:pt idx="23454">
                  <c:v>0.418298555377207</c:v>
                </c:pt>
                <c:pt idx="23455">
                  <c:v>0.41831639022650202</c:v>
                </c:pt>
                <c:pt idx="23456">
                  <c:v>0.41833422507579798</c:v>
                </c:pt>
                <c:pt idx="23457">
                  <c:v>0.418352059925093</c:v>
                </c:pt>
                <c:pt idx="23458">
                  <c:v>0.41836989477438902</c:v>
                </c:pt>
                <c:pt idx="23459">
                  <c:v>0.41838772962368398</c:v>
                </c:pt>
                <c:pt idx="23460">
                  <c:v>0.41840556447298</c:v>
                </c:pt>
                <c:pt idx="23461">
                  <c:v>0.41842339932227501</c:v>
                </c:pt>
                <c:pt idx="23462">
                  <c:v>0.41844123417157097</c:v>
                </c:pt>
                <c:pt idx="23463">
                  <c:v>0.41845906902086599</c:v>
                </c:pt>
                <c:pt idx="23464">
                  <c:v>0.41847690387016201</c:v>
                </c:pt>
                <c:pt idx="23465">
                  <c:v>0.41849473871945703</c:v>
                </c:pt>
                <c:pt idx="23466">
                  <c:v>0.41851257356875299</c:v>
                </c:pt>
                <c:pt idx="23467">
                  <c:v>0.41853040841804801</c:v>
                </c:pt>
                <c:pt idx="23468">
                  <c:v>0.41854824326734402</c:v>
                </c:pt>
                <c:pt idx="23469">
                  <c:v>0.41856607811663898</c:v>
                </c:pt>
                <c:pt idx="23470">
                  <c:v>0.418583912965935</c:v>
                </c:pt>
                <c:pt idx="23471">
                  <c:v>0.41860174781523002</c:v>
                </c:pt>
                <c:pt idx="23472">
                  <c:v>0.41861958266452598</c:v>
                </c:pt>
                <c:pt idx="23473">
                  <c:v>0.418637417513822</c:v>
                </c:pt>
                <c:pt idx="23474">
                  <c:v>0.41865525236311701</c:v>
                </c:pt>
                <c:pt idx="23475">
                  <c:v>0.41867308721241298</c:v>
                </c:pt>
                <c:pt idx="23476">
                  <c:v>0.41869092206170799</c:v>
                </c:pt>
                <c:pt idx="23477">
                  <c:v>0.41870875691100401</c:v>
                </c:pt>
                <c:pt idx="23478">
                  <c:v>0.41872659176029903</c:v>
                </c:pt>
                <c:pt idx="23479">
                  <c:v>0.41874442660959499</c:v>
                </c:pt>
                <c:pt idx="23480">
                  <c:v>0.41876226145889001</c:v>
                </c:pt>
                <c:pt idx="23481">
                  <c:v>0.41878009630818602</c:v>
                </c:pt>
                <c:pt idx="23482">
                  <c:v>0.41879793115748098</c:v>
                </c:pt>
                <c:pt idx="23483">
                  <c:v>0.418815766006777</c:v>
                </c:pt>
                <c:pt idx="23484">
                  <c:v>0.41883360085607202</c:v>
                </c:pt>
                <c:pt idx="23485">
                  <c:v>0.41885143570536798</c:v>
                </c:pt>
                <c:pt idx="23486">
                  <c:v>0.418869270554663</c:v>
                </c:pt>
                <c:pt idx="23487">
                  <c:v>0.41888710540395901</c:v>
                </c:pt>
                <c:pt idx="23488">
                  <c:v>0.41890494025325398</c:v>
                </c:pt>
                <c:pt idx="23489">
                  <c:v>0.41892277510254999</c:v>
                </c:pt>
                <c:pt idx="23490">
                  <c:v>0.41894060995184501</c:v>
                </c:pt>
                <c:pt idx="23491">
                  <c:v>0.41895844480114097</c:v>
                </c:pt>
                <c:pt idx="23492">
                  <c:v>0.41897627965043599</c:v>
                </c:pt>
                <c:pt idx="23493">
                  <c:v>0.41899411449973201</c:v>
                </c:pt>
                <c:pt idx="23494">
                  <c:v>0.41901194934902802</c:v>
                </c:pt>
                <c:pt idx="23495">
                  <c:v>0.41902978419832299</c:v>
                </c:pt>
                <c:pt idx="23496">
                  <c:v>0.419047619047619</c:v>
                </c:pt>
                <c:pt idx="23497">
                  <c:v>0.41906545389691402</c:v>
                </c:pt>
                <c:pt idx="23498">
                  <c:v>0.41908328874620998</c:v>
                </c:pt>
                <c:pt idx="23499">
                  <c:v>0.419101123595505</c:v>
                </c:pt>
                <c:pt idx="23500">
                  <c:v>0.41911895844480102</c:v>
                </c:pt>
                <c:pt idx="23501">
                  <c:v>0.41913679329409598</c:v>
                </c:pt>
                <c:pt idx="23502">
                  <c:v>0.41915462814339199</c:v>
                </c:pt>
                <c:pt idx="23503">
                  <c:v>0.41917246299268701</c:v>
                </c:pt>
                <c:pt idx="23504">
                  <c:v>0.41919029784198297</c:v>
                </c:pt>
                <c:pt idx="23505">
                  <c:v>0.41920813269127799</c:v>
                </c:pt>
                <c:pt idx="23506">
                  <c:v>0.41922596754057401</c:v>
                </c:pt>
                <c:pt idx="23507">
                  <c:v>0.41924380238986902</c:v>
                </c:pt>
                <c:pt idx="23508">
                  <c:v>0.41926163723916499</c:v>
                </c:pt>
                <c:pt idx="23509">
                  <c:v>0.41927947208846</c:v>
                </c:pt>
                <c:pt idx="23510">
                  <c:v>0.41929730693775602</c:v>
                </c:pt>
                <c:pt idx="23511">
                  <c:v>0.41931514178705098</c:v>
                </c:pt>
                <c:pt idx="23512">
                  <c:v>0.419332976636347</c:v>
                </c:pt>
                <c:pt idx="23513">
                  <c:v>0.41935081148564202</c:v>
                </c:pt>
                <c:pt idx="23514">
                  <c:v>0.41936864633493798</c:v>
                </c:pt>
                <c:pt idx="23515">
                  <c:v>0.41938648118423399</c:v>
                </c:pt>
                <c:pt idx="23516">
                  <c:v>0.41940431603352901</c:v>
                </c:pt>
                <c:pt idx="23517">
                  <c:v>0.41942215088282497</c:v>
                </c:pt>
                <c:pt idx="23518">
                  <c:v>0.41943998573211999</c:v>
                </c:pt>
                <c:pt idx="23519">
                  <c:v>0.41945782058141601</c:v>
                </c:pt>
                <c:pt idx="23520">
                  <c:v>0.41947565543071103</c:v>
                </c:pt>
                <c:pt idx="23521">
                  <c:v>0.41949349028000699</c:v>
                </c:pt>
                <c:pt idx="23522">
                  <c:v>0.419511325129302</c:v>
                </c:pt>
                <c:pt idx="23523">
                  <c:v>0.41952915997859802</c:v>
                </c:pt>
                <c:pt idx="23524">
                  <c:v>0.41954699482789298</c:v>
                </c:pt>
                <c:pt idx="23525">
                  <c:v>0.419564829677189</c:v>
                </c:pt>
                <c:pt idx="23526">
                  <c:v>0.41958266452648402</c:v>
                </c:pt>
                <c:pt idx="23527">
                  <c:v>0.41960049937577998</c:v>
                </c:pt>
                <c:pt idx="23528">
                  <c:v>0.419618334225075</c:v>
                </c:pt>
                <c:pt idx="23529">
                  <c:v>0.41963616907437101</c:v>
                </c:pt>
                <c:pt idx="23530">
                  <c:v>0.41965400392366597</c:v>
                </c:pt>
                <c:pt idx="23531">
                  <c:v>0.41967183877296199</c:v>
                </c:pt>
                <c:pt idx="23532">
                  <c:v>0.41968967362225701</c:v>
                </c:pt>
                <c:pt idx="23533">
                  <c:v>0.41970750847155303</c:v>
                </c:pt>
                <c:pt idx="23534">
                  <c:v>0.41972534332084799</c:v>
                </c:pt>
                <c:pt idx="23535">
                  <c:v>0.419743178170144</c:v>
                </c:pt>
                <c:pt idx="23536">
                  <c:v>0.41976101301943902</c:v>
                </c:pt>
                <c:pt idx="23537">
                  <c:v>0.41977884786873498</c:v>
                </c:pt>
                <c:pt idx="23538">
                  <c:v>0.419796682718031</c:v>
                </c:pt>
                <c:pt idx="23539">
                  <c:v>0.41981451756732602</c:v>
                </c:pt>
                <c:pt idx="23540">
                  <c:v>0.41983235241662198</c:v>
                </c:pt>
                <c:pt idx="23541">
                  <c:v>0.419850187265917</c:v>
                </c:pt>
                <c:pt idx="23542">
                  <c:v>0.41986802211521301</c:v>
                </c:pt>
                <c:pt idx="23543">
                  <c:v>0.41988585696450798</c:v>
                </c:pt>
                <c:pt idx="23544">
                  <c:v>0.41990369181380399</c:v>
                </c:pt>
                <c:pt idx="23545">
                  <c:v>0.41992152666309901</c:v>
                </c:pt>
                <c:pt idx="23546">
                  <c:v>0.41993936151239503</c:v>
                </c:pt>
                <c:pt idx="23547">
                  <c:v>0.41995719636168999</c:v>
                </c:pt>
                <c:pt idx="23548">
                  <c:v>0.41997503121098601</c:v>
                </c:pt>
                <c:pt idx="23549">
                  <c:v>0.41999286606028102</c:v>
                </c:pt>
                <c:pt idx="23550">
                  <c:v>0.42001070090957698</c:v>
                </c:pt>
                <c:pt idx="23551">
                  <c:v>0.420028535758872</c:v>
                </c:pt>
                <c:pt idx="23552">
                  <c:v>0.42004637060816802</c:v>
                </c:pt>
                <c:pt idx="23553">
                  <c:v>0.42006420545746298</c:v>
                </c:pt>
                <c:pt idx="23554">
                  <c:v>0.420082040306759</c:v>
                </c:pt>
                <c:pt idx="23555">
                  <c:v>0.42009987515605401</c:v>
                </c:pt>
                <c:pt idx="23556">
                  <c:v>0.42011771000534998</c:v>
                </c:pt>
                <c:pt idx="23557">
                  <c:v>0.42013554485464599</c:v>
                </c:pt>
                <c:pt idx="23558">
                  <c:v>0.42015337970394101</c:v>
                </c:pt>
                <c:pt idx="23559">
                  <c:v>0.42017121455323703</c:v>
                </c:pt>
                <c:pt idx="23560">
                  <c:v>0.42018904940253199</c:v>
                </c:pt>
                <c:pt idx="23561">
                  <c:v>0.42020688425182801</c:v>
                </c:pt>
                <c:pt idx="23562">
                  <c:v>0.42022471910112302</c:v>
                </c:pt>
                <c:pt idx="23563">
                  <c:v>0.42024255395041898</c:v>
                </c:pt>
                <c:pt idx="23564">
                  <c:v>0.420260388799714</c:v>
                </c:pt>
                <c:pt idx="23565">
                  <c:v>0.42027822364901002</c:v>
                </c:pt>
                <c:pt idx="23566">
                  <c:v>0.42029605849830498</c:v>
                </c:pt>
                <c:pt idx="23567">
                  <c:v>0.420313893347601</c:v>
                </c:pt>
                <c:pt idx="23568">
                  <c:v>0.42033172819689602</c:v>
                </c:pt>
                <c:pt idx="23569">
                  <c:v>0.42034956304619198</c:v>
                </c:pt>
                <c:pt idx="23570">
                  <c:v>0.42036739789548699</c:v>
                </c:pt>
                <c:pt idx="23571">
                  <c:v>0.42038523274478301</c:v>
                </c:pt>
                <c:pt idx="23572">
                  <c:v>0.42040306759407797</c:v>
                </c:pt>
                <c:pt idx="23573">
                  <c:v>0.42042090244337399</c:v>
                </c:pt>
                <c:pt idx="23574">
                  <c:v>0.42043873729266901</c:v>
                </c:pt>
                <c:pt idx="23575">
                  <c:v>0.42045657214196502</c:v>
                </c:pt>
                <c:pt idx="23576">
                  <c:v>0.42047440699125999</c:v>
                </c:pt>
                <c:pt idx="23577">
                  <c:v>0.420492241840556</c:v>
                </c:pt>
                <c:pt idx="23578">
                  <c:v>0.42051007668985102</c:v>
                </c:pt>
                <c:pt idx="23579">
                  <c:v>0.42052791153914698</c:v>
                </c:pt>
                <c:pt idx="23580">
                  <c:v>0.420545746388443</c:v>
                </c:pt>
                <c:pt idx="23581">
                  <c:v>0.42056358123773802</c:v>
                </c:pt>
                <c:pt idx="23582">
                  <c:v>0.42058141608703398</c:v>
                </c:pt>
                <c:pt idx="23583">
                  <c:v>0.42059925093632899</c:v>
                </c:pt>
                <c:pt idx="23584">
                  <c:v>0.42061708578562501</c:v>
                </c:pt>
                <c:pt idx="23585">
                  <c:v>0.42063492063491997</c:v>
                </c:pt>
                <c:pt idx="23586">
                  <c:v>0.42065275548421599</c:v>
                </c:pt>
                <c:pt idx="23587">
                  <c:v>0.42067059033351101</c:v>
                </c:pt>
                <c:pt idx="23588">
                  <c:v>0.42068842518280702</c:v>
                </c:pt>
                <c:pt idx="23589">
                  <c:v>0.42070626003210199</c:v>
                </c:pt>
                <c:pt idx="23590">
                  <c:v>0.420724094881398</c:v>
                </c:pt>
                <c:pt idx="23591">
                  <c:v>0.42074192973069302</c:v>
                </c:pt>
                <c:pt idx="23592">
                  <c:v>0.42075976457998898</c:v>
                </c:pt>
                <c:pt idx="23593">
                  <c:v>0.420777599429284</c:v>
                </c:pt>
                <c:pt idx="23594">
                  <c:v>0.42079543427858002</c:v>
                </c:pt>
                <c:pt idx="23595">
                  <c:v>0.42081326912787498</c:v>
                </c:pt>
                <c:pt idx="23596">
                  <c:v>0.42083110397717099</c:v>
                </c:pt>
                <c:pt idx="23597">
                  <c:v>0.42084893882646601</c:v>
                </c:pt>
                <c:pt idx="23598">
                  <c:v>0.42086677367576197</c:v>
                </c:pt>
                <c:pt idx="23599">
                  <c:v>0.42088460852505799</c:v>
                </c:pt>
                <c:pt idx="23600">
                  <c:v>0.42090244337435301</c:v>
                </c:pt>
                <c:pt idx="23601">
                  <c:v>0.42092027822364902</c:v>
                </c:pt>
                <c:pt idx="23602">
                  <c:v>0.42093811307294399</c:v>
                </c:pt>
                <c:pt idx="23603">
                  <c:v>0.42095594792224</c:v>
                </c:pt>
                <c:pt idx="23604">
                  <c:v>0.42097378277153502</c:v>
                </c:pt>
                <c:pt idx="23605">
                  <c:v>0.42099161762083098</c:v>
                </c:pt>
                <c:pt idx="23606">
                  <c:v>0.421009452470126</c:v>
                </c:pt>
                <c:pt idx="23607">
                  <c:v>0.42102728731942202</c:v>
                </c:pt>
                <c:pt idx="23608">
                  <c:v>0.42104512216871698</c:v>
                </c:pt>
                <c:pt idx="23609">
                  <c:v>0.421062957018013</c:v>
                </c:pt>
                <c:pt idx="23610">
                  <c:v>0.42108079186730801</c:v>
                </c:pt>
                <c:pt idx="23611">
                  <c:v>0.42109862671660397</c:v>
                </c:pt>
                <c:pt idx="23612">
                  <c:v>0.42111646156589899</c:v>
                </c:pt>
                <c:pt idx="23613">
                  <c:v>0.42113429641519501</c:v>
                </c:pt>
                <c:pt idx="23614">
                  <c:v>0.42115213126449003</c:v>
                </c:pt>
                <c:pt idx="23615">
                  <c:v>0.42116996611378599</c:v>
                </c:pt>
                <c:pt idx="23616">
                  <c:v>0.421187800963081</c:v>
                </c:pt>
                <c:pt idx="23617">
                  <c:v>0.42120563581237702</c:v>
                </c:pt>
                <c:pt idx="23618">
                  <c:v>0.42122347066167198</c:v>
                </c:pt>
                <c:pt idx="23619">
                  <c:v>0.421241305510968</c:v>
                </c:pt>
                <c:pt idx="23620">
                  <c:v>0.42125914036026302</c:v>
                </c:pt>
                <c:pt idx="23621">
                  <c:v>0.42127697520955898</c:v>
                </c:pt>
                <c:pt idx="23622">
                  <c:v>0.421294810058855</c:v>
                </c:pt>
                <c:pt idx="23623">
                  <c:v>0.42131264490815001</c:v>
                </c:pt>
                <c:pt idx="23624">
                  <c:v>0.42133047975744597</c:v>
                </c:pt>
                <c:pt idx="23625">
                  <c:v>0.42134831460674099</c:v>
                </c:pt>
                <c:pt idx="23626">
                  <c:v>0.42136614945603701</c:v>
                </c:pt>
                <c:pt idx="23627">
                  <c:v>0.42138398430533203</c:v>
                </c:pt>
                <c:pt idx="23628">
                  <c:v>0.42140181915462799</c:v>
                </c:pt>
                <c:pt idx="23629">
                  <c:v>0.42141965400392301</c:v>
                </c:pt>
                <c:pt idx="23630">
                  <c:v>0.42143748885321902</c:v>
                </c:pt>
                <c:pt idx="23631">
                  <c:v>0.42145532370251398</c:v>
                </c:pt>
                <c:pt idx="23632">
                  <c:v>0.42147315855181</c:v>
                </c:pt>
                <c:pt idx="23633">
                  <c:v>0.42149099340110502</c:v>
                </c:pt>
                <c:pt idx="23634">
                  <c:v>0.42150882825040098</c:v>
                </c:pt>
                <c:pt idx="23635">
                  <c:v>0.421526663099696</c:v>
                </c:pt>
                <c:pt idx="23636">
                  <c:v>0.42154449794899201</c:v>
                </c:pt>
                <c:pt idx="23637">
                  <c:v>0.42156233279828698</c:v>
                </c:pt>
                <c:pt idx="23638">
                  <c:v>0.42158016764758299</c:v>
                </c:pt>
                <c:pt idx="23639">
                  <c:v>0.42159800249687801</c:v>
                </c:pt>
                <c:pt idx="23640">
                  <c:v>0.42161583734617403</c:v>
                </c:pt>
                <c:pt idx="23641">
                  <c:v>0.42163367219546899</c:v>
                </c:pt>
                <c:pt idx="23642">
                  <c:v>0.42165150704476501</c:v>
                </c:pt>
                <c:pt idx="23643">
                  <c:v>0.42166934189406102</c:v>
                </c:pt>
                <c:pt idx="23644">
                  <c:v>0.42168717674335598</c:v>
                </c:pt>
                <c:pt idx="23645">
                  <c:v>0.421705011592652</c:v>
                </c:pt>
                <c:pt idx="23646">
                  <c:v>0.42172284644194702</c:v>
                </c:pt>
                <c:pt idx="23647">
                  <c:v>0.42174068129124298</c:v>
                </c:pt>
                <c:pt idx="23648">
                  <c:v>0.421758516140538</c:v>
                </c:pt>
                <c:pt idx="23649">
                  <c:v>0.42177635098983401</c:v>
                </c:pt>
                <c:pt idx="23650">
                  <c:v>0.42179418583912898</c:v>
                </c:pt>
                <c:pt idx="23651">
                  <c:v>0.42181202068842499</c:v>
                </c:pt>
                <c:pt idx="23652">
                  <c:v>0.42182985553772001</c:v>
                </c:pt>
                <c:pt idx="23653">
                  <c:v>0.42184769038701603</c:v>
                </c:pt>
                <c:pt idx="23654">
                  <c:v>0.42186552523631099</c:v>
                </c:pt>
                <c:pt idx="23655">
                  <c:v>0.42188336008560701</c:v>
                </c:pt>
                <c:pt idx="23656">
                  <c:v>0.42190119493490202</c:v>
                </c:pt>
                <c:pt idx="23657">
                  <c:v>0.42191902978419799</c:v>
                </c:pt>
                <c:pt idx="23658">
                  <c:v>0.421936864633493</c:v>
                </c:pt>
                <c:pt idx="23659">
                  <c:v>0.42195469948278902</c:v>
                </c:pt>
                <c:pt idx="23660">
                  <c:v>0.42197253433208398</c:v>
                </c:pt>
                <c:pt idx="23661">
                  <c:v>0.42199036918138</c:v>
                </c:pt>
                <c:pt idx="23662">
                  <c:v>0.42200820403067502</c:v>
                </c:pt>
                <c:pt idx="23663">
                  <c:v>0.42202603887997098</c:v>
                </c:pt>
                <c:pt idx="23664">
                  <c:v>0.42204387372926699</c:v>
                </c:pt>
                <c:pt idx="23665">
                  <c:v>0.42206170857856201</c:v>
                </c:pt>
                <c:pt idx="23666">
                  <c:v>0.42207954342785797</c:v>
                </c:pt>
                <c:pt idx="23667">
                  <c:v>0.42209737827715299</c:v>
                </c:pt>
                <c:pt idx="23668">
                  <c:v>0.42211521312644901</c:v>
                </c:pt>
                <c:pt idx="23669">
                  <c:v>0.42213304797574402</c:v>
                </c:pt>
                <c:pt idx="23670">
                  <c:v>0.42215088282503999</c:v>
                </c:pt>
                <c:pt idx="23671">
                  <c:v>0.422168717674335</c:v>
                </c:pt>
                <c:pt idx="23672">
                  <c:v>0.42218655252363102</c:v>
                </c:pt>
                <c:pt idx="23673">
                  <c:v>0.42220438737292598</c:v>
                </c:pt>
                <c:pt idx="23674">
                  <c:v>0.422222222222222</c:v>
                </c:pt>
                <c:pt idx="23675">
                  <c:v>0.42224005707151702</c:v>
                </c:pt>
                <c:pt idx="23676">
                  <c:v>0.42225789192081298</c:v>
                </c:pt>
                <c:pt idx="23677">
                  <c:v>0.422275726770108</c:v>
                </c:pt>
                <c:pt idx="23678">
                  <c:v>0.42229356161940401</c:v>
                </c:pt>
                <c:pt idx="23679">
                  <c:v>0.42231139646869897</c:v>
                </c:pt>
                <c:pt idx="23680">
                  <c:v>0.42232923131799499</c:v>
                </c:pt>
                <c:pt idx="23681">
                  <c:v>0.42234706616729001</c:v>
                </c:pt>
                <c:pt idx="23682">
                  <c:v>0.42236490101658603</c:v>
                </c:pt>
                <c:pt idx="23683">
                  <c:v>0.42238273586588099</c:v>
                </c:pt>
                <c:pt idx="23684">
                  <c:v>0.422400570715177</c:v>
                </c:pt>
                <c:pt idx="23685">
                  <c:v>0.42241840556447202</c:v>
                </c:pt>
                <c:pt idx="23686">
                  <c:v>0.42243624041376798</c:v>
                </c:pt>
                <c:pt idx="23687">
                  <c:v>0.422454075263064</c:v>
                </c:pt>
                <c:pt idx="23688">
                  <c:v>0.42247191011235902</c:v>
                </c:pt>
                <c:pt idx="23689">
                  <c:v>0.42248974496165498</c:v>
                </c:pt>
                <c:pt idx="23690">
                  <c:v>0.42250757981095</c:v>
                </c:pt>
                <c:pt idx="23691">
                  <c:v>0.42252541466024601</c:v>
                </c:pt>
                <c:pt idx="23692">
                  <c:v>0.42254324950954097</c:v>
                </c:pt>
                <c:pt idx="23693">
                  <c:v>0.42256108435883699</c:v>
                </c:pt>
                <c:pt idx="23694">
                  <c:v>0.42257891920813201</c:v>
                </c:pt>
                <c:pt idx="23695">
                  <c:v>0.42259675405742803</c:v>
                </c:pt>
                <c:pt idx="23696">
                  <c:v>0.42261458890672299</c:v>
                </c:pt>
                <c:pt idx="23697">
                  <c:v>0.422632423756019</c:v>
                </c:pt>
                <c:pt idx="23698">
                  <c:v>0.42265025860531402</c:v>
                </c:pt>
                <c:pt idx="23699">
                  <c:v>0.42266809345460998</c:v>
                </c:pt>
                <c:pt idx="23700">
                  <c:v>0.422685928303905</c:v>
                </c:pt>
                <c:pt idx="23701">
                  <c:v>0.42270376315320102</c:v>
                </c:pt>
                <c:pt idx="23702">
                  <c:v>0.42272159800249598</c:v>
                </c:pt>
                <c:pt idx="23703">
                  <c:v>0.422739432851792</c:v>
                </c:pt>
                <c:pt idx="23704">
                  <c:v>0.42275726770108701</c:v>
                </c:pt>
                <c:pt idx="23705">
                  <c:v>0.42277510255038298</c:v>
                </c:pt>
                <c:pt idx="23706">
                  <c:v>0.42279293739967899</c:v>
                </c:pt>
                <c:pt idx="23707">
                  <c:v>0.42281077224897401</c:v>
                </c:pt>
                <c:pt idx="23708">
                  <c:v>0.42282860709827003</c:v>
                </c:pt>
                <c:pt idx="23709">
                  <c:v>0.42284644194756499</c:v>
                </c:pt>
                <c:pt idx="23710">
                  <c:v>0.42286427679686101</c:v>
                </c:pt>
                <c:pt idx="23711">
                  <c:v>0.42288211164615602</c:v>
                </c:pt>
                <c:pt idx="23712">
                  <c:v>0.42289994649545198</c:v>
                </c:pt>
                <c:pt idx="23713">
                  <c:v>0.422917781344747</c:v>
                </c:pt>
                <c:pt idx="23714">
                  <c:v>0.42293561619404302</c:v>
                </c:pt>
                <c:pt idx="23715">
                  <c:v>0.42295345104333798</c:v>
                </c:pt>
                <c:pt idx="23716">
                  <c:v>0.422971285892634</c:v>
                </c:pt>
                <c:pt idx="23717">
                  <c:v>0.42298912074192901</c:v>
                </c:pt>
                <c:pt idx="23718">
                  <c:v>0.42300695559122498</c:v>
                </c:pt>
                <c:pt idx="23719">
                  <c:v>0.42302479044051999</c:v>
                </c:pt>
                <c:pt idx="23720">
                  <c:v>0.42304262528981601</c:v>
                </c:pt>
                <c:pt idx="23721">
                  <c:v>0.42306046013911103</c:v>
                </c:pt>
                <c:pt idx="23722">
                  <c:v>0.42307829498840699</c:v>
                </c:pt>
                <c:pt idx="23723">
                  <c:v>0.42309612983770201</c:v>
                </c:pt>
                <c:pt idx="23724">
                  <c:v>0.42311396468699802</c:v>
                </c:pt>
                <c:pt idx="23725">
                  <c:v>0.42313179953629299</c:v>
                </c:pt>
                <c:pt idx="23726">
                  <c:v>0.423149634385589</c:v>
                </c:pt>
                <c:pt idx="23727">
                  <c:v>0.42316746923488402</c:v>
                </c:pt>
                <c:pt idx="23728">
                  <c:v>0.42318530408417998</c:v>
                </c:pt>
                <c:pt idx="23729">
                  <c:v>0.423203138933476</c:v>
                </c:pt>
                <c:pt idx="23730">
                  <c:v>0.42322097378277101</c:v>
                </c:pt>
                <c:pt idx="23731">
                  <c:v>0.42323880863206698</c:v>
                </c:pt>
                <c:pt idx="23732">
                  <c:v>0.42325664348136199</c:v>
                </c:pt>
                <c:pt idx="23733">
                  <c:v>0.42327447833065801</c:v>
                </c:pt>
                <c:pt idx="23734">
                  <c:v>0.42329231317995297</c:v>
                </c:pt>
                <c:pt idx="23735">
                  <c:v>0.42331014802924899</c:v>
                </c:pt>
                <c:pt idx="23736">
                  <c:v>0.42332798287854401</c:v>
                </c:pt>
                <c:pt idx="23737">
                  <c:v>0.42334581772784002</c:v>
                </c:pt>
                <c:pt idx="23738">
                  <c:v>0.42336365257713499</c:v>
                </c:pt>
                <c:pt idx="23739">
                  <c:v>0.423381487426431</c:v>
                </c:pt>
                <c:pt idx="23740">
                  <c:v>0.42339932227572602</c:v>
                </c:pt>
                <c:pt idx="23741">
                  <c:v>0.42341715712502198</c:v>
                </c:pt>
                <c:pt idx="23742">
                  <c:v>0.423434991974317</c:v>
                </c:pt>
                <c:pt idx="23743">
                  <c:v>0.42345282682361302</c:v>
                </c:pt>
                <c:pt idx="23744">
                  <c:v>0.42347066167290798</c:v>
                </c:pt>
                <c:pt idx="23745">
                  <c:v>0.42348849652220399</c:v>
                </c:pt>
                <c:pt idx="23746">
                  <c:v>0.42350633137149901</c:v>
                </c:pt>
                <c:pt idx="23747">
                  <c:v>0.42352416622079497</c:v>
                </c:pt>
                <c:pt idx="23748">
                  <c:v>0.42354200107008999</c:v>
                </c:pt>
                <c:pt idx="23749">
                  <c:v>0.42355983591938601</c:v>
                </c:pt>
                <c:pt idx="23750">
                  <c:v>0.42357767076868202</c:v>
                </c:pt>
                <c:pt idx="23751">
                  <c:v>0.42359550561797699</c:v>
                </c:pt>
                <c:pt idx="23752">
                  <c:v>0.423613340467273</c:v>
                </c:pt>
                <c:pt idx="23753">
                  <c:v>0.42363117531656802</c:v>
                </c:pt>
                <c:pt idx="23754">
                  <c:v>0.42364901016586398</c:v>
                </c:pt>
                <c:pt idx="23755">
                  <c:v>0.423666845015159</c:v>
                </c:pt>
                <c:pt idx="23756">
                  <c:v>0.42368467986445502</c:v>
                </c:pt>
                <c:pt idx="23757">
                  <c:v>0.42370251471374998</c:v>
                </c:pt>
                <c:pt idx="23758">
                  <c:v>0.42372034956304599</c:v>
                </c:pt>
                <c:pt idx="23759">
                  <c:v>0.42373818441234101</c:v>
                </c:pt>
                <c:pt idx="23760">
                  <c:v>0.42375601926163697</c:v>
                </c:pt>
                <c:pt idx="23761">
                  <c:v>0.42377385411093199</c:v>
                </c:pt>
                <c:pt idx="23762">
                  <c:v>0.42379168896022801</c:v>
                </c:pt>
                <c:pt idx="23763">
                  <c:v>0.42380952380952303</c:v>
                </c:pt>
                <c:pt idx="23764">
                  <c:v>0.42382735865881899</c:v>
                </c:pt>
                <c:pt idx="23765">
                  <c:v>0.423845193508114</c:v>
                </c:pt>
                <c:pt idx="23766">
                  <c:v>0.42386302835741002</c:v>
                </c:pt>
                <c:pt idx="23767">
                  <c:v>0.42388086320670498</c:v>
                </c:pt>
                <c:pt idx="23768">
                  <c:v>0.423898698056001</c:v>
                </c:pt>
                <c:pt idx="23769">
                  <c:v>0.42391653290529602</c:v>
                </c:pt>
                <c:pt idx="23770">
                  <c:v>0.42393436775459198</c:v>
                </c:pt>
                <c:pt idx="23771">
                  <c:v>0.423952202603888</c:v>
                </c:pt>
                <c:pt idx="23772">
                  <c:v>0.42397003745318301</c:v>
                </c:pt>
                <c:pt idx="23773">
                  <c:v>0.42398787230247897</c:v>
                </c:pt>
                <c:pt idx="23774">
                  <c:v>0.42400570715177399</c:v>
                </c:pt>
                <c:pt idx="23775">
                  <c:v>0.42402354200107001</c:v>
                </c:pt>
                <c:pt idx="23776">
                  <c:v>0.42404137685036503</c:v>
                </c:pt>
                <c:pt idx="23777">
                  <c:v>0.42405921169966099</c:v>
                </c:pt>
                <c:pt idx="23778">
                  <c:v>0.424077046548956</c:v>
                </c:pt>
                <c:pt idx="23779">
                  <c:v>0.42409488139825202</c:v>
                </c:pt>
                <c:pt idx="23780">
                  <c:v>0.42411271624754698</c:v>
                </c:pt>
                <c:pt idx="23781">
                  <c:v>0.424130551096843</c:v>
                </c:pt>
                <c:pt idx="23782">
                  <c:v>0.42414838594613802</c:v>
                </c:pt>
                <c:pt idx="23783">
                  <c:v>0.42416622079543398</c:v>
                </c:pt>
                <c:pt idx="23784">
                  <c:v>0.424184055644729</c:v>
                </c:pt>
                <c:pt idx="23785">
                  <c:v>0.42420189049402501</c:v>
                </c:pt>
                <c:pt idx="23786">
                  <c:v>0.42421972534331998</c:v>
                </c:pt>
                <c:pt idx="23787">
                  <c:v>0.42423756019261599</c:v>
                </c:pt>
                <c:pt idx="23788">
                  <c:v>0.42425539504191101</c:v>
                </c:pt>
                <c:pt idx="23789">
                  <c:v>0.42427322989120703</c:v>
                </c:pt>
                <c:pt idx="23790">
                  <c:v>0.42429106474050199</c:v>
                </c:pt>
                <c:pt idx="23791">
                  <c:v>0.42430889958979801</c:v>
                </c:pt>
                <c:pt idx="23792">
                  <c:v>0.42432673443909302</c:v>
                </c:pt>
                <c:pt idx="23793">
                  <c:v>0.42434456928838898</c:v>
                </c:pt>
                <c:pt idx="23794">
                  <c:v>0.424362404137685</c:v>
                </c:pt>
                <c:pt idx="23795">
                  <c:v>0.42438023898698002</c:v>
                </c:pt>
                <c:pt idx="23796">
                  <c:v>0.42439807383627598</c:v>
                </c:pt>
                <c:pt idx="23797">
                  <c:v>0.424415908685571</c:v>
                </c:pt>
                <c:pt idx="23798">
                  <c:v>0.42443374353486701</c:v>
                </c:pt>
                <c:pt idx="23799">
                  <c:v>0.42445157838416198</c:v>
                </c:pt>
                <c:pt idx="23800">
                  <c:v>0.42446941323345799</c:v>
                </c:pt>
                <c:pt idx="23801">
                  <c:v>0.42448724808275301</c:v>
                </c:pt>
                <c:pt idx="23802">
                  <c:v>0.42450508293204903</c:v>
                </c:pt>
                <c:pt idx="23803">
                  <c:v>0.42452291778134399</c:v>
                </c:pt>
                <c:pt idx="23804">
                  <c:v>0.42454075263064001</c:v>
                </c:pt>
                <c:pt idx="23805">
                  <c:v>0.42455858747993502</c:v>
                </c:pt>
                <c:pt idx="23806">
                  <c:v>0.42457642232923098</c:v>
                </c:pt>
                <c:pt idx="23807">
                  <c:v>0.424594257178526</c:v>
                </c:pt>
                <c:pt idx="23808">
                  <c:v>0.42461209202782202</c:v>
                </c:pt>
                <c:pt idx="23809">
                  <c:v>0.42462992687711698</c:v>
                </c:pt>
                <c:pt idx="23810">
                  <c:v>0.424647761726413</c:v>
                </c:pt>
                <c:pt idx="23811">
                  <c:v>0.42466559657570802</c:v>
                </c:pt>
                <c:pt idx="23812">
                  <c:v>0.42468343142500398</c:v>
                </c:pt>
                <c:pt idx="23813">
                  <c:v>0.42470126627429999</c:v>
                </c:pt>
                <c:pt idx="23814">
                  <c:v>0.42471910112359501</c:v>
                </c:pt>
                <c:pt idx="23815">
                  <c:v>0.42473693597289103</c:v>
                </c:pt>
                <c:pt idx="23816">
                  <c:v>0.42475477082218599</c:v>
                </c:pt>
                <c:pt idx="23817">
                  <c:v>0.42477260567148201</c:v>
                </c:pt>
                <c:pt idx="23818">
                  <c:v>0.42479044052077702</c:v>
                </c:pt>
                <c:pt idx="23819">
                  <c:v>0.42480827537007299</c:v>
                </c:pt>
                <c:pt idx="23820">
                  <c:v>0.424826110219368</c:v>
                </c:pt>
                <c:pt idx="23821">
                  <c:v>0.42484394506866402</c:v>
                </c:pt>
                <c:pt idx="23822">
                  <c:v>0.42486177991795898</c:v>
                </c:pt>
                <c:pt idx="23823">
                  <c:v>0.424879614767255</c:v>
                </c:pt>
                <c:pt idx="23824">
                  <c:v>0.42489744961655002</c:v>
                </c:pt>
                <c:pt idx="23825">
                  <c:v>0.42491528446584598</c:v>
                </c:pt>
                <c:pt idx="23826">
                  <c:v>0.42493311931514099</c:v>
                </c:pt>
                <c:pt idx="23827">
                  <c:v>0.42495095416443701</c:v>
                </c:pt>
                <c:pt idx="23828">
                  <c:v>0.42496878901373197</c:v>
                </c:pt>
                <c:pt idx="23829">
                  <c:v>0.42498662386302799</c:v>
                </c:pt>
                <c:pt idx="23830">
                  <c:v>0.42500445871232301</c:v>
                </c:pt>
                <c:pt idx="23831">
                  <c:v>0.42502229356161902</c:v>
                </c:pt>
                <c:pt idx="23832">
                  <c:v>0.42504012841091399</c:v>
                </c:pt>
                <c:pt idx="23833">
                  <c:v>0.42505796326021</c:v>
                </c:pt>
                <c:pt idx="23834">
                  <c:v>0.42507579810950502</c:v>
                </c:pt>
                <c:pt idx="23835">
                  <c:v>0.42509363295880098</c:v>
                </c:pt>
                <c:pt idx="23836">
                  <c:v>0.425111467808097</c:v>
                </c:pt>
                <c:pt idx="23837">
                  <c:v>0.42512930265739202</c:v>
                </c:pt>
                <c:pt idx="23838">
                  <c:v>0.42514713750668798</c:v>
                </c:pt>
                <c:pt idx="23839">
                  <c:v>0.425164972355983</c:v>
                </c:pt>
                <c:pt idx="23840">
                  <c:v>0.42518280720527901</c:v>
                </c:pt>
                <c:pt idx="23841">
                  <c:v>0.42520064205457397</c:v>
                </c:pt>
                <c:pt idx="23842">
                  <c:v>0.42521847690386999</c:v>
                </c:pt>
                <c:pt idx="23843">
                  <c:v>0.42523631175316501</c:v>
                </c:pt>
                <c:pt idx="23844">
                  <c:v>0.42525414660246103</c:v>
                </c:pt>
                <c:pt idx="23845">
                  <c:v>0.42527198145175599</c:v>
                </c:pt>
                <c:pt idx="23846">
                  <c:v>0.425289816301052</c:v>
                </c:pt>
                <c:pt idx="23847">
                  <c:v>0.42530765115034702</c:v>
                </c:pt>
                <c:pt idx="23848">
                  <c:v>0.42532548599964298</c:v>
                </c:pt>
                <c:pt idx="23849">
                  <c:v>0.425343320848938</c:v>
                </c:pt>
                <c:pt idx="23850">
                  <c:v>0.42536115569823402</c:v>
                </c:pt>
                <c:pt idx="23851">
                  <c:v>0.42537899054752898</c:v>
                </c:pt>
                <c:pt idx="23852">
                  <c:v>0.425396825396825</c:v>
                </c:pt>
                <c:pt idx="23853">
                  <c:v>0.42541466024612001</c:v>
                </c:pt>
                <c:pt idx="23854">
                  <c:v>0.42543249509541597</c:v>
                </c:pt>
                <c:pt idx="23855">
                  <c:v>0.42545032994471199</c:v>
                </c:pt>
                <c:pt idx="23856">
                  <c:v>0.42546816479400701</c:v>
                </c:pt>
                <c:pt idx="23857">
                  <c:v>0.42548599964330303</c:v>
                </c:pt>
                <c:pt idx="23858">
                  <c:v>0.42550383449259799</c:v>
                </c:pt>
                <c:pt idx="23859">
                  <c:v>0.425521669341894</c:v>
                </c:pt>
                <c:pt idx="23860">
                  <c:v>0.42553950419118902</c:v>
                </c:pt>
                <c:pt idx="23861">
                  <c:v>0.42555733904048498</c:v>
                </c:pt>
                <c:pt idx="23862">
                  <c:v>0.42557517388978</c:v>
                </c:pt>
                <c:pt idx="23863">
                  <c:v>0.42559300873907602</c:v>
                </c:pt>
                <c:pt idx="23864">
                  <c:v>0.42561084358837098</c:v>
                </c:pt>
                <c:pt idx="23865">
                  <c:v>0.425628678437667</c:v>
                </c:pt>
                <c:pt idx="23866">
                  <c:v>0.42564651328696201</c:v>
                </c:pt>
                <c:pt idx="23867">
                  <c:v>0.42566434813625798</c:v>
                </c:pt>
                <c:pt idx="23868">
                  <c:v>0.42568218298555299</c:v>
                </c:pt>
                <c:pt idx="23869">
                  <c:v>0.42570001783484901</c:v>
                </c:pt>
                <c:pt idx="23870">
                  <c:v>0.42571785268414403</c:v>
                </c:pt>
                <c:pt idx="23871">
                  <c:v>0.42573568753343999</c:v>
                </c:pt>
                <c:pt idx="23872">
                  <c:v>0.42575352238273501</c:v>
                </c:pt>
                <c:pt idx="23873">
                  <c:v>0.42577135723203102</c:v>
                </c:pt>
                <c:pt idx="23874">
                  <c:v>0.42578919208132598</c:v>
                </c:pt>
                <c:pt idx="23875">
                  <c:v>0.425807026930622</c:v>
                </c:pt>
                <c:pt idx="23876">
                  <c:v>0.42582486177991702</c:v>
                </c:pt>
                <c:pt idx="23877">
                  <c:v>0.42584269662921298</c:v>
                </c:pt>
                <c:pt idx="23878">
                  <c:v>0.425860531478509</c:v>
                </c:pt>
                <c:pt idx="23879">
                  <c:v>0.42587836632780401</c:v>
                </c:pt>
                <c:pt idx="23880">
                  <c:v>0.42589620117709998</c:v>
                </c:pt>
                <c:pt idx="23881">
                  <c:v>0.42591403602639499</c:v>
                </c:pt>
                <c:pt idx="23882">
                  <c:v>0.42593187087569101</c:v>
                </c:pt>
                <c:pt idx="23883">
                  <c:v>0.42594970572498603</c:v>
                </c:pt>
                <c:pt idx="23884">
                  <c:v>0.42596754057428199</c:v>
                </c:pt>
                <c:pt idx="23885">
                  <c:v>0.42598537542357701</c:v>
                </c:pt>
                <c:pt idx="23886">
                  <c:v>0.42600321027287302</c:v>
                </c:pt>
                <c:pt idx="23887">
                  <c:v>0.42602104512216799</c:v>
                </c:pt>
                <c:pt idx="23888">
                  <c:v>0.426038879971464</c:v>
                </c:pt>
                <c:pt idx="23889">
                  <c:v>0.42605671482075902</c:v>
                </c:pt>
                <c:pt idx="23890">
                  <c:v>0.42607454967005498</c:v>
                </c:pt>
                <c:pt idx="23891">
                  <c:v>0.42609238451935</c:v>
                </c:pt>
                <c:pt idx="23892">
                  <c:v>0.42611021936864601</c:v>
                </c:pt>
                <c:pt idx="23893">
                  <c:v>0.42612805421794098</c:v>
                </c:pt>
                <c:pt idx="23894">
                  <c:v>0.42614588906723699</c:v>
                </c:pt>
                <c:pt idx="23895">
                  <c:v>0.42616372391653201</c:v>
                </c:pt>
                <c:pt idx="23896">
                  <c:v>0.42618155876582797</c:v>
                </c:pt>
                <c:pt idx="23897">
                  <c:v>0.42619939361512299</c:v>
                </c:pt>
                <c:pt idx="23898">
                  <c:v>0.42621722846441901</c:v>
                </c:pt>
                <c:pt idx="23899">
                  <c:v>0.42623506331371502</c:v>
                </c:pt>
                <c:pt idx="23900">
                  <c:v>0.42625289816300999</c:v>
                </c:pt>
                <c:pt idx="23901">
                  <c:v>0.426270733012306</c:v>
                </c:pt>
                <c:pt idx="23902">
                  <c:v>0.42628856786160102</c:v>
                </c:pt>
                <c:pt idx="23903">
                  <c:v>0.42630640271089698</c:v>
                </c:pt>
                <c:pt idx="23904">
                  <c:v>0.426324237560192</c:v>
                </c:pt>
                <c:pt idx="23905">
                  <c:v>0.42634207240948802</c:v>
                </c:pt>
                <c:pt idx="23906">
                  <c:v>0.42635990725878298</c:v>
                </c:pt>
                <c:pt idx="23907">
                  <c:v>0.42637774210807899</c:v>
                </c:pt>
                <c:pt idx="23908">
                  <c:v>0.42639557695737401</c:v>
                </c:pt>
                <c:pt idx="23909">
                  <c:v>0.42641341180666997</c:v>
                </c:pt>
                <c:pt idx="23910">
                  <c:v>0.42643124665596499</c:v>
                </c:pt>
                <c:pt idx="23911">
                  <c:v>0.42644908150526101</c:v>
                </c:pt>
                <c:pt idx="23912">
                  <c:v>0.42646691635455602</c:v>
                </c:pt>
                <c:pt idx="23913">
                  <c:v>0.42648475120385199</c:v>
                </c:pt>
                <c:pt idx="23914">
                  <c:v>0.426502586053147</c:v>
                </c:pt>
                <c:pt idx="23915">
                  <c:v>0.42652042090244302</c:v>
                </c:pt>
                <c:pt idx="23916">
                  <c:v>0.42653825575173798</c:v>
                </c:pt>
                <c:pt idx="23917">
                  <c:v>0.426556090601034</c:v>
                </c:pt>
                <c:pt idx="23918">
                  <c:v>0.42657392545032902</c:v>
                </c:pt>
                <c:pt idx="23919">
                  <c:v>0.42659176029962498</c:v>
                </c:pt>
                <c:pt idx="23920">
                  <c:v>0.42660959514892099</c:v>
                </c:pt>
                <c:pt idx="23921">
                  <c:v>0.42662742999821601</c:v>
                </c:pt>
                <c:pt idx="23922">
                  <c:v>0.42664526484751197</c:v>
                </c:pt>
                <c:pt idx="23923">
                  <c:v>0.42666309969680699</c:v>
                </c:pt>
                <c:pt idx="23924">
                  <c:v>0.42668093454610301</c:v>
                </c:pt>
                <c:pt idx="23925">
                  <c:v>0.42669876939539803</c:v>
                </c:pt>
                <c:pt idx="23926">
                  <c:v>0.42671660424469399</c:v>
                </c:pt>
                <c:pt idx="23927">
                  <c:v>0.426734439093989</c:v>
                </c:pt>
                <c:pt idx="23928">
                  <c:v>0.42675227394328502</c:v>
                </c:pt>
                <c:pt idx="23929">
                  <c:v>0.42677010879257998</c:v>
                </c:pt>
                <c:pt idx="23930">
                  <c:v>0.426787943641876</c:v>
                </c:pt>
                <c:pt idx="23931">
                  <c:v>0.42680577849117102</c:v>
                </c:pt>
                <c:pt idx="23932">
                  <c:v>0.42682361334046698</c:v>
                </c:pt>
                <c:pt idx="23933">
                  <c:v>0.426841448189762</c:v>
                </c:pt>
                <c:pt idx="23934">
                  <c:v>0.42685928303905801</c:v>
                </c:pt>
                <c:pt idx="23935">
                  <c:v>0.42687711788835297</c:v>
                </c:pt>
                <c:pt idx="23936">
                  <c:v>0.42689495273764899</c:v>
                </c:pt>
                <c:pt idx="23937">
                  <c:v>0.42691278758694401</c:v>
                </c:pt>
                <c:pt idx="23938">
                  <c:v>0.42693062243624003</c:v>
                </c:pt>
                <c:pt idx="23939">
                  <c:v>0.42694845728553499</c:v>
                </c:pt>
                <c:pt idx="23940">
                  <c:v>0.426966292134831</c:v>
                </c:pt>
                <c:pt idx="23941">
                  <c:v>0.42698412698412602</c:v>
                </c:pt>
                <c:pt idx="23942">
                  <c:v>0.42700196183342198</c:v>
                </c:pt>
                <c:pt idx="23943">
                  <c:v>0.427019796682718</c:v>
                </c:pt>
                <c:pt idx="23944">
                  <c:v>0.42703763153201302</c:v>
                </c:pt>
                <c:pt idx="23945">
                  <c:v>0.42705546638130898</c:v>
                </c:pt>
                <c:pt idx="23946">
                  <c:v>0.427073301230604</c:v>
                </c:pt>
                <c:pt idx="23947">
                  <c:v>0.42709113607990001</c:v>
                </c:pt>
                <c:pt idx="23948">
                  <c:v>0.42710897092919498</c:v>
                </c:pt>
                <c:pt idx="23949">
                  <c:v>0.42712680577849099</c:v>
                </c:pt>
                <c:pt idx="23950">
                  <c:v>0.42714464062778601</c:v>
                </c:pt>
                <c:pt idx="23951">
                  <c:v>0.42716247547708203</c:v>
                </c:pt>
                <c:pt idx="23952">
                  <c:v>0.42718031032637699</c:v>
                </c:pt>
                <c:pt idx="23953">
                  <c:v>0.42719814517567301</c:v>
                </c:pt>
                <c:pt idx="23954">
                  <c:v>0.42721598002496802</c:v>
                </c:pt>
                <c:pt idx="23955">
                  <c:v>0.42723381487426398</c:v>
                </c:pt>
                <c:pt idx="23956">
                  <c:v>0.427251649723559</c:v>
                </c:pt>
                <c:pt idx="23957">
                  <c:v>0.42726948457285502</c:v>
                </c:pt>
                <c:pt idx="23958">
                  <c:v>0.42728731942214998</c:v>
                </c:pt>
                <c:pt idx="23959">
                  <c:v>0.427305154271446</c:v>
                </c:pt>
                <c:pt idx="23960">
                  <c:v>0.42732298912074101</c:v>
                </c:pt>
                <c:pt idx="23961">
                  <c:v>0.42734082397003698</c:v>
                </c:pt>
                <c:pt idx="23962">
                  <c:v>0.42735865881933299</c:v>
                </c:pt>
                <c:pt idx="23963">
                  <c:v>0.42737649366862801</c:v>
                </c:pt>
                <c:pt idx="23964">
                  <c:v>0.42739432851792403</c:v>
                </c:pt>
                <c:pt idx="23965">
                  <c:v>0.42741216336721899</c:v>
                </c:pt>
                <c:pt idx="23966">
                  <c:v>0.42742999821651501</c:v>
                </c:pt>
                <c:pt idx="23967">
                  <c:v>0.42744783306581002</c:v>
                </c:pt>
                <c:pt idx="23968">
                  <c:v>0.42746566791510598</c:v>
                </c:pt>
                <c:pt idx="23969">
                  <c:v>0.427483502764401</c:v>
                </c:pt>
                <c:pt idx="23970">
                  <c:v>0.42750133761369702</c:v>
                </c:pt>
                <c:pt idx="23971">
                  <c:v>0.42751917246299198</c:v>
                </c:pt>
                <c:pt idx="23972">
                  <c:v>0.427537007312288</c:v>
                </c:pt>
                <c:pt idx="23973">
                  <c:v>0.42755484216158302</c:v>
                </c:pt>
                <c:pt idx="23974">
                  <c:v>0.42757267701087898</c:v>
                </c:pt>
                <c:pt idx="23975">
                  <c:v>0.42759051186017399</c:v>
                </c:pt>
                <c:pt idx="23976">
                  <c:v>0.42760834670947001</c:v>
                </c:pt>
                <c:pt idx="23977">
                  <c:v>0.42762618155876497</c:v>
                </c:pt>
                <c:pt idx="23978">
                  <c:v>0.42764401640806099</c:v>
                </c:pt>
                <c:pt idx="23979">
                  <c:v>0.42766185125735601</c:v>
                </c:pt>
                <c:pt idx="23980">
                  <c:v>0.42767968610665202</c:v>
                </c:pt>
                <c:pt idx="23981">
                  <c:v>0.42769752095594699</c:v>
                </c:pt>
                <c:pt idx="23982">
                  <c:v>0.427715355805243</c:v>
                </c:pt>
                <c:pt idx="23983">
                  <c:v>0.42773319065453802</c:v>
                </c:pt>
                <c:pt idx="23984">
                  <c:v>0.42775102550383398</c:v>
                </c:pt>
                <c:pt idx="23985">
                  <c:v>0.42776886035313</c:v>
                </c:pt>
                <c:pt idx="23986">
                  <c:v>0.42778669520242502</c:v>
                </c:pt>
                <c:pt idx="23987">
                  <c:v>0.42780453005172098</c:v>
                </c:pt>
                <c:pt idx="23988">
                  <c:v>0.42782236490101599</c:v>
                </c:pt>
                <c:pt idx="23989">
                  <c:v>0.42784019975031201</c:v>
                </c:pt>
                <c:pt idx="23990">
                  <c:v>0.42785803459960697</c:v>
                </c:pt>
                <c:pt idx="23991">
                  <c:v>0.42787586944890299</c:v>
                </c:pt>
                <c:pt idx="23992">
                  <c:v>0.42789370429819801</c:v>
                </c:pt>
                <c:pt idx="23993">
                  <c:v>0.42791153914749402</c:v>
                </c:pt>
                <c:pt idx="23994">
                  <c:v>0.42792937399678899</c:v>
                </c:pt>
                <c:pt idx="23995">
                  <c:v>0.427947208846085</c:v>
                </c:pt>
                <c:pt idx="23996">
                  <c:v>0.42796504369538002</c:v>
                </c:pt>
                <c:pt idx="23997">
                  <c:v>0.42798287854467598</c:v>
                </c:pt>
                <c:pt idx="23998">
                  <c:v>0.428000713393971</c:v>
                </c:pt>
                <c:pt idx="23999">
                  <c:v>0.42801854824326702</c:v>
                </c:pt>
                <c:pt idx="24000">
                  <c:v>0.42803638309256198</c:v>
                </c:pt>
                <c:pt idx="24001">
                  <c:v>0.428054217941858</c:v>
                </c:pt>
                <c:pt idx="24002">
                  <c:v>0.42807205279115301</c:v>
                </c:pt>
                <c:pt idx="24003">
                  <c:v>0.42808988764044897</c:v>
                </c:pt>
                <c:pt idx="24004">
                  <c:v>0.42810772248974399</c:v>
                </c:pt>
                <c:pt idx="24005">
                  <c:v>0.42812555733904001</c:v>
                </c:pt>
                <c:pt idx="24006">
                  <c:v>0.42814339218833602</c:v>
                </c:pt>
                <c:pt idx="24007">
                  <c:v>0.42816122703763099</c:v>
                </c:pt>
                <c:pt idx="24008">
                  <c:v>0.428179061886927</c:v>
                </c:pt>
                <c:pt idx="24009">
                  <c:v>0.42819689673622202</c:v>
                </c:pt>
                <c:pt idx="24010">
                  <c:v>0.42821473158551798</c:v>
                </c:pt>
                <c:pt idx="24011">
                  <c:v>0.428232566434813</c:v>
                </c:pt>
                <c:pt idx="24012">
                  <c:v>0.42825040128410902</c:v>
                </c:pt>
                <c:pt idx="24013">
                  <c:v>0.42826823613340398</c:v>
                </c:pt>
                <c:pt idx="24014">
                  <c:v>0.4282860709827</c:v>
                </c:pt>
                <c:pt idx="24015">
                  <c:v>0.42830390583199501</c:v>
                </c:pt>
                <c:pt idx="24016">
                  <c:v>0.42832174068129097</c:v>
                </c:pt>
                <c:pt idx="24017">
                  <c:v>0.42833957553058599</c:v>
                </c:pt>
                <c:pt idx="24018">
                  <c:v>0.42835741037988201</c:v>
                </c:pt>
                <c:pt idx="24019">
                  <c:v>0.42837524522917703</c:v>
                </c:pt>
                <c:pt idx="24020">
                  <c:v>0.42839308007847299</c:v>
                </c:pt>
                <c:pt idx="24021">
                  <c:v>0.42841091492776801</c:v>
                </c:pt>
                <c:pt idx="24022">
                  <c:v>0.42842874977706402</c:v>
                </c:pt>
                <c:pt idx="24023">
                  <c:v>0.42844658462635898</c:v>
                </c:pt>
                <c:pt idx="24024">
                  <c:v>0.428464419475655</c:v>
                </c:pt>
                <c:pt idx="24025">
                  <c:v>0.42848225432495002</c:v>
                </c:pt>
                <c:pt idx="24026">
                  <c:v>0.42850008917424598</c:v>
                </c:pt>
                <c:pt idx="24027">
                  <c:v>0.428517924023542</c:v>
                </c:pt>
                <c:pt idx="24028">
                  <c:v>0.42853575887283701</c:v>
                </c:pt>
                <c:pt idx="24029">
                  <c:v>0.42855359372213297</c:v>
                </c:pt>
                <c:pt idx="24030">
                  <c:v>0.42857142857142799</c:v>
                </c:pt>
                <c:pt idx="24031">
                  <c:v>0.42858926342072401</c:v>
                </c:pt>
                <c:pt idx="24032">
                  <c:v>0.42860709827001903</c:v>
                </c:pt>
                <c:pt idx="24033">
                  <c:v>0.42862493311931499</c:v>
                </c:pt>
                <c:pt idx="24034">
                  <c:v>0.42864276796861001</c:v>
                </c:pt>
                <c:pt idx="24035">
                  <c:v>0.42866060281790602</c:v>
                </c:pt>
                <c:pt idx="24036">
                  <c:v>0.42867843766720098</c:v>
                </c:pt>
                <c:pt idx="24037">
                  <c:v>0.428696272516497</c:v>
                </c:pt>
                <c:pt idx="24038">
                  <c:v>0.42871410736579202</c:v>
                </c:pt>
                <c:pt idx="24039">
                  <c:v>0.42873194221508798</c:v>
                </c:pt>
                <c:pt idx="24040">
                  <c:v>0.428749777064383</c:v>
                </c:pt>
                <c:pt idx="24041">
                  <c:v>0.42876761191367901</c:v>
                </c:pt>
                <c:pt idx="24042">
                  <c:v>0.42878544676297398</c:v>
                </c:pt>
                <c:pt idx="24043">
                  <c:v>0.42880328161226999</c:v>
                </c:pt>
                <c:pt idx="24044">
                  <c:v>0.42882111646156501</c:v>
                </c:pt>
                <c:pt idx="24045">
                  <c:v>0.42883895131086103</c:v>
                </c:pt>
                <c:pt idx="24046">
                  <c:v>0.42885678616015599</c:v>
                </c:pt>
                <c:pt idx="24047">
                  <c:v>0.42887462100945201</c:v>
                </c:pt>
                <c:pt idx="24048">
                  <c:v>0.42889245585874702</c:v>
                </c:pt>
                <c:pt idx="24049">
                  <c:v>0.42891029070804298</c:v>
                </c:pt>
                <c:pt idx="24050">
                  <c:v>0.428928125557339</c:v>
                </c:pt>
                <c:pt idx="24051">
                  <c:v>0.42894596040663402</c:v>
                </c:pt>
                <c:pt idx="24052">
                  <c:v>0.42896379525592998</c:v>
                </c:pt>
                <c:pt idx="24053">
                  <c:v>0.428981630105225</c:v>
                </c:pt>
                <c:pt idx="24054">
                  <c:v>0.42899946495452101</c:v>
                </c:pt>
                <c:pt idx="24055">
                  <c:v>0.42901729980381598</c:v>
                </c:pt>
                <c:pt idx="24056">
                  <c:v>0.42903513465311199</c:v>
                </c:pt>
                <c:pt idx="24057">
                  <c:v>0.42905296950240701</c:v>
                </c:pt>
                <c:pt idx="24058">
                  <c:v>0.42907080435170297</c:v>
                </c:pt>
                <c:pt idx="24059">
                  <c:v>0.42908863920099799</c:v>
                </c:pt>
                <c:pt idx="24060">
                  <c:v>0.42910647405029401</c:v>
                </c:pt>
                <c:pt idx="24061">
                  <c:v>0.42912430889958902</c:v>
                </c:pt>
                <c:pt idx="24062">
                  <c:v>0.42914214374888499</c:v>
                </c:pt>
                <c:pt idx="24063">
                  <c:v>0.42915997859818</c:v>
                </c:pt>
                <c:pt idx="24064">
                  <c:v>0.42917781344747602</c:v>
                </c:pt>
                <c:pt idx="24065">
                  <c:v>0.42919564829677098</c:v>
                </c:pt>
                <c:pt idx="24066">
                  <c:v>0.429213483146067</c:v>
                </c:pt>
                <c:pt idx="24067">
                  <c:v>0.42923131799536202</c:v>
                </c:pt>
                <c:pt idx="24068">
                  <c:v>0.42924915284465798</c:v>
                </c:pt>
                <c:pt idx="24069">
                  <c:v>0.42926698769395399</c:v>
                </c:pt>
                <c:pt idx="24070">
                  <c:v>0.42928482254324901</c:v>
                </c:pt>
                <c:pt idx="24071">
                  <c:v>0.42930265739254497</c:v>
                </c:pt>
                <c:pt idx="24072">
                  <c:v>0.42932049224183999</c:v>
                </c:pt>
                <c:pt idx="24073">
                  <c:v>0.42933832709113601</c:v>
                </c:pt>
                <c:pt idx="24074">
                  <c:v>0.42935616194043102</c:v>
                </c:pt>
                <c:pt idx="24075">
                  <c:v>0.42937399678972699</c:v>
                </c:pt>
                <c:pt idx="24076">
                  <c:v>0.429391831639022</c:v>
                </c:pt>
                <c:pt idx="24077">
                  <c:v>0.42940966648831802</c:v>
                </c:pt>
                <c:pt idx="24078">
                  <c:v>0.42942750133761298</c:v>
                </c:pt>
                <c:pt idx="24079">
                  <c:v>0.429445336186909</c:v>
                </c:pt>
                <c:pt idx="24080">
                  <c:v>0.42946317103620402</c:v>
                </c:pt>
                <c:pt idx="24081">
                  <c:v>0.42948100588549998</c:v>
                </c:pt>
                <c:pt idx="24082">
                  <c:v>0.429498840734795</c:v>
                </c:pt>
                <c:pt idx="24083">
                  <c:v>0.42951667558409101</c:v>
                </c:pt>
                <c:pt idx="24084">
                  <c:v>0.42953451043338597</c:v>
                </c:pt>
                <c:pt idx="24085">
                  <c:v>0.42955234528268199</c:v>
                </c:pt>
                <c:pt idx="24086">
                  <c:v>0.42957018013197701</c:v>
                </c:pt>
                <c:pt idx="24087">
                  <c:v>0.42958801498127303</c:v>
                </c:pt>
                <c:pt idx="24088">
                  <c:v>0.42960584983056799</c:v>
                </c:pt>
                <c:pt idx="24089">
                  <c:v>0.429623684679864</c:v>
                </c:pt>
                <c:pt idx="24090">
                  <c:v>0.42964151952915902</c:v>
                </c:pt>
                <c:pt idx="24091">
                  <c:v>0.42965935437845498</c:v>
                </c:pt>
                <c:pt idx="24092">
                  <c:v>0.429677189227751</c:v>
                </c:pt>
                <c:pt idx="24093">
                  <c:v>0.42969502407704602</c:v>
                </c:pt>
                <c:pt idx="24094">
                  <c:v>0.42971285892634198</c:v>
                </c:pt>
                <c:pt idx="24095">
                  <c:v>0.429730693775637</c:v>
                </c:pt>
                <c:pt idx="24096">
                  <c:v>0.42974852862493301</c:v>
                </c:pt>
                <c:pt idx="24097">
                  <c:v>0.42976636347422797</c:v>
                </c:pt>
                <c:pt idx="24098">
                  <c:v>0.42978419832352399</c:v>
                </c:pt>
                <c:pt idx="24099">
                  <c:v>0.42980203317281901</c:v>
                </c:pt>
                <c:pt idx="24100">
                  <c:v>0.42981986802211503</c:v>
                </c:pt>
                <c:pt idx="24101">
                  <c:v>0.42983770287140999</c:v>
                </c:pt>
                <c:pt idx="24102">
                  <c:v>0.429855537720706</c:v>
                </c:pt>
                <c:pt idx="24103">
                  <c:v>0.42987337257000102</c:v>
                </c:pt>
                <c:pt idx="24104">
                  <c:v>0.42989120741929698</c:v>
                </c:pt>
                <c:pt idx="24105">
                  <c:v>0.429909042268592</c:v>
                </c:pt>
                <c:pt idx="24106">
                  <c:v>0.42992687711788802</c:v>
                </c:pt>
                <c:pt idx="24107">
                  <c:v>0.42994471196718298</c:v>
                </c:pt>
                <c:pt idx="24108">
                  <c:v>0.429962546816479</c:v>
                </c:pt>
                <c:pt idx="24109">
                  <c:v>0.42998038166577401</c:v>
                </c:pt>
                <c:pt idx="24110">
                  <c:v>0.42999821651506998</c:v>
                </c:pt>
                <c:pt idx="24111">
                  <c:v>0.43001605136436599</c:v>
                </c:pt>
                <c:pt idx="24112">
                  <c:v>0.43003388621366101</c:v>
                </c:pt>
                <c:pt idx="24113">
                  <c:v>0.43005172106295703</c:v>
                </c:pt>
                <c:pt idx="24114">
                  <c:v>0.43006955591225199</c:v>
                </c:pt>
                <c:pt idx="24115">
                  <c:v>0.43008739076154801</c:v>
                </c:pt>
                <c:pt idx="24116">
                  <c:v>0.43010522561084302</c:v>
                </c:pt>
                <c:pt idx="24117">
                  <c:v>0.43012306046013898</c:v>
                </c:pt>
                <c:pt idx="24118">
                  <c:v>0.430140895309434</c:v>
                </c:pt>
                <c:pt idx="24119">
                  <c:v>0.43015873015873002</c:v>
                </c:pt>
                <c:pt idx="24120">
                  <c:v>0.43017656500802498</c:v>
                </c:pt>
                <c:pt idx="24121">
                  <c:v>0.430194399857321</c:v>
                </c:pt>
                <c:pt idx="24122">
                  <c:v>0.43021223470661601</c:v>
                </c:pt>
                <c:pt idx="24123">
                  <c:v>0.43023006955591198</c:v>
                </c:pt>
                <c:pt idx="24124">
                  <c:v>0.43024790440520699</c:v>
                </c:pt>
                <c:pt idx="24125">
                  <c:v>0.43026573925450301</c:v>
                </c:pt>
                <c:pt idx="24126">
                  <c:v>0.43028357410379803</c:v>
                </c:pt>
                <c:pt idx="24127">
                  <c:v>0.43030140895309399</c:v>
                </c:pt>
                <c:pt idx="24128">
                  <c:v>0.43031924380238901</c:v>
                </c:pt>
                <c:pt idx="24129">
                  <c:v>0.43033707865168502</c:v>
                </c:pt>
                <c:pt idx="24130">
                  <c:v>0.43035491350097999</c:v>
                </c:pt>
                <c:pt idx="24131">
                  <c:v>0.430372748350276</c:v>
                </c:pt>
                <c:pt idx="24132">
                  <c:v>0.43039058319957102</c:v>
                </c:pt>
                <c:pt idx="24133">
                  <c:v>0.43040841804886698</c:v>
                </c:pt>
                <c:pt idx="24134">
                  <c:v>0.430426252898163</c:v>
                </c:pt>
                <c:pt idx="24135">
                  <c:v>0.43044408774745802</c:v>
                </c:pt>
                <c:pt idx="24136">
                  <c:v>0.43046192259675398</c:v>
                </c:pt>
                <c:pt idx="24137">
                  <c:v>0.43047975744604899</c:v>
                </c:pt>
                <c:pt idx="24138">
                  <c:v>0.43049759229534501</c:v>
                </c:pt>
                <c:pt idx="24139">
                  <c:v>0.43051542714463997</c:v>
                </c:pt>
                <c:pt idx="24140">
                  <c:v>0.43053326199393599</c:v>
                </c:pt>
                <c:pt idx="24141">
                  <c:v>0.43055109684323101</c:v>
                </c:pt>
                <c:pt idx="24142">
                  <c:v>0.43056893169252702</c:v>
                </c:pt>
                <c:pt idx="24143">
                  <c:v>0.43058676654182199</c:v>
                </c:pt>
                <c:pt idx="24144">
                  <c:v>0.430604601391118</c:v>
                </c:pt>
                <c:pt idx="24145">
                  <c:v>0.43062243624041302</c:v>
                </c:pt>
                <c:pt idx="24146">
                  <c:v>0.43064027108970898</c:v>
                </c:pt>
                <c:pt idx="24147">
                  <c:v>0.430658105939004</c:v>
                </c:pt>
                <c:pt idx="24148">
                  <c:v>0.43067594078830002</c:v>
                </c:pt>
                <c:pt idx="24149">
                  <c:v>0.43069377563759498</c:v>
                </c:pt>
                <c:pt idx="24150">
                  <c:v>0.43071161048689099</c:v>
                </c:pt>
                <c:pt idx="24151">
                  <c:v>0.43072944533618601</c:v>
                </c:pt>
                <c:pt idx="24152">
                  <c:v>0.43074728018548197</c:v>
                </c:pt>
                <c:pt idx="24153">
                  <c:v>0.43076511503477699</c:v>
                </c:pt>
                <c:pt idx="24154">
                  <c:v>0.43078294988407301</c:v>
                </c:pt>
                <c:pt idx="24155">
                  <c:v>0.43080078473336902</c:v>
                </c:pt>
                <c:pt idx="24156">
                  <c:v>0.43081861958266399</c:v>
                </c:pt>
                <c:pt idx="24157">
                  <c:v>0.43083645443196</c:v>
                </c:pt>
                <c:pt idx="24158">
                  <c:v>0.43085428928125502</c:v>
                </c:pt>
                <c:pt idx="24159">
                  <c:v>0.43087212413055098</c:v>
                </c:pt>
                <c:pt idx="24160">
                  <c:v>0.430889958979846</c:v>
                </c:pt>
                <c:pt idx="24161">
                  <c:v>0.43090779382914202</c:v>
                </c:pt>
                <c:pt idx="24162">
                  <c:v>0.43092562867843698</c:v>
                </c:pt>
                <c:pt idx="24163">
                  <c:v>0.430943463527733</c:v>
                </c:pt>
                <c:pt idx="24164">
                  <c:v>0.43096129837702801</c:v>
                </c:pt>
                <c:pt idx="24165">
                  <c:v>0.43097913322632397</c:v>
                </c:pt>
                <c:pt idx="24166">
                  <c:v>0.43099696807561899</c:v>
                </c:pt>
                <c:pt idx="24167">
                  <c:v>0.43101480292491501</c:v>
                </c:pt>
                <c:pt idx="24168">
                  <c:v>0.43103263777421003</c:v>
                </c:pt>
                <c:pt idx="24169">
                  <c:v>0.43105047262350599</c:v>
                </c:pt>
                <c:pt idx="24170">
                  <c:v>0.431068307472801</c:v>
                </c:pt>
                <c:pt idx="24171">
                  <c:v>0.43108614232209702</c:v>
                </c:pt>
                <c:pt idx="24172">
                  <c:v>0.43110397717139198</c:v>
                </c:pt>
                <c:pt idx="24173">
                  <c:v>0.431121812020688</c:v>
                </c:pt>
                <c:pt idx="24174">
                  <c:v>0.43113964686998302</c:v>
                </c:pt>
                <c:pt idx="24175">
                  <c:v>0.43115748171927898</c:v>
                </c:pt>
                <c:pt idx="24176">
                  <c:v>0.431175316568575</c:v>
                </c:pt>
                <c:pt idx="24177">
                  <c:v>0.43119315141787001</c:v>
                </c:pt>
                <c:pt idx="24178">
                  <c:v>0.43121098626716597</c:v>
                </c:pt>
                <c:pt idx="24179">
                  <c:v>0.43122882111646099</c:v>
                </c:pt>
                <c:pt idx="24180">
                  <c:v>0.43124665596575701</c:v>
                </c:pt>
                <c:pt idx="24181">
                  <c:v>0.43126449081505203</c:v>
                </c:pt>
                <c:pt idx="24182">
                  <c:v>0.43128232566434799</c:v>
                </c:pt>
                <c:pt idx="24183">
                  <c:v>0.43130016051364301</c:v>
                </c:pt>
                <c:pt idx="24184">
                  <c:v>0.43131799536293902</c:v>
                </c:pt>
                <c:pt idx="24185">
                  <c:v>0.43133583021223398</c:v>
                </c:pt>
                <c:pt idx="24186">
                  <c:v>0.43135366506153</c:v>
                </c:pt>
                <c:pt idx="24187">
                  <c:v>0.43137149991082502</c:v>
                </c:pt>
                <c:pt idx="24188">
                  <c:v>0.43138933476012098</c:v>
                </c:pt>
                <c:pt idx="24189">
                  <c:v>0.431407169609416</c:v>
                </c:pt>
                <c:pt idx="24190">
                  <c:v>0.43142500445871201</c:v>
                </c:pt>
                <c:pt idx="24191">
                  <c:v>0.43144283930800698</c:v>
                </c:pt>
                <c:pt idx="24192">
                  <c:v>0.43146067415730299</c:v>
                </c:pt>
                <c:pt idx="24193">
                  <c:v>0.43147850900659801</c:v>
                </c:pt>
                <c:pt idx="24194">
                  <c:v>0.43149634385589403</c:v>
                </c:pt>
                <c:pt idx="24195">
                  <c:v>0.43151417870518899</c:v>
                </c:pt>
                <c:pt idx="24196">
                  <c:v>0.43153201355448501</c:v>
                </c:pt>
                <c:pt idx="24197">
                  <c:v>0.43154984840378002</c:v>
                </c:pt>
                <c:pt idx="24198">
                  <c:v>0.43156768325307598</c:v>
                </c:pt>
                <c:pt idx="24199">
                  <c:v>0.431585518102372</c:v>
                </c:pt>
                <c:pt idx="24200">
                  <c:v>0.43160335295166702</c:v>
                </c:pt>
                <c:pt idx="24201">
                  <c:v>0.43162118780096298</c:v>
                </c:pt>
                <c:pt idx="24202">
                  <c:v>0.431639022650258</c:v>
                </c:pt>
                <c:pt idx="24203">
                  <c:v>0.43165685749955401</c:v>
                </c:pt>
                <c:pt idx="24204">
                  <c:v>0.43167469234884898</c:v>
                </c:pt>
                <c:pt idx="24205">
                  <c:v>0.43169252719814499</c:v>
                </c:pt>
                <c:pt idx="24206">
                  <c:v>0.43171036204744001</c:v>
                </c:pt>
                <c:pt idx="24207">
                  <c:v>0.43172819689673603</c:v>
                </c:pt>
                <c:pt idx="24208">
                  <c:v>0.43174603174603099</c:v>
                </c:pt>
                <c:pt idx="24209">
                  <c:v>0.43176386659532701</c:v>
                </c:pt>
                <c:pt idx="24210">
                  <c:v>0.43178170144462202</c:v>
                </c:pt>
                <c:pt idx="24211">
                  <c:v>0.43179953629391798</c:v>
                </c:pt>
                <c:pt idx="24212">
                  <c:v>0.431817371143213</c:v>
                </c:pt>
                <c:pt idx="24213">
                  <c:v>0.43183520599250902</c:v>
                </c:pt>
                <c:pt idx="24214">
                  <c:v>0.43185304084180398</c:v>
                </c:pt>
                <c:pt idx="24215">
                  <c:v>0.4318708756911</c:v>
                </c:pt>
                <c:pt idx="24216">
                  <c:v>0.43188871054039502</c:v>
                </c:pt>
                <c:pt idx="24217">
                  <c:v>0.43190654538969098</c:v>
                </c:pt>
                <c:pt idx="24218">
                  <c:v>0.43192438023898699</c:v>
                </c:pt>
                <c:pt idx="24219">
                  <c:v>0.43194221508828201</c:v>
                </c:pt>
                <c:pt idx="24220">
                  <c:v>0.43196004993757797</c:v>
                </c:pt>
                <c:pt idx="24221">
                  <c:v>0.43197788478687299</c:v>
                </c:pt>
                <c:pt idx="24222">
                  <c:v>0.43199571963616901</c:v>
                </c:pt>
                <c:pt idx="24223">
                  <c:v>0.43201355448546402</c:v>
                </c:pt>
                <c:pt idx="24224">
                  <c:v>0.43203138933475999</c:v>
                </c:pt>
                <c:pt idx="24225">
                  <c:v>0.432049224184055</c:v>
                </c:pt>
                <c:pt idx="24226">
                  <c:v>0.43206705903335102</c:v>
                </c:pt>
                <c:pt idx="24227">
                  <c:v>0.43208489388264598</c:v>
                </c:pt>
                <c:pt idx="24228">
                  <c:v>0.432102728731942</c:v>
                </c:pt>
                <c:pt idx="24229">
                  <c:v>0.43212056358123702</c:v>
                </c:pt>
                <c:pt idx="24230">
                  <c:v>0.43213839843053298</c:v>
                </c:pt>
                <c:pt idx="24231">
                  <c:v>0.43215623327982799</c:v>
                </c:pt>
                <c:pt idx="24232">
                  <c:v>0.43217406812912401</c:v>
                </c:pt>
                <c:pt idx="24233">
                  <c:v>0.43219190297841897</c:v>
                </c:pt>
                <c:pt idx="24234">
                  <c:v>0.43220973782771499</c:v>
                </c:pt>
                <c:pt idx="24235">
                  <c:v>0.43222757267701001</c:v>
                </c:pt>
                <c:pt idx="24236">
                  <c:v>0.43224540752630602</c:v>
                </c:pt>
                <c:pt idx="24237">
                  <c:v>0.43226324237560099</c:v>
                </c:pt>
                <c:pt idx="24238">
                  <c:v>0.432281077224897</c:v>
                </c:pt>
                <c:pt idx="24239">
                  <c:v>0.43229891207419202</c:v>
                </c:pt>
                <c:pt idx="24240">
                  <c:v>0.43231674692348798</c:v>
                </c:pt>
                <c:pt idx="24241">
                  <c:v>0.432334581772784</c:v>
                </c:pt>
                <c:pt idx="24242">
                  <c:v>0.43235241662207902</c:v>
                </c:pt>
                <c:pt idx="24243">
                  <c:v>0.43237025147137498</c:v>
                </c:pt>
                <c:pt idx="24244">
                  <c:v>0.43238808632067</c:v>
                </c:pt>
                <c:pt idx="24245">
                  <c:v>0.43240592116996601</c:v>
                </c:pt>
                <c:pt idx="24246">
                  <c:v>0.43242375601926097</c:v>
                </c:pt>
                <c:pt idx="24247">
                  <c:v>0.43244159086855699</c:v>
                </c:pt>
                <c:pt idx="24248">
                  <c:v>0.43245942571785201</c:v>
                </c:pt>
                <c:pt idx="24249">
                  <c:v>0.43247726056714803</c:v>
                </c:pt>
                <c:pt idx="24250">
                  <c:v>0.43249509541644299</c:v>
                </c:pt>
                <c:pt idx="24251">
                  <c:v>0.432512930265739</c:v>
                </c:pt>
                <c:pt idx="24252">
                  <c:v>0.43253076511503402</c:v>
                </c:pt>
                <c:pt idx="24253">
                  <c:v>0.43254859996432998</c:v>
                </c:pt>
                <c:pt idx="24254">
                  <c:v>0.432566434813625</c:v>
                </c:pt>
                <c:pt idx="24255">
                  <c:v>0.43258426966292102</c:v>
                </c:pt>
                <c:pt idx="24256">
                  <c:v>0.43260210451221598</c:v>
                </c:pt>
                <c:pt idx="24257">
                  <c:v>0.432619939361512</c:v>
                </c:pt>
                <c:pt idx="24258">
                  <c:v>0.43263777421080701</c:v>
                </c:pt>
                <c:pt idx="24259">
                  <c:v>0.43265560906010297</c:v>
                </c:pt>
                <c:pt idx="24260">
                  <c:v>0.43267344390939899</c:v>
                </c:pt>
                <c:pt idx="24261">
                  <c:v>0.43269127875869401</c:v>
                </c:pt>
                <c:pt idx="24262">
                  <c:v>0.43270911360799003</c:v>
                </c:pt>
                <c:pt idx="24263">
                  <c:v>0.43272694845728499</c:v>
                </c:pt>
                <c:pt idx="24264">
                  <c:v>0.432744783306581</c:v>
                </c:pt>
                <c:pt idx="24265">
                  <c:v>0.43276261815587602</c:v>
                </c:pt>
                <c:pt idx="24266">
                  <c:v>0.43278045300517198</c:v>
                </c:pt>
                <c:pt idx="24267">
                  <c:v>0.432798287854467</c:v>
                </c:pt>
                <c:pt idx="24268">
                  <c:v>0.43281612270376302</c:v>
                </c:pt>
                <c:pt idx="24269">
                  <c:v>0.43283395755305798</c:v>
                </c:pt>
                <c:pt idx="24270">
                  <c:v>0.432851792402354</c:v>
                </c:pt>
                <c:pt idx="24271">
                  <c:v>0.43286962725164901</c:v>
                </c:pt>
                <c:pt idx="24272">
                  <c:v>0.43288746210094498</c:v>
                </c:pt>
                <c:pt idx="24273">
                  <c:v>0.43290529695023999</c:v>
                </c:pt>
                <c:pt idx="24274">
                  <c:v>0.43292313179953601</c:v>
                </c:pt>
                <c:pt idx="24275">
                  <c:v>0.43294096664883103</c:v>
                </c:pt>
                <c:pt idx="24276">
                  <c:v>0.43295880149812699</c:v>
                </c:pt>
                <c:pt idx="24277">
                  <c:v>0.43297663634742201</c:v>
                </c:pt>
                <c:pt idx="24278">
                  <c:v>0.43299447119671802</c:v>
                </c:pt>
                <c:pt idx="24279">
                  <c:v>0.43301230604601298</c:v>
                </c:pt>
                <c:pt idx="24280">
                  <c:v>0.433030140895309</c:v>
                </c:pt>
                <c:pt idx="24281">
                  <c:v>0.43304797574460402</c:v>
                </c:pt>
                <c:pt idx="24282">
                  <c:v>0.43306581059389998</c:v>
                </c:pt>
                <c:pt idx="24283">
                  <c:v>0.433083645443196</c:v>
                </c:pt>
                <c:pt idx="24284">
                  <c:v>0.43310148029249101</c:v>
                </c:pt>
                <c:pt idx="24285">
                  <c:v>0.43311931514178698</c:v>
                </c:pt>
                <c:pt idx="24286">
                  <c:v>0.43313714999108199</c:v>
                </c:pt>
                <c:pt idx="24287">
                  <c:v>0.43315498484037801</c:v>
                </c:pt>
                <c:pt idx="24288">
                  <c:v>0.43317281968967303</c:v>
                </c:pt>
                <c:pt idx="24289">
                  <c:v>0.43319065453896899</c:v>
                </c:pt>
                <c:pt idx="24290">
                  <c:v>0.43320848938826401</c:v>
                </c:pt>
                <c:pt idx="24291">
                  <c:v>0.43322632423756002</c:v>
                </c:pt>
                <c:pt idx="24292">
                  <c:v>0.43324415908685499</c:v>
                </c:pt>
                <c:pt idx="24293">
                  <c:v>0.433261993936151</c:v>
                </c:pt>
                <c:pt idx="24294">
                  <c:v>0.43327982878544602</c:v>
                </c:pt>
                <c:pt idx="24295">
                  <c:v>0.43329766363474198</c:v>
                </c:pt>
                <c:pt idx="24296">
                  <c:v>0.433315498484037</c:v>
                </c:pt>
                <c:pt idx="24297">
                  <c:v>0.43333333333333302</c:v>
                </c:pt>
                <c:pt idx="24298">
                  <c:v>0.43335116818262798</c:v>
                </c:pt>
                <c:pt idx="24299">
                  <c:v>0.43336900303192399</c:v>
                </c:pt>
                <c:pt idx="24300">
                  <c:v>0.43338683788121901</c:v>
                </c:pt>
                <c:pt idx="24301">
                  <c:v>0.43340467273051497</c:v>
                </c:pt>
                <c:pt idx="24302">
                  <c:v>0.43342250757980999</c:v>
                </c:pt>
                <c:pt idx="24303">
                  <c:v>0.43344034242910601</c:v>
                </c:pt>
                <c:pt idx="24304">
                  <c:v>0.43345817727840202</c:v>
                </c:pt>
                <c:pt idx="24305">
                  <c:v>0.43347601212769699</c:v>
                </c:pt>
                <c:pt idx="24306">
                  <c:v>0.433493846976993</c:v>
                </c:pt>
                <c:pt idx="24307">
                  <c:v>0.43351168182628802</c:v>
                </c:pt>
                <c:pt idx="24308">
                  <c:v>0.43352951667558398</c:v>
                </c:pt>
                <c:pt idx="24309">
                  <c:v>0.433547351524879</c:v>
                </c:pt>
                <c:pt idx="24310">
                  <c:v>0.43356518637417502</c:v>
                </c:pt>
                <c:pt idx="24311">
                  <c:v>0.43358302122346998</c:v>
                </c:pt>
                <c:pt idx="24312">
                  <c:v>0.43360085607276599</c:v>
                </c:pt>
                <c:pt idx="24313">
                  <c:v>0.43361869092206101</c:v>
                </c:pt>
                <c:pt idx="24314">
                  <c:v>0.43363652577135697</c:v>
                </c:pt>
                <c:pt idx="24315">
                  <c:v>0.43365436062065199</c:v>
                </c:pt>
                <c:pt idx="24316">
                  <c:v>0.43367219546994801</c:v>
                </c:pt>
                <c:pt idx="24317">
                  <c:v>0.43369003031924303</c:v>
                </c:pt>
                <c:pt idx="24318">
                  <c:v>0.43370786516853899</c:v>
                </c:pt>
                <c:pt idx="24319">
                  <c:v>0.433725700017834</c:v>
                </c:pt>
                <c:pt idx="24320">
                  <c:v>0.43374353486713002</c:v>
                </c:pt>
                <c:pt idx="24321">
                  <c:v>0.43376136971642498</c:v>
                </c:pt>
                <c:pt idx="24322">
                  <c:v>0.433779204565721</c:v>
                </c:pt>
                <c:pt idx="24323">
                  <c:v>0.43379703941501602</c:v>
                </c:pt>
                <c:pt idx="24324">
                  <c:v>0.43381487426431198</c:v>
                </c:pt>
                <c:pt idx="24325">
                  <c:v>0.43383270911360799</c:v>
                </c:pt>
                <c:pt idx="24326">
                  <c:v>0.43385054396290301</c:v>
                </c:pt>
                <c:pt idx="24327">
                  <c:v>0.43386837881219897</c:v>
                </c:pt>
                <c:pt idx="24328">
                  <c:v>0.43388621366149399</c:v>
                </c:pt>
                <c:pt idx="24329">
                  <c:v>0.43390404851079001</c:v>
                </c:pt>
                <c:pt idx="24330">
                  <c:v>0.43392188336008503</c:v>
                </c:pt>
                <c:pt idx="24331">
                  <c:v>0.43393971820938099</c:v>
                </c:pt>
                <c:pt idx="24332">
                  <c:v>0.433957553058676</c:v>
                </c:pt>
                <c:pt idx="24333">
                  <c:v>0.43397538790797202</c:v>
                </c:pt>
                <c:pt idx="24334">
                  <c:v>0.43399322275726698</c:v>
                </c:pt>
                <c:pt idx="24335">
                  <c:v>0.434011057606563</c:v>
                </c:pt>
                <c:pt idx="24336">
                  <c:v>0.43402889245585802</c:v>
                </c:pt>
                <c:pt idx="24337">
                  <c:v>0.43404672730515398</c:v>
                </c:pt>
                <c:pt idx="24338">
                  <c:v>0.434064562154449</c:v>
                </c:pt>
                <c:pt idx="24339">
                  <c:v>0.43408239700374501</c:v>
                </c:pt>
                <c:pt idx="24340">
                  <c:v>0.43410023185303998</c:v>
                </c:pt>
                <c:pt idx="24341">
                  <c:v>0.43411806670233599</c:v>
                </c:pt>
                <c:pt idx="24342">
                  <c:v>0.43413590155163101</c:v>
                </c:pt>
                <c:pt idx="24343">
                  <c:v>0.43415373640092703</c:v>
                </c:pt>
                <c:pt idx="24344">
                  <c:v>0.43417157125022199</c:v>
                </c:pt>
                <c:pt idx="24345">
                  <c:v>0.434189406099518</c:v>
                </c:pt>
                <c:pt idx="24346">
                  <c:v>0.43420724094881302</c:v>
                </c:pt>
                <c:pt idx="24347">
                  <c:v>0.43422507579810898</c:v>
                </c:pt>
                <c:pt idx="24348">
                  <c:v>0.434242910647405</c:v>
                </c:pt>
                <c:pt idx="24349">
                  <c:v>0.43426074549670002</c:v>
                </c:pt>
                <c:pt idx="24350">
                  <c:v>0.43427858034599598</c:v>
                </c:pt>
                <c:pt idx="24351">
                  <c:v>0.434296415195291</c:v>
                </c:pt>
                <c:pt idx="24352">
                  <c:v>0.43431425004458701</c:v>
                </c:pt>
                <c:pt idx="24353">
                  <c:v>0.43433208489388198</c:v>
                </c:pt>
                <c:pt idx="24354">
                  <c:v>0.43434991974317799</c:v>
                </c:pt>
                <c:pt idx="24355">
                  <c:v>0.43436775459247301</c:v>
                </c:pt>
                <c:pt idx="24356">
                  <c:v>0.43438558944176903</c:v>
                </c:pt>
                <c:pt idx="24357">
                  <c:v>0.43440342429106399</c:v>
                </c:pt>
                <c:pt idx="24358">
                  <c:v>0.43442125914036001</c:v>
                </c:pt>
                <c:pt idx="24359">
                  <c:v>0.43443909398965502</c:v>
                </c:pt>
                <c:pt idx="24360">
                  <c:v>0.43445692883895098</c:v>
                </c:pt>
                <c:pt idx="24361">
                  <c:v>0.434474763688246</c:v>
                </c:pt>
                <c:pt idx="24362">
                  <c:v>0.43449259853754202</c:v>
                </c:pt>
                <c:pt idx="24363">
                  <c:v>0.43451043338683698</c:v>
                </c:pt>
                <c:pt idx="24364">
                  <c:v>0.434528268236133</c:v>
                </c:pt>
                <c:pt idx="24365">
                  <c:v>0.43454610308542801</c:v>
                </c:pt>
                <c:pt idx="24366">
                  <c:v>0.43456393793472398</c:v>
                </c:pt>
                <c:pt idx="24367">
                  <c:v>0.43458177278401999</c:v>
                </c:pt>
                <c:pt idx="24368">
                  <c:v>0.43459960763331501</c:v>
                </c:pt>
                <c:pt idx="24369">
                  <c:v>0.43461744248261103</c:v>
                </c:pt>
                <c:pt idx="24370">
                  <c:v>0.43463527733190599</c:v>
                </c:pt>
                <c:pt idx="24371">
                  <c:v>0.43465311218120201</c:v>
                </c:pt>
                <c:pt idx="24372">
                  <c:v>0.43467094703049702</c:v>
                </c:pt>
                <c:pt idx="24373">
                  <c:v>0.43468878187979298</c:v>
                </c:pt>
                <c:pt idx="24374">
                  <c:v>0.434706616729088</c:v>
                </c:pt>
                <c:pt idx="24375">
                  <c:v>0.43472445157838402</c:v>
                </c:pt>
                <c:pt idx="24376">
                  <c:v>0.43474228642767898</c:v>
                </c:pt>
                <c:pt idx="24377">
                  <c:v>0.434760121276975</c:v>
                </c:pt>
                <c:pt idx="24378">
                  <c:v>0.43477795612627002</c:v>
                </c:pt>
                <c:pt idx="24379">
                  <c:v>0.43479579097556598</c:v>
                </c:pt>
                <c:pt idx="24380">
                  <c:v>0.43481362582486099</c:v>
                </c:pt>
                <c:pt idx="24381">
                  <c:v>0.43483146067415701</c:v>
                </c:pt>
                <c:pt idx="24382">
                  <c:v>0.43484929552345197</c:v>
                </c:pt>
                <c:pt idx="24383">
                  <c:v>0.43486713037274799</c:v>
                </c:pt>
                <c:pt idx="24384">
                  <c:v>0.43488496522204301</c:v>
                </c:pt>
                <c:pt idx="24385">
                  <c:v>0.43490280007133902</c:v>
                </c:pt>
                <c:pt idx="24386">
                  <c:v>0.43492063492063399</c:v>
                </c:pt>
                <c:pt idx="24387">
                  <c:v>0.43493846976993</c:v>
                </c:pt>
                <c:pt idx="24388">
                  <c:v>0.43495630461922502</c:v>
                </c:pt>
                <c:pt idx="24389">
                  <c:v>0.43497413946852098</c:v>
                </c:pt>
                <c:pt idx="24390">
                  <c:v>0.434991974317817</c:v>
                </c:pt>
                <c:pt idx="24391">
                  <c:v>0.43500980916711202</c:v>
                </c:pt>
                <c:pt idx="24392">
                  <c:v>0.43502764401640798</c:v>
                </c:pt>
                <c:pt idx="24393">
                  <c:v>0.43504547886570299</c:v>
                </c:pt>
                <c:pt idx="24394">
                  <c:v>0.43506331371499901</c:v>
                </c:pt>
                <c:pt idx="24395">
                  <c:v>0.43508114856429397</c:v>
                </c:pt>
                <c:pt idx="24396">
                  <c:v>0.43509898341358999</c:v>
                </c:pt>
                <c:pt idx="24397">
                  <c:v>0.43511681826288501</c:v>
                </c:pt>
                <c:pt idx="24398">
                  <c:v>0.43513465311218102</c:v>
                </c:pt>
                <c:pt idx="24399">
                  <c:v>0.43515248796147599</c:v>
                </c:pt>
                <c:pt idx="24400">
                  <c:v>0.435170322810772</c:v>
                </c:pt>
                <c:pt idx="24401">
                  <c:v>0.43518815766006702</c:v>
                </c:pt>
                <c:pt idx="24402">
                  <c:v>0.43520599250936298</c:v>
                </c:pt>
                <c:pt idx="24403">
                  <c:v>0.435223827358658</c:v>
                </c:pt>
                <c:pt idx="24404">
                  <c:v>0.43524166220795402</c:v>
                </c:pt>
                <c:pt idx="24405">
                  <c:v>0.43525949705724898</c:v>
                </c:pt>
                <c:pt idx="24406">
                  <c:v>0.435277331906545</c:v>
                </c:pt>
                <c:pt idx="24407">
                  <c:v>0.43529516675584001</c:v>
                </c:pt>
                <c:pt idx="24408">
                  <c:v>0.43531300160513597</c:v>
                </c:pt>
                <c:pt idx="24409">
                  <c:v>0.43533083645443099</c:v>
                </c:pt>
                <c:pt idx="24410">
                  <c:v>0.43534867130372701</c:v>
                </c:pt>
                <c:pt idx="24411">
                  <c:v>0.43536650615302303</c:v>
                </c:pt>
                <c:pt idx="24412">
                  <c:v>0.43538434100231799</c:v>
                </c:pt>
                <c:pt idx="24413">
                  <c:v>0.435402175851614</c:v>
                </c:pt>
                <c:pt idx="24414">
                  <c:v>0.43542001070090902</c:v>
                </c:pt>
                <c:pt idx="24415">
                  <c:v>0.43543784555020498</c:v>
                </c:pt>
                <c:pt idx="24416">
                  <c:v>0.4354556803995</c:v>
                </c:pt>
                <c:pt idx="24417">
                  <c:v>0.43547351524879602</c:v>
                </c:pt>
                <c:pt idx="24418">
                  <c:v>0.43549135009809098</c:v>
                </c:pt>
                <c:pt idx="24419">
                  <c:v>0.435509184947387</c:v>
                </c:pt>
                <c:pt idx="24420">
                  <c:v>0.43552701979668201</c:v>
                </c:pt>
                <c:pt idx="24421">
                  <c:v>0.43554485464597797</c:v>
                </c:pt>
                <c:pt idx="24422">
                  <c:v>0.43556268949527299</c:v>
                </c:pt>
                <c:pt idx="24423">
                  <c:v>0.43558052434456901</c:v>
                </c:pt>
                <c:pt idx="24424">
                  <c:v>0.43559835919386403</c:v>
                </c:pt>
                <c:pt idx="24425">
                  <c:v>0.43561619404315999</c:v>
                </c:pt>
                <c:pt idx="24426">
                  <c:v>0.43563402889245501</c:v>
                </c:pt>
                <c:pt idx="24427">
                  <c:v>0.43565186374175102</c:v>
                </c:pt>
                <c:pt idx="24428">
                  <c:v>0.43566969859104598</c:v>
                </c:pt>
                <c:pt idx="24429">
                  <c:v>0.435687533440342</c:v>
                </c:pt>
                <c:pt idx="24430">
                  <c:v>0.43570536828963702</c:v>
                </c:pt>
                <c:pt idx="24431">
                  <c:v>0.43572320313893298</c:v>
                </c:pt>
                <c:pt idx="24432">
                  <c:v>0.435741037988229</c:v>
                </c:pt>
                <c:pt idx="24433">
                  <c:v>0.43575887283752401</c:v>
                </c:pt>
                <c:pt idx="24434">
                  <c:v>0.43577670768681998</c:v>
                </c:pt>
                <c:pt idx="24435">
                  <c:v>0.43579454253611499</c:v>
                </c:pt>
                <c:pt idx="24436">
                  <c:v>0.43581237738541101</c:v>
                </c:pt>
                <c:pt idx="24437">
                  <c:v>0.43583021223470603</c:v>
                </c:pt>
                <c:pt idx="24438">
                  <c:v>0.43584804708400199</c:v>
                </c:pt>
                <c:pt idx="24439">
                  <c:v>0.43586588193329701</c:v>
                </c:pt>
                <c:pt idx="24440">
                  <c:v>0.43588371678259302</c:v>
                </c:pt>
                <c:pt idx="24441">
                  <c:v>0.43590155163188798</c:v>
                </c:pt>
                <c:pt idx="24442">
                  <c:v>0.435919386481184</c:v>
                </c:pt>
                <c:pt idx="24443">
                  <c:v>0.43593722133047902</c:v>
                </c:pt>
                <c:pt idx="24444">
                  <c:v>0.43595505617977498</c:v>
                </c:pt>
                <c:pt idx="24445">
                  <c:v>0.43597289102907</c:v>
                </c:pt>
                <c:pt idx="24446">
                  <c:v>0.43599072587836601</c:v>
                </c:pt>
                <c:pt idx="24447">
                  <c:v>0.43600856072766098</c:v>
                </c:pt>
                <c:pt idx="24448">
                  <c:v>0.43602639557695699</c:v>
                </c:pt>
                <c:pt idx="24449">
                  <c:v>0.43604423042625201</c:v>
                </c:pt>
                <c:pt idx="24450">
                  <c:v>0.43606206527554803</c:v>
                </c:pt>
                <c:pt idx="24451">
                  <c:v>0.43607990012484299</c:v>
                </c:pt>
                <c:pt idx="24452">
                  <c:v>0.43609773497413901</c:v>
                </c:pt>
                <c:pt idx="24453">
                  <c:v>0.43611556982343402</c:v>
                </c:pt>
                <c:pt idx="24454">
                  <c:v>0.43613340467272999</c:v>
                </c:pt>
                <c:pt idx="24455">
                  <c:v>0.436151239522026</c:v>
                </c:pt>
                <c:pt idx="24456">
                  <c:v>0.43616907437132102</c:v>
                </c:pt>
                <c:pt idx="24457">
                  <c:v>0.43618690922061698</c:v>
                </c:pt>
                <c:pt idx="24458">
                  <c:v>0.436204744069912</c:v>
                </c:pt>
                <c:pt idx="24459">
                  <c:v>0.43622257891920801</c:v>
                </c:pt>
                <c:pt idx="24460">
                  <c:v>0.43624041376850298</c:v>
                </c:pt>
                <c:pt idx="24461">
                  <c:v>0.43625824861779899</c:v>
                </c:pt>
                <c:pt idx="24462">
                  <c:v>0.43627608346709401</c:v>
                </c:pt>
                <c:pt idx="24463">
                  <c:v>0.43629391831638997</c:v>
                </c:pt>
                <c:pt idx="24464">
                  <c:v>0.43631175316568499</c:v>
                </c:pt>
                <c:pt idx="24465">
                  <c:v>0.43632958801498101</c:v>
                </c:pt>
                <c:pt idx="24466">
                  <c:v>0.43634742286427602</c:v>
                </c:pt>
                <c:pt idx="24467">
                  <c:v>0.43636525771357199</c:v>
                </c:pt>
                <c:pt idx="24468">
                  <c:v>0.436383092562867</c:v>
                </c:pt>
                <c:pt idx="24469">
                  <c:v>0.43640092741216302</c:v>
                </c:pt>
                <c:pt idx="24470">
                  <c:v>0.43641876226145798</c:v>
                </c:pt>
                <c:pt idx="24471">
                  <c:v>0.436436597110754</c:v>
                </c:pt>
                <c:pt idx="24472">
                  <c:v>0.43645443196004902</c:v>
                </c:pt>
                <c:pt idx="24473">
                  <c:v>0.43647226680934498</c:v>
                </c:pt>
                <c:pt idx="24474">
                  <c:v>0.43649010165864099</c:v>
                </c:pt>
                <c:pt idx="24475">
                  <c:v>0.43650793650793601</c:v>
                </c:pt>
                <c:pt idx="24476">
                  <c:v>0.43652577135723197</c:v>
                </c:pt>
                <c:pt idx="24477">
                  <c:v>0.43654360620652699</c:v>
                </c:pt>
                <c:pt idx="24478">
                  <c:v>0.43656144105582301</c:v>
                </c:pt>
                <c:pt idx="24479">
                  <c:v>0.43657927590511802</c:v>
                </c:pt>
                <c:pt idx="24480">
                  <c:v>0.43659711075441399</c:v>
                </c:pt>
                <c:pt idx="24481">
                  <c:v>0.436614945603709</c:v>
                </c:pt>
                <c:pt idx="24482">
                  <c:v>0.43663278045300502</c:v>
                </c:pt>
                <c:pt idx="24483">
                  <c:v>0.43665061530229998</c:v>
                </c:pt>
                <c:pt idx="24484">
                  <c:v>0.436668450151596</c:v>
                </c:pt>
                <c:pt idx="24485">
                  <c:v>0.43668628500089102</c:v>
                </c:pt>
                <c:pt idx="24486">
                  <c:v>0.43670411985018698</c:v>
                </c:pt>
                <c:pt idx="24487">
                  <c:v>0.436721954699482</c:v>
                </c:pt>
                <c:pt idx="24488">
                  <c:v>0.43673978954877801</c:v>
                </c:pt>
                <c:pt idx="24489">
                  <c:v>0.43675762439807297</c:v>
                </c:pt>
                <c:pt idx="24490">
                  <c:v>0.43677545924736899</c:v>
                </c:pt>
                <c:pt idx="24491">
                  <c:v>0.43679329409666401</c:v>
                </c:pt>
                <c:pt idx="24492">
                  <c:v>0.43681112894596003</c:v>
                </c:pt>
                <c:pt idx="24493">
                  <c:v>0.43682896379525499</c:v>
                </c:pt>
                <c:pt idx="24494">
                  <c:v>0.436846798644551</c:v>
                </c:pt>
                <c:pt idx="24495">
                  <c:v>0.43686463349384602</c:v>
                </c:pt>
                <c:pt idx="24496">
                  <c:v>0.43688246834314198</c:v>
                </c:pt>
                <c:pt idx="24497">
                  <c:v>0.436900303192438</c:v>
                </c:pt>
                <c:pt idx="24498">
                  <c:v>0.43691813804173302</c:v>
                </c:pt>
                <c:pt idx="24499">
                  <c:v>0.43693597289102898</c:v>
                </c:pt>
                <c:pt idx="24500">
                  <c:v>0.436953807740324</c:v>
                </c:pt>
                <c:pt idx="24501">
                  <c:v>0.43697164258962001</c:v>
                </c:pt>
                <c:pt idx="24502">
                  <c:v>0.43698947743891497</c:v>
                </c:pt>
                <c:pt idx="24503">
                  <c:v>0.43700731228821099</c:v>
                </c:pt>
                <c:pt idx="24504">
                  <c:v>0.43702514713750601</c:v>
                </c:pt>
                <c:pt idx="24505">
                  <c:v>0.43704298198680203</c:v>
                </c:pt>
                <c:pt idx="24506">
                  <c:v>0.43706081683609699</c:v>
                </c:pt>
                <c:pt idx="24507">
                  <c:v>0.437078651685393</c:v>
                </c:pt>
                <c:pt idx="24508">
                  <c:v>0.43709648653468802</c:v>
                </c:pt>
                <c:pt idx="24509">
                  <c:v>0.43711432138398398</c:v>
                </c:pt>
                <c:pt idx="24510">
                  <c:v>0.437132156233279</c:v>
                </c:pt>
                <c:pt idx="24511">
                  <c:v>0.43714999108257502</c:v>
                </c:pt>
                <c:pt idx="24512">
                  <c:v>0.43716782593186998</c:v>
                </c:pt>
                <c:pt idx="24513">
                  <c:v>0.437185660781166</c:v>
                </c:pt>
                <c:pt idx="24514">
                  <c:v>0.43720349563046101</c:v>
                </c:pt>
                <c:pt idx="24515">
                  <c:v>0.43722133047975698</c:v>
                </c:pt>
                <c:pt idx="24516">
                  <c:v>0.43723916532905299</c:v>
                </c:pt>
                <c:pt idx="24517">
                  <c:v>0.43725700017834801</c:v>
                </c:pt>
                <c:pt idx="24518">
                  <c:v>0.43727483502764403</c:v>
                </c:pt>
                <c:pt idx="24519">
                  <c:v>0.43729266987693899</c:v>
                </c:pt>
                <c:pt idx="24520">
                  <c:v>0.43731050472623501</c:v>
                </c:pt>
                <c:pt idx="24521">
                  <c:v>0.43732833957553002</c:v>
                </c:pt>
                <c:pt idx="24522">
                  <c:v>0.43734617442482598</c:v>
                </c:pt>
                <c:pt idx="24523">
                  <c:v>0.437364009274121</c:v>
                </c:pt>
                <c:pt idx="24524">
                  <c:v>0.43738184412341702</c:v>
                </c:pt>
                <c:pt idx="24525">
                  <c:v>0.43739967897271198</c:v>
                </c:pt>
                <c:pt idx="24526">
                  <c:v>0.437417513822008</c:v>
                </c:pt>
                <c:pt idx="24527">
                  <c:v>0.43743534867130301</c:v>
                </c:pt>
                <c:pt idx="24528">
                  <c:v>0.43745318352059898</c:v>
                </c:pt>
                <c:pt idx="24529">
                  <c:v>0.43747101836989399</c:v>
                </c:pt>
                <c:pt idx="24530">
                  <c:v>0.43748885321919001</c:v>
                </c:pt>
                <c:pt idx="24531">
                  <c:v>0.43750668806848497</c:v>
                </c:pt>
                <c:pt idx="24532">
                  <c:v>0.43752452291778099</c:v>
                </c:pt>
                <c:pt idx="24533">
                  <c:v>0.43754235776707601</c:v>
                </c:pt>
                <c:pt idx="24534">
                  <c:v>0.43756019261637202</c:v>
                </c:pt>
                <c:pt idx="24535">
                  <c:v>0.43757802746566699</c:v>
                </c:pt>
                <c:pt idx="24536">
                  <c:v>0.437595862314963</c:v>
                </c:pt>
                <c:pt idx="24537">
                  <c:v>0.43761369716425802</c:v>
                </c:pt>
                <c:pt idx="24538">
                  <c:v>0.43763153201355398</c:v>
                </c:pt>
                <c:pt idx="24539">
                  <c:v>0.43764936686285</c:v>
                </c:pt>
                <c:pt idx="24540">
                  <c:v>0.43766720171214502</c:v>
                </c:pt>
                <c:pt idx="24541">
                  <c:v>0.43768503656144098</c:v>
                </c:pt>
                <c:pt idx="24542">
                  <c:v>0.43770287141073599</c:v>
                </c:pt>
                <c:pt idx="24543">
                  <c:v>0.43772070626003201</c:v>
                </c:pt>
                <c:pt idx="24544">
                  <c:v>0.43773854110932697</c:v>
                </c:pt>
                <c:pt idx="24545">
                  <c:v>0.43775637595862299</c:v>
                </c:pt>
                <c:pt idx="24546">
                  <c:v>0.43777421080791801</c:v>
                </c:pt>
                <c:pt idx="24547">
                  <c:v>0.43779204565721402</c:v>
                </c:pt>
                <c:pt idx="24548">
                  <c:v>0.43780988050650899</c:v>
                </c:pt>
                <c:pt idx="24549">
                  <c:v>0.437827715355805</c:v>
                </c:pt>
                <c:pt idx="24550">
                  <c:v>0.43784555020510002</c:v>
                </c:pt>
                <c:pt idx="24551">
                  <c:v>0.43786338505439598</c:v>
                </c:pt>
                <c:pt idx="24552">
                  <c:v>0.437881219903691</c:v>
                </c:pt>
                <c:pt idx="24553">
                  <c:v>0.43789905475298702</c:v>
                </c:pt>
                <c:pt idx="24554">
                  <c:v>0.43791688960228198</c:v>
                </c:pt>
                <c:pt idx="24555">
                  <c:v>0.43793472445157799</c:v>
                </c:pt>
                <c:pt idx="24556">
                  <c:v>0.43795255930087301</c:v>
                </c:pt>
                <c:pt idx="24557">
                  <c:v>0.43797039415016897</c:v>
                </c:pt>
                <c:pt idx="24558">
                  <c:v>0.43798822899946399</c:v>
                </c:pt>
                <c:pt idx="24559">
                  <c:v>0.43800606384876001</c:v>
                </c:pt>
                <c:pt idx="24560">
                  <c:v>0.43802389869805602</c:v>
                </c:pt>
                <c:pt idx="24561">
                  <c:v>0.43804173354735099</c:v>
                </c:pt>
                <c:pt idx="24562">
                  <c:v>0.438059568396647</c:v>
                </c:pt>
                <c:pt idx="24563">
                  <c:v>0.43807740324594202</c:v>
                </c:pt>
                <c:pt idx="24564">
                  <c:v>0.43809523809523798</c:v>
                </c:pt>
                <c:pt idx="24565">
                  <c:v>0.438113072944533</c:v>
                </c:pt>
                <c:pt idx="24566">
                  <c:v>0.43813090779382902</c:v>
                </c:pt>
                <c:pt idx="24567">
                  <c:v>0.43814874264312398</c:v>
                </c:pt>
                <c:pt idx="24568">
                  <c:v>0.43816657749242</c:v>
                </c:pt>
                <c:pt idx="24569">
                  <c:v>0.43818441234171501</c:v>
                </c:pt>
                <c:pt idx="24570">
                  <c:v>0.43820224719101097</c:v>
                </c:pt>
                <c:pt idx="24571">
                  <c:v>0.43822008204030599</c:v>
                </c:pt>
                <c:pt idx="24572">
                  <c:v>0.43823791688960201</c:v>
                </c:pt>
                <c:pt idx="24573">
                  <c:v>0.43825575173889703</c:v>
                </c:pt>
                <c:pt idx="24574">
                  <c:v>0.43827358658819299</c:v>
                </c:pt>
                <c:pt idx="24575">
                  <c:v>0.438291421437488</c:v>
                </c:pt>
                <c:pt idx="24576">
                  <c:v>0.43830925628678402</c:v>
                </c:pt>
                <c:pt idx="24577">
                  <c:v>0.43832709113607898</c:v>
                </c:pt>
                <c:pt idx="24578">
                  <c:v>0.438344925985375</c:v>
                </c:pt>
                <c:pt idx="24579">
                  <c:v>0.43836276083467002</c:v>
                </c:pt>
                <c:pt idx="24580">
                  <c:v>0.43838059568396598</c:v>
                </c:pt>
                <c:pt idx="24581">
                  <c:v>0.438398430533262</c:v>
                </c:pt>
                <c:pt idx="24582">
                  <c:v>0.43841626538255701</c:v>
                </c:pt>
                <c:pt idx="24583">
                  <c:v>0.43843410023185297</c:v>
                </c:pt>
                <c:pt idx="24584">
                  <c:v>0.43845193508114799</c:v>
                </c:pt>
                <c:pt idx="24585">
                  <c:v>0.43846976993044401</c:v>
                </c:pt>
                <c:pt idx="24586">
                  <c:v>0.43848760477973903</c:v>
                </c:pt>
                <c:pt idx="24587">
                  <c:v>0.43850543962903499</c:v>
                </c:pt>
                <c:pt idx="24588">
                  <c:v>0.43852327447833001</c:v>
                </c:pt>
                <c:pt idx="24589">
                  <c:v>0.43854110932762602</c:v>
                </c:pt>
                <c:pt idx="24590">
                  <c:v>0.43855894417692098</c:v>
                </c:pt>
                <c:pt idx="24591">
                  <c:v>0.438576779026217</c:v>
                </c:pt>
                <c:pt idx="24592">
                  <c:v>0.43859461387551202</c:v>
                </c:pt>
                <c:pt idx="24593">
                  <c:v>0.43861244872480798</c:v>
                </c:pt>
                <c:pt idx="24594">
                  <c:v>0.438630283574103</c:v>
                </c:pt>
                <c:pt idx="24595">
                  <c:v>0.43864811842339901</c:v>
                </c:pt>
                <c:pt idx="24596">
                  <c:v>0.43866595327269398</c:v>
                </c:pt>
                <c:pt idx="24597">
                  <c:v>0.43868378812198999</c:v>
                </c:pt>
                <c:pt idx="24598">
                  <c:v>0.43870162297128501</c:v>
                </c:pt>
                <c:pt idx="24599">
                  <c:v>0.43871945782058103</c:v>
                </c:pt>
                <c:pt idx="24600">
                  <c:v>0.43873729266987599</c:v>
                </c:pt>
                <c:pt idx="24601">
                  <c:v>0.43875512751917201</c:v>
                </c:pt>
                <c:pt idx="24602">
                  <c:v>0.43877296236846702</c:v>
                </c:pt>
                <c:pt idx="24603">
                  <c:v>0.43879079721776298</c:v>
                </c:pt>
                <c:pt idx="24604">
                  <c:v>0.438808632067059</c:v>
                </c:pt>
                <c:pt idx="24605">
                  <c:v>0.43882646691635402</c:v>
                </c:pt>
                <c:pt idx="24606">
                  <c:v>0.43884430176564998</c:v>
                </c:pt>
                <c:pt idx="24607">
                  <c:v>0.438862136614945</c:v>
                </c:pt>
                <c:pt idx="24608">
                  <c:v>0.43887997146424101</c:v>
                </c:pt>
                <c:pt idx="24609">
                  <c:v>0.43889780631353598</c:v>
                </c:pt>
                <c:pt idx="24610">
                  <c:v>0.43891564116283199</c:v>
                </c:pt>
                <c:pt idx="24611">
                  <c:v>0.43893347601212701</c:v>
                </c:pt>
                <c:pt idx="24612">
                  <c:v>0.43895131086142303</c:v>
                </c:pt>
                <c:pt idx="24613">
                  <c:v>0.43896914571071799</c:v>
                </c:pt>
                <c:pt idx="24614">
                  <c:v>0.43898698056001401</c:v>
                </c:pt>
                <c:pt idx="24615">
                  <c:v>0.43900481540930902</c:v>
                </c:pt>
                <c:pt idx="24616">
                  <c:v>0.43902265025860499</c:v>
                </c:pt>
                <c:pt idx="24617">
                  <c:v>0.4390404851079</c:v>
                </c:pt>
                <c:pt idx="24618">
                  <c:v>0.43905831995719602</c:v>
                </c:pt>
                <c:pt idx="24619">
                  <c:v>0.43907615480649098</c:v>
                </c:pt>
                <c:pt idx="24620">
                  <c:v>0.439093989655787</c:v>
                </c:pt>
                <c:pt idx="24621">
                  <c:v>0.43911182450508202</c:v>
                </c:pt>
                <c:pt idx="24622">
                  <c:v>0.43912965935437798</c:v>
                </c:pt>
                <c:pt idx="24623">
                  <c:v>0.43914749420367399</c:v>
                </c:pt>
                <c:pt idx="24624">
                  <c:v>0.43916532905296901</c:v>
                </c:pt>
                <c:pt idx="24625">
                  <c:v>0.43918316390226497</c:v>
                </c:pt>
                <c:pt idx="24626">
                  <c:v>0.43920099875155999</c:v>
                </c:pt>
                <c:pt idx="24627">
                  <c:v>0.43921883360085601</c:v>
                </c:pt>
                <c:pt idx="24628">
                  <c:v>0.43923666845015102</c:v>
                </c:pt>
                <c:pt idx="24629">
                  <c:v>0.43925450329944699</c:v>
                </c:pt>
                <c:pt idx="24630">
                  <c:v>0.439272338148742</c:v>
                </c:pt>
                <c:pt idx="24631">
                  <c:v>0.43929017299803802</c:v>
                </c:pt>
                <c:pt idx="24632">
                  <c:v>0.43930800784733298</c:v>
                </c:pt>
                <c:pt idx="24633">
                  <c:v>0.439325842696629</c:v>
                </c:pt>
                <c:pt idx="24634">
                  <c:v>0.43934367754592402</c:v>
                </c:pt>
                <c:pt idx="24635">
                  <c:v>0.43936151239521998</c:v>
                </c:pt>
                <c:pt idx="24636">
                  <c:v>0.439379347244515</c:v>
                </c:pt>
                <c:pt idx="24637">
                  <c:v>0.43939718209381101</c:v>
                </c:pt>
                <c:pt idx="24638">
                  <c:v>0.43941501694310597</c:v>
                </c:pt>
                <c:pt idx="24639">
                  <c:v>0.43943285179240199</c:v>
                </c:pt>
                <c:pt idx="24640">
                  <c:v>0.43945068664169701</c:v>
                </c:pt>
                <c:pt idx="24641">
                  <c:v>0.43946852149099302</c:v>
                </c:pt>
                <c:pt idx="24642">
                  <c:v>0.43948635634028799</c:v>
                </c:pt>
                <c:pt idx="24643">
                  <c:v>0.439504191189584</c:v>
                </c:pt>
                <c:pt idx="24644">
                  <c:v>0.43952202603887902</c:v>
                </c:pt>
                <c:pt idx="24645">
                  <c:v>0.43953986088817498</c:v>
                </c:pt>
                <c:pt idx="24646">
                  <c:v>0.439557695737471</c:v>
                </c:pt>
                <c:pt idx="24647">
                  <c:v>0.43957553058676602</c:v>
                </c:pt>
                <c:pt idx="24648">
                  <c:v>0.43959336543606198</c:v>
                </c:pt>
                <c:pt idx="24649">
                  <c:v>0.439611200285357</c:v>
                </c:pt>
                <c:pt idx="24650">
                  <c:v>0.43962903513465301</c:v>
                </c:pt>
                <c:pt idx="24651">
                  <c:v>0.43964686998394797</c:v>
                </c:pt>
                <c:pt idx="24652">
                  <c:v>0.43966470483324399</c:v>
                </c:pt>
                <c:pt idx="24653">
                  <c:v>0.43968253968253901</c:v>
                </c:pt>
                <c:pt idx="24654">
                  <c:v>0.43970037453183503</c:v>
                </c:pt>
                <c:pt idx="24655">
                  <c:v>0.43971820938112999</c:v>
                </c:pt>
                <c:pt idx="24656">
                  <c:v>0.439736044230426</c:v>
                </c:pt>
                <c:pt idx="24657">
                  <c:v>0.43975387907972102</c:v>
                </c:pt>
                <c:pt idx="24658">
                  <c:v>0.43977171392901698</c:v>
                </c:pt>
                <c:pt idx="24659">
                  <c:v>0.439789548778312</c:v>
                </c:pt>
                <c:pt idx="24660">
                  <c:v>0.43980738362760802</c:v>
                </c:pt>
                <c:pt idx="24661">
                  <c:v>0.43982521847690298</c:v>
                </c:pt>
                <c:pt idx="24662">
                  <c:v>0.439843053326199</c:v>
                </c:pt>
                <c:pt idx="24663">
                  <c:v>0.43986088817549401</c:v>
                </c:pt>
                <c:pt idx="24664">
                  <c:v>0.43987872302478997</c:v>
                </c:pt>
                <c:pt idx="24665">
                  <c:v>0.43989655787408599</c:v>
                </c:pt>
                <c:pt idx="24666">
                  <c:v>0.43991439272338101</c:v>
                </c:pt>
                <c:pt idx="24667">
                  <c:v>0.43993222757267703</c:v>
                </c:pt>
                <c:pt idx="24668">
                  <c:v>0.43995006242197199</c:v>
                </c:pt>
                <c:pt idx="24669">
                  <c:v>0.439967897271268</c:v>
                </c:pt>
                <c:pt idx="24670">
                  <c:v>0.43998573212056302</c:v>
                </c:pt>
                <c:pt idx="24671">
                  <c:v>0.44000356696985898</c:v>
                </c:pt>
                <c:pt idx="24672">
                  <c:v>0.440021401819154</c:v>
                </c:pt>
                <c:pt idx="24673">
                  <c:v>0.44003923666845002</c:v>
                </c:pt>
                <c:pt idx="24674">
                  <c:v>0.44005707151774498</c:v>
                </c:pt>
                <c:pt idx="24675">
                  <c:v>0.440074906367041</c:v>
                </c:pt>
                <c:pt idx="24676">
                  <c:v>0.44009274121633601</c:v>
                </c:pt>
                <c:pt idx="24677">
                  <c:v>0.44011057606563198</c:v>
                </c:pt>
                <c:pt idx="24678">
                  <c:v>0.44012841091492699</c:v>
                </c:pt>
                <c:pt idx="24679">
                  <c:v>0.44014624576422301</c:v>
                </c:pt>
                <c:pt idx="24680">
                  <c:v>0.44016408061351803</c:v>
                </c:pt>
                <c:pt idx="24681">
                  <c:v>0.44018191546281399</c:v>
                </c:pt>
                <c:pt idx="24682">
                  <c:v>0.44019975031210901</c:v>
                </c:pt>
                <c:pt idx="24683">
                  <c:v>0.44021758516140502</c:v>
                </c:pt>
                <c:pt idx="24684">
                  <c:v>0.44023542001069998</c:v>
                </c:pt>
                <c:pt idx="24685">
                  <c:v>0.440253254859996</c:v>
                </c:pt>
                <c:pt idx="24686">
                  <c:v>0.44027108970929102</c:v>
                </c:pt>
                <c:pt idx="24687">
                  <c:v>0.44028892455858698</c:v>
                </c:pt>
                <c:pt idx="24688">
                  <c:v>0.440306759407883</c:v>
                </c:pt>
                <c:pt idx="24689">
                  <c:v>0.44032459425717801</c:v>
                </c:pt>
                <c:pt idx="24690">
                  <c:v>0.44034242910647398</c:v>
                </c:pt>
                <c:pt idx="24691">
                  <c:v>0.44036026395576899</c:v>
                </c:pt>
                <c:pt idx="24692">
                  <c:v>0.44037809880506501</c:v>
                </c:pt>
                <c:pt idx="24693">
                  <c:v>0.44039593365435997</c:v>
                </c:pt>
                <c:pt idx="24694">
                  <c:v>0.44041376850365599</c:v>
                </c:pt>
                <c:pt idx="24695">
                  <c:v>0.44043160335295101</c:v>
                </c:pt>
                <c:pt idx="24696">
                  <c:v>0.44044943820224702</c:v>
                </c:pt>
                <c:pt idx="24697">
                  <c:v>0.44046727305154199</c:v>
                </c:pt>
                <c:pt idx="24698">
                  <c:v>0.440485107900838</c:v>
                </c:pt>
                <c:pt idx="24699">
                  <c:v>0.44050294275013302</c:v>
                </c:pt>
                <c:pt idx="24700">
                  <c:v>0.44052077759942898</c:v>
                </c:pt>
                <c:pt idx="24701">
                  <c:v>0.440538612448724</c:v>
                </c:pt>
                <c:pt idx="24702">
                  <c:v>0.44055644729802002</c:v>
                </c:pt>
                <c:pt idx="24703">
                  <c:v>0.44057428214731498</c:v>
                </c:pt>
                <c:pt idx="24704">
                  <c:v>0.44059211699661099</c:v>
                </c:pt>
                <c:pt idx="24705">
                  <c:v>0.44060995184590601</c:v>
                </c:pt>
                <c:pt idx="24706">
                  <c:v>0.44062778669520197</c:v>
                </c:pt>
                <c:pt idx="24707">
                  <c:v>0.44064562154449699</c:v>
                </c:pt>
                <c:pt idx="24708">
                  <c:v>0.44066345639379301</c:v>
                </c:pt>
                <c:pt idx="24709">
                  <c:v>0.44068129124308802</c:v>
                </c:pt>
                <c:pt idx="24710">
                  <c:v>0.44069912609238399</c:v>
                </c:pt>
                <c:pt idx="24711">
                  <c:v>0.44071696094168</c:v>
                </c:pt>
                <c:pt idx="24712">
                  <c:v>0.44073479579097502</c:v>
                </c:pt>
                <c:pt idx="24713">
                  <c:v>0.44075263064027098</c:v>
                </c:pt>
                <c:pt idx="24714">
                  <c:v>0.440770465489566</c:v>
                </c:pt>
                <c:pt idx="24715">
                  <c:v>0.44078830033886202</c:v>
                </c:pt>
                <c:pt idx="24716">
                  <c:v>0.44080613518815698</c:v>
                </c:pt>
                <c:pt idx="24717">
                  <c:v>0.44082397003745299</c:v>
                </c:pt>
                <c:pt idx="24718">
                  <c:v>0.44084180488674801</c:v>
                </c:pt>
                <c:pt idx="24719">
                  <c:v>0.44085963973604397</c:v>
                </c:pt>
                <c:pt idx="24720">
                  <c:v>0.44087747458533899</c:v>
                </c:pt>
                <c:pt idx="24721">
                  <c:v>0.44089530943463501</c:v>
                </c:pt>
                <c:pt idx="24722">
                  <c:v>0.44091314428393003</c:v>
                </c:pt>
                <c:pt idx="24723">
                  <c:v>0.44093097913322599</c:v>
                </c:pt>
                <c:pt idx="24724">
                  <c:v>0.440948813982521</c:v>
                </c:pt>
                <c:pt idx="24725">
                  <c:v>0.44096664883181702</c:v>
                </c:pt>
                <c:pt idx="24726">
                  <c:v>0.44098448368111198</c:v>
                </c:pt>
                <c:pt idx="24727">
                  <c:v>0.441002318530408</c:v>
                </c:pt>
                <c:pt idx="24728">
                  <c:v>0.44102015337970302</c:v>
                </c:pt>
                <c:pt idx="24729">
                  <c:v>0.44103798822899898</c:v>
                </c:pt>
                <c:pt idx="24730">
                  <c:v>0.441055823078295</c:v>
                </c:pt>
                <c:pt idx="24731">
                  <c:v>0.44107365792759001</c:v>
                </c:pt>
                <c:pt idx="24732">
                  <c:v>0.44109149277688597</c:v>
                </c:pt>
                <c:pt idx="24733">
                  <c:v>0.44110932762618099</c:v>
                </c:pt>
                <c:pt idx="24734">
                  <c:v>0.44112716247547701</c:v>
                </c:pt>
                <c:pt idx="24735">
                  <c:v>0.44114499732477203</c:v>
                </c:pt>
                <c:pt idx="24736">
                  <c:v>0.44116283217406799</c:v>
                </c:pt>
                <c:pt idx="24737">
                  <c:v>0.441180667023363</c:v>
                </c:pt>
                <c:pt idx="24738">
                  <c:v>0.44119850187265902</c:v>
                </c:pt>
                <c:pt idx="24739">
                  <c:v>0.44121633672195398</c:v>
                </c:pt>
                <c:pt idx="24740">
                  <c:v>0.44123417157125</c:v>
                </c:pt>
                <c:pt idx="24741">
                  <c:v>0.44125200642054502</c:v>
                </c:pt>
                <c:pt idx="24742">
                  <c:v>0.44126984126984098</c:v>
                </c:pt>
                <c:pt idx="24743">
                  <c:v>0.441287676119136</c:v>
                </c:pt>
                <c:pt idx="24744">
                  <c:v>0.44130551096843201</c:v>
                </c:pt>
                <c:pt idx="24745">
                  <c:v>0.44132334581772698</c:v>
                </c:pt>
                <c:pt idx="24746">
                  <c:v>0.44134118066702299</c:v>
                </c:pt>
                <c:pt idx="24747">
                  <c:v>0.44135901551631801</c:v>
                </c:pt>
                <c:pt idx="24748">
                  <c:v>0.44137685036561403</c:v>
                </c:pt>
                <c:pt idx="24749">
                  <c:v>0.44139468521490899</c:v>
                </c:pt>
                <c:pt idx="24750">
                  <c:v>0.44141252006420501</c:v>
                </c:pt>
                <c:pt idx="24751">
                  <c:v>0.44143035491350002</c:v>
                </c:pt>
                <c:pt idx="24752">
                  <c:v>0.44144818976279598</c:v>
                </c:pt>
                <c:pt idx="24753">
                  <c:v>0.441466024612092</c:v>
                </c:pt>
                <c:pt idx="24754">
                  <c:v>0.44148385946138702</c:v>
                </c:pt>
                <c:pt idx="24755">
                  <c:v>0.44150169431068298</c:v>
                </c:pt>
                <c:pt idx="24756">
                  <c:v>0.441519529159978</c:v>
                </c:pt>
                <c:pt idx="24757">
                  <c:v>0.44153736400927401</c:v>
                </c:pt>
                <c:pt idx="24758">
                  <c:v>0.44155519885856898</c:v>
                </c:pt>
                <c:pt idx="24759">
                  <c:v>0.44157303370786499</c:v>
                </c:pt>
                <c:pt idx="24760">
                  <c:v>0.44159086855716001</c:v>
                </c:pt>
                <c:pt idx="24761">
                  <c:v>0.44160870340645603</c:v>
                </c:pt>
                <c:pt idx="24762">
                  <c:v>0.44162653825575099</c:v>
                </c:pt>
                <c:pt idx="24763">
                  <c:v>0.44164437310504701</c:v>
                </c:pt>
                <c:pt idx="24764">
                  <c:v>0.44166220795434202</c:v>
                </c:pt>
                <c:pt idx="24765">
                  <c:v>0.44168004280363798</c:v>
                </c:pt>
                <c:pt idx="24766">
                  <c:v>0.441697877652933</c:v>
                </c:pt>
                <c:pt idx="24767">
                  <c:v>0.44171571250222902</c:v>
                </c:pt>
                <c:pt idx="24768">
                  <c:v>0.44173354735152398</c:v>
                </c:pt>
                <c:pt idx="24769">
                  <c:v>0.44175138220082</c:v>
                </c:pt>
                <c:pt idx="24770">
                  <c:v>0.44176921705011502</c:v>
                </c:pt>
                <c:pt idx="24771">
                  <c:v>0.44178705189941098</c:v>
                </c:pt>
                <c:pt idx="24772">
                  <c:v>0.44180488674870699</c:v>
                </c:pt>
                <c:pt idx="24773">
                  <c:v>0.44182272159800201</c:v>
                </c:pt>
                <c:pt idx="24774">
                  <c:v>0.44184055644729803</c:v>
                </c:pt>
                <c:pt idx="24775">
                  <c:v>0.44185839129659299</c:v>
                </c:pt>
                <c:pt idx="24776">
                  <c:v>0.44187622614588901</c:v>
                </c:pt>
                <c:pt idx="24777">
                  <c:v>0.44189406099518402</c:v>
                </c:pt>
                <c:pt idx="24778">
                  <c:v>0.44191189584447998</c:v>
                </c:pt>
                <c:pt idx="24779">
                  <c:v>0.441929730693775</c:v>
                </c:pt>
                <c:pt idx="24780">
                  <c:v>0.44194756554307102</c:v>
                </c:pt>
                <c:pt idx="24781">
                  <c:v>0.44196540039236598</c:v>
                </c:pt>
                <c:pt idx="24782">
                  <c:v>0.441983235241662</c:v>
                </c:pt>
                <c:pt idx="24783">
                  <c:v>0.44200107009095702</c:v>
                </c:pt>
                <c:pt idx="24784">
                  <c:v>0.44201890494025298</c:v>
                </c:pt>
                <c:pt idx="24785">
                  <c:v>0.44203673978954799</c:v>
                </c:pt>
                <c:pt idx="24786">
                  <c:v>0.44205457463884401</c:v>
                </c:pt>
                <c:pt idx="24787">
                  <c:v>0.44207240948813897</c:v>
                </c:pt>
                <c:pt idx="24788">
                  <c:v>0.44209024433743499</c:v>
                </c:pt>
                <c:pt idx="24789">
                  <c:v>0.44210807918673001</c:v>
                </c:pt>
                <c:pt idx="24790">
                  <c:v>0.44212591403602602</c:v>
                </c:pt>
                <c:pt idx="24791">
                  <c:v>0.44214374888532099</c:v>
                </c:pt>
                <c:pt idx="24792">
                  <c:v>0.442161583734617</c:v>
                </c:pt>
                <c:pt idx="24793">
                  <c:v>0.44217941858391202</c:v>
                </c:pt>
                <c:pt idx="24794">
                  <c:v>0.44219725343320798</c:v>
                </c:pt>
                <c:pt idx="24795">
                  <c:v>0.442215088282504</c:v>
                </c:pt>
                <c:pt idx="24796">
                  <c:v>0.44223292313179902</c:v>
                </c:pt>
                <c:pt idx="24797">
                  <c:v>0.44225075798109498</c:v>
                </c:pt>
                <c:pt idx="24798">
                  <c:v>0.44226859283038999</c:v>
                </c:pt>
                <c:pt idx="24799">
                  <c:v>0.44228642767968601</c:v>
                </c:pt>
                <c:pt idx="24800">
                  <c:v>0.44230426252898097</c:v>
                </c:pt>
                <c:pt idx="24801">
                  <c:v>0.44232209737827699</c:v>
                </c:pt>
                <c:pt idx="24802">
                  <c:v>0.44233993222757201</c:v>
                </c:pt>
                <c:pt idx="24803">
                  <c:v>0.44235776707686802</c:v>
                </c:pt>
                <c:pt idx="24804">
                  <c:v>0.44237560192616299</c:v>
                </c:pt>
                <c:pt idx="24805">
                  <c:v>0.442393436775459</c:v>
                </c:pt>
                <c:pt idx="24806">
                  <c:v>0.44241127162475402</c:v>
                </c:pt>
                <c:pt idx="24807">
                  <c:v>0.44242910647404998</c:v>
                </c:pt>
                <c:pt idx="24808">
                  <c:v>0.442446941323345</c:v>
                </c:pt>
                <c:pt idx="24809">
                  <c:v>0.44246477617264102</c:v>
                </c:pt>
                <c:pt idx="24810">
                  <c:v>0.44248261102193598</c:v>
                </c:pt>
                <c:pt idx="24811">
                  <c:v>0.442500445871232</c:v>
                </c:pt>
                <c:pt idx="24812">
                  <c:v>0.44251828072052701</c:v>
                </c:pt>
                <c:pt idx="24813">
                  <c:v>0.44253611556982297</c:v>
                </c:pt>
                <c:pt idx="24814">
                  <c:v>0.44255395041911799</c:v>
                </c:pt>
                <c:pt idx="24815">
                  <c:v>0.44257178526841401</c:v>
                </c:pt>
                <c:pt idx="24816">
                  <c:v>0.44258962011771003</c:v>
                </c:pt>
                <c:pt idx="24817">
                  <c:v>0.44260745496700499</c:v>
                </c:pt>
                <c:pt idx="24818">
                  <c:v>0.442625289816301</c:v>
                </c:pt>
                <c:pt idx="24819">
                  <c:v>0.44264312466559602</c:v>
                </c:pt>
                <c:pt idx="24820">
                  <c:v>0.44266095951489198</c:v>
                </c:pt>
                <c:pt idx="24821">
                  <c:v>0.442678794364187</c:v>
                </c:pt>
                <c:pt idx="24822">
                  <c:v>0.44269662921348302</c:v>
                </c:pt>
                <c:pt idx="24823">
                  <c:v>0.44271446406277798</c:v>
                </c:pt>
                <c:pt idx="24824">
                  <c:v>0.442732298912074</c:v>
                </c:pt>
                <c:pt idx="24825">
                  <c:v>0.44275013376136901</c:v>
                </c:pt>
                <c:pt idx="24826">
                  <c:v>0.44276796861066497</c:v>
                </c:pt>
                <c:pt idx="24827">
                  <c:v>0.44278580345995999</c:v>
                </c:pt>
                <c:pt idx="24828">
                  <c:v>0.44280363830925601</c:v>
                </c:pt>
                <c:pt idx="24829">
                  <c:v>0.44282147315855103</c:v>
                </c:pt>
                <c:pt idx="24830">
                  <c:v>0.44283930800784699</c:v>
                </c:pt>
                <c:pt idx="24831">
                  <c:v>0.44285714285714201</c:v>
                </c:pt>
                <c:pt idx="24832">
                  <c:v>0.44287497770643802</c:v>
                </c:pt>
                <c:pt idx="24833">
                  <c:v>0.44289281255573298</c:v>
                </c:pt>
                <c:pt idx="24834">
                  <c:v>0.442910647405029</c:v>
                </c:pt>
                <c:pt idx="24835">
                  <c:v>0.44292848225432402</c:v>
                </c:pt>
                <c:pt idx="24836">
                  <c:v>0.44294631710361998</c:v>
                </c:pt>
                <c:pt idx="24837">
                  <c:v>0.442964151952916</c:v>
                </c:pt>
                <c:pt idx="24838">
                  <c:v>0.44298198680221101</c:v>
                </c:pt>
                <c:pt idx="24839">
                  <c:v>0.44299982165150698</c:v>
                </c:pt>
                <c:pt idx="24840">
                  <c:v>0.44301765650080199</c:v>
                </c:pt>
                <c:pt idx="24841">
                  <c:v>0.44303549135009801</c:v>
                </c:pt>
                <c:pt idx="24842">
                  <c:v>0.44305332619939303</c:v>
                </c:pt>
                <c:pt idx="24843">
                  <c:v>0.44307116104868899</c:v>
                </c:pt>
                <c:pt idx="24844">
                  <c:v>0.44308899589798401</c:v>
                </c:pt>
                <c:pt idx="24845">
                  <c:v>0.44310683074728002</c:v>
                </c:pt>
                <c:pt idx="24846">
                  <c:v>0.44312466559657498</c:v>
                </c:pt>
                <c:pt idx="24847">
                  <c:v>0.443142500445871</c:v>
                </c:pt>
                <c:pt idx="24848">
                  <c:v>0.44316033529516602</c:v>
                </c:pt>
                <c:pt idx="24849">
                  <c:v>0.44317817014446198</c:v>
                </c:pt>
                <c:pt idx="24850">
                  <c:v>0.443196004993757</c:v>
                </c:pt>
                <c:pt idx="24851">
                  <c:v>0.44321383984305301</c:v>
                </c:pt>
                <c:pt idx="24852">
                  <c:v>0.44323167469234798</c:v>
                </c:pt>
                <c:pt idx="24853">
                  <c:v>0.44324950954164399</c:v>
                </c:pt>
                <c:pt idx="24854">
                  <c:v>0.44326734439093901</c:v>
                </c:pt>
                <c:pt idx="24855">
                  <c:v>0.44328517924023503</c:v>
                </c:pt>
                <c:pt idx="24856">
                  <c:v>0.44330301408952999</c:v>
                </c:pt>
                <c:pt idx="24857">
                  <c:v>0.44332084893882601</c:v>
                </c:pt>
                <c:pt idx="24858">
                  <c:v>0.44333868378812102</c:v>
                </c:pt>
                <c:pt idx="24859">
                  <c:v>0.44335651863741699</c:v>
                </c:pt>
                <c:pt idx="24860">
                  <c:v>0.443374353486713</c:v>
                </c:pt>
                <c:pt idx="24861">
                  <c:v>0.44339218833600802</c:v>
                </c:pt>
                <c:pt idx="24862">
                  <c:v>0.44341002318530398</c:v>
                </c:pt>
                <c:pt idx="24863">
                  <c:v>0.443427858034599</c:v>
                </c:pt>
                <c:pt idx="24864">
                  <c:v>0.44344569288389502</c:v>
                </c:pt>
                <c:pt idx="24865">
                  <c:v>0.44346352773318998</c:v>
                </c:pt>
                <c:pt idx="24866">
                  <c:v>0.44348136258248599</c:v>
                </c:pt>
                <c:pt idx="24867">
                  <c:v>0.44349919743178101</c:v>
                </c:pt>
                <c:pt idx="24868">
                  <c:v>0.44351703228107697</c:v>
                </c:pt>
                <c:pt idx="24869">
                  <c:v>0.44353486713037199</c:v>
                </c:pt>
                <c:pt idx="24870">
                  <c:v>0.44355270197966801</c:v>
                </c:pt>
                <c:pt idx="24871">
                  <c:v>0.44357053682896302</c:v>
                </c:pt>
                <c:pt idx="24872">
                  <c:v>0.44358837167825899</c:v>
                </c:pt>
                <c:pt idx="24873">
                  <c:v>0.443606206527554</c:v>
                </c:pt>
                <c:pt idx="24874">
                  <c:v>0.44362404137685002</c:v>
                </c:pt>
                <c:pt idx="24875">
                  <c:v>0.44364187622614498</c:v>
                </c:pt>
                <c:pt idx="24876">
                  <c:v>0.443659711075441</c:v>
                </c:pt>
                <c:pt idx="24877">
                  <c:v>0.44367754592473602</c:v>
                </c:pt>
                <c:pt idx="24878">
                  <c:v>0.44369538077403198</c:v>
                </c:pt>
                <c:pt idx="24879">
                  <c:v>0.44371321562332799</c:v>
                </c:pt>
                <c:pt idx="24880">
                  <c:v>0.44373105047262301</c:v>
                </c:pt>
                <c:pt idx="24881">
                  <c:v>0.44374888532191897</c:v>
                </c:pt>
                <c:pt idx="24882">
                  <c:v>0.44376672017121399</c:v>
                </c:pt>
                <c:pt idx="24883">
                  <c:v>0.44378455502051001</c:v>
                </c:pt>
                <c:pt idx="24884">
                  <c:v>0.44380238986980503</c:v>
                </c:pt>
                <c:pt idx="24885">
                  <c:v>0.44382022471910099</c:v>
                </c:pt>
                <c:pt idx="24886">
                  <c:v>0.443838059568396</c:v>
                </c:pt>
                <c:pt idx="24887">
                  <c:v>0.44385589441769202</c:v>
                </c:pt>
                <c:pt idx="24888">
                  <c:v>0.44387372926698698</c:v>
                </c:pt>
                <c:pt idx="24889">
                  <c:v>0.443891564116283</c:v>
                </c:pt>
                <c:pt idx="24890">
                  <c:v>0.44390939896557802</c:v>
                </c:pt>
                <c:pt idx="24891">
                  <c:v>0.44392723381487398</c:v>
                </c:pt>
                <c:pt idx="24892">
                  <c:v>0.443945068664169</c:v>
                </c:pt>
                <c:pt idx="24893">
                  <c:v>0.44396290351346501</c:v>
                </c:pt>
                <c:pt idx="24894">
                  <c:v>0.44398073836275997</c:v>
                </c:pt>
                <c:pt idx="24895">
                  <c:v>0.44399857321205599</c:v>
                </c:pt>
                <c:pt idx="24896">
                  <c:v>0.44401640806135101</c:v>
                </c:pt>
                <c:pt idx="24897">
                  <c:v>0.44403424291064703</c:v>
                </c:pt>
                <c:pt idx="24898">
                  <c:v>0.44405207775994199</c:v>
                </c:pt>
                <c:pt idx="24899">
                  <c:v>0.444069912609238</c:v>
                </c:pt>
                <c:pt idx="24900">
                  <c:v>0.44408774745853302</c:v>
                </c:pt>
                <c:pt idx="24901">
                  <c:v>0.44410558230782898</c:v>
                </c:pt>
                <c:pt idx="24902">
                  <c:v>0.444123417157125</c:v>
                </c:pt>
                <c:pt idx="24903">
                  <c:v>0.44414125200642002</c:v>
                </c:pt>
                <c:pt idx="24904">
                  <c:v>0.44415908685571598</c:v>
                </c:pt>
                <c:pt idx="24905">
                  <c:v>0.444176921705011</c:v>
                </c:pt>
                <c:pt idx="24906">
                  <c:v>0.44419475655430701</c:v>
                </c:pt>
                <c:pt idx="24907">
                  <c:v>0.44421259140360198</c:v>
                </c:pt>
                <c:pt idx="24908">
                  <c:v>0.44423042625289799</c:v>
                </c:pt>
                <c:pt idx="24909">
                  <c:v>0.44424826110219301</c:v>
                </c:pt>
                <c:pt idx="24910">
                  <c:v>0.44426609595148903</c:v>
                </c:pt>
                <c:pt idx="24911">
                  <c:v>0.44428393080078399</c:v>
                </c:pt>
                <c:pt idx="24912">
                  <c:v>0.44430176565008</c:v>
                </c:pt>
                <c:pt idx="24913">
                  <c:v>0.44431960049937502</c:v>
                </c:pt>
                <c:pt idx="24914">
                  <c:v>0.44433743534867098</c:v>
                </c:pt>
                <c:pt idx="24915">
                  <c:v>0.444355270197966</c:v>
                </c:pt>
                <c:pt idx="24916">
                  <c:v>0.44437310504726202</c:v>
                </c:pt>
                <c:pt idx="24917">
                  <c:v>0.44439093989655698</c:v>
                </c:pt>
                <c:pt idx="24918">
                  <c:v>0.444408774745853</c:v>
                </c:pt>
                <c:pt idx="24919">
                  <c:v>0.44442660959514801</c:v>
                </c:pt>
                <c:pt idx="24920">
                  <c:v>0.44444444444444398</c:v>
                </c:pt>
                <c:pt idx="24921">
                  <c:v>0.44446227929373999</c:v>
                </c:pt>
                <c:pt idx="24922">
                  <c:v>0.44448011414303501</c:v>
                </c:pt>
                <c:pt idx="24923">
                  <c:v>0.44449794899233103</c:v>
                </c:pt>
                <c:pt idx="24924">
                  <c:v>0.44451578384162599</c:v>
                </c:pt>
                <c:pt idx="24925">
                  <c:v>0.44453361869092201</c:v>
                </c:pt>
                <c:pt idx="24926">
                  <c:v>0.44455145354021702</c:v>
                </c:pt>
                <c:pt idx="24927">
                  <c:v>0.44456928838951298</c:v>
                </c:pt>
                <c:pt idx="24928">
                  <c:v>0.444587123238808</c:v>
                </c:pt>
                <c:pt idx="24929">
                  <c:v>0.44460495808810402</c:v>
                </c:pt>
                <c:pt idx="24930">
                  <c:v>0.44462279293739898</c:v>
                </c:pt>
                <c:pt idx="24931">
                  <c:v>0.444640627786695</c:v>
                </c:pt>
                <c:pt idx="24932">
                  <c:v>0.44465846263599001</c:v>
                </c:pt>
                <c:pt idx="24933">
                  <c:v>0.44467629748528598</c:v>
                </c:pt>
                <c:pt idx="24934">
                  <c:v>0.44469413233458099</c:v>
                </c:pt>
                <c:pt idx="24935">
                  <c:v>0.44471196718387701</c:v>
                </c:pt>
                <c:pt idx="24936">
                  <c:v>0.44472980203317197</c:v>
                </c:pt>
                <c:pt idx="24937">
                  <c:v>0.44474763688246799</c:v>
                </c:pt>
                <c:pt idx="24938">
                  <c:v>0.44476547173176301</c:v>
                </c:pt>
                <c:pt idx="24939">
                  <c:v>0.44478330658105902</c:v>
                </c:pt>
                <c:pt idx="24940">
                  <c:v>0.44480114143035399</c:v>
                </c:pt>
                <c:pt idx="24941">
                  <c:v>0.44481897627965</c:v>
                </c:pt>
                <c:pt idx="24942">
                  <c:v>0.44483681112894502</c:v>
                </c:pt>
                <c:pt idx="24943">
                  <c:v>0.44485464597824098</c:v>
                </c:pt>
                <c:pt idx="24944">
                  <c:v>0.444872480827537</c:v>
                </c:pt>
                <c:pt idx="24945">
                  <c:v>0.44489031567683202</c:v>
                </c:pt>
                <c:pt idx="24946">
                  <c:v>0.44490815052612798</c:v>
                </c:pt>
                <c:pt idx="24947">
                  <c:v>0.44492598537542299</c:v>
                </c:pt>
                <c:pt idx="24948">
                  <c:v>0.44494382022471901</c:v>
                </c:pt>
                <c:pt idx="24949">
                  <c:v>0.44496165507401397</c:v>
                </c:pt>
                <c:pt idx="24950">
                  <c:v>0.44497948992330999</c:v>
                </c:pt>
                <c:pt idx="24951">
                  <c:v>0.44499732477260501</c:v>
                </c:pt>
                <c:pt idx="24952">
                  <c:v>0.44501515962190102</c:v>
                </c:pt>
                <c:pt idx="24953">
                  <c:v>0.44503299447119599</c:v>
                </c:pt>
                <c:pt idx="24954">
                  <c:v>0.445050829320492</c:v>
                </c:pt>
                <c:pt idx="24955">
                  <c:v>0.44506866416978702</c:v>
                </c:pt>
                <c:pt idx="24956">
                  <c:v>0.44508649901908298</c:v>
                </c:pt>
                <c:pt idx="24957">
                  <c:v>0.445104333868378</c:v>
                </c:pt>
                <c:pt idx="24958">
                  <c:v>0.44512216871767402</c:v>
                </c:pt>
                <c:pt idx="24959">
                  <c:v>0.44514000356696898</c:v>
                </c:pt>
                <c:pt idx="24960">
                  <c:v>0.44515783841626499</c:v>
                </c:pt>
                <c:pt idx="24961">
                  <c:v>0.44517567326556001</c:v>
                </c:pt>
                <c:pt idx="24962">
                  <c:v>0.44519350811485597</c:v>
                </c:pt>
                <c:pt idx="24963">
                  <c:v>0.44521134296415099</c:v>
                </c:pt>
                <c:pt idx="24964">
                  <c:v>0.44522917781344701</c:v>
                </c:pt>
                <c:pt idx="24965">
                  <c:v>0.44524701266274302</c:v>
                </c:pt>
                <c:pt idx="24966">
                  <c:v>0.44526484751203799</c:v>
                </c:pt>
                <c:pt idx="24967">
                  <c:v>0.445282682361334</c:v>
                </c:pt>
                <c:pt idx="24968">
                  <c:v>0.44530051721062902</c:v>
                </c:pt>
                <c:pt idx="24969">
                  <c:v>0.44531835205992498</c:v>
                </c:pt>
                <c:pt idx="24970">
                  <c:v>0.44533618690922</c:v>
                </c:pt>
                <c:pt idx="24971">
                  <c:v>0.44535402175851602</c:v>
                </c:pt>
                <c:pt idx="24972">
                  <c:v>0.44537185660781098</c:v>
                </c:pt>
                <c:pt idx="24973">
                  <c:v>0.445389691457107</c:v>
                </c:pt>
                <c:pt idx="24974">
                  <c:v>0.44540752630640201</c:v>
                </c:pt>
                <c:pt idx="24975">
                  <c:v>0.44542536115569797</c:v>
                </c:pt>
                <c:pt idx="24976">
                  <c:v>0.44544319600499299</c:v>
                </c:pt>
                <c:pt idx="24977">
                  <c:v>0.44546103085428901</c:v>
                </c:pt>
                <c:pt idx="24978">
                  <c:v>0.44547886570358403</c:v>
                </c:pt>
                <c:pt idx="24979">
                  <c:v>0.44549670055287999</c:v>
                </c:pt>
                <c:pt idx="24980">
                  <c:v>0.445514535402175</c:v>
                </c:pt>
                <c:pt idx="24981">
                  <c:v>0.44553237025147102</c:v>
                </c:pt>
                <c:pt idx="24982">
                  <c:v>0.44555020510076598</c:v>
                </c:pt>
                <c:pt idx="24983">
                  <c:v>0.445568039950062</c:v>
                </c:pt>
                <c:pt idx="24984">
                  <c:v>0.44558587479935702</c:v>
                </c:pt>
                <c:pt idx="24985">
                  <c:v>0.44560370964865298</c:v>
                </c:pt>
                <c:pt idx="24986">
                  <c:v>0.445621544497949</c:v>
                </c:pt>
                <c:pt idx="24987">
                  <c:v>0.44563937934724401</c:v>
                </c:pt>
                <c:pt idx="24988">
                  <c:v>0.44565721419653997</c:v>
                </c:pt>
                <c:pt idx="24989">
                  <c:v>0.44567504904583499</c:v>
                </c:pt>
                <c:pt idx="24990">
                  <c:v>0.44569288389513101</c:v>
                </c:pt>
                <c:pt idx="24991">
                  <c:v>0.44571071874442603</c:v>
                </c:pt>
                <c:pt idx="24992">
                  <c:v>0.44572855359372199</c:v>
                </c:pt>
                <c:pt idx="24993">
                  <c:v>0.44574638844301701</c:v>
                </c:pt>
                <c:pt idx="24994">
                  <c:v>0.44576422329231302</c:v>
                </c:pt>
                <c:pt idx="24995">
                  <c:v>0.44578205814160798</c:v>
                </c:pt>
                <c:pt idx="24996">
                  <c:v>0.445799892990904</c:v>
                </c:pt>
                <c:pt idx="24997">
                  <c:v>0.44581772784019902</c:v>
                </c:pt>
                <c:pt idx="24998">
                  <c:v>0.44583556268949498</c:v>
                </c:pt>
                <c:pt idx="24999">
                  <c:v>0.44585339753879</c:v>
                </c:pt>
                <c:pt idx="25000">
                  <c:v>0.44587123238808601</c:v>
                </c:pt>
                <c:pt idx="25001">
                  <c:v>0.44588906723738098</c:v>
                </c:pt>
                <c:pt idx="25002">
                  <c:v>0.44590690208667699</c:v>
                </c:pt>
                <c:pt idx="25003">
                  <c:v>0.44592473693597201</c:v>
                </c:pt>
                <c:pt idx="25004">
                  <c:v>0.44594257178526803</c:v>
                </c:pt>
                <c:pt idx="25005">
                  <c:v>0.44596040663456299</c:v>
                </c:pt>
                <c:pt idx="25006">
                  <c:v>0.44597824148385901</c:v>
                </c:pt>
                <c:pt idx="25007">
                  <c:v>0.44599607633315402</c:v>
                </c:pt>
                <c:pt idx="25008">
                  <c:v>0.44601391118244998</c:v>
                </c:pt>
                <c:pt idx="25009">
                  <c:v>0.446031746031746</c:v>
                </c:pt>
                <c:pt idx="25010">
                  <c:v>0.44604958088104102</c:v>
                </c:pt>
                <c:pt idx="25011">
                  <c:v>0.44606741573033698</c:v>
                </c:pt>
                <c:pt idx="25012">
                  <c:v>0.446085250579632</c:v>
                </c:pt>
                <c:pt idx="25013">
                  <c:v>0.44610308542892801</c:v>
                </c:pt>
                <c:pt idx="25014">
                  <c:v>0.44612092027822298</c:v>
                </c:pt>
                <c:pt idx="25015">
                  <c:v>0.44613875512751899</c:v>
                </c:pt>
                <c:pt idx="25016">
                  <c:v>0.44615658997681401</c:v>
                </c:pt>
                <c:pt idx="25017">
                  <c:v>0.44617442482611003</c:v>
                </c:pt>
                <c:pt idx="25018">
                  <c:v>0.44619225967540499</c:v>
                </c:pt>
                <c:pt idx="25019">
                  <c:v>0.44621009452470101</c:v>
                </c:pt>
                <c:pt idx="25020">
                  <c:v>0.44622792937399602</c:v>
                </c:pt>
                <c:pt idx="25021">
                  <c:v>0.44624576422329199</c:v>
                </c:pt>
                <c:pt idx="25022">
                  <c:v>0.446263599072587</c:v>
                </c:pt>
                <c:pt idx="25023">
                  <c:v>0.44628143392188302</c:v>
                </c:pt>
                <c:pt idx="25024">
                  <c:v>0.44629926877117798</c:v>
                </c:pt>
                <c:pt idx="25025">
                  <c:v>0.446317103620474</c:v>
                </c:pt>
                <c:pt idx="25026">
                  <c:v>0.44633493846976902</c:v>
                </c:pt>
                <c:pt idx="25027">
                  <c:v>0.44635277331906498</c:v>
                </c:pt>
                <c:pt idx="25028">
                  <c:v>0.44637060816836099</c:v>
                </c:pt>
                <c:pt idx="25029">
                  <c:v>0.44638844301765601</c:v>
                </c:pt>
                <c:pt idx="25030">
                  <c:v>0.44640627786695197</c:v>
                </c:pt>
                <c:pt idx="25031">
                  <c:v>0.44642411271624699</c:v>
                </c:pt>
                <c:pt idx="25032">
                  <c:v>0.44644194756554301</c:v>
                </c:pt>
                <c:pt idx="25033">
                  <c:v>0.44645978241483802</c:v>
                </c:pt>
                <c:pt idx="25034">
                  <c:v>0.44647761726413399</c:v>
                </c:pt>
                <c:pt idx="25035">
                  <c:v>0.446495452113429</c:v>
                </c:pt>
                <c:pt idx="25036">
                  <c:v>0.44651328696272502</c:v>
                </c:pt>
                <c:pt idx="25037">
                  <c:v>0.44653112181201998</c:v>
                </c:pt>
                <c:pt idx="25038">
                  <c:v>0.446548956661316</c:v>
                </c:pt>
                <c:pt idx="25039">
                  <c:v>0.44656679151061102</c:v>
                </c:pt>
                <c:pt idx="25040">
                  <c:v>0.44658462635990698</c:v>
                </c:pt>
                <c:pt idx="25041">
                  <c:v>0.446602461209202</c:v>
                </c:pt>
                <c:pt idx="25042">
                  <c:v>0.44662029605849801</c:v>
                </c:pt>
                <c:pt idx="25043">
                  <c:v>0.44663813090779297</c:v>
                </c:pt>
                <c:pt idx="25044">
                  <c:v>0.44665596575708899</c:v>
                </c:pt>
                <c:pt idx="25045">
                  <c:v>0.44667380060638401</c:v>
                </c:pt>
                <c:pt idx="25046">
                  <c:v>0.44669163545568003</c:v>
                </c:pt>
                <c:pt idx="25047">
                  <c:v>0.44670947030497499</c:v>
                </c:pt>
                <c:pt idx="25048">
                  <c:v>0.446727305154271</c:v>
                </c:pt>
                <c:pt idx="25049">
                  <c:v>0.44674514000356602</c:v>
                </c:pt>
                <c:pt idx="25050">
                  <c:v>0.44676297485286198</c:v>
                </c:pt>
                <c:pt idx="25051">
                  <c:v>0.446780809702158</c:v>
                </c:pt>
                <c:pt idx="25052">
                  <c:v>0.44679864455145302</c:v>
                </c:pt>
                <c:pt idx="25053">
                  <c:v>0.44681647940074898</c:v>
                </c:pt>
                <c:pt idx="25054">
                  <c:v>0.446834314250044</c:v>
                </c:pt>
                <c:pt idx="25055">
                  <c:v>0.44685214909934001</c:v>
                </c:pt>
                <c:pt idx="25056">
                  <c:v>0.44686998394863497</c:v>
                </c:pt>
                <c:pt idx="25057">
                  <c:v>0.44688781879793099</c:v>
                </c:pt>
                <c:pt idx="25058">
                  <c:v>0.44690565364722601</c:v>
                </c:pt>
                <c:pt idx="25059">
                  <c:v>0.44692348849652203</c:v>
                </c:pt>
                <c:pt idx="25060">
                  <c:v>0.44694132334581699</c:v>
                </c:pt>
                <c:pt idx="25061">
                  <c:v>0.446959158195113</c:v>
                </c:pt>
                <c:pt idx="25062">
                  <c:v>0.44697699304440802</c:v>
                </c:pt>
                <c:pt idx="25063">
                  <c:v>0.44699482789370398</c:v>
                </c:pt>
                <c:pt idx="25064">
                  <c:v>0.447012662742999</c:v>
                </c:pt>
                <c:pt idx="25065">
                  <c:v>0.44703049759229502</c:v>
                </c:pt>
                <c:pt idx="25066">
                  <c:v>0.44704833244158998</c:v>
                </c:pt>
                <c:pt idx="25067">
                  <c:v>0.447066167290886</c:v>
                </c:pt>
                <c:pt idx="25068">
                  <c:v>0.44708400214018101</c:v>
                </c:pt>
                <c:pt idx="25069">
                  <c:v>0.44710183698947698</c:v>
                </c:pt>
                <c:pt idx="25070">
                  <c:v>0.44711967183877199</c:v>
                </c:pt>
                <c:pt idx="25071">
                  <c:v>0.44713750668806801</c:v>
                </c:pt>
                <c:pt idx="25072">
                  <c:v>0.44715534153736403</c:v>
                </c:pt>
                <c:pt idx="25073">
                  <c:v>0.44717317638665899</c:v>
                </c:pt>
                <c:pt idx="25074">
                  <c:v>0.447191011235955</c:v>
                </c:pt>
                <c:pt idx="25075">
                  <c:v>0.44720884608525002</c:v>
                </c:pt>
                <c:pt idx="25076">
                  <c:v>0.44722668093454598</c:v>
                </c:pt>
                <c:pt idx="25077">
                  <c:v>0.447244515783841</c:v>
                </c:pt>
                <c:pt idx="25078">
                  <c:v>0.44726235063313702</c:v>
                </c:pt>
                <c:pt idx="25079">
                  <c:v>0.44728018548243198</c:v>
                </c:pt>
                <c:pt idx="25080">
                  <c:v>0.447298020331728</c:v>
                </c:pt>
                <c:pt idx="25081">
                  <c:v>0.44731585518102301</c:v>
                </c:pt>
                <c:pt idx="25082">
                  <c:v>0.44733369003031898</c:v>
                </c:pt>
                <c:pt idx="25083">
                  <c:v>0.44735152487961399</c:v>
                </c:pt>
                <c:pt idx="25084">
                  <c:v>0.44736935972891001</c:v>
                </c:pt>
                <c:pt idx="25085">
                  <c:v>0.44738719457820503</c:v>
                </c:pt>
                <c:pt idx="25086">
                  <c:v>0.44740502942750099</c:v>
                </c:pt>
                <c:pt idx="25087">
                  <c:v>0.44742286427679601</c:v>
                </c:pt>
                <c:pt idx="25088">
                  <c:v>0.44744069912609202</c:v>
                </c:pt>
                <c:pt idx="25089">
                  <c:v>0.44745853397538699</c:v>
                </c:pt>
                <c:pt idx="25090">
                  <c:v>0.447476368824683</c:v>
                </c:pt>
                <c:pt idx="25091">
                  <c:v>0.44749420367397802</c:v>
                </c:pt>
                <c:pt idx="25092">
                  <c:v>0.44751203852327398</c:v>
                </c:pt>
                <c:pt idx="25093">
                  <c:v>0.44752987337257</c:v>
                </c:pt>
                <c:pt idx="25094">
                  <c:v>0.44754770822186501</c:v>
                </c:pt>
                <c:pt idx="25095">
                  <c:v>0.44756554307116098</c:v>
                </c:pt>
                <c:pt idx="25096">
                  <c:v>0.44758337792045599</c:v>
                </c:pt>
                <c:pt idx="25097">
                  <c:v>0.44760121276975201</c:v>
                </c:pt>
                <c:pt idx="25098">
                  <c:v>0.44761904761904697</c:v>
                </c:pt>
                <c:pt idx="25099">
                  <c:v>0.44763688246834299</c:v>
                </c:pt>
                <c:pt idx="25100">
                  <c:v>0.44765471731763801</c:v>
                </c:pt>
                <c:pt idx="25101">
                  <c:v>0.44767255216693402</c:v>
                </c:pt>
                <c:pt idx="25102">
                  <c:v>0.44769038701622899</c:v>
                </c:pt>
                <c:pt idx="25103">
                  <c:v>0.447708221865525</c:v>
                </c:pt>
                <c:pt idx="25104">
                  <c:v>0.44772605671482002</c:v>
                </c:pt>
                <c:pt idx="25105">
                  <c:v>0.44774389156411598</c:v>
                </c:pt>
                <c:pt idx="25106">
                  <c:v>0.447761726413411</c:v>
                </c:pt>
                <c:pt idx="25107">
                  <c:v>0.44777956126270702</c:v>
                </c:pt>
                <c:pt idx="25108">
                  <c:v>0.44779739611200198</c:v>
                </c:pt>
                <c:pt idx="25109">
                  <c:v>0.44781523096129799</c:v>
                </c:pt>
                <c:pt idx="25110">
                  <c:v>0.44783306581059301</c:v>
                </c:pt>
                <c:pt idx="25111">
                  <c:v>0.44785090065988897</c:v>
                </c:pt>
                <c:pt idx="25112">
                  <c:v>0.44786873550918399</c:v>
                </c:pt>
                <c:pt idx="25113">
                  <c:v>0.44788657035848001</c:v>
                </c:pt>
                <c:pt idx="25114">
                  <c:v>0.44790440520777502</c:v>
                </c:pt>
                <c:pt idx="25115">
                  <c:v>0.44792224005707099</c:v>
                </c:pt>
                <c:pt idx="25116">
                  <c:v>0.447940074906367</c:v>
                </c:pt>
                <c:pt idx="25117">
                  <c:v>0.44795790975566202</c:v>
                </c:pt>
                <c:pt idx="25118">
                  <c:v>0.44797574460495798</c:v>
                </c:pt>
                <c:pt idx="25119">
                  <c:v>0.447993579454253</c:v>
                </c:pt>
                <c:pt idx="25120">
                  <c:v>0.44801141430354902</c:v>
                </c:pt>
                <c:pt idx="25121">
                  <c:v>0.44802924915284398</c:v>
                </c:pt>
                <c:pt idx="25122">
                  <c:v>0.44804708400213999</c:v>
                </c:pt>
                <c:pt idx="25123">
                  <c:v>0.44806491885143501</c:v>
                </c:pt>
                <c:pt idx="25124">
                  <c:v>0.44808275370073097</c:v>
                </c:pt>
                <c:pt idx="25125">
                  <c:v>0.44810058855002599</c:v>
                </c:pt>
                <c:pt idx="25126">
                  <c:v>0.44811842339932201</c:v>
                </c:pt>
                <c:pt idx="25127">
                  <c:v>0.44813625824861703</c:v>
                </c:pt>
                <c:pt idx="25128">
                  <c:v>0.44815409309791299</c:v>
                </c:pt>
                <c:pt idx="25129">
                  <c:v>0.448171927947208</c:v>
                </c:pt>
                <c:pt idx="25130">
                  <c:v>0.44818976279650402</c:v>
                </c:pt>
                <c:pt idx="25131">
                  <c:v>0.44820759764579898</c:v>
                </c:pt>
                <c:pt idx="25132">
                  <c:v>0.448225432495095</c:v>
                </c:pt>
                <c:pt idx="25133">
                  <c:v>0.44824326734439002</c:v>
                </c:pt>
                <c:pt idx="25134">
                  <c:v>0.44826110219368598</c:v>
                </c:pt>
                <c:pt idx="25135">
                  <c:v>0.448278937042982</c:v>
                </c:pt>
                <c:pt idx="25136">
                  <c:v>0.44829677189227701</c:v>
                </c:pt>
                <c:pt idx="25137">
                  <c:v>0.44831460674157297</c:v>
                </c:pt>
                <c:pt idx="25138">
                  <c:v>0.44833244159086799</c:v>
                </c:pt>
                <c:pt idx="25139">
                  <c:v>0.44835027644016401</c:v>
                </c:pt>
                <c:pt idx="25140">
                  <c:v>0.44836811128945903</c:v>
                </c:pt>
                <c:pt idx="25141">
                  <c:v>0.44838594613875499</c:v>
                </c:pt>
                <c:pt idx="25142">
                  <c:v>0.44840378098805</c:v>
                </c:pt>
                <c:pt idx="25143">
                  <c:v>0.44842161583734602</c:v>
                </c:pt>
                <c:pt idx="25144">
                  <c:v>0.44843945068664098</c:v>
                </c:pt>
                <c:pt idx="25145">
                  <c:v>0.448457285535937</c:v>
                </c:pt>
                <c:pt idx="25146">
                  <c:v>0.44847512038523202</c:v>
                </c:pt>
                <c:pt idx="25147">
                  <c:v>0.44849295523452798</c:v>
                </c:pt>
                <c:pt idx="25148">
                  <c:v>0.448510790083823</c:v>
                </c:pt>
                <c:pt idx="25149">
                  <c:v>0.44852862493311901</c:v>
                </c:pt>
                <c:pt idx="25150">
                  <c:v>0.44854645978241398</c:v>
                </c:pt>
                <c:pt idx="25151">
                  <c:v>0.44856429463170999</c:v>
                </c:pt>
                <c:pt idx="25152">
                  <c:v>0.44858212948100501</c:v>
                </c:pt>
                <c:pt idx="25153">
                  <c:v>0.44859996433030103</c:v>
                </c:pt>
                <c:pt idx="25154">
                  <c:v>0.44861779917959599</c:v>
                </c:pt>
                <c:pt idx="25155">
                  <c:v>0.44863563402889201</c:v>
                </c:pt>
                <c:pt idx="25156">
                  <c:v>0.44865346887818702</c:v>
                </c:pt>
                <c:pt idx="25157">
                  <c:v>0.44867130372748298</c:v>
                </c:pt>
                <c:pt idx="25158">
                  <c:v>0.448689138576779</c:v>
                </c:pt>
                <c:pt idx="25159">
                  <c:v>0.44870697342607402</c:v>
                </c:pt>
                <c:pt idx="25160">
                  <c:v>0.44872480827536998</c:v>
                </c:pt>
                <c:pt idx="25161">
                  <c:v>0.448742643124665</c:v>
                </c:pt>
                <c:pt idx="25162">
                  <c:v>0.44876047797396101</c:v>
                </c:pt>
                <c:pt idx="25163">
                  <c:v>0.44877831282325598</c:v>
                </c:pt>
                <c:pt idx="25164">
                  <c:v>0.44879614767255199</c:v>
                </c:pt>
                <c:pt idx="25165">
                  <c:v>0.44881398252184701</c:v>
                </c:pt>
                <c:pt idx="25166">
                  <c:v>0.44883181737114303</c:v>
                </c:pt>
                <c:pt idx="25167">
                  <c:v>0.44884965222043799</c:v>
                </c:pt>
                <c:pt idx="25168">
                  <c:v>0.44886748706973401</c:v>
                </c:pt>
                <c:pt idx="25169">
                  <c:v>0.44888532191902902</c:v>
                </c:pt>
                <c:pt idx="25170">
                  <c:v>0.44890315676832498</c:v>
                </c:pt>
                <c:pt idx="25171">
                  <c:v>0.44892099161762</c:v>
                </c:pt>
                <c:pt idx="25172">
                  <c:v>0.44893882646691602</c:v>
                </c:pt>
                <c:pt idx="25173">
                  <c:v>0.44895666131621098</c:v>
                </c:pt>
                <c:pt idx="25174">
                  <c:v>0.448974496165507</c:v>
                </c:pt>
                <c:pt idx="25175">
                  <c:v>0.44899233101480202</c:v>
                </c:pt>
                <c:pt idx="25176">
                  <c:v>0.44901016586409798</c:v>
                </c:pt>
                <c:pt idx="25177">
                  <c:v>0.44902800071339399</c:v>
                </c:pt>
                <c:pt idx="25178">
                  <c:v>0.44904583556268901</c:v>
                </c:pt>
                <c:pt idx="25179">
                  <c:v>0.44906367041198503</c:v>
                </c:pt>
                <c:pt idx="25180">
                  <c:v>0.44908150526127999</c:v>
                </c:pt>
                <c:pt idx="25181">
                  <c:v>0.44909934011057601</c:v>
                </c:pt>
                <c:pt idx="25182">
                  <c:v>0.44911717495987102</c:v>
                </c:pt>
                <c:pt idx="25183">
                  <c:v>0.44913500980916699</c:v>
                </c:pt>
                <c:pt idx="25184">
                  <c:v>0.449152844658462</c:v>
                </c:pt>
                <c:pt idx="25185">
                  <c:v>0.44917067950775802</c:v>
                </c:pt>
                <c:pt idx="25186">
                  <c:v>0.44918851435705298</c:v>
                </c:pt>
                <c:pt idx="25187">
                  <c:v>0.449206349206349</c:v>
                </c:pt>
                <c:pt idx="25188">
                  <c:v>0.44922418405564402</c:v>
                </c:pt>
                <c:pt idx="25189">
                  <c:v>0.44924201890493998</c:v>
                </c:pt>
                <c:pt idx="25190">
                  <c:v>0.44925985375423499</c:v>
                </c:pt>
                <c:pt idx="25191">
                  <c:v>0.44927768860353101</c:v>
                </c:pt>
                <c:pt idx="25192">
                  <c:v>0.44929552345282597</c:v>
                </c:pt>
                <c:pt idx="25193">
                  <c:v>0.44931335830212199</c:v>
                </c:pt>
                <c:pt idx="25194">
                  <c:v>0.44933119315141701</c:v>
                </c:pt>
                <c:pt idx="25195">
                  <c:v>0.44934902800071302</c:v>
                </c:pt>
                <c:pt idx="25196">
                  <c:v>0.44936686285000799</c:v>
                </c:pt>
                <c:pt idx="25197">
                  <c:v>0.449384697699304</c:v>
                </c:pt>
                <c:pt idx="25198">
                  <c:v>0.44940253254859902</c:v>
                </c:pt>
                <c:pt idx="25199">
                  <c:v>0.44942036739789498</c:v>
                </c:pt>
                <c:pt idx="25200">
                  <c:v>0.449438202247191</c:v>
                </c:pt>
                <c:pt idx="25201">
                  <c:v>0.44945603709648602</c:v>
                </c:pt>
                <c:pt idx="25202">
                  <c:v>0.44947387194578198</c:v>
                </c:pt>
                <c:pt idx="25203">
                  <c:v>0.449491706795077</c:v>
                </c:pt>
                <c:pt idx="25204">
                  <c:v>0.44950954164437301</c:v>
                </c:pt>
                <c:pt idx="25205">
                  <c:v>0.44952737649366797</c:v>
                </c:pt>
                <c:pt idx="25206">
                  <c:v>0.44954521134296399</c:v>
                </c:pt>
                <c:pt idx="25207">
                  <c:v>0.44956304619225901</c:v>
                </c:pt>
                <c:pt idx="25208">
                  <c:v>0.44958088104155502</c:v>
                </c:pt>
                <c:pt idx="25209">
                  <c:v>0.44959871589084999</c:v>
                </c:pt>
                <c:pt idx="25210">
                  <c:v>0.449616550740146</c:v>
                </c:pt>
                <c:pt idx="25211">
                  <c:v>0.44963438558944102</c:v>
                </c:pt>
                <c:pt idx="25212">
                  <c:v>0.44965222043873698</c:v>
                </c:pt>
                <c:pt idx="25213">
                  <c:v>0.449670055288032</c:v>
                </c:pt>
                <c:pt idx="25214">
                  <c:v>0.44968789013732802</c:v>
                </c:pt>
                <c:pt idx="25215">
                  <c:v>0.44970572498662298</c:v>
                </c:pt>
                <c:pt idx="25216">
                  <c:v>0.449723559835919</c:v>
                </c:pt>
                <c:pt idx="25217">
                  <c:v>0.44974139468521401</c:v>
                </c:pt>
                <c:pt idx="25218">
                  <c:v>0.44975922953450997</c:v>
                </c:pt>
                <c:pt idx="25219">
                  <c:v>0.44977706438380499</c:v>
                </c:pt>
                <c:pt idx="25220">
                  <c:v>0.44979489923310101</c:v>
                </c:pt>
                <c:pt idx="25221">
                  <c:v>0.44981273408239703</c:v>
                </c:pt>
                <c:pt idx="25222">
                  <c:v>0.44983056893169199</c:v>
                </c:pt>
                <c:pt idx="25223">
                  <c:v>0.449848403780988</c:v>
                </c:pt>
                <c:pt idx="25224">
                  <c:v>0.44986623863028302</c:v>
                </c:pt>
                <c:pt idx="25225">
                  <c:v>0.44988407347957898</c:v>
                </c:pt>
                <c:pt idx="25226">
                  <c:v>0.449901908328874</c:v>
                </c:pt>
                <c:pt idx="25227">
                  <c:v>0.44991974317817002</c:v>
                </c:pt>
                <c:pt idx="25228">
                  <c:v>0.44993757802746498</c:v>
                </c:pt>
                <c:pt idx="25229">
                  <c:v>0.449955412876761</c:v>
                </c:pt>
                <c:pt idx="25230">
                  <c:v>0.44997324772605601</c:v>
                </c:pt>
                <c:pt idx="25231">
                  <c:v>0.44999108257535197</c:v>
                </c:pt>
                <c:pt idx="25232">
                  <c:v>0.45000891742464699</c:v>
                </c:pt>
                <c:pt idx="25233">
                  <c:v>0.45002675227394301</c:v>
                </c:pt>
                <c:pt idx="25234">
                  <c:v>0.45004458712323803</c:v>
                </c:pt>
                <c:pt idx="25235">
                  <c:v>0.45006242197253399</c:v>
                </c:pt>
                <c:pt idx="25236">
                  <c:v>0.45008025682182901</c:v>
                </c:pt>
                <c:pt idx="25237">
                  <c:v>0.45009809167112502</c:v>
                </c:pt>
                <c:pt idx="25238">
                  <c:v>0.45011592652041998</c:v>
                </c:pt>
                <c:pt idx="25239">
                  <c:v>0.450133761369716</c:v>
                </c:pt>
                <c:pt idx="25240">
                  <c:v>0.45015159621901102</c:v>
                </c:pt>
                <c:pt idx="25241">
                  <c:v>0.45016943106830698</c:v>
                </c:pt>
                <c:pt idx="25242">
                  <c:v>0.450187265917603</c:v>
                </c:pt>
                <c:pt idx="25243">
                  <c:v>0.45020510076689801</c:v>
                </c:pt>
                <c:pt idx="25244">
                  <c:v>0.45022293561619398</c:v>
                </c:pt>
                <c:pt idx="25245">
                  <c:v>0.45024077046548899</c:v>
                </c:pt>
                <c:pt idx="25246">
                  <c:v>0.45025860531478501</c:v>
                </c:pt>
                <c:pt idx="25247">
                  <c:v>0.45027644016408003</c:v>
                </c:pt>
                <c:pt idx="25248">
                  <c:v>0.45029427501337599</c:v>
                </c:pt>
                <c:pt idx="25249">
                  <c:v>0.45031210986267101</c:v>
                </c:pt>
                <c:pt idx="25250">
                  <c:v>0.45032994471196702</c:v>
                </c:pt>
                <c:pt idx="25251">
                  <c:v>0.45034777956126198</c:v>
                </c:pt>
                <c:pt idx="25252">
                  <c:v>0.450365614410558</c:v>
                </c:pt>
                <c:pt idx="25253">
                  <c:v>0.45038344925985302</c:v>
                </c:pt>
                <c:pt idx="25254">
                  <c:v>0.45040128410914898</c:v>
                </c:pt>
                <c:pt idx="25255">
                  <c:v>0.450419118958444</c:v>
                </c:pt>
                <c:pt idx="25256">
                  <c:v>0.45043695380774001</c:v>
                </c:pt>
                <c:pt idx="25257">
                  <c:v>0.45045478865703498</c:v>
                </c:pt>
                <c:pt idx="25258">
                  <c:v>0.45047262350633099</c:v>
                </c:pt>
                <c:pt idx="25259">
                  <c:v>0.45049045835562601</c:v>
                </c:pt>
                <c:pt idx="25260">
                  <c:v>0.45050829320492197</c:v>
                </c:pt>
                <c:pt idx="25261">
                  <c:v>0.45052612805421699</c:v>
                </c:pt>
                <c:pt idx="25262">
                  <c:v>0.45054396290351301</c:v>
                </c:pt>
                <c:pt idx="25263">
                  <c:v>0.45056179775280802</c:v>
                </c:pt>
                <c:pt idx="25264">
                  <c:v>0.45057963260210399</c:v>
                </c:pt>
                <c:pt idx="25265">
                  <c:v>0.4505974674514</c:v>
                </c:pt>
                <c:pt idx="25266">
                  <c:v>0.45061530230069502</c:v>
                </c:pt>
                <c:pt idx="25267">
                  <c:v>0.45063313714999098</c:v>
                </c:pt>
                <c:pt idx="25268">
                  <c:v>0.450650971999286</c:v>
                </c:pt>
                <c:pt idx="25269">
                  <c:v>0.45066880684858202</c:v>
                </c:pt>
                <c:pt idx="25270">
                  <c:v>0.45068664169787698</c:v>
                </c:pt>
                <c:pt idx="25271">
                  <c:v>0.45070447654717299</c:v>
                </c:pt>
                <c:pt idx="25272">
                  <c:v>0.45072231139646801</c:v>
                </c:pt>
                <c:pt idx="25273">
                  <c:v>0.45074014624576397</c:v>
                </c:pt>
                <c:pt idx="25274">
                  <c:v>0.45075798109505899</c:v>
                </c:pt>
                <c:pt idx="25275">
                  <c:v>0.45077581594435501</c:v>
                </c:pt>
                <c:pt idx="25276">
                  <c:v>0.45079365079365002</c:v>
                </c:pt>
                <c:pt idx="25277">
                  <c:v>0.45081148564294599</c:v>
                </c:pt>
                <c:pt idx="25278">
                  <c:v>0.450829320492241</c:v>
                </c:pt>
                <c:pt idx="25279">
                  <c:v>0.45084715534153702</c:v>
                </c:pt>
                <c:pt idx="25280">
                  <c:v>0.45086499019083198</c:v>
                </c:pt>
                <c:pt idx="25281">
                  <c:v>0.450882825040128</c:v>
                </c:pt>
                <c:pt idx="25282">
                  <c:v>0.45090065988942302</c:v>
                </c:pt>
                <c:pt idx="25283">
                  <c:v>0.45091849473871898</c:v>
                </c:pt>
                <c:pt idx="25284">
                  <c:v>0.45093632958801499</c:v>
                </c:pt>
                <c:pt idx="25285">
                  <c:v>0.45095416443731001</c:v>
                </c:pt>
                <c:pt idx="25286">
                  <c:v>0.45097199928660597</c:v>
                </c:pt>
                <c:pt idx="25287">
                  <c:v>0.45098983413590099</c:v>
                </c:pt>
                <c:pt idx="25288">
                  <c:v>0.45100766898519701</c:v>
                </c:pt>
                <c:pt idx="25289">
                  <c:v>0.45102550383449203</c:v>
                </c:pt>
                <c:pt idx="25290">
                  <c:v>0.45104333868378799</c:v>
                </c:pt>
                <c:pt idx="25291">
                  <c:v>0.451061173533083</c:v>
                </c:pt>
                <c:pt idx="25292">
                  <c:v>0.45107900838237902</c:v>
                </c:pt>
                <c:pt idx="25293">
                  <c:v>0.45109684323167398</c:v>
                </c:pt>
                <c:pt idx="25294">
                  <c:v>0.45111467808097</c:v>
                </c:pt>
                <c:pt idx="25295">
                  <c:v>0.45113251293026502</c:v>
                </c:pt>
                <c:pt idx="25296">
                  <c:v>0.45115034777956098</c:v>
                </c:pt>
                <c:pt idx="25297">
                  <c:v>0.451168182628856</c:v>
                </c:pt>
                <c:pt idx="25298">
                  <c:v>0.45118601747815201</c:v>
                </c:pt>
                <c:pt idx="25299">
                  <c:v>0.45120385232744697</c:v>
                </c:pt>
                <c:pt idx="25300">
                  <c:v>0.45122168717674299</c:v>
                </c:pt>
                <c:pt idx="25301">
                  <c:v>0.45123952202603801</c:v>
                </c:pt>
                <c:pt idx="25302">
                  <c:v>0.45125735687533403</c:v>
                </c:pt>
                <c:pt idx="25303">
                  <c:v>0.45127519172462899</c:v>
                </c:pt>
                <c:pt idx="25304">
                  <c:v>0.451293026573925</c:v>
                </c:pt>
                <c:pt idx="25305">
                  <c:v>0.45131086142322002</c:v>
                </c:pt>
                <c:pt idx="25306">
                  <c:v>0.45132869627251598</c:v>
                </c:pt>
                <c:pt idx="25307">
                  <c:v>0.451346531121812</c:v>
                </c:pt>
                <c:pt idx="25308">
                  <c:v>0.45136436597110702</c:v>
                </c:pt>
                <c:pt idx="25309">
                  <c:v>0.45138220082040298</c:v>
                </c:pt>
                <c:pt idx="25310">
                  <c:v>0.451400035669698</c:v>
                </c:pt>
                <c:pt idx="25311">
                  <c:v>0.45141787051899401</c:v>
                </c:pt>
                <c:pt idx="25312">
                  <c:v>0.45143570536828898</c:v>
                </c:pt>
                <c:pt idx="25313">
                  <c:v>0.45145354021758499</c:v>
                </c:pt>
                <c:pt idx="25314">
                  <c:v>0.45147137506688001</c:v>
                </c:pt>
                <c:pt idx="25315">
                  <c:v>0.45148920991617603</c:v>
                </c:pt>
                <c:pt idx="25316">
                  <c:v>0.45150704476547099</c:v>
                </c:pt>
                <c:pt idx="25317">
                  <c:v>0.45152487961476701</c:v>
                </c:pt>
                <c:pt idx="25318">
                  <c:v>0.45154271446406202</c:v>
                </c:pt>
                <c:pt idx="25319">
                  <c:v>0.45156054931335798</c:v>
                </c:pt>
                <c:pt idx="25320">
                  <c:v>0.451578384162653</c:v>
                </c:pt>
                <c:pt idx="25321">
                  <c:v>0.45159621901194902</c:v>
                </c:pt>
                <c:pt idx="25322">
                  <c:v>0.45161405386124398</c:v>
                </c:pt>
                <c:pt idx="25323">
                  <c:v>0.45163188871054</c:v>
                </c:pt>
                <c:pt idx="25324">
                  <c:v>0.45164972355983501</c:v>
                </c:pt>
                <c:pt idx="25325">
                  <c:v>0.45166755840913098</c:v>
                </c:pt>
                <c:pt idx="25326">
                  <c:v>0.45168539325842699</c:v>
                </c:pt>
                <c:pt idx="25327">
                  <c:v>0.45170322810772201</c:v>
                </c:pt>
                <c:pt idx="25328">
                  <c:v>0.45172106295701803</c:v>
                </c:pt>
                <c:pt idx="25329">
                  <c:v>0.45173889780631299</c:v>
                </c:pt>
                <c:pt idx="25330">
                  <c:v>0.45175673265560901</c:v>
                </c:pt>
                <c:pt idx="25331">
                  <c:v>0.45177456750490402</c:v>
                </c:pt>
                <c:pt idx="25332">
                  <c:v>0.45179240235419998</c:v>
                </c:pt>
                <c:pt idx="25333">
                  <c:v>0.451810237203495</c:v>
                </c:pt>
                <c:pt idx="25334">
                  <c:v>0.45182807205279102</c:v>
                </c:pt>
                <c:pt idx="25335">
                  <c:v>0.45184590690208598</c:v>
                </c:pt>
                <c:pt idx="25336">
                  <c:v>0.451863741751382</c:v>
                </c:pt>
                <c:pt idx="25337">
                  <c:v>0.45188157660067702</c:v>
                </c:pt>
                <c:pt idx="25338">
                  <c:v>0.45189941144997298</c:v>
                </c:pt>
                <c:pt idx="25339">
                  <c:v>0.45191724629926799</c:v>
                </c:pt>
                <c:pt idx="25340">
                  <c:v>0.45193508114856401</c:v>
                </c:pt>
                <c:pt idx="25341">
                  <c:v>0.45195291599785897</c:v>
                </c:pt>
                <c:pt idx="25342">
                  <c:v>0.45197075084715499</c:v>
                </c:pt>
                <c:pt idx="25343">
                  <c:v>0.45198858569645001</c:v>
                </c:pt>
                <c:pt idx="25344">
                  <c:v>0.45200642054574602</c:v>
                </c:pt>
                <c:pt idx="25345">
                  <c:v>0.45202425539504099</c:v>
                </c:pt>
                <c:pt idx="25346">
                  <c:v>0.452042090244337</c:v>
                </c:pt>
                <c:pt idx="25347">
                  <c:v>0.45205992509363202</c:v>
                </c:pt>
                <c:pt idx="25348">
                  <c:v>0.45207775994292798</c:v>
                </c:pt>
                <c:pt idx="25349">
                  <c:v>0.452095594792224</c:v>
                </c:pt>
                <c:pt idx="25350">
                  <c:v>0.45211342964151902</c:v>
                </c:pt>
                <c:pt idx="25351">
                  <c:v>0.45213126449081498</c:v>
                </c:pt>
                <c:pt idx="25352">
                  <c:v>0.45214909934010999</c:v>
                </c:pt>
                <c:pt idx="25353">
                  <c:v>0.45216693418940601</c:v>
                </c:pt>
                <c:pt idx="25354">
                  <c:v>0.45218476903870097</c:v>
                </c:pt>
                <c:pt idx="25355">
                  <c:v>0.45220260388799699</c:v>
                </c:pt>
                <c:pt idx="25356">
                  <c:v>0.45222043873729201</c:v>
                </c:pt>
                <c:pt idx="25357">
                  <c:v>0.45223827358658802</c:v>
                </c:pt>
                <c:pt idx="25358">
                  <c:v>0.45225610843588299</c:v>
                </c:pt>
                <c:pt idx="25359">
                  <c:v>0.452273943285179</c:v>
                </c:pt>
                <c:pt idx="25360">
                  <c:v>0.45229177813447402</c:v>
                </c:pt>
                <c:pt idx="25361">
                  <c:v>0.45230961298376998</c:v>
                </c:pt>
                <c:pt idx="25362">
                  <c:v>0.452327447833065</c:v>
                </c:pt>
                <c:pt idx="25363">
                  <c:v>0.45234528268236102</c:v>
                </c:pt>
                <c:pt idx="25364">
                  <c:v>0.45236311753165598</c:v>
                </c:pt>
                <c:pt idx="25365">
                  <c:v>0.452380952380952</c:v>
                </c:pt>
                <c:pt idx="25366">
                  <c:v>0.45239878723024701</c:v>
                </c:pt>
                <c:pt idx="25367">
                  <c:v>0.45241662207954297</c:v>
                </c:pt>
                <c:pt idx="25368">
                  <c:v>0.45243445692883799</c:v>
                </c:pt>
                <c:pt idx="25369">
                  <c:v>0.45245229177813401</c:v>
                </c:pt>
                <c:pt idx="25370">
                  <c:v>0.45247012662743002</c:v>
                </c:pt>
                <c:pt idx="25371">
                  <c:v>0.45248796147672499</c:v>
                </c:pt>
                <c:pt idx="25372">
                  <c:v>0.452505796326021</c:v>
                </c:pt>
                <c:pt idx="25373">
                  <c:v>0.45252363117531602</c:v>
                </c:pt>
                <c:pt idx="25374">
                  <c:v>0.45254146602461198</c:v>
                </c:pt>
                <c:pt idx="25375">
                  <c:v>0.452559300873907</c:v>
                </c:pt>
                <c:pt idx="25376">
                  <c:v>0.45257713572320302</c:v>
                </c:pt>
                <c:pt idx="25377">
                  <c:v>0.45259497057249798</c:v>
                </c:pt>
                <c:pt idx="25378">
                  <c:v>0.452612805421794</c:v>
                </c:pt>
                <c:pt idx="25379">
                  <c:v>0.45263064027108901</c:v>
                </c:pt>
                <c:pt idx="25380">
                  <c:v>0.45264847512038497</c:v>
                </c:pt>
                <c:pt idx="25381">
                  <c:v>0.45266630996967999</c:v>
                </c:pt>
                <c:pt idx="25382">
                  <c:v>0.45268414481897601</c:v>
                </c:pt>
                <c:pt idx="25383">
                  <c:v>0.45270197966827103</c:v>
                </c:pt>
                <c:pt idx="25384">
                  <c:v>0.45271981451756699</c:v>
                </c:pt>
                <c:pt idx="25385">
                  <c:v>0.452737649366862</c:v>
                </c:pt>
                <c:pt idx="25386">
                  <c:v>0.45275548421615802</c:v>
                </c:pt>
                <c:pt idx="25387">
                  <c:v>0.45277331906545298</c:v>
                </c:pt>
                <c:pt idx="25388">
                  <c:v>0.452791153914749</c:v>
                </c:pt>
                <c:pt idx="25389">
                  <c:v>0.45280898876404402</c:v>
                </c:pt>
                <c:pt idx="25390">
                  <c:v>0.45282682361333998</c:v>
                </c:pt>
                <c:pt idx="25391">
                  <c:v>0.452844658462636</c:v>
                </c:pt>
                <c:pt idx="25392">
                  <c:v>0.45286249331193101</c:v>
                </c:pt>
                <c:pt idx="25393">
                  <c:v>0.45288032816122697</c:v>
                </c:pt>
                <c:pt idx="25394">
                  <c:v>0.45289816301052199</c:v>
                </c:pt>
                <c:pt idx="25395">
                  <c:v>0.45291599785981801</c:v>
                </c:pt>
                <c:pt idx="25396">
                  <c:v>0.45293383270911303</c:v>
                </c:pt>
                <c:pt idx="25397">
                  <c:v>0.45295166755840899</c:v>
                </c:pt>
                <c:pt idx="25398">
                  <c:v>0.45296950240770401</c:v>
                </c:pt>
                <c:pt idx="25399">
                  <c:v>0.45298733725700002</c:v>
                </c:pt>
                <c:pt idx="25400">
                  <c:v>0.45300517210629498</c:v>
                </c:pt>
                <c:pt idx="25401">
                  <c:v>0.453023006955591</c:v>
                </c:pt>
                <c:pt idx="25402">
                  <c:v>0.45304084180488602</c:v>
                </c:pt>
                <c:pt idx="25403">
                  <c:v>0.45305867665418198</c:v>
                </c:pt>
                <c:pt idx="25404">
                  <c:v>0.453076511503477</c:v>
                </c:pt>
                <c:pt idx="25405">
                  <c:v>0.45309434635277301</c:v>
                </c:pt>
                <c:pt idx="25406">
                  <c:v>0.45311218120206798</c:v>
                </c:pt>
                <c:pt idx="25407">
                  <c:v>0.45313001605136399</c:v>
                </c:pt>
                <c:pt idx="25408">
                  <c:v>0.45314785090065901</c:v>
                </c:pt>
                <c:pt idx="25409">
                  <c:v>0.45316568574995503</c:v>
                </c:pt>
                <c:pt idx="25410">
                  <c:v>0.45318352059924999</c:v>
                </c:pt>
                <c:pt idx="25411">
                  <c:v>0.45320135544854601</c:v>
                </c:pt>
                <c:pt idx="25412">
                  <c:v>0.45321919029784102</c:v>
                </c:pt>
                <c:pt idx="25413">
                  <c:v>0.45323702514713698</c:v>
                </c:pt>
                <c:pt idx="25414">
                  <c:v>0.453254859996433</c:v>
                </c:pt>
                <c:pt idx="25415">
                  <c:v>0.45327269484572802</c:v>
                </c:pt>
                <c:pt idx="25416">
                  <c:v>0.45329052969502398</c:v>
                </c:pt>
                <c:pt idx="25417">
                  <c:v>0.453308364544319</c:v>
                </c:pt>
                <c:pt idx="25418">
                  <c:v>0.45332619939361501</c:v>
                </c:pt>
                <c:pt idx="25419">
                  <c:v>0.45334403424290998</c:v>
                </c:pt>
                <c:pt idx="25420">
                  <c:v>0.45336186909220599</c:v>
                </c:pt>
                <c:pt idx="25421">
                  <c:v>0.45337970394150101</c:v>
                </c:pt>
                <c:pt idx="25422">
                  <c:v>0.45339753879079697</c:v>
                </c:pt>
                <c:pt idx="25423">
                  <c:v>0.45341537364009199</c:v>
                </c:pt>
                <c:pt idx="25424">
                  <c:v>0.45343320848938801</c:v>
                </c:pt>
                <c:pt idx="25425">
                  <c:v>0.45345104333868302</c:v>
                </c:pt>
                <c:pt idx="25426">
                  <c:v>0.45346887818797899</c:v>
                </c:pt>
                <c:pt idx="25427">
                  <c:v>0.453486713037274</c:v>
                </c:pt>
                <c:pt idx="25428">
                  <c:v>0.45350454788657002</c:v>
                </c:pt>
                <c:pt idx="25429">
                  <c:v>0.45352238273586498</c:v>
                </c:pt>
                <c:pt idx="25430">
                  <c:v>0.453540217585161</c:v>
                </c:pt>
                <c:pt idx="25431">
                  <c:v>0.45355805243445602</c:v>
                </c:pt>
                <c:pt idx="25432">
                  <c:v>0.45357588728375198</c:v>
                </c:pt>
                <c:pt idx="25433">
                  <c:v>0.45359372213304799</c:v>
                </c:pt>
                <c:pt idx="25434">
                  <c:v>0.45361155698234301</c:v>
                </c:pt>
                <c:pt idx="25435">
                  <c:v>0.45362939183163897</c:v>
                </c:pt>
                <c:pt idx="25436">
                  <c:v>0.45364722668093399</c:v>
                </c:pt>
                <c:pt idx="25437">
                  <c:v>0.45366506153023001</c:v>
                </c:pt>
                <c:pt idx="25438">
                  <c:v>0.45368289637952502</c:v>
                </c:pt>
                <c:pt idx="25439">
                  <c:v>0.45370073122882099</c:v>
                </c:pt>
                <c:pt idx="25440">
                  <c:v>0.453718566078116</c:v>
                </c:pt>
                <c:pt idx="25441">
                  <c:v>0.45373640092741202</c:v>
                </c:pt>
                <c:pt idx="25442">
                  <c:v>0.45375423577670698</c:v>
                </c:pt>
                <c:pt idx="25443">
                  <c:v>0.453772070626003</c:v>
                </c:pt>
                <c:pt idx="25444">
                  <c:v>0.45378990547529802</c:v>
                </c:pt>
                <c:pt idx="25445">
                  <c:v>0.45380774032459398</c:v>
                </c:pt>
                <c:pt idx="25446">
                  <c:v>0.453825575173889</c:v>
                </c:pt>
                <c:pt idx="25447">
                  <c:v>0.45384341002318501</c:v>
                </c:pt>
                <c:pt idx="25448">
                  <c:v>0.45386124487247997</c:v>
                </c:pt>
                <c:pt idx="25449">
                  <c:v>0.45387907972177599</c:v>
                </c:pt>
                <c:pt idx="25450">
                  <c:v>0.45389691457107101</c:v>
                </c:pt>
                <c:pt idx="25451">
                  <c:v>0.45391474942036703</c:v>
                </c:pt>
                <c:pt idx="25452">
                  <c:v>0.45393258426966199</c:v>
                </c:pt>
                <c:pt idx="25453">
                  <c:v>0.453950419118958</c:v>
                </c:pt>
                <c:pt idx="25454">
                  <c:v>0.45396825396825302</c:v>
                </c:pt>
                <c:pt idx="25455">
                  <c:v>0.45398608881754898</c:v>
                </c:pt>
                <c:pt idx="25456">
                  <c:v>0.454003923666845</c:v>
                </c:pt>
                <c:pt idx="25457">
                  <c:v>0.45402175851614002</c:v>
                </c:pt>
                <c:pt idx="25458">
                  <c:v>0.45403959336543598</c:v>
                </c:pt>
                <c:pt idx="25459">
                  <c:v>0.454057428214731</c:v>
                </c:pt>
                <c:pt idx="25460">
                  <c:v>0.45407526306402701</c:v>
                </c:pt>
                <c:pt idx="25461">
                  <c:v>0.45409309791332197</c:v>
                </c:pt>
                <c:pt idx="25462">
                  <c:v>0.45411093276261799</c:v>
                </c:pt>
                <c:pt idx="25463">
                  <c:v>0.45412876761191301</c:v>
                </c:pt>
                <c:pt idx="25464">
                  <c:v>0.45414660246120903</c:v>
                </c:pt>
                <c:pt idx="25465">
                  <c:v>0.45416443731050399</c:v>
                </c:pt>
                <c:pt idx="25466">
                  <c:v>0.4541822721598</c:v>
                </c:pt>
                <c:pt idx="25467">
                  <c:v>0.45420010700909502</c:v>
                </c:pt>
                <c:pt idx="25468">
                  <c:v>0.45421794185839098</c:v>
                </c:pt>
                <c:pt idx="25469">
                  <c:v>0.454235776707686</c:v>
                </c:pt>
                <c:pt idx="25470">
                  <c:v>0.45425361155698202</c:v>
                </c:pt>
                <c:pt idx="25471">
                  <c:v>0.45427144640627698</c:v>
                </c:pt>
                <c:pt idx="25472">
                  <c:v>0.454289281255573</c:v>
                </c:pt>
                <c:pt idx="25473">
                  <c:v>0.45430711610486801</c:v>
                </c:pt>
                <c:pt idx="25474">
                  <c:v>0.45432495095416398</c:v>
                </c:pt>
                <c:pt idx="25475">
                  <c:v>0.45434278580345899</c:v>
                </c:pt>
                <c:pt idx="25476">
                  <c:v>0.45436062065275501</c:v>
                </c:pt>
                <c:pt idx="25477">
                  <c:v>0.45437845550205103</c:v>
                </c:pt>
                <c:pt idx="25478">
                  <c:v>0.45439629035134599</c:v>
                </c:pt>
                <c:pt idx="25479">
                  <c:v>0.45441412520064201</c:v>
                </c:pt>
                <c:pt idx="25480">
                  <c:v>0.45443196004993702</c:v>
                </c:pt>
                <c:pt idx="25481">
                  <c:v>0.45444979489923298</c:v>
                </c:pt>
                <c:pt idx="25482">
                  <c:v>0.454467629748528</c:v>
                </c:pt>
                <c:pt idx="25483">
                  <c:v>0.45448546459782402</c:v>
                </c:pt>
                <c:pt idx="25484">
                  <c:v>0.45450329944711898</c:v>
                </c:pt>
                <c:pt idx="25485">
                  <c:v>0.454521134296415</c:v>
                </c:pt>
                <c:pt idx="25486">
                  <c:v>0.45453896914571001</c:v>
                </c:pt>
                <c:pt idx="25487">
                  <c:v>0.45455680399500598</c:v>
                </c:pt>
                <c:pt idx="25488">
                  <c:v>0.45457463884430099</c:v>
                </c:pt>
                <c:pt idx="25489">
                  <c:v>0.45459247369359701</c:v>
                </c:pt>
                <c:pt idx="25490">
                  <c:v>0.45461030854289203</c:v>
                </c:pt>
                <c:pt idx="25491">
                  <c:v>0.45462814339218799</c:v>
                </c:pt>
                <c:pt idx="25492">
                  <c:v>0.45464597824148301</c:v>
                </c:pt>
                <c:pt idx="25493">
                  <c:v>0.45466381309077902</c:v>
                </c:pt>
                <c:pt idx="25494">
                  <c:v>0.45468164794007399</c:v>
                </c:pt>
                <c:pt idx="25495">
                  <c:v>0.45469948278937</c:v>
                </c:pt>
                <c:pt idx="25496">
                  <c:v>0.45471731763866502</c:v>
                </c:pt>
                <c:pt idx="25497">
                  <c:v>0.45473515248796098</c:v>
                </c:pt>
                <c:pt idx="25498">
                  <c:v>0.454752987337257</c:v>
                </c:pt>
                <c:pt idx="25499">
                  <c:v>0.45477082218655202</c:v>
                </c:pt>
                <c:pt idx="25500">
                  <c:v>0.45478865703584798</c:v>
                </c:pt>
                <c:pt idx="25501">
                  <c:v>0.45480649188514299</c:v>
                </c:pt>
                <c:pt idx="25502">
                  <c:v>0.45482432673443901</c:v>
                </c:pt>
                <c:pt idx="25503">
                  <c:v>0.45484216158373397</c:v>
                </c:pt>
                <c:pt idx="25504">
                  <c:v>0.45485999643302999</c:v>
                </c:pt>
                <c:pt idx="25505">
                  <c:v>0.45487783128232501</c:v>
                </c:pt>
                <c:pt idx="25506">
                  <c:v>0.45489566613162102</c:v>
                </c:pt>
                <c:pt idx="25507">
                  <c:v>0.45491350098091599</c:v>
                </c:pt>
                <c:pt idx="25508">
                  <c:v>0.454931335830212</c:v>
                </c:pt>
                <c:pt idx="25509">
                  <c:v>0.45494917067950702</c:v>
                </c:pt>
                <c:pt idx="25510">
                  <c:v>0.45496700552880298</c:v>
                </c:pt>
                <c:pt idx="25511">
                  <c:v>0.454984840378098</c:v>
                </c:pt>
                <c:pt idx="25512">
                  <c:v>0.45500267522739402</c:v>
                </c:pt>
                <c:pt idx="25513">
                  <c:v>0.45502051007668898</c:v>
                </c:pt>
                <c:pt idx="25514">
                  <c:v>0.45503834492598499</c:v>
                </c:pt>
                <c:pt idx="25515">
                  <c:v>0.45505617977528001</c:v>
                </c:pt>
                <c:pt idx="25516">
                  <c:v>0.45507401462457597</c:v>
                </c:pt>
                <c:pt idx="25517">
                  <c:v>0.45509184947387099</c:v>
                </c:pt>
                <c:pt idx="25518">
                  <c:v>0.45510968432316701</c:v>
                </c:pt>
                <c:pt idx="25519">
                  <c:v>0.45512751917246203</c:v>
                </c:pt>
                <c:pt idx="25520">
                  <c:v>0.45514535402175799</c:v>
                </c:pt>
                <c:pt idx="25521">
                  <c:v>0.455163188871054</c:v>
                </c:pt>
                <c:pt idx="25522">
                  <c:v>0.45518102372034902</c:v>
                </c:pt>
                <c:pt idx="25523">
                  <c:v>0.45519885856964498</c:v>
                </c:pt>
                <c:pt idx="25524">
                  <c:v>0.45521669341894</c:v>
                </c:pt>
                <c:pt idx="25525">
                  <c:v>0.45523452826823602</c:v>
                </c:pt>
                <c:pt idx="25526">
                  <c:v>0.45525236311753098</c:v>
                </c:pt>
                <c:pt idx="25527">
                  <c:v>0.45527019796682699</c:v>
                </c:pt>
                <c:pt idx="25528">
                  <c:v>0.45528803281612201</c:v>
                </c:pt>
                <c:pt idx="25529">
                  <c:v>0.45530586766541797</c:v>
                </c:pt>
                <c:pt idx="25530">
                  <c:v>0.45532370251471299</c:v>
                </c:pt>
                <c:pt idx="25531">
                  <c:v>0.45534153736400901</c:v>
                </c:pt>
                <c:pt idx="25532">
                  <c:v>0.45535937221330403</c:v>
                </c:pt>
                <c:pt idx="25533">
                  <c:v>0.45537720706259999</c:v>
                </c:pt>
                <c:pt idx="25534">
                  <c:v>0.455395041911895</c:v>
                </c:pt>
                <c:pt idx="25535">
                  <c:v>0.45541287676119102</c:v>
                </c:pt>
                <c:pt idx="25536">
                  <c:v>0.45543071161048598</c:v>
                </c:pt>
                <c:pt idx="25537">
                  <c:v>0.455448546459782</c:v>
                </c:pt>
                <c:pt idx="25538">
                  <c:v>0.45546638130907702</c:v>
                </c:pt>
                <c:pt idx="25539">
                  <c:v>0.45548421615837298</c:v>
                </c:pt>
                <c:pt idx="25540">
                  <c:v>0.455502051007669</c:v>
                </c:pt>
                <c:pt idx="25541">
                  <c:v>0.45551988585696401</c:v>
                </c:pt>
                <c:pt idx="25542">
                  <c:v>0.45553772070625997</c:v>
                </c:pt>
                <c:pt idx="25543">
                  <c:v>0.45555555555555499</c:v>
                </c:pt>
                <c:pt idx="25544">
                  <c:v>0.45557339040485101</c:v>
                </c:pt>
                <c:pt idx="25545">
                  <c:v>0.45559122525414603</c:v>
                </c:pt>
                <c:pt idx="25546">
                  <c:v>0.45560906010344199</c:v>
                </c:pt>
                <c:pt idx="25547">
                  <c:v>0.455626894952737</c:v>
                </c:pt>
                <c:pt idx="25548">
                  <c:v>0.45564472980203302</c:v>
                </c:pt>
                <c:pt idx="25549">
                  <c:v>0.45566256465132798</c:v>
                </c:pt>
                <c:pt idx="25550">
                  <c:v>0.455680399500624</c:v>
                </c:pt>
                <c:pt idx="25551">
                  <c:v>0.45569823434991902</c:v>
                </c:pt>
                <c:pt idx="25552">
                  <c:v>0.45571606919921498</c:v>
                </c:pt>
                <c:pt idx="25553">
                  <c:v>0.45573390404851</c:v>
                </c:pt>
                <c:pt idx="25554">
                  <c:v>0.45575173889780601</c:v>
                </c:pt>
                <c:pt idx="25555">
                  <c:v>0.45576957374710098</c:v>
                </c:pt>
                <c:pt idx="25556">
                  <c:v>0.45578740859639699</c:v>
                </c:pt>
                <c:pt idx="25557">
                  <c:v>0.45580524344569201</c:v>
                </c:pt>
                <c:pt idx="25558">
                  <c:v>0.45582307829498803</c:v>
                </c:pt>
                <c:pt idx="25559">
                  <c:v>0.45584091314428299</c:v>
                </c:pt>
                <c:pt idx="25560">
                  <c:v>0.45585874799357901</c:v>
                </c:pt>
                <c:pt idx="25561">
                  <c:v>0.45587658284287402</c:v>
                </c:pt>
                <c:pt idx="25562">
                  <c:v>0.45589441769216998</c:v>
                </c:pt>
                <c:pt idx="25563">
                  <c:v>0.455912252541466</c:v>
                </c:pt>
                <c:pt idx="25564">
                  <c:v>0.45593008739076102</c:v>
                </c:pt>
                <c:pt idx="25565">
                  <c:v>0.45594792224005698</c:v>
                </c:pt>
                <c:pt idx="25566">
                  <c:v>0.455965757089352</c:v>
                </c:pt>
                <c:pt idx="25567">
                  <c:v>0.45598359193864801</c:v>
                </c:pt>
                <c:pt idx="25568">
                  <c:v>0.45600142678794298</c:v>
                </c:pt>
                <c:pt idx="25569">
                  <c:v>0.45601926163723899</c:v>
                </c:pt>
                <c:pt idx="25570">
                  <c:v>0.45603709648653401</c:v>
                </c:pt>
                <c:pt idx="25571">
                  <c:v>0.45605493133583003</c:v>
                </c:pt>
                <c:pt idx="25572">
                  <c:v>0.45607276618512499</c:v>
                </c:pt>
                <c:pt idx="25573">
                  <c:v>0.45609060103442101</c:v>
                </c:pt>
                <c:pt idx="25574">
                  <c:v>0.45610843588371602</c:v>
                </c:pt>
                <c:pt idx="25575">
                  <c:v>0.45612627073301198</c:v>
                </c:pt>
                <c:pt idx="25576">
                  <c:v>0.456144105582307</c:v>
                </c:pt>
                <c:pt idx="25577">
                  <c:v>0.45616194043160302</c:v>
                </c:pt>
                <c:pt idx="25578">
                  <c:v>0.45617977528089798</c:v>
                </c:pt>
                <c:pt idx="25579">
                  <c:v>0.456197610130194</c:v>
                </c:pt>
                <c:pt idx="25580">
                  <c:v>0.45621544497948902</c:v>
                </c:pt>
                <c:pt idx="25581">
                  <c:v>0.45623327982878498</c:v>
                </c:pt>
                <c:pt idx="25582">
                  <c:v>0.45625111467808099</c:v>
                </c:pt>
                <c:pt idx="25583">
                  <c:v>0.45626894952737601</c:v>
                </c:pt>
                <c:pt idx="25584">
                  <c:v>0.45628678437667203</c:v>
                </c:pt>
                <c:pt idx="25585">
                  <c:v>0.45630461922596699</c:v>
                </c:pt>
                <c:pt idx="25586">
                  <c:v>0.45632245407526301</c:v>
                </c:pt>
                <c:pt idx="25587">
                  <c:v>0.45634028892455802</c:v>
                </c:pt>
                <c:pt idx="25588">
                  <c:v>0.45635812377385399</c:v>
                </c:pt>
                <c:pt idx="25589">
                  <c:v>0.456375958623149</c:v>
                </c:pt>
                <c:pt idx="25590">
                  <c:v>0.45639379347244502</c:v>
                </c:pt>
                <c:pt idx="25591">
                  <c:v>0.45641162832173998</c:v>
                </c:pt>
                <c:pt idx="25592">
                  <c:v>0.456429463171036</c:v>
                </c:pt>
                <c:pt idx="25593">
                  <c:v>0.45644729802033102</c:v>
                </c:pt>
                <c:pt idx="25594">
                  <c:v>0.45646513286962698</c:v>
                </c:pt>
                <c:pt idx="25595">
                  <c:v>0.45648296771892199</c:v>
                </c:pt>
                <c:pt idx="25596">
                  <c:v>0.45650080256821801</c:v>
                </c:pt>
                <c:pt idx="25597">
                  <c:v>0.45651863741751297</c:v>
                </c:pt>
                <c:pt idx="25598">
                  <c:v>0.45653647226680899</c:v>
                </c:pt>
                <c:pt idx="25599">
                  <c:v>0.45655430711610401</c:v>
                </c:pt>
                <c:pt idx="25600">
                  <c:v>0.45657214196540002</c:v>
                </c:pt>
                <c:pt idx="25601">
                  <c:v>0.45658997681469499</c:v>
                </c:pt>
                <c:pt idx="25602">
                  <c:v>0.456607811663991</c:v>
                </c:pt>
                <c:pt idx="25603">
                  <c:v>0.45662564651328602</c:v>
                </c:pt>
                <c:pt idx="25604">
                  <c:v>0.45664348136258198</c:v>
                </c:pt>
                <c:pt idx="25605">
                  <c:v>0.456661316211878</c:v>
                </c:pt>
                <c:pt idx="25606">
                  <c:v>0.45667915106117302</c:v>
                </c:pt>
                <c:pt idx="25607">
                  <c:v>0.45669698591046898</c:v>
                </c:pt>
                <c:pt idx="25608">
                  <c:v>0.456714820759764</c:v>
                </c:pt>
                <c:pt idx="25609">
                  <c:v>0.45673265560906001</c:v>
                </c:pt>
                <c:pt idx="25610">
                  <c:v>0.45675049045835497</c:v>
                </c:pt>
                <c:pt idx="25611">
                  <c:v>0.45676832530765099</c:v>
                </c:pt>
                <c:pt idx="25612">
                  <c:v>0.45678616015694601</c:v>
                </c:pt>
                <c:pt idx="25613">
                  <c:v>0.45680399500624203</c:v>
                </c:pt>
                <c:pt idx="25614">
                  <c:v>0.45682182985553699</c:v>
                </c:pt>
                <c:pt idx="25615">
                  <c:v>0.456839664704833</c:v>
                </c:pt>
                <c:pt idx="25616">
                  <c:v>0.45685749955412802</c:v>
                </c:pt>
                <c:pt idx="25617">
                  <c:v>0.45687533440342398</c:v>
                </c:pt>
                <c:pt idx="25618">
                  <c:v>0.456893169252719</c:v>
                </c:pt>
                <c:pt idx="25619">
                  <c:v>0.45691100410201502</c:v>
                </c:pt>
                <c:pt idx="25620">
                  <c:v>0.45692883895130998</c:v>
                </c:pt>
                <c:pt idx="25621">
                  <c:v>0.456946673800606</c:v>
                </c:pt>
                <c:pt idx="25622">
                  <c:v>0.45696450864990101</c:v>
                </c:pt>
                <c:pt idx="25623">
                  <c:v>0.45698234349919697</c:v>
                </c:pt>
                <c:pt idx="25624">
                  <c:v>0.45700017834849199</c:v>
                </c:pt>
                <c:pt idx="25625">
                  <c:v>0.45701801319778801</c:v>
                </c:pt>
                <c:pt idx="25626">
                  <c:v>0.45703584804708403</c:v>
                </c:pt>
                <c:pt idx="25627">
                  <c:v>0.45705368289637899</c:v>
                </c:pt>
                <c:pt idx="25628">
                  <c:v>0.457071517745675</c:v>
                </c:pt>
                <c:pt idx="25629">
                  <c:v>0.45708935259497002</c:v>
                </c:pt>
                <c:pt idx="25630">
                  <c:v>0.45710718744426598</c:v>
                </c:pt>
                <c:pt idx="25631">
                  <c:v>0.457125022293561</c:v>
                </c:pt>
                <c:pt idx="25632">
                  <c:v>0.45714285714285702</c:v>
                </c:pt>
                <c:pt idx="25633">
                  <c:v>0.45716069199215198</c:v>
                </c:pt>
                <c:pt idx="25634">
                  <c:v>0.457178526841448</c:v>
                </c:pt>
                <c:pt idx="25635">
                  <c:v>0.45719636169074301</c:v>
                </c:pt>
                <c:pt idx="25636">
                  <c:v>0.45721419654003898</c:v>
                </c:pt>
                <c:pt idx="25637">
                  <c:v>0.45723203138933399</c:v>
                </c:pt>
                <c:pt idx="25638">
                  <c:v>0.45724986623863001</c:v>
                </c:pt>
                <c:pt idx="25639">
                  <c:v>0.45726770108792503</c:v>
                </c:pt>
                <c:pt idx="25640">
                  <c:v>0.45728553593722099</c:v>
                </c:pt>
                <c:pt idx="25641">
                  <c:v>0.45730337078651601</c:v>
                </c:pt>
                <c:pt idx="25642">
                  <c:v>0.45732120563581202</c:v>
                </c:pt>
                <c:pt idx="25643">
                  <c:v>0.45733904048510698</c:v>
                </c:pt>
                <c:pt idx="25644">
                  <c:v>0.457356875334403</c:v>
                </c:pt>
                <c:pt idx="25645">
                  <c:v>0.45737471018369802</c:v>
                </c:pt>
                <c:pt idx="25646">
                  <c:v>0.45739254503299398</c:v>
                </c:pt>
                <c:pt idx="25647">
                  <c:v>0.45741037988229</c:v>
                </c:pt>
                <c:pt idx="25648">
                  <c:v>0.45742821473158501</c:v>
                </c:pt>
                <c:pt idx="25649">
                  <c:v>0.45744604958088098</c:v>
                </c:pt>
                <c:pt idx="25650">
                  <c:v>0.45746388443017599</c:v>
                </c:pt>
                <c:pt idx="25651">
                  <c:v>0.45748171927947201</c:v>
                </c:pt>
                <c:pt idx="25652">
                  <c:v>0.45749955412876703</c:v>
                </c:pt>
                <c:pt idx="25653">
                  <c:v>0.45751738897806299</c:v>
                </c:pt>
                <c:pt idx="25654">
                  <c:v>0.45753522382735801</c:v>
                </c:pt>
                <c:pt idx="25655">
                  <c:v>0.45755305867665402</c:v>
                </c:pt>
                <c:pt idx="25656">
                  <c:v>0.45757089352594899</c:v>
                </c:pt>
                <c:pt idx="25657">
                  <c:v>0.457588728375245</c:v>
                </c:pt>
                <c:pt idx="25658">
                  <c:v>0.45760656322454002</c:v>
                </c:pt>
                <c:pt idx="25659">
                  <c:v>0.45762439807383598</c:v>
                </c:pt>
                <c:pt idx="25660">
                  <c:v>0.457642232923131</c:v>
                </c:pt>
                <c:pt idx="25661">
                  <c:v>0.45766006777242701</c:v>
                </c:pt>
                <c:pt idx="25662">
                  <c:v>0.45767790262172198</c:v>
                </c:pt>
                <c:pt idx="25663">
                  <c:v>0.45769573747101799</c:v>
                </c:pt>
                <c:pt idx="25664">
                  <c:v>0.45771357232031301</c:v>
                </c:pt>
                <c:pt idx="25665">
                  <c:v>0.45773140716960897</c:v>
                </c:pt>
                <c:pt idx="25666">
                  <c:v>0.45774924201890399</c:v>
                </c:pt>
                <c:pt idx="25667">
                  <c:v>0.45776707686820001</c:v>
                </c:pt>
                <c:pt idx="25668">
                  <c:v>0.45778491171749502</c:v>
                </c:pt>
                <c:pt idx="25669">
                  <c:v>0.45780274656679099</c:v>
                </c:pt>
                <c:pt idx="25670">
                  <c:v>0.457820581416087</c:v>
                </c:pt>
                <c:pt idx="25671">
                  <c:v>0.45783841626538202</c:v>
                </c:pt>
                <c:pt idx="25672">
                  <c:v>0.45785625111467798</c:v>
                </c:pt>
                <c:pt idx="25673">
                  <c:v>0.457874085963973</c:v>
                </c:pt>
                <c:pt idx="25674">
                  <c:v>0.45789192081326902</c:v>
                </c:pt>
                <c:pt idx="25675">
                  <c:v>0.45790975566256398</c:v>
                </c:pt>
                <c:pt idx="25676">
                  <c:v>0.45792759051185999</c:v>
                </c:pt>
                <c:pt idx="25677">
                  <c:v>0.45794542536115501</c:v>
                </c:pt>
                <c:pt idx="25678">
                  <c:v>0.45796326021045097</c:v>
                </c:pt>
                <c:pt idx="25679">
                  <c:v>0.45798109505974599</c:v>
                </c:pt>
                <c:pt idx="25680">
                  <c:v>0.45799892990904201</c:v>
                </c:pt>
                <c:pt idx="25681">
                  <c:v>0.45801676475833702</c:v>
                </c:pt>
                <c:pt idx="25682">
                  <c:v>0.45803459960763299</c:v>
                </c:pt>
                <c:pt idx="25683">
                  <c:v>0.458052434456928</c:v>
                </c:pt>
                <c:pt idx="25684">
                  <c:v>0.45807026930622402</c:v>
                </c:pt>
                <c:pt idx="25685">
                  <c:v>0.45808810415551898</c:v>
                </c:pt>
                <c:pt idx="25686">
                  <c:v>0.458105939004815</c:v>
                </c:pt>
                <c:pt idx="25687">
                  <c:v>0.45812377385411002</c:v>
                </c:pt>
                <c:pt idx="25688">
                  <c:v>0.45814160870340598</c:v>
                </c:pt>
                <c:pt idx="25689">
                  <c:v>0.45815944355270199</c:v>
                </c:pt>
                <c:pt idx="25690">
                  <c:v>0.45817727840199701</c:v>
                </c:pt>
                <c:pt idx="25691">
                  <c:v>0.45819511325129297</c:v>
                </c:pt>
                <c:pt idx="25692">
                  <c:v>0.45821294810058799</c:v>
                </c:pt>
                <c:pt idx="25693">
                  <c:v>0.45823078294988401</c:v>
                </c:pt>
                <c:pt idx="25694">
                  <c:v>0.45824861779917903</c:v>
                </c:pt>
                <c:pt idx="25695">
                  <c:v>0.45826645264847499</c:v>
                </c:pt>
                <c:pt idx="25696">
                  <c:v>0.45828428749777</c:v>
                </c:pt>
                <c:pt idx="25697">
                  <c:v>0.45830212234706602</c:v>
                </c:pt>
                <c:pt idx="25698">
                  <c:v>0.45831995719636098</c:v>
                </c:pt>
                <c:pt idx="25699">
                  <c:v>0.458337792045657</c:v>
                </c:pt>
                <c:pt idx="25700">
                  <c:v>0.45835562689495202</c:v>
                </c:pt>
                <c:pt idx="25701">
                  <c:v>0.45837346174424798</c:v>
                </c:pt>
                <c:pt idx="25702">
                  <c:v>0.458391296593543</c:v>
                </c:pt>
                <c:pt idx="25703">
                  <c:v>0.45840913144283901</c:v>
                </c:pt>
                <c:pt idx="25704">
                  <c:v>0.45842696629213397</c:v>
                </c:pt>
                <c:pt idx="25705">
                  <c:v>0.45844480114142999</c:v>
                </c:pt>
                <c:pt idx="25706">
                  <c:v>0.45846263599072501</c:v>
                </c:pt>
                <c:pt idx="25707">
                  <c:v>0.45848047084002103</c:v>
                </c:pt>
                <c:pt idx="25708">
                  <c:v>0.45849830568931599</c:v>
                </c:pt>
                <c:pt idx="25709">
                  <c:v>0.458516140538612</c:v>
                </c:pt>
                <c:pt idx="25710">
                  <c:v>0.45853397538790702</c:v>
                </c:pt>
                <c:pt idx="25711">
                  <c:v>0.45855181023720298</c:v>
                </c:pt>
                <c:pt idx="25712">
                  <c:v>0.458569645086499</c:v>
                </c:pt>
                <c:pt idx="25713">
                  <c:v>0.45858747993579402</c:v>
                </c:pt>
                <c:pt idx="25714">
                  <c:v>0.45860531478508998</c:v>
                </c:pt>
                <c:pt idx="25715">
                  <c:v>0.458623149634385</c:v>
                </c:pt>
                <c:pt idx="25716">
                  <c:v>0.45864098448368101</c:v>
                </c:pt>
                <c:pt idx="25717">
                  <c:v>0.45865881933297598</c:v>
                </c:pt>
                <c:pt idx="25718">
                  <c:v>0.45867665418227199</c:v>
                </c:pt>
                <c:pt idx="25719">
                  <c:v>0.45869448903156701</c:v>
                </c:pt>
                <c:pt idx="25720">
                  <c:v>0.45871232388086303</c:v>
                </c:pt>
                <c:pt idx="25721">
                  <c:v>0.45873015873015799</c:v>
                </c:pt>
                <c:pt idx="25722">
                  <c:v>0.45874799357945401</c:v>
                </c:pt>
                <c:pt idx="25723">
                  <c:v>0.45876582842874902</c:v>
                </c:pt>
                <c:pt idx="25724">
                  <c:v>0.45878366327804498</c:v>
                </c:pt>
                <c:pt idx="25725">
                  <c:v>0.45880149812734</c:v>
                </c:pt>
                <c:pt idx="25726">
                  <c:v>0.45881933297663602</c:v>
                </c:pt>
                <c:pt idx="25727">
                  <c:v>0.45883716782593098</c:v>
                </c:pt>
                <c:pt idx="25728">
                  <c:v>0.458855002675227</c:v>
                </c:pt>
                <c:pt idx="25729">
                  <c:v>0.45887283752452201</c:v>
                </c:pt>
                <c:pt idx="25730">
                  <c:v>0.45889067237381798</c:v>
                </c:pt>
                <c:pt idx="25731">
                  <c:v>0.45890850722311299</c:v>
                </c:pt>
                <c:pt idx="25732">
                  <c:v>0.45892634207240901</c:v>
                </c:pt>
                <c:pt idx="25733">
                  <c:v>0.45894417692170503</c:v>
                </c:pt>
                <c:pt idx="25734">
                  <c:v>0.45896201177099999</c:v>
                </c:pt>
                <c:pt idx="25735">
                  <c:v>0.45897984662029601</c:v>
                </c:pt>
                <c:pt idx="25736">
                  <c:v>0.45899768146959102</c:v>
                </c:pt>
                <c:pt idx="25737">
                  <c:v>0.45901551631888698</c:v>
                </c:pt>
                <c:pt idx="25738">
                  <c:v>0.459033351168182</c:v>
                </c:pt>
                <c:pt idx="25739">
                  <c:v>0.45905118601747802</c:v>
                </c:pt>
                <c:pt idx="25740">
                  <c:v>0.45906902086677298</c:v>
                </c:pt>
                <c:pt idx="25741">
                  <c:v>0.459086855716069</c:v>
                </c:pt>
                <c:pt idx="25742">
                  <c:v>0.45910469056536402</c:v>
                </c:pt>
                <c:pt idx="25743">
                  <c:v>0.45912252541465998</c:v>
                </c:pt>
                <c:pt idx="25744">
                  <c:v>0.45914036026395499</c:v>
                </c:pt>
                <c:pt idx="25745">
                  <c:v>0.45915819511325101</c:v>
                </c:pt>
                <c:pt idx="25746">
                  <c:v>0.45917602996254597</c:v>
                </c:pt>
                <c:pt idx="25747">
                  <c:v>0.45919386481184199</c:v>
                </c:pt>
                <c:pt idx="25748">
                  <c:v>0.45921169966113701</c:v>
                </c:pt>
                <c:pt idx="25749">
                  <c:v>0.45922953451043302</c:v>
                </c:pt>
                <c:pt idx="25750">
                  <c:v>0.45924736935972799</c:v>
                </c:pt>
                <c:pt idx="25751">
                  <c:v>0.459265204209024</c:v>
                </c:pt>
                <c:pt idx="25752">
                  <c:v>0.45928303905831902</c:v>
                </c:pt>
                <c:pt idx="25753">
                  <c:v>0.45930087390761498</c:v>
                </c:pt>
                <c:pt idx="25754">
                  <c:v>0.459318708756911</c:v>
                </c:pt>
                <c:pt idx="25755">
                  <c:v>0.45933654360620602</c:v>
                </c:pt>
                <c:pt idx="25756">
                  <c:v>0.45935437845550198</c:v>
                </c:pt>
                <c:pt idx="25757">
                  <c:v>0.45937221330479699</c:v>
                </c:pt>
                <c:pt idx="25758">
                  <c:v>0.45939004815409301</c:v>
                </c:pt>
                <c:pt idx="25759">
                  <c:v>0.45940788300338797</c:v>
                </c:pt>
                <c:pt idx="25760">
                  <c:v>0.45942571785268399</c:v>
                </c:pt>
                <c:pt idx="25761">
                  <c:v>0.45944355270197901</c:v>
                </c:pt>
                <c:pt idx="25762">
                  <c:v>0.45946138755127502</c:v>
                </c:pt>
                <c:pt idx="25763">
                  <c:v>0.45947922240056999</c:v>
                </c:pt>
                <c:pt idx="25764">
                  <c:v>0.459497057249866</c:v>
                </c:pt>
                <c:pt idx="25765">
                  <c:v>0.45951489209916102</c:v>
                </c:pt>
                <c:pt idx="25766">
                  <c:v>0.45953272694845698</c:v>
                </c:pt>
                <c:pt idx="25767">
                  <c:v>0.459550561797752</c:v>
                </c:pt>
                <c:pt idx="25768">
                  <c:v>0.45956839664704802</c:v>
                </c:pt>
                <c:pt idx="25769">
                  <c:v>0.45958623149634298</c:v>
                </c:pt>
                <c:pt idx="25770">
                  <c:v>0.459604066345639</c:v>
                </c:pt>
                <c:pt idx="25771">
                  <c:v>0.45962190119493401</c:v>
                </c:pt>
                <c:pt idx="25772">
                  <c:v>0.45963973604422997</c:v>
                </c:pt>
                <c:pt idx="25773">
                  <c:v>0.45965757089352499</c:v>
                </c:pt>
                <c:pt idx="25774">
                  <c:v>0.45967540574282101</c:v>
                </c:pt>
                <c:pt idx="25775">
                  <c:v>0.45969324059211603</c:v>
                </c:pt>
                <c:pt idx="25776">
                  <c:v>0.45971107544141199</c:v>
                </c:pt>
                <c:pt idx="25777">
                  <c:v>0.459728910290708</c:v>
                </c:pt>
                <c:pt idx="25778">
                  <c:v>0.45974674514000302</c:v>
                </c:pt>
                <c:pt idx="25779">
                  <c:v>0.45976457998929898</c:v>
                </c:pt>
                <c:pt idx="25780">
                  <c:v>0.459782414838594</c:v>
                </c:pt>
                <c:pt idx="25781">
                  <c:v>0.45980024968789002</c:v>
                </c:pt>
                <c:pt idx="25782">
                  <c:v>0.45981808453718498</c:v>
                </c:pt>
                <c:pt idx="25783">
                  <c:v>0.459835919386481</c:v>
                </c:pt>
                <c:pt idx="25784">
                  <c:v>0.45985375423577601</c:v>
                </c:pt>
                <c:pt idx="25785">
                  <c:v>0.45987158908507197</c:v>
                </c:pt>
                <c:pt idx="25786">
                  <c:v>0.45988942393436699</c:v>
                </c:pt>
                <c:pt idx="25787">
                  <c:v>0.45990725878366301</c:v>
                </c:pt>
                <c:pt idx="25788">
                  <c:v>0.45992509363295803</c:v>
                </c:pt>
                <c:pt idx="25789">
                  <c:v>0.45994292848225399</c:v>
                </c:pt>
                <c:pt idx="25790">
                  <c:v>0.45996076333154901</c:v>
                </c:pt>
                <c:pt idx="25791">
                  <c:v>0.45997859818084502</c:v>
                </c:pt>
                <c:pt idx="25792">
                  <c:v>0.45999643303013998</c:v>
                </c:pt>
                <c:pt idx="25793">
                  <c:v>0.460014267879436</c:v>
                </c:pt>
                <c:pt idx="25794">
                  <c:v>0.46003210272873102</c:v>
                </c:pt>
                <c:pt idx="25795">
                  <c:v>0.46004993757802698</c:v>
                </c:pt>
                <c:pt idx="25796">
                  <c:v>0.460067772427323</c:v>
                </c:pt>
                <c:pt idx="25797">
                  <c:v>0.46008560727661801</c:v>
                </c:pt>
                <c:pt idx="25798">
                  <c:v>0.46010344212591398</c:v>
                </c:pt>
                <c:pt idx="25799">
                  <c:v>0.46012127697520899</c:v>
                </c:pt>
                <c:pt idx="25800">
                  <c:v>0.46013911182450501</c:v>
                </c:pt>
                <c:pt idx="25801">
                  <c:v>0.46015694667380003</c:v>
                </c:pt>
                <c:pt idx="25802">
                  <c:v>0.46017478152309599</c:v>
                </c:pt>
                <c:pt idx="25803">
                  <c:v>0.46019261637239101</c:v>
                </c:pt>
                <c:pt idx="25804">
                  <c:v>0.46021045122168702</c:v>
                </c:pt>
                <c:pt idx="25805">
                  <c:v>0.46022828607098198</c:v>
                </c:pt>
                <c:pt idx="25806">
                  <c:v>0.460246120920278</c:v>
                </c:pt>
                <c:pt idx="25807">
                  <c:v>0.46026395576957302</c:v>
                </c:pt>
                <c:pt idx="25808">
                  <c:v>0.46028179061886898</c:v>
                </c:pt>
                <c:pt idx="25809">
                  <c:v>0.460299625468164</c:v>
                </c:pt>
                <c:pt idx="25810">
                  <c:v>0.46031746031746001</c:v>
                </c:pt>
                <c:pt idx="25811">
                  <c:v>0.46033529516675498</c:v>
                </c:pt>
                <c:pt idx="25812">
                  <c:v>0.46035313001605099</c:v>
                </c:pt>
                <c:pt idx="25813">
                  <c:v>0.46037096486534601</c:v>
                </c:pt>
                <c:pt idx="25814">
                  <c:v>0.46038879971464203</c:v>
                </c:pt>
                <c:pt idx="25815">
                  <c:v>0.46040663456393699</c:v>
                </c:pt>
                <c:pt idx="25816">
                  <c:v>0.46042446941323301</c:v>
                </c:pt>
                <c:pt idx="25817">
                  <c:v>0.46044230426252802</c:v>
                </c:pt>
                <c:pt idx="25818">
                  <c:v>0.46046013911182399</c:v>
                </c:pt>
                <c:pt idx="25819">
                  <c:v>0.46047797396112</c:v>
                </c:pt>
                <c:pt idx="25820">
                  <c:v>0.46049580881041502</c:v>
                </c:pt>
                <c:pt idx="25821">
                  <c:v>0.46051364365971098</c:v>
                </c:pt>
                <c:pt idx="25822">
                  <c:v>0.460531478509006</c:v>
                </c:pt>
                <c:pt idx="25823">
                  <c:v>0.46054931335830201</c:v>
                </c:pt>
                <c:pt idx="25824">
                  <c:v>0.46056714820759698</c:v>
                </c:pt>
                <c:pt idx="25825">
                  <c:v>0.46058498305689299</c:v>
                </c:pt>
                <c:pt idx="25826">
                  <c:v>0.46060281790618801</c:v>
                </c:pt>
                <c:pt idx="25827">
                  <c:v>0.46062065275548397</c:v>
                </c:pt>
                <c:pt idx="25828">
                  <c:v>0.46063848760477899</c:v>
                </c:pt>
                <c:pt idx="25829">
                  <c:v>0.46065632245407501</c:v>
                </c:pt>
                <c:pt idx="25830">
                  <c:v>0.46067415730337002</c:v>
                </c:pt>
                <c:pt idx="25831">
                  <c:v>0.46069199215266599</c:v>
                </c:pt>
                <c:pt idx="25832">
                  <c:v>0.460709827001961</c:v>
                </c:pt>
                <c:pt idx="25833">
                  <c:v>0.46072766185125702</c:v>
                </c:pt>
                <c:pt idx="25834">
                  <c:v>0.46074549670055198</c:v>
                </c:pt>
                <c:pt idx="25835">
                  <c:v>0.460763331549848</c:v>
                </c:pt>
                <c:pt idx="25836">
                  <c:v>0.46078116639914302</c:v>
                </c:pt>
                <c:pt idx="25837">
                  <c:v>0.46079900124843898</c:v>
                </c:pt>
                <c:pt idx="25838">
                  <c:v>0.46081683609773499</c:v>
                </c:pt>
                <c:pt idx="25839">
                  <c:v>0.46083467094703001</c:v>
                </c:pt>
                <c:pt idx="25840">
                  <c:v>0.46085250579632597</c:v>
                </c:pt>
                <c:pt idx="25841">
                  <c:v>0.46087034064562099</c:v>
                </c:pt>
                <c:pt idx="25842">
                  <c:v>0.46088817549491701</c:v>
                </c:pt>
                <c:pt idx="25843">
                  <c:v>0.46090601034421202</c:v>
                </c:pt>
                <c:pt idx="25844">
                  <c:v>0.46092384519350799</c:v>
                </c:pt>
                <c:pt idx="25845">
                  <c:v>0.460941680042803</c:v>
                </c:pt>
                <c:pt idx="25846">
                  <c:v>0.46095951489209902</c:v>
                </c:pt>
                <c:pt idx="25847">
                  <c:v>0.46097734974139398</c:v>
                </c:pt>
                <c:pt idx="25848">
                  <c:v>0.46099518459069</c:v>
                </c:pt>
                <c:pt idx="25849">
                  <c:v>0.46101301943998502</c:v>
                </c:pt>
                <c:pt idx="25850">
                  <c:v>0.46103085428928098</c:v>
                </c:pt>
                <c:pt idx="25851">
                  <c:v>0.461048689138576</c:v>
                </c:pt>
                <c:pt idx="25852">
                  <c:v>0.46106652398787201</c:v>
                </c:pt>
                <c:pt idx="25853">
                  <c:v>0.46108435883716697</c:v>
                </c:pt>
                <c:pt idx="25854">
                  <c:v>0.46110219368646299</c:v>
                </c:pt>
                <c:pt idx="25855">
                  <c:v>0.46112002853575801</c:v>
                </c:pt>
                <c:pt idx="25856">
                  <c:v>0.46113786338505403</c:v>
                </c:pt>
                <c:pt idx="25857">
                  <c:v>0.46115569823434899</c:v>
                </c:pt>
                <c:pt idx="25858">
                  <c:v>0.461173533083645</c:v>
                </c:pt>
                <c:pt idx="25859">
                  <c:v>0.46119136793294002</c:v>
                </c:pt>
                <c:pt idx="25860">
                  <c:v>0.46120920278223598</c:v>
                </c:pt>
                <c:pt idx="25861">
                  <c:v>0.461227037631532</c:v>
                </c:pt>
                <c:pt idx="25862">
                  <c:v>0.46124487248082702</c:v>
                </c:pt>
                <c:pt idx="25863">
                  <c:v>0.46126270733012298</c:v>
                </c:pt>
                <c:pt idx="25864">
                  <c:v>0.461280542179418</c:v>
                </c:pt>
                <c:pt idx="25865">
                  <c:v>0.46129837702871401</c:v>
                </c:pt>
                <c:pt idx="25866">
                  <c:v>0.46131621187800897</c:v>
                </c:pt>
                <c:pt idx="25867">
                  <c:v>0.46133404672730499</c:v>
                </c:pt>
                <c:pt idx="25868">
                  <c:v>0.46135188157660001</c:v>
                </c:pt>
                <c:pt idx="25869">
                  <c:v>0.46136971642589603</c:v>
                </c:pt>
                <c:pt idx="25870">
                  <c:v>0.46138755127519099</c:v>
                </c:pt>
                <c:pt idx="25871">
                  <c:v>0.461405386124487</c:v>
                </c:pt>
                <c:pt idx="25872">
                  <c:v>0.46142322097378202</c:v>
                </c:pt>
                <c:pt idx="25873">
                  <c:v>0.46144105582307798</c:v>
                </c:pt>
                <c:pt idx="25874">
                  <c:v>0.461458890672373</c:v>
                </c:pt>
                <c:pt idx="25875">
                  <c:v>0.46147672552166902</c:v>
                </c:pt>
                <c:pt idx="25876">
                  <c:v>0.46149456037096398</c:v>
                </c:pt>
                <c:pt idx="25877">
                  <c:v>0.46151239522026</c:v>
                </c:pt>
                <c:pt idx="25878">
                  <c:v>0.46153023006955501</c:v>
                </c:pt>
                <c:pt idx="25879">
                  <c:v>0.46154806491885098</c:v>
                </c:pt>
                <c:pt idx="25880">
                  <c:v>0.46156589976814599</c:v>
                </c:pt>
                <c:pt idx="25881">
                  <c:v>0.46158373461744201</c:v>
                </c:pt>
                <c:pt idx="25882">
                  <c:v>0.46160156946673803</c:v>
                </c:pt>
                <c:pt idx="25883">
                  <c:v>0.46161940431603299</c:v>
                </c:pt>
                <c:pt idx="25884">
                  <c:v>0.46163723916532901</c:v>
                </c:pt>
                <c:pt idx="25885">
                  <c:v>0.46165507401462402</c:v>
                </c:pt>
                <c:pt idx="25886">
                  <c:v>0.46167290886391998</c:v>
                </c:pt>
                <c:pt idx="25887">
                  <c:v>0.461690743713215</c:v>
                </c:pt>
                <c:pt idx="25888">
                  <c:v>0.46170857856251102</c:v>
                </c:pt>
                <c:pt idx="25889">
                  <c:v>0.46172641341180598</c:v>
                </c:pt>
                <c:pt idx="25890">
                  <c:v>0.461744248261102</c:v>
                </c:pt>
                <c:pt idx="25891">
                  <c:v>0.46176208311039701</c:v>
                </c:pt>
                <c:pt idx="25892">
                  <c:v>0.46177991795969298</c:v>
                </c:pt>
                <c:pt idx="25893">
                  <c:v>0.46179775280898799</c:v>
                </c:pt>
                <c:pt idx="25894">
                  <c:v>0.46181558765828401</c:v>
                </c:pt>
                <c:pt idx="25895">
                  <c:v>0.46183342250757897</c:v>
                </c:pt>
                <c:pt idx="25896">
                  <c:v>0.46185125735687499</c:v>
                </c:pt>
                <c:pt idx="25897">
                  <c:v>0.46186909220617001</c:v>
                </c:pt>
                <c:pt idx="25898">
                  <c:v>0.46188692705546602</c:v>
                </c:pt>
                <c:pt idx="25899">
                  <c:v>0.46190476190476099</c:v>
                </c:pt>
                <c:pt idx="25900">
                  <c:v>0.461922596754057</c:v>
                </c:pt>
                <c:pt idx="25901">
                  <c:v>0.46194043160335202</c:v>
                </c:pt>
                <c:pt idx="25902">
                  <c:v>0.46195826645264798</c:v>
                </c:pt>
                <c:pt idx="25903">
                  <c:v>0.461976101301944</c:v>
                </c:pt>
                <c:pt idx="25904">
                  <c:v>0.46199393615123902</c:v>
                </c:pt>
                <c:pt idx="25905">
                  <c:v>0.46201177100053498</c:v>
                </c:pt>
                <c:pt idx="25906">
                  <c:v>0.46202960584982999</c:v>
                </c:pt>
                <c:pt idx="25907">
                  <c:v>0.46204744069912601</c:v>
                </c:pt>
                <c:pt idx="25908">
                  <c:v>0.46206527554842097</c:v>
                </c:pt>
                <c:pt idx="25909">
                  <c:v>0.46208311039771699</c:v>
                </c:pt>
                <c:pt idx="25910">
                  <c:v>0.46210094524701201</c:v>
                </c:pt>
                <c:pt idx="25911">
                  <c:v>0.46211878009630802</c:v>
                </c:pt>
                <c:pt idx="25912">
                  <c:v>0.46213661494560299</c:v>
                </c:pt>
                <c:pt idx="25913">
                  <c:v>0.462154449794899</c:v>
                </c:pt>
                <c:pt idx="25914">
                  <c:v>0.46217228464419402</c:v>
                </c:pt>
                <c:pt idx="25915">
                  <c:v>0.46219011949348998</c:v>
                </c:pt>
                <c:pt idx="25916">
                  <c:v>0.462207954342785</c:v>
                </c:pt>
                <c:pt idx="25917">
                  <c:v>0.46222578919208102</c:v>
                </c:pt>
                <c:pt idx="25918">
                  <c:v>0.46224362404137598</c:v>
                </c:pt>
                <c:pt idx="25919">
                  <c:v>0.46226145889067199</c:v>
                </c:pt>
                <c:pt idx="25920">
                  <c:v>0.46227929373996701</c:v>
                </c:pt>
                <c:pt idx="25921">
                  <c:v>0.46229712858926297</c:v>
                </c:pt>
                <c:pt idx="25922">
                  <c:v>0.46231496343855799</c:v>
                </c:pt>
                <c:pt idx="25923">
                  <c:v>0.46233279828785401</c:v>
                </c:pt>
                <c:pt idx="25924">
                  <c:v>0.46235063313714903</c:v>
                </c:pt>
                <c:pt idx="25925">
                  <c:v>0.46236846798644499</c:v>
                </c:pt>
                <c:pt idx="25926">
                  <c:v>0.462386302835741</c:v>
                </c:pt>
                <c:pt idx="25927">
                  <c:v>0.46240413768503602</c:v>
                </c:pt>
                <c:pt idx="25928">
                  <c:v>0.46242197253433198</c:v>
                </c:pt>
                <c:pt idx="25929">
                  <c:v>0.462439807383627</c:v>
                </c:pt>
                <c:pt idx="25930">
                  <c:v>0.46245764223292302</c:v>
                </c:pt>
                <c:pt idx="25931">
                  <c:v>0.46247547708221798</c:v>
                </c:pt>
                <c:pt idx="25932">
                  <c:v>0.462493311931514</c:v>
                </c:pt>
                <c:pt idx="25933">
                  <c:v>0.46251114678080901</c:v>
                </c:pt>
                <c:pt idx="25934">
                  <c:v>0.46252898163010497</c:v>
                </c:pt>
                <c:pt idx="25935">
                  <c:v>0.46254681647939999</c:v>
                </c:pt>
                <c:pt idx="25936">
                  <c:v>0.46256465132869601</c:v>
                </c:pt>
                <c:pt idx="25937">
                  <c:v>0.46258248617799103</c:v>
                </c:pt>
                <c:pt idx="25938">
                  <c:v>0.46260032102728699</c:v>
                </c:pt>
                <c:pt idx="25939">
                  <c:v>0.462618155876582</c:v>
                </c:pt>
                <c:pt idx="25940">
                  <c:v>0.46263599072587802</c:v>
                </c:pt>
                <c:pt idx="25941">
                  <c:v>0.46265382557517298</c:v>
                </c:pt>
                <c:pt idx="25942">
                  <c:v>0.462671660424469</c:v>
                </c:pt>
                <c:pt idx="25943">
                  <c:v>0.46268949527376402</c:v>
                </c:pt>
                <c:pt idx="25944">
                  <c:v>0.46270733012305998</c:v>
                </c:pt>
                <c:pt idx="25945">
                  <c:v>0.462725164972356</c:v>
                </c:pt>
                <c:pt idx="25946">
                  <c:v>0.46274299982165101</c:v>
                </c:pt>
                <c:pt idx="25947">
                  <c:v>0.46276083467094697</c:v>
                </c:pt>
                <c:pt idx="25948">
                  <c:v>0.46277866952024199</c:v>
                </c:pt>
                <c:pt idx="25949">
                  <c:v>0.46279650436953801</c:v>
                </c:pt>
                <c:pt idx="25950">
                  <c:v>0.46281433921883303</c:v>
                </c:pt>
                <c:pt idx="25951">
                  <c:v>0.46283217406812899</c:v>
                </c:pt>
                <c:pt idx="25952">
                  <c:v>0.46285000891742401</c:v>
                </c:pt>
                <c:pt idx="25953">
                  <c:v>0.46286784376672002</c:v>
                </c:pt>
                <c:pt idx="25954">
                  <c:v>0.46288567861601498</c:v>
                </c:pt>
                <c:pt idx="25955">
                  <c:v>0.462903513465311</c:v>
                </c:pt>
                <c:pt idx="25956">
                  <c:v>0.46292134831460602</c:v>
                </c:pt>
                <c:pt idx="25957">
                  <c:v>0.46293918316390198</c:v>
                </c:pt>
                <c:pt idx="25958">
                  <c:v>0.462957018013197</c:v>
                </c:pt>
                <c:pt idx="25959">
                  <c:v>0.46297485286249301</c:v>
                </c:pt>
                <c:pt idx="25960">
                  <c:v>0.46299268771178798</c:v>
                </c:pt>
                <c:pt idx="25961">
                  <c:v>0.46301052256108399</c:v>
                </c:pt>
                <c:pt idx="25962">
                  <c:v>0.46302835741037901</c:v>
                </c:pt>
                <c:pt idx="25963">
                  <c:v>0.46304619225967503</c:v>
                </c:pt>
                <c:pt idx="25964">
                  <c:v>0.46306402710896999</c:v>
                </c:pt>
                <c:pt idx="25965">
                  <c:v>0.46308186195826601</c:v>
                </c:pt>
                <c:pt idx="25966">
                  <c:v>0.46309969680756102</c:v>
                </c:pt>
                <c:pt idx="25967">
                  <c:v>0.46311753165685698</c:v>
                </c:pt>
                <c:pt idx="25968">
                  <c:v>0.463135366506153</c:v>
                </c:pt>
                <c:pt idx="25969">
                  <c:v>0.46315320135544802</c:v>
                </c:pt>
                <c:pt idx="25970">
                  <c:v>0.46317103620474398</c:v>
                </c:pt>
                <c:pt idx="25971">
                  <c:v>0.463188871054039</c:v>
                </c:pt>
                <c:pt idx="25972">
                  <c:v>0.46320670590333501</c:v>
                </c:pt>
                <c:pt idx="25973">
                  <c:v>0.46322454075262998</c:v>
                </c:pt>
                <c:pt idx="25974">
                  <c:v>0.46324237560192599</c:v>
                </c:pt>
                <c:pt idx="25975">
                  <c:v>0.46326021045122101</c:v>
                </c:pt>
                <c:pt idx="25976">
                  <c:v>0.46327804530051703</c:v>
                </c:pt>
                <c:pt idx="25977">
                  <c:v>0.46329588014981199</c:v>
                </c:pt>
                <c:pt idx="25978">
                  <c:v>0.46331371499910801</c:v>
                </c:pt>
                <c:pt idx="25979">
                  <c:v>0.46333154984840302</c:v>
                </c:pt>
                <c:pt idx="25980">
                  <c:v>0.46334938469769898</c:v>
                </c:pt>
                <c:pt idx="25981">
                  <c:v>0.463367219546994</c:v>
                </c:pt>
                <c:pt idx="25982">
                  <c:v>0.46338505439629002</c:v>
                </c:pt>
                <c:pt idx="25983">
                  <c:v>0.46340288924558498</c:v>
                </c:pt>
                <c:pt idx="25984">
                  <c:v>0.463420724094881</c:v>
                </c:pt>
                <c:pt idx="25985">
                  <c:v>0.46343855894417602</c:v>
                </c:pt>
                <c:pt idx="25986">
                  <c:v>0.46345639379347198</c:v>
                </c:pt>
                <c:pt idx="25987">
                  <c:v>0.46347422864276799</c:v>
                </c:pt>
                <c:pt idx="25988">
                  <c:v>0.46349206349206301</c:v>
                </c:pt>
                <c:pt idx="25989">
                  <c:v>0.46350989834135897</c:v>
                </c:pt>
                <c:pt idx="25990">
                  <c:v>0.46352773319065399</c:v>
                </c:pt>
                <c:pt idx="25991">
                  <c:v>0.46354556803995001</c:v>
                </c:pt>
                <c:pt idx="25992">
                  <c:v>0.46356340288924502</c:v>
                </c:pt>
                <c:pt idx="25993">
                  <c:v>0.46358123773854099</c:v>
                </c:pt>
                <c:pt idx="25994">
                  <c:v>0.463599072587836</c:v>
                </c:pt>
                <c:pt idx="25995">
                  <c:v>0.46361690743713202</c:v>
                </c:pt>
                <c:pt idx="25996">
                  <c:v>0.46363474228642698</c:v>
                </c:pt>
                <c:pt idx="25997">
                  <c:v>0.463652577135723</c:v>
                </c:pt>
                <c:pt idx="25998">
                  <c:v>0.46367041198501802</c:v>
                </c:pt>
                <c:pt idx="25999">
                  <c:v>0.46368824683431398</c:v>
                </c:pt>
                <c:pt idx="26000">
                  <c:v>0.46370608168360899</c:v>
                </c:pt>
                <c:pt idx="26001">
                  <c:v>0.46372391653290501</c:v>
                </c:pt>
                <c:pt idx="26002">
                  <c:v>0.46374175138219997</c:v>
                </c:pt>
                <c:pt idx="26003">
                  <c:v>0.46375958623149599</c:v>
                </c:pt>
                <c:pt idx="26004">
                  <c:v>0.46377742108079101</c:v>
                </c:pt>
                <c:pt idx="26005">
                  <c:v>0.46379525593008702</c:v>
                </c:pt>
                <c:pt idx="26006">
                  <c:v>0.46381309077938199</c:v>
                </c:pt>
                <c:pt idx="26007">
                  <c:v>0.463830925628678</c:v>
                </c:pt>
                <c:pt idx="26008">
                  <c:v>0.46384876047797302</c:v>
                </c:pt>
                <c:pt idx="26009">
                  <c:v>0.46386659532726898</c:v>
                </c:pt>
                <c:pt idx="26010">
                  <c:v>0.463884430176565</c:v>
                </c:pt>
                <c:pt idx="26011">
                  <c:v>0.46390226502586002</c:v>
                </c:pt>
                <c:pt idx="26012">
                  <c:v>0.46392009987515598</c:v>
                </c:pt>
                <c:pt idx="26013">
                  <c:v>0.463937934724451</c:v>
                </c:pt>
                <c:pt idx="26014">
                  <c:v>0.46395576957374701</c:v>
                </c:pt>
                <c:pt idx="26015">
                  <c:v>0.46397360442304197</c:v>
                </c:pt>
                <c:pt idx="26016">
                  <c:v>0.46399143927233799</c:v>
                </c:pt>
                <c:pt idx="26017">
                  <c:v>0.46400927412163301</c:v>
                </c:pt>
                <c:pt idx="26018">
                  <c:v>0.46402710897092903</c:v>
                </c:pt>
                <c:pt idx="26019">
                  <c:v>0.46404494382022399</c:v>
                </c:pt>
                <c:pt idx="26020">
                  <c:v>0.46406277866952</c:v>
                </c:pt>
                <c:pt idx="26021">
                  <c:v>0.46408061351881502</c:v>
                </c:pt>
                <c:pt idx="26022">
                  <c:v>0.46409844836811098</c:v>
                </c:pt>
                <c:pt idx="26023">
                  <c:v>0.464116283217406</c:v>
                </c:pt>
                <c:pt idx="26024">
                  <c:v>0.46413411806670202</c:v>
                </c:pt>
                <c:pt idx="26025">
                  <c:v>0.46415195291599698</c:v>
                </c:pt>
                <c:pt idx="26026">
                  <c:v>0.464169787765293</c:v>
                </c:pt>
                <c:pt idx="26027">
                  <c:v>0.46418762261458801</c:v>
                </c:pt>
                <c:pt idx="26028">
                  <c:v>0.46420545746388397</c:v>
                </c:pt>
                <c:pt idx="26029">
                  <c:v>0.46422329231317899</c:v>
                </c:pt>
                <c:pt idx="26030">
                  <c:v>0.46424112716247501</c:v>
                </c:pt>
                <c:pt idx="26031">
                  <c:v>0.46425896201177103</c:v>
                </c:pt>
                <c:pt idx="26032">
                  <c:v>0.46427679686106599</c:v>
                </c:pt>
                <c:pt idx="26033">
                  <c:v>0.464294631710362</c:v>
                </c:pt>
                <c:pt idx="26034">
                  <c:v>0.46431246655965702</c:v>
                </c:pt>
                <c:pt idx="26035">
                  <c:v>0.46433030140895298</c:v>
                </c:pt>
                <c:pt idx="26036">
                  <c:v>0.464348136258248</c:v>
                </c:pt>
                <c:pt idx="26037">
                  <c:v>0.46436597110754402</c:v>
                </c:pt>
                <c:pt idx="26038">
                  <c:v>0.46438380595683898</c:v>
                </c:pt>
                <c:pt idx="26039">
                  <c:v>0.464401640806135</c:v>
                </c:pt>
                <c:pt idx="26040">
                  <c:v>0.46441947565543001</c:v>
                </c:pt>
                <c:pt idx="26041">
                  <c:v>0.46443731050472598</c:v>
                </c:pt>
                <c:pt idx="26042">
                  <c:v>0.46445514535402099</c:v>
                </c:pt>
                <c:pt idx="26043">
                  <c:v>0.46447298020331701</c:v>
                </c:pt>
                <c:pt idx="26044">
                  <c:v>0.46449081505261203</c:v>
                </c:pt>
                <c:pt idx="26045">
                  <c:v>0.46450864990190799</c:v>
                </c:pt>
                <c:pt idx="26046">
                  <c:v>0.46452648475120301</c:v>
                </c:pt>
                <c:pt idx="26047">
                  <c:v>0.46454431960049902</c:v>
                </c:pt>
                <c:pt idx="26048">
                  <c:v>0.46456215444979398</c:v>
                </c:pt>
                <c:pt idx="26049">
                  <c:v>0.46457998929909</c:v>
                </c:pt>
                <c:pt idx="26050">
                  <c:v>0.46459782414838502</c:v>
                </c:pt>
                <c:pt idx="26051">
                  <c:v>0.46461565899768098</c:v>
                </c:pt>
                <c:pt idx="26052">
                  <c:v>0.464633493846977</c:v>
                </c:pt>
                <c:pt idx="26053">
                  <c:v>0.46465132869627201</c:v>
                </c:pt>
                <c:pt idx="26054">
                  <c:v>0.46466916354556798</c:v>
                </c:pt>
                <c:pt idx="26055">
                  <c:v>0.46468699839486299</c:v>
                </c:pt>
                <c:pt idx="26056">
                  <c:v>0.46470483324415901</c:v>
                </c:pt>
                <c:pt idx="26057">
                  <c:v>0.46472266809345403</c:v>
                </c:pt>
                <c:pt idx="26058">
                  <c:v>0.46474050294274999</c:v>
                </c:pt>
                <c:pt idx="26059">
                  <c:v>0.46475833779204501</c:v>
                </c:pt>
                <c:pt idx="26060">
                  <c:v>0.46477617264134102</c:v>
                </c:pt>
                <c:pt idx="26061">
                  <c:v>0.46479400749063599</c:v>
                </c:pt>
                <c:pt idx="26062">
                  <c:v>0.464811842339932</c:v>
                </c:pt>
                <c:pt idx="26063">
                  <c:v>0.46482967718922702</c:v>
                </c:pt>
                <c:pt idx="26064">
                  <c:v>0.46484751203852298</c:v>
                </c:pt>
                <c:pt idx="26065">
                  <c:v>0.464865346887818</c:v>
                </c:pt>
                <c:pt idx="26066">
                  <c:v>0.46488318173711402</c:v>
                </c:pt>
                <c:pt idx="26067">
                  <c:v>0.46490101658640898</c:v>
                </c:pt>
                <c:pt idx="26068">
                  <c:v>0.46491885143570499</c:v>
                </c:pt>
                <c:pt idx="26069">
                  <c:v>0.46493668628500001</c:v>
                </c:pt>
                <c:pt idx="26070">
                  <c:v>0.46495452113429597</c:v>
                </c:pt>
                <c:pt idx="26071">
                  <c:v>0.46497235598359099</c:v>
                </c:pt>
                <c:pt idx="26072">
                  <c:v>0.46499019083288701</c:v>
                </c:pt>
                <c:pt idx="26073">
                  <c:v>0.46500802568218202</c:v>
                </c:pt>
                <c:pt idx="26074">
                  <c:v>0.46502586053147799</c:v>
                </c:pt>
                <c:pt idx="26075">
                  <c:v>0.465043695380774</c:v>
                </c:pt>
                <c:pt idx="26076">
                  <c:v>0.46506153023006902</c:v>
                </c:pt>
                <c:pt idx="26077">
                  <c:v>0.46507936507936498</c:v>
                </c:pt>
                <c:pt idx="26078">
                  <c:v>0.46509719992866</c:v>
                </c:pt>
                <c:pt idx="26079">
                  <c:v>0.46511503477795602</c:v>
                </c:pt>
                <c:pt idx="26080">
                  <c:v>0.46513286962725098</c:v>
                </c:pt>
                <c:pt idx="26081">
                  <c:v>0.46515070447654699</c:v>
                </c:pt>
                <c:pt idx="26082">
                  <c:v>0.46516853932584201</c:v>
                </c:pt>
                <c:pt idx="26083">
                  <c:v>0.46518637417513797</c:v>
                </c:pt>
                <c:pt idx="26084">
                  <c:v>0.46520420902443299</c:v>
                </c:pt>
                <c:pt idx="26085">
                  <c:v>0.46522204387372901</c:v>
                </c:pt>
                <c:pt idx="26086">
                  <c:v>0.46523987872302403</c:v>
                </c:pt>
                <c:pt idx="26087">
                  <c:v>0.46525771357231999</c:v>
                </c:pt>
                <c:pt idx="26088">
                  <c:v>0.465275548421615</c:v>
                </c:pt>
                <c:pt idx="26089">
                  <c:v>0.46529338327091102</c:v>
                </c:pt>
                <c:pt idx="26090">
                  <c:v>0.46531121812020598</c:v>
                </c:pt>
                <c:pt idx="26091">
                  <c:v>0.465329052969502</c:v>
                </c:pt>
                <c:pt idx="26092">
                  <c:v>0.46534688781879702</c:v>
                </c:pt>
                <c:pt idx="26093">
                  <c:v>0.46536472266809298</c:v>
                </c:pt>
                <c:pt idx="26094">
                  <c:v>0.465382557517389</c:v>
                </c:pt>
                <c:pt idx="26095">
                  <c:v>0.46540039236668401</c:v>
                </c:pt>
                <c:pt idx="26096">
                  <c:v>0.46541822721597997</c:v>
                </c:pt>
                <c:pt idx="26097">
                  <c:v>0.46543606206527499</c:v>
                </c:pt>
                <c:pt idx="26098">
                  <c:v>0.46545389691457101</c:v>
                </c:pt>
                <c:pt idx="26099">
                  <c:v>0.46547173176386603</c:v>
                </c:pt>
                <c:pt idx="26100">
                  <c:v>0.46548956661316199</c:v>
                </c:pt>
                <c:pt idx="26101">
                  <c:v>0.465507401462457</c:v>
                </c:pt>
                <c:pt idx="26102">
                  <c:v>0.46552523631175302</c:v>
                </c:pt>
                <c:pt idx="26103">
                  <c:v>0.46554307116104798</c:v>
                </c:pt>
                <c:pt idx="26104">
                  <c:v>0.465560906010344</c:v>
                </c:pt>
                <c:pt idx="26105">
                  <c:v>0.46557874085963902</c:v>
                </c:pt>
                <c:pt idx="26106">
                  <c:v>0.46559657570893498</c:v>
                </c:pt>
                <c:pt idx="26107">
                  <c:v>0.46561441055823</c:v>
                </c:pt>
                <c:pt idx="26108">
                  <c:v>0.46563224540752601</c:v>
                </c:pt>
                <c:pt idx="26109">
                  <c:v>0.46565008025682098</c:v>
                </c:pt>
                <c:pt idx="26110">
                  <c:v>0.46566791510611699</c:v>
                </c:pt>
                <c:pt idx="26111">
                  <c:v>0.46568574995541201</c:v>
                </c:pt>
                <c:pt idx="26112">
                  <c:v>0.46570358480470803</c:v>
                </c:pt>
                <c:pt idx="26113">
                  <c:v>0.46572141965400299</c:v>
                </c:pt>
                <c:pt idx="26114">
                  <c:v>0.465739254503299</c:v>
                </c:pt>
                <c:pt idx="26115">
                  <c:v>0.46575708935259402</c:v>
                </c:pt>
                <c:pt idx="26116">
                  <c:v>0.46577492420188998</c:v>
                </c:pt>
                <c:pt idx="26117">
                  <c:v>0.465792759051186</c:v>
                </c:pt>
                <c:pt idx="26118">
                  <c:v>0.46581059390048102</c:v>
                </c:pt>
                <c:pt idx="26119">
                  <c:v>0.46582842874977698</c:v>
                </c:pt>
                <c:pt idx="26120">
                  <c:v>0.465846263599072</c:v>
                </c:pt>
                <c:pt idx="26121">
                  <c:v>0.46586409844836801</c:v>
                </c:pt>
                <c:pt idx="26122">
                  <c:v>0.46588193329766298</c:v>
                </c:pt>
                <c:pt idx="26123">
                  <c:v>0.46589976814695899</c:v>
                </c:pt>
                <c:pt idx="26124">
                  <c:v>0.46591760299625401</c:v>
                </c:pt>
                <c:pt idx="26125">
                  <c:v>0.46593543784555003</c:v>
                </c:pt>
                <c:pt idx="26126">
                  <c:v>0.46595327269484499</c:v>
                </c:pt>
                <c:pt idx="26127">
                  <c:v>0.46597110754414101</c:v>
                </c:pt>
                <c:pt idx="26128">
                  <c:v>0.46598894239343602</c:v>
                </c:pt>
                <c:pt idx="26129">
                  <c:v>0.46600677724273198</c:v>
                </c:pt>
                <c:pt idx="26130">
                  <c:v>0.466024612092027</c:v>
                </c:pt>
                <c:pt idx="26131">
                  <c:v>0.46604244694132302</c:v>
                </c:pt>
                <c:pt idx="26132">
                  <c:v>0.46606028179061798</c:v>
                </c:pt>
                <c:pt idx="26133">
                  <c:v>0.466078116639914</c:v>
                </c:pt>
                <c:pt idx="26134">
                  <c:v>0.46609595148920901</c:v>
                </c:pt>
                <c:pt idx="26135">
                  <c:v>0.46611378633850498</c:v>
                </c:pt>
                <c:pt idx="26136">
                  <c:v>0.46613162118779999</c:v>
                </c:pt>
                <c:pt idx="26137">
                  <c:v>0.46614945603709601</c:v>
                </c:pt>
                <c:pt idx="26138">
                  <c:v>0.46616729088639203</c:v>
                </c:pt>
                <c:pt idx="26139">
                  <c:v>0.46618512573568699</c:v>
                </c:pt>
                <c:pt idx="26140">
                  <c:v>0.46620296058498301</c:v>
                </c:pt>
                <c:pt idx="26141">
                  <c:v>0.46622079543427802</c:v>
                </c:pt>
                <c:pt idx="26142">
                  <c:v>0.46623863028357398</c:v>
                </c:pt>
                <c:pt idx="26143">
                  <c:v>0.466256465132869</c:v>
                </c:pt>
                <c:pt idx="26144">
                  <c:v>0.46627429998216502</c:v>
                </c:pt>
                <c:pt idx="26145">
                  <c:v>0.46629213483145998</c:v>
                </c:pt>
                <c:pt idx="26146">
                  <c:v>0.466309969680756</c:v>
                </c:pt>
                <c:pt idx="26147">
                  <c:v>0.46632780453005102</c:v>
                </c:pt>
                <c:pt idx="26148">
                  <c:v>0.46634563937934698</c:v>
                </c:pt>
                <c:pt idx="26149">
                  <c:v>0.46636347422864199</c:v>
                </c:pt>
                <c:pt idx="26150">
                  <c:v>0.46638130907793801</c:v>
                </c:pt>
                <c:pt idx="26151">
                  <c:v>0.46639914392723297</c:v>
                </c:pt>
                <c:pt idx="26152">
                  <c:v>0.46641697877652899</c:v>
                </c:pt>
                <c:pt idx="26153">
                  <c:v>0.46643481362582401</c:v>
                </c:pt>
                <c:pt idx="26154">
                  <c:v>0.46645264847512002</c:v>
                </c:pt>
                <c:pt idx="26155">
                  <c:v>0.46647048332441499</c:v>
                </c:pt>
                <c:pt idx="26156">
                  <c:v>0.466488318173711</c:v>
                </c:pt>
                <c:pt idx="26157">
                  <c:v>0.46650615302300602</c:v>
                </c:pt>
                <c:pt idx="26158">
                  <c:v>0.46652398787230198</c:v>
                </c:pt>
                <c:pt idx="26159">
                  <c:v>0.466541822721598</c:v>
                </c:pt>
                <c:pt idx="26160">
                  <c:v>0.46655965757089302</c:v>
                </c:pt>
                <c:pt idx="26161">
                  <c:v>0.46657749242018898</c:v>
                </c:pt>
                <c:pt idx="26162">
                  <c:v>0.46659532726948399</c:v>
                </c:pt>
                <c:pt idx="26163">
                  <c:v>0.46661316211878001</c:v>
                </c:pt>
                <c:pt idx="26164">
                  <c:v>0.46663099696807497</c:v>
                </c:pt>
                <c:pt idx="26165">
                  <c:v>0.46664883181737099</c:v>
                </c:pt>
                <c:pt idx="26166">
                  <c:v>0.46666666666666601</c:v>
                </c:pt>
                <c:pt idx="26167">
                  <c:v>0.46668450151596202</c:v>
                </c:pt>
                <c:pt idx="26168">
                  <c:v>0.46670233636525699</c:v>
                </c:pt>
                <c:pt idx="26169">
                  <c:v>0.466720171214553</c:v>
                </c:pt>
                <c:pt idx="26170">
                  <c:v>0.46673800606384802</c:v>
                </c:pt>
                <c:pt idx="26171">
                  <c:v>0.46675584091314398</c:v>
                </c:pt>
                <c:pt idx="26172">
                  <c:v>0.466773675762439</c:v>
                </c:pt>
                <c:pt idx="26173">
                  <c:v>0.46679151061173502</c:v>
                </c:pt>
                <c:pt idx="26174">
                  <c:v>0.46680934546102998</c:v>
                </c:pt>
                <c:pt idx="26175">
                  <c:v>0.466827180310326</c:v>
                </c:pt>
                <c:pt idx="26176">
                  <c:v>0.46684501515962101</c:v>
                </c:pt>
                <c:pt idx="26177">
                  <c:v>0.46686285000891697</c:v>
                </c:pt>
                <c:pt idx="26178">
                  <c:v>0.46688068485821199</c:v>
                </c:pt>
                <c:pt idx="26179">
                  <c:v>0.46689851970750801</c:v>
                </c:pt>
                <c:pt idx="26180">
                  <c:v>0.46691635455680303</c:v>
                </c:pt>
                <c:pt idx="26181">
                  <c:v>0.46693418940609899</c:v>
                </c:pt>
                <c:pt idx="26182">
                  <c:v>0.466952024255395</c:v>
                </c:pt>
                <c:pt idx="26183">
                  <c:v>0.46696985910469002</c:v>
                </c:pt>
                <c:pt idx="26184">
                  <c:v>0.46698769395398598</c:v>
                </c:pt>
                <c:pt idx="26185">
                  <c:v>0.467005528803281</c:v>
                </c:pt>
                <c:pt idx="26186">
                  <c:v>0.46702336365257702</c:v>
                </c:pt>
                <c:pt idx="26187">
                  <c:v>0.46704119850187198</c:v>
                </c:pt>
                <c:pt idx="26188">
                  <c:v>0.467059033351168</c:v>
                </c:pt>
                <c:pt idx="26189">
                  <c:v>0.46707686820046301</c:v>
                </c:pt>
                <c:pt idx="26190">
                  <c:v>0.46709470304975897</c:v>
                </c:pt>
                <c:pt idx="26191">
                  <c:v>0.46711253789905399</c:v>
                </c:pt>
                <c:pt idx="26192">
                  <c:v>0.46713037274835001</c:v>
                </c:pt>
                <c:pt idx="26193">
                  <c:v>0.46714820759764503</c:v>
                </c:pt>
                <c:pt idx="26194">
                  <c:v>0.46716604244694099</c:v>
                </c:pt>
                <c:pt idx="26195">
                  <c:v>0.46718387729623601</c:v>
                </c:pt>
                <c:pt idx="26196">
                  <c:v>0.46720171214553202</c:v>
                </c:pt>
                <c:pt idx="26197">
                  <c:v>0.46721954699482698</c:v>
                </c:pt>
                <c:pt idx="26198">
                  <c:v>0.467237381844123</c:v>
                </c:pt>
                <c:pt idx="26199">
                  <c:v>0.46725521669341802</c:v>
                </c:pt>
                <c:pt idx="26200">
                  <c:v>0.46727305154271398</c:v>
                </c:pt>
                <c:pt idx="26201">
                  <c:v>0.46729088639201</c:v>
                </c:pt>
                <c:pt idx="26202">
                  <c:v>0.46730872124130501</c:v>
                </c:pt>
                <c:pt idx="26203">
                  <c:v>0.46732655609060098</c:v>
                </c:pt>
                <c:pt idx="26204">
                  <c:v>0.46734439093989599</c:v>
                </c:pt>
                <c:pt idx="26205">
                  <c:v>0.46736222578919201</c:v>
                </c:pt>
                <c:pt idx="26206">
                  <c:v>0.46738006063848703</c:v>
                </c:pt>
                <c:pt idx="26207">
                  <c:v>0.46739789548778299</c:v>
                </c:pt>
                <c:pt idx="26208">
                  <c:v>0.46741573033707801</c:v>
                </c:pt>
                <c:pt idx="26209">
                  <c:v>0.46743356518637402</c:v>
                </c:pt>
                <c:pt idx="26210">
                  <c:v>0.46745140003566898</c:v>
                </c:pt>
                <c:pt idx="26211">
                  <c:v>0.467469234884965</c:v>
                </c:pt>
                <c:pt idx="26212">
                  <c:v>0.46748706973426002</c:v>
                </c:pt>
                <c:pt idx="26213">
                  <c:v>0.46750490458355598</c:v>
                </c:pt>
                <c:pt idx="26214">
                  <c:v>0.467522739432851</c:v>
                </c:pt>
                <c:pt idx="26215">
                  <c:v>0.46754057428214701</c:v>
                </c:pt>
                <c:pt idx="26216">
                  <c:v>0.46755840913144198</c:v>
                </c:pt>
                <c:pt idx="26217">
                  <c:v>0.46757624398073799</c:v>
                </c:pt>
                <c:pt idx="26218">
                  <c:v>0.46759407883003301</c:v>
                </c:pt>
                <c:pt idx="26219">
                  <c:v>0.46761191367932903</c:v>
                </c:pt>
                <c:pt idx="26220">
                  <c:v>0.46762974852862399</c:v>
                </c:pt>
                <c:pt idx="26221">
                  <c:v>0.46764758337792001</c:v>
                </c:pt>
                <c:pt idx="26222">
                  <c:v>0.46766541822721502</c:v>
                </c:pt>
                <c:pt idx="26223">
                  <c:v>0.46768325307651099</c:v>
                </c:pt>
                <c:pt idx="26224">
                  <c:v>0.467701087925807</c:v>
                </c:pt>
                <c:pt idx="26225">
                  <c:v>0.46771892277510202</c:v>
                </c:pt>
                <c:pt idx="26226">
                  <c:v>0.46773675762439798</c:v>
                </c:pt>
                <c:pt idx="26227">
                  <c:v>0.467754592473693</c:v>
                </c:pt>
                <c:pt idx="26228">
                  <c:v>0.46777242732298902</c:v>
                </c:pt>
                <c:pt idx="26229">
                  <c:v>0.46779026217228398</c:v>
                </c:pt>
                <c:pt idx="26230">
                  <c:v>0.46780809702157999</c:v>
                </c:pt>
                <c:pt idx="26231">
                  <c:v>0.46782593187087501</c:v>
                </c:pt>
                <c:pt idx="26232">
                  <c:v>0.46784376672017097</c:v>
                </c:pt>
                <c:pt idx="26233">
                  <c:v>0.46786160156946599</c:v>
                </c:pt>
                <c:pt idx="26234">
                  <c:v>0.46787943641876201</c:v>
                </c:pt>
                <c:pt idx="26235">
                  <c:v>0.46789727126805702</c:v>
                </c:pt>
                <c:pt idx="26236">
                  <c:v>0.46791510611735299</c:v>
                </c:pt>
                <c:pt idx="26237">
                  <c:v>0.467932940966648</c:v>
                </c:pt>
                <c:pt idx="26238">
                  <c:v>0.46795077581594402</c:v>
                </c:pt>
                <c:pt idx="26239">
                  <c:v>0.46796861066523898</c:v>
                </c:pt>
                <c:pt idx="26240">
                  <c:v>0.467986445514535</c:v>
                </c:pt>
                <c:pt idx="26241">
                  <c:v>0.46800428036383002</c:v>
                </c:pt>
                <c:pt idx="26242">
                  <c:v>0.46802211521312598</c:v>
                </c:pt>
                <c:pt idx="26243">
                  <c:v>0.46803995006242199</c:v>
                </c:pt>
                <c:pt idx="26244">
                  <c:v>0.46805778491171701</c:v>
                </c:pt>
                <c:pt idx="26245">
                  <c:v>0.46807561976101297</c:v>
                </c:pt>
                <c:pt idx="26246">
                  <c:v>0.46809345461030799</c:v>
                </c:pt>
                <c:pt idx="26247">
                  <c:v>0.46811128945960401</c:v>
                </c:pt>
                <c:pt idx="26248">
                  <c:v>0.46812912430889903</c:v>
                </c:pt>
                <c:pt idx="26249">
                  <c:v>0.46814695915819499</c:v>
                </c:pt>
                <c:pt idx="26250">
                  <c:v>0.46816479400749</c:v>
                </c:pt>
                <c:pt idx="26251">
                  <c:v>0.46818262885678602</c:v>
                </c:pt>
                <c:pt idx="26252">
                  <c:v>0.46820046370608098</c:v>
                </c:pt>
                <c:pt idx="26253">
                  <c:v>0.468218298555377</c:v>
                </c:pt>
                <c:pt idx="26254">
                  <c:v>0.46823613340467202</c:v>
                </c:pt>
                <c:pt idx="26255">
                  <c:v>0.46825396825396798</c:v>
                </c:pt>
                <c:pt idx="26256">
                  <c:v>0.468271803103263</c:v>
                </c:pt>
                <c:pt idx="26257">
                  <c:v>0.46828963795255901</c:v>
                </c:pt>
                <c:pt idx="26258">
                  <c:v>0.46830747280185397</c:v>
                </c:pt>
                <c:pt idx="26259">
                  <c:v>0.46832530765114999</c:v>
                </c:pt>
                <c:pt idx="26260">
                  <c:v>0.46834314250044501</c:v>
                </c:pt>
                <c:pt idx="26261">
                  <c:v>0.46836097734974103</c:v>
                </c:pt>
                <c:pt idx="26262">
                  <c:v>0.46837881219903599</c:v>
                </c:pt>
                <c:pt idx="26263">
                  <c:v>0.468396647048332</c:v>
                </c:pt>
                <c:pt idx="26264">
                  <c:v>0.46841448189762702</c:v>
                </c:pt>
                <c:pt idx="26265">
                  <c:v>0.46843231674692298</c:v>
                </c:pt>
                <c:pt idx="26266">
                  <c:v>0.468450151596219</c:v>
                </c:pt>
                <c:pt idx="26267">
                  <c:v>0.46846798644551402</c:v>
                </c:pt>
                <c:pt idx="26268">
                  <c:v>0.46848582129480998</c:v>
                </c:pt>
                <c:pt idx="26269">
                  <c:v>0.468503656144105</c:v>
                </c:pt>
                <c:pt idx="26270">
                  <c:v>0.46852149099340101</c:v>
                </c:pt>
                <c:pt idx="26271">
                  <c:v>0.46853932584269598</c:v>
                </c:pt>
                <c:pt idx="26272">
                  <c:v>0.46855716069199199</c:v>
                </c:pt>
                <c:pt idx="26273">
                  <c:v>0.46857499554128701</c:v>
                </c:pt>
                <c:pt idx="26274">
                  <c:v>0.46859283039058303</c:v>
                </c:pt>
                <c:pt idx="26275">
                  <c:v>0.46861066523987799</c:v>
                </c:pt>
                <c:pt idx="26276">
                  <c:v>0.468628500089174</c:v>
                </c:pt>
                <c:pt idx="26277">
                  <c:v>0.46864633493846902</c:v>
                </c:pt>
                <c:pt idx="26278">
                  <c:v>0.46866416978776498</c:v>
                </c:pt>
                <c:pt idx="26279">
                  <c:v>0.46868200463706</c:v>
                </c:pt>
                <c:pt idx="26280">
                  <c:v>0.46869983948635602</c:v>
                </c:pt>
                <c:pt idx="26281">
                  <c:v>0.46871767433565098</c:v>
                </c:pt>
                <c:pt idx="26282">
                  <c:v>0.468735509184947</c:v>
                </c:pt>
                <c:pt idx="26283">
                  <c:v>0.46875334403424201</c:v>
                </c:pt>
                <c:pt idx="26284">
                  <c:v>0.46877117888353798</c:v>
                </c:pt>
                <c:pt idx="26285">
                  <c:v>0.46878901373283299</c:v>
                </c:pt>
                <c:pt idx="26286">
                  <c:v>0.46880684858212901</c:v>
                </c:pt>
                <c:pt idx="26287">
                  <c:v>0.46882468343142503</c:v>
                </c:pt>
                <c:pt idx="26288">
                  <c:v>0.46884251828071999</c:v>
                </c:pt>
                <c:pt idx="26289">
                  <c:v>0.46886035313001601</c:v>
                </c:pt>
                <c:pt idx="26290">
                  <c:v>0.46887818797931102</c:v>
                </c:pt>
                <c:pt idx="26291">
                  <c:v>0.46889602282860698</c:v>
                </c:pt>
                <c:pt idx="26292">
                  <c:v>0.468913857677902</c:v>
                </c:pt>
                <c:pt idx="26293">
                  <c:v>0.46893169252719802</c:v>
                </c:pt>
                <c:pt idx="26294">
                  <c:v>0.46894952737649298</c:v>
                </c:pt>
                <c:pt idx="26295">
                  <c:v>0.468967362225789</c:v>
                </c:pt>
                <c:pt idx="26296">
                  <c:v>0.46898519707508401</c:v>
                </c:pt>
                <c:pt idx="26297">
                  <c:v>0.46900303192437998</c:v>
                </c:pt>
                <c:pt idx="26298">
                  <c:v>0.46902086677367499</c:v>
                </c:pt>
                <c:pt idx="26299">
                  <c:v>0.46903870162297101</c:v>
                </c:pt>
                <c:pt idx="26300">
                  <c:v>0.46905653647226597</c:v>
                </c:pt>
                <c:pt idx="26301">
                  <c:v>0.46907437132156199</c:v>
                </c:pt>
                <c:pt idx="26302">
                  <c:v>0.46909220617085701</c:v>
                </c:pt>
                <c:pt idx="26303">
                  <c:v>0.46911004102015302</c:v>
                </c:pt>
                <c:pt idx="26304">
                  <c:v>0.46912787586944799</c:v>
                </c:pt>
                <c:pt idx="26305">
                  <c:v>0.469145710718744</c:v>
                </c:pt>
                <c:pt idx="26306">
                  <c:v>0.46916354556803902</c:v>
                </c:pt>
                <c:pt idx="26307">
                  <c:v>0.46918138041733498</c:v>
                </c:pt>
                <c:pt idx="26308">
                  <c:v>0.469199215266631</c:v>
                </c:pt>
                <c:pt idx="26309">
                  <c:v>0.46921705011592602</c:v>
                </c:pt>
                <c:pt idx="26310">
                  <c:v>0.46923488496522198</c:v>
                </c:pt>
                <c:pt idx="26311">
                  <c:v>0.46925271981451699</c:v>
                </c:pt>
                <c:pt idx="26312">
                  <c:v>0.46927055466381301</c:v>
                </c:pt>
                <c:pt idx="26313">
                  <c:v>0.46928838951310797</c:v>
                </c:pt>
                <c:pt idx="26314">
                  <c:v>0.46930622436240399</c:v>
                </c:pt>
                <c:pt idx="26315">
                  <c:v>0.46932405921169901</c:v>
                </c:pt>
                <c:pt idx="26316">
                  <c:v>0.46934189406099502</c:v>
                </c:pt>
                <c:pt idx="26317">
                  <c:v>0.46935972891028999</c:v>
                </c:pt>
                <c:pt idx="26318">
                  <c:v>0.469377563759586</c:v>
                </c:pt>
                <c:pt idx="26319">
                  <c:v>0.46939539860888102</c:v>
                </c:pt>
                <c:pt idx="26320">
                  <c:v>0.46941323345817698</c:v>
                </c:pt>
                <c:pt idx="26321">
                  <c:v>0.469431068307472</c:v>
                </c:pt>
                <c:pt idx="26322">
                  <c:v>0.46944890315676802</c:v>
                </c:pt>
                <c:pt idx="26323">
                  <c:v>0.46946673800606298</c:v>
                </c:pt>
                <c:pt idx="26324">
                  <c:v>0.46948457285535899</c:v>
                </c:pt>
                <c:pt idx="26325">
                  <c:v>0.46950240770465401</c:v>
                </c:pt>
                <c:pt idx="26326">
                  <c:v>0.46952024255394997</c:v>
                </c:pt>
                <c:pt idx="26327">
                  <c:v>0.46953807740324499</c:v>
                </c:pt>
                <c:pt idx="26328">
                  <c:v>0.46955591225254101</c:v>
                </c:pt>
                <c:pt idx="26329">
                  <c:v>0.46957374710183603</c:v>
                </c:pt>
                <c:pt idx="26330">
                  <c:v>0.46959158195113199</c:v>
                </c:pt>
                <c:pt idx="26331">
                  <c:v>0.469609416800428</c:v>
                </c:pt>
                <c:pt idx="26332">
                  <c:v>0.46962725164972302</c:v>
                </c:pt>
                <c:pt idx="26333">
                  <c:v>0.46964508649901898</c:v>
                </c:pt>
                <c:pt idx="26334">
                  <c:v>0.469662921348314</c:v>
                </c:pt>
                <c:pt idx="26335">
                  <c:v>0.46968075619761002</c:v>
                </c:pt>
                <c:pt idx="26336">
                  <c:v>0.46969859104690498</c:v>
                </c:pt>
                <c:pt idx="26337">
                  <c:v>0.469716425896201</c:v>
                </c:pt>
                <c:pt idx="26338">
                  <c:v>0.46973426074549601</c:v>
                </c:pt>
                <c:pt idx="26339">
                  <c:v>0.46975209559479197</c:v>
                </c:pt>
                <c:pt idx="26340">
                  <c:v>0.46976993044408699</c:v>
                </c:pt>
                <c:pt idx="26341">
                  <c:v>0.46978776529338301</c:v>
                </c:pt>
                <c:pt idx="26342">
                  <c:v>0.46980560014267803</c:v>
                </c:pt>
                <c:pt idx="26343">
                  <c:v>0.46982343499197399</c:v>
                </c:pt>
                <c:pt idx="26344">
                  <c:v>0.469841269841269</c:v>
                </c:pt>
                <c:pt idx="26345">
                  <c:v>0.46985910469056502</c:v>
                </c:pt>
                <c:pt idx="26346">
                  <c:v>0.46987693953985998</c:v>
                </c:pt>
                <c:pt idx="26347">
                  <c:v>0.469894774389156</c:v>
                </c:pt>
                <c:pt idx="26348">
                  <c:v>0.46991260923845102</c:v>
                </c:pt>
                <c:pt idx="26349">
                  <c:v>0.46993044408774698</c:v>
                </c:pt>
                <c:pt idx="26350">
                  <c:v>0.469948278937043</c:v>
                </c:pt>
                <c:pt idx="26351">
                  <c:v>0.46996611378633801</c:v>
                </c:pt>
                <c:pt idx="26352">
                  <c:v>0.46998394863563397</c:v>
                </c:pt>
                <c:pt idx="26353">
                  <c:v>0.47000178348492899</c:v>
                </c:pt>
                <c:pt idx="26354">
                  <c:v>0.47001961833422501</c:v>
                </c:pt>
                <c:pt idx="26355">
                  <c:v>0.47003745318352003</c:v>
                </c:pt>
                <c:pt idx="26356">
                  <c:v>0.47005528803281599</c:v>
                </c:pt>
                <c:pt idx="26357">
                  <c:v>0.47007312288211101</c:v>
                </c:pt>
                <c:pt idx="26358">
                  <c:v>0.47009095773140702</c:v>
                </c:pt>
                <c:pt idx="26359">
                  <c:v>0.47010879258070198</c:v>
                </c:pt>
                <c:pt idx="26360">
                  <c:v>0.470126627429998</c:v>
                </c:pt>
                <c:pt idx="26361">
                  <c:v>0.47014446227929302</c:v>
                </c:pt>
                <c:pt idx="26362">
                  <c:v>0.47016229712858898</c:v>
                </c:pt>
                <c:pt idx="26363">
                  <c:v>0.470180131977884</c:v>
                </c:pt>
                <c:pt idx="26364">
                  <c:v>0.47019796682718001</c:v>
                </c:pt>
                <c:pt idx="26365">
                  <c:v>0.47021580167647498</c:v>
                </c:pt>
                <c:pt idx="26366">
                  <c:v>0.47023363652577099</c:v>
                </c:pt>
                <c:pt idx="26367">
                  <c:v>0.47025147137506601</c:v>
                </c:pt>
                <c:pt idx="26368">
                  <c:v>0.47026930622436203</c:v>
                </c:pt>
                <c:pt idx="26369">
                  <c:v>0.47028714107365699</c:v>
                </c:pt>
                <c:pt idx="26370">
                  <c:v>0.47030497592295301</c:v>
                </c:pt>
                <c:pt idx="26371">
                  <c:v>0.47032281077224802</c:v>
                </c:pt>
                <c:pt idx="26372">
                  <c:v>0.47034064562154398</c:v>
                </c:pt>
                <c:pt idx="26373">
                  <c:v>0.47035848047084</c:v>
                </c:pt>
                <c:pt idx="26374">
                  <c:v>0.47037631532013502</c:v>
                </c:pt>
                <c:pt idx="26375">
                  <c:v>0.47039415016943098</c:v>
                </c:pt>
                <c:pt idx="26376">
                  <c:v>0.470411985018726</c:v>
                </c:pt>
                <c:pt idx="26377">
                  <c:v>0.47042981986802201</c:v>
                </c:pt>
                <c:pt idx="26378">
                  <c:v>0.47044765471731698</c:v>
                </c:pt>
                <c:pt idx="26379">
                  <c:v>0.47046548956661299</c:v>
                </c:pt>
                <c:pt idx="26380">
                  <c:v>0.47048332441590801</c:v>
                </c:pt>
                <c:pt idx="26381">
                  <c:v>0.47050115926520403</c:v>
                </c:pt>
                <c:pt idx="26382">
                  <c:v>0.47051899411449899</c:v>
                </c:pt>
                <c:pt idx="26383">
                  <c:v>0.47053682896379501</c:v>
                </c:pt>
                <c:pt idx="26384">
                  <c:v>0.47055466381309002</c:v>
                </c:pt>
                <c:pt idx="26385">
                  <c:v>0.47057249866238599</c:v>
                </c:pt>
                <c:pt idx="26386">
                  <c:v>0.470590333511681</c:v>
                </c:pt>
                <c:pt idx="26387">
                  <c:v>0.47060816836097702</c:v>
                </c:pt>
                <c:pt idx="26388">
                  <c:v>0.47062600321027198</c:v>
                </c:pt>
                <c:pt idx="26389">
                  <c:v>0.470643838059568</c:v>
                </c:pt>
                <c:pt idx="26390">
                  <c:v>0.47066167290886302</c:v>
                </c:pt>
                <c:pt idx="26391">
                  <c:v>0.47067950775815898</c:v>
                </c:pt>
                <c:pt idx="26392">
                  <c:v>0.47069734260745499</c:v>
                </c:pt>
                <c:pt idx="26393">
                  <c:v>0.47071517745675001</c:v>
                </c:pt>
                <c:pt idx="26394">
                  <c:v>0.47073301230604597</c:v>
                </c:pt>
                <c:pt idx="26395">
                  <c:v>0.47075084715534099</c:v>
                </c:pt>
                <c:pt idx="26396">
                  <c:v>0.47076868200463701</c:v>
                </c:pt>
                <c:pt idx="26397">
                  <c:v>0.47078651685393202</c:v>
                </c:pt>
                <c:pt idx="26398">
                  <c:v>0.47080435170322799</c:v>
                </c:pt>
                <c:pt idx="26399">
                  <c:v>0.470822186552523</c:v>
                </c:pt>
                <c:pt idx="26400">
                  <c:v>0.47084002140181902</c:v>
                </c:pt>
                <c:pt idx="26401">
                  <c:v>0.47085785625111398</c:v>
                </c:pt>
                <c:pt idx="26402">
                  <c:v>0.47087569110041</c:v>
                </c:pt>
                <c:pt idx="26403">
                  <c:v>0.47089352594970502</c:v>
                </c:pt>
                <c:pt idx="26404">
                  <c:v>0.47091136079900098</c:v>
                </c:pt>
                <c:pt idx="26405">
                  <c:v>0.470929195648296</c:v>
                </c:pt>
                <c:pt idx="26406">
                  <c:v>0.47094703049759201</c:v>
                </c:pt>
                <c:pt idx="26407">
                  <c:v>0.47096486534688697</c:v>
                </c:pt>
                <c:pt idx="26408">
                  <c:v>0.47098270019618299</c:v>
                </c:pt>
                <c:pt idx="26409">
                  <c:v>0.47100053504547801</c:v>
                </c:pt>
                <c:pt idx="26410">
                  <c:v>0.47101836989477402</c:v>
                </c:pt>
                <c:pt idx="26411">
                  <c:v>0.47103620474406899</c:v>
                </c:pt>
                <c:pt idx="26412">
                  <c:v>0.471054039593365</c:v>
                </c:pt>
                <c:pt idx="26413">
                  <c:v>0.47107187444266002</c:v>
                </c:pt>
                <c:pt idx="26414">
                  <c:v>0.47108970929195598</c:v>
                </c:pt>
                <c:pt idx="26415">
                  <c:v>0.471107544141252</c:v>
                </c:pt>
                <c:pt idx="26416">
                  <c:v>0.47112537899054702</c:v>
                </c:pt>
                <c:pt idx="26417">
                  <c:v>0.47114321383984298</c:v>
                </c:pt>
                <c:pt idx="26418">
                  <c:v>0.471161048689138</c:v>
                </c:pt>
                <c:pt idx="26419">
                  <c:v>0.47117888353843401</c:v>
                </c:pt>
                <c:pt idx="26420">
                  <c:v>0.47119671838772897</c:v>
                </c:pt>
                <c:pt idx="26421">
                  <c:v>0.47121455323702499</c:v>
                </c:pt>
                <c:pt idx="26422">
                  <c:v>0.47123238808632001</c:v>
                </c:pt>
                <c:pt idx="26423">
                  <c:v>0.47125022293561603</c:v>
                </c:pt>
                <c:pt idx="26424">
                  <c:v>0.47126805778491099</c:v>
                </c:pt>
                <c:pt idx="26425">
                  <c:v>0.471285892634207</c:v>
                </c:pt>
                <c:pt idx="26426">
                  <c:v>0.47130372748350202</c:v>
                </c:pt>
                <c:pt idx="26427">
                  <c:v>0.47132156233279798</c:v>
                </c:pt>
                <c:pt idx="26428">
                  <c:v>0.471339397182093</c:v>
                </c:pt>
                <c:pt idx="26429">
                  <c:v>0.47135723203138902</c:v>
                </c:pt>
                <c:pt idx="26430">
                  <c:v>0.47137506688068398</c:v>
                </c:pt>
                <c:pt idx="26431">
                  <c:v>0.47139290172998</c:v>
                </c:pt>
                <c:pt idx="26432">
                  <c:v>0.47141073657927501</c:v>
                </c:pt>
                <c:pt idx="26433">
                  <c:v>0.47142857142857097</c:v>
                </c:pt>
                <c:pt idx="26434">
                  <c:v>0.47144640627786599</c:v>
                </c:pt>
                <c:pt idx="26435">
                  <c:v>0.47146424112716201</c:v>
                </c:pt>
                <c:pt idx="26436">
                  <c:v>0.47148207597645803</c:v>
                </c:pt>
                <c:pt idx="26437">
                  <c:v>0.47149991082575299</c:v>
                </c:pt>
                <c:pt idx="26438">
                  <c:v>0.471517745675049</c:v>
                </c:pt>
                <c:pt idx="26439">
                  <c:v>0.47153558052434402</c:v>
                </c:pt>
                <c:pt idx="26440">
                  <c:v>0.47155341537363998</c:v>
                </c:pt>
                <c:pt idx="26441">
                  <c:v>0.471571250222935</c:v>
                </c:pt>
                <c:pt idx="26442">
                  <c:v>0.47158908507223102</c:v>
                </c:pt>
                <c:pt idx="26443">
                  <c:v>0.47160691992152598</c:v>
                </c:pt>
                <c:pt idx="26444">
                  <c:v>0.471624754770822</c:v>
                </c:pt>
                <c:pt idx="26445">
                  <c:v>0.47164258962011701</c:v>
                </c:pt>
                <c:pt idx="26446">
                  <c:v>0.47166042446941298</c:v>
                </c:pt>
                <c:pt idx="26447">
                  <c:v>0.47167825931870799</c:v>
                </c:pt>
                <c:pt idx="26448">
                  <c:v>0.47169609416800401</c:v>
                </c:pt>
                <c:pt idx="26449">
                  <c:v>0.47171392901729903</c:v>
                </c:pt>
                <c:pt idx="26450">
                  <c:v>0.47173176386659499</c:v>
                </c:pt>
                <c:pt idx="26451">
                  <c:v>0.47174959871589001</c:v>
                </c:pt>
                <c:pt idx="26452">
                  <c:v>0.47176743356518602</c:v>
                </c:pt>
                <c:pt idx="26453">
                  <c:v>0.47178526841448098</c:v>
                </c:pt>
                <c:pt idx="26454">
                  <c:v>0.471803103263777</c:v>
                </c:pt>
                <c:pt idx="26455">
                  <c:v>0.47182093811307202</c:v>
                </c:pt>
                <c:pt idx="26456">
                  <c:v>0.47183877296236798</c:v>
                </c:pt>
                <c:pt idx="26457">
                  <c:v>0.471856607811664</c:v>
                </c:pt>
                <c:pt idx="26458">
                  <c:v>0.47187444266095901</c:v>
                </c:pt>
                <c:pt idx="26459">
                  <c:v>0.47189227751025498</c:v>
                </c:pt>
                <c:pt idx="26460">
                  <c:v>0.47191011235954999</c:v>
                </c:pt>
                <c:pt idx="26461">
                  <c:v>0.47192794720884601</c:v>
                </c:pt>
                <c:pt idx="26462">
                  <c:v>0.47194578205814097</c:v>
                </c:pt>
                <c:pt idx="26463">
                  <c:v>0.47196361690743699</c:v>
                </c:pt>
                <c:pt idx="26464">
                  <c:v>0.47198145175673201</c:v>
                </c:pt>
                <c:pt idx="26465">
                  <c:v>0.47199928660602802</c:v>
                </c:pt>
                <c:pt idx="26466">
                  <c:v>0.47201712145532299</c:v>
                </c:pt>
                <c:pt idx="26467">
                  <c:v>0.472034956304619</c:v>
                </c:pt>
                <c:pt idx="26468">
                  <c:v>0.47205279115391402</c:v>
                </c:pt>
                <c:pt idx="26469">
                  <c:v>0.47207062600320998</c:v>
                </c:pt>
                <c:pt idx="26470">
                  <c:v>0.472088460852505</c:v>
                </c:pt>
                <c:pt idx="26471">
                  <c:v>0.47210629570180102</c:v>
                </c:pt>
                <c:pt idx="26472">
                  <c:v>0.47212413055109598</c:v>
                </c:pt>
                <c:pt idx="26473">
                  <c:v>0.47214196540039199</c:v>
                </c:pt>
                <c:pt idx="26474">
                  <c:v>0.47215980024968701</c:v>
                </c:pt>
                <c:pt idx="26475">
                  <c:v>0.47217763509898297</c:v>
                </c:pt>
                <c:pt idx="26476">
                  <c:v>0.47219546994827799</c:v>
                </c:pt>
                <c:pt idx="26477">
                  <c:v>0.47221330479757401</c:v>
                </c:pt>
                <c:pt idx="26478">
                  <c:v>0.47223113964686902</c:v>
                </c:pt>
                <c:pt idx="26479">
                  <c:v>0.47224897449616499</c:v>
                </c:pt>
                <c:pt idx="26480">
                  <c:v>0.472266809345461</c:v>
                </c:pt>
                <c:pt idx="26481">
                  <c:v>0.47228464419475602</c:v>
                </c:pt>
                <c:pt idx="26482">
                  <c:v>0.47230247904405198</c:v>
                </c:pt>
                <c:pt idx="26483">
                  <c:v>0.472320313893347</c:v>
                </c:pt>
                <c:pt idx="26484">
                  <c:v>0.47233814874264302</c:v>
                </c:pt>
                <c:pt idx="26485">
                  <c:v>0.47235598359193798</c:v>
                </c:pt>
                <c:pt idx="26486">
                  <c:v>0.47237381844123399</c:v>
                </c:pt>
                <c:pt idx="26487">
                  <c:v>0.47239165329052901</c:v>
                </c:pt>
                <c:pt idx="26488">
                  <c:v>0.47240948813982497</c:v>
                </c:pt>
                <c:pt idx="26489">
                  <c:v>0.47242732298911999</c:v>
                </c:pt>
                <c:pt idx="26490">
                  <c:v>0.47244515783841601</c:v>
                </c:pt>
                <c:pt idx="26491">
                  <c:v>0.47246299268771103</c:v>
                </c:pt>
                <c:pt idx="26492">
                  <c:v>0.47248082753700699</c:v>
                </c:pt>
                <c:pt idx="26493">
                  <c:v>0.472498662386302</c:v>
                </c:pt>
                <c:pt idx="26494">
                  <c:v>0.47251649723559802</c:v>
                </c:pt>
                <c:pt idx="26495">
                  <c:v>0.47253433208489298</c:v>
                </c:pt>
                <c:pt idx="26496">
                  <c:v>0.472552166934189</c:v>
                </c:pt>
                <c:pt idx="26497">
                  <c:v>0.47257000178348402</c:v>
                </c:pt>
                <c:pt idx="26498">
                  <c:v>0.47258783663277998</c:v>
                </c:pt>
                <c:pt idx="26499">
                  <c:v>0.472605671482076</c:v>
                </c:pt>
                <c:pt idx="26500">
                  <c:v>0.47262350633137101</c:v>
                </c:pt>
                <c:pt idx="26501">
                  <c:v>0.47264134118066697</c:v>
                </c:pt>
                <c:pt idx="26502">
                  <c:v>0.47265917602996199</c:v>
                </c:pt>
                <c:pt idx="26503">
                  <c:v>0.47267701087925801</c:v>
                </c:pt>
                <c:pt idx="26504">
                  <c:v>0.47269484572855303</c:v>
                </c:pt>
                <c:pt idx="26505">
                  <c:v>0.47271268057784899</c:v>
                </c:pt>
                <c:pt idx="26506">
                  <c:v>0.472730515427144</c:v>
                </c:pt>
                <c:pt idx="26507">
                  <c:v>0.47274835027644002</c:v>
                </c:pt>
                <c:pt idx="26508">
                  <c:v>0.47276618512573498</c:v>
                </c:pt>
                <c:pt idx="26509">
                  <c:v>0.472784019975031</c:v>
                </c:pt>
                <c:pt idx="26510">
                  <c:v>0.47280185482432602</c:v>
                </c:pt>
                <c:pt idx="26511">
                  <c:v>0.47281968967362198</c:v>
                </c:pt>
                <c:pt idx="26512">
                  <c:v>0.472837524522917</c:v>
                </c:pt>
                <c:pt idx="26513">
                  <c:v>0.47285535937221301</c:v>
                </c:pt>
                <c:pt idx="26514">
                  <c:v>0.47287319422150798</c:v>
                </c:pt>
                <c:pt idx="26515">
                  <c:v>0.47289102907080399</c:v>
                </c:pt>
                <c:pt idx="26516">
                  <c:v>0.47290886392009901</c:v>
                </c:pt>
                <c:pt idx="26517">
                  <c:v>0.47292669876939503</c:v>
                </c:pt>
                <c:pt idx="26518">
                  <c:v>0.47294453361868999</c:v>
                </c:pt>
                <c:pt idx="26519">
                  <c:v>0.47296236846798601</c:v>
                </c:pt>
                <c:pt idx="26520">
                  <c:v>0.47298020331728102</c:v>
                </c:pt>
                <c:pt idx="26521">
                  <c:v>0.47299803816657698</c:v>
                </c:pt>
                <c:pt idx="26522">
                  <c:v>0.473015873015873</c:v>
                </c:pt>
                <c:pt idx="26523">
                  <c:v>0.47303370786516802</c:v>
                </c:pt>
                <c:pt idx="26524">
                  <c:v>0.47305154271446398</c:v>
                </c:pt>
                <c:pt idx="26525">
                  <c:v>0.473069377563759</c:v>
                </c:pt>
                <c:pt idx="26526">
                  <c:v>0.47308721241305501</c:v>
                </c:pt>
                <c:pt idx="26527">
                  <c:v>0.47310504726234998</c:v>
                </c:pt>
                <c:pt idx="26528">
                  <c:v>0.47312288211164599</c:v>
                </c:pt>
                <c:pt idx="26529">
                  <c:v>0.47314071696094101</c:v>
                </c:pt>
                <c:pt idx="26530">
                  <c:v>0.47315855181023703</c:v>
                </c:pt>
                <c:pt idx="26531">
                  <c:v>0.47317638665953199</c:v>
                </c:pt>
                <c:pt idx="26532">
                  <c:v>0.47319422150882801</c:v>
                </c:pt>
                <c:pt idx="26533">
                  <c:v>0.47321205635812302</c:v>
                </c:pt>
                <c:pt idx="26534">
                  <c:v>0.47322989120741898</c:v>
                </c:pt>
                <c:pt idx="26535">
                  <c:v>0.473247726056714</c:v>
                </c:pt>
                <c:pt idx="26536">
                  <c:v>0.47326556090601002</c:v>
                </c:pt>
                <c:pt idx="26537">
                  <c:v>0.47328339575530498</c:v>
                </c:pt>
                <c:pt idx="26538">
                  <c:v>0.473301230604601</c:v>
                </c:pt>
                <c:pt idx="26539">
                  <c:v>0.47331906545389602</c:v>
                </c:pt>
                <c:pt idx="26540">
                  <c:v>0.47333690030319198</c:v>
                </c:pt>
                <c:pt idx="26541">
                  <c:v>0.47335473515248699</c:v>
                </c:pt>
                <c:pt idx="26542">
                  <c:v>0.47337257000178301</c:v>
                </c:pt>
                <c:pt idx="26543">
                  <c:v>0.47339040485107903</c:v>
                </c:pt>
                <c:pt idx="26544">
                  <c:v>0.47340823970037399</c:v>
                </c:pt>
                <c:pt idx="26545">
                  <c:v>0.47342607454967001</c:v>
                </c:pt>
                <c:pt idx="26546">
                  <c:v>0.47344390939896502</c:v>
                </c:pt>
                <c:pt idx="26547">
                  <c:v>0.47346174424826099</c:v>
                </c:pt>
                <c:pt idx="26548">
                  <c:v>0.473479579097556</c:v>
                </c:pt>
                <c:pt idx="26549">
                  <c:v>0.47349741394685202</c:v>
                </c:pt>
                <c:pt idx="26550">
                  <c:v>0.47351524879614698</c:v>
                </c:pt>
                <c:pt idx="26551">
                  <c:v>0.473533083645443</c:v>
                </c:pt>
                <c:pt idx="26552">
                  <c:v>0.47355091849473802</c:v>
                </c:pt>
                <c:pt idx="26553">
                  <c:v>0.47356875334403398</c:v>
                </c:pt>
                <c:pt idx="26554">
                  <c:v>0.47358658819332899</c:v>
                </c:pt>
                <c:pt idx="26555">
                  <c:v>0.47360442304262501</c:v>
                </c:pt>
                <c:pt idx="26556">
                  <c:v>0.47362225789191997</c:v>
                </c:pt>
                <c:pt idx="26557">
                  <c:v>0.47364009274121599</c:v>
                </c:pt>
                <c:pt idx="26558">
                  <c:v>0.47365792759051101</c:v>
                </c:pt>
                <c:pt idx="26559">
                  <c:v>0.47367576243980702</c:v>
                </c:pt>
                <c:pt idx="26560">
                  <c:v>0.47369359728910199</c:v>
                </c:pt>
                <c:pt idx="26561">
                  <c:v>0.473711432138398</c:v>
                </c:pt>
                <c:pt idx="26562">
                  <c:v>0.47372926698769302</c:v>
                </c:pt>
                <c:pt idx="26563">
                  <c:v>0.47374710183698898</c:v>
                </c:pt>
                <c:pt idx="26564">
                  <c:v>0.473764936686285</c:v>
                </c:pt>
                <c:pt idx="26565">
                  <c:v>0.47378277153558002</c:v>
                </c:pt>
                <c:pt idx="26566">
                  <c:v>0.47380060638487598</c:v>
                </c:pt>
                <c:pt idx="26567">
                  <c:v>0.473818441234171</c:v>
                </c:pt>
                <c:pt idx="26568">
                  <c:v>0.47383627608346701</c:v>
                </c:pt>
                <c:pt idx="26569">
                  <c:v>0.47385411093276197</c:v>
                </c:pt>
                <c:pt idx="26570">
                  <c:v>0.47387194578205799</c:v>
                </c:pt>
                <c:pt idx="26571">
                  <c:v>0.47388978063135301</c:v>
                </c:pt>
                <c:pt idx="26572">
                  <c:v>0.47390761548064902</c:v>
                </c:pt>
                <c:pt idx="26573">
                  <c:v>0.47392545032994399</c:v>
                </c:pt>
                <c:pt idx="26574">
                  <c:v>0.47394328517924</c:v>
                </c:pt>
                <c:pt idx="26575">
                  <c:v>0.47396112002853502</c:v>
                </c:pt>
                <c:pt idx="26576">
                  <c:v>0.47397895487783098</c:v>
                </c:pt>
                <c:pt idx="26577">
                  <c:v>0.473996789727126</c:v>
                </c:pt>
                <c:pt idx="26578">
                  <c:v>0.47401462457642202</c:v>
                </c:pt>
                <c:pt idx="26579">
                  <c:v>0.47403245942571698</c:v>
                </c:pt>
                <c:pt idx="26580">
                  <c:v>0.474050294275013</c:v>
                </c:pt>
                <c:pt idx="26581">
                  <c:v>0.47406812912430801</c:v>
                </c:pt>
                <c:pt idx="26582">
                  <c:v>0.47408596397360397</c:v>
                </c:pt>
                <c:pt idx="26583">
                  <c:v>0.47410379882289899</c:v>
                </c:pt>
                <c:pt idx="26584">
                  <c:v>0.47412163367219501</c:v>
                </c:pt>
                <c:pt idx="26585">
                  <c:v>0.47413946852149003</c:v>
                </c:pt>
                <c:pt idx="26586">
                  <c:v>0.47415730337078599</c:v>
                </c:pt>
                <c:pt idx="26587">
                  <c:v>0.474175138220082</c:v>
                </c:pt>
                <c:pt idx="26588">
                  <c:v>0.47419297306937702</c:v>
                </c:pt>
                <c:pt idx="26589">
                  <c:v>0.47421080791867298</c:v>
                </c:pt>
                <c:pt idx="26590">
                  <c:v>0.474228642767968</c:v>
                </c:pt>
                <c:pt idx="26591">
                  <c:v>0.47424647761726402</c:v>
                </c:pt>
                <c:pt idx="26592">
                  <c:v>0.47426431246655898</c:v>
                </c:pt>
                <c:pt idx="26593">
                  <c:v>0.474282147315855</c:v>
                </c:pt>
                <c:pt idx="26594">
                  <c:v>0.47429998216515001</c:v>
                </c:pt>
                <c:pt idx="26595">
                  <c:v>0.47431781701444597</c:v>
                </c:pt>
                <c:pt idx="26596">
                  <c:v>0.47433565186374099</c:v>
                </c:pt>
                <c:pt idx="26597">
                  <c:v>0.47435348671303701</c:v>
                </c:pt>
                <c:pt idx="26598">
                  <c:v>0.47437132156233203</c:v>
                </c:pt>
                <c:pt idx="26599">
                  <c:v>0.47438915641162799</c:v>
                </c:pt>
                <c:pt idx="26600">
                  <c:v>0.47440699126092301</c:v>
                </c:pt>
                <c:pt idx="26601">
                  <c:v>0.47442482611021902</c:v>
                </c:pt>
                <c:pt idx="26602">
                  <c:v>0.47444266095951398</c:v>
                </c:pt>
                <c:pt idx="26603">
                  <c:v>0.47446049580881</c:v>
                </c:pt>
                <c:pt idx="26604">
                  <c:v>0.47447833065810502</c:v>
                </c:pt>
                <c:pt idx="26605">
                  <c:v>0.47449616550740098</c:v>
                </c:pt>
                <c:pt idx="26606">
                  <c:v>0.474514000356697</c:v>
                </c:pt>
                <c:pt idx="26607">
                  <c:v>0.47453183520599201</c:v>
                </c:pt>
                <c:pt idx="26608">
                  <c:v>0.47454967005528798</c:v>
                </c:pt>
                <c:pt idx="26609">
                  <c:v>0.47456750490458299</c:v>
                </c:pt>
                <c:pt idx="26610">
                  <c:v>0.47458533975387901</c:v>
                </c:pt>
                <c:pt idx="26611">
                  <c:v>0.47460317460317403</c:v>
                </c:pt>
                <c:pt idx="26612">
                  <c:v>0.47462100945246999</c:v>
                </c:pt>
                <c:pt idx="26613">
                  <c:v>0.47463884430176501</c:v>
                </c:pt>
                <c:pt idx="26614">
                  <c:v>0.47465667915106102</c:v>
                </c:pt>
                <c:pt idx="26615">
                  <c:v>0.47467451400035598</c:v>
                </c:pt>
                <c:pt idx="26616">
                  <c:v>0.474692348849652</c:v>
                </c:pt>
                <c:pt idx="26617">
                  <c:v>0.47471018369894702</c:v>
                </c:pt>
                <c:pt idx="26618">
                  <c:v>0.47472801854824298</c:v>
                </c:pt>
                <c:pt idx="26619">
                  <c:v>0.474745853397538</c:v>
                </c:pt>
                <c:pt idx="26620">
                  <c:v>0.47476368824683401</c:v>
                </c:pt>
                <c:pt idx="26621">
                  <c:v>0.47478152309612898</c:v>
                </c:pt>
                <c:pt idx="26622">
                  <c:v>0.47479935794542499</c:v>
                </c:pt>
                <c:pt idx="26623">
                  <c:v>0.47481719279472001</c:v>
                </c:pt>
                <c:pt idx="26624">
                  <c:v>0.47483502764401597</c:v>
                </c:pt>
                <c:pt idx="26625">
                  <c:v>0.47485286249331099</c:v>
                </c:pt>
                <c:pt idx="26626">
                  <c:v>0.47487069734260701</c:v>
                </c:pt>
                <c:pt idx="26627">
                  <c:v>0.47488853219190202</c:v>
                </c:pt>
                <c:pt idx="26628">
                  <c:v>0.47490636704119799</c:v>
                </c:pt>
                <c:pt idx="26629">
                  <c:v>0.474924201890494</c:v>
                </c:pt>
                <c:pt idx="26630">
                  <c:v>0.47494203673978902</c:v>
                </c:pt>
                <c:pt idx="26631">
                  <c:v>0.47495987158908498</c:v>
                </c:pt>
                <c:pt idx="26632">
                  <c:v>0.47497770643838</c:v>
                </c:pt>
                <c:pt idx="26633">
                  <c:v>0.47499554128767602</c:v>
                </c:pt>
                <c:pt idx="26634">
                  <c:v>0.47501337613697098</c:v>
                </c:pt>
                <c:pt idx="26635">
                  <c:v>0.47503121098626699</c:v>
                </c:pt>
                <c:pt idx="26636">
                  <c:v>0.47504904583556201</c:v>
                </c:pt>
                <c:pt idx="26637">
                  <c:v>0.47506688068485797</c:v>
                </c:pt>
                <c:pt idx="26638">
                  <c:v>0.47508471553415299</c:v>
                </c:pt>
                <c:pt idx="26639">
                  <c:v>0.47510255038344901</c:v>
                </c:pt>
                <c:pt idx="26640">
                  <c:v>0.47512038523274402</c:v>
                </c:pt>
                <c:pt idx="26641">
                  <c:v>0.47513822008203999</c:v>
                </c:pt>
                <c:pt idx="26642">
                  <c:v>0.475156054931335</c:v>
                </c:pt>
                <c:pt idx="26643">
                  <c:v>0.47517388978063102</c:v>
                </c:pt>
                <c:pt idx="26644">
                  <c:v>0.47519172462992598</c:v>
                </c:pt>
                <c:pt idx="26645">
                  <c:v>0.475209559479222</c:v>
                </c:pt>
                <c:pt idx="26646">
                  <c:v>0.47522739432851702</c:v>
                </c:pt>
                <c:pt idx="26647">
                  <c:v>0.47524522917781298</c:v>
                </c:pt>
                <c:pt idx="26648">
                  <c:v>0.47526306402710899</c:v>
                </c:pt>
                <c:pt idx="26649">
                  <c:v>0.47528089887640401</c:v>
                </c:pt>
                <c:pt idx="26650">
                  <c:v>0.47529873372569997</c:v>
                </c:pt>
                <c:pt idx="26651">
                  <c:v>0.47531656857499499</c:v>
                </c:pt>
                <c:pt idx="26652">
                  <c:v>0.47533440342429101</c:v>
                </c:pt>
                <c:pt idx="26653">
                  <c:v>0.47535223827358603</c:v>
                </c:pt>
                <c:pt idx="26654">
                  <c:v>0.47537007312288199</c:v>
                </c:pt>
                <c:pt idx="26655">
                  <c:v>0.475387907972177</c:v>
                </c:pt>
                <c:pt idx="26656">
                  <c:v>0.47540574282147302</c:v>
                </c:pt>
                <c:pt idx="26657">
                  <c:v>0.47542357767076798</c:v>
                </c:pt>
                <c:pt idx="26658">
                  <c:v>0.475441412520064</c:v>
                </c:pt>
                <c:pt idx="26659">
                  <c:v>0.47545924736935902</c:v>
                </c:pt>
                <c:pt idx="26660">
                  <c:v>0.47547708221865498</c:v>
                </c:pt>
                <c:pt idx="26661">
                  <c:v>0.47549491706795</c:v>
                </c:pt>
                <c:pt idx="26662">
                  <c:v>0.47551275191724601</c:v>
                </c:pt>
                <c:pt idx="26663">
                  <c:v>0.47553058676654097</c:v>
                </c:pt>
                <c:pt idx="26664">
                  <c:v>0.47554842161583699</c:v>
                </c:pt>
                <c:pt idx="26665">
                  <c:v>0.47556625646513201</c:v>
                </c:pt>
                <c:pt idx="26666">
                  <c:v>0.47558409131442803</c:v>
                </c:pt>
                <c:pt idx="26667">
                  <c:v>0.47560192616372299</c:v>
                </c:pt>
                <c:pt idx="26668">
                  <c:v>0.475619761013019</c:v>
                </c:pt>
                <c:pt idx="26669">
                  <c:v>0.47563759586231402</c:v>
                </c:pt>
                <c:pt idx="26670">
                  <c:v>0.47565543071160998</c:v>
                </c:pt>
                <c:pt idx="26671">
                  <c:v>0.475673265560906</c:v>
                </c:pt>
                <c:pt idx="26672">
                  <c:v>0.47569110041020102</c:v>
                </c:pt>
                <c:pt idx="26673">
                  <c:v>0.47570893525949698</c:v>
                </c:pt>
                <c:pt idx="26674">
                  <c:v>0.475726770108792</c:v>
                </c:pt>
                <c:pt idx="26675">
                  <c:v>0.47574460495808801</c:v>
                </c:pt>
                <c:pt idx="26676">
                  <c:v>0.47576243980738298</c:v>
                </c:pt>
                <c:pt idx="26677">
                  <c:v>0.47578027465667899</c:v>
                </c:pt>
                <c:pt idx="26678">
                  <c:v>0.47579810950597401</c:v>
                </c:pt>
                <c:pt idx="26679">
                  <c:v>0.47581594435527003</c:v>
                </c:pt>
                <c:pt idx="26680">
                  <c:v>0.47583377920456499</c:v>
                </c:pt>
                <c:pt idx="26681">
                  <c:v>0.47585161405386101</c:v>
                </c:pt>
                <c:pt idx="26682">
                  <c:v>0.47586944890315602</c:v>
                </c:pt>
                <c:pt idx="26683">
                  <c:v>0.47588728375245198</c:v>
                </c:pt>
                <c:pt idx="26684">
                  <c:v>0.475905118601747</c:v>
                </c:pt>
                <c:pt idx="26685">
                  <c:v>0.47592295345104302</c:v>
                </c:pt>
                <c:pt idx="26686">
                  <c:v>0.47594078830033798</c:v>
                </c:pt>
                <c:pt idx="26687">
                  <c:v>0.475958623149634</c:v>
                </c:pt>
                <c:pt idx="26688">
                  <c:v>0.47597645799892901</c:v>
                </c:pt>
                <c:pt idx="26689">
                  <c:v>0.47599429284822498</c:v>
                </c:pt>
                <c:pt idx="26690">
                  <c:v>0.47601212769751999</c:v>
                </c:pt>
                <c:pt idx="26691">
                  <c:v>0.47602996254681601</c:v>
                </c:pt>
                <c:pt idx="26692">
                  <c:v>0.47604779739611203</c:v>
                </c:pt>
                <c:pt idx="26693">
                  <c:v>0.47606563224540699</c:v>
                </c:pt>
                <c:pt idx="26694">
                  <c:v>0.47608346709470301</c:v>
                </c:pt>
                <c:pt idx="26695">
                  <c:v>0.47610130194399802</c:v>
                </c:pt>
                <c:pt idx="26696">
                  <c:v>0.47611913679329398</c:v>
                </c:pt>
                <c:pt idx="26697">
                  <c:v>0.476136971642589</c:v>
                </c:pt>
                <c:pt idx="26698">
                  <c:v>0.47615480649188502</c:v>
                </c:pt>
                <c:pt idx="26699">
                  <c:v>0.47617264134117998</c:v>
                </c:pt>
                <c:pt idx="26700">
                  <c:v>0.476190476190476</c:v>
                </c:pt>
                <c:pt idx="26701">
                  <c:v>0.47620831103977102</c:v>
                </c:pt>
                <c:pt idx="26702">
                  <c:v>0.47622614588906698</c:v>
                </c:pt>
                <c:pt idx="26703">
                  <c:v>0.47624398073836199</c:v>
                </c:pt>
                <c:pt idx="26704">
                  <c:v>0.47626181558765801</c:v>
                </c:pt>
                <c:pt idx="26705">
                  <c:v>0.47627965043695297</c:v>
                </c:pt>
                <c:pt idx="26706">
                  <c:v>0.47629748528624899</c:v>
                </c:pt>
                <c:pt idx="26707">
                  <c:v>0.47631532013554401</c:v>
                </c:pt>
                <c:pt idx="26708">
                  <c:v>0.47633315498484002</c:v>
                </c:pt>
                <c:pt idx="26709">
                  <c:v>0.47635098983413499</c:v>
                </c:pt>
                <c:pt idx="26710">
                  <c:v>0.476368824683431</c:v>
                </c:pt>
                <c:pt idx="26711">
                  <c:v>0.47638665953272602</c:v>
                </c:pt>
                <c:pt idx="26712">
                  <c:v>0.47640449438202198</c:v>
                </c:pt>
                <c:pt idx="26713">
                  <c:v>0.476422329231318</c:v>
                </c:pt>
                <c:pt idx="26714">
                  <c:v>0.47644016408061302</c:v>
                </c:pt>
                <c:pt idx="26715">
                  <c:v>0.47645799892990898</c:v>
                </c:pt>
                <c:pt idx="26716">
                  <c:v>0.47647583377920399</c:v>
                </c:pt>
                <c:pt idx="26717">
                  <c:v>0.47649366862850001</c:v>
                </c:pt>
                <c:pt idx="26718">
                  <c:v>0.47651150347779497</c:v>
                </c:pt>
                <c:pt idx="26719">
                  <c:v>0.47652933832709099</c:v>
                </c:pt>
                <c:pt idx="26720">
                  <c:v>0.47654717317638601</c:v>
                </c:pt>
                <c:pt idx="26721">
                  <c:v>0.47656500802568202</c:v>
                </c:pt>
                <c:pt idx="26722">
                  <c:v>0.47658284287497699</c:v>
                </c:pt>
                <c:pt idx="26723">
                  <c:v>0.476600677724273</c:v>
                </c:pt>
                <c:pt idx="26724">
                  <c:v>0.47661851257356802</c:v>
                </c:pt>
                <c:pt idx="26725">
                  <c:v>0.47663634742286398</c:v>
                </c:pt>
                <c:pt idx="26726">
                  <c:v>0.476654182272159</c:v>
                </c:pt>
                <c:pt idx="26727">
                  <c:v>0.47667201712145502</c:v>
                </c:pt>
                <c:pt idx="26728">
                  <c:v>0.47668985197074998</c:v>
                </c:pt>
                <c:pt idx="26729">
                  <c:v>0.47670768682004599</c:v>
                </c:pt>
                <c:pt idx="26730">
                  <c:v>0.47672552166934101</c:v>
                </c:pt>
                <c:pt idx="26731">
                  <c:v>0.47674335651863697</c:v>
                </c:pt>
                <c:pt idx="26732">
                  <c:v>0.47676119136793199</c:v>
                </c:pt>
                <c:pt idx="26733">
                  <c:v>0.47677902621722801</c:v>
                </c:pt>
                <c:pt idx="26734">
                  <c:v>0.47679686106652303</c:v>
                </c:pt>
                <c:pt idx="26735">
                  <c:v>0.47681469591581899</c:v>
                </c:pt>
                <c:pt idx="26736">
                  <c:v>0.476832530765115</c:v>
                </c:pt>
                <c:pt idx="26737">
                  <c:v>0.47685036561441002</c:v>
                </c:pt>
                <c:pt idx="26738">
                  <c:v>0.47686820046370598</c:v>
                </c:pt>
                <c:pt idx="26739">
                  <c:v>0.476886035313001</c:v>
                </c:pt>
                <c:pt idx="26740">
                  <c:v>0.47690387016229702</c:v>
                </c:pt>
                <c:pt idx="26741">
                  <c:v>0.47692170501159198</c:v>
                </c:pt>
                <c:pt idx="26742">
                  <c:v>0.476939539860888</c:v>
                </c:pt>
                <c:pt idx="26743">
                  <c:v>0.47695737471018301</c:v>
                </c:pt>
                <c:pt idx="26744">
                  <c:v>0.47697520955947897</c:v>
                </c:pt>
                <c:pt idx="26745">
                  <c:v>0.47699304440877399</c:v>
                </c:pt>
                <c:pt idx="26746">
                  <c:v>0.47701087925807001</c:v>
                </c:pt>
                <c:pt idx="26747">
                  <c:v>0.47702871410736503</c:v>
                </c:pt>
                <c:pt idx="26748">
                  <c:v>0.47704654895666099</c:v>
                </c:pt>
                <c:pt idx="26749">
                  <c:v>0.477064383805956</c:v>
                </c:pt>
                <c:pt idx="26750">
                  <c:v>0.47708221865525202</c:v>
                </c:pt>
                <c:pt idx="26751">
                  <c:v>0.47710005350454698</c:v>
                </c:pt>
                <c:pt idx="26752">
                  <c:v>0.477117888353843</c:v>
                </c:pt>
                <c:pt idx="26753">
                  <c:v>0.47713572320313802</c:v>
                </c:pt>
                <c:pt idx="26754">
                  <c:v>0.47715355805243398</c:v>
                </c:pt>
                <c:pt idx="26755">
                  <c:v>0.47717139290173</c:v>
                </c:pt>
                <c:pt idx="26756">
                  <c:v>0.47718922775102501</c:v>
                </c:pt>
                <c:pt idx="26757">
                  <c:v>0.47720706260032097</c:v>
                </c:pt>
                <c:pt idx="26758">
                  <c:v>0.47722489744961599</c:v>
                </c:pt>
                <c:pt idx="26759">
                  <c:v>0.47724273229891201</c:v>
                </c:pt>
                <c:pt idx="26760">
                  <c:v>0.47726056714820703</c:v>
                </c:pt>
                <c:pt idx="26761">
                  <c:v>0.47727840199750299</c:v>
                </c:pt>
                <c:pt idx="26762">
                  <c:v>0.47729623684679801</c:v>
                </c:pt>
                <c:pt idx="26763">
                  <c:v>0.47731407169609402</c:v>
                </c:pt>
                <c:pt idx="26764">
                  <c:v>0.47733190654538898</c:v>
                </c:pt>
                <c:pt idx="26765">
                  <c:v>0.477349741394685</c:v>
                </c:pt>
                <c:pt idx="26766">
                  <c:v>0.47736757624398002</c:v>
                </c:pt>
                <c:pt idx="26767">
                  <c:v>0.47738541109327598</c:v>
                </c:pt>
                <c:pt idx="26768">
                  <c:v>0.477403245942571</c:v>
                </c:pt>
                <c:pt idx="26769">
                  <c:v>0.47742108079186701</c:v>
                </c:pt>
                <c:pt idx="26770">
                  <c:v>0.47743891564116198</c:v>
                </c:pt>
                <c:pt idx="26771">
                  <c:v>0.47745675049045799</c:v>
                </c:pt>
                <c:pt idx="26772">
                  <c:v>0.47747458533975301</c:v>
                </c:pt>
                <c:pt idx="26773">
                  <c:v>0.47749242018904903</c:v>
                </c:pt>
                <c:pt idx="26774">
                  <c:v>0.47751025503834399</c:v>
                </c:pt>
                <c:pt idx="26775">
                  <c:v>0.47752808988764001</c:v>
                </c:pt>
                <c:pt idx="26776">
                  <c:v>0.47754592473693502</c:v>
                </c:pt>
                <c:pt idx="26777">
                  <c:v>0.47756375958623098</c:v>
                </c:pt>
                <c:pt idx="26778">
                  <c:v>0.477581594435527</c:v>
                </c:pt>
                <c:pt idx="26779">
                  <c:v>0.47759942928482202</c:v>
                </c:pt>
                <c:pt idx="26780">
                  <c:v>0.47761726413411798</c:v>
                </c:pt>
                <c:pt idx="26781">
                  <c:v>0.477635098983413</c:v>
                </c:pt>
                <c:pt idx="26782">
                  <c:v>0.47765293383270901</c:v>
                </c:pt>
                <c:pt idx="26783">
                  <c:v>0.47767076868200398</c:v>
                </c:pt>
                <c:pt idx="26784">
                  <c:v>0.47768860353129999</c:v>
                </c:pt>
                <c:pt idx="26785">
                  <c:v>0.47770643838059501</c:v>
                </c:pt>
                <c:pt idx="26786">
                  <c:v>0.47772427322989103</c:v>
                </c:pt>
                <c:pt idx="26787">
                  <c:v>0.47774210807918599</c:v>
                </c:pt>
                <c:pt idx="26788">
                  <c:v>0.47775994292848201</c:v>
                </c:pt>
                <c:pt idx="26789">
                  <c:v>0.47777777777777702</c:v>
                </c:pt>
                <c:pt idx="26790">
                  <c:v>0.47779561262707299</c:v>
                </c:pt>
                <c:pt idx="26791">
                  <c:v>0.477813447476368</c:v>
                </c:pt>
                <c:pt idx="26792">
                  <c:v>0.47783128232566402</c:v>
                </c:pt>
                <c:pt idx="26793">
                  <c:v>0.47784911717495898</c:v>
                </c:pt>
                <c:pt idx="26794">
                  <c:v>0.477866952024255</c:v>
                </c:pt>
                <c:pt idx="26795">
                  <c:v>0.47788478687355002</c:v>
                </c:pt>
                <c:pt idx="26796">
                  <c:v>0.47790262172284598</c:v>
                </c:pt>
                <c:pt idx="26797">
                  <c:v>0.47792045657214099</c:v>
                </c:pt>
                <c:pt idx="26798">
                  <c:v>0.47793829142143701</c:v>
                </c:pt>
                <c:pt idx="26799">
                  <c:v>0.47795612627073297</c:v>
                </c:pt>
                <c:pt idx="26800">
                  <c:v>0.47797396112002799</c:v>
                </c:pt>
                <c:pt idx="26801">
                  <c:v>0.47799179596932401</c:v>
                </c:pt>
                <c:pt idx="26802">
                  <c:v>0.47800963081861902</c:v>
                </c:pt>
                <c:pt idx="26803">
                  <c:v>0.47802746566791499</c:v>
                </c:pt>
                <c:pt idx="26804">
                  <c:v>0.47804530051721</c:v>
                </c:pt>
                <c:pt idx="26805">
                  <c:v>0.47806313536650602</c:v>
                </c:pt>
                <c:pt idx="26806">
                  <c:v>0.47808097021580098</c:v>
                </c:pt>
                <c:pt idx="26807">
                  <c:v>0.478098805065097</c:v>
                </c:pt>
                <c:pt idx="26808">
                  <c:v>0.47811663991439202</c:v>
                </c:pt>
                <c:pt idx="26809">
                  <c:v>0.47813447476368798</c:v>
                </c:pt>
                <c:pt idx="26810">
                  <c:v>0.478152309612983</c:v>
                </c:pt>
                <c:pt idx="26811">
                  <c:v>0.47817014446227901</c:v>
                </c:pt>
                <c:pt idx="26812">
                  <c:v>0.47818797931157397</c:v>
                </c:pt>
                <c:pt idx="26813">
                  <c:v>0.47820581416086999</c:v>
                </c:pt>
                <c:pt idx="26814">
                  <c:v>0.47822364901016501</c:v>
                </c:pt>
                <c:pt idx="26815">
                  <c:v>0.47824148385946103</c:v>
                </c:pt>
                <c:pt idx="26816">
                  <c:v>0.47825931870875599</c:v>
                </c:pt>
                <c:pt idx="26817">
                  <c:v>0.478277153558052</c:v>
                </c:pt>
                <c:pt idx="26818">
                  <c:v>0.47829498840734702</c:v>
                </c:pt>
                <c:pt idx="26819">
                  <c:v>0.47831282325664298</c:v>
                </c:pt>
                <c:pt idx="26820">
                  <c:v>0.478330658105939</c:v>
                </c:pt>
                <c:pt idx="26821">
                  <c:v>0.47834849295523402</c:v>
                </c:pt>
                <c:pt idx="26822">
                  <c:v>0.47836632780452998</c:v>
                </c:pt>
                <c:pt idx="26823">
                  <c:v>0.478384162653825</c:v>
                </c:pt>
                <c:pt idx="26824">
                  <c:v>0.47840199750312101</c:v>
                </c:pt>
                <c:pt idx="26825">
                  <c:v>0.47841983235241597</c:v>
                </c:pt>
                <c:pt idx="26826">
                  <c:v>0.47843766720171199</c:v>
                </c:pt>
                <c:pt idx="26827">
                  <c:v>0.47845550205100701</c:v>
                </c:pt>
                <c:pt idx="26828">
                  <c:v>0.47847333690030303</c:v>
                </c:pt>
                <c:pt idx="26829">
                  <c:v>0.47849117174959799</c:v>
                </c:pt>
                <c:pt idx="26830">
                  <c:v>0.478509006598894</c:v>
                </c:pt>
                <c:pt idx="26831">
                  <c:v>0.47852684144818902</c:v>
                </c:pt>
                <c:pt idx="26832">
                  <c:v>0.47854467629748498</c:v>
                </c:pt>
                <c:pt idx="26833">
                  <c:v>0.47856251114678</c:v>
                </c:pt>
                <c:pt idx="26834">
                  <c:v>0.47858034599607602</c:v>
                </c:pt>
                <c:pt idx="26835">
                  <c:v>0.47859818084537098</c:v>
                </c:pt>
                <c:pt idx="26836">
                  <c:v>0.478616015694667</c:v>
                </c:pt>
                <c:pt idx="26837">
                  <c:v>0.47863385054396201</c:v>
                </c:pt>
                <c:pt idx="26838">
                  <c:v>0.47865168539325798</c:v>
                </c:pt>
                <c:pt idx="26839">
                  <c:v>0.47866952024255299</c:v>
                </c:pt>
                <c:pt idx="26840">
                  <c:v>0.47868735509184901</c:v>
                </c:pt>
                <c:pt idx="26841">
                  <c:v>0.47870518994114403</c:v>
                </c:pt>
                <c:pt idx="26842">
                  <c:v>0.47872302479043999</c:v>
                </c:pt>
                <c:pt idx="26843">
                  <c:v>0.478740859639736</c:v>
                </c:pt>
                <c:pt idx="26844">
                  <c:v>0.47875869448903102</c:v>
                </c:pt>
                <c:pt idx="26845">
                  <c:v>0.47877652933832698</c:v>
                </c:pt>
                <c:pt idx="26846">
                  <c:v>0.478794364187622</c:v>
                </c:pt>
                <c:pt idx="26847">
                  <c:v>0.47881219903691802</c:v>
                </c:pt>
                <c:pt idx="26848">
                  <c:v>0.47883003388621298</c:v>
                </c:pt>
                <c:pt idx="26849">
                  <c:v>0.478847868735509</c:v>
                </c:pt>
                <c:pt idx="26850">
                  <c:v>0.47886570358480401</c:v>
                </c:pt>
                <c:pt idx="26851">
                  <c:v>0.47888353843409998</c:v>
                </c:pt>
                <c:pt idx="26852">
                  <c:v>0.47890137328339499</c:v>
                </c:pt>
                <c:pt idx="26853">
                  <c:v>0.47891920813269101</c:v>
                </c:pt>
                <c:pt idx="26854">
                  <c:v>0.47893704298198603</c:v>
                </c:pt>
                <c:pt idx="26855">
                  <c:v>0.47895487783128199</c:v>
                </c:pt>
                <c:pt idx="26856">
                  <c:v>0.47897271268057701</c:v>
                </c:pt>
                <c:pt idx="26857">
                  <c:v>0.47899054752987302</c:v>
                </c:pt>
                <c:pt idx="26858">
                  <c:v>0.47900838237916799</c:v>
                </c:pt>
                <c:pt idx="26859">
                  <c:v>0.479026217228464</c:v>
                </c:pt>
                <c:pt idx="26860">
                  <c:v>0.47904405207775902</c:v>
                </c:pt>
                <c:pt idx="26861">
                  <c:v>0.47906188692705498</c:v>
                </c:pt>
                <c:pt idx="26862">
                  <c:v>0.479079721776351</c:v>
                </c:pt>
                <c:pt idx="26863">
                  <c:v>0.47909755662564601</c:v>
                </c:pt>
                <c:pt idx="26864">
                  <c:v>0.47911539147494198</c:v>
                </c:pt>
                <c:pt idx="26865">
                  <c:v>0.47913322632423699</c:v>
                </c:pt>
                <c:pt idx="26866">
                  <c:v>0.47915106117353301</c:v>
                </c:pt>
                <c:pt idx="26867">
                  <c:v>0.47916889602282797</c:v>
                </c:pt>
                <c:pt idx="26868">
                  <c:v>0.47918673087212399</c:v>
                </c:pt>
                <c:pt idx="26869">
                  <c:v>0.47920456572141901</c:v>
                </c:pt>
                <c:pt idx="26870">
                  <c:v>0.47922240057071502</c:v>
                </c:pt>
                <c:pt idx="26871">
                  <c:v>0.47924023542000999</c:v>
                </c:pt>
                <c:pt idx="26872">
                  <c:v>0.479258070269306</c:v>
                </c:pt>
                <c:pt idx="26873">
                  <c:v>0.47927590511860102</c:v>
                </c:pt>
                <c:pt idx="26874">
                  <c:v>0.47929373996789698</c:v>
                </c:pt>
                <c:pt idx="26875">
                  <c:v>0.479311574817192</c:v>
                </c:pt>
                <c:pt idx="26876">
                  <c:v>0.47932940966648802</c:v>
                </c:pt>
                <c:pt idx="26877">
                  <c:v>0.47934724451578298</c:v>
                </c:pt>
                <c:pt idx="26878">
                  <c:v>0.47936507936507899</c:v>
                </c:pt>
                <c:pt idx="26879">
                  <c:v>0.47938291421437401</c:v>
                </c:pt>
                <c:pt idx="26880">
                  <c:v>0.47940074906366997</c:v>
                </c:pt>
                <c:pt idx="26881">
                  <c:v>0.47941858391296499</c:v>
                </c:pt>
                <c:pt idx="26882">
                  <c:v>0.47943641876226101</c:v>
                </c:pt>
                <c:pt idx="26883">
                  <c:v>0.47945425361155602</c:v>
                </c:pt>
                <c:pt idx="26884">
                  <c:v>0.47947208846085199</c:v>
                </c:pt>
                <c:pt idx="26885">
                  <c:v>0.479489923310148</c:v>
                </c:pt>
                <c:pt idx="26886">
                  <c:v>0.47950775815944302</c:v>
                </c:pt>
                <c:pt idx="26887">
                  <c:v>0.47952559300873898</c:v>
                </c:pt>
                <c:pt idx="26888">
                  <c:v>0.479543427858034</c:v>
                </c:pt>
                <c:pt idx="26889">
                  <c:v>0.47956126270733002</c:v>
                </c:pt>
                <c:pt idx="26890">
                  <c:v>0.47957909755662498</c:v>
                </c:pt>
                <c:pt idx="26891">
                  <c:v>0.47959693240592099</c:v>
                </c:pt>
                <c:pt idx="26892">
                  <c:v>0.47961476725521601</c:v>
                </c:pt>
                <c:pt idx="26893">
                  <c:v>0.47963260210451197</c:v>
                </c:pt>
                <c:pt idx="26894">
                  <c:v>0.47965043695380699</c:v>
                </c:pt>
                <c:pt idx="26895">
                  <c:v>0.47966827180310301</c:v>
                </c:pt>
                <c:pt idx="26896">
                  <c:v>0.47968610665239803</c:v>
                </c:pt>
                <c:pt idx="26897">
                  <c:v>0.47970394150169399</c:v>
                </c:pt>
                <c:pt idx="26898">
                  <c:v>0.479721776350989</c:v>
                </c:pt>
                <c:pt idx="26899">
                  <c:v>0.47973961120028502</c:v>
                </c:pt>
                <c:pt idx="26900">
                  <c:v>0.47975744604957998</c:v>
                </c:pt>
                <c:pt idx="26901">
                  <c:v>0.479775280898876</c:v>
                </c:pt>
                <c:pt idx="26902">
                  <c:v>0.47979311574817102</c:v>
                </c:pt>
                <c:pt idx="26903">
                  <c:v>0.47981095059746698</c:v>
                </c:pt>
                <c:pt idx="26904">
                  <c:v>0.479828785446763</c:v>
                </c:pt>
                <c:pt idx="26905">
                  <c:v>0.47984662029605801</c:v>
                </c:pt>
                <c:pt idx="26906">
                  <c:v>0.47986445514535397</c:v>
                </c:pt>
                <c:pt idx="26907">
                  <c:v>0.47988228999464899</c:v>
                </c:pt>
                <c:pt idx="26908">
                  <c:v>0.47990012484394501</c:v>
                </c:pt>
                <c:pt idx="26909">
                  <c:v>0.47991795969324003</c:v>
                </c:pt>
                <c:pt idx="26910">
                  <c:v>0.47993579454253599</c:v>
                </c:pt>
                <c:pt idx="26911">
                  <c:v>0.479953629391831</c:v>
                </c:pt>
                <c:pt idx="26912">
                  <c:v>0.47997146424112702</c:v>
                </c:pt>
                <c:pt idx="26913">
                  <c:v>0.47998929909042198</c:v>
                </c:pt>
                <c:pt idx="26914">
                  <c:v>0.480007133939718</c:v>
                </c:pt>
                <c:pt idx="26915">
                  <c:v>0.48002496878901302</c:v>
                </c:pt>
                <c:pt idx="26916">
                  <c:v>0.48004280363830898</c:v>
                </c:pt>
                <c:pt idx="26917">
                  <c:v>0.480060638487604</c:v>
                </c:pt>
                <c:pt idx="26918">
                  <c:v>0.48007847333690001</c:v>
                </c:pt>
                <c:pt idx="26919">
                  <c:v>0.48009630818619498</c:v>
                </c:pt>
                <c:pt idx="26920">
                  <c:v>0.48011414303549099</c:v>
                </c:pt>
                <c:pt idx="26921">
                  <c:v>0.48013197788478601</c:v>
                </c:pt>
                <c:pt idx="26922">
                  <c:v>0.48014981273408203</c:v>
                </c:pt>
                <c:pt idx="26923">
                  <c:v>0.48016764758337699</c:v>
                </c:pt>
                <c:pt idx="26924">
                  <c:v>0.48018548243267301</c:v>
                </c:pt>
                <c:pt idx="26925">
                  <c:v>0.48020331728196802</c:v>
                </c:pt>
                <c:pt idx="26926">
                  <c:v>0.48022115213126398</c:v>
                </c:pt>
                <c:pt idx="26927">
                  <c:v>0.48023898698056</c:v>
                </c:pt>
                <c:pt idx="26928">
                  <c:v>0.48025682182985502</c:v>
                </c:pt>
                <c:pt idx="26929">
                  <c:v>0.48027465667915098</c:v>
                </c:pt>
                <c:pt idx="26930">
                  <c:v>0.480292491528446</c:v>
                </c:pt>
                <c:pt idx="26931">
                  <c:v>0.48031032637774201</c:v>
                </c:pt>
                <c:pt idx="26932">
                  <c:v>0.48032816122703698</c:v>
                </c:pt>
                <c:pt idx="26933">
                  <c:v>0.48034599607633299</c:v>
                </c:pt>
                <c:pt idx="26934">
                  <c:v>0.48036383092562801</c:v>
                </c:pt>
                <c:pt idx="26935">
                  <c:v>0.48038166577492403</c:v>
                </c:pt>
                <c:pt idx="26936">
                  <c:v>0.48039950062421899</c:v>
                </c:pt>
                <c:pt idx="26937">
                  <c:v>0.48041733547351501</c:v>
                </c:pt>
                <c:pt idx="26938">
                  <c:v>0.48043517032281002</c:v>
                </c:pt>
                <c:pt idx="26939">
                  <c:v>0.48045300517210598</c:v>
                </c:pt>
                <c:pt idx="26940">
                  <c:v>0.480470840021401</c:v>
                </c:pt>
                <c:pt idx="26941">
                  <c:v>0.48048867487069702</c:v>
                </c:pt>
                <c:pt idx="26942">
                  <c:v>0.48050650971999198</c:v>
                </c:pt>
                <c:pt idx="26943">
                  <c:v>0.480524344569288</c:v>
                </c:pt>
                <c:pt idx="26944">
                  <c:v>0.48054217941858302</c:v>
                </c:pt>
                <c:pt idx="26945">
                  <c:v>0.48056001426787898</c:v>
                </c:pt>
                <c:pt idx="26946">
                  <c:v>0.48057784911717399</c:v>
                </c:pt>
                <c:pt idx="26947">
                  <c:v>0.48059568396647001</c:v>
                </c:pt>
                <c:pt idx="26948">
                  <c:v>0.48061351881576603</c:v>
                </c:pt>
                <c:pt idx="26949">
                  <c:v>0.48063135366506099</c:v>
                </c:pt>
                <c:pt idx="26950">
                  <c:v>0.48064918851435701</c:v>
                </c:pt>
                <c:pt idx="26951">
                  <c:v>0.48066702336365202</c:v>
                </c:pt>
                <c:pt idx="26952">
                  <c:v>0.48068485821294799</c:v>
                </c:pt>
                <c:pt idx="26953">
                  <c:v>0.480702693062243</c:v>
                </c:pt>
                <c:pt idx="26954">
                  <c:v>0.48072052791153902</c:v>
                </c:pt>
                <c:pt idx="26955">
                  <c:v>0.48073836276083398</c:v>
                </c:pt>
                <c:pt idx="26956">
                  <c:v>0.48075619761013</c:v>
                </c:pt>
                <c:pt idx="26957">
                  <c:v>0.48077403245942502</c:v>
                </c:pt>
                <c:pt idx="26958">
                  <c:v>0.48079186730872098</c:v>
                </c:pt>
                <c:pt idx="26959">
                  <c:v>0.48080970215801599</c:v>
                </c:pt>
                <c:pt idx="26960">
                  <c:v>0.48082753700731201</c:v>
                </c:pt>
                <c:pt idx="26961">
                  <c:v>0.48084537185660697</c:v>
                </c:pt>
                <c:pt idx="26962">
                  <c:v>0.48086320670590299</c:v>
                </c:pt>
                <c:pt idx="26963">
                  <c:v>0.48088104155519801</c:v>
                </c:pt>
                <c:pt idx="26964">
                  <c:v>0.48089887640449402</c:v>
                </c:pt>
                <c:pt idx="26965">
                  <c:v>0.48091671125378899</c:v>
                </c:pt>
                <c:pt idx="26966">
                  <c:v>0.480934546103085</c:v>
                </c:pt>
                <c:pt idx="26967">
                  <c:v>0.48095238095238002</c:v>
                </c:pt>
                <c:pt idx="26968">
                  <c:v>0.48097021580167598</c:v>
                </c:pt>
                <c:pt idx="26969">
                  <c:v>0.480988050650972</c:v>
                </c:pt>
                <c:pt idx="26970">
                  <c:v>0.48100588550026702</c:v>
                </c:pt>
                <c:pt idx="26971">
                  <c:v>0.48102372034956298</c:v>
                </c:pt>
                <c:pt idx="26972">
                  <c:v>0.481041555198858</c:v>
                </c:pt>
                <c:pt idx="26973">
                  <c:v>0.48105939004815401</c:v>
                </c:pt>
                <c:pt idx="26974">
                  <c:v>0.48107722489744897</c:v>
                </c:pt>
                <c:pt idx="26975">
                  <c:v>0.48109505974674499</c:v>
                </c:pt>
                <c:pt idx="26976">
                  <c:v>0.48111289459604001</c:v>
                </c:pt>
                <c:pt idx="26977">
                  <c:v>0.48113072944533603</c:v>
                </c:pt>
                <c:pt idx="26978">
                  <c:v>0.48114856429463099</c:v>
                </c:pt>
                <c:pt idx="26979">
                  <c:v>0.481166399143927</c:v>
                </c:pt>
                <c:pt idx="26980">
                  <c:v>0.48118423399322202</c:v>
                </c:pt>
                <c:pt idx="26981">
                  <c:v>0.48120206884251798</c:v>
                </c:pt>
                <c:pt idx="26982">
                  <c:v>0.481219903691813</c:v>
                </c:pt>
                <c:pt idx="26983">
                  <c:v>0.48123773854110902</c:v>
                </c:pt>
                <c:pt idx="26984">
                  <c:v>0.48125557339040398</c:v>
                </c:pt>
                <c:pt idx="26985">
                  <c:v>0.4812734082397</c:v>
                </c:pt>
                <c:pt idx="26986">
                  <c:v>0.48129124308899501</c:v>
                </c:pt>
                <c:pt idx="26987">
                  <c:v>0.48130907793829097</c:v>
                </c:pt>
                <c:pt idx="26988">
                  <c:v>0.48132691278758599</c:v>
                </c:pt>
                <c:pt idx="26989">
                  <c:v>0.48134474763688201</c:v>
                </c:pt>
                <c:pt idx="26990">
                  <c:v>0.48136258248617703</c:v>
                </c:pt>
                <c:pt idx="26991">
                  <c:v>0.48138041733547299</c:v>
                </c:pt>
                <c:pt idx="26992">
                  <c:v>0.481398252184769</c:v>
                </c:pt>
                <c:pt idx="26993">
                  <c:v>0.48141608703406402</c:v>
                </c:pt>
                <c:pt idx="26994">
                  <c:v>0.48143392188335998</c:v>
                </c:pt>
                <c:pt idx="26995">
                  <c:v>0.481451756732655</c:v>
                </c:pt>
                <c:pt idx="26996">
                  <c:v>0.48146959158195102</c:v>
                </c:pt>
                <c:pt idx="26997">
                  <c:v>0.48148742643124598</c:v>
                </c:pt>
                <c:pt idx="26998">
                  <c:v>0.481505261280542</c:v>
                </c:pt>
                <c:pt idx="26999">
                  <c:v>0.48152309612983701</c:v>
                </c:pt>
                <c:pt idx="27000">
                  <c:v>0.48154093097913298</c:v>
                </c:pt>
                <c:pt idx="27001">
                  <c:v>0.48155876582842799</c:v>
                </c:pt>
                <c:pt idx="27002">
                  <c:v>0.48157660067772401</c:v>
                </c:pt>
                <c:pt idx="27003">
                  <c:v>0.48159443552701903</c:v>
                </c:pt>
                <c:pt idx="27004">
                  <c:v>0.48161227037631499</c:v>
                </c:pt>
                <c:pt idx="27005">
                  <c:v>0.48163010522561001</c:v>
                </c:pt>
                <c:pt idx="27006">
                  <c:v>0.48164794007490602</c:v>
                </c:pt>
                <c:pt idx="27007">
                  <c:v>0.48166577492420098</c:v>
                </c:pt>
                <c:pt idx="27008">
                  <c:v>0.481683609773497</c:v>
                </c:pt>
                <c:pt idx="27009">
                  <c:v>0.48170144462279202</c:v>
                </c:pt>
                <c:pt idx="27010">
                  <c:v>0.48171927947208798</c:v>
                </c:pt>
                <c:pt idx="27011">
                  <c:v>0.481737114321384</c:v>
                </c:pt>
                <c:pt idx="27012">
                  <c:v>0.48175494917067901</c:v>
                </c:pt>
                <c:pt idx="27013">
                  <c:v>0.48177278401997498</c:v>
                </c:pt>
                <c:pt idx="27014">
                  <c:v>0.48179061886926999</c:v>
                </c:pt>
                <c:pt idx="27015">
                  <c:v>0.48180845371856601</c:v>
                </c:pt>
                <c:pt idx="27016">
                  <c:v>0.48182628856786103</c:v>
                </c:pt>
                <c:pt idx="27017">
                  <c:v>0.48184412341715699</c:v>
                </c:pt>
                <c:pt idx="27018">
                  <c:v>0.48186195826645201</c:v>
                </c:pt>
                <c:pt idx="27019">
                  <c:v>0.48187979311574802</c:v>
                </c:pt>
                <c:pt idx="27020">
                  <c:v>0.48189762796504299</c:v>
                </c:pt>
                <c:pt idx="27021">
                  <c:v>0.481915462814339</c:v>
                </c:pt>
                <c:pt idx="27022">
                  <c:v>0.48193329766363402</c:v>
                </c:pt>
                <c:pt idx="27023">
                  <c:v>0.48195113251292998</c:v>
                </c:pt>
                <c:pt idx="27024">
                  <c:v>0.481968967362225</c:v>
                </c:pt>
                <c:pt idx="27025">
                  <c:v>0.48198680221152101</c:v>
                </c:pt>
                <c:pt idx="27026">
                  <c:v>0.48200463706081598</c:v>
                </c:pt>
                <c:pt idx="27027">
                  <c:v>0.48202247191011199</c:v>
                </c:pt>
                <c:pt idx="27028">
                  <c:v>0.48204030675940701</c:v>
                </c:pt>
                <c:pt idx="27029">
                  <c:v>0.48205814160870297</c:v>
                </c:pt>
                <c:pt idx="27030">
                  <c:v>0.48207597645799799</c:v>
                </c:pt>
                <c:pt idx="27031">
                  <c:v>0.48209381130729401</c:v>
                </c:pt>
                <c:pt idx="27032">
                  <c:v>0.48211164615658902</c:v>
                </c:pt>
                <c:pt idx="27033">
                  <c:v>0.48212948100588499</c:v>
                </c:pt>
                <c:pt idx="27034">
                  <c:v>0.482147315855181</c:v>
                </c:pt>
                <c:pt idx="27035">
                  <c:v>0.48216515070447602</c:v>
                </c:pt>
                <c:pt idx="27036">
                  <c:v>0.48218298555377198</c:v>
                </c:pt>
                <c:pt idx="27037">
                  <c:v>0.482200820403067</c:v>
                </c:pt>
                <c:pt idx="27038">
                  <c:v>0.48221865525236302</c:v>
                </c:pt>
                <c:pt idx="27039">
                  <c:v>0.48223649010165798</c:v>
                </c:pt>
                <c:pt idx="27040">
                  <c:v>0.48225432495095399</c:v>
                </c:pt>
                <c:pt idx="27041">
                  <c:v>0.48227215980024901</c:v>
                </c:pt>
                <c:pt idx="27042">
                  <c:v>0.48228999464954497</c:v>
                </c:pt>
                <c:pt idx="27043">
                  <c:v>0.48230782949883999</c:v>
                </c:pt>
                <c:pt idx="27044">
                  <c:v>0.48232566434813601</c:v>
                </c:pt>
                <c:pt idx="27045">
                  <c:v>0.48234349919743102</c:v>
                </c:pt>
                <c:pt idx="27046">
                  <c:v>0.48236133404672699</c:v>
                </c:pt>
                <c:pt idx="27047">
                  <c:v>0.482379168896022</c:v>
                </c:pt>
                <c:pt idx="27048">
                  <c:v>0.48239700374531802</c:v>
                </c:pt>
                <c:pt idx="27049">
                  <c:v>0.48241483859461298</c:v>
                </c:pt>
                <c:pt idx="27050">
                  <c:v>0.482432673443909</c:v>
                </c:pt>
                <c:pt idx="27051">
                  <c:v>0.48245050829320402</c:v>
                </c:pt>
                <c:pt idx="27052">
                  <c:v>0.48246834314249998</c:v>
                </c:pt>
                <c:pt idx="27053">
                  <c:v>0.48248617799179599</c:v>
                </c:pt>
                <c:pt idx="27054">
                  <c:v>0.48250401284109101</c:v>
                </c:pt>
                <c:pt idx="27055">
                  <c:v>0.48252184769038697</c:v>
                </c:pt>
                <c:pt idx="27056">
                  <c:v>0.48253968253968199</c:v>
                </c:pt>
                <c:pt idx="27057">
                  <c:v>0.48255751738897801</c:v>
                </c:pt>
                <c:pt idx="27058">
                  <c:v>0.48257535223827303</c:v>
                </c:pt>
                <c:pt idx="27059">
                  <c:v>0.48259318708756899</c:v>
                </c:pt>
                <c:pt idx="27060">
                  <c:v>0.482611021936864</c:v>
                </c:pt>
                <c:pt idx="27061">
                  <c:v>0.48262885678616002</c:v>
                </c:pt>
                <c:pt idx="27062">
                  <c:v>0.48264669163545498</c:v>
                </c:pt>
                <c:pt idx="27063">
                  <c:v>0.482664526484751</c:v>
                </c:pt>
                <c:pt idx="27064">
                  <c:v>0.48268236133404602</c:v>
                </c:pt>
                <c:pt idx="27065">
                  <c:v>0.48270019618334198</c:v>
                </c:pt>
                <c:pt idx="27066">
                  <c:v>0.482718031032637</c:v>
                </c:pt>
                <c:pt idx="27067">
                  <c:v>0.48273586588193301</c:v>
                </c:pt>
                <c:pt idx="27068">
                  <c:v>0.48275370073122797</c:v>
                </c:pt>
                <c:pt idx="27069">
                  <c:v>0.48277153558052399</c:v>
                </c:pt>
                <c:pt idx="27070">
                  <c:v>0.48278937042981901</c:v>
                </c:pt>
                <c:pt idx="27071">
                  <c:v>0.48280720527911503</c:v>
                </c:pt>
                <c:pt idx="27072">
                  <c:v>0.48282504012840999</c:v>
                </c:pt>
                <c:pt idx="27073">
                  <c:v>0.482842874977706</c:v>
                </c:pt>
                <c:pt idx="27074">
                  <c:v>0.48286070982700102</c:v>
                </c:pt>
                <c:pt idx="27075">
                  <c:v>0.48287854467629698</c:v>
                </c:pt>
                <c:pt idx="27076">
                  <c:v>0.482896379525593</c:v>
                </c:pt>
                <c:pt idx="27077">
                  <c:v>0.48291421437488802</c:v>
                </c:pt>
                <c:pt idx="27078">
                  <c:v>0.48293204922418398</c:v>
                </c:pt>
                <c:pt idx="27079">
                  <c:v>0.482949884073479</c:v>
                </c:pt>
                <c:pt idx="27080">
                  <c:v>0.48296771892277501</c:v>
                </c:pt>
                <c:pt idx="27081">
                  <c:v>0.48298555377206998</c:v>
                </c:pt>
                <c:pt idx="27082">
                  <c:v>0.48300338862136599</c:v>
                </c:pt>
                <c:pt idx="27083">
                  <c:v>0.48302122347066101</c:v>
                </c:pt>
                <c:pt idx="27084">
                  <c:v>0.48303905831995703</c:v>
                </c:pt>
                <c:pt idx="27085">
                  <c:v>0.48305689316925199</c:v>
                </c:pt>
                <c:pt idx="27086">
                  <c:v>0.48307472801854801</c:v>
                </c:pt>
                <c:pt idx="27087">
                  <c:v>0.48309256286784302</c:v>
                </c:pt>
                <c:pt idx="27088">
                  <c:v>0.48311039771713898</c:v>
                </c:pt>
                <c:pt idx="27089">
                  <c:v>0.483128232566434</c:v>
                </c:pt>
                <c:pt idx="27090">
                  <c:v>0.48314606741573002</c:v>
                </c:pt>
                <c:pt idx="27091">
                  <c:v>0.48316390226502498</c:v>
                </c:pt>
                <c:pt idx="27092">
                  <c:v>0.483181737114321</c:v>
                </c:pt>
                <c:pt idx="27093">
                  <c:v>0.48319957196361601</c:v>
                </c:pt>
                <c:pt idx="27094">
                  <c:v>0.48321740681291198</c:v>
                </c:pt>
                <c:pt idx="27095">
                  <c:v>0.48323524166220699</c:v>
                </c:pt>
                <c:pt idx="27096">
                  <c:v>0.48325307651150301</c:v>
                </c:pt>
                <c:pt idx="27097">
                  <c:v>0.48327091136079903</c:v>
                </c:pt>
                <c:pt idx="27098">
                  <c:v>0.48328874621009399</c:v>
                </c:pt>
                <c:pt idx="27099">
                  <c:v>0.48330658105939001</c:v>
                </c:pt>
                <c:pt idx="27100">
                  <c:v>0.48332441590868502</c:v>
                </c:pt>
                <c:pt idx="27101">
                  <c:v>0.48334225075798098</c:v>
                </c:pt>
                <c:pt idx="27102">
                  <c:v>0.483360085607276</c:v>
                </c:pt>
                <c:pt idx="27103">
                  <c:v>0.48337792045657202</c:v>
                </c:pt>
                <c:pt idx="27104">
                  <c:v>0.48339575530586698</c:v>
                </c:pt>
                <c:pt idx="27105">
                  <c:v>0.483413590155163</c:v>
                </c:pt>
                <c:pt idx="27106">
                  <c:v>0.48343142500445802</c:v>
                </c:pt>
                <c:pt idx="27107">
                  <c:v>0.48344925985375398</c:v>
                </c:pt>
                <c:pt idx="27108">
                  <c:v>0.48346709470304899</c:v>
                </c:pt>
                <c:pt idx="27109">
                  <c:v>0.48348492955234501</c:v>
                </c:pt>
                <c:pt idx="27110">
                  <c:v>0.48350276440163997</c:v>
                </c:pt>
                <c:pt idx="27111">
                  <c:v>0.48352059925093599</c:v>
                </c:pt>
                <c:pt idx="27112">
                  <c:v>0.48353843410023101</c:v>
                </c:pt>
                <c:pt idx="27113">
                  <c:v>0.48355626894952702</c:v>
                </c:pt>
                <c:pt idx="27114">
                  <c:v>0.48357410379882199</c:v>
                </c:pt>
                <c:pt idx="27115">
                  <c:v>0.483591938648118</c:v>
                </c:pt>
                <c:pt idx="27116">
                  <c:v>0.48360977349741302</c:v>
                </c:pt>
                <c:pt idx="27117">
                  <c:v>0.48362760834670898</c:v>
                </c:pt>
                <c:pt idx="27118">
                  <c:v>0.483645443196005</c:v>
                </c:pt>
                <c:pt idx="27119">
                  <c:v>0.48366327804530002</c:v>
                </c:pt>
                <c:pt idx="27120">
                  <c:v>0.48368111289459598</c:v>
                </c:pt>
                <c:pt idx="27121">
                  <c:v>0.48369894774389099</c:v>
                </c:pt>
                <c:pt idx="27122">
                  <c:v>0.48371678259318701</c:v>
                </c:pt>
                <c:pt idx="27123">
                  <c:v>0.48373461744248197</c:v>
                </c:pt>
                <c:pt idx="27124">
                  <c:v>0.48375245229177799</c:v>
                </c:pt>
                <c:pt idx="27125">
                  <c:v>0.48377028714107301</c:v>
                </c:pt>
                <c:pt idx="27126">
                  <c:v>0.48378812199036902</c:v>
                </c:pt>
                <c:pt idx="27127">
                  <c:v>0.48380595683966399</c:v>
                </c:pt>
                <c:pt idx="27128">
                  <c:v>0.48382379168896</c:v>
                </c:pt>
                <c:pt idx="27129">
                  <c:v>0.48384162653825502</c:v>
                </c:pt>
                <c:pt idx="27130">
                  <c:v>0.48385946138755098</c:v>
                </c:pt>
                <c:pt idx="27131">
                  <c:v>0.483877296236846</c:v>
                </c:pt>
                <c:pt idx="27132">
                  <c:v>0.48389513108614202</c:v>
                </c:pt>
                <c:pt idx="27133">
                  <c:v>0.48391296593543698</c:v>
                </c:pt>
                <c:pt idx="27134">
                  <c:v>0.483930800784733</c:v>
                </c:pt>
                <c:pt idx="27135">
                  <c:v>0.48394863563402801</c:v>
                </c:pt>
                <c:pt idx="27136">
                  <c:v>0.48396647048332397</c:v>
                </c:pt>
                <c:pt idx="27137">
                  <c:v>0.48398430533261899</c:v>
                </c:pt>
                <c:pt idx="27138">
                  <c:v>0.48400214018191501</c:v>
                </c:pt>
                <c:pt idx="27139">
                  <c:v>0.48401997503121003</c:v>
                </c:pt>
                <c:pt idx="27140">
                  <c:v>0.48403780988050599</c:v>
                </c:pt>
                <c:pt idx="27141">
                  <c:v>0.484055644729802</c:v>
                </c:pt>
                <c:pt idx="27142">
                  <c:v>0.48407347957909702</c:v>
                </c:pt>
                <c:pt idx="27143">
                  <c:v>0.48409131442839298</c:v>
                </c:pt>
                <c:pt idx="27144">
                  <c:v>0.484109149277688</c:v>
                </c:pt>
                <c:pt idx="27145">
                  <c:v>0.48412698412698402</c:v>
                </c:pt>
                <c:pt idx="27146">
                  <c:v>0.48414481897627898</c:v>
                </c:pt>
                <c:pt idx="27147">
                  <c:v>0.484162653825575</c:v>
                </c:pt>
                <c:pt idx="27148">
                  <c:v>0.48418048867487001</c:v>
                </c:pt>
                <c:pt idx="27149">
                  <c:v>0.48419832352416597</c:v>
                </c:pt>
                <c:pt idx="27150">
                  <c:v>0.48421615837346099</c:v>
                </c:pt>
                <c:pt idx="27151">
                  <c:v>0.48423399322275701</c:v>
                </c:pt>
                <c:pt idx="27152">
                  <c:v>0.48425182807205203</c:v>
                </c:pt>
                <c:pt idx="27153">
                  <c:v>0.48426966292134799</c:v>
                </c:pt>
                <c:pt idx="27154">
                  <c:v>0.48428749777064301</c:v>
                </c:pt>
                <c:pt idx="27155">
                  <c:v>0.48430533261993902</c:v>
                </c:pt>
                <c:pt idx="27156">
                  <c:v>0.48432316746923398</c:v>
                </c:pt>
                <c:pt idx="27157">
                  <c:v>0.48434100231853</c:v>
                </c:pt>
                <c:pt idx="27158">
                  <c:v>0.48435883716782502</c:v>
                </c:pt>
                <c:pt idx="27159">
                  <c:v>0.48437667201712098</c:v>
                </c:pt>
                <c:pt idx="27160">
                  <c:v>0.484394506866417</c:v>
                </c:pt>
                <c:pt idx="27161">
                  <c:v>0.48441234171571201</c:v>
                </c:pt>
                <c:pt idx="27162">
                  <c:v>0.48443017656500797</c:v>
                </c:pt>
                <c:pt idx="27163">
                  <c:v>0.48444801141430299</c:v>
                </c:pt>
                <c:pt idx="27164">
                  <c:v>0.48446584626359901</c:v>
                </c:pt>
                <c:pt idx="27165">
                  <c:v>0.48448368111289403</c:v>
                </c:pt>
                <c:pt idx="27166">
                  <c:v>0.48450151596218999</c:v>
                </c:pt>
                <c:pt idx="27167">
                  <c:v>0.48451935081148501</c:v>
                </c:pt>
                <c:pt idx="27168">
                  <c:v>0.48453718566078102</c:v>
                </c:pt>
                <c:pt idx="27169">
                  <c:v>0.48455502051007598</c:v>
                </c:pt>
                <c:pt idx="27170">
                  <c:v>0.484572855359372</c:v>
                </c:pt>
                <c:pt idx="27171">
                  <c:v>0.48459069020866702</c:v>
                </c:pt>
                <c:pt idx="27172">
                  <c:v>0.48460852505796298</c:v>
                </c:pt>
                <c:pt idx="27173">
                  <c:v>0.484626359907258</c:v>
                </c:pt>
                <c:pt idx="27174">
                  <c:v>0.48464419475655401</c:v>
                </c:pt>
                <c:pt idx="27175">
                  <c:v>0.48466202960584898</c:v>
                </c:pt>
                <c:pt idx="27176">
                  <c:v>0.48467986445514499</c:v>
                </c:pt>
                <c:pt idx="27177">
                  <c:v>0.48469769930444001</c:v>
                </c:pt>
                <c:pt idx="27178">
                  <c:v>0.48471553415373603</c:v>
                </c:pt>
                <c:pt idx="27179">
                  <c:v>0.48473336900303099</c:v>
                </c:pt>
                <c:pt idx="27180">
                  <c:v>0.48475120385232701</c:v>
                </c:pt>
                <c:pt idx="27181">
                  <c:v>0.48476903870162202</c:v>
                </c:pt>
                <c:pt idx="27182">
                  <c:v>0.48478687355091798</c:v>
                </c:pt>
                <c:pt idx="27183">
                  <c:v>0.484804708400214</c:v>
                </c:pt>
                <c:pt idx="27184">
                  <c:v>0.48482254324950902</c:v>
                </c:pt>
                <c:pt idx="27185">
                  <c:v>0.48484037809880498</c:v>
                </c:pt>
                <c:pt idx="27186">
                  <c:v>0.4848582129481</c:v>
                </c:pt>
                <c:pt idx="27187">
                  <c:v>0.48487604779739601</c:v>
                </c:pt>
                <c:pt idx="27188">
                  <c:v>0.48489388264669098</c:v>
                </c:pt>
                <c:pt idx="27189">
                  <c:v>0.48491171749598699</c:v>
                </c:pt>
                <c:pt idx="27190">
                  <c:v>0.48492955234528201</c:v>
                </c:pt>
                <c:pt idx="27191">
                  <c:v>0.48494738719457797</c:v>
                </c:pt>
                <c:pt idx="27192">
                  <c:v>0.48496522204387299</c:v>
                </c:pt>
                <c:pt idx="27193">
                  <c:v>0.48498305689316901</c:v>
                </c:pt>
                <c:pt idx="27194">
                  <c:v>0.48500089174246402</c:v>
                </c:pt>
                <c:pt idx="27195">
                  <c:v>0.48501872659175999</c:v>
                </c:pt>
                <c:pt idx="27196">
                  <c:v>0.485036561441055</c:v>
                </c:pt>
                <c:pt idx="27197">
                  <c:v>0.48505439629035102</c:v>
                </c:pt>
                <c:pt idx="27198">
                  <c:v>0.48507223113964598</c:v>
                </c:pt>
                <c:pt idx="27199">
                  <c:v>0.485090065988942</c:v>
                </c:pt>
                <c:pt idx="27200">
                  <c:v>0.48510790083823702</c:v>
                </c:pt>
                <c:pt idx="27201">
                  <c:v>0.48512573568753298</c:v>
                </c:pt>
                <c:pt idx="27202">
                  <c:v>0.48514357053682799</c:v>
                </c:pt>
                <c:pt idx="27203">
                  <c:v>0.48516140538612401</c:v>
                </c:pt>
                <c:pt idx="27204">
                  <c:v>0.48517924023541997</c:v>
                </c:pt>
                <c:pt idx="27205">
                  <c:v>0.48519707508471499</c:v>
                </c:pt>
                <c:pt idx="27206">
                  <c:v>0.48521490993401101</c:v>
                </c:pt>
                <c:pt idx="27207">
                  <c:v>0.48523274478330602</c:v>
                </c:pt>
                <c:pt idx="27208">
                  <c:v>0.48525057963260199</c:v>
                </c:pt>
                <c:pt idx="27209">
                  <c:v>0.485268414481897</c:v>
                </c:pt>
                <c:pt idx="27210">
                  <c:v>0.48528624933119302</c:v>
                </c:pt>
                <c:pt idx="27211">
                  <c:v>0.48530408418048798</c:v>
                </c:pt>
                <c:pt idx="27212">
                  <c:v>0.485321919029784</c:v>
                </c:pt>
                <c:pt idx="27213">
                  <c:v>0.48533975387907902</c:v>
                </c:pt>
                <c:pt idx="27214">
                  <c:v>0.48535758872837498</c:v>
                </c:pt>
                <c:pt idx="27215">
                  <c:v>0.48537542357767</c:v>
                </c:pt>
                <c:pt idx="27216">
                  <c:v>0.48539325842696601</c:v>
                </c:pt>
                <c:pt idx="27217">
                  <c:v>0.48541109327626097</c:v>
                </c:pt>
                <c:pt idx="27218">
                  <c:v>0.48542892812555699</c:v>
                </c:pt>
                <c:pt idx="27219">
                  <c:v>0.48544676297485201</c:v>
                </c:pt>
                <c:pt idx="27220">
                  <c:v>0.48546459782414803</c:v>
                </c:pt>
                <c:pt idx="27221">
                  <c:v>0.48548243267344299</c:v>
                </c:pt>
                <c:pt idx="27222">
                  <c:v>0.485500267522739</c:v>
                </c:pt>
                <c:pt idx="27223">
                  <c:v>0.48551810237203402</c:v>
                </c:pt>
                <c:pt idx="27224">
                  <c:v>0.48553593722132998</c:v>
                </c:pt>
                <c:pt idx="27225">
                  <c:v>0.485553772070626</c:v>
                </c:pt>
                <c:pt idx="27226">
                  <c:v>0.48557160691992102</c:v>
                </c:pt>
                <c:pt idx="27227">
                  <c:v>0.48558944176921698</c:v>
                </c:pt>
                <c:pt idx="27228">
                  <c:v>0.485607276618512</c:v>
                </c:pt>
                <c:pt idx="27229">
                  <c:v>0.48562511146780801</c:v>
                </c:pt>
                <c:pt idx="27230">
                  <c:v>0.48564294631710297</c:v>
                </c:pt>
                <c:pt idx="27231">
                  <c:v>0.48566078116639899</c:v>
                </c:pt>
                <c:pt idx="27232">
                  <c:v>0.48567861601569401</c:v>
                </c:pt>
                <c:pt idx="27233">
                  <c:v>0.48569645086499003</c:v>
                </c:pt>
                <c:pt idx="27234">
                  <c:v>0.48571428571428499</c:v>
                </c:pt>
                <c:pt idx="27235">
                  <c:v>0.485732120563581</c:v>
                </c:pt>
                <c:pt idx="27236">
                  <c:v>0.48574995541287602</c:v>
                </c:pt>
                <c:pt idx="27237">
                  <c:v>0.48576779026217198</c:v>
                </c:pt>
                <c:pt idx="27238">
                  <c:v>0.485785625111467</c:v>
                </c:pt>
                <c:pt idx="27239">
                  <c:v>0.48580345996076302</c:v>
                </c:pt>
                <c:pt idx="27240">
                  <c:v>0.48582129481005798</c:v>
                </c:pt>
                <c:pt idx="27241">
                  <c:v>0.485839129659354</c:v>
                </c:pt>
                <c:pt idx="27242">
                  <c:v>0.48585696450864901</c:v>
                </c:pt>
                <c:pt idx="27243">
                  <c:v>0.48587479935794498</c:v>
                </c:pt>
                <c:pt idx="27244">
                  <c:v>0.48589263420723999</c:v>
                </c:pt>
                <c:pt idx="27245">
                  <c:v>0.48591046905653601</c:v>
                </c:pt>
                <c:pt idx="27246">
                  <c:v>0.48592830390583103</c:v>
                </c:pt>
                <c:pt idx="27247">
                  <c:v>0.48594613875512699</c:v>
                </c:pt>
                <c:pt idx="27248">
                  <c:v>0.48596397360442301</c:v>
                </c:pt>
                <c:pt idx="27249">
                  <c:v>0.48598180845371802</c:v>
                </c:pt>
                <c:pt idx="27250">
                  <c:v>0.48599964330301398</c:v>
                </c:pt>
                <c:pt idx="27251">
                  <c:v>0.486017478152309</c:v>
                </c:pt>
                <c:pt idx="27252">
                  <c:v>0.48603531300160502</c:v>
                </c:pt>
                <c:pt idx="27253">
                  <c:v>0.48605314785089998</c:v>
                </c:pt>
                <c:pt idx="27254">
                  <c:v>0.486070982700196</c:v>
                </c:pt>
                <c:pt idx="27255">
                  <c:v>0.48608881754949101</c:v>
                </c:pt>
                <c:pt idx="27256">
                  <c:v>0.48610665239878698</c:v>
                </c:pt>
                <c:pt idx="27257">
                  <c:v>0.48612448724808199</c:v>
                </c:pt>
                <c:pt idx="27258">
                  <c:v>0.48614232209737801</c:v>
                </c:pt>
                <c:pt idx="27259">
                  <c:v>0.48616015694667303</c:v>
                </c:pt>
                <c:pt idx="27260">
                  <c:v>0.48617799179596899</c:v>
                </c:pt>
                <c:pt idx="27261">
                  <c:v>0.48619582664526401</c:v>
                </c:pt>
                <c:pt idx="27262">
                  <c:v>0.48621366149456002</c:v>
                </c:pt>
                <c:pt idx="27263">
                  <c:v>0.48623149634385499</c:v>
                </c:pt>
                <c:pt idx="27264">
                  <c:v>0.486249331193151</c:v>
                </c:pt>
                <c:pt idx="27265">
                  <c:v>0.48626716604244602</c:v>
                </c:pt>
                <c:pt idx="27266">
                  <c:v>0.48628500089174198</c:v>
                </c:pt>
                <c:pt idx="27267">
                  <c:v>0.486302835741038</c:v>
                </c:pt>
                <c:pt idx="27268">
                  <c:v>0.48632067059033302</c:v>
                </c:pt>
                <c:pt idx="27269">
                  <c:v>0.48633850543962898</c:v>
                </c:pt>
                <c:pt idx="27270">
                  <c:v>0.48635634028892399</c:v>
                </c:pt>
                <c:pt idx="27271">
                  <c:v>0.48637417513822001</c:v>
                </c:pt>
                <c:pt idx="27272">
                  <c:v>0.48639200998751497</c:v>
                </c:pt>
                <c:pt idx="27273">
                  <c:v>0.48640984483681099</c:v>
                </c:pt>
                <c:pt idx="27274">
                  <c:v>0.48642767968610601</c:v>
                </c:pt>
                <c:pt idx="27275">
                  <c:v>0.48644551453540202</c:v>
                </c:pt>
                <c:pt idx="27276">
                  <c:v>0.48646334938469699</c:v>
                </c:pt>
                <c:pt idx="27277">
                  <c:v>0.486481184233993</c:v>
                </c:pt>
                <c:pt idx="27278">
                  <c:v>0.48649901908328802</c:v>
                </c:pt>
                <c:pt idx="27279">
                  <c:v>0.48651685393258398</c:v>
                </c:pt>
                <c:pt idx="27280">
                  <c:v>0.486534688781879</c:v>
                </c:pt>
                <c:pt idx="27281">
                  <c:v>0.48655252363117502</c:v>
                </c:pt>
                <c:pt idx="27282">
                  <c:v>0.48657035848046998</c:v>
                </c:pt>
                <c:pt idx="27283">
                  <c:v>0.48658819332976599</c:v>
                </c:pt>
                <c:pt idx="27284">
                  <c:v>0.48660602817906101</c:v>
                </c:pt>
                <c:pt idx="27285">
                  <c:v>0.48662386302835697</c:v>
                </c:pt>
                <c:pt idx="27286">
                  <c:v>0.48664169787765199</c:v>
                </c:pt>
                <c:pt idx="27287">
                  <c:v>0.48665953272694801</c:v>
                </c:pt>
                <c:pt idx="27288">
                  <c:v>0.48667736757624303</c:v>
                </c:pt>
                <c:pt idx="27289">
                  <c:v>0.48669520242553899</c:v>
                </c:pt>
                <c:pt idx="27290">
                  <c:v>0.486713037274835</c:v>
                </c:pt>
                <c:pt idx="27291">
                  <c:v>0.48673087212413002</c:v>
                </c:pt>
                <c:pt idx="27292">
                  <c:v>0.48674870697342598</c:v>
                </c:pt>
                <c:pt idx="27293">
                  <c:v>0.486766541822721</c:v>
                </c:pt>
                <c:pt idx="27294">
                  <c:v>0.48678437667201702</c:v>
                </c:pt>
                <c:pt idx="27295">
                  <c:v>0.48680221152131198</c:v>
                </c:pt>
                <c:pt idx="27296">
                  <c:v>0.486820046370608</c:v>
                </c:pt>
                <c:pt idx="27297">
                  <c:v>0.48683788121990301</c:v>
                </c:pt>
                <c:pt idx="27298">
                  <c:v>0.48685571606919897</c:v>
                </c:pt>
                <c:pt idx="27299">
                  <c:v>0.48687355091849399</c:v>
                </c:pt>
                <c:pt idx="27300">
                  <c:v>0.48689138576779001</c:v>
                </c:pt>
                <c:pt idx="27301">
                  <c:v>0.48690922061708503</c:v>
                </c:pt>
                <c:pt idx="27302">
                  <c:v>0.48692705546638099</c:v>
                </c:pt>
                <c:pt idx="27303">
                  <c:v>0.486944890315676</c:v>
                </c:pt>
                <c:pt idx="27304">
                  <c:v>0.48696272516497202</c:v>
                </c:pt>
                <c:pt idx="27305">
                  <c:v>0.48698056001426698</c:v>
                </c:pt>
                <c:pt idx="27306">
                  <c:v>0.486998394863563</c:v>
                </c:pt>
                <c:pt idx="27307">
                  <c:v>0.48701622971285802</c:v>
                </c:pt>
                <c:pt idx="27308">
                  <c:v>0.48703406456215398</c:v>
                </c:pt>
                <c:pt idx="27309">
                  <c:v>0.48705189941145</c:v>
                </c:pt>
                <c:pt idx="27310">
                  <c:v>0.48706973426074501</c:v>
                </c:pt>
                <c:pt idx="27311">
                  <c:v>0.48708756911004097</c:v>
                </c:pt>
                <c:pt idx="27312">
                  <c:v>0.48710540395933599</c:v>
                </c:pt>
                <c:pt idx="27313">
                  <c:v>0.48712323880863201</c:v>
                </c:pt>
                <c:pt idx="27314">
                  <c:v>0.48714107365792703</c:v>
                </c:pt>
                <c:pt idx="27315">
                  <c:v>0.48715890850722299</c:v>
                </c:pt>
                <c:pt idx="27316">
                  <c:v>0.487176743356518</c:v>
                </c:pt>
                <c:pt idx="27317">
                  <c:v>0.48719457820581402</c:v>
                </c:pt>
                <c:pt idx="27318">
                  <c:v>0.48721241305510898</c:v>
                </c:pt>
                <c:pt idx="27319">
                  <c:v>0.487230247904405</c:v>
                </c:pt>
                <c:pt idx="27320">
                  <c:v>0.48724808275370002</c:v>
                </c:pt>
                <c:pt idx="27321">
                  <c:v>0.48726591760299598</c:v>
                </c:pt>
                <c:pt idx="27322">
                  <c:v>0.487283752452291</c:v>
                </c:pt>
                <c:pt idx="27323">
                  <c:v>0.48730158730158701</c:v>
                </c:pt>
                <c:pt idx="27324">
                  <c:v>0.48731942215088198</c:v>
                </c:pt>
                <c:pt idx="27325">
                  <c:v>0.48733725700017799</c:v>
                </c:pt>
                <c:pt idx="27326">
                  <c:v>0.48735509184947301</c:v>
                </c:pt>
                <c:pt idx="27327">
                  <c:v>0.48737292669876903</c:v>
                </c:pt>
                <c:pt idx="27328">
                  <c:v>0.48739076154806399</c:v>
                </c:pt>
                <c:pt idx="27329">
                  <c:v>0.48740859639736001</c:v>
                </c:pt>
                <c:pt idx="27330">
                  <c:v>0.48742643124665502</c:v>
                </c:pt>
                <c:pt idx="27331">
                  <c:v>0.48744426609595098</c:v>
                </c:pt>
                <c:pt idx="27332">
                  <c:v>0.487462100945247</c:v>
                </c:pt>
                <c:pt idx="27333">
                  <c:v>0.48747993579454202</c:v>
                </c:pt>
                <c:pt idx="27334">
                  <c:v>0.48749777064383798</c:v>
                </c:pt>
                <c:pt idx="27335">
                  <c:v>0.487515605493133</c:v>
                </c:pt>
                <c:pt idx="27336">
                  <c:v>0.48753344034242901</c:v>
                </c:pt>
                <c:pt idx="27337">
                  <c:v>0.48755127519172398</c:v>
                </c:pt>
                <c:pt idx="27338">
                  <c:v>0.48756911004101999</c:v>
                </c:pt>
                <c:pt idx="27339">
                  <c:v>0.48758694489031501</c:v>
                </c:pt>
                <c:pt idx="27340">
                  <c:v>0.48760477973961103</c:v>
                </c:pt>
                <c:pt idx="27341">
                  <c:v>0.48762261458890599</c:v>
                </c:pt>
                <c:pt idx="27342">
                  <c:v>0.48764044943820201</c:v>
                </c:pt>
                <c:pt idx="27343">
                  <c:v>0.48765828428749702</c:v>
                </c:pt>
                <c:pt idx="27344">
                  <c:v>0.48767611913679298</c:v>
                </c:pt>
                <c:pt idx="27345">
                  <c:v>0.487693953986088</c:v>
                </c:pt>
                <c:pt idx="27346">
                  <c:v>0.48771178883538402</c:v>
                </c:pt>
                <c:pt idx="27347">
                  <c:v>0.48772962368467898</c:v>
                </c:pt>
                <c:pt idx="27348">
                  <c:v>0.487747458533975</c:v>
                </c:pt>
                <c:pt idx="27349">
                  <c:v>0.48776529338327002</c:v>
                </c:pt>
                <c:pt idx="27350">
                  <c:v>0.48778312823256598</c:v>
                </c:pt>
                <c:pt idx="27351">
                  <c:v>0.48780096308186099</c:v>
                </c:pt>
                <c:pt idx="27352">
                  <c:v>0.48781879793115701</c:v>
                </c:pt>
                <c:pt idx="27353">
                  <c:v>0.48783663278045297</c:v>
                </c:pt>
                <c:pt idx="27354">
                  <c:v>0.48785446762974799</c:v>
                </c:pt>
                <c:pt idx="27355">
                  <c:v>0.48787230247904401</c:v>
                </c:pt>
                <c:pt idx="27356">
                  <c:v>0.48789013732833902</c:v>
                </c:pt>
                <c:pt idx="27357">
                  <c:v>0.48790797217763499</c:v>
                </c:pt>
                <c:pt idx="27358">
                  <c:v>0.48792580702693</c:v>
                </c:pt>
                <c:pt idx="27359">
                  <c:v>0.48794364187622602</c:v>
                </c:pt>
                <c:pt idx="27360">
                  <c:v>0.48796147672552098</c:v>
                </c:pt>
                <c:pt idx="27361">
                  <c:v>0.487979311574817</c:v>
                </c:pt>
                <c:pt idx="27362">
                  <c:v>0.48799714642411202</c:v>
                </c:pt>
                <c:pt idx="27363">
                  <c:v>0.48801498127340798</c:v>
                </c:pt>
                <c:pt idx="27364">
                  <c:v>0.48803281612270299</c:v>
                </c:pt>
                <c:pt idx="27365">
                  <c:v>0.48805065097199901</c:v>
                </c:pt>
                <c:pt idx="27366">
                  <c:v>0.48806848582129397</c:v>
                </c:pt>
                <c:pt idx="27367">
                  <c:v>0.48808632067058999</c:v>
                </c:pt>
                <c:pt idx="27368">
                  <c:v>0.48810415551988501</c:v>
                </c:pt>
                <c:pt idx="27369">
                  <c:v>0.48812199036918102</c:v>
                </c:pt>
                <c:pt idx="27370">
                  <c:v>0.48813982521847599</c:v>
                </c:pt>
                <c:pt idx="27371">
                  <c:v>0.488157660067772</c:v>
                </c:pt>
                <c:pt idx="27372">
                  <c:v>0.48817549491706702</c:v>
                </c:pt>
                <c:pt idx="27373">
                  <c:v>0.48819332976636298</c:v>
                </c:pt>
                <c:pt idx="27374">
                  <c:v>0.488211164615659</c:v>
                </c:pt>
                <c:pt idx="27375">
                  <c:v>0.48822899946495402</c:v>
                </c:pt>
                <c:pt idx="27376">
                  <c:v>0.48824683431424998</c:v>
                </c:pt>
                <c:pt idx="27377">
                  <c:v>0.488264669163545</c:v>
                </c:pt>
                <c:pt idx="27378">
                  <c:v>0.48828250401284101</c:v>
                </c:pt>
                <c:pt idx="27379">
                  <c:v>0.48830033886213597</c:v>
                </c:pt>
                <c:pt idx="27380">
                  <c:v>0.48831817371143199</c:v>
                </c:pt>
                <c:pt idx="27381">
                  <c:v>0.48833600856072701</c:v>
                </c:pt>
                <c:pt idx="27382">
                  <c:v>0.48835384341002303</c:v>
                </c:pt>
                <c:pt idx="27383">
                  <c:v>0.48837167825931799</c:v>
                </c:pt>
                <c:pt idx="27384">
                  <c:v>0.488389513108614</c:v>
                </c:pt>
                <c:pt idx="27385">
                  <c:v>0.48840734795790902</c:v>
                </c:pt>
                <c:pt idx="27386">
                  <c:v>0.48842518280720498</c:v>
                </c:pt>
                <c:pt idx="27387">
                  <c:v>0.4884430176565</c:v>
                </c:pt>
                <c:pt idx="27388">
                  <c:v>0.48846085250579602</c:v>
                </c:pt>
                <c:pt idx="27389">
                  <c:v>0.48847868735509098</c:v>
                </c:pt>
                <c:pt idx="27390">
                  <c:v>0.488496522204387</c:v>
                </c:pt>
                <c:pt idx="27391">
                  <c:v>0.48851435705368201</c:v>
                </c:pt>
                <c:pt idx="27392">
                  <c:v>0.48853219190297797</c:v>
                </c:pt>
                <c:pt idx="27393">
                  <c:v>0.48855002675227299</c:v>
                </c:pt>
                <c:pt idx="27394">
                  <c:v>0.48856786160156901</c:v>
                </c:pt>
                <c:pt idx="27395">
                  <c:v>0.48858569645086403</c:v>
                </c:pt>
                <c:pt idx="27396">
                  <c:v>0.48860353130015999</c:v>
                </c:pt>
                <c:pt idx="27397">
                  <c:v>0.488621366149456</c:v>
                </c:pt>
                <c:pt idx="27398">
                  <c:v>0.48863920099875102</c:v>
                </c:pt>
                <c:pt idx="27399">
                  <c:v>0.48865703584804698</c:v>
                </c:pt>
                <c:pt idx="27400">
                  <c:v>0.488674870697342</c:v>
                </c:pt>
                <c:pt idx="27401">
                  <c:v>0.48869270554663802</c:v>
                </c:pt>
                <c:pt idx="27402">
                  <c:v>0.48871054039593298</c:v>
                </c:pt>
                <c:pt idx="27403">
                  <c:v>0.488728375245229</c:v>
                </c:pt>
                <c:pt idx="27404">
                  <c:v>0.48874621009452401</c:v>
                </c:pt>
                <c:pt idx="27405">
                  <c:v>0.48876404494381998</c:v>
                </c:pt>
                <c:pt idx="27406">
                  <c:v>0.48878187979311499</c:v>
                </c:pt>
                <c:pt idx="27407">
                  <c:v>0.48879971464241101</c:v>
                </c:pt>
                <c:pt idx="27408">
                  <c:v>0.48881754949170603</c:v>
                </c:pt>
                <c:pt idx="27409">
                  <c:v>0.48883538434100199</c:v>
                </c:pt>
                <c:pt idx="27410">
                  <c:v>0.48885321919029701</c:v>
                </c:pt>
                <c:pt idx="27411">
                  <c:v>0.48887105403959302</c:v>
                </c:pt>
                <c:pt idx="27412">
                  <c:v>0.48888888888888798</c:v>
                </c:pt>
                <c:pt idx="27413">
                  <c:v>0.488906723738184</c:v>
                </c:pt>
                <c:pt idx="27414">
                  <c:v>0.48892455858747902</c:v>
                </c:pt>
                <c:pt idx="27415">
                  <c:v>0.48894239343677498</c:v>
                </c:pt>
                <c:pt idx="27416">
                  <c:v>0.488960228286071</c:v>
                </c:pt>
                <c:pt idx="27417">
                  <c:v>0.48897806313536601</c:v>
                </c:pt>
                <c:pt idx="27418">
                  <c:v>0.48899589798466198</c:v>
                </c:pt>
                <c:pt idx="27419">
                  <c:v>0.48901373283395699</c:v>
                </c:pt>
                <c:pt idx="27420">
                  <c:v>0.48903156768325301</c:v>
                </c:pt>
                <c:pt idx="27421">
                  <c:v>0.48904940253254803</c:v>
                </c:pt>
                <c:pt idx="27422">
                  <c:v>0.48906723738184399</c:v>
                </c:pt>
                <c:pt idx="27423">
                  <c:v>0.48908507223113901</c:v>
                </c:pt>
                <c:pt idx="27424">
                  <c:v>0.48910290708043502</c:v>
                </c:pt>
                <c:pt idx="27425">
                  <c:v>0.48912074192972999</c:v>
                </c:pt>
                <c:pt idx="27426">
                  <c:v>0.489138576779026</c:v>
                </c:pt>
                <c:pt idx="27427">
                  <c:v>0.48915641162832102</c:v>
                </c:pt>
                <c:pt idx="27428">
                  <c:v>0.48917424647761698</c:v>
                </c:pt>
                <c:pt idx="27429">
                  <c:v>0.489192081326912</c:v>
                </c:pt>
                <c:pt idx="27430">
                  <c:v>0.48920991617620802</c:v>
                </c:pt>
                <c:pt idx="27431">
                  <c:v>0.48922775102550298</c:v>
                </c:pt>
                <c:pt idx="27432">
                  <c:v>0.48924558587479899</c:v>
                </c:pt>
                <c:pt idx="27433">
                  <c:v>0.48926342072409401</c:v>
                </c:pt>
                <c:pt idx="27434">
                  <c:v>0.48928125557338997</c:v>
                </c:pt>
                <c:pt idx="27435">
                  <c:v>0.48929909042268499</c:v>
                </c:pt>
                <c:pt idx="27436">
                  <c:v>0.48931692527198101</c:v>
                </c:pt>
                <c:pt idx="27437">
                  <c:v>0.48933476012127602</c:v>
                </c:pt>
                <c:pt idx="27438">
                  <c:v>0.48935259497057199</c:v>
                </c:pt>
                <c:pt idx="27439">
                  <c:v>0.489370429819868</c:v>
                </c:pt>
                <c:pt idx="27440">
                  <c:v>0.48938826466916302</c:v>
                </c:pt>
                <c:pt idx="27441">
                  <c:v>0.48940609951845898</c:v>
                </c:pt>
                <c:pt idx="27442">
                  <c:v>0.489423934367754</c:v>
                </c:pt>
                <c:pt idx="27443">
                  <c:v>0.48944176921705002</c:v>
                </c:pt>
                <c:pt idx="27444">
                  <c:v>0.48945960406634498</c:v>
                </c:pt>
                <c:pt idx="27445">
                  <c:v>0.48947743891564099</c:v>
                </c:pt>
                <c:pt idx="27446">
                  <c:v>0.48949527376493601</c:v>
                </c:pt>
                <c:pt idx="27447">
                  <c:v>0.48951310861423197</c:v>
                </c:pt>
                <c:pt idx="27448">
                  <c:v>0.48953094346352699</c:v>
                </c:pt>
                <c:pt idx="27449">
                  <c:v>0.48954877831282301</c:v>
                </c:pt>
                <c:pt idx="27450">
                  <c:v>0.48956661316211803</c:v>
                </c:pt>
                <c:pt idx="27451">
                  <c:v>0.48958444801141399</c:v>
                </c:pt>
                <c:pt idx="27452">
                  <c:v>0.489602282860709</c:v>
                </c:pt>
                <c:pt idx="27453">
                  <c:v>0.48962011771000502</c:v>
                </c:pt>
                <c:pt idx="27454">
                  <c:v>0.48963795255929998</c:v>
                </c:pt>
                <c:pt idx="27455">
                  <c:v>0.489655787408596</c:v>
                </c:pt>
                <c:pt idx="27456">
                  <c:v>0.48967362225789102</c:v>
                </c:pt>
                <c:pt idx="27457">
                  <c:v>0.48969145710718698</c:v>
                </c:pt>
                <c:pt idx="27458">
                  <c:v>0.48970929195648299</c:v>
                </c:pt>
                <c:pt idx="27459">
                  <c:v>0.48972712680577801</c:v>
                </c:pt>
                <c:pt idx="27460">
                  <c:v>0.48974496165507397</c:v>
                </c:pt>
                <c:pt idx="27461">
                  <c:v>0.48976279650436899</c:v>
                </c:pt>
                <c:pt idx="27462">
                  <c:v>0.48978063135366501</c:v>
                </c:pt>
                <c:pt idx="27463">
                  <c:v>0.48979846620296003</c:v>
                </c:pt>
                <c:pt idx="27464">
                  <c:v>0.48981630105225599</c:v>
                </c:pt>
                <c:pt idx="27465">
                  <c:v>0.489834135901551</c:v>
                </c:pt>
                <c:pt idx="27466">
                  <c:v>0.48985197075084702</c:v>
                </c:pt>
                <c:pt idx="27467">
                  <c:v>0.48986980560014198</c:v>
                </c:pt>
                <c:pt idx="27468">
                  <c:v>0.489887640449438</c:v>
                </c:pt>
                <c:pt idx="27469">
                  <c:v>0.48990547529873302</c:v>
                </c:pt>
                <c:pt idx="27470">
                  <c:v>0.48992331014802898</c:v>
                </c:pt>
                <c:pt idx="27471">
                  <c:v>0.489941144997324</c:v>
                </c:pt>
                <c:pt idx="27472">
                  <c:v>0.48995897984662001</c:v>
                </c:pt>
                <c:pt idx="27473">
                  <c:v>0.48997681469591498</c:v>
                </c:pt>
                <c:pt idx="27474">
                  <c:v>0.48999464954521099</c:v>
                </c:pt>
                <c:pt idx="27475">
                  <c:v>0.49001248439450601</c:v>
                </c:pt>
                <c:pt idx="27476">
                  <c:v>0.49003031924380203</c:v>
                </c:pt>
                <c:pt idx="27477">
                  <c:v>0.49004815409309699</c:v>
                </c:pt>
                <c:pt idx="27478">
                  <c:v>0.490065988942393</c:v>
                </c:pt>
                <c:pt idx="27479">
                  <c:v>0.49008382379168802</c:v>
                </c:pt>
                <c:pt idx="27480">
                  <c:v>0.49010165864098398</c:v>
                </c:pt>
                <c:pt idx="27481">
                  <c:v>0.49011949349028</c:v>
                </c:pt>
                <c:pt idx="27482">
                  <c:v>0.49013732833957502</c:v>
                </c:pt>
                <c:pt idx="27483">
                  <c:v>0.49015516318887098</c:v>
                </c:pt>
                <c:pt idx="27484">
                  <c:v>0.490172998038166</c:v>
                </c:pt>
                <c:pt idx="27485">
                  <c:v>0.49019083288746201</c:v>
                </c:pt>
                <c:pt idx="27486">
                  <c:v>0.49020866773675698</c:v>
                </c:pt>
                <c:pt idx="27487">
                  <c:v>0.49022650258605299</c:v>
                </c:pt>
                <c:pt idx="27488">
                  <c:v>0.49024433743534801</c:v>
                </c:pt>
                <c:pt idx="27489">
                  <c:v>0.49026217228464403</c:v>
                </c:pt>
                <c:pt idx="27490">
                  <c:v>0.49028000713393899</c:v>
                </c:pt>
                <c:pt idx="27491">
                  <c:v>0.49029784198323501</c:v>
                </c:pt>
                <c:pt idx="27492">
                  <c:v>0.49031567683253002</c:v>
                </c:pt>
                <c:pt idx="27493">
                  <c:v>0.49033351168182598</c:v>
                </c:pt>
                <c:pt idx="27494">
                  <c:v>0.490351346531121</c:v>
                </c:pt>
                <c:pt idx="27495">
                  <c:v>0.49036918138041702</c:v>
                </c:pt>
                <c:pt idx="27496">
                  <c:v>0.49038701622971198</c:v>
                </c:pt>
                <c:pt idx="27497">
                  <c:v>0.490404851079008</c:v>
                </c:pt>
                <c:pt idx="27498">
                  <c:v>0.49042268592830301</c:v>
                </c:pt>
                <c:pt idx="27499">
                  <c:v>0.49044052077759898</c:v>
                </c:pt>
                <c:pt idx="27500">
                  <c:v>0.49045835562689399</c:v>
                </c:pt>
                <c:pt idx="27501">
                  <c:v>0.49047619047619001</c:v>
                </c:pt>
                <c:pt idx="27502">
                  <c:v>0.49049402532548603</c:v>
                </c:pt>
                <c:pt idx="27503">
                  <c:v>0.49051186017478099</c:v>
                </c:pt>
                <c:pt idx="27504">
                  <c:v>0.49052969502407701</c:v>
                </c:pt>
                <c:pt idx="27505">
                  <c:v>0.49054752987337202</c:v>
                </c:pt>
                <c:pt idx="27506">
                  <c:v>0.49056536472266798</c:v>
                </c:pt>
                <c:pt idx="27507">
                  <c:v>0.490583199571963</c:v>
                </c:pt>
                <c:pt idx="27508">
                  <c:v>0.49060103442125902</c:v>
                </c:pt>
                <c:pt idx="27509">
                  <c:v>0.49061886927055398</c:v>
                </c:pt>
                <c:pt idx="27510">
                  <c:v>0.49063670411985</c:v>
                </c:pt>
                <c:pt idx="27511">
                  <c:v>0.49065453896914502</c:v>
                </c:pt>
                <c:pt idx="27512">
                  <c:v>0.49067237381844098</c:v>
                </c:pt>
                <c:pt idx="27513">
                  <c:v>0.49069020866773599</c:v>
                </c:pt>
                <c:pt idx="27514">
                  <c:v>0.49070804351703201</c:v>
                </c:pt>
                <c:pt idx="27515">
                  <c:v>0.49072587836632697</c:v>
                </c:pt>
                <c:pt idx="27516">
                  <c:v>0.49074371321562299</c:v>
                </c:pt>
                <c:pt idx="27517">
                  <c:v>0.49076154806491801</c:v>
                </c:pt>
                <c:pt idx="27518">
                  <c:v>0.49077938291421402</c:v>
                </c:pt>
                <c:pt idx="27519">
                  <c:v>0.49079721776350899</c:v>
                </c:pt>
                <c:pt idx="27520">
                  <c:v>0.490815052612805</c:v>
                </c:pt>
                <c:pt idx="27521">
                  <c:v>0.49083288746210002</c:v>
                </c:pt>
                <c:pt idx="27522">
                  <c:v>0.49085072231139598</c:v>
                </c:pt>
                <c:pt idx="27523">
                  <c:v>0.490868557160692</c:v>
                </c:pt>
                <c:pt idx="27524">
                  <c:v>0.49088639200998702</c:v>
                </c:pt>
                <c:pt idx="27525">
                  <c:v>0.49090422685928298</c:v>
                </c:pt>
                <c:pt idx="27526">
                  <c:v>0.49092206170857799</c:v>
                </c:pt>
                <c:pt idx="27527">
                  <c:v>0.49093989655787401</c:v>
                </c:pt>
                <c:pt idx="27528">
                  <c:v>0.49095773140716897</c:v>
                </c:pt>
                <c:pt idx="27529">
                  <c:v>0.49097556625646499</c:v>
                </c:pt>
                <c:pt idx="27530">
                  <c:v>0.49099340110576001</c:v>
                </c:pt>
                <c:pt idx="27531">
                  <c:v>0.49101123595505602</c:v>
                </c:pt>
                <c:pt idx="27532">
                  <c:v>0.49102907080435099</c:v>
                </c:pt>
                <c:pt idx="27533">
                  <c:v>0.491046905653647</c:v>
                </c:pt>
                <c:pt idx="27534">
                  <c:v>0.49106474050294202</c:v>
                </c:pt>
                <c:pt idx="27535">
                  <c:v>0.49108257535223798</c:v>
                </c:pt>
                <c:pt idx="27536">
                  <c:v>0.491100410201533</c:v>
                </c:pt>
                <c:pt idx="27537">
                  <c:v>0.49111824505082902</c:v>
                </c:pt>
                <c:pt idx="27538">
                  <c:v>0.49113607990012398</c:v>
                </c:pt>
                <c:pt idx="27539">
                  <c:v>0.49115391474942</c:v>
                </c:pt>
                <c:pt idx="27540">
                  <c:v>0.49117174959871501</c:v>
                </c:pt>
                <c:pt idx="27541">
                  <c:v>0.49118958444801097</c:v>
                </c:pt>
                <c:pt idx="27542">
                  <c:v>0.49120741929730599</c:v>
                </c:pt>
                <c:pt idx="27543">
                  <c:v>0.49122525414660201</c:v>
                </c:pt>
                <c:pt idx="27544">
                  <c:v>0.49124308899589703</c:v>
                </c:pt>
                <c:pt idx="27545">
                  <c:v>0.49126092384519299</c:v>
                </c:pt>
                <c:pt idx="27546">
                  <c:v>0.491278758694489</c:v>
                </c:pt>
                <c:pt idx="27547">
                  <c:v>0.49129659354378402</c:v>
                </c:pt>
                <c:pt idx="27548">
                  <c:v>0.49131442839307998</c:v>
                </c:pt>
                <c:pt idx="27549">
                  <c:v>0.491332263242375</c:v>
                </c:pt>
                <c:pt idx="27550">
                  <c:v>0.49135009809167102</c:v>
                </c:pt>
                <c:pt idx="27551">
                  <c:v>0.49136793294096598</c:v>
                </c:pt>
                <c:pt idx="27552">
                  <c:v>0.491385767790262</c:v>
                </c:pt>
                <c:pt idx="27553">
                  <c:v>0.49140360263955701</c:v>
                </c:pt>
                <c:pt idx="27554">
                  <c:v>0.49142143748885297</c:v>
                </c:pt>
                <c:pt idx="27555">
                  <c:v>0.49143927233814799</c:v>
                </c:pt>
                <c:pt idx="27556">
                  <c:v>0.49145710718744401</c:v>
                </c:pt>
                <c:pt idx="27557">
                  <c:v>0.49147494203673903</c:v>
                </c:pt>
                <c:pt idx="27558">
                  <c:v>0.49149277688603499</c:v>
                </c:pt>
                <c:pt idx="27559">
                  <c:v>0.49151061173533001</c:v>
                </c:pt>
                <c:pt idx="27560">
                  <c:v>0.49152844658462602</c:v>
                </c:pt>
                <c:pt idx="27561">
                  <c:v>0.49154628143392098</c:v>
                </c:pt>
                <c:pt idx="27562">
                  <c:v>0.491564116283217</c:v>
                </c:pt>
                <c:pt idx="27563">
                  <c:v>0.49158195113251202</c:v>
                </c:pt>
                <c:pt idx="27564">
                  <c:v>0.49159978598180798</c:v>
                </c:pt>
                <c:pt idx="27565">
                  <c:v>0.491617620831104</c:v>
                </c:pt>
                <c:pt idx="27566">
                  <c:v>0.49163545568039901</c:v>
                </c:pt>
                <c:pt idx="27567">
                  <c:v>0.49165329052969498</c:v>
                </c:pt>
                <c:pt idx="27568">
                  <c:v>0.49167112537898999</c:v>
                </c:pt>
                <c:pt idx="27569">
                  <c:v>0.49168896022828601</c:v>
                </c:pt>
                <c:pt idx="27570">
                  <c:v>0.49170679507758103</c:v>
                </c:pt>
                <c:pt idx="27571">
                  <c:v>0.49172462992687699</c:v>
                </c:pt>
                <c:pt idx="27572">
                  <c:v>0.49174246477617201</c:v>
                </c:pt>
                <c:pt idx="27573">
                  <c:v>0.49176029962546802</c:v>
                </c:pt>
                <c:pt idx="27574">
                  <c:v>0.49177813447476298</c:v>
                </c:pt>
                <c:pt idx="27575">
                  <c:v>0.491795969324059</c:v>
                </c:pt>
                <c:pt idx="27576">
                  <c:v>0.49181380417335402</c:v>
                </c:pt>
                <c:pt idx="27577">
                  <c:v>0.49183163902264998</c:v>
                </c:pt>
                <c:pt idx="27578">
                  <c:v>0.491849473871945</c:v>
                </c:pt>
                <c:pt idx="27579">
                  <c:v>0.49186730872124101</c:v>
                </c:pt>
                <c:pt idx="27580">
                  <c:v>0.49188514357053598</c:v>
                </c:pt>
                <c:pt idx="27581">
                  <c:v>0.49190297841983199</c:v>
                </c:pt>
                <c:pt idx="27582">
                  <c:v>0.49192081326912701</c:v>
                </c:pt>
                <c:pt idx="27583">
                  <c:v>0.49193864811842303</c:v>
                </c:pt>
                <c:pt idx="27584">
                  <c:v>0.49195648296771799</c:v>
                </c:pt>
                <c:pt idx="27585">
                  <c:v>0.49197431781701401</c:v>
                </c:pt>
                <c:pt idx="27586">
                  <c:v>0.49199215266630902</c:v>
                </c:pt>
                <c:pt idx="27587">
                  <c:v>0.49200998751560499</c:v>
                </c:pt>
                <c:pt idx="27588">
                  <c:v>0.492027822364901</c:v>
                </c:pt>
                <c:pt idx="27589">
                  <c:v>0.49204565721419602</c:v>
                </c:pt>
                <c:pt idx="27590">
                  <c:v>0.49206349206349198</c:v>
                </c:pt>
                <c:pt idx="27591">
                  <c:v>0.492081326912787</c:v>
                </c:pt>
                <c:pt idx="27592">
                  <c:v>0.49209916176208301</c:v>
                </c:pt>
                <c:pt idx="27593">
                  <c:v>0.49211699661137798</c:v>
                </c:pt>
                <c:pt idx="27594">
                  <c:v>0.49213483146067399</c:v>
                </c:pt>
                <c:pt idx="27595">
                  <c:v>0.49215266630996901</c:v>
                </c:pt>
                <c:pt idx="27596">
                  <c:v>0.49217050115926497</c:v>
                </c:pt>
                <c:pt idx="27597">
                  <c:v>0.49218833600855999</c:v>
                </c:pt>
                <c:pt idx="27598">
                  <c:v>0.49220617085785601</c:v>
                </c:pt>
                <c:pt idx="27599">
                  <c:v>0.49222400570715102</c:v>
                </c:pt>
                <c:pt idx="27600">
                  <c:v>0.49224184055644699</c:v>
                </c:pt>
                <c:pt idx="27601">
                  <c:v>0.492259675405742</c:v>
                </c:pt>
                <c:pt idx="27602">
                  <c:v>0.49227751025503802</c:v>
                </c:pt>
                <c:pt idx="27603">
                  <c:v>0.49229534510433298</c:v>
                </c:pt>
                <c:pt idx="27604">
                  <c:v>0.492313179953629</c:v>
                </c:pt>
                <c:pt idx="27605">
                  <c:v>0.49233101480292402</c:v>
                </c:pt>
                <c:pt idx="27606">
                  <c:v>0.49234884965221998</c:v>
                </c:pt>
                <c:pt idx="27607">
                  <c:v>0.492366684501515</c:v>
                </c:pt>
                <c:pt idx="27608">
                  <c:v>0.49238451935081101</c:v>
                </c:pt>
                <c:pt idx="27609">
                  <c:v>0.49240235420010697</c:v>
                </c:pt>
                <c:pt idx="27610">
                  <c:v>0.49242018904940199</c:v>
                </c:pt>
                <c:pt idx="27611">
                  <c:v>0.49243802389869801</c:v>
                </c:pt>
                <c:pt idx="27612">
                  <c:v>0.49245585874799302</c:v>
                </c:pt>
                <c:pt idx="27613">
                  <c:v>0.49247369359728899</c:v>
                </c:pt>
                <c:pt idx="27614">
                  <c:v>0.492491528446584</c:v>
                </c:pt>
                <c:pt idx="27615">
                  <c:v>0.49250936329588002</c:v>
                </c:pt>
                <c:pt idx="27616">
                  <c:v>0.49252719814517498</c:v>
                </c:pt>
                <c:pt idx="27617">
                  <c:v>0.492545032994471</c:v>
                </c:pt>
                <c:pt idx="27618">
                  <c:v>0.49256286784376602</c:v>
                </c:pt>
                <c:pt idx="27619">
                  <c:v>0.49258070269306198</c:v>
                </c:pt>
                <c:pt idx="27620">
                  <c:v>0.492598537542357</c:v>
                </c:pt>
                <c:pt idx="27621">
                  <c:v>0.49261637239165301</c:v>
                </c:pt>
                <c:pt idx="27622">
                  <c:v>0.49263420724094797</c:v>
                </c:pt>
                <c:pt idx="27623">
                  <c:v>0.49265204209024399</c:v>
                </c:pt>
                <c:pt idx="27624">
                  <c:v>0.49266987693953901</c:v>
                </c:pt>
                <c:pt idx="27625">
                  <c:v>0.49268771178883503</c:v>
                </c:pt>
                <c:pt idx="27626">
                  <c:v>0.49270554663812999</c:v>
                </c:pt>
                <c:pt idx="27627">
                  <c:v>0.492723381487426</c:v>
                </c:pt>
                <c:pt idx="27628">
                  <c:v>0.49274121633672102</c:v>
                </c:pt>
                <c:pt idx="27629">
                  <c:v>0.49275905118601698</c:v>
                </c:pt>
                <c:pt idx="27630">
                  <c:v>0.492776886035313</c:v>
                </c:pt>
                <c:pt idx="27631">
                  <c:v>0.49279472088460802</c:v>
                </c:pt>
                <c:pt idx="27632">
                  <c:v>0.49281255573390398</c:v>
                </c:pt>
                <c:pt idx="27633">
                  <c:v>0.492830390583199</c:v>
                </c:pt>
                <c:pt idx="27634">
                  <c:v>0.49284822543249501</c:v>
                </c:pt>
                <c:pt idx="27635">
                  <c:v>0.49286606028178997</c:v>
                </c:pt>
                <c:pt idx="27636">
                  <c:v>0.49288389513108599</c:v>
                </c:pt>
                <c:pt idx="27637">
                  <c:v>0.49290172998038101</c:v>
                </c:pt>
                <c:pt idx="27638">
                  <c:v>0.49291956482967703</c:v>
                </c:pt>
                <c:pt idx="27639">
                  <c:v>0.49293739967897199</c:v>
                </c:pt>
                <c:pt idx="27640">
                  <c:v>0.492955234528268</c:v>
                </c:pt>
                <c:pt idx="27641">
                  <c:v>0.49297306937756302</c:v>
                </c:pt>
                <c:pt idx="27642">
                  <c:v>0.49299090422685898</c:v>
                </c:pt>
                <c:pt idx="27643">
                  <c:v>0.493008739076154</c:v>
                </c:pt>
                <c:pt idx="27644">
                  <c:v>0.49302657392545002</c:v>
                </c:pt>
                <c:pt idx="27645">
                  <c:v>0.49304440877474498</c:v>
                </c:pt>
                <c:pt idx="27646">
                  <c:v>0.493062243624041</c:v>
                </c:pt>
                <c:pt idx="27647">
                  <c:v>0.49308007847333601</c:v>
                </c:pt>
                <c:pt idx="27648">
                  <c:v>0.49309791332263198</c:v>
                </c:pt>
                <c:pt idx="27649">
                  <c:v>0.49311574817192699</c:v>
                </c:pt>
                <c:pt idx="27650">
                  <c:v>0.49313358302122301</c:v>
                </c:pt>
                <c:pt idx="27651">
                  <c:v>0.49315141787051803</c:v>
                </c:pt>
                <c:pt idx="27652">
                  <c:v>0.49316925271981399</c:v>
                </c:pt>
                <c:pt idx="27653">
                  <c:v>0.49318708756911001</c:v>
                </c:pt>
                <c:pt idx="27654">
                  <c:v>0.49320492241840502</c:v>
                </c:pt>
                <c:pt idx="27655">
                  <c:v>0.49322275726770098</c:v>
                </c:pt>
                <c:pt idx="27656">
                  <c:v>0.493240592116996</c:v>
                </c:pt>
                <c:pt idx="27657">
                  <c:v>0.49325842696629202</c:v>
                </c:pt>
                <c:pt idx="27658">
                  <c:v>0.49327626181558698</c:v>
                </c:pt>
                <c:pt idx="27659">
                  <c:v>0.493294096664883</c:v>
                </c:pt>
                <c:pt idx="27660">
                  <c:v>0.49331193151417801</c:v>
                </c:pt>
                <c:pt idx="27661">
                  <c:v>0.49332976636347398</c:v>
                </c:pt>
                <c:pt idx="27662">
                  <c:v>0.49334760121276899</c:v>
                </c:pt>
                <c:pt idx="27663">
                  <c:v>0.49336543606206501</c:v>
                </c:pt>
                <c:pt idx="27664">
                  <c:v>0.49338327091135997</c:v>
                </c:pt>
                <c:pt idx="27665">
                  <c:v>0.49340110576065599</c:v>
                </c:pt>
                <c:pt idx="27666">
                  <c:v>0.49341894060995101</c:v>
                </c:pt>
                <c:pt idx="27667">
                  <c:v>0.49343677545924702</c:v>
                </c:pt>
                <c:pt idx="27668">
                  <c:v>0.49345461030854199</c:v>
                </c:pt>
                <c:pt idx="27669">
                  <c:v>0.493472445157838</c:v>
                </c:pt>
                <c:pt idx="27670">
                  <c:v>0.49349028000713302</c:v>
                </c:pt>
                <c:pt idx="27671">
                  <c:v>0.49350811485642898</c:v>
                </c:pt>
                <c:pt idx="27672">
                  <c:v>0.493525949705725</c:v>
                </c:pt>
                <c:pt idx="27673">
                  <c:v>0.49354378455502002</c:v>
                </c:pt>
                <c:pt idx="27674">
                  <c:v>0.49356161940431598</c:v>
                </c:pt>
                <c:pt idx="27675">
                  <c:v>0.49357945425361099</c:v>
                </c:pt>
                <c:pt idx="27676">
                  <c:v>0.49359728910290701</c:v>
                </c:pt>
                <c:pt idx="27677">
                  <c:v>0.49361512395220197</c:v>
                </c:pt>
                <c:pt idx="27678">
                  <c:v>0.49363295880149799</c:v>
                </c:pt>
                <c:pt idx="27679">
                  <c:v>0.49365079365079301</c:v>
                </c:pt>
                <c:pt idx="27680">
                  <c:v>0.49366862850008902</c:v>
                </c:pt>
                <c:pt idx="27681">
                  <c:v>0.49368646334938399</c:v>
                </c:pt>
                <c:pt idx="27682">
                  <c:v>0.49370429819868</c:v>
                </c:pt>
                <c:pt idx="27683">
                  <c:v>0.49372213304797502</c:v>
                </c:pt>
                <c:pt idx="27684">
                  <c:v>0.49373996789727098</c:v>
                </c:pt>
                <c:pt idx="27685">
                  <c:v>0.493757802746566</c:v>
                </c:pt>
                <c:pt idx="27686">
                  <c:v>0.49377563759586202</c:v>
                </c:pt>
                <c:pt idx="27687">
                  <c:v>0.49379347244515698</c:v>
                </c:pt>
                <c:pt idx="27688">
                  <c:v>0.49381130729445299</c:v>
                </c:pt>
                <c:pt idx="27689">
                  <c:v>0.49382914214374801</c:v>
                </c:pt>
                <c:pt idx="27690">
                  <c:v>0.49384697699304397</c:v>
                </c:pt>
                <c:pt idx="27691">
                  <c:v>0.49386481184233899</c:v>
                </c:pt>
                <c:pt idx="27692">
                  <c:v>0.49388264669163501</c:v>
                </c:pt>
                <c:pt idx="27693">
                  <c:v>0.49390048154093003</c:v>
                </c:pt>
                <c:pt idx="27694">
                  <c:v>0.49391831639022599</c:v>
                </c:pt>
                <c:pt idx="27695">
                  <c:v>0.493936151239522</c:v>
                </c:pt>
                <c:pt idx="27696">
                  <c:v>0.49395398608881702</c:v>
                </c:pt>
                <c:pt idx="27697">
                  <c:v>0.49397182093811298</c:v>
                </c:pt>
                <c:pt idx="27698">
                  <c:v>0.493989655787408</c:v>
                </c:pt>
                <c:pt idx="27699">
                  <c:v>0.49400749063670402</c:v>
                </c:pt>
                <c:pt idx="27700">
                  <c:v>0.49402532548599898</c:v>
                </c:pt>
                <c:pt idx="27701">
                  <c:v>0.494043160335295</c:v>
                </c:pt>
                <c:pt idx="27702">
                  <c:v>0.49406099518459001</c:v>
                </c:pt>
                <c:pt idx="27703">
                  <c:v>0.49407883003388597</c:v>
                </c:pt>
                <c:pt idx="27704">
                  <c:v>0.49409666488318099</c:v>
                </c:pt>
                <c:pt idx="27705">
                  <c:v>0.49411449973247701</c:v>
                </c:pt>
                <c:pt idx="27706">
                  <c:v>0.49413233458177203</c:v>
                </c:pt>
                <c:pt idx="27707">
                  <c:v>0.49415016943106799</c:v>
                </c:pt>
                <c:pt idx="27708">
                  <c:v>0.494168004280363</c:v>
                </c:pt>
                <c:pt idx="27709">
                  <c:v>0.49418583912965902</c:v>
                </c:pt>
                <c:pt idx="27710">
                  <c:v>0.49420367397895398</c:v>
                </c:pt>
                <c:pt idx="27711">
                  <c:v>0.49422150882825</c:v>
                </c:pt>
                <c:pt idx="27712">
                  <c:v>0.49423934367754502</c:v>
                </c:pt>
                <c:pt idx="27713">
                  <c:v>0.49425717852684098</c:v>
                </c:pt>
                <c:pt idx="27714">
                  <c:v>0.494275013376137</c:v>
                </c:pt>
                <c:pt idx="27715">
                  <c:v>0.49429284822543201</c:v>
                </c:pt>
                <c:pt idx="27716">
                  <c:v>0.49431068307472797</c:v>
                </c:pt>
                <c:pt idx="27717">
                  <c:v>0.49432851792402299</c:v>
                </c:pt>
                <c:pt idx="27718">
                  <c:v>0.49434635277331901</c:v>
                </c:pt>
                <c:pt idx="27719">
                  <c:v>0.49436418762261403</c:v>
                </c:pt>
                <c:pt idx="27720">
                  <c:v>0.49438202247190999</c:v>
                </c:pt>
                <c:pt idx="27721">
                  <c:v>0.49439985732120501</c:v>
                </c:pt>
                <c:pt idx="27722">
                  <c:v>0.49441769217050102</c:v>
                </c:pt>
                <c:pt idx="27723">
                  <c:v>0.49443552701979598</c:v>
                </c:pt>
                <c:pt idx="27724">
                  <c:v>0.494453361869092</c:v>
                </c:pt>
                <c:pt idx="27725">
                  <c:v>0.49447119671838702</c:v>
                </c:pt>
                <c:pt idx="27726">
                  <c:v>0.49448903156768298</c:v>
                </c:pt>
                <c:pt idx="27727">
                  <c:v>0.494506866416978</c:v>
                </c:pt>
                <c:pt idx="27728">
                  <c:v>0.49452470126627401</c:v>
                </c:pt>
                <c:pt idx="27729">
                  <c:v>0.49454253611556898</c:v>
                </c:pt>
                <c:pt idx="27730">
                  <c:v>0.49456037096486499</c:v>
                </c:pt>
                <c:pt idx="27731">
                  <c:v>0.49457820581416001</c:v>
                </c:pt>
                <c:pt idx="27732">
                  <c:v>0.49459604066345603</c:v>
                </c:pt>
                <c:pt idx="27733">
                  <c:v>0.49461387551275099</c:v>
                </c:pt>
                <c:pt idx="27734">
                  <c:v>0.49463171036204701</c:v>
                </c:pt>
                <c:pt idx="27735">
                  <c:v>0.49464954521134202</c:v>
                </c:pt>
                <c:pt idx="27736">
                  <c:v>0.49466738006063798</c:v>
                </c:pt>
                <c:pt idx="27737">
                  <c:v>0.494685214909934</c:v>
                </c:pt>
                <c:pt idx="27738">
                  <c:v>0.49470304975922902</c:v>
                </c:pt>
                <c:pt idx="27739">
                  <c:v>0.49472088460852498</c:v>
                </c:pt>
                <c:pt idx="27740">
                  <c:v>0.49473871945782</c:v>
                </c:pt>
                <c:pt idx="27741">
                  <c:v>0.49475655430711601</c:v>
                </c:pt>
                <c:pt idx="27742">
                  <c:v>0.49477438915641098</c:v>
                </c:pt>
                <c:pt idx="27743">
                  <c:v>0.49479222400570699</c:v>
                </c:pt>
                <c:pt idx="27744">
                  <c:v>0.49481005885500201</c:v>
                </c:pt>
                <c:pt idx="27745">
                  <c:v>0.49482789370429803</c:v>
                </c:pt>
                <c:pt idx="27746">
                  <c:v>0.49484572855359299</c:v>
                </c:pt>
                <c:pt idx="27747">
                  <c:v>0.49486356340288901</c:v>
                </c:pt>
                <c:pt idx="27748">
                  <c:v>0.49488139825218402</c:v>
                </c:pt>
                <c:pt idx="27749">
                  <c:v>0.49489923310147999</c:v>
                </c:pt>
                <c:pt idx="27750">
                  <c:v>0.494917067950775</c:v>
                </c:pt>
                <c:pt idx="27751">
                  <c:v>0.49493490280007102</c:v>
                </c:pt>
                <c:pt idx="27752">
                  <c:v>0.49495273764936598</c:v>
                </c:pt>
                <c:pt idx="27753">
                  <c:v>0.494970572498662</c:v>
                </c:pt>
                <c:pt idx="27754">
                  <c:v>0.49498840734795702</c:v>
                </c:pt>
                <c:pt idx="27755">
                  <c:v>0.49500624219725298</c:v>
                </c:pt>
                <c:pt idx="27756">
                  <c:v>0.49502407704654799</c:v>
                </c:pt>
                <c:pt idx="27757">
                  <c:v>0.49504191189584401</c:v>
                </c:pt>
                <c:pt idx="27758">
                  <c:v>0.49505974674513997</c:v>
                </c:pt>
                <c:pt idx="27759">
                  <c:v>0.49507758159443499</c:v>
                </c:pt>
                <c:pt idx="27760">
                  <c:v>0.49509541644373101</c:v>
                </c:pt>
                <c:pt idx="27761">
                  <c:v>0.49511325129302602</c:v>
                </c:pt>
                <c:pt idx="27762">
                  <c:v>0.49513108614232199</c:v>
                </c:pt>
                <c:pt idx="27763">
                  <c:v>0.495148920991617</c:v>
                </c:pt>
                <c:pt idx="27764">
                  <c:v>0.49516675584091302</c:v>
                </c:pt>
                <c:pt idx="27765">
                  <c:v>0.49518459069020798</c:v>
                </c:pt>
                <c:pt idx="27766">
                  <c:v>0.495202425539504</c:v>
                </c:pt>
                <c:pt idx="27767">
                  <c:v>0.49522026038879902</c:v>
                </c:pt>
                <c:pt idx="27768">
                  <c:v>0.49523809523809498</c:v>
                </c:pt>
                <c:pt idx="27769">
                  <c:v>0.49525593008739</c:v>
                </c:pt>
                <c:pt idx="27770">
                  <c:v>0.49527376493668601</c:v>
                </c:pt>
                <c:pt idx="27771">
                  <c:v>0.49529159978598097</c:v>
                </c:pt>
                <c:pt idx="27772">
                  <c:v>0.49530943463527699</c:v>
                </c:pt>
                <c:pt idx="27773">
                  <c:v>0.49532726948457201</c:v>
                </c:pt>
                <c:pt idx="27774">
                  <c:v>0.49534510433386802</c:v>
                </c:pt>
                <c:pt idx="27775">
                  <c:v>0.49536293918316299</c:v>
                </c:pt>
                <c:pt idx="27776">
                  <c:v>0.495380774032459</c:v>
                </c:pt>
                <c:pt idx="27777">
                  <c:v>0.49539860888175402</c:v>
                </c:pt>
                <c:pt idx="27778">
                  <c:v>0.49541644373104998</c:v>
                </c:pt>
                <c:pt idx="27779">
                  <c:v>0.495434278580346</c:v>
                </c:pt>
                <c:pt idx="27780">
                  <c:v>0.49545211342964102</c:v>
                </c:pt>
                <c:pt idx="27781">
                  <c:v>0.49546994827893698</c:v>
                </c:pt>
                <c:pt idx="27782">
                  <c:v>0.495487783128232</c:v>
                </c:pt>
                <c:pt idx="27783">
                  <c:v>0.49550561797752801</c:v>
                </c:pt>
                <c:pt idx="27784">
                  <c:v>0.49552345282682297</c:v>
                </c:pt>
                <c:pt idx="27785">
                  <c:v>0.49554128767611899</c:v>
                </c:pt>
                <c:pt idx="27786">
                  <c:v>0.49555912252541401</c:v>
                </c:pt>
                <c:pt idx="27787">
                  <c:v>0.49557695737471003</c:v>
                </c:pt>
                <c:pt idx="27788">
                  <c:v>0.49559479222400499</c:v>
                </c:pt>
                <c:pt idx="27789">
                  <c:v>0.495612627073301</c:v>
                </c:pt>
                <c:pt idx="27790">
                  <c:v>0.49563046192259602</c:v>
                </c:pt>
                <c:pt idx="27791">
                  <c:v>0.49564829677189198</c:v>
                </c:pt>
                <c:pt idx="27792">
                  <c:v>0.495666131621187</c:v>
                </c:pt>
                <c:pt idx="27793">
                  <c:v>0.49568396647048302</c:v>
                </c:pt>
                <c:pt idx="27794">
                  <c:v>0.49570180131977798</c:v>
                </c:pt>
                <c:pt idx="27795">
                  <c:v>0.495719636169074</c:v>
                </c:pt>
                <c:pt idx="27796">
                  <c:v>0.49573747101836901</c:v>
                </c:pt>
                <c:pt idx="27797">
                  <c:v>0.49575530586766497</c:v>
                </c:pt>
                <c:pt idx="27798">
                  <c:v>0.49577314071695999</c:v>
                </c:pt>
                <c:pt idx="27799">
                  <c:v>0.49579097556625601</c:v>
                </c:pt>
                <c:pt idx="27800">
                  <c:v>0.49580881041555103</c:v>
                </c:pt>
                <c:pt idx="27801">
                  <c:v>0.49582664526484699</c:v>
                </c:pt>
                <c:pt idx="27802">
                  <c:v>0.495844480114143</c:v>
                </c:pt>
                <c:pt idx="27803">
                  <c:v>0.49586231496343802</c:v>
                </c:pt>
                <c:pt idx="27804">
                  <c:v>0.49588014981273398</c:v>
                </c:pt>
                <c:pt idx="27805">
                  <c:v>0.495897984662029</c:v>
                </c:pt>
                <c:pt idx="27806">
                  <c:v>0.49591581951132502</c:v>
                </c:pt>
                <c:pt idx="27807">
                  <c:v>0.49593365436061998</c:v>
                </c:pt>
                <c:pt idx="27808">
                  <c:v>0.495951489209916</c:v>
                </c:pt>
                <c:pt idx="27809">
                  <c:v>0.49596932405921101</c:v>
                </c:pt>
                <c:pt idx="27810">
                  <c:v>0.49598715890850698</c:v>
                </c:pt>
                <c:pt idx="27811">
                  <c:v>0.49600499375780199</c:v>
                </c:pt>
                <c:pt idx="27812">
                  <c:v>0.49602282860709801</c:v>
                </c:pt>
                <c:pt idx="27813">
                  <c:v>0.49604066345639303</c:v>
                </c:pt>
                <c:pt idx="27814">
                  <c:v>0.49605849830568899</c:v>
                </c:pt>
                <c:pt idx="27815">
                  <c:v>0.49607633315498401</c:v>
                </c:pt>
                <c:pt idx="27816">
                  <c:v>0.49609416800428002</c:v>
                </c:pt>
                <c:pt idx="27817">
                  <c:v>0.49611200285357498</c:v>
                </c:pt>
                <c:pt idx="27818">
                  <c:v>0.496129837702871</c:v>
                </c:pt>
                <c:pt idx="27819">
                  <c:v>0.49614767255216602</c:v>
                </c:pt>
                <c:pt idx="27820">
                  <c:v>0.49616550740146198</c:v>
                </c:pt>
                <c:pt idx="27821">
                  <c:v>0.496183342250758</c:v>
                </c:pt>
                <c:pt idx="27822">
                  <c:v>0.49620117710005301</c:v>
                </c:pt>
                <c:pt idx="27823">
                  <c:v>0.49621901194934898</c:v>
                </c:pt>
                <c:pt idx="27824">
                  <c:v>0.49623684679864399</c:v>
                </c:pt>
                <c:pt idx="27825">
                  <c:v>0.49625468164794001</c:v>
                </c:pt>
                <c:pt idx="27826">
                  <c:v>0.49627251649723497</c:v>
                </c:pt>
                <c:pt idx="27827">
                  <c:v>0.49629035134653099</c:v>
                </c:pt>
                <c:pt idx="27828">
                  <c:v>0.49630818619582601</c:v>
                </c:pt>
                <c:pt idx="27829">
                  <c:v>0.49632602104512202</c:v>
                </c:pt>
                <c:pt idx="27830">
                  <c:v>0.49634385589441699</c:v>
                </c:pt>
                <c:pt idx="27831">
                  <c:v>0.496361690743713</c:v>
                </c:pt>
                <c:pt idx="27832">
                  <c:v>0.49637952559300802</c:v>
                </c:pt>
                <c:pt idx="27833">
                  <c:v>0.49639736044230398</c:v>
                </c:pt>
                <c:pt idx="27834">
                  <c:v>0.496415195291599</c:v>
                </c:pt>
                <c:pt idx="27835">
                  <c:v>0.49643303014089502</c:v>
                </c:pt>
                <c:pt idx="27836">
                  <c:v>0.49645086499018998</c:v>
                </c:pt>
                <c:pt idx="27837">
                  <c:v>0.49646869983948599</c:v>
                </c:pt>
                <c:pt idx="27838">
                  <c:v>0.49648653468878101</c:v>
                </c:pt>
                <c:pt idx="27839">
                  <c:v>0.49650436953807697</c:v>
                </c:pt>
                <c:pt idx="27840">
                  <c:v>0.49652220438737199</c:v>
                </c:pt>
                <c:pt idx="27841">
                  <c:v>0.49654003923666801</c:v>
                </c:pt>
                <c:pt idx="27842">
                  <c:v>0.49655787408596302</c:v>
                </c:pt>
                <c:pt idx="27843">
                  <c:v>0.49657570893525899</c:v>
                </c:pt>
                <c:pt idx="27844">
                  <c:v>0.496593543784555</c:v>
                </c:pt>
                <c:pt idx="27845">
                  <c:v>0.49661137863385002</c:v>
                </c:pt>
                <c:pt idx="27846">
                  <c:v>0.49662921348314598</c:v>
                </c:pt>
                <c:pt idx="27847">
                  <c:v>0.496647048332441</c:v>
                </c:pt>
                <c:pt idx="27848">
                  <c:v>0.49666488318173702</c:v>
                </c:pt>
                <c:pt idx="27849">
                  <c:v>0.49668271803103198</c:v>
                </c:pt>
                <c:pt idx="27850">
                  <c:v>0.49670055288032799</c:v>
                </c:pt>
                <c:pt idx="27851">
                  <c:v>0.49671838772962301</c:v>
                </c:pt>
                <c:pt idx="27852">
                  <c:v>0.49673622257891897</c:v>
                </c:pt>
                <c:pt idx="27853">
                  <c:v>0.49675405742821399</c:v>
                </c:pt>
                <c:pt idx="27854">
                  <c:v>0.49677189227751001</c:v>
                </c:pt>
                <c:pt idx="27855">
                  <c:v>0.49678972712680503</c:v>
                </c:pt>
                <c:pt idx="27856">
                  <c:v>0.49680756197610099</c:v>
                </c:pt>
                <c:pt idx="27857">
                  <c:v>0.496825396825396</c:v>
                </c:pt>
                <c:pt idx="27858">
                  <c:v>0.49684323167469202</c:v>
                </c:pt>
                <c:pt idx="27859">
                  <c:v>0.49686106652398698</c:v>
                </c:pt>
                <c:pt idx="27860">
                  <c:v>0.496878901373283</c:v>
                </c:pt>
                <c:pt idx="27861">
                  <c:v>0.49689673622257802</c:v>
                </c:pt>
                <c:pt idx="27862">
                  <c:v>0.49691457107187398</c:v>
                </c:pt>
                <c:pt idx="27863">
                  <c:v>0.496932405921169</c:v>
                </c:pt>
                <c:pt idx="27864">
                  <c:v>0.49695024077046501</c:v>
                </c:pt>
                <c:pt idx="27865">
                  <c:v>0.49696807561976097</c:v>
                </c:pt>
                <c:pt idx="27866">
                  <c:v>0.49698591046905599</c:v>
                </c:pt>
                <c:pt idx="27867">
                  <c:v>0.49700374531835201</c:v>
                </c:pt>
                <c:pt idx="27868">
                  <c:v>0.49702158016764703</c:v>
                </c:pt>
                <c:pt idx="27869">
                  <c:v>0.49703941501694299</c:v>
                </c:pt>
                <c:pt idx="27870">
                  <c:v>0.497057249866238</c:v>
                </c:pt>
                <c:pt idx="27871">
                  <c:v>0.49707508471553402</c:v>
                </c:pt>
                <c:pt idx="27872">
                  <c:v>0.49709291956482898</c:v>
                </c:pt>
                <c:pt idx="27873">
                  <c:v>0.497110754414125</c:v>
                </c:pt>
                <c:pt idx="27874">
                  <c:v>0.49712858926342002</c:v>
                </c:pt>
                <c:pt idx="27875">
                  <c:v>0.49714642411271598</c:v>
                </c:pt>
                <c:pt idx="27876">
                  <c:v>0.497164258962011</c:v>
                </c:pt>
                <c:pt idx="27877">
                  <c:v>0.49718209381130701</c:v>
                </c:pt>
                <c:pt idx="27878">
                  <c:v>0.49719992866060198</c:v>
                </c:pt>
                <c:pt idx="27879">
                  <c:v>0.49721776350989799</c:v>
                </c:pt>
                <c:pt idx="27880">
                  <c:v>0.49723559835919301</c:v>
                </c:pt>
                <c:pt idx="27881">
                  <c:v>0.49725343320848903</c:v>
                </c:pt>
                <c:pt idx="27882">
                  <c:v>0.49727126805778399</c:v>
                </c:pt>
                <c:pt idx="27883">
                  <c:v>0.49728910290708001</c:v>
                </c:pt>
                <c:pt idx="27884">
                  <c:v>0.49730693775637502</c:v>
                </c:pt>
                <c:pt idx="27885">
                  <c:v>0.49732477260567098</c:v>
                </c:pt>
                <c:pt idx="27886">
                  <c:v>0.497342607454967</c:v>
                </c:pt>
                <c:pt idx="27887">
                  <c:v>0.49736044230426202</c:v>
                </c:pt>
                <c:pt idx="27888">
                  <c:v>0.49737827715355798</c:v>
                </c:pt>
                <c:pt idx="27889">
                  <c:v>0.497396112002853</c:v>
                </c:pt>
                <c:pt idx="27890">
                  <c:v>0.49741394685214901</c:v>
                </c:pt>
                <c:pt idx="27891">
                  <c:v>0.49743178170144398</c:v>
                </c:pt>
                <c:pt idx="27892">
                  <c:v>0.49744961655073999</c:v>
                </c:pt>
                <c:pt idx="27893">
                  <c:v>0.49746745140003501</c:v>
                </c:pt>
                <c:pt idx="27894">
                  <c:v>0.49748528624933103</c:v>
                </c:pt>
                <c:pt idx="27895">
                  <c:v>0.49750312109862599</c:v>
                </c:pt>
                <c:pt idx="27896">
                  <c:v>0.49752095594792201</c:v>
                </c:pt>
                <c:pt idx="27897">
                  <c:v>0.49753879079721702</c:v>
                </c:pt>
                <c:pt idx="27898">
                  <c:v>0.49755662564651298</c:v>
                </c:pt>
                <c:pt idx="27899">
                  <c:v>0.497574460495808</c:v>
                </c:pt>
                <c:pt idx="27900">
                  <c:v>0.49759229534510402</c:v>
                </c:pt>
                <c:pt idx="27901">
                  <c:v>0.49761013019439898</c:v>
                </c:pt>
                <c:pt idx="27902">
                  <c:v>0.497627965043695</c:v>
                </c:pt>
                <c:pt idx="27903">
                  <c:v>0.49764579989299002</c:v>
                </c:pt>
                <c:pt idx="27904">
                  <c:v>0.49766363474228598</c:v>
                </c:pt>
                <c:pt idx="27905">
                  <c:v>0.49768146959158099</c:v>
                </c:pt>
                <c:pt idx="27906">
                  <c:v>0.49769930444087701</c:v>
                </c:pt>
                <c:pt idx="27907">
                  <c:v>0.49771713929017197</c:v>
                </c:pt>
                <c:pt idx="27908">
                  <c:v>0.49773497413946799</c:v>
                </c:pt>
                <c:pt idx="27909">
                  <c:v>0.49775280898876401</c:v>
                </c:pt>
                <c:pt idx="27910">
                  <c:v>0.49777064383805902</c:v>
                </c:pt>
                <c:pt idx="27911">
                  <c:v>0.49778847868735498</c:v>
                </c:pt>
                <c:pt idx="27912">
                  <c:v>0.49780631353665</c:v>
                </c:pt>
                <c:pt idx="27913">
                  <c:v>0.49782414838594602</c:v>
                </c:pt>
                <c:pt idx="27914">
                  <c:v>0.49784198323524098</c:v>
                </c:pt>
                <c:pt idx="27915">
                  <c:v>0.497859818084537</c:v>
                </c:pt>
                <c:pt idx="27916">
                  <c:v>0.49787765293383202</c:v>
                </c:pt>
                <c:pt idx="27917">
                  <c:v>0.49789548778312798</c:v>
                </c:pt>
                <c:pt idx="27918">
                  <c:v>0.49791332263242299</c:v>
                </c:pt>
                <c:pt idx="27919">
                  <c:v>0.49793115748171901</c:v>
                </c:pt>
                <c:pt idx="27920">
                  <c:v>0.49794899233101397</c:v>
                </c:pt>
                <c:pt idx="27921">
                  <c:v>0.49796682718030999</c:v>
                </c:pt>
                <c:pt idx="27922">
                  <c:v>0.49798466202960501</c:v>
                </c:pt>
                <c:pt idx="27923">
                  <c:v>0.49800249687890102</c:v>
                </c:pt>
                <c:pt idx="27924">
                  <c:v>0.49802033172819599</c:v>
                </c:pt>
                <c:pt idx="27925">
                  <c:v>0.498038166577492</c:v>
                </c:pt>
                <c:pt idx="27926">
                  <c:v>0.49805600142678702</c:v>
                </c:pt>
                <c:pt idx="27927">
                  <c:v>0.49807383627608298</c:v>
                </c:pt>
                <c:pt idx="27928">
                  <c:v>0.498091671125379</c:v>
                </c:pt>
                <c:pt idx="27929">
                  <c:v>0.49810950597467402</c:v>
                </c:pt>
                <c:pt idx="27930">
                  <c:v>0.49812734082396998</c:v>
                </c:pt>
                <c:pt idx="27931">
                  <c:v>0.49814517567326499</c:v>
                </c:pt>
                <c:pt idx="27932">
                  <c:v>0.49816301052256101</c:v>
                </c:pt>
                <c:pt idx="27933">
                  <c:v>0.49818084537185597</c:v>
                </c:pt>
                <c:pt idx="27934">
                  <c:v>0.49819868022115199</c:v>
                </c:pt>
                <c:pt idx="27935">
                  <c:v>0.49821651507044701</c:v>
                </c:pt>
                <c:pt idx="27936">
                  <c:v>0.49823434991974302</c:v>
                </c:pt>
                <c:pt idx="27937">
                  <c:v>0.49825218476903799</c:v>
                </c:pt>
                <c:pt idx="27938">
                  <c:v>0.498270019618334</c:v>
                </c:pt>
                <c:pt idx="27939">
                  <c:v>0.49828785446762902</c:v>
                </c:pt>
                <c:pt idx="27940">
                  <c:v>0.49830568931692498</c:v>
                </c:pt>
                <c:pt idx="27941">
                  <c:v>0.49832352416622</c:v>
                </c:pt>
                <c:pt idx="27942">
                  <c:v>0.49834135901551602</c:v>
                </c:pt>
                <c:pt idx="27943">
                  <c:v>0.49835919386481098</c:v>
                </c:pt>
                <c:pt idx="27944">
                  <c:v>0.498377028714107</c:v>
                </c:pt>
                <c:pt idx="27945">
                  <c:v>0.49839486356340201</c:v>
                </c:pt>
                <c:pt idx="27946">
                  <c:v>0.49841269841269797</c:v>
                </c:pt>
                <c:pt idx="27947">
                  <c:v>0.49843053326199299</c:v>
                </c:pt>
                <c:pt idx="27948">
                  <c:v>0.49844836811128901</c:v>
                </c:pt>
                <c:pt idx="27949">
                  <c:v>0.49846620296058403</c:v>
                </c:pt>
                <c:pt idx="27950">
                  <c:v>0.49848403780987999</c:v>
                </c:pt>
                <c:pt idx="27951">
                  <c:v>0.498501872659176</c:v>
                </c:pt>
                <c:pt idx="27952">
                  <c:v>0.49851970750847102</c:v>
                </c:pt>
                <c:pt idx="27953">
                  <c:v>0.49853754235776698</c:v>
                </c:pt>
                <c:pt idx="27954">
                  <c:v>0.498555377207062</c:v>
                </c:pt>
                <c:pt idx="27955">
                  <c:v>0.49857321205635802</c:v>
                </c:pt>
                <c:pt idx="27956">
                  <c:v>0.49859104690565298</c:v>
                </c:pt>
                <c:pt idx="27957">
                  <c:v>0.498608881754949</c:v>
                </c:pt>
                <c:pt idx="27958">
                  <c:v>0.49862671660424401</c:v>
                </c:pt>
                <c:pt idx="27959">
                  <c:v>0.49864455145353997</c:v>
                </c:pt>
                <c:pt idx="27960">
                  <c:v>0.49866238630283499</c:v>
                </c:pt>
                <c:pt idx="27961">
                  <c:v>0.49868022115213101</c:v>
                </c:pt>
                <c:pt idx="27962">
                  <c:v>0.49869805600142603</c:v>
                </c:pt>
                <c:pt idx="27963">
                  <c:v>0.49871589085072199</c:v>
                </c:pt>
                <c:pt idx="27964">
                  <c:v>0.49873372570001701</c:v>
                </c:pt>
                <c:pt idx="27965">
                  <c:v>0.49875156054931302</c:v>
                </c:pt>
                <c:pt idx="27966">
                  <c:v>0.49876939539860798</c:v>
                </c:pt>
                <c:pt idx="27967">
                  <c:v>0.498787230247904</c:v>
                </c:pt>
                <c:pt idx="27968">
                  <c:v>0.49880506509719902</c:v>
                </c:pt>
                <c:pt idx="27969">
                  <c:v>0.49882289994649498</c:v>
                </c:pt>
                <c:pt idx="27970">
                  <c:v>0.498840734795791</c:v>
                </c:pt>
                <c:pt idx="27971">
                  <c:v>0.49885856964508601</c:v>
                </c:pt>
                <c:pt idx="27972">
                  <c:v>0.49887640449438198</c:v>
                </c:pt>
                <c:pt idx="27973">
                  <c:v>0.49889423934367699</c:v>
                </c:pt>
                <c:pt idx="27974">
                  <c:v>0.49891207419297301</c:v>
                </c:pt>
                <c:pt idx="27975">
                  <c:v>0.49892990904226803</c:v>
                </c:pt>
                <c:pt idx="27976">
                  <c:v>0.49894774389156399</c:v>
                </c:pt>
                <c:pt idx="27977">
                  <c:v>0.49896557874085901</c:v>
                </c:pt>
                <c:pt idx="27978">
                  <c:v>0.49898341359015502</c:v>
                </c:pt>
                <c:pt idx="27979">
                  <c:v>0.49900124843944998</c:v>
                </c:pt>
                <c:pt idx="27980">
                  <c:v>0.499019083288746</c:v>
                </c:pt>
                <c:pt idx="27981">
                  <c:v>0.49903691813804102</c:v>
                </c:pt>
                <c:pt idx="27982">
                  <c:v>0.49905475298733698</c:v>
                </c:pt>
                <c:pt idx="27983">
                  <c:v>0.499072587836632</c:v>
                </c:pt>
                <c:pt idx="27984">
                  <c:v>0.49909042268592801</c:v>
                </c:pt>
                <c:pt idx="27985">
                  <c:v>0.49910825753522298</c:v>
                </c:pt>
                <c:pt idx="27986">
                  <c:v>0.49912609238451899</c:v>
                </c:pt>
                <c:pt idx="27987">
                  <c:v>0.49914392723381401</c:v>
                </c:pt>
                <c:pt idx="27988">
                  <c:v>0.49916176208311003</c:v>
                </c:pt>
                <c:pt idx="27989">
                  <c:v>0.49917959693240499</c:v>
                </c:pt>
                <c:pt idx="27990">
                  <c:v>0.49919743178170101</c:v>
                </c:pt>
                <c:pt idx="27991">
                  <c:v>0.49921526663099602</c:v>
                </c:pt>
                <c:pt idx="27992">
                  <c:v>0.49923310148029199</c:v>
                </c:pt>
                <c:pt idx="27993">
                  <c:v>0.499250936329588</c:v>
                </c:pt>
                <c:pt idx="27994">
                  <c:v>0.49926877117888302</c:v>
                </c:pt>
                <c:pt idx="27995">
                  <c:v>0.49928660602817898</c:v>
                </c:pt>
                <c:pt idx="27996">
                  <c:v>0.499304440877474</c:v>
                </c:pt>
                <c:pt idx="27997">
                  <c:v>0.49932227572677002</c:v>
                </c:pt>
                <c:pt idx="27998">
                  <c:v>0.49934011057606498</c:v>
                </c:pt>
                <c:pt idx="27999">
                  <c:v>0.49935794542536099</c:v>
                </c:pt>
                <c:pt idx="28000">
                  <c:v>0.49937578027465601</c:v>
                </c:pt>
                <c:pt idx="28001">
                  <c:v>0.49939361512395197</c:v>
                </c:pt>
                <c:pt idx="28002">
                  <c:v>0.49941144997324699</c:v>
                </c:pt>
                <c:pt idx="28003">
                  <c:v>0.49942928482254301</c:v>
                </c:pt>
                <c:pt idx="28004">
                  <c:v>0.49944711967183802</c:v>
                </c:pt>
                <c:pt idx="28005">
                  <c:v>0.49946495452113399</c:v>
                </c:pt>
                <c:pt idx="28006">
                  <c:v>0.499482789370429</c:v>
                </c:pt>
                <c:pt idx="28007">
                  <c:v>0.49950062421972502</c:v>
                </c:pt>
                <c:pt idx="28008">
                  <c:v>0.49951845906901998</c:v>
                </c:pt>
                <c:pt idx="28009">
                  <c:v>0.499536293918316</c:v>
                </c:pt>
                <c:pt idx="28010">
                  <c:v>0.49955412876761102</c:v>
                </c:pt>
                <c:pt idx="28011">
                  <c:v>0.49957196361690698</c:v>
                </c:pt>
                <c:pt idx="28012">
                  <c:v>0.499589798466202</c:v>
                </c:pt>
                <c:pt idx="28013">
                  <c:v>0.49960763331549801</c:v>
                </c:pt>
                <c:pt idx="28014">
                  <c:v>0.49962546816479397</c:v>
                </c:pt>
                <c:pt idx="28015">
                  <c:v>0.49964330301408899</c:v>
                </c:pt>
                <c:pt idx="28016">
                  <c:v>0.49966113786338501</c:v>
                </c:pt>
                <c:pt idx="28017">
                  <c:v>0.49967897271268003</c:v>
                </c:pt>
                <c:pt idx="28018">
                  <c:v>0.49969680756197599</c:v>
                </c:pt>
                <c:pt idx="28019">
                  <c:v>0.499714642411271</c:v>
                </c:pt>
                <c:pt idx="28020">
                  <c:v>0.49973247726056702</c:v>
                </c:pt>
                <c:pt idx="28021">
                  <c:v>0.49975031210986198</c:v>
                </c:pt>
                <c:pt idx="28022">
                  <c:v>0.499768146959158</c:v>
                </c:pt>
                <c:pt idx="28023">
                  <c:v>0.49978598180845302</c:v>
                </c:pt>
                <c:pt idx="28024">
                  <c:v>0.49980381665774898</c:v>
                </c:pt>
                <c:pt idx="28025">
                  <c:v>0.499821651507044</c:v>
                </c:pt>
                <c:pt idx="28026">
                  <c:v>0.49983948635634001</c:v>
                </c:pt>
                <c:pt idx="28027">
                  <c:v>0.49985732120563497</c:v>
                </c:pt>
                <c:pt idx="28028">
                  <c:v>0.49987515605493099</c:v>
                </c:pt>
                <c:pt idx="28029">
                  <c:v>0.49989299090422601</c:v>
                </c:pt>
                <c:pt idx="28030">
                  <c:v>0.49991082575352203</c:v>
                </c:pt>
                <c:pt idx="28031">
                  <c:v>0.49992866060281699</c:v>
                </c:pt>
                <c:pt idx="28032">
                  <c:v>0.499946495452113</c:v>
                </c:pt>
                <c:pt idx="28033">
                  <c:v>0.49996433030140802</c:v>
                </c:pt>
                <c:pt idx="28034">
                  <c:v>0.49998216515070398</c:v>
                </c:pt>
                <c:pt idx="28035">
                  <c:v>0.5</c:v>
                </c:pt>
                <c:pt idx="28036">
                  <c:v>0.50001783484929496</c:v>
                </c:pt>
                <c:pt idx="28037">
                  <c:v>0.50003566969859103</c:v>
                </c:pt>
                <c:pt idx="28038">
                  <c:v>0.500053504547886</c:v>
                </c:pt>
                <c:pt idx="28039">
                  <c:v>0.50007133939718196</c:v>
                </c:pt>
                <c:pt idx="28040">
                  <c:v>0.50008917424647703</c:v>
                </c:pt>
                <c:pt idx="28041">
                  <c:v>0.50010700909577299</c:v>
                </c:pt>
                <c:pt idx="28042">
                  <c:v>0.50012484394506795</c:v>
                </c:pt>
                <c:pt idx="28043">
                  <c:v>0.50014267879436403</c:v>
                </c:pt>
                <c:pt idx="28044">
                  <c:v>0.50016051364365899</c:v>
                </c:pt>
                <c:pt idx="28045">
                  <c:v>0.50017834849295495</c:v>
                </c:pt>
                <c:pt idx="28046">
                  <c:v>0.50019618334225002</c:v>
                </c:pt>
                <c:pt idx="28047">
                  <c:v>0.50021401819154598</c:v>
                </c:pt>
                <c:pt idx="28048">
                  <c:v>0.50023185304084095</c:v>
                </c:pt>
                <c:pt idx="28049">
                  <c:v>0.50024968789013702</c:v>
                </c:pt>
                <c:pt idx="28050">
                  <c:v>0.50026752273943198</c:v>
                </c:pt>
                <c:pt idx="28051">
                  <c:v>0.50028535758872805</c:v>
                </c:pt>
                <c:pt idx="28052">
                  <c:v>0.50030319243802301</c:v>
                </c:pt>
                <c:pt idx="28053">
                  <c:v>0.50032102728731898</c:v>
                </c:pt>
                <c:pt idx="28054">
                  <c:v>0.50033886213661405</c:v>
                </c:pt>
                <c:pt idx="28055">
                  <c:v>0.50035669698591001</c:v>
                </c:pt>
                <c:pt idx="28056">
                  <c:v>0.50037453183520597</c:v>
                </c:pt>
                <c:pt idx="28057">
                  <c:v>0.50039236668450104</c:v>
                </c:pt>
                <c:pt idx="28058">
                  <c:v>0.50041020153379701</c:v>
                </c:pt>
                <c:pt idx="28059">
                  <c:v>0.50042803638309197</c:v>
                </c:pt>
                <c:pt idx="28060">
                  <c:v>0.50044587123238804</c:v>
                </c:pt>
                <c:pt idx="28061">
                  <c:v>0.500463706081683</c:v>
                </c:pt>
                <c:pt idx="28062">
                  <c:v>0.50048154093097896</c:v>
                </c:pt>
                <c:pt idx="28063">
                  <c:v>0.50049937578027404</c:v>
                </c:pt>
                <c:pt idx="28064">
                  <c:v>0.50051721062957</c:v>
                </c:pt>
                <c:pt idx="28065">
                  <c:v>0.50053504547886496</c:v>
                </c:pt>
                <c:pt idx="28066">
                  <c:v>0.50055288032816103</c:v>
                </c:pt>
                <c:pt idx="28067">
                  <c:v>0.50057071517745599</c:v>
                </c:pt>
                <c:pt idx="28068">
                  <c:v>0.50058855002675196</c:v>
                </c:pt>
                <c:pt idx="28069">
                  <c:v>0.50060638487604703</c:v>
                </c:pt>
                <c:pt idx="28070">
                  <c:v>0.50062421972534299</c:v>
                </c:pt>
                <c:pt idx="28071">
                  <c:v>0.50064205457463795</c:v>
                </c:pt>
                <c:pt idx="28072">
                  <c:v>0.50065988942393402</c:v>
                </c:pt>
                <c:pt idx="28073">
                  <c:v>0.50067772427322899</c:v>
                </c:pt>
                <c:pt idx="28074">
                  <c:v>0.50069555912252495</c:v>
                </c:pt>
                <c:pt idx="28075">
                  <c:v>0.50071339397182002</c:v>
                </c:pt>
                <c:pt idx="28076">
                  <c:v>0.50073122882111598</c:v>
                </c:pt>
                <c:pt idx="28077">
                  <c:v>0.50074906367041105</c:v>
                </c:pt>
                <c:pt idx="28078">
                  <c:v>0.50076689851970702</c:v>
                </c:pt>
                <c:pt idx="28079">
                  <c:v>0.50078473336900298</c:v>
                </c:pt>
                <c:pt idx="28080">
                  <c:v>0.50080256821829805</c:v>
                </c:pt>
                <c:pt idx="28081">
                  <c:v>0.50082040306759401</c:v>
                </c:pt>
                <c:pt idx="28082">
                  <c:v>0.50083823791688897</c:v>
                </c:pt>
                <c:pt idx="28083">
                  <c:v>0.50085607276618505</c:v>
                </c:pt>
                <c:pt idx="28084">
                  <c:v>0.50087390761548001</c:v>
                </c:pt>
                <c:pt idx="28085">
                  <c:v>0.50089174246477597</c:v>
                </c:pt>
                <c:pt idx="28086">
                  <c:v>0.50090957731407104</c:v>
                </c:pt>
                <c:pt idx="28087">
                  <c:v>0.500927412163367</c:v>
                </c:pt>
                <c:pt idx="28088">
                  <c:v>0.50094524701266196</c:v>
                </c:pt>
                <c:pt idx="28089">
                  <c:v>0.50096308186195804</c:v>
                </c:pt>
                <c:pt idx="28090">
                  <c:v>0.500980916711253</c:v>
                </c:pt>
                <c:pt idx="28091">
                  <c:v>0.50099875156054896</c:v>
                </c:pt>
                <c:pt idx="28092">
                  <c:v>0.50101658640984403</c:v>
                </c:pt>
                <c:pt idx="28093">
                  <c:v>0.50103442125913999</c:v>
                </c:pt>
                <c:pt idx="28094">
                  <c:v>0.50105225610843496</c:v>
                </c:pt>
                <c:pt idx="28095">
                  <c:v>0.50107009095773103</c:v>
                </c:pt>
                <c:pt idx="28096">
                  <c:v>0.50108792580702599</c:v>
                </c:pt>
                <c:pt idx="28097">
                  <c:v>0.50110576065632195</c:v>
                </c:pt>
                <c:pt idx="28098">
                  <c:v>0.50112359550561802</c:v>
                </c:pt>
                <c:pt idx="28099">
                  <c:v>0.50114143035491299</c:v>
                </c:pt>
                <c:pt idx="28100">
                  <c:v>0.50115926520420895</c:v>
                </c:pt>
                <c:pt idx="28101">
                  <c:v>0.50117710005350402</c:v>
                </c:pt>
                <c:pt idx="28102">
                  <c:v>0.50119493490279998</c:v>
                </c:pt>
                <c:pt idx="28103">
                  <c:v>0.50121276975209506</c:v>
                </c:pt>
                <c:pt idx="28104">
                  <c:v>0.50123060460139102</c:v>
                </c:pt>
                <c:pt idx="28105">
                  <c:v>0.50124843945068598</c:v>
                </c:pt>
                <c:pt idx="28106">
                  <c:v>0.50126627429998205</c:v>
                </c:pt>
                <c:pt idx="28107">
                  <c:v>0.50128410914927701</c:v>
                </c:pt>
                <c:pt idx="28108">
                  <c:v>0.50130194399857297</c:v>
                </c:pt>
                <c:pt idx="28109">
                  <c:v>0.50131977884786805</c:v>
                </c:pt>
                <c:pt idx="28110">
                  <c:v>0.50133761369716401</c:v>
                </c:pt>
                <c:pt idx="28111">
                  <c:v>0.50135544854645897</c:v>
                </c:pt>
                <c:pt idx="28112">
                  <c:v>0.50137328339575504</c:v>
                </c:pt>
                <c:pt idx="28113">
                  <c:v>0.50139111824505</c:v>
                </c:pt>
                <c:pt idx="28114">
                  <c:v>0.50140895309434597</c:v>
                </c:pt>
                <c:pt idx="28115">
                  <c:v>0.50142678794364104</c:v>
                </c:pt>
                <c:pt idx="28116">
                  <c:v>0.501444622792937</c:v>
                </c:pt>
                <c:pt idx="28117">
                  <c:v>0.50146245764223296</c:v>
                </c:pt>
                <c:pt idx="28118">
                  <c:v>0.50148029249152803</c:v>
                </c:pt>
                <c:pt idx="28119">
                  <c:v>0.501498127340824</c:v>
                </c:pt>
                <c:pt idx="28120">
                  <c:v>0.50151596219011896</c:v>
                </c:pt>
                <c:pt idx="28121">
                  <c:v>0.50153379703941503</c:v>
                </c:pt>
                <c:pt idx="28122">
                  <c:v>0.50155163188870999</c:v>
                </c:pt>
                <c:pt idx="28123">
                  <c:v>0.50156946673800595</c:v>
                </c:pt>
                <c:pt idx="28124">
                  <c:v>0.50158730158730103</c:v>
                </c:pt>
                <c:pt idx="28125">
                  <c:v>0.50160513643659699</c:v>
                </c:pt>
                <c:pt idx="28126">
                  <c:v>0.50162297128589195</c:v>
                </c:pt>
                <c:pt idx="28127">
                  <c:v>0.50164080613518802</c:v>
                </c:pt>
                <c:pt idx="28128">
                  <c:v>0.50165864098448298</c:v>
                </c:pt>
                <c:pt idx="28129">
                  <c:v>0.50167647583377895</c:v>
                </c:pt>
                <c:pt idx="28130">
                  <c:v>0.50169431068307402</c:v>
                </c:pt>
                <c:pt idx="28131">
                  <c:v>0.50171214553236998</c:v>
                </c:pt>
                <c:pt idx="28132">
                  <c:v>0.50172998038166505</c:v>
                </c:pt>
                <c:pt idx="28133">
                  <c:v>0.50174781523096101</c:v>
                </c:pt>
                <c:pt idx="28134">
                  <c:v>0.50176565008025598</c:v>
                </c:pt>
                <c:pt idx="28135">
                  <c:v>0.50178348492955205</c:v>
                </c:pt>
                <c:pt idx="28136">
                  <c:v>0.50180131977884701</c:v>
                </c:pt>
                <c:pt idx="28137">
                  <c:v>0.50181915462814297</c:v>
                </c:pt>
                <c:pt idx="28138">
                  <c:v>0.50183698947743804</c:v>
                </c:pt>
                <c:pt idx="28139">
                  <c:v>0.50185482432673401</c:v>
                </c:pt>
                <c:pt idx="28140">
                  <c:v>0.50187265917602997</c:v>
                </c:pt>
                <c:pt idx="28141">
                  <c:v>0.50189049402532504</c:v>
                </c:pt>
                <c:pt idx="28142">
                  <c:v>0.501908328874621</c:v>
                </c:pt>
                <c:pt idx="28143">
                  <c:v>0.50192616372391596</c:v>
                </c:pt>
                <c:pt idx="28144">
                  <c:v>0.50194399857321204</c:v>
                </c:pt>
                <c:pt idx="28145">
                  <c:v>0.501961833422507</c:v>
                </c:pt>
                <c:pt idx="28146">
                  <c:v>0.50197966827180296</c:v>
                </c:pt>
                <c:pt idx="28147">
                  <c:v>0.50199750312109803</c:v>
                </c:pt>
                <c:pt idx="28148">
                  <c:v>0.50201533797039399</c:v>
                </c:pt>
                <c:pt idx="28149">
                  <c:v>0.50203317281968896</c:v>
                </c:pt>
                <c:pt idx="28150">
                  <c:v>0.50205100766898503</c:v>
                </c:pt>
                <c:pt idx="28151">
                  <c:v>0.50206884251827999</c:v>
                </c:pt>
                <c:pt idx="28152">
                  <c:v>0.50208667736757595</c:v>
                </c:pt>
                <c:pt idx="28153">
                  <c:v>0.50210451221687102</c:v>
                </c:pt>
                <c:pt idx="28154">
                  <c:v>0.50212234706616699</c:v>
                </c:pt>
                <c:pt idx="28155">
                  <c:v>0.50214018191546195</c:v>
                </c:pt>
                <c:pt idx="28156">
                  <c:v>0.50215801676475802</c:v>
                </c:pt>
                <c:pt idx="28157">
                  <c:v>0.50217585161405298</c:v>
                </c:pt>
                <c:pt idx="28158">
                  <c:v>0.50219368646334905</c:v>
                </c:pt>
                <c:pt idx="28159">
                  <c:v>0.50221152131264402</c:v>
                </c:pt>
                <c:pt idx="28160">
                  <c:v>0.50222935616193998</c:v>
                </c:pt>
                <c:pt idx="28161">
                  <c:v>0.50224719101123505</c:v>
                </c:pt>
                <c:pt idx="28162">
                  <c:v>0.50226502586053101</c:v>
                </c:pt>
                <c:pt idx="28163">
                  <c:v>0.50228286070982697</c:v>
                </c:pt>
                <c:pt idx="28164">
                  <c:v>0.50230069555912205</c:v>
                </c:pt>
                <c:pt idx="28165">
                  <c:v>0.50231853040841801</c:v>
                </c:pt>
                <c:pt idx="28166">
                  <c:v>0.50233636525771297</c:v>
                </c:pt>
                <c:pt idx="28167">
                  <c:v>0.50235420010700904</c:v>
                </c:pt>
                <c:pt idx="28168">
                  <c:v>0.502372034956304</c:v>
                </c:pt>
                <c:pt idx="28169">
                  <c:v>0.50238986980559996</c:v>
                </c:pt>
                <c:pt idx="28170">
                  <c:v>0.50240770465489504</c:v>
                </c:pt>
                <c:pt idx="28171">
                  <c:v>0.502425539504191</c:v>
                </c:pt>
                <c:pt idx="28172">
                  <c:v>0.50244337435348596</c:v>
                </c:pt>
                <c:pt idx="28173">
                  <c:v>0.50246120920278203</c:v>
                </c:pt>
                <c:pt idx="28174">
                  <c:v>0.502479044052077</c:v>
                </c:pt>
                <c:pt idx="28175">
                  <c:v>0.50249687890137296</c:v>
                </c:pt>
                <c:pt idx="28176">
                  <c:v>0.50251471375066803</c:v>
                </c:pt>
                <c:pt idx="28177">
                  <c:v>0.50253254859996399</c:v>
                </c:pt>
                <c:pt idx="28178">
                  <c:v>0.50255038344925895</c:v>
                </c:pt>
                <c:pt idx="28179">
                  <c:v>0.50256821829855503</c:v>
                </c:pt>
                <c:pt idx="28180">
                  <c:v>0.50258605314784999</c:v>
                </c:pt>
                <c:pt idx="28181">
                  <c:v>0.50260388799714595</c:v>
                </c:pt>
                <c:pt idx="28182">
                  <c:v>0.50262172284644102</c:v>
                </c:pt>
                <c:pt idx="28183">
                  <c:v>0.50263955769573698</c:v>
                </c:pt>
                <c:pt idx="28184">
                  <c:v>0.50265739254503194</c:v>
                </c:pt>
                <c:pt idx="28185">
                  <c:v>0.50267522739432802</c:v>
                </c:pt>
                <c:pt idx="28186">
                  <c:v>0.50269306224362398</c:v>
                </c:pt>
                <c:pt idx="28187">
                  <c:v>0.50271089709291905</c:v>
                </c:pt>
                <c:pt idx="28188">
                  <c:v>0.50272873194221501</c:v>
                </c:pt>
                <c:pt idx="28189">
                  <c:v>0.50274656679150997</c:v>
                </c:pt>
                <c:pt idx="28190">
                  <c:v>0.50276440164080605</c:v>
                </c:pt>
                <c:pt idx="28191">
                  <c:v>0.50278223649010101</c:v>
                </c:pt>
                <c:pt idx="28192">
                  <c:v>0.50280007133939697</c:v>
                </c:pt>
                <c:pt idx="28193">
                  <c:v>0.50281790618869204</c:v>
                </c:pt>
                <c:pt idx="28194">
                  <c:v>0.502835741037988</c:v>
                </c:pt>
                <c:pt idx="28195">
                  <c:v>0.50285357588728297</c:v>
                </c:pt>
                <c:pt idx="28196">
                  <c:v>0.50287141073657904</c:v>
                </c:pt>
                <c:pt idx="28197">
                  <c:v>0.502889245585874</c:v>
                </c:pt>
                <c:pt idx="28198">
                  <c:v>0.50290708043516996</c:v>
                </c:pt>
                <c:pt idx="28199">
                  <c:v>0.50292491528446504</c:v>
                </c:pt>
                <c:pt idx="28200">
                  <c:v>0.502942750133761</c:v>
                </c:pt>
                <c:pt idx="28201">
                  <c:v>0.50296058498305596</c:v>
                </c:pt>
                <c:pt idx="28202">
                  <c:v>0.50297841983235203</c:v>
                </c:pt>
                <c:pt idx="28203">
                  <c:v>0.50299625468164799</c:v>
                </c:pt>
                <c:pt idx="28204">
                  <c:v>0.50301408953094295</c:v>
                </c:pt>
                <c:pt idx="28205">
                  <c:v>0.50303192438023903</c:v>
                </c:pt>
                <c:pt idx="28206">
                  <c:v>0.50304975922953399</c:v>
                </c:pt>
                <c:pt idx="28207">
                  <c:v>0.50306759407882995</c:v>
                </c:pt>
                <c:pt idx="28208">
                  <c:v>0.50308542892812502</c:v>
                </c:pt>
                <c:pt idx="28209">
                  <c:v>0.50310326377742098</c:v>
                </c:pt>
                <c:pt idx="28210">
                  <c:v>0.50312109862671595</c:v>
                </c:pt>
                <c:pt idx="28211">
                  <c:v>0.50313893347601202</c:v>
                </c:pt>
                <c:pt idx="28212">
                  <c:v>0.50315676832530698</c:v>
                </c:pt>
                <c:pt idx="28213">
                  <c:v>0.50317460317460305</c:v>
                </c:pt>
                <c:pt idx="28214">
                  <c:v>0.50319243802389801</c:v>
                </c:pt>
                <c:pt idx="28215">
                  <c:v>0.50321027287319398</c:v>
                </c:pt>
                <c:pt idx="28216">
                  <c:v>0.50322810772248905</c:v>
                </c:pt>
                <c:pt idx="28217">
                  <c:v>0.50324594257178501</c:v>
                </c:pt>
                <c:pt idx="28218">
                  <c:v>0.50326377742107997</c:v>
                </c:pt>
                <c:pt idx="28219">
                  <c:v>0.50328161227037604</c:v>
                </c:pt>
                <c:pt idx="28220">
                  <c:v>0.50329944711967101</c:v>
                </c:pt>
                <c:pt idx="28221">
                  <c:v>0.50331728196896697</c:v>
                </c:pt>
                <c:pt idx="28222">
                  <c:v>0.50333511681826204</c:v>
                </c:pt>
                <c:pt idx="28223">
                  <c:v>0.503352951667558</c:v>
                </c:pt>
                <c:pt idx="28224">
                  <c:v>0.50337078651685396</c:v>
                </c:pt>
                <c:pt idx="28225">
                  <c:v>0.50338862136614904</c:v>
                </c:pt>
                <c:pt idx="28226">
                  <c:v>0.503406456215445</c:v>
                </c:pt>
                <c:pt idx="28227">
                  <c:v>0.50342429106473996</c:v>
                </c:pt>
                <c:pt idx="28228">
                  <c:v>0.50344212591403603</c:v>
                </c:pt>
                <c:pt idx="28229">
                  <c:v>0.50345996076333099</c:v>
                </c:pt>
                <c:pt idx="28230">
                  <c:v>0.50347779561262695</c:v>
                </c:pt>
                <c:pt idx="28231">
                  <c:v>0.50349563046192203</c:v>
                </c:pt>
                <c:pt idx="28232">
                  <c:v>0.50351346531121799</c:v>
                </c:pt>
                <c:pt idx="28233">
                  <c:v>0.50353130016051295</c:v>
                </c:pt>
                <c:pt idx="28234">
                  <c:v>0.50354913500980902</c:v>
                </c:pt>
                <c:pt idx="28235">
                  <c:v>0.50356696985910399</c:v>
                </c:pt>
                <c:pt idx="28236">
                  <c:v>0.50358480470839995</c:v>
                </c:pt>
                <c:pt idx="28237">
                  <c:v>0.50360263955769502</c:v>
                </c:pt>
                <c:pt idx="28238">
                  <c:v>0.50362047440699098</c:v>
                </c:pt>
                <c:pt idx="28239">
                  <c:v>0.50363830925628605</c:v>
                </c:pt>
                <c:pt idx="28240">
                  <c:v>0.50365614410558202</c:v>
                </c:pt>
                <c:pt idx="28241">
                  <c:v>0.50367397895487698</c:v>
                </c:pt>
                <c:pt idx="28242">
                  <c:v>0.50369181380417305</c:v>
                </c:pt>
                <c:pt idx="28243">
                  <c:v>0.50370964865346801</c:v>
                </c:pt>
                <c:pt idx="28244">
                  <c:v>0.50372748350276397</c:v>
                </c:pt>
                <c:pt idx="28245">
                  <c:v>0.50374531835205905</c:v>
                </c:pt>
                <c:pt idx="28246">
                  <c:v>0.50376315320135501</c:v>
                </c:pt>
                <c:pt idx="28247">
                  <c:v>0.50378098805065097</c:v>
                </c:pt>
                <c:pt idx="28248">
                  <c:v>0.50379882289994604</c:v>
                </c:pt>
                <c:pt idx="28249">
                  <c:v>0.503816657749242</c:v>
                </c:pt>
                <c:pt idx="28250">
                  <c:v>0.50383449259853696</c:v>
                </c:pt>
                <c:pt idx="28251">
                  <c:v>0.50385232744783304</c:v>
                </c:pt>
                <c:pt idx="28252">
                  <c:v>0.503870162297128</c:v>
                </c:pt>
                <c:pt idx="28253">
                  <c:v>0.50388799714642396</c:v>
                </c:pt>
                <c:pt idx="28254">
                  <c:v>0.50390583199571903</c:v>
                </c:pt>
                <c:pt idx="28255">
                  <c:v>0.50392366684501499</c:v>
                </c:pt>
                <c:pt idx="28256">
                  <c:v>0.50394150169430996</c:v>
                </c:pt>
                <c:pt idx="28257">
                  <c:v>0.50395933654360603</c:v>
                </c:pt>
                <c:pt idx="28258">
                  <c:v>0.50397717139290099</c:v>
                </c:pt>
                <c:pt idx="28259">
                  <c:v>0.50399500624219695</c:v>
                </c:pt>
                <c:pt idx="28260">
                  <c:v>0.50401284109149203</c:v>
                </c:pt>
                <c:pt idx="28261">
                  <c:v>0.50403067594078799</c:v>
                </c:pt>
                <c:pt idx="28262">
                  <c:v>0.50404851079008295</c:v>
                </c:pt>
                <c:pt idx="28263">
                  <c:v>0.50406634563937902</c:v>
                </c:pt>
                <c:pt idx="28264">
                  <c:v>0.50408418048867398</c:v>
                </c:pt>
                <c:pt idx="28265">
                  <c:v>0.50410201533797006</c:v>
                </c:pt>
                <c:pt idx="28266">
                  <c:v>0.50411985018726502</c:v>
                </c:pt>
                <c:pt idx="28267">
                  <c:v>0.50413768503656098</c:v>
                </c:pt>
                <c:pt idx="28268">
                  <c:v>0.50415551988585605</c:v>
                </c:pt>
                <c:pt idx="28269">
                  <c:v>0.50417335473515201</c:v>
                </c:pt>
                <c:pt idx="28270">
                  <c:v>0.50419118958444797</c:v>
                </c:pt>
                <c:pt idx="28271">
                  <c:v>0.50420902443374305</c:v>
                </c:pt>
                <c:pt idx="28272">
                  <c:v>0.50422685928303901</c:v>
                </c:pt>
                <c:pt idx="28273">
                  <c:v>0.50424469413233397</c:v>
                </c:pt>
                <c:pt idx="28274">
                  <c:v>0.50426252898163004</c:v>
                </c:pt>
                <c:pt idx="28275">
                  <c:v>0.504280363830925</c:v>
                </c:pt>
                <c:pt idx="28276">
                  <c:v>0.50429819868022097</c:v>
                </c:pt>
                <c:pt idx="28277">
                  <c:v>0.50431603352951604</c:v>
                </c:pt>
                <c:pt idx="28278">
                  <c:v>0.504333868378812</c:v>
                </c:pt>
                <c:pt idx="28279">
                  <c:v>0.50435170322810696</c:v>
                </c:pt>
                <c:pt idx="28280">
                  <c:v>0.50436953807740303</c:v>
                </c:pt>
                <c:pt idx="28281">
                  <c:v>0.504387372926698</c:v>
                </c:pt>
                <c:pt idx="28282">
                  <c:v>0.50440520777599396</c:v>
                </c:pt>
                <c:pt idx="28283">
                  <c:v>0.50442304262528903</c:v>
                </c:pt>
                <c:pt idx="28284">
                  <c:v>0.50444087747458499</c:v>
                </c:pt>
                <c:pt idx="28285">
                  <c:v>0.50445871232387995</c:v>
                </c:pt>
                <c:pt idx="28286">
                  <c:v>0.50447654717317603</c:v>
                </c:pt>
                <c:pt idx="28287">
                  <c:v>0.50449438202247099</c:v>
                </c:pt>
                <c:pt idx="28288">
                  <c:v>0.50451221687176695</c:v>
                </c:pt>
                <c:pt idx="28289">
                  <c:v>0.50453005172106202</c:v>
                </c:pt>
                <c:pt idx="28290">
                  <c:v>0.50454788657035798</c:v>
                </c:pt>
                <c:pt idx="28291">
                  <c:v>0.50456572141965395</c:v>
                </c:pt>
                <c:pt idx="28292">
                  <c:v>0.50458355626894902</c:v>
                </c:pt>
                <c:pt idx="28293">
                  <c:v>0.50460139111824498</c:v>
                </c:pt>
                <c:pt idx="28294">
                  <c:v>0.50461922596754005</c:v>
                </c:pt>
                <c:pt idx="28295">
                  <c:v>0.50463706081683601</c:v>
                </c:pt>
                <c:pt idx="28296">
                  <c:v>0.50465489566613098</c:v>
                </c:pt>
                <c:pt idx="28297">
                  <c:v>0.50467273051542705</c:v>
                </c:pt>
                <c:pt idx="28298">
                  <c:v>0.50469056536472201</c:v>
                </c:pt>
                <c:pt idx="28299">
                  <c:v>0.50470840021401797</c:v>
                </c:pt>
                <c:pt idx="28300">
                  <c:v>0.50472623506331304</c:v>
                </c:pt>
                <c:pt idx="28301">
                  <c:v>0.50474406991260901</c:v>
                </c:pt>
                <c:pt idx="28302">
                  <c:v>0.50476190476190397</c:v>
                </c:pt>
                <c:pt idx="28303">
                  <c:v>0.50477973961120004</c:v>
                </c:pt>
                <c:pt idx="28304">
                  <c:v>0.504797574460495</c:v>
                </c:pt>
                <c:pt idx="28305">
                  <c:v>0.50481540930979096</c:v>
                </c:pt>
                <c:pt idx="28306">
                  <c:v>0.50483324415908604</c:v>
                </c:pt>
                <c:pt idx="28307">
                  <c:v>0.504851079008382</c:v>
                </c:pt>
                <c:pt idx="28308">
                  <c:v>0.50486891385767696</c:v>
                </c:pt>
                <c:pt idx="28309">
                  <c:v>0.50488674870697303</c:v>
                </c:pt>
                <c:pt idx="28310">
                  <c:v>0.50490458355626899</c:v>
                </c:pt>
                <c:pt idx="28311">
                  <c:v>0.50492241840556396</c:v>
                </c:pt>
                <c:pt idx="28312">
                  <c:v>0.50494025325486003</c:v>
                </c:pt>
                <c:pt idx="28313">
                  <c:v>0.50495808810415499</c:v>
                </c:pt>
                <c:pt idx="28314">
                  <c:v>0.50497592295345095</c:v>
                </c:pt>
                <c:pt idx="28315">
                  <c:v>0.50499375780274602</c:v>
                </c:pt>
                <c:pt idx="28316">
                  <c:v>0.50501159265204199</c:v>
                </c:pt>
                <c:pt idx="28317">
                  <c:v>0.50502942750133695</c:v>
                </c:pt>
                <c:pt idx="28318">
                  <c:v>0.50504726235063302</c:v>
                </c:pt>
                <c:pt idx="28319">
                  <c:v>0.50506509719992798</c:v>
                </c:pt>
                <c:pt idx="28320">
                  <c:v>0.50508293204922405</c:v>
                </c:pt>
                <c:pt idx="28321">
                  <c:v>0.50510076689851902</c:v>
                </c:pt>
                <c:pt idx="28322">
                  <c:v>0.50511860174781498</c:v>
                </c:pt>
                <c:pt idx="28323">
                  <c:v>0.50513643659711005</c:v>
                </c:pt>
                <c:pt idx="28324">
                  <c:v>0.50515427144640601</c:v>
                </c:pt>
                <c:pt idx="28325">
                  <c:v>0.50517210629570097</c:v>
                </c:pt>
                <c:pt idx="28326">
                  <c:v>0.50518994114499705</c:v>
                </c:pt>
                <c:pt idx="28327">
                  <c:v>0.50520777599429201</c:v>
                </c:pt>
                <c:pt idx="28328">
                  <c:v>0.50522561084358797</c:v>
                </c:pt>
                <c:pt idx="28329">
                  <c:v>0.50524344569288304</c:v>
                </c:pt>
                <c:pt idx="28330">
                  <c:v>0.505261280542179</c:v>
                </c:pt>
                <c:pt idx="28331">
                  <c:v>0.50527911539147496</c:v>
                </c:pt>
                <c:pt idx="28332">
                  <c:v>0.50529695024077004</c:v>
                </c:pt>
                <c:pt idx="28333">
                  <c:v>0.505314785090066</c:v>
                </c:pt>
                <c:pt idx="28334">
                  <c:v>0.50533261993936096</c:v>
                </c:pt>
                <c:pt idx="28335">
                  <c:v>0.50535045478865703</c:v>
                </c:pt>
                <c:pt idx="28336">
                  <c:v>0.505368289637952</c:v>
                </c:pt>
                <c:pt idx="28337">
                  <c:v>0.50538612448724796</c:v>
                </c:pt>
                <c:pt idx="28338">
                  <c:v>0.50540395933654303</c:v>
                </c:pt>
                <c:pt idx="28339">
                  <c:v>0.50542179418583899</c:v>
                </c:pt>
                <c:pt idx="28340">
                  <c:v>0.50543962903513395</c:v>
                </c:pt>
                <c:pt idx="28341">
                  <c:v>0.50545746388443002</c:v>
                </c:pt>
                <c:pt idx="28342">
                  <c:v>0.50547529873372499</c:v>
                </c:pt>
                <c:pt idx="28343">
                  <c:v>0.50549313358302095</c:v>
                </c:pt>
                <c:pt idx="28344">
                  <c:v>0.50551096843231602</c:v>
                </c:pt>
                <c:pt idx="28345">
                  <c:v>0.50552880328161198</c:v>
                </c:pt>
                <c:pt idx="28346">
                  <c:v>0.50554663813090694</c:v>
                </c:pt>
                <c:pt idx="28347">
                  <c:v>0.50556447298020302</c:v>
                </c:pt>
                <c:pt idx="28348">
                  <c:v>0.50558230782949798</c:v>
                </c:pt>
                <c:pt idx="28349">
                  <c:v>0.50560014267879405</c:v>
                </c:pt>
                <c:pt idx="28350">
                  <c:v>0.50561797752808901</c:v>
                </c:pt>
                <c:pt idx="28351">
                  <c:v>0.50563581237738497</c:v>
                </c:pt>
                <c:pt idx="28352">
                  <c:v>0.50565364722668005</c:v>
                </c:pt>
                <c:pt idx="28353">
                  <c:v>0.50567148207597601</c:v>
                </c:pt>
                <c:pt idx="28354">
                  <c:v>0.50568931692527197</c:v>
                </c:pt>
                <c:pt idx="28355">
                  <c:v>0.50570715177456704</c:v>
                </c:pt>
                <c:pt idx="28356">
                  <c:v>0.505724986623863</c:v>
                </c:pt>
                <c:pt idx="28357">
                  <c:v>0.50574282147315797</c:v>
                </c:pt>
                <c:pt idx="28358">
                  <c:v>0.50576065632245404</c:v>
                </c:pt>
                <c:pt idx="28359">
                  <c:v>0.505778491171749</c:v>
                </c:pt>
                <c:pt idx="28360">
                  <c:v>0.50579632602104496</c:v>
                </c:pt>
                <c:pt idx="28361">
                  <c:v>0.50581416087034003</c:v>
                </c:pt>
                <c:pt idx="28362">
                  <c:v>0.505831995719636</c:v>
                </c:pt>
                <c:pt idx="28363">
                  <c:v>0.50584983056893096</c:v>
                </c:pt>
                <c:pt idx="28364">
                  <c:v>0.50586766541822703</c:v>
                </c:pt>
                <c:pt idx="28365">
                  <c:v>0.50588550026752199</c:v>
                </c:pt>
                <c:pt idx="28366">
                  <c:v>0.50590333511681795</c:v>
                </c:pt>
                <c:pt idx="28367">
                  <c:v>0.50592116996611303</c:v>
                </c:pt>
                <c:pt idx="28368">
                  <c:v>0.50593900481540899</c:v>
                </c:pt>
                <c:pt idx="28369">
                  <c:v>0.50595683966470395</c:v>
                </c:pt>
                <c:pt idx="28370">
                  <c:v>0.50597467451400002</c:v>
                </c:pt>
                <c:pt idx="28371">
                  <c:v>0.50599250936329498</c:v>
                </c:pt>
                <c:pt idx="28372">
                  <c:v>0.50601034421259095</c:v>
                </c:pt>
                <c:pt idx="28373">
                  <c:v>0.50602817906188602</c:v>
                </c:pt>
                <c:pt idx="28374">
                  <c:v>0.50604601391118198</c:v>
                </c:pt>
                <c:pt idx="28375">
                  <c:v>0.50606384876047705</c:v>
                </c:pt>
                <c:pt idx="28376">
                  <c:v>0.50608168360977301</c:v>
                </c:pt>
                <c:pt idx="28377">
                  <c:v>0.50609951845906898</c:v>
                </c:pt>
                <c:pt idx="28378">
                  <c:v>0.50611735330836405</c:v>
                </c:pt>
                <c:pt idx="28379">
                  <c:v>0.50613518815766001</c:v>
                </c:pt>
                <c:pt idx="28380">
                  <c:v>0.50615302300695497</c:v>
                </c:pt>
                <c:pt idx="28381">
                  <c:v>0.50617085785625104</c:v>
                </c:pt>
                <c:pt idx="28382">
                  <c:v>0.50618869270554601</c:v>
                </c:pt>
                <c:pt idx="28383">
                  <c:v>0.50620652755484197</c:v>
                </c:pt>
                <c:pt idx="28384">
                  <c:v>0.50622436240413704</c:v>
                </c:pt>
                <c:pt idx="28385">
                  <c:v>0.506242197253433</c:v>
                </c:pt>
                <c:pt idx="28386">
                  <c:v>0.50626003210272796</c:v>
                </c:pt>
                <c:pt idx="28387">
                  <c:v>0.50627786695202404</c:v>
                </c:pt>
                <c:pt idx="28388">
                  <c:v>0.506295701801319</c:v>
                </c:pt>
                <c:pt idx="28389">
                  <c:v>0.50631353665061496</c:v>
                </c:pt>
                <c:pt idx="28390">
                  <c:v>0.50633137149991003</c:v>
                </c:pt>
                <c:pt idx="28391">
                  <c:v>0.50634920634920599</c:v>
                </c:pt>
                <c:pt idx="28392">
                  <c:v>0.50636704119850096</c:v>
                </c:pt>
                <c:pt idx="28393">
                  <c:v>0.50638487604779703</c:v>
                </c:pt>
                <c:pt idx="28394">
                  <c:v>0.50640271089709199</c:v>
                </c:pt>
                <c:pt idx="28395">
                  <c:v>0.50642054574638795</c:v>
                </c:pt>
                <c:pt idx="28396">
                  <c:v>0.50643838059568302</c:v>
                </c:pt>
                <c:pt idx="28397">
                  <c:v>0.50645621544497899</c:v>
                </c:pt>
                <c:pt idx="28398">
                  <c:v>0.50647405029427495</c:v>
                </c:pt>
                <c:pt idx="28399">
                  <c:v>0.50649188514357002</c:v>
                </c:pt>
                <c:pt idx="28400">
                  <c:v>0.50650971999286598</c:v>
                </c:pt>
                <c:pt idx="28401">
                  <c:v>0.50652755484216105</c:v>
                </c:pt>
                <c:pt idx="28402">
                  <c:v>0.50654538969145702</c:v>
                </c:pt>
                <c:pt idx="28403">
                  <c:v>0.50656322454075198</c:v>
                </c:pt>
                <c:pt idx="28404">
                  <c:v>0.50658105939004805</c:v>
                </c:pt>
                <c:pt idx="28405">
                  <c:v>0.50659889423934301</c:v>
                </c:pt>
                <c:pt idx="28406">
                  <c:v>0.50661672908863897</c:v>
                </c:pt>
                <c:pt idx="28407">
                  <c:v>0.50663456393793405</c:v>
                </c:pt>
                <c:pt idx="28408">
                  <c:v>0.50665239878723001</c:v>
                </c:pt>
                <c:pt idx="28409">
                  <c:v>0.50667023363652497</c:v>
                </c:pt>
                <c:pt idx="28410">
                  <c:v>0.50668806848582104</c:v>
                </c:pt>
                <c:pt idx="28411">
                  <c:v>0.506705903335116</c:v>
                </c:pt>
                <c:pt idx="28412">
                  <c:v>0.50672373818441196</c:v>
                </c:pt>
                <c:pt idx="28413">
                  <c:v>0.50674157303370704</c:v>
                </c:pt>
                <c:pt idx="28414">
                  <c:v>0.506759407883003</c:v>
                </c:pt>
                <c:pt idx="28415">
                  <c:v>0.50677724273229896</c:v>
                </c:pt>
                <c:pt idx="28416">
                  <c:v>0.50679507758159403</c:v>
                </c:pt>
                <c:pt idx="28417">
                  <c:v>0.50681291243088999</c:v>
                </c:pt>
                <c:pt idx="28418">
                  <c:v>0.50683074728018496</c:v>
                </c:pt>
                <c:pt idx="28419">
                  <c:v>0.50684858212948103</c:v>
                </c:pt>
                <c:pt idx="28420">
                  <c:v>0.50686641697877599</c:v>
                </c:pt>
                <c:pt idx="28421">
                  <c:v>0.50688425182807195</c:v>
                </c:pt>
                <c:pt idx="28422">
                  <c:v>0.50690208667736703</c:v>
                </c:pt>
                <c:pt idx="28423">
                  <c:v>0.50691992152666299</c:v>
                </c:pt>
                <c:pt idx="28424">
                  <c:v>0.50693775637595795</c:v>
                </c:pt>
                <c:pt idx="28425">
                  <c:v>0.50695559122525402</c:v>
                </c:pt>
                <c:pt idx="28426">
                  <c:v>0.50697342607454898</c:v>
                </c:pt>
                <c:pt idx="28427">
                  <c:v>0.50699126092384506</c:v>
                </c:pt>
                <c:pt idx="28428">
                  <c:v>0.50700909577314002</c:v>
                </c:pt>
                <c:pt idx="28429">
                  <c:v>0.50702693062243598</c:v>
                </c:pt>
                <c:pt idx="28430">
                  <c:v>0.50704476547173105</c:v>
                </c:pt>
                <c:pt idx="28431">
                  <c:v>0.50706260032102701</c:v>
                </c:pt>
                <c:pt idx="28432">
                  <c:v>0.50708043517032197</c:v>
                </c:pt>
                <c:pt idx="28433">
                  <c:v>0.50709827001961805</c:v>
                </c:pt>
                <c:pt idx="28434">
                  <c:v>0.50711610486891301</c:v>
                </c:pt>
                <c:pt idx="28435">
                  <c:v>0.50713393971820897</c:v>
                </c:pt>
                <c:pt idx="28436">
                  <c:v>0.50715177456750404</c:v>
                </c:pt>
                <c:pt idx="28437">
                  <c:v>0.5071696094168</c:v>
                </c:pt>
                <c:pt idx="28438">
                  <c:v>0.50718744426609597</c:v>
                </c:pt>
                <c:pt idx="28439">
                  <c:v>0.50720527911539104</c:v>
                </c:pt>
                <c:pt idx="28440">
                  <c:v>0.507223113964687</c:v>
                </c:pt>
                <c:pt idx="28441">
                  <c:v>0.50724094881398196</c:v>
                </c:pt>
                <c:pt idx="28442">
                  <c:v>0.50725878366327803</c:v>
                </c:pt>
                <c:pt idx="28443">
                  <c:v>0.507276618512573</c:v>
                </c:pt>
                <c:pt idx="28444">
                  <c:v>0.50729445336186896</c:v>
                </c:pt>
                <c:pt idx="28445">
                  <c:v>0.50731228821116403</c:v>
                </c:pt>
                <c:pt idx="28446">
                  <c:v>0.50733012306045999</c:v>
                </c:pt>
                <c:pt idx="28447">
                  <c:v>0.50734795790975495</c:v>
                </c:pt>
                <c:pt idx="28448">
                  <c:v>0.50736579275905103</c:v>
                </c:pt>
                <c:pt idx="28449">
                  <c:v>0.50738362760834599</c:v>
                </c:pt>
                <c:pt idx="28450">
                  <c:v>0.50740146245764195</c:v>
                </c:pt>
                <c:pt idx="28451">
                  <c:v>0.50741929730693702</c:v>
                </c:pt>
                <c:pt idx="28452">
                  <c:v>0.50743713215623298</c:v>
                </c:pt>
                <c:pt idx="28453">
                  <c:v>0.50745496700552795</c:v>
                </c:pt>
                <c:pt idx="28454">
                  <c:v>0.50747280185482402</c:v>
                </c:pt>
                <c:pt idx="28455">
                  <c:v>0.50749063670411898</c:v>
                </c:pt>
                <c:pt idx="28456">
                  <c:v>0.50750847155341505</c:v>
                </c:pt>
                <c:pt idx="28457">
                  <c:v>0.50752630640271001</c:v>
                </c:pt>
                <c:pt idx="28458">
                  <c:v>0.50754414125200598</c:v>
                </c:pt>
                <c:pt idx="28459">
                  <c:v>0.50756197610130105</c:v>
                </c:pt>
                <c:pt idx="28460">
                  <c:v>0.50757981095059701</c:v>
                </c:pt>
                <c:pt idx="28461">
                  <c:v>0.50759764579989297</c:v>
                </c:pt>
                <c:pt idx="28462">
                  <c:v>0.50761548064918804</c:v>
                </c:pt>
                <c:pt idx="28463">
                  <c:v>0.50763331549848401</c:v>
                </c:pt>
                <c:pt idx="28464">
                  <c:v>0.50765115034777897</c:v>
                </c:pt>
                <c:pt idx="28465">
                  <c:v>0.50766898519707504</c:v>
                </c:pt>
                <c:pt idx="28466">
                  <c:v>0.50768682004637</c:v>
                </c:pt>
                <c:pt idx="28467">
                  <c:v>0.50770465489566596</c:v>
                </c:pt>
                <c:pt idx="28468">
                  <c:v>0.50772248974496104</c:v>
                </c:pt>
                <c:pt idx="28469">
                  <c:v>0.507740324594257</c:v>
                </c:pt>
                <c:pt idx="28470">
                  <c:v>0.50775815944355196</c:v>
                </c:pt>
                <c:pt idx="28471">
                  <c:v>0.50777599429284803</c:v>
                </c:pt>
                <c:pt idx="28472">
                  <c:v>0.50779382914214299</c:v>
                </c:pt>
                <c:pt idx="28473">
                  <c:v>0.50781166399143896</c:v>
                </c:pt>
                <c:pt idx="28474">
                  <c:v>0.50782949884073403</c:v>
                </c:pt>
                <c:pt idx="28475">
                  <c:v>0.50784733369002999</c:v>
                </c:pt>
                <c:pt idx="28476">
                  <c:v>0.50786516853932495</c:v>
                </c:pt>
                <c:pt idx="28477">
                  <c:v>0.50788300338862102</c:v>
                </c:pt>
                <c:pt idx="28478">
                  <c:v>0.50790083823791599</c:v>
                </c:pt>
                <c:pt idx="28479">
                  <c:v>0.50791867308721195</c:v>
                </c:pt>
                <c:pt idx="28480">
                  <c:v>0.50793650793650702</c:v>
                </c:pt>
                <c:pt idx="28481">
                  <c:v>0.50795434278580298</c:v>
                </c:pt>
                <c:pt idx="28482">
                  <c:v>0.50797217763509805</c:v>
                </c:pt>
                <c:pt idx="28483">
                  <c:v>0.50799001248439402</c:v>
                </c:pt>
                <c:pt idx="28484">
                  <c:v>0.50800784733368998</c:v>
                </c:pt>
                <c:pt idx="28485">
                  <c:v>0.50802568218298505</c:v>
                </c:pt>
                <c:pt idx="28486">
                  <c:v>0.50804351703228101</c:v>
                </c:pt>
                <c:pt idx="28487">
                  <c:v>0.50806135188157597</c:v>
                </c:pt>
                <c:pt idx="28488">
                  <c:v>0.50807918673087205</c:v>
                </c:pt>
                <c:pt idx="28489">
                  <c:v>0.50809702158016701</c:v>
                </c:pt>
                <c:pt idx="28490">
                  <c:v>0.50811485642946297</c:v>
                </c:pt>
                <c:pt idx="28491">
                  <c:v>0.50813269127875804</c:v>
                </c:pt>
                <c:pt idx="28492">
                  <c:v>0.508150526128054</c:v>
                </c:pt>
                <c:pt idx="28493">
                  <c:v>0.50816836097734897</c:v>
                </c:pt>
                <c:pt idx="28494">
                  <c:v>0.50818619582664504</c:v>
                </c:pt>
                <c:pt idx="28495">
                  <c:v>0.50820403067594</c:v>
                </c:pt>
                <c:pt idx="28496">
                  <c:v>0.50822186552523596</c:v>
                </c:pt>
                <c:pt idx="28497">
                  <c:v>0.50823970037453103</c:v>
                </c:pt>
                <c:pt idx="28498">
                  <c:v>0.508257535223827</c:v>
                </c:pt>
                <c:pt idx="28499">
                  <c:v>0.50827537007312196</c:v>
                </c:pt>
                <c:pt idx="28500">
                  <c:v>0.50829320492241803</c:v>
                </c:pt>
                <c:pt idx="28501">
                  <c:v>0.50831103977171299</c:v>
                </c:pt>
                <c:pt idx="28502">
                  <c:v>0.50832887462100895</c:v>
                </c:pt>
                <c:pt idx="28503">
                  <c:v>0.50834670947030502</c:v>
                </c:pt>
                <c:pt idx="28504">
                  <c:v>0.50836454431959999</c:v>
                </c:pt>
                <c:pt idx="28505">
                  <c:v>0.50838237916889595</c:v>
                </c:pt>
                <c:pt idx="28506">
                  <c:v>0.50840021401819102</c:v>
                </c:pt>
                <c:pt idx="28507">
                  <c:v>0.50841804886748698</c:v>
                </c:pt>
                <c:pt idx="28508">
                  <c:v>0.50843588371678194</c:v>
                </c:pt>
                <c:pt idx="28509">
                  <c:v>0.50845371856607802</c:v>
                </c:pt>
                <c:pt idx="28510">
                  <c:v>0.50847155341537298</c:v>
                </c:pt>
                <c:pt idx="28511">
                  <c:v>0.50848938826466905</c:v>
                </c:pt>
                <c:pt idx="28512">
                  <c:v>0.50850722311396401</c:v>
                </c:pt>
                <c:pt idx="28513">
                  <c:v>0.50852505796325997</c:v>
                </c:pt>
                <c:pt idx="28514">
                  <c:v>0.50854289281255505</c:v>
                </c:pt>
                <c:pt idx="28515">
                  <c:v>0.50856072766185101</c:v>
                </c:pt>
                <c:pt idx="28516">
                  <c:v>0.50857856251114597</c:v>
                </c:pt>
                <c:pt idx="28517">
                  <c:v>0.50859639736044204</c:v>
                </c:pt>
                <c:pt idx="28518">
                  <c:v>0.508614232209737</c:v>
                </c:pt>
                <c:pt idx="28519">
                  <c:v>0.50863206705903297</c:v>
                </c:pt>
                <c:pt idx="28520">
                  <c:v>0.50864990190832804</c:v>
                </c:pt>
                <c:pt idx="28521">
                  <c:v>0.508667736757624</c:v>
                </c:pt>
                <c:pt idx="28522">
                  <c:v>0.50868557160691996</c:v>
                </c:pt>
                <c:pt idx="28523">
                  <c:v>0.50870340645621503</c:v>
                </c:pt>
                <c:pt idx="28524">
                  <c:v>0.508721241305511</c:v>
                </c:pt>
                <c:pt idx="28525">
                  <c:v>0.50873907615480596</c:v>
                </c:pt>
                <c:pt idx="28526">
                  <c:v>0.50875691100410203</c:v>
                </c:pt>
                <c:pt idx="28527">
                  <c:v>0.50877474585339699</c:v>
                </c:pt>
                <c:pt idx="28528">
                  <c:v>0.50879258070269295</c:v>
                </c:pt>
                <c:pt idx="28529">
                  <c:v>0.50881041555198803</c:v>
                </c:pt>
                <c:pt idx="28530">
                  <c:v>0.50882825040128399</c:v>
                </c:pt>
                <c:pt idx="28531">
                  <c:v>0.50884608525057895</c:v>
                </c:pt>
                <c:pt idx="28532">
                  <c:v>0.50886392009987502</c:v>
                </c:pt>
                <c:pt idx="28533">
                  <c:v>0.50888175494916998</c:v>
                </c:pt>
                <c:pt idx="28534">
                  <c:v>0.50889958979846595</c:v>
                </c:pt>
                <c:pt idx="28535">
                  <c:v>0.50891742464776102</c:v>
                </c:pt>
                <c:pt idx="28536">
                  <c:v>0.50893525949705698</c:v>
                </c:pt>
                <c:pt idx="28537">
                  <c:v>0.50895309434635205</c:v>
                </c:pt>
                <c:pt idx="28538">
                  <c:v>0.50897092919564801</c:v>
                </c:pt>
                <c:pt idx="28539">
                  <c:v>0.50898876404494298</c:v>
                </c:pt>
                <c:pt idx="28540">
                  <c:v>0.50900659889423905</c:v>
                </c:pt>
                <c:pt idx="28541">
                  <c:v>0.50902443374353401</c:v>
                </c:pt>
                <c:pt idx="28542">
                  <c:v>0.50904226859282997</c:v>
                </c:pt>
                <c:pt idx="28543">
                  <c:v>0.50906010344212504</c:v>
                </c:pt>
                <c:pt idx="28544">
                  <c:v>0.50907793829142101</c:v>
                </c:pt>
                <c:pt idx="28545">
                  <c:v>0.50909577314071697</c:v>
                </c:pt>
                <c:pt idx="28546">
                  <c:v>0.50911360799001204</c:v>
                </c:pt>
                <c:pt idx="28547">
                  <c:v>0.509131442839308</c:v>
                </c:pt>
                <c:pt idx="28548">
                  <c:v>0.50914927768860296</c:v>
                </c:pt>
                <c:pt idx="28549">
                  <c:v>0.50916711253789904</c:v>
                </c:pt>
                <c:pt idx="28550">
                  <c:v>0.509184947387194</c:v>
                </c:pt>
                <c:pt idx="28551">
                  <c:v>0.50920278223648996</c:v>
                </c:pt>
                <c:pt idx="28552">
                  <c:v>0.50922061708578503</c:v>
                </c:pt>
                <c:pt idx="28553">
                  <c:v>0.50923845193508099</c:v>
                </c:pt>
                <c:pt idx="28554">
                  <c:v>0.50925628678437596</c:v>
                </c:pt>
                <c:pt idx="28555">
                  <c:v>0.50927412163367203</c:v>
                </c:pt>
                <c:pt idx="28556">
                  <c:v>0.50929195648296699</c:v>
                </c:pt>
                <c:pt idx="28557">
                  <c:v>0.50930979133226295</c:v>
                </c:pt>
                <c:pt idx="28558">
                  <c:v>0.50932762618155802</c:v>
                </c:pt>
                <c:pt idx="28559">
                  <c:v>0.50934546103085399</c:v>
                </c:pt>
                <c:pt idx="28560">
                  <c:v>0.50936329588014895</c:v>
                </c:pt>
                <c:pt idx="28561">
                  <c:v>0.50938113072944502</c:v>
                </c:pt>
                <c:pt idx="28562">
                  <c:v>0.50939896557873998</c:v>
                </c:pt>
                <c:pt idx="28563">
                  <c:v>0.50941680042803605</c:v>
                </c:pt>
                <c:pt idx="28564">
                  <c:v>0.50943463527733102</c:v>
                </c:pt>
                <c:pt idx="28565">
                  <c:v>0.50945247012662698</c:v>
                </c:pt>
                <c:pt idx="28566">
                  <c:v>0.50947030497592205</c:v>
                </c:pt>
                <c:pt idx="28567">
                  <c:v>0.50948813982521801</c:v>
                </c:pt>
                <c:pt idx="28568">
                  <c:v>0.50950597467451397</c:v>
                </c:pt>
                <c:pt idx="28569">
                  <c:v>0.50952380952380905</c:v>
                </c:pt>
                <c:pt idx="28570">
                  <c:v>0.50954164437310501</c:v>
                </c:pt>
                <c:pt idx="28571">
                  <c:v>0.50955947922239997</c:v>
                </c:pt>
                <c:pt idx="28572">
                  <c:v>0.50957731407169604</c:v>
                </c:pt>
                <c:pt idx="28573">
                  <c:v>0.509595148920991</c:v>
                </c:pt>
                <c:pt idx="28574">
                  <c:v>0.50961298377028696</c:v>
                </c:pt>
                <c:pt idx="28575">
                  <c:v>0.50963081861958204</c:v>
                </c:pt>
                <c:pt idx="28576">
                  <c:v>0.509648653468878</c:v>
                </c:pt>
                <c:pt idx="28577">
                  <c:v>0.50966648831817296</c:v>
                </c:pt>
                <c:pt idx="28578">
                  <c:v>0.50968432316746903</c:v>
                </c:pt>
                <c:pt idx="28579">
                  <c:v>0.509702158016764</c:v>
                </c:pt>
                <c:pt idx="28580">
                  <c:v>0.50971999286605996</c:v>
                </c:pt>
                <c:pt idx="28581">
                  <c:v>0.50973782771535503</c:v>
                </c:pt>
                <c:pt idx="28582">
                  <c:v>0.50975566256465099</c:v>
                </c:pt>
                <c:pt idx="28583">
                  <c:v>0.50977349741394595</c:v>
                </c:pt>
                <c:pt idx="28584">
                  <c:v>0.50979133226324203</c:v>
                </c:pt>
                <c:pt idx="28585">
                  <c:v>0.50980916711253699</c:v>
                </c:pt>
                <c:pt idx="28586">
                  <c:v>0.50982700196183295</c:v>
                </c:pt>
                <c:pt idx="28587">
                  <c:v>0.50984483681112802</c:v>
                </c:pt>
                <c:pt idx="28588">
                  <c:v>0.50986267166042398</c:v>
                </c:pt>
                <c:pt idx="28589">
                  <c:v>0.50988050650971894</c:v>
                </c:pt>
                <c:pt idx="28590">
                  <c:v>0.50989834135901502</c:v>
                </c:pt>
                <c:pt idx="28591">
                  <c:v>0.50991617620831098</c:v>
                </c:pt>
                <c:pt idx="28592">
                  <c:v>0.50993401105760605</c:v>
                </c:pt>
                <c:pt idx="28593">
                  <c:v>0.50995184590690201</c:v>
                </c:pt>
                <c:pt idx="28594">
                  <c:v>0.50996968075619697</c:v>
                </c:pt>
                <c:pt idx="28595">
                  <c:v>0.50998751560549305</c:v>
                </c:pt>
                <c:pt idx="28596">
                  <c:v>0.51000535045478801</c:v>
                </c:pt>
                <c:pt idx="28597">
                  <c:v>0.51002318530408397</c:v>
                </c:pt>
                <c:pt idx="28598">
                  <c:v>0.51004102015337904</c:v>
                </c:pt>
                <c:pt idx="28599">
                  <c:v>0.510058855002675</c:v>
                </c:pt>
                <c:pt idx="28600">
                  <c:v>0.51007668985196997</c:v>
                </c:pt>
                <c:pt idx="28601">
                  <c:v>0.51009452470126604</c:v>
                </c:pt>
                <c:pt idx="28602">
                  <c:v>0.510112359550561</c:v>
                </c:pt>
                <c:pt idx="28603">
                  <c:v>0.51013019439985696</c:v>
                </c:pt>
                <c:pt idx="28604">
                  <c:v>0.51014802924915204</c:v>
                </c:pt>
                <c:pt idx="28605">
                  <c:v>0.510165864098448</c:v>
                </c:pt>
                <c:pt idx="28606">
                  <c:v>0.51018369894774296</c:v>
                </c:pt>
                <c:pt idx="28607">
                  <c:v>0.51020153379703903</c:v>
                </c:pt>
                <c:pt idx="28608">
                  <c:v>0.51021936864633499</c:v>
                </c:pt>
                <c:pt idx="28609">
                  <c:v>0.51023720349562995</c:v>
                </c:pt>
                <c:pt idx="28610">
                  <c:v>0.51025503834492603</c:v>
                </c:pt>
                <c:pt idx="28611">
                  <c:v>0.51027287319422099</c:v>
                </c:pt>
                <c:pt idx="28612">
                  <c:v>0.51029070804351695</c:v>
                </c:pt>
                <c:pt idx="28613">
                  <c:v>0.51030854289281202</c:v>
                </c:pt>
                <c:pt idx="28614">
                  <c:v>0.51032637774210798</c:v>
                </c:pt>
                <c:pt idx="28615">
                  <c:v>0.51034421259140295</c:v>
                </c:pt>
                <c:pt idx="28616">
                  <c:v>0.51036204744069902</c:v>
                </c:pt>
                <c:pt idx="28617">
                  <c:v>0.51037988228999398</c:v>
                </c:pt>
                <c:pt idx="28618">
                  <c:v>0.51039771713929005</c:v>
                </c:pt>
                <c:pt idx="28619">
                  <c:v>0.51041555198858501</c:v>
                </c:pt>
                <c:pt idx="28620">
                  <c:v>0.51043338683788098</c:v>
                </c:pt>
                <c:pt idx="28621">
                  <c:v>0.51045122168717605</c:v>
                </c:pt>
                <c:pt idx="28622">
                  <c:v>0.51046905653647201</c:v>
                </c:pt>
                <c:pt idx="28623">
                  <c:v>0.51048689138576697</c:v>
                </c:pt>
                <c:pt idx="28624">
                  <c:v>0.51050472623506304</c:v>
                </c:pt>
                <c:pt idx="28625">
                  <c:v>0.51052256108435801</c:v>
                </c:pt>
                <c:pt idx="28626">
                  <c:v>0.51054039593365397</c:v>
                </c:pt>
                <c:pt idx="28627">
                  <c:v>0.51055823078294904</c:v>
                </c:pt>
                <c:pt idx="28628">
                  <c:v>0.510576065632245</c:v>
                </c:pt>
                <c:pt idx="28629">
                  <c:v>0.51059390048154096</c:v>
                </c:pt>
                <c:pt idx="28630">
                  <c:v>0.51061173533083604</c:v>
                </c:pt>
                <c:pt idx="28631">
                  <c:v>0.510629570180132</c:v>
                </c:pt>
                <c:pt idx="28632">
                  <c:v>0.51064740502942696</c:v>
                </c:pt>
                <c:pt idx="28633">
                  <c:v>0.51066523987872303</c:v>
                </c:pt>
                <c:pt idx="28634">
                  <c:v>0.51068307472801799</c:v>
                </c:pt>
                <c:pt idx="28635">
                  <c:v>0.51070090957731396</c:v>
                </c:pt>
                <c:pt idx="28636">
                  <c:v>0.51071874442660903</c:v>
                </c:pt>
                <c:pt idx="28637">
                  <c:v>0.51073657927590499</c:v>
                </c:pt>
                <c:pt idx="28638">
                  <c:v>0.51075441412519995</c:v>
                </c:pt>
                <c:pt idx="28639">
                  <c:v>0.51077224897449602</c:v>
                </c:pt>
                <c:pt idx="28640">
                  <c:v>0.51079008382379099</c:v>
                </c:pt>
                <c:pt idx="28641">
                  <c:v>0.51080791867308695</c:v>
                </c:pt>
                <c:pt idx="28642">
                  <c:v>0.51082575352238202</c:v>
                </c:pt>
                <c:pt idx="28643">
                  <c:v>0.51084358837167798</c:v>
                </c:pt>
                <c:pt idx="28644">
                  <c:v>0.51086142322097305</c:v>
                </c:pt>
                <c:pt idx="28645">
                  <c:v>0.51087925807026902</c:v>
                </c:pt>
                <c:pt idx="28646">
                  <c:v>0.51089709291956398</c:v>
                </c:pt>
                <c:pt idx="28647">
                  <c:v>0.51091492776886005</c:v>
                </c:pt>
                <c:pt idx="28648">
                  <c:v>0.51093276261815501</c:v>
                </c:pt>
                <c:pt idx="28649">
                  <c:v>0.51095059746745097</c:v>
                </c:pt>
                <c:pt idx="28650">
                  <c:v>0.51096843231674605</c:v>
                </c:pt>
                <c:pt idx="28651">
                  <c:v>0.51098626716604201</c:v>
                </c:pt>
                <c:pt idx="28652">
                  <c:v>0.51100410201533797</c:v>
                </c:pt>
                <c:pt idx="28653">
                  <c:v>0.51102193686463304</c:v>
                </c:pt>
                <c:pt idx="28654">
                  <c:v>0.511039771713929</c:v>
                </c:pt>
                <c:pt idx="28655">
                  <c:v>0.51105760656322397</c:v>
                </c:pt>
                <c:pt idx="28656">
                  <c:v>0.51107544141252004</c:v>
                </c:pt>
                <c:pt idx="28657">
                  <c:v>0.511093276261815</c:v>
                </c:pt>
                <c:pt idx="28658">
                  <c:v>0.51111111111111096</c:v>
                </c:pt>
                <c:pt idx="28659">
                  <c:v>0.51112894596040603</c:v>
                </c:pt>
                <c:pt idx="28660">
                  <c:v>0.51114678080970199</c:v>
                </c:pt>
                <c:pt idx="28661">
                  <c:v>0.51116461565899696</c:v>
                </c:pt>
                <c:pt idx="28662">
                  <c:v>0.51118245050829303</c:v>
                </c:pt>
                <c:pt idx="28663">
                  <c:v>0.51120028535758799</c:v>
                </c:pt>
                <c:pt idx="28664">
                  <c:v>0.51121812020688395</c:v>
                </c:pt>
                <c:pt idx="28665">
                  <c:v>0.51123595505617903</c:v>
                </c:pt>
                <c:pt idx="28666">
                  <c:v>0.51125378990547499</c:v>
                </c:pt>
                <c:pt idx="28667">
                  <c:v>0.51127162475476995</c:v>
                </c:pt>
                <c:pt idx="28668">
                  <c:v>0.51128945960406602</c:v>
                </c:pt>
                <c:pt idx="28669">
                  <c:v>0.51130729445336098</c:v>
                </c:pt>
                <c:pt idx="28670">
                  <c:v>0.51132512930265706</c:v>
                </c:pt>
                <c:pt idx="28671">
                  <c:v>0.51134296415195202</c:v>
                </c:pt>
                <c:pt idx="28672">
                  <c:v>0.51136079900124798</c:v>
                </c:pt>
                <c:pt idx="28673">
                  <c:v>0.51137863385054305</c:v>
                </c:pt>
                <c:pt idx="28674">
                  <c:v>0.51139646869983901</c:v>
                </c:pt>
                <c:pt idx="28675">
                  <c:v>0.51141430354913497</c:v>
                </c:pt>
                <c:pt idx="28676">
                  <c:v>0.51143213839843005</c:v>
                </c:pt>
                <c:pt idx="28677">
                  <c:v>0.51144997324772601</c:v>
                </c:pt>
                <c:pt idx="28678">
                  <c:v>0.51146780809702097</c:v>
                </c:pt>
                <c:pt idx="28679">
                  <c:v>0.51148564294631704</c:v>
                </c:pt>
                <c:pt idx="28680">
                  <c:v>0.511503477795612</c:v>
                </c:pt>
                <c:pt idx="28681">
                  <c:v>0.51152131264490797</c:v>
                </c:pt>
                <c:pt idx="28682">
                  <c:v>0.51153914749420304</c:v>
                </c:pt>
                <c:pt idx="28683">
                  <c:v>0.511556982343499</c:v>
                </c:pt>
                <c:pt idx="28684">
                  <c:v>0.51157481719279396</c:v>
                </c:pt>
                <c:pt idx="28685">
                  <c:v>0.51159265204209003</c:v>
                </c:pt>
                <c:pt idx="28686">
                  <c:v>0.511610486891385</c:v>
                </c:pt>
                <c:pt idx="28687">
                  <c:v>0.51162832174068096</c:v>
                </c:pt>
                <c:pt idx="28688">
                  <c:v>0.51164615658997603</c:v>
                </c:pt>
                <c:pt idx="28689">
                  <c:v>0.51166399143927199</c:v>
                </c:pt>
                <c:pt idx="28690">
                  <c:v>0.51168182628856695</c:v>
                </c:pt>
                <c:pt idx="28691">
                  <c:v>0.51169966113786303</c:v>
                </c:pt>
                <c:pt idx="28692">
                  <c:v>0.51171749598715799</c:v>
                </c:pt>
                <c:pt idx="28693">
                  <c:v>0.51173533083645395</c:v>
                </c:pt>
                <c:pt idx="28694">
                  <c:v>0.51175316568574902</c:v>
                </c:pt>
                <c:pt idx="28695">
                  <c:v>0.51177100053504498</c:v>
                </c:pt>
                <c:pt idx="28696">
                  <c:v>0.51178883538434095</c:v>
                </c:pt>
                <c:pt idx="28697">
                  <c:v>0.51180667023363602</c:v>
                </c:pt>
                <c:pt idx="28698">
                  <c:v>0.51182450508293198</c:v>
                </c:pt>
                <c:pt idx="28699">
                  <c:v>0.51184233993222705</c:v>
                </c:pt>
                <c:pt idx="28700">
                  <c:v>0.51186017478152301</c:v>
                </c:pt>
                <c:pt idx="28701">
                  <c:v>0.51187800963081798</c:v>
                </c:pt>
                <c:pt idx="28702">
                  <c:v>0.51189584448011405</c:v>
                </c:pt>
                <c:pt idx="28703">
                  <c:v>0.51191367932940901</c:v>
                </c:pt>
                <c:pt idx="28704">
                  <c:v>0.51193151417870497</c:v>
                </c:pt>
                <c:pt idx="28705">
                  <c:v>0.51194934902800004</c:v>
                </c:pt>
                <c:pt idx="28706">
                  <c:v>0.51196718387729601</c:v>
                </c:pt>
                <c:pt idx="28707">
                  <c:v>0.51198501872659097</c:v>
                </c:pt>
                <c:pt idx="28708">
                  <c:v>0.51200285357588704</c:v>
                </c:pt>
                <c:pt idx="28709">
                  <c:v>0.512020688425182</c:v>
                </c:pt>
                <c:pt idx="28710">
                  <c:v>0.51203852327447796</c:v>
                </c:pt>
                <c:pt idx="28711">
                  <c:v>0.51205635812377304</c:v>
                </c:pt>
                <c:pt idx="28712">
                  <c:v>0.512074192973069</c:v>
                </c:pt>
                <c:pt idx="28713">
                  <c:v>0.51209202782236396</c:v>
                </c:pt>
                <c:pt idx="28714">
                  <c:v>0.51210986267166003</c:v>
                </c:pt>
                <c:pt idx="28715">
                  <c:v>0.51212769752095599</c:v>
                </c:pt>
                <c:pt idx="28716">
                  <c:v>0.51214553237025096</c:v>
                </c:pt>
                <c:pt idx="28717">
                  <c:v>0.51216336721954703</c:v>
                </c:pt>
                <c:pt idx="28718">
                  <c:v>0.51218120206884199</c:v>
                </c:pt>
                <c:pt idx="28719">
                  <c:v>0.51219903691813795</c:v>
                </c:pt>
                <c:pt idx="28720">
                  <c:v>0.51221687176743302</c:v>
                </c:pt>
                <c:pt idx="28721">
                  <c:v>0.51223470661672899</c:v>
                </c:pt>
                <c:pt idx="28722">
                  <c:v>0.51225254146602395</c:v>
                </c:pt>
                <c:pt idx="28723">
                  <c:v>0.51227037631532002</c:v>
                </c:pt>
                <c:pt idx="28724">
                  <c:v>0.51228821116461498</c:v>
                </c:pt>
                <c:pt idx="28725">
                  <c:v>0.51230604601391105</c:v>
                </c:pt>
                <c:pt idx="28726">
                  <c:v>0.51232388086320602</c:v>
                </c:pt>
                <c:pt idx="28727">
                  <c:v>0.51234171571250198</c:v>
                </c:pt>
                <c:pt idx="28728">
                  <c:v>0.51235955056179705</c:v>
                </c:pt>
                <c:pt idx="28729">
                  <c:v>0.51237738541109301</c:v>
                </c:pt>
                <c:pt idx="28730">
                  <c:v>0.51239522026038797</c:v>
                </c:pt>
                <c:pt idx="28731">
                  <c:v>0.51241305510968405</c:v>
                </c:pt>
                <c:pt idx="28732">
                  <c:v>0.51243088995897901</c:v>
                </c:pt>
                <c:pt idx="28733">
                  <c:v>0.51244872480827497</c:v>
                </c:pt>
                <c:pt idx="28734">
                  <c:v>0.51246655965757004</c:v>
                </c:pt>
                <c:pt idx="28735">
                  <c:v>0.512484394506866</c:v>
                </c:pt>
                <c:pt idx="28736">
                  <c:v>0.51250222935616196</c:v>
                </c:pt>
                <c:pt idx="28737">
                  <c:v>0.51252006420545704</c:v>
                </c:pt>
                <c:pt idx="28738">
                  <c:v>0.512537899054753</c:v>
                </c:pt>
                <c:pt idx="28739">
                  <c:v>0.51255573390404796</c:v>
                </c:pt>
                <c:pt idx="28740">
                  <c:v>0.51257356875334403</c:v>
                </c:pt>
                <c:pt idx="28741">
                  <c:v>0.512591403602639</c:v>
                </c:pt>
                <c:pt idx="28742">
                  <c:v>0.51260923845193496</c:v>
                </c:pt>
                <c:pt idx="28743">
                  <c:v>0.51262707330123003</c:v>
                </c:pt>
                <c:pt idx="28744">
                  <c:v>0.51264490815052599</c:v>
                </c:pt>
                <c:pt idx="28745">
                  <c:v>0.51266274299982095</c:v>
                </c:pt>
                <c:pt idx="28746">
                  <c:v>0.51268057784911703</c:v>
                </c:pt>
                <c:pt idx="28747">
                  <c:v>0.51269841269841199</c:v>
                </c:pt>
                <c:pt idx="28748">
                  <c:v>0.51271624754770795</c:v>
                </c:pt>
                <c:pt idx="28749">
                  <c:v>0.51273408239700302</c:v>
                </c:pt>
                <c:pt idx="28750">
                  <c:v>0.51275191724629898</c:v>
                </c:pt>
                <c:pt idx="28751">
                  <c:v>0.51276975209559394</c:v>
                </c:pt>
                <c:pt idx="28752">
                  <c:v>0.51278758694489002</c:v>
                </c:pt>
                <c:pt idx="28753">
                  <c:v>0.51280542179418498</c:v>
                </c:pt>
                <c:pt idx="28754">
                  <c:v>0.51282325664348105</c:v>
                </c:pt>
                <c:pt idx="28755">
                  <c:v>0.51284109149277601</c:v>
                </c:pt>
                <c:pt idx="28756">
                  <c:v>0.51285892634207197</c:v>
                </c:pt>
                <c:pt idx="28757">
                  <c:v>0.51287676119136705</c:v>
                </c:pt>
                <c:pt idx="28758">
                  <c:v>0.51289459604066301</c:v>
                </c:pt>
                <c:pt idx="28759">
                  <c:v>0.51291243088995897</c:v>
                </c:pt>
                <c:pt idx="28760">
                  <c:v>0.51293026573925404</c:v>
                </c:pt>
                <c:pt idx="28761">
                  <c:v>0.51294810058855</c:v>
                </c:pt>
                <c:pt idx="28762">
                  <c:v>0.51296593543784497</c:v>
                </c:pt>
                <c:pt idx="28763">
                  <c:v>0.51298377028714104</c:v>
                </c:pt>
                <c:pt idx="28764">
                  <c:v>0.513001605136436</c:v>
                </c:pt>
                <c:pt idx="28765">
                  <c:v>0.51301943998573196</c:v>
                </c:pt>
                <c:pt idx="28766">
                  <c:v>0.51303727483502704</c:v>
                </c:pt>
                <c:pt idx="28767">
                  <c:v>0.513055109684323</c:v>
                </c:pt>
                <c:pt idx="28768">
                  <c:v>0.51307294453361796</c:v>
                </c:pt>
                <c:pt idx="28769">
                  <c:v>0.51309077938291403</c:v>
                </c:pt>
                <c:pt idx="28770">
                  <c:v>0.51310861423220899</c:v>
                </c:pt>
                <c:pt idx="28771">
                  <c:v>0.51312644908150495</c:v>
                </c:pt>
                <c:pt idx="28772">
                  <c:v>0.51314428393080003</c:v>
                </c:pt>
                <c:pt idx="28773">
                  <c:v>0.51316211878009599</c:v>
                </c:pt>
                <c:pt idx="28774">
                  <c:v>0.51317995362939095</c:v>
                </c:pt>
                <c:pt idx="28775">
                  <c:v>0.51319778847868702</c:v>
                </c:pt>
                <c:pt idx="28776">
                  <c:v>0.51321562332798198</c:v>
                </c:pt>
                <c:pt idx="28777">
                  <c:v>0.51323345817727795</c:v>
                </c:pt>
                <c:pt idx="28778">
                  <c:v>0.51325129302657302</c:v>
                </c:pt>
                <c:pt idx="28779">
                  <c:v>0.51326912787586898</c:v>
                </c:pt>
                <c:pt idx="28780">
                  <c:v>0.51328696272516405</c:v>
                </c:pt>
                <c:pt idx="28781">
                  <c:v>0.51330479757446001</c:v>
                </c:pt>
                <c:pt idx="28782">
                  <c:v>0.51332263242375598</c:v>
                </c:pt>
                <c:pt idx="28783">
                  <c:v>0.51334046727305105</c:v>
                </c:pt>
                <c:pt idx="28784">
                  <c:v>0.51335830212234701</c:v>
                </c:pt>
                <c:pt idx="28785">
                  <c:v>0.51337613697164197</c:v>
                </c:pt>
                <c:pt idx="28786">
                  <c:v>0.51339397182093804</c:v>
                </c:pt>
                <c:pt idx="28787">
                  <c:v>0.51341180667023301</c:v>
                </c:pt>
                <c:pt idx="28788">
                  <c:v>0.51342964151952897</c:v>
                </c:pt>
                <c:pt idx="28789">
                  <c:v>0.51344747636882404</c:v>
                </c:pt>
                <c:pt idx="28790">
                  <c:v>0.51346531121812</c:v>
                </c:pt>
                <c:pt idx="28791">
                  <c:v>0.51348314606741496</c:v>
                </c:pt>
                <c:pt idx="28792">
                  <c:v>0.51350098091671104</c:v>
                </c:pt>
                <c:pt idx="28793">
                  <c:v>0.513518815766006</c:v>
                </c:pt>
                <c:pt idx="28794">
                  <c:v>0.51353665061530196</c:v>
                </c:pt>
                <c:pt idx="28795">
                  <c:v>0.51355448546459703</c:v>
                </c:pt>
                <c:pt idx="28796">
                  <c:v>0.51357232031389299</c:v>
                </c:pt>
                <c:pt idx="28797">
                  <c:v>0.51359015516318796</c:v>
                </c:pt>
                <c:pt idx="28798">
                  <c:v>0.51360799001248403</c:v>
                </c:pt>
                <c:pt idx="28799">
                  <c:v>0.51362582486177899</c:v>
                </c:pt>
                <c:pt idx="28800">
                  <c:v>0.51364365971107495</c:v>
                </c:pt>
                <c:pt idx="28801">
                  <c:v>0.51366149456037002</c:v>
                </c:pt>
                <c:pt idx="28802">
                  <c:v>0.51367932940966599</c:v>
                </c:pt>
                <c:pt idx="28803">
                  <c:v>0.51369716425896195</c:v>
                </c:pt>
                <c:pt idx="28804">
                  <c:v>0.51371499910825702</c:v>
                </c:pt>
                <c:pt idx="28805">
                  <c:v>0.51373283395755298</c:v>
                </c:pt>
                <c:pt idx="28806">
                  <c:v>0.51375066880684805</c:v>
                </c:pt>
                <c:pt idx="28807">
                  <c:v>0.51376850365614402</c:v>
                </c:pt>
                <c:pt idx="28808">
                  <c:v>0.51378633850543898</c:v>
                </c:pt>
                <c:pt idx="28809">
                  <c:v>0.51380417335473505</c:v>
                </c:pt>
                <c:pt idx="28810">
                  <c:v>0.51382200820403001</c:v>
                </c:pt>
                <c:pt idx="28811">
                  <c:v>0.51383984305332597</c:v>
                </c:pt>
                <c:pt idx="28812">
                  <c:v>0.51385767790262105</c:v>
                </c:pt>
                <c:pt idx="28813">
                  <c:v>0.51387551275191701</c:v>
                </c:pt>
                <c:pt idx="28814">
                  <c:v>0.51389334760121197</c:v>
                </c:pt>
                <c:pt idx="28815">
                  <c:v>0.51391118245050804</c:v>
                </c:pt>
                <c:pt idx="28816">
                  <c:v>0.513929017299803</c:v>
                </c:pt>
                <c:pt idx="28817">
                  <c:v>0.51394685214909896</c:v>
                </c:pt>
                <c:pt idx="28818">
                  <c:v>0.51396468699839404</c:v>
                </c:pt>
                <c:pt idx="28819">
                  <c:v>0.51398252184769</c:v>
                </c:pt>
                <c:pt idx="28820">
                  <c:v>0.51400035669698596</c:v>
                </c:pt>
                <c:pt idx="28821">
                  <c:v>0.51401819154628103</c:v>
                </c:pt>
                <c:pt idx="28822">
                  <c:v>0.51403602639557699</c:v>
                </c:pt>
                <c:pt idx="28823">
                  <c:v>0.51405386124487196</c:v>
                </c:pt>
                <c:pt idx="28824">
                  <c:v>0.51407169609416803</c:v>
                </c:pt>
                <c:pt idx="28825">
                  <c:v>0.51408953094346299</c:v>
                </c:pt>
                <c:pt idx="28826">
                  <c:v>0.51410736579275895</c:v>
                </c:pt>
                <c:pt idx="28827">
                  <c:v>0.51412520064205403</c:v>
                </c:pt>
                <c:pt idx="28828">
                  <c:v>0.51414303549134999</c:v>
                </c:pt>
                <c:pt idx="28829">
                  <c:v>0.51416087034064495</c:v>
                </c:pt>
                <c:pt idx="28830">
                  <c:v>0.51417870518994102</c:v>
                </c:pt>
                <c:pt idx="28831">
                  <c:v>0.51419654003923598</c:v>
                </c:pt>
                <c:pt idx="28832">
                  <c:v>0.51421437488853206</c:v>
                </c:pt>
                <c:pt idx="28833">
                  <c:v>0.51423220973782702</c:v>
                </c:pt>
                <c:pt idx="28834">
                  <c:v>0.51425004458712298</c:v>
                </c:pt>
                <c:pt idx="28835">
                  <c:v>0.51426787943641805</c:v>
                </c:pt>
                <c:pt idx="28836">
                  <c:v>0.51428571428571401</c:v>
                </c:pt>
                <c:pt idx="28837">
                  <c:v>0.51430354913500897</c:v>
                </c:pt>
                <c:pt idx="28838">
                  <c:v>0.51432138398430505</c:v>
                </c:pt>
                <c:pt idx="28839">
                  <c:v>0.51433921883360001</c:v>
                </c:pt>
                <c:pt idx="28840">
                  <c:v>0.51435705368289597</c:v>
                </c:pt>
                <c:pt idx="28841">
                  <c:v>0.51437488853219104</c:v>
                </c:pt>
                <c:pt idx="28842">
                  <c:v>0.514392723381487</c:v>
                </c:pt>
                <c:pt idx="28843">
                  <c:v>0.51441055823078297</c:v>
                </c:pt>
                <c:pt idx="28844">
                  <c:v>0.51442839308007804</c:v>
                </c:pt>
                <c:pt idx="28845">
                  <c:v>0.514446227929374</c:v>
                </c:pt>
                <c:pt idx="28846">
                  <c:v>0.51446406277866896</c:v>
                </c:pt>
                <c:pt idx="28847">
                  <c:v>0.51448189762796503</c:v>
                </c:pt>
                <c:pt idx="28848">
                  <c:v>0.51449973247726</c:v>
                </c:pt>
                <c:pt idx="28849">
                  <c:v>0.51451756732655596</c:v>
                </c:pt>
                <c:pt idx="28850">
                  <c:v>0.51453540217585103</c:v>
                </c:pt>
                <c:pt idx="28851">
                  <c:v>0.51455323702514699</c:v>
                </c:pt>
                <c:pt idx="28852">
                  <c:v>0.51457107187444195</c:v>
                </c:pt>
                <c:pt idx="28853">
                  <c:v>0.51458890672373803</c:v>
                </c:pt>
                <c:pt idx="28854">
                  <c:v>0.51460674157303299</c:v>
                </c:pt>
                <c:pt idx="28855">
                  <c:v>0.51462457642232895</c:v>
                </c:pt>
                <c:pt idx="28856">
                  <c:v>0.51464241127162402</c:v>
                </c:pt>
                <c:pt idx="28857">
                  <c:v>0.51466024612091998</c:v>
                </c:pt>
                <c:pt idx="28858">
                  <c:v>0.51467808097021495</c:v>
                </c:pt>
                <c:pt idx="28859">
                  <c:v>0.51469591581951102</c:v>
                </c:pt>
                <c:pt idx="28860">
                  <c:v>0.51471375066880598</c:v>
                </c:pt>
                <c:pt idx="28861">
                  <c:v>0.51473158551810205</c:v>
                </c:pt>
                <c:pt idx="28862">
                  <c:v>0.51474942036739701</c:v>
                </c:pt>
                <c:pt idx="28863">
                  <c:v>0.51476725521669298</c:v>
                </c:pt>
                <c:pt idx="28864">
                  <c:v>0.51478509006598805</c:v>
                </c:pt>
                <c:pt idx="28865">
                  <c:v>0.51480292491528401</c:v>
                </c:pt>
                <c:pt idx="28866">
                  <c:v>0.51482075976457997</c:v>
                </c:pt>
                <c:pt idx="28867">
                  <c:v>0.51483859461387504</c:v>
                </c:pt>
                <c:pt idx="28868">
                  <c:v>0.51485642946317101</c:v>
                </c:pt>
                <c:pt idx="28869">
                  <c:v>0.51487426431246597</c:v>
                </c:pt>
                <c:pt idx="28870">
                  <c:v>0.51489209916176204</c:v>
                </c:pt>
                <c:pt idx="28871">
                  <c:v>0.514909934011057</c:v>
                </c:pt>
                <c:pt idx="28872">
                  <c:v>0.51492776886035296</c:v>
                </c:pt>
                <c:pt idx="28873">
                  <c:v>0.51494560370964804</c:v>
                </c:pt>
                <c:pt idx="28874">
                  <c:v>0.514963438558944</c:v>
                </c:pt>
                <c:pt idx="28875">
                  <c:v>0.51498127340823896</c:v>
                </c:pt>
                <c:pt idx="28876">
                  <c:v>0.51499910825753503</c:v>
                </c:pt>
                <c:pt idx="28877">
                  <c:v>0.51501694310682999</c:v>
                </c:pt>
                <c:pt idx="28878">
                  <c:v>0.51503477795612596</c:v>
                </c:pt>
                <c:pt idx="28879">
                  <c:v>0.51505261280542103</c:v>
                </c:pt>
                <c:pt idx="28880">
                  <c:v>0.51507044765471699</c:v>
                </c:pt>
                <c:pt idx="28881">
                  <c:v>0.51508828250401195</c:v>
                </c:pt>
                <c:pt idx="28882">
                  <c:v>0.51510611735330802</c:v>
                </c:pt>
                <c:pt idx="28883">
                  <c:v>0.51512395220260299</c:v>
                </c:pt>
                <c:pt idx="28884">
                  <c:v>0.51514178705189895</c:v>
                </c:pt>
                <c:pt idx="28885">
                  <c:v>0.51515962190119402</c:v>
                </c:pt>
                <c:pt idx="28886">
                  <c:v>0.51517745675048998</c:v>
                </c:pt>
                <c:pt idx="28887">
                  <c:v>0.51519529159978505</c:v>
                </c:pt>
                <c:pt idx="28888">
                  <c:v>0.51521312644908102</c:v>
                </c:pt>
                <c:pt idx="28889">
                  <c:v>0.51523096129837698</c:v>
                </c:pt>
                <c:pt idx="28890">
                  <c:v>0.51524879614767205</c:v>
                </c:pt>
                <c:pt idx="28891">
                  <c:v>0.51526663099696801</c:v>
                </c:pt>
                <c:pt idx="28892">
                  <c:v>0.51528446584626297</c:v>
                </c:pt>
                <c:pt idx="28893">
                  <c:v>0.51530230069555905</c:v>
                </c:pt>
                <c:pt idx="28894">
                  <c:v>0.51532013554485401</c:v>
                </c:pt>
                <c:pt idx="28895">
                  <c:v>0.51533797039414997</c:v>
                </c:pt>
                <c:pt idx="28896">
                  <c:v>0.51535580524344504</c:v>
                </c:pt>
                <c:pt idx="28897">
                  <c:v>0.515373640092741</c:v>
                </c:pt>
                <c:pt idx="28898">
                  <c:v>0.51539147494203597</c:v>
                </c:pt>
                <c:pt idx="28899">
                  <c:v>0.51540930979133204</c:v>
                </c:pt>
                <c:pt idx="28900">
                  <c:v>0.515427144640627</c:v>
                </c:pt>
                <c:pt idx="28901">
                  <c:v>0.51544497948992296</c:v>
                </c:pt>
                <c:pt idx="28902">
                  <c:v>0.51546281433921803</c:v>
                </c:pt>
                <c:pt idx="28903">
                  <c:v>0.515480649188514</c:v>
                </c:pt>
                <c:pt idx="28904">
                  <c:v>0.51549848403780896</c:v>
                </c:pt>
                <c:pt idx="28905">
                  <c:v>0.51551631888710503</c:v>
                </c:pt>
                <c:pt idx="28906">
                  <c:v>0.51553415373639999</c:v>
                </c:pt>
                <c:pt idx="28907">
                  <c:v>0.51555198858569595</c:v>
                </c:pt>
                <c:pt idx="28908">
                  <c:v>0.51556982343499203</c:v>
                </c:pt>
                <c:pt idx="28909">
                  <c:v>0.51558765828428699</c:v>
                </c:pt>
                <c:pt idx="28910">
                  <c:v>0.51560549313358295</c:v>
                </c:pt>
                <c:pt idx="28911">
                  <c:v>0.51562332798287802</c:v>
                </c:pt>
                <c:pt idx="28912">
                  <c:v>0.51564116283217398</c:v>
                </c:pt>
                <c:pt idx="28913">
                  <c:v>0.51565899768146894</c:v>
                </c:pt>
                <c:pt idx="28914">
                  <c:v>0.51567683253076502</c:v>
                </c:pt>
                <c:pt idx="28915">
                  <c:v>0.51569466738005998</c:v>
                </c:pt>
                <c:pt idx="28916">
                  <c:v>0.51571250222935605</c:v>
                </c:pt>
                <c:pt idx="28917">
                  <c:v>0.51573033707865101</c:v>
                </c:pt>
                <c:pt idx="28918">
                  <c:v>0.51574817192794697</c:v>
                </c:pt>
                <c:pt idx="28919">
                  <c:v>0.51576600677724205</c:v>
                </c:pt>
                <c:pt idx="28920">
                  <c:v>0.51578384162653801</c:v>
                </c:pt>
                <c:pt idx="28921">
                  <c:v>0.51580167647583297</c:v>
                </c:pt>
                <c:pt idx="28922">
                  <c:v>0.51581951132512904</c:v>
                </c:pt>
                <c:pt idx="28923">
                  <c:v>0.51583734617442401</c:v>
                </c:pt>
                <c:pt idx="28924">
                  <c:v>0.51585518102371997</c:v>
                </c:pt>
                <c:pt idx="28925">
                  <c:v>0.51587301587301504</c:v>
                </c:pt>
                <c:pt idx="28926">
                  <c:v>0.515890850722311</c:v>
                </c:pt>
                <c:pt idx="28927">
                  <c:v>0.51590868557160696</c:v>
                </c:pt>
                <c:pt idx="28928">
                  <c:v>0.51592652042090204</c:v>
                </c:pt>
                <c:pt idx="28929">
                  <c:v>0.515944355270198</c:v>
                </c:pt>
                <c:pt idx="28930">
                  <c:v>0.51596219011949296</c:v>
                </c:pt>
                <c:pt idx="28931">
                  <c:v>0.51598002496878903</c:v>
                </c:pt>
                <c:pt idx="28932">
                  <c:v>0.51599785981808399</c:v>
                </c:pt>
                <c:pt idx="28933">
                  <c:v>0.51601569466737995</c:v>
                </c:pt>
                <c:pt idx="28934">
                  <c:v>0.51603352951667503</c:v>
                </c:pt>
                <c:pt idx="28935">
                  <c:v>0.51605136436597099</c:v>
                </c:pt>
                <c:pt idx="28936">
                  <c:v>0.51606919921526595</c:v>
                </c:pt>
                <c:pt idx="28937">
                  <c:v>0.51608703406456202</c:v>
                </c:pt>
                <c:pt idx="28938">
                  <c:v>0.51610486891385698</c:v>
                </c:pt>
                <c:pt idx="28939">
                  <c:v>0.51612270376315295</c:v>
                </c:pt>
                <c:pt idx="28940">
                  <c:v>0.51614053861244802</c:v>
                </c:pt>
                <c:pt idx="28941">
                  <c:v>0.51615837346174398</c:v>
                </c:pt>
                <c:pt idx="28942">
                  <c:v>0.51617620831103905</c:v>
                </c:pt>
                <c:pt idx="28943">
                  <c:v>0.51619404316033501</c:v>
                </c:pt>
                <c:pt idx="28944">
                  <c:v>0.51621187800962998</c:v>
                </c:pt>
                <c:pt idx="28945">
                  <c:v>0.51622971285892605</c:v>
                </c:pt>
                <c:pt idx="28946">
                  <c:v>0.51624754770822101</c:v>
                </c:pt>
                <c:pt idx="28947">
                  <c:v>0.51626538255751697</c:v>
                </c:pt>
                <c:pt idx="28948">
                  <c:v>0.51628321740681204</c:v>
                </c:pt>
                <c:pt idx="28949">
                  <c:v>0.51630105225610801</c:v>
                </c:pt>
                <c:pt idx="28950">
                  <c:v>0.51631888710540397</c:v>
                </c:pt>
                <c:pt idx="28951">
                  <c:v>0.51633672195469904</c:v>
                </c:pt>
                <c:pt idx="28952">
                  <c:v>0.516354556803995</c:v>
                </c:pt>
                <c:pt idx="28953">
                  <c:v>0.51637239165328996</c:v>
                </c:pt>
                <c:pt idx="28954">
                  <c:v>0.51639022650258604</c:v>
                </c:pt>
                <c:pt idx="28955">
                  <c:v>0.516408061351881</c:v>
                </c:pt>
                <c:pt idx="28956">
                  <c:v>0.51642589620117696</c:v>
                </c:pt>
                <c:pt idx="28957">
                  <c:v>0.51644373105047203</c:v>
                </c:pt>
                <c:pt idx="28958">
                  <c:v>0.51646156589976799</c:v>
                </c:pt>
                <c:pt idx="28959">
                  <c:v>0.51647940074906296</c:v>
                </c:pt>
                <c:pt idx="28960">
                  <c:v>0.51649723559835903</c:v>
                </c:pt>
                <c:pt idx="28961">
                  <c:v>0.51651507044765399</c:v>
                </c:pt>
                <c:pt idx="28962">
                  <c:v>0.51653290529694995</c:v>
                </c:pt>
                <c:pt idx="28963">
                  <c:v>0.51655074014624502</c:v>
                </c:pt>
                <c:pt idx="28964">
                  <c:v>0.51656857499554099</c:v>
                </c:pt>
                <c:pt idx="28965">
                  <c:v>0.51658640984483595</c:v>
                </c:pt>
                <c:pt idx="28966">
                  <c:v>0.51660424469413202</c:v>
                </c:pt>
                <c:pt idx="28967">
                  <c:v>0.51662207954342698</c:v>
                </c:pt>
                <c:pt idx="28968">
                  <c:v>0.51663991439272305</c:v>
                </c:pt>
                <c:pt idx="28969">
                  <c:v>0.51665774924201802</c:v>
                </c:pt>
                <c:pt idx="28970">
                  <c:v>0.51667558409131398</c:v>
                </c:pt>
                <c:pt idx="28971">
                  <c:v>0.51669341894060905</c:v>
                </c:pt>
                <c:pt idx="28972">
                  <c:v>0.51671125378990501</c:v>
                </c:pt>
                <c:pt idx="28973">
                  <c:v>0.51672908863920097</c:v>
                </c:pt>
                <c:pt idx="28974">
                  <c:v>0.51674692348849605</c:v>
                </c:pt>
                <c:pt idx="28975">
                  <c:v>0.51676475833779201</c:v>
                </c:pt>
                <c:pt idx="28976">
                  <c:v>0.51678259318708697</c:v>
                </c:pt>
                <c:pt idx="28977">
                  <c:v>0.51680042803638304</c:v>
                </c:pt>
                <c:pt idx="28978">
                  <c:v>0.516818262885678</c:v>
                </c:pt>
                <c:pt idx="28979">
                  <c:v>0.51683609773497396</c:v>
                </c:pt>
                <c:pt idx="28980">
                  <c:v>0.51685393258426904</c:v>
                </c:pt>
                <c:pt idx="28981">
                  <c:v>0.516871767433565</c:v>
                </c:pt>
                <c:pt idx="28982">
                  <c:v>0.51688960228285996</c:v>
                </c:pt>
                <c:pt idx="28983">
                  <c:v>0.51690743713215603</c:v>
                </c:pt>
                <c:pt idx="28984">
                  <c:v>0.516925271981451</c:v>
                </c:pt>
                <c:pt idx="28985">
                  <c:v>0.51694310683074696</c:v>
                </c:pt>
                <c:pt idx="28986">
                  <c:v>0.51696094168004203</c:v>
                </c:pt>
                <c:pt idx="28987">
                  <c:v>0.51697877652933799</c:v>
                </c:pt>
                <c:pt idx="28988">
                  <c:v>0.51699661137863295</c:v>
                </c:pt>
                <c:pt idx="28989">
                  <c:v>0.51701444622792903</c:v>
                </c:pt>
                <c:pt idx="28990">
                  <c:v>0.51703228107722399</c:v>
                </c:pt>
                <c:pt idx="28991">
                  <c:v>0.51705011592651995</c:v>
                </c:pt>
                <c:pt idx="28992">
                  <c:v>0.51706795077581502</c:v>
                </c:pt>
                <c:pt idx="28993">
                  <c:v>0.51708578562511098</c:v>
                </c:pt>
                <c:pt idx="28994">
                  <c:v>0.51710362047440595</c:v>
                </c:pt>
                <c:pt idx="28995">
                  <c:v>0.51712145532370202</c:v>
                </c:pt>
                <c:pt idx="28996">
                  <c:v>0.51713929017299798</c:v>
                </c:pt>
                <c:pt idx="28997">
                  <c:v>0.51715712502229305</c:v>
                </c:pt>
                <c:pt idx="28998">
                  <c:v>0.51717495987158901</c:v>
                </c:pt>
                <c:pt idx="28999">
                  <c:v>0.51719279472088397</c:v>
                </c:pt>
                <c:pt idx="29000">
                  <c:v>0.51721062957018005</c:v>
                </c:pt>
                <c:pt idx="29001">
                  <c:v>0.51722846441947501</c:v>
                </c:pt>
                <c:pt idx="29002">
                  <c:v>0.51724629926877097</c:v>
                </c:pt>
                <c:pt idx="29003">
                  <c:v>0.51726413411806604</c:v>
                </c:pt>
                <c:pt idx="29004">
                  <c:v>0.517281968967362</c:v>
                </c:pt>
                <c:pt idx="29005">
                  <c:v>0.51729980381665697</c:v>
                </c:pt>
                <c:pt idx="29006">
                  <c:v>0.51731763866595304</c:v>
                </c:pt>
                <c:pt idx="29007">
                  <c:v>0.517335473515248</c:v>
                </c:pt>
                <c:pt idx="29008">
                  <c:v>0.51735330836454396</c:v>
                </c:pt>
                <c:pt idx="29009">
                  <c:v>0.51737114321383904</c:v>
                </c:pt>
                <c:pt idx="29010">
                  <c:v>0.517388978063135</c:v>
                </c:pt>
                <c:pt idx="29011">
                  <c:v>0.51740681291242996</c:v>
                </c:pt>
                <c:pt idx="29012">
                  <c:v>0.51742464776172603</c:v>
                </c:pt>
                <c:pt idx="29013">
                  <c:v>0.51744248261102199</c:v>
                </c:pt>
                <c:pt idx="29014">
                  <c:v>0.51746031746031695</c:v>
                </c:pt>
                <c:pt idx="29015">
                  <c:v>0.51747815230961303</c:v>
                </c:pt>
                <c:pt idx="29016">
                  <c:v>0.51749598715890799</c:v>
                </c:pt>
                <c:pt idx="29017">
                  <c:v>0.51751382200820395</c:v>
                </c:pt>
                <c:pt idx="29018">
                  <c:v>0.51753165685749902</c:v>
                </c:pt>
                <c:pt idx="29019">
                  <c:v>0.51754949170679498</c:v>
                </c:pt>
                <c:pt idx="29020">
                  <c:v>0.51756732655608995</c:v>
                </c:pt>
                <c:pt idx="29021">
                  <c:v>0.51758516140538602</c:v>
                </c:pt>
                <c:pt idx="29022">
                  <c:v>0.51760299625468098</c:v>
                </c:pt>
                <c:pt idx="29023">
                  <c:v>0.51762083110397705</c:v>
                </c:pt>
                <c:pt idx="29024">
                  <c:v>0.51763866595327201</c:v>
                </c:pt>
                <c:pt idx="29025">
                  <c:v>0.51765650080256798</c:v>
                </c:pt>
                <c:pt idx="29026">
                  <c:v>0.51767433565186305</c:v>
                </c:pt>
                <c:pt idx="29027">
                  <c:v>0.51769217050115901</c:v>
                </c:pt>
                <c:pt idx="29028">
                  <c:v>0.51771000535045397</c:v>
                </c:pt>
                <c:pt idx="29029">
                  <c:v>0.51772784019975004</c:v>
                </c:pt>
                <c:pt idx="29030">
                  <c:v>0.51774567504904501</c:v>
                </c:pt>
                <c:pt idx="29031">
                  <c:v>0.51776350989834097</c:v>
                </c:pt>
                <c:pt idx="29032">
                  <c:v>0.51778134474763604</c:v>
                </c:pt>
                <c:pt idx="29033">
                  <c:v>0.517799179596932</c:v>
                </c:pt>
                <c:pt idx="29034">
                  <c:v>0.51781701444622796</c:v>
                </c:pt>
                <c:pt idx="29035">
                  <c:v>0.51783484929552304</c:v>
                </c:pt>
                <c:pt idx="29036">
                  <c:v>0.517852684144819</c:v>
                </c:pt>
                <c:pt idx="29037">
                  <c:v>0.51787051899411396</c:v>
                </c:pt>
                <c:pt idx="29038">
                  <c:v>0.51788835384341003</c:v>
                </c:pt>
                <c:pt idx="29039">
                  <c:v>0.51790618869270499</c:v>
                </c:pt>
                <c:pt idx="29040">
                  <c:v>0.51792402354200096</c:v>
                </c:pt>
                <c:pt idx="29041">
                  <c:v>0.51794185839129603</c:v>
                </c:pt>
                <c:pt idx="29042">
                  <c:v>0.51795969324059199</c:v>
                </c:pt>
                <c:pt idx="29043">
                  <c:v>0.51797752808988695</c:v>
                </c:pt>
                <c:pt idx="29044">
                  <c:v>0.51799536293918302</c:v>
                </c:pt>
                <c:pt idx="29045">
                  <c:v>0.51801319778847799</c:v>
                </c:pt>
                <c:pt idx="29046">
                  <c:v>0.51803103263777395</c:v>
                </c:pt>
                <c:pt idx="29047">
                  <c:v>0.51804886748706902</c:v>
                </c:pt>
                <c:pt idx="29048">
                  <c:v>0.51806670233636498</c:v>
                </c:pt>
                <c:pt idx="29049">
                  <c:v>0.51808453718566005</c:v>
                </c:pt>
                <c:pt idx="29050">
                  <c:v>0.51810237203495602</c:v>
                </c:pt>
                <c:pt idx="29051">
                  <c:v>0.51812020688425098</c:v>
                </c:pt>
                <c:pt idx="29052">
                  <c:v>0.51813804173354705</c:v>
                </c:pt>
                <c:pt idx="29053">
                  <c:v>0.51815587658284201</c:v>
                </c:pt>
                <c:pt idx="29054">
                  <c:v>0.51817371143213797</c:v>
                </c:pt>
                <c:pt idx="29055">
                  <c:v>0.51819154628143305</c:v>
                </c:pt>
                <c:pt idx="29056">
                  <c:v>0.51820938113072901</c:v>
                </c:pt>
                <c:pt idx="29057">
                  <c:v>0.51822721598002497</c:v>
                </c:pt>
                <c:pt idx="29058">
                  <c:v>0.51824505082932004</c:v>
                </c:pt>
                <c:pt idx="29059">
                  <c:v>0.518262885678616</c:v>
                </c:pt>
                <c:pt idx="29060">
                  <c:v>0.51828072052791097</c:v>
                </c:pt>
                <c:pt idx="29061">
                  <c:v>0.51829855537720704</c:v>
                </c:pt>
                <c:pt idx="29062">
                  <c:v>0.518316390226502</c:v>
                </c:pt>
                <c:pt idx="29063">
                  <c:v>0.51833422507579796</c:v>
                </c:pt>
                <c:pt idx="29064">
                  <c:v>0.51835205992509303</c:v>
                </c:pt>
                <c:pt idx="29065">
                  <c:v>0.518369894774389</c:v>
                </c:pt>
                <c:pt idx="29066">
                  <c:v>0.51838772962368396</c:v>
                </c:pt>
                <c:pt idx="29067">
                  <c:v>0.51840556447298003</c:v>
                </c:pt>
                <c:pt idx="29068">
                  <c:v>0.51842339932227499</c:v>
                </c:pt>
                <c:pt idx="29069">
                  <c:v>0.51844123417157095</c:v>
                </c:pt>
                <c:pt idx="29070">
                  <c:v>0.51845906902086603</c:v>
                </c:pt>
                <c:pt idx="29071">
                  <c:v>0.51847690387016199</c:v>
                </c:pt>
                <c:pt idx="29072">
                  <c:v>0.51849473871945695</c:v>
                </c:pt>
                <c:pt idx="29073">
                  <c:v>0.51851257356875302</c:v>
                </c:pt>
                <c:pt idx="29074">
                  <c:v>0.51853040841804798</c:v>
                </c:pt>
                <c:pt idx="29075">
                  <c:v>0.51854824326734394</c:v>
                </c:pt>
                <c:pt idx="29076">
                  <c:v>0.51856607811663902</c:v>
                </c:pt>
                <c:pt idx="29077">
                  <c:v>0.51858391296593498</c:v>
                </c:pt>
                <c:pt idx="29078">
                  <c:v>0.51860174781523005</c:v>
                </c:pt>
                <c:pt idx="29079">
                  <c:v>0.51861958266452601</c:v>
                </c:pt>
                <c:pt idx="29080">
                  <c:v>0.51863741751382197</c:v>
                </c:pt>
                <c:pt idx="29081">
                  <c:v>0.51865525236311705</c:v>
                </c:pt>
                <c:pt idx="29082">
                  <c:v>0.51867308721241301</c:v>
                </c:pt>
                <c:pt idx="29083">
                  <c:v>0.51869092206170797</c:v>
                </c:pt>
                <c:pt idx="29084">
                  <c:v>0.51870875691100404</c:v>
                </c:pt>
                <c:pt idx="29085">
                  <c:v>0.51872659176029901</c:v>
                </c:pt>
                <c:pt idx="29086">
                  <c:v>0.51874442660959497</c:v>
                </c:pt>
                <c:pt idx="29087">
                  <c:v>0.51876226145889004</c:v>
                </c:pt>
                <c:pt idx="29088">
                  <c:v>0.518780096308186</c:v>
                </c:pt>
                <c:pt idx="29089">
                  <c:v>0.51879793115748096</c:v>
                </c:pt>
                <c:pt idx="29090">
                  <c:v>0.51881576600677703</c:v>
                </c:pt>
                <c:pt idx="29091">
                  <c:v>0.518833600856072</c:v>
                </c:pt>
                <c:pt idx="29092">
                  <c:v>0.51885143570536796</c:v>
                </c:pt>
                <c:pt idx="29093">
                  <c:v>0.51886927055466303</c:v>
                </c:pt>
                <c:pt idx="29094">
                  <c:v>0.51888710540395899</c:v>
                </c:pt>
                <c:pt idx="29095">
                  <c:v>0.51890494025325395</c:v>
                </c:pt>
                <c:pt idx="29096">
                  <c:v>0.51892277510255003</c:v>
                </c:pt>
                <c:pt idx="29097">
                  <c:v>0.51894060995184499</c:v>
                </c:pt>
                <c:pt idx="29098">
                  <c:v>0.51895844480114095</c:v>
                </c:pt>
                <c:pt idx="29099">
                  <c:v>0.51897627965043602</c:v>
                </c:pt>
                <c:pt idx="29100">
                  <c:v>0.51899411449973198</c:v>
                </c:pt>
                <c:pt idx="29101">
                  <c:v>0.51901194934902795</c:v>
                </c:pt>
                <c:pt idx="29102">
                  <c:v>0.51902978419832302</c:v>
                </c:pt>
                <c:pt idx="29103">
                  <c:v>0.51904761904761898</c:v>
                </c:pt>
                <c:pt idx="29104">
                  <c:v>0.51906545389691405</c:v>
                </c:pt>
                <c:pt idx="29105">
                  <c:v>0.51908328874621001</c:v>
                </c:pt>
                <c:pt idx="29106">
                  <c:v>0.51910112359550498</c:v>
                </c:pt>
                <c:pt idx="29107">
                  <c:v>0.51911895844480105</c:v>
                </c:pt>
                <c:pt idx="29108">
                  <c:v>0.51913679329409601</c:v>
                </c:pt>
                <c:pt idx="29109">
                  <c:v>0.51915462814339197</c:v>
                </c:pt>
                <c:pt idx="29110">
                  <c:v>0.51917246299268704</c:v>
                </c:pt>
                <c:pt idx="29111">
                  <c:v>0.51919029784198301</c:v>
                </c:pt>
                <c:pt idx="29112">
                  <c:v>0.51920813269127797</c:v>
                </c:pt>
                <c:pt idx="29113">
                  <c:v>0.51922596754057404</c:v>
                </c:pt>
                <c:pt idx="29114">
                  <c:v>0.519243802389869</c:v>
                </c:pt>
                <c:pt idx="29115">
                  <c:v>0.51926163723916496</c:v>
                </c:pt>
                <c:pt idx="29116">
                  <c:v>0.51927947208846004</c:v>
                </c:pt>
                <c:pt idx="29117">
                  <c:v>0.519297306937756</c:v>
                </c:pt>
                <c:pt idx="29118">
                  <c:v>0.51931514178705096</c:v>
                </c:pt>
                <c:pt idx="29119">
                  <c:v>0.51933297663634703</c:v>
                </c:pt>
                <c:pt idx="29120">
                  <c:v>0.51935081148564299</c:v>
                </c:pt>
                <c:pt idx="29121">
                  <c:v>0.51936864633493796</c:v>
                </c:pt>
                <c:pt idx="29122">
                  <c:v>0.51938648118423403</c:v>
                </c:pt>
                <c:pt idx="29123">
                  <c:v>0.51940431603352899</c:v>
                </c:pt>
                <c:pt idx="29124">
                  <c:v>0.51942215088282495</c:v>
                </c:pt>
                <c:pt idx="29125">
                  <c:v>0.51943998573212002</c:v>
                </c:pt>
                <c:pt idx="29126">
                  <c:v>0.51945782058141599</c:v>
                </c:pt>
                <c:pt idx="29127">
                  <c:v>0.51947565543071095</c:v>
                </c:pt>
                <c:pt idx="29128">
                  <c:v>0.51949349028000702</c:v>
                </c:pt>
                <c:pt idx="29129">
                  <c:v>0.51951132512930198</c:v>
                </c:pt>
                <c:pt idx="29130">
                  <c:v>0.51952915997859805</c:v>
                </c:pt>
                <c:pt idx="29131">
                  <c:v>0.51954699482789302</c:v>
                </c:pt>
                <c:pt idx="29132">
                  <c:v>0.51956482967718898</c:v>
                </c:pt>
                <c:pt idx="29133">
                  <c:v>0.51958266452648405</c:v>
                </c:pt>
                <c:pt idx="29134">
                  <c:v>0.51960049937578001</c:v>
                </c:pt>
                <c:pt idx="29135">
                  <c:v>0.51961833422507497</c:v>
                </c:pt>
                <c:pt idx="29136">
                  <c:v>0.51963616907437105</c:v>
                </c:pt>
                <c:pt idx="29137">
                  <c:v>0.51965400392366601</c:v>
                </c:pt>
                <c:pt idx="29138">
                  <c:v>0.51967183877296197</c:v>
                </c:pt>
                <c:pt idx="29139">
                  <c:v>0.51968967362225704</c:v>
                </c:pt>
                <c:pt idx="29140">
                  <c:v>0.519707508471553</c:v>
                </c:pt>
                <c:pt idx="29141">
                  <c:v>0.51972534332084896</c:v>
                </c:pt>
                <c:pt idx="29142">
                  <c:v>0.51974317817014404</c:v>
                </c:pt>
                <c:pt idx="29143">
                  <c:v>0.51976101301944</c:v>
                </c:pt>
                <c:pt idx="29144">
                  <c:v>0.51977884786873496</c:v>
                </c:pt>
                <c:pt idx="29145">
                  <c:v>0.51979668271803103</c:v>
                </c:pt>
                <c:pt idx="29146">
                  <c:v>0.519814517567326</c:v>
                </c:pt>
                <c:pt idx="29147">
                  <c:v>0.51983235241662196</c:v>
                </c:pt>
                <c:pt idx="29148">
                  <c:v>0.51985018726591703</c:v>
                </c:pt>
                <c:pt idx="29149">
                  <c:v>0.51986802211521299</c:v>
                </c:pt>
                <c:pt idx="29150">
                  <c:v>0.51988585696450795</c:v>
                </c:pt>
                <c:pt idx="29151">
                  <c:v>0.51990369181380403</c:v>
                </c:pt>
                <c:pt idx="29152">
                  <c:v>0.51992152666309899</c:v>
                </c:pt>
                <c:pt idx="29153">
                  <c:v>0.51993936151239495</c:v>
                </c:pt>
                <c:pt idx="29154">
                  <c:v>0.51995719636169002</c:v>
                </c:pt>
                <c:pt idx="29155">
                  <c:v>0.51997503121098598</c:v>
                </c:pt>
                <c:pt idx="29156">
                  <c:v>0.51999286606028094</c:v>
                </c:pt>
                <c:pt idx="29157">
                  <c:v>0.52001070090957702</c:v>
                </c:pt>
                <c:pt idx="29158">
                  <c:v>0.52002853575887198</c:v>
                </c:pt>
                <c:pt idx="29159">
                  <c:v>0.52004637060816805</c:v>
                </c:pt>
                <c:pt idx="29160">
                  <c:v>0.52006420545746301</c:v>
                </c:pt>
                <c:pt idx="29161">
                  <c:v>0.52008204030675897</c:v>
                </c:pt>
                <c:pt idx="29162">
                  <c:v>0.52009987515605405</c:v>
                </c:pt>
                <c:pt idx="29163">
                  <c:v>0.52011771000535001</c:v>
                </c:pt>
                <c:pt idx="29164">
                  <c:v>0.52013554485464597</c:v>
                </c:pt>
                <c:pt idx="29165">
                  <c:v>0.52015337970394104</c:v>
                </c:pt>
                <c:pt idx="29166">
                  <c:v>0.520171214553237</c:v>
                </c:pt>
                <c:pt idx="29167">
                  <c:v>0.52018904940253197</c:v>
                </c:pt>
                <c:pt idx="29168">
                  <c:v>0.52020688425182804</c:v>
                </c:pt>
                <c:pt idx="29169">
                  <c:v>0.520224719101123</c:v>
                </c:pt>
                <c:pt idx="29170">
                  <c:v>0.52024255395041896</c:v>
                </c:pt>
                <c:pt idx="29171">
                  <c:v>0.52026038879971404</c:v>
                </c:pt>
                <c:pt idx="29172">
                  <c:v>0.52027822364901</c:v>
                </c:pt>
                <c:pt idx="29173">
                  <c:v>0.52029605849830496</c:v>
                </c:pt>
                <c:pt idx="29174">
                  <c:v>0.52031389334760103</c:v>
                </c:pt>
                <c:pt idx="29175">
                  <c:v>0.52033172819689599</c:v>
                </c:pt>
                <c:pt idx="29176">
                  <c:v>0.52034956304619195</c:v>
                </c:pt>
                <c:pt idx="29177">
                  <c:v>0.52036739789548703</c:v>
                </c:pt>
                <c:pt idx="29178">
                  <c:v>0.52038523274478299</c:v>
                </c:pt>
                <c:pt idx="29179">
                  <c:v>0.52040306759407795</c:v>
                </c:pt>
                <c:pt idx="29180">
                  <c:v>0.52042090244337402</c:v>
                </c:pt>
                <c:pt idx="29181">
                  <c:v>0.52043873729266898</c:v>
                </c:pt>
                <c:pt idx="29182">
                  <c:v>0.52045657214196495</c:v>
                </c:pt>
                <c:pt idx="29183">
                  <c:v>0.52047440699126002</c:v>
                </c:pt>
                <c:pt idx="29184">
                  <c:v>0.52049224184055598</c:v>
                </c:pt>
                <c:pt idx="29185">
                  <c:v>0.52051007668985105</c:v>
                </c:pt>
                <c:pt idx="29186">
                  <c:v>0.52052791153914701</c:v>
                </c:pt>
                <c:pt idx="29187">
                  <c:v>0.52054574638844298</c:v>
                </c:pt>
                <c:pt idx="29188">
                  <c:v>0.52056358123773805</c:v>
                </c:pt>
                <c:pt idx="29189">
                  <c:v>0.52058141608703401</c:v>
                </c:pt>
                <c:pt idx="29190">
                  <c:v>0.52059925093632897</c:v>
                </c:pt>
                <c:pt idx="29191">
                  <c:v>0.52061708578562504</c:v>
                </c:pt>
                <c:pt idx="29192">
                  <c:v>0.52063492063492001</c:v>
                </c:pt>
                <c:pt idx="29193">
                  <c:v>0.52065275548421597</c:v>
                </c:pt>
                <c:pt idx="29194">
                  <c:v>0.52067059033351104</c:v>
                </c:pt>
                <c:pt idx="29195">
                  <c:v>0.520688425182807</c:v>
                </c:pt>
                <c:pt idx="29196">
                  <c:v>0.52070626003210196</c:v>
                </c:pt>
                <c:pt idx="29197">
                  <c:v>0.52072409488139804</c:v>
                </c:pt>
                <c:pt idx="29198">
                  <c:v>0.520741929730693</c:v>
                </c:pt>
                <c:pt idx="29199">
                  <c:v>0.52075976457998896</c:v>
                </c:pt>
                <c:pt idx="29200">
                  <c:v>0.52077759942928403</c:v>
                </c:pt>
                <c:pt idx="29201">
                  <c:v>0.52079543427857999</c:v>
                </c:pt>
                <c:pt idx="29202">
                  <c:v>0.52081326912787496</c:v>
                </c:pt>
                <c:pt idx="29203">
                  <c:v>0.52083110397717103</c:v>
                </c:pt>
                <c:pt idx="29204">
                  <c:v>0.52084893882646599</c:v>
                </c:pt>
                <c:pt idx="29205">
                  <c:v>0.52086677367576195</c:v>
                </c:pt>
                <c:pt idx="29206">
                  <c:v>0.52088460852505702</c:v>
                </c:pt>
                <c:pt idx="29207">
                  <c:v>0.52090244337435299</c:v>
                </c:pt>
                <c:pt idx="29208">
                  <c:v>0.52092027822364895</c:v>
                </c:pt>
                <c:pt idx="29209">
                  <c:v>0.52093811307294402</c:v>
                </c:pt>
                <c:pt idx="29210">
                  <c:v>0.52095594792223998</c:v>
                </c:pt>
                <c:pt idx="29211">
                  <c:v>0.52097378277153505</c:v>
                </c:pt>
                <c:pt idx="29212">
                  <c:v>0.52099161762083102</c:v>
                </c:pt>
                <c:pt idx="29213">
                  <c:v>0.52100945247012598</c:v>
                </c:pt>
                <c:pt idx="29214">
                  <c:v>0.52102728731942205</c:v>
                </c:pt>
                <c:pt idx="29215">
                  <c:v>0.52104512216871701</c:v>
                </c:pt>
                <c:pt idx="29216">
                  <c:v>0.52106295701801297</c:v>
                </c:pt>
                <c:pt idx="29217">
                  <c:v>0.52108079186730805</c:v>
                </c:pt>
                <c:pt idx="29218">
                  <c:v>0.52109862671660401</c:v>
                </c:pt>
                <c:pt idx="29219">
                  <c:v>0.52111646156589897</c:v>
                </c:pt>
                <c:pt idx="29220">
                  <c:v>0.52113429641519504</c:v>
                </c:pt>
                <c:pt idx="29221">
                  <c:v>0.52115213126449</c:v>
                </c:pt>
                <c:pt idx="29222">
                  <c:v>0.52116996611378597</c:v>
                </c:pt>
                <c:pt idx="29223">
                  <c:v>0.52118780096308104</c:v>
                </c:pt>
                <c:pt idx="29224">
                  <c:v>0.521205635812377</c:v>
                </c:pt>
                <c:pt idx="29225">
                  <c:v>0.52122347066167296</c:v>
                </c:pt>
                <c:pt idx="29226">
                  <c:v>0.52124130551096803</c:v>
                </c:pt>
                <c:pt idx="29227">
                  <c:v>0.521259140360264</c:v>
                </c:pt>
                <c:pt idx="29228">
                  <c:v>0.52127697520955896</c:v>
                </c:pt>
                <c:pt idx="29229">
                  <c:v>0.52129481005885503</c:v>
                </c:pt>
                <c:pt idx="29230">
                  <c:v>0.52131264490814999</c:v>
                </c:pt>
                <c:pt idx="29231">
                  <c:v>0.52133047975744595</c:v>
                </c:pt>
                <c:pt idx="29232">
                  <c:v>0.52134831460674103</c:v>
                </c:pt>
                <c:pt idx="29233">
                  <c:v>0.52136614945603699</c:v>
                </c:pt>
                <c:pt idx="29234">
                  <c:v>0.52138398430533195</c:v>
                </c:pt>
                <c:pt idx="29235">
                  <c:v>0.52140181915462802</c:v>
                </c:pt>
                <c:pt idx="29236">
                  <c:v>0.52141965400392298</c:v>
                </c:pt>
                <c:pt idx="29237">
                  <c:v>0.52143748885321894</c:v>
                </c:pt>
                <c:pt idx="29238">
                  <c:v>0.52145532370251402</c:v>
                </c:pt>
                <c:pt idx="29239">
                  <c:v>0.52147315855180998</c:v>
                </c:pt>
                <c:pt idx="29240">
                  <c:v>0.52149099340110505</c:v>
                </c:pt>
                <c:pt idx="29241">
                  <c:v>0.52150882825040101</c:v>
                </c:pt>
                <c:pt idx="29242">
                  <c:v>0.52152666309969598</c:v>
                </c:pt>
                <c:pt idx="29243">
                  <c:v>0.52154449794899205</c:v>
                </c:pt>
                <c:pt idx="29244">
                  <c:v>0.52156233279828701</c:v>
                </c:pt>
                <c:pt idx="29245">
                  <c:v>0.52158016764758297</c:v>
                </c:pt>
                <c:pt idx="29246">
                  <c:v>0.52159800249687804</c:v>
                </c:pt>
                <c:pt idx="29247">
                  <c:v>0.521615837346174</c:v>
                </c:pt>
                <c:pt idx="29248">
                  <c:v>0.52163367219546997</c:v>
                </c:pt>
                <c:pt idx="29249">
                  <c:v>0.52165150704476504</c:v>
                </c:pt>
                <c:pt idx="29250">
                  <c:v>0.521669341894061</c:v>
                </c:pt>
                <c:pt idx="29251">
                  <c:v>0.52168717674335596</c:v>
                </c:pt>
                <c:pt idx="29252">
                  <c:v>0.52170501159265203</c:v>
                </c:pt>
                <c:pt idx="29253">
                  <c:v>0.521722846441947</c:v>
                </c:pt>
                <c:pt idx="29254">
                  <c:v>0.52174068129124296</c:v>
                </c:pt>
                <c:pt idx="29255">
                  <c:v>0.52175851614053803</c:v>
                </c:pt>
                <c:pt idx="29256">
                  <c:v>0.52177635098983399</c:v>
                </c:pt>
                <c:pt idx="29257">
                  <c:v>0.52179418583912895</c:v>
                </c:pt>
                <c:pt idx="29258">
                  <c:v>0.52181202068842503</c:v>
                </c:pt>
                <c:pt idx="29259">
                  <c:v>0.52182985553771999</c:v>
                </c:pt>
                <c:pt idx="29260">
                  <c:v>0.52184769038701595</c:v>
                </c:pt>
                <c:pt idx="29261">
                  <c:v>0.52186552523631102</c:v>
                </c:pt>
                <c:pt idx="29262">
                  <c:v>0.52188336008560698</c:v>
                </c:pt>
                <c:pt idx="29263">
                  <c:v>0.52190119493490195</c:v>
                </c:pt>
                <c:pt idx="29264">
                  <c:v>0.52191902978419802</c:v>
                </c:pt>
                <c:pt idx="29265">
                  <c:v>0.52193686463349298</c:v>
                </c:pt>
                <c:pt idx="29266">
                  <c:v>0.52195469948278905</c:v>
                </c:pt>
                <c:pt idx="29267">
                  <c:v>0.52197253433208401</c:v>
                </c:pt>
                <c:pt idx="29268">
                  <c:v>0.52199036918137998</c:v>
                </c:pt>
                <c:pt idx="29269">
                  <c:v>0.52200820403067505</c:v>
                </c:pt>
                <c:pt idx="29270">
                  <c:v>0.52202603887997101</c:v>
                </c:pt>
                <c:pt idx="29271">
                  <c:v>0.52204387372926697</c:v>
                </c:pt>
                <c:pt idx="29272">
                  <c:v>0.52206170857856204</c:v>
                </c:pt>
                <c:pt idx="29273">
                  <c:v>0.52207954342785801</c:v>
                </c:pt>
                <c:pt idx="29274">
                  <c:v>0.52209737827715297</c:v>
                </c:pt>
                <c:pt idx="29275">
                  <c:v>0.52211521312644904</c:v>
                </c:pt>
                <c:pt idx="29276">
                  <c:v>0.522133047975744</c:v>
                </c:pt>
                <c:pt idx="29277">
                  <c:v>0.52215088282503996</c:v>
                </c:pt>
                <c:pt idx="29278">
                  <c:v>0.52216871767433504</c:v>
                </c:pt>
                <c:pt idx="29279">
                  <c:v>0.522186552523631</c:v>
                </c:pt>
                <c:pt idx="29280">
                  <c:v>0.52220438737292596</c:v>
                </c:pt>
                <c:pt idx="29281">
                  <c:v>0.52222222222222203</c:v>
                </c:pt>
                <c:pt idx="29282">
                  <c:v>0.52224005707151699</c:v>
                </c:pt>
                <c:pt idx="29283">
                  <c:v>0.52225789192081296</c:v>
                </c:pt>
                <c:pt idx="29284">
                  <c:v>0.52227572677010803</c:v>
                </c:pt>
                <c:pt idx="29285">
                  <c:v>0.52229356161940399</c:v>
                </c:pt>
                <c:pt idx="29286">
                  <c:v>0.52231139646869895</c:v>
                </c:pt>
                <c:pt idx="29287">
                  <c:v>0.52232923131799502</c:v>
                </c:pt>
                <c:pt idx="29288">
                  <c:v>0.52234706616728999</c:v>
                </c:pt>
                <c:pt idx="29289">
                  <c:v>0.52236490101658595</c:v>
                </c:pt>
                <c:pt idx="29290">
                  <c:v>0.52238273586588102</c:v>
                </c:pt>
                <c:pt idx="29291">
                  <c:v>0.52240057071517698</c:v>
                </c:pt>
                <c:pt idx="29292">
                  <c:v>0.52241840556447205</c:v>
                </c:pt>
                <c:pt idx="29293">
                  <c:v>0.52243624041376802</c:v>
                </c:pt>
                <c:pt idx="29294">
                  <c:v>0.52245407526306398</c:v>
                </c:pt>
                <c:pt idx="29295">
                  <c:v>0.52247191011235905</c:v>
                </c:pt>
                <c:pt idx="29296">
                  <c:v>0.52248974496165501</c:v>
                </c:pt>
                <c:pt idx="29297">
                  <c:v>0.52250757981094997</c:v>
                </c:pt>
                <c:pt idx="29298">
                  <c:v>0.52252541466024605</c:v>
                </c:pt>
                <c:pt idx="29299">
                  <c:v>0.52254324950954101</c:v>
                </c:pt>
                <c:pt idx="29300">
                  <c:v>0.52256108435883697</c:v>
                </c:pt>
                <c:pt idx="29301">
                  <c:v>0.52257891920813204</c:v>
                </c:pt>
                <c:pt idx="29302">
                  <c:v>0.522596754057428</c:v>
                </c:pt>
                <c:pt idx="29303">
                  <c:v>0.52261458890672297</c:v>
                </c:pt>
                <c:pt idx="29304">
                  <c:v>0.52263242375601904</c:v>
                </c:pt>
                <c:pt idx="29305">
                  <c:v>0.522650258605314</c:v>
                </c:pt>
                <c:pt idx="29306">
                  <c:v>0.52266809345460996</c:v>
                </c:pt>
                <c:pt idx="29307">
                  <c:v>0.52268592830390503</c:v>
                </c:pt>
                <c:pt idx="29308">
                  <c:v>0.522703763153201</c:v>
                </c:pt>
                <c:pt idx="29309">
                  <c:v>0.52272159800249596</c:v>
                </c:pt>
                <c:pt idx="29310">
                  <c:v>0.52273943285179203</c:v>
                </c:pt>
                <c:pt idx="29311">
                  <c:v>0.52275726770108699</c:v>
                </c:pt>
                <c:pt idx="29312">
                  <c:v>0.52277510255038295</c:v>
                </c:pt>
                <c:pt idx="29313">
                  <c:v>0.52279293739967903</c:v>
                </c:pt>
                <c:pt idx="29314">
                  <c:v>0.52281077224897399</c:v>
                </c:pt>
                <c:pt idx="29315">
                  <c:v>0.52282860709826995</c:v>
                </c:pt>
                <c:pt idx="29316">
                  <c:v>0.52284644194756502</c:v>
                </c:pt>
                <c:pt idx="29317">
                  <c:v>0.52286427679686098</c:v>
                </c:pt>
                <c:pt idx="29318">
                  <c:v>0.52288211164615594</c:v>
                </c:pt>
                <c:pt idx="29319">
                  <c:v>0.52289994649545202</c:v>
                </c:pt>
                <c:pt idx="29320">
                  <c:v>0.52291778134474698</c:v>
                </c:pt>
                <c:pt idx="29321">
                  <c:v>0.52293561619404305</c:v>
                </c:pt>
                <c:pt idx="29322">
                  <c:v>0.52295345104333801</c:v>
                </c:pt>
                <c:pt idx="29323">
                  <c:v>0.52297128589263397</c:v>
                </c:pt>
                <c:pt idx="29324">
                  <c:v>0.52298912074192905</c:v>
                </c:pt>
                <c:pt idx="29325">
                  <c:v>0.52300695559122501</c:v>
                </c:pt>
                <c:pt idx="29326">
                  <c:v>0.52302479044051997</c:v>
                </c:pt>
                <c:pt idx="29327">
                  <c:v>0.52304262528981604</c:v>
                </c:pt>
                <c:pt idx="29328">
                  <c:v>0.52306046013911101</c:v>
                </c:pt>
                <c:pt idx="29329">
                  <c:v>0.52307829498840697</c:v>
                </c:pt>
                <c:pt idx="29330">
                  <c:v>0.52309612983770204</c:v>
                </c:pt>
                <c:pt idx="29331">
                  <c:v>0.523113964686998</c:v>
                </c:pt>
                <c:pt idx="29332">
                  <c:v>0.52313179953629396</c:v>
                </c:pt>
                <c:pt idx="29333">
                  <c:v>0.52314963438558904</c:v>
                </c:pt>
                <c:pt idx="29334">
                  <c:v>0.523167469234885</c:v>
                </c:pt>
                <c:pt idx="29335">
                  <c:v>0.52318530408417996</c:v>
                </c:pt>
                <c:pt idx="29336">
                  <c:v>0.52320313893347603</c:v>
                </c:pt>
                <c:pt idx="29337">
                  <c:v>0.52322097378277099</c:v>
                </c:pt>
                <c:pt idx="29338">
                  <c:v>0.52323880863206695</c:v>
                </c:pt>
                <c:pt idx="29339">
                  <c:v>0.52325664348136203</c:v>
                </c:pt>
                <c:pt idx="29340">
                  <c:v>0.52327447833065799</c:v>
                </c:pt>
                <c:pt idx="29341">
                  <c:v>0.52329231317995295</c:v>
                </c:pt>
                <c:pt idx="29342">
                  <c:v>0.52331014802924902</c:v>
                </c:pt>
                <c:pt idx="29343">
                  <c:v>0.52332798287854398</c:v>
                </c:pt>
                <c:pt idx="29344">
                  <c:v>0.52334581772783995</c:v>
                </c:pt>
                <c:pt idx="29345">
                  <c:v>0.52336365257713502</c:v>
                </c:pt>
                <c:pt idx="29346">
                  <c:v>0.52338148742643098</c:v>
                </c:pt>
                <c:pt idx="29347">
                  <c:v>0.52339932227572605</c:v>
                </c:pt>
                <c:pt idx="29348">
                  <c:v>0.52341715712502201</c:v>
                </c:pt>
                <c:pt idx="29349">
                  <c:v>0.52343499197431698</c:v>
                </c:pt>
                <c:pt idx="29350">
                  <c:v>0.52345282682361305</c:v>
                </c:pt>
                <c:pt idx="29351">
                  <c:v>0.52347066167290801</c:v>
                </c:pt>
                <c:pt idx="29352">
                  <c:v>0.52348849652220397</c:v>
                </c:pt>
                <c:pt idx="29353">
                  <c:v>0.52350633137149905</c:v>
                </c:pt>
                <c:pt idx="29354">
                  <c:v>0.52352416622079501</c:v>
                </c:pt>
                <c:pt idx="29355">
                  <c:v>0.52354200107009097</c:v>
                </c:pt>
                <c:pt idx="29356">
                  <c:v>0.52355983591938604</c:v>
                </c:pt>
                <c:pt idx="29357">
                  <c:v>0.523577670768682</c:v>
                </c:pt>
                <c:pt idx="29358">
                  <c:v>0.52359550561797696</c:v>
                </c:pt>
                <c:pt idx="29359">
                  <c:v>0.52361334046727304</c:v>
                </c:pt>
                <c:pt idx="29360">
                  <c:v>0.523631175316568</c:v>
                </c:pt>
                <c:pt idx="29361">
                  <c:v>0.52364901016586396</c:v>
                </c:pt>
                <c:pt idx="29362">
                  <c:v>0.52366684501515903</c:v>
                </c:pt>
                <c:pt idx="29363">
                  <c:v>0.52368467986445499</c:v>
                </c:pt>
                <c:pt idx="29364">
                  <c:v>0.52370251471374996</c:v>
                </c:pt>
                <c:pt idx="29365">
                  <c:v>0.52372034956304603</c:v>
                </c:pt>
                <c:pt idx="29366">
                  <c:v>0.52373818441234099</c:v>
                </c:pt>
                <c:pt idx="29367">
                  <c:v>0.52375601926163695</c:v>
                </c:pt>
                <c:pt idx="29368">
                  <c:v>0.52377385411093202</c:v>
                </c:pt>
                <c:pt idx="29369">
                  <c:v>0.52379168896022799</c:v>
                </c:pt>
                <c:pt idx="29370">
                  <c:v>0.52380952380952295</c:v>
                </c:pt>
                <c:pt idx="29371">
                  <c:v>0.52382735865881902</c:v>
                </c:pt>
                <c:pt idx="29372">
                  <c:v>0.52384519350811398</c:v>
                </c:pt>
                <c:pt idx="29373">
                  <c:v>0.52386302835741005</c:v>
                </c:pt>
                <c:pt idx="29374">
                  <c:v>0.52388086320670502</c:v>
                </c:pt>
                <c:pt idx="29375">
                  <c:v>0.52389869805600098</c:v>
                </c:pt>
                <c:pt idx="29376">
                  <c:v>0.52391653290529605</c:v>
                </c:pt>
                <c:pt idx="29377">
                  <c:v>0.52393436775459201</c:v>
                </c:pt>
                <c:pt idx="29378">
                  <c:v>0.52395220260388797</c:v>
                </c:pt>
                <c:pt idx="29379">
                  <c:v>0.52397003745318305</c:v>
                </c:pt>
                <c:pt idx="29380">
                  <c:v>0.52398787230247901</c:v>
                </c:pt>
                <c:pt idx="29381">
                  <c:v>0.52400570715177397</c:v>
                </c:pt>
                <c:pt idx="29382">
                  <c:v>0.52402354200107004</c:v>
                </c:pt>
                <c:pt idx="29383">
                  <c:v>0.524041376850365</c:v>
                </c:pt>
                <c:pt idx="29384">
                  <c:v>0.52405921169966097</c:v>
                </c:pt>
                <c:pt idx="29385">
                  <c:v>0.52407704654895604</c:v>
                </c:pt>
                <c:pt idx="29386">
                  <c:v>0.524094881398252</c:v>
                </c:pt>
                <c:pt idx="29387">
                  <c:v>0.52411271624754696</c:v>
                </c:pt>
                <c:pt idx="29388">
                  <c:v>0.52413055109684303</c:v>
                </c:pt>
                <c:pt idx="29389">
                  <c:v>0.524148385946138</c:v>
                </c:pt>
                <c:pt idx="29390">
                  <c:v>0.52416622079543396</c:v>
                </c:pt>
                <c:pt idx="29391">
                  <c:v>0.52418405564472903</c:v>
                </c:pt>
                <c:pt idx="29392">
                  <c:v>0.52420189049402499</c:v>
                </c:pt>
                <c:pt idx="29393">
                  <c:v>0.52421972534331995</c:v>
                </c:pt>
                <c:pt idx="29394">
                  <c:v>0.52423756019261603</c:v>
                </c:pt>
                <c:pt idx="29395">
                  <c:v>0.52425539504191099</c:v>
                </c:pt>
                <c:pt idx="29396">
                  <c:v>0.52427322989120695</c:v>
                </c:pt>
                <c:pt idx="29397">
                  <c:v>0.52429106474050202</c:v>
                </c:pt>
                <c:pt idx="29398">
                  <c:v>0.52430889958979798</c:v>
                </c:pt>
                <c:pt idx="29399">
                  <c:v>0.52432673443909295</c:v>
                </c:pt>
                <c:pt idx="29400">
                  <c:v>0.52434456928838902</c:v>
                </c:pt>
                <c:pt idx="29401">
                  <c:v>0.52436240413768498</c:v>
                </c:pt>
                <c:pt idx="29402">
                  <c:v>0.52438023898698005</c:v>
                </c:pt>
                <c:pt idx="29403">
                  <c:v>0.52439807383627601</c:v>
                </c:pt>
                <c:pt idx="29404">
                  <c:v>0.52441590868557098</c:v>
                </c:pt>
                <c:pt idx="29405">
                  <c:v>0.52443374353486705</c:v>
                </c:pt>
                <c:pt idx="29406">
                  <c:v>0.52445157838416201</c:v>
                </c:pt>
                <c:pt idx="29407">
                  <c:v>0.52446941323345797</c:v>
                </c:pt>
                <c:pt idx="29408">
                  <c:v>0.52448724808275304</c:v>
                </c:pt>
                <c:pt idx="29409">
                  <c:v>0.524505082932049</c:v>
                </c:pt>
                <c:pt idx="29410">
                  <c:v>0.52452291778134397</c:v>
                </c:pt>
                <c:pt idx="29411">
                  <c:v>0.52454075263064004</c:v>
                </c:pt>
                <c:pt idx="29412">
                  <c:v>0.524558587479935</c:v>
                </c:pt>
                <c:pt idx="29413">
                  <c:v>0.52457642232923096</c:v>
                </c:pt>
                <c:pt idx="29414">
                  <c:v>0.52459425717852604</c:v>
                </c:pt>
                <c:pt idx="29415">
                  <c:v>0.524612092027822</c:v>
                </c:pt>
                <c:pt idx="29416">
                  <c:v>0.52462992687711696</c:v>
                </c:pt>
                <c:pt idx="29417">
                  <c:v>0.52464776172641303</c:v>
                </c:pt>
                <c:pt idx="29418">
                  <c:v>0.52466559657570799</c:v>
                </c:pt>
                <c:pt idx="29419">
                  <c:v>0.52468343142500395</c:v>
                </c:pt>
                <c:pt idx="29420">
                  <c:v>0.52470126627430003</c:v>
                </c:pt>
                <c:pt idx="29421">
                  <c:v>0.52471910112359499</c:v>
                </c:pt>
                <c:pt idx="29422">
                  <c:v>0.52473693597289095</c:v>
                </c:pt>
                <c:pt idx="29423">
                  <c:v>0.52475477082218602</c:v>
                </c:pt>
                <c:pt idx="29424">
                  <c:v>0.52477260567148198</c:v>
                </c:pt>
                <c:pt idx="29425">
                  <c:v>0.52479044052077695</c:v>
                </c:pt>
                <c:pt idx="29426">
                  <c:v>0.52480827537007302</c:v>
                </c:pt>
                <c:pt idx="29427">
                  <c:v>0.52482611021936798</c:v>
                </c:pt>
                <c:pt idx="29428">
                  <c:v>0.52484394506866405</c:v>
                </c:pt>
                <c:pt idx="29429">
                  <c:v>0.52486177991795901</c:v>
                </c:pt>
                <c:pt idx="29430">
                  <c:v>0.52487961476725498</c:v>
                </c:pt>
                <c:pt idx="29431">
                  <c:v>0.52489744961655005</c:v>
                </c:pt>
                <c:pt idx="29432">
                  <c:v>0.52491528446584601</c:v>
                </c:pt>
                <c:pt idx="29433">
                  <c:v>0.52493311931514097</c:v>
                </c:pt>
                <c:pt idx="29434">
                  <c:v>0.52495095416443704</c:v>
                </c:pt>
                <c:pt idx="29435">
                  <c:v>0.52496878901373201</c:v>
                </c:pt>
                <c:pt idx="29436">
                  <c:v>0.52498662386302797</c:v>
                </c:pt>
                <c:pt idx="29437">
                  <c:v>0.52500445871232304</c:v>
                </c:pt>
                <c:pt idx="29438">
                  <c:v>0.525022293561619</c:v>
                </c:pt>
                <c:pt idx="29439">
                  <c:v>0.52504012841091496</c:v>
                </c:pt>
                <c:pt idx="29440">
                  <c:v>0.52505796326021004</c:v>
                </c:pt>
                <c:pt idx="29441">
                  <c:v>0.525075798109506</c:v>
                </c:pt>
                <c:pt idx="29442">
                  <c:v>0.52509363295880096</c:v>
                </c:pt>
                <c:pt idx="29443">
                  <c:v>0.52511146780809703</c:v>
                </c:pt>
                <c:pt idx="29444">
                  <c:v>0.52512930265739199</c:v>
                </c:pt>
                <c:pt idx="29445">
                  <c:v>0.52514713750668796</c:v>
                </c:pt>
                <c:pt idx="29446">
                  <c:v>0.52516497235598303</c:v>
                </c:pt>
                <c:pt idx="29447">
                  <c:v>0.52518280720527899</c:v>
                </c:pt>
                <c:pt idx="29448">
                  <c:v>0.52520064205457395</c:v>
                </c:pt>
                <c:pt idx="29449">
                  <c:v>0.52521847690387002</c:v>
                </c:pt>
                <c:pt idx="29450">
                  <c:v>0.52523631175316499</c:v>
                </c:pt>
                <c:pt idx="29451">
                  <c:v>0.52525414660246095</c:v>
                </c:pt>
                <c:pt idx="29452">
                  <c:v>0.52527198145175602</c:v>
                </c:pt>
                <c:pt idx="29453">
                  <c:v>0.52528981630105198</c:v>
                </c:pt>
                <c:pt idx="29454">
                  <c:v>0.52530765115034705</c:v>
                </c:pt>
                <c:pt idx="29455">
                  <c:v>0.52532548599964302</c:v>
                </c:pt>
                <c:pt idx="29456">
                  <c:v>0.52534332084893798</c:v>
                </c:pt>
                <c:pt idx="29457">
                  <c:v>0.52536115569823405</c:v>
                </c:pt>
                <c:pt idx="29458">
                  <c:v>0.52537899054752901</c:v>
                </c:pt>
                <c:pt idx="29459">
                  <c:v>0.52539682539682497</c:v>
                </c:pt>
                <c:pt idx="29460">
                  <c:v>0.52541466024612005</c:v>
                </c:pt>
                <c:pt idx="29461">
                  <c:v>0.52543249509541601</c:v>
                </c:pt>
                <c:pt idx="29462">
                  <c:v>0.52545032994471197</c:v>
                </c:pt>
                <c:pt idx="29463">
                  <c:v>0.52546816479400704</c:v>
                </c:pt>
                <c:pt idx="29464">
                  <c:v>0.525485999643303</c:v>
                </c:pt>
                <c:pt idx="29465">
                  <c:v>0.52550383449259797</c:v>
                </c:pt>
                <c:pt idx="29466">
                  <c:v>0.52552166934189404</c:v>
                </c:pt>
                <c:pt idx="29467">
                  <c:v>0.525539504191189</c:v>
                </c:pt>
                <c:pt idx="29468">
                  <c:v>0.52555733904048496</c:v>
                </c:pt>
                <c:pt idx="29469">
                  <c:v>0.52557517388978003</c:v>
                </c:pt>
                <c:pt idx="29470">
                  <c:v>0.525593008739076</c:v>
                </c:pt>
                <c:pt idx="29471">
                  <c:v>0.52561084358837096</c:v>
                </c:pt>
                <c:pt idx="29472">
                  <c:v>0.52562867843766703</c:v>
                </c:pt>
                <c:pt idx="29473">
                  <c:v>0.52564651328696199</c:v>
                </c:pt>
                <c:pt idx="29474">
                  <c:v>0.52566434813625795</c:v>
                </c:pt>
                <c:pt idx="29475">
                  <c:v>0.52568218298555303</c:v>
                </c:pt>
                <c:pt idx="29476">
                  <c:v>0.52570001783484899</c:v>
                </c:pt>
                <c:pt idx="29477">
                  <c:v>0.52571785268414395</c:v>
                </c:pt>
                <c:pt idx="29478">
                  <c:v>0.52573568753344002</c:v>
                </c:pt>
                <c:pt idx="29479">
                  <c:v>0.52575352238273498</c:v>
                </c:pt>
                <c:pt idx="29480">
                  <c:v>0.52577135723203094</c:v>
                </c:pt>
                <c:pt idx="29481">
                  <c:v>0.52578919208132602</c:v>
                </c:pt>
                <c:pt idx="29482">
                  <c:v>0.52580702693062198</c:v>
                </c:pt>
                <c:pt idx="29483">
                  <c:v>0.52582486177991705</c:v>
                </c:pt>
                <c:pt idx="29484">
                  <c:v>0.52584269662921301</c:v>
                </c:pt>
                <c:pt idx="29485">
                  <c:v>0.52586053147850897</c:v>
                </c:pt>
                <c:pt idx="29486">
                  <c:v>0.52587836632780405</c:v>
                </c:pt>
                <c:pt idx="29487">
                  <c:v>0.52589620117710001</c:v>
                </c:pt>
                <c:pt idx="29488">
                  <c:v>0.52591403602639497</c:v>
                </c:pt>
                <c:pt idx="29489">
                  <c:v>0.52593187087569104</c:v>
                </c:pt>
                <c:pt idx="29490">
                  <c:v>0.52594970572498601</c:v>
                </c:pt>
                <c:pt idx="29491">
                  <c:v>0.52596754057428197</c:v>
                </c:pt>
                <c:pt idx="29492">
                  <c:v>0.52598537542357704</c:v>
                </c:pt>
                <c:pt idx="29493">
                  <c:v>0.526003210272873</c:v>
                </c:pt>
                <c:pt idx="29494">
                  <c:v>0.52602104512216796</c:v>
                </c:pt>
                <c:pt idx="29495">
                  <c:v>0.52603887997146404</c:v>
                </c:pt>
                <c:pt idx="29496">
                  <c:v>0.526056714820759</c:v>
                </c:pt>
                <c:pt idx="29497">
                  <c:v>0.52607454967005496</c:v>
                </c:pt>
                <c:pt idx="29498">
                  <c:v>0.52609238451935003</c:v>
                </c:pt>
                <c:pt idx="29499">
                  <c:v>0.52611021936864599</c:v>
                </c:pt>
                <c:pt idx="29500">
                  <c:v>0.52612805421794095</c:v>
                </c:pt>
                <c:pt idx="29501">
                  <c:v>0.52614588906723703</c:v>
                </c:pt>
                <c:pt idx="29502">
                  <c:v>0.52616372391653199</c:v>
                </c:pt>
                <c:pt idx="29503">
                  <c:v>0.52618155876582795</c:v>
                </c:pt>
                <c:pt idx="29504">
                  <c:v>0.52619939361512302</c:v>
                </c:pt>
                <c:pt idx="29505">
                  <c:v>0.52621722846441898</c:v>
                </c:pt>
                <c:pt idx="29506">
                  <c:v>0.52623506331371495</c:v>
                </c:pt>
                <c:pt idx="29507">
                  <c:v>0.52625289816301002</c:v>
                </c:pt>
                <c:pt idx="29508">
                  <c:v>0.52627073301230598</c:v>
                </c:pt>
                <c:pt idx="29509">
                  <c:v>0.52628856786160105</c:v>
                </c:pt>
                <c:pt idx="29510">
                  <c:v>0.52630640271089701</c:v>
                </c:pt>
                <c:pt idx="29511">
                  <c:v>0.52632423756019198</c:v>
                </c:pt>
                <c:pt idx="29512">
                  <c:v>0.52634207240948805</c:v>
                </c:pt>
                <c:pt idx="29513">
                  <c:v>0.52635990725878301</c:v>
                </c:pt>
                <c:pt idx="29514">
                  <c:v>0.52637774210807897</c:v>
                </c:pt>
                <c:pt idx="29515">
                  <c:v>0.52639557695737405</c:v>
                </c:pt>
                <c:pt idx="29516">
                  <c:v>0.52641341180667001</c:v>
                </c:pt>
                <c:pt idx="29517">
                  <c:v>0.52643124665596497</c:v>
                </c:pt>
                <c:pt idx="29518">
                  <c:v>0.52644908150526104</c:v>
                </c:pt>
                <c:pt idx="29519">
                  <c:v>0.526466916354556</c:v>
                </c:pt>
                <c:pt idx="29520">
                  <c:v>0.52648475120385196</c:v>
                </c:pt>
                <c:pt idx="29521">
                  <c:v>0.52650258605314704</c:v>
                </c:pt>
                <c:pt idx="29522">
                  <c:v>0.526520420902443</c:v>
                </c:pt>
                <c:pt idx="29523">
                  <c:v>0.52653825575173796</c:v>
                </c:pt>
                <c:pt idx="29524">
                  <c:v>0.52655609060103403</c:v>
                </c:pt>
                <c:pt idx="29525">
                  <c:v>0.52657392545032999</c:v>
                </c:pt>
                <c:pt idx="29526">
                  <c:v>0.52659176029962496</c:v>
                </c:pt>
                <c:pt idx="29527">
                  <c:v>0.52660959514892103</c:v>
                </c:pt>
                <c:pt idx="29528">
                  <c:v>0.52662742999821599</c:v>
                </c:pt>
                <c:pt idx="29529">
                  <c:v>0.52664526484751195</c:v>
                </c:pt>
                <c:pt idx="29530">
                  <c:v>0.52666309969680702</c:v>
                </c:pt>
                <c:pt idx="29531">
                  <c:v>0.52668093454610299</c:v>
                </c:pt>
                <c:pt idx="29532">
                  <c:v>0.52669876939539795</c:v>
                </c:pt>
                <c:pt idx="29533">
                  <c:v>0.52671660424469402</c:v>
                </c:pt>
                <c:pt idx="29534">
                  <c:v>0.52673443909398898</c:v>
                </c:pt>
                <c:pt idx="29535">
                  <c:v>0.52675227394328505</c:v>
                </c:pt>
                <c:pt idx="29536">
                  <c:v>0.52677010879258002</c:v>
                </c:pt>
                <c:pt idx="29537">
                  <c:v>0.52678794364187598</c:v>
                </c:pt>
                <c:pt idx="29538">
                  <c:v>0.52680577849117105</c:v>
                </c:pt>
                <c:pt idx="29539">
                  <c:v>0.52682361334046701</c:v>
                </c:pt>
                <c:pt idx="29540">
                  <c:v>0.52684144818976197</c:v>
                </c:pt>
                <c:pt idx="29541">
                  <c:v>0.52685928303905805</c:v>
                </c:pt>
                <c:pt idx="29542">
                  <c:v>0.52687711788835301</c:v>
                </c:pt>
                <c:pt idx="29543">
                  <c:v>0.52689495273764897</c:v>
                </c:pt>
                <c:pt idx="29544">
                  <c:v>0.52691278758694404</c:v>
                </c:pt>
                <c:pt idx="29545">
                  <c:v>0.52693062243624</c:v>
                </c:pt>
                <c:pt idx="29546">
                  <c:v>0.52694845728553596</c:v>
                </c:pt>
                <c:pt idx="29547">
                  <c:v>0.52696629213483104</c:v>
                </c:pt>
                <c:pt idx="29548">
                  <c:v>0.526984126984127</c:v>
                </c:pt>
                <c:pt idx="29549">
                  <c:v>0.52700196183342196</c:v>
                </c:pt>
                <c:pt idx="29550">
                  <c:v>0.52701979668271803</c:v>
                </c:pt>
                <c:pt idx="29551">
                  <c:v>0.527037631532013</c:v>
                </c:pt>
                <c:pt idx="29552">
                  <c:v>0.52705546638130896</c:v>
                </c:pt>
                <c:pt idx="29553">
                  <c:v>0.52707330123060403</c:v>
                </c:pt>
                <c:pt idx="29554">
                  <c:v>0.52709113607989999</c:v>
                </c:pt>
                <c:pt idx="29555">
                  <c:v>0.52710897092919495</c:v>
                </c:pt>
                <c:pt idx="29556">
                  <c:v>0.52712680577849103</c:v>
                </c:pt>
                <c:pt idx="29557">
                  <c:v>0.52714464062778599</c:v>
                </c:pt>
                <c:pt idx="29558">
                  <c:v>0.52716247547708195</c:v>
                </c:pt>
                <c:pt idx="29559">
                  <c:v>0.52718031032637702</c:v>
                </c:pt>
                <c:pt idx="29560">
                  <c:v>0.52719814517567298</c:v>
                </c:pt>
                <c:pt idx="29561">
                  <c:v>0.52721598002496795</c:v>
                </c:pt>
                <c:pt idx="29562">
                  <c:v>0.52723381487426402</c:v>
                </c:pt>
                <c:pt idx="29563">
                  <c:v>0.52725164972355898</c:v>
                </c:pt>
                <c:pt idx="29564">
                  <c:v>0.52726948457285505</c:v>
                </c:pt>
                <c:pt idx="29565">
                  <c:v>0.52728731942215001</c:v>
                </c:pt>
                <c:pt idx="29566">
                  <c:v>0.52730515427144597</c:v>
                </c:pt>
                <c:pt idx="29567">
                  <c:v>0.52732298912074105</c:v>
                </c:pt>
                <c:pt idx="29568">
                  <c:v>0.52734082397003701</c:v>
                </c:pt>
                <c:pt idx="29569">
                  <c:v>0.52735865881933297</c:v>
                </c:pt>
                <c:pt idx="29570">
                  <c:v>0.52737649366862804</c:v>
                </c:pt>
                <c:pt idx="29571">
                  <c:v>0.527394328517924</c:v>
                </c:pt>
                <c:pt idx="29572">
                  <c:v>0.52741216336721897</c:v>
                </c:pt>
                <c:pt idx="29573">
                  <c:v>0.52742999821651504</c:v>
                </c:pt>
                <c:pt idx="29574">
                  <c:v>0.52744783306581</c:v>
                </c:pt>
                <c:pt idx="29575">
                  <c:v>0.52746566791510596</c:v>
                </c:pt>
                <c:pt idx="29576">
                  <c:v>0.52748350276440104</c:v>
                </c:pt>
                <c:pt idx="29577">
                  <c:v>0.527501337613697</c:v>
                </c:pt>
                <c:pt idx="29578">
                  <c:v>0.52751917246299196</c:v>
                </c:pt>
                <c:pt idx="29579">
                  <c:v>0.52753700731228803</c:v>
                </c:pt>
                <c:pt idx="29580">
                  <c:v>0.52755484216158299</c:v>
                </c:pt>
                <c:pt idx="29581">
                  <c:v>0.52757267701087895</c:v>
                </c:pt>
                <c:pt idx="29582">
                  <c:v>0.52759051186017403</c:v>
                </c:pt>
                <c:pt idx="29583">
                  <c:v>0.52760834670946999</c:v>
                </c:pt>
                <c:pt idx="29584">
                  <c:v>0.52762618155876495</c:v>
                </c:pt>
                <c:pt idx="29585">
                  <c:v>0.52764401640806102</c:v>
                </c:pt>
                <c:pt idx="29586">
                  <c:v>0.52766185125735598</c:v>
                </c:pt>
                <c:pt idx="29587">
                  <c:v>0.52767968610665195</c:v>
                </c:pt>
                <c:pt idx="29588">
                  <c:v>0.52769752095594702</c:v>
                </c:pt>
                <c:pt idx="29589">
                  <c:v>0.52771535580524298</c:v>
                </c:pt>
                <c:pt idx="29590">
                  <c:v>0.52773319065453805</c:v>
                </c:pt>
                <c:pt idx="29591">
                  <c:v>0.52775102550383401</c:v>
                </c:pt>
                <c:pt idx="29592">
                  <c:v>0.52776886035312998</c:v>
                </c:pt>
                <c:pt idx="29593">
                  <c:v>0.52778669520242505</c:v>
                </c:pt>
                <c:pt idx="29594">
                  <c:v>0.52780453005172101</c:v>
                </c:pt>
                <c:pt idx="29595">
                  <c:v>0.52782236490101597</c:v>
                </c:pt>
                <c:pt idx="29596">
                  <c:v>0.52784019975031204</c:v>
                </c:pt>
                <c:pt idx="29597">
                  <c:v>0.52785803459960701</c:v>
                </c:pt>
                <c:pt idx="29598">
                  <c:v>0.52787586944890297</c:v>
                </c:pt>
                <c:pt idx="29599">
                  <c:v>0.52789370429819804</c:v>
                </c:pt>
                <c:pt idx="29600">
                  <c:v>0.527911539147494</c:v>
                </c:pt>
                <c:pt idx="29601">
                  <c:v>0.52792937399678896</c:v>
                </c:pt>
                <c:pt idx="29602">
                  <c:v>0.52794720884608504</c:v>
                </c:pt>
                <c:pt idx="29603">
                  <c:v>0.52796504369538</c:v>
                </c:pt>
                <c:pt idx="29604">
                  <c:v>0.52798287854467596</c:v>
                </c:pt>
                <c:pt idx="29605">
                  <c:v>0.52800071339397103</c:v>
                </c:pt>
                <c:pt idx="29606">
                  <c:v>0.52801854824326699</c:v>
                </c:pt>
                <c:pt idx="29607">
                  <c:v>0.52803638309256196</c:v>
                </c:pt>
                <c:pt idx="29608">
                  <c:v>0.52805421794185803</c:v>
                </c:pt>
                <c:pt idx="29609">
                  <c:v>0.52807205279115299</c:v>
                </c:pt>
                <c:pt idx="29610">
                  <c:v>0.52808988764044895</c:v>
                </c:pt>
                <c:pt idx="29611">
                  <c:v>0.52810772248974402</c:v>
                </c:pt>
                <c:pt idx="29612">
                  <c:v>0.52812555733903999</c:v>
                </c:pt>
                <c:pt idx="29613">
                  <c:v>0.52814339218833595</c:v>
                </c:pt>
                <c:pt idx="29614">
                  <c:v>0.52816122703763102</c:v>
                </c:pt>
                <c:pt idx="29615">
                  <c:v>0.52817906188692698</c:v>
                </c:pt>
                <c:pt idx="29616">
                  <c:v>0.52819689673622205</c:v>
                </c:pt>
                <c:pt idx="29617">
                  <c:v>0.52821473158551802</c:v>
                </c:pt>
                <c:pt idx="29618">
                  <c:v>0.52823256643481298</c:v>
                </c:pt>
                <c:pt idx="29619">
                  <c:v>0.52825040128410905</c:v>
                </c:pt>
                <c:pt idx="29620">
                  <c:v>0.52826823613340401</c:v>
                </c:pt>
                <c:pt idx="29621">
                  <c:v>0.52828607098269997</c:v>
                </c:pt>
                <c:pt idx="29622">
                  <c:v>0.52830390583199505</c:v>
                </c:pt>
                <c:pt idx="29623">
                  <c:v>0.52832174068129101</c:v>
                </c:pt>
                <c:pt idx="29624">
                  <c:v>0.52833957553058597</c:v>
                </c:pt>
                <c:pt idx="29625">
                  <c:v>0.52835741037988204</c:v>
                </c:pt>
                <c:pt idx="29626">
                  <c:v>0.528375245229177</c:v>
                </c:pt>
                <c:pt idx="29627">
                  <c:v>0.52839308007847297</c:v>
                </c:pt>
                <c:pt idx="29628">
                  <c:v>0.52841091492776804</c:v>
                </c:pt>
                <c:pt idx="29629">
                  <c:v>0.528428749777064</c:v>
                </c:pt>
                <c:pt idx="29630">
                  <c:v>0.52844658462635996</c:v>
                </c:pt>
                <c:pt idx="29631">
                  <c:v>0.52846441947565503</c:v>
                </c:pt>
                <c:pt idx="29632">
                  <c:v>0.528482254324951</c:v>
                </c:pt>
                <c:pt idx="29633">
                  <c:v>0.52850008917424596</c:v>
                </c:pt>
                <c:pt idx="29634">
                  <c:v>0.52851792402354203</c:v>
                </c:pt>
                <c:pt idx="29635">
                  <c:v>0.52853575887283699</c:v>
                </c:pt>
                <c:pt idx="29636">
                  <c:v>0.52855359372213295</c:v>
                </c:pt>
                <c:pt idx="29637">
                  <c:v>0.52857142857142803</c:v>
                </c:pt>
                <c:pt idx="29638">
                  <c:v>0.52858926342072399</c:v>
                </c:pt>
                <c:pt idx="29639">
                  <c:v>0.52860709827001895</c:v>
                </c:pt>
                <c:pt idx="29640">
                  <c:v>0.52862493311931502</c:v>
                </c:pt>
                <c:pt idx="29641">
                  <c:v>0.52864276796860998</c:v>
                </c:pt>
                <c:pt idx="29642">
                  <c:v>0.52866060281790594</c:v>
                </c:pt>
                <c:pt idx="29643">
                  <c:v>0.52867843766720102</c:v>
                </c:pt>
                <c:pt idx="29644">
                  <c:v>0.52869627251649698</c:v>
                </c:pt>
                <c:pt idx="29645">
                  <c:v>0.52871410736579205</c:v>
                </c:pt>
                <c:pt idx="29646">
                  <c:v>0.52873194221508801</c:v>
                </c:pt>
                <c:pt idx="29647">
                  <c:v>0.52874977706438298</c:v>
                </c:pt>
                <c:pt idx="29648">
                  <c:v>0.52876761191367905</c:v>
                </c:pt>
                <c:pt idx="29649">
                  <c:v>0.52878544676297401</c:v>
                </c:pt>
                <c:pt idx="29650">
                  <c:v>0.52880328161226997</c:v>
                </c:pt>
                <c:pt idx="29651">
                  <c:v>0.52882111646156504</c:v>
                </c:pt>
                <c:pt idx="29652">
                  <c:v>0.52883895131086101</c:v>
                </c:pt>
                <c:pt idx="29653">
                  <c:v>0.52885678616015697</c:v>
                </c:pt>
                <c:pt idx="29654">
                  <c:v>0.52887462100945204</c:v>
                </c:pt>
                <c:pt idx="29655">
                  <c:v>0.528892455858748</c:v>
                </c:pt>
                <c:pt idx="29656">
                  <c:v>0.52891029070804296</c:v>
                </c:pt>
                <c:pt idx="29657">
                  <c:v>0.52892812555733904</c:v>
                </c:pt>
                <c:pt idx="29658">
                  <c:v>0.528945960406634</c:v>
                </c:pt>
                <c:pt idx="29659">
                  <c:v>0.52896379525592996</c:v>
                </c:pt>
                <c:pt idx="29660">
                  <c:v>0.52898163010522503</c:v>
                </c:pt>
                <c:pt idx="29661">
                  <c:v>0.52899946495452099</c:v>
                </c:pt>
                <c:pt idx="29662">
                  <c:v>0.52901729980381595</c:v>
                </c:pt>
                <c:pt idx="29663">
                  <c:v>0.52903513465311203</c:v>
                </c:pt>
                <c:pt idx="29664">
                  <c:v>0.52905296950240699</c:v>
                </c:pt>
                <c:pt idx="29665">
                  <c:v>0.52907080435170295</c:v>
                </c:pt>
                <c:pt idx="29666">
                  <c:v>0.52908863920099802</c:v>
                </c:pt>
                <c:pt idx="29667">
                  <c:v>0.52910647405029398</c:v>
                </c:pt>
                <c:pt idx="29668">
                  <c:v>0.52912430889958895</c:v>
                </c:pt>
                <c:pt idx="29669">
                  <c:v>0.52914214374888502</c:v>
                </c:pt>
                <c:pt idx="29670">
                  <c:v>0.52915997859817998</c:v>
                </c:pt>
                <c:pt idx="29671">
                  <c:v>0.52917781344747605</c:v>
                </c:pt>
                <c:pt idx="29672">
                  <c:v>0.52919564829677102</c:v>
                </c:pt>
                <c:pt idx="29673">
                  <c:v>0.52921348314606698</c:v>
                </c:pt>
                <c:pt idx="29674">
                  <c:v>0.52923131799536205</c:v>
                </c:pt>
                <c:pt idx="29675">
                  <c:v>0.52924915284465801</c:v>
                </c:pt>
                <c:pt idx="29676">
                  <c:v>0.52926698769395397</c:v>
                </c:pt>
                <c:pt idx="29677">
                  <c:v>0.52928482254324904</c:v>
                </c:pt>
                <c:pt idx="29678">
                  <c:v>0.52930265739254501</c:v>
                </c:pt>
                <c:pt idx="29679">
                  <c:v>0.52932049224183997</c:v>
                </c:pt>
                <c:pt idx="29680">
                  <c:v>0.52933832709113604</c:v>
                </c:pt>
                <c:pt idx="29681">
                  <c:v>0.529356161940431</c:v>
                </c:pt>
                <c:pt idx="29682">
                  <c:v>0.52937399678972696</c:v>
                </c:pt>
                <c:pt idx="29683">
                  <c:v>0.52939183163902204</c:v>
                </c:pt>
                <c:pt idx="29684">
                  <c:v>0.529409666488318</c:v>
                </c:pt>
                <c:pt idx="29685">
                  <c:v>0.52942750133761296</c:v>
                </c:pt>
                <c:pt idx="29686">
                  <c:v>0.52944533618690903</c:v>
                </c:pt>
                <c:pt idx="29687">
                  <c:v>0.52946317103620399</c:v>
                </c:pt>
                <c:pt idx="29688">
                  <c:v>0.52948100588549996</c:v>
                </c:pt>
                <c:pt idx="29689">
                  <c:v>0.52949884073479503</c:v>
                </c:pt>
                <c:pt idx="29690">
                  <c:v>0.52951667558409099</c:v>
                </c:pt>
                <c:pt idx="29691">
                  <c:v>0.52953451043338595</c:v>
                </c:pt>
                <c:pt idx="29692">
                  <c:v>0.52955234528268202</c:v>
                </c:pt>
                <c:pt idx="29693">
                  <c:v>0.52957018013197699</c:v>
                </c:pt>
                <c:pt idx="29694">
                  <c:v>0.52958801498127295</c:v>
                </c:pt>
                <c:pt idx="29695">
                  <c:v>0.52960584983056802</c:v>
                </c:pt>
                <c:pt idx="29696">
                  <c:v>0.52962368467986398</c:v>
                </c:pt>
                <c:pt idx="29697">
                  <c:v>0.52964151952915905</c:v>
                </c:pt>
                <c:pt idx="29698">
                  <c:v>0.52965935437845502</c:v>
                </c:pt>
                <c:pt idx="29699">
                  <c:v>0.52967718922775098</c:v>
                </c:pt>
                <c:pt idx="29700">
                  <c:v>0.52969502407704605</c:v>
                </c:pt>
                <c:pt idx="29701">
                  <c:v>0.52971285892634201</c:v>
                </c:pt>
                <c:pt idx="29702">
                  <c:v>0.52973069377563697</c:v>
                </c:pt>
                <c:pt idx="29703">
                  <c:v>0.52974852862493305</c:v>
                </c:pt>
                <c:pt idx="29704">
                  <c:v>0.52976636347422801</c:v>
                </c:pt>
                <c:pt idx="29705">
                  <c:v>0.52978419832352397</c:v>
                </c:pt>
                <c:pt idx="29706">
                  <c:v>0.52980203317281904</c:v>
                </c:pt>
                <c:pt idx="29707">
                  <c:v>0.529819868022115</c:v>
                </c:pt>
                <c:pt idx="29708">
                  <c:v>0.52983770287140997</c:v>
                </c:pt>
                <c:pt idx="29709">
                  <c:v>0.52985553772070604</c:v>
                </c:pt>
                <c:pt idx="29710">
                  <c:v>0.529873372570001</c:v>
                </c:pt>
                <c:pt idx="29711">
                  <c:v>0.52989120741929696</c:v>
                </c:pt>
                <c:pt idx="29712">
                  <c:v>0.52990904226859203</c:v>
                </c:pt>
                <c:pt idx="29713">
                  <c:v>0.529926877117888</c:v>
                </c:pt>
                <c:pt idx="29714">
                  <c:v>0.52994471196718296</c:v>
                </c:pt>
                <c:pt idx="29715">
                  <c:v>0.52996254681647903</c:v>
                </c:pt>
                <c:pt idx="29716">
                  <c:v>0.52998038166577399</c:v>
                </c:pt>
                <c:pt idx="29717">
                  <c:v>0.52999821651506995</c:v>
                </c:pt>
                <c:pt idx="29718">
                  <c:v>0.53001605136436603</c:v>
                </c:pt>
                <c:pt idx="29719">
                  <c:v>0.53003388621366099</c:v>
                </c:pt>
                <c:pt idx="29720">
                  <c:v>0.53005172106295695</c:v>
                </c:pt>
                <c:pt idx="29721">
                  <c:v>0.53006955591225202</c:v>
                </c:pt>
                <c:pt idx="29722">
                  <c:v>0.53008739076154798</c:v>
                </c:pt>
                <c:pt idx="29723">
                  <c:v>0.53010522561084295</c:v>
                </c:pt>
                <c:pt idx="29724">
                  <c:v>0.53012306046013902</c:v>
                </c:pt>
                <c:pt idx="29725">
                  <c:v>0.53014089530943398</c:v>
                </c:pt>
                <c:pt idx="29726">
                  <c:v>0.53015873015873005</c:v>
                </c:pt>
                <c:pt idx="29727">
                  <c:v>0.53017656500802501</c:v>
                </c:pt>
                <c:pt idx="29728">
                  <c:v>0.53019439985732097</c:v>
                </c:pt>
                <c:pt idx="29729">
                  <c:v>0.53021223470661605</c:v>
                </c:pt>
                <c:pt idx="29730">
                  <c:v>0.53023006955591201</c:v>
                </c:pt>
                <c:pt idx="29731">
                  <c:v>0.53024790440520697</c:v>
                </c:pt>
                <c:pt idx="29732">
                  <c:v>0.53026573925450304</c:v>
                </c:pt>
                <c:pt idx="29733">
                  <c:v>0.53028357410379801</c:v>
                </c:pt>
                <c:pt idx="29734">
                  <c:v>0.53030140895309397</c:v>
                </c:pt>
                <c:pt idx="29735">
                  <c:v>0.53031924380238904</c:v>
                </c:pt>
                <c:pt idx="29736">
                  <c:v>0.530337078651685</c:v>
                </c:pt>
                <c:pt idx="29737">
                  <c:v>0.53035491350098096</c:v>
                </c:pt>
                <c:pt idx="29738">
                  <c:v>0.53037274835027604</c:v>
                </c:pt>
                <c:pt idx="29739">
                  <c:v>0.530390583199572</c:v>
                </c:pt>
                <c:pt idx="29740">
                  <c:v>0.53040841804886696</c:v>
                </c:pt>
                <c:pt idx="29741">
                  <c:v>0.53042625289816303</c:v>
                </c:pt>
                <c:pt idx="29742">
                  <c:v>0.53044408774745799</c:v>
                </c:pt>
                <c:pt idx="29743">
                  <c:v>0.53046192259675395</c:v>
                </c:pt>
                <c:pt idx="29744">
                  <c:v>0.53047975744604903</c:v>
                </c:pt>
                <c:pt idx="29745">
                  <c:v>0.53049759229534499</c:v>
                </c:pt>
                <c:pt idx="29746">
                  <c:v>0.53051542714463995</c:v>
                </c:pt>
                <c:pt idx="29747">
                  <c:v>0.53053326199393602</c:v>
                </c:pt>
                <c:pt idx="29748">
                  <c:v>0.53055109684323098</c:v>
                </c:pt>
                <c:pt idx="29749">
                  <c:v>0.53056893169252695</c:v>
                </c:pt>
                <c:pt idx="29750">
                  <c:v>0.53058676654182202</c:v>
                </c:pt>
                <c:pt idx="29751">
                  <c:v>0.53060460139111798</c:v>
                </c:pt>
                <c:pt idx="29752">
                  <c:v>0.53062243624041305</c:v>
                </c:pt>
                <c:pt idx="29753">
                  <c:v>0.53064027108970901</c:v>
                </c:pt>
                <c:pt idx="29754">
                  <c:v>0.53065810593900398</c:v>
                </c:pt>
                <c:pt idx="29755">
                  <c:v>0.53067594078830005</c:v>
                </c:pt>
                <c:pt idx="29756">
                  <c:v>0.53069377563759501</c:v>
                </c:pt>
                <c:pt idx="29757">
                  <c:v>0.53071161048689097</c:v>
                </c:pt>
                <c:pt idx="29758">
                  <c:v>0.53072944533618605</c:v>
                </c:pt>
                <c:pt idx="29759">
                  <c:v>0.53074728018548201</c:v>
                </c:pt>
                <c:pt idx="29760">
                  <c:v>0.53076511503477797</c:v>
                </c:pt>
                <c:pt idx="29761">
                  <c:v>0.53078294988407304</c:v>
                </c:pt>
                <c:pt idx="29762">
                  <c:v>0.530800784733369</c:v>
                </c:pt>
                <c:pt idx="29763">
                  <c:v>0.53081861958266396</c:v>
                </c:pt>
                <c:pt idx="29764">
                  <c:v>0.53083645443196004</c:v>
                </c:pt>
                <c:pt idx="29765">
                  <c:v>0.530854289281255</c:v>
                </c:pt>
                <c:pt idx="29766">
                  <c:v>0.53087212413055096</c:v>
                </c:pt>
                <c:pt idx="29767">
                  <c:v>0.53088995897984603</c:v>
                </c:pt>
                <c:pt idx="29768">
                  <c:v>0.53090779382914199</c:v>
                </c:pt>
                <c:pt idx="29769">
                  <c:v>0.53092562867843696</c:v>
                </c:pt>
                <c:pt idx="29770">
                  <c:v>0.53094346352773303</c:v>
                </c:pt>
                <c:pt idx="29771">
                  <c:v>0.53096129837702799</c:v>
                </c:pt>
                <c:pt idx="29772">
                  <c:v>0.53097913322632395</c:v>
                </c:pt>
                <c:pt idx="29773">
                  <c:v>0.53099696807561902</c:v>
                </c:pt>
                <c:pt idx="29774">
                  <c:v>0.53101480292491499</c:v>
                </c:pt>
                <c:pt idx="29775">
                  <c:v>0.53103263777420995</c:v>
                </c:pt>
                <c:pt idx="29776">
                  <c:v>0.53105047262350602</c:v>
                </c:pt>
                <c:pt idx="29777">
                  <c:v>0.53106830747280098</c:v>
                </c:pt>
                <c:pt idx="29778">
                  <c:v>0.53108614232209705</c:v>
                </c:pt>
                <c:pt idx="29779">
                  <c:v>0.53110397717139202</c:v>
                </c:pt>
                <c:pt idx="29780">
                  <c:v>0.53112181202068798</c:v>
                </c:pt>
                <c:pt idx="29781">
                  <c:v>0.53113964686998305</c:v>
                </c:pt>
                <c:pt idx="29782">
                  <c:v>0.53115748171927901</c:v>
                </c:pt>
                <c:pt idx="29783">
                  <c:v>0.53117531656857497</c:v>
                </c:pt>
                <c:pt idx="29784">
                  <c:v>0.53119315141787005</c:v>
                </c:pt>
                <c:pt idx="29785">
                  <c:v>0.53121098626716601</c:v>
                </c:pt>
                <c:pt idx="29786">
                  <c:v>0.53122882111646097</c:v>
                </c:pt>
                <c:pt idx="29787">
                  <c:v>0.53124665596575704</c:v>
                </c:pt>
                <c:pt idx="29788">
                  <c:v>0.531264490815052</c:v>
                </c:pt>
                <c:pt idx="29789">
                  <c:v>0.53128232566434797</c:v>
                </c:pt>
                <c:pt idx="29790">
                  <c:v>0.53130016051364304</c:v>
                </c:pt>
                <c:pt idx="29791">
                  <c:v>0.531317995362939</c:v>
                </c:pt>
                <c:pt idx="29792">
                  <c:v>0.53133583021223396</c:v>
                </c:pt>
                <c:pt idx="29793">
                  <c:v>0.53135366506153003</c:v>
                </c:pt>
                <c:pt idx="29794">
                  <c:v>0.531371499910825</c:v>
                </c:pt>
                <c:pt idx="29795">
                  <c:v>0.53138933476012096</c:v>
                </c:pt>
                <c:pt idx="29796">
                  <c:v>0.53140716960941603</c:v>
                </c:pt>
                <c:pt idx="29797">
                  <c:v>0.53142500445871199</c:v>
                </c:pt>
                <c:pt idx="29798">
                  <c:v>0.53144283930800695</c:v>
                </c:pt>
                <c:pt idx="29799">
                  <c:v>0.53146067415730303</c:v>
                </c:pt>
                <c:pt idx="29800">
                  <c:v>0.53147850900659799</c:v>
                </c:pt>
                <c:pt idx="29801">
                  <c:v>0.53149634385589395</c:v>
                </c:pt>
                <c:pt idx="29802">
                  <c:v>0.53151417870518902</c:v>
                </c:pt>
                <c:pt idx="29803">
                  <c:v>0.53153201355448498</c:v>
                </c:pt>
                <c:pt idx="29804">
                  <c:v>0.53154984840378094</c:v>
                </c:pt>
                <c:pt idx="29805">
                  <c:v>0.53156768325307602</c:v>
                </c:pt>
                <c:pt idx="29806">
                  <c:v>0.53158551810237198</c:v>
                </c:pt>
                <c:pt idx="29807">
                  <c:v>0.53160335295166705</c:v>
                </c:pt>
                <c:pt idx="29808">
                  <c:v>0.53162118780096301</c:v>
                </c:pt>
                <c:pt idx="29809">
                  <c:v>0.53163902265025798</c:v>
                </c:pt>
                <c:pt idx="29810">
                  <c:v>0.53165685749955405</c:v>
                </c:pt>
                <c:pt idx="29811">
                  <c:v>0.53167469234884901</c:v>
                </c:pt>
                <c:pt idx="29812">
                  <c:v>0.53169252719814497</c:v>
                </c:pt>
                <c:pt idx="29813">
                  <c:v>0.53171036204744004</c:v>
                </c:pt>
                <c:pt idx="29814">
                  <c:v>0.53172819689673601</c:v>
                </c:pt>
                <c:pt idx="29815">
                  <c:v>0.53174603174603097</c:v>
                </c:pt>
                <c:pt idx="29816">
                  <c:v>0.53176386659532704</c:v>
                </c:pt>
                <c:pt idx="29817">
                  <c:v>0.531781701444622</c:v>
                </c:pt>
                <c:pt idx="29818">
                  <c:v>0.53179953629391796</c:v>
                </c:pt>
                <c:pt idx="29819">
                  <c:v>0.53181737114321304</c:v>
                </c:pt>
                <c:pt idx="29820">
                  <c:v>0.531835205992509</c:v>
                </c:pt>
                <c:pt idx="29821">
                  <c:v>0.53185304084180396</c:v>
                </c:pt>
                <c:pt idx="29822">
                  <c:v>0.53187087569110003</c:v>
                </c:pt>
                <c:pt idx="29823">
                  <c:v>0.53188871054039499</c:v>
                </c:pt>
                <c:pt idx="29824">
                  <c:v>0.53190654538969095</c:v>
                </c:pt>
                <c:pt idx="29825">
                  <c:v>0.53192438023898703</c:v>
                </c:pt>
                <c:pt idx="29826">
                  <c:v>0.53194221508828199</c:v>
                </c:pt>
                <c:pt idx="29827">
                  <c:v>0.53196004993757795</c:v>
                </c:pt>
                <c:pt idx="29828">
                  <c:v>0.53197788478687302</c:v>
                </c:pt>
                <c:pt idx="29829">
                  <c:v>0.53199571963616898</c:v>
                </c:pt>
                <c:pt idx="29830">
                  <c:v>0.53201355448546395</c:v>
                </c:pt>
                <c:pt idx="29831">
                  <c:v>0.53203138933476002</c:v>
                </c:pt>
                <c:pt idx="29832">
                  <c:v>0.53204922418405498</c:v>
                </c:pt>
                <c:pt idx="29833">
                  <c:v>0.53206705903335105</c:v>
                </c:pt>
                <c:pt idx="29834">
                  <c:v>0.53208489388264602</c:v>
                </c:pt>
                <c:pt idx="29835">
                  <c:v>0.53210272873194198</c:v>
                </c:pt>
                <c:pt idx="29836">
                  <c:v>0.53212056358123705</c:v>
                </c:pt>
                <c:pt idx="29837">
                  <c:v>0.53213839843053301</c:v>
                </c:pt>
                <c:pt idx="29838">
                  <c:v>0.53215623327982797</c:v>
                </c:pt>
                <c:pt idx="29839">
                  <c:v>0.53217406812912404</c:v>
                </c:pt>
                <c:pt idx="29840">
                  <c:v>0.53219190297841901</c:v>
                </c:pt>
                <c:pt idx="29841">
                  <c:v>0.53220973782771497</c:v>
                </c:pt>
                <c:pt idx="29842">
                  <c:v>0.53222757267701004</c:v>
                </c:pt>
                <c:pt idx="29843">
                  <c:v>0.532245407526306</c:v>
                </c:pt>
                <c:pt idx="29844">
                  <c:v>0.53226324237560196</c:v>
                </c:pt>
                <c:pt idx="29845">
                  <c:v>0.53228107722489704</c:v>
                </c:pt>
                <c:pt idx="29846">
                  <c:v>0.532298912074193</c:v>
                </c:pt>
                <c:pt idx="29847">
                  <c:v>0.53231674692348796</c:v>
                </c:pt>
                <c:pt idx="29848">
                  <c:v>0.53233458177278403</c:v>
                </c:pt>
                <c:pt idx="29849">
                  <c:v>0.53235241662207899</c:v>
                </c:pt>
                <c:pt idx="29850">
                  <c:v>0.53237025147137496</c:v>
                </c:pt>
                <c:pt idx="29851">
                  <c:v>0.53238808632067003</c:v>
                </c:pt>
                <c:pt idx="29852">
                  <c:v>0.53240592116996599</c:v>
                </c:pt>
                <c:pt idx="29853">
                  <c:v>0.53242375601926095</c:v>
                </c:pt>
                <c:pt idx="29854">
                  <c:v>0.53244159086855702</c:v>
                </c:pt>
                <c:pt idx="29855">
                  <c:v>0.53245942571785199</c:v>
                </c:pt>
                <c:pt idx="29856">
                  <c:v>0.53247726056714795</c:v>
                </c:pt>
                <c:pt idx="29857">
                  <c:v>0.53249509541644302</c:v>
                </c:pt>
                <c:pt idx="29858">
                  <c:v>0.53251293026573898</c:v>
                </c:pt>
                <c:pt idx="29859">
                  <c:v>0.53253076511503405</c:v>
                </c:pt>
                <c:pt idx="29860">
                  <c:v>0.53254859996433002</c:v>
                </c:pt>
                <c:pt idx="29861">
                  <c:v>0.53256643481362498</c:v>
                </c:pt>
                <c:pt idx="29862">
                  <c:v>0.53258426966292105</c:v>
                </c:pt>
                <c:pt idx="29863">
                  <c:v>0.53260210451221601</c:v>
                </c:pt>
                <c:pt idx="29864">
                  <c:v>0.53261993936151197</c:v>
                </c:pt>
                <c:pt idx="29865">
                  <c:v>0.53263777421080705</c:v>
                </c:pt>
                <c:pt idx="29866">
                  <c:v>0.53265560906010301</c:v>
                </c:pt>
                <c:pt idx="29867">
                  <c:v>0.53267344390939897</c:v>
                </c:pt>
                <c:pt idx="29868">
                  <c:v>0.53269127875869404</c:v>
                </c:pt>
                <c:pt idx="29869">
                  <c:v>0.53270911360799</c:v>
                </c:pt>
                <c:pt idx="29870">
                  <c:v>0.53272694845728497</c:v>
                </c:pt>
                <c:pt idx="29871">
                  <c:v>0.53274478330658104</c:v>
                </c:pt>
                <c:pt idx="29872">
                  <c:v>0.532762618155876</c:v>
                </c:pt>
                <c:pt idx="29873">
                  <c:v>0.53278045300517196</c:v>
                </c:pt>
                <c:pt idx="29874">
                  <c:v>0.53279828785446703</c:v>
                </c:pt>
                <c:pt idx="29875">
                  <c:v>0.532816122703763</c:v>
                </c:pt>
                <c:pt idx="29876">
                  <c:v>0.53283395755305796</c:v>
                </c:pt>
                <c:pt idx="29877">
                  <c:v>0.53285179240235403</c:v>
                </c:pt>
                <c:pt idx="29878">
                  <c:v>0.53286962725164899</c:v>
                </c:pt>
                <c:pt idx="29879">
                  <c:v>0.53288746210094495</c:v>
                </c:pt>
                <c:pt idx="29880">
                  <c:v>0.53290529695024003</c:v>
                </c:pt>
                <c:pt idx="29881">
                  <c:v>0.53292313179953599</c:v>
                </c:pt>
                <c:pt idx="29882">
                  <c:v>0.53294096664883095</c:v>
                </c:pt>
                <c:pt idx="29883">
                  <c:v>0.53295880149812702</c:v>
                </c:pt>
                <c:pt idx="29884">
                  <c:v>0.53297663634742198</c:v>
                </c:pt>
                <c:pt idx="29885">
                  <c:v>0.53299447119671794</c:v>
                </c:pt>
                <c:pt idx="29886">
                  <c:v>0.53301230604601302</c:v>
                </c:pt>
                <c:pt idx="29887">
                  <c:v>0.53303014089530898</c:v>
                </c:pt>
                <c:pt idx="29888">
                  <c:v>0.53304797574460405</c:v>
                </c:pt>
                <c:pt idx="29889">
                  <c:v>0.53306581059390001</c:v>
                </c:pt>
                <c:pt idx="29890">
                  <c:v>0.53308364544319597</c:v>
                </c:pt>
                <c:pt idx="29891">
                  <c:v>0.53310148029249105</c:v>
                </c:pt>
                <c:pt idx="29892">
                  <c:v>0.53311931514178701</c:v>
                </c:pt>
                <c:pt idx="29893">
                  <c:v>0.53313714999108197</c:v>
                </c:pt>
                <c:pt idx="29894">
                  <c:v>0.53315498484037804</c:v>
                </c:pt>
                <c:pt idx="29895">
                  <c:v>0.53317281968967301</c:v>
                </c:pt>
                <c:pt idx="29896">
                  <c:v>0.53319065453896897</c:v>
                </c:pt>
                <c:pt idx="29897">
                  <c:v>0.53320848938826404</c:v>
                </c:pt>
                <c:pt idx="29898">
                  <c:v>0.53322632423756</c:v>
                </c:pt>
                <c:pt idx="29899">
                  <c:v>0.53324415908685496</c:v>
                </c:pt>
                <c:pt idx="29900">
                  <c:v>0.53326199393615104</c:v>
                </c:pt>
                <c:pt idx="29901">
                  <c:v>0.533279828785446</c:v>
                </c:pt>
                <c:pt idx="29902">
                  <c:v>0.53329766363474196</c:v>
                </c:pt>
                <c:pt idx="29903">
                  <c:v>0.53331549848403703</c:v>
                </c:pt>
                <c:pt idx="29904">
                  <c:v>0.53333333333333299</c:v>
                </c:pt>
                <c:pt idx="29905">
                  <c:v>0.53335116818262795</c:v>
                </c:pt>
                <c:pt idx="29906">
                  <c:v>0.53336900303192403</c:v>
                </c:pt>
                <c:pt idx="29907">
                  <c:v>0.53338683788121899</c:v>
                </c:pt>
                <c:pt idx="29908">
                  <c:v>0.53340467273051495</c:v>
                </c:pt>
                <c:pt idx="29909">
                  <c:v>0.53342250757981002</c:v>
                </c:pt>
                <c:pt idx="29910">
                  <c:v>0.53344034242910598</c:v>
                </c:pt>
                <c:pt idx="29911">
                  <c:v>0.53345817727840195</c:v>
                </c:pt>
                <c:pt idx="29912">
                  <c:v>0.53347601212769702</c:v>
                </c:pt>
                <c:pt idx="29913">
                  <c:v>0.53349384697699298</c:v>
                </c:pt>
                <c:pt idx="29914">
                  <c:v>0.53351168182628805</c:v>
                </c:pt>
                <c:pt idx="29915">
                  <c:v>0.53352951667558401</c:v>
                </c:pt>
                <c:pt idx="29916">
                  <c:v>0.53354735152487898</c:v>
                </c:pt>
                <c:pt idx="29917">
                  <c:v>0.53356518637417505</c:v>
                </c:pt>
                <c:pt idx="29918">
                  <c:v>0.53358302122347001</c:v>
                </c:pt>
                <c:pt idx="29919">
                  <c:v>0.53360085607276597</c:v>
                </c:pt>
                <c:pt idx="29920">
                  <c:v>0.53361869092206105</c:v>
                </c:pt>
                <c:pt idx="29921">
                  <c:v>0.53363652577135701</c:v>
                </c:pt>
                <c:pt idx="29922">
                  <c:v>0.53365436062065197</c:v>
                </c:pt>
                <c:pt idx="29923">
                  <c:v>0.53367219546994804</c:v>
                </c:pt>
                <c:pt idx="29924">
                  <c:v>0.533690030319243</c:v>
                </c:pt>
                <c:pt idx="29925">
                  <c:v>0.53370786516853896</c:v>
                </c:pt>
                <c:pt idx="29926">
                  <c:v>0.53372570001783404</c:v>
                </c:pt>
                <c:pt idx="29927">
                  <c:v>0.53374353486713</c:v>
                </c:pt>
                <c:pt idx="29928">
                  <c:v>0.53376136971642496</c:v>
                </c:pt>
                <c:pt idx="29929">
                  <c:v>0.53377920456572103</c:v>
                </c:pt>
                <c:pt idx="29930">
                  <c:v>0.53379703941501699</c:v>
                </c:pt>
                <c:pt idx="29931">
                  <c:v>0.53381487426431196</c:v>
                </c:pt>
                <c:pt idx="29932">
                  <c:v>0.53383270911360803</c:v>
                </c:pt>
                <c:pt idx="29933">
                  <c:v>0.53385054396290299</c:v>
                </c:pt>
                <c:pt idx="29934">
                  <c:v>0.53386837881219895</c:v>
                </c:pt>
                <c:pt idx="29935">
                  <c:v>0.53388621366149402</c:v>
                </c:pt>
                <c:pt idx="29936">
                  <c:v>0.53390404851078999</c:v>
                </c:pt>
                <c:pt idx="29937">
                  <c:v>0.53392188336008495</c:v>
                </c:pt>
                <c:pt idx="29938">
                  <c:v>0.53393971820938102</c:v>
                </c:pt>
                <c:pt idx="29939">
                  <c:v>0.53395755305867598</c:v>
                </c:pt>
                <c:pt idx="29940">
                  <c:v>0.53397538790797205</c:v>
                </c:pt>
                <c:pt idx="29941">
                  <c:v>0.53399322275726702</c:v>
                </c:pt>
                <c:pt idx="29942">
                  <c:v>0.53401105760656298</c:v>
                </c:pt>
                <c:pt idx="29943">
                  <c:v>0.53402889245585805</c:v>
                </c:pt>
                <c:pt idx="29944">
                  <c:v>0.53404672730515401</c:v>
                </c:pt>
                <c:pt idx="29945">
                  <c:v>0.53406456215444897</c:v>
                </c:pt>
                <c:pt idx="29946">
                  <c:v>0.53408239700374505</c:v>
                </c:pt>
                <c:pt idx="29947">
                  <c:v>0.53410023185304001</c:v>
                </c:pt>
                <c:pt idx="29948">
                  <c:v>0.53411806670233597</c:v>
                </c:pt>
                <c:pt idx="29949">
                  <c:v>0.53413590155163104</c:v>
                </c:pt>
                <c:pt idx="29950">
                  <c:v>0.534153736400927</c:v>
                </c:pt>
                <c:pt idx="29951">
                  <c:v>0.53417157125022297</c:v>
                </c:pt>
                <c:pt idx="29952">
                  <c:v>0.53418940609951804</c:v>
                </c:pt>
                <c:pt idx="29953">
                  <c:v>0.534207240948814</c:v>
                </c:pt>
                <c:pt idx="29954">
                  <c:v>0.53422507579810896</c:v>
                </c:pt>
                <c:pt idx="29955">
                  <c:v>0.53424291064740503</c:v>
                </c:pt>
                <c:pt idx="29956">
                  <c:v>0.5342607454967</c:v>
                </c:pt>
                <c:pt idx="29957">
                  <c:v>0.53427858034599596</c:v>
                </c:pt>
                <c:pt idx="29958">
                  <c:v>0.53429641519529103</c:v>
                </c:pt>
                <c:pt idx="29959">
                  <c:v>0.53431425004458699</c:v>
                </c:pt>
                <c:pt idx="29960">
                  <c:v>0.53433208489388195</c:v>
                </c:pt>
                <c:pt idx="29961">
                  <c:v>0.53434991974317803</c:v>
                </c:pt>
                <c:pt idx="29962">
                  <c:v>0.53436775459247299</c:v>
                </c:pt>
                <c:pt idx="29963">
                  <c:v>0.53438558944176895</c:v>
                </c:pt>
                <c:pt idx="29964">
                  <c:v>0.53440342429106402</c:v>
                </c:pt>
                <c:pt idx="29965">
                  <c:v>0.53442125914035998</c:v>
                </c:pt>
                <c:pt idx="29966">
                  <c:v>0.53443909398965495</c:v>
                </c:pt>
                <c:pt idx="29967">
                  <c:v>0.53445692883895102</c:v>
                </c:pt>
                <c:pt idx="29968">
                  <c:v>0.53447476368824598</c:v>
                </c:pt>
                <c:pt idx="29969">
                  <c:v>0.53449259853754205</c:v>
                </c:pt>
                <c:pt idx="29970">
                  <c:v>0.53451043338683701</c:v>
                </c:pt>
                <c:pt idx="29971">
                  <c:v>0.53452826823613298</c:v>
                </c:pt>
                <c:pt idx="29972">
                  <c:v>0.53454610308542805</c:v>
                </c:pt>
                <c:pt idx="29973">
                  <c:v>0.53456393793472401</c:v>
                </c:pt>
                <c:pt idx="29974">
                  <c:v>0.53458177278401997</c:v>
                </c:pt>
                <c:pt idx="29975">
                  <c:v>0.53459960763331504</c:v>
                </c:pt>
                <c:pt idx="29976">
                  <c:v>0.534617442482611</c:v>
                </c:pt>
                <c:pt idx="29977">
                  <c:v>0.53463527733190597</c:v>
                </c:pt>
                <c:pt idx="29978">
                  <c:v>0.53465311218120204</c:v>
                </c:pt>
                <c:pt idx="29979">
                  <c:v>0.534670947030497</c:v>
                </c:pt>
                <c:pt idx="29980">
                  <c:v>0.53468878187979296</c:v>
                </c:pt>
                <c:pt idx="29981">
                  <c:v>0.53470661672908804</c:v>
                </c:pt>
                <c:pt idx="29982">
                  <c:v>0.534724451578384</c:v>
                </c:pt>
                <c:pt idx="29983">
                  <c:v>0.53474228642767896</c:v>
                </c:pt>
                <c:pt idx="29984">
                  <c:v>0.53476012127697503</c:v>
                </c:pt>
                <c:pt idx="29985">
                  <c:v>0.53477795612626999</c:v>
                </c:pt>
                <c:pt idx="29986">
                  <c:v>0.53479579097556595</c:v>
                </c:pt>
                <c:pt idx="29987">
                  <c:v>0.53481362582486103</c:v>
                </c:pt>
                <c:pt idx="29988">
                  <c:v>0.53483146067415699</c:v>
                </c:pt>
                <c:pt idx="29989">
                  <c:v>0.53484929552345195</c:v>
                </c:pt>
                <c:pt idx="29990">
                  <c:v>0.53486713037274802</c:v>
                </c:pt>
                <c:pt idx="29991">
                  <c:v>0.53488496522204299</c:v>
                </c:pt>
                <c:pt idx="29992">
                  <c:v>0.53490280007133895</c:v>
                </c:pt>
                <c:pt idx="29993">
                  <c:v>0.53492063492063402</c:v>
                </c:pt>
                <c:pt idx="29994">
                  <c:v>0.53493846976992998</c:v>
                </c:pt>
                <c:pt idx="29995">
                  <c:v>0.53495630461922505</c:v>
                </c:pt>
                <c:pt idx="29996">
                  <c:v>0.53497413946852101</c:v>
                </c:pt>
                <c:pt idx="29997">
                  <c:v>0.53499197431781698</c:v>
                </c:pt>
                <c:pt idx="29998">
                  <c:v>0.53500980916711205</c:v>
                </c:pt>
                <c:pt idx="29999">
                  <c:v>0.53502764401640801</c:v>
                </c:pt>
                <c:pt idx="30000">
                  <c:v>0.53504547886570297</c:v>
                </c:pt>
                <c:pt idx="30001">
                  <c:v>0.53506331371499904</c:v>
                </c:pt>
                <c:pt idx="30002">
                  <c:v>0.53508114856429401</c:v>
                </c:pt>
                <c:pt idx="30003">
                  <c:v>0.53509898341358997</c:v>
                </c:pt>
                <c:pt idx="30004">
                  <c:v>0.53511681826288504</c:v>
                </c:pt>
                <c:pt idx="30005">
                  <c:v>0.535134653112181</c:v>
                </c:pt>
                <c:pt idx="30006">
                  <c:v>0.53515248796147596</c:v>
                </c:pt>
                <c:pt idx="30007">
                  <c:v>0.53517032281077204</c:v>
                </c:pt>
                <c:pt idx="30008">
                  <c:v>0.535188157660067</c:v>
                </c:pt>
                <c:pt idx="30009">
                  <c:v>0.53520599250936296</c:v>
                </c:pt>
                <c:pt idx="30010">
                  <c:v>0.53522382735865803</c:v>
                </c:pt>
                <c:pt idx="30011">
                  <c:v>0.53524166220795399</c:v>
                </c:pt>
                <c:pt idx="30012">
                  <c:v>0.53525949705724896</c:v>
                </c:pt>
                <c:pt idx="30013">
                  <c:v>0.53527733190654503</c:v>
                </c:pt>
                <c:pt idx="30014">
                  <c:v>0.53529516675583999</c:v>
                </c:pt>
                <c:pt idx="30015">
                  <c:v>0.53531300160513595</c:v>
                </c:pt>
                <c:pt idx="30016">
                  <c:v>0.53533083645443102</c:v>
                </c:pt>
                <c:pt idx="30017">
                  <c:v>0.53534867130372699</c:v>
                </c:pt>
                <c:pt idx="30018">
                  <c:v>0.53536650615302295</c:v>
                </c:pt>
                <c:pt idx="30019">
                  <c:v>0.53538434100231802</c:v>
                </c:pt>
                <c:pt idx="30020">
                  <c:v>0.53540217585161398</c:v>
                </c:pt>
                <c:pt idx="30021">
                  <c:v>0.53542001070090905</c:v>
                </c:pt>
                <c:pt idx="30022">
                  <c:v>0.53543784555020502</c:v>
                </c:pt>
                <c:pt idx="30023">
                  <c:v>0.53545568039949998</c:v>
                </c:pt>
                <c:pt idx="30024">
                  <c:v>0.53547351524879605</c:v>
                </c:pt>
                <c:pt idx="30025">
                  <c:v>0.53549135009809101</c:v>
                </c:pt>
                <c:pt idx="30026">
                  <c:v>0.53550918494738697</c:v>
                </c:pt>
                <c:pt idx="30027">
                  <c:v>0.53552701979668205</c:v>
                </c:pt>
                <c:pt idx="30028">
                  <c:v>0.53554485464597801</c:v>
                </c:pt>
                <c:pt idx="30029">
                  <c:v>0.53556268949527297</c:v>
                </c:pt>
                <c:pt idx="30030">
                  <c:v>0.53558052434456904</c:v>
                </c:pt>
                <c:pt idx="30031">
                  <c:v>0.535598359193864</c:v>
                </c:pt>
                <c:pt idx="30032">
                  <c:v>0.53561619404315997</c:v>
                </c:pt>
                <c:pt idx="30033">
                  <c:v>0.53563402889245504</c:v>
                </c:pt>
                <c:pt idx="30034">
                  <c:v>0.535651863741751</c:v>
                </c:pt>
                <c:pt idx="30035">
                  <c:v>0.53566969859104696</c:v>
                </c:pt>
                <c:pt idx="30036">
                  <c:v>0.53568753344034203</c:v>
                </c:pt>
                <c:pt idx="30037">
                  <c:v>0.535705368289638</c:v>
                </c:pt>
                <c:pt idx="30038">
                  <c:v>0.53572320313893296</c:v>
                </c:pt>
                <c:pt idx="30039">
                  <c:v>0.53574103798822903</c:v>
                </c:pt>
                <c:pt idx="30040">
                  <c:v>0.53575887283752399</c:v>
                </c:pt>
                <c:pt idx="30041">
                  <c:v>0.53577670768681995</c:v>
                </c:pt>
                <c:pt idx="30042">
                  <c:v>0.53579454253611503</c:v>
                </c:pt>
                <c:pt idx="30043">
                  <c:v>0.53581237738541099</c:v>
                </c:pt>
                <c:pt idx="30044">
                  <c:v>0.53583021223470595</c:v>
                </c:pt>
                <c:pt idx="30045">
                  <c:v>0.53584804708400202</c:v>
                </c:pt>
                <c:pt idx="30046">
                  <c:v>0.53586588193329698</c:v>
                </c:pt>
                <c:pt idx="30047">
                  <c:v>0.53588371678259294</c:v>
                </c:pt>
                <c:pt idx="30048">
                  <c:v>0.53590155163188802</c:v>
                </c:pt>
                <c:pt idx="30049">
                  <c:v>0.53591938648118398</c:v>
                </c:pt>
                <c:pt idx="30050">
                  <c:v>0.53593722133047905</c:v>
                </c:pt>
                <c:pt idx="30051">
                  <c:v>0.53595505617977501</c:v>
                </c:pt>
                <c:pt idx="30052">
                  <c:v>0.53597289102906998</c:v>
                </c:pt>
                <c:pt idx="30053">
                  <c:v>0.53599072587836605</c:v>
                </c:pt>
                <c:pt idx="30054">
                  <c:v>0.53600856072766101</c:v>
                </c:pt>
                <c:pt idx="30055">
                  <c:v>0.53602639557695697</c:v>
                </c:pt>
                <c:pt idx="30056">
                  <c:v>0.53604423042625204</c:v>
                </c:pt>
                <c:pt idx="30057">
                  <c:v>0.53606206527554801</c:v>
                </c:pt>
                <c:pt idx="30058">
                  <c:v>0.53607990012484397</c:v>
                </c:pt>
                <c:pt idx="30059">
                  <c:v>0.53609773497413904</c:v>
                </c:pt>
                <c:pt idx="30060">
                  <c:v>0.536115569823435</c:v>
                </c:pt>
                <c:pt idx="30061">
                  <c:v>0.53613340467272996</c:v>
                </c:pt>
                <c:pt idx="30062">
                  <c:v>0.53615123952202604</c:v>
                </c:pt>
                <c:pt idx="30063">
                  <c:v>0.536169074371321</c:v>
                </c:pt>
                <c:pt idx="30064">
                  <c:v>0.53618690922061696</c:v>
                </c:pt>
                <c:pt idx="30065">
                  <c:v>0.53620474406991203</c:v>
                </c:pt>
                <c:pt idx="30066">
                  <c:v>0.53622257891920799</c:v>
                </c:pt>
                <c:pt idx="30067">
                  <c:v>0.53624041376850295</c:v>
                </c:pt>
                <c:pt idx="30068">
                  <c:v>0.53625824861779903</c:v>
                </c:pt>
                <c:pt idx="30069">
                  <c:v>0.53627608346709399</c:v>
                </c:pt>
                <c:pt idx="30070">
                  <c:v>0.53629391831638995</c:v>
                </c:pt>
                <c:pt idx="30071">
                  <c:v>0.53631175316568502</c:v>
                </c:pt>
                <c:pt idx="30072">
                  <c:v>0.53632958801498098</c:v>
                </c:pt>
                <c:pt idx="30073">
                  <c:v>0.53634742286427595</c:v>
                </c:pt>
                <c:pt idx="30074">
                  <c:v>0.53636525771357202</c:v>
                </c:pt>
                <c:pt idx="30075">
                  <c:v>0.53638309256286698</c:v>
                </c:pt>
                <c:pt idx="30076">
                  <c:v>0.53640092741216305</c:v>
                </c:pt>
                <c:pt idx="30077">
                  <c:v>0.53641876226145802</c:v>
                </c:pt>
                <c:pt idx="30078">
                  <c:v>0.53643659711075398</c:v>
                </c:pt>
                <c:pt idx="30079">
                  <c:v>0.53645443196004905</c:v>
                </c:pt>
                <c:pt idx="30080">
                  <c:v>0.53647226680934501</c:v>
                </c:pt>
                <c:pt idx="30081">
                  <c:v>0.53649010165864097</c:v>
                </c:pt>
                <c:pt idx="30082">
                  <c:v>0.53650793650793605</c:v>
                </c:pt>
                <c:pt idx="30083">
                  <c:v>0.53652577135723201</c:v>
                </c:pt>
                <c:pt idx="30084">
                  <c:v>0.53654360620652697</c:v>
                </c:pt>
                <c:pt idx="30085">
                  <c:v>0.53656144105582304</c:v>
                </c:pt>
                <c:pt idx="30086">
                  <c:v>0.536579275905118</c:v>
                </c:pt>
                <c:pt idx="30087">
                  <c:v>0.53659711075441396</c:v>
                </c:pt>
                <c:pt idx="30088">
                  <c:v>0.53661494560370904</c:v>
                </c:pt>
                <c:pt idx="30089">
                  <c:v>0.536632780453005</c:v>
                </c:pt>
                <c:pt idx="30090">
                  <c:v>0.53665061530229996</c:v>
                </c:pt>
                <c:pt idx="30091">
                  <c:v>0.53666845015159603</c:v>
                </c:pt>
                <c:pt idx="30092">
                  <c:v>0.53668628500089099</c:v>
                </c:pt>
                <c:pt idx="30093">
                  <c:v>0.53670411985018696</c:v>
                </c:pt>
                <c:pt idx="30094">
                  <c:v>0.53672195469948203</c:v>
                </c:pt>
                <c:pt idx="30095">
                  <c:v>0.53673978954877799</c:v>
                </c:pt>
                <c:pt idx="30096">
                  <c:v>0.53675762439807295</c:v>
                </c:pt>
                <c:pt idx="30097">
                  <c:v>0.53677545924736902</c:v>
                </c:pt>
                <c:pt idx="30098">
                  <c:v>0.53679329409666399</c:v>
                </c:pt>
                <c:pt idx="30099">
                  <c:v>0.53681112894595995</c:v>
                </c:pt>
                <c:pt idx="30100">
                  <c:v>0.53682896379525502</c:v>
                </c:pt>
                <c:pt idx="30101">
                  <c:v>0.53684679864455098</c:v>
                </c:pt>
                <c:pt idx="30102">
                  <c:v>0.53686463349384606</c:v>
                </c:pt>
                <c:pt idx="30103">
                  <c:v>0.53688246834314202</c:v>
                </c:pt>
                <c:pt idx="30104">
                  <c:v>0.53690030319243798</c:v>
                </c:pt>
                <c:pt idx="30105">
                  <c:v>0.53691813804173305</c:v>
                </c:pt>
                <c:pt idx="30106">
                  <c:v>0.53693597289102901</c:v>
                </c:pt>
                <c:pt idx="30107">
                  <c:v>0.53695380774032397</c:v>
                </c:pt>
                <c:pt idx="30108">
                  <c:v>0.53697164258962005</c:v>
                </c:pt>
                <c:pt idx="30109">
                  <c:v>0.53698947743891501</c:v>
                </c:pt>
                <c:pt idx="30110">
                  <c:v>0.53700731228821097</c:v>
                </c:pt>
                <c:pt idx="30111">
                  <c:v>0.53702514713750604</c:v>
                </c:pt>
                <c:pt idx="30112">
                  <c:v>0.537042981986802</c:v>
                </c:pt>
                <c:pt idx="30113">
                  <c:v>0.53706081683609697</c:v>
                </c:pt>
                <c:pt idx="30114">
                  <c:v>0.53707865168539304</c:v>
                </c:pt>
                <c:pt idx="30115">
                  <c:v>0.537096486534688</c:v>
                </c:pt>
                <c:pt idx="30116">
                  <c:v>0.53711432138398396</c:v>
                </c:pt>
                <c:pt idx="30117">
                  <c:v>0.53713215623327903</c:v>
                </c:pt>
                <c:pt idx="30118">
                  <c:v>0.537149991082575</c:v>
                </c:pt>
                <c:pt idx="30119">
                  <c:v>0.53716782593186996</c:v>
                </c:pt>
                <c:pt idx="30120">
                  <c:v>0.53718566078116603</c:v>
                </c:pt>
                <c:pt idx="30121">
                  <c:v>0.53720349563046099</c:v>
                </c:pt>
                <c:pt idx="30122">
                  <c:v>0.53722133047975695</c:v>
                </c:pt>
                <c:pt idx="30123">
                  <c:v>0.53723916532905203</c:v>
                </c:pt>
                <c:pt idx="30124">
                  <c:v>0.53725700017834799</c:v>
                </c:pt>
                <c:pt idx="30125">
                  <c:v>0.53727483502764395</c:v>
                </c:pt>
                <c:pt idx="30126">
                  <c:v>0.53729266987693902</c:v>
                </c:pt>
                <c:pt idx="30127">
                  <c:v>0.53731050472623498</c:v>
                </c:pt>
                <c:pt idx="30128">
                  <c:v>0.53732833957552995</c:v>
                </c:pt>
                <c:pt idx="30129">
                  <c:v>0.53734617442482602</c:v>
                </c:pt>
                <c:pt idx="30130">
                  <c:v>0.53736400927412098</c:v>
                </c:pt>
                <c:pt idx="30131">
                  <c:v>0.53738184412341705</c:v>
                </c:pt>
                <c:pt idx="30132">
                  <c:v>0.53739967897271201</c:v>
                </c:pt>
                <c:pt idx="30133">
                  <c:v>0.53741751382200798</c:v>
                </c:pt>
                <c:pt idx="30134">
                  <c:v>0.53743534867130305</c:v>
                </c:pt>
                <c:pt idx="30135">
                  <c:v>0.53745318352059901</c:v>
                </c:pt>
                <c:pt idx="30136">
                  <c:v>0.53747101836989397</c:v>
                </c:pt>
                <c:pt idx="30137">
                  <c:v>0.53748885321919004</c:v>
                </c:pt>
                <c:pt idx="30138">
                  <c:v>0.53750668806848501</c:v>
                </c:pt>
                <c:pt idx="30139">
                  <c:v>0.53752452291778097</c:v>
                </c:pt>
                <c:pt idx="30140">
                  <c:v>0.53754235776707604</c:v>
                </c:pt>
                <c:pt idx="30141">
                  <c:v>0.537560192616372</c:v>
                </c:pt>
                <c:pt idx="30142">
                  <c:v>0.53757802746566796</c:v>
                </c:pt>
                <c:pt idx="30143">
                  <c:v>0.53759586231496304</c:v>
                </c:pt>
                <c:pt idx="30144">
                  <c:v>0.537613697164259</c:v>
                </c:pt>
                <c:pt idx="30145">
                  <c:v>0.53763153201355396</c:v>
                </c:pt>
                <c:pt idx="30146">
                  <c:v>0.53764936686285003</c:v>
                </c:pt>
                <c:pt idx="30147">
                  <c:v>0.53766720171214499</c:v>
                </c:pt>
                <c:pt idx="30148">
                  <c:v>0.53768503656144095</c:v>
                </c:pt>
                <c:pt idx="30149">
                  <c:v>0.53770287141073603</c:v>
                </c:pt>
                <c:pt idx="30150">
                  <c:v>0.53772070626003199</c:v>
                </c:pt>
                <c:pt idx="30151">
                  <c:v>0.53773854110932695</c:v>
                </c:pt>
                <c:pt idx="30152">
                  <c:v>0.53775637595862302</c:v>
                </c:pt>
                <c:pt idx="30153">
                  <c:v>0.53777421080791799</c:v>
                </c:pt>
                <c:pt idx="30154">
                  <c:v>0.53779204565721395</c:v>
                </c:pt>
                <c:pt idx="30155">
                  <c:v>0.53780988050650902</c:v>
                </c:pt>
                <c:pt idx="30156">
                  <c:v>0.53782771535580498</c:v>
                </c:pt>
                <c:pt idx="30157">
                  <c:v>0.53784555020510005</c:v>
                </c:pt>
                <c:pt idx="30158">
                  <c:v>0.53786338505439601</c:v>
                </c:pt>
                <c:pt idx="30159">
                  <c:v>0.53788121990369098</c:v>
                </c:pt>
                <c:pt idx="30160">
                  <c:v>0.53789905475298705</c:v>
                </c:pt>
                <c:pt idx="30161">
                  <c:v>0.53791688960228201</c:v>
                </c:pt>
                <c:pt idx="30162">
                  <c:v>0.53793472445157797</c:v>
                </c:pt>
                <c:pt idx="30163">
                  <c:v>0.53795255930087305</c:v>
                </c:pt>
                <c:pt idx="30164">
                  <c:v>0.53797039415016901</c:v>
                </c:pt>
                <c:pt idx="30165">
                  <c:v>0.53798822899946497</c:v>
                </c:pt>
                <c:pt idx="30166">
                  <c:v>0.53800606384876004</c:v>
                </c:pt>
                <c:pt idx="30167">
                  <c:v>0.538023898698056</c:v>
                </c:pt>
                <c:pt idx="30168">
                  <c:v>0.53804173354735096</c:v>
                </c:pt>
                <c:pt idx="30169">
                  <c:v>0.53805956839664704</c:v>
                </c:pt>
                <c:pt idx="30170">
                  <c:v>0.538077403245942</c:v>
                </c:pt>
                <c:pt idx="30171">
                  <c:v>0.53809523809523796</c:v>
                </c:pt>
                <c:pt idx="30172">
                  <c:v>0.53811307294453303</c:v>
                </c:pt>
                <c:pt idx="30173">
                  <c:v>0.53813090779382899</c:v>
                </c:pt>
                <c:pt idx="30174">
                  <c:v>0.53814874264312396</c:v>
                </c:pt>
                <c:pt idx="30175">
                  <c:v>0.53816657749242003</c:v>
                </c:pt>
                <c:pt idx="30176">
                  <c:v>0.53818441234171499</c:v>
                </c:pt>
                <c:pt idx="30177">
                  <c:v>0.53820224719101095</c:v>
                </c:pt>
                <c:pt idx="30178">
                  <c:v>0.53822008204030602</c:v>
                </c:pt>
                <c:pt idx="30179">
                  <c:v>0.53823791688960199</c:v>
                </c:pt>
                <c:pt idx="30180">
                  <c:v>0.53825575173889695</c:v>
                </c:pt>
                <c:pt idx="30181">
                  <c:v>0.53827358658819302</c:v>
                </c:pt>
                <c:pt idx="30182">
                  <c:v>0.53829142143748798</c:v>
                </c:pt>
                <c:pt idx="30183">
                  <c:v>0.53830925628678405</c:v>
                </c:pt>
                <c:pt idx="30184">
                  <c:v>0.53832709113607902</c:v>
                </c:pt>
                <c:pt idx="30185">
                  <c:v>0.53834492598537498</c:v>
                </c:pt>
                <c:pt idx="30186">
                  <c:v>0.53836276083467005</c:v>
                </c:pt>
                <c:pt idx="30187">
                  <c:v>0.53838059568396601</c:v>
                </c:pt>
                <c:pt idx="30188">
                  <c:v>0.53839843053326197</c:v>
                </c:pt>
                <c:pt idx="30189">
                  <c:v>0.53841626538255705</c:v>
                </c:pt>
                <c:pt idx="30190">
                  <c:v>0.53843410023185301</c:v>
                </c:pt>
                <c:pt idx="30191">
                  <c:v>0.53845193508114797</c:v>
                </c:pt>
                <c:pt idx="30192">
                  <c:v>0.53846976993044404</c:v>
                </c:pt>
                <c:pt idx="30193">
                  <c:v>0.538487604779739</c:v>
                </c:pt>
                <c:pt idx="30194">
                  <c:v>0.53850543962903497</c:v>
                </c:pt>
                <c:pt idx="30195">
                  <c:v>0.53852327447833004</c:v>
                </c:pt>
                <c:pt idx="30196">
                  <c:v>0.538541109327626</c:v>
                </c:pt>
                <c:pt idx="30197">
                  <c:v>0.53855894417692096</c:v>
                </c:pt>
                <c:pt idx="30198">
                  <c:v>0.53857677902621703</c:v>
                </c:pt>
                <c:pt idx="30199">
                  <c:v>0.538594613875512</c:v>
                </c:pt>
                <c:pt idx="30200">
                  <c:v>0.53861244872480796</c:v>
                </c:pt>
                <c:pt idx="30201">
                  <c:v>0.53863028357410303</c:v>
                </c:pt>
                <c:pt idx="30202">
                  <c:v>0.53864811842339899</c:v>
                </c:pt>
                <c:pt idx="30203">
                  <c:v>0.53866595327269395</c:v>
                </c:pt>
                <c:pt idx="30204">
                  <c:v>0.53868378812199003</c:v>
                </c:pt>
                <c:pt idx="30205">
                  <c:v>0.53870162297128499</c:v>
                </c:pt>
                <c:pt idx="30206">
                  <c:v>0.53871945782058095</c:v>
                </c:pt>
                <c:pt idx="30207">
                  <c:v>0.53873729266987602</c:v>
                </c:pt>
                <c:pt idx="30208">
                  <c:v>0.53875512751917198</c:v>
                </c:pt>
                <c:pt idx="30209">
                  <c:v>0.53877296236846794</c:v>
                </c:pt>
                <c:pt idx="30210">
                  <c:v>0.53879079721776302</c:v>
                </c:pt>
                <c:pt idx="30211">
                  <c:v>0.53880863206705898</c:v>
                </c:pt>
                <c:pt idx="30212">
                  <c:v>0.53882646691635405</c:v>
                </c:pt>
                <c:pt idx="30213">
                  <c:v>0.53884430176565001</c:v>
                </c:pt>
                <c:pt idx="30214">
                  <c:v>0.53886213661494498</c:v>
                </c:pt>
                <c:pt idx="30215">
                  <c:v>0.53887997146424105</c:v>
                </c:pt>
                <c:pt idx="30216">
                  <c:v>0.53889780631353601</c:v>
                </c:pt>
                <c:pt idx="30217">
                  <c:v>0.53891564116283197</c:v>
                </c:pt>
                <c:pt idx="30218">
                  <c:v>0.53893347601212704</c:v>
                </c:pt>
                <c:pt idx="30219">
                  <c:v>0.53895131086142301</c:v>
                </c:pt>
                <c:pt idx="30220">
                  <c:v>0.53896914571071797</c:v>
                </c:pt>
                <c:pt idx="30221">
                  <c:v>0.53898698056001404</c:v>
                </c:pt>
                <c:pt idx="30222">
                  <c:v>0.539004815409309</c:v>
                </c:pt>
                <c:pt idx="30223">
                  <c:v>0.53902265025860496</c:v>
                </c:pt>
                <c:pt idx="30224">
                  <c:v>0.53904048510790004</c:v>
                </c:pt>
                <c:pt idx="30225">
                  <c:v>0.539058319957196</c:v>
                </c:pt>
                <c:pt idx="30226">
                  <c:v>0.53907615480649096</c:v>
                </c:pt>
                <c:pt idx="30227">
                  <c:v>0.53909398965578703</c:v>
                </c:pt>
                <c:pt idx="30228">
                  <c:v>0.53911182450508199</c:v>
                </c:pt>
                <c:pt idx="30229">
                  <c:v>0.53912965935437795</c:v>
                </c:pt>
                <c:pt idx="30230">
                  <c:v>0.53914749420367403</c:v>
                </c:pt>
                <c:pt idx="30231">
                  <c:v>0.53916532905296899</c:v>
                </c:pt>
                <c:pt idx="30232">
                  <c:v>0.53918316390226495</c:v>
                </c:pt>
                <c:pt idx="30233">
                  <c:v>0.53920099875156002</c:v>
                </c:pt>
                <c:pt idx="30234">
                  <c:v>0.53921883360085598</c:v>
                </c:pt>
                <c:pt idx="30235">
                  <c:v>0.53923666845015095</c:v>
                </c:pt>
                <c:pt idx="30236">
                  <c:v>0.53925450329944702</c:v>
                </c:pt>
                <c:pt idx="30237">
                  <c:v>0.53927233814874198</c:v>
                </c:pt>
                <c:pt idx="30238">
                  <c:v>0.53929017299803805</c:v>
                </c:pt>
                <c:pt idx="30239">
                  <c:v>0.53930800784733302</c:v>
                </c:pt>
                <c:pt idx="30240">
                  <c:v>0.53932584269662898</c:v>
                </c:pt>
                <c:pt idx="30241">
                  <c:v>0.53934367754592405</c:v>
                </c:pt>
                <c:pt idx="30242">
                  <c:v>0.53936151239522001</c:v>
                </c:pt>
                <c:pt idx="30243">
                  <c:v>0.53937934724451497</c:v>
                </c:pt>
                <c:pt idx="30244">
                  <c:v>0.53939718209381105</c:v>
                </c:pt>
                <c:pt idx="30245">
                  <c:v>0.53941501694310601</c:v>
                </c:pt>
                <c:pt idx="30246">
                  <c:v>0.53943285179240197</c:v>
                </c:pt>
                <c:pt idx="30247">
                  <c:v>0.53945068664169704</c:v>
                </c:pt>
                <c:pt idx="30248">
                  <c:v>0.539468521490993</c:v>
                </c:pt>
                <c:pt idx="30249">
                  <c:v>0.53948635634028896</c:v>
                </c:pt>
                <c:pt idx="30250">
                  <c:v>0.53950419118958404</c:v>
                </c:pt>
                <c:pt idx="30251">
                  <c:v>0.53952202603888</c:v>
                </c:pt>
                <c:pt idx="30252">
                  <c:v>0.53953986088817496</c:v>
                </c:pt>
                <c:pt idx="30253">
                  <c:v>0.53955769573747103</c:v>
                </c:pt>
                <c:pt idx="30254">
                  <c:v>0.53957553058676599</c:v>
                </c:pt>
                <c:pt idx="30255">
                  <c:v>0.53959336543606196</c:v>
                </c:pt>
                <c:pt idx="30256">
                  <c:v>0.53961120028535703</c:v>
                </c:pt>
                <c:pt idx="30257">
                  <c:v>0.53962903513465299</c:v>
                </c:pt>
                <c:pt idx="30258">
                  <c:v>0.53964686998394795</c:v>
                </c:pt>
                <c:pt idx="30259">
                  <c:v>0.53966470483324402</c:v>
                </c:pt>
                <c:pt idx="30260">
                  <c:v>0.53968253968253899</c:v>
                </c:pt>
                <c:pt idx="30261">
                  <c:v>0.53970037453183495</c:v>
                </c:pt>
                <c:pt idx="30262">
                  <c:v>0.53971820938113002</c:v>
                </c:pt>
                <c:pt idx="30263">
                  <c:v>0.53973604423042598</c:v>
                </c:pt>
                <c:pt idx="30264">
                  <c:v>0.53975387907972106</c:v>
                </c:pt>
                <c:pt idx="30265">
                  <c:v>0.53977171392901702</c:v>
                </c:pt>
                <c:pt idx="30266">
                  <c:v>0.53978954877831198</c:v>
                </c:pt>
                <c:pt idx="30267">
                  <c:v>0.53980738362760805</c:v>
                </c:pt>
                <c:pt idx="30268">
                  <c:v>0.53982521847690301</c:v>
                </c:pt>
                <c:pt idx="30269">
                  <c:v>0.53984305332619897</c:v>
                </c:pt>
                <c:pt idx="30270">
                  <c:v>0.53986088817549405</c:v>
                </c:pt>
                <c:pt idx="30271">
                  <c:v>0.53987872302479001</c:v>
                </c:pt>
                <c:pt idx="30272">
                  <c:v>0.53989655787408597</c:v>
                </c:pt>
                <c:pt idx="30273">
                  <c:v>0.53991439272338104</c:v>
                </c:pt>
                <c:pt idx="30274">
                  <c:v>0.539932227572677</c:v>
                </c:pt>
                <c:pt idx="30275">
                  <c:v>0.53995006242197197</c:v>
                </c:pt>
                <c:pt idx="30276">
                  <c:v>0.53996789727126804</c:v>
                </c:pt>
                <c:pt idx="30277">
                  <c:v>0.539985732120563</c:v>
                </c:pt>
                <c:pt idx="30278">
                  <c:v>0.54000356696985896</c:v>
                </c:pt>
                <c:pt idx="30279">
                  <c:v>0.54002140181915403</c:v>
                </c:pt>
                <c:pt idx="30280">
                  <c:v>0.54003923666845</c:v>
                </c:pt>
                <c:pt idx="30281">
                  <c:v>0.54005707151774496</c:v>
                </c:pt>
                <c:pt idx="30282">
                  <c:v>0.54007490636704103</c:v>
                </c:pt>
                <c:pt idx="30283">
                  <c:v>0.54009274121633599</c:v>
                </c:pt>
                <c:pt idx="30284">
                  <c:v>0.54011057606563195</c:v>
                </c:pt>
                <c:pt idx="30285">
                  <c:v>0.54012841091492703</c:v>
                </c:pt>
                <c:pt idx="30286">
                  <c:v>0.54014624576422299</c:v>
                </c:pt>
                <c:pt idx="30287">
                  <c:v>0.54016408061351795</c:v>
                </c:pt>
                <c:pt idx="30288">
                  <c:v>0.54018191546281402</c:v>
                </c:pt>
                <c:pt idx="30289">
                  <c:v>0.54019975031210898</c:v>
                </c:pt>
                <c:pt idx="30290">
                  <c:v>0.54021758516140495</c:v>
                </c:pt>
                <c:pt idx="30291">
                  <c:v>0.54023542001070002</c:v>
                </c:pt>
                <c:pt idx="30292">
                  <c:v>0.54025325485999598</c:v>
                </c:pt>
                <c:pt idx="30293">
                  <c:v>0.54027108970929105</c:v>
                </c:pt>
                <c:pt idx="30294">
                  <c:v>0.54028892455858701</c:v>
                </c:pt>
                <c:pt idx="30295">
                  <c:v>0.54030675940788297</c:v>
                </c:pt>
                <c:pt idx="30296">
                  <c:v>0.54032459425717805</c:v>
                </c:pt>
                <c:pt idx="30297">
                  <c:v>0.54034242910647401</c:v>
                </c:pt>
                <c:pt idx="30298">
                  <c:v>0.54036026395576897</c:v>
                </c:pt>
                <c:pt idx="30299">
                  <c:v>0.54037809880506504</c:v>
                </c:pt>
                <c:pt idx="30300">
                  <c:v>0.54039593365436001</c:v>
                </c:pt>
                <c:pt idx="30301">
                  <c:v>0.54041376850365597</c:v>
                </c:pt>
                <c:pt idx="30302">
                  <c:v>0.54043160335295104</c:v>
                </c:pt>
                <c:pt idx="30303">
                  <c:v>0.540449438202247</c:v>
                </c:pt>
                <c:pt idx="30304">
                  <c:v>0.54046727305154196</c:v>
                </c:pt>
                <c:pt idx="30305">
                  <c:v>0.54048510790083804</c:v>
                </c:pt>
                <c:pt idx="30306">
                  <c:v>0.540502942750133</c:v>
                </c:pt>
                <c:pt idx="30307">
                  <c:v>0.54052077759942896</c:v>
                </c:pt>
                <c:pt idx="30308">
                  <c:v>0.54053861244872403</c:v>
                </c:pt>
                <c:pt idx="30309">
                  <c:v>0.54055644729801999</c:v>
                </c:pt>
                <c:pt idx="30310">
                  <c:v>0.54057428214731496</c:v>
                </c:pt>
                <c:pt idx="30311">
                  <c:v>0.54059211699661103</c:v>
                </c:pt>
                <c:pt idx="30312">
                  <c:v>0.54060995184590599</c:v>
                </c:pt>
                <c:pt idx="30313">
                  <c:v>0.54062778669520195</c:v>
                </c:pt>
                <c:pt idx="30314">
                  <c:v>0.54064562154449702</c:v>
                </c:pt>
                <c:pt idx="30315">
                  <c:v>0.54066345639379298</c:v>
                </c:pt>
                <c:pt idx="30316">
                  <c:v>0.54068129124308895</c:v>
                </c:pt>
                <c:pt idx="30317">
                  <c:v>0.54069912609238402</c:v>
                </c:pt>
                <c:pt idx="30318">
                  <c:v>0.54071696094167998</c:v>
                </c:pt>
                <c:pt idx="30319">
                  <c:v>0.54073479579097505</c:v>
                </c:pt>
                <c:pt idx="30320">
                  <c:v>0.54075263064027101</c:v>
                </c:pt>
                <c:pt idx="30321">
                  <c:v>0.54077046548956598</c:v>
                </c:pt>
                <c:pt idx="30322">
                  <c:v>0.54078830033886205</c:v>
                </c:pt>
                <c:pt idx="30323">
                  <c:v>0.54080613518815701</c:v>
                </c:pt>
                <c:pt idx="30324">
                  <c:v>0.54082397003745297</c:v>
                </c:pt>
                <c:pt idx="30325">
                  <c:v>0.54084180488674805</c:v>
                </c:pt>
                <c:pt idx="30326">
                  <c:v>0.54085963973604401</c:v>
                </c:pt>
                <c:pt idx="30327">
                  <c:v>0.54087747458533897</c:v>
                </c:pt>
                <c:pt idx="30328">
                  <c:v>0.54089530943463504</c:v>
                </c:pt>
                <c:pt idx="30329">
                  <c:v>0.54091314428393</c:v>
                </c:pt>
                <c:pt idx="30330">
                  <c:v>0.54093097913322596</c:v>
                </c:pt>
                <c:pt idx="30331">
                  <c:v>0.54094881398252104</c:v>
                </c:pt>
                <c:pt idx="30332">
                  <c:v>0.540966648831817</c:v>
                </c:pt>
                <c:pt idx="30333">
                  <c:v>0.54098448368111196</c:v>
                </c:pt>
                <c:pt idx="30334">
                  <c:v>0.54100231853040803</c:v>
                </c:pt>
                <c:pt idx="30335">
                  <c:v>0.54102015337970399</c:v>
                </c:pt>
                <c:pt idx="30336">
                  <c:v>0.54103798822899896</c:v>
                </c:pt>
                <c:pt idx="30337">
                  <c:v>0.54105582307829503</c:v>
                </c:pt>
                <c:pt idx="30338">
                  <c:v>0.54107365792758999</c:v>
                </c:pt>
                <c:pt idx="30339">
                  <c:v>0.54109149277688595</c:v>
                </c:pt>
                <c:pt idx="30340">
                  <c:v>0.54110932762618102</c:v>
                </c:pt>
                <c:pt idx="30341">
                  <c:v>0.54112716247547699</c:v>
                </c:pt>
                <c:pt idx="30342">
                  <c:v>0.54114499732477195</c:v>
                </c:pt>
                <c:pt idx="30343">
                  <c:v>0.54116283217406802</c:v>
                </c:pt>
                <c:pt idx="30344">
                  <c:v>0.54118066702336298</c:v>
                </c:pt>
                <c:pt idx="30345">
                  <c:v>0.54119850187265905</c:v>
                </c:pt>
                <c:pt idx="30346">
                  <c:v>0.54121633672195402</c:v>
                </c:pt>
                <c:pt idx="30347">
                  <c:v>0.54123417157124998</c:v>
                </c:pt>
                <c:pt idx="30348">
                  <c:v>0.54125200642054505</c:v>
                </c:pt>
                <c:pt idx="30349">
                  <c:v>0.54126984126984101</c:v>
                </c:pt>
                <c:pt idx="30350">
                  <c:v>0.54128767611913597</c:v>
                </c:pt>
                <c:pt idx="30351">
                  <c:v>0.54130551096843205</c:v>
                </c:pt>
                <c:pt idx="30352">
                  <c:v>0.54132334581772701</c:v>
                </c:pt>
                <c:pt idx="30353">
                  <c:v>0.54134118066702297</c:v>
                </c:pt>
                <c:pt idx="30354">
                  <c:v>0.54135901551631804</c:v>
                </c:pt>
                <c:pt idx="30355">
                  <c:v>0.541376850365614</c:v>
                </c:pt>
                <c:pt idx="30356">
                  <c:v>0.54139468521490997</c:v>
                </c:pt>
                <c:pt idx="30357">
                  <c:v>0.54141252006420504</c:v>
                </c:pt>
                <c:pt idx="30358">
                  <c:v>0.541430354913501</c:v>
                </c:pt>
                <c:pt idx="30359">
                  <c:v>0.54144818976279596</c:v>
                </c:pt>
                <c:pt idx="30360">
                  <c:v>0.54146602461209203</c:v>
                </c:pt>
                <c:pt idx="30361">
                  <c:v>0.541483859461387</c:v>
                </c:pt>
                <c:pt idx="30362">
                  <c:v>0.54150169431068296</c:v>
                </c:pt>
                <c:pt idx="30363">
                  <c:v>0.54151952915997803</c:v>
                </c:pt>
                <c:pt idx="30364">
                  <c:v>0.54153736400927399</c:v>
                </c:pt>
                <c:pt idx="30365">
                  <c:v>0.54155519885856895</c:v>
                </c:pt>
                <c:pt idx="30366">
                  <c:v>0.54157303370786503</c:v>
                </c:pt>
                <c:pt idx="30367">
                  <c:v>0.54159086855715999</c:v>
                </c:pt>
                <c:pt idx="30368">
                  <c:v>0.54160870340645595</c:v>
                </c:pt>
                <c:pt idx="30369">
                  <c:v>0.54162653825575102</c:v>
                </c:pt>
                <c:pt idx="30370">
                  <c:v>0.54164437310504698</c:v>
                </c:pt>
                <c:pt idx="30371">
                  <c:v>0.54166220795434195</c:v>
                </c:pt>
                <c:pt idx="30372">
                  <c:v>0.54168004280363802</c:v>
                </c:pt>
                <c:pt idx="30373">
                  <c:v>0.54169787765293298</c:v>
                </c:pt>
                <c:pt idx="30374">
                  <c:v>0.54171571250222905</c:v>
                </c:pt>
                <c:pt idx="30375">
                  <c:v>0.54173354735152401</c:v>
                </c:pt>
                <c:pt idx="30376">
                  <c:v>0.54175138220081998</c:v>
                </c:pt>
                <c:pt idx="30377">
                  <c:v>0.54176921705011505</c:v>
                </c:pt>
                <c:pt idx="30378">
                  <c:v>0.54178705189941101</c:v>
                </c:pt>
                <c:pt idx="30379">
                  <c:v>0.54180488674870697</c:v>
                </c:pt>
                <c:pt idx="30380">
                  <c:v>0.54182272159800204</c:v>
                </c:pt>
                <c:pt idx="30381">
                  <c:v>0.54184055644729801</c:v>
                </c:pt>
                <c:pt idx="30382">
                  <c:v>0.54185839129659297</c:v>
                </c:pt>
                <c:pt idx="30383">
                  <c:v>0.54187622614588904</c:v>
                </c:pt>
                <c:pt idx="30384">
                  <c:v>0.541894060995184</c:v>
                </c:pt>
                <c:pt idx="30385">
                  <c:v>0.54191189584447996</c:v>
                </c:pt>
                <c:pt idx="30386">
                  <c:v>0.54192973069377504</c:v>
                </c:pt>
                <c:pt idx="30387">
                  <c:v>0.541947565543071</c:v>
                </c:pt>
                <c:pt idx="30388">
                  <c:v>0.54196540039236596</c:v>
                </c:pt>
                <c:pt idx="30389">
                  <c:v>0.54198323524166203</c:v>
                </c:pt>
                <c:pt idx="30390">
                  <c:v>0.54200107009095699</c:v>
                </c:pt>
                <c:pt idx="30391">
                  <c:v>0.54201890494025295</c:v>
                </c:pt>
                <c:pt idx="30392">
                  <c:v>0.54203673978954803</c:v>
                </c:pt>
                <c:pt idx="30393">
                  <c:v>0.54205457463884399</c:v>
                </c:pt>
                <c:pt idx="30394">
                  <c:v>0.54207240948813895</c:v>
                </c:pt>
                <c:pt idx="30395">
                  <c:v>0.54209024433743502</c:v>
                </c:pt>
                <c:pt idx="30396">
                  <c:v>0.54210807918672999</c:v>
                </c:pt>
                <c:pt idx="30397">
                  <c:v>0.54212591403602595</c:v>
                </c:pt>
                <c:pt idx="30398">
                  <c:v>0.54214374888532102</c:v>
                </c:pt>
                <c:pt idx="30399">
                  <c:v>0.54216158373461698</c:v>
                </c:pt>
                <c:pt idx="30400">
                  <c:v>0.54217941858391205</c:v>
                </c:pt>
                <c:pt idx="30401">
                  <c:v>0.54219725343320802</c:v>
                </c:pt>
                <c:pt idx="30402">
                  <c:v>0.54221508828250398</c:v>
                </c:pt>
                <c:pt idx="30403">
                  <c:v>0.54223292313179905</c:v>
                </c:pt>
                <c:pt idx="30404">
                  <c:v>0.54225075798109501</c:v>
                </c:pt>
                <c:pt idx="30405">
                  <c:v>0.54226859283038997</c:v>
                </c:pt>
                <c:pt idx="30406">
                  <c:v>0.54228642767968604</c:v>
                </c:pt>
                <c:pt idx="30407">
                  <c:v>0.54230426252898101</c:v>
                </c:pt>
                <c:pt idx="30408">
                  <c:v>0.54232209737827697</c:v>
                </c:pt>
                <c:pt idx="30409">
                  <c:v>0.54233993222757204</c:v>
                </c:pt>
                <c:pt idx="30410">
                  <c:v>0.542357767076868</c:v>
                </c:pt>
                <c:pt idx="30411">
                  <c:v>0.54237560192616296</c:v>
                </c:pt>
                <c:pt idx="30412">
                  <c:v>0.54239343677545904</c:v>
                </c:pt>
                <c:pt idx="30413">
                  <c:v>0.542411271624754</c:v>
                </c:pt>
                <c:pt idx="30414">
                  <c:v>0.54242910647404996</c:v>
                </c:pt>
                <c:pt idx="30415">
                  <c:v>0.54244694132334503</c:v>
                </c:pt>
                <c:pt idx="30416">
                  <c:v>0.54246477617264099</c:v>
                </c:pt>
                <c:pt idx="30417">
                  <c:v>0.54248261102193596</c:v>
                </c:pt>
                <c:pt idx="30418">
                  <c:v>0.54250044587123203</c:v>
                </c:pt>
                <c:pt idx="30419">
                  <c:v>0.54251828072052699</c:v>
                </c:pt>
                <c:pt idx="30420">
                  <c:v>0.54253611556982295</c:v>
                </c:pt>
                <c:pt idx="30421">
                  <c:v>0.54255395041911803</c:v>
                </c:pt>
                <c:pt idx="30422">
                  <c:v>0.54257178526841399</c:v>
                </c:pt>
                <c:pt idx="30423">
                  <c:v>0.54258962011770995</c:v>
                </c:pt>
                <c:pt idx="30424">
                  <c:v>0.54260745496700502</c:v>
                </c:pt>
                <c:pt idx="30425">
                  <c:v>0.54262528981630098</c:v>
                </c:pt>
                <c:pt idx="30426">
                  <c:v>0.54264312466559605</c:v>
                </c:pt>
                <c:pt idx="30427">
                  <c:v>0.54266095951489202</c:v>
                </c:pt>
                <c:pt idx="30428">
                  <c:v>0.54267879436418698</c:v>
                </c:pt>
                <c:pt idx="30429">
                  <c:v>0.54269662921348305</c:v>
                </c:pt>
                <c:pt idx="30430">
                  <c:v>0.54271446406277801</c:v>
                </c:pt>
                <c:pt idx="30431">
                  <c:v>0.54273229891207397</c:v>
                </c:pt>
                <c:pt idx="30432">
                  <c:v>0.54275013376136905</c:v>
                </c:pt>
                <c:pt idx="30433">
                  <c:v>0.54276796861066501</c:v>
                </c:pt>
                <c:pt idx="30434">
                  <c:v>0.54278580345995997</c:v>
                </c:pt>
                <c:pt idx="30435">
                  <c:v>0.54280363830925604</c:v>
                </c:pt>
                <c:pt idx="30436">
                  <c:v>0.542821473158551</c:v>
                </c:pt>
                <c:pt idx="30437">
                  <c:v>0.54283930800784697</c:v>
                </c:pt>
                <c:pt idx="30438">
                  <c:v>0.54285714285714204</c:v>
                </c:pt>
                <c:pt idx="30439">
                  <c:v>0.542874977706438</c:v>
                </c:pt>
                <c:pt idx="30440">
                  <c:v>0.54289281255573296</c:v>
                </c:pt>
                <c:pt idx="30441">
                  <c:v>0.54291064740502903</c:v>
                </c:pt>
                <c:pt idx="30442">
                  <c:v>0.542928482254325</c:v>
                </c:pt>
                <c:pt idx="30443">
                  <c:v>0.54294631710361996</c:v>
                </c:pt>
                <c:pt idx="30444">
                  <c:v>0.54296415195291603</c:v>
                </c:pt>
                <c:pt idx="30445">
                  <c:v>0.54298198680221099</c:v>
                </c:pt>
                <c:pt idx="30446">
                  <c:v>0.54299982165150695</c:v>
                </c:pt>
                <c:pt idx="30447">
                  <c:v>0.54301765650080203</c:v>
                </c:pt>
                <c:pt idx="30448">
                  <c:v>0.54303549135009799</c:v>
                </c:pt>
                <c:pt idx="30449">
                  <c:v>0.54305332619939295</c:v>
                </c:pt>
                <c:pt idx="30450">
                  <c:v>0.54307116104868902</c:v>
                </c:pt>
                <c:pt idx="30451">
                  <c:v>0.54308899589798398</c:v>
                </c:pt>
                <c:pt idx="30452">
                  <c:v>0.54310683074727995</c:v>
                </c:pt>
                <c:pt idx="30453">
                  <c:v>0.54312466559657502</c:v>
                </c:pt>
                <c:pt idx="30454">
                  <c:v>0.54314250044587098</c:v>
                </c:pt>
                <c:pt idx="30455">
                  <c:v>0.54316033529516605</c:v>
                </c:pt>
                <c:pt idx="30456">
                  <c:v>0.54317817014446201</c:v>
                </c:pt>
                <c:pt idx="30457">
                  <c:v>0.54319600499375698</c:v>
                </c:pt>
                <c:pt idx="30458">
                  <c:v>0.54321383984305305</c:v>
                </c:pt>
                <c:pt idx="30459">
                  <c:v>0.54323167469234801</c:v>
                </c:pt>
                <c:pt idx="30460">
                  <c:v>0.54324950954164397</c:v>
                </c:pt>
                <c:pt idx="30461">
                  <c:v>0.54326734439093904</c:v>
                </c:pt>
                <c:pt idx="30462">
                  <c:v>0.54328517924023501</c:v>
                </c:pt>
                <c:pt idx="30463">
                  <c:v>0.54330301408953097</c:v>
                </c:pt>
                <c:pt idx="30464">
                  <c:v>0.54332084893882604</c:v>
                </c:pt>
                <c:pt idx="30465">
                  <c:v>0.543338683788122</c:v>
                </c:pt>
                <c:pt idx="30466">
                  <c:v>0.54335651863741696</c:v>
                </c:pt>
                <c:pt idx="30467">
                  <c:v>0.54337435348671304</c:v>
                </c:pt>
                <c:pt idx="30468">
                  <c:v>0.543392188336008</c:v>
                </c:pt>
                <c:pt idx="30469">
                  <c:v>0.54341002318530396</c:v>
                </c:pt>
                <c:pt idx="30470">
                  <c:v>0.54342785803459903</c:v>
                </c:pt>
                <c:pt idx="30471">
                  <c:v>0.54344569288389499</c:v>
                </c:pt>
                <c:pt idx="30472">
                  <c:v>0.54346352773318995</c:v>
                </c:pt>
                <c:pt idx="30473">
                  <c:v>0.54348136258248603</c:v>
                </c:pt>
                <c:pt idx="30474">
                  <c:v>0.54349919743178099</c:v>
                </c:pt>
                <c:pt idx="30475">
                  <c:v>0.54351703228107695</c:v>
                </c:pt>
                <c:pt idx="30476">
                  <c:v>0.54353486713037202</c:v>
                </c:pt>
                <c:pt idx="30477">
                  <c:v>0.54355270197966798</c:v>
                </c:pt>
                <c:pt idx="30478">
                  <c:v>0.54357053682896295</c:v>
                </c:pt>
                <c:pt idx="30479">
                  <c:v>0.54358837167825902</c:v>
                </c:pt>
                <c:pt idx="30480">
                  <c:v>0.54360620652755398</c:v>
                </c:pt>
                <c:pt idx="30481">
                  <c:v>0.54362404137685005</c:v>
                </c:pt>
                <c:pt idx="30482">
                  <c:v>0.54364187622614502</c:v>
                </c:pt>
                <c:pt idx="30483">
                  <c:v>0.54365971107544098</c:v>
                </c:pt>
                <c:pt idx="30484">
                  <c:v>0.54367754592473605</c:v>
                </c:pt>
                <c:pt idx="30485">
                  <c:v>0.54369538077403201</c:v>
                </c:pt>
                <c:pt idx="30486">
                  <c:v>0.54371321562332797</c:v>
                </c:pt>
                <c:pt idx="30487">
                  <c:v>0.54373105047262305</c:v>
                </c:pt>
                <c:pt idx="30488">
                  <c:v>0.54374888532191901</c:v>
                </c:pt>
                <c:pt idx="30489">
                  <c:v>0.54376672017121397</c:v>
                </c:pt>
                <c:pt idx="30490">
                  <c:v>0.54378455502051004</c:v>
                </c:pt>
                <c:pt idx="30491">
                  <c:v>0.543802389869805</c:v>
                </c:pt>
                <c:pt idx="30492">
                  <c:v>0.54382022471910096</c:v>
                </c:pt>
                <c:pt idx="30493">
                  <c:v>0.54383805956839604</c:v>
                </c:pt>
                <c:pt idx="30494">
                  <c:v>0.543855894417692</c:v>
                </c:pt>
                <c:pt idx="30495">
                  <c:v>0.54387372926698696</c:v>
                </c:pt>
                <c:pt idx="30496">
                  <c:v>0.54389156411628303</c:v>
                </c:pt>
                <c:pt idx="30497">
                  <c:v>0.54390939896557799</c:v>
                </c:pt>
                <c:pt idx="30498">
                  <c:v>0.54392723381487396</c:v>
                </c:pt>
                <c:pt idx="30499">
                  <c:v>0.54394506866416903</c:v>
                </c:pt>
                <c:pt idx="30500">
                  <c:v>0.54396290351346499</c:v>
                </c:pt>
                <c:pt idx="30501">
                  <c:v>0.54398073836275995</c:v>
                </c:pt>
                <c:pt idx="30502">
                  <c:v>0.54399857321205602</c:v>
                </c:pt>
                <c:pt idx="30503">
                  <c:v>0.54401640806135099</c:v>
                </c:pt>
                <c:pt idx="30504">
                  <c:v>0.54403424291064695</c:v>
                </c:pt>
                <c:pt idx="30505">
                  <c:v>0.54405207775994202</c:v>
                </c:pt>
                <c:pt idx="30506">
                  <c:v>0.54406991260923798</c:v>
                </c:pt>
                <c:pt idx="30507">
                  <c:v>0.54408774745853306</c:v>
                </c:pt>
                <c:pt idx="30508">
                  <c:v>0.54410558230782902</c:v>
                </c:pt>
                <c:pt idx="30509">
                  <c:v>0.54412341715712498</c:v>
                </c:pt>
                <c:pt idx="30510">
                  <c:v>0.54414125200642005</c:v>
                </c:pt>
                <c:pt idx="30511">
                  <c:v>0.54415908685571601</c:v>
                </c:pt>
                <c:pt idx="30512">
                  <c:v>0.54417692170501097</c:v>
                </c:pt>
                <c:pt idx="30513">
                  <c:v>0.54419475655430705</c:v>
                </c:pt>
                <c:pt idx="30514">
                  <c:v>0.54421259140360201</c:v>
                </c:pt>
                <c:pt idx="30515">
                  <c:v>0.54423042625289797</c:v>
                </c:pt>
                <c:pt idx="30516">
                  <c:v>0.54424826110219304</c:v>
                </c:pt>
                <c:pt idx="30517">
                  <c:v>0.544266095951489</c:v>
                </c:pt>
                <c:pt idx="30518">
                  <c:v>0.54428393080078397</c:v>
                </c:pt>
                <c:pt idx="30519">
                  <c:v>0.54430176565008004</c:v>
                </c:pt>
                <c:pt idx="30520">
                  <c:v>0.544319600499375</c:v>
                </c:pt>
                <c:pt idx="30521">
                  <c:v>0.54433743534867096</c:v>
                </c:pt>
                <c:pt idx="30522">
                  <c:v>0.54435527019796603</c:v>
                </c:pt>
                <c:pt idx="30523">
                  <c:v>0.544373105047262</c:v>
                </c:pt>
                <c:pt idx="30524">
                  <c:v>0.54439093989655696</c:v>
                </c:pt>
                <c:pt idx="30525">
                  <c:v>0.54440877474585303</c:v>
                </c:pt>
                <c:pt idx="30526">
                  <c:v>0.54442660959514799</c:v>
                </c:pt>
                <c:pt idx="30527">
                  <c:v>0.54444444444444395</c:v>
                </c:pt>
                <c:pt idx="30528">
                  <c:v>0.54446227929373903</c:v>
                </c:pt>
                <c:pt idx="30529">
                  <c:v>0.54448011414303499</c:v>
                </c:pt>
                <c:pt idx="30530">
                  <c:v>0.54449794899233095</c:v>
                </c:pt>
                <c:pt idx="30531">
                  <c:v>0.54451578384162602</c:v>
                </c:pt>
                <c:pt idx="30532">
                  <c:v>0.54453361869092198</c:v>
                </c:pt>
                <c:pt idx="30533">
                  <c:v>0.54455145354021695</c:v>
                </c:pt>
                <c:pt idx="30534">
                  <c:v>0.54456928838951302</c:v>
                </c:pt>
                <c:pt idx="30535">
                  <c:v>0.54458712323880798</c:v>
                </c:pt>
                <c:pt idx="30536">
                  <c:v>0.54460495808810405</c:v>
                </c:pt>
                <c:pt idx="30537">
                  <c:v>0.54462279293739901</c:v>
                </c:pt>
                <c:pt idx="30538">
                  <c:v>0.54464062778669498</c:v>
                </c:pt>
                <c:pt idx="30539">
                  <c:v>0.54465846263599005</c:v>
                </c:pt>
                <c:pt idx="30540">
                  <c:v>0.54467629748528601</c:v>
                </c:pt>
                <c:pt idx="30541">
                  <c:v>0.54469413233458097</c:v>
                </c:pt>
                <c:pt idx="30542">
                  <c:v>0.54471196718387704</c:v>
                </c:pt>
                <c:pt idx="30543">
                  <c:v>0.54472980203317201</c:v>
                </c:pt>
                <c:pt idx="30544">
                  <c:v>0.54474763688246797</c:v>
                </c:pt>
                <c:pt idx="30545">
                  <c:v>0.54476547173176304</c:v>
                </c:pt>
                <c:pt idx="30546">
                  <c:v>0.544783306581059</c:v>
                </c:pt>
                <c:pt idx="30547">
                  <c:v>0.54480114143035496</c:v>
                </c:pt>
                <c:pt idx="30548">
                  <c:v>0.54481897627965004</c:v>
                </c:pt>
                <c:pt idx="30549">
                  <c:v>0.544836811128946</c:v>
                </c:pt>
                <c:pt idx="30550">
                  <c:v>0.54485464597824096</c:v>
                </c:pt>
                <c:pt idx="30551">
                  <c:v>0.54487248082753703</c:v>
                </c:pt>
                <c:pt idx="30552">
                  <c:v>0.54489031567683199</c:v>
                </c:pt>
                <c:pt idx="30553">
                  <c:v>0.54490815052612795</c:v>
                </c:pt>
                <c:pt idx="30554">
                  <c:v>0.54492598537542303</c:v>
                </c:pt>
                <c:pt idx="30555">
                  <c:v>0.54494382022471899</c:v>
                </c:pt>
                <c:pt idx="30556">
                  <c:v>0.54496165507401395</c:v>
                </c:pt>
                <c:pt idx="30557">
                  <c:v>0.54497948992331002</c:v>
                </c:pt>
                <c:pt idx="30558">
                  <c:v>0.54499732477260499</c:v>
                </c:pt>
                <c:pt idx="30559">
                  <c:v>0.54501515962190095</c:v>
                </c:pt>
                <c:pt idx="30560">
                  <c:v>0.54503299447119602</c:v>
                </c:pt>
                <c:pt idx="30561">
                  <c:v>0.54505082932049198</c:v>
                </c:pt>
                <c:pt idx="30562">
                  <c:v>0.54506866416978705</c:v>
                </c:pt>
                <c:pt idx="30563">
                  <c:v>0.54508649901908302</c:v>
                </c:pt>
                <c:pt idx="30564">
                  <c:v>0.54510433386837798</c:v>
                </c:pt>
                <c:pt idx="30565">
                  <c:v>0.54512216871767405</c:v>
                </c:pt>
                <c:pt idx="30566">
                  <c:v>0.54514000356696901</c:v>
                </c:pt>
                <c:pt idx="30567">
                  <c:v>0.54515783841626497</c:v>
                </c:pt>
                <c:pt idx="30568">
                  <c:v>0.54517567326556005</c:v>
                </c:pt>
                <c:pt idx="30569">
                  <c:v>0.54519350811485601</c:v>
                </c:pt>
                <c:pt idx="30570">
                  <c:v>0.54521134296415197</c:v>
                </c:pt>
                <c:pt idx="30571">
                  <c:v>0.54522917781344704</c:v>
                </c:pt>
                <c:pt idx="30572">
                  <c:v>0.545247012662743</c:v>
                </c:pt>
                <c:pt idx="30573">
                  <c:v>0.54526484751203796</c:v>
                </c:pt>
                <c:pt idx="30574">
                  <c:v>0.54528268236133404</c:v>
                </c:pt>
                <c:pt idx="30575">
                  <c:v>0.545300517210629</c:v>
                </c:pt>
                <c:pt idx="30576">
                  <c:v>0.54531835205992496</c:v>
                </c:pt>
                <c:pt idx="30577">
                  <c:v>0.54533618690922003</c:v>
                </c:pt>
                <c:pt idx="30578">
                  <c:v>0.54535402175851599</c:v>
                </c:pt>
                <c:pt idx="30579">
                  <c:v>0.54537185660781096</c:v>
                </c:pt>
                <c:pt idx="30580">
                  <c:v>0.54538969145710703</c:v>
                </c:pt>
                <c:pt idx="30581">
                  <c:v>0.54540752630640199</c:v>
                </c:pt>
                <c:pt idx="30582">
                  <c:v>0.54542536115569795</c:v>
                </c:pt>
                <c:pt idx="30583">
                  <c:v>0.54544319600499303</c:v>
                </c:pt>
                <c:pt idx="30584">
                  <c:v>0.54546103085428899</c:v>
                </c:pt>
                <c:pt idx="30585">
                  <c:v>0.54547886570358395</c:v>
                </c:pt>
                <c:pt idx="30586">
                  <c:v>0.54549670055288002</c:v>
                </c:pt>
                <c:pt idx="30587">
                  <c:v>0.54551453540217498</c:v>
                </c:pt>
                <c:pt idx="30588">
                  <c:v>0.54553237025147105</c:v>
                </c:pt>
                <c:pt idx="30589">
                  <c:v>0.54555020510076602</c:v>
                </c:pt>
                <c:pt idx="30590">
                  <c:v>0.54556803995006198</c:v>
                </c:pt>
                <c:pt idx="30591">
                  <c:v>0.54558587479935705</c:v>
                </c:pt>
                <c:pt idx="30592">
                  <c:v>0.54560370964865301</c:v>
                </c:pt>
                <c:pt idx="30593">
                  <c:v>0.54562154449794897</c:v>
                </c:pt>
                <c:pt idx="30594">
                  <c:v>0.54563937934724405</c:v>
                </c:pt>
                <c:pt idx="30595">
                  <c:v>0.54565721419654001</c:v>
                </c:pt>
                <c:pt idx="30596">
                  <c:v>0.54567504904583497</c:v>
                </c:pt>
                <c:pt idx="30597">
                  <c:v>0.54569288389513104</c:v>
                </c:pt>
                <c:pt idx="30598">
                  <c:v>0.545710718744426</c:v>
                </c:pt>
                <c:pt idx="30599">
                  <c:v>0.54572855359372197</c:v>
                </c:pt>
                <c:pt idx="30600">
                  <c:v>0.54574638844301704</c:v>
                </c:pt>
                <c:pt idx="30601">
                  <c:v>0.545764223292313</c:v>
                </c:pt>
                <c:pt idx="30602">
                  <c:v>0.54578205814160796</c:v>
                </c:pt>
                <c:pt idx="30603">
                  <c:v>0.54579989299090403</c:v>
                </c:pt>
                <c:pt idx="30604">
                  <c:v>0.545817727840199</c:v>
                </c:pt>
                <c:pt idx="30605">
                  <c:v>0.54583556268949496</c:v>
                </c:pt>
                <c:pt idx="30606">
                  <c:v>0.54585339753879003</c:v>
                </c:pt>
                <c:pt idx="30607">
                  <c:v>0.54587123238808599</c:v>
                </c:pt>
                <c:pt idx="30608">
                  <c:v>0.54588906723738095</c:v>
                </c:pt>
                <c:pt idx="30609">
                  <c:v>0.54590690208667703</c:v>
                </c:pt>
                <c:pt idx="30610">
                  <c:v>0.54592473693597199</c:v>
                </c:pt>
                <c:pt idx="30611">
                  <c:v>0.54594257178526795</c:v>
                </c:pt>
                <c:pt idx="30612">
                  <c:v>0.54596040663456302</c:v>
                </c:pt>
                <c:pt idx="30613">
                  <c:v>0.54597824148385898</c:v>
                </c:pt>
                <c:pt idx="30614">
                  <c:v>0.54599607633315494</c:v>
                </c:pt>
                <c:pt idx="30615">
                  <c:v>0.54601391118245002</c:v>
                </c:pt>
                <c:pt idx="30616">
                  <c:v>0.54603174603174598</c:v>
                </c:pt>
                <c:pt idx="30617">
                  <c:v>0.54604958088104105</c:v>
                </c:pt>
                <c:pt idx="30618">
                  <c:v>0.54606741573033701</c:v>
                </c:pt>
                <c:pt idx="30619">
                  <c:v>0.54608525057963198</c:v>
                </c:pt>
                <c:pt idx="30620">
                  <c:v>0.54610308542892805</c:v>
                </c:pt>
                <c:pt idx="30621">
                  <c:v>0.54612092027822301</c:v>
                </c:pt>
                <c:pt idx="30622">
                  <c:v>0.54613875512751897</c:v>
                </c:pt>
                <c:pt idx="30623">
                  <c:v>0.54615658997681404</c:v>
                </c:pt>
                <c:pt idx="30624">
                  <c:v>0.54617442482611001</c:v>
                </c:pt>
                <c:pt idx="30625">
                  <c:v>0.54619225967540497</c:v>
                </c:pt>
                <c:pt idx="30626">
                  <c:v>0.54621009452470104</c:v>
                </c:pt>
                <c:pt idx="30627">
                  <c:v>0.546227929373996</c:v>
                </c:pt>
                <c:pt idx="30628">
                  <c:v>0.54624576422329196</c:v>
                </c:pt>
                <c:pt idx="30629">
                  <c:v>0.54626359907258704</c:v>
                </c:pt>
                <c:pt idx="30630">
                  <c:v>0.546281433921883</c:v>
                </c:pt>
                <c:pt idx="30631">
                  <c:v>0.54629926877117796</c:v>
                </c:pt>
                <c:pt idx="30632">
                  <c:v>0.54631710362047403</c:v>
                </c:pt>
                <c:pt idx="30633">
                  <c:v>0.54633493846976899</c:v>
                </c:pt>
                <c:pt idx="30634">
                  <c:v>0.54635277331906495</c:v>
                </c:pt>
                <c:pt idx="30635">
                  <c:v>0.54637060816836103</c:v>
                </c:pt>
                <c:pt idx="30636">
                  <c:v>0.54638844301765599</c:v>
                </c:pt>
                <c:pt idx="30637">
                  <c:v>0.54640627786695195</c:v>
                </c:pt>
                <c:pt idx="30638">
                  <c:v>0.54642411271624702</c:v>
                </c:pt>
                <c:pt idx="30639">
                  <c:v>0.54644194756554298</c:v>
                </c:pt>
                <c:pt idx="30640">
                  <c:v>0.54645978241483795</c:v>
                </c:pt>
                <c:pt idx="30641">
                  <c:v>0.54647761726413402</c:v>
                </c:pt>
                <c:pt idx="30642">
                  <c:v>0.54649545211342898</c:v>
                </c:pt>
                <c:pt idx="30643">
                  <c:v>0.54651328696272505</c:v>
                </c:pt>
                <c:pt idx="30644">
                  <c:v>0.54653112181202002</c:v>
                </c:pt>
                <c:pt idx="30645">
                  <c:v>0.54654895666131598</c:v>
                </c:pt>
                <c:pt idx="30646">
                  <c:v>0.54656679151061105</c:v>
                </c:pt>
                <c:pt idx="30647">
                  <c:v>0.54658462635990701</c:v>
                </c:pt>
                <c:pt idx="30648">
                  <c:v>0.54660246120920197</c:v>
                </c:pt>
                <c:pt idx="30649">
                  <c:v>0.54662029605849805</c:v>
                </c:pt>
                <c:pt idx="30650">
                  <c:v>0.54663813090779301</c:v>
                </c:pt>
                <c:pt idx="30651">
                  <c:v>0.54665596575708897</c:v>
                </c:pt>
                <c:pt idx="30652">
                  <c:v>0.54667380060638404</c:v>
                </c:pt>
                <c:pt idx="30653">
                  <c:v>0.54669163545568</c:v>
                </c:pt>
                <c:pt idx="30654">
                  <c:v>0.54670947030497596</c:v>
                </c:pt>
                <c:pt idx="30655">
                  <c:v>0.54672730515427104</c:v>
                </c:pt>
                <c:pt idx="30656">
                  <c:v>0.546745140003567</c:v>
                </c:pt>
                <c:pt idx="30657">
                  <c:v>0.54676297485286196</c:v>
                </c:pt>
                <c:pt idx="30658">
                  <c:v>0.54678080970215803</c:v>
                </c:pt>
                <c:pt idx="30659">
                  <c:v>0.54679864455145299</c:v>
                </c:pt>
                <c:pt idx="30660">
                  <c:v>0.54681647940074896</c:v>
                </c:pt>
                <c:pt idx="30661">
                  <c:v>0.54683431425004403</c:v>
                </c:pt>
                <c:pt idx="30662">
                  <c:v>0.54685214909933999</c:v>
                </c:pt>
                <c:pt idx="30663">
                  <c:v>0.54686998394863495</c:v>
                </c:pt>
                <c:pt idx="30664">
                  <c:v>0.54688781879793102</c:v>
                </c:pt>
                <c:pt idx="30665">
                  <c:v>0.54690565364722599</c:v>
                </c:pt>
                <c:pt idx="30666">
                  <c:v>0.54692348849652195</c:v>
                </c:pt>
                <c:pt idx="30667">
                  <c:v>0.54694132334581702</c:v>
                </c:pt>
                <c:pt idx="30668">
                  <c:v>0.54695915819511298</c:v>
                </c:pt>
                <c:pt idx="30669">
                  <c:v>0.54697699304440806</c:v>
                </c:pt>
                <c:pt idx="30670">
                  <c:v>0.54699482789370402</c:v>
                </c:pt>
                <c:pt idx="30671">
                  <c:v>0.54701266274299898</c:v>
                </c:pt>
                <c:pt idx="30672">
                  <c:v>0.54703049759229505</c:v>
                </c:pt>
                <c:pt idx="30673">
                  <c:v>0.54704833244159001</c:v>
                </c:pt>
                <c:pt idx="30674">
                  <c:v>0.54706616729088597</c:v>
                </c:pt>
                <c:pt idx="30675">
                  <c:v>0.54708400214018105</c:v>
                </c:pt>
                <c:pt idx="30676">
                  <c:v>0.54710183698947701</c:v>
                </c:pt>
                <c:pt idx="30677">
                  <c:v>0.54711967183877297</c:v>
                </c:pt>
                <c:pt idx="30678">
                  <c:v>0.54713750668806804</c:v>
                </c:pt>
                <c:pt idx="30679">
                  <c:v>0.547155341537364</c:v>
                </c:pt>
                <c:pt idx="30680">
                  <c:v>0.54717317638665897</c:v>
                </c:pt>
                <c:pt idx="30681">
                  <c:v>0.54719101123595504</c:v>
                </c:pt>
                <c:pt idx="30682">
                  <c:v>0.54720884608525</c:v>
                </c:pt>
                <c:pt idx="30683">
                  <c:v>0.54722668093454596</c:v>
                </c:pt>
                <c:pt idx="30684">
                  <c:v>0.54724451578384103</c:v>
                </c:pt>
                <c:pt idx="30685">
                  <c:v>0.547262350633137</c:v>
                </c:pt>
                <c:pt idx="30686">
                  <c:v>0.54728018548243196</c:v>
                </c:pt>
                <c:pt idx="30687">
                  <c:v>0.54729802033172803</c:v>
                </c:pt>
                <c:pt idx="30688">
                  <c:v>0.54731585518102299</c:v>
                </c:pt>
                <c:pt idx="30689">
                  <c:v>0.54733369003031895</c:v>
                </c:pt>
                <c:pt idx="30690">
                  <c:v>0.54735152487961403</c:v>
                </c:pt>
                <c:pt idx="30691">
                  <c:v>0.54736935972890999</c:v>
                </c:pt>
                <c:pt idx="30692">
                  <c:v>0.54738719457820495</c:v>
                </c:pt>
                <c:pt idx="30693">
                  <c:v>0.54740502942750102</c:v>
                </c:pt>
                <c:pt idx="30694">
                  <c:v>0.54742286427679598</c:v>
                </c:pt>
                <c:pt idx="30695">
                  <c:v>0.54744069912609195</c:v>
                </c:pt>
                <c:pt idx="30696">
                  <c:v>0.54745853397538702</c:v>
                </c:pt>
                <c:pt idx="30697">
                  <c:v>0.54747636882468298</c:v>
                </c:pt>
                <c:pt idx="30698">
                  <c:v>0.54749420367397805</c:v>
                </c:pt>
                <c:pt idx="30699">
                  <c:v>0.54751203852327401</c:v>
                </c:pt>
                <c:pt idx="30700">
                  <c:v>0.54752987337256998</c:v>
                </c:pt>
                <c:pt idx="30701">
                  <c:v>0.54754770822186505</c:v>
                </c:pt>
                <c:pt idx="30702">
                  <c:v>0.54756554307116101</c:v>
                </c:pt>
                <c:pt idx="30703">
                  <c:v>0.54758337792045597</c:v>
                </c:pt>
                <c:pt idx="30704">
                  <c:v>0.54760121276975204</c:v>
                </c:pt>
                <c:pt idx="30705">
                  <c:v>0.54761904761904701</c:v>
                </c:pt>
                <c:pt idx="30706">
                  <c:v>0.54763688246834297</c:v>
                </c:pt>
                <c:pt idx="30707">
                  <c:v>0.54765471731763804</c:v>
                </c:pt>
                <c:pt idx="30708">
                  <c:v>0.547672552166934</c:v>
                </c:pt>
                <c:pt idx="30709">
                  <c:v>0.54769038701622896</c:v>
                </c:pt>
                <c:pt idx="30710">
                  <c:v>0.54770822186552504</c:v>
                </c:pt>
                <c:pt idx="30711">
                  <c:v>0.54772605671482</c:v>
                </c:pt>
                <c:pt idx="30712">
                  <c:v>0.54774389156411596</c:v>
                </c:pt>
                <c:pt idx="30713">
                  <c:v>0.54776172641341103</c:v>
                </c:pt>
                <c:pt idx="30714">
                  <c:v>0.54777956126270699</c:v>
                </c:pt>
                <c:pt idx="30715">
                  <c:v>0.54779739611200196</c:v>
                </c:pt>
                <c:pt idx="30716">
                  <c:v>0.54781523096129803</c:v>
                </c:pt>
                <c:pt idx="30717">
                  <c:v>0.54783306581059299</c:v>
                </c:pt>
                <c:pt idx="30718">
                  <c:v>0.54785090065988895</c:v>
                </c:pt>
                <c:pt idx="30719">
                  <c:v>0.54786873550918402</c:v>
                </c:pt>
                <c:pt idx="30720">
                  <c:v>0.54788657035847999</c:v>
                </c:pt>
                <c:pt idx="30721">
                  <c:v>0.54790440520777595</c:v>
                </c:pt>
                <c:pt idx="30722">
                  <c:v>0.54792224005707102</c:v>
                </c:pt>
                <c:pt idx="30723">
                  <c:v>0.54794007490636698</c:v>
                </c:pt>
                <c:pt idx="30724">
                  <c:v>0.54795790975566205</c:v>
                </c:pt>
                <c:pt idx="30725">
                  <c:v>0.54797574460495801</c:v>
                </c:pt>
                <c:pt idx="30726">
                  <c:v>0.54799357945425298</c:v>
                </c:pt>
                <c:pt idx="30727">
                  <c:v>0.54801141430354905</c:v>
                </c:pt>
                <c:pt idx="30728">
                  <c:v>0.54802924915284401</c:v>
                </c:pt>
                <c:pt idx="30729">
                  <c:v>0.54804708400213997</c:v>
                </c:pt>
                <c:pt idx="30730">
                  <c:v>0.54806491885143505</c:v>
                </c:pt>
                <c:pt idx="30731">
                  <c:v>0.54808275370073101</c:v>
                </c:pt>
                <c:pt idx="30732">
                  <c:v>0.54810058855002597</c:v>
                </c:pt>
                <c:pt idx="30733">
                  <c:v>0.54811842339932204</c:v>
                </c:pt>
                <c:pt idx="30734">
                  <c:v>0.548136258248617</c:v>
                </c:pt>
                <c:pt idx="30735">
                  <c:v>0.54815409309791296</c:v>
                </c:pt>
                <c:pt idx="30736">
                  <c:v>0.54817192794720804</c:v>
                </c:pt>
                <c:pt idx="30737">
                  <c:v>0.548189762796504</c:v>
                </c:pt>
                <c:pt idx="30738">
                  <c:v>0.54820759764579896</c:v>
                </c:pt>
                <c:pt idx="30739">
                  <c:v>0.54822543249509503</c:v>
                </c:pt>
                <c:pt idx="30740">
                  <c:v>0.54824326734439099</c:v>
                </c:pt>
                <c:pt idx="30741">
                  <c:v>0.54826110219368596</c:v>
                </c:pt>
                <c:pt idx="30742">
                  <c:v>0.54827893704298203</c:v>
                </c:pt>
                <c:pt idx="30743">
                  <c:v>0.54829677189227699</c:v>
                </c:pt>
                <c:pt idx="30744">
                  <c:v>0.54831460674157295</c:v>
                </c:pt>
                <c:pt idx="30745">
                  <c:v>0.54833244159086802</c:v>
                </c:pt>
                <c:pt idx="30746">
                  <c:v>0.54835027644016399</c:v>
                </c:pt>
                <c:pt idx="30747">
                  <c:v>0.54836811128945895</c:v>
                </c:pt>
                <c:pt idx="30748">
                  <c:v>0.54838594613875502</c:v>
                </c:pt>
                <c:pt idx="30749">
                  <c:v>0.54840378098804998</c:v>
                </c:pt>
                <c:pt idx="30750">
                  <c:v>0.54842161583734605</c:v>
                </c:pt>
                <c:pt idx="30751">
                  <c:v>0.54843945068664102</c:v>
                </c:pt>
                <c:pt idx="30752">
                  <c:v>0.54845728553593698</c:v>
                </c:pt>
                <c:pt idx="30753">
                  <c:v>0.54847512038523205</c:v>
                </c:pt>
                <c:pt idx="30754">
                  <c:v>0.54849295523452801</c:v>
                </c:pt>
                <c:pt idx="30755">
                  <c:v>0.54851079008382297</c:v>
                </c:pt>
                <c:pt idx="30756">
                  <c:v>0.54852862493311905</c:v>
                </c:pt>
                <c:pt idx="30757">
                  <c:v>0.54854645978241401</c:v>
                </c:pt>
                <c:pt idx="30758">
                  <c:v>0.54856429463170997</c:v>
                </c:pt>
                <c:pt idx="30759">
                  <c:v>0.54858212948100504</c:v>
                </c:pt>
                <c:pt idx="30760">
                  <c:v>0.548599964330301</c:v>
                </c:pt>
                <c:pt idx="30761">
                  <c:v>0.54861779917959697</c:v>
                </c:pt>
                <c:pt idx="30762">
                  <c:v>0.54863563402889204</c:v>
                </c:pt>
                <c:pt idx="30763">
                  <c:v>0.548653468878188</c:v>
                </c:pt>
                <c:pt idx="30764">
                  <c:v>0.54867130372748296</c:v>
                </c:pt>
                <c:pt idx="30765">
                  <c:v>0.54868913857677903</c:v>
                </c:pt>
                <c:pt idx="30766">
                  <c:v>0.548706973426074</c:v>
                </c:pt>
                <c:pt idx="30767">
                  <c:v>0.54872480827536996</c:v>
                </c:pt>
                <c:pt idx="30768">
                  <c:v>0.54874264312466503</c:v>
                </c:pt>
                <c:pt idx="30769">
                  <c:v>0.54876047797396099</c:v>
                </c:pt>
                <c:pt idx="30770">
                  <c:v>0.54877831282325595</c:v>
                </c:pt>
                <c:pt idx="30771">
                  <c:v>0.54879614767255203</c:v>
                </c:pt>
                <c:pt idx="30772">
                  <c:v>0.54881398252184699</c:v>
                </c:pt>
                <c:pt idx="30773">
                  <c:v>0.54883181737114295</c:v>
                </c:pt>
                <c:pt idx="30774">
                  <c:v>0.54884965222043802</c:v>
                </c:pt>
                <c:pt idx="30775">
                  <c:v>0.54886748706973398</c:v>
                </c:pt>
                <c:pt idx="30776">
                  <c:v>0.54888532191902895</c:v>
                </c:pt>
                <c:pt idx="30777">
                  <c:v>0.54890315676832502</c:v>
                </c:pt>
                <c:pt idx="30778">
                  <c:v>0.54892099161761998</c:v>
                </c:pt>
                <c:pt idx="30779">
                  <c:v>0.54893882646691605</c:v>
                </c:pt>
                <c:pt idx="30780">
                  <c:v>0.54895666131621101</c:v>
                </c:pt>
                <c:pt idx="30781">
                  <c:v>0.54897449616550698</c:v>
                </c:pt>
                <c:pt idx="30782">
                  <c:v>0.54899233101480205</c:v>
                </c:pt>
                <c:pt idx="30783">
                  <c:v>0.54901016586409801</c:v>
                </c:pt>
                <c:pt idx="30784">
                  <c:v>0.54902800071339397</c:v>
                </c:pt>
                <c:pt idx="30785">
                  <c:v>0.54904583556268904</c:v>
                </c:pt>
                <c:pt idx="30786">
                  <c:v>0.54906367041198501</c:v>
                </c:pt>
                <c:pt idx="30787">
                  <c:v>0.54908150526127997</c:v>
                </c:pt>
                <c:pt idx="30788">
                  <c:v>0.54909934011057604</c:v>
                </c:pt>
                <c:pt idx="30789">
                  <c:v>0.549117174959871</c:v>
                </c:pt>
                <c:pt idx="30790">
                  <c:v>0.54913500980916696</c:v>
                </c:pt>
                <c:pt idx="30791">
                  <c:v>0.54915284465846204</c:v>
                </c:pt>
                <c:pt idx="30792">
                  <c:v>0.549170679507758</c:v>
                </c:pt>
                <c:pt idx="30793">
                  <c:v>0.54918851435705296</c:v>
                </c:pt>
                <c:pt idx="30794">
                  <c:v>0.54920634920634903</c:v>
                </c:pt>
                <c:pt idx="30795">
                  <c:v>0.54922418405564399</c:v>
                </c:pt>
                <c:pt idx="30796">
                  <c:v>0.54924201890493995</c:v>
                </c:pt>
                <c:pt idx="30797">
                  <c:v>0.54925985375423503</c:v>
                </c:pt>
                <c:pt idx="30798">
                  <c:v>0.54927768860353099</c:v>
                </c:pt>
                <c:pt idx="30799">
                  <c:v>0.54929552345282595</c:v>
                </c:pt>
                <c:pt idx="30800">
                  <c:v>0.54931335830212202</c:v>
                </c:pt>
                <c:pt idx="30801">
                  <c:v>0.54933119315141699</c:v>
                </c:pt>
                <c:pt idx="30802">
                  <c:v>0.54934902800071295</c:v>
                </c:pt>
                <c:pt idx="30803">
                  <c:v>0.54936686285000802</c:v>
                </c:pt>
                <c:pt idx="30804">
                  <c:v>0.54938469769930398</c:v>
                </c:pt>
                <c:pt idx="30805">
                  <c:v>0.54940253254859905</c:v>
                </c:pt>
                <c:pt idx="30806">
                  <c:v>0.54942036739789502</c:v>
                </c:pt>
                <c:pt idx="30807">
                  <c:v>0.54943820224719098</c:v>
                </c:pt>
                <c:pt idx="30808">
                  <c:v>0.54945603709648605</c:v>
                </c:pt>
                <c:pt idx="30809">
                  <c:v>0.54947387194578201</c:v>
                </c:pt>
                <c:pt idx="30810">
                  <c:v>0.54949170679507697</c:v>
                </c:pt>
                <c:pt idx="30811">
                  <c:v>0.54950954164437305</c:v>
                </c:pt>
                <c:pt idx="30812">
                  <c:v>0.54952737649366801</c:v>
                </c:pt>
                <c:pt idx="30813">
                  <c:v>0.54954521134296397</c:v>
                </c:pt>
                <c:pt idx="30814">
                  <c:v>0.54956304619225904</c:v>
                </c:pt>
                <c:pt idx="30815">
                  <c:v>0.549580881041555</c:v>
                </c:pt>
                <c:pt idx="30816">
                  <c:v>0.54959871589084996</c:v>
                </c:pt>
                <c:pt idx="30817">
                  <c:v>0.54961655074014604</c:v>
                </c:pt>
                <c:pt idx="30818">
                  <c:v>0.549634385589441</c:v>
                </c:pt>
                <c:pt idx="30819">
                  <c:v>0.54965222043873696</c:v>
                </c:pt>
                <c:pt idx="30820">
                  <c:v>0.54967005528803203</c:v>
                </c:pt>
                <c:pt idx="30821">
                  <c:v>0.54968789013732799</c:v>
                </c:pt>
                <c:pt idx="30822">
                  <c:v>0.54970572498662296</c:v>
                </c:pt>
                <c:pt idx="30823">
                  <c:v>0.54972355983591903</c:v>
                </c:pt>
                <c:pt idx="30824">
                  <c:v>0.54974139468521399</c:v>
                </c:pt>
                <c:pt idx="30825">
                  <c:v>0.54975922953450995</c:v>
                </c:pt>
                <c:pt idx="30826">
                  <c:v>0.54977706438380503</c:v>
                </c:pt>
                <c:pt idx="30827">
                  <c:v>0.54979489923310099</c:v>
                </c:pt>
                <c:pt idx="30828">
                  <c:v>0.54981273408239695</c:v>
                </c:pt>
                <c:pt idx="30829">
                  <c:v>0.54983056893169202</c:v>
                </c:pt>
                <c:pt idx="30830">
                  <c:v>0.54984840378098798</c:v>
                </c:pt>
                <c:pt idx="30831">
                  <c:v>0.54986623863028306</c:v>
                </c:pt>
                <c:pt idx="30832">
                  <c:v>0.54988407347957902</c:v>
                </c:pt>
                <c:pt idx="30833">
                  <c:v>0.54990190832887398</c:v>
                </c:pt>
                <c:pt idx="30834">
                  <c:v>0.54991974317817005</c:v>
                </c:pt>
                <c:pt idx="30835">
                  <c:v>0.54993757802746501</c:v>
                </c:pt>
                <c:pt idx="30836">
                  <c:v>0.54995541287676097</c:v>
                </c:pt>
                <c:pt idx="30837">
                  <c:v>0.54997324772605605</c:v>
                </c:pt>
                <c:pt idx="30838">
                  <c:v>0.54999108257535201</c:v>
                </c:pt>
                <c:pt idx="30839">
                  <c:v>0.55000891742464697</c:v>
                </c:pt>
                <c:pt idx="30840">
                  <c:v>0.55002675227394304</c:v>
                </c:pt>
                <c:pt idx="30841">
                  <c:v>0.550044587123238</c:v>
                </c:pt>
                <c:pt idx="30842">
                  <c:v>0.55006242197253397</c:v>
                </c:pt>
                <c:pt idx="30843">
                  <c:v>0.55008025682182904</c:v>
                </c:pt>
                <c:pt idx="30844">
                  <c:v>0.550098091671125</c:v>
                </c:pt>
                <c:pt idx="30845">
                  <c:v>0.55011592652041996</c:v>
                </c:pt>
                <c:pt idx="30846">
                  <c:v>0.55013376136971603</c:v>
                </c:pt>
                <c:pt idx="30847">
                  <c:v>0.550151596219012</c:v>
                </c:pt>
                <c:pt idx="30848">
                  <c:v>0.55016943106830696</c:v>
                </c:pt>
                <c:pt idx="30849">
                  <c:v>0.55018726591760303</c:v>
                </c:pt>
                <c:pt idx="30850">
                  <c:v>0.55020510076689799</c:v>
                </c:pt>
                <c:pt idx="30851">
                  <c:v>0.55022293561619395</c:v>
                </c:pt>
                <c:pt idx="30852">
                  <c:v>0.55024077046548903</c:v>
                </c:pt>
                <c:pt idx="30853">
                  <c:v>0.55025860531478499</c:v>
                </c:pt>
                <c:pt idx="30854">
                  <c:v>0.55027644016407995</c:v>
                </c:pt>
                <c:pt idx="30855">
                  <c:v>0.55029427501337602</c:v>
                </c:pt>
                <c:pt idx="30856">
                  <c:v>0.55031210986267098</c:v>
                </c:pt>
                <c:pt idx="30857">
                  <c:v>0.55032994471196695</c:v>
                </c:pt>
                <c:pt idx="30858">
                  <c:v>0.55034777956126202</c:v>
                </c:pt>
                <c:pt idx="30859">
                  <c:v>0.55036561441055798</c:v>
                </c:pt>
                <c:pt idx="30860">
                  <c:v>0.55038344925985305</c:v>
                </c:pt>
                <c:pt idx="30861">
                  <c:v>0.55040128410914901</c:v>
                </c:pt>
                <c:pt idx="30862">
                  <c:v>0.55041911895844398</c:v>
                </c:pt>
                <c:pt idx="30863">
                  <c:v>0.55043695380774005</c:v>
                </c:pt>
                <c:pt idx="30864">
                  <c:v>0.55045478865703501</c:v>
                </c:pt>
                <c:pt idx="30865">
                  <c:v>0.55047262350633097</c:v>
                </c:pt>
                <c:pt idx="30866">
                  <c:v>0.55049045835562604</c:v>
                </c:pt>
                <c:pt idx="30867">
                  <c:v>0.55050829320492201</c:v>
                </c:pt>
                <c:pt idx="30868">
                  <c:v>0.55052612805421797</c:v>
                </c:pt>
                <c:pt idx="30869">
                  <c:v>0.55054396290351304</c:v>
                </c:pt>
                <c:pt idx="30870">
                  <c:v>0.550561797752809</c:v>
                </c:pt>
                <c:pt idx="30871">
                  <c:v>0.55057963260210396</c:v>
                </c:pt>
                <c:pt idx="30872">
                  <c:v>0.55059746745140004</c:v>
                </c:pt>
                <c:pt idx="30873">
                  <c:v>0.550615302300695</c:v>
                </c:pt>
                <c:pt idx="30874">
                  <c:v>0.55063313714999096</c:v>
                </c:pt>
                <c:pt idx="30875">
                  <c:v>0.55065097199928603</c:v>
                </c:pt>
                <c:pt idx="30876">
                  <c:v>0.55066880684858199</c:v>
                </c:pt>
                <c:pt idx="30877">
                  <c:v>0.55068664169787696</c:v>
                </c:pt>
                <c:pt idx="30878">
                  <c:v>0.55070447654717303</c:v>
                </c:pt>
                <c:pt idx="30879">
                  <c:v>0.55072231139646799</c:v>
                </c:pt>
                <c:pt idx="30880">
                  <c:v>0.55074014624576395</c:v>
                </c:pt>
                <c:pt idx="30881">
                  <c:v>0.55075798109505902</c:v>
                </c:pt>
                <c:pt idx="30882">
                  <c:v>0.55077581594435499</c:v>
                </c:pt>
                <c:pt idx="30883">
                  <c:v>0.55079365079364995</c:v>
                </c:pt>
                <c:pt idx="30884">
                  <c:v>0.55081148564294602</c:v>
                </c:pt>
                <c:pt idx="30885">
                  <c:v>0.55082932049224098</c:v>
                </c:pt>
                <c:pt idx="30886">
                  <c:v>0.55084715534153705</c:v>
                </c:pt>
                <c:pt idx="30887">
                  <c:v>0.55086499019083202</c:v>
                </c:pt>
                <c:pt idx="30888">
                  <c:v>0.55088282504012798</c:v>
                </c:pt>
                <c:pt idx="30889">
                  <c:v>0.55090065988942305</c:v>
                </c:pt>
                <c:pt idx="30890">
                  <c:v>0.55091849473871901</c:v>
                </c:pt>
                <c:pt idx="30891">
                  <c:v>0.55093632958801497</c:v>
                </c:pt>
                <c:pt idx="30892">
                  <c:v>0.55095416443731005</c:v>
                </c:pt>
                <c:pt idx="30893">
                  <c:v>0.55097199928660601</c:v>
                </c:pt>
                <c:pt idx="30894">
                  <c:v>0.55098983413590097</c:v>
                </c:pt>
                <c:pt idx="30895">
                  <c:v>0.55100766898519704</c:v>
                </c:pt>
                <c:pt idx="30896">
                  <c:v>0.551025503834492</c:v>
                </c:pt>
                <c:pt idx="30897">
                  <c:v>0.55104333868378796</c:v>
                </c:pt>
                <c:pt idx="30898">
                  <c:v>0.55106117353308304</c:v>
                </c:pt>
                <c:pt idx="30899">
                  <c:v>0.551079008382379</c:v>
                </c:pt>
                <c:pt idx="30900">
                  <c:v>0.55109684323167396</c:v>
                </c:pt>
                <c:pt idx="30901">
                  <c:v>0.55111467808097003</c:v>
                </c:pt>
                <c:pt idx="30902">
                  <c:v>0.55113251293026499</c:v>
                </c:pt>
                <c:pt idx="30903">
                  <c:v>0.55115034777956096</c:v>
                </c:pt>
                <c:pt idx="30904">
                  <c:v>0.55116818262885603</c:v>
                </c:pt>
                <c:pt idx="30905">
                  <c:v>0.55118601747815199</c:v>
                </c:pt>
                <c:pt idx="30906">
                  <c:v>0.55120385232744695</c:v>
                </c:pt>
                <c:pt idx="30907">
                  <c:v>0.55122168717674302</c:v>
                </c:pt>
                <c:pt idx="30908">
                  <c:v>0.55123952202603799</c:v>
                </c:pt>
                <c:pt idx="30909">
                  <c:v>0.55125735687533395</c:v>
                </c:pt>
                <c:pt idx="30910">
                  <c:v>0.55127519172462902</c:v>
                </c:pt>
                <c:pt idx="30911">
                  <c:v>0.55129302657392498</c:v>
                </c:pt>
                <c:pt idx="30912">
                  <c:v>0.55131086142322006</c:v>
                </c:pt>
                <c:pt idx="30913">
                  <c:v>0.55132869627251602</c:v>
                </c:pt>
                <c:pt idx="30914">
                  <c:v>0.55134653112181198</c:v>
                </c:pt>
                <c:pt idx="30915">
                  <c:v>0.55136436597110705</c:v>
                </c:pt>
                <c:pt idx="30916">
                  <c:v>0.55138220082040301</c:v>
                </c:pt>
                <c:pt idx="30917">
                  <c:v>0.55140003566969797</c:v>
                </c:pt>
                <c:pt idx="30918">
                  <c:v>0.55141787051899405</c:v>
                </c:pt>
                <c:pt idx="30919">
                  <c:v>0.55143570536828901</c:v>
                </c:pt>
                <c:pt idx="30920">
                  <c:v>0.55145354021758497</c:v>
                </c:pt>
                <c:pt idx="30921">
                  <c:v>0.55147137506688004</c:v>
                </c:pt>
                <c:pt idx="30922">
                  <c:v>0.551489209916176</c:v>
                </c:pt>
                <c:pt idx="30923">
                  <c:v>0.55150704476547097</c:v>
                </c:pt>
                <c:pt idx="30924">
                  <c:v>0.55152487961476704</c:v>
                </c:pt>
                <c:pt idx="30925">
                  <c:v>0.551542714464062</c:v>
                </c:pt>
                <c:pt idx="30926">
                  <c:v>0.55156054931335796</c:v>
                </c:pt>
                <c:pt idx="30927">
                  <c:v>0.55157838416265303</c:v>
                </c:pt>
                <c:pt idx="30928">
                  <c:v>0.551596219011949</c:v>
                </c:pt>
                <c:pt idx="30929">
                  <c:v>0.55161405386124396</c:v>
                </c:pt>
                <c:pt idx="30930">
                  <c:v>0.55163188871054003</c:v>
                </c:pt>
                <c:pt idx="30931">
                  <c:v>0.55164972355983499</c:v>
                </c:pt>
                <c:pt idx="30932">
                  <c:v>0.55166755840913095</c:v>
                </c:pt>
                <c:pt idx="30933">
                  <c:v>0.55168539325842603</c:v>
                </c:pt>
                <c:pt idx="30934">
                  <c:v>0.55170322810772199</c:v>
                </c:pt>
                <c:pt idx="30935">
                  <c:v>0.55172106295701795</c:v>
                </c:pt>
                <c:pt idx="30936">
                  <c:v>0.55173889780631302</c:v>
                </c:pt>
                <c:pt idx="30937">
                  <c:v>0.55175673265560898</c:v>
                </c:pt>
                <c:pt idx="30938">
                  <c:v>0.55177456750490395</c:v>
                </c:pt>
                <c:pt idx="30939">
                  <c:v>0.55179240235420002</c:v>
                </c:pt>
                <c:pt idx="30940">
                  <c:v>0.55181023720349498</c:v>
                </c:pt>
                <c:pt idx="30941">
                  <c:v>0.55182807205279105</c:v>
                </c:pt>
                <c:pt idx="30942">
                  <c:v>0.55184590690208601</c:v>
                </c:pt>
                <c:pt idx="30943">
                  <c:v>0.55186374175138198</c:v>
                </c:pt>
                <c:pt idx="30944">
                  <c:v>0.55188157660067705</c:v>
                </c:pt>
                <c:pt idx="30945">
                  <c:v>0.55189941144997301</c:v>
                </c:pt>
                <c:pt idx="30946">
                  <c:v>0.55191724629926797</c:v>
                </c:pt>
                <c:pt idx="30947">
                  <c:v>0.55193508114856404</c:v>
                </c:pt>
                <c:pt idx="30948">
                  <c:v>0.55195291599785901</c:v>
                </c:pt>
                <c:pt idx="30949">
                  <c:v>0.55197075084715497</c:v>
                </c:pt>
                <c:pt idx="30950">
                  <c:v>0.55198858569645004</c:v>
                </c:pt>
                <c:pt idx="30951">
                  <c:v>0.552006420545746</c:v>
                </c:pt>
                <c:pt idx="30952">
                  <c:v>0.55202425539504196</c:v>
                </c:pt>
                <c:pt idx="30953">
                  <c:v>0.55204209024433704</c:v>
                </c:pt>
                <c:pt idx="30954">
                  <c:v>0.552059925093633</c:v>
                </c:pt>
                <c:pt idx="30955">
                  <c:v>0.55207775994292796</c:v>
                </c:pt>
                <c:pt idx="30956">
                  <c:v>0.55209559479222403</c:v>
                </c:pt>
                <c:pt idx="30957">
                  <c:v>0.55211342964151899</c:v>
                </c:pt>
                <c:pt idx="30958">
                  <c:v>0.55213126449081495</c:v>
                </c:pt>
                <c:pt idx="30959">
                  <c:v>0.55214909934011003</c:v>
                </c:pt>
                <c:pt idx="30960">
                  <c:v>0.55216693418940599</c:v>
                </c:pt>
                <c:pt idx="30961">
                  <c:v>0.55218476903870095</c:v>
                </c:pt>
                <c:pt idx="30962">
                  <c:v>0.55220260388799702</c:v>
                </c:pt>
                <c:pt idx="30963">
                  <c:v>0.55222043873729199</c:v>
                </c:pt>
                <c:pt idx="30964">
                  <c:v>0.55223827358658795</c:v>
                </c:pt>
                <c:pt idx="30965">
                  <c:v>0.55225610843588302</c:v>
                </c:pt>
                <c:pt idx="30966">
                  <c:v>0.55227394328517898</c:v>
                </c:pt>
                <c:pt idx="30967">
                  <c:v>0.55229177813447405</c:v>
                </c:pt>
                <c:pt idx="30968">
                  <c:v>0.55230961298377002</c:v>
                </c:pt>
                <c:pt idx="30969">
                  <c:v>0.55232744783306498</c:v>
                </c:pt>
                <c:pt idx="30970">
                  <c:v>0.55234528268236105</c:v>
                </c:pt>
                <c:pt idx="30971">
                  <c:v>0.55236311753165601</c:v>
                </c:pt>
                <c:pt idx="30972">
                  <c:v>0.55238095238095197</c:v>
                </c:pt>
                <c:pt idx="30973">
                  <c:v>0.55239878723024705</c:v>
                </c:pt>
                <c:pt idx="30974">
                  <c:v>0.55241662207954301</c:v>
                </c:pt>
                <c:pt idx="30975">
                  <c:v>0.55243445692883897</c:v>
                </c:pt>
                <c:pt idx="30976">
                  <c:v>0.55245229177813404</c:v>
                </c:pt>
                <c:pt idx="30977">
                  <c:v>0.55247012662743</c:v>
                </c:pt>
                <c:pt idx="30978">
                  <c:v>0.55248796147672496</c:v>
                </c:pt>
                <c:pt idx="30979">
                  <c:v>0.55250579632602104</c:v>
                </c:pt>
                <c:pt idx="30980">
                  <c:v>0.552523631175316</c:v>
                </c:pt>
                <c:pt idx="30981">
                  <c:v>0.55254146602461196</c:v>
                </c:pt>
                <c:pt idx="30982">
                  <c:v>0.55255930087390703</c:v>
                </c:pt>
                <c:pt idx="30983">
                  <c:v>0.55257713572320299</c:v>
                </c:pt>
                <c:pt idx="30984">
                  <c:v>0.55259497057249796</c:v>
                </c:pt>
                <c:pt idx="30985">
                  <c:v>0.55261280542179403</c:v>
                </c:pt>
                <c:pt idx="30986">
                  <c:v>0.55263064027108899</c:v>
                </c:pt>
                <c:pt idx="30987">
                  <c:v>0.55264847512038495</c:v>
                </c:pt>
                <c:pt idx="30988">
                  <c:v>0.55266630996968003</c:v>
                </c:pt>
                <c:pt idx="30989">
                  <c:v>0.55268414481897599</c:v>
                </c:pt>
                <c:pt idx="30990">
                  <c:v>0.55270197966827095</c:v>
                </c:pt>
                <c:pt idx="30991">
                  <c:v>0.55271981451756702</c:v>
                </c:pt>
                <c:pt idx="30992">
                  <c:v>0.55273764936686198</c:v>
                </c:pt>
                <c:pt idx="30993">
                  <c:v>0.55275548421615806</c:v>
                </c:pt>
                <c:pt idx="30994">
                  <c:v>0.55277331906545302</c:v>
                </c:pt>
                <c:pt idx="30995">
                  <c:v>0.55279115391474898</c:v>
                </c:pt>
                <c:pt idx="30996">
                  <c:v>0.55280898876404405</c:v>
                </c:pt>
                <c:pt idx="30997">
                  <c:v>0.55282682361334001</c:v>
                </c:pt>
                <c:pt idx="30998">
                  <c:v>0.55284465846263597</c:v>
                </c:pt>
                <c:pt idx="30999">
                  <c:v>0.55286249331193105</c:v>
                </c:pt>
                <c:pt idx="31000">
                  <c:v>0.55288032816122701</c:v>
                </c:pt>
                <c:pt idx="31001">
                  <c:v>0.55289816301052197</c:v>
                </c:pt>
                <c:pt idx="31002">
                  <c:v>0.55291599785981804</c:v>
                </c:pt>
                <c:pt idx="31003">
                  <c:v>0.552933832709113</c:v>
                </c:pt>
                <c:pt idx="31004">
                  <c:v>0.55295166755840897</c:v>
                </c:pt>
                <c:pt idx="31005">
                  <c:v>0.55296950240770404</c:v>
                </c:pt>
                <c:pt idx="31006">
                  <c:v>0.552987337257</c:v>
                </c:pt>
                <c:pt idx="31007">
                  <c:v>0.55300517210629496</c:v>
                </c:pt>
                <c:pt idx="31008">
                  <c:v>0.55302300695559103</c:v>
                </c:pt>
                <c:pt idx="31009">
                  <c:v>0.553040841804886</c:v>
                </c:pt>
                <c:pt idx="31010">
                  <c:v>0.55305867665418196</c:v>
                </c:pt>
                <c:pt idx="31011">
                  <c:v>0.55307651150347703</c:v>
                </c:pt>
                <c:pt idx="31012">
                  <c:v>0.55309434635277299</c:v>
                </c:pt>
                <c:pt idx="31013">
                  <c:v>0.55311218120206795</c:v>
                </c:pt>
                <c:pt idx="31014">
                  <c:v>0.55313001605136403</c:v>
                </c:pt>
                <c:pt idx="31015">
                  <c:v>0.55314785090065899</c:v>
                </c:pt>
                <c:pt idx="31016">
                  <c:v>0.55316568574995495</c:v>
                </c:pt>
                <c:pt idx="31017">
                  <c:v>0.55318352059925002</c:v>
                </c:pt>
                <c:pt idx="31018">
                  <c:v>0.55320135544854598</c:v>
                </c:pt>
                <c:pt idx="31019">
                  <c:v>0.55321919029784195</c:v>
                </c:pt>
                <c:pt idx="31020">
                  <c:v>0.55323702514713702</c:v>
                </c:pt>
                <c:pt idx="31021">
                  <c:v>0.55325485999643298</c:v>
                </c:pt>
                <c:pt idx="31022">
                  <c:v>0.55327269484572805</c:v>
                </c:pt>
                <c:pt idx="31023">
                  <c:v>0.55329052969502401</c:v>
                </c:pt>
                <c:pt idx="31024">
                  <c:v>0.55330836454431898</c:v>
                </c:pt>
                <c:pt idx="31025">
                  <c:v>0.55332619939361505</c:v>
                </c:pt>
                <c:pt idx="31026">
                  <c:v>0.55334403424291001</c:v>
                </c:pt>
                <c:pt idx="31027">
                  <c:v>0.55336186909220597</c:v>
                </c:pt>
                <c:pt idx="31028">
                  <c:v>0.55337970394150104</c:v>
                </c:pt>
                <c:pt idx="31029">
                  <c:v>0.55339753879079701</c:v>
                </c:pt>
                <c:pt idx="31030">
                  <c:v>0.55341537364009197</c:v>
                </c:pt>
                <c:pt idx="31031">
                  <c:v>0.55343320848938804</c:v>
                </c:pt>
                <c:pt idx="31032">
                  <c:v>0.553451043338683</c:v>
                </c:pt>
                <c:pt idx="31033">
                  <c:v>0.55346887818797896</c:v>
                </c:pt>
                <c:pt idx="31034">
                  <c:v>0.55348671303727404</c:v>
                </c:pt>
                <c:pt idx="31035">
                  <c:v>0.55350454788657</c:v>
                </c:pt>
                <c:pt idx="31036">
                  <c:v>0.55352238273586496</c:v>
                </c:pt>
                <c:pt idx="31037">
                  <c:v>0.55354021758516103</c:v>
                </c:pt>
                <c:pt idx="31038">
                  <c:v>0.55355805243445599</c:v>
                </c:pt>
                <c:pt idx="31039">
                  <c:v>0.55357588728375196</c:v>
                </c:pt>
                <c:pt idx="31040">
                  <c:v>0.55359372213304803</c:v>
                </c:pt>
                <c:pt idx="31041">
                  <c:v>0.55361155698234299</c:v>
                </c:pt>
                <c:pt idx="31042">
                  <c:v>0.55362939183163895</c:v>
                </c:pt>
                <c:pt idx="31043">
                  <c:v>0.55364722668093402</c:v>
                </c:pt>
                <c:pt idx="31044">
                  <c:v>0.55366506153022998</c:v>
                </c:pt>
                <c:pt idx="31045">
                  <c:v>0.55368289637952495</c:v>
                </c:pt>
                <c:pt idx="31046">
                  <c:v>0.55370073122882102</c:v>
                </c:pt>
                <c:pt idx="31047">
                  <c:v>0.55371856607811598</c:v>
                </c:pt>
                <c:pt idx="31048">
                  <c:v>0.55373640092741205</c:v>
                </c:pt>
                <c:pt idx="31049">
                  <c:v>0.55375423577670702</c:v>
                </c:pt>
                <c:pt idx="31050">
                  <c:v>0.55377207062600298</c:v>
                </c:pt>
                <c:pt idx="31051">
                  <c:v>0.55378990547529805</c:v>
                </c:pt>
                <c:pt idx="31052">
                  <c:v>0.55380774032459401</c:v>
                </c:pt>
                <c:pt idx="31053">
                  <c:v>0.55382557517388897</c:v>
                </c:pt>
                <c:pt idx="31054">
                  <c:v>0.55384341002318505</c:v>
                </c:pt>
                <c:pt idx="31055">
                  <c:v>0.55386124487248001</c:v>
                </c:pt>
                <c:pt idx="31056">
                  <c:v>0.55387907972177597</c:v>
                </c:pt>
                <c:pt idx="31057">
                  <c:v>0.55389691457107104</c:v>
                </c:pt>
                <c:pt idx="31058">
                  <c:v>0.553914749420367</c:v>
                </c:pt>
                <c:pt idx="31059">
                  <c:v>0.55393258426966296</c:v>
                </c:pt>
                <c:pt idx="31060">
                  <c:v>0.55395041911895804</c:v>
                </c:pt>
                <c:pt idx="31061">
                  <c:v>0.553968253968254</c:v>
                </c:pt>
                <c:pt idx="31062">
                  <c:v>0.55398608881754896</c:v>
                </c:pt>
                <c:pt idx="31063">
                  <c:v>0.55400392366684503</c:v>
                </c:pt>
                <c:pt idx="31064">
                  <c:v>0.55402175851613999</c:v>
                </c:pt>
                <c:pt idx="31065">
                  <c:v>0.55403959336543596</c:v>
                </c:pt>
                <c:pt idx="31066">
                  <c:v>0.55405742821473103</c:v>
                </c:pt>
                <c:pt idx="31067">
                  <c:v>0.55407526306402699</c:v>
                </c:pt>
                <c:pt idx="31068">
                  <c:v>0.55409309791332195</c:v>
                </c:pt>
                <c:pt idx="31069">
                  <c:v>0.55411093276261802</c:v>
                </c:pt>
                <c:pt idx="31070">
                  <c:v>0.55412876761191299</c:v>
                </c:pt>
                <c:pt idx="31071">
                  <c:v>0.55414660246120895</c:v>
                </c:pt>
                <c:pt idx="31072">
                  <c:v>0.55416443731050402</c:v>
                </c:pt>
                <c:pt idx="31073">
                  <c:v>0.55418227215979998</c:v>
                </c:pt>
                <c:pt idx="31074">
                  <c:v>0.55420010700909506</c:v>
                </c:pt>
                <c:pt idx="31075">
                  <c:v>0.55421794185839102</c:v>
                </c:pt>
                <c:pt idx="31076">
                  <c:v>0.55423577670768598</c:v>
                </c:pt>
                <c:pt idx="31077">
                  <c:v>0.55425361155698205</c:v>
                </c:pt>
                <c:pt idx="31078">
                  <c:v>0.55427144640627701</c:v>
                </c:pt>
                <c:pt idx="31079">
                  <c:v>0.55428928125557297</c:v>
                </c:pt>
                <c:pt idx="31080">
                  <c:v>0.55430711610486805</c:v>
                </c:pt>
                <c:pt idx="31081">
                  <c:v>0.55432495095416401</c:v>
                </c:pt>
                <c:pt idx="31082">
                  <c:v>0.55434278580345997</c:v>
                </c:pt>
                <c:pt idx="31083">
                  <c:v>0.55436062065275504</c:v>
                </c:pt>
                <c:pt idx="31084">
                  <c:v>0.554378455502051</c:v>
                </c:pt>
                <c:pt idx="31085">
                  <c:v>0.55439629035134597</c:v>
                </c:pt>
                <c:pt idx="31086">
                  <c:v>0.55441412520064204</c:v>
                </c:pt>
                <c:pt idx="31087">
                  <c:v>0.554431960049937</c:v>
                </c:pt>
                <c:pt idx="31088">
                  <c:v>0.55444979489923296</c:v>
                </c:pt>
                <c:pt idx="31089">
                  <c:v>0.55446762974852803</c:v>
                </c:pt>
                <c:pt idx="31090">
                  <c:v>0.554485464597824</c:v>
                </c:pt>
                <c:pt idx="31091">
                  <c:v>0.55450329944711896</c:v>
                </c:pt>
                <c:pt idx="31092">
                  <c:v>0.55452113429641503</c:v>
                </c:pt>
                <c:pt idx="31093">
                  <c:v>0.55453896914570999</c:v>
                </c:pt>
                <c:pt idx="31094">
                  <c:v>0.55455680399500595</c:v>
                </c:pt>
                <c:pt idx="31095">
                  <c:v>0.55457463884430103</c:v>
                </c:pt>
                <c:pt idx="31096">
                  <c:v>0.55459247369359699</c:v>
                </c:pt>
                <c:pt idx="31097">
                  <c:v>0.55461030854289195</c:v>
                </c:pt>
                <c:pt idx="31098">
                  <c:v>0.55462814339218802</c:v>
                </c:pt>
                <c:pt idx="31099">
                  <c:v>0.55464597824148298</c:v>
                </c:pt>
                <c:pt idx="31100">
                  <c:v>0.55466381309077895</c:v>
                </c:pt>
                <c:pt idx="31101">
                  <c:v>0.55468164794007402</c:v>
                </c:pt>
                <c:pt idx="31102">
                  <c:v>0.55469948278936998</c:v>
                </c:pt>
                <c:pt idx="31103">
                  <c:v>0.55471731763866505</c:v>
                </c:pt>
                <c:pt idx="31104">
                  <c:v>0.55473515248796101</c:v>
                </c:pt>
                <c:pt idx="31105">
                  <c:v>0.55475298733725698</c:v>
                </c:pt>
                <c:pt idx="31106">
                  <c:v>0.55477082218655205</c:v>
                </c:pt>
                <c:pt idx="31107">
                  <c:v>0.55478865703584801</c:v>
                </c:pt>
                <c:pt idx="31108">
                  <c:v>0.55480649188514297</c:v>
                </c:pt>
                <c:pt idx="31109">
                  <c:v>0.55482432673443904</c:v>
                </c:pt>
                <c:pt idx="31110">
                  <c:v>0.55484216158373401</c:v>
                </c:pt>
                <c:pt idx="31111">
                  <c:v>0.55485999643302997</c:v>
                </c:pt>
                <c:pt idx="31112">
                  <c:v>0.55487783128232504</c:v>
                </c:pt>
                <c:pt idx="31113">
                  <c:v>0.554895666131621</c:v>
                </c:pt>
                <c:pt idx="31114">
                  <c:v>0.55491350098091596</c:v>
                </c:pt>
                <c:pt idx="31115">
                  <c:v>0.55493133583021204</c:v>
                </c:pt>
                <c:pt idx="31116">
                  <c:v>0.554949170679507</c:v>
                </c:pt>
                <c:pt idx="31117">
                  <c:v>0.55496700552880296</c:v>
                </c:pt>
                <c:pt idx="31118">
                  <c:v>0.55498484037809803</c:v>
                </c:pt>
                <c:pt idx="31119">
                  <c:v>0.55500267522739399</c:v>
                </c:pt>
                <c:pt idx="31120">
                  <c:v>0.55502051007668896</c:v>
                </c:pt>
                <c:pt idx="31121">
                  <c:v>0.55503834492598503</c:v>
                </c:pt>
                <c:pt idx="31122">
                  <c:v>0.55505617977527999</c:v>
                </c:pt>
                <c:pt idx="31123">
                  <c:v>0.55507401462457595</c:v>
                </c:pt>
                <c:pt idx="31124">
                  <c:v>0.55509184947387102</c:v>
                </c:pt>
                <c:pt idx="31125">
                  <c:v>0.55510968432316699</c:v>
                </c:pt>
                <c:pt idx="31126">
                  <c:v>0.55512751917246295</c:v>
                </c:pt>
                <c:pt idx="31127">
                  <c:v>0.55514535402175802</c:v>
                </c:pt>
                <c:pt idx="31128">
                  <c:v>0.55516318887105398</c:v>
                </c:pt>
                <c:pt idx="31129">
                  <c:v>0.55518102372034905</c:v>
                </c:pt>
                <c:pt idx="31130">
                  <c:v>0.55519885856964502</c:v>
                </c:pt>
                <c:pt idx="31131">
                  <c:v>0.55521669341893998</c:v>
                </c:pt>
                <c:pt idx="31132">
                  <c:v>0.55523452826823605</c:v>
                </c:pt>
                <c:pt idx="31133">
                  <c:v>0.55525236311753101</c:v>
                </c:pt>
                <c:pt idx="31134">
                  <c:v>0.55527019796682697</c:v>
                </c:pt>
                <c:pt idx="31135">
                  <c:v>0.55528803281612205</c:v>
                </c:pt>
                <c:pt idx="31136">
                  <c:v>0.55530586766541801</c:v>
                </c:pt>
                <c:pt idx="31137">
                  <c:v>0.55532370251471297</c:v>
                </c:pt>
                <c:pt idx="31138">
                  <c:v>0.55534153736400904</c:v>
                </c:pt>
                <c:pt idx="31139">
                  <c:v>0.555359372213304</c:v>
                </c:pt>
                <c:pt idx="31140">
                  <c:v>0.55537720706259996</c:v>
                </c:pt>
                <c:pt idx="31141">
                  <c:v>0.55539504191189504</c:v>
                </c:pt>
                <c:pt idx="31142">
                  <c:v>0.555412876761191</c:v>
                </c:pt>
                <c:pt idx="31143">
                  <c:v>0.55543071161048596</c:v>
                </c:pt>
                <c:pt idx="31144">
                  <c:v>0.55544854645978203</c:v>
                </c:pt>
                <c:pt idx="31145">
                  <c:v>0.555466381309077</c:v>
                </c:pt>
                <c:pt idx="31146">
                  <c:v>0.55548421615837296</c:v>
                </c:pt>
                <c:pt idx="31147">
                  <c:v>0.55550205100766903</c:v>
                </c:pt>
                <c:pt idx="31148">
                  <c:v>0.55551988585696399</c:v>
                </c:pt>
                <c:pt idx="31149">
                  <c:v>0.55553772070625995</c:v>
                </c:pt>
                <c:pt idx="31150">
                  <c:v>0.55555555555555503</c:v>
                </c:pt>
                <c:pt idx="31151">
                  <c:v>0.55557339040485099</c:v>
                </c:pt>
                <c:pt idx="31152">
                  <c:v>0.55559122525414595</c:v>
                </c:pt>
                <c:pt idx="31153">
                  <c:v>0.55560906010344202</c:v>
                </c:pt>
                <c:pt idx="31154">
                  <c:v>0.55562689495273698</c:v>
                </c:pt>
                <c:pt idx="31155">
                  <c:v>0.55564472980203305</c:v>
                </c:pt>
                <c:pt idx="31156">
                  <c:v>0.55566256465132802</c:v>
                </c:pt>
                <c:pt idx="31157">
                  <c:v>0.55568039950062398</c:v>
                </c:pt>
                <c:pt idx="31158">
                  <c:v>0.55569823434991905</c:v>
                </c:pt>
                <c:pt idx="31159">
                  <c:v>0.55571606919921501</c:v>
                </c:pt>
                <c:pt idx="31160">
                  <c:v>0.55573390404850997</c:v>
                </c:pt>
                <c:pt idx="31161">
                  <c:v>0.55575173889780605</c:v>
                </c:pt>
                <c:pt idx="31162">
                  <c:v>0.55576957374710101</c:v>
                </c:pt>
                <c:pt idx="31163">
                  <c:v>0.55578740859639697</c:v>
                </c:pt>
                <c:pt idx="31164">
                  <c:v>0.55580524344569204</c:v>
                </c:pt>
                <c:pt idx="31165">
                  <c:v>0.555823078294988</c:v>
                </c:pt>
                <c:pt idx="31166">
                  <c:v>0.55584091314428397</c:v>
                </c:pt>
                <c:pt idx="31167">
                  <c:v>0.55585874799357904</c:v>
                </c:pt>
                <c:pt idx="31168">
                  <c:v>0.555876582842875</c:v>
                </c:pt>
                <c:pt idx="31169">
                  <c:v>0.55589441769216996</c:v>
                </c:pt>
                <c:pt idx="31170">
                  <c:v>0.55591225254146603</c:v>
                </c:pt>
                <c:pt idx="31171">
                  <c:v>0.555930087390761</c:v>
                </c:pt>
                <c:pt idx="31172">
                  <c:v>0.55594792224005696</c:v>
                </c:pt>
                <c:pt idx="31173">
                  <c:v>0.55596575708935203</c:v>
                </c:pt>
                <c:pt idx="31174">
                  <c:v>0.55598359193864799</c:v>
                </c:pt>
                <c:pt idx="31175">
                  <c:v>0.55600142678794295</c:v>
                </c:pt>
                <c:pt idx="31176">
                  <c:v>0.55601926163723903</c:v>
                </c:pt>
                <c:pt idx="31177">
                  <c:v>0.55603709648653399</c:v>
                </c:pt>
                <c:pt idx="31178">
                  <c:v>0.55605493133582995</c:v>
                </c:pt>
                <c:pt idx="31179">
                  <c:v>0.55607276618512502</c:v>
                </c:pt>
                <c:pt idx="31180">
                  <c:v>0.55609060103442098</c:v>
                </c:pt>
                <c:pt idx="31181">
                  <c:v>0.55610843588371595</c:v>
                </c:pt>
                <c:pt idx="31182">
                  <c:v>0.55612627073301202</c:v>
                </c:pt>
                <c:pt idx="31183">
                  <c:v>0.55614410558230698</c:v>
                </c:pt>
                <c:pt idx="31184">
                  <c:v>0.55616194043160305</c:v>
                </c:pt>
                <c:pt idx="31185">
                  <c:v>0.55617977528089801</c:v>
                </c:pt>
                <c:pt idx="31186">
                  <c:v>0.55619761013019398</c:v>
                </c:pt>
                <c:pt idx="31187">
                  <c:v>0.55621544497948905</c:v>
                </c:pt>
                <c:pt idx="31188">
                  <c:v>0.55623327982878501</c:v>
                </c:pt>
                <c:pt idx="31189">
                  <c:v>0.55625111467808097</c:v>
                </c:pt>
                <c:pt idx="31190">
                  <c:v>0.55626894952737604</c:v>
                </c:pt>
                <c:pt idx="31191">
                  <c:v>0.55628678437667201</c:v>
                </c:pt>
                <c:pt idx="31192">
                  <c:v>0.55630461922596697</c:v>
                </c:pt>
                <c:pt idx="31193">
                  <c:v>0.55632245407526304</c:v>
                </c:pt>
                <c:pt idx="31194">
                  <c:v>0.556340288924558</c:v>
                </c:pt>
                <c:pt idx="31195">
                  <c:v>0.55635812377385396</c:v>
                </c:pt>
                <c:pt idx="31196">
                  <c:v>0.55637595862314904</c:v>
                </c:pt>
                <c:pt idx="31197">
                  <c:v>0.556393793472445</c:v>
                </c:pt>
                <c:pt idx="31198">
                  <c:v>0.55641162832173996</c:v>
                </c:pt>
                <c:pt idx="31199">
                  <c:v>0.55642946317103603</c:v>
                </c:pt>
                <c:pt idx="31200">
                  <c:v>0.55644729802033099</c:v>
                </c:pt>
                <c:pt idx="31201">
                  <c:v>0.55646513286962695</c:v>
                </c:pt>
                <c:pt idx="31202">
                  <c:v>0.55648296771892203</c:v>
                </c:pt>
                <c:pt idx="31203">
                  <c:v>0.55650080256821799</c:v>
                </c:pt>
                <c:pt idx="31204">
                  <c:v>0.55651863741751295</c:v>
                </c:pt>
                <c:pt idx="31205">
                  <c:v>0.55653647226680902</c:v>
                </c:pt>
                <c:pt idx="31206">
                  <c:v>0.55655430711610399</c:v>
                </c:pt>
                <c:pt idx="31207">
                  <c:v>0.55657214196539995</c:v>
                </c:pt>
                <c:pt idx="31208">
                  <c:v>0.55658997681469502</c:v>
                </c:pt>
                <c:pt idx="31209">
                  <c:v>0.55660781166399098</c:v>
                </c:pt>
                <c:pt idx="31210">
                  <c:v>0.55662564651328605</c:v>
                </c:pt>
                <c:pt idx="31211">
                  <c:v>0.55664348136258202</c:v>
                </c:pt>
                <c:pt idx="31212">
                  <c:v>0.55666131621187798</c:v>
                </c:pt>
                <c:pt idx="31213">
                  <c:v>0.55667915106117305</c:v>
                </c:pt>
                <c:pt idx="31214">
                  <c:v>0.55669698591046901</c:v>
                </c:pt>
                <c:pt idx="31215">
                  <c:v>0.55671482075976397</c:v>
                </c:pt>
                <c:pt idx="31216">
                  <c:v>0.55673265560906005</c:v>
                </c:pt>
                <c:pt idx="31217">
                  <c:v>0.55675049045835501</c:v>
                </c:pt>
                <c:pt idx="31218">
                  <c:v>0.55676832530765097</c:v>
                </c:pt>
                <c:pt idx="31219">
                  <c:v>0.55678616015694604</c:v>
                </c:pt>
                <c:pt idx="31220">
                  <c:v>0.556803995006242</c:v>
                </c:pt>
                <c:pt idx="31221">
                  <c:v>0.55682182985553696</c:v>
                </c:pt>
                <c:pt idx="31222">
                  <c:v>0.55683966470483304</c:v>
                </c:pt>
                <c:pt idx="31223">
                  <c:v>0.556857499554128</c:v>
                </c:pt>
                <c:pt idx="31224">
                  <c:v>0.55687533440342396</c:v>
                </c:pt>
                <c:pt idx="31225">
                  <c:v>0.55689316925271903</c:v>
                </c:pt>
                <c:pt idx="31226">
                  <c:v>0.55691100410201499</c:v>
                </c:pt>
                <c:pt idx="31227">
                  <c:v>0.55692883895130996</c:v>
                </c:pt>
                <c:pt idx="31228">
                  <c:v>0.55694667380060603</c:v>
                </c:pt>
                <c:pt idx="31229">
                  <c:v>0.55696450864990099</c:v>
                </c:pt>
                <c:pt idx="31230">
                  <c:v>0.55698234349919695</c:v>
                </c:pt>
                <c:pt idx="31231">
                  <c:v>0.55700017834849203</c:v>
                </c:pt>
                <c:pt idx="31232">
                  <c:v>0.55701801319778799</c:v>
                </c:pt>
                <c:pt idx="31233">
                  <c:v>0.55703584804708395</c:v>
                </c:pt>
                <c:pt idx="31234">
                  <c:v>0.55705368289637902</c:v>
                </c:pt>
                <c:pt idx="31235">
                  <c:v>0.55707151774567498</c:v>
                </c:pt>
                <c:pt idx="31236">
                  <c:v>0.55708935259497006</c:v>
                </c:pt>
                <c:pt idx="31237">
                  <c:v>0.55710718744426602</c:v>
                </c:pt>
                <c:pt idx="31238">
                  <c:v>0.55712502229356098</c:v>
                </c:pt>
                <c:pt idx="31239">
                  <c:v>0.55714285714285705</c:v>
                </c:pt>
                <c:pt idx="31240">
                  <c:v>0.55716069199215201</c:v>
                </c:pt>
                <c:pt idx="31241">
                  <c:v>0.55717852684144797</c:v>
                </c:pt>
                <c:pt idx="31242">
                  <c:v>0.55719636169074305</c:v>
                </c:pt>
                <c:pt idx="31243">
                  <c:v>0.55721419654003901</c:v>
                </c:pt>
                <c:pt idx="31244">
                  <c:v>0.55723203138933397</c:v>
                </c:pt>
                <c:pt idx="31245">
                  <c:v>0.55724986623863004</c:v>
                </c:pt>
                <c:pt idx="31246">
                  <c:v>0.557267701087925</c:v>
                </c:pt>
                <c:pt idx="31247">
                  <c:v>0.55728553593722097</c:v>
                </c:pt>
                <c:pt idx="31248">
                  <c:v>0.55730337078651604</c:v>
                </c:pt>
                <c:pt idx="31249">
                  <c:v>0.557321205635812</c:v>
                </c:pt>
                <c:pt idx="31250">
                  <c:v>0.55733904048510696</c:v>
                </c:pt>
                <c:pt idx="31251">
                  <c:v>0.55735687533440303</c:v>
                </c:pt>
                <c:pt idx="31252">
                  <c:v>0.557374710183699</c:v>
                </c:pt>
                <c:pt idx="31253">
                  <c:v>0.55739254503299396</c:v>
                </c:pt>
                <c:pt idx="31254">
                  <c:v>0.55741037988229003</c:v>
                </c:pt>
                <c:pt idx="31255">
                  <c:v>0.55742821473158499</c:v>
                </c:pt>
                <c:pt idx="31256">
                  <c:v>0.55744604958088095</c:v>
                </c:pt>
                <c:pt idx="31257">
                  <c:v>0.55746388443017603</c:v>
                </c:pt>
                <c:pt idx="31258">
                  <c:v>0.55748171927947199</c:v>
                </c:pt>
                <c:pt idx="31259">
                  <c:v>0.55749955412876695</c:v>
                </c:pt>
                <c:pt idx="31260">
                  <c:v>0.55751738897806302</c:v>
                </c:pt>
                <c:pt idx="31261">
                  <c:v>0.55753522382735798</c:v>
                </c:pt>
                <c:pt idx="31262">
                  <c:v>0.55755305867665395</c:v>
                </c:pt>
                <c:pt idx="31263">
                  <c:v>0.55757089352594902</c:v>
                </c:pt>
                <c:pt idx="31264">
                  <c:v>0.55758872837524498</c:v>
                </c:pt>
                <c:pt idx="31265">
                  <c:v>0.55760656322454005</c:v>
                </c:pt>
                <c:pt idx="31266">
                  <c:v>0.55762439807383601</c:v>
                </c:pt>
                <c:pt idx="31267">
                  <c:v>0.55764223292313098</c:v>
                </c:pt>
                <c:pt idx="31268">
                  <c:v>0.55766006777242705</c:v>
                </c:pt>
                <c:pt idx="31269">
                  <c:v>0.55767790262172201</c:v>
                </c:pt>
                <c:pt idx="31270">
                  <c:v>0.55769573747101797</c:v>
                </c:pt>
                <c:pt idx="31271">
                  <c:v>0.55771357232031304</c:v>
                </c:pt>
                <c:pt idx="31272">
                  <c:v>0.55773140716960901</c:v>
                </c:pt>
                <c:pt idx="31273">
                  <c:v>0.55774924201890497</c:v>
                </c:pt>
                <c:pt idx="31274">
                  <c:v>0.55776707686820004</c:v>
                </c:pt>
                <c:pt idx="31275">
                  <c:v>0.557784911717496</c:v>
                </c:pt>
                <c:pt idx="31276">
                  <c:v>0.55780274656679096</c:v>
                </c:pt>
                <c:pt idx="31277">
                  <c:v>0.55782058141608704</c:v>
                </c:pt>
                <c:pt idx="31278">
                  <c:v>0.557838416265382</c:v>
                </c:pt>
                <c:pt idx="31279">
                  <c:v>0.55785625111467796</c:v>
                </c:pt>
                <c:pt idx="31280">
                  <c:v>0.55787408596397303</c:v>
                </c:pt>
                <c:pt idx="31281">
                  <c:v>0.55789192081326899</c:v>
                </c:pt>
                <c:pt idx="31282">
                  <c:v>0.55790975566256396</c:v>
                </c:pt>
                <c:pt idx="31283">
                  <c:v>0.55792759051186003</c:v>
                </c:pt>
                <c:pt idx="31284">
                  <c:v>0.55794542536115499</c:v>
                </c:pt>
                <c:pt idx="31285">
                  <c:v>0.55796326021045095</c:v>
                </c:pt>
                <c:pt idx="31286">
                  <c:v>0.55798109505974602</c:v>
                </c:pt>
                <c:pt idx="31287">
                  <c:v>0.55799892990904199</c:v>
                </c:pt>
                <c:pt idx="31288">
                  <c:v>0.55801676475833695</c:v>
                </c:pt>
                <c:pt idx="31289">
                  <c:v>0.55803459960763302</c:v>
                </c:pt>
                <c:pt idx="31290">
                  <c:v>0.55805243445692798</c:v>
                </c:pt>
                <c:pt idx="31291">
                  <c:v>0.55807026930622405</c:v>
                </c:pt>
                <c:pt idx="31292">
                  <c:v>0.55808810415551902</c:v>
                </c:pt>
                <c:pt idx="31293">
                  <c:v>0.55810593900481498</c:v>
                </c:pt>
                <c:pt idx="31294">
                  <c:v>0.55812377385411005</c:v>
                </c:pt>
                <c:pt idx="31295">
                  <c:v>0.55814160870340601</c:v>
                </c:pt>
                <c:pt idx="31296">
                  <c:v>0.55815944355270197</c:v>
                </c:pt>
                <c:pt idx="31297">
                  <c:v>0.55817727840199705</c:v>
                </c:pt>
                <c:pt idx="31298">
                  <c:v>0.55819511325129301</c:v>
                </c:pt>
                <c:pt idx="31299">
                  <c:v>0.55821294810058797</c:v>
                </c:pt>
                <c:pt idx="31300">
                  <c:v>0.55823078294988404</c:v>
                </c:pt>
                <c:pt idx="31301">
                  <c:v>0.558248617799179</c:v>
                </c:pt>
                <c:pt idx="31302">
                  <c:v>0.55826645264847496</c:v>
                </c:pt>
                <c:pt idx="31303">
                  <c:v>0.55828428749777004</c:v>
                </c:pt>
                <c:pt idx="31304">
                  <c:v>0.558302122347066</c:v>
                </c:pt>
                <c:pt idx="31305">
                  <c:v>0.55831995719636096</c:v>
                </c:pt>
                <c:pt idx="31306">
                  <c:v>0.55833779204565703</c:v>
                </c:pt>
                <c:pt idx="31307">
                  <c:v>0.558355626894952</c:v>
                </c:pt>
                <c:pt idx="31308">
                  <c:v>0.55837346174424796</c:v>
                </c:pt>
                <c:pt idx="31309">
                  <c:v>0.55839129659354303</c:v>
                </c:pt>
                <c:pt idx="31310">
                  <c:v>0.55840913144283899</c:v>
                </c:pt>
                <c:pt idx="31311">
                  <c:v>0.55842696629213395</c:v>
                </c:pt>
                <c:pt idx="31312">
                  <c:v>0.55844480114143003</c:v>
                </c:pt>
                <c:pt idx="31313">
                  <c:v>0.55846263599072499</c:v>
                </c:pt>
                <c:pt idx="31314">
                  <c:v>0.55848047084002095</c:v>
                </c:pt>
                <c:pt idx="31315">
                  <c:v>0.55849830568931602</c:v>
                </c:pt>
                <c:pt idx="31316">
                  <c:v>0.55851614053861198</c:v>
                </c:pt>
                <c:pt idx="31317">
                  <c:v>0.55853397538790694</c:v>
                </c:pt>
                <c:pt idx="31318">
                  <c:v>0.55855181023720302</c:v>
                </c:pt>
                <c:pt idx="31319">
                  <c:v>0.55856964508649898</c:v>
                </c:pt>
                <c:pt idx="31320">
                  <c:v>0.55858747993579405</c:v>
                </c:pt>
                <c:pt idx="31321">
                  <c:v>0.55860531478509001</c:v>
                </c:pt>
                <c:pt idx="31322">
                  <c:v>0.55862314963438497</c:v>
                </c:pt>
                <c:pt idx="31323">
                  <c:v>0.55864098448368105</c:v>
                </c:pt>
                <c:pt idx="31324">
                  <c:v>0.55865881933297601</c:v>
                </c:pt>
                <c:pt idx="31325">
                  <c:v>0.55867665418227197</c:v>
                </c:pt>
                <c:pt idx="31326">
                  <c:v>0.55869448903156704</c:v>
                </c:pt>
                <c:pt idx="31327">
                  <c:v>0.558712323880863</c:v>
                </c:pt>
                <c:pt idx="31328">
                  <c:v>0.55873015873015797</c:v>
                </c:pt>
                <c:pt idx="31329">
                  <c:v>0.55874799357945404</c:v>
                </c:pt>
                <c:pt idx="31330">
                  <c:v>0.558765828428749</c:v>
                </c:pt>
                <c:pt idx="31331">
                  <c:v>0.55878366327804496</c:v>
                </c:pt>
                <c:pt idx="31332">
                  <c:v>0.55880149812734004</c:v>
                </c:pt>
                <c:pt idx="31333">
                  <c:v>0.558819332976636</c:v>
                </c:pt>
                <c:pt idx="31334">
                  <c:v>0.55883716782593096</c:v>
                </c:pt>
                <c:pt idx="31335">
                  <c:v>0.55885500267522703</c:v>
                </c:pt>
                <c:pt idx="31336">
                  <c:v>0.55887283752452199</c:v>
                </c:pt>
                <c:pt idx="31337">
                  <c:v>0.55889067237381795</c:v>
                </c:pt>
                <c:pt idx="31338">
                  <c:v>0.55890850722311303</c:v>
                </c:pt>
                <c:pt idx="31339">
                  <c:v>0.55892634207240899</c:v>
                </c:pt>
                <c:pt idx="31340">
                  <c:v>0.55894417692170495</c:v>
                </c:pt>
                <c:pt idx="31341">
                  <c:v>0.55896201177100002</c:v>
                </c:pt>
                <c:pt idx="31342">
                  <c:v>0.55897984662029598</c:v>
                </c:pt>
                <c:pt idx="31343">
                  <c:v>0.55899768146959095</c:v>
                </c:pt>
                <c:pt idx="31344">
                  <c:v>0.55901551631888702</c:v>
                </c:pt>
                <c:pt idx="31345">
                  <c:v>0.55903335116818198</c:v>
                </c:pt>
                <c:pt idx="31346">
                  <c:v>0.55905118601747805</c:v>
                </c:pt>
                <c:pt idx="31347">
                  <c:v>0.55906902086677301</c:v>
                </c:pt>
                <c:pt idx="31348">
                  <c:v>0.55908685571606898</c:v>
                </c:pt>
                <c:pt idx="31349">
                  <c:v>0.55910469056536405</c:v>
                </c:pt>
                <c:pt idx="31350">
                  <c:v>0.55912252541466001</c:v>
                </c:pt>
                <c:pt idx="31351">
                  <c:v>0.55914036026395497</c:v>
                </c:pt>
                <c:pt idx="31352">
                  <c:v>0.55915819511325104</c:v>
                </c:pt>
                <c:pt idx="31353">
                  <c:v>0.55917602996254601</c:v>
                </c:pt>
                <c:pt idx="31354">
                  <c:v>0.55919386481184197</c:v>
                </c:pt>
                <c:pt idx="31355">
                  <c:v>0.55921169966113704</c:v>
                </c:pt>
                <c:pt idx="31356">
                  <c:v>0.559229534510433</c:v>
                </c:pt>
                <c:pt idx="31357">
                  <c:v>0.55924736935972896</c:v>
                </c:pt>
                <c:pt idx="31358">
                  <c:v>0.55926520420902404</c:v>
                </c:pt>
                <c:pt idx="31359">
                  <c:v>0.55928303905832</c:v>
                </c:pt>
                <c:pt idx="31360">
                  <c:v>0.55930087390761496</c:v>
                </c:pt>
                <c:pt idx="31361">
                  <c:v>0.55931870875691103</c:v>
                </c:pt>
                <c:pt idx="31362">
                  <c:v>0.55933654360620599</c:v>
                </c:pt>
                <c:pt idx="31363">
                  <c:v>0.55935437845550195</c:v>
                </c:pt>
                <c:pt idx="31364">
                  <c:v>0.55937221330479703</c:v>
                </c:pt>
                <c:pt idx="31365">
                  <c:v>0.55939004815409299</c:v>
                </c:pt>
                <c:pt idx="31366">
                  <c:v>0.55940788300338795</c:v>
                </c:pt>
                <c:pt idx="31367">
                  <c:v>0.55942571785268402</c:v>
                </c:pt>
                <c:pt idx="31368">
                  <c:v>0.55944355270197899</c:v>
                </c:pt>
                <c:pt idx="31369">
                  <c:v>0.55946138755127495</c:v>
                </c:pt>
                <c:pt idx="31370">
                  <c:v>0.55947922240057002</c:v>
                </c:pt>
                <c:pt idx="31371">
                  <c:v>0.55949705724986598</c:v>
                </c:pt>
                <c:pt idx="31372">
                  <c:v>0.55951489209916105</c:v>
                </c:pt>
                <c:pt idx="31373">
                  <c:v>0.55953272694845702</c:v>
                </c:pt>
                <c:pt idx="31374">
                  <c:v>0.55955056179775198</c:v>
                </c:pt>
                <c:pt idx="31375">
                  <c:v>0.55956839664704805</c:v>
                </c:pt>
                <c:pt idx="31376">
                  <c:v>0.55958623149634301</c:v>
                </c:pt>
                <c:pt idx="31377">
                  <c:v>0.55960406634563897</c:v>
                </c:pt>
                <c:pt idx="31378">
                  <c:v>0.55962190119493405</c:v>
                </c:pt>
                <c:pt idx="31379">
                  <c:v>0.55963973604423001</c:v>
                </c:pt>
                <c:pt idx="31380">
                  <c:v>0.55965757089352597</c:v>
                </c:pt>
                <c:pt idx="31381">
                  <c:v>0.55967540574282104</c:v>
                </c:pt>
                <c:pt idx="31382">
                  <c:v>0.559693240592117</c:v>
                </c:pt>
                <c:pt idx="31383">
                  <c:v>0.55971107544141196</c:v>
                </c:pt>
                <c:pt idx="31384">
                  <c:v>0.55972891029070804</c:v>
                </c:pt>
                <c:pt idx="31385">
                  <c:v>0.559746745140003</c:v>
                </c:pt>
                <c:pt idx="31386">
                  <c:v>0.55976457998929896</c:v>
                </c:pt>
                <c:pt idx="31387">
                  <c:v>0.55978241483859403</c:v>
                </c:pt>
                <c:pt idx="31388">
                  <c:v>0.55980024968788999</c:v>
                </c:pt>
                <c:pt idx="31389">
                  <c:v>0.55981808453718496</c:v>
                </c:pt>
                <c:pt idx="31390">
                  <c:v>0.55983591938648103</c:v>
                </c:pt>
                <c:pt idx="31391">
                  <c:v>0.55985375423577599</c:v>
                </c:pt>
                <c:pt idx="31392">
                  <c:v>0.55987158908507195</c:v>
                </c:pt>
                <c:pt idx="31393">
                  <c:v>0.55988942393436703</c:v>
                </c:pt>
                <c:pt idx="31394">
                  <c:v>0.55990725878366299</c:v>
                </c:pt>
                <c:pt idx="31395">
                  <c:v>0.55992509363295795</c:v>
                </c:pt>
                <c:pt idx="31396">
                  <c:v>0.55994292848225402</c:v>
                </c:pt>
                <c:pt idx="31397">
                  <c:v>0.55996076333154898</c:v>
                </c:pt>
                <c:pt idx="31398">
                  <c:v>0.55997859818084506</c:v>
                </c:pt>
                <c:pt idx="31399">
                  <c:v>0.55999643303014002</c:v>
                </c:pt>
                <c:pt idx="31400">
                  <c:v>0.56001426787943598</c:v>
                </c:pt>
                <c:pt idx="31401">
                  <c:v>0.56003210272873105</c:v>
                </c:pt>
                <c:pt idx="31402">
                  <c:v>0.56004993757802701</c:v>
                </c:pt>
                <c:pt idx="31403">
                  <c:v>0.56006777242732297</c:v>
                </c:pt>
                <c:pt idx="31404">
                  <c:v>0.56008560727661805</c:v>
                </c:pt>
                <c:pt idx="31405">
                  <c:v>0.56010344212591401</c:v>
                </c:pt>
                <c:pt idx="31406">
                  <c:v>0.56012127697520897</c:v>
                </c:pt>
                <c:pt idx="31407">
                  <c:v>0.56013911182450504</c:v>
                </c:pt>
                <c:pt idx="31408">
                  <c:v>0.5601569466738</c:v>
                </c:pt>
                <c:pt idx="31409">
                  <c:v>0.56017478152309597</c:v>
                </c:pt>
                <c:pt idx="31410">
                  <c:v>0.56019261637239104</c:v>
                </c:pt>
                <c:pt idx="31411">
                  <c:v>0.560210451221687</c:v>
                </c:pt>
                <c:pt idx="31412">
                  <c:v>0.56022828607098196</c:v>
                </c:pt>
                <c:pt idx="31413">
                  <c:v>0.56024612092027803</c:v>
                </c:pt>
                <c:pt idx="31414">
                  <c:v>0.560263955769573</c:v>
                </c:pt>
                <c:pt idx="31415">
                  <c:v>0.56028179061886896</c:v>
                </c:pt>
                <c:pt idx="31416">
                  <c:v>0.56029962546816403</c:v>
                </c:pt>
                <c:pt idx="31417">
                  <c:v>0.56031746031745999</c:v>
                </c:pt>
                <c:pt idx="31418">
                  <c:v>0.56033529516675495</c:v>
                </c:pt>
                <c:pt idx="31419">
                  <c:v>0.56035313001605103</c:v>
                </c:pt>
                <c:pt idx="31420">
                  <c:v>0.56037096486534599</c:v>
                </c:pt>
                <c:pt idx="31421">
                  <c:v>0.56038879971464195</c:v>
                </c:pt>
                <c:pt idx="31422">
                  <c:v>0.56040663456393702</c:v>
                </c:pt>
                <c:pt idx="31423">
                  <c:v>0.56042446941323298</c:v>
                </c:pt>
                <c:pt idx="31424">
                  <c:v>0.56044230426252895</c:v>
                </c:pt>
                <c:pt idx="31425">
                  <c:v>0.56046013911182402</c:v>
                </c:pt>
                <c:pt idx="31426">
                  <c:v>0.56047797396111998</c:v>
                </c:pt>
                <c:pt idx="31427">
                  <c:v>0.56049580881041505</c:v>
                </c:pt>
                <c:pt idx="31428">
                  <c:v>0.56051364365971101</c:v>
                </c:pt>
                <c:pt idx="31429">
                  <c:v>0.56053147850900598</c:v>
                </c:pt>
                <c:pt idx="31430">
                  <c:v>0.56054931335830205</c:v>
                </c:pt>
                <c:pt idx="31431">
                  <c:v>0.56056714820759701</c:v>
                </c:pt>
                <c:pt idx="31432">
                  <c:v>0.56058498305689297</c:v>
                </c:pt>
                <c:pt idx="31433">
                  <c:v>0.56060281790618804</c:v>
                </c:pt>
                <c:pt idx="31434">
                  <c:v>0.56062065275548401</c:v>
                </c:pt>
                <c:pt idx="31435">
                  <c:v>0.56063848760477897</c:v>
                </c:pt>
                <c:pt idx="31436">
                  <c:v>0.56065632245407504</c:v>
                </c:pt>
                <c:pt idx="31437">
                  <c:v>0.56067415730337</c:v>
                </c:pt>
                <c:pt idx="31438">
                  <c:v>0.56069199215266596</c:v>
                </c:pt>
                <c:pt idx="31439">
                  <c:v>0.56070982700196104</c:v>
                </c:pt>
                <c:pt idx="31440">
                  <c:v>0.560727661851257</c:v>
                </c:pt>
                <c:pt idx="31441">
                  <c:v>0.56074549670055196</c:v>
                </c:pt>
                <c:pt idx="31442">
                  <c:v>0.56076333154984803</c:v>
                </c:pt>
                <c:pt idx="31443">
                  <c:v>0.56078116639914299</c:v>
                </c:pt>
                <c:pt idx="31444">
                  <c:v>0.56079900124843896</c:v>
                </c:pt>
                <c:pt idx="31445">
                  <c:v>0.56081683609773503</c:v>
                </c:pt>
                <c:pt idx="31446">
                  <c:v>0.56083467094702999</c:v>
                </c:pt>
                <c:pt idx="31447">
                  <c:v>0.56085250579632595</c:v>
                </c:pt>
                <c:pt idx="31448">
                  <c:v>0.56087034064562102</c:v>
                </c:pt>
                <c:pt idx="31449">
                  <c:v>0.56088817549491699</c:v>
                </c:pt>
                <c:pt idx="31450">
                  <c:v>0.56090601034421195</c:v>
                </c:pt>
                <c:pt idx="31451">
                  <c:v>0.56092384519350802</c:v>
                </c:pt>
                <c:pt idx="31452">
                  <c:v>0.56094168004280298</c:v>
                </c:pt>
                <c:pt idx="31453">
                  <c:v>0.56095951489209905</c:v>
                </c:pt>
                <c:pt idx="31454">
                  <c:v>0.56097734974139402</c:v>
                </c:pt>
                <c:pt idx="31455">
                  <c:v>0.56099518459068998</c:v>
                </c:pt>
                <c:pt idx="31456">
                  <c:v>0.56101301943998505</c:v>
                </c:pt>
                <c:pt idx="31457">
                  <c:v>0.56103085428928101</c:v>
                </c:pt>
                <c:pt idx="31458">
                  <c:v>0.56104868913857597</c:v>
                </c:pt>
                <c:pt idx="31459">
                  <c:v>0.56106652398787205</c:v>
                </c:pt>
                <c:pt idx="31460">
                  <c:v>0.56108435883716701</c:v>
                </c:pt>
                <c:pt idx="31461">
                  <c:v>0.56110219368646297</c:v>
                </c:pt>
                <c:pt idx="31462">
                  <c:v>0.56112002853575804</c:v>
                </c:pt>
                <c:pt idx="31463">
                  <c:v>0.561137863385054</c:v>
                </c:pt>
                <c:pt idx="31464">
                  <c:v>0.56115569823434996</c:v>
                </c:pt>
                <c:pt idx="31465">
                  <c:v>0.56117353308364504</c:v>
                </c:pt>
                <c:pt idx="31466">
                  <c:v>0.561191367932941</c:v>
                </c:pt>
                <c:pt idx="31467">
                  <c:v>0.56120920278223596</c:v>
                </c:pt>
                <c:pt idx="31468">
                  <c:v>0.56122703763153203</c:v>
                </c:pt>
                <c:pt idx="31469">
                  <c:v>0.561244872480827</c:v>
                </c:pt>
                <c:pt idx="31470">
                  <c:v>0.56126270733012296</c:v>
                </c:pt>
                <c:pt idx="31471">
                  <c:v>0.56128054217941803</c:v>
                </c:pt>
                <c:pt idx="31472">
                  <c:v>0.56129837702871399</c:v>
                </c:pt>
                <c:pt idx="31473">
                  <c:v>0.56131621187800895</c:v>
                </c:pt>
                <c:pt idx="31474">
                  <c:v>0.56133404672730502</c:v>
                </c:pt>
                <c:pt idx="31475">
                  <c:v>0.56135188157659999</c:v>
                </c:pt>
                <c:pt idx="31476">
                  <c:v>0.56136971642589595</c:v>
                </c:pt>
                <c:pt idx="31477">
                  <c:v>0.56138755127519102</c:v>
                </c:pt>
                <c:pt idx="31478">
                  <c:v>0.56140538612448698</c:v>
                </c:pt>
                <c:pt idx="31479">
                  <c:v>0.56142322097378194</c:v>
                </c:pt>
                <c:pt idx="31480">
                  <c:v>0.56144105582307802</c:v>
                </c:pt>
                <c:pt idx="31481">
                  <c:v>0.56145889067237298</c:v>
                </c:pt>
                <c:pt idx="31482">
                  <c:v>0.56147672552166905</c:v>
                </c:pt>
                <c:pt idx="31483">
                  <c:v>0.56149456037096401</c:v>
                </c:pt>
                <c:pt idx="31484">
                  <c:v>0.56151239522025997</c:v>
                </c:pt>
                <c:pt idx="31485">
                  <c:v>0.56153023006955505</c:v>
                </c:pt>
                <c:pt idx="31486">
                  <c:v>0.56154806491885101</c:v>
                </c:pt>
                <c:pt idx="31487">
                  <c:v>0.56156589976814697</c:v>
                </c:pt>
                <c:pt idx="31488">
                  <c:v>0.56158373461744204</c:v>
                </c:pt>
                <c:pt idx="31489">
                  <c:v>0.561601569466738</c:v>
                </c:pt>
                <c:pt idx="31490">
                  <c:v>0.56161940431603297</c:v>
                </c:pt>
                <c:pt idx="31491">
                  <c:v>0.56163723916532904</c:v>
                </c:pt>
                <c:pt idx="31492">
                  <c:v>0.561655074014624</c:v>
                </c:pt>
                <c:pt idx="31493">
                  <c:v>0.56167290886391996</c:v>
                </c:pt>
                <c:pt idx="31494">
                  <c:v>0.56169074371321503</c:v>
                </c:pt>
                <c:pt idx="31495">
                  <c:v>0.561708578562511</c:v>
                </c:pt>
                <c:pt idx="31496">
                  <c:v>0.56172641341180596</c:v>
                </c:pt>
                <c:pt idx="31497">
                  <c:v>0.56174424826110203</c:v>
                </c:pt>
                <c:pt idx="31498">
                  <c:v>0.56176208311039699</c:v>
                </c:pt>
                <c:pt idx="31499">
                  <c:v>0.56177991795969295</c:v>
                </c:pt>
                <c:pt idx="31500">
                  <c:v>0.56179775280898803</c:v>
                </c:pt>
                <c:pt idx="31501">
                  <c:v>0.56181558765828399</c:v>
                </c:pt>
                <c:pt idx="31502">
                  <c:v>0.56183342250757895</c:v>
                </c:pt>
                <c:pt idx="31503">
                  <c:v>0.56185125735687502</c:v>
                </c:pt>
                <c:pt idx="31504">
                  <c:v>0.56186909220616998</c:v>
                </c:pt>
                <c:pt idx="31505">
                  <c:v>0.56188692705546595</c:v>
                </c:pt>
                <c:pt idx="31506">
                  <c:v>0.56190476190476102</c:v>
                </c:pt>
                <c:pt idx="31507">
                  <c:v>0.56192259675405698</c:v>
                </c:pt>
                <c:pt idx="31508">
                  <c:v>0.56194043160335205</c:v>
                </c:pt>
                <c:pt idx="31509">
                  <c:v>0.56195826645264801</c:v>
                </c:pt>
                <c:pt idx="31510">
                  <c:v>0.56197610130194398</c:v>
                </c:pt>
                <c:pt idx="31511">
                  <c:v>0.56199393615123905</c:v>
                </c:pt>
                <c:pt idx="31512">
                  <c:v>0.56201177100053501</c:v>
                </c:pt>
                <c:pt idx="31513">
                  <c:v>0.56202960584982997</c:v>
                </c:pt>
                <c:pt idx="31514">
                  <c:v>0.56204744069912604</c:v>
                </c:pt>
                <c:pt idx="31515">
                  <c:v>0.56206527554842101</c:v>
                </c:pt>
                <c:pt idx="31516">
                  <c:v>0.56208311039771697</c:v>
                </c:pt>
                <c:pt idx="31517">
                  <c:v>0.56210094524701204</c:v>
                </c:pt>
                <c:pt idx="31518">
                  <c:v>0.562118780096308</c:v>
                </c:pt>
                <c:pt idx="31519">
                  <c:v>0.56213661494560296</c:v>
                </c:pt>
                <c:pt idx="31520">
                  <c:v>0.56215444979489904</c:v>
                </c:pt>
                <c:pt idx="31521">
                  <c:v>0.562172284644194</c:v>
                </c:pt>
                <c:pt idx="31522">
                  <c:v>0.56219011949348996</c:v>
                </c:pt>
                <c:pt idx="31523">
                  <c:v>0.56220795434278503</c:v>
                </c:pt>
                <c:pt idx="31524">
                  <c:v>0.56222578919208099</c:v>
                </c:pt>
                <c:pt idx="31525">
                  <c:v>0.56224362404137596</c:v>
                </c:pt>
                <c:pt idx="31526">
                  <c:v>0.56226145889067203</c:v>
                </c:pt>
                <c:pt idx="31527">
                  <c:v>0.56227929373996699</c:v>
                </c:pt>
                <c:pt idx="31528">
                  <c:v>0.56229712858926295</c:v>
                </c:pt>
                <c:pt idx="31529">
                  <c:v>0.56231496343855802</c:v>
                </c:pt>
                <c:pt idx="31530">
                  <c:v>0.56233279828785399</c:v>
                </c:pt>
                <c:pt idx="31531">
                  <c:v>0.56235063313714995</c:v>
                </c:pt>
                <c:pt idx="31532">
                  <c:v>0.56236846798644502</c:v>
                </c:pt>
                <c:pt idx="31533">
                  <c:v>0.56238630283574098</c:v>
                </c:pt>
                <c:pt idx="31534">
                  <c:v>0.56240413768503605</c:v>
                </c:pt>
                <c:pt idx="31535">
                  <c:v>0.56242197253433202</c:v>
                </c:pt>
                <c:pt idx="31536">
                  <c:v>0.56243980738362698</c:v>
                </c:pt>
                <c:pt idx="31537">
                  <c:v>0.56245764223292305</c:v>
                </c:pt>
                <c:pt idx="31538">
                  <c:v>0.56247547708221801</c:v>
                </c:pt>
                <c:pt idx="31539">
                  <c:v>0.56249331193151397</c:v>
                </c:pt>
                <c:pt idx="31540">
                  <c:v>0.56251114678080905</c:v>
                </c:pt>
                <c:pt idx="31541">
                  <c:v>0.56252898163010501</c:v>
                </c:pt>
                <c:pt idx="31542">
                  <c:v>0.56254681647939997</c:v>
                </c:pt>
                <c:pt idx="31543">
                  <c:v>0.56256465132869604</c:v>
                </c:pt>
                <c:pt idx="31544">
                  <c:v>0.562582486177991</c:v>
                </c:pt>
                <c:pt idx="31545">
                  <c:v>0.56260032102728696</c:v>
                </c:pt>
                <c:pt idx="31546">
                  <c:v>0.56261815587658204</c:v>
                </c:pt>
                <c:pt idx="31547">
                  <c:v>0.562635990725878</c:v>
                </c:pt>
                <c:pt idx="31548">
                  <c:v>0.56265382557517296</c:v>
                </c:pt>
                <c:pt idx="31549">
                  <c:v>0.56267166042446903</c:v>
                </c:pt>
                <c:pt idx="31550">
                  <c:v>0.562689495273764</c:v>
                </c:pt>
                <c:pt idx="31551">
                  <c:v>0.56270733012305996</c:v>
                </c:pt>
                <c:pt idx="31552">
                  <c:v>0.56272516497235603</c:v>
                </c:pt>
                <c:pt idx="31553">
                  <c:v>0.56274299982165099</c:v>
                </c:pt>
                <c:pt idx="31554">
                  <c:v>0.56276083467094695</c:v>
                </c:pt>
                <c:pt idx="31555">
                  <c:v>0.56277866952024203</c:v>
                </c:pt>
                <c:pt idx="31556">
                  <c:v>0.56279650436953799</c:v>
                </c:pt>
                <c:pt idx="31557">
                  <c:v>0.56281433921883295</c:v>
                </c:pt>
                <c:pt idx="31558">
                  <c:v>0.56283217406812902</c:v>
                </c:pt>
                <c:pt idx="31559">
                  <c:v>0.56285000891742398</c:v>
                </c:pt>
                <c:pt idx="31560">
                  <c:v>0.56286784376672006</c:v>
                </c:pt>
                <c:pt idx="31561">
                  <c:v>0.56288567861601502</c:v>
                </c:pt>
                <c:pt idx="31562">
                  <c:v>0.56290351346531098</c:v>
                </c:pt>
                <c:pt idx="31563">
                  <c:v>0.56292134831460605</c:v>
                </c:pt>
                <c:pt idx="31564">
                  <c:v>0.56293918316390201</c:v>
                </c:pt>
                <c:pt idx="31565">
                  <c:v>0.56295701801319697</c:v>
                </c:pt>
                <c:pt idx="31566">
                  <c:v>0.56297485286249305</c:v>
                </c:pt>
                <c:pt idx="31567">
                  <c:v>0.56299268771178801</c:v>
                </c:pt>
                <c:pt idx="31568">
                  <c:v>0.56301052256108397</c:v>
                </c:pt>
                <c:pt idx="31569">
                  <c:v>0.56302835741037904</c:v>
                </c:pt>
                <c:pt idx="31570">
                  <c:v>0.563046192259675</c:v>
                </c:pt>
                <c:pt idx="31571">
                  <c:v>0.56306402710897097</c:v>
                </c:pt>
                <c:pt idx="31572">
                  <c:v>0.56308186195826604</c:v>
                </c:pt>
                <c:pt idx="31573">
                  <c:v>0.563099696807562</c:v>
                </c:pt>
                <c:pt idx="31574">
                  <c:v>0.56311753165685696</c:v>
                </c:pt>
                <c:pt idx="31575">
                  <c:v>0.56313536650615303</c:v>
                </c:pt>
                <c:pt idx="31576">
                  <c:v>0.563153201355448</c:v>
                </c:pt>
                <c:pt idx="31577">
                  <c:v>0.56317103620474396</c:v>
                </c:pt>
                <c:pt idx="31578">
                  <c:v>0.56318887105403903</c:v>
                </c:pt>
                <c:pt idx="31579">
                  <c:v>0.56320670590333499</c:v>
                </c:pt>
                <c:pt idx="31580">
                  <c:v>0.56322454075262995</c:v>
                </c:pt>
                <c:pt idx="31581">
                  <c:v>0.56324237560192603</c:v>
                </c:pt>
                <c:pt idx="31582">
                  <c:v>0.56326021045122099</c:v>
                </c:pt>
                <c:pt idx="31583">
                  <c:v>0.56327804530051695</c:v>
                </c:pt>
                <c:pt idx="31584">
                  <c:v>0.56329588014981202</c:v>
                </c:pt>
                <c:pt idx="31585">
                  <c:v>0.56331371499910798</c:v>
                </c:pt>
                <c:pt idx="31586">
                  <c:v>0.56333154984840295</c:v>
                </c:pt>
                <c:pt idx="31587">
                  <c:v>0.56334938469769902</c:v>
                </c:pt>
                <c:pt idx="31588">
                  <c:v>0.56336721954699398</c:v>
                </c:pt>
                <c:pt idx="31589">
                  <c:v>0.56338505439629005</c:v>
                </c:pt>
                <c:pt idx="31590">
                  <c:v>0.56340288924558501</c:v>
                </c:pt>
                <c:pt idx="31591">
                  <c:v>0.56342072409488098</c:v>
                </c:pt>
                <c:pt idx="31592">
                  <c:v>0.56343855894417605</c:v>
                </c:pt>
                <c:pt idx="31593">
                  <c:v>0.56345639379347201</c:v>
                </c:pt>
                <c:pt idx="31594">
                  <c:v>0.56347422864276797</c:v>
                </c:pt>
                <c:pt idx="31595">
                  <c:v>0.56349206349206304</c:v>
                </c:pt>
                <c:pt idx="31596">
                  <c:v>0.56350989834135901</c:v>
                </c:pt>
                <c:pt idx="31597">
                  <c:v>0.56352773319065397</c:v>
                </c:pt>
                <c:pt idx="31598">
                  <c:v>0.56354556803995004</c:v>
                </c:pt>
                <c:pt idx="31599">
                  <c:v>0.563563402889245</c:v>
                </c:pt>
                <c:pt idx="31600">
                  <c:v>0.56358123773854096</c:v>
                </c:pt>
                <c:pt idx="31601">
                  <c:v>0.56359907258783604</c:v>
                </c:pt>
                <c:pt idx="31602">
                  <c:v>0.563616907437132</c:v>
                </c:pt>
                <c:pt idx="31603">
                  <c:v>0.56363474228642696</c:v>
                </c:pt>
                <c:pt idx="31604">
                  <c:v>0.56365257713572303</c:v>
                </c:pt>
                <c:pt idx="31605">
                  <c:v>0.56367041198501799</c:v>
                </c:pt>
                <c:pt idx="31606">
                  <c:v>0.56368824683431396</c:v>
                </c:pt>
                <c:pt idx="31607">
                  <c:v>0.56370608168360903</c:v>
                </c:pt>
                <c:pt idx="31608">
                  <c:v>0.56372391653290499</c:v>
                </c:pt>
                <c:pt idx="31609">
                  <c:v>0.56374175138219995</c:v>
                </c:pt>
                <c:pt idx="31610">
                  <c:v>0.56375958623149602</c:v>
                </c:pt>
                <c:pt idx="31611">
                  <c:v>0.56377742108079099</c:v>
                </c:pt>
                <c:pt idx="31612">
                  <c:v>0.56379525593008695</c:v>
                </c:pt>
                <c:pt idx="31613">
                  <c:v>0.56381309077938202</c:v>
                </c:pt>
                <c:pt idx="31614">
                  <c:v>0.56383092562867798</c:v>
                </c:pt>
                <c:pt idx="31615">
                  <c:v>0.56384876047797305</c:v>
                </c:pt>
                <c:pt idx="31616">
                  <c:v>0.56386659532726902</c:v>
                </c:pt>
                <c:pt idx="31617">
                  <c:v>0.56388443017656498</c:v>
                </c:pt>
                <c:pt idx="31618">
                  <c:v>0.56390226502586005</c:v>
                </c:pt>
                <c:pt idx="31619">
                  <c:v>0.56392009987515601</c:v>
                </c:pt>
                <c:pt idx="31620">
                  <c:v>0.56393793472445097</c:v>
                </c:pt>
                <c:pt idx="31621">
                  <c:v>0.56395576957374705</c:v>
                </c:pt>
                <c:pt idx="31622">
                  <c:v>0.56397360442304201</c:v>
                </c:pt>
                <c:pt idx="31623">
                  <c:v>0.56399143927233797</c:v>
                </c:pt>
                <c:pt idx="31624">
                  <c:v>0.56400927412163304</c:v>
                </c:pt>
                <c:pt idx="31625">
                  <c:v>0.564027108970929</c:v>
                </c:pt>
                <c:pt idx="31626">
                  <c:v>0.56404494382022397</c:v>
                </c:pt>
                <c:pt idx="31627">
                  <c:v>0.56406277866952004</c:v>
                </c:pt>
                <c:pt idx="31628">
                  <c:v>0.564080613518815</c:v>
                </c:pt>
                <c:pt idx="31629">
                  <c:v>0.56409844836811096</c:v>
                </c:pt>
                <c:pt idx="31630">
                  <c:v>0.56411628321740603</c:v>
                </c:pt>
                <c:pt idx="31631">
                  <c:v>0.56413411806670199</c:v>
                </c:pt>
                <c:pt idx="31632">
                  <c:v>0.56415195291599696</c:v>
                </c:pt>
                <c:pt idx="31633">
                  <c:v>0.56416978776529303</c:v>
                </c:pt>
                <c:pt idx="31634">
                  <c:v>0.56418762261458799</c:v>
                </c:pt>
                <c:pt idx="31635">
                  <c:v>0.56420545746388395</c:v>
                </c:pt>
                <c:pt idx="31636">
                  <c:v>0.56422329231317903</c:v>
                </c:pt>
                <c:pt idx="31637">
                  <c:v>0.56424112716247499</c:v>
                </c:pt>
                <c:pt idx="31638">
                  <c:v>0.56425896201177095</c:v>
                </c:pt>
                <c:pt idx="31639">
                  <c:v>0.56427679686106602</c:v>
                </c:pt>
                <c:pt idx="31640">
                  <c:v>0.56429463171036198</c:v>
                </c:pt>
                <c:pt idx="31641">
                  <c:v>0.56431246655965706</c:v>
                </c:pt>
                <c:pt idx="31642">
                  <c:v>0.56433030140895302</c:v>
                </c:pt>
                <c:pt idx="31643">
                  <c:v>0.56434813625824798</c:v>
                </c:pt>
                <c:pt idx="31644">
                  <c:v>0.56436597110754405</c:v>
                </c:pt>
                <c:pt idx="31645">
                  <c:v>0.56438380595683901</c:v>
                </c:pt>
                <c:pt idx="31646">
                  <c:v>0.56440164080613497</c:v>
                </c:pt>
                <c:pt idx="31647">
                  <c:v>0.56441947565543005</c:v>
                </c:pt>
                <c:pt idx="31648">
                  <c:v>0.56443731050472601</c:v>
                </c:pt>
                <c:pt idx="31649">
                  <c:v>0.56445514535402097</c:v>
                </c:pt>
                <c:pt idx="31650">
                  <c:v>0.56447298020331704</c:v>
                </c:pt>
                <c:pt idx="31651">
                  <c:v>0.564490815052612</c:v>
                </c:pt>
                <c:pt idx="31652">
                  <c:v>0.56450864990190797</c:v>
                </c:pt>
                <c:pt idx="31653">
                  <c:v>0.56452648475120304</c:v>
                </c:pt>
                <c:pt idx="31654">
                  <c:v>0.564544319600499</c:v>
                </c:pt>
                <c:pt idx="31655">
                  <c:v>0.56456215444979396</c:v>
                </c:pt>
                <c:pt idx="31656">
                  <c:v>0.56457998929909003</c:v>
                </c:pt>
                <c:pt idx="31657">
                  <c:v>0.564597824148386</c:v>
                </c:pt>
                <c:pt idx="31658">
                  <c:v>0.56461565899768096</c:v>
                </c:pt>
                <c:pt idx="31659">
                  <c:v>0.56463349384697703</c:v>
                </c:pt>
                <c:pt idx="31660">
                  <c:v>0.56465132869627199</c:v>
                </c:pt>
                <c:pt idx="31661">
                  <c:v>0.56466916354556795</c:v>
                </c:pt>
                <c:pt idx="31662">
                  <c:v>0.56468699839486303</c:v>
                </c:pt>
                <c:pt idx="31663">
                  <c:v>0.56470483324415899</c:v>
                </c:pt>
                <c:pt idx="31664">
                  <c:v>0.56472266809345395</c:v>
                </c:pt>
                <c:pt idx="31665">
                  <c:v>0.56474050294275002</c:v>
                </c:pt>
                <c:pt idx="31666">
                  <c:v>0.56475833779204498</c:v>
                </c:pt>
                <c:pt idx="31667">
                  <c:v>0.56477617264134095</c:v>
                </c:pt>
                <c:pt idx="31668">
                  <c:v>0.56479400749063602</c:v>
                </c:pt>
                <c:pt idx="31669">
                  <c:v>0.56481184233993198</c:v>
                </c:pt>
                <c:pt idx="31670">
                  <c:v>0.56482967718922705</c:v>
                </c:pt>
                <c:pt idx="31671">
                  <c:v>0.56484751203852301</c:v>
                </c:pt>
                <c:pt idx="31672">
                  <c:v>0.56486534688781798</c:v>
                </c:pt>
                <c:pt idx="31673">
                  <c:v>0.56488318173711405</c:v>
                </c:pt>
                <c:pt idx="31674">
                  <c:v>0.56490101658640901</c:v>
                </c:pt>
                <c:pt idx="31675">
                  <c:v>0.56491885143570497</c:v>
                </c:pt>
                <c:pt idx="31676">
                  <c:v>0.56493668628500004</c:v>
                </c:pt>
                <c:pt idx="31677">
                  <c:v>0.56495452113429601</c:v>
                </c:pt>
                <c:pt idx="31678">
                  <c:v>0.56497235598359197</c:v>
                </c:pt>
                <c:pt idx="31679">
                  <c:v>0.56499019083288704</c:v>
                </c:pt>
                <c:pt idx="31680">
                  <c:v>0.565008025682183</c:v>
                </c:pt>
                <c:pt idx="31681">
                  <c:v>0.56502586053147796</c:v>
                </c:pt>
                <c:pt idx="31682">
                  <c:v>0.56504369538077404</c:v>
                </c:pt>
                <c:pt idx="31683">
                  <c:v>0.565061530230069</c:v>
                </c:pt>
                <c:pt idx="31684">
                  <c:v>0.56507936507936496</c:v>
                </c:pt>
                <c:pt idx="31685">
                  <c:v>0.56509719992866003</c:v>
                </c:pt>
                <c:pt idx="31686">
                  <c:v>0.56511503477795599</c:v>
                </c:pt>
                <c:pt idx="31687">
                  <c:v>0.56513286962725096</c:v>
                </c:pt>
                <c:pt idx="31688">
                  <c:v>0.56515070447654703</c:v>
                </c:pt>
                <c:pt idx="31689">
                  <c:v>0.56516853932584199</c:v>
                </c:pt>
                <c:pt idx="31690">
                  <c:v>0.56518637417513795</c:v>
                </c:pt>
                <c:pt idx="31691">
                  <c:v>0.56520420902443302</c:v>
                </c:pt>
                <c:pt idx="31692">
                  <c:v>0.56522204387372899</c:v>
                </c:pt>
                <c:pt idx="31693">
                  <c:v>0.56523987872302395</c:v>
                </c:pt>
                <c:pt idx="31694">
                  <c:v>0.56525771357232002</c:v>
                </c:pt>
                <c:pt idx="31695">
                  <c:v>0.56527554842161498</c:v>
                </c:pt>
                <c:pt idx="31696">
                  <c:v>0.56529338327091105</c:v>
                </c:pt>
                <c:pt idx="31697">
                  <c:v>0.56531121812020602</c:v>
                </c:pt>
                <c:pt idx="31698">
                  <c:v>0.56532905296950198</c:v>
                </c:pt>
                <c:pt idx="31699">
                  <c:v>0.56534688781879705</c:v>
                </c:pt>
                <c:pt idx="31700">
                  <c:v>0.56536472266809301</c:v>
                </c:pt>
                <c:pt idx="31701">
                  <c:v>0.56538255751738897</c:v>
                </c:pt>
                <c:pt idx="31702">
                  <c:v>0.56540039236668405</c:v>
                </c:pt>
                <c:pt idx="31703">
                  <c:v>0.56541822721598001</c:v>
                </c:pt>
                <c:pt idx="31704">
                  <c:v>0.56543606206527497</c:v>
                </c:pt>
                <c:pt idx="31705">
                  <c:v>0.56545389691457104</c:v>
                </c:pt>
                <c:pt idx="31706">
                  <c:v>0.565471731763866</c:v>
                </c:pt>
                <c:pt idx="31707">
                  <c:v>0.56548956661316196</c:v>
                </c:pt>
                <c:pt idx="31708">
                  <c:v>0.56550740146245704</c:v>
                </c:pt>
                <c:pt idx="31709">
                  <c:v>0.565525236311753</c:v>
                </c:pt>
                <c:pt idx="31710">
                  <c:v>0.56554307116104796</c:v>
                </c:pt>
                <c:pt idx="31711">
                  <c:v>0.56556090601034403</c:v>
                </c:pt>
                <c:pt idx="31712">
                  <c:v>0.565578740859639</c:v>
                </c:pt>
                <c:pt idx="31713">
                  <c:v>0.56559657570893496</c:v>
                </c:pt>
                <c:pt idx="31714">
                  <c:v>0.56561441055823003</c:v>
                </c:pt>
                <c:pt idx="31715">
                  <c:v>0.56563224540752599</c:v>
                </c:pt>
                <c:pt idx="31716">
                  <c:v>0.56565008025682095</c:v>
                </c:pt>
                <c:pt idx="31717">
                  <c:v>0.56566791510611703</c:v>
                </c:pt>
                <c:pt idx="31718">
                  <c:v>0.56568574995541199</c:v>
                </c:pt>
                <c:pt idx="31719">
                  <c:v>0.56570358480470795</c:v>
                </c:pt>
                <c:pt idx="31720">
                  <c:v>0.56572141965400302</c:v>
                </c:pt>
                <c:pt idx="31721">
                  <c:v>0.56573925450329898</c:v>
                </c:pt>
                <c:pt idx="31722">
                  <c:v>0.56575708935259394</c:v>
                </c:pt>
                <c:pt idx="31723">
                  <c:v>0.56577492420189002</c:v>
                </c:pt>
                <c:pt idx="31724">
                  <c:v>0.56579275905118598</c:v>
                </c:pt>
                <c:pt idx="31725">
                  <c:v>0.56581059390048105</c:v>
                </c:pt>
                <c:pt idx="31726">
                  <c:v>0.56582842874977701</c:v>
                </c:pt>
                <c:pt idx="31727">
                  <c:v>0.56584626359907197</c:v>
                </c:pt>
                <c:pt idx="31728">
                  <c:v>0.56586409844836805</c:v>
                </c:pt>
                <c:pt idx="31729">
                  <c:v>0.56588193329766301</c:v>
                </c:pt>
                <c:pt idx="31730">
                  <c:v>0.56589976814695897</c:v>
                </c:pt>
                <c:pt idx="31731">
                  <c:v>0.56591760299625404</c:v>
                </c:pt>
                <c:pt idx="31732">
                  <c:v>0.56593543784555</c:v>
                </c:pt>
                <c:pt idx="31733">
                  <c:v>0.56595327269484497</c:v>
                </c:pt>
                <c:pt idx="31734">
                  <c:v>0.56597110754414104</c:v>
                </c:pt>
                <c:pt idx="31735">
                  <c:v>0.565988942393436</c:v>
                </c:pt>
                <c:pt idx="31736">
                  <c:v>0.56600677724273196</c:v>
                </c:pt>
                <c:pt idx="31737">
                  <c:v>0.56602461209202704</c:v>
                </c:pt>
                <c:pt idx="31738">
                  <c:v>0.566042446941323</c:v>
                </c:pt>
                <c:pt idx="31739">
                  <c:v>0.56606028179061796</c:v>
                </c:pt>
                <c:pt idx="31740">
                  <c:v>0.56607811663991403</c:v>
                </c:pt>
                <c:pt idx="31741">
                  <c:v>0.56609595148920899</c:v>
                </c:pt>
                <c:pt idx="31742">
                  <c:v>0.56611378633850495</c:v>
                </c:pt>
                <c:pt idx="31743">
                  <c:v>0.56613162118780003</c:v>
                </c:pt>
                <c:pt idx="31744">
                  <c:v>0.56614945603709599</c:v>
                </c:pt>
                <c:pt idx="31745">
                  <c:v>0.56616729088639195</c:v>
                </c:pt>
                <c:pt idx="31746">
                  <c:v>0.56618512573568702</c:v>
                </c:pt>
                <c:pt idx="31747">
                  <c:v>0.56620296058498298</c:v>
                </c:pt>
                <c:pt idx="31748">
                  <c:v>0.56622079543427795</c:v>
                </c:pt>
                <c:pt idx="31749">
                  <c:v>0.56623863028357402</c:v>
                </c:pt>
                <c:pt idx="31750">
                  <c:v>0.56625646513286898</c:v>
                </c:pt>
                <c:pt idx="31751">
                  <c:v>0.56627429998216505</c:v>
                </c:pt>
                <c:pt idx="31752">
                  <c:v>0.56629213483146001</c:v>
                </c:pt>
                <c:pt idx="31753">
                  <c:v>0.56630996968075598</c:v>
                </c:pt>
                <c:pt idx="31754">
                  <c:v>0.56632780453005105</c:v>
                </c:pt>
                <c:pt idx="31755">
                  <c:v>0.56634563937934701</c:v>
                </c:pt>
                <c:pt idx="31756">
                  <c:v>0.56636347422864197</c:v>
                </c:pt>
                <c:pt idx="31757">
                  <c:v>0.56638130907793804</c:v>
                </c:pt>
                <c:pt idx="31758">
                  <c:v>0.56639914392723301</c:v>
                </c:pt>
                <c:pt idx="31759">
                  <c:v>0.56641697877652897</c:v>
                </c:pt>
                <c:pt idx="31760">
                  <c:v>0.56643481362582404</c:v>
                </c:pt>
                <c:pt idx="31761">
                  <c:v>0.56645264847512</c:v>
                </c:pt>
                <c:pt idx="31762">
                  <c:v>0.56647048332441596</c:v>
                </c:pt>
                <c:pt idx="31763">
                  <c:v>0.56648831817371104</c:v>
                </c:pt>
                <c:pt idx="31764">
                  <c:v>0.566506153023007</c:v>
                </c:pt>
                <c:pt idx="31765">
                  <c:v>0.56652398787230196</c:v>
                </c:pt>
                <c:pt idx="31766">
                  <c:v>0.56654182272159803</c:v>
                </c:pt>
                <c:pt idx="31767">
                  <c:v>0.56655965757089299</c:v>
                </c:pt>
                <c:pt idx="31768">
                  <c:v>0.56657749242018896</c:v>
                </c:pt>
                <c:pt idx="31769">
                  <c:v>0.56659532726948403</c:v>
                </c:pt>
                <c:pt idx="31770">
                  <c:v>0.56661316211877999</c:v>
                </c:pt>
                <c:pt idx="31771">
                  <c:v>0.56663099696807495</c:v>
                </c:pt>
                <c:pt idx="31772">
                  <c:v>0.56664883181737102</c:v>
                </c:pt>
                <c:pt idx="31773">
                  <c:v>0.56666666666666599</c:v>
                </c:pt>
                <c:pt idx="31774">
                  <c:v>0.56668450151596195</c:v>
                </c:pt>
                <c:pt idx="31775">
                  <c:v>0.56670233636525702</c:v>
                </c:pt>
                <c:pt idx="31776">
                  <c:v>0.56672017121455298</c:v>
                </c:pt>
                <c:pt idx="31777">
                  <c:v>0.56673800606384805</c:v>
                </c:pt>
                <c:pt idx="31778">
                  <c:v>0.56675584091314402</c:v>
                </c:pt>
                <c:pt idx="31779">
                  <c:v>0.56677367576243898</c:v>
                </c:pt>
                <c:pt idx="31780">
                  <c:v>0.56679151061173505</c:v>
                </c:pt>
                <c:pt idx="31781">
                  <c:v>0.56680934546103001</c:v>
                </c:pt>
                <c:pt idx="31782">
                  <c:v>0.56682718031032597</c:v>
                </c:pt>
                <c:pt idx="31783">
                  <c:v>0.56684501515962105</c:v>
                </c:pt>
                <c:pt idx="31784">
                  <c:v>0.56686285000891701</c:v>
                </c:pt>
                <c:pt idx="31785">
                  <c:v>0.56688068485821297</c:v>
                </c:pt>
                <c:pt idx="31786">
                  <c:v>0.56689851970750804</c:v>
                </c:pt>
                <c:pt idx="31787">
                  <c:v>0.566916354556804</c:v>
                </c:pt>
                <c:pt idx="31788">
                  <c:v>0.56693418940609897</c:v>
                </c:pt>
                <c:pt idx="31789">
                  <c:v>0.56695202425539504</c:v>
                </c:pt>
                <c:pt idx="31790">
                  <c:v>0.56696985910469</c:v>
                </c:pt>
                <c:pt idx="31791">
                  <c:v>0.56698769395398596</c:v>
                </c:pt>
                <c:pt idx="31792">
                  <c:v>0.56700552880328103</c:v>
                </c:pt>
                <c:pt idx="31793">
                  <c:v>0.56702336365257699</c:v>
                </c:pt>
                <c:pt idx="31794">
                  <c:v>0.56704119850187196</c:v>
                </c:pt>
                <c:pt idx="31795">
                  <c:v>0.56705903335116803</c:v>
                </c:pt>
                <c:pt idx="31796">
                  <c:v>0.56707686820046299</c:v>
                </c:pt>
                <c:pt idx="31797">
                  <c:v>0.56709470304975895</c:v>
                </c:pt>
                <c:pt idx="31798">
                  <c:v>0.56711253789905403</c:v>
                </c:pt>
                <c:pt idx="31799">
                  <c:v>0.56713037274834999</c:v>
                </c:pt>
                <c:pt idx="31800">
                  <c:v>0.56714820759764495</c:v>
                </c:pt>
                <c:pt idx="31801">
                  <c:v>0.56716604244694102</c:v>
                </c:pt>
                <c:pt idx="31802">
                  <c:v>0.56718387729623598</c:v>
                </c:pt>
                <c:pt idx="31803">
                  <c:v>0.56720171214553206</c:v>
                </c:pt>
                <c:pt idx="31804">
                  <c:v>0.56721954699482702</c:v>
                </c:pt>
                <c:pt idx="31805">
                  <c:v>0.56723738184412298</c:v>
                </c:pt>
                <c:pt idx="31806">
                  <c:v>0.56725521669341805</c:v>
                </c:pt>
                <c:pt idx="31807">
                  <c:v>0.56727305154271401</c:v>
                </c:pt>
                <c:pt idx="31808">
                  <c:v>0.56729088639200997</c:v>
                </c:pt>
                <c:pt idx="31809">
                  <c:v>0.56730872124130505</c:v>
                </c:pt>
                <c:pt idx="31810">
                  <c:v>0.56732655609060101</c:v>
                </c:pt>
                <c:pt idx="31811">
                  <c:v>0.56734439093989597</c:v>
                </c:pt>
                <c:pt idx="31812">
                  <c:v>0.56736222578919204</c:v>
                </c:pt>
                <c:pt idx="31813">
                  <c:v>0.567380060638487</c:v>
                </c:pt>
                <c:pt idx="31814">
                  <c:v>0.56739789548778297</c:v>
                </c:pt>
                <c:pt idx="31815">
                  <c:v>0.56741573033707804</c:v>
                </c:pt>
                <c:pt idx="31816">
                  <c:v>0.567433565186374</c:v>
                </c:pt>
                <c:pt idx="31817">
                  <c:v>0.56745140003566896</c:v>
                </c:pt>
                <c:pt idx="31818">
                  <c:v>0.56746923488496503</c:v>
                </c:pt>
                <c:pt idx="31819">
                  <c:v>0.56748706973426</c:v>
                </c:pt>
                <c:pt idx="31820">
                  <c:v>0.56750490458355596</c:v>
                </c:pt>
                <c:pt idx="31821">
                  <c:v>0.56752273943285103</c:v>
                </c:pt>
                <c:pt idx="31822">
                  <c:v>0.56754057428214699</c:v>
                </c:pt>
                <c:pt idx="31823">
                  <c:v>0.56755840913144195</c:v>
                </c:pt>
                <c:pt idx="31824">
                  <c:v>0.56757624398073803</c:v>
                </c:pt>
                <c:pt idx="31825">
                  <c:v>0.56759407883003299</c:v>
                </c:pt>
                <c:pt idx="31826">
                  <c:v>0.56761191367932895</c:v>
                </c:pt>
                <c:pt idx="31827">
                  <c:v>0.56762974852862402</c:v>
                </c:pt>
                <c:pt idx="31828">
                  <c:v>0.56764758337791998</c:v>
                </c:pt>
                <c:pt idx="31829">
                  <c:v>0.56766541822721595</c:v>
                </c:pt>
                <c:pt idx="31830">
                  <c:v>0.56768325307651102</c:v>
                </c:pt>
                <c:pt idx="31831">
                  <c:v>0.56770108792580698</c:v>
                </c:pt>
                <c:pt idx="31832">
                  <c:v>0.56771892277510205</c:v>
                </c:pt>
                <c:pt idx="31833">
                  <c:v>0.56773675762439801</c:v>
                </c:pt>
                <c:pt idx="31834">
                  <c:v>0.56775459247369298</c:v>
                </c:pt>
                <c:pt idx="31835">
                  <c:v>0.56777242732298905</c:v>
                </c:pt>
                <c:pt idx="31836">
                  <c:v>0.56779026217228401</c:v>
                </c:pt>
                <c:pt idx="31837">
                  <c:v>0.56780809702157997</c:v>
                </c:pt>
                <c:pt idx="31838">
                  <c:v>0.56782593187087504</c:v>
                </c:pt>
                <c:pt idx="31839">
                  <c:v>0.56784376672017101</c:v>
                </c:pt>
                <c:pt idx="31840">
                  <c:v>0.56786160156946597</c:v>
                </c:pt>
                <c:pt idx="31841">
                  <c:v>0.56787943641876204</c:v>
                </c:pt>
                <c:pt idx="31842">
                  <c:v>0.567897271268057</c:v>
                </c:pt>
                <c:pt idx="31843">
                  <c:v>0.56791510611735296</c:v>
                </c:pt>
                <c:pt idx="31844">
                  <c:v>0.56793294096664804</c:v>
                </c:pt>
                <c:pt idx="31845">
                  <c:v>0.567950775815944</c:v>
                </c:pt>
                <c:pt idx="31846">
                  <c:v>0.56796861066523896</c:v>
                </c:pt>
                <c:pt idx="31847">
                  <c:v>0.56798644551453503</c:v>
                </c:pt>
                <c:pt idx="31848">
                  <c:v>0.56800428036382999</c:v>
                </c:pt>
                <c:pt idx="31849">
                  <c:v>0.56802211521312596</c:v>
                </c:pt>
                <c:pt idx="31850">
                  <c:v>0.56803995006242203</c:v>
                </c:pt>
                <c:pt idx="31851">
                  <c:v>0.56805778491171699</c:v>
                </c:pt>
                <c:pt idx="31852">
                  <c:v>0.56807561976101295</c:v>
                </c:pt>
                <c:pt idx="31853">
                  <c:v>0.56809345461030802</c:v>
                </c:pt>
                <c:pt idx="31854">
                  <c:v>0.56811128945960399</c:v>
                </c:pt>
                <c:pt idx="31855">
                  <c:v>0.56812912430889895</c:v>
                </c:pt>
                <c:pt idx="31856">
                  <c:v>0.56814695915819502</c:v>
                </c:pt>
                <c:pt idx="31857">
                  <c:v>0.56816479400748998</c:v>
                </c:pt>
                <c:pt idx="31858">
                  <c:v>0.56818262885678605</c:v>
                </c:pt>
                <c:pt idx="31859">
                  <c:v>0.56820046370608102</c:v>
                </c:pt>
                <c:pt idx="31860">
                  <c:v>0.56821829855537698</c:v>
                </c:pt>
                <c:pt idx="31861">
                  <c:v>0.56823613340467205</c:v>
                </c:pt>
                <c:pt idx="31862">
                  <c:v>0.56825396825396801</c:v>
                </c:pt>
                <c:pt idx="31863">
                  <c:v>0.56827180310326297</c:v>
                </c:pt>
                <c:pt idx="31864">
                  <c:v>0.56828963795255905</c:v>
                </c:pt>
                <c:pt idx="31865">
                  <c:v>0.56830747280185401</c:v>
                </c:pt>
                <c:pt idx="31866">
                  <c:v>0.56832530765114997</c:v>
                </c:pt>
                <c:pt idx="31867">
                  <c:v>0.56834314250044504</c:v>
                </c:pt>
                <c:pt idx="31868">
                  <c:v>0.568360977349741</c:v>
                </c:pt>
                <c:pt idx="31869">
                  <c:v>0.56837881219903696</c:v>
                </c:pt>
                <c:pt idx="31870">
                  <c:v>0.56839664704833204</c:v>
                </c:pt>
                <c:pt idx="31871">
                  <c:v>0.568414481897628</c:v>
                </c:pt>
                <c:pt idx="31872">
                  <c:v>0.56843231674692296</c:v>
                </c:pt>
                <c:pt idx="31873">
                  <c:v>0.56845015159621903</c:v>
                </c:pt>
                <c:pt idx="31874">
                  <c:v>0.568467986445514</c:v>
                </c:pt>
                <c:pt idx="31875">
                  <c:v>0.56848582129480996</c:v>
                </c:pt>
                <c:pt idx="31876">
                  <c:v>0.56850365614410503</c:v>
                </c:pt>
                <c:pt idx="31877">
                  <c:v>0.56852149099340099</c:v>
                </c:pt>
                <c:pt idx="31878">
                  <c:v>0.56853932584269595</c:v>
                </c:pt>
                <c:pt idx="31879">
                  <c:v>0.56855716069199203</c:v>
                </c:pt>
                <c:pt idx="31880">
                  <c:v>0.56857499554128699</c:v>
                </c:pt>
                <c:pt idx="31881">
                  <c:v>0.56859283039058295</c:v>
                </c:pt>
                <c:pt idx="31882">
                  <c:v>0.56861066523987802</c:v>
                </c:pt>
                <c:pt idx="31883">
                  <c:v>0.56862850008917398</c:v>
                </c:pt>
                <c:pt idx="31884">
                  <c:v>0.56864633493846894</c:v>
                </c:pt>
                <c:pt idx="31885">
                  <c:v>0.56866416978776502</c:v>
                </c:pt>
                <c:pt idx="31886">
                  <c:v>0.56868200463705998</c:v>
                </c:pt>
                <c:pt idx="31887">
                  <c:v>0.56869983948635605</c:v>
                </c:pt>
                <c:pt idx="31888">
                  <c:v>0.56871767433565101</c:v>
                </c:pt>
                <c:pt idx="31889">
                  <c:v>0.56873550918494697</c:v>
                </c:pt>
                <c:pt idx="31890">
                  <c:v>0.56875334403424205</c:v>
                </c:pt>
                <c:pt idx="31891">
                  <c:v>0.56877117888353801</c:v>
                </c:pt>
                <c:pt idx="31892">
                  <c:v>0.56878901373283397</c:v>
                </c:pt>
                <c:pt idx="31893">
                  <c:v>0.56880684858212904</c:v>
                </c:pt>
                <c:pt idx="31894">
                  <c:v>0.568824683431425</c:v>
                </c:pt>
                <c:pt idx="31895">
                  <c:v>0.56884251828071997</c:v>
                </c:pt>
                <c:pt idx="31896">
                  <c:v>0.56886035313001604</c:v>
                </c:pt>
                <c:pt idx="31897">
                  <c:v>0.568878187979311</c:v>
                </c:pt>
                <c:pt idx="31898">
                  <c:v>0.56889602282860696</c:v>
                </c:pt>
                <c:pt idx="31899">
                  <c:v>0.56891385767790204</c:v>
                </c:pt>
                <c:pt idx="31900">
                  <c:v>0.568931692527198</c:v>
                </c:pt>
                <c:pt idx="31901">
                  <c:v>0.56894952737649296</c:v>
                </c:pt>
                <c:pt idx="31902">
                  <c:v>0.56896736222578903</c:v>
                </c:pt>
                <c:pt idx="31903">
                  <c:v>0.56898519707508399</c:v>
                </c:pt>
                <c:pt idx="31904">
                  <c:v>0.56900303192437995</c:v>
                </c:pt>
                <c:pt idx="31905">
                  <c:v>0.56902086677367503</c:v>
                </c:pt>
                <c:pt idx="31906">
                  <c:v>0.56903870162297099</c:v>
                </c:pt>
                <c:pt idx="31907">
                  <c:v>0.56905653647226595</c:v>
                </c:pt>
                <c:pt idx="31908">
                  <c:v>0.56907437132156202</c:v>
                </c:pt>
                <c:pt idx="31909">
                  <c:v>0.56909220617085698</c:v>
                </c:pt>
                <c:pt idx="31910">
                  <c:v>0.56911004102015295</c:v>
                </c:pt>
                <c:pt idx="31911">
                  <c:v>0.56912787586944802</c:v>
                </c:pt>
                <c:pt idx="31912">
                  <c:v>0.56914571071874398</c:v>
                </c:pt>
                <c:pt idx="31913">
                  <c:v>0.56916354556803905</c:v>
                </c:pt>
                <c:pt idx="31914">
                  <c:v>0.56918138041733501</c:v>
                </c:pt>
                <c:pt idx="31915">
                  <c:v>0.56919921526663098</c:v>
                </c:pt>
                <c:pt idx="31916">
                  <c:v>0.56921705011592605</c:v>
                </c:pt>
                <c:pt idx="31917">
                  <c:v>0.56923488496522201</c:v>
                </c:pt>
                <c:pt idx="31918">
                  <c:v>0.56925271981451697</c:v>
                </c:pt>
                <c:pt idx="31919">
                  <c:v>0.56927055466381304</c:v>
                </c:pt>
                <c:pt idx="31920">
                  <c:v>0.56928838951310801</c:v>
                </c:pt>
                <c:pt idx="31921">
                  <c:v>0.56930622436240397</c:v>
                </c:pt>
                <c:pt idx="31922">
                  <c:v>0.56932405921169904</c:v>
                </c:pt>
                <c:pt idx="31923">
                  <c:v>0.569341894060995</c:v>
                </c:pt>
                <c:pt idx="31924">
                  <c:v>0.56935972891028996</c:v>
                </c:pt>
                <c:pt idx="31925">
                  <c:v>0.56937756375958604</c:v>
                </c:pt>
                <c:pt idx="31926">
                  <c:v>0.569395398608881</c:v>
                </c:pt>
                <c:pt idx="31927">
                  <c:v>0.56941323345817696</c:v>
                </c:pt>
                <c:pt idx="31928">
                  <c:v>0.56943106830747203</c:v>
                </c:pt>
                <c:pt idx="31929">
                  <c:v>0.56944890315676799</c:v>
                </c:pt>
                <c:pt idx="31930">
                  <c:v>0.56946673800606296</c:v>
                </c:pt>
                <c:pt idx="31931">
                  <c:v>0.56948457285535903</c:v>
                </c:pt>
                <c:pt idx="31932">
                  <c:v>0.56950240770465399</c:v>
                </c:pt>
                <c:pt idx="31933">
                  <c:v>0.56952024255394995</c:v>
                </c:pt>
                <c:pt idx="31934">
                  <c:v>0.56953807740324502</c:v>
                </c:pt>
                <c:pt idx="31935">
                  <c:v>0.56955591225254099</c:v>
                </c:pt>
                <c:pt idx="31936">
                  <c:v>0.56957374710183695</c:v>
                </c:pt>
                <c:pt idx="31937">
                  <c:v>0.56959158195113202</c:v>
                </c:pt>
                <c:pt idx="31938">
                  <c:v>0.56960941680042798</c:v>
                </c:pt>
                <c:pt idx="31939">
                  <c:v>0.56962725164972305</c:v>
                </c:pt>
                <c:pt idx="31940">
                  <c:v>0.56964508649901902</c:v>
                </c:pt>
                <c:pt idx="31941">
                  <c:v>0.56966292134831398</c:v>
                </c:pt>
                <c:pt idx="31942">
                  <c:v>0.56968075619761005</c:v>
                </c:pt>
                <c:pt idx="31943">
                  <c:v>0.56969859104690501</c:v>
                </c:pt>
                <c:pt idx="31944">
                  <c:v>0.56971642589620097</c:v>
                </c:pt>
                <c:pt idx="31945">
                  <c:v>0.56973426074549605</c:v>
                </c:pt>
                <c:pt idx="31946">
                  <c:v>0.56975209559479201</c:v>
                </c:pt>
                <c:pt idx="31947">
                  <c:v>0.56976993044408697</c:v>
                </c:pt>
                <c:pt idx="31948">
                  <c:v>0.56978776529338304</c:v>
                </c:pt>
                <c:pt idx="31949">
                  <c:v>0.569805600142678</c:v>
                </c:pt>
                <c:pt idx="31950">
                  <c:v>0.56982343499197396</c:v>
                </c:pt>
                <c:pt idx="31951">
                  <c:v>0.56984126984126904</c:v>
                </c:pt>
                <c:pt idx="31952">
                  <c:v>0.569859104690565</c:v>
                </c:pt>
                <c:pt idx="31953">
                  <c:v>0.56987693953985996</c:v>
                </c:pt>
                <c:pt idx="31954">
                  <c:v>0.56989477438915603</c:v>
                </c:pt>
                <c:pt idx="31955">
                  <c:v>0.569912609238451</c:v>
                </c:pt>
                <c:pt idx="31956">
                  <c:v>0.56993044408774696</c:v>
                </c:pt>
                <c:pt idx="31957">
                  <c:v>0.56994827893704303</c:v>
                </c:pt>
                <c:pt idx="31958">
                  <c:v>0.56996611378633799</c:v>
                </c:pt>
                <c:pt idx="31959">
                  <c:v>0.56998394863563395</c:v>
                </c:pt>
                <c:pt idx="31960">
                  <c:v>0.57000178348492903</c:v>
                </c:pt>
                <c:pt idx="31961">
                  <c:v>0.57001961833422499</c:v>
                </c:pt>
                <c:pt idx="31962">
                  <c:v>0.57003745318351995</c:v>
                </c:pt>
                <c:pt idx="31963">
                  <c:v>0.57005528803281602</c:v>
                </c:pt>
                <c:pt idx="31964">
                  <c:v>0.57007312288211098</c:v>
                </c:pt>
                <c:pt idx="31965">
                  <c:v>0.57009095773140706</c:v>
                </c:pt>
                <c:pt idx="31966">
                  <c:v>0.57010879258070202</c:v>
                </c:pt>
                <c:pt idx="31967">
                  <c:v>0.57012662742999798</c:v>
                </c:pt>
                <c:pt idx="31968">
                  <c:v>0.57014446227929305</c:v>
                </c:pt>
                <c:pt idx="31969">
                  <c:v>0.57016229712858901</c:v>
                </c:pt>
                <c:pt idx="31970">
                  <c:v>0.57018013197788397</c:v>
                </c:pt>
                <c:pt idx="31971">
                  <c:v>0.57019796682718005</c:v>
                </c:pt>
                <c:pt idx="31972">
                  <c:v>0.57021580167647501</c:v>
                </c:pt>
                <c:pt idx="31973">
                  <c:v>0.57023363652577097</c:v>
                </c:pt>
                <c:pt idx="31974">
                  <c:v>0.57025147137506604</c:v>
                </c:pt>
                <c:pt idx="31975">
                  <c:v>0.570269306224362</c:v>
                </c:pt>
                <c:pt idx="31976">
                  <c:v>0.57028714107365797</c:v>
                </c:pt>
                <c:pt idx="31977">
                  <c:v>0.57030497592295304</c:v>
                </c:pt>
                <c:pt idx="31978">
                  <c:v>0.570322810772249</c:v>
                </c:pt>
                <c:pt idx="31979">
                  <c:v>0.57034064562154396</c:v>
                </c:pt>
                <c:pt idx="31980">
                  <c:v>0.57035848047084003</c:v>
                </c:pt>
                <c:pt idx="31981">
                  <c:v>0.570376315320135</c:v>
                </c:pt>
                <c:pt idx="31982">
                  <c:v>0.57039415016943096</c:v>
                </c:pt>
                <c:pt idx="31983">
                  <c:v>0.57041198501872603</c:v>
                </c:pt>
                <c:pt idx="31984">
                  <c:v>0.57042981986802199</c:v>
                </c:pt>
                <c:pt idx="31985">
                  <c:v>0.57044765471731695</c:v>
                </c:pt>
                <c:pt idx="31986">
                  <c:v>0.57046548956661303</c:v>
                </c:pt>
                <c:pt idx="31987">
                  <c:v>0.57048332441590799</c:v>
                </c:pt>
                <c:pt idx="31988">
                  <c:v>0.57050115926520395</c:v>
                </c:pt>
                <c:pt idx="31989">
                  <c:v>0.57051899411449902</c:v>
                </c:pt>
                <c:pt idx="31990">
                  <c:v>0.57053682896379498</c:v>
                </c:pt>
                <c:pt idx="31991">
                  <c:v>0.57055466381308995</c:v>
                </c:pt>
                <c:pt idx="31992">
                  <c:v>0.57057249866238602</c:v>
                </c:pt>
                <c:pt idx="31993">
                  <c:v>0.57059033351168098</c:v>
                </c:pt>
                <c:pt idx="31994">
                  <c:v>0.57060816836097705</c:v>
                </c:pt>
                <c:pt idx="31995">
                  <c:v>0.57062600321027201</c:v>
                </c:pt>
                <c:pt idx="31996">
                  <c:v>0.57064383805956798</c:v>
                </c:pt>
                <c:pt idx="31997">
                  <c:v>0.57066167290886305</c:v>
                </c:pt>
                <c:pt idx="31998">
                  <c:v>0.57067950775815901</c:v>
                </c:pt>
                <c:pt idx="31999">
                  <c:v>0.57069734260745497</c:v>
                </c:pt>
                <c:pt idx="32000">
                  <c:v>0.57071517745675004</c:v>
                </c:pt>
                <c:pt idx="32001">
                  <c:v>0.57073301230604601</c:v>
                </c:pt>
                <c:pt idx="32002">
                  <c:v>0.57075084715534097</c:v>
                </c:pt>
                <c:pt idx="32003">
                  <c:v>0.57076868200463704</c:v>
                </c:pt>
                <c:pt idx="32004">
                  <c:v>0.570786516853932</c:v>
                </c:pt>
                <c:pt idx="32005">
                  <c:v>0.57080435170322796</c:v>
                </c:pt>
                <c:pt idx="32006">
                  <c:v>0.57082218655252304</c:v>
                </c:pt>
                <c:pt idx="32007">
                  <c:v>0.570840021401819</c:v>
                </c:pt>
                <c:pt idx="32008">
                  <c:v>0.57085785625111396</c:v>
                </c:pt>
                <c:pt idx="32009">
                  <c:v>0.57087569110041003</c:v>
                </c:pt>
                <c:pt idx="32010">
                  <c:v>0.57089352594970499</c:v>
                </c:pt>
                <c:pt idx="32011">
                  <c:v>0.57091136079900096</c:v>
                </c:pt>
                <c:pt idx="32012">
                  <c:v>0.57092919564829603</c:v>
                </c:pt>
                <c:pt idx="32013">
                  <c:v>0.57094703049759199</c:v>
                </c:pt>
                <c:pt idx="32014">
                  <c:v>0.57096486534688695</c:v>
                </c:pt>
                <c:pt idx="32015">
                  <c:v>0.57098270019618302</c:v>
                </c:pt>
                <c:pt idx="32016">
                  <c:v>0.57100053504547799</c:v>
                </c:pt>
                <c:pt idx="32017">
                  <c:v>0.57101836989477395</c:v>
                </c:pt>
                <c:pt idx="32018">
                  <c:v>0.57103620474406902</c:v>
                </c:pt>
                <c:pt idx="32019">
                  <c:v>0.57105403959336498</c:v>
                </c:pt>
                <c:pt idx="32020">
                  <c:v>0.57107187444266005</c:v>
                </c:pt>
                <c:pt idx="32021">
                  <c:v>0.57108970929195602</c:v>
                </c:pt>
                <c:pt idx="32022">
                  <c:v>0.57110754414125198</c:v>
                </c:pt>
                <c:pt idx="32023">
                  <c:v>0.57112537899054705</c:v>
                </c:pt>
                <c:pt idx="32024">
                  <c:v>0.57114321383984301</c:v>
                </c:pt>
                <c:pt idx="32025">
                  <c:v>0.57116104868913797</c:v>
                </c:pt>
                <c:pt idx="32026">
                  <c:v>0.57117888353843405</c:v>
                </c:pt>
                <c:pt idx="32027">
                  <c:v>0.57119671838772901</c:v>
                </c:pt>
                <c:pt idx="32028">
                  <c:v>0.57121455323702497</c:v>
                </c:pt>
                <c:pt idx="32029">
                  <c:v>0.57123238808632004</c:v>
                </c:pt>
                <c:pt idx="32030">
                  <c:v>0.571250222935616</c:v>
                </c:pt>
                <c:pt idx="32031">
                  <c:v>0.57126805778491097</c:v>
                </c:pt>
                <c:pt idx="32032">
                  <c:v>0.57128589263420704</c:v>
                </c:pt>
                <c:pt idx="32033">
                  <c:v>0.571303727483502</c:v>
                </c:pt>
                <c:pt idx="32034">
                  <c:v>0.57132156233279796</c:v>
                </c:pt>
                <c:pt idx="32035">
                  <c:v>0.57133939718209303</c:v>
                </c:pt>
                <c:pt idx="32036">
                  <c:v>0.571357232031389</c:v>
                </c:pt>
                <c:pt idx="32037">
                  <c:v>0.57137506688068396</c:v>
                </c:pt>
                <c:pt idx="32038">
                  <c:v>0.57139290172998003</c:v>
                </c:pt>
                <c:pt idx="32039">
                  <c:v>0.57141073657927499</c:v>
                </c:pt>
                <c:pt idx="32040">
                  <c:v>0.57142857142857095</c:v>
                </c:pt>
                <c:pt idx="32041">
                  <c:v>0.57144640627786603</c:v>
                </c:pt>
                <c:pt idx="32042">
                  <c:v>0.57146424112716199</c:v>
                </c:pt>
                <c:pt idx="32043">
                  <c:v>0.57148207597645795</c:v>
                </c:pt>
                <c:pt idx="32044">
                  <c:v>0.57149991082575302</c:v>
                </c:pt>
                <c:pt idx="32045">
                  <c:v>0.57151774567504898</c:v>
                </c:pt>
                <c:pt idx="32046">
                  <c:v>0.57153558052434394</c:v>
                </c:pt>
                <c:pt idx="32047">
                  <c:v>0.57155341537364002</c:v>
                </c:pt>
                <c:pt idx="32048">
                  <c:v>0.57157125022293498</c:v>
                </c:pt>
                <c:pt idx="32049">
                  <c:v>0.57158908507223105</c:v>
                </c:pt>
                <c:pt idx="32050">
                  <c:v>0.57160691992152601</c:v>
                </c:pt>
                <c:pt idx="32051">
                  <c:v>0.57162475477082197</c:v>
                </c:pt>
                <c:pt idx="32052">
                  <c:v>0.57164258962011705</c:v>
                </c:pt>
                <c:pt idx="32053">
                  <c:v>0.57166042446941301</c:v>
                </c:pt>
                <c:pt idx="32054">
                  <c:v>0.57167825931870797</c:v>
                </c:pt>
                <c:pt idx="32055">
                  <c:v>0.57169609416800404</c:v>
                </c:pt>
                <c:pt idx="32056">
                  <c:v>0.57171392901729901</c:v>
                </c:pt>
                <c:pt idx="32057">
                  <c:v>0.57173176386659497</c:v>
                </c:pt>
                <c:pt idx="32058">
                  <c:v>0.57174959871589004</c:v>
                </c:pt>
                <c:pt idx="32059">
                  <c:v>0.571767433565186</c:v>
                </c:pt>
                <c:pt idx="32060">
                  <c:v>0.57178526841448096</c:v>
                </c:pt>
                <c:pt idx="32061">
                  <c:v>0.57180310326377704</c:v>
                </c:pt>
                <c:pt idx="32062">
                  <c:v>0.571820938113073</c:v>
                </c:pt>
                <c:pt idx="32063">
                  <c:v>0.57183877296236796</c:v>
                </c:pt>
                <c:pt idx="32064">
                  <c:v>0.57185660781166403</c:v>
                </c:pt>
                <c:pt idx="32065">
                  <c:v>0.57187444266095899</c:v>
                </c:pt>
                <c:pt idx="32066">
                  <c:v>0.57189227751025495</c:v>
                </c:pt>
                <c:pt idx="32067">
                  <c:v>0.57191011235955003</c:v>
                </c:pt>
                <c:pt idx="32068">
                  <c:v>0.57192794720884599</c:v>
                </c:pt>
                <c:pt idx="32069">
                  <c:v>0.57194578205814095</c:v>
                </c:pt>
                <c:pt idx="32070">
                  <c:v>0.57196361690743702</c:v>
                </c:pt>
                <c:pt idx="32071">
                  <c:v>0.57198145175673198</c:v>
                </c:pt>
                <c:pt idx="32072">
                  <c:v>0.57199928660602795</c:v>
                </c:pt>
                <c:pt idx="32073">
                  <c:v>0.57201712145532302</c:v>
                </c:pt>
                <c:pt idx="32074">
                  <c:v>0.57203495630461898</c:v>
                </c:pt>
                <c:pt idx="32075">
                  <c:v>0.57205279115391405</c:v>
                </c:pt>
                <c:pt idx="32076">
                  <c:v>0.57207062600321001</c:v>
                </c:pt>
                <c:pt idx="32077">
                  <c:v>0.57208846085250498</c:v>
                </c:pt>
                <c:pt idx="32078">
                  <c:v>0.57210629570180105</c:v>
                </c:pt>
                <c:pt idx="32079">
                  <c:v>0.57212413055109601</c:v>
                </c:pt>
                <c:pt idx="32080">
                  <c:v>0.57214196540039197</c:v>
                </c:pt>
                <c:pt idx="32081">
                  <c:v>0.57215980024968704</c:v>
                </c:pt>
                <c:pt idx="32082">
                  <c:v>0.57217763509898301</c:v>
                </c:pt>
                <c:pt idx="32083">
                  <c:v>0.57219546994827897</c:v>
                </c:pt>
                <c:pt idx="32084">
                  <c:v>0.57221330479757404</c:v>
                </c:pt>
                <c:pt idx="32085">
                  <c:v>0.57223113964687</c:v>
                </c:pt>
                <c:pt idx="32086">
                  <c:v>0.57224897449616496</c:v>
                </c:pt>
                <c:pt idx="32087">
                  <c:v>0.57226680934546104</c:v>
                </c:pt>
                <c:pt idx="32088">
                  <c:v>0.572284644194756</c:v>
                </c:pt>
                <c:pt idx="32089">
                  <c:v>0.57230247904405196</c:v>
                </c:pt>
                <c:pt idx="32090">
                  <c:v>0.57232031389334703</c:v>
                </c:pt>
                <c:pt idx="32091">
                  <c:v>0.57233814874264299</c:v>
                </c:pt>
                <c:pt idx="32092">
                  <c:v>0.57235598359193796</c:v>
                </c:pt>
                <c:pt idx="32093">
                  <c:v>0.57237381844123403</c:v>
                </c:pt>
                <c:pt idx="32094">
                  <c:v>0.57239165329052899</c:v>
                </c:pt>
                <c:pt idx="32095">
                  <c:v>0.57240948813982495</c:v>
                </c:pt>
                <c:pt idx="32096">
                  <c:v>0.57242732298912002</c:v>
                </c:pt>
                <c:pt idx="32097">
                  <c:v>0.57244515783841599</c:v>
                </c:pt>
                <c:pt idx="32098">
                  <c:v>0.57246299268771095</c:v>
                </c:pt>
                <c:pt idx="32099">
                  <c:v>0.57248082753700702</c:v>
                </c:pt>
                <c:pt idx="32100">
                  <c:v>0.57249866238630198</c:v>
                </c:pt>
                <c:pt idx="32101">
                  <c:v>0.57251649723559805</c:v>
                </c:pt>
                <c:pt idx="32102">
                  <c:v>0.57253433208489302</c:v>
                </c:pt>
                <c:pt idx="32103">
                  <c:v>0.57255216693418898</c:v>
                </c:pt>
                <c:pt idx="32104">
                  <c:v>0.57257000178348405</c:v>
                </c:pt>
                <c:pt idx="32105">
                  <c:v>0.57258783663278001</c:v>
                </c:pt>
                <c:pt idx="32106">
                  <c:v>0.57260567148207597</c:v>
                </c:pt>
                <c:pt idx="32107">
                  <c:v>0.57262350633137105</c:v>
                </c:pt>
                <c:pt idx="32108">
                  <c:v>0.57264134118066701</c:v>
                </c:pt>
                <c:pt idx="32109">
                  <c:v>0.57265917602996197</c:v>
                </c:pt>
                <c:pt idx="32110">
                  <c:v>0.57267701087925804</c:v>
                </c:pt>
                <c:pt idx="32111">
                  <c:v>0.572694845728553</c:v>
                </c:pt>
                <c:pt idx="32112">
                  <c:v>0.57271268057784896</c:v>
                </c:pt>
                <c:pt idx="32113">
                  <c:v>0.57273051542714404</c:v>
                </c:pt>
                <c:pt idx="32114">
                  <c:v>0.57274835027644</c:v>
                </c:pt>
                <c:pt idx="32115">
                  <c:v>0.57276618512573496</c:v>
                </c:pt>
                <c:pt idx="32116">
                  <c:v>0.57278401997503103</c:v>
                </c:pt>
                <c:pt idx="32117">
                  <c:v>0.572801854824326</c:v>
                </c:pt>
                <c:pt idx="32118">
                  <c:v>0.57281968967362196</c:v>
                </c:pt>
                <c:pt idx="32119">
                  <c:v>0.57283752452291703</c:v>
                </c:pt>
                <c:pt idx="32120">
                  <c:v>0.57285535937221299</c:v>
                </c:pt>
                <c:pt idx="32121">
                  <c:v>0.57287319422150795</c:v>
                </c:pt>
                <c:pt idx="32122">
                  <c:v>0.57289102907080403</c:v>
                </c:pt>
                <c:pt idx="32123">
                  <c:v>0.57290886392009899</c:v>
                </c:pt>
                <c:pt idx="32124">
                  <c:v>0.57292669876939495</c:v>
                </c:pt>
                <c:pt idx="32125">
                  <c:v>0.57294453361869002</c:v>
                </c:pt>
                <c:pt idx="32126">
                  <c:v>0.57296236846798598</c:v>
                </c:pt>
                <c:pt idx="32127">
                  <c:v>0.57298020331728095</c:v>
                </c:pt>
                <c:pt idx="32128">
                  <c:v>0.57299803816657702</c:v>
                </c:pt>
                <c:pt idx="32129">
                  <c:v>0.57301587301587298</c:v>
                </c:pt>
                <c:pt idx="32130">
                  <c:v>0.57303370786516805</c:v>
                </c:pt>
                <c:pt idx="32131">
                  <c:v>0.57305154271446401</c:v>
                </c:pt>
                <c:pt idx="32132">
                  <c:v>0.57306937756375897</c:v>
                </c:pt>
                <c:pt idx="32133">
                  <c:v>0.57308721241305505</c:v>
                </c:pt>
                <c:pt idx="32134">
                  <c:v>0.57310504726235001</c:v>
                </c:pt>
                <c:pt idx="32135">
                  <c:v>0.57312288211164597</c:v>
                </c:pt>
                <c:pt idx="32136">
                  <c:v>0.57314071696094104</c:v>
                </c:pt>
                <c:pt idx="32137">
                  <c:v>0.573158551810237</c:v>
                </c:pt>
                <c:pt idx="32138">
                  <c:v>0.57317638665953197</c:v>
                </c:pt>
                <c:pt idx="32139">
                  <c:v>0.57319422150882804</c:v>
                </c:pt>
                <c:pt idx="32140">
                  <c:v>0.573212056358123</c:v>
                </c:pt>
                <c:pt idx="32141">
                  <c:v>0.57322989120741896</c:v>
                </c:pt>
                <c:pt idx="32142">
                  <c:v>0.57324772605671404</c:v>
                </c:pt>
                <c:pt idx="32143">
                  <c:v>0.57326556090601</c:v>
                </c:pt>
                <c:pt idx="32144">
                  <c:v>0.57328339575530496</c:v>
                </c:pt>
                <c:pt idx="32145">
                  <c:v>0.57330123060460103</c:v>
                </c:pt>
                <c:pt idx="32146">
                  <c:v>0.57331906545389599</c:v>
                </c:pt>
                <c:pt idx="32147">
                  <c:v>0.57333690030319195</c:v>
                </c:pt>
                <c:pt idx="32148">
                  <c:v>0.57335473515248703</c:v>
                </c:pt>
                <c:pt idx="32149">
                  <c:v>0.57337257000178299</c:v>
                </c:pt>
                <c:pt idx="32150">
                  <c:v>0.57339040485107895</c:v>
                </c:pt>
                <c:pt idx="32151">
                  <c:v>0.57340823970037402</c:v>
                </c:pt>
                <c:pt idx="32152">
                  <c:v>0.57342607454966998</c:v>
                </c:pt>
                <c:pt idx="32153">
                  <c:v>0.57344390939896495</c:v>
                </c:pt>
                <c:pt idx="32154">
                  <c:v>0.57346174424826102</c:v>
                </c:pt>
                <c:pt idx="32155">
                  <c:v>0.57347957909755598</c:v>
                </c:pt>
                <c:pt idx="32156">
                  <c:v>0.57349741394685205</c:v>
                </c:pt>
                <c:pt idx="32157">
                  <c:v>0.57351524879614701</c:v>
                </c:pt>
                <c:pt idx="32158">
                  <c:v>0.57353308364544298</c:v>
                </c:pt>
                <c:pt idx="32159">
                  <c:v>0.57355091849473805</c:v>
                </c:pt>
                <c:pt idx="32160">
                  <c:v>0.57356875334403401</c:v>
                </c:pt>
                <c:pt idx="32161">
                  <c:v>0.57358658819332897</c:v>
                </c:pt>
                <c:pt idx="32162">
                  <c:v>0.57360442304262504</c:v>
                </c:pt>
                <c:pt idx="32163">
                  <c:v>0.57362225789192001</c:v>
                </c:pt>
                <c:pt idx="32164">
                  <c:v>0.57364009274121597</c:v>
                </c:pt>
                <c:pt idx="32165">
                  <c:v>0.57365792759051104</c:v>
                </c:pt>
                <c:pt idx="32166">
                  <c:v>0.573675762439807</c:v>
                </c:pt>
                <c:pt idx="32167">
                  <c:v>0.57369359728910196</c:v>
                </c:pt>
                <c:pt idx="32168">
                  <c:v>0.57371143213839804</c:v>
                </c:pt>
                <c:pt idx="32169">
                  <c:v>0.573729266987694</c:v>
                </c:pt>
                <c:pt idx="32170">
                  <c:v>0.57374710183698896</c:v>
                </c:pt>
                <c:pt idx="32171">
                  <c:v>0.57376493668628503</c:v>
                </c:pt>
                <c:pt idx="32172">
                  <c:v>0.57378277153557999</c:v>
                </c:pt>
                <c:pt idx="32173">
                  <c:v>0.57380060638487596</c:v>
                </c:pt>
                <c:pt idx="32174">
                  <c:v>0.57381844123417103</c:v>
                </c:pt>
                <c:pt idx="32175">
                  <c:v>0.57383627608346699</c:v>
                </c:pt>
                <c:pt idx="32176">
                  <c:v>0.57385411093276195</c:v>
                </c:pt>
                <c:pt idx="32177">
                  <c:v>0.57387194578205802</c:v>
                </c:pt>
                <c:pt idx="32178">
                  <c:v>0.57388978063135299</c:v>
                </c:pt>
                <c:pt idx="32179">
                  <c:v>0.57390761548064895</c:v>
                </c:pt>
                <c:pt idx="32180">
                  <c:v>0.57392545032994402</c:v>
                </c:pt>
                <c:pt idx="32181">
                  <c:v>0.57394328517923998</c:v>
                </c:pt>
                <c:pt idx="32182">
                  <c:v>0.57396112002853505</c:v>
                </c:pt>
                <c:pt idx="32183">
                  <c:v>0.57397895487783102</c:v>
                </c:pt>
                <c:pt idx="32184">
                  <c:v>0.57399678972712598</c:v>
                </c:pt>
                <c:pt idx="32185">
                  <c:v>0.57401462457642205</c:v>
                </c:pt>
                <c:pt idx="32186">
                  <c:v>0.57403245942571701</c:v>
                </c:pt>
                <c:pt idx="32187">
                  <c:v>0.57405029427501297</c:v>
                </c:pt>
                <c:pt idx="32188">
                  <c:v>0.57406812912430805</c:v>
                </c:pt>
                <c:pt idx="32189">
                  <c:v>0.57408596397360401</c:v>
                </c:pt>
                <c:pt idx="32190">
                  <c:v>0.57410379882289997</c:v>
                </c:pt>
                <c:pt idx="32191">
                  <c:v>0.57412163367219504</c:v>
                </c:pt>
                <c:pt idx="32192">
                  <c:v>0.574139468521491</c:v>
                </c:pt>
                <c:pt idx="32193">
                  <c:v>0.57415730337078597</c:v>
                </c:pt>
                <c:pt idx="32194">
                  <c:v>0.57417513822008204</c:v>
                </c:pt>
                <c:pt idx="32195">
                  <c:v>0.574192973069377</c:v>
                </c:pt>
                <c:pt idx="32196">
                  <c:v>0.57421080791867296</c:v>
                </c:pt>
                <c:pt idx="32197">
                  <c:v>0.57422864276796803</c:v>
                </c:pt>
                <c:pt idx="32198">
                  <c:v>0.574246477617264</c:v>
                </c:pt>
                <c:pt idx="32199">
                  <c:v>0.57426431246655896</c:v>
                </c:pt>
                <c:pt idx="32200">
                  <c:v>0.57428214731585503</c:v>
                </c:pt>
                <c:pt idx="32201">
                  <c:v>0.57429998216514999</c:v>
                </c:pt>
                <c:pt idx="32202">
                  <c:v>0.57431781701444595</c:v>
                </c:pt>
                <c:pt idx="32203">
                  <c:v>0.57433565186374103</c:v>
                </c:pt>
                <c:pt idx="32204">
                  <c:v>0.57435348671303699</c:v>
                </c:pt>
                <c:pt idx="32205">
                  <c:v>0.57437132156233195</c:v>
                </c:pt>
                <c:pt idx="32206">
                  <c:v>0.57438915641162802</c:v>
                </c:pt>
                <c:pt idx="32207">
                  <c:v>0.57440699126092298</c:v>
                </c:pt>
                <c:pt idx="32208">
                  <c:v>0.57442482611021894</c:v>
                </c:pt>
                <c:pt idx="32209">
                  <c:v>0.57444266095951402</c:v>
                </c:pt>
                <c:pt idx="32210">
                  <c:v>0.57446049580880998</c:v>
                </c:pt>
                <c:pt idx="32211">
                  <c:v>0.57447833065810505</c:v>
                </c:pt>
                <c:pt idx="32212">
                  <c:v>0.57449616550740101</c:v>
                </c:pt>
                <c:pt idx="32213">
                  <c:v>0.57451400035669697</c:v>
                </c:pt>
                <c:pt idx="32214">
                  <c:v>0.57453183520599205</c:v>
                </c:pt>
                <c:pt idx="32215">
                  <c:v>0.57454967005528801</c:v>
                </c:pt>
                <c:pt idx="32216">
                  <c:v>0.57456750490458297</c:v>
                </c:pt>
                <c:pt idx="32217">
                  <c:v>0.57458533975387904</c:v>
                </c:pt>
                <c:pt idx="32218">
                  <c:v>0.57460317460317401</c:v>
                </c:pt>
                <c:pt idx="32219">
                  <c:v>0.57462100945246997</c:v>
                </c:pt>
                <c:pt idx="32220">
                  <c:v>0.57463884430176504</c:v>
                </c:pt>
                <c:pt idx="32221">
                  <c:v>0.574656679151061</c:v>
                </c:pt>
                <c:pt idx="32222">
                  <c:v>0.57467451400035596</c:v>
                </c:pt>
                <c:pt idx="32223">
                  <c:v>0.57469234884965203</c:v>
                </c:pt>
                <c:pt idx="32224">
                  <c:v>0.574710183698947</c:v>
                </c:pt>
                <c:pt idx="32225">
                  <c:v>0.57472801854824296</c:v>
                </c:pt>
                <c:pt idx="32226">
                  <c:v>0.57474585339753803</c:v>
                </c:pt>
                <c:pt idx="32227">
                  <c:v>0.57476368824683399</c:v>
                </c:pt>
                <c:pt idx="32228">
                  <c:v>0.57478152309612895</c:v>
                </c:pt>
                <c:pt idx="32229">
                  <c:v>0.57479935794542503</c:v>
                </c:pt>
                <c:pt idx="32230">
                  <c:v>0.57481719279471999</c:v>
                </c:pt>
                <c:pt idx="32231">
                  <c:v>0.57483502764401595</c:v>
                </c:pt>
                <c:pt idx="32232">
                  <c:v>0.57485286249331102</c:v>
                </c:pt>
                <c:pt idx="32233">
                  <c:v>0.57487069734260698</c:v>
                </c:pt>
                <c:pt idx="32234">
                  <c:v>0.57488853219190295</c:v>
                </c:pt>
                <c:pt idx="32235">
                  <c:v>0.57490636704119802</c:v>
                </c:pt>
                <c:pt idx="32236">
                  <c:v>0.57492420189049398</c:v>
                </c:pt>
                <c:pt idx="32237">
                  <c:v>0.57494203673978905</c:v>
                </c:pt>
                <c:pt idx="32238">
                  <c:v>0.57495987158908501</c:v>
                </c:pt>
                <c:pt idx="32239">
                  <c:v>0.57497770643837998</c:v>
                </c:pt>
                <c:pt idx="32240">
                  <c:v>0.57499554128767605</c:v>
                </c:pt>
                <c:pt idx="32241">
                  <c:v>0.57501337613697101</c:v>
                </c:pt>
                <c:pt idx="32242">
                  <c:v>0.57503121098626697</c:v>
                </c:pt>
                <c:pt idx="32243">
                  <c:v>0.57504904583556204</c:v>
                </c:pt>
                <c:pt idx="32244">
                  <c:v>0.57506688068485801</c:v>
                </c:pt>
                <c:pt idx="32245">
                  <c:v>0.57508471553415297</c:v>
                </c:pt>
                <c:pt idx="32246">
                  <c:v>0.57510255038344904</c:v>
                </c:pt>
                <c:pt idx="32247">
                  <c:v>0.575120385232744</c:v>
                </c:pt>
                <c:pt idx="32248">
                  <c:v>0.57513822008203996</c:v>
                </c:pt>
                <c:pt idx="32249">
                  <c:v>0.57515605493133504</c:v>
                </c:pt>
                <c:pt idx="32250">
                  <c:v>0.575173889780631</c:v>
                </c:pt>
                <c:pt idx="32251">
                  <c:v>0.57519172462992596</c:v>
                </c:pt>
                <c:pt idx="32252">
                  <c:v>0.57520955947922203</c:v>
                </c:pt>
                <c:pt idx="32253">
                  <c:v>0.57522739432851699</c:v>
                </c:pt>
                <c:pt idx="32254">
                  <c:v>0.57524522917781296</c:v>
                </c:pt>
                <c:pt idx="32255">
                  <c:v>0.57526306402710803</c:v>
                </c:pt>
                <c:pt idx="32256">
                  <c:v>0.57528089887640399</c:v>
                </c:pt>
                <c:pt idx="32257">
                  <c:v>0.57529873372569995</c:v>
                </c:pt>
                <c:pt idx="32258">
                  <c:v>0.57531656857499502</c:v>
                </c:pt>
                <c:pt idx="32259">
                  <c:v>0.57533440342429099</c:v>
                </c:pt>
                <c:pt idx="32260">
                  <c:v>0.57535223827358595</c:v>
                </c:pt>
                <c:pt idx="32261">
                  <c:v>0.57537007312288202</c:v>
                </c:pt>
                <c:pt idx="32262">
                  <c:v>0.57538790797217698</c:v>
                </c:pt>
                <c:pt idx="32263">
                  <c:v>0.57540574282147305</c:v>
                </c:pt>
                <c:pt idx="32264">
                  <c:v>0.57542357767076802</c:v>
                </c:pt>
                <c:pt idx="32265">
                  <c:v>0.57544141252006398</c:v>
                </c:pt>
                <c:pt idx="32266">
                  <c:v>0.57545924736935905</c:v>
                </c:pt>
                <c:pt idx="32267">
                  <c:v>0.57547708221865501</c:v>
                </c:pt>
                <c:pt idx="32268">
                  <c:v>0.57549491706794997</c:v>
                </c:pt>
                <c:pt idx="32269">
                  <c:v>0.57551275191724605</c:v>
                </c:pt>
                <c:pt idx="32270">
                  <c:v>0.57553058676654101</c:v>
                </c:pt>
                <c:pt idx="32271">
                  <c:v>0.57554842161583697</c:v>
                </c:pt>
                <c:pt idx="32272">
                  <c:v>0.57556625646513204</c:v>
                </c:pt>
                <c:pt idx="32273">
                  <c:v>0.575584091314428</c:v>
                </c:pt>
                <c:pt idx="32274">
                  <c:v>0.57560192616372396</c:v>
                </c:pt>
                <c:pt idx="32275">
                  <c:v>0.57561976101301904</c:v>
                </c:pt>
                <c:pt idx="32276">
                  <c:v>0.575637595862315</c:v>
                </c:pt>
                <c:pt idx="32277">
                  <c:v>0.57565543071160996</c:v>
                </c:pt>
                <c:pt idx="32278">
                  <c:v>0.57567326556090603</c:v>
                </c:pt>
                <c:pt idx="32279">
                  <c:v>0.575691100410201</c:v>
                </c:pt>
                <c:pt idx="32280">
                  <c:v>0.57570893525949696</c:v>
                </c:pt>
                <c:pt idx="32281">
                  <c:v>0.57572677010879203</c:v>
                </c:pt>
                <c:pt idx="32282">
                  <c:v>0.57574460495808799</c:v>
                </c:pt>
                <c:pt idx="32283">
                  <c:v>0.57576243980738295</c:v>
                </c:pt>
                <c:pt idx="32284">
                  <c:v>0.57578027465667903</c:v>
                </c:pt>
                <c:pt idx="32285">
                  <c:v>0.57579810950597399</c:v>
                </c:pt>
                <c:pt idx="32286">
                  <c:v>0.57581594435526995</c:v>
                </c:pt>
                <c:pt idx="32287">
                  <c:v>0.57583377920456502</c:v>
                </c:pt>
                <c:pt idx="32288">
                  <c:v>0.57585161405386098</c:v>
                </c:pt>
                <c:pt idx="32289">
                  <c:v>0.57586944890315594</c:v>
                </c:pt>
                <c:pt idx="32290">
                  <c:v>0.57588728375245202</c:v>
                </c:pt>
                <c:pt idx="32291">
                  <c:v>0.57590511860174698</c:v>
                </c:pt>
                <c:pt idx="32292">
                  <c:v>0.57592295345104305</c:v>
                </c:pt>
                <c:pt idx="32293">
                  <c:v>0.57594078830033801</c:v>
                </c:pt>
                <c:pt idx="32294">
                  <c:v>0.57595862314963397</c:v>
                </c:pt>
                <c:pt idx="32295">
                  <c:v>0.57597645799892905</c:v>
                </c:pt>
                <c:pt idx="32296">
                  <c:v>0.57599429284822501</c:v>
                </c:pt>
                <c:pt idx="32297">
                  <c:v>0.57601212769752097</c:v>
                </c:pt>
                <c:pt idx="32298">
                  <c:v>0.57602996254681604</c:v>
                </c:pt>
                <c:pt idx="32299">
                  <c:v>0.576047797396112</c:v>
                </c:pt>
                <c:pt idx="32300">
                  <c:v>0.57606563224540697</c:v>
                </c:pt>
                <c:pt idx="32301">
                  <c:v>0.57608346709470304</c:v>
                </c:pt>
                <c:pt idx="32302">
                  <c:v>0.576101301943998</c:v>
                </c:pt>
                <c:pt idx="32303">
                  <c:v>0.57611913679329396</c:v>
                </c:pt>
                <c:pt idx="32304">
                  <c:v>0.57613697164258904</c:v>
                </c:pt>
                <c:pt idx="32305">
                  <c:v>0.576154806491885</c:v>
                </c:pt>
                <c:pt idx="32306">
                  <c:v>0.57617264134117996</c:v>
                </c:pt>
                <c:pt idx="32307">
                  <c:v>0.57619047619047603</c:v>
                </c:pt>
                <c:pt idx="32308">
                  <c:v>0.57620831103977099</c:v>
                </c:pt>
                <c:pt idx="32309">
                  <c:v>0.57622614588906695</c:v>
                </c:pt>
                <c:pt idx="32310">
                  <c:v>0.57624398073836203</c:v>
                </c:pt>
                <c:pt idx="32311">
                  <c:v>0.57626181558765799</c:v>
                </c:pt>
                <c:pt idx="32312">
                  <c:v>0.57627965043695295</c:v>
                </c:pt>
                <c:pt idx="32313">
                  <c:v>0.57629748528624902</c:v>
                </c:pt>
                <c:pt idx="32314">
                  <c:v>0.57631532013554398</c:v>
                </c:pt>
                <c:pt idx="32315">
                  <c:v>0.57633315498483995</c:v>
                </c:pt>
                <c:pt idx="32316">
                  <c:v>0.57635098983413502</c:v>
                </c:pt>
                <c:pt idx="32317">
                  <c:v>0.57636882468343098</c:v>
                </c:pt>
                <c:pt idx="32318">
                  <c:v>0.57638665953272605</c:v>
                </c:pt>
                <c:pt idx="32319">
                  <c:v>0.57640449438202201</c:v>
                </c:pt>
                <c:pt idx="32320">
                  <c:v>0.57642232923131798</c:v>
                </c:pt>
                <c:pt idx="32321">
                  <c:v>0.57644016408061305</c:v>
                </c:pt>
                <c:pt idx="32322">
                  <c:v>0.57645799892990901</c:v>
                </c:pt>
                <c:pt idx="32323">
                  <c:v>0.57647583377920397</c:v>
                </c:pt>
                <c:pt idx="32324">
                  <c:v>0.57649366862850004</c:v>
                </c:pt>
                <c:pt idx="32325">
                  <c:v>0.57651150347779501</c:v>
                </c:pt>
                <c:pt idx="32326">
                  <c:v>0.57652933832709097</c:v>
                </c:pt>
                <c:pt idx="32327">
                  <c:v>0.57654717317638604</c:v>
                </c:pt>
                <c:pt idx="32328">
                  <c:v>0.576565008025682</c:v>
                </c:pt>
                <c:pt idx="32329">
                  <c:v>0.57658284287497696</c:v>
                </c:pt>
                <c:pt idx="32330">
                  <c:v>0.57660067772427304</c:v>
                </c:pt>
                <c:pt idx="32331">
                  <c:v>0.576618512573568</c:v>
                </c:pt>
                <c:pt idx="32332">
                  <c:v>0.57663634742286396</c:v>
                </c:pt>
                <c:pt idx="32333">
                  <c:v>0.57665418227215903</c:v>
                </c:pt>
                <c:pt idx="32334">
                  <c:v>0.57667201712145499</c:v>
                </c:pt>
                <c:pt idx="32335">
                  <c:v>0.57668985197074996</c:v>
                </c:pt>
                <c:pt idx="32336">
                  <c:v>0.57670768682004603</c:v>
                </c:pt>
                <c:pt idx="32337">
                  <c:v>0.57672552166934099</c:v>
                </c:pt>
                <c:pt idx="32338">
                  <c:v>0.57674335651863695</c:v>
                </c:pt>
                <c:pt idx="32339">
                  <c:v>0.57676119136793202</c:v>
                </c:pt>
                <c:pt idx="32340">
                  <c:v>0.57677902621722799</c:v>
                </c:pt>
                <c:pt idx="32341">
                  <c:v>0.57679686106652395</c:v>
                </c:pt>
                <c:pt idx="32342">
                  <c:v>0.57681469591581902</c:v>
                </c:pt>
                <c:pt idx="32343">
                  <c:v>0.57683253076511498</c:v>
                </c:pt>
                <c:pt idx="32344">
                  <c:v>0.57685036561441005</c:v>
                </c:pt>
                <c:pt idx="32345">
                  <c:v>0.57686820046370602</c:v>
                </c:pt>
                <c:pt idx="32346">
                  <c:v>0.57688603531300098</c:v>
                </c:pt>
                <c:pt idx="32347">
                  <c:v>0.57690387016229705</c:v>
                </c:pt>
                <c:pt idx="32348">
                  <c:v>0.57692170501159201</c:v>
                </c:pt>
                <c:pt idx="32349">
                  <c:v>0.57693953986088797</c:v>
                </c:pt>
                <c:pt idx="32350">
                  <c:v>0.57695737471018305</c:v>
                </c:pt>
                <c:pt idx="32351">
                  <c:v>0.57697520955947901</c:v>
                </c:pt>
                <c:pt idx="32352">
                  <c:v>0.57699304440877397</c:v>
                </c:pt>
                <c:pt idx="32353">
                  <c:v>0.57701087925807004</c:v>
                </c:pt>
                <c:pt idx="32354">
                  <c:v>0.577028714107365</c:v>
                </c:pt>
                <c:pt idx="32355">
                  <c:v>0.57704654895666097</c:v>
                </c:pt>
                <c:pt idx="32356">
                  <c:v>0.57706438380595604</c:v>
                </c:pt>
                <c:pt idx="32357">
                  <c:v>0.577082218655252</c:v>
                </c:pt>
                <c:pt idx="32358">
                  <c:v>0.57710005350454696</c:v>
                </c:pt>
                <c:pt idx="32359">
                  <c:v>0.57711788835384303</c:v>
                </c:pt>
                <c:pt idx="32360">
                  <c:v>0.577135723203138</c:v>
                </c:pt>
                <c:pt idx="32361">
                  <c:v>0.57715355805243396</c:v>
                </c:pt>
                <c:pt idx="32362">
                  <c:v>0.57717139290173003</c:v>
                </c:pt>
                <c:pt idx="32363">
                  <c:v>0.57718922775102499</c:v>
                </c:pt>
                <c:pt idx="32364">
                  <c:v>0.57720706260032095</c:v>
                </c:pt>
                <c:pt idx="32365">
                  <c:v>0.57722489744961603</c:v>
                </c:pt>
                <c:pt idx="32366">
                  <c:v>0.57724273229891199</c:v>
                </c:pt>
                <c:pt idx="32367">
                  <c:v>0.57726056714820695</c:v>
                </c:pt>
                <c:pt idx="32368">
                  <c:v>0.57727840199750302</c:v>
                </c:pt>
                <c:pt idx="32369">
                  <c:v>0.57729623684679798</c:v>
                </c:pt>
                <c:pt idx="32370">
                  <c:v>0.57731407169609406</c:v>
                </c:pt>
                <c:pt idx="32371">
                  <c:v>0.57733190654538902</c:v>
                </c:pt>
                <c:pt idx="32372">
                  <c:v>0.57734974139468498</c:v>
                </c:pt>
                <c:pt idx="32373">
                  <c:v>0.57736757624398005</c:v>
                </c:pt>
                <c:pt idx="32374">
                  <c:v>0.57738541109327601</c:v>
                </c:pt>
                <c:pt idx="32375">
                  <c:v>0.57740324594257098</c:v>
                </c:pt>
                <c:pt idx="32376">
                  <c:v>0.57742108079186705</c:v>
                </c:pt>
                <c:pt idx="32377">
                  <c:v>0.57743891564116201</c:v>
                </c:pt>
                <c:pt idx="32378">
                  <c:v>0.57745675049045797</c:v>
                </c:pt>
                <c:pt idx="32379">
                  <c:v>0.57747458533975304</c:v>
                </c:pt>
                <c:pt idx="32380">
                  <c:v>0.577492420189049</c:v>
                </c:pt>
                <c:pt idx="32381">
                  <c:v>0.57751025503834497</c:v>
                </c:pt>
                <c:pt idx="32382">
                  <c:v>0.57752808988764004</c:v>
                </c:pt>
                <c:pt idx="32383">
                  <c:v>0.577545924736936</c:v>
                </c:pt>
                <c:pt idx="32384">
                  <c:v>0.57756375958623096</c:v>
                </c:pt>
                <c:pt idx="32385">
                  <c:v>0.57758159443552703</c:v>
                </c:pt>
                <c:pt idx="32386">
                  <c:v>0.577599429284822</c:v>
                </c:pt>
                <c:pt idx="32387">
                  <c:v>0.57761726413411796</c:v>
                </c:pt>
                <c:pt idx="32388">
                  <c:v>0.57763509898341303</c:v>
                </c:pt>
                <c:pt idx="32389">
                  <c:v>0.57765293383270899</c:v>
                </c:pt>
                <c:pt idx="32390">
                  <c:v>0.57767076868200395</c:v>
                </c:pt>
                <c:pt idx="32391">
                  <c:v>0.57768860353130003</c:v>
                </c:pt>
                <c:pt idx="32392">
                  <c:v>0.57770643838059499</c:v>
                </c:pt>
                <c:pt idx="32393">
                  <c:v>0.57772427322989095</c:v>
                </c:pt>
                <c:pt idx="32394">
                  <c:v>0.57774210807918602</c:v>
                </c:pt>
                <c:pt idx="32395">
                  <c:v>0.57775994292848198</c:v>
                </c:pt>
                <c:pt idx="32396">
                  <c:v>0.57777777777777695</c:v>
                </c:pt>
                <c:pt idx="32397">
                  <c:v>0.57779561262707302</c:v>
                </c:pt>
                <c:pt idx="32398">
                  <c:v>0.57781344747636798</c:v>
                </c:pt>
                <c:pt idx="32399">
                  <c:v>0.57783128232566405</c:v>
                </c:pt>
                <c:pt idx="32400">
                  <c:v>0.57784911717495901</c:v>
                </c:pt>
                <c:pt idx="32401">
                  <c:v>0.57786695202425498</c:v>
                </c:pt>
                <c:pt idx="32402">
                  <c:v>0.57788478687355005</c:v>
                </c:pt>
                <c:pt idx="32403">
                  <c:v>0.57790262172284601</c:v>
                </c:pt>
                <c:pt idx="32404">
                  <c:v>0.57792045657214197</c:v>
                </c:pt>
                <c:pt idx="32405">
                  <c:v>0.57793829142143704</c:v>
                </c:pt>
                <c:pt idx="32406">
                  <c:v>0.57795612627073301</c:v>
                </c:pt>
                <c:pt idx="32407">
                  <c:v>0.57797396112002797</c:v>
                </c:pt>
                <c:pt idx="32408">
                  <c:v>0.57799179596932404</c:v>
                </c:pt>
                <c:pt idx="32409">
                  <c:v>0.578009630818619</c:v>
                </c:pt>
                <c:pt idx="32410">
                  <c:v>0.57802746566791496</c:v>
                </c:pt>
                <c:pt idx="32411">
                  <c:v>0.57804530051721004</c:v>
                </c:pt>
                <c:pt idx="32412">
                  <c:v>0.578063135366506</c:v>
                </c:pt>
                <c:pt idx="32413">
                  <c:v>0.57808097021580096</c:v>
                </c:pt>
                <c:pt idx="32414">
                  <c:v>0.57809880506509703</c:v>
                </c:pt>
                <c:pt idx="32415">
                  <c:v>0.57811663991439199</c:v>
                </c:pt>
                <c:pt idx="32416">
                  <c:v>0.57813447476368796</c:v>
                </c:pt>
                <c:pt idx="32417">
                  <c:v>0.57815230961298303</c:v>
                </c:pt>
                <c:pt idx="32418">
                  <c:v>0.57817014446227899</c:v>
                </c:pt>
                <c:pt idx="32419">
                  <c:v>0.57818797931157395</c:v>
                </c:pt>
                <c:pt idx="32420">
                  <c:v>0.57820581416087002</c:v>
                </c:pt>
                <c:pt idx="32421">
                  <c:v>0.57822364901016499</c:v>
                </c:pt>
                <c:pt idx="32422">
                  <c:v>0.57824148385946095</c:v>
                </c:pt>
                <c:pt idx="32423">
                  <c:v>0.57825931870875602</c:v>
                </c:pt>
                <c:pt idx="32424">
                  <c:v>0.57827715355805198</c:v>
                </c:pt>
                <c:pt idx="32425">
                  <c:v>0.57829498840734705</c:v>
                </c:pt>
                <c:pt idx="32426">
                  <c:v>0.57831282325664302</c:v>
                </c:pt>
                <c:pt idx="32427">
                  <c:v>0.57833065810593898</c:v>
                </c:pt>
                <c:pt idx="32428">
                  <c:v>0.57834849295523405</c:v>
                </c:pt>
                <c:pt idx="32429">
                  <c:v>0.57836632780453001</c:v>
                </c:pt>
                <c:pt idx="32430">
                  <c:v>0.57838416265382497</c:v>
                </c:pt>
                <c:pt idx="32431">
                  <c:v>0.57840199750312105</c:v>
                </c:pt>
                <c:pt idx="32432">
                  <c:v>0.57841983235241601</c:v>
                </c:pt>
                <c:pt idx="32433">
                  <c:v>0.57843766720171197</c:v>
                </c:pt>
                <c:pt idx="32434">
                  <c:v>0.57845550205100704</c:v>
                </c:pt>
                <c:pt idx="32435">
                  <c:v>0.578473336900303</c:v>
                </c:pt>
                <c:pt idx="32436">
                  <c:v>0.57849117174959797</c:v>
                </c:pt>
                <c:pt idx="32437">
                  <c:v>0.57850900659889404</c:v>
                </c:pt>
                <c:pt idx="32438">
                  <c:v>0.578526841448189</c:v>
                </c:pt>
                <c:pt idx="32439">
                  <c:v>0.57854467629748496</c:v>
                </c:pt>
                <c:pt idx="32440">
                  <c:v>0.57856251114678003</c:v>
                </c:pt>
                <c:pt idx="32441">
                  <c:v>0.578580345996076</c:v>
                </c:pt>
                <c:pt idx="32442">
                  <c:v>0.57859818084537096</c:v>
                </c:pt>
                <c:pt idx="32443">
                  <c:v>0.57861601569466703</c:v>
                </c:pt>
                <c:pt idx="32444">
                  <c:v>0.57863385054396199</c:v>
                </c:pt>
                <c:pt idx="32445">
                  <c:v>0.57865168539325795</c:v>
                </c:pt>
                <c:pt idx="32446">
                  <c:v>0.57866952024255303</c:v>
                </c:pt>
                <c:pt idx="32447">
                  <c:v>0.57868735509184899</c:v>
                </c:pt>
                <c:pt idx="32448">
                  <c:v>0.57870518994114495</c:v>
                </c:pt>
                <c:pt idx="32449">
                  <c:v>0.57872302479044002</c:v>
                </c:pt>
                <c:pt idx="32450">
                  <c:v>0.57874085963973598</c:v>
                </c:pt>
                <c:pt idx="32451">
                  <c:v>0.57875869448903094</c:v>
                </c:pt>
                <c:pt idx="32452">
                  <c:v>0.57877652933832702</c:v>
                </c:pt>
                <c:pt idx="32453">
                  <c:v>0.57879436418762198</c:v>
                </c:pt>
                <c:pt idx="32454">
                  <c:v>0.57881219903691805</c:v>
                </c:pt>
                <c:pt idx="32455">
                  <c:v>0.57883003388621301</c:v>
                </c:pt>
                <c:pt idx="32456">
                  <c:v>0.57884786873550897</c:v>
                </c:pt>
                <c:pt idx="32457">
                  <c:v>0.57886570358480405</c:v>
                </c:pt>
                <c:pt idx="32458">
                  <c:v>0.57888353843410001</c:v>
                </c:pt>
                <c:pt idx="32459">
                  <c:v>0.57890137328339497</c:v>
                </c:pt>
                <c:pt idx="32460">
                  <c:v>0.57891920813269104</c:v>
                </c:pt>
                <c:pt idx="32461">
                  <c:v>0.57893704298198601</c:v>
                </c:pt>
                <c:pt idx="32462">
                  <c:v>0.57895487783128197</c:v>
                </c:pt>
                <c:pt idx="32463">
                  <c:v>0.57897271268057704</c:v>
                </c:pt>
                <c:pt idx="32464">
                  <c:v>0.578990547529873</c:v>
                </c:pt>
                <c:pt idx="32465">
                  <c:v>0.57900838237916796</c:v>
                </c:pt>
                <c:pt idx="32466">
                  <c:v>0.57902621722846404</c:v>
                </c:pt>
                <c:pt idx="32467">
                  <c:v>0.57904405207776</c:v>
                </c:pt>
                <c:pt idx="32468">
                  <c:v>0.57906188692705496</c:v>
                </c:pt>
                <c:pt idx="32469">
                  <c:v>0.57907972177635103</c:v>
                </c:pt>
                <c:pt idx="32470">
                  <c:v>0.57909755662564599</c:v>
                </c:pt>
                <c:pt idx="32471">
                  <c:v>0.57911539147494195</c:v>
                </c:pt>
                <c:pt idx="32472">
                  <c:v>0.57913322632423703</c:v>
                </c:pt>
                <c:pt idx="32473">
                  <c:v>0.57915106117353299</c:v>
                </c:pt>
                <c:pt idx="32474">
                  <c:v>0.57916889602282795</c:v>
                </c:pt>
                <c:pt idx="32475">
                  <c:v>0.57918673087212402</c:v>
                </c:pt>
                <c:pt idx="32476">
                  <c:v>0.57920456572141898</c:v>
                </c:pt>
                <c:pt idx="32477">
                  <c:v>0.57922240057071495</c:v>
                </c:pt>
                <c:pt idx="32478">
                  <c:v>0.57924023542001002</c:v>
                </c:pt>
                <c:pt idx="32479">
                  <c:v>0.57925807026930598</c:v>
                </c:pt>
                <c:pt idx="32480">
                  <c:v>0.57927590511860105</c:v>
                </c:pt>
                <c:pt idx="32481">
                  <c:v>0.57929373996789701</c:v>
                </c:pt>
                <c:pt idx="32482">
                  <c:v>0.57931157481719198</c:v>
                </c:pt>
                <c:pt idx="32483">
                  <c:v>0.57932940966648805</c:v>
                </c:pt>
                <c:pt idx="32484">
                  <c:v>0.57934724451578301</c:v>
                </c:pt>
                <c:pt idx="32485">
                  <c:v>0.57936507936507897</c:v>
                </c:pt>
                <c:pt idx="32486">
                  <c:v>0.57938291421437405</c:v>
                </c:pt>
                <c:pt idx="32487">
                  <c:v>0.57940074906367001</c:v>
                </c:pt>
                <c:pt idx="32488">
                  <c:v>0.57941858391296597</c:v>
                </c:pt>
                <c:pt idx="32489">
                  <c:v>0.57943641876226104</c:v>
                </c:pt>
                <c:pt idx="32490">
                  <c:v>0.579454253611557</c:v>
                </c:pt>
                <c:pt idx="32491">
                  <c:v>0.57947208846085196</c:v>
                </c:pt>
                <c:pt idx="32492">
                  <c:v>0.57948992331014804</c:v>
                </c:pt>
                <c:pt idx="32493">
                  <c:v>0.579507758159443</c:v>
                </c:pt>
                <c:pt idx="32494">
                  <c:v>0.57952559300873896</c:v>
                </c:pt>
                <c:pt idx="32495">
                  <c:v>0.57954342785803403</c:v>
                </c:pt>
                <c:pt idx="32496">
                  <c:v>0.57956126270732999</c:v>
                </c:pt>
                <c:pt idx="32497">
                  <c:v>0.57957909755662496</c:v>
                </c:pt>
                <c:pt idx="32498">
                  <c:v>0.57959693240592103</c:v>
                </c:pt>
                <c:pt idx="32499">
                  <c:v>0.57961476725521599</c:v>
                </c:pt>
                <c:pt idx="32500">
                  <c:v>0.57963260210451195</c:v>
                </c:pt>
                <c:pt idx="32501">
                  <c:v>0.57965043695380702</c:v>
                </c:pt>
                <c:pt idx="32502">
                  <c:v>0.57966827180310299</c:v>
                </c:pt>
                <c:pt idx="32503">
                  <c:v>0.57968610665239795</c:v>
                </c:pt>
                <c:pt idx="32504">
                  <c:v>0.57970394150169402</c:v>
                </c:pt>
                <c:pt idx="32505">
                  <c:v>0.57972177635098898</c:v>
                </c:pt>
                <c:pt idx="32506">
                  <c:v>0.57973961120028505</c:v>
                </c:pt>
                <c:pt idx="32507">
                  <c:v>0.57975744604958002</c:v>
                </c:pt>
                <c:pt idx="32508">
                  <c:v>0.57977528089887598</c:v>
                </c:pt>
                <c:pt idx="32509">
                  <c:v>0.57979311574817105</c:v>
                </c:pt>
                <c:pt idx="32510">
                  <c:v>0.57981095059746701</c:v>
                </c:pt>
                <c:pt idx="32511">
                  <c:v>0.57982878544676297</c:v>
                </c:pt>
                <c:pt idx="32512">
                  <c:v>0.57984662029605805</c:v>
                </c:pt>
                <c:pt idx="32513">
                  <c:v>0.57986445514535401</c:v>
                </c:pt>
                <c:pt idx="32514">
                  <c:v>0.57988228999464897</c:v>
                </c:pt>
                <c:pt idx="32515">
                  <c:v>0.57990012484394504</c:v>
                </c:pt>
                <c:pt idx="32516">
                  <c:v>0.57991795969324</c:v>
                </c:pt>
                <c:pt idx="32517">
                  <c:v>0.57993579454253597</c:v>
                </c:pt>
                <c:pt idx="32518">
                  <c:v>0.57995362939183104</c:v>
                </c:pt>
                <c:pt idx="32519">
                  <c:v>0.579971464241127</c:v>
                </c:pt>
                <c:pt idx="32520">
                  <c:v>0.57998929909042196</c:v>
                </c:pt>
                <c:pt idx="32521">
                  <c:v>0.58000713393971803</c:v>
                </c:pt>
                <c:pt idx="32522">
                  <c:v>0.580024968789013</c:v>
                </c:pt>
                <c:pt idx="32523">
                  <c:v>0.58004280363830896</c:v>
                </c:pt>
                <c:pt idx="32524">
                  <c:v>0.58006063848760403</c:v>
                </c:pt>
                <c:pt idx="32525">
                  <c:v>0.58007847333689999</c:v>
                </c:pt>
                <c:pt idx="32526">
                  <c:v>0.58009630818619495</c:v>
                </c:pt>
                <c:pt idx="32527">
                  <c:v>0.58011414303549103</c:v>
                </c:pt>
                <c:pt idx="32528">
                  <c:v>0.58013197788478599</c:v>
                </c:pt>
                <c:pt idx="32529">
                  <c:v>0.58014981273408195</c:v>
                </c:pt>
                <c:pt idx="32530">
                  <c:v>0.58016764758337702</c:v>
                </c:pt>
                <c:pt idx="32531">
                  <c:v>0.58018548243267298</c:v>
                </c:pt>
                <c:pt idx="32532">
                  <c:v>0.58020331728196795</c:v>
                </c:pt>
                <c:pt idx="32533">
                  <c:v>0.58022115213126402</c:v>
                </c:pt>
                <c:pt idx="32534">
                  <c:v>0.58023898698055998</c:v>
                </c:pt>
                <c:pt idx="32535">
                  <c:v>0.58025682182985505</c:v>
                </c:pt>
                <c:pt idx="32536">
                  <c:v>0.58027465667915101</c:v>
                </c:pt>
                <c:pt idx="32537">
                  <c:v>0.58029249152844598</c:v>
                </c:pt>
                <c:pt idx="32538">
                  <c:v>0.58031032637774205</c:v>
                </c:pt>
                <c:pt idx="32539">
                  <c:v>0.58032816122703701</c:v>
                </c:pt>
                <c:pt idx="32540">
                  <c:v>0.58034599607633297</c:v>
                </c:pt>
                <c:pt idx="32541">
                  <c:v>0.58036383092562804</c:v>
                </c:pt>
                <c:pt idx="32542">
                  <c:v>0.580381665774924</c:v>
                </c:pt>
                <c:pt idx="32543">
                  <c:v>0.58039950062421897</c:v>
                </c:pt>
                <c:pt idx="32544">
                  <c:v>0.58041733547351504</c:v>
                </c:pt>
                <c:pt idx="32545">
                  <c:v>0.58043517032281</c:v>
                </c:pt>
                <c:pt idx="32546">
                  <c:v>0.58045300517210596</c:v>
                </c:pt>
                <c:pt idx="32547">
                  <c:v>0.58047084002140104</c:v>
                </c:pt>
                <c:pt idx="32548">
                  <c:v>0.580488674870697</c:v>
                </c:pt>
                <c:pt idx="32549">
                  <c:v>0.58050650971999196</c:v>
                </c:pt>
                <c:pt idx="32550">
                  <c:v>0.58052434456928803</c:v>
                </c:pt>
                <c:pt idx="32551">
                  <c:v>0.58054217941858299</c:v>
                </c:pt>
                <c:pt idx="32552">
                  <c:v>0.58056001426787895</c:v>
                </c:pt>
                <c:pt idx="32553">
                  <c:v>0.58057784911717403</c:v>
                </c:pt>
                <c:pt idx="32554">
                  <c:v>0.58059568396646999</c:v>
                </c:pt>
                <c:pt idx="32555">
                  <c:v>0.58061351881576595</c:v>
                </c:pt>
                <c:pt idx="32556">
                  <c:v>0.58063135366506102</c:v>
                </c:pt>
                <c:pt idx="32557">
                  <c:v>0.58064918851435698</c:v>
                </c:pt>
                <c:pt idx="32558">
                  <c:v>0.58066702336365195</c:v>
                </c:pt>
                <c:pt idx="32559">
                  <c:v>0.58068485821294802</c:v>
                </c:pt>
                <c:pt idx="32560">
                  <c:v>0.58070269306224298</c:v>
                </c:pt>
                <c:pt idx="32561">
                  <c:v>0.58072052791153905</c:v>
                </c:pt>
                <c:pt idx="32562">
                  <c:v>0.58073836276083401</c:v>
                </c:pt>
                <c:pt idx="32563">
                  <c:v>0.58075619761012998</c:v>
                </c:pt>
                <c:pt idx="32564">
                  <c:v>0.58077403245942505</c:v>
                </c:pt>
                <c:pt idx="32565">
                  <c:v>0.58079186730872101</c:v>
                </c:pt>
                <c:pt idx="32566">
                  <c:v>0.58080970215801597</c:v>
                </c:pt>
                <c:pt idx="32567">
                  <c:v>0.58082753700731204</c:v>
                </c:pt>
                <c:pt idx="32568">
                  <c:v>0.58084537185660701</c:v>
                </c:pt>
                <c:pt idx="32569">
                  <c:v>0.58086320670590297</c:v>
                </c:pt>
                <c:pt idx="32570">
                  <c:v>0.58088104155519804</c:v>
                </c:pt>
                <c:pt idx="32571">
                  <c:v>0.580898876404494</c:v>
                </c:pt>
                <c:pt idx="32572">
                  <c:v>0.58091671125378896</c:v>
                </c:pt>
                <c:pt idx="32573">
                  <c:v>0.58093454610308504</c:v>
                </c:pt>
                <c:pt idx="32574">
                  <c:v>0.580952380952381</c:v>
                </c:pt>
                <c:pt idx="32575">
                  <c:v>0.58097021580167596</c:v>
                </c:pt>
                <c:pt idx="32576">
                  <c:v>0.58098805065097203</c:v>
                </c:pt>
                <c:pt idx="32577">
                  <c:v>0.58100588550026699</c:v>
                </c:pt>
                <c:pt idx="32578">
                  <c:v>0.58102372034956296</c:v>
                </c:pt>
                <c:pt idx="32579">
                  <c:v>0.58104155519885803</c:v>
                </c:pt>
                <c:pt idx="32580">
                  <c:v>0.58105939004815399</c:v>
                </c:pt>
                <c:pt idx="32581">
                  <c:v>0.58107722489744895</c:v>
                </c:pt>
                <c:pt idx="32582">
                  <c:v>0.58109505974674502</c:v>
                </c:pt>
                <c:pt idx="32583">
                  <c:v>0.58111289459603999</c:v>
                </c:pt>
                <c:pt idx="32584">
                  <c:v>0.58113072944533595</c:v>
                </c:pt>
                <c:pt idx="32585">
                  <c:v>0.58114856429463102</c:v>
                </c:pt>
                <c:pt idx="32586">
                  <c:v>0.58116639914392698</c:v>
                </c:pt>
                <c:pt idx="32587">
                  <c:v>0.58118423399322205</c:v>
                </c:pt>
                <c:pt idx="32588">
                  <c:v>0.58120206884251802</c:v>
                </c:pt>
                <c:pt idx="32589">
                  <c:v>0.58121990369181298</c:v>
                </c:pt>
                <c:pt idx="32590">
                  <c:v>0.58123773854110905</c:v>
                </c:pt>
                <c:pt idx="32591">
                  <c:v>0.58125557339040401</c:v>
                </c:pt>
                <c:pt idx="32592">
                  <c:v>0.58127340823969997</c:v>
                </c:pt>
                <c:pt idx="32593">
                  <c:v>0.58129124308899505</c:v>
                </c:pt>
                <c:pt idx="32594">
                  <c:v>0.58130907793829101</c:v>
                </c:pt>
                <c:pt idx="32595">
                  <c:v>0.58132691278758697</c:v>
                </c:pt>
                <c:pt idx="32596">
                  <c:v>0.58134474763688204</c:v>
                </c:pt>
                <c:pt idx="32597">
                  <c:v>0.581362582486178</c:v>
                </c:pt>
                <c:pt idx="32598">
                  <c:v>0.58138041733547297</c:v>
                </c:pt>
                <c:pt idx="32599">
                  <c:v>0.58139825218476904</c:v>
                </c:pt>
                <c:pt idx="32600">
                  <c:v>0.581416087034064</c:v>
                </c:pt>
                <c:pt idx="32601">
                  <c:v>0.58143392188335996</c:v>
                </c:pt>
                <c:pt idx="32602">
                  <c:v>0.58145175673265503</c:v>
                </c:pt>
                <c:pt idx="32603">
                  <c:v>0.581469591581951</c:v>
                </c:pt>
                <c:pt idx="32604">
                  <c:v>0.58148742643124596</c:v>
                </c:pt>
                <c:pt idx="32605">
                  <c:v>0.58150526128054203</c:v>
                </c:pt>
                <c:pt idx="32606">
                  <c:v>0.58152309612983699</c:v>
                </c:pt>
                <c:pt idx="32607">
                  <c:v>0.58154093097913295</c:v>
                </c:pt>
                <c:pt idx="32608">
                  <c:v>0.58155876582842803</c:v>
                </c:pt>
                <c:pt idx="32609">
                  <c:v>0.58157660067772399</c:v>
                </c:pt>
                <c:pt idx="32610">
                  <c:v>0.58159443552701895</c:v>
                </c:pt>
                <c:pt idx="32611">
                  <c:v>0.58161227037631502</c:v>
                </c:pt>
                <c:pt idx="32612">
                  <c:v>0.58163010522560998</c:v>
                </c:pt>
                <c:pt idx="32613">
                  <c:v>0.58164794007490594</c:v>
                </c:pt>
                <c:pt idx="32614">
                  <c:v>0.58166577492420102</c:v>
                </c:pt>
                <c:pt idx="32615">
                  <c:v>0.58168360977349698</c:v>
                </c:pt>
                <c:pt idx="32616">
                  <c:v>0.58170144462279205</c:v>
                </c:pt>
                <c:pt idx="32617">
                  <c:v>0.58171927947208801</c:v>
                </c:pt>
                <c:pt idx="32618">
                  <c:v>0.58173711432138397</c:v>
                </c:pt>
                <c:pt idx="32619">
                  <c:v>0.58175494917067905</c:v>
                </c:pt>
                <c:pt idx="32620">
                  <c:v>0.58177278401997501</c:v>
                </c:pt>
                <c:pt idx="32621">
                  <c:v>0.58179061886926997</c:v>
                </c:pt>
                <c:pt idx="32622">
                  <c:v>0.58180845371856604</c:v>
                </c:pt>
                <c:pt idx="32623">
                  <c:v>0.58182628856786101</c:v>
                </c:pt>
                <c:pt idx="32624">
                  <c:v>0.58184412341715697</c:v>
                </c:pt>
                <c:pt idx="32625">
                  <c:v>0.58186195826645204</c:v>
                </c:pt>
                <c:pt idx="32626">
                  <c:v>0.581879793115748</c:v>
                </c:pt>
                <c:pt idx="32627">
                  <c:v>0.58189762796504296</c:v>
                </c:pt>
                <c:pt idx="32628">
                  <c:v>0.58191546281433904</c:v>
                </c:pt>
                <c:pt idx="32629">
                  <c:v>0.581933297663634</c:v>
                </c:pt>
                <c:pt idx="32630">
                  <c:v>0.58195113251292996</c:v>
                </c:pt>
                <c:pt idx="32631">
                  <c:v>0.58196896736222503</c:v>
                </c:pt>
                <c:pt idx="32632">
                  <c:v>0.58198680221152099</c:v>
                </c:pt>
                <c:pt idx="32633">
                  <c:v>0.58200463706081595</c:v>
                </c:pt>
                <c:pt idx="32634">
                  <c:v>0.58202247191011203</c:v>
                </c:pt>
                <c:pt idx="32635">
                  <c:v>0.58204030675940699</c:v>
                </c:pt>
                <c:pt idx="32636">
                  <c:v>0.58205814160870295</c:v>
                </c:pt>
                <c:pt idx="32637">
                  <c:v>0.58207597645799802</c:v>
                </c:pt>
                <c:pt idx="32638">
                  <c:v>0.58209381130729398</c:v>
                </c:pt>
                <c:pt idx="32639">
                  <c:v>0.58211164615658995</c:v>
                </c:pt>
                <c:pt idx="32640">
                  <c:v>0.58212948100588502</c:v>
                </c:pt>
                <c:pt idx="32641">
                  <c:v>0.58214731585518098</c:v>
                </c:pt>
                <c:pt idx="32642">
                  <c:v>0.58216515070447605</c:v>
                </c:pt>
                <c:pt idx="32643">
                  <c:v>0.58218298555377201</c:v>
                </c:pt>
                <c:pt idx="32644">
                  <c:v>0.58220082040306698</c:v>
                </c:pt>
                <c:pt idx="32645">
                  <c:v>0.58221865525236305</c:v>
                </c:pt>
                <c:pt idx="32646">
                  <c:v>0.58223649010165801</c:v>
                </c:pt>
                <c:pt idx="32647">
                  <c:v>0.58225432495095397</c:v>
                </c:pt>
                <c:pt idx="32648">
                  <c:v>0.58227215980024905</c:v>
                </c:pt>
                <c:pt idx="32649">
                  <c:v>0.58228999464954501</c:v>
                </c:pt>
                <c:pt idx="32650">
                  <c:v>0.58230782949883997</c:v>
                </c:pt>
                <c:pt idx="32651">
                  <c:v>0.58232566434813604</c:v>
                </c:pt>
                <c:pt idx="32652">
                  <c:v>0.582343499197431</c:v>
                </c:pt>
                <c:pt idx="32653">
                  <c:v>0.58236133404672696</c:v>
                </c:pt>
                <c:pt idx="32654">
                  <c:v>0.58237916889602204</c:v>
                </c:pt>
                <c:pt idx="32655">
                  <c:v>0.582397003745318</c:v>
                </c:pt>
                <c:pt idx="32656">
                  <c:v>0.58241483859461296</c:v>
                </c:pt>
                <c:pt idx="32657">
                  <c:v>0.58243267344390903</c:v>
                </c:pt>
                <c:pt idx="32658">
                  <c:v>0.58245050829320399</c:v>
                </c:pt>
                <c:pt idx="32659">
                  <c:v>0.58246834314249996</c:v>
                </c:pt>
                <c:pt idx="32660">
                  <c:v>0.58248617799179503</c:v>
                </c:pt>
                <c:pt idx="32661">
                  <c:v>0.58250401284109099</c:v>
                </c:pt>
                <c:pt idx="32662">
                  <c:v>0.58252184769038695</c:v>
                </c:pt>
                <c:pt idx="32663">
                  <c:v>0.58253968253968202</c:v>
                </c:pt>
                <c:pt idx="32664">
                  <c:v>0.58255751738897799</c:v>
                </c:pt>
                <c:pt idx="32665">
                  <c:v>0.58257535223827295</c:v>
                </c:pt>
                <c:pt idx="32666">
                  <c:v>0.58259318708756902</c:v>
                </c:pt>
                <c:pt idx="32667">
                  <c:v>0.58261102193686398</c:v>
                </c:pt>
                <c:pt idx="32668">
                  <c:v>0.58262885678616005</c:v>
                </c:pt>
                <c:pt idx="32669">
                  <c:v>0.58264669163545502</c:v>
                </c:pt>
                <c:pt idx="32670">
                  <c:v>0.58266452648475098</c:v>
                </c:pt>
                <c:pt idx="32671">
                  <c:v>0.58268236133404605</c:v>
                </c:pt>
                <c:pt idx="32672">
                  <c:v>0.58270019618334201</c:v>
                </c:pt>
                <c:pt idx="32673">
                  <c:v>0.58271803103263697</c:v>
                </c:pt>
                <c:pt idx="32674">
                  <c:v>0.58273586588193305</c:v>
                </c:pt>
                <c:pt idx="32675">
                  <c:v>0.58275370073122801</c:v>
                </c:pt>
                <c:pt idx="32676">
                  <c:v>0.58277153558052397</c:v>
                </c:pt>
                <c:pt idx="32677">
                  <c:v>0.58278937042981904</c:v>
                </c:pt>
                <c:pt idx="32678">
                  <c:v>0.582807205279115</c:v>
                </c:pt>
                <c:pt idx="32679">
                  <c:v>0.58282504012841096</c:v>
                </c:pt>
                <c:pt idx="32680">
                  <c:v>0.58284287497770604</c:v>
                </c:pt>
                <c:pt idx="32681">
                  <c:v>0.582860709827002</c:v>
                </c:pt>
                <c:pt idx="32682">
                  <c:v>0.58287854467629696</c:v>
                </c:pt>
                <c:pt idx="32683">
                  <c:v>0.58289637952559303</c:v>
                </c:pt>
                <c:pt idx="32684">
                  <c:v>0.582914214374888</c:v>
                </c:pt>
                <c:pt idx="32685">
                  <c:v>0.58293204922418396</c:v>
                </c:pt>
                <c:pt idx="32686">
                  <c:v>0.58294988407347903</c:v>
                </c:pt>
                <c:pt idx="32687">
                  <c:v>0.58296771892277499</c:v>
                </c:pt>
                <c:pt idx="32688">
                  <c:v>0.58298555377206995</c:v>
                </c:pt>
                <c:pt idx="32689">
                  <c:v>0.58300338862136603</c:v>
                </c:pt>
                <c:pt idx="32690">
                  <c:v>0.58302122347066099</c:v>
                </c:pt>
                <c:pt idx="32691">
                  <c:v>0.58303905831995695</c:v>
                </c:pt>
                <c:pt idx="32692">
                  <c:v>0.58305689316925202</c:v>
                </c:pt>
                <c:pt idx="32693">
                  <c:v>0.58307472801854798</c:v>
                </c:pt>
                <c:pt idx="32694">
                  <c:v>0.58309256286784295</c:v>
                </c:pt>
                <c:pt idx="32695">
                  <c:v>0.58311039771713902</c:v>
                </c:pt>
                <c:pt idx="32696">
                  <c:v>0.58312823256643398</c:v>
                </c:pt>
                <c:pt idx="32697">
                  <c:v>0.58314606741573005</c:v>
                </c:pt>
                <c:pt idx="32698">
                  <c:v>0.58316390226502501</c:v>
                </c:pt>
                <c:pt idx="32699">
                  <c:v>0.58318173711432097</c:v>
                </c:pt>
                <c:pt idx="32700">
                  <c:v>0.58319957196361605</c:v>
                </c:pt>
                <c:pt idx="32701">
                  <c:v>0.58321740681291201</c:v>
                </c:pt>
                <c:pt idx="32702">
                  <c:v>0.58323524166220797</c:v>
                </c:pt>
                <c:pt idx="32703">
                  <c:v>0.58325307651150304</c:v>
                </c:pt>
                <c:pt idx="32704">
                  <c:v>0.583270911360799</c:v>
                </c:pt>
                <c:pt idx="32705">
                  <c:v>0.58328874621009397</c:v>
                </c:pt>
                <c:pt idx="32706">
                  <c:v>0.58330658105939004</c:v>
                </c:pt>
                <c:pt idx="32707">
                  <c:v>0.583324415908685</c:v>
                </c:pt>
                <c:pt idx="32708">
                  <c:v>0.58334225075798096</c:v>
                </c:pt>
                <c:pt idx="32709">
                  <c:v>0.58336008560727604</c:v>
                </c:pt>
                <c:pt idx="32710">
                  <c:v>0.583377920456572</c:v>
                </c:pt>
                <c:pt idx="32711">
                  <c:v>0.58339575530586696</c:v>
                </c:pt>
                <c:pt idx="32712">
                  <c:v>0.58341359015516303</c:v>
                </c:pt>
                <c:pt idx="32713">
                  <c:v>0.58343142500445799</c:v>
                </c:pt>
                <c:pt idx="32714">
                  <c:v>0.58344925985375395</c:v>
                </c:pt>
                <c:pt idx="32715">
                  <c:v>0.58346709470304903</c:v>
                </c:pt>
                <c:pt idx="32716">
                  <c:v>0.58348492955234499</c:v>
                </c:pt>
                <c:pt idx="32717">
                  <c:v>0.58350276440163995</c:v>
                </c:pt>
                <c:pt idx="32718">
                  <c:v>0.58352059925093602</c:v>
                </c:pt>
                <c:pt idx="32719">
                  <c:v>0.58353843410023098</c:v>
                </c:pt>
                <c:pt idx="32720">
                  <c:v>0.58355626894952695</c:v>
                </c:pt>
                <c:pt idx="32721">
                  <c:v>0.58357410379882202</c:v>
                </c:pt>
                <c:pt idx="32722">
                  <c:v>0.58359193864811798</c:v>
                </c:pt>
                <c:pt idx="32723">
                  <c:v>0.58360977349741305</c:v>
                </c:pt>
                <c:pt idx="32724">
                  <c:v>0.58362760834670901</c:v>
                </c:pt>
                <c:pt idx="32725">
                  <c:v>0.58364544319600498</c:v>
                </c:pt>
                <c:pt idx="32726">
                  <c:v>0.58366327804530005</c:v>
                </c:pt>
                <c:pt idx="32727">
                  <c:v>0.58368111289459601</c:v>
                </c:pt>
                <c:pt idx="32728">
                  <c:v>0.58369894774389097</c:v>
                </c:pt>
                <c:pt idx="32729">
                  <c:v>0.58371678259318704</c:v>
                </c:pt>
                <c:pt idx="32730">
                  <c:v>0.58373461744248201</c:v>
                </c:pt>
                <c:pt idx="32731">
                  <c:v>0.58375245229177797</c:v>
                </c:pt>
                <c:pt idx="32732">
                  <c:v>0.58377028714107304</c:v>
                </c:pt>
                <c:pt idx="32733">
                  <c:v>0.583788121990369</c:v>
                </c:pt>
                <c:pt idx="32734">
                  <c:v>0.58380595683966396</c:v>
                </c:pt>
                <c:pt idx="32735">
                  <c:v>0.58382379168896004</c:v>
                </c:pt>
                <c:pt idx="32736">
                  <c:v>0.583841626538255</c:v>
                </c:pt>
                <c:pt idx="32737">
                  <c:v>0.58385946138755096</c:v>
                </c:pt>
                <c:pt idx="32738">
                  <c:v>0.58387729623684603</c:v>
                </c:pt>
                <c:pt idx="32739">
                  <c:v>0.58389513108614199</c:v>
                </c:pt>
                <c:pt idx="32740">
                  <c:v>0.58391296593543696</c:v>
                </c:pt>
                <c:pt idx="32741">
                  <c:v>0.58393080078473303</c:v>
                </c:pt>
                <c:pt idx="32742">
                  <c:v>0.58394863563402799</c:v>
                </c:pt>
                <c:pt idx="32743">
                  <c:v>0.58396647048332395</c:v>
                </c:pt>
                <c:pt idx="32744">
                  <c:v>0.58398430533261902</c:v>
                </c:pt>
                <c:pt idx="32745">
                  <c:v>0.58400214018191499</c:v>
                </c:pt>
                <c:pt idx="32746">
                  <c:v>0.58401997503121095</c:v>
                </c:pt>
                <c:pt idx="32747">
                  <c:v>0.58403780988050602</c:v>
                </c:pt>
                <c:pt idx="32748">
                  <c:v>0.58405564472980198</c:v>
                </c:pt>
                <c:pt idx="32749">
                  <c:v>0.58407347957909705</c:v>
                </c:pt>
                <c:pt idx="32750">
                  <c:v>0.58409131442839302</c:v>
                </c:pt>
                <c:pt idx="32751">
                  <c:v>0.58410914927768798</c:v>
                </c:pt>
                <c:pt idx="32752">
                  <c:v>0.58412698412698405</c:v>
                </c:pt>
                <c:pt idx="32753">
                  <c:v>0.58414481897627901</c:v>
                </c:pt>
                <c:pt idx="32754">
                  <c:v>0.58416265382557497</c:v>
                </c:pt>
                <c:pt idx="32755">
                  <c:v>0.58418048867487005</c:v>
                </c:pt>
                <c:pt idx="32756">
                  <c:v>0.58419832352416601</c:v>
                </c:pt>
                <c:pt idx="32757">
                  <c:v>0.58421615837346097</c:v>
                </c:pt>
                <c:pt idx="32758">
                  <c:v>0.58423399322275704</c:v>
                </c:pt>
                <c:pt idx="32759">
                  <c:v>0.584251828072052</c:v>
                </c:pt>
                <c:pt idx="32760">
                  <c:v>0.58426966292134797</c:v>
                </c:pt>
                <c:pt idx="32761">
                  <c:v>0.58428749777064304</c:v>
                </c:pt>
                <c:pt idx="32762">
                  <c:v>0.584305332619939</c:v>
                </c:pt>
                <c:pt idx="32763">
                  <c:v>0.58432316746923396</c:v>
                </c:pt>
                <c:pt idx="32764">
                  <c:v>0.58434100231853003</c:v>
                </c:pt>
                <c:pt idx="32765">
                  <c:v>0.584358837167825</c:v>
                </c:pt>
                <c:pt idx="32766">
                  <c:v>0.58437667201712096</c:v>
                </c:pt>
                <c:pt idx="32767">
                  <c:v>0.58439450686641703</c:v>
                </c:pt>
                <c:pt idx="32768">
                  <c:v>0.58441234171571199</c:v>
                </c:pt>
                <c:pt idx="32769">
                  <c:v>0.58443017656500795</c:v>
                </c:pt>
                <c:pt idx="32770">
                  <c:v>0.58444801141430303</c:v>
                </c:pt>
                <c:pt idx="32771">
                  <c:v>0.58446584626359899</c:v>
                </c:pt>
                <c:pt idx="32772">
                  <c:v>0.58448368111289395</c:v>
                </c:pt>
                <c:pt idx="32773">
                  <c:v>0.58450151596219002</c:v>
                </c:pt>
                <c:pt idx="32774">
                  <c:v>0.58451935081148498</c:v>
                </c:pt>
                <c:pt idx="32775">
                  <c:v>0.58453718566078094</c:v>
                </c:pt>
                <c:pt idx="32776">
                  <c:v>0.58455502051007602</c:v>
                </c:pt>
                <c:pt idx="32777">
                  <c:v>0.58457285535937198</c:v>
                </c:pt>
                <c:pt idx="32778">
                  <c:v>0.58459069020866705</c:v>
                </c:pt>
                <c:pt idx="32779">
                  <c:v>0.58460852505796301</c:v>
                </c:pt>
                <c:pt idx="32780">
                  <c:v>0.58462635990725798</c:v>
                </c:pt>
                <c:pt idx="32781">
                  <c:v>0.58464419475655405</c:v>
                </c:pt>
                <c:pt idx="32782">
                  <c:v>0.58466202960584901</c:v>
                </c:pt>
                <c:pt idx="32783">
                  <c:v>0.58467986445514497</c:v>
                </c:pt>
                <c:pt idx="32784">
                  <c:v>0.58469769930444004</c:v>
                </c:pt>
                <c:pt idx="32785">
                  <c:v>0.58471553415373601</c:v>
                </c:pt>
                <c:pt idx="32786">
                  <c:v>0.58473336900303197</c:v>
                </c:pt>
                <c:pt idx="32787">
                  <c:v>0.58475120385232704</c:v>
                </c:pt>
                <c:pt idx="32788">
                  <c:v>0.584769038701623</c:v>
                </c:pt>
                <c:pt idx="32789">
                  <c:v>0.58478687355091796</c:v>
                </c:pt>
                <c:pt idx="32790">
                  <c:v>0.58480470840021404</c:v>
                </c:pt>
                <c:pt idx="32791">
                  <c:v>0.584822543249509</c:v>
                </c:pt>
                <c:pt idx="32792">
                  <c:v>0.58484037809880496</c:v>
                </c:pt>
                <c:pt idx="32793">
                  <c:v>0.58485821294810003</c:v>
                </c:pt>
                <c:pt idx="32794">
                  <c:v>0.58487604779739599</c:v>
                </c:pt>
                <c:pt idx="32795">
                  <c:v>0.58489388264669095</c:v>
                </c:pt>
                <c:pt idx="32796">
                  <c:v>0.58491171749598703</c:v>
                </c:pt>
                <c:pt idx="32797">
                  <c:v>0.58492955234528199</c:v>
                </c:pt>
                <c:pt idx="32798">
                  <c:v>0.58494738719457795</c:v>
                </c:pt>
                <c:pt idx="32799">
                  <c:v>0.58496522204387302</c:v>
                </c:pt>
                <c:pt idx="32800">
                  <c:v>0.58498305689316898</c:v>
                </c:pt>
                <c:pt idx="32801">
                  <c:v>0.58500089174246395</c:v>
                </c:pt>
                <c:pt idx="32802">
                  <c:v>0.58501872659176002</c:v>
                </c:pt>
                <c:pt idx="32803">
                  <c:v>0.58503656144105498</c:v>
                </c:pt>
                <c:pt idx="32804">
                  <c:v>0.58505439629035105</c:v>
                </c:pt>
                <c:pt idx="32805">
                  <c:v>0.58507223113964602</c:v>
                </c:pt>
                <c:pt idx="32806">
                  <c:v>0.58509006598894198</c:v>
                </c:pt>
                <c:pt idx="32807">
                  <c:v>0.58510790083823705</c:v>
                </c:pt>
                <c:pt idx="32808">
                  <c:v>0.58512573568753301</c:v>
                </c:pt>
                <c:pt idx="32809">
                  <c:v>0.58514357053682897</c:v>
                </c:pt>
                <c:pt idx="32810">
                  <c:v>0.58516140538612404</c:v>
                </c:pt>
                <c:pt idx="32811">
                  <c:v>0.58517924023542001</c:v>
                </c:pt>
                <c:pt idx="32812">
                  <c:v>0.58519707508471497</c:v>
                </c:pt>
                <c:pt idx="32813">
                  <c:v>0.58521490993401104</c:v>
                </c:pt>
                <c:pt idx="32814">
                  <c:v>0.585232744783306</c:v>
                </c:pt>
                <c:pt idx="32815">
                  <c:v>0.58525057963260196</c:v>
                </c:pt>
                <c:pt idx="32816">
                  <c:v>0.58526841448189704</c:v>
                </c:pt>
                <c:pt idx="32817">
                  <c:v>0.585286249331193</c:v>
                </c:pt>
                <c:pt idx="32818">
                  <c:v>0.58530408418048796</c:v>
                </c:pt>
                <c:pt idx="32819">
                  <c:v>0.58532191902978403</c:v>
                </c:pt>
                <c:pt idx="32820">
                  <c:v>0.58533975387907899</c:v>
                </c:pt>
                <c:pt idx="32821">
                  <c:v>0.58535758872837496</c:v>
                </c:pt>
                <c:pt idx="32822">
                  <c:v>0.58537542357767003</c:v>
                </c:pt>
                <c:pt idx="32823">
                  <c:v>0.58539325842696599</c:v>
                </c:pt>
                <c:pt idx="32824">
                  <c:v>0.58541109327626095</c:v>
                </c:pt>
                <c:pt idx="32825">
                  <c:v>0.58542892812555702</c:v>
                </c:pt>
                <c:pt idx="32826">
                  <c:v>0.58544676297485199</c:v>
                </c:pt>
                <c:pt idx="32827">
                  <c:v>0.58546459782414795</c:v>
                </c:pt>
                <c:pt idx="32828">
                  <c:v>0.58548243267344302</c:v>
                </c:pt>
                <c:pt idx="32829">
                  <c:v>0.58550026752273898</c:v>
                </c:pt>
                <c:pt idx="32830">
                  <c:v>0.58551810237203405</c:v>
                </c:pt>
                <c:pt idx="32831">
                  <c:v>0.58553593722133002</c:v>
                </c:pt>
                <c:pt idx="32832">
                  <c:v>0.58555377207062598</c:v>
                </c:pt>
                <c:pt idx="32833">
                  <c:v>0.58557160691992105</c:v>
                </c:pt>
                <c:pt idx="32834">
                  <c:v>0.58558944176921701</c:v>
                </c:pt>
                <c:pt idx="32835">
                  <c:v>0.58560727661851197</c:v>
                </c:pt>
                <c:pt idx="32836">
                  <c:v>0.58562511146780805</c:v>
                </c:pt>
                <c:pt idx="32837">
                  <c:v>0.58564294631710301</c:v>
                </c:pt>
                <c:pt idx="32838">
                  <c:v>0.58566078116639897</c:v>
                </c:pt>
                <c:pt idx="32839">
                  <c:v>0.58567861601569404</c:v>
                </c:pt>
                <c:pt idx="32840">
                  <c:v>0.58569645086499</c:v>
                </c:pt>
                <c:pt idx="32841">
                  <c:v>0.58571428571428497</c:v>
                </c:pt>
                <c:pt idx="32842">
                  <c:v>0.58573212056358104</c:v>
                </c:pt>
                <c:pt idx="32843">
                  <c:v>0.585749955412876</c:v>
                </c:pt>
                <c:pt idx="32844">
                  <c:v>0.58576779026217196</c:v>
                </c:pt>
                <c:pt idx="32845">
                  <c:v>0.58578562511146703</c:v>
                </c:pt>
                <c:pt idx="32846">
                  <c:v>0.585803459960763</c:v>
                </c:pt>
                <c:pt idx="32847">
                  <c:v>0.58582129481005796</c:v>
                </c:pt>
                <c:pt idx="32848">
                  <c:v>0.58583912965935403</c:v>
                </c:pt>
                <c:pt idx="32849">
                  <c:v>0.58585696450864899</c:v>
                </c:pt>
                <c:pt idx="32850">
                  <c:v>0.58587479935794495</c:v>
                </c:pt>
                <c:pt idx="32851">
                  <c:v>0.58589263420724003</c:v>
                </c:pt>
                <c:pt idx="32852">
                  <c:v>0.58591046905653599</c:v>
                </c:pt>
                <c:pt idx="32853">
                  <c:v>0.58592830390583195</c:v>
                </c:pt>
                <c:pt idx="32854">
                  <c:v>0.58594613875512702</c:v>
                </c:pt>
                <c:pt idx="32855">
                  <c:v>0.58596397360442298</c:v>
                </c:pt>
                <c:pt idx="32856">
                  <c:v>0.58598180845371795</c:v>
                </c:pt>
                <c:pt idx="32857">
                  <c:v>0.58599964330301402</c:v>
                </c:pt>
                <c:pt idx="32858">
                  <c:v>0.58601747815230898</c:v>
                </c:pt>
                <c:pt idx="32859">
                  <c:v>0.58603531300160505</c:v>
                </c:pt>
                <c:pt idx="32860">
                  <c:v>0.58605314785090001</c:v>
                </c:pt>
                <c:pt idx="32861">
                  <c:v>0.58607098270019597</c:v>
                </c:pt>
                <c:pt idx="32862">
                  <c:v>0.58608881754949105</c:v>
                </c:pt>
                <c:pt idx="32863">
                  <c:v>0.58610665239878701</c:v>
                </c:pt>
                <c:pt idx="32864">
                  <c:v>0.58612448724808197</c:v>
                </c:pt>
                <c:pt idx="32865">
                  <c:v>0.58614232209737804</c:v>
                </c:pt>
                <c:pt idx="32866">
                  <c:v>0.58616015694667301</c:v>
                </c:pt>
                <c:pt idx="32867">
                  <c:v>0.58617799179596897</c:v>
                </c:pt>
                <c:pt idx="32868">
                  <c:v>0.58619582664526404</c:v>
                </c:pt>
                <c:pt idx="32869">
                  <c:v>0.58621366149456</c:v>
                </c:pt>
                <c:pt idx="32870">
                  <c:v>0.58623149634385496</c:v>
                </c:pt>
                <c:pt idx="32871">
                  <c:v>0.58624933119315104</c:v>
                </c:pt>
                <c:pt idx="32872">
                  <c:v>0.586267166042447</c:v>
                </c:pt>
                <c:pt idx="32873">
                  <c:v>0.58628500089174196</c:v>
                </c:pt>
                <c:pt idx="32874">
                  <c:v>0.58630283574103803</c:v>
                </c:pt>
                <c:pt idx="32875">
                  <c:v>0.58632067059033299</c:v>
                </c:pt>
                <c:pt idx="32876">
                  <c:v>0.58633850543962895</c:v>
                </c:pt>
                <c:pt idx="32877">
                  <c:v>0.58635634028892403</c:v>
                </c:pt>
                <c:pt idx="32878">
                  <c:v>0.58637417513821999</c:v>
                </c:pt>
                <c:pt idx="32879">
                  <c:v>0.58639200998751495</c:v>
                </c:pt>
                <c:pt idx="32880">
                  <c:v>0.58640984483681102</c:v>
                </c:pt>
                <c:pt idx="32881">
                  <c:v>0.58642767968610598</c:v>
                </c:pt>
                <c:pt idx="32882">
                  <c:v>0.58644551453540195</c:v>
                </c:pt>
                <c:pt idx="32883">
                  <c:v>0.58646334938469702</c:v>
                </c:pt>
                <c:pt idx="32884">
                  <c:v>0.58648118423399298</c:v>
                </c:pt>
                <c:pt idx="32885">
                  <c:v>0.58649901908328805</c:v>
                </c:pt>
                <c:pt idx="32886">
                  <c:v>0.58651685393258401</c:v>
                </c:pt>
                <c:pt idx="32887">
                  <c:v>0.58653468878187898</c:v>
                </c:pt>
                <c:pt idx="32888">
                  <c:v>0.58655252363117505</c:v>
                </c:pt>
                <c:pt idx="32889">
                  <c:v>0.58657035848047001</c:v>
                </c:pt>
                <c:pt idx="32890">
                  <c:v>0.58658819332976597</c:v>
                </c:pt>
                <c:pt idx="32891">
                  <c:v>0.58660602817906105</c:v>
                </c:pt>
                <c:pt idx="32892">
                  <c:v>0.58662386302835701</c:v>
                </c:pt>
                <c:pt idx="32893">
                  <c:v>0.58664169787765297</c:v>
                </c:pt>
                <c:pt idx="32894">
                  <c:v>0.58665953272694804</c:v>
                </c:pt>
                <c:pt idx="32895">
                  <c:v>0.586677367576244</c:v>
                </c:pt>
                <c:pt idx="32896">
                  <c:v>0.58669520242553896</c:v>
                </c:pt>
                <c:pt idx="32897">
                  <c:v>0.58671303727483504</c:v>
                </c:pt>
                <c:pt idx="32898">
                  <c:v>0.58673087212413</c:v>
                </c:pt>
                <c:pt idx="32899">
                  <c:v>0.58674870697342596</c:v>
                </c:pt>
                <c:pt idx="32900">
                  <c:v>0.58676654182272103</c:v>
                </c:pt>
                <c:pt idx="32901">
                  <c:v>0.58678437667201699</c:v>
                </c:pt>
                <c:pt idx="32902">
                  <c:v>0.58680221152131196</c:v>
                </c:pt>
                <c:pt idx="32903">
                  <c:v>0.58682004637060803</c:v>
                </c:pt>
                <c:pt idx="32904">
                  <c:v>0.58683788121990299</c:v>
                </c:pt>
                <c:pt idx="32905">
                  <c:v>0.58685571606919895</c:v>
                </c:pt>
                <c:pt idx="32906">
                  <c:v>0.58687355091849402</c:v>
                </c:pt>
                <c:pt idx="32907">
                  <c:v>0.58689138576778999</c:v>
                </c:pt>
                <c:pt idx="32908">
                  <c:v>0.58690922061708495</c:v>
                </c:pt>
                <c:pt idx="32909">
                  <c:v>0.58692705546638102</c:v>
                </c:pt>
                <c:pt idx="32910">
                  <c:v>0.58694489031567598</c:v>
                </c:pt>
                <c:pt idx="32911">
                  <c:v>0.58696272516497205</c:v>
                </c:pt>
                <c:pt idx="32912">
                  <c:v>0.58698056001426702</c:v>
                </c:pt>
                <c:pt idx="32913">
                  <c:v>0.58699839486356298</c:v>
                </c:pt>
                <c:pt idx="32914">
                  <c:v>0.58701622971285805</c:v>
                </c:pt>
                <c:pt idx="32915">
                  <c:v>0.58703406456215401</c:v>
                </c:pt>
                <c:pt idx="32916">
                  <c:v>0.58705189941144997</c:v>
                </c:pt>
                <c:pt idx="32917">
                  <c:v>0.58706973426074505</c:v>
                </c:pt>
                <c:pt idx="32918">
                  <c:v>0.58708756911004101</c:v>
                </c:pt>
                <c:pt idx="32919">
                  <c:v>0.58710540395933597</c:v>
                </c:pt>
                <c:pt idx="32920">
                  <c:v>0.58712323880863204</c:v>
                </c:pt>
                <c:pt idx="32921">
                  <c:v>0.587141073657927</c:v>
                </c:pt>
                <c:pt idx="32922">
                  <c:v>0.58715890850722297</c:v>
                </c:pt>
                <c:pt idx="32923">
                  <c:v>0.58717674335651804</c:v>
                </c:pt>
                <c:pt idx="32924">
                  <c:v>0.587194578205814</c:v>
                </c:pt>
                <c:pt idx="32925">
                  <c:v>0.58721241305510896</c:v>
                </c:pt>
                <c:pt idx="32926">
                  <c:v>0.58723024790440503</c:v>
                </c:pt>
                <c:pt idx="32927">
                  <c:v>0.5872480827537</c:v>
                </c:pt>
                <c:pt idx="32928">
                  <c:v>0.58726591760299596</c:v>
                </c:pt>
                <c:pt idx="32929">
                  <c:v>0.58728375245229103</c:v>
                </c:pt>
                <c:pt idx="32930">
                  <c:v>0.58730158730158699</c:v>
                </c:pt>
                <c:pt idx="32931">
                  <c:v>0.58731942215088195</c:v>
                </c:pt>
                <c:pt idx="32932">
                  <c:v>0.58733725700017803</c:v>
                </c:pt>
                <c:pt idx="32933">
                  <c:v>0.58735509184947299</c:v>
                </c:pt>
                <c:pt idx="32934">
                  <c:v>0.58737292669876895</c:v>
                </c:pt>
                <c:pt idx="32935">
                  <c:v>0.58739076154806402</c:v>
                </c:pt>
                <c:pt idx="32936">
                  <c:v>0.58740859639735998</c:v>
                </c:pt>
                <c:pt idx="32937">
                  <c:v>0.58742643124665594</c:v>
                </c:pt>
                <c:pt idx="32938">
                  <c:v>0.58744426609595102</c:v>
                </c:pt>
                <c:pt idx="32939">
                  <c:v>0.58746210094524698</c:v>
                </c:pt>
                <c:pt idx="32940">
                  <c:v>0.58747993579454205</c:v>
                </c:pt>
                <c:pt idx="32941">
                  <c:v>0.58749777064383801</c:v>
                </c:pt>
                <c:pt idx="32942">
                  <c:v>0.58751560549313298</c:v>
                </c:pt>
                <c:pt idx="32943">
                  <c:v>0.58753344034242905</c:v>
                </c:pt>
                <c:pt idx="32944">
                  <c:v>0.58755127519172401</c:v>
                </c:pt>
                <c:pt idx="32945">
                  <c:v>0.58756911004101997</c:v>
                </c:pt>
                <c:pt idx="32946">
                  <c:v>0.58758694489031504</c:v>
                </c:pt>
                <c:pt idx="32947">
                  <c:v>0.58760477973961101</c:v>
                </c:pt>
                <c:pt idx="32948">
                  <c:v>0.58762261458890597</c:v>
                </c:pt>
                <c:pt idx="32949">
                  <c:v>0.58764044943820204</c:v>
                </c:pt>
                <c:pt idx="32950">
                  <c:v>0.587658284287497</c:v>
                </c:pt>
                <c:pt idx="32951">
                  <c:v>0.58767611913679296</c:v>
                </c:pt>
                <c:pt idx="32952">
                  <c:v>0.58769395398608804</c:v>
                </c:pt>
                <c:pt idx="32953">
                  <c:v>0.587711788835384</c:v>
                </c:pt>
                <c:pt idx="32954">
                  <c:v>0.58772962368467896</c:v>
                </c:pt>
                <c:pt idx="32955">
                  <c:v>0.58774745853397503</c:v>
                </c:pt>
                <c:pt idx="32956">
                  <c:v>0.58776529338326999</c:v>
                </c:pt>
                <c:pt idx="32957">
                  <c:v>0.58778312823256595</c:v>
                </c:pt>
                <c:pt idx="32958">
                  <c:v>0.58780096308186103</c:v>
                </c:pt>
                <c:pt idx="32959">
                  <c:v>0.58781879793115699</c:v>
                </c:pt>
                <c:pt idx="32960">
                  <c:v>0.58783663278045295</c:v>
                </c:pt>
                <c:pt idx="32961">
                  <c:v>0.58785446762974802</c:v>
                </c:pt>
                <c:pt idx="32962">
                  <c:v>0.58787230247904398</c:v>
                </c:pt>
                <c:pt idx="32963">
                  <c:v>0.58789013732833895</c:v>
                </c:pt>
                <c:pt idx="32964">
                  <c:v>0.58790797217763502</c:v>
                </c:pt>
                <c:pt idx="32965">
                  <c:v>0.58792580702692998</c:v>
                </c:pt>
                <c:pt idx="32966">
                  <c:v>0.58794364187622605</c:v>
                </c:pt>
                <c:pt idx="32967">
                  <c:v>0.58796147672552102</c:v>
                </c:pt>
                <c:pt idx="32968">
                  <c:v>0.58797931157481698</c:v>
                </c:pt>
                <c:pt idx="32969">
                  <c:v>0.58799714642411205</c:v>
                </c:pt>
                <c:pt idx="32970">
                  <c:v>0.58801498127340801</c:v>
                </c:pt>
                <c:pt idx="32971">
                  <c:v>0.58803281612270297</c:v>
                </c:pt>
                <c:pt idx="32972">
                  <c:v>0.58805065097199904</c:v>
                </c:pt>
                <c:pt idx="32973">
                  <c:v>0.58806848582129401</c:v>
                </c:pt>
                <c:pt idx="32974">
                  <c:v>0.58808632067058997</c:v>
                </c:pt>
                <c:pt idx="32975">
                  <c:v>0.58810415551988504</c:v>
                </c:pt>
                <c:pt idx="32976">
                  <c:v>0.588121990369181</c:v>
                </c:pt>
                <c:pt idx="32977">
                  <c:v>0.58813982521847596</c:v>
                </c:pt>
                <c:pt idx="32978">
                  <c:v>0.58815766006777204</c:v>
                </c:pt>
                <c:pt idx="32979">
                  <c:v>0.588175494917068</c:v>
                </c:pt>
                <c:pt idx="32980">
                  <c:v>0.58819332976636296</c:v>
                </c:pt>
                <c:pt idx="32981">
                  <c:v>0.58821116461565903</c:v>
                </c:pt>
                <c:pt idx="32982">
                  <c:v>0.58822899946495399</c:v>
                </c:pt>
                <c:pt idx="32983">
                  <c:v>0.58824683431424996</c:v>
                </c:pt>
                <c:pt idx="32984">
                  <c:v>0.58826466916354503</c:v>
                </c:pt>
                <c:pt idx="32985">
                  <c:v>0.58828250401284099</c:v>
                </c:pt>
                <c:pt idx="32986">
                  <c:v>0.58830033886213595</c:v>
                </c:pt>
                <c:pt idx="32987">
                  <c:v>0.58831817371143202</c:v>
                </c:pt>
                <c:pt idx="32988">
                  <c:v>0.58833600856072699</c:v>
                </c:pt>
                <c:pt idx="32989">
                  <c:v>0.58835384341002295</c:v>
                </c:pt>
                <c:pt idx="32990">
                  <c:v>0.58837167825931802</c:v>
                </c:pt>
                <c:pt idx="32991">
                  <c:v>0.58838951310861398</c:v>
                </c:pt>
                <c:pt idx="32992">
                  <c:v>0.58840734795790905</c:v>
                </c:pt>
                <c:pt idx="32993">
                  <c:v>0.58842518280720502</c:v>
                </c:pt>
                <c:pt idx="32994">
                  <c:v>0.58844301765649998</c:v>
                </c:pt>
                <c:pt idx="32995">
                  <c:v>0.58846085250579605</c:v>
                </c:pt>
                <c:pt idx="32996">
                  <c:v>0.58847868735509101</c:v>
                </c:pt>
                <c:pt idx="32997">
                  <c:v>0.58849652220438697</c:v>
                </c:pt>
                <c:pt idx="32998">
                  <c:v>0.58851435705368205</c:v>
                </c:pt>
                <c:pt idx="32999">
                  <c:v>0.58853219190297801</c:v>
                </c:pt>
                <c:pt idx="33000">
                  <c:v>0.58855002675227397</c:v>
                </c:pt>
                <c:pt idx="33001">
                  <c:v>0.58856786160156904</c:v>
                </c:pt>
                <c:pt idx="33002">
                  <c:v>0.588585696450865</c:v>
                </c:pt>
                <c:pt idx="33003">
                  <c:v>0.58860353130015997</c:v>
                </c:pt>
                <c:pt idx="33004">
                  <c:v>0.58862136614945604</c:v>
                </c:pt>
                <c:pt idx="33005">
                  <c:v>0.588639200998751</c:v>
                </c:pt>
                <c:pt idx="33006">
                  <c:v>0.58865703584804696</c:v>
                </c:pt>
                <c:pt idx="33007">
                  <c:v>0.58867487069734203</c:v>
                </c:pt>
                <c:pt idx="33008">
                  <c:v>0.588692705546638</c:v>
                </c:pt>
                <c:pt idx="33009">
                  <c:v>0.58871054039593296</c:v>
                </c:pt>
                <c:pt idx="33010">
                  <c:v>0.58872837524522903</c:v>
                </c:pt>
                <c:pt idx="33011">
                  <c:v>0.58874621009452399</c:v>
                </c:pt>
                <c:pt idx="33012">
                  <c:v>0.58876404494381995</c:v>
                </c:pt>
                <c:pt idx="33013">
                  <c:v>0.58878187979311503</c:v>
                </c:pt>
                <c:pt idx="33014">
                  <c:v>0.58879971464241099</c:v>
                </c:pt>
                <c:pt idx="33015">
                  <c:v>0.58881754949170595</c:v>
                </c:pt>
                <c:pt idx="33016">
                  <c:v>0.58883538434100202</c:v>
                </c:pt>
                <c:pt idx="33017">
                  <c:v>0.58885321919029698</c:v>
                </c:pt>
                <c:pt idx="33018">
                  <c:v>0.58887105403959294</c:v>
                </c:pt>
                <c:pt idx="33019">
                  <c:v>0.58888888888888802</c:v>
                </c:pt>
                <c:pt idx="33020">
                  <c:v>0.58890672373818398</c:v>
                </c:pt>
                <c:pt idx="33021">
                  <c:v>0.58892455858747905</c:v>
                </c:pt>
                <c:pt idx="33022">
                  <c:v>0.58894239343677501</c:v>
                </c:pt>
                <c:pt idx="33023">
                  <c:v>0.58896022828607097</c:v>
                </c:pt>
                <c:pt idx="33024">
                  <c:v>0.58897806313536605</c:v>
                </c:pt>
                <c:pt idx="33025">
                  <c:v>0.58899589798466201</c:v>
                </c:pt>
                <c:pt idx="33026">
                  <c:v>0.58901373283395697</c:v>
                </c:pt>
                <c:pt idx="33027">
                  <c:v>0.58903156768325304</c:v>
                </c:pt>
                <c:pt idx="33028">
                  <c:v>0.58904940253254801</c:v>
                </c:pt>
                <c:pt idx="33029">
                  <c:v>0.58906723738184397</c:v>
                </c:pt>
                <c:pt idx="33030">
                  <c:v>0.58908507223113904</c:v>
                </c:pt>
                <c:pt idx="33031">
                  <c:v>0.589102907080435</c:v>
                </c:pt>
                <c:pt idx="33032">
                  <c:v>0.58912074192972996</c:v>
                </c:pt>
                <c:pt idx="33033">
                  <c:v>0.58913857677902604</c:v>
                </c:pt>
                <c:pt idx="33034">
                  <c:v>0.589156411628321</c:v>
                </c:pt>
                <c:pt idx="33035">
                  <c:v>0.58917424647761696</c:v>
                </c:pt>
                <c:pt idx="33036">
                  <c:v>0.58919208132691203</c:v>
                </c:pt>
                <c:pt idx="33037">
                  <c:v>0.58920991617620799</c:v>
                </c:pt>
                <c:pt idx="33038">
                  <c:v>0.58922775102550295</c:v>
                </c:pt>
                <c:pt idx="33039">
                  <c:v>0.58924558587479903</c:v>
                </c:pt>
                <c:pt idx="33040">
                  <c:v>0.58926342072409399</c:v>
                </c:pt>
                <c:pt idx="33041">
                  <c:v>0.58928125557338995</c:v>
                </c:pt>
                <c:pt idx="33042">
                  <c:v>0.58929909042268502</c:v>
                </c:pt>
                <c:pt idx="33043">
                  <c:v>0.58931692527198098</c:v>
                </c:pt>
                <c:pt idx="33044">
                  <c:v>0.58933476012127695</c:v>
                </c:pt>
                <c:pt idx="33045">
                  <c:v>0.58935259497057202</c:v>
                </c:pt>
                <c:pt idx="33046">
                  <c:v>0.58937042981986798</c:v>
                </c:pt>
                <c:pt idx="33047">
                  <c:v>0.58938826466916305</c:v>
                </c:pt>
                <c:pt idx="33048">
                  <c:v>0.58940609951845901</c:v>
                </c:pt>
                <c:pt idx="33049">
                  <c:v>0.58942393436775398</c:v>
                </c:pt>
                <c:pt idx="33050">
                  <c:v>0.58944176921705005</c:v>
                </c:pt>
                <c:pt idx="33051">
                  <c:v>0.58945960406634501</c:v>
                </c:pt>
                <c:pt idx="33052">
                  <c:v>0.58947743891564097</c:v>
                </c:pt>
                <c:pt idx="33053">
                  <c:v>0.58949527376493605</c:v>
                </c:pt>
                <c:pt idx="33054">
                  <c:v>0.58951310861423201</c:v>
                </c:pt>
                <c:pt idx="33055">
                  <c:v>0.58953094346352697</c:v>
                </c:pt>
                <c:pt idx="33056">
                  <c:v>0.58954877831282304</c:v>
                </c:pt>
                <c:pt idx="33057">
                  <c:v>0.589566613162118</c:v>
                </c:pt>
                <c:pt idx="33058">
                  <c:v>0.58958444801141396</c:v>
                </c:pt>
                <c:pt idx="33059">
                  <c:v>0.58960228286070904</c:v>
                </c:pt>
                <c:pt idx="33060">
                  <c:v>0.589620117710005</c:v>
                </c:pt>
                <c:pt idx="33061">
                  <c:v>0.58963795255929996</c:v>
                </c:pt>
                <c:pt idx="33062">
                  <c:v>0.58965578740859603</c:v>
                </c:pt>
                <c:pt idx="33063">
                  <c:v>0.58967362225789099</c:v>
                </c:pt>
                <c:pt idx="33064">
                  <c:v>0.58969145710718696</c:v>
                </c:pt>
                <c:pt idx="33065">
                  <c:v>0.58970929195648203</c:v>
                </c:pt>
                <c:pt idx="33066">
                  <c:v>0.58972712680577799</c:v>
                </c:pt>
                <c:pt idx="33067">
                  <c:v>0.58974496165507395</c:v>
                </c:pt>
                <c:pt idx="33068">
                  <c:v>0.58976279650436902</c:v>
                </c:pt>
                <c:pt idx="33069">
                  <c:v>0.58978063135366499</c:v>
                </c:pt>
                <c:pt idx="33070">
                  <c:v>0.58979846620295995</c:v>
                </c:pt>
                <c:pt idx="33071">
                  <c:v>0.58981630105225602</c:v>
                </c:pt>
                <c:pt idx="33072">
                  <c:v>0.58983413590155098</c:v>
                </c:pt>
                <c:pt idx="33073">
                  <c:v>0.58985197075084705</c:v>
                </c:pt>
                <c:pt idx="33074">
                  <c:v>0.58986980560014202</c:v>
                </c:pt>
                <c:pt idx="33075">
                  <c:v>0.58988764044943798</c:v>
                </c:pt>
                <c:pt idx="33076">
                  <c:v>0.58990547529873305</c:v>
                </c:pt>
                <c:pt idx="33077">
                  <c:v>0.58992331014802901</c:v>
                </c:pt>
                <c:pt idx="33078">
                  <c:v>0.58994114499732397</c:v>
                </c:pt>
                <c:pt idx="33079">
                  <c:v>0.58995897984662005</c:v>
                </c:pt>
                <c:pt idx="33080">
                  <c:v>0.58997681469591501</c:v>
                </c:pt>
                <c:pt idx="33081">
                  <c:v>0.58999464954521097</c:v>
                </c:pt>
                <c:pt idx="33082">
                  <c:v>0.59001248439450604</c:v>
                </c:pt>
                <c:pt idx="33083">
                  <c:v>0.590030319243802</c:v>
                </c:pt>
                <c:pt idx="33084">
                  <c:v>0.59004815409309797</c:v>
                </c:pt>
                <c:pt idx="33085">
                  <c:v>0.59006598894239304</c:v>
                </c:pt>
                <c:pt idx="33086">
                  <c:v>0.590083823791689</c:v>
                </c:pt>
                <c:pt idx="33087">
                  <c:v>0.59010165864098396</c:v>
                </c:pt>
                <c:pt idx="33088">
                  <c:v>0.59011949349028003</c:v>
                </c:pt>
                <c:pt idx="33089">
                  <c:v>0.590137328339575</c:v>
                </c:pt>
                <c:pt idx="33090">
                  <c:v>0.59015516318887096</c:v>
                </c:pt>
                <c:pt idx="33091">
                  <c:v>0.59017299803816603</c:v>
                </c:pt>
                <c:pt idx="33092">
                  <c:v>0.59019083288746199</c:v>
                </c:pt>
                <c:pt idx="33093">
                  <c:v>0.59020866773675695</c:v>
                </c:pt>
                <c:pt idx="33094">
                  <c:v>0.59022650258605303</c:v>
                </c:pt>
                <c:pt idx="33095">
                  <c:v>0.59024433743534799</c:v>
                </c:pt>
                <c:pt idx="33096">
                  <c:v>0.59026217228464395</c:v>
                </c:pt>
                <c:pt idx="33097">
                  <c:v>0.59028000713393902</c:v>
                </c:pt>
                <c:pt idx="33098">
                  <c:v>0.59029784198323498</c:v>
                </c:pt>
                <c:pt idx="33099">
                  <c:v>0.59031567683252995</c:v>
                </c:pt>
                <c:pt idx="33100">
                  <c:v>0.59033351168182602</c:v>
                </c:pt>
                <c:pt idx="33101">
                  <c:v>0.59035134653112098</c:v>
                </c:pt>
                <c:pt idx="33102">
                  <c:v>0.59036918138041705</c:v>
                </c:pt>
                <c:pt idx="33103">
                  <c:v>0.59038701622971201</c:v>
                </c:pt>
                <c:pt idx="33104">
                  <c:v>0.59040485107900798</c:v>
                </c:pt>
                <c:pt idx="33105">
                  <c:v>0.59042268592830305</c:v>
                </c:pt>
                <c:pt idx="33106">
                  <c:v>0.59044052077759901</c:v>
                </c:pt>
                <c:pt idx="33107">
                  <c:v>0.59045835562689497</c:v>
                </c:pt>
                <c:pt idx="33108">
                  <c:v>0.59047619047619004</c:v>
                </c:pt>
                <c:pt idx="33109">
                  <c:v>0.590494025325486</c:v>
                </c:pt>
                <c:pt idx="33110">
                  <c:v>0.59051186017478097</c:v>
                </c:pt>
                <c:pt idx="33111">
                  <c:v>0.59052969502407704</c:v>
                </c:pt>
                <c:pt idx="33112">
                  <c:v>0.590547529873372</c:v>
                </c:pt>
                <c:pt idx="33113">
                  <c:v>0.59056536472266796</c:v>
                </c:pt>
                <c:pt idx="33114">
                  <c:v>0.59058319957196304</c:v>
                </c:pt>
                <c:pt idx="33115">
                  <c:v>0.590601034421259</c:v>
                </c:pt>
                <c:pt idx="33116">
                  <c:v>0.59061886927055396</c:v>
                </c:pt>
                <c:pt idx="33117">
                  <c:v>0.59063670411985003</c:v>
                </c:pt>
                <c:pt idx="33118">
                  <c:v>0.59065453896914499</c:v>
                </c:pt>
                <c:pt idx="33119">
                  <c:v>0.59067237381844095</c:v>
                </c:pt>
                <c:pt idx="33120">
                  <c:v>0.59069020866773603</c:v>
                </c:pt>
                <c:pt idx="33121">
                  <c:v>0.59070804351703199</c:v>
                </c:pt>
                <c:pt idx="33122">
                  <c:v>0.59072587836632695</c:v>
                </c:pt>
                <c:pt idx="33123">
                  <c:v>0.59074371321562302</c:v>
                </c:pt>
                <c:pt idx="33124">
                  <c:v>0.59076154806491799</c:v>
                </c:pt>
                <c:pt idx="33125">
                  <c:v>0.59077938291421395</c:v>
                </c:pt>
                <c:pt idx="33126">
                  <c:v>0.59079721776350902</c:v>
                </c:pt>
                <c:pt idx="33127">
                  <c:v>0.59081505261280498</c:v>
                </c:pt>
                <c:pt idx="33128">
                  <c:v>0.59083288746210005</c:v>
                </c:pt>
                <c:pt idx="33129">
                  <c:v>0.59085072231139601</c:v>
                </c:pt>
                <c:pt idx="33130">
                  <c:v>0.59086855716069198</c:v>
                </c:pt>
                <c:pt idx="33131">
                  <c:v>0.59088639200998705</c:v>
                </c:pt>
                <c:pt idx="33132">
                  <c:v>0.59090422685928301</c:v>
                </c:pt>
                <c:pt idx="33133">
                  <c:v>0.59092206170857797</c:v>
                </c:pt>
                <c:pt idx="33134">
                  <c:v>0.59093989655787404</c:v>
                </c:pt>
                <c:pt idx="33135">
                  <c:v>0.59095773140716901</c:v>
                </c:pt>
                <c:pt idx="33136">
                  <c:v>0.59097556625646497</c:v>
                </c:pt>
                <c:pt idx="33137">
                  <c:v>0.59099340110576004</c:v>
                </c:pt>
                <c:pt idx="33138">
                  <c:v>0.591011235955056</c:v>
                </c:pt>
                <c:pt idx="33139">
                  <c:v>0.59102907080435096</c:v>
                </c:pt>
                <c:pt idx="33140">
                  <c:v>0.59104690565364704</c:v>
                </c:pt>
                <c:pt idx="33141">
                  <c:v>0.591064740502942</c:v>
                </c:pt>
                <c:pt idx="33142">
                  <c:v>0.59108257535223796</c:v>
                </c:pt>
                <c:pt idx="33143">
                  <c:v>0.59110041020153303</c:v>
                </c:pt>
                <c:pt idx="33144">
                  <c:v>0.59111824505082899</c:v>
                </c:pt>
                <c:pt idx="33145">
                  <c:v>0.59113607990012396</c:v>
                </c:pt>
                <c:pt idx="33146">
                  <c:v>0.59115391474942003</c:v>
                </c:pt>
                <c:pt idx="33147">
                  <c:v>0.59117174959871499</c:v>
                </c:pt>
                <c:pt idx="33148">
                  <c:v>0.59118958444801095</c:v>
                </c:pt>
                <c:pt idx="33149">
                  <c:v>0.59120741929730602</c:v>
                </c:pt>
                <c:pt idx="33150">
                  <c:v>0.59122525414660199</c:v>
                </c:pt>
                <c:pt idx="33151">
                  <c:v>0.59124308899589795</c:v>
                </c:pt>
                <c:pt idx="33152">
                  <c:v>0.59126092384519302</c:v>
                </c:pt>
                <c:pt idx="33153">
                  <c:v>0.59127875869448898</c:v>
                </c:pt>
                <c:pt idx="33154">
                  <c:v>0.59129659354378405</c:v>
                </c:pt>
                <c:pt idx="33155">
                  <c:v>0.59131442839308002</c:v>
                </c:pt>
                <c:pt idx="33156">
                  <c:v>0.59133226324237498</c:v>
                </c:pt>
                <c:pt idx="33157">
                  <c:v>0.59135009809167105</c:v>
                </c:pt>
                <c:pt idx="33158">
                  <c:v>0.59136793294096601</c:v>
                </c:pt>
                <c:pt idx="33159">
                  <c:v>0.59138576779026197</c:v>
                </c:pt>
                <c:pt idx="33160">
                  <c:v>0.59140360263955705</c:v>
                </c:pt>
                <c:pt idx="33161">
                  <c:v>0.59142143748885301</c:v>
                </c:pt>
                <c:pt idx="33162">
                  <c:v>0.59143927233814797</c:v>
                </c:pt>
                <c:pt idx="33163">
                  <c:v>0.59145710718744404</c:v>
                </c:pt>
                <c:pt idx="33164">
                  <c:v>0.591474942036739</c:v>
                </c:pt>
                <c:pt idx="33165">
                  <c:v>0.59149277688603497</c:v>
                </c:pt>
                <c:pt idx="33166">
                  <c:v>0.59151061173533004</c:v>
                </c:pt>
                <c:pt idx="33167">
                  <c:v>0.591528446584626</c:v>
                </c:pt>
                <c:pt idx="33168">
                  <c:v>0.59154628143392096</c:v>
                </c:pt>
                <c:pt idx="33169">
                  <c:v>0.59156411628321703</c:v>
                </c:pt>
                <c:pt idx="33170">
                  <c:v>0.591581951132512</c:v>
                </c:pt>
                <c:pt idx="33171">
                  <c:v>0.59159978598180796</c:v>
                </c:pt>
                <c:pt idx="33172">
                  <c:v>0.59161762083110403</c:v>
                </c:pt>
                <c:pt idx="33173">
                  <c:v>0.59163545568039899</c:v>
                </c:pt>
                <c:pt idx="33174">
                  <c:v>0.59165329052969495</c:v>
                </c:pt>
                <c:pt idx="33175">
                  <c:v>0.59167112537899003</c:v>
                </c:pt>
                <c:pt idx="33176">
                  <c:v>0.59168896022828599</c:v>
                </c:pt>
                <c:pt idx="33177">
                  <c:v>0.59170679507758095</c:v>
                </c:pt>
                <c:pt idx="33178">
                  <c:v>0.59172462992687702</c:v>
                </c:pt>
                <c:pt idx="33179">
                  <c:v>0.59174246477617198</c:v>
                </c:pt>
                <c:pt idx="33180">
                  <c:v>0.59176029962546794</c:v>
                </c:pt>
                <c:pt idx="33181">
                  <c:v>0.59177813447476302</c:v>
                </c:pt>
                <c:pt idx="33182">
                  <c:v>0.59179596932405898</c:v>
                </c:pt>
                <c:pt idx="33183">
                  <c:v>0.59181380417335405</c:v>
                </c:pt>
                <c:pt idx="33184">
                  <c:v>0.59183163902265001</c:v>
                </c:pt>
                <c:pt idx="33185">
                  <c:v>0.59184947387194498</c:v>
                </c:pt>
                <c:pt idx="33186">
                  <c:v>0.59186730872124105</c:v>
                </c:pt>
                <c:pt idx="33187">
                  <c:v>0.59188514357053601</c:v>
                </c:pt>
                <c:pt idx="33188">
                  <c:v>0.59190297841983197</c:v>
                </c:pt>
                <c:pt idx="33189">
                  <c:v>0.59192081326912704</c:v>
                </c:pt>
                <c:pt idx="33190">
                  <c:v>0.59193864811842301</c:v>
                </c:pt>
                <c:pt idx="33191">
                  <c:v>0.59195648296771897</c:v>
                </c:pt>
                <c:pt idx="33192">
                  <c:v>0.59197431781701404</c:v>
                </c:pt>
                <c:pt idx="33193">
                  <c:v>0.59199215266631</c:v>
                </c:pt>
                <c:pt idx="33194">
                  <c:v>0.59200998751560496</c:v>
                </c:pt>
                <c:pt idx="33195">
                  <c:v>0.59202782236490104</c:v>
                </c:pt>
                <c:pt idx="33196">
                  <c:v>0.592045657214196</c:v>
                </c:pt>
                <c:pt idx="33197">
                  <c:v>0.59206349206349196</c:v>
                </c:pt>
                <c:pt idx="33198">
                  <c:v>0.59208132691278703</c:v>
                </c:pt>
                <c:pt idx="33199">
                  <c:v>0.59209916176208299</c:v>
                </c:pt>
                <c:pt idx="33200">
                  <c:v>0.59211699661137795</c:v>
                </c:pt>
                <c:pt idx="33201">
                  <c:v>0.59213483146067403</c:v>
                </c:pt>
                <c:pt idx="33202">
                  <c:v>0.59215266630996899</c:v>
                </c:pt>
                <c:pt idx="33203">
                  <c:v>0.59217050115926495</c:v>
                </c:pt>
                <c:pt idx="33204">
                  <c:v>0.59218833600856002</c:v>
                </c:pt>
                <c:pt idx="33205">
                  <c:v>0.59220617085785598</c:v>
                </c:pt>
                <c:pt idx="33206">
                  <c:v>0.59222400570715095</c:v>
                </c:pt>
                <c:pt idx="33207">
                  <c:v>0.59224184055644702</c:v>
                </c:pt>
                <c:pt idx="33208">
                  <c:v>0.59225967540574198</c:v>
                </c:pt>
                <c:pt idx="33209">
                  <c:v>0.59227751025503805</c:v>
                </c:pt>
                <c:pt idx="33210">
                  <c:v>0.59229534510433302</c:v>
                </c:pt>
                <c:pt idx="33211">
                  <c:v>0.59231317995362898</c:v>
                </c:pt>
                <c:pt idx="33212">
                  <c:v>0.59233101480292405</c:v>
                </c:pt>
                <c:pt idx="33213">
                  <c:v>0.59234884965222001</c:v>
                </c:pt>
                <c:pt idx="33214">
                  <c:v>0.59236668450151597</c:v>
                </c:pt>
                <c:pt idx="33215">
                  <c:v>0.59238451935081105</c:v>
                </c:pt>
                <c:pt idx="33216">
                  <c:v>0.59240235420010701</c:v>
                </c:pt>
                <c:pt idx="33217">
                  <c:v>0.59242018904940197</c:v>
                </c:pt>
                <c:pt idx="33218">
                  <c:v>0.59243802389869804</c:v>
                </c:pt>
                <c:pt idx="33219">
                  <c:v>0.592455858747993</c:v>
                </c:pt>
                <c:pt idx="33220">
                  <c:v>0.59247369359728896</c:v>
                </c:pt>
                <c:pt idx="33221">
                  <c:v>0.59249152844658404</c:v>
                </c:pt>
                <c:pt idx="33222">
                  <c:v>0.59250936329588</c:v>
                </c:pt>
                <c:pt idx="33223">
                  <c:v>0.59252719814517496</c:v>
                </c:pt>
                <c:pt idx="33224">
                  <c:v>0.59254503299447103</c:v>
                </c:pt>
                <c:pt idx="33225">
                  <c:v>0.59256286784376599</c:v>
                </c:pt>
                <c:pt idx="33226">
                  <c:v>0.59258070269306196</c:v>
                </c:pt>
                <c:pt idx="33227">
                  <c:v>0.59259853754235703</c:v>
                </c:pt>
                <c:pt idx="33228">
                  <c:v>0.59261637239165299</c:v>
                </c:pt>
                <c:pt idx="33229">
                  <c:v>0.59263420724094795</c:v>
                </c:pt>
                <c:pt idx="33230">
                  <c:v>0.59265204209024402</c:v>
                </c:pt>
                <c:pt idx="33231">
                  <c:v>0.59266987693953899</c:v>
                </c:pt>
                <c:pt idx="33232">
                  <c:v>0.59268771178883495</c:v>
                </c:pt>
                <c:pt idx="33233">
                  <c:v>0.59270554663813002</c:v>
                </c:pt>
                <c:pt idx="33234">
                  <c:v>0.59272338148742598</c:v>
                </c:pt>
                <c:pt idx="33235">
                  <c:v>0.59274121633672106</c:v>
                </c:pt>
                <c:pt idx="33236">
                  <c:v>0.59275905118601702</c:v>
                </c:pt>
                <c:pt idx="33237">
                  <c:v>0.59277688603531298</c:v>
                </c:pt>
                <c:pt idx="33238">
                  <c:v>0.59279472088460805</c:v>
                </c:pt>
                <c:pt idx="33239">
                  <c:v>0.59281255573390401</c:v>
                </c:pt>
                <c:pt idx="33240">
                  <c:v>0.59283039058319897</c:v>
                </c:pt>
                <c:pt idx="33241">
                  <c:v>0.59284822543249505</c:v>
                </c:pt>
                <c:pt idx="33242">
                  <c:v>0.59286606028179001</c:v>
                </c:pt>
                <c:pt idx="33243">
                  <c:v>0.59288389513108597</c:v>
                </c:pt>
                <c:pt idx="33244">
                  <c:v>0.59290172998038104</c:v>
                </c:pt>
                <c:pt idx="33245">
                  <c:v>0.592919564829677</c:v>
                </c:pt>
                <c:pt idx="33246">
                  <c:v>0.59293739967897197</c:v>
                </c:pt>
                <c:pt idx="33247">
                  <c:v>0.59295523452826804</c:v>
                </c:pt>
                <c:pt idx="33248">
                  <c:v>0.592973069377563</c:v>
                </c:pt>
                <c:pt idx="33249">
                  <c:v>0.59299090422685896</c:v>
                </c:pt>
                <c:pt idx="33250">
                  <c:v>0.59300873907615403</c:v>
                </c:pt>
                <c:pt idx="33251">
                  <c:v>0.59302657392545</c:v>
                </c:pt>
                <c:pt idx="33252">
                  <c:v>0.59304440877474496</c:v>
                </c:pt>
                <c:pt idx="33253">
                  <c:v>0.59306224362404103</c:v>
                </c:pt>
                <c:pt idx="33254">
                  <c:v>0.59308007847333599</c:v>
                </c:pt>
                <c:pt idx="33255">
                  <c:v>0.59309791332263195</c:v>
                </c:pt>
                <c:pt idx="33256">
                  <c:v>0.59311574817192703</c:v>
                </c:pt>
                <c:pt idx="33257">
                  <c:v>0.59313358302122299</c:v>
                </c:pt>
                <c:pt idx="33258">
                  <c:v>0.59315141787051895</c:v>
                </c:pt>
                <c:pt idx="33259">
                  <c:v>0.59316925271981402</c:v>
                </c:pt>
                <c:pt idx="33260">
                  <c:v>0.59318708756910998</c:v>
                </c:pt>
                <c:pt idx="33261">
                  <c:v>0.59320492241840495</c:v>
                </c:pt>
                <c:pt idx="33262">
                  <c:v>0.59322275726770102</c:v>
                </c:pt>
                <c:pt idx="33263">
                  <c:v>0.59324059211699598</c:v>
                </c:pt>
                <c:pt idx="33264">
                  <c:v>0.59325842696629205</c:v>
                </c:pt>
                <c:pt idx="33265">
                  <c:v>0.59327626181558701</c:v>
                </c:pt>
                <c:pt idx="33266">
                  <c:v>0.59329409666488298</c:v>
                </c:pt>
                <c:pt idx="33267">
                  <c:v>0.59331193151417805</c:v>
                </c:pt>
                <c:pt idx="33268">
                  <c:v>0.59332976636347401</c:v>
                </c:pt>
                <c:pt idx="33269">
                  <c:v>0.59334760121276897</c:v>
                </c:pt>
                <c:pt idx="33270">
                  <c:v>0.59336543606206504</c:v>
                </c:pt>
                <c:pt idx="33271">
                  <c:v>0.59338327091136001</c:v>
                </c:pt>
                <c:pt idx="33272">
                  <c:v>0.59340110576065597</c:v>
                </c:pt>
                <c:pt idx="33273">
                  <c:v>0.59341894060995104</c:v>
                </c:pt>
                <c:pt idx="33274">
                  <c:v>0.593436775459247</c:v>
                </c:pt>
                <c:pt idx="33275">
                  <c:v>0.59345461030854196</c:v>
                </c:pt>
                <c:pt idx="33276">
                  <c:v>0.59347244515783804</c:v>
                </c:pt>
                <c:pt idx="33277">
                  <c:v>0.593490280007133</c:v>
                </c:pt>
                <c:pt idx="33278">
                  <c:v>0.59350811485642896</c:v>
                </c:pt>
                <c:pt idx="33279">
                  <c:v>0.59352594970572503</c:v>
                </c:pt>
                <c:pt idx="33280">
                  <c:v>0.59354378455501999</c:v>
                </c:pt>
                <c:pt idx="33281">
                  <c:v>0.59356161940431595</c:v>
                </c:pt>
                <c:pt idx="33282">
                  <c:v>0.59357945425361103</c:v>
                </c:pt>
                <c:pt idx="33283">
                  <c:v>0.59359728910290699</c:v>
                </c:pt>
                <c:pt idx="33284">
                  <c:v>0.59361512395220195</c:v>
                </c:pt>
                <c:pt idx="33285">
                  <c:v>0.59363295880149802</c:v>
                </c:pt>
                <c:pt idx="33286">
                  <c:v>0.59365079365079299</c:v>
                </c:pt>
                <c:pt idx="33287">
                  <c:v>0.59366862850008895</c:v>
                </c:pt>
                <c:pt idx="33288">
                  <c:v>0.59368646334938402</c:v>
                </c:pt>
                <c:pt idx="33289">
                  <c:v>0.59370429819867998</c:v>
                </c:pt>
                <c:pt idx="33290">
                  <c:v>0.59372213304797505</c:v>
                </c:pt>
                <c:pt idx="33291">
                  <c:v>0.59373996789727101</c:v>
                </c:pt>
                <c:pt idx="33292">
                  <c:v>0.59375780274656598</c:v>
                </c:pt>
                <c:pt idx="33293">
                  <c:v>0.59377563759586205</c:v>
                </c:pt>
                <c:pt idx="33294">
                  <c:v>0.59379347244515701</c:v>
                </c:pt>
                <c:pt idx="33295">
                  <c:v>0.59381130729445297</c:v>
                </c:pt>
                <c:pt idx="33296">
                  <c:v>0.59382914214374805</c:v>
                </c:pt>
                <c:pt idx="33297">
                  <c:v>0.59384697699304401</c:v>
                </c:pt>
                <c:pt idx="33298">
                  <c:v>0.59386481184233997</c:v>
                </c:pt>
                <c:pt idx="33299">
                  <c:v>0.59388264669163504</c:v>
                </c:pt>
                <c:pt idx="33300">
                  <c:v>0.593900481540931</c:v>
                </c:pt>
                <c:pt idx="33301">
                  <c:v>0.59391831639022596</c:v>
                </c:pt>
                <c:pt idx="33302">
                  <c:v>0.59393615123952204</c:v>
                </c:pt>
                <c:pt idx="33303">
                  <c:v>0.593953986088817</c:v>
                </c:pt>
                <c:pt idx="33304">
                  <c:v>0.59397182093811296</c:v>
                </c:pt>
                <c:pt idx="33305">
                  <c:v>0.59398965578740803</c:v>
                </c:pt>
                <c:pt idx="33306">
                  <c:v>0.59400749063670399</c:v>
                </c:pt>
                <c:pt idx="33307">
                  <c:v>0.59402532548599896</c:v>
                </c:pt>
                <c:pt idx="33308">
                  <c:v>0.59404316033529503</c:v>
                </c:pt>
                <c:pt idx="33309">
                  <c:v>0.59406099518458999</c:v>
                </c:pt>
                <c:pt idx="33310">
                  <c:v>0.59407883003388595</c:v>
                </c:pt>
                <c:pt idx="33311">
                  <c:v>0.59409666488318102</c:v>
                </c:pt>
                <c:pt idx="33312">
                  <c:v>0.59411449973247699</c:v>
                </c:pt>
                <c:pt idx="33313">
                  <c:v>0.59413233458177195</c:v>
                </c:pt>
                <c:pt idx="33314">
                  <c:v>0.59415016943106802</c:v>
                </c:pt>
                <c:pt idx="33315">
                  <c:v>0.59416800428036298</c:v>
                </c:pt>
                <c:pt idx="33316">
                  <c:v>0.59418583912965905</c:v>
                </c:pt>
                <c:pt idx="33317">
                  <c:v>0.59420367397895402</c:v>
                </c:pt>
                <c:pt idx="33318">
                  <c:v>0.59422150882824998</c:v>
                </c:pt>
                <c:pt idx="33319">
                  <c:v>0.59423934367754505</c:v>
                </c:pt>
                <c:pt idx="33320">
                  <c:v>0.59425717852684101</c:v>
                </c:pt>
                <c:pt idx="33321">
                  <c:v>0.59427501337613697</c:v>
                </c:pt>
                <c:pt idx="33322">
                  <c:v>0.59429284822543205</c:v>
                </c:pt>
                <c:pt idx="33323">
                  <c:v>0.59431068307472801</c:v>
                </c:pt>
                <c:pt idx="33324">
                  <c:v>0.59432851792402297</c:v>
                </c:pt>
                <c:pt idx="33325">
                  <c:v>0.59434635277331904</c:v>
                </c:pt>
                <c:pt idx="33326">
                  <c:v>0.594364187622614</c:v>
                </c:pt>
                <c:pt idx="33327">
                  <c:v>0.59438202247190997</c:v>
                </c:pt>
                <c:pt idx="33328">
                  <c:v>0.59439985732120504</c:v>
                </c:pt>
                <c:pt idx="33329">
                  <c:v>0.594417692170501</c:v>
                </c:pt>
                <c:pt idx="33330">
                  <c:v>0.59443552701979596</c:v>
                </c:pt>
                <c:pt idx="33331">
                  <c:v>0.59445336186909203</c:v>
                </c:pt>
                <c:pt idx="33332">
                  <c:v>0.594471196718387</c:v>
                </c:pt>
                <c:pt idx="33333">
                  <c:v>0.59448903156768296</c:v>
                </c:pt>
                <c:pt idx="33334">
                  <c:v>0.59450686641697803</c:v>
                </c:pt>
                <c:pt idx="33335">
                  <c:v>0.59452470126627399</c:v>
                </c:pt>
                <c:pt idx="33336">
                  <c:v>0.59454253611556895</c:v>
                </c:pt>
                <c:pt idx="33337">
                  <c:v>0.59456037096486503</c:v>
                </c:pt>
                <c:pt idx="33338">
                  <c:v>0.59457820581415999</c:v>
                </c:pt>
                <c:pt idx="33339">
                  <c:v>0.59459604066345595</c:v>
                </c:pt>
                <c:pt idx="33340">
                  <c:v>0.59461387551275102</c:v>
                </c:pt>
                <c:pt idx="33341">
                  <c:v>0.59463171036204698</c:v>
                </c:pt>
                <c:pt idx="33342">
                  <c:v>0.59464954521134294</c:v>
                </c:pt>
                <c:pt idx="33343">
                  <c:v>0.59466738006063802</c:v>
                </c:pt>
                <c:pt idx="33344">
                  <c:v>0.59468521490993398</c:v>
                </c:pt>
                <c:pt idx="33345">
                  <c:v>0.59470304975922905</c:v>
                </c:pt>
                <c:pt idx="33346">
                  <c:v>0.59472088460852501</c:v>
                </c:pt>
                <c:pt idx="33347">
                  <c:v>0.59473871945781998</c:v>
                </c:pt>
                <c:pt idx="33348">
                  <c:v>0.59475655430711605</c:v>
                </c:pt>
                <c:pt idx="33349">
                  <c:v>0.59477438915641101</c:v>
                </c:pt>
                <c:pt idx="33350">
                  <c:v>0.59479222400570697</c:v>
                </c:pt>
                <c:pt idx="33351">
                  <c:v>0.59481005885500204</c:v>
                </c:pt>
                <c:pt idx="33352">
                  <c:v>0.59482789370429801</c:v>
                </c:pt>
                <c:pt idx="33353">
                  <c:v>0.59484572855359297</c:v>
                </c:pt>
                <c:pt idx="33354">
                  <c:v>0.59486356340288904</c:v>
                </c:pt>
                <c:pt idx="33355">
                  <c:v>0.594881398252184</c:v>
                </c:pt>
                <c:pt idx="33356">
                  <c:v>0.59489923310147996</c:v>
                </c:pt>
                <c:pt idx="33357">
                  <c:v>0.59491706795077504</c:v>
                </c:pt>
                <c:pt idx="33358">
                  <c:v>0.594934902800071</c:v>
                </c:pt>
                <c:pt idx="33359">
                  <c:v>0.59495273764936596</c:v>
                </c:pt>
                <c:pt idx="33360">
                  <c:v>0.59497057249866203</c:v>
                </c:pt>
                <c:pt idx="33361">
                  <c:v>0.59498840734795699</c:v>
                </c:pt>
                <c:pt idx="33362">
                  <c:v>0.59500624219725295</c:v>
                </c:pt>
                <c:pt idx="33363">
                  <c:v>0.59502407704654803</c:v>
                </c:pt>
                <c:pt idx="33364">
                  <c:v>0.59504191189584399</c:v>
                </c:pt>
                <c:pt idx="33365">
                  <c:v>0.59505974674513995</c:v>
                </c:pt>
                <c:pt idx="33366">
                  <c:v>0.59507758159443502</c:v>
                </c:pt>
                <c:pt idx="33367">
                  <c:v>0.59509541644373098</c:v>
                </c:pt>
                <c:pt idx="33368">
                  <c:v>0.59511325129302595</c:v>
                </c:pt>
                <c:pt idx="33369">
                  <c:v>0.59513108614232202</c:v>
                </c:pt>
                <c:pt idx="33370">
                  <c:v>0.59514892099161698</c:v>
                </c:pt>
                <c:pt idx="33371">
                  <c:v>0.59516675584091305</c:v>
                </c:pt>
                <c:pt idx="33372">
                  <c:v>0.59518459069020802</c:v>
                </c:pt>
                <c:pt idx="33373">
                  <c:v>0.59520242553950398</c:v>
                </c:pt>
                <c:pt idx="33374">
                  <c:v>0.59522026038879905</c:v>
                </c:pt>
                <c:pt idx="33375">
                  <c:v>0.59523809523809501</c:v>
                </c:pt>
                <c:pt idx="33376">
                  <c:v>0.59525593008738997</c:v>
                </c:pt>
                <c:pt idx="33377">
                  <c:v>0.59527376493668605</c:v>
                </c:pt>
                <c:pt idx="33378">
                  <c:v>0.59529159978598101</c:v>
                </c:pt>
                <c:pt idx="33379">
                  <c:v>0.59530943463527697</c:v>
                </c:pt>
                <c:pt idx="33380">
                  <c:v>0.59532726948457204</c:v>
                </c:pt>
                <c:pt idx="33381">
                  <c:v>0.595345104333868</c:v>
                </c:pt>
                <c:pt idx="33382">
                  <c:v>0.59536293918316296</c:v>
                </c:pt>
                <c:pt idx="33383">
                  <c:v>0.59538077403245904</c:v>
                </c:pt>
                <c:pt idx="33384">
                  <c:v>0.595398608881755</c:v>
                </c:pt>
                <c:pt idx="33385">
                  <c:v>0.59541644373104996</c:v>
                </c:pt>
                <c:pt idx="33386">
                  <c:v>0.59543427858034603</c:v>
                </c:pt>
                <c:pt idx="33387">
                  <c:v>0.59545211342964099</c:v>
                </c:pt>
                <c:pt idx="33388">
                  <c:v>0.59546994827893696</c:v>
                </c:pt>
                <c:pt idx="33389">
                  <c:v>0.59548778312823203</c:v>
                </c:pt>
                <c:pt idx="33390">
                  <c:v>0.59550561797752799</c:v>
                </c:pt>
                <c:pt idx="33391">
                  <c:v>0.59552345282682295</c:v>
                </c:pt>
                <c:pt idx="33392">
                  <c:v>0.59554128767611902</c:v>
                </c:pt>
                <c:pt idx="33393">
                  <c:v>0.59555912252541399</c:v>
                </c:pt>
                <c:pt idx="33394">
                  <c:v>0.59557695737470995</c:v>
                </c:pt>
                <c:pt idx="33395">
                  <c:v>0.59559479222400502</c:v>
                </c:pt>
                <c:pt idx="33396">
                  <c:v>0.59561262707330098</c:v>
                </c:pt>
                <c:pt idx="33397">
                  <c:v>0.59563046192259606</c:v>
                </c:pt>
                <c:pt idx="33398">
                  <c:v>0.59564829677189202</c:v>
                </c:pt>
                <c:pt idx="33399">
                  <c:v>0.59566613162118698</c:v>
                </c:pt>
                <c:pt idx="33400">
                  <c:v>0.59568396647048305</c:v>
                </c:pt>
                <c:pt idx="33401">
                  <c:v>0.59570180131977801</c:v>
                </c:pt>
                <c:pt idx="33402">
                  <c:v>0.59571963616907397</c:v>
                </c:pt>
                <c:pt idx="33403">
                  <c:v>0.59573747101836905</c:v>
                </c:pt>
                <c:pt idx="33404">
                  <c:v>0.59575530586766501</c:v>
                </c:pt>
                <c:pt idx="33405">
                  <c:v>0.59577314071696097</c:v>
                </c:pt>
                <c:pt idx="33406">
                  <c:v>0.59579097556625604</c:v>
                </c:pt>
                <c:pt idx="33407">
                  <c:v>0.595808810415552</c:v>
                </c:pt>
                <c:pt idx="33408">
                  <c:v>0.59582664526484697</c:v>
                </c:pt>
                <c:pt idx="33409">
                  <c:v>0.59584448011414304</c:v>
                </c:pt>
                <c:pt idx="33410">
                  <c:v>0.595862314963438</c:v>
                </c:pt>
                <c:pt idx="33411">
                  <c:v>0.59588014981273396</c:v>
                </c:pt>
                <c:pt idx="33412">
                  <c:v>0.59589798466202903</c:v>
                </c:pt>
                <c:pt idx="33413">
                  <c:v>0.595915819511325</c:v>
                </c:pt>
                <c:pt idx="33414">
                  <c:v>0.59593365436061996</c:v>
                </c:pt>
                <c:pt idx="33415">
                  <c:v>0.59595148920991603</c:v>
                </c:pt>
                <c:pt idx="33416">
                  <c:v>0.59596932405921099</c:v>
                </c:pt>
                <c:pt idx="33417">
                  <c:v>0.59598715890850695</c:v>
                </c:pt>
                <c:pt idx="33418">
                  <c:v>0.59600499375780203</c:v>
                </c:pt>
                <c:pt idx="33419">
                  <c:v>0.59602282860709799</c:v>
                </c:pt>
                <c:pt idx="33420">
                  <c:v>0.59604066345639295</c:v>
                </c:pt>
                <c:pt idx="33421">
                  <c:v>0.59605849830568902</c:v>
                </c:pt>
                <c:pt idx="33422">
                  <c:v>0.59607633315498398</c:v>
                </c:pt>
                <c:pt idx="33423">
                  <c:v>0.59609416800427995</c:v>
                </c:pt>
                <c:pt idx="33424">
                  <c:v>0.59611200285357502</c:v>
                </c:pt>
                <c:pt idx="33425">
                  <c:v>0.59612983770287098</c:v>
                </c:pt>
                <c:pt idx="33426">
                  <c:v>0.59614767255216605</c:v>
                </c:pt>
                <c:pt idx="33427">
                  <c:v>0.59616550740146201</c:v>
                </c:pt>
                <c:pt idx="33428">
                  <c:v>0.59618334225075797</c:v>
                </c:pt>
                <c:pt idx="33429">
                  <c:v>0.59620117710005305</c:v>
                </c:pt>
                <c:pt idx="33430">
                  <c:v>0.59621901194934901</c:v>
                </c:pt>
                <c:pt idx="33431">
                  <c:v>0.59623684679864397</c:v>
                </c:pt>
                <c:pt idx="33432">
                  <c:v>0.59625468164794004</c:v>
                </c:pt>
                <c:pt idx="33433">
                  <c:v>0.59627251649723501</c:v>
                </c:pt>
                <c:pt idx="33434">
                  <c:v>0.59629035134653097</c:v>
                </c:pt>
                <c:pt idx="33435">
                  <c:v>0.59630818619582604</c:v>
                </c:pt>
                <c:pt idx="33436">
                  <c:v>0.596326021045122</c:v>
                </c:pt>
                <c:pt idx="33437">
                  <c:v>0.59634385589441696</c:v>
                </c:pt>
                <c:pt idx="33438">
                  <c:v>0.59636169074371304</c:v>
                </c:pt>
                <c:pt idx="33439">
                  <c:v>0.596379525593008</c:v>
                </c:pt>
                <c:pt idx="33440">
                  <c:v>0.59639736044230396</c:v>
                </c:pt>
                <c:pt idx="33441">
                  <c:v>0.59641519529159903</c:v>
                </c:pt>
                <c:pt idx="33442">
                  <c:v>0.59643303014089499</c:v>
                </c:pt>
                <c:pt idx="33443">
                  <c:v>0.59645086499018996</c:v>
                </c:pt>
                <c:pt idx="33444">
                  <c:v>0.59646869983948603</c:v>
                </c:pt>
                <c:pt idx="33445">
                  <c:v>0.59648653468878099</c:v>
                </c:pt>
                <c:pt idx="33446">
                  <c:v>0.59650436953807695</c:v>
                </c:pt>
                <c:pt idx="33447">
                  <c:v>0.59652220438737202</c:v>
                </c:pt>
                <c:pt idx="33448">
                  <c:v>0.59654003923666798</c:v>
                </c:pt>
                <c:pt idx="33449">
                  <c:v>0.59655787408596395</c:v>
                </c:pt>
                <c:pt idx="33450">
                  <c:v>0.59657570893525902</c:v>
                </c:pt>
                <c:pt idx="33451">
                  <c:v>0.59659354378455498</c:v>
                </c:pt>
                <c:pt idx="33452">
                  <c:v>0.59661137863385005</c:v>
                </c:pt>
                <c:pt idx="33453">
                  <c:v>0.59662921348314601</c:v>
                </c:pt>
                <c:pt idx="33454">
                  <c:v>0.59664704833244098</c:v>
                </c:pt>
                <c:pt idx="33455">
                  <c:v>0.59666488318173705</c:v>
                </c:pt>
                <c:pt idx="33456">
                  <c:v>0.59668271803103201</c:v>
                </c:pt>
                <c:pt idx="33457">
                  <c:v>0.59670055288032797</c:v>
                </c:pt>
                <c:pt idx="33458">
                  <c:v>0.59671838772962305</c:v>
                </c:pt>
                <c:pt idx="33459">
                  <c:v>0.59673622257891901</c:v>
                </c:pt>
                <c:pt idx="33460">
                  <c:v>0.59675405742821397</c:v>
                </c:pt>
                <c:pt idx="33461">
                  <c:v>0.59677189227751004</c:v>
                </c:pt>
                <c:pt idx="33462">
                  <c:v>0.596789727126805</c:v>
                </c:pt>
                <c:pt idx="33463">
                  <c:v>0.59680756197610096</c:v>
                </c:pt>
                <c:pt idx="33464">
                  <c:v>0.59682539682539604</c:v>
                </c:pt>
                <c:pt idx="33465">
                  <c:v>0.596843231674692</c:v>
                </c:pt>
                <c:pt idx="33466">
                  <c:v>0.59686106652398696</c:v>
                </c:pt>
                <c:pt idx="33467">
                  <c:v>0.59687890137328303</c:v>
                </c:pt>
                <c:pt idx="33468">
                  <c:v>0.59689673622257799</c:v>
                </c:pt>
                <c:pt idx="33469">
                  <c:v>0.59691457107187396</c:v>
                </c:pt>
                <c:pt idx="33470">
                  <c:v>0.59693240592116903</c:v>
                </c:pt>
                <c:pt idx="33471">
                  <c:v>0.59695024077046499</c:v>
                </c:pt>
                <c:pt idx="33472">
                  <c:v>0.59696807561976095</c:v>
                </c:pt>
                <c:pt idx="33473">
                  <c:v>0.59698591046905602</c:v>
                </c:pt>
                <c:pt idx="33474">
                  <c:v>0.59700374531835199</c:v>
                </c:pt>
                <c:pt idx="33475">
                  <c:v>0.59702158016764695</c:v>
                </c:pt>
                <c:pt idx="33476">
                  <c:v>0.59703941501694302</c:v>
                </c:pt>
                <c:pt idx="33477">
                  <c:v>0.59705724986623798</c:v>
                </c:pt>
                <c:pt idx="33478">
                  <c:v>0.59707508471553405</c:v>
                </c:pt>
                <c:pt idx="33479">
                  <c:v>0.59709291956482902</c:v>
                </c:pt>
                <c:pt idx="33480">
                  <c:v>0.59711075441412498</c:v>
                </c:pt>
                <c:pt idx="33481">
                  <c:v>0.59712858926342005</c:v>
                </c:pt>
                <c:pt idx="33482">
                  <c:v>0.59714642411271601</c:v>
                </c:pt>
                <c:pt idx="33483">
                  <c:v>0.59716425896201097</c:v>
                </c:pt>
                <c:pt idx="33484">
                  <c:v>0.59718209381130705</c:v>
                </c:pt>
                <c:pt idx="33485">
                  <c:v>0.59719992866060201</c:v>
                </c:pt>
                <c:pt idx="33486">
                  <c:v>0.59721776350989797</c:v>
                </c:pt>
                <c:pt idx="33487">
                  <c:v>0.59723559835919304</c:v>
                </c:pt>
                <c:pt idx="33488">
                  <c:v>0.597253433208489</c:v>
                </c:pt>
                <c:pt idx="33489">
                  <c:v>0.59727126805778497</c:v>
                </c:pt>
                <c:pt idx="33490">
                  <c:v>0.59728910290708004</c:v>
                </c:pt>
                <c:pt idx="33491">
                  <c:v>0.597306937756376</c:v>
                </c:pt>
                <c:pt idx="33492">
                  <c:v>0.59732477260567096</c:v>
                </c:pt>
                <c:pt idx="33493">
                  <c:v>0.59734260745496703</c:v>
                </c:pt>
                <c:pt idx="33494">
                  <c:v>0.597360442304262</c:v>
                </c:pt>
                <c:pt idx="33495">
                  <c:v>0.59737827715355796</c:v>
                </c:pt>
                <c:pt idx="33496">
                  <c:v>0.59739611200285303</c:v>
                </c:pt>
                <c:pt idx="33497">
                  <c:v>0.59741394685214899</c:v>
                </c:pt>
                <c:pt idx="33498">
                  <c:v>0.59743178170144395</c:v>
                </c:pt>
                <c:pt idx="33499">
                  <c:v>0.59744961655074003</c:v>
                </c:pt>
                <c:pt idx="33500">
                  <c:v>0.59746745140003499</c:v>
                </c:pt>
                <c:pt idx="33501">
                  <c:v>0.59748528624933095</c:v>
                </c:pt>
                <c:pt idx="33502">
                  <c:v>0.59750312109862602</c:v>
                </c:pt>
                <c:pt idx="33503">
                  <c:v>0.59752095594792198</c:v>
                </c:pt>
                <c:pt idx="33504">
                  <c:v>0.59753879079721695</c:v>
                </c:pt>
                <c:pt idx="33505">
                  <c:v>0.59755662564651302</c:v>
                </c:pt>
                <c:pt idx="33506">
                  <c:v>0.59757446049580798</c:v>
                </c:pt>
                <c:pt idx="33507">
                  <c:v>0.59759229534510405</c:v>
                </c:pt>
                <c:pt idx="33508">
                  <c:v>0.59761013019439901</c:v>
                </c:pt>
                <c:pt idx="33509">
                  <c:v>0.59762796504369498</c:v>
                </c:pt>
                <c:pt idx="33510">
                  <c:v>0.59764579989299005</c:v>
                </c:pt>
                <c:pt idx="33511">
                  <c:v>0.59766363474228601</c:v>
                </c:pt>
                <c:pt idx="33512">
                  <c:v>0.59768146959158197</c:v>
                </c:pt>
                <c:pt idx="33513">
                  <c:v>0.59769930444087704</c:v>
                </c:pt>
                <c:pt idx="33514">
                  <c:v>0.59771713929017301</c:v>
                </c:pt>
                <c:pt idx="33515">
                  <c:v>0.59773497413946797</c:v>
                </c:pt>
                <c:pt idx="33516">
                  <c:v>0.59775280898876404</c:v>
                </c:pt>
                <c:pt idx="33517">
                  <c:v>0.597770643838059</c:v>
                </c:pt>
                <c:pt idx="33518">
                  <c:v>0.59778847868735496</c:v>
                </c:pt>
                <c:pt idx="33519">
                  <c:v>0.59780631353665004</c:v>
                </c:pt>
                <c:pt idx="33520">
                  <c:v>0.597824148385946</c:v>
                </c:pt>
                <c:pt idx="33521">
                  <c:v>0.59784198323524096</c:v>
                </c:pt>
                <c:pt idx="33522">
                  <c:v>0.59785981808453703</c:v>
                </c:pt>
                <c:pt idx="33523">
                  <c:v>0.59787765293383199</c:v>
                </c:pt>
                <c:pt idx="33524">
                  <c:v>0.59789548778312795</c:v>
                </c:pt>
                <c:pt idx="33525">
                  <c:v>0.59791332263242303</c:v>
                </c:pt>
                <c:pt idx="33526">
                  <c:v>0.59793115748171899</c:v>
                </c:pt>
                <c:pt idx="33527">
                  <c:v>0.59794899233101395</c:v>
                </c:pt>
                <c:pt idx="33528">
                  <c:v>0.59796682718031002</c:v>
                </c:pt>
                <c:pt idx="33529">
                  <c:v>0.59798466202960499</c:v>
                </c:pt>
                <c:pt idx="33530">
                  <c:v>0.59800249687890095</c:v>
                </c:pt>
                <c:pt idx="33531">
                  <c:v>0.59802033172819602</c:v>
                </c:pt>
                <c:pt idx="33532">
                  <c:v>0.59803816657749198</c:v>
                </c:pt>
                <c:pt idx="33533">
                  <c:v>0.59805600142678705</c:v>
                </c:pt>
                <c:pt idx="33534">
                  <c:v>0.59807383627608302</c:v>
                </c:pt>
                <c:pt idx="33535">
                  <c:v>0.59809167112537898</c:v>
                </c:pt>
                <c:pt idx="33536">
                  <c:v>0.59810950597467405</c:v>
                </c:pt>
                <c:pt idx="33537">
                  <c:v>0.59812734082397001</c:v>
                </c:pt>
                <c:pt idx="33538">
                  <c:v>0.59814517567326497</c:v>
                </c:pt>
                <c:pt idx="33539">
                  <c:v>0.59816301052256104</c:v>
                </c:pt>
                <c:pt idx="33540">
                  <c:v>0.59818084537185601</c:v>
                </c:pt>
                <c:pt idx="33541">
                  <c:v>0.59819868022115197</c:v>
                </c:pt>
                <c:pt idx="33542">
                  <c:v>0.59821651507044704</c:v>
                </c:pt>
                <c:pt idx="33543">
                  <c:v>0.598234349919743</c:v>
                </c:pt>
                <c:pt idx="33544">
                  <c:v>0.59825218476903796</c:v>
                </c:pt>
                <c:pt idx="33545">
                  <c:v>0.59827001961833404</c:v>
                </c:pt>
                <c:pt idx="33546">
                  <c:v>0.598287854467629</c:v>
                </c:pt>
                <c:pt idx="33547">
                  <c:v>0.59830568931692496</c:v>
                </c:pt>
                <c:pt idx="33548">
                  <c:v>0.59832352416622003</c:v>
                </c:pt>
                <c:pt idx="33549">
                  <c:v>0.59834135901551599</c:v>
                </c:pt>
                <c:pt idx="33550">
                  <c:v>0.59835919386481096</c:v>
                </c:pt>
                <c:pt idx="33551">
                  <c:v>0.59837702871410703</c:v>
                </c:pt>
                <c:pt idx="33552">
                  <c:v>0.59839486356340199</c:v>
                </c:pt>
                <c:pt idx="33553">
                  <c:v>0.59841269841269795</c:v>
                </c:pt>
                <c:pt idx="33554">
                  <c:v>0.59843053326199303</c:v>
                </c:pt>
                <c:pt idx="33555">
                  <c:v>0.59844836811128899</c:v>
                </c:pt>
                <c:pt idx="33556">
                  <c:v>0.59846620296058495</c:v>
                </c:pt>
                <c:pt idx="33557">
                  <c:v>0.59848403780988002</c:v>
                </c:pt>
                <c:pt idx="33558">
                  <c:v>0.59850187265917598</c:v>
                </c:pt>
                <c:pt idx="33559">
                  <c:v>0.59851970750847105</c:v>
                </c:pt>
                <c:pt idx="33560">
                  <c:v>0.59853754235776702</c:v>
                </c:pt>
                <c:pt idx="33561">
                  <c:v>0.59855537720706198</c:v>
                </c:pt>
                <c:pt idx="33562">
                  <c:v>0.59857321205635805</c:v>
                </c:pt>
                <c:pt idx="33563">
                  <c:v>0.59859104690565301</c:v>
                </c:pt>
                <c:pt idx="33564">
                  <c:v>0.59860888175494897</c:v>
                </c:pt>
                <c:pt idx="33565">
                  <c:v>0.59862671660424405</c:v>
                </c:pt>
                <c:pt idx="33566">
                  <c:v>0.59864455145354001</c:v>
                </c:pt>
                <c:pt idx="33567">
                  <c:v>0.59866238630283497</c:v>
                </c:pt>
                <c:pt idx="33568">
                  <c:v>0.59868022115213104</c:v>
                </c:pt>
                <c:pt idx="33569">
                  <c:v>0.598698056001426</c:v>
                </c:pt>
                <c:pt idx="33570">
                  <c:v>0.59871589085072197</c:v>
                </c:pt>
                <c:pt idx="33571">
                  <c:v>0.59873372570001704</c:v>
                </c:pt>
                <c:pt idx="33572">
                  <c:v>0.598751560549313</c:v>
                </c:pt>
                <c:pt idx="33573">
                  <c:v>0.59876939539860796</c:v>
                </c:pt>
                <c:pt idx="33574">
                  <c:v>0.59878723024790403</c:v>
                </c:pt>
                <c:pt idx="33575">
                  <c:v>0.598805065097199</c:v>
                </c:pt>
                <c:pt idx="33576">
                  <c:v>0.59882289994649496</c:v>
                </c:pt>
                <c:pt idx="33577">
                  <c:v>0.59884073479579103</c:v>
                </c:pt>
                <c:pt idx="33578">
                  <c:v>0.59885856964508599</c:v>
                </c:pt>
                <c:pt idx="33579">
                  <c:v>0.59887640449438195</c:v>
                </c:pt>
                <c:pt idx="33580">
                  <c:v>0.59889423934367703</c:v>
                </c:pt>
                <c:pt idx="33581">
                  <c:v>0.59891207419297299</c:v>
                </c:pt>
                <c:pt idx="33582">
                  <c:v>0.59892990904226795</c:v>
                </c:pt>
                <c:pt idx="33583">
                  <c:v>0.59894774389156402</c:v>
                </c:pt>
                <c:pt idx="33584">
                  <c:v>0.59896557874085898</c:v>
                </c:pt>
                <c:pt idx="33585">
                  <c:v>0.59898341359015495</c:v>
                </c:pt>
                <c:pt idx="33586">
                  <c:v>0.59900124843945002</c:v>
                </c:pt>
                <c:pt idx="33587">
                  <c:v>0.59901908328874598</c:v>
                </c:pt>
                <c:pt idx="33588">
                  <c:v>0.59903691813804105</c:v>
                </c:pt>
                <c:pt idx="33589">
                  <c:v>0.59905475298733701</c:v>
                </c:pt>
                <c:pt idx="33590">
                  <c:v>0.59907258783663198</c:v>
                </c:pt>
                <c:pt idx="33591">
                  <c:v>0.59909042268592805</c:v>
                </c:pt>
                <c:pt idx="33592">
                  <c:v>0.59910825753522301</c:v>
                </c:pt>
                <c:pt idx="33593">
                  <c:v>0.59912609238451897</c:v>
                </c:pt>
                <c:pt idx="33594">
                  <c:v>0.59914392723381404</c:v>
                </c:pt>
                <c:pt idx="33595">
                  <c:v>0.59916176208311001</c:v>
                </c:pt>
                <c:pt idx="33596">
                  <c:v>0.59917959693240597</c:v>
                </c:pt>
                <c:pt idx="33597">
                  <c:v>0.59919743178170104</c:v>
                </c:pt>
                <c:pt idx="33598">
                  <c:v>0.599215266630997</c:v>
                </c:pt>
                <c:pt idx="33599">
                  <c:v>0.59923310148029196</c:v>
                </c:pt>
                <c:pt idx="33600">
                  <c:v>0.59925093632958804</c:v>
                </c:pt>
                <c:pt idx="33601">
                  <c:v>0.599268771178883</c:v>
                </c:pt>
                <c:pt idx="33602">
                  <c:v>0.59928660602817896</c:v>
                </c:pt>
                <c:pt idx="33603">
                  <c:v>0.59930444087747403</c:v>
                </c:pt>
                <c:pt idx="33604">
                  <c:v>0.59932227572676999</c:v>
                </c:pt>
                <c:pt idx="33605">
                  <c:v>0.59934011057606495</c:v>
                </c:pt>
                <c:pt idx="33606">
                  <c:v>0.59935794542536103</c:v>
                </c:pt>
                <c:pt idx="33607">
                  <c:v>0.59937578027465599</c:v>
                </c:pt>
                <c:pt idx="33608">
                  <c:v>0.59939361512395195</c:v>
                </c:pt>
                <c:pt idx="33609">
                  <c:v>0.59941144997324702</c:v>
                </c:pt>
                <c:pt idx="33610">
                  <c:v>0.59942928482254298</c:v>
                </c:pt>
                <c:pt idx="33611">
                  <c:v>0.59944711967183795</c:v>
                </c:pt>
                <c:pt idx="33612">
                  <c:v>0.59946495452113402</c:v>
                </c:pt>
                <c:pt idx="33613">
                  <c:v>0.59948278937042898</c:v>
                </c:pt>
                <c:pt idx="33614">
                  <c:v>0.59950062421972505</c:v>
                </c:pt>
                <c:pt idx="33615">
                  <c:v>0.59951845906902002</c:v>
                </c:pt>
                <c:pt idx="33616">
                  <c:v>0.59953629391831598</c:v>
                </c:pt>
                <c:pt idx="33617">
                  <c:v>0.59955412876761105</c:v>
                </c:pt>
                <c:pt idx="33618">
                  <c:v>0.59957196361690701</c:v>
                </c:pt>
                <c:pt idx="33619">
                  <c:v>0.59958979846620297</c:v>
                </c:pt>
                <c:pt idx="33620">
                  <c:v>0.59960763331549805</c:v>
                </c:pt>
                <c:pt idx="33621">
                  <c:v>0.59962546816479401</c:v>
                </c:pt>
                <c:pt idx="33622">
                  <c:v>0.59964330301408897</c:v>
                </c:pt>
                <c:pt idx="33623">
                  <c:v>0.59966113786338504</c:v>
                </c:pt>
                <c:pt idx="33624">
                  <c:v>0.59967897271268</c:v>
                </c:pt>
                <c:pt idx="33625">
                  <c:v>0.59969680756197596</c:v>
                </c:pt>
                <c:pt idx="33626">
                  <c:v>0.59971464241127104</c:v>
                </c:pt>
                <c:pt idx="33627">
                  <c:v>0.599732477260567</c:v>
                </c:pt>
                <c:pt idx="33628">
                  <c:v>0.59975031210986196</c:v>
                </c:pt>
                <c:pt idx="33629">
                  <c:v>0.59976814695915803</c:v>
                </c:pt>
                <c:pt idx="33630">
                  <c:v>0.59978598180845299</c:v>
                </c:pt>
                <c:pt idx="33631">
                  <c:v>0.59980381665774896</c:v>
                </c:pt>
                <c:pt idx="33632">
                  <c:v>0.59982165150704403</c:v>
                </c:pt>
                <c:pt idx="33633">
                  <c:v>0.59983948635633999</c:v>
                </c:pt>
                <c:pt idx="33634">
                  <c:v>0.59985732120563495</c:v>
                </c:pt>
                <c:pt idx="33635">
                  <c:v>0.59987515605493102</c:v>
                </c:pt>
                <c:pt idx="33636">
                  <c:v>0.59989299090422599</c:v>
                </c:pt>
                <c:pt idx="33637">
                  <c:v>0.59991082575352195</c:v>
                </c:pt>
                <c:pt idx="33638">
                  <c:v>0.59992866060281702</c:v>
                </c:pt>
                <c:pt idx="33639">
                  <c:v>0.59994649545211298</c:v>
                </c:pt>
                <c:pt idx="33640">
                  <c:v>0.59996433030140806</c:v>
                </c:pt>
                <c:pt idx="33641">
                  <c:v>0.59998216515070402</c:v>
                </c:pt>
                <c:pt idx="33642">
                  <c:v>0.6</c:v>
                </c:pt>
                <c:pt idx="33643">
                  <c:v>0.60001783484929505</c:v>
                </c:pt>
                <c:pt idx="33644">
                  <c:v>0.60003566969859101</c:v>
                </c:pt>
                <c:pt idx="33645">
                  <c:v>0.60005350454788597</c:v>
                </c:pt>
                <c:pt idx="33646">
                  <c:v>0.60007133939718205</c:v>
                </c:pt>
                <c:pt idx="33647">
                  <c:v>0.60008917424647701</c:v>
                </c:pt>
                <c:pt idx="33648">
                  <c:v>0.60010700909577297</c:v>
                </c:pt>
                <c:pt idx="33649">
                  <c:v>0.60012484394506804</c:v>
                </c:pt>
                <c:pt idx="33650">
                  <c:v>0.600142678794364</c:v>
                </c:pt>
                <c:pt idx="33651">
                  <c:v>0.60016051364365897</c:v>
                </c:pt>
                <c:pt idx="33652">
                  <c:v>0.60017834849295504</c:v>
                </c:pt>
                <c:pt idx="33653">
                  <c:v>0.60019618334225</c:v>
                </c:pt>
                <c:pt idx="33654">
                  <c:v>0.60021401819154596</c:v>
                </c:pt>
                <c:pt idx="33655">
                  <c:v>0.60023185304084103</c:v>
                </c:pt>
                <c:pt idx="33656">
                  <c:v>0.600249687890137</c:v>
                </c:pt>
                <c:pt idx="33657">
                  <c:v>0.60026752273943196</c:v>
                </c:pt>
                <c:pt idx="33658">
                  <c:v>0.60028535758872803</c:v>
                </c:pt>
                <c:pt idx="33659">
                  <c:v>0.60030319243802299</c:v>
                </c:pt>
                <c:pt idx="33660">
                  <c:v>0.60032102728731895</c:v>
                </c:pt>
                <c:pt idx="33661">
                  <c:v>0.60033886213661403</c:v>
                </c:pt>
                <c:pt idx="33662">
                  <c:v>0.60035669698590999</c:v>
                </c:pt>
                <c:pt idx="33663">
                  <c:v>0.60037453183520595</c:v>
                </c:pt>
                <c:pt idx="33664">
                  <c:v>0.60039236668450102</c:v>
                </c:pt>
                <c:pt idx="33665">
                  <c:v>0.60041020153379698</c:v>
                </c:pt>
                <c:pt idx="33666">
                  <c:v>0.60042803638309195</c:v>
                </c:pt>
                <c:pt idx="33667">
                  <c:v>0.60044587123238802</c:v>
                </c:pt>
                <c:pt idx="33668">
                  <c:v>0.60046370608168298</c:v>
                </c:pt>
                <c:pt idx="33669">
                  <c:v>0.60048154093097905</c:v>
                </c:pt>
                <c:pt idx="33670">
                  <c:v>0.60049937578027401</c:v>
                </c:pt>
                <c:pt idx="33671">
                  <c:v>0.60051721062956998</c:v>
                </c:pt>
                <c:pt idx="33672">
                  <c:v>0.60053504547886505</c:v>
                </c:pt>
                <c:pt idx="33673">
                  <c:v>0.60055288032816101</c:v>
                </c:pt>
                <c:pt idx="33674">
                  <c:v>0.60057071517745597</c:v>
                </c:pt>
                <c:pt idx="33675">
                  <c:v>0.60058855002675204</c:v>
                </c:pt>
                <c:pt idx="33676">
                  <c:v>0.60060638487604701</c:v>
                </c:pt>
                <c:pt idx="33677">
                  <c:v>0.60062421972534297</c:v>
                </c:pt>
                <c:pt idx="33678">
                  <c:v>0.60064205457463804</c:v>
                </c:pt>
                <c:pt idx="33679">
                  <c:v>0.600659889423934</c:v>
                </c:pt>
                <c:pt idx="33680">
                  <c:v>0.60067772427322896</c:v>
                </c:pt>
                <c:pt idx="33681">
                  <c:v>0.60069555912252504</c:v>
                </c:pt>
                <c:pt idx="33682">
                  <c:v>0.60071339397182</c:v>
                </c:pt>
                <c:pt idx="33683">
                  <c:v>0.60073122882111596</c:v>
                </c:pt>
                <c:pt idx="33684">
                  <c:v>0.60074906367041203</c:v>
                </c:pt>
                <c:pt idx="33685">
                  <c:v>0.60076689851970699</c:v>
                </c:pt>
                <c:pt idx="33686">
                  <c:v>0.60078473336900295</c:v>
                </c:pt>
                <c:pt idx="33687">
                  <c:v>0.60080256821829803</c:v>
                </c:pt>
                <c:pt idx="33688">
                  <c:v>0.60082040306759399</c:v>
                </c:pt>
                <c:pt idx="33689">
                  <c:v>0.60083823791688895</c:v>
                </c:pt>
                <c:pt idx="33690">
                  <c:v>0.60085607276618502</c:v>
                </c:pt>
                <c:pt idx="33691">
                  <c:v>0.60087390761547999</c:v>
                </c:pt>
                <c:pt idx="33692">
                  <c:v>0.60089174246477595</c:v>
                </c:pt>
                <c:pt idx="33693">
                  <c:v>0.60090957731407102</c:v>
                </c:pt>
                <c:pt idx="33694">
                  <c:v>0.60092741216336698</c:v>
                </c:pt>
                <c:pt idx="33695">
                  <c:v>0.60094524701266205</c:v>
                </c:pt>
                <c:pt idx="33696">
                  <c:v>0.60096308186195802</c:v>
                </c:pt>
                <c:pt idx="33697">
                  <c:v>0.60098091671125298</c:v>
                </c:pt>
                <c:pt idx="33698">
                  <c:v>0.60099875156054905</c:v>
                </c:pt>
                <c:pt idx="33699">
                  <c:v>0.60101658640984401</c:v>
                </c:pt>
                <c:pt idx="33700">
                  <c:v>0.60103442125913997</c:v>
                </c:pt>
                <c:pt idx="33701">
                  <c:v>0.60105225610843505</c:v>
                </c:pt>
                <c:pt idx="33702">
                  <c:v>0.60107009095773101</c:v>
                </c:pt>
                <c:pt idx="33703">
                  <c:v>0.60108792580702697</c:v>
                </c:pt>
                <c:pt idx="33704">
                  <c:v>0.60110576065632204</c:v>
                </c:pt>
                <c:pt idx="33705">
                  <c:v>0.601123595505618</c:v>
                </c:pt>
                <c:pt idx="33706">
                  <c:v>0.60114143035491296</c:v>
                </c:pt>
                <c:pt idx="33707">
                  <c:v>0.60115926520420904</c:v>
                </c:pt>
                <c:pt idx="33708">
                  <c:v>0.601177100053504</c:v>
                </c:pt>
                <c:pt idx="33709">
                  <c:v>0.60119493490279996</c:v>
                </c:pt>
                <c:pt idx="33710">
                  <c:v>0.60121276975209503</c:v>
                </c:pt>
                <c:pt idx="33711">
                  <c:v>0.60123060460139099</c:v>
                </c:pt>
                <c:pt idx="33712">
                  <c:v>0.60124843945068596</c:v>
                </c:pt>
                <c:pt idx="33713">
                  <c:v>0.60126627429998203</c:v>
                </c:pt>
                <c:pt idx="33714">
                  <c:v>0.60128410914927699</c:v>
                </c:pt>
                <c:pt idx="33715">
                  <c:v>0.60130194399857295</c:v>
                </c:pt>
                <c:pt idx="33716">
                  <c:v>0.60131977884786803</c:v>
                </c:pt>
                <c:pt idx="33717">
                  <c:v>0.60133761369716399</c:v>
                </c:pt>
                <c:pt idx="33718">
                  <c:v>0.60135544854645895</c:v>
                </c:pt>
                <c:pt idx="33719">
                  <c:v>0.60137328339575502</c:v>
                </c:pt>
                <c:pt idx="33720">
                  <c:v>0.60139111824504998</c:v>
                </c:pt>
                <c:pt idx="33721">
                  <c:v>0.60140895309434605</c:v>
                </c:pt>
                <c:pt idx="33722">
                  <c:v>0.60142678794364102</c:v>
                </c:pt>
                <c:pt idx="33723">
                  <c:v>0.60144462279293698</c:v>
                </c:pt>
                <c:pt idx="33724">
                  <c:v>0.60146245764223205</c:v>
                </c:pt>
                <c:pt idx="33725">
                  <c:v>0.60148029249152801</c:v>
                </c:pt>
                <c:pt idx="33726">
                  <c:v>0.60149812734082397</c:v>
                </c:pt>
                <c:pt idx="33727">
                  <c:v>0.60151596219011905</c:v>
                </c:pt>
                <c:pt idx="33728">
                  <c:v>0.60153379703941501</c:v>
                </c:pt>
                <c:pt idx="33729">
                  <c:v>0.60155163188870997</c:v>
                </c:pt>
                <c:pt idx="33730">
                  <c:v>0.60156946673800604</c:v>
                </c:pt>
                <c:pt idx="33731">
                  <c:v>0.601587301587301</c:v>
                </c:pt>
                <c:pt idx="33732">
                  <c:v>0.60160513643659697</c:v>
                </c:pt>
                <c:pt idx="33733">
                  <c:v>0.60162297128589204</c:v>
                </c:pt>
                <c:pt idx="33734">
                  <c:v>0.601640806135188</c:v>
                </c:pt>
                <c:pt idx="33735">
                  <c:v>0.60165864098448296</c:v>
                </c:pt>
                <c:pt idx="33736">
                  <c:v>0.60167647583377903</c:v>
                </c:pt>
                <c:pt idx="33737">
                  <c:v>0.601694310683074</c:v>
                </c:pt>
                <c:pt idx="33738">
                  <c:v>0.60171214553236996</c:v>
                </c:pt>
                <c:pt idx="33739">
                  <c:v>0.60172998038166503</c:v>
                </c:pt>
                <c:pt idx="33740">
                  <c:v>0.60174781523096099</c:v>
                </c:pt>
                <c:pt idx="33741">
                  <c:v>0.60176565008025595</c:v>
                </c:pt>
                <c:pt idx="33742">
                  <c:v>0.60178348492955203</c:v>
                </c:pt>
                <c:pt idx="33743">
                  <c:v>0.60180131977884699</c:v>
                </c:pt>
                <c:pt idx="33744">
                  <c:v>0.60181915462814295</c:v>
                </c:pt>
                <c:pt idx="33745">
                  <c:v>0.60183698947743802</c:v>
                </c:pt>
                <c:pt idx="33746">
                  <c:v>0.60185482432673398</c:v>
                </c:pt>
                <c:pt idx="33747">
                  <c:v>0.60187265917602994</c:v>
                </c:pt>
                <c:pt idx="33748">
                  <c:v>0.60189049402532502</c:v>
                </c:pt>
                <c:pt idx="33749">
                  <c:v>0.60190832887462098</c:v>
                </c:pt>
                <c:pt idx="33750">
                  <c:v>0.60192616372391605</c:v>
                </c:pt>
                <c:pt idx="33751">
                  <c:v>0.60194399857321201</c:v>
                </c:pt>
                <c:pt idx="33752">
                  <c:v>0.60196183342250698</c:v>
                </c:pt>
                <c:pt idx="33753">
                  <c:v>0.60197966827180305</c:v>
                </c:pt>
                <c:pt idx="33754">
                  <c:v>0.60199750312109801</c:v>
                </c:pt>
                <c:pt idx="33755">
                  <c:v>0.60201533797039397</c:v>
                </c:pt>
                <c:pt idx="33756">
                  <c:v>0.60203317281968904</c:v>
                </c:pt>
                <c:pt idx="33757">
                  <c:v>0.60205100766898501</c:v>
                </c:pt>
                <c:pt idx="33758">
                  <c:v>0.60206884251827997</c:v>
                </c:pt>
                <c:pt idx="33759">
                  <c:v>0.60208667736757604</c:v>
                </c:pt>
                <c:pt idx="33760">
                  <c:v>0.602104512216871</c:v>
                </c:pt>
                <c:pt idx="33761">
                  <c:v>0.60212234706616696</c:v>
                </c:pt>
                <c:pt idx="33762">
                  <c:v>0.60214018191546204</c:v>
                </c:pt>
                <c:pt idx="33763">
                  <c:v>0.602158016764758</c:v>
                </c:pt>
                <c:pt idx="33764">
                  <c:v>0.60217585161405296</c:v>
                </c:pt>
                <c:pt idx="33765">
                  <c:v>0.60219368646334903</c:v>
                </c:pt>
                <c:pt idx="33766">
                  <c:v>0.60221152131264399</c:v>
                </c:pt>
                <c:pt idx="33767">
                  <c:v>0.60222935616193995</c:v>
                </c:pt>
                <c:pt idx="33768">
                  <c:v>0.60224719101123503</c:v>
                </c:pt>
                <c:pt idx="33769">
                  <c:v>0.60226502586053099</c:v>
                </c:pt>
                <c:pt idx="33770">
                  <c:v>0.60228286070982695</c:v>
                </c:pt>
                <c:pt idx="33771">
                  <c:v>0.60230069555912202</c:v>
                </c:pt>
                <c:pt idx="33772">
                  <c:v>0.60231853040841798</c:v>
                </c:pt>
                <c:pt idx="33773">
                  <c:v>0.60233636525771295</c:v>
                </c:pt>
                <c:pt idx="33774">
                  <c:v>0.60235420010700902</c:v>
                </c:pt>
                <c:pt idx="33775">
                  <c:v>0.60237203495630398</c:v>
                </c:pt>
                <c:pt idx="33776">
                  <c:v>0.60238986980560005</c:v>
                </c:pt>
                <c:pt idx="33777">
                  <c:v>0.60240770465489502</c:v>
                </c:pt>
                <c:pt idx="33778">
                  <c:v>0.60242553950419098</c:v>
                </c:pt>
                <c:pt idx="33779">
                  <c:v>0.60244337435348605</c:v>
                </c:pt>
                <c:pt idx="33780">
                  <c:v>0.60246120920278201</c:v>
                </c:pt>
                <c:pt idx="33781">
                  <c:v>0.60247904405207697</c:v>
                </c:pt>
                <c:pt idx="33782">
                  <c:v>0.60249687890137305</c:v>
                </c:pt>
                <c:pt idx="33783">
                  <c:v>0.60251471375066801</c:v>
                </c:pt>
                <c:pt idx="33784">
                  <c:v>0.60253254859996397</c:v>
                </c:pt>
                <c:pt idx="33785">
                  <c:v>0.60255038344925904</c:v>
                </c:pt>
                <c:pt idx="33786">
                  <c:v>0.602568218298555</c:v>
                </c:pt>
                <c:pt idx="33787">
                  <c:v>0.60258605314784996</c:v>
                </c:pt>
                <c:pt idx="33788">
                  <c:v>0.60260388799714604</c:v>
                </c:pt>
                <c:pt idx="33789">
                  <c:v>0.602621722846442</c:v>
                </c:pt>
                <c:pt idx="33790">
                  <c:v>0.60263955769573696</c:v>
                </c:pt>
                <c:pt idx="33791">
                  <c:v>0.60265739254503303</c:v>
                </c:pt>
                <c:pt idx="33792">
                  <c:v>0.60267522739432799</c:v>
                </c:pt>
                <c:pt idx="33793">
                  <c:v>0.60269306224362396</c:v>
                </c:pt>
                <c:pt idx="33794">
                  <c:v>0.60271089709291903</c:v>
                </c:pt>
                <c:pt idx="33795">
                  <c:v>0.60272873194221499</c:v>
                </c:pt>
                <c:pt idx="33796">
                  <c:v>0.60274656679150995</c:v>
                </c:pt>
                <c:pt idx="33797">
                  <c:v>0.60276440164080602</c:v>
                </c:pt>
                <c:pt idx="33798">
                  <c:v>0.60278223649010099</c:v>
                </c:pt>
                <c:pt idx="33799">
                  <c:v>0.60280007133939695</c:v>
                </c:pt>
                <c:pt idx="33800">
                  <c:v>0.60281790618869202</c:v>
                </c:pt>
                <c:pt idx="33801">
                  <c:v>0.60283574103798798</c:v>
                </c:pt>
                <c:pt idx="33802">
                  <c:v>0.60285357588728306</c:v>
                </c:pt>
                <c:pt idx="33803">
                  <c:v>0.60287141073657902</c:v>
                </c:pt>
                <c:pt idx="33804">
                  <c:v>0.60288924558587398</c:v>
                </c:pt>
                <c:pt idx="33805">
                  <c:v>0.60290708043517005</c:v>
                </c:pt>
                <c:pt idx="33806">
                  <c:v>0.60292491528446501</c:v>
                </c:pt>
                <c:pt idx="33807">
                  <c:v>0.60294275013376097</c:v>
                </c:pt>
                <c:pt idx="33808">
                  <c:v>0.60296058498305605</c:v>
                </c:pt>
                <c:pt idx="33809">
                  <c:v>0.60297841983235201</c:v>
                </c:pt>
                <c:pt idx="33810">
                  <c:v>0.60299625468164797</c:v>
                </c:pt>
                <c:pt idx="33811">
                  <c:v>0.60301408953094304</c:v>
                </c:pt>
                <c:pt idx="33812">
                  <c:v>0.603031924380239</c:v>
                </c:pt>
                <c:pt idx="33813">
                  <c:v>0.60304975922953397</c:v>
                </c:pt>
                <c:pt idx="33814">
                  <c:v>0.60306759407883004</c:v>
                </c:pt>
                <c:pt idx="33815">
                  <c:v>0.603085428928125</c:v>
                </c:pt>
                <c:pt idx="33816">
                  <c:v>0.60310326377742096</c:v>
                </c:pt>
                <c:pt idx="33817">
                  <c:v>0.60312109862671603</c:v>
                </c:pt>
                <c:pt idx="33818">
                  <c:v>0.603138933476012</c:v>
                </c:pt>
                <c:pt idx="33819">
                  <c:v>0.60315676832530696</c:v>
                </c:pt>
                <c:pt idx="33820">
                  <c:v>0.60317460317460303</c:v>
                </c:pt>
                <c:pt idx="33821">
                  <c:v>0.60319243802389799</c:v>
                </c:pt>
                <c:pt idx="33822">
                  <c:v>0.60321027287319395</c:v>
                </c:pt>
                <c:pt idx="33823">
                  <c:v>0.60322810772248903</c:v>
                </c:pt>
                <c:pt idx="33824">
                  <c:v>0.60324594257178499</c:v>
                </c:pt>
                <c:pt idx="33825">
                  <c:v>0.60326377742107995</c:v>
                </c:pt>
                <c:pt idx="33826">
                  <c:v>0.60328161227037602</c:v>
                </c:pt>
                <c:pt idx="33827">
                  <c:v>0.60329944711967098</c:v>
                </c:pt>
                <c:pt idx="33828">
                  <c:v>0.60331728196896695</c:v>
                </c:pt>
                <c:pt idx="33829">
                  <c:v>0.60333511681826202</c:v>
                </c:pt>
                <c:pt idx="33830">
                  <c:v>0.60335295166755798</c:v>
                </c:pt>
                <c:pt idx="33831">
                  <c:v>0.60337078651685305</c:v>
                </c:pt>
                <c:pt idx="33832">
                  <c:v>0.60338862136614901</c:v>
                </c:pt>
                <c:pt idx="33833">
                  <c:v>0.60340645621544498</c:v>
                </c:pt>
                <c:pt idx="33834">
                  <c:v>0.60342429106474005</c:v>
                </c:pt>
                <c:pt idx="33835">
                  <c:v>0.60344212591403601</c:v>
                </c:pt>
                <c:pt idx="33836">
                  <c:v>0.60345996076333097</c:v>
                </c:pt>
                <c:pt idx="33837">
                  <c:v>0.60347779561262704</c:v>
                </c:pt>
                <c:pt idx="33838">
                  <c:v>0.60349563046192201</c:v>
                </c:pt>
                <c:pt idx="33839">
                  <c:v>0.60351346531121797</c:v>
                </c:pt>
                <c:pt idx="33840">
                  <c:v>0.60353130016051304</c:v>
                </c:pt>
                <c:pt idx="33841">
                  <c:v>0.603549135009809</c:v>
                </c:pt>
                <c:pt idx="33842">
                  <c:v>0.60356696985910396</c:v>
                </c:pt>
                <c:pt idx="33843">
                  <c:v>0.60358480470840004</c:v>
                </c:pt>
                <c:pt idx="33844">
                  <c:v>0.603602639557695</c:v>
                </c:pt>
                <c:pt idx="33845">
                  <c:v>0.60362047440699096</c:v>
                </c:pt>
                <c:pt idx="33846">
                  <c:v>0.60363830925628603</c:v>
                </c:pt>
                <c:pt idx="33847">
                  <c:v>0.60365614410558199</c:v>
                </c:pt>
                <c:pt idx="33848">
                  <c:v>0.60367397895487696</c:v>
                </c:pt>
                <c:pt idx="33849">
                  <c:v>0.60369181380417303</c:v>
                </c:pt>
                <c:pt idx="33850">
                  <c:v>0.60370964865346799</c:v>
                </c:pt>
                <c:pt idx="33851">
                  <c:v>0.60372748350276395</c:v>
                </c:pt>
                <c:pt idx="33852">
                  <c:v>0.60374531835205902</c:v>
                </c:pt>
                <c:pt idx="33853">
                  <c:v>0.60376315320135499</c:v>
                </c:pt>
                <c:pt idx="33854">
                  <c:v>0.60378098805065095</c:v>
                </c:pt>
                <c:pt idx="33855">
                  <c:v>0.60379882289994602</c:v>
                </c:pt>
                <c:pt idx="33856">
                  <c:v>0.60381665774924198</c:v>
                </c:pt>
                <c:pt idx="33857">
                  <c:v>0.60383449259853705</c:v>
                </c:pt>
                <c:pt idx="33858">
                  <c:v>0.60385232744783301</c:v>
                </c:pt>
                <c:pt idx="33859">
                  <c:v>0.60387016229712798</c:v>
                </c:pt>
                <c:pt idx="33860">
                  <c:v>0.60388799714642405</c:v>
                </c:pt>
                <c:pt idx="33861">
                  <c:v>0.60390583199571901</c:v>
                </c:pt>
                <c:pt idx="33862">
                  <c:v>0.60392366684501497</c:v>
                </c:pt>
                <c:pt idx="33863">
                  <c:v>0.60394150169431005</c:v>
                </c:pt>
                <c:pt idx="33864">
                  <c:v>0.60395933654360601</c:v>
                </c:pt>
                <c:pt idx="33865">
                  <c:v>0.60397717139290097</c:v>
                </c:pt>
                <c:pt idx="33866">
                  <c:v>0.60399500624219704</c:v>
                </c:pt>
                <c:pt idx="33867">
                  <c:v>0.604012841091492</c:v>
                </c:pt>
                <c:pt idx="33868">
                  <c:v>0.60403067594078796</c:v>
                </c:pt>
                <c:pt idx="33869">
                  <c:v>0.60404851079008304</c:v>
                </c:pt>
                <c:pt idx="33870">
                  <c:v>0.604066345639379</c:v>
                </c:pt>
                <c:pt idx="33871">
                  <c:v>0.60408418048867396</c:v>
                </c:pt>
                <c:pt idx="33872">
                  <c:v>0.60410201533797003</c:v>
                </c:pt>
                <c:pt idx="33873">
                  <c:v>0.604119850187265</c:v>
                </c:pt>
                <c:pt idx="33874">
                  <c:v>0.60413768503656096</c:v>
                </c:pt>
                <c:pt idx="33875">
                  <c:v>0.60415551988585603</c:v>
                </c:pt>
                <c:pt idx="33876">
                  <c:v>0.60417335473515199</c:v>
                </c:pt>
                <c:pt idx="33877">
                  <c:v>0.60419118958444795</c:v>
                </c:pt>
                <c:pt idx="33878">
                  <c:v>0.60420902443374302</c:v>
                </c:pt>
                <c:pt idx="33879">
                  <c:v>0.60422685928303899</c:v>
                </c:pt>
                <c:pt idx="33880">
                  <c:v>0.60424469413233395</c:v>
                </c:pt>
                <c:pt idx="33881">
                  <c:v>0.60426252898163002</c:v>
                </c:pt>
                <c:pt idx="33882">
                  <c:v>0.60428036383092498</c:v>
                </c:pt>
                <c:pt idx="33883">
                  <c:v>0.60429819868022105</c:v>
                </c:pt>
                <c:pt idx="33884">
                  <c:v>0.60431603352951602</c:v>
                </c:pt>
                <c:pt idx="33885">
                  <c:v>0.60433386837881198</c:v>
                </c:pt>
                <c:pt idx="33886">
                  <c:v>0.60435170322810705</c:v>
                </c:pt>
                <c:pt idx="33887">
                  <c:v>0.60436953807740301</c:v>
                </c:pt>
                <c:pt idx="33888">
                  <c:v>0.60438737292669797</c:v>
                </c:pt>
                <c:pt idx="33889">
                  <c:v>0.60440520777599405</c:v>
                </c:pt>
                <c:pt idx="33890">
                  <c:v>0.60442304262528901</c:v>
                </c:pt>
                <c:pt idx="33891">
                  <c:v>0.60444087747458497</c:v>
                </c:pt>
                <c:pt idx="33892">
                  <c:v>0.60445871232388004</c:v>
                </c:pt>
                <c:pt idx="33893">
                  <c:v>0.604476547173176</c:v>
                </c:pt>
                <c:pt idx="33894">
                  <c:v>0.60449438202247197</c:v>
                </c:pt>
                <c:pt idx="33895">
                  <c:v>0.60451221687176704</c:v>
                </c:pt>
                <c:pt idx="33896">
                  <c:v>0.604530051721063</c:v>
                </c:pt>
                <c:pt idx="33897">
                  <c:v>0.60454788657035796</c:v>
                </c:pt>
                <c:pt idx="33898">
                  <c:v>0.60456572141965403</c:v>
                </c:pt>
                <c:pt idx="33899">
                  <c:v>0.604583556268949</c:v>
                </c:pt>
                <c:pt idx="33900">
                  <c:v>0.60460139111824496</c:v>
                </c:pt>
                <c:pt idx="33901">
                  <c:v>0.60461922596754003</c:v>
                </c:pt>
                <c:pt idx="33902">
                  <c:v>0.60463706081683599</c:v>
                </c:pt>
                <c:pt idx="33903">
                  <c:v>0.60465489566613095</c:v>
                </c:pt>
                <c:pt idx="33904">
                  <c:v>0.60467273051542703</c:v>
                </c:pt>
                <c:pt idx="33905">
                  <c:v>0.60469056536472199</c:v>
                </c:pt>
                <c:pt idx="33906">
                  <c:v>0.60470840021401795</c:v>
                </c:pt>
                <c:pt idx="33907">
                  <c:v>0.60472623506331302</c:v>
                </c:pt>
                <c:pt idx="33908">
                  <c:v>0.60474406991260898</c:v>
                </c:pt>
                <c:pt idx="33909">
                  <c:v>0.60476190476190395</c:v>
                </c:pt>
                <c:pt idx="33910">
                  <c:v>0.60477973961120002</c:v>
                </c:pt>
                <c:pt idx="33911">
                  <c:v>0.60479757446049498</c:v>
                </c:pt>
                <c:pt idx="33912">
                  <c:v>0.60481540930979105</c:v>
                </c:pt>
                <c:pt idx="33913">
                  <c:v>0.60483324415908601</c:v>
                </c:pt>
                <c:pt idx="33914">
                  <c:v>0.60485107900838198</c:v>
                </c:pt>
                <c:pt idx="33915">
                  <c:v>0.60486891385767705</c:v>
                </c:pt>
                <c:pt idx="33916">
                  <c:v>0.60488674870697301</c:v>
                </c:pt>
                <c:pt idx="33917">
                  <c:v>0.60490458355626897</c:v>
                </c:pt>
                <c:pt idx="33918">
                  <c:v>0.60492241840556404</c:v>
                </c:pt>
                <c:pt idx="33919">
                  <c:v>0.60494025325486001</c:v>
                </c:pt>
                <c:pt idx="33920">
                  <c:v>0.60495808810415497</c:v>
                </c:pt>
                <c:pt idx="33921">
                  <c:v>0.60497592295345104</c:v>
                </c:pt>
                <c:pt idx="33922">
                  <c:v>0.604993757802746</c:v>
                </c:pt>
                <c:pt idx="33923">
                  <c:v>0.60501159265204196</c:v>
                </c:pt>
                <c:pt idx="33924">
                  <c:v>0.60502942750133704</c:v>
                </c:pt>
                <c:pt idx="33925">
                  <c:v>0.605047262350633</c:v>
                </c:pt>
                <c:pt idx="33926">
                  <c:v>0.60506509719992796</c:v>
                </c:pt>
                <c:pt idx="33927">
                  <c:v>0.60508293204922403</c:v>
                </c:pt>
                <c:pt idx="33928">
                  <c:v>0.60510076689851899</c:v>
                </c:pt>
                <c:pt idx="33929">
                  <c:v>0.60511860174781495</c:v>
                </c:pt>
                <c:pt idx="33930">
                  <c:v>0.60513643659711003</c:v>
                </c:pt>
                <c:pt idx="33931">
                  <c:v>0.60515427144640599</c:v>
                </c:pt>
                <c:pt idx="33932">
                  <c:v>0.60517210629570095</c:v>
                </c:pt>
                <c:pt idx="33933">
                  <c:v>0.60518994114499702</c:v>
                </c:pt>
                <c:pt idx="33934">
                  <c:v>0.60520777599429199</c:v>
                </c:pt>
                <c:pt idx="33935">
                  <c:v>0.60522561084358795</c:v>
                </c:pt>
                <c:pt idx="33936">
                  <c:v>0.60524344569288302</c:v>
                </c:pt>
                <c:pt idx="33937">
                  <c:v>0.60526128054217898</c:v>
                </c:pt>
                <c:pt idx="33938">
                  <c:v>0.60527911539147405</c:v>
                </c:pt>
                <c:pt idx="33939">
                  <c:v>0.60529695024077002</c:v>
                </c:pt>
                <c:pt idx="33940">
                  <c:v>0.60531478509006598</c:v>
                </c:pt>
                <c:pt idx="33941">
                  <c:v>0.60533261993936105</c:v>
                </c:pt>
                <c:pt idx="33942">
                  <c:v>0.60535045478865701</c:v>
                </c:pt>
                <c:pt idx="33943">
                  <c:v>0.60536828963795197</c:v>
                </c:pt>
                <c:pt idx="33944">
                  <c:v>0.60538612448724805</c:v>
                </c:pt>
                <c:pt idx="33945">
                  <c:v>0.60540395933654301</c:v>
                </c:pt>
                <c:pt idx="33946">
                  <c:v>0.60542179418583897</c:v>
                </c:pt>
                <c:pt idx="33947">
                  <c:v>0.60543962903513404</c:v>
                </c:pt>
                <c:pt idx="33948">
                  <c:v>0.60545746388443</c:v>
                </c:pt>
                <c:pt idx="33949">
                  <c:v>0.60547529873372496</c:v>
                </c:pt>
                <c:pt idx="33950">
                  <c:v>0.60549313358302104</c:v>
                </c:pt>
                <c:pt idx="33951">
                  <c:v>0.605510968432316</c:v>
                </c:pt>
                <c:pt idx="33952">
                  <c:v>0.60552880328161196</c:v>
                </c:pt>
                <c:pt idx="33953">
                  <c:v>0.60554663813090703</c:v>
                </c:pt>
                <c:pt idx="33954">
                  <c:v>0.60556447298020299</c:v>
                </c:pt>
                <c:pt idx="33955">
                  <c:v>0.60558230782949796</c:v>
                </c:pt>
                <c:pt idx="33956">
                  <c:v>0.60560014267879403</c:v>
                </c:pt>
                <c:pt idx="33957">
                  <c:v>0.60561797752808899</c:v>
                </c:pt>
                <c:pt idx="33958">
                  <c:v>0.60563581237738495</c:v>
                </c:pt>
                <c:pt idx="33959">
                  <c:v>0.60565364722668003</c:v>
                </c:pt>
                <c:pt idx="33960">
                  <c:v>0.60567148207597599</c:v>
                </c:pt>
                <c:pt idx="33961">
                  <c:v>0.60568931692527195</c:v>
                </c:pt>
                <c:pt idx="33962">
                  <c:v>0.60570715177456702</c:v>
                </c:pt>
                <c:pt idx="33963">
                  <c:v>0.60572498662386298</c:v>
                </c:pt>
                <c:pt idx="33964">
                  <c:v>0.60574282147315806</c:v>
                </c:pt>
                <c:pt idx="33965">
                  <c:v>0.60576065632245402</c:v>
                </c:pt>
                <c:pt idx="33966">
                  <c:v>0.60577849117174898</c:v>
                </c:pt>
                <c:pt idx="33967">
                  <c:v>0.60579632602104505</c:v>
                </c:pt>
                <c:pt idx="33968">
                  <c:v>0.60581416087034001</c:v>
                </c:pt>
                <c:pt idx="33969">
                  <c:v>0.60583199571963597</c:v>
                </c:pt>
                <c:pt idx="33970">
                  <c:v>0.60584983056893105</c:v>
                </c:pt>
                <c:pt idx="33971">
                  <c:v>0.60586766541822701</c:v>
                </c:pt>
                <c:pt idx="33972">
                  <c:v>0.60588550026752197</c:v>
                </c:pt>
                <c:pt idx="33973">
                  <c:v>0.60590333511681804</c:v>
                </c:pt>
                <c:pt idx="33974">
                  <c:v>0.605921169966113</c:v>
                </c:pt>
                <c:pt idx="33975">
                  <c:v>0.60593900481540897</c:v>
                </c:pt>
                <c:pt idx="33976">
                  <c:v>0.60595683966470404</c:v>
                </c:pt>
                <c:pt idx="33977">
                  <c:v>0.605974674514</c:v>
                </c:pt>
                <c:pt idx="33978">
                  <c:v>0.60599250936329496</c:v>
                </c:pt>
                <c:pt idx="33979">
                  <c:v>0.60601034421259103</c:v>
                </c:pt>
                <c:pt idx="33980">
                  <c:v>0.606028179061886</c:v>
                </c:pt>
                <c:pt idx="33981">
                  <c:v>0.60604601391118196</c:v>
                </c:pt>
                <c:pt idx="33982">
                  <c:v>0.60606384876047703</c:v>
                </c:pt>
                <c:pt idx="33983">
                  <c:v>0.60608168360977299</c:v>
                </c:pt>
                <c:pt idx="33984">
                  <c:v>0.60609951845906895</c:v>
                </c:pt>
                <c:pt idx="33985">
                  <c:v>0.60611735330836403</c:v>
                </c:pt>
                <c:pt idx="33986">
                  <c:v>0.60613518815765999</c:v>
                </c:pt>
                <c:pt idx="33987">
                  <c:v>0.60615302300695495</c:v>
                </c:pt>
                <c:pt idx="33988">
                  <c:v>0.60617085785625102</c:v>
                </c:pt>
                <c:pt idx="33989">
                  <c:v>0.60618869270554598</c:v>
                </c:pt>
                <c:pt idx="33990">
                  <c:v>0.60620652755484195</c:v>
                </c:pt>
                <c:pt idx="33991">
                  <c:v>0.60622436240413702</c:v>
                </c:pt>
                <c:pt idx="33992">
                  <c:v>0.60624219725343298</c:v>
                </c:pt>
                <c:pt idx="33993">
                  <c:v>0.60626003210272805</c:v>
                </c:pt>
                <c:pt idx="33994">
                  <c:v>0.60627786695202401</c:v>
                </c:pt>
                <c:pt idx="33995">
                  <c:v>0.60629570180131898</c:v>
                </c:pt>
                <c:pt idx="33996">
                  <c:v>0.60631353665061505</c:v>
                </c:pt>
                <c:pt idx="33997">
                  <c:v>0.60633137149991001</c:v>
                </c:pt>
                <c:pt idx="33998">
                  <c:v>0.60634920634920597</c:v>
                </c:pt>
                <c:pt idx="33999">
                  <c:v>0.60636704119850104</c:v>
                </c:pt>
                <c:pt idx="34000">
                  <c:v>0.60638487604779701</c:v>
                </c:pt>
                <c:pt idx="34001">
                  <c:v>0.60640271089709297</c:v>
                </c:pt>
                <c:pt idx="34002">
                  <c:v>0.60642054574638804</c:v>
                </c:pt>
                <c:pt idx="34003">
                  <c:v>0.606438380595684</c:v>
                </c:pt>
                <c:pt idx="34004">
                  <c:v>0.60645621544497896</c:v>
                </c:pt>
                <c:pt idx="34005">
                  <c:v>0.60647405029427504</c:v>
                </c:pt>
                <c:pt idx="34006">
                  <c:v>0.60649188514357</c:v>
                </c:pt>
                <c:pt idx="34007">
                  <c:v>0.60650971999286596</c:v>
                </c:pt>
                <c:pt idx="34008">
                  <c:v>0.60652755484216103</c:v>
                </c:pt>
                <c:pt idx="34009">
                  <c:v>0.60654538969145699</c:v>
                </c:pt>
                <c:pt idx="34010">
                  <c:v>0.60656322454075196</c:v>
                </c:pt>
                <c:pt idx="34011">
                  <c:v>0.60658105939004803</c:v>
                </c:pt>
                <c:pt idx="34012">
                  <c:v>0.60659889423934299</c:v>
                </c:pt>
                <c:pt idx="34013">
                  <c:v>0.60661672908863895</c:v>
                </c:pt>
                <c:pt idx="34014">
                  <c:v>0.60663456393793402</c:v>
                </c:pt>
                <c:pt idx="34015">
                  <c:v>0.60665239878722999</c:v>
                </c:pt>
                <c:pt idx="34016">
                  <c:v>0.60667023363652495</c:v>
                </c:pt>
                <c:pt idx="34017">
                  <c:v>0.60668806848582102</c:v>
                </c:pt>
                <c:pt idx="34018">
                  <c:v>0.60670590333511598</c:v>
                </c:pt>
                <c:pt idx="34019">
                  <c:v>0.60672373818441205</c:v>
                </c:pt>
                <c:pt idx="34020">
                  <c:v>0.60674157303370702</c:v>
                </c:pt>
                <c:pt idx="34021">
                  <c:v>0.60675940788300298</c:v>
                </c:pt>
                <c:pt idx="34022">
                  <c:v>0.60677724273229805</c:v>
                </c:pt>
                <c:pt idx="34023">
                  <c:v>0.60679507758159401</c:v>
                </c:pt>
                <c:pt idx="34024">
                  <c:v>0.60681291243088997</c:v>
                </c:pt>
                <c:pt idx="34025">
                  <c:v>0.60683074728018505</c:v>
                </c:pt>
                <c:pt idx="34026">
                  <c:v>0.60684858212948101</c:v>
                </c:pt>
                <c:pt idx="34027">
                  <c:v>0.60686641697877597</c:v>
                </c:pt>
                <c:pt idx="34028">
                  <c:v>0.60688425182807204</c:v>
                </c:pt>
                <c:pt idx="34029">
                  <c:v>0.606902086677367</c:v>
                </c:pt>
                <c:pt idx="34030">
                  <c:v>0.60691992152666296</c:v>
                </c:pt>
                <c:pt idx="34031">
                  <c:v>0.60693775637595804</c:v>
                </c:pt>
                <c:pt idx="34032">
                  <c:v>0.606955591225254</c:v>
                </c:pt>
                <c:pt idx="34033">
                  <c:v>0.60697342607454896</c:v>
                </c:pt>
                <c:pt idx="34034">
                  <c:v>0.60699126092384503</c:v>
                </c:pt>
                <c:pt idx="34035">
                  <c:v>0.60700909577313999</c:v>
                </c:pt>
                <c:pt idx="34036">
                  <c:v>0.60702693062243596</c:v>
                </c:pt>
                <c:pt idx="34037">
                  <c:v>0.60704476547173103</c:v>
                </c:pt>
                <c:pt idx="34038">
                  <c:v>0.60706260032102699</c:v>
                </c:pt>
                <c:pt idx="34039">
                  <c:v>0.60708043517032195</c:v>
                </c:pt>
                <c:pt idx="34040">
                  <c:v>0.60709827001961802</c:v>
                </c:pt>
                <c:pt idx="34041">
                  <c:v>0.60711610486891299</c:v>
                </c:pt>
                <c:pt idx="34042">
                  <c:v>0.60713393971820895</c:v>
                </c:pt>
                <c:pt idx="34043">
                  <c:v>0.60715177456750402</c:v>
                </c:pt>
                <c:pt idx="34044">
                  <c:v>0.60716960941679998</c:v>
                </c:pt>
                <c:pt idx="34045">
                  <c:v>0.60718744426609494</c:v>
                </c:pt>
                <c:pt idx="34046">
                  <c:v>0.60720527911539102</c:v>
                </c:pt>
                <c:pt idx="34047">
                  <c:v>0.60722311396468698</c:v>
                </c:pt>
                <c:pt idx="34048">
                  <c:v>0.60724094881398205</c:v>
                </c:pt>
                <c:pt idx="34049">
                  <c:v>0.60725878366327801</c:v>
                </c:pt>
                <c:pt idx="34050">
                  <c:v>0.60727661851257297</c:v>
                </c:pt>
                <c:pt idx="34051">
                  <c:v>0.60729445336186905</c:v>
                </c:pt>
                <c:pt idx="34052">
                  <c:v>0.60731228821116401</c:v>
                </c:pt>
                <c:pt idx="34053">
                  <c:v>0.60733012306045997</c:v>
                </c:pt>
                <c:pt idx="34054">
                  <c:v>0.60734795790975504</c:v>
                </c:pt>
                <c:pt idx="34055">
                  <c:v>0.607365792759051</c:v>
                </c:pt>
                <c:pt idx="34056">
                  <c:v>0.60738362760834597</c:v>
                </c:pt>
                <c:pt idx="34057">
                  <c:v>0.60740146245764204</c:v>
                </c:pt>
                <c:pt idx="34058">
                  <c:v>0.607419297306937</c:v>
                </c:pt>
                <c:pt idx="34059">
                  <c:v>0.60743713215623296</c:v>
                </c:pt>
                <c:pt idx="34060">
                  <c:v>0.60745496700552803</c:v>
                </c:pt>
                <c:pt idx="34061">
                  <c:v>0.607472801854824</c:v>
                </c:pt>
                <c:pt idx="34062">
                  <c:v>0.60749063670411896</c:v>
                </c:pt>
                <c:pt idx="34063">
                  <c:v>0.60750847155341503</c:v>
                </c:pt>
                <c:pt idx="34064">
                  <c:v>0.60752630640270999</c:v>
                </c:pt>
                <c:pt idx="34065">
                  <c:v>0.60754414125200595</c:v>
                </c:pt>
                <c:pt idx="34066">
                  <c:v>0.60756197610130103</c:v>
                </c:pt>
                <c:pt idx="34067">
                  <c:v>0.60757981095059699</c:v>
                </c:pt>
                <c:pt idx="34068">
                  <c:v>0.60759764579989295</c:v>
                </c:pt>
                <c:pt idx="34069">
                  <c:v>0.60761548064918802</c:v>
                </c:pt>
                <c:pt idx="34070">
                  <c:v>0.60763331549848398</c:v>
                </c:pt>
                <c:pt idx="34071">
                  <c:v>0.60765115034777895</c:v>
                </c:pt>
                <c:pt idx="34072">
                  <c:v>0.60766898519707502</c:v>
                </c:pt>
                <c:pt idx="34073">
                  <c:v>0.60768682004636998</c:v>
                </c:pt>
                <c:pt idx="34074">
                  <c:v>0.60770465489566605</c:v>
                </c:pt>
                <c:pt idx="34075">
                  <c:v>0.60772248974496101</c:v>
                </c:pt>
                <c:pt idx="34076">
                  <c:v>0.60774032459425698</c:v>
                </c:pt>
                <c:pt idx="34077">
                  <c:v>0.60775815944355205</c:v>
                </c:pt>
                <c:pt idx="34078">
                  <c:v>0.60777599429284801</c:v>
                </c:pt>
                <c:pt idx="34079">
                  <c:v>0.60779382914214297</c:v>
                </c:pt>
                <c:pt idx="34080">
                  <c:v>0.60781166399143904</c:v>
                </c:pt>
                <c:pt idx="34081">
                  <c:v>0.60782949884073401</c:v>
                </c:pt>
                <c:pt idx="34082">
                  <c:v>0.60784733369002997</c:v>
                </c:pt>
                <c:pt idx="34083">
                  <c:v>0.60786516853932504</c:v>
                </c:pt>
                <c:pt idx="34084">
                  <c:v>0.607883003388621</c:v>
                </c:pt>
                <c:pt idx="34085">
                  <c:v>0.60790083823791596</c:v>
                </c:pt>
                <c:pt idx="34086">
                  <c:v>0.60791867308721204</c:v>
                </c:pt>
                <c:pt idx="34087">
                  <c:v>0.607936507936507</c:v>
                </c:pt>
                <c:pt idx="34088">
                  <c:v>0.60795434278580296</c:v>
                </c:pt>
                <c:pt idx="34089">
                  <c:v>0.60797217763509903</c:v>
                </c:pt>
                <c:pt idx="34090">
                  <c:v>0.60799001248439399</c:v>
                </c:pt>
                <c:pt idx="34091">
                  <c:v>0.60800784733368995</c:v>
                </c:pt>
                <c:pt idx="34092">
                  <c:v>0.60802568218298503</c:v>
                </c:pt>
                <c:pt idx="34093">
                  <c:v>0.60804351703228099</c:v>
                </c:pt>
                <c:pt idx="34094">
                  <c:v>0.60806135188157595</c:v>
                </c:pt>
                <c:pt idx="34095">
                  <c:v>0.60807918673087202</c:v>
                </c:pt>
                <c:pt idx="34096">
                  <c:v>0.60809702158016699</c:v>
                </c:pt>
                <c:pt idx="34097">
                  <c:v>0.60811485642946295</c:v>
                </c:pt>
                <c:pt idx="34098">
                  <c:v>0.60813269127875802</c:v>
                </c:pt>
                <c:pt idx="34099">
                  <c:v>0.60815052612805398</c:v>
                </c:pt>
                <c:pt idx="34100">
                  <c:v>0.60816836097734905</c:v>
                </c:pt>
                <c:pt idx="34101">
                  <c:v>0.60818619582664502</c:v>
                </c:pt>
                <c:pt idx="34102">
                  <c:v>0.60820403067593998</c:v>
                </c:pt>
                <c:pt idx="34103">
                  <c:v>0.60822186552523605</c:v>
                </c:pt>
                <c:pt idx="34104">
                  <c:v>0.60823970037453101</c:v>
                </c:pt>
                <c:pt idx="34105">
                  <c:v>0.60825753522382697</c:v>
                </c:pt>
                <c:pt idx="34106">
                  <c:v>0.60827537007312205</c:v>
                </c:pt>
                <c:pt idx="34107">
                  <c:v>0.60829320492241801</c:v>
                </c:pt>
                <c:pt idx="34108">
                  <c:v>0.60831103977171397</c:v>
                </c:pt>
                <c:pt idx="34109">
                  <c:v>0.60832887462100904</c:v>
                </c:pt>
                <c:pt idx="34110">
                  <c:v>0.608346709470305</c:v>
                </c:pt>
                <c:pt idx="34111">
                  <c:v>0.60836454431959996</c:v>
                </c:pt>
                <c:pt idx="34112">
                  <c:v>0.60838237916889604</c:v>
                </c:pt>
                <c:pt idx="34113">
                  <c:v>0.608400214018191</c:v>
                </c:pt>
                <c:pt idx="34114">
                  <c:v>0.60841804886748696</c:v>
                </c:pt>
                <c:pt idx="34115">
                  <c:v>0.60843588371678203</c:v>
                </c:pt>
                <c:pt idx="34116">
                  <c:v>0.60845371856607799</c:v>
                </c:pt>
                <c:pt idx="34117">
                  <c:v>0.60847155341537296</c:v>
                </c:pt>
                <c:pt idx="34118">
                  <c:v>0.60848938826466903</c:v>
                </c:pt>
                <c:pt idx="34119">
                  <c:v>0.60850722311396399</c:v>
                </c:pt>
                <c:pt idx="34120">
                  <c:v>0.60852505796325995</c:v>
                </c:pt>
                <c:pt idx="34121">
                  <c:v>0.60854289281255503</c:v>
                </c:pt>
                <c:pt idx="34122">
                  <c:v>0.60856072766185099</c:v>
                </c:pt>
                <c:pt idx="34123">
                  <c:v>0.60857856251114595</c:v>
                </c:pt>
                <c:pt idx="34124">
                  <c:v>0.60859639736044202</c:v>
                </c:pt>
                <c:pt idx="34125">
                  <c:v>0.60861423220973698</c:v>
                </c:pt>
                <c:pt idx="34126">
                  <c:v>0.60863206705903306</c:v>
                </c:pt>
                <c:pt idx="34127">
                  <c:v>0.60864990190832802</c:v>
                </c:pt>
                <c:pt idx="34128">
                  <c:v>0.60866773675762398</c:v>
                </c:pt>
                <c:pt idx="34129">
                  <c:v>0.60868557160691905</c:v>
                </c:pt>
                <c:pt idx="34130">
                  <c:v>0.60870340645621501</c:v>
                </c:pt>
                <c:pt idx="34131">
                  <c:v>0.60872124130551097</c:v>
                </c:pt>
                <c:pt idx="34132">
                  <c:v>0.60873907615480605</c:v>
                </c:pt>
                <c:pt idx="34133">
                  <c:v>0.60875691100410201</c:v>
                </c:pt>
                <c:pt idx="34134">
                  <c:v>0.60877474585339697</c:v>
                </c:pt>
                <c:pt idx="34135">
                  <c:v>0.60879258070269304</c:v>
                </c:pt>
                <c:pt idx="34136">
                  <c:v>0.608810415551988</c:v>
                </c:pt>
                <c:pt idx="34137">
                  <c:v>0.60882825040128397</c:v>
                </c:pt>
                <c:pt idx="34138">
                  <c:v>0.60884608525057904</c:v>
                </c:pt>
                <c:pt idx="34139">
                  <c:v>0.608863920099875</c:v>
                </c:pt>
                <c:pt idx="34140">
                  <c:v>0.60888175494916996</c:v>
                </c:pt>
                <c:pt idx="34141">
                  <c:v>0.60889958979846603</c:v>
                </c:pt>
                <c:pt idx="34142">
                  <c:v>0.608917424647761</c:v>
                </c:pt>
                <c:pt idx="34143">
                  <c:v>0.60893525949705696</c:v>
                </c:pt>
                <c:pt idx="34144">
                  <c:v>0.60895309434635203</c:v>
                </c:pt>
                <c:pt idx="34145">
                  <c:v>0.60897092919564799</c:v>
                </c:pt>
                <c:pt idx="34146">
                  <c:v>0.60898876404494295</c:v>
                </c:pt>
                <c:pt idx="34147">
                  <c:v>0.60900659889423903</c:v>
                </c:pt>
                <c:pt idx="34148">
                  <c:v>0.60902443374353399</c:v>
                </c:pt>
                <c:pt idx="34149">
                  <c:v>0.60904226859282995</c:v>
                </c:pt>
                <c:pt idx="34150">
                  <c:v>0.60906010344212502</c:v>
                </c:pt>
                <c:pt idx="34151">
                  <c:v>0.60907793829142098</c:v>
                </c:pt>
                <c:pt idx="34152">
                  <c:v>0.60909577314071695</c:v>
                </c:pt>
                <c:pt idx="34153">
                  <c:v>0.60911360799001202</c:v>
                </c:pt>
                <c:pt idx="34154">
                  <c:v>0.60913144283930798</c:v>
                </c:pt>
                <c:pt idx="34155">
                  <c:v>0.60914927768860305</c:v>
                </c:pt>
                <c:pt idx="34156">
                  <c:v>0.60916711253789901</c:v>
                </c:pt>
                <c:pt idx="34157">
                  <c:v>0.60918494738719398</c:v>
                </c:pt>
                <c:pt idx="34158">
                  <c:v>0.60920278223649005</c:v>
                </c:pt>
                <c:pt idx="34159">
                  <c:v>0.60922061708578501</c:v>
                </c:pt>
                <c:pt idx="34160">
                  <c:v>0.60923845193508097</c:v>
                </c:pt>
                <c:pt idx="34161">
                  <c:v>0.60925628678437604</c:v>
                </c:pt>
                <c:pt idx="34162">
                  <c:v>0.60927412163367201</c:v>
                </c:pt>
                <c:pt idx="34163">
                  <c:v>0.60929195648296697</c:v>
                </c:pt>
                <c:pt idx="34164">
                  <c:v>0.60930979133226304</c:v>
                </c:pt>
                <c:pt idx="34165">
                  <c:v>0.609327626181558</c:v>
                </c:pt>
                <c:pt idx="34166">
                  <c:v>0.60934546103085396</c:v>
                </c:pt>
                <c:pt idx="34167">
                  <c:v>0.60936329588014904</c:v>
                </c:pt>
                <c:pt idx="34168">
                  <c:v>0.609381130729445</c:v>
                </c:pt>
                <c:pt idx="34169">
                  <c:v>0.60939896557873996</c:v>
                </c:pt>
                <c:pt idx="34170">
                  <c:v>0.60941680042803603</c:v>
                </c:pt>
                <c:pt idx="34171">
                  <c:v>0.60943463527733099</c:v>
                </c:pt>
                <c:pt idx="34172">
                  <c:v>0.60945247012662696</c:v>
                </c:pt>
                <c:pt idx="34173">
                  <c:v>0.60947030497592203</c:v>
                </c:pt>
                <c:pt idx="34174">
                  <c:v>0.60948813982521799</c:v>
                </c:pt>
                <c:pt idx="34175">
                  <c:v>0.60950597467451395</c:v>
                </c:pt>
                <c:pt idx="34176">
                  <c:v>0.60952380952380902</c:v>
                </c:pt>
                <c:pt idx="34177">
                  <c:v>0.60954164437310498</c:v>
                </c:pt>
                <c:pt idx="34178">
                  <c:v>0.60955947922239995</c:v>
                </c:pt>
                <c:pt idx="34179">
                  <c:v>0.60957731407169602</c:v>
                </c:pt>
                <c:pt idx="34180">
                  <c:v>0.60959514892099098</c:v>
                </c:pt>
                <c:pt idx="34181">
                  <c:v>0.60961298377028705</c:v>
                </c:pt>
                <c:pt idx="34182">
                  <c:v>0.60963081861958202</c:v>
                </c:pt>
                <c:pt idx="34183">
                  <c:v>0.60964865346887798</c:v>
                </c:pt>
                <c:pt idx="34184">
                  <c:v>0.60966648831817305</c:v>
                </c:pt>
                <c:pt idx="34185">
                  <c:v>0.60968432316746901</c:v>
                </c:pt>
                <c:pt idx="34186">
                  <c:v>0.60970215801676397</c:v>
                </c:pt>
                <c:pt idx="34187">
                  <c:v>0.60971999286606005</c:v>
                </c:pt>
                <c:pt idx="34188">
                  <c:v>0.60973782771535501</c:v>
                </c:pt>
                <c:pt idx="34189">
                  <c:v>0.60975566256465097</c:v>
                </c:pt>
                <c:pt idx="34190">
                  <c:v>0.60977349741394604</c:v>
                </c:pt>
                <c:pt idx="34191">
                  <c:v>0.609791332263242</c:v>
                </c:pt>
                <c:pt idx="34192">
                  <c:v>0.60980916711253697</c:v>
                </c:pt>
                <c:pt idx="34193">
                  <c:v>0.60982700196183304</c:v>
                </c:pt>
                <c:pt idx="34194">
                  <c:v>0.609844836811129</c:v>
                </c:pt>
                <c:pt idx="34195">
                  <c:v>0.60986267166042396</c:v>
                </c:pt>
                <c:pt idx="34196">
                  <c:v>0.60988050650972003</c:v>
                </c:pt>
                <c:pt idx="34197">
                  <c:v>0.60989834135901499</c:v>
                </c:pt>
                <c:pt idx="34198">
                  <c:v>0.60991617620831096</c:v>
                </c:pt>
                <c:pt idx="34199">
                  <c:v>0.60993401105760603</c:v>
                </c:pt>
                <c:pt idx="34200">
                  <c:v>0.60995184590690199</c:v>
                </c:pt>
                <c:pt idx="34201">
                  <c:v>0.60996968075619695</c:v>
                </c:pt>
                <c:pt idx="34202">
                  <c:v>0.60998751560549302</c:v>
                </c:pt>
                <c:pt idx="34203">
                  <c:v>0.61000535045478799</c:v>
                </c:pt>
                <c:pt idx="34204">
                  <c:v>0.61002318530408395</c:v>
                </c:pt>
                <c:pt idx="34205">
                  <c:v>0.61004102015337902</c:v>
                </c:pt>
                <c:pt idx="34206">
                  <c:v>0.61005885500267498</c:v>
                </c:pt>
                <c:pt idx="34207">
                  <c:v>0.61007668985197006</c:v>
                </c:pt>
                <c:pt idx="34208">
                  <c:v>0.61009452470126602</c:v>
                </c:pt>
                <c:pt idx="34209">
                  <c:v>0.61011235955056098</c:v>
                </c:pt>
                <c:pt idx="34210">
                  <c:v>0.61013019439985705</c:v>
                </c:pt>
                <c:pt idx="34211">
                  <c:v>0.61014802924915201</c:v>
                </c:pt>
                <c:pt idx="34212">
                  <c:v>0.61016586409844797</c:v>
                </c:pt>
                <c:pt idx="34213">
                  <c:v>0.61018369894774305</c:v>
                </c:pt>
                <c:pt idx="34214">
                  <c:v>0.61020153379703901</c:v>
                </c:pt>
                <c:pt idx="34215">
                  <c:v>0.61021936864633497</c:v>
                </c:pt>
                <c:pt idx="34216">
                  <c:v>0.61023720349563004</c:v>
                </c:pt>
                <c:pt idx="34217">
                  <c:v>0.610255038344926</c:v>
                </c:pt>
                <c:pt idx="34218">
                  <c:v>0.61027287319422097</c:v>
                </c:pt>
                <c:pt idx="34219">
                  <c:v>0.61029070804351704</c:v>
                </c:pt>
                <c:pt idx="34220">
                  <c:v>0.610308542892812</c:v>
                </c:pt>
                <c:pt idx="34221">
                  <c:v>0.61032637774210796</c:v>
                </c:pt>
                <c:pt idx="34222">
                  <c:v>0.61034421259140303</c:v>
                </c:pt>
                <c:pt idx="34223">
                  <c:v>0.610362047440699</c:v>
                </c:pt>
                <c:pt idx="34224">
                  <c:v>0.61037988228999396</c:v>
                </c:pt>
                <c:pt idx="34225">
                  <c:v>0.61039771713929003</c:v>
                </c:pt>
                <c:pt idx="34226">
                  <c:v>0.61041555198858499</c:v>
                </c:pt>
                <c:pt idx="34227">
                  <c:v>0.61043338683788095</c:v>
                </c:pt>
                <c:pt idx="34228">
                  <c:v>0.61045122168717603</c:v>
                </c:pt>
                <c:pt idx="34229">
                  <c:v>0.61046905653647199</c:v>
                </c:pt>
                <c:pt idx="34230">
                  <c:v>0.61048689138576695</c:v>
                </c:pt>
                <c:pt idx="34231">
                  <c:v>0.61050472623506302</c:v>
                </c:pt>
                <c:pt idx="34232">
                  <c:v>0.61052256108435798</c:v>
                </c:pt>
                <c:pt idx="34233">
                  <c:v>0.61054039593365395</c:v>
                </c:pt>
                <c:pt idx="34234">
                  <c:v>0.61055823078294902</c:v>
                </c:pt>
                <c:pt idx="34235">
                  <c:v>0.61057606563224498</c:v>
                </c:pt>
                <c:pt idx="34236">
                  <c:v>0.61059390048154005</c:v>
                </c:pt>
                <c:pt idx="34237">
                  <c:v>0.61061173533083601</c:v>
                </c:pt>
                <c:pt idx="34238">
                  <c:v>0.61062957018013198</c:v>
                </c:pt>
                <c:pt idx="34239">
                  <c:v>0.61064740502942705</c:v>
                </c:pt>
                <c:pt idx="34240">
                  <c:v>0.61066523987872301</c:v>
                </c:pt>
                <c:pt idx="34241">
                  <c:v>0.61068307472801797</c:v>
                </c:pt>
                <c:pt idx="34242">
                  <c:v>0.61070090957731404</c:v>
                </c:pt>
                <c:pt idx="34243">
                  <c:v>0.61071874442660901</c:v>
                </c:pt>
                <c:pt idx="34244">
                  <c:v>0.61073657927590497</c:v>
                </c:pt>
                <c:pt idx="34245">
                  <c:v>0.61075441412520004</c:v>
                </c:pt>
                <c:pt idx="34246">
                  <c:v>0.610772248974496</c:v>
                </c:pt>
                <c:pt idx="34247">
                  <c:v>0.61079008382379096</c:v>
                </c:pt>
                <c:pt idx="34248">
                  <c:v>0.61080791867308704</c:v>
                </c:pt>
                <c:pt idx="34249">
                  <c:v>0.610825753522382</c:v>
                </c:pt>
                <c:pt idx="34250">
                  <c:v>0.61084358837167796</c:v>
                </c:pt>
                <c:pt idx="34251">
                  <c:v>0.61086142322097303</c:v>
                </c:pt>
                <c:pt idx="34252">
                  <c:v>0.61087925807026899</c:v>
                </c:pt>
                <c:pt idx="34253">
                  <c:v>0.61089709291956396</c:v>
                </c:pt>
                <c:pt idx="34254">
                  <c:v>0.61091492776886003</c:v>
                </c:pt>
                <c:pt idx="34255">
                  <c:v>0.61093276261815499</c:v>
                </c:pt>
                <c:pt idx="34256">
                  <c:v>0.61095059746745095</c:v>
                </c:pt>
                <c:pt idx="34257">
                  <c:v>0.61096843231674602</c:v>
                </c:pt>
                <c:pt idx="34258">
                  <c:v>0.61098626716604199</c:v>
                </c:pt>
                <c:pt idx="34259">
                  <c:v>0.61100410201533795</c:v>
                </c:pt>
                <c:pt idx="34260">
                  <c:v>0.61102193686463302</c:v>
                </c:pt>
                <c:pt idx="34261">
                  <c:v>0.61103977171392898</c:v>
                </c:pt>
                <c:pt idx="34262">
                  <c:v>0.61105760656322405</c:v>
                </c:pt>
                <c:pt idx="34263">
                  <c:v>0.61107544141252002</c:v>
                </c:pt>
                <c:pt idx="34264">
                  <c:v>0.61109327626181498</c:v>
                </c:pt>
                <c:pt idx="34265">
                  <c:v>0.61111111111111105</c:v>
                </c:pt>
                <c:pt idx="34266">
                  <c:v>0.61112894596040601</c:v>
                </c:pt>
                <c:pt idx="34267">
                  <c:v>0.61114678080970197</c:v>
                </c:pt>
                <c:pt idx="34268">
                  <c:v>0.61116461565899705</c:v>
                </c:pt>
                <c:pt idx="34269">
                  <c:v>0.61118245050829301</c:v>
                </c:pt>
                <c:pt idx="34270">
                  <c:v>0.61120028535758797</c:v>
                </c:pt>
                <c:pt idx="34271">
                  <c:v>0.61121812020688404</c:v>
                </c:pt>
                <c:pt idx="34272">
                  <c:v>0.611235955056179</c:v>
                </c:pt>
                <c:pt idx="34273">
                  <c:v>0.61125378990547496</c:v>
                </c:pt>
                <c:pt idx="34274">
                  <c:v>0.61127162475477004</c:v>
                </c:pt>
                <c:pt idx="34275">
                  <c:v>0.611289459604066</c:v>
                </c:pt>
                <c:pt idx="34276">
                  <c:v>0.61130729445336096</c:v>
                </c:pt>
                <c:pt idx="34277">
                  <c:v>0.61132512930265703</c:v>
                </c:pt>
                <c:pt idx="34278">
                  <c:v>0.611342964151952</c:v>
                </c:pt>
                <c:pt idx="34279">
                  <c:v>0.61136079900124796</c:v>
                </c:pt>
                <c:pt idx="34280">
                  <c:v>0.61137863385054303</c:v>
                </c:pt>
                <c:pt idx="34281">
                  <c:v>0.61139646869983899</c:v>
                </c:pt>
                <c:pt idx="34282">
                  <c:v>0.61141430354913495</c:v>
                </c:pt>
                <c:pt idx="34283">
                  <c:v>0.61143213839843003</c:v>
                </c:pt>
                <c:pt idx="34284">
                  <c:v>0.61144997324772599</c:v>
                </c:pt>
                <c:pt idx="34285">
                  <c:v>0.61146780809702095</c:v>
                </c:pt>
                <c:pt idx="34286">
                  <c:v>0.61148564294631702</c:v>
                </c:pt>
                <c:pt idx="34287">
                  <c:v>0.61150347779561198</c:v>
                </c:pt>
                <c:pt idx="34288">
                  <c:v>0.61152131264490805</c:v>
                </c:pt>
                <c:pt idx="34289">
                  <c:v>0.61153914749420302</c:v>
                </c:pt>
                <c:pt idx="34290">
                  <c:v>0.61155698234349898</c:v>
                </c:pt>
                <c:pt idx="34291">
                  <c:v>0.61157481719279405</c:v>
                </c:pt>
                <c:pt idx="34292">
                  <c:v>0.61159265204209001</c:v>
                </c:pt>
                <c:pt idx="34293">
                  <c:v>0.61161048689138497</c:v>
                </c:pt>
                <c:pt idx="34294">
                  <c:v>0.61162832174068105</c:v>
                </c:pt>
                <c:pt idx="34295">
                  <c:v>0.61164615658997601</c:v>
                </c:pt>
                <c:pt idx="34296">
                  <c:v>0.61166399143927197</c:v>
                </c:pt>
                <c:pt idx="34297">
                  <c:v>0.61168182628856704</c:v>
                </c:pt>
                <c:pt idx="34298">
                  <c:v>0.611699661137863</c:v>
                </c:pt>
                <c:pt idx="34299">
                  <c:v>0.61171749598715797</c:v>
                </c:pt>
                <c:pt idx="34300">
                  <c:v>0.61173533083645404</c:v>
                </c:pt>
                <c:pt idx="34301">
                  <c:v>0.61175316568575</c:v>
                </c:pt>
                <c:pt idx="34302">
                  <c:v>0.61177100053504496</c:v>
                </c:pt>
                <c:pt idx="34303">
                  <c:v>0.61178883538434103</c:v>
                </c:pt>
                <c:pt idx="34304">
                  <c:v>0.611806670233636</c:v>
                </c:pt>
                <c:pt idx="34305">
                  <c:v>0.61182450508293196</c:v>
                </c:pt>
                <c:pt idx="34306">
                  <c:v>0.61184233993222703</c:v>
                </c:pt>
                <c:pt idx="34307">
                  <c:v>0.61186017478152299</c:v>
                </c:pt>
                <c:pt idx="34308">
                  <c:v>0.61187800963081795</c:v>
                </c:pt>
                <c:pt idx="34309">
                  <c:v>0.61189584448011403</c:v>
                </c:pt>
                <c:pt idx="34310">
                  <c:v>0.61191367932940899</c:v>
                </c:pt>
                <c:pt idx="34311">
                  <c:v>0.61193151417870495</c:v>
                </c:pt>
                <c:pt idx="34312">
                  <c:v>0.61194934902800002</c:v>
                </c:pt>
                <c:pt idx="34313">
                  <c:v>0.61196718387729598</c:v>
                </c:pt>
                <c:pt idx="34314">
                  <c:v>0.61198501872659095</c:v>
                </c:pt>
                <c:pt idx="34315">
                  <c:v>0.61200285357588702</c:v>
                </c:pt>
                <c:pt idx="34316">
                  <c:v>0.61202068842518198</c:v>
                </c:pt>
                <c:pt idx="34317">
                  <c:v>0.61203852327447805</c:v>
                </c:pt>
                <c:pt idx="34318">
                  <c:v>0.61205635812377301</c:v>
                </c:pt>
                <c:pt idx="34319">
                  <c:v>0.61207419297306898</c:v>
                </c:pt>
                <c:pt idx="34320">
                  <c:v>0.61209202782236405</c:v>
                </c:pt>
                <c:pt idx="34321">
                  <c:v>0.61210986267166001</c:v>
                </c:pt>
                <c:pt idx="34322">
                  <c:v>0.61212769752095597</c:v>
                </c:pt>
                <c:pt idx="34323">
                  <c:v>0.61214553237025104</c:v>
                </c:pt>
                <c:pt idx="34324">
                  <c:v>0.61216336721954701</c:v>
                </c:pt>
                <c:pt idx="34325">
                  <c:v>0.61218120206884197</c:v>
                </c:pt>
                <c:pt idx="34326">
                  <c:v>0.61219903691813804</c:v>
                </c:pt>
                <c:pt idx="34327">
                  <c:v>0.612216871767433</c:v>
                </c:pt>
                <c:pt idx="34328">
                  <c:v>0.61223470661672896</c:v>
                </c:pt>
                <c:pt idx="34329">
                  <c:v>0.61225254146602404</c:v>
                </c:pt>
                <c:pt idx="34330">
                  <c:v>0.61227037631532</c:v>
                </c:pt>
                <c:pt idx="34331">
                  <c:v>0.61228821116461496</c:v>
                </c:pt>
                <c:pt idx="34332">
                  <c:v>0.61230604601391103</c:v>
                </c:pt>
                <c:pt idx="34333">
                  <c:v>0.61232388086320599</c:v>
                </c:pt>
                <c:pt idx="34334">
                  <c:v>0.61234171571250195</c:v>
                </c:pt>
                <c:pt idx="34335">
                  <c:v>0.61235955056179703</c:v>
                </c:pt>
                <c:pt idx="34336">
                  <c:v>0.61237738541109299</c:v>
                </c:pt>
                <c:pt idx="34337">
                  <c:v>0.61239522026038795</c:v>
                </c:pt>
                <c:pt idx="34338">
                  <c:v>0.61241305510968402</c:v>
                </c:pt>
                <c:pt idx="34339">
                  <c:v>0.61243088995897899</c:v>
                </c:pt>
                <c:pt idx="34340">
                  <c:v>0.61244872480827495</c:v>
                </c:pt>
                <c:pt idx="34341">
                  <c:v>0.61246655965757002</c:v>
                </c:pt>
                <c:pt idx="34342">
                  <c:v>0.61248439450686598</c:v>
                </c:pt>
                <c:pt idx="34343">
                  <c:v>0.61250222935616105</c:v>
                </c:pt>
                <c:pt idx="34344">
                  <c:v>0.61252006420545702</c:v>
                </c:pt>
                <c:pt idx="34345">
                  <c:v>0.61253789905475298</c:v>
                </c:pt>
                <c:pt idx="34346">
                  <c:v>0.61255573390404805</c:v>
                </c:pt>
                <c:pt idx="34347">
                  <c:v>0.61257356875334401</c:v>
                </c:pt>
                <c:pt idx="34348">
                  <c:v>0.61259140360263897</c:v>
                </c:pt>
                <c:pt idx="34349">
                  <c:v>0.61260923845193505</c:v>
                </c:pt>
                <c:pt idx="34350">
                  <c:v>0.61262707330123001</c:v>
                </c:pt>
                <c:pt idx="34351">
                  <c:v>0.61264490815052597</c:v>
                </c:pt>
                <c:pt idx="34352">
                  <c:v>0.61266274299982104</c:v>
                </c:pt>
                <c:pt idx="34353">
                  <c:v>0.612680577849117</c:v>
                </c:pt>
                <c:pt idx="34354">
                  <c:v>0.61269841269841196</c:v>
                </c:pt>
                <c:pt idx="34355">
                  <c:v>0.61271624754770804</c:v>
                </c:pt>
                <c:pt idx="34356">
                  <c:v>0.612734082397003</c:v>
                </c:pt>
                <c:pt idx="34357">
                  <c:v>0.61275191724629896</c:v>
                </c:pt>
                <c:pt idx="34358">
                  <c:v>0.61276975209559403</c:v>
                </c:pt>
                <c:pt idx="34359">
                  <c:v>0.61278758694488999</c:v>
                </c:pt>
                <c:pt idx="34360">
                  <c:v>0.61280542179418496</c:v>
                </c:pt>
                <c:pt idx="34361">
                  <c:v>0.61282325664348103</c:v>
                </c:pt>
                <c:pt idx="34362">
                  <c:v>0.61284109149277599</c:v>
                </c:pt>
                <c:pt idx="34363">
                  <c:v>0.61285892634207195</c:v>
                </c:pt>
                <c:pt idx="34364">
                  <c:v>0.61287676119136703</c:v>
                </c:pt>
                <c:pt idx="34365">
                  <c:v>0.61289459604066299</c:v>
                </c:pt>
                <c:pt idx="34366">
                  <c:v>0.61291243088995895</c:v>
                </c:pt>
                <c:pt idx="34367">
                  <c:v>0.61293026573925402</c:v>
                </c:pt>
                <c:pt idx="34368">
                  <c:v>0.61294810058854998</c:v>
                </c:pt>
                <c:pt idx="34369">
                  <c:v>0.61296593543784506</c:v>
                </c:pt>
                <c:pt idx="34370">
                  <c:v>0.61298377028714102</c:v>
                </c:pt>
                <c:pt idx="34371">
                  <c:v>0.61300160513643598</c:v>
                </c:pt>
                <c:pt idx="34372">
                  <c:v>0.61301943998573205</c:v>
                </c:pt>
                <c:pt idx="34373">
                  <c:v>0.61303727483502701</c:v>
                </c:pt>
                <c:pt idx="34374">
                  <c:v>0.61305510968432297</c:v>
                </c:pt>
                <c:pt idx="34375">
                  <c:v>0.61307294453361805</c:v>
                </c:pt>
                <c:pt idx="34376">
                  <c:v>0.61309077938291401</c:v>
                </c:pt>
                <c:pt idx="34377">
                  <c:v>0.61310861423220897</c:v>
                </c:pt>
                <c:pt idx="34378">
                  <c:v>0.61312644908150504</c:v>
                </c:pt>
                <c:pt idx="34379">
                  <c:v>0.6131442839308</c:v>
                </c:pt>
                <c:pt idx="34380">
                  <c:v>0.61316211878009597</c:v>
                </c:pt>
                <c:pt idx="34381">
                  <c:v>0.61317995362939104</c:v>
                </c:pt>
                <c:pt idx="34382">
                  <c:v>0.613197788478687</c:v>
                </c:pt>
                <c:pt idx="34383">
                  <c:v>0.61321562332798196</c:v>
                </c:pt>
                <c:pt idx="34384">
                  <c:v>0.61323345817727803</c:v>
                </c:pt>
                <c:pt idx="34385">
                  <c:v>0.613251293026573</c:v>
                </c:pt>
                <c:pt idx="34386">
                  <c:v>0.61326912787586896</c:v>
                </c:pt>
                <c:pt idx="34387">
                  <c:v>0.61328696272516403</c:v>
                </c:pt>
                <c:pt idx="34388">
                  <c:v>0.61330479757445999</c:v>
                </c:pt>
                <c:pt idx="34389">
                  <c:v>0.61332263242375595</c:v>
                </c:pt>
                <c:pt idx="34390">
                  <c:v>0.61334046727305103</c:v>
                </c:pt>
                <c:pt idx="34391">
                  <c:v>0.61335830212234699</c:v>
                </c:pt>
                <c:pt idx="34392">
                  <c:v>0.61337613697164195</c:v>
                </c:pt>
                <c:pt idx="34393">
                  <c:v>0.61339397182093802</c:v>
                </c:pt>
                <c:pt idx="34394">
                  <c:v>0.61341180667023298</c:v>
                </c:pt>
                <c:pt idx="34395">
                  <c:v>0.61342964151952895</c:v>
                </c:pt>
                <c:pt idx="34396">
                  <c:v>0.61344747636882402</c:v>
                </c:pt>
                <c:pt idx="34397">
                  <c:v>0.61346531121811998</c:v>
                </c:pt>
                <c:pt idx="34398">
                  <c:v>0.61348314606741505</c:v>
                </c:pt>
                <c:pt idx="34399">
                  <c:v>0.61350098091671101</c:v>
                </c:pt>
                <c:pt idx="34400">
                  <c:v>0.61351881576600598</c:v>
                </c:pt>
                <c:pt idx="34401">
                  <c:v>0.61353665061530205</c:v>
                </c:pt>
                <c:pt idx="34402">
                  <c:v>0.61355448546459701</c:v>
                </c:pt>
                <c:pt idx="34403">
                  <c:v>0.61357232031389297</c:v>
                </c:pt>
                <c:pt idx="34404">
                  <c:v>0.61359015516318804</c:v>
                </c:pt>
                <c:pt idx="34405">
                  <c:v>0.61360799001248401</c:v>
                </c:pt>
                <c:pt idx="34406">
                  <c:v>0.61362582486177997</c:v>
                </c:pt>
                <c:pt idx="34407">
                  <c:v>0.61364365971107504</c:v>
                </c:pt>
                <c:pt idx="34408">
                  <c:v>0.613661494560371</c:v>
                </c:pt>
                <c:pt idx="34409">
                  <c:v>0.61367932940966596</c:v>
                </c:pt>
                <c:pt idx="34410">
                  <c:v>0.61369716425896204</c:v>
                </c:pt>
                <c:pt idx="34411">
                  <c:v>0.613714999108257</c:v>
                </c:pt>
                <c:pt idx="34412">
                  <c:v>0.61373283395755296</c:v>
                </c:pt>
                <c:pt idx="34413">
                  <c:v>0.61375066880684803</c:v>
                </c:pt>
                <c:pt idx="34414">
                  <c:v>0.61376850365614399</c:v>
                </c:pt>
                <c:pt idx="34415">
                  <c:v>0.61378633850543896</c:v>
                </c:pt>
                <c:pt idx="34416">
                  <c:v>0.61380417335473503</c:v>
                </c:pt>
                <c:pt idx="34417">
                  <c:v>0.61382200820402999</c:v>
                </c:pt>
                <c:pt idx="34418">
                  <c:v>0.61383984305332595</c:v>
                </c:pt>
                <c:pt idx="34419">
                  <c:v>0.61385767790262102</c:v>
                </c:pt>
                <c:pt idx="34420">
                  <c:v>0.61387551275191699</c:v>
                </c:pt>
                <c:pt idx="34421">
                  <c:v>0.61389334760121195</c:v>
                </c:pt>
                <c:pt idx="34422">
                  <c:v>0.61391118245050802</c:v>
                </c:pt>
                <c:pt idx="34423">
                  <c:v>0.61392901729980298</c:v>
                </c:pt>
                <c:pt idx="34424">
                  <c:v>0.61394685214909905</c:v>
                </c:pt>
                <c:pt idx="34425">
                  <c:v>0.61396468699839402</c:v>
                </c:pt>
                <c:pt idx="34426">
                  <c:v>0.61398252184768998</c:v>
                </c:pt>
                <c:pt idx="34427">
                  <c:v>0.61400035669698505</c:v>
                </c:pt>
                <c:pt idx="34428">
                  <c:v>0.61401819154628101</c:v>
                </c:pt>
                <c:pt idx="34429">
                  <c:v>0.61403602639557697</c:v>
                </c:pt>
                <c:pt idx="34430">
                  <c:v>0.61405386124487205</c:v>
                </c:pt>
                <c:pt idx="34431">
                  <c:v>0.61407169609416801</c:v>
                </c:pt>
                <c:pt idx="34432">
                  <c:v>0.61408953094346297</c:v>
                </c:pt>
                <c:pt idx="34433">
                  <c:v>0.61410736579275904</c:v>
                </c:pt>
                <c:pt idx="34434">
                  <c:v>0.614125200642054</c:v>
                </c:pt>
                <c:pt idx="34435">
                  <c:v>0.61414303549134996</c:v>
                </c:pt>
                <c:pt idx="34436">
                  <c:v>0.61416087034064504</c:v>
                </c:pt>
                <c:pt idx="34437">
                  <c:v>0.614178705189941</c:v>
                </c:pt>
                <c:pt idx="34438">
                  <c:v>0.61419654003923596</c:v>
                </c:pt>
                <c:pt idx="34439">
                  <c:v>0.61421437488853203</c:v>
                </c:pt>
                <c:pt idx="34440">
                  <c:v>0.614232209737827</c:v>
                </c:pt>
                <c:pt idx="34441">
                  <c:v>0.61425004458712296</c:v>
                </c:pt>
                <c:pt idx="34442">
                  <c:v>0.61426787943641803</c:v>
                </c:pt>
                <c:pt idx="34443">
                  <c:v>0.61428571428571399</c:v>
                </c:pt>
                <c:pt idx="34444">
                  <c:v>0.61430354913500895</c:v>
                </c:pt>
                <c:pt idx="34445">
                  <c:v>0.61432138398430503</c:v>
                </c:pt>
                <c:pt idx="34446">
                  <c:v>0.61433921883359999</c:v>
                </c:pt>
                <c:pt idx="34447">
                  <c:v>0.61435705368289595</c:v>
                </c:pt>
                <c:pt idx="34448">
                  <c:v>0.61437488853219102</c:v>
                </c:pt>
                <c:pt idx="34449">
                  <c:v>0.61439272338148698</c:v>
                </c:pt>
                <c:pt idx="34450">
                  <c:v>0.61441055823078194</c:v>
                </c:pt>
                <c:pt idx="34451">
                  <c:v>0.61442839308007802</c:v>
                </c:pt>
                <c:pt idx="34452">
                  <c:v>0.61444622792937398</c:v>
                </c:pt>
                <c:pt idx="34453">
                  <c:v>0.61446406277866905</c:v>
                </c:pt>
                <c:pt idx="34454">
                  <c:v>0.61448189762796501</c:v>
                </c:pt>
                <c:pt idx="34455">
                  <c:v>0.61449973247725997</c:v>
                </c:pt>
                <c:pt idx="34456">
                  <c:v>0.61451756732655605</c:v>
                </c:pt>
                <c:pt idx="34457">
                  <c:v>0.61453540217585101</c:v>
                </c:pt>
                <c:pt idx="34458">
                  <c:v>0.61455323702514697</c:v>
                </c:pt>
                <c:pt idx="34459">
                  <c:v>0.61457107187444204</c:v>
                </c:pt>
                <c:pt idx="34460">
                  <c:v>0.614588906723738</c:v>
                </c:pt>
                <c:pt idx="34461">
                  <c:v>0.61460674157303297</c:v>
                </c:pt>
                <c:pt idx="34462">
                  <c:v>0.61462457642232904</c:v>
                </c:pt>
                <c:pt idx="34463">
                  <c:v>0.614642411271624</c:v>
                </c:pt>
                <c:pt idx="34464">
                  <c:v>0.61466024612091996</c:v>
                </c:pt>
                <c:pt idx="34465">
                  <c:v>0.61467808097021503</c:v>
                </c:pt>
                <c:pt idx="34466">
                  <c:v>0.614695915819511</c:v>
                </c:pt>
                <c:pt idx="34467">
                  <c:v>0.61471375066880596</c:v>
                </c:pt>
                <c:pt idx="34468">
                  <c:v>0.61473158551810203</c:v>
                </c:pt>
                <c:pt idx="34469">
                  <c:v>0.61474942036739699</c:v>
                </c:pt>
                <c:pt idx="34470">
                  <c:v>0.61476725521669295</c:v>
                </c:pt>
                <c:pt idx="34471">
                  <c:v>0.61478509006598803</c:v>
                </c:pt>
                <c:pt idx="34472">
                  <c:v>0.61480292491528399</c:v>
                </c:pt>
                <c:pt idx="34473">
                  <c:v>0.61482075976457995</c:v>
                </c:pt>
                <c:pt idx="34474">
                  <c:v>0.61483859461387502</c:v>
                </c:pt>
                <c:pt idx="34475">
                  <c:v>0.61485642946317098</c:v>
                </c:pt>
                <c:pt idx="34476">
                  <c:v>0.61487426431246595</c:v>
                </c:pt>
                <c:pt idx="34477">
                  <c:v>0.61489209916176202</c:v>
                </c:pt>
                <c:pt idx="34478">
                  <c:v>0.61490993401105698</c:v>
                </c:pt>
                <c:pt idx="34479">
                  <c:v>0.61492776886035305</c:v>
                </c:pt>
                <c:pt idx="34480">
                  <c:v>0.61494560370964801</c:v>
                </c:pt>
                <c:pt idx="34481">
                  <c:v>0.61496343855894398</c:v>
                </c:pt>
                <c:pt idx="34482">
                  <c:v>0.61498127340823905</c:v>
                </c:pt>
                <c:pt idx="34483">
                  <c:v>0.61499910825753501</c:v>
                </c:pt>
                <c:pt idx="34484">
                  <c:v>0.61501694310682997</c:v>
                </c:pt>
                <c:pt idx="34485">
                  <c:v>0.61503477795612604</c:v>
                </c:pt>
                <c:pt idx="34486">
                  <c:v>0.61505261280542101</c:v>
                </c:pt>
                <c:pt idx="34487">
                  <c:v>0.61507044765471697</c:v>
                </c:pt>
                <c:pt idx="34488">
                  <c:v>0.61508828250401204</c:v>
                </c:pt>
                <c:pt idx="34489">
                  <c:v>0.615106117353308</c:v>
                </c:pt>
                <c:pt idx="34490">
                  <c:v>0.61512395220260296</c:v>
                </c:pt>
                <c:pt idx="34491">
                  <c:v>0.61514178705189904</c:v>
                </c:pt>
                <c:pt idx="34492">
                  <c:v>0.615159621901194</c:v>
                </c:pt>
                <c:pt idx="34493">
                  <c:v>0.61517745675048996</c:v>
                </c:pt>
                <c:pt idx="34494">
                  <c:v>0.61519529159978603</c:v>
                </c:pt>
                <c:pt idx="34495">
                  <c:v>0.61521312644908099</c:v>
                </c:pt>
                <c:pt idx="34496">
                  <c:v>0.61523096129837695</c:v>
                </c:pt>
                <c:pt idx="34497">
                  <c:v>0.61524879614767203</c:v>
                </c:pt>
                <c:pt idx="34498">
                  <c:v>0.61526663099696799</c:v>
                </c:pt>
                <c:pt idx="34499">
                  <c:v>0.61528446584626295</c:v>
                </c:pt>
                <c:pt idx="34500">
                  <c:v>0.61530230069555902</c:v>
                </c:pt>
                <c:pt idx="34501">
                  <c:v>0.61532013554485399</c:v>
                </c:pt>
                <c:pt idx="34502">
                  <c:v>0.61533797039414995</c:v>
                </c:pt>
                <c:pt idx="34503">
                  <c:v>0.61535580524344502</c:v>
                </c:pt>
                <c:pt idx="34504">
                  <c:v>0.61537364009274098</c:v>
                </c:pt>
                <c:pt idx="34505">
                  <c:v>0.61539147494203605</c:v>
                </c:pt>
                <c:pt idx="34506">
                  <c:v>0.61540930979133202</c:v>
                </c:pt>
                <c:pt idx="34507">
                  <c:v>0.61542714464062698</c:v>
                </c:pt>
                <c:pt idx="34508">
                  <c:v>0.61544497948992305</c:v>
                </c:pt>
                <c:pt idx="34509">
                  <c:v>0.61546281433921801</c:v>
                </c:pt>
                <c:pt idx="34510">
                  <c:v>0.61548064918851397</c:v>
                </c:pt>
                <c:pt idx="34511">
                  <c:v>0.61549848403780905</c:v>
                </c:pt>
                <c:pt idx="34512">
                  <c:v>0.61551631888710501</c:v>
                </c:pt>
                <c:pt idx="34513">
                  <c:v>0.61553415373640097</c:v>
                </c:pt>
                <c:pt idx="34514">
                  <c:v>0.61555198858569604</c:v>
                </c:pt>
                <c:pt idx="34515">
                  <c:v>0.615569823434992</c:v>
                </c:pt>
                <c:pt idx="34516">
                  <c:v>0.61558765828428696</c:v>
                </c:pt>
                <c:pt idx="34517">
                  <c:v>0.61560549313358304</c:v>
                </c:pt>
                <c:pt idx="34518">
                  <c:v>0.615623327982878</c:v>
                </c:pt>
                <c:pt idx="34519">
                  <c:v>0.61564116283217396</c:v>
                </c:pt>
                <c:pt idx="34520">
                  <c:v>0.61565899768146903</c:v>
                </c:pt>
                <c:pt idx="34521">
                  <c:v>0.61567683253076499</c:v>
                </c:pt>
                <c:pt idx="34522">
                  <c:v>0.61569466738005996</c:v>
                </c:pt>
                <c:pt idx="34523">
                  <c:v>0.61571250222935603</c:v>
                </c:pt>
                <c:pt idx="34524">
                  <c:v>0.61573033707865099</c:v>
                </c:pt>
                <c:pt idx="34525">
                  <c:v>0.61574817192794695</c:v>
                </c:pt>
                <c:pt idx="34526">
                  <c:v>0.61576600677724203</c:v>
                </c:pt>
                <c:pt idx="34527">
                  <c:v>0.61578384162653799</c:v>
                </c:pt>
                <c:pt idx="34528">
                  <c:v>0.61580167647583295</c:v>
                </c:pt>
                <c:pt idx="34529">
                  <c:v>0.61581951132512902</c:v>
                </c:pt>
                <c:pt idx="34530">
                  <c:v>0.61583734617442398</c:v>
                </c:pt>
                <c:pt idx="34531">
                  <c:v>0.61585518102372006</c:v>
                </c:pt>
                <c:pt idx="34532">
                  <c:v>0.61587301587301502</c:v>
                </c:pt>
                <c:pt idx="34533">
                  <c:v>0.61589085072231098</c:v>
                </c:pt>
                <c:pt idx="34534">
                  <c:v>0.61590868557160605</c:v>
                </c:pt>
                <c:pt idx="34535">
                  <c:v>0.61592652042090201</c:v>
                </c:pt>
                <c:pt idx="34536">
                  <c:v>0.61594435527019797</c:v>
                </c:pt>
                <c:pt idx="34537">
                  <c:v>0.61596219011949305</c:v>
                </c:pt>
                <c:pt idx="34538">
                  <c:v>0.61598002496878901</c:v>
                </c:pt>
                <c:pt idx="34539">
                  <c:v>0.61599785981808397</c:v>
                </c:pt>
                <c:pt idx="34540">
                  <c:v>0.61601569466738004</c:v>
                </c:pt>
                <c:pt idx="34541">
                  <c:v>0.616033529516675</c:v>
                </c:pt>
                <c:pt idx="34542">
                  <c:v>0.61605136436597097</c:v>
                </c:pt>
                <c:pt idx="34543">
                  <c:v>0.61606919921526604</c:v>
                </c:pt>
                <c:pt idx="34544">
                  <c:v>0.616087034064562</c:v>
                </c:pt>
                <c:pt idx="34545">
                  <c:v>0.61610486891385696</c:v>
                </c:pt>
                <c:pt idx="34546">
                  <c:v>0.61612270376315303</c:v>
                </c:pt>
                <c:pt idx="34547">
                  <c:v>0.616140538612448</c:v>
                </c:pt>
                <c:pt idx="34548">
                  <c:v>0.61615837346174396</c:v>
                </c:pt>
                <c:pt idx="34549">
                  <c:v>0.61617620831103903</c:v>
                </c:pt>
                <c:pt idx="34550">
                  <c:v>0.61619404316033499</c:v>
                </c:pt>
                <c:pt idx="34551">
                  <c:v>0.61621187800962995</c:v>
                </c:pt>
                <c:pt idx="34552">
                  <c:v>0.61622971285892603</c:v>
                </c:pt>
                <c:pt idx="34553">
                  <c:v>0.61624754770822099</c:v>
                </c:pt>
                <c:pt idx="34554">
                  <c:v>0.61626538255751695</c:v>
                </c:pt>
                <c:pt idx="34555">
                  <c:v>0.61628321740681202</c:v>
                </c:pt>
                <c:pt idx="34556">
                  <c:v>0.61630105225610798</c:v>
                </c:pt>
                <c:pt idx="34557">
                  <c:v>0.61631888710540395</c:v>
                </c:pt>
                <c:pt idx="34558">
                  <c:v>0.61633672195469902</c:v>
                </c:pt>
                <c:pt idx="34559">
                  <c:v>0.61635455680399498</c:v>
                </c:pt>
                <c:pt idx="34560">
                  <c:v>0.61637239165329005</c:v>
                </c:pt>
                <c:pt idx="34561">
                  <c:v>0.61639022650258601</c:v>
                </c:pt>
                <c:pt idx="34562">
                  <c:v>0.61640806135188098</c:v>
                </c:pt>
                <c:pt idx="34563">
                  <c:v>0.61642589620117705</c:v>
                </c:pt>
                <c:pt idx="34564">
                  <c:v>0.61644373105047201</c:v>
                </c:pt>
                <c:pt idx="34565">
                  <c:v>0.61646156589976797</c:v>
                </c:pt>
                <c:pt idx="34566">
                  <c:v>0.61647940074906304</c:v>
                </c:pt>
                <c:pt idx="34567">
                  <c:v>0.61649723559835901</c:v>
                </c:pt>
                <c:pt idx="34568">
                  <c:v>0.61651507044765397</c:v>
                </c:pt>
                <c:pt idx="34569">
                  <c:v>0.61653290529695004</c:v>
                </c:pt>
                <c:pt idx="34570">
                  <c:v>0.616550740146245</c:v>
                </c:pt>
                <c:pt idx="34571">
                  <c:v>0.61656857499554096</c:v>
                </c:pt>
                <c:pt idx="34572">
                  <c:v>0.61658640984483604</c:v>
                </c:pt>
                <c:pt idx="34573">
                  <c:v>0.616604244694132</c:v>
                </c:pt>
                <c:pt idx="34574">
                  <c:v>0.61662207954342696</c:v>
                </c:pt>
                <c:pt idx="34575">
                  <c:v>0.61663991439272303</c:v>
                </c:pt>
                <c:pt idx="34576">
                  <c:v>0.61665774924201799</c:v>
                </c:pt>
                <c:pt idx="34577">
                  <c:v>0.61667558409131396</c:v>
                </c:pt>
                <c:pt idx="34578">
                  <c:v>0.61669341894060903</c:v>
                </c:pt>
                <c:pt idx="34579">
                  <c:v>0.61671125378990499</c:v>
                </c:pt>
                <c:pt idx="34580">
                  <c:v>0.61672908863920095</c:v>
                </c:pt>
                <c:pt idx="34581">
                  <c:v>0.61674692348849602</c:v>
                </c:pt>
                <c:pt idx="34582">
                  <c:v>0.61676475833779199</c:v>
                </c:pt>
                <c:pt idx="34583">
                  <c:v>0.61678259318708695</c:v>
                </c:pt>
                <c:pt idx="34584">
                  <c:v>0.61680042803638302</c:v>
                </c:pt>
                <c:pt idx="34585">
                  <c:v>0.61681826288567798</c:v>
                </c:pt>
                <c:pt idx="34586">
                  <c:v>0.61683609773497405</c:v>
                </c:pt>
                <c:pt idx="34587">
                  <c:v>0.61685393258426902</c:v>
                </c:pt>
                <c:pt idx="34588">
                  <c:v>0.61687176743356498</c:v>
                </c:pt>
                <c:pt idx="34589">
                  <c:v>0.61688960228286005</c:v>
                </c:pt>
                <c:pt idx="34590">
                  <c:v>0.61690743713215601</c:v>
                </c:pt>
                <c:pt idx="34591">
                  <c:v>0.61692527198145097</c:v>
                </c:pt>
                <c:pt idx="34592">
                  <c:v>0.61694310683074705</c:v>
                </c:pt>
                <c:pt idx="34593">
                  <c:v>0.61696094168004201</c:v>
                </c:pt>
                <c:pt idx="34594">
                  <c:v>0.61697877652933797</c:v>
                </c:pt>
                <c:pt idx="34595">
                  <c:v>0.61699661137863304</c:v>
                </c:pt>
                <c:pt idx="34596">
                  <c:v>0.617014446227929</c:v>
                </c:pt>
                <c:pt idx="34597">
                  <c:v>0.61703228107722397</c:v>
                </c:pt>
                <c:pt idx="34598">
                  <c:v>0.61705011592652004</c:v>
                </c:pt>
                <c:pt idx="34599">
                  <c:v>0.617067950775816</c:v>
                </c:pt>
                <c:pt idx="34600">
                  <c:v>0.61708578562511096</c:v>
                </c:pt>
                <c:pt idx="34601">
                  <c:v>0.61710362047440703</c:v>
                </c:pt>
                <c:pt idx="34602">
                  <c:v>0.617121455323702</c:v>
                </c:pt>
                <c:pt idx="34603">
                  <c:v>0.61713929017299796</c:v>
                </c:pt>
                <c:pt idx="34604">
                  <c:v>0.61715712502229303</c:v>
                </c:pt>
                <c:pt idx="34605">
                  <c:v>0.61717495987158899</c:v>
                </c:pt>
                <c:pt idx="34606">
                  <c:v>0.61719279472088395</c:v>
                </c:pt>
                <c:pt idx="34607">
                  <c:v>0.61721062957018002</c:v>
                </c:pt>
                <c:pt idx="34608">
                  <c:v>0.61722846441947499</c:v>
                </c:pt>
                <c:pt idx="34609">
                  <c:v>0.61724629926877095</c:v>
                </c:pt>
                <c:pt idx="34610">
                  <c:v>0.61726413411806602</c:v>
                </c:pt>
                <c:pt idx="34611">
                  <c:v>0.61728196896736198</c:v>
                </c:pt>
                <c:pt idx="34612">
                  <c:v>0.61729980381665694</c:v>
                </c:pt>
                <c:pt idx="34613">
                  <c:v>0.61731763866595302</c:v>
                </c:pt>
                <c:pt idx="34614">
                  <c:v>0.61733547351524798</c:v>
                </c:pt>
                <c:pt idx="34615">
                  <c:v>0.61735330836454405</c:v>
                </c:pt>
                <c:pt idx="34616">
                  <c:v>0.61737114321383901</c:v>
                </c:pt>
                <c:pt idx="34617">
                  <c:v>0.61738897806313497</c:v>
                </c:pt>
                <c:pt idx="34618">
                  <c:v>0.61740681291243005</c:v>
                </c:pt>
                <c:pt idx="34619">
                  <c:v>0.61742464776172601</c:v>
                </c:pt>
                <c:pt idx="34620">
                  <c:v>0.61744248261102197</c:v>
                </c:pt>
                <c:pt idx="34621">
                  <c:v>0.61746031746031704</c:v>
                </c:pt>
                <c:pt idx="34622">
                  <c:v>0.617478152309613</c:v>
                </c:pt>
                <c:pt idx="34623">
                  <c:v>0.61749598715890797</c:v>
                </c:pt>
                <c:pt idx="34624">
                  <c:v>0.61751382200820404</c:v>
                </c:pt>
                <c:pt idx="34625">
                  <c:v>0.617531656857499</c:v>
                </c:pt>
                <c:pt idx="34626">
                  <c:v>0.61754949170679496</c:v>
                </c:pt>
                <c:pt idx="34627">
                  <c:v>0.61756732655609003</c:v>
                </c:pt>
                <c:pt idx="34628">
                  <c:v>0.617585161405386</c:v>
                </c:pt>
                <c:pt idx="34629">
                  <c:v>0.61760299625468096</c:v>
                </c:pt>
                <c:pt idx="34630">
                  <c:v>0.61762083110397703</c:v>
                </c:pt>
                <c:pt idx="34631">
                  <c:v>0.61763866595327199</c:v>
                </c:pt>
                <c:pt idx="34632">
                  <c:v>0.61765650080256795</c:v>
                </c:pt>
                <c:pt idx="34633">
                  <c:v>0.61767433565186303</c:v>
                </c:pt>
                <c:pt idx="34634">
                  <c:v>0.61769217050115899</c:v>
                </c:pt>
                <c:pt idx="34635">
                  <c:v>0.61771000535045395</c:v>
                </c:pt>
                <c:pt idx="34636">
                  <c:v>0.61772784019975002</c:v>
                </c:pt>
                <c:pt idx="34637">
                  <c:v>0.61774567504904498</c:v>
                </c:pt>
                <c:pt idx="34638">
                  <c:v>0.61776350989834095</c:v>
                </c:pt>
                <c:pt idx="34639">
                  <c:v>0.61778134474763602</c:v>
                </c:pt>
                <c:pt idx="34640">
                  <c:v>0.61779917959693198</c:v>
                </c:pt>
                <c:pt idx="34641">
                  <c:v>0.61781701444622705</c:v>
                </c:pt>
                <c:pt idx="34642">
                  <c:v>0.61783484929552301</c:v>
                </c:pt>
                <c:pt idx="34643">
                  <c:v>0.61785268414481898</c:v>
                </c:pt>
                <c:pt idx="34644">
                  <c:v>0.61787051899411405</c:v>
                </c:pt>
                <c:pt idx="34645">
                  <c:v>0.61788835384341001</c:v>
                </c:pt>
                <c:pt idx="34646">
                  <c:v>0.61790618869270497</c:v>
                </c:pt>
                <c:pt idx="34647">
                  <c:v>0.61792402354200104</c:v>
                </c:pt>
                <c:pt idx="34648">
                  <c:v>0.61794185839129601</c:v>
                </c:pt>
                <c:pt idx="34649">
                  <c:v>0.61795969324059197</c:v>
                </c:pt>
                <c:pt idx="34650">
                  <c:v>0.61797752808988704</c:v>
                </c:pt>
                <c:pt idx="34651">
                  <c:v>0.617995362939183</c:v>
                </c:pt>
                <c:pt idx="34652">
                  <c:v>0.61801319778847796</c:v>
                </c:pt>
                <c:pt idx="34653">
                  <c:v>0.61803103263777404</c:v>
                </c:pt>
                <c:pt idx="34654">
                  <c:v>0.618048867487069</c:v>
                </c:pt>
                <c:pt idx="34655">
                  <c:v>0.61806670233636496</c:v>
                </c:pt>
                <c:pt idx="34656">
                  <c:v>0.61808453718566003</c:v>
                </c:pt>
                <c:pt idx="34657">
                  <c:v>0.61810237203495599</c:v>
                </c:pt>
                <c:pt idx="34658">
                  <c:v>0.61812020688425096</c:v>
                </c:pt>
                <c:pt idx="34659">
                  <c:v>0.61813804173354703</c:v>
                </c:pt>
                <c:pt idx="34660">
                  <c:v>0.61815587658284199</c:v>
                </c:pt>
                <c:pt idx="34661">
                  <c:v>0.61817371143213795</c:v>
                </c:pt>
                <c:pt idx="34662">
                  <c:v>0.61819154628143302</c:v>
                </c:pt>
                <c:pt idx="34663">
                  <c:v>0.61820938113072899</c:v>
                </c:pt>
                <c:pt idx="34664">
                  <c:v>0.61822721598002495</c:v>
                </c:pt>
                <c:pt idx="34665">
                  <c:v>0.61824505082932002</c:v>
                </c:pt>
                <c:pt idx="34666">
                  <c:v>0.61826288567861598</c:v>
                </c:pt>
                <c:pt idx="34667">
                  <c:v>0.61828072052791105</c:v>
                </c:pt>
                <c:pt idx="34668">
                  <c:v>0.61829855537720702</c:v>
                </c:pt>
                <c:pt idx="34669">
                  <c:v>0.61831639022650198</c:v>
                </c:pt>
                <c:pt idx="34670">
                  <c:v>0.61833422507579805</c:v>
                </c:pt>
                <c:pt idx="34671">
                  <c:v>0.61835205992509301</c:v>
                </c:pt>
                <c:pt idx="34672">
                  <c:v>0.61836989477438897</c:v>
                </c:pt>
                <c:pt idx="34673">
                  <c:v>0.61838772962368405</c:v>
                </c:pt>
                <c:pt idx="34674">
                  <c:v>0.61840556447298001</c:v>
                </c:pt>
                <c:pt idx="34675">
                  <c:v>0.61842339932227497</c:v>
                </c:pt>
                <c:pt idx="34676">
                  <c:v>0.61844123417157104</c:v>
                </c:pt>
                <c:pt idx="34677">
                  <c:v>0.618459069020866</c:v>
                </c:pt>
                <c:pt idx="34678">
                  <c:v>0.61847690387016196</c:v>
                </c:pt>
                <c:pt idx="34679">
                  <c:v>0.61849473871945704</c:v>
                </c:pt>
                <c:pt idx="34680">
                  <c:v>0.618512573568753</c:v>
                </c:pt>
                <c:pt idx="34681">
                  <c:v>0.61853040841804796</c:v>
                </c:pt>
                <c:pt idx="34682">
                  <c:v>0.61854824326734403</c:v>
                </c:pt>
                <c:pt idx="34683">
                  <c:v>0.618566078116639</c:v>
                </c:pt>
                <c:pt idx="34684">
                  <c:v>0.61858391296593496</c:v>
                </c:pt>
                <c:pt idx="34685">
                  <c:v>0.61860174781523003</c:v>
                </c:pt>
                <c:pt idx="34686">
                  <c:v>0.61861958266452599</c:v>
                </c:pt>
                <c:pt idx="34687">
                  <c:v>0.61863741751382195</c:v>
                </c:pt>
                <c:pt idx="34688">
                  <c:v>0.61865525236311703</c:v>
                </c:pt>
                <c:pt idx="34689">
                  <c:v>0.61867308721241299</c:v>
                </c:pt>
                <c:pt idx="34690">
                  <c:v>0.61869092206170795</c:v>
                </c:pt>
                <c:pt idx="34691">
                  <c:v>0.61870875691100402</c:v>
                </c:pt>
                <c:pt idx="34692">
                  <c:v>0.61872659176029898</c:v>
                </c:pt>
                <c:pt idx="34693">
                  <c:v>0.61874442660959506</c:v>
                </c:pt>
                <c:pt idx="34694">
                  <c:v>0.61876226145889002</c:v>
                </c:pt>
                <c:pt idx="34695">
                  <c:v>0.61878009630818598</c:v>
                </c:pt>
                <c:pt idx="34696">
                  <c:v>0.61879793115748105</c:v>
                </c:pt>
                <c:pt idx="34697">
                  <c:v>0.61881576600677701</c:v>
                </c:pt>
                <c:pt idx="34698">
                  <c:v>0.61883360085607197</c:v>
                </c:pt>
                <c:pt idx="34699">
                  <c:v>0.61885143570536805</c:v>
                </c:pt>
                <c:pt idx="34700">
                  <c:v>0.61886927055466301</c:v>
                </c:pt>
                <c:pt idx="34701">
                  <c:v>0.61888710540395897</c:v>
                </c:pt>
                <c:pt idx="34702">
                  <c:v>0.61890494025325404</c:v>
                </c:pt>
                <c:pt idx="34703">
                  <c:v>0.61892277510255</c:v>
                </c:pt>
                <c:pt idx="34704">
                  <c:v>0.61894060995184497</c:v>
                </c:pt>
                <c:pt idx="34705">
                  <c:v>0.61895844480114104</c:v>
                </c:pt>
                <c:pt idx="34706">
                  <c:v>0.618976279650437</c:v>
                </c:pt>
                <c:pt idx="34707">
                  <c:v>0.61899411449973196</c:v>
                </c:pt>
                <c:pt idx="34708">
                  <c:v>0.61901194934902803</c:v>
                </c:pt>
                <c:pt idx="34709">
                  <c:v>0.619029784198323</c:v>
                </c:pt>
                <c:pt idx="34710">
                  <c:v>0.61904761904761896</c:v>
                </c:pt>
                <c:pt idx="34711">
                  <c:v>0.61906545389691403</c:v>
                </c:pt>
                <c:pt idx="34712">
                  <c:v>0.61908328874620999</c:v>
                </c:pt>
                <c:pt idx="34713">
                  <c:v>0.61910112359550495</c:v>
                </c:pt>
                <c:pt idx="34714">
                  <c:v>0.61911895844480103</c:v>
                </c:pt>
                <c:pt idx="34715">
                  <c:v>0.61913679329409599</c:v>
                </c:pt>
                <c:pt idx="34716">
                  <c:v>0.61915462814339195</c:v>
                </c:pt>
                <c:pt idx="34717">
                  <c:v>0.61917246299268702</c:v>
                </c:pt>
                <c:pt idx="34718">
                  <c:v>0.61919029784198298</c:v>
                </c:pt>
                <c:pt idx="34719">
                  <c:v>0.61920813269127795</c:v>
                </c:pt>
                <c:pt idx="34720">
                  <c:v>0.61922596754057402</c:v>
                </c:pt>
                <c:pt idx="34721">
                  <c:v>0.61924380238986898</c:v>
                </c:pt>
                <c:pt idx="34722">
                  <c:v>0.61926163723916505</c:v>
                </c:pt>
                <c:pt idx="34723">
                  <c:v>0.61927947208846001</c:v>
                </c:pt>
                <c:pt idx="34724">
                  <c:v>0.61929730693775598</c:v>
                </c:pt>
                <c:pt idx="34725">
                  <c:v>0.61931514178705105</c:v>
                </c:pt>
                <c:pt idx="34726">
                  <c:v>0.61933297663634701</c:v>
                </c:pt>
                <c:pt idx="34727">
                  <c:v>0.61935081148564297</c:v>
                </c:pt>
                <c:pt idx="34728">
                  <c:v>0.61936864633493804</c:v>
                </c:pt>
                <c:pt idx="34729">
                  <c:v>0.61938648118423401</c:v>
                </c:pt>
                <c:pt idx="34730">
                  <c:v>0.61940431603352897</c:v>
                </c:pt>
                <c:pt idx="34731">
                  <c:v>0.61942215088282504</c:v>
                </c:pt>
                <c:pt idx="34732">
                  <c:v>0.61943998573212</c:v>
                </c:pt>
                <c:pt idx="34733">
                  <c:v>0.61945782058141596</c:v>
                </c:pt>
                <c:pt idx="34734">
                  <c:v>0.61947565543071104</c:v>
                </c:pt>
                <c:pt idx="34735">
                  <c:v>0.619493490280007</c:v>
                </c:pt>
                <c:pt idx="34736">
                  <c:v>0.61951132512930196</c:v>
                </c:pt>
                <c:pt idx="34737">
                  <c:v>0.61952915997859803</c:v>
                </c:pt>
                <c:pt idx="34738">
                  <c:v>0.61954699482789299</c:v>
                </c:pt>
                <c:pt idx="34739">
                  <c:v>0.61956482967718896</c:v>
                </c:pt>
                <c:pt idx="34740">
                  <c:v>0.61958266452648403</c:v>
                </c:pt>
                <c:pt idx="34741">
                  <c:v>0.61960049937577999</c:v>
                </c:pt>
                <c:pt idx="34742">
                  <c:v>0.61961833422507495</c:v>
                </c:pt>
                <c:pt idx="34743">
                  <c:v>0.61963616907437102</c:v>
                </c:pt>
                <c:pt idx="34744">
                  <c:v>0.61965400392366599</c:v>
                </c:pt>
                <c:pt idx="34745">
                  <c:v>0.61967183877296195</c:v>
                </c:pt>
                <c:pt idx="34746">
                  <c:v>0.61968967362225702</c:v>
                </c:pt>
                <c:pt idx="34747">
                  <c:v>0.61970750847155298</c:v>
                </c:pt>
                <c:pt idx="34748">
                  <c:v>0.61972534332084805</c:v>
                </c:pt>
                <c:pt idx="34749">
                  <c:v>0.61974317817014402</c:v>
                </c:pt>
                <c:pt idx="34750">
                  <c:v>0.61976101301943998</c:v>
                </c:pt>
                <c:pt idx="34751">
                  <c:v>0.61977884786873505</c:v>
                </c:pt>
                <c:pt idx="34752">
                  <c:v>0.61979668271803101</c:v>
                </c:pt>
                <c:pt idx="34753">
                  <c:v>0.61981451756732597</c:v>
                </c:pt>
                <c:pt idx="34754">
                  <c:v>0.61983235241662205</c:v>
                </c:pt>
                <c:pt idx="34755">
                  <c:v>0.61985018726591701</c:v>
                </c:pt>
                <c:pt idx="34756">
                  <c:v>0.61986802211521297</c:v>
                </c:pt>
                <c:pt idx="34757">
                  <c:v>0.61988585696450804</c:v>
                </c:pt>
                <c:pt idx="34758">
                  <c:v>0.619903691813804</c:v>
                </c:pt>
                <c:pt idx="34759">
                  <c:v>0.61992152666309897</c:v>
                </c:pt>
                <c:pt idx="34760">
                  <c:v>0.61993936151239504</c:v>
                </c:pt>
                <c:pt idx="34761">
                  <c:v>0.61995719636169</c:v>
                </c:pt>
                <c:pt idx="34762">
                  <c:v>0.61997503121098596</c:v>
                </c:pt>
                <c:pt idx="34763">
                  <c:v>0.61999286606028103</c:v>
                </c:pt>
                <c:pt idx="34764">
                  <c:v>0.62001070090957699</c:v>
                </c:pt>
                <c:pt idx="34765">
                  <c:v>0.62002853575887196</c:v>
                </c:pt>
                <c:pt idx="34766">
                  <c:v>0.62004637060816803</c:v>
                </c:pt>
                <c:pt idx="34767">
                  <c:v>0.62006420545746299</c:v>
                </c:pt>
                <c:pt idx="34768">
                  <c:v>0.62008204030675895</c:v>
                </c:pt>
                <c:pt idx="34769">
                  <c:v>0.62009987515605403</c:v>
                </c:pt>
                <c:pt idx="34770">
                  <c:v>0.62011771000534999</c:v>
                </c:pt>
                <c:pt idx="34771">
                  <c:v>0.62013554485464595</c:v>
                </c:pt>
                <c:pt idx="34772">
                  <c:v>0.62015337970394102</c:v>
                </c:pt>
                <c:pt idx="34773">
                  <c:v>0.62017121455323698</c:v>
                </c:pt>
                <c:pt idx="34774">
                  <c:v>0.62018904940253194</c:v>
                </c:pt>
                <c:pt idx="34775">
                  <c:v>0.62020688425182802</c:v>
                </c:pt>
                <c:pt idx="34776">
                  <c:v>0.62022471910112298</c:v>
                </c:pt>
                <c:pt idx="34777">
                  <c:v>0.62024255395041905</c:v>
                </c:pt>
                <c:pt idx="34778">
                  <c:v>0.62026038879971401</c:v>
                </c:pt>
                <c:pt idx="34779">
                  <c:v>0.62027822364900997</c:v>
                </c:pt>
                <c:pt idx="34780">
                  <c:v>0.62029605849830505</c:v>
                </c:pt>
                <c:pt idx="34781">
                  <c:v>0.62031389334760101</c:v>
                </c:pt>
                <c:pt idx="34782">
                  <c:v>0.62033172819689597</c:v>
                </c:pt>
                <c:pt idx="34783">
                  <c:v>0.62034956304619204</c:v>
                </c:pt>
                <c:pt idx="34784">
                  <c:v>0.620367397895487</c:v>
                </c:pt>
                <c:pt idx="34785">
                  <c:v>0.62038523274478297</c:v>
                </c:pt>
                <c:pt idx="34786">
                  <c:v>0.62040306759407804</c:v>
                </c:pt>
                <c:pt idx="34787">
                  <c:v>0.620420902443374</c:v>
                </c:pt>
                <c:pt idx="34788">
                  <c:v>0.62043873729266896</c:v>
                </c:pt>
                <c:pt idx="34789">
                  <c:v>0.62045657214196503</c:v>
                </c:pt>
                <c:pt idx="34790">
                  <c:v>0.62047440699126</c:v>
                </c:pt>
                <c:pt idx="34791">
                  <c:v>0.62049224184055596</c:v>
                </c:pt>
                <c:pt idx="34792">
                  <c:v>0.62051007668985103</c:v>
                </c:pt>
                <c:pt idx="34793">
                  <c:v>0.62052791153914699</c:v>
                </c:pt>
                <c:pt idx="34794">
                  <c:v>0.62054574638844295</c:v>
                </c:pt>
                <c:pt idx="34795">
                  <c:v>0.62056358123773803</c:v>
                </c:pt>
                <c:pt idx="34796">
                  <c:v>0.62058141608703399</c:v>
                </c:pt>
                <c:pt idx="34797">
                  <c:v>0.62059925093632895</c:v>
                </c:pt>
                <c:pt idx="34798">
                  <c:v>0.62061708578562502</c:v>
                </c:pt>
                <c:pt idx="34799">
                  <c:v>0.62063492063491998</c:v>
                </c:pt>
                <c:pt idx="34800">
                  <c:v>0.62065275548421595</c:v>
                </c:pt>
                <c:pt idx="34801">
                  <c:v>0.62067059033351102</c:v>
                </c:pt>
                <c:pt idx="34802">
                  <c:v>0.62068842518280698</c:v>
                </c:pt>
                <c:pt idx="34803">
                  <c:v>0.62070626003210205</c:v>
                </c:pt>
                <c:pt idx="34804">
                  <c:v>0.62072409488139801</c:v>
                </c:pt>
                <c:pt idx="34805">
                  <c:v>0.62074192973069298</c:v>
                </c:pt>
                <c:pt idx="34806">
                  <c:v>0.62075976457998905</c:v>
                </c:pt>
                <c:pt idx="34807">
                  <c:v>0.62077759942928401</c:v>
                </c:pt>
                <c:pt idx="34808">
                  <c:v>0.62079543427857997</c:v>
                </c:pt>
                <c:pt idx="34809">
                  <c:v>0.62081326912787504</c:v>
                </c:pt>
                <c:pt idx="34810">
                  <c:v>0.62083110397717101</c:v>
                </c:pt>
                <c:pt idx="34811">
                  <c:v>0.62084893882646697</c:v>
                </c:pt>
                <c:pt idx="34812">
                  <c:v>0.62086677367576204</c:v>
                </c:pt>
                <c:pt idx="34813">
                  <c:v>0.620884608525058</c:v>
                </c:pt>
                <c:pt idx="34814">
                  <c:v>0.62090244337435296</c:v>
                </c:pt>
                <c:pt idx="34815">
                  <c:v>0.62092027822364904</c:v>
                </c:pt>
                <c:pt idx="34816">
                  <c:v>0.620938113072944</c:v>
                </c:pt>
                <c:pt idx="34817">
                  <c:v>0.62095594792223996</c:v>
                </c:pt>
                <c:pt idx="34818">
                  <c:v>0.62097378277153503</c:v>
                </c:pt>
                <c:pt idx="34819">
                  <c:v>0.62099161762083099</c:v>
                </c:pt>
                <c:pt idx="34820">
                  <c:v>0.62100945247012596</c:v>
                </c:pt>
                <c:pt idx="34821">
                  <c:v>0.62102728731942203</c:v>
                </c:pt>
                <c:pt idx="34822">
                  <c:v>0.62104512216871699</c:v>
                </c:pt>
                <c:pt idx="34823">
                  <c:v>0.62106295701801295</c:v>
                </c:pt>
                <c:pt idx="34824">
                  <c:v>0.62108079186730802</c:v>
                </c:pt>
                <c:pt idx="34825">
                  <c:v>0.62109862671660399</c:v>
                </c:pt>
                <c:pt idx="34826">
                  <c:v>0.62111646156589895</c:v>
                </c:pt>
                <c:pt idx="34827">
                  <c:v>0.62113429641519502</c:v>
                </c:pt>
                <c:pt idx="34828">
                  <c:v>0.62115213126448998</c:v>
                </c:pt>
                <c:pt idx="34829">
                  <c:v>0.62116996611378605</c:v>
                </c:pt>
                <c:pt idx="34830">
                  <c:v>0.62118780096308102</c:v>
                </c:pt>
                <c:pt idx="34831">
                  <c:v>0.62120563581237698</c:v>
                </c:pt>
                <c:pt idx="34832">
                  <c:v>0.62122347066167205</c:v>
                </c:pt>
                <c:pt idx="34833">
                  <c:v>0.62124130551096801</c:v>
                </c:pt>
                <c:pt idx="34834">
                  <c:v>0.62125914036026397</c:v>
                </c:pt>
                <c:pt idx="34835">
                  <c:v>0.62127697520955905</c:v>
                </c:pt>
                <c:pt idx="34836">
                  <c:v>0.62129481005885501</c:v>
                </c:pt>
                <c:pt idx="34837">
                  <c:v>0.62131264490814997</c:v>
                </c:pt>
                <c:pt idx="34838">
                  <c:v>0.62133047975744604</c:v>
                </c:pt>
                <c:pt idx="34839">
                  <c:v>0.621348314606741</c:v>
                </c:pt>
                <c:pt idx="34840">
                  <c:v>0.62136614945603696</c:v>
                </c:pt>
                <c:pt idx="34841">
                  <c:v>0.62138398430533204</c:v>
                </c:pt>
                <c:pt idx="34842">
                  <c:v>0.621401819154628</c:v>
                </c:pt>
                <c:pt idx="34843">
                  <c:v>0.62141965400392296</c:v>
                </c:pt>
                <c:pt idx="34844">
                  <c:v>0.62143748885321903</c:v>
                </c:pt>
                <c:pt idx="34845">
                  <c:v>0.621455323702514</c:v>
                </c:pt>
                <c:pt idx="34846">
                  <c:v>0.62147315855180996</c:v>
                </c:pt>
                <c:pt idx="34847">
                  <c:v>0.62149099340110503</c:v>
                </c:pt>
                <c:pt idx="34848">
                  <c:v>0.62150882825040099</c:v>
                </c:pt>
                <c:pt idx="34849">
                  <c:v>0.62152666309969595</c:v>
                </c:pt>
                <c:pt idx="34850">
                  <c:v>0.62154449794899203</c:v>
                </c:pt>
                <c:pt idx="34851">
                  <c:v>0.62156233279828699</c:v>
                </c:pt>
                <c:pt idx="34852">
                  <c:v>0.62158016764758295</c:v>
                </c:pt>
                <c:pt idx="34853">
                  <c:v>0.62159800249687802</c:v>
                </c:pt>
                <c:pt idx="34854">
                  <c:v>0.62161583734617398</c:v>
                </c:pt>
                <c:pt idx="34855">
                  <c:v>0.62163367219546894</c:v>
                </c:pt>
                <c:pt idx="34856">
                  <c:v>0.62165150704476502</c:v>
                </c:pt>
                <c:pt idx="34857">
                  <c:v>0.62166934189406098</c:v>
                </c:pt>
                <c:pt idx="34858">
                  <c:v>0.62168717674335605</c:v>
                </c:pt>
                <c:pt idx="34859">
                  <c:v>0.62170501159265201</c:v>
                </c:pt>
                <c:pt idx="34860">
                  <c:v>0.62172284644194697</c:v>
                </c:pt>
                <c:pt idx="34861">
                  <c:v>0.62174068129124305</c:v>
                </c:pt>
                <c:pt idx="34862">
                  <c:v>0.62175851614053801</c:v>
                </c:pt>
                <c:pt idx="34863">
                  <c:v>0.62177635098983397</c:v>
                </c:pt>
                <c:pt idx="34864">
                  <c:v>0.62179418583912904</c:v>
                </c:pt>
                <c:pt idx="34865">
                  <c:v>0.621812020688425</c:v>
                </c:pt>
                <c:pt idx="34866">
                  <c:v>0.62182985553771997</c:v>
                </c:pt>
                <c:pt idx="34867">
                  <c:v>0.62184769038701604</c:v>
                </c:pt>
                <c:pt idx="34868">
                  <c:v>0.621865525236311</c:v>
                </c:pt>
                <c:pt idx="34869">
                  <c:v>0.62188336008560696</c:v>
                </c:pt>
                <c:pt idx="34870">
                  <c:v>0.62190119493490204</c:v>
                </c:pt>
                <c:pt idx="34871">
                  <c:v>0.621919029784198</c:v>
                </c:pt>
                <c:pt idx="34872">
                  <c:v>0.62193686463349296</c:v>
                </c:pt>
                <c:pt idx="34873">
                  <c:v>0.62195469948278903</c:v>
                </c:pt>
                <c:pt idx="34874">
                  <c:v>0.62197253433208399</c:v>
                </c:pt>
                <c:pt idx="34875">
                  <c:v>0.62199036918137995</c:v>
                </c:pt>
                <c:pt idx="34876">
                  <c:v>0.62200820403067503</c:v>
                </c:pt>
                <c:pt idx="34877">
                  <c:v>0.62202603887997099</c:v>
                </c:pt>
                <c:pt idx="34878">
                  <c:v>0.62204387372926695</c:v>
                </c:pt>
                <c:pt idx="34879">
                  <c:v>0.62206170857856202</c:v>
                </c:pt>
                <c:pt idx="34880">
                  <c:v>0.62207954342785798</c:v>
                </c:pt>
                <c:pt idx="34881">
                  <c:v>0.62209737827715295</c:v>
                </c:pt>
                <c:pt idx="34882">
                  <c:v>0.62211521312644902</c:v>
                </c:pt>
                <c:pt idx="34883">
                  <c:v>0.62213304797574398</c:v>
                </c:pt>
                <c:pt idx="34884">
                  <c:v>0.62215088282504005</c:v>
                </c:pt>
                <c:pt idx="34885">
                  <c:v>0.62216871767433501</c:v>
                </c:pt>
                <c:pt idx="34886">
                  <c:v>0.62218655252363098</c:v>
                </c:pt>
                <c:pt idx="34887">
                  <c:v>0.62220438737292605</c:v>
                </c:pt>
                <c:pt idx="34888">
                  <c:v>0.62222222222222201</c:v>
                </c:pt>
                <c:pt idx="34889">
                  <c:v>0.62224005707151697</c:v>
                </c:pt>
                <c:pt idx="34890">
                  <c:v>0.62225789192081304</c:v>
                </c:pt>
                <c:pt idx="34891">
                  <c:v>0.62227572677010801</c:v>
                </c:pt>
                <c:pt idx="34892">
                  <c:v>0.62229356161940397</c:v>
                </c:pt>
                <c:pt idx="34893">
                  <c:v>0.62231139646869904</c:v>
                </c:pt>
                <c:pt idx="34894">
                  <c:v>0.622329231317995</c:v>
                </c:pt>
                <c:pt idx="34895">
                  <c:v>0.62234706616728996</c:v>
                </c:pt>
                <c:pt idx="34896">
                  <c:v>0.62236490101658604</c:v>
                </c:pt>
                <c:pt idx="34897">
                  <c:v>0.622382735865881</c:v>
                </c:pt>
                <c:pt idx="34898">
                  <c:v>0.62240057071517696</c:v>
                </c:pt>
                <c:pt idx="34899">
                  <c:v>0.62241840556447303</c:v>
                </c:pt>
                <c:pt idx="34900">
                  <c:v>0.62243624041376799</c:v>
                </c:pt>
                <c:pt idx="34901">
                  <c:v>0.62245407526306396</c:v>
                </c:pt>
                <c:pt idx="34902">
                  <c:v>0.62247191011235903</c:v>
                </c:pt>
                <c:pt idx="34903">
                  <c:v>0.62248974496165499</c:v>
                </c:pt>
                <c:pt idx="34904">
                  <c:v>0.62250757981094995</c:v>
                </c:pt>
                <c:pt idx="34905">
                  <c:v>0.62252541466024602</c:v>
                </c:pt>
                <c:pt idx="34906">
                  <c:v>0.62254324950954099</c:v>
                </c:pt>
                <c:pt idx="34907">
                  <c:v>0.62256108435883695</c:v>
                </c:pt>
                <c:pt idx="34908">
                  <c:v>0.62257891920813202</c:v>
                </c:pt>
                <c:pt idx="34909">
                  <c:v>0.62259675405742798</c:v>
                </c:pt>
                <c:pt idx="34910">
                  <c:v>0.62261458890672305</c:v>
                </c:pt>
                <c:pt idx="34911">
                  <c:v>0.62263242375601902</c:v>
                </c:pt>
                <c:pt idx="34912">
                  <c:v>0.62265025860531398</c:v>
                </c:pt>
                <c:pt idx="34913">
                  <c:v>0.62266809345461005</c:v>
                </c:pt>
                <c:pt idx="34914">
                  <c:v>0.62268592830390501</c:v>
                </c:pt>
                <c:pt idx="34915">
                  <c:v>0.62270376315320097</c:v>
                </c:pt>
                <c:pt idx="34916">
                  <c:v>0.62272159800249605</c:v>
                </c:pt>
                <c:pt idx="34917">
                  <c:v>0.62273943285179201</c:v>
                </c:pt>
                <c:pt idx="34918">
                  <c:v>0.62275726770108797</c:v>
                </c:pt>
                <c:pt idx="34919">
                  <c:v>0.62277510255038304</c:v>
                </c:pt>
                <c:pt idx="34920">
                  <c:v>0.622792937399679</c:v>
                </c:pt>
                <c:pt idx="34921">
                  <c:v>0.62281077224897397</c:v>
                </c:pt>
                <c:pt idx="34922">
                  <c:v>0.62282860709827004</c:v>
                </c:pt>
                <c:pt idx="34923">
                  <c:v>0.622846441947565</c:v>
                </c:pt>
                <c:pt idx="34924">
                  <c:v>0.62286427679686096</c:v>
                </c:pt>
                <c:pt idx="34925">
                  <c:v>0.62288211164615603</c:v>
                </c:pt>
                <c:pt idx="34926">
                  <c:v>0.62289994649545199</c:v>
                </c:pt>
                <c:pt idx="34927">
                  <c:v>0.62291778134474696</c:v>
                </c:pt>
                <c:pt idx="34928">
                  <c:v>0.62293561619404303</c:v>
                </c:pt>
                <c:pt idx="34929">
                  <c:v>0.62295345104333799</c:v>
                </c:pt>
                <c:pt idx="34930">
                  <c:v>0.62297128589263395</c:v>
                </c:pt>
                <c:pt idx="34931">
                  <c:v>0.62298912074192903</c:v>
                </c:pt>
                <c:pt idx="34932">
                  <c:v>0.62300695559122499</c:v>
                </c:pt>
                <c:pt idx="34933">
                  <c:v>0.62302479044051995</c:v>
                </c:pt>
                <c:pt idx="34934">
                  <c:v>0.62304262528981602</c:v>
                </c:pt>
                <c:pt idx="34935">
                  <c:v>0.62306046013911098</c:v>
                </c:pt>
                <c:pt idx="34936">
                  <c:v>0.62307829498840706</c:v>
                </c:pt>
                <c:pt idx="34937">
                  <c:v>0.62309612983770202</c:v>
                </c:pt>
                <c:pt idx="34938">
                  <c:v>0.62311396468699798</c:v>
                </c:pt>
                <c:pt idx="34939">
                  <c:v>0.62313179953629305</c:v>
                </c:pt>
                <c:pt idx="34940">
                  <c:v>0.62314963438558901</c:v>
                </c:pt>
                <c:pt idx="34941">
                  <c:v>0.62316746923488497</c:v>
                </c:pt>
                <c:pt idx="34942">
                  <c:v>0.62318530408418005</c:v>
                </c:pt>
                <c:pt idx="34943">
                  <c:v>0.62320313893347601</c:v>
                </c:pt>
                <c:pt idx="34944">
                  <c:v>0.62322097378277097</c:v>
                </c:pt>
                <c:pt idx="34945">
                  <c:v>0.62323880863206704</c:v>
                </c:pt>
                <c:pt idx="34946">
                  <c:v>0.623256643481362</c:v>
                </c:pt>
                <c:pt idx="34947">
                  <c:v>0.62327447833065797</c:v>
                </c:pt>
                <c:pt idx="34948">
                  <c:v>0.62329231317995304</c:v>
                </c:pt>
                <c:pt idx="34949">
                  <c:v>0.623310148029249</c:v>
                </c:pt>
                <c:pt idx="34950">
                  <c:v>0.62332798287854396</c:v>
                </c:pt>
                <c:pt idx="34951">
                  <c:v>0.62334581772784003</c:v>
                </c:pt>
                <c:pt idx="34952">
                  <c:v>0.623363652577135</c:v>
                </c:pt>
                <c:pt idx="34953">
                  <c:v>0.62338148742643096</c:v>
                </c:pt>
                <c:pt idx="34954">
                  <c:v>0.62339932227572603</c:v>
                </c:pt>
                <c:pt idx="34955">
                  <c:v>0.62341715712502199</c:v>
                </c:pt>
                <c:pt idx="34956">
                  <c:v>0.62343499197431695</c:v>
                </c:pt>
                <c:pt idx="34957">
                  <c:v>0.62345282682361303</c:v>
                </c:pt>
                <c:pt idx="34958">
                  <c:v>0.62347066167290799</c:v>
                </c:pt>
                <c:pt idx="34959">
                  <c:v>0.62348849652220395</c:v>
                </c:pt>
                <c:pt idx="34960">
                  <c:v>0.62350633137149902</c:v>
                </c:pt>
                <c:pt idx="34961">
                  <c:v>0.62352416622079498</c:v>
                </c:pt>
                <c:pt idx="34962">
                  <c:v>0.62354200107009095</c:v>
                </c:pt>
                <c:pt idx="34963">
                  <c:v>0.62355983591938602</c:v>
                </c:pt>
                <c:pt idx="34964">
                  <c:v>0.62357767076868198</c:v>
                </c:pt>
                <c:pt idx="34965">
                  <c:v>0.62359550561797705</c:v>
                </c:pt>
                <c:pt idx="34966">
                  <c:v>0.62361334046727301</c:v>
                </c:pt>
                <c:pt idx="34967">
                  <c:v>0.62363117531656798</c:v>
                </c:pt>
                <c:pt idx="34968">
                  <c:v>0.62364901016586405</c:v>
                </c:pt>
                <c:pt idx="34969">
                  <c:v>0.62366684501515901</c:v>
                </c:pt>
                <c:pt idx="34970">
                  <c:v>0.62368467986445497</c:v>
                </c:pt>
                <c:pt idx="34971">
                  <c:v>0.62370251471375004</c:v>
                </c:pt>
                <c:pt idx="34972">
                  <c:v>0.62372034956304601</c:v>
                </c:pt>
                <c:pt idx="34973">
                  <c:v>0.62373818441234097</c:v>
                </c:pt>
                <c:pt idx="34974">
                  <c:v>0.62375601926163704</c:v>
                </c:pt>
                <c:pt idx="34975">
                  <c:v>0.623773854110932</c:v>
                </c:pt>
                <c:pt idx="34976">
                  <c:v>0.62379168896022796</c:v>
                </c:pt>
                <c:pt idx="34977">
                  <c:v>0.62380952380952304</c:v>
                </c:pt>
                <c:pt idx="34978">
                  <c:v>0.623827358658819</c:v>
                </c:pt>
                <c:pt idx="34979">
                  <c:v>0.62384519350811396</c:v>
                </c:pt>
                <c:pt idx="34980">
                  <c:v>0.62386302835741003</c:v>
                </c:pt>
                <c:pt idx="34981">
                  <c:v>0.62388086320670499</c:v>
                </c:pt>
                <c:pt idx="34982">
                  <c:v>0.62389869805600096</c:v>
                </c:pt>
                <c:pt idx="34983">
                  <c:v>0.62391653290529603</c:v>
                </c:pt>
                <c:pt idx="34984">
                  <c:v>0.62393436775459199</c:v>
                </c:pt>
                <c:pt idx="34985">
                  <c:v>0.62395220260388795</c:v>
                </c:pt>
                <c:pt idx="34986">
                  <c:v>0.62397003745318302</c:v>
                </c:pt>
                <c:pt idx="34987">
                  <c:v>0.62398787230247899</c:v>
                </c:pt>
                <c:pt idx="34988">
                  <c:v>0.62400570715177395</c:v>
                </c:pt>
                <c:pt idx="34989">
                  <c:v>0.62402354200107002</c:v>
                </c:pt>
                <c:pt idx="34990">
                  <c:v>0.62404137685036498</c:v>
                </c:pt>
                <c:pt idx="34991">
                  <c:v>0.62405921169966105</c:v>
                </c:pt>
                <c:pt idx="34992">
                  <c:v>0.62407704654895602</c:v>
                </c:pt>
                <c:pt idx="34993">
                  <c:v>0.62409488139825198</c:v>
                </c:pt>
                <c:pt idx="34994">
                  <c:v>0.62411271624754705</c:v>
                </c:pt>
                <c:pt idx="34995">
                  <c:v>0.62413055109684301</c:v>
                </c:pt>
                <c:pt idx="34996">
                  <c:v>0.62414838594613797</c:v>
                </c:pt>
                <c:pt idx="34997">
                  <c:v>0.62416622079543405</c:v>
                </c:pt>
                <c:pt idx="34998">
                  <c:v>0.62418405564472901</c:v>
                </c:pt>
                <c:pt idx="34999">
                  <c:v>0.62420189049402497</c:v>
                </c:pt>
                <c:pt idx="35000">
                  <c:v>0.62421972534332004</c:v>
                </c:pt>
                <c:pt idx="35001">
                  <c:v>0.624237560192616</c:v>
                </c:pt>
                <c:pt idx="35002">
                  <c:v>0.62425539504191097</c:v>
                </c:pt>
                <c:pt idx="35003">
                  <c:v>0.62427322989120704</c:v>
                </c:pt>
                <c:pt idx="35004">
                  <c:v>0.624291064740502</c:v>
                </c:pt>
                <c:pt idx="35005">
                  <c:v>0.62430889958979796</c:v>
                </c:pt>
                <c:pt idx="35006">
                  <c:v>0.62432673443909403</c:v>
                </c:pt>
                <c:pt idx="35007">
                  <c:v>0.624344569288389</c:v>
                </c:pt>
                <c:pt idx="35008">
                  <c:v>0.62436240413768496</c:v>
                </c:pt>
                <c:pt idx="35009">
                  <c:v>0.62438023898698003</c:v>
                </c:pt>
                <c:pt idx="35010">
                  <c:v>0.62439807383627599</c:v>
                </c:pt>
                <c:pt idx="35011">
                  <c:v>0.62441590868557095</c:v>
                </c:pt>
                <c:pt idx="35012">
                  <c:v>0.62443374353486703</c:v>
                </c:pt>
                <c:pt idx="35013">
                  <c:v>0.62445157838416199</c:v>
                </c:pt>
                <c:pt idx="35014">
                  <c:v>0.62446941323345795</c:v>
                </c:pt>
                <c:pt idx="35015">
                  <c:v>0.62448724808275302</c:v>
                </c:pt>
                <c:pt idx="35016">
                  <c:v>0.62450508293204898</c:v>
                </c:pt>
                <c:pt idx="35017">
                  <c:v>0.62452291778134394</c:v>
                </c:pt>
                <c:pt idx="35018">
                  <c:v>0.62454075263064002</c:v>
                </c:pt>
                <c:pt idx="35019">
                  <c:v>0.62455858747993498</c:v>
                </c:pt>
                <c:pt idx="35020">
                  <c:v>0.62457642232923105</c:v>
                </c:pt>
                <c:pt idx="35021">
                  <c:v>0.62459425717852601</c:v>
                </c:pt>
                <c:pt idx="35022">
                  <c:v>0.62461209202782197</c:v>
                </c:pt>
                <c:pt idx="35023">
                  <c:v>0.62462992687711705</c:v>
                </c:pt>
                <c:pt idx="35024">
                  <c:v>0.62464776172641301</c:v>
                </c:pt>
                <c:pt idx="35025">
                  <c:v>0.62466559657570897</c:v>
                </c:pt>
                <c:pt idx="35026">
                  <c:v>0.62468343142500404</c:v>
                </c:pt>
                <c:pt idx="35027">
                  <c:v>0.6247012662743</c:v>
                </c:pt>
                <c:pt idx="35028">
                  <c:v>0.62471910112359497</c:v>
                </c:pt>
                <c:pt idx="35029">
                  <c:v>0.62473693597289104</c:v>
                </c:pt>
                <c:pt idx="35030">
                  <c:v>0.624754770822186</c:v>
                </c:pt>
                <c:pt idx="35031">
                  <c:v>0.62477260567148196</c:v>
                </c:pt>
                <c:pt idx="35032">
                  <c:v>0.62479044052077704</c:v>
                </c:pt>
                <c:pt idx="35033">
                  <c:v>0.624808275370073</c:v>
                </c:pt>
                <c:pt idx="35034">
                  <c:v>0.62482611021936796</c:v>
                </c:pt>
                <c:pt idx="35035">
                  <c:v>0.62484394506866403</c:v>
                </c:pt>
                <c:pt idx="35036">
                  <c:v>0.62486177991795899</c:v>
                </c:pt>
                <c:pt idx="35037">
                  <c:v>0.62487961476725495</c:v>
                </c:pt>
                <c:pt idx="35038">
                  <c:v>0.62489744961655003</c:v>
                </c:pt>
                <c:pt idx="35039">
                  <c:v>0.62491528446584599</c:v>
                </c:pt>
                <c:pt idx="35040">
                  <c:v>0.62493311931514095</c:v>
                </c:pt>
                <c:pt idx="35041">
                  <c:v>0.62495095416443702</c:v>
                </c:pt>
                <c:pt idx="35042">
                  <c:v>0.62496878901373198</c:v>
                </c:pt>
                <c:pt idx="35043">
                  <c:v>0.62498662386302795</c:v>
                </c:pt>
                <c:pt idx="35044">
                  <c:v>0.62500445871232302</c:v>
                </c:pt>
                <c:pt idx="35045">
                  <c:v>0.62502229356161898</c:v>
                </c:pt>
                <c:pt idx="35046">
                  <c:v>0.62504012841091405</c:v>
                </c:pt>
                <c:pt idx="35047">
                  <c:v>0.62505796326021001</c:v>
                </c:pt>
                <c:pt idx="35048">
                  <c:v>0.62507579810950598</c:v>
                </c:pt>
                <c:pt idx="35049">
                  <c:v>0.62509363295880105</c:v>
                </c:pt>
                <c:pt idx="35050">
                  <c:v>0.62511146780809701</c:v>
                </c:pt>
                <c:pt idx="35051">
                  <c:v>0.62512930265739197</c:v>
                </c:pt>
                <c:pt idx="35052">
                  <c:v>0.62514713750668804</c:v>
                </c:pt>
                <c:pt idx="35053">
                  <c:v>0.62516497235598301</c:v>
                </c:pt>
                <c:pt idx="35054">
                  <c:v>0.62518280720527897</c:v>
                </c:pt>
                <c:pt idx="35055">
                  <c:v>0.62520064205457404</c:v>
                </c:pt>
                <c:pt idx="35056">
                  <c:v>0.62521847690387</c:v>
                </c:pt>
                <c:pt idx="35057">
                  <c:v>0.62523631175316496</c:v>
                </c:pt>
                <c:pt idx="35058">
                  <c:v>0.62525414660246104</c:v>
                </c:pt>
                <c:pt idx="35059">
                  <c:v>0.625271981451756</c:v>
                </c:pt>
                <c:pt idx="35060">
                  <c:v>0.62528981630105196</c:v>
                </c:pt>
                <c:pt idx="35061">
                  <c:v>0.62530765115034703</c:v>
                </c:pt>
                <c:pt idx="35062">
                  <c:v>0.62532548599964299</c:v>
                </c:pt>
                <c:pt idx="35063">
                  <c:v>0.62534332084893796</c:v>
                </c:pt>
                <c:pt idx="35064">
                  <c:v>0.62536115569823403</c:v>
                </c:pt>
                <c:pt idx="35065">
                  <c:v>0.62537899054752899</c:v>
                </c:pt>
                <c:pt idx="35066">
                  <c:v>0.62539682539682495</c:v>
                </c:pt>
                <c:pt idx="35067">
                  <c:v>0.62541466024612002</c:v>
                </c:pt>
                <c:pt idx="35068">
                  <c:v>0.62543249509541599</c:v>
                </c:pt>
                <c:pt idx="35069">
                  <c:v>0.62545032994471195</c:v>
                </c:pt>
                <c:pt idx="35070">
                  <c:v>0.62546816479400702</c:v>
                </c:pt>
                <c:pt idx="35071">
                  <c:v>0.62548599964330298</c:v>
                </c:pt>
                <c:pt idx="35072">
                  <c:v>0.62550383449259805</c:v>
                </c:pt>
                <c:pt idx="35073">
                  <c:v>0.62552166934189402</c:v>
                </c:pt>
                <c:pt idx="35074">
                  <c:v>0.62553950419118898</c:v>
                </c:pt>
                <c:pt idx="35075">
                  <c:v>0.62555733904048505</c:v>
                </c:pt>
                <c:pt idx="35076">
                  <c:v>0.62557517388978001</c:v>
                </c:pt>
                <c:pt idx="35077">
                  <c:v>0.62559300873907597</c:v>
                </c:pt>
                <c:pt idx="35078">
                  <c:v>0.62561084358837105</c:v>
                </c:pt>
                <c:pt idx="35079">
                  <c:v>0.62562867843766701</c:v>
                </c:pt>
                <c:pt idx="35080">
                  <c:v>0.62564651328696197</c:v>
                </c:pt>
                <c:pt idx="35081">
                  <c:v>0.62566434813625804</c:v>
                </c:pt>
                <c:pt idx="35082">
                  <c:v>0.625682182985553</c:v>
                </c:pt>
                <c:pt idx="35083">
                  <c:v>0.62570001783484896</c:v>
                </c:pt>
                <c:pt idx="35084">
                  <c:v>0.62571785268414404</c:v>
                </c:pt>
                <c:pt idx="35085">
                  <c:v>0.62573568753344</c:v>
                </c:pt>
                <c:pt idx="35086">
                  <c:v>0.62575352238273496</c:v>
                </c:pt>
                <c:pt idx="35087">
                  <c:v>0.62577135723203103</c:v>
                </c:pt>
                <c:pt idx="35088">
                  <c:v>0.625789192081326</c:v>
                </c:pt>
                <c:pt idx="35089">
                  <c:v>0.62580702693062196</c:v>
                </c:pt>
                <c:pt idx="35090">
                  <c:v>0.62582486177991703</c:v>
                </c:pt>
                <c:pt idx="35091">
                  <c:v>0.62584269662921299</c:v>
                </c:pt>
                <c:pt idx="35092">
                  <c:v>0.62586053147850895</c:v>
                </c:pt>
                <c:pt idx="35093">
                  <c:v>0.62587836632780403</c:v>
                </c:pt>
                <c:pt idx="35094">
                  <c:v>0.62589620117709999</c:v>
                </c:pt>
                <c:pt idx="35095">
                  <c:v>0.62591403602639495</c:v>
                </c:pt>
                <c:pt idx="35096">
                  <c:v>0.62593187087569102</c:v>
                </c:pt>
                <c:pt idx="35097">
                  <c:v>0.62594970572498598</c:v>
                </c:pt>
                <c:pt idx="35098">
                  <c:v>0.62596754057428206</c:v>
                </c:pt>
                <c:pt idx="35099">
                  <c:v>0.62598537542357702</c:v>
                </c:pt>
                <c:pt idx="35100">
                  <c:v>0.62600321027287298</c:v>
                </c:pt>
                <c:pt idx="35101">
                  <c:v>0.62602104512216805</c:v>
                </c:pt>
                <c:pt idx="35102">
                  <c:v>0.62603887997146401</c:v>
                </c:pt>
                <c:pt idx="35103">
                  <c:v>0.62605671482075897</c:v>
                </c:pt>
                <c:pt idx="35104">
                  <c:v>0.62607454967005505</c:v>
                </c:pt>
                <c:pt idx="35105">
                  <c:v>0.62609238451935001</c:v>
                </c:pt>
                <c:pt idx="35106">
                  <c:v>0.62611021936864597</c:v>
                </c:pt>
                <c:pt idx="35107">
                  <c:v>0.62612805421794104</c:v>
                </c:pt>
                <c:pt idx="35108">
                  <c:v>0.626145889067237</c:v>
                </c:pt>
                <c:pt idx="35109">
                  <c:v>0.62616372391653197</c:v>
                </c:pt>
                <c:pt idx="35110">
                  <c:v>0.62618155876582804</c:v>
                </c:pt>
                <c:pt idx="35111">
                  <c:v>0.626199393615124</c:v>
                </c:pt>
                <c:pt idx="35112">
                  <c:v>0.62621722846441896</c:v>
                </c:pt>
                <c:pt idx="35113">
                  <c:v>0.62623506331371503</c:v>
                </c:pt>
                <c:pt idx="35114">
                  <c:v>0.62625289816301</c:v>
                </c:pt>
                <c:pt idx="35115">
                  <c:v>0.62627073301230596</c:v>
                </c:pt>
                <c:pt idx="35116">
                  <c:v>0.62628856786160103</c:v>
                </c:pt>
                <c:pt idx="35117">
                  <c:v>0.62630640271089699</c:v>
                </c:pt>
                <c:pt idx="35118">
                  <c:v>0.62632423756019195</c:v>
                </c:pt>
                <c:pt idx="35119">
                  <c:v>0.62634207240948803</c:v>
                </c:pt>
                <c:pt idx="35120">
                  <c:v>0.62635990725878299</c:v>
                </c:pt>
                <c:pt idx="35121">
                  <c:v>0.62637774210807895</c:v>
                </c:pt>
                <c:pt idx="35122">
                  <c:v>0.62639557695737402</c:v>
                </c:pt>
                <c:pt idx="35123">
                  <c:v>0.62641341180666998</c:v>
                </c:pt>
                <c:pt idx="35124">
                  <c:v>0.62643124665596495</c:v>
                </c:pt>
                <c:pt idx="35125">
                  <c:v>0.62644908150526102</c:v>
                </c:pt>
                <c:pt idx="35126">
                  <c:v>0.62646691635455598</c:v>
                </c:pt>
                <c:pt idx="35127">
                  <c:v>0.62648475120385205</c:v>
                </c:pt>
                <c:pt idx="35128">
                  <c:v>0.62650258605314701</c:v>
                </c:pt>
                <c:pt idx="35129">
                  <c:v>0.62652042090244298</c:v>
                </c:pt>
                <c:pt idx="35130">
                  <c:v>0.62653825575173805</c:v>
                </c:pt>
                <c:pt idx="35131">
                  <c:v>0.62655609060103401</c:v>
                </c:pt>
                <c:pt idx="35132">
                  <c:v>0.62657392545032997</c:v>
                </c:pt>
                <c:pt idx="35133">
                  <c:v>0.62659176029962504</c:v>
                </c:pt>
                <c:pt idx="35134">
                  <c:v>0.62660959514892101</c:v>
                </c:pt>
                <c:pt idx="35135">
                  <c:v>0.62662742999821597</c:v>
                </c:pt>
                <c:pt idx="35136">
                  <c:v>0.62664526484751204</c:v>
                </c:pt>
                <c:pt idx="35137">
                  <c:v>0.626663099696807</c:v>
                </c:pt>
                <c:pt idx="35138">
                  <c:v>0.62668093454610296</c:v>
                </c:pt>
                <c:pt idx="35139">
                  <c:v>0.62669876939539804</c:v>
                </c:pt>
                <c:pt idx="35140">
                  <c:v>0.626716604244694</c:v>
                </c:pt>
                <c:pt idx="35141">
                  <c:v>0.62673443909398896</c:v>
                </c:pt>
                <c:pt idx="35142">
                  <c:v>0.62675227394328503</c:v>
                </c:pt>
                <c:pt idx="35143">
                  <c:v>0.62677010879257999</c:v>
                </c:pt>
                <c:pt idx="35144">
                  <c:v>0.62678794364187596</c:v>
                </c:pt>
                <c:pt idx="35145">
                  <c:v>0.62680577849117103</c:v>
                </c:pt>
                <c:pt idx="35146">
                  <c:v>0.62682361334046699</c:v>
                </c:pt>
                <c:pt idx="35147">
                  <c:v>0.62684144818976195</c:v>
                </c:pt>
                <c:pt idx="35148">
                  <c:v>0.62685928303905802</c:v>
                </c:pt>
                <c:pt idx="35149">
                  <c:v>0.62687711788835299</c:v>
                </c:pt>
                <c:pt idx="35150">
                  <c:v>0.62689495273764895</c:v>
                </c:pt>
                <c:pt idx="35151">
                  <c:v>0.62691278758694402</c:v>
                </c:pt>
                <c:pt idx="35152">
                  <c:v>0.62693062243623998</c:v>
                </c:pt>
                <c:pt idx="35153">
                  <c:v>0.62694845728553505</c:v>
                </c:pt>
                <c:pt idx="35154">
                  <c:v>0.62696629213483102</c:v>
                </c:pt>
                <c:pt idx="35155">
                  <c:v>0.62698412698412698</c:v>
                </c:pt>
                <c:pt idx="35156">
                  <c:v>0.62700196183342205</c:v>
                </c:pt>
                <c:pt idx="35157">
                  <c:v>0.62701979668271801</c:v>
                </c:pt>
                <c:pt idx="35158">
                  <c:v>0.62703763153201297</c:v>
                </c:pt>
                <c:pt idx="35159">
                  <c:v>0.62705546638130905</c:v>
                </c:pt>
                <c:pt idx="35160">
                  <c:v>0.62707330123060401</c:v>
                </c:pt>
                <c:pt idx="35161">
                  <c:v>0.62709113607989997</c:v>
                </c:pt>
                <c:pt idx="35162">
                  <c:v>0.62710897092919504</c:v>
                </c:pt>
                <c:pt idx="35163">
                  <c:v>0.627126805778491</c:v>
                </c:pt>
                <c:pt idx="35164">
                  <c:v>0.62714464062778597</c:v>
                </c:pt>
                <c:pt idx="35165">
                  <c:v>0.62716247547708204</c:v>
                </c:pt>
                <c:pt idx="35166">
                  <c:v>0.627180310326377</c:v>
                </c:pt>
                <c:pt idx="35167">
                  <c:v>0.62719814517567296</c:v>
                </c:pt>
                <c:pt idx="35168">
                  <c:v>0.62721598002496803</c:v>
                </c:pt>
                <c:pt idx="35169">
                  <c:v>0.627233814874264</c:v>
                </c:pt>
                <c:pt idx="35170">
                  <c:v>0.62725164972355896</c:v>
                </c:pt>
                <c:pt idx="35171">
                  <c:v>0.62726948457285503</c:v>
                </c:pt>
                <c:pt idx="35172">
                  <c:v>0.62728731942214999</c:v>
                </c:pt>
                <c:pt idx="35173">
                  <c:v>0.62730515427144595</c:v>
                </c:pt>
                <c:pt idx="35174">
                  <c:v>0.62732298912074103</c:v>
                </c:pt>
                <c:pt idx="35175">
                  <c:v>0.62734082397003699</c:v>
                </c:pt>
                <c:pt idx="35176">
                  <c:v>0.62735865881933295</c:v>
                </c:pt>
                <c:pt idx="35177">
                  <c:v>0.62737649366862802</c:v>
                </c:pt>
                <c:pt idx="35178">
                  <c:v>0.62739432851792398</c:v>
                </c:pt>
                <c:pt idx="35179">
                  <c:v>0.62741216336721894</c:v>
                </c:pt>
                <c:pt idx="35180">
                  <c:v>0.62742999821651502</c:v>
                </c:pt>
                <c:pt idx="35181">
                  <c:v>0.62744783306580998</c:v>
                </c:pt>
                <c:pt idx="35182">
                  <c:v>0.62746566791510605</c:v>
                </c:pt>
                <c:pt idx="35183">
                  <c:v>0.62748350276440101</c:v>
                </c:pt>
                <c:pt idx="35184">
                  <c:v>0.62750133761369697</c:v>
                </c:pt>
                <c:pt idx="35185">
                  <c:v>0.62751917246299205</c:v>
                </c:pt>
                <c:pt idx="35186">
                  <c:v>0.62753700731228801</c:v>
                </c:pt>
                <c:pt idx="35187">
                  <c:v>0.62755484216158297</c:v>
                </c:pt>
                <c:pt idx="35188">
                  <c:v>0.62757267701087904</c:v>
                </c:pt>
                <c:pt idx="35189">
                  <c:v>0.62759051186017401</c:v>
                </c:pt>
                <c:pt idx="35190">
                  <c:v>0.62760834670946997</c:v>
                </c:pt>
                <c:pt idx="35191">
                  <c:v>0.62762618155876504</c:v>
                </c:pt>
                <c:pt idx="35192">
                  <c:v>0.627644016408061</c:v>
                </c:pt>
                <c:pt idx="35193">
                  <c:v>0.62766185125735596</c:v>
                </c:pt>
                <c:pt idx="35194">
                  <c:v>0.62767968610665203</c:v>
                </c:pt>
                <c:pt idx="35195">
                  <c:v>0.627697520955947</c:v>
                </c:pt>
                <c:pt idx="35196">
                  <c:v>0.62771535580524296</c:v>
                </c:pt>
                <c:pt idx="35197">
                  <c:v>0.62773319065453803</c:v>
                </c:pt>
                <c:pt idx="35198">
                  <c:v>0.62775102550383399</c:v>
                </c:pt>
                <c:pt idx="35199">
                  <c:v>0.62776886035312995</c:v>
                </c:pt>
                <c:pt idx="35200">
                  <c:v>0.62778669520242503</c:v>
                </c:pt>
                <c:pt idx="35201">
                  <c:v>0.62780453005172099</c:v>
                </c:pt>
                <c:pt idx="35202">
                  <c:v>0.62782236490101595</c:v>
                </c:pt>
                <c:pt idx="35203">
                  <c:v>0.62784019975031202</c:v>
                </c:pt>
                <c:pt idx="35204">
                  <c:v>0.62785803459960698</c:v>
                </c:pt>
                <c:pt idx="35205">
                  <c:v>0.62787586944890295</c:v>
                </c:pt>
                <c:pt idx="35206">
                  <c:v>0.62789370429819802</c:v>
                </c:pt>
                <c:pt idx="35207">
                  <c:v>0.62791153914749398</c:v>
                </c:pt>
                <c:pt idx="35208">
                  <c:v>0.62792937399678905</c:v>
                </c:pt>
                <c:pt idx="35209">
                  <c:v>0.62794720884608501</c:v>
                </c:pt>
                <c:pt idx="35210">
                  <c:v>0.62796504369537998</c:v>
                </c:pt>
                <c:pt idx="35211">
                  <c:v>0.62798287854467605</c:v>
                </c:pt>
                <c:pt idx="35212">
                  <c:v>0.62800071339397101</c:v>
                </c:pt>
                <c:pt idx="35213">
                  <c:v>0.62801854824326697</c:v>
                </c:pt>
                <c:pt idx="35214">
                  <c:v>0.62803638309256204</c:v>
                </c:pt>
                <c:pt idx="35215">
                  <c:v>0.62805421794185801</c:v>
                </c:pt>
                <c:pt idx="35216">
                  <c:v>0.62807205279115397</c:v>
                </c:pt>
                <c:pt idx="35217">
                  <c:v>0.62808988764044904</c:v>
                </c:pt>
                <c:pt idx="35218">
                  <c:v>0.628107722489745</c:v>
                </c:pt>
                <c:pt idx="35219">
                  <c:v>0.62812555733903996</c:v>
                </c:pt>
                <c:pt idx="35220">
                  <c:v>0.62814339218833604</c:v>
                </c:pt>
                <c:pt idx="35221">
                  <c:v>0.628161227037631</c:v>
                </c:pt>
                <c:pt idx="35222">
                  <c:v>0.62817906188692696</c:v>
                </c:pt>
                <c:pt idx="35223">
                  <c:v>0.62819689673622203</c:v>
                </c:pt>
                <c:pt idx="35224">
                  <c:v>0.62821473158551799</c:v>
                </c:pt>
                <c:pt idx="35225">
                  <c:v>0.62823256643481296</c:v>
                </c:pt>
                <c:pt idx="35226">
                  <c:v>0.62825040128410903</c:v>
                </c:pt>
                <c:pt idx="35227">
                  <c:v>0.62826823613340399</c:v>
                </c:pt>
                <c:pt idx="35228">
                  <c:v>0.62828607098269995</c:v>
                </c:pt>
                <c:pt idx="35229">
                  <c:v>0.62830390583199502</c:v>
                </c:pt>
                <c:pt idx="35230">
                  <c:v>0.62832174068129099</c:v>
                </c:pt>
                <c:pt idx="35231">
                  <c:v>0.62833957553058595</c:v>
                </c:pt>
                <c:pt idx="35232">
                  <c:v>0.62835741037988202</c:v>
                </c:pt>
                <c:pt idx="35233">
                  <c:v>0.62837524522917698</c:v>
                </c:pt>
                <c:pt idx="35234">
                  <c:v>0.62839308007847305</c:v>
                </c:pt>
                <c:pt idx="35235">
                  <c:v>0.62841091492776802</c:v>
                </c:pt>
                <c:pt idx="35236">
                  <c:v>0.62842874977706398</c:v>
                </c:pt>
                <c:pt idx="35237">
                  <c:v>0.62844658462635905</c:v>
                </c:pt>
                <c:pt idx="35238">
                  <c:v>0.62846441947565501</c:v>
                </c:pt>
                <c:pt idx="35239">
                  <c:v>0.62848225432495097</c:v>
                </c:pt>
                <c:pt idx="35240">
                  <c:v>0.62850008917424605</c:v>
                </c:pt>
                <c:pt idx="35241">
                  <c:v>0.62851792402354201</c:v>
                </c:pt>
                <c:pt idx="35242">
                  <c:v>0.62853575887283697</c:v>
                </c:pt>
                <c:pt idx="35243">
                  <c:v>0.62855359372213304</c:v>
                </c:pt>
                <c:pt idx="35244">
                  <c:v>0.628571428571428</c:v>
                </c:pt>
                <c:pt idx="35245">
                  <c:v>0.62858926342072396</c:v>
                </c:pt>
                <c:pt idx="35246">
                  <c:v>0.62860709827001904</c:v>
                </c:pt>
                <c:pt idx="35247">
                  <c:v>0.628624933119315</c:v>
                </c:pt>
                <c:pt idx="35248">
                  <c:v>0.62864276796860996</c:v>
                </c:pt>
                <c:pt idx="35249">
                  <c:v>0.62866060281790603</c:v>
                </c:pt>
                <c:pt idx="35250">
                  <c:v>0.628678437667201</c:v>
                </c:pt>
                <c:pt idx="35251">
                  <c:v>0.62869627251649696</c:v>
                </c:pt>
                <c:pt idx="35252">
                  <c:v>0.62871410736579203</c:v>
                </c:pt>
                <c:pt idx="35253">
                  <c:v>0.62873194221508799</c:v>
                </c:pt>
                <c:pt idx="35254">
                  <c:v>0.62874977706438295</c:v>
                </c:pt>
                <c:pt idx="35255">
                  <c:v>0.62876761191367903</c:v>
                </c:pt>
                <c:pt idx="35256">
                  <c:v>0.62878544676297399</c:v>
                </c:pt>
                <c:pt idx="35257">
                  <c:v>0.62880328161226995</c:v>
                </c:pt>
                <c:pt idx="35258">
                  <c:v>0.62882111646156502</c:v>
                </c:pt>
                <c:pt idx="35259">
                  <c:v>0.62883895131086098</c:v>
                </c:pt>
                <c:pt idx="35260">
                  <c:v>0.62885678616015594</c:v>
                </c:pt>
                <c:pt idx="35261">
                  <c:v>0.62887462100945202</c:v>
                </c:pt>
                <c:pt idx="35262">
                  <c:v>0.62889245585874798</c:v>
                </c:pt>
                <c:pt idx="35263">
                  <c:v>0.62891029070804305</c:v>
                </c:pt>
                <c:pt idx="35264">
                  <c:v>0.62892812555733901</c:v>
                </c:pt>
                <c:pt idx="35265">
                  <c:v>0.62894596040663397</c:v>
                </c:pt>
                <c:pt idx="35266">
                  <c:v>0.62896379525593005</c:v>
                </c:pt>
                <c:pt idx="35267">
                  <c:v>0.62898163010522501</c:v>
                </c:pt>
                <c:pt idx="35268">
                  <c:v>0.62899946495452097</c:v>
                </c:pt>
                <c:pt idx="35269">
                  <c:v>0.62901729980381604</c:v>
                </c:pt>
                <c:pt idx="35270">
                  <c:v>0.629035134653112</c:v>
                </c:pt>
                <c:pt idx="35271">
                  <c:v>0.62905296950240697</c:v>
                </c:pt>
                <c:pt idx="35272">
                  <c:v>0.62907080435170304</c:v>
                </c:pt>
                <c:pt idx="35273">
                  <c:v>0.629088639200998</c:v>
                </c:pt>
                <c:pt idx="35274">
                  <c:v>0.62910647405029396</c:v>
                </c:pt>
                <c:pt idx="35275">
                  <c:v>0.62912430889958904</c:v>
                </c:pt>
                <c:pt idx="35276">
                  <c:v>0.629142143748885</c:v>
                </c:pt>
                <c:pt idx="35277">
                  <c:v>0.62915997859817996</c:v>
                </c:pt>
                <c:pt idx="35278">
                  <c:v>0.62917781344747603</c:v>
                </c:pt>
                <c:pt idx="35279">
                  <c:v>0.62919564829677099</c:v>
                </c:pt>
                <c:pt idx="35280">
                  <c:v>0.62921348314606695</c:v>
                </c:pt>
                <c:pt idx="35281">
                  <c:v>0.62923131799536203</c:v>
                </c:pt>
                <c:pt idx="35282">
                  <c:v>0.62924915284465799</c:v>
                </c:pt>
                <c:pt idx="35283">
                  <c:v>0.62926698769395395</c:v>
                </c:pt>
                <c:pt idx="35284">
                  <c:v>0.62928482254324902</c:v>
                </c:pt>
                <c:pt idx="35285">
                  <c:v>0.62930265739254498</c:v>
                </c:pt>
                <c:pt idx="35286">
                  <c:v>0.62932049224183995</c:v>
                </c:pt>
                <c:pt idx="35287">
                  <c:v>0.62933832709113602</c:v>
                </c:pt>
                <c:pt idx="35288">
                  <c:v>0.62935616194043098</c:v>
                </c:pt>
                <c:pt idx="35289">
                  <c:v>0.62937399678972705</c:v>
                </c:pt>
                <c:pt idx="35290">
                  <c:v>0.62939183163902201</c:v>
                </c:pt>
                <c:pt idx="35291">
                  <c:v>0.62940966648831798</c:v>
                </c:pt>
                <c:pt idx="35292">
                  <c:v>0.62942750133761305</c:v>
                </c:pt>
                <c:pt idx="35293">
                  <c:v>0.62944533618690901</c:v>
                </c:pt>
                <c:pt idx="35294">
                  <c:v>0.62946317103620397</c:v>
                </c:pt>
                <c:pt idx="35295">
                  <c:v>0.62948100588550004</c:v>
                </c:pt>
                <c:pt idx="35296">
                  <c:v>0.62949884073479501</c:v>
                </c:pt>
                <c:pt idx="35297">
                  <c:v>0.62951667558409097</c:v>
                </c:pt>
                <c:pt idx="35298">
                  <c:v>0.62953451043338604</c:v>
                </c:pt>
                <c:pt idx="35299">
                  <c:v>0.629552345282682</c:v>
                </c:pt>
                <c:pt idx="35300">
                  <c:v>0.62957018013197696</c:v>
                </c:pt>
                <c:pt idx="35301">
                  <c:v>0.62958801498127304</c:v>
                </c:pt>
                <c:pt idx="35302">
                  <c:v>0.629605849830568</c:v>
                </c:pt>
                <c:pt idx="35303">
                  <c:v>0.62962368467986396</c:v>
                </c:pt>
                <c:pt idx="35304">
                  <c:v>0.62964151952916003</c:v>
                </c:pt>
                <c:pt idx="35305">
                  <c:v>0.62965935437845499</c:v>
                </c:pt>
                <c:pt idx="35306">
                  <c:v>0.62967718922775096</c:v>
                </c:pt>
                <c:pt idx="35307">
                  <c:v>0.62969502407704603</c:v>
                </c:pt>
                <c:pt idx="35308">
                  <c:v>0.62971285892634199</c:v>
                </c:pt>
                <c:pt idx="35309">
                  <c:v>0.62973069377563695</c:v>
                </c:pt>
                <c:pt idx="35310">
                  <c:v>0.62974852862493302</c:v>
                </c:pt>
                <c:pt idx="35311">
                  <c:v>0.62976636347422799</c:v>
                </c:pt>
                <c:pt idx="35312">
                  <c:v>0.62978419832352395</c:v>
                </c:pt>
                <c:pt idx="35313">
                  <c:v>0.62980203317281902</c:v>
                </c:pt>
                <c:pt idx="35314">
                  <c:v>0.62981986802211498</c:v>
                </c:pt>
                <c:pt idx="35315">
                  <c:v>0.62983770287141005</c:v>
                </c:pt>
                <c:pt idx="35316">
                  <c:v>0.62985553772070602</c:v>
                </c:pt>
                <c:pt idx="35317">
                  <c:v>0.62987337257000098</c:v>
                </c:pt>
                <c:pt idx="35318">
                  <c:v>0.62989120741929705</c:v>
                </c:pt>
                <c:pt idx="35319">
                  <c:v>0.62990904226859201</c:v>
                </c:pt>
                <c:pt idx="35320">
                  <c:v>0.62992687711788797</c:v>
                </c:pt>
                <c:pt idx="35321">
                  <c:v>0.62994471196718305</c:v>
                </c:pt>
                <c:pt idx="35322">
                  <c:v>0.62996254681647901</c:v>
                </c:pt>
                <c:pt idx="35323">
                  <c:v>0.62998038166577497</c:v>
                </c:pt>
                <c:pt idx="35324">
                  <c:v>0.62999821651507004</c:v>
                </c:pt>
                <c:pt idx="35325">
                  <c:v>0.630016051364366</c:v>
                </c:pt>
                <c:pt idx="35326">
                  <c:v>0.63003388621366097</c:v>
                </c:pt>
                <c:pt idx="35327">
                  <c:v>0.63005172106295704</c:v>
                </c:pt>
                <c:pt idx="35328">
                  <c:v>0.630069555912252</c:v>
                </c:pt>
                <c:pt idx="35329">
                  <c:v>0.63008739076154796</c:v>
                </c:pt>
                <c:pt idx="35330">
                  <c:v>0.63010522561084303</c:v>
                </c:pt>
                <c:pt idx="35331">
                  <c:v>0.630123060460139</c:v>
                </c:pt>
                <c:pt idx="35332">
                  <c:v>0.63014089530943396</c:v>
                </c:pt>
                <c:pt idx="35333">
                  <c:v>0.63015873015873003</c:v>
                </c:pt>
                <c:pt idx="35334">
                  <c:v>0.63017656500802499</c:v>
                </c:pt>
                <c:pt idx="35335">
                  <c:v>0.63019439985732095</c:v>
                </c:pt>
                <c:pt idx="35336">
                  <c:v>0.63021223470661603</c:v>
                </c:pt>
                <c:pt idx="35337">
                  <c:v>0.63023006955591199</c:v>
                </c:pt>
                <c:pt idx="35338">
                  <c:v>0.63024790440520695</c:v>
                </c:pt>
                <c:pt idx="35339">
                  <c:v>0.63026573925450302</c:v>
                </c:pt>
                <c:pt idx="35340">
                  <c:v>0.63028357410379798</c:v>
                </c:pt>
                <c:pt idx="35341">
                  <c:v>0.63030140895309394</c:v>
                </c:pt>
                <c:pt idx="35342">
                  <c:v>0.63031924380238902</c:v>
                </c:pt>
                <c:pt idx="35343">
                  <c:v>0.63033707865168498</c:v>
                </c:pt>
                <c:pt idx="35344">
                  <c:v>0.63035491350098005</c:v>
                </c:pt>
                <c:pt idx="35345">
                  <c:v>0.63037274835027601</c:v>
                </c:pt>
                <c:pt idx="35346">
                  <c:v>0.63039058319957197</c:v>
                </c:pt>
                <c:pt idx="35347">
                  <c:v>0.63040841804886705</c:v>
                </c:pt>
                <c:pt idx="35348">
                  <c:v>0.63042625289816301</c:v>
                </c:pt>
                <c:pt idx="35349">
                  <c:v>0.63044408774745797</c:v>
                </c:pt>
                <c:pt idx="35350">
                  <c:v>0.63046192259675404</c:v>
                </c:pt>
                <c:pt idx="35351">
                  <c:v>0.63047975744604901</c:v>
                </c:pt>
                <c:pt idx="35352">
                  <c:v>0.63049759229534497</c:v>
                </c:pt>
                <c:pt idx="35353">
                  <c:v>0.63051542714464004</c:v>
                </c:pt>
                <c:pt idx="35354">
                  <c:v>0.630533261993936</c:v>
                </c:pt>
                <c:pt idx="35355">
                  <c:v>0.63055109684323096</c:v>
                </c:pt>
                <c:pt idx="35356">
                  <c:v>0.63056893169252703</c:v>
                </c:pt>
                <c:pt idx="35357">
                  <c:v>0.630586766541822</c:v>
                </c:pt>
                <c:pt idx="35358">
                  <c:v>0.63060460139111796</c:v>
                </c:pt>
                <c:pt idx="35359">
                  <c:v>0.63062243624041303</c:v>
                </c:pt>
                <c:pt idx="35360">
                  <c:v>0.63064027108970899</c:v>
                </c:pt>
                <c:pt idx="35361">
                  <c:v>0.63065810593900395</c:v>
                </c:pt>
                <c:pt idx="35362">
                  <c:v>0.63067594078830003</c:v>
                </c:pt>
                <c:pt idx="35363">
                  <c:v>0.63069377563759499</c:v>
                </c:pt>
                <c:pt idx="35364">
                  <c:v>0.63071161048689095</c:v>
                </c:pt>
                <c:pt idx="35365">
                  <c:v>0.63072944533618602</c:v>
                </c:pt>
                <c:pt idx="35366">
                  <c:v>0.63074728018548198</c:v>
                </c:pt>
                <c:pt idx="35367">
                  <c:v>0.63076511503477795</c:v>
                </c:pt>
                <c:pt idx="35368">
                  <c:v>0.63078294988407302</c:v>
                </c:pt>
                <c:pt idx="35369">
                  <c:v>0.63080078473336898</c:v>
                </c:pt>
                <c:pt idx="35370">
                  <c:v>0.63081861958266405</c:v>
                </c:pt>
                <c:pt idx="35371">
                  <c:v>0.63083645443196001</c:v>
                </c:pt>
                <c:pt idx="35372">
                  <c:v>0.63085428928125498</c:v>
                </c:pt>
                <c:pt idx="35373">
                  <c:v>0.63087212413055105</c:v>
                </c:pt>
                <c:pt idx="35374">
                  <c:v>0.63088995897984601</c:v>
                </c:pt>
                <c:pt idx="35375">
                  <c:v>0.63090779382914197</c:v>
                </c:pt>
                <c:pt idx="35376">
                  <c:v>0.63092562867843704</c:v>
                </c:pt>
                <c:pt idx="35377">
                  <c:v>0.63094346352773301</c:v>
                </c:pt>
                <c:pt idx="35378">
                  <c:v>0.63096129837702797</c:v>
                </c:pt>
                <c:pt idx="35379">
                  <c:v>0.63097913322632404</c:v>
                </c:pt>
                <c:pt idx="35380">
                  <c:v>0.630996968075619</c:v>
                </c:pt>
                <c:pt idx="35381">
                  <c:v>0.63101480292491496</c:v>
                </c:pt>
                <c:pt idx="35382">
                  <c:v>0.63103263777421004</c:v>
                </c:pt>
                <c:pt idx="35383">
                  <c:v>0.631050472623506</c:v>
                </c:pt>
                <c:pt idx="35384">
                  <c:v>0.63106830747280096</c:v>
                </c:pt>
                <c:pt idx="35385">
                  <c:v>0.63108614232209703</c:v>
                </c:pt>
                <c:pt idx="35386">
                  <c:v>0.63110397717139199</c:v>
                </c:pt>
                <c:pt idx="35387">
                  <c:v>0.63112181202068796</c:v>
                </c:pt>
                <c:pt idx="35388">
                  <c:v>0.63113964686998303</c:v>
                </c:pt>
                <c:pt idx="35389">
                  <c:v>0.63115748171927899</c:v>
                </c:pt>
                <c:pt idx="35390">
                  <c:v>0.63117531656857495</c:v>
                </c:pt>
                <c:pt idx="35391">
                  <c:v>0.63119315141787002</c:v>
                </c:pt>
                <c:pt idx="35392">
                  <c:v>0.63121098626716599</c:v>
                </c:pt>
                <c:pt idx="35393">
                  <c:v>0.63122882111646095</c:v>
                </c:pt>
                <c:pt idx="35394">
                  <c:v>0.63124665596575702</c:v>
                </c:pt>
                <c:pt idx="35395">
                  <c:v>0.63126449081505198</c:v>
                </c:pt>
                <c:pt idx="35396">
                  <c:v>0.63128232566434805</c:v>
                </c:pt>
                <c:pt idx="35397">
                  <c:v>0.63130016051364302</c:v>
                </c:pt>
                <c:pt idx="35398">
                  <c:v>0.63131799536293898</c:v>
                </c:pt>
                <c:pt idx="35399">
                  <c:v>0.63133583021223405</c:v>
                </c:pt>
                <c:pt idx="35400">
                  <c:v>0.63135366506153001</c:v>
                </c:pt>
                <c:pt idx="35401">
                  <c:v>0.63137149991082497</c:v>
                </c:pt>
                <c:pt idx="35402">
                  <c:v>0.63138933476012105</c:v>
                </c:pt>
                <c:pt idx="35403">
                  <c:v>0.63140716960941601</c:v>
                </c:pt>
                <c:pt idx="35404">
                  <c:v>0.63142500445871197</c:v>
                </c:pt>
                <c:pt idx="35405">
                  <c:v>0.63144283930800704</c:v>
                </c:pt>
                <c:pt idx="35406">
                  <c:v>0.631460674157303</c:v>
                </c:pt>
                <c:pt idx="35407">
                  <c:v>0.63147850900659797</c:v>
                </c:pt>
                <c:pt idx="35408">
                  <c:v>0.63149634385589404</c:v>
                </c:pt>
                <c:pt idx="35409">
                  <c:v>0.631514178705189</c:v>
                </c:pt>
                <c:pt idx="35410">
                  <c:v>0.63153201355448496</c:v>
                </c:pt>
                <c:pt idx="35411">
                  <c:v>0.63154984840378103</c:v>
                </c:pt>
                <c:pt idx="35412">
                  <c:v>0.631567683253076</c:v>
                </c:pt>
                <c:pt idx="35413">
                  <c:v>0.63158551810237196</c:v>
                </c:pt>
                <c:pt idx="35414">
                  <c:v>0.63160335295166703</c:v>
                </c:pt>
                <c:pt idx="35415">
                  <c:v>0.63162118780096299</c:v>
                </c:pt>
                <c:pt idx="35416">
                  <c:v>0.63163902265025795</c:v>
                </c:pt>
                <c:pt idx="35417">
                  <c:v>0.63165685749955403</c:v>
                </c:pt>
                <c:pt idx="35418">
                  <c:v>0.63167469234884899</c:v>
                </c:pt>
                <c:pt idx="35419">
                  <c:v>0.63169252719814495</c:v>
                </c:pt>
                <c:pt idx="35420">
                  <c:v>0.63171036204744002</c:v>
                </c:pt>
                <c:pt idx="35421">
                  <c:v>0.63172819689673598</c:v>
                </c:pt>
                <c:pt idx="35422">
                  <c:v>0.63174603174603094</c:v>
                </c:pt>
                <c:pt idx="35423">
                  <c:v>0.63176386659532702</c:v>
                </c:pt>
                <c:pt idx="35424">
                  <c:v>0.63178170144462198</c:v>
                </c:pt>
                <c:pt idx="35425">
                  <c:v>0.63179953629391805</c:v>
                </c:pt>
                <c:pt idx="35426">
                  <c:v>0.63181737114321301</c:v>
                </c:pt>
                <c:pt idx="35427">
                  <c:v>0.63183520599250897</c:v>
                </c:pt>
                <c:pt idx="35428">
                  <c:v>0.63185304084180405</c:v>
                </c:pt>
                <c:pt idx="35429">
                  <c:v>0.63187087569110001</c:v>
                </c:pt>
                <c:pt idx="35430">
                  <c:v>0.63188871054039597</c:v>
                </c:pt>
                <c:pt idx="35431">
                  <c:v>0.63190654538969104</c:v>
                </c:pt>
                <c:pt idx="35432">
                  <c:v>0.631924380238987</c:v>
                </c:pt>
                <c:pt idx="35433">
                  <c:v>0.63194221508828197</c:v>
                </c:pt>
                <c:pt idx="35434">
                  <c:v>0.63196004993757804</c:v>
                </c:pt>
                <c:pt idx="35435">
                  <c:v>0.631977884786873</c:v>
                </c:pt>
                <c:pt idx="35436">
                  <c:v>0.63199571963616896</c:v>
                </c:pt>
                <c:pt idx="35437">
                  <c:v>0.63201355448546404</c:v>
                </c:pt>
                <c:pt idx="35438">
                  <c:v>0.63203138933476</c:v>
                </c:pt>
                <c:pt idx="35439">
                  <c:v>0.63204922418405496</c:v>
                </c:pt>
                <c:pt idx="35440">
                  <c:v>0.63206705903335103</c:v>
                </c:pt>
                <c:pt idx="35441">
                  <c:v>0.63208489388264599</c:v>
                </c:pt>
                <c:pt idx="35442">
                  <c:v>0.63210272873194195</c:v>
                </c:pt>
                <c:pt idx="35443">
                  <c:v>0.63212056358123703</c:v>
                </c:pt>
                <c:pt idx="35444">
                  <c:v>0.63213839843053299</c:v>
                </c:pt>
                <c:pt idx="35445">
                  <c:v>0.63215623327982795</c:v>
                </c:pt>
                <c:pt idx="35446">
                  <c:v>0.63217406812912402</c:v>
                </c:pt>
                <c:pt idx="35447">
                  <c:v>0.63219190297841898</c:v>
                </c:pt>
                <c:pt idx="35448">
                  <c:v>0.63220973782771495</c:v>
                </c:pt>
                <c:pt idx="35449">
                  <c:v>0.63222757267701002</c:v>
                </c:pt>
                <c:pt idx="35450">
                  <c:v>0.63224540752630598</c:v>
                </c:pt>
                <c:pt idx="35451">
                  <c:v>0.63226324237560105</c:v>
                </c:pt>
                <c:pt idx="35452">
                  <c:v>0.63228107722489701</c:v>
                </c:pt>
                <c:pt idx="35453">
                  <c:v>0.63229891207419298</c:v>
                </c:pt>
                <c:pt idx="35454">
                  <c:v>0.63231674692348805</c:v>
                </c:pt>
                <c:pt idx="35455">
                  <c:v>0.63233458177278401</c:v>
                </c:pt>
                <c:pt idx="35456">
                  <c:v>0.63235241662207897</c:v>
                </c:pt>
                <c:pt idx="35457">
                  <c:v>0.63237025147137504</c:v>
                </c:pt>
                <c:pt idx="35458">
                  <c:v>0.63238808632067001</c:v>
                </c:pt>
                <c:pt idx="35459">
                  <c:v>0.63240592116996597</c:v>
                </c:pt>
                <c:pt idx="35460">
                  <c:v>0.63242375601926104</c:v>
                </c:pt>
                <c:pt idx="35461">
                  <c:v>0.632441590868557</c:v>
                </c:pt>
                <c:pt idx="35462">
                  <c:v>0.63245942571785196</c:v>
                </c:pt>
                <c:pt idx="35463">
                  <c:v>0.63247726056714804</c:v>
                </c:pt>
                <c:pt idx="35464">
                  <c:v>0.632495095416443</c:v>
                </c:pt>
                <c:pt idx="35465">
                  <c:v>0.63251293026573896</c:v>
                </c:pt>
                <c:pt idx="35466">
                  <c:v>0.63253076511503403</c:v>
                </c:pt>
                <c:pt idx="35467">
                  <c:v>0.63254859996432999</c:v>
                </c:pt>
                <c:pt idx="35468">
                  <c:v>0.63256643481362496</c:v>
                </c:pt>
                <c:pt idx="35469">
                  <c:v>0.63258426966292103</c:v>
                </c:pt>
                <c:pt idx="35470">
                  <c:v>0.63260210451221599</c:v>
                </c:pt>
                <c:pt idx="35471">
                  <c:v>0.63261993936151195</c:v>
                </c:pt>
                <c:pt idx="35472">
                  <c:v>0.63263777421080702</c:v>
                </c:pt>
                <c:pt idx="35473">
                  <c:v>0.63265560906010299</c:v>
                </c:pt>
                <c:pt idx="35474">
                  <c:v>0.63267344390939895</c:v>
                </c:pt>
                <c:pt idx="35475">
                  <c:v>0.63269127875869402</c:v>
                </c:pt>
                <c:pt idx="35476">
                  <c:v>0.63270911360798998</c:v>
                </c:pt>
                <c:pt idx="35477">
                  <c:v>0.63272694845728505</c:v>
                </c:pt>
                <c:pt idx="35478">
                  <c:v>0.63274478330658102</c:v>
                </c:pt>
                <c:pt idx="35479">
                  <c:v>0.63276261815587598</c:v>
                </c:pt>
                <c:pt idx="35480">
                  <c:v>0.63278045300517205</c:v>
                </c:pt>
                <c:pt idx="35481">
                  <c:v>0.63279828785446701</c:v>
                </c:pt>
                <c:pt idx="35482">
                  <c:v>0.63281612270376297</c:v>
                </c:pt>
                <c:pt idx="35483">
                  <c:v>0.63283395755305805</c:v>
                </c:pt>
                <c:pt idx="35484">
                  <c:v>0.63285179240235401</c:v>
                </c:pt>
                <c:pt idx="35485">
                  <c:v>0.63286962725164897</c:v>
                </c:pt>
                <c:pt idx="35486">
                  <c:v>0.63288746210094504</c:v>
                </c:pt>
                <c:pt idx="35487">
                  <c:v>0.63290529695024</c:v>
                </c:pt>
                <c:pt idx="35488">
                  <c:v>0.63292313179953597</c:v>
                </c:pt>
                <c:pt idx="35489">
                  <c:v>0.63294096664883104</c:v>
                </c:pt>
                <c:pt idx="35490">
                  <c:v>0.632958801498127</c:v>
                </c:pt>
                <c:pt idx="35491">
                  <c:v>0.63297663634742196</c:v>
                </c:pt>
                <c:pt idx="35492">
                  <c:v>0.63299447119671803</c:v>
                </c:pt>
                <c:pt idx="35493">
                  <c:v>0.633012306046013</c:v>
                </c:pt>
                <c:pt idx="35494">
                  <c:v>0.63303014089530896</c:v>
                </c:pt>
                <c:pt idx="35495">
                  <c:v>0.63304797574460403</c:v>
                </c:pt>
                <c:pt idx="35496">
                  <c:v>0.63306581059389999</c:v>
                </c:pt>
                <c:pt idx="35497">
                  <c:v>0.63308364544319595</c:v>
                </c:pt>
                <c:pt idx="35498">
                  <c:v>0.63310148029249103</c:v>
                </c:pt>
                <c:pt idx="35499">
                  <c:v>0.63311931514178699</c:v>
                </c:pt>
                <c:pt idx="35500">
                  <c:v>0.63313714999108195</c:v>
                </c:pt>
                <c:pt idx="35501">
                  <c:v>0.63315498484037802</c:v>
                </c:pt>
                <c:pt idx="35502">
                  <c:v>0.63317281968967298</c:v>
                </c:pt>
                <c:pt idx="35503">
                  <c:v>0.63319065453896894</c:v>
                </c:pt>
                <c:pt idx="35504">
                  <c:v>0.63320848938826402</c:v>
                </c:pt>
                <c:pt idx="35505">
                  <c:v>0.63322632423755998</c:v>
                </c:pt>
                <c:pt idx="35506">
                  <c:v>0.63324415908685505</c:v>
                </c:pt>
                <c:pt idx="35507">
                  <c:v>0.63326199393615101</c:v>
                </c:pt>
                <c:pt idx="35508">
                  <c:v>0.63327982878544598</c:v>
                </c:pt>
                <c:pt idx="35509">
                  <c:v>0.63329766363474205</c:v>
                </c:pt>
                <c:pt idx="35510">
                  <c:v>0.63331549848403701</c:v>
                </c:pt>
                <c:pt idx="35511">
                  <c:v>0.63333333333333297</c:v>
                </c:pt>
                <c:pt idx="35512">
                  <c:v>0.63335116818262804</c:v>
                </c:pt>
                <c:pt idx="35513">
                  <c:v>0.633369003031924</c:v>
                </c:pt>
                <c:pt idx="35514">
                  <c:v>0.63338683788121897</c:v>
                </c:pt>
                <c:pt idx="35515">
                  <c:v>0.63340467273051504</c:v>
                </c:pt>
                <c:pt idx="35516">
                  <c:v>0.633422507579811</c:v>
                </c:pt>
                <c:pt idx="35517">
                  <c:v>0.63344034242910596</c:v>
                </c:pt>
                <c:pt idx="35518">
                  <c:v>0.63345817727840203</c:v>
                </c:pt>
                <c:pt idx="35519">
                  <c:v>0.633476012127697</c:v>
                </c:pt>
                <c:pt idx="35520">
                  <c:v>0.63349384697699296</c:v>
                </c:pt>
                <c:pt idx="35521">
                  <c:v>0.63351168182628803</c:v>
                </c:pt>
                <c:pt idx="35522">
                  <c:v>0.63352951667558399</c:v>
                </c:pt>
                <c:pt idx="35523">
                  <c:v>0.63354735152487895</c:v>
                </c:pt>
                <c:pt idx="35524">
                  <c:v>0.63356518637417503</c:v>
                </c:pt>
                <c:pt idx="35525">
                  <c:v>0.63358302122346999</c:v>
                </c:pt>
                <c:pt idx="35526">
                  <c:v>0.63360085607276595</c:v>
                </c:pt>
                <c:pt idx="35527">
                  <c:v>0.63361869092206102</c:v>
                </c:pt>
                <c:pt idx="35528">
                  <c:v>0.63363652577135698</c:v>
                </c:pt>
                <c:pt idx="35529">
                  <c:v>0.63365436062065195</c:v>
                </c:pt>
                <c:pt idx="35530">
                  <c:v>0.63367219546994802</c:v>
                </c:pt>
                <c:pt idx="35531">
                  <c:v>0.63369003031924298</c:v>
                </c:pt>
                <c:pt idx="35532">
                  <c:v>0.63370786516853905</c:v>
                </c:pt>
                <c:pt idx="35533">
                  <c:v>0.63372570001783401</c:v>
                </c:pt>
                <c:pt idx="35534">
                  <c:v>0.63374353486712998</c:v>
                </c:pt>
                <c:pt idx="35535">
                  <c:v>0.63376136971642505</c:v>
                </c:pt>
                <c:pt idx="35536">
                  <c:v>0.63377920456572101</c:v>
                </c:pt>
                <c:pt idx="35537">
                  <c:v>0.63379703941501697</c:v>
                </c:pt>
                <c:pt idx="35538">
                  <c:v>0.63381487426431204</c:v>
                </c:pt>
                <c:pt idx="35539">
                  <c:v>0.63383270911360801</c:v>
                </c:pt>
                <c:pt idx="35540">
                  <c:v>0.63385054396290297</c:v>
                </c:pt>
                <c:pt idx="35541">
                  <c:v>0.63386837881219904</c:v>
                </c:pt>
                <c:pt idx="35542">
                  <c:v>0.633886213661494</c:v>
                </c:pt>
                <c:pt idx="35543">
                  <c:v>0.63390404851078996</c:v>
                </c:pt>
                <c:pt idx="35544">
                  <c:v>0.63392188336008504</c:v>
                </c:pt>
                <c:pt idx="35545">
                  <c:v>0.633939718209381</c:v>
                </c:pt>
                <c:pt idx="35546">
                  <c:v>0.63395755305867596</c:v>
                </c:pt>
                <c:pt idx="35547">
                  <c:v>0.63397538790797203</c:v>
                </c:pt>
                <c:pt idx="35548">
                  <c:v>0.63399322275726699</c:v>
                </c:pt>
                <c:pt idx="35549">
                  <c:v>0.63401105760656296</c:v>
                </c:pt>
                <c:pt idx="35550">
                  <c:v>0.63402889245585803</c:v>
                </c:pt>
                <c:pt idx="35551">
                  <c:v>0.63404672730515399</c:v>
                </c:pt>
                <c:pt idx="35552">
                  <c:v>0.63406456215444895</c:v>
                </c:pt>
                <c:pt idx="35553">
                  <c:v>0.63408239700374502</c:v>
                </c:pt>
                <c:pt idx="35554">
                  <c:v>0.63410023185303999</c:v>
                </c:pt>
                <c:pt idx="35555">
                  <c:v>0.63411806670233595</c:v>
                </c:pt>
                <c:pt idx="35556">
                  <c:v>0.63413590155163102</c:v>
                </c:pt>
                <c:pt idx="35557">
                  <c:v>0.63415373640092698</c:v>
                </c:pt>
                <c:pt idx="35558">
                  <c:v>0.63417157125022205</c:v>
                </c:pt>
                <c:pt idx="35559">
                  <c:v>0.63418940609951802</c:v>
                </c:pt>
                <c:pt idx="35560">
                  <c:v>0.63420724094881398</c:v>
                </c:pt>
                <c:pt idx="35561">
                  <c:v>0.63422507579810905</c:v>
                </c:pt>
                <c:pt idx="35562">
                  <c:v>0.63424291064740501</c:v>
                </c:pt>
                <c:pt idx="35563">
                  <c:v>0.63426074549669997</c:v>
                </c:pt>
                <c:pt idx="35564">
                  <c:v>0.63427858034599605</c:v>
                </c:pt>
                <c:pt idx="35565">
                  <c:v>0.63429641519529101</c:v>
                </c:pt>
                <c:pt idx="35566">
                  <c:v>0.63431425004458697</c:v>
                </c:pt>
                <c:pt idx="35567">
                  <c:v>0.63433208489388204</c:v>
                </c:pt>
                <c:pt idx="35568">
                  <c:v>0.634349919743178</c:v>
                </c:pt>
                <c:pt idx="35569">
                  <c:v>0.63436775459247297</c:v>
                </c:pt>
                <c:pt idx="35570">
                  <c:v>0.63438558944176904</c:v>
                </c:pt>
                <c:pt idx="35571">
                  <c:v>0.634403424291064</c:v>
                </c:pt>
                <c:pt idx="35572">
                  <c:v>0.63442125914035996</c:v>
                </c:pt>
                <c:pt idx="35573">
                  <c:v>0.63443909398965503</c:v>
                </c:pt>
                <c:pt idx="35574">
                  <c:v>0.634456928838951</c:v>
                </c:pt>
                <c:pt idx="35575">
                  <c:v>0.63447476368824596</c:v>
                </c:pt>
                <c:pt idx="35576">
                  <c:v>0.63449259853754203</c:v>
                </c:pt>
                <c:pt idx="35577">
                  <c:v>0.63451043338683699</c:v>
                </c:pt>
                <c:pt idx="35578">
                  <c:v>0.63452826823613295</c:v>
                </c:pt>
                <c:pt idx="35579">
                  <c:v>0.63454610308542803</c:v>
                </c:pt>
                <c:pt idx="35580">
                  <c:v>0.63456393793472399</c:v>
                </c:pt>
                <c:pt idx="35581">
                  <c:v>0.63458177278401995</c:v>
                </c:pt>
                <c:pt idx="35582">
                  <c:v>0.63459960763331502</c:v>
                </c:pt>
                <c:pt idx="35583">
                  <c:v>0.63461744248261098</c:v>
                </c:pt>
                <c:pt idx="35584">
                  <c:v>0.63463527733190594</c:v>
                </c:pt>
                <c:pt idx="35585">
                  <c:v>0.63465311218120202</c:v>
                </c:pt>
                <c:pt idx="35586">
                  <c:v>0.63467094703049698</c:v>
                </c:pt>
                <c:pt idx="35587">
                  <c:v>0.63468878187979305</c:v>
                </c:pt>
                <c:pt idx="35588">
                  <c:v>0.63470661672908801</c:v>
                </c:pt>
                <c:pt idx="35589">
                  <c:v>0.63472445157838397</c:v>
                </c:pt>
                <c:pt idx="35590">
                  <c:v>0.63474228642767905</c:v>
                </c:pt>
                <c:pt idx="35591">
                  <c:v>0.63476012127697501</c:v>
                </c:pt>
                <c:pt idx="35592">
                  <c:v>0.63477795612626997</c:v>
                </c:pt>
                <c:pt idx="35593">
                  <c:v>0.63479579097556604</c:v>
                </c:pt>
                <c:pt idx="35594">
                  <c:v>0.63481362582486101</c:v>
                </c:pt>
                <c:pt idx="35595">
                  <c:v>0.63483146067415697</c:v>
                </c:pt>
                <c:pt idx="35596">
                  <c:v>0.63484929552345204</c:v>
                </c:pt>
                <c:pt idx="35597">
                  <c:v>0.634867130372748</c:v>
                </c:pt>
                <c:pt idx="35598">
                  <c:v>0.63488496522204296</c:v>
                </c:pt>
                <c:pt idx="35599">
                  <c:v>0.63490280007133904</c:v>
                </c:pt>
                <c:pt idx="35600">
                  <c:v>0.634920634920634</c:v>
                </c:pt>
                <c:pt idx="35601">
                  <c:v>0.63493846976992996</c:v>
                </c:pt>
                <c:pt idx="35602">
                  <c:v>0.63495630461922503</c:v>
                </c:pt>
                <c:pt idx="35603">
                  <c:v>0.63497413946852099</c:v>
                </c:pt>
                <c:pt idx="35604">
                  <c:v>0.63499197431781695</c:v>
                </c:pt>
                <c:pt idx="35605">
                  <c:v>0.63500980916711203</c:v>
                </c:pt>
                <c:pt idx="35606">
                  <c:v>0.63502764401640799</c:v>
                </c:pt>
                <c:pt idx="35607">
                  <c:v>0.63504547886570295</c:v>
                </c:pt>
                <c:pt idx="35608">
                  <c:v>0.63506331371499902</c:v>
                </c:pt>
                <c:pt idx="35609">
                  <c:v>0.63508114856429398</c:v>
                </c:pt>
                <c:pt idx="35610">
                  <c:v>0.63509898341358995</c:v>
                </c:pt>
                <c:pt idx="35611">
                  <c:v>0.63511681826288502</c:v>
                </c:pt>
                <c:pt idx="35612">
                  <c:v>0.63513465311218098</c:v>
                </c:pt>
                <c:pt idx="35613">
                  <c:v>0.63515248796147605</c:v>
                </c:pt>
                <c:pt idx="35614">
                  <c:v>0.63517032281077201</c:v>
                </c:pt>
                <c:pt idx="35615">
                  <c:v>0.63518815766006698</c:v>
                </c:pt>
                <c:pt idx="35616">
                  <c:v>0.63520599250936305</c:v>
                </c:pt>
                <c:pt idx="35617">
                  <c:v>0.63522382735865801</c:v>
                </c:pt>
                <c:pt idx="35618">
                  <c:v>0.63524166220795397</c:v>
                </c:pt>
                <c:pt idx="35619">
                  <c:v>0.63525949705724905</c:v>
                </c:pt>
                <c:pt idx="35620">
                  <c:v>0.63527733190654501</c:v>
                </c:pt>
                <c:pt idx="35621">
                  <c:v>0.63529516675584097</c:v>
                </c:pt>
                <c:pt idx="35622">
                  <c:v>0.63531300160513604</c:v>
                </c:pt>
                <c:pt idx="35623">
                  <c:v>0.635330836454432</c:v>
                </c:pt>
                <c:pt idx="35624">
                  <c:v>0.63534867130372696</c:v>
                </c:pt>
                <c:pt idx="35625">
                  <c:v>0.63536650615302304</c:v>
                </c:pt>
                <c:pt idx="35626">
                  <c:v>0.635384341002318</c:v>
                </c:pt>
                <c:pt idx="35627">
                  <c:v>0.63540217585161396</c:v>
                </c:pt>
                <c:pt idx="35628">
                  <c:v>0.63542001070090903</c:v>
                </c:pt>
                <c:pt idx="35629">
                  <c:v>0.63543784555020499</c:v>
                </c:pt>
                <c:pt idx="35630">
                  <c:v>0.63545568039949996</c:v>
                </c:pt>
                <c:pt idx="35631">
                  <c:v>0.63547351524879603</c:v>
                </c:pt>
                <c:pt idx="35632">
                  <c:v>0.63549135009809099</c:v>
                </c:pt>
                <c:pt idx="35633">
                  <c:v>0.63550918494738695</c:v>
                </c:pt>
                <c:pt idx="35634">
                  <c:v>0.63552701979668202</c:v>
                </c:pt>
                <c:pt idx="35635">
                  <c:v>0.63554485464597799</c:v>
                </c:pt>
                <c:pt idx="35636">
                  <c:v>0.63556268949527295</c:v>
                </c:pt>
                <c:pt idx="35637">
                  <c:v>0.63558052434456902</c:v>
                </c:pt>
                <c:pt idx="35638">
                  <c:v>0.63559835919386398</c:v>
                </c:pt>
                <c:pt idx="35639">
                  <c:v>0.63561619404316005</c:v>
                </c:pt>
                <c:pt idx="35640">
                  <c:v>0.63563402889245502</c:v>
                </c:pt>
                <c:pt idx="35641">
                  <c:v>0.63565186374175098</c:v>
                </c:pt>
                <c:pt idx="35642">
                  <c:v>0.63566969859104605</c:v>
                </c:pt>
                <c:pt idx="35643">
                  <c:v>0.63568753344034201</c:v>
                </c:pt>
                <c:pt idx="35644">
                  <c:v>0.63570536828963797</c:v>
                </c:pt>
                <c:pt idx="35645">
                  <c:v>0.63572320313893305</c:v>
                </c:pt>
                <c:pt idx="35646">
                  <c:v>0.63574103798822901</c:v>
                </c:pt>
                <c:pt idx="35647">
                  <c:v>0.63575887283752397</c:v>
                </c:pt>
                <c:pt idx="35648">
                  <c:v>0.63577670768682004</c:v>
                </c:pt>
                <c:pt idx="35649">
                  <c:v>0.635794542536115</c:v>
                </c:pt>
                <c:pt idx="35650">
                  <c:v>0.63581237738541097</c:v>
                </c:pt>
                <c:pt idx="35651">
                  <c:v>0.63583021223470604</c:v>
                </c:pt>
                <c:pt idx="35652">
                  <c:v>0.635848047084002</c:v>
                </c:pt>
                <c:pt idx="35653">
                  <c:v>0.63586588193329696</c:v>
                </c:pt>
                <c:pt idx="35654">
                  <c:v>0.63588371678259303</c:v>
                </c:pt>
                <c:pt idx="35655">
                  <c:v>0.635901551631888</c:v>
                </c:pt>
                <c:pt idx="35656">
                  <c:v>0.63591938648118396</c:v>
                </c:pt>
                <c:pt idx="35657">
                  <c:v>0.63593722133047903</c:v>
                </c:pt>
                <c:pt idx="35658">
                  <c:v>0.63595505617977499</c:v>
                </c:pt>
                <c:pt idx="35659">
                  <c:v>0.63597289102906995</c:v>
                </c:pt>
                <c:pt idx="35660">
                  <c:v>0.63599072587836603</c:v>
                </c:pt>
                <c:pt idx="35661">
                  <c:v>0.63600856072766099</c:v>
                </c:pt>
                <c:pt idx="35662">
                  <c:v>0.63602639557695695</c:v>
                </c:pt>
                <c:pt idx="35663">
                  <c:v>0.63604423042625202</c:v>
                </c:pt>
                <c:pt idx="35664">
                  <c:v>0.63606206527554798</c:v>
                </c:pt>
                <c:pt idx="35665">
                  <c:v>0.63607990012484295</c:v>
                </c:pt>
                <c:pt idx="35666">
                  <c:v>0.63609773497413902</c:v>
                </c:pt>
                <c:pt idx="35667">
                  <c:v>0.63611556982343498</c:v>
                </c:pt>
                <c:pt idx="35668">
                  <c:v>0.63613340467273005</c:v>
                </c:pt>
                <c:pt idx="35669">
                  <c:v>0.63615123952202601</c:v>
                </c:pt>
                <c:pt idx="35670">
                  <c:v>0.63616907437132098</c:v>
                </c:pt>
                <c:pt idx="35671">
                  <c:v>0.63618690922061705</c:v>
                </c:pt>
                <c:pt idx="35672">
                  <c:v>0.63620474406991201</c:v>
                </c:pt>
                <c:pt idx="35673">
                  <c:v>0.63622257891920797</c:v>
                </c:pt>
                <c:pt idx="35674">
                  <c:v>0.63624041376850304</c:v>
                </c:pt>
                <c:pt idx="35675">
                  <c:v>0.636258248617799</c:v>
                </c:pt>
                <c:pt idx="35676">
                  <c:v>0.63627608346709397</c:v>
                </c:pt>
                <c:pt idx="35677">
                  <c:v>0.63629391831639004</c:v>
                </c:pt>
                <c:pt idx="35678">
                  <c:v>0.636311753165685</c:v>
                </c:pt>
                <c:pt idx="35679">
                  <c:v>0.63632958801498096</c:v>
                </c:pt>
                <c:pt idx="35680">
                  <c:v>0.63634742286427604</c:v>
                </c:pt>
                <c:pt idx="35681">
                  <c:v>0.636365257713572</c:v>
                </c:pt>
                <c:pt idx="35682">
                  <c:v>0.63638309256286696</c:v>
                </c:pt>
                <c:pt idx="35683">
                  <c:v>0.63640092741216303</c:v>
                </c:pt>
                <c:pt idx="35684">
                  <c:v>0.63641876226145799</c:v>
                </c:pt>
                <c:pt idx="35685">
                  <c:v>0.63643659711075395</c:v>
                </c:pt>
                <c:pt idx="35686">
                  <c:v>0.63645443196004903</c:v>
                </c:pt>
                <c:pt idx="35687">
                  <c:v>0.63647226680934499</c:v>
                </c:pt>
                <c:pt idx="35688">
                  <c:v>0.63649010165864095</c:v>
                </c:pt>
                <c:pt idx="35689">
                  <c:v>0.63650793650793602</c:v>
                </c:pt>
                <c:pt idx="35690">
                  <c:v>0.63652577135723198</c:v>
                </c:pt>
                <c:pt idx="35691">
                  <c:v>0.63654360620652695</c:v>
                </c:pt>
                <c:pt idx="35692">
                  <c:v>0.63656144105582302</c:v>
                </c:pt>
                <c:pt idx="35693">
                  <c:v>0.63657927590511798</c:v>
                </c:pt>
                <c:pt idx="35694">
                  <c:v>0.63659711075441405</c:v>
                </c:pt>
                <c:pt idx="35695">
                  <c:v>0.63661494560370901</c:v>
                </c:pt>
                <c:pt idx="35696">
                  <c:v>0.63663278045300498</c:v>
                </c:pt>
                <c:pt idx="35697">
                  <c:v>0.63665061530230005</c:v>
                </c:pt>
                <c:pt idx="35698">
                  <c:v>0.63666845015159601</c:v>
                </c:pt>
                <c:pt idx="35699">
                  <c:v>0.63668628500089097</c:v>
                </c:pt>
                <c:pt idx="35700">
                  <c:v>0.63670411985018704</c:v>
                </c:pt>
                <c:pt idx="35701">
                  <c:v>0.63672195469948201</c:v>
                </c:pt>
                <c:pt idx="35702">
                  <c:v>0.63673978954877797</c:v>
                </c:pt>
                <c:pt idx="35703">
                  <c:v>0.63675762439807304</c:v>
                </c:pt>
                <c:pt idx="35704">
                  <c:v>0.636775459247369</c:v>
                </c:pt>
                <c:pt idx="35705">
                  <c:v>0.63679329409666396</c:v>
                </c:pt>
                <c:pt idx="35706">
                  <c:v>0.63681112894596004</c:v>
                </c:pt>
                <c:pt idx="35707">
                  <c:v>0.636828963795255</c:v>
                </c:pt>
                <c:pt idx="35708">
                  <c:v>0.63684679864455096</c:v>
                </c:pt>
                <c:pt idx="35709">
                  <c:v>0.63686463349384703</c:v>
                </c:pt>
                <c:pt idx="35710">
                  <c:v>0.63688246834314199</c:v>
                </c:pt>
                <c:pt idx="35711">
                  <c:v>0.63690030319243796</c:v>
                </c:pt>
                <c:pt idx="35712">
                  <c:v>0.63691813804173303</c:v>
                </c:pt>
                <c:pt idx="35713">
                  <c:v>0.63693597289102899</c:v>
                </c:pt>
                <c:pt idx="35714">
                  <c:v>0.63695380774032395</c:v>
                </c:pt>
                <c:pt idx="35715">
                  <c:v>0.63697164258962002</c:v>
                </c:pt>
                <c:pt idx="35716">
                  <c:v>0.63698947743891499</c:v>
                </c:pt>
                <c:pt idx="35717">
                  <c:v>0.63700731228821095</c:v>
                </c:pt>
                <c:pt idx="35718">
                  <c:v>0.63702514713750602</c:v>
                </c:pt>
                <c:pt idx="35719">
                  <c:v>0.63704298198680198</c:v>
                </c:pt>
                <c:pt idx="35720">
                  <c:v>0.63706081683609705</c:v>
                </c:pt>
                <c:pt idx="35721">
                  <c:v>0.63707865168539302</c:v>
                </c:pt>
                <c:pt idx="35722">
                  <c:v>0.63709648653468798</c:v>
                </c:pt>
                <c:pt idx="35723">
                  <c:v>0.63711432138398405</c:v>
                </c:pt>
                <c:pt idx="35724">
                  <c:v>0.63713215623327901</c:v>
                </c:pt>
                <c:pt idx="35725">
                  <c:v>0.63714999108257497</c:v>
                </c:pt>
                <c:pt idx="35726">
                  <c:v>0.63716782593187005</c:v>
                </c:pt>
                <c:pt idx="35727">
                  <c:v>0.63718566078116601</c:v>
                </c:pt>
                <c:pt idx="35728">
                  <c:v>0.63720349563046197</c:v>
                </c:pt>
                <c:pt idx="35729">
                  <c:v>0.63722133047975704</c:v>
                </c:pt>
                <c:pt idx="35730">
                  <c:v>0.637239165329053</c:v>
                </c:pt>
                <c:pt idx="35731">
                  <c:v>0.63725700017834797</c:v>
                </c:pt>
                <c:pt idx="35732">
                  <c:v>0.63727483502764404</c:v>
                </c:pt>
                <c:pt idx="35733">
                  <c:v>0.637292669876939</c:v>
                </c:pt>
                <c:pt idx="35734">
                  <c:v>0.63731050472623496</c:v>
                </c:pt>
                <c:pt idx="35735">
                  <c:v>0.63732833957553003</c:v>
                </c:pt>
                <c:pt idx="35736">
                  <c:v>0.637346174424826</c:v>
                </c:pt>
                <c:pt idx="35737">
                  <c:v>0.63736400927412096</c:v>
                </c:pt>
                <c:pt idx="35738">
                  <c:v>0.63738184412341703</c:v>
                </c:pt>
                <c:pt idx="35739">
                  <c:v>0.63739967897271199</c:v>
                </c:pt>
                <c:pt idx="35740">
                  <c:v>0.63741751382200795</c:v>
                </c:pt>
                <c:pt idx="35741">
                  <c:v>0.63743534867130303</c:v>
                </c:pt>
                <c:pt idx="35742">
                  <c:v>0.63745318352059899</c:v>
                </c:pt>
                <c:pt idx="35743">
                  <c:v>0.63747101836989395</c:v>
                </c:pt>
                <c:pt idx="35744">
                  <c:v>0.63748885321919002</c:v>
                </c:pt>
                <c:pt idx="35745">
                  <c:v>0.63750668806848498</c:v>
                </c:pt>
                <c:pt idx="35746">
                  <c:v>0.63752452291778094</c:v>
                </c:pt>
                <c:pt idx="35747">
                  <c:v>0.63754235776707602</c:v>
                </c:pt>
                <c:pt idx="35748">
                  <c:v>0.63756019261637198</c:v>
                </c:pt>
                <c:pt idx="35749">
                  <c:v>0.63757802746566705</c:v>
                </c:pt>
                <c:pt idx="35750">
                  <c:v>0.63759586231496301</c:v>
                </c:pt>
                <c:pt idx="35751">
                  <c:v>0.63761369716425897</c:v>
                </c:pt>
                <c:pt idx="35752">
                  <c:v>0.63763153201355405</c:v>
                </c:pt>
                <c:pt idx="35753">
                  <c:v>0.63764936686285001</c:v>
                </c:pt>
                <c:pt idx="35754">
                  <c:v>0.63766720171214497</c:v>
                </c:pt>
                <c:pt idx="35755">
                  <c:v>0.63768503656144104</c:v>
                </c:pt>
                <c:pt idx="35756">
                  <c:v>0.63770287141073601</c:v>
                </c:pt>
                <c:pt idx="35757">
                  <c:v>0.63772070626003197</c:v>
                </c:pt>
                <c:pt idx="35758">
                  <c:v>0.63773854110932704</c:v>
                </c:pt>
                <c:pt idx="35759">
                  <c:v>0.637756375958623</c:v>
                </c:pt>
                <c:pt idx="35760">
                  <c:v>0.63777421080791796</c:v>
                </c:pt>
                <c:pt idx="35761">
                  <c:v>0.63779204565721404</c:v>
                </c:pt>
                <c:pt idx="35762">
                  <c:v>0.637809880506509</c:v>
                </c:pt>
                <c:pt idx="35763">
                  <c:v>0.63782771535580496</c:v>
                </c:pt>
                <c:pt idx="35764">
                  <c:v>0.63784555020510003</c:v>
                </c:pt>
                <c:pt idx="35765">
                  <c:v>0.63786338505439599</c:v>
                </c:pt>
                <c:pt idx="35766">
                  <c:v>0.63788121990369095</c:v>
                </c:pt>
                <c:pt idx="35767">
                  <c:v>0.63789905475298703</c:v>
                </c:pt>
                <c:pt idx="35768">
                  <c:v>0.63791688960228199</c:v>
                </c:pt>
                <c:pt idx="35769">
                  <c:v>0.63793472445157795</c:v>
                </c:pt>
                <c:pt idx="35770">
                  <c:v>0.63795255930087302</c:v>
                </c:pt>
                <c:pt idx="35771">
                  <c:v>0.63797039415016898</c:v>
                </c:pt>
                <c:pt idx="35772">
                  <c:v>0.63798822899946495</c:v>
                </c:pt>
                <c:pt idx="35773">
                  <c:v>0.63800606384876002</c:v>
                </c:pt>
                <c:pt idx="35774">
                  <c:v>0.63802389869805598</c:v>
                </c:pt>
                <c:pt idx="35775">
                  <c:v>0.63804173354735105</c:v>
                </c:pt>
                <c:pt idx="35776">
                  <c:v>0.63805956839664701</c:v>
                </c:pt>
                <c:pt idx="35777">
                  <c:v>0.63807740324594198</c:v>
                </c:pt>
                <c:pt idx="35778">
                  <c:v>0.63809523809523805</c:v>
                </c:pt>
                <c:pt idx="35779">
                  <c:v>0.63811307294453301</c:v>
                </c:pt>
                <c:pt idx="35780">
                  <c:v>0.63813090779382897</c:v>
                </c:pt>
                <c:pt idx="35781">
                  <c:v>0.63814874264312405</c:v>
                </c:pt>
                <c:pt idx="35782">
                  <c:v>0.63816657749242001</c:v>
                </c:pt>
                <c:pt idx="35783">
                  <c:v>0.63818441234171497</c:v>
                </c:pt>
                <c:pt idx="35784">
                  <c:v>0.63820224719101104</c:v>
                </c:pt>
                <c:pt idx="35785">
                  <c:v>0.638220082040306</c:v>
                </c:pt>
                <c:pt idx="35786">
                  <c:v>0.63823791688960196</c:v>
                </c:pt>
                <c:pt idx="35787">
                  <c:v>0.63825575173889704</c:v>
                </c:pt>
                <c:pt idx="35788">
                  <c:v>0.638273586588193</c:v>
                </c:pt>
                <c:pt idx="35789">
                  <c:v>0.63829142143748796</c:v>
                </c:pt>
                <c:pt idx="35790">
                  <c:v>0.63830925628678403</c:v>
                </c:pt>
                <c:pt idx="35791">
                  <c:v>0.63832709113607899</c:v>
                </c:pt>
                <c:pt idx="35792">
                  <c:v>0.63834492598537496</c:v>
                </c:pt>
                <c:pt idx="35793">
                  <c:v>0.63836276083467003</c:v>
                </c:pt>
                <c:pt idx="35794">
                  <c:v>0.63838059568396599</c:v>
                </c:pt>
                <c:pt idx="35795">
                  <c:v>0.63839843053326195</c:v>
                </c:pt>
                <c:pt idx="35796">
                  <c:v>0.63841626538255702</c:v>
                </c:pt>
                <c:pt idx="35797">
                  <c:v>0.63843410023185299</c:v>
                </c:pt>
                <c:pt idx="35798">
                  <c:v>0.63845193508114795</c:v>
                </c:pt>
                <c:pt idx="35799">
                  <c:v>0.63846976993044402</c:v>
                </c:pt>
                <c:pt idx="35800">
                  <c:v>0.63848760477973898</c:v>
                </c:pt>
                <c:pt idx="35801">
                  <c:v>0.63850543962903505</c:v>
                </c:pt>
                <c:pt idx="35802">
                  <c:v>0.63852327447833002</c:v>
                </c:pt>
                <c:pt idx="35803">
                  <c:v>0.63854110932762598</c:v>
                </c:pt>
                <c:pt idx="35804">
                  <c:v>0.63855894417692105</c:v>
                </c:pt>
                <c:pt idx="35805">
                  <c:v>0.63857677902621701</c:v>
                </c:pt>
                <c:pt idx="35806">
                  <c:v>0.63859461387551197</c:v>
                </c:pt>
                <c:pt idx="35807">
                  <c:v>0.63861244872480805</c:v>
                </c:pt>
                <c:pt idx="35808">
                  <c:v>0.63863028357410301</c:v>
                </c:pt>
                <c:pt idx="35809">
                  <c:v>0.63864811842339897</c:v>
                </c:pt>
                <c:pt idx="35810">
                  <c:v>0.63866595327269404</c:v>
                </c:pt>
                <c:pt idx="35811">
                  <c:v>0.63868378812199</c:v>
                </c:pt>
                <c:pt idx="35812">
                  <c:v>0.63870162297128497</c:v>
                </c:pt>
                <c:pt idx="35813">
                  <c:v>0.63871945782058104</c:v>
                </c:pt>
                <c:pt idx="35814">
                  <c:v>0.638737292669876</c:v>
                </c:pt>
                <c:pt idx="35815">
                  <c:v>0.63875512751917196</c:v>
                </c:pt>
                <c:pt idx="35816">
                  <c:v>0.63877296236846803</c:v>
                </c:pt>
                <c:pt idx="35817">
                  <c:v>0.638790797217763</c:v>
                </c:pt>
                <c:pt idx="35818">
                  <c:v>0.63880863206705896</c:v>
                </c:pt>
                <c:pt idx="35819">
                  <c:v>0.63882646691635403</c:v>
                </c:pt>
                <c:pt idx="35820">
                  <c:v>0.63884430176564999</c:v>
                </c:pt>
                <c:pt idx="35821">
                  <c:v>0.63886213661494495</c:v>
                </c:pt>
                <c:pt idx="35822">
                  <c:v>0.63887997146424103</c:v>
                </c:pt>
                <c:pt idx="35823">
                  <c:v>0.63889780631353599</c:v>
                </c:pt>
                <c:pt idx="35824">
                  <c:v>0.63891564116283195</c:v>
                </c:pt>
                <c:pt idx="35825">
                  <c:v>0.63893347601212702</c:v>
                </c:pt>
                <c:pt idx="35826">
                  <c:v>0.63895131086142298</c:v>
                </c:pt>
                <c:pt idx="35827">
                  <c:v>0.63896914571071795</c:v>
                </c:pt>
                <c:pt idx="35828">
                  <c:v>0.63898698056001402</c:v>
                </c:pt>
                <c:pt idx="35829">
                  <c:v>0.63900481540930898</c:v>
                </c:pt>
                <c:pt idx="35830">
                  <c:v>0.63902265025860505</c:v>
                </c:pt>
                <c:pt idx="35831">
                  <c:v>0.63904048510790001</c:v>
                </c:pt>
                <c:pt idx="35832">
                  <c:v>0.63905831995719597</c:v>
                </c:pt>
                <c:pt idx="35833">
                  <c:v>0.63907615480649105</c:v>
                </c:pt>
                <c:pt idx="35834">
                  <c:v>0.63909398965578701</c:v>
                </c:pt>
                <c:pt idx="35835">
                  <c:v>0.63911182450508297</c:v>
                </c:pt>
                <c:pt idx="35836">
                  <c:v>0.63912965935437804</c:v>
                </c:pt>
                <c:pt idx="35837">
                  <c:v>0.639147494203674</c:v>
                </c:pt>
                <c:pt idx="35838">
                  <c:v>0.63916532905296897</c:v>
                </c:pt>
                <c:pt idx="35839">
                  <c:v>0.63918316390226504</c:v>
                </c:pt>
                <c:pt idx="35840">
                  <c:v>0.63920099875156</c:v>
                </c:pt>
                <c:pt idx="35841">
                  <c:v>0.63921883360085596</c:v>
                </c:pt>
                <c:pt idx="35842">
                  <c:v>0.63923666845015104</c:v>
                </c:pt>
                <c:pt idx="35843">
                  <c:v>0.639254503299447</c:v>
                </c:pt>
                <c:pt idx="35844">
                  <c:v>0.63927233814874196</c:v>
                </c:pt>
                <c:pt idx="35845">
                  <c:v>0.63929017299803803</c:v>
                </c:pt>
                <c:pt idx="35846">
                  <c:v>0.63930800784733299</c:v>
                </c:pt>
                <c:pt idx="35847">
                  <c:v>0.63932584269662895</c:v>
                </c:pt>
                <c:pt idx="35848">
                  <c:v>0.63934367754592403</c:v>
                </c:pt>
                <c:pt idx="35849">
                  <c:v>0.63936151239521999</c:v>
                </c:pt>
                <c:pt idx="35850">
                  <c:v>0.63937934724451495</c:v>
                </c:pt>
                <c:pt idx="35851">
                  <c:v>0.63939718209381102</c:v>
                </c:pt>
                <c:pt idx="35852">
                  <c:v>0.63941501694310598</c:v>
                </c:pt>
                <c:pt idx="35853">
                  <c:v>0.63943285179240195</c:v>
                </c:pt>
                <c:pt idx="35854">
                  <c:v>0.63945068664169702</c:v>
                </c:pt>
                <c:pt idx="35855">
                  <c:v>0.63946852149099298</c:v>
                </c:pt>
                <c:pt idx="35856">
                  <c:v>0.63948635634028805</c:v>
                </c:pt>
                <c:pt idx="35857">
                  <c:v>0.63950419118958401</c:v>
                </c:pt>
                <c:pt idx="35858">
                  <c:v>0.63952202603887998</c:v>
                </c:pt>
                <c:pt idx="35859">
                  <c:v>0.63953986088817505</c:v>
                </c:pt>
                <c:pt idx="35860">
                  <c:v>0.63955769573747101</c:v>
                </c:pt>
                <c:pt idx="35861">
                  <c:v>0.63957553058676597</c:v>
                </c:pt>
                <c:pt idx="35862">
                  <c:v>0.63959336543606204</c:v>
                </c:pt>
                <c:pt idx="35863">
                  <c:v>0.63961120028535701</c:v>
                </c:pt>
                <c:pt idx="35864">
                  <c:v>0.63962903513465297</c:v>
                </c:pt>
                <c:pt idx="35865">
                  <c:v>0.63964686998394804</c:v>
                </c:pt>
                <c:pt idx="35866">
                  <c:v>0.639664704833244</c:v>
                </c:pt>
                <c:pt idx="35867">
                  <c:v>0.63968253968253896</c:v>
                </c:pt>
                <c:pt idx="35868">
                  <c:v>0.63970037453183504</c:v>
                </c:pt>
                <c:pt idx="35869">
                  <c:v>0.63971820938113</c:v>
                </c:pt>
                <c:pt idx="35870">
                  <c:v>0.63973604423042596</c:v>
                </c:pt>
                <c:pt idx="35871">
                  <c:v>0.63975387907972103</c:v>
                </c:pt>
                <c:pt idx="35872">
                  <c:v>0.63977171392901699</c:v>
                </c:pt>
                <c:pt idx="35873">
                  <c:v>0.63978954877831196</c:v>
                </c:pt>
                <c:pt idx="35874">
                  <c:v>0.63980738362760803</c:v>
                </c:pt>
                <c:pt idx="35875">
                  <c:v>0.63982521847690299</c:v>
                </c:pt>
                <c:pt idx="35876">
                  <c:v>0.63984305332619895</c:v>
                </c:pt>
                <c:pt idx="35877">
                  <c:v>0.63986088817549402</c:v>
                </c:pt>
                <c:pt idx="35878">
                  <c:v>0.63987872302478999</c:v>
                </c:pt>
                <c:pt idx="35879">
                  <c:v>0.63989655787408595</c:v>
                </c:pt>
                <c:pt idx="35880">
                  <c:v>0.63991439272338102</c:v>
                </c:pt>
                <c:pt idx="35881">
                  <c:v>0.63993222757267698</c:v>
                </c:pt>
                <c:pt idx="35882">
                  <c:v>0.63995006242197205</c:v>
                </c:pt>
                <c:pt idx="35883">
                  <c:v>0.63996789727126802</c:v>
                </c:pt>
                <c:pt idx="35884">
                  <c:v>0.63998573212056298</c:v>
                </c:pt>
                <c:pt idx="35885">
                  <c:v>0.64000356696985905</c:v>
                </c:pt>
                <c:pt idx="35886">
                  <c:v>0.64002140181915401</c:v>
                </c:pt>
                <c:pt idx="35887">
                  <c:v>0.64003923666844997</c:v>
                </c:pt>
                <c:pt idx="35888">
                  <c:v>0.64005707151774505</c:v>
                </c:pt>
                <c:pt idx="35889">
                  <c:v>0.64007490636704101</c:v>
                </c:pt>
                <c:pt idx="35890">
                  <c:v>0.64009274121633597</c:v>
                </c:pt>
                <c:pt idx="35891">
                  <c:v>0.64011057606563204</c:v>
                </c:pt>
                <c:pt idx="35892">
                  <c:v>0.640128410914927</c:v>
                </c:pt>
                <c:pt idx="35893">
                  <c:v>0.64014624576422297</c:v>
                </c:pt>
                <c:pt idx="35894">
                  <c:v>0.64016408061351804</c:v>
                </c:pt>
                <c:pt idx="35895">
                  <c:v>0.640181915462814</c:v>
                </c:pt>
                <c:pt idx="35896">
                  <c:v>0.64019975031210896</c:v>
                </c:pt>
                <c:pt idx="35897">
                  <c:v>0.64021758516140503</c:v>
                </c:pt>
                <c:pt idx="35898">
                  <c:v>0.6402354200107</c:v>
                </c:pt>
                <c:pt idx="35899">
                  <c:v>0.64025325485999596</c:v>
                </c:pt>
                <c:pt idx="35900">
                  <c:v>0.64027108970929103</c:v>
                </c:pt>
                <c:pt idx="35901">
                  <c:v>0.64028892455858699</c:v>
                </c:pt>
                <c:pt idx="35902">
                  <c:v>0.64030675940788295</c:v>
                </c:pt>
                <c:pt idx="35903">
                  <c:v>0.64032459425717803</c:v>
                </c:pt>
                <c:pt idx="35904">
                  <c:v>0.64034242910647399</c:v>
                </c:pt>
                <c:pt idx="35905">
                  <c:v>0.64036026395576895</c:v>
                </c:pt>
                <c:pt idx="35906">
                  <c:v>0.64037809880506502</c:v>
                </c:pt>
                <c:pt idx="35907">
                  <c:v>0.64039593365435998</c:v>
                </c:pt>
                <c:pt idx="35908">
                  <c:v>0.64041376850365594</c:v>
                </c:pt>
                <c:pt idx="35909">
                  <c:v>0.64043160335295102</c:v>
                </c:pt>
                <c:pt idx="35910">
                  <c:v>0.64044943820224698</c:v>
                </c:pt>
                <c:pt idx="35911">
                  <c:v>0.64046727305154205</c:v>
                </c:pt>
                <c:pt idx="35912">
                  <c:v>0.64048510790083801</c:v>
                </c:pt>
                <c:pt idx="35913">
                  <c:v>0.64050294275013298</c:v>
                </c:pt>
                <c:pt idx="35914">
                  <c:v>0.64052077759942905</c:v>
                </c:pt>
                <c:pt idx="35915">
                  <c:v>0.64053861244872401</c:v>
                </c:pt>
                <c:pt idx="35916">
                  <c:v>0.64055644729801997</c:v>
                </c:pt>
                <c:pt idx="35917">
                  <c:v>0.64057428214731504</c:v>
                </c:pt>
                <c:pt idx="35918">
                  <c:v>0.64059211699661101</c:v>
                </c:pt>
                <c:pt idx="35919">
                  <c:v>0.64060995184590597</c:v>
                </c:pt>
                <c:pt idx="35920">
                  <c:v>0.64062778669520204</c:v>
                </c:pt>
                <c:pt idx="35921">
                  <c:v>0.640645621544498</c:v>
                </c:pt>
                <c:pt idx="35922">
                  <c:v>0.64066345639379296</c:v>
                </c:pt>
                <c:pt idx="35923">
                  <c:v>0.64068129124308903</c:v>
                </c:pt>
                <c:pt idx="35924">
                  <c:v>0.640699126092384</c:v>
                </c:pt>
                <c:pt idx="35925">
                  <c:v>0.64071696094167996</c:v>
                </c:pt>
                <c:pt idx="35926">
                  <c:v>0.64073479579097503</c:v>
                </c:pt>
                <c:pt idx="35927">
                  <c:v>0.64075263064027099</c:v>
                </c:pt>
                <c:pt idx="35928">
                  <c:v>0.64077046548956595</c:v>
                </c:pt>
                <c:pt idx="35929">
                  <c:v>0.64078830033886203</c:v>
                </c:pt>
                <c:pt idx="35930">
                  <c:v>0.64080613518815699</c:v>
                </c:pt>
                <c:pt idx="35931">
                  <c:v>0.64082397003745295</c:v>
                </c:pt>
                <c:pt idx="35932">
                  <c:v>0.64084180488674802</c:v>
                </c:pt>
                <c:pt idx="35933">
                  <c:v>0.64085963973604398</c:v>
                </c:pt>
                <c:pt idx="35934">
                  <c:v>0.64087747458533895</c:v>
                </c:pt>
                <c:pt idx="35935">
                  <c:v>0.64089530943463502</c:v>
                </c:pt>
                <c:pt idx="35936">
                  <c:v>0.64091314428392998</c:v>
                </c:pt>
                <c:pt idx="35937">
                  <c:v>0.64093097913322605</c:v>
                </c:pt>
                <c:pt idx="35938">
                  <c:v>0.64094881398252102</c:v>
                </c:pt>
                <c:pt idx="35939">
                  <c:v>0.64096664883181698</c:v>
                </c:pt>
                <c:pt idx="35940">
                  <c:v>0.64098448368111205</c:v>
                </c:pt>
                <c:pt idx="35941">
                  <c:v>0.64100231853040801</c:v>
                </c:pt>
                <c:pt idx="35942">
                  <c:v>0.64102015337970397</c:v>
                </c:pt>
                <c:pt idx="35943">
                  <c:v>0.64103798822899904</c:v>
                </c:pt>
                <c:pt idx="35944">
                  <c:v>0.64105582307829501</c:v>
                </c:pt>
                <c:pt idx="35945">
                  <c:v>0.64107365792758997</c:v>
                </c:pt>
                <c:pt idx="35946">
                  <c:v>0.64109149277688604</c:v>
                </c:pt>
                <c:pt idx="35947">
                  <c:v>0.641109327626181</c:v>
                </c:pt>
                <c:pt idx="35948">
                  <c:v>0.64112716247547696</c:v>
                </c:pt>
                <c:pt idx="35949">
                  <c:v>0.64114499732477204</c:v>
                </c:pt>
                <c:pt idx="35950">
                  <c:v>0.641162832174068</c:v>
                </c:pt>
                <c:pt idx="35951">
                  <c:v>0.64118066702336296</c:v>
                </c:pt>
                <c:pt idx="35952">
                  <c:v>0.64119850187265903</c:v>
                </c:pt>
                <c:pt idx="35953">
                  <c:v>0.64121633672195399</c:v>
                </c:pt>
                <c:pt idx="35954">
                  <c:v>0.64123417157124996</c:v>
                </c:pt>
                <c:pt idx="35955">
                  <c:v>0.64125200642054503</c:v>
                </c:pt>
                <c:pt idx="35956">
                  <c:v>0.64126984126984099</c:v>
                </c:pt>
                <c:pt idx="35957">
                  <c:v>0.64128767611913595</c:v>
                </c:pt>
                <c:pt idx="35958">
                  <c:v>0.64130551096843202</c:v>
                </c:pt>
                <c:pt idx="35959">
                  <c:v>0.64132334581772699</c:v>
                </c:pt>
                <c:pt idx="35960">
                  <c:v>0.64134118066702295</c:v>
                </c:pt>
                <c:pt idx="35961">
                  <c:v>0.64135901551631802</c:v>
                </c:pt>
                <c:pt idx="35962">
                  <c:v>0.64137685036561398</c:v>
                </c:pt>
                <c:pt idx="35963">
                  <c:v>0.64139468521490905</c:v>
                </c:pt>
                <c:pt idx="35964">
                  <c:v>0.64141252006420502</c:v>
                </c:pt>
                <c:pt idx="35965">
                  <c:v>0.64143035491350098</c:v>
                </c:pt>
                <c:pt idx="35966">
                  <c:v>0.64144818976279605</c:v>
                </c:pt>
                <c:pt idx="35967">
                  <c:v>0.64146602461209201</c:v>
                </c:pt>
                <c:pt idx="35968">
                  <c:v>0.64148385946138697</c:v>
                </c:pt>
                <c:pt idx="35969">
                  <c:v>0.64150169431068305</c:v>
                </c:pt>
                <c:pt idx="35970">
                  <c:v>0.64151952915997801</c:v>
                </c:pt>
                <c:pt idx="35971">
                  <c:v>0.64153736400927397</c:v>
                </c:pt>
                <c:pt idx="35972">
                  <c:v>0.64155519885856904</c:v>
                </c:pt>
                <c:pt idx="35973">
                  <c:v>0.641573033707865</c:v>
                </c:pt>
                <c:pt idx="35974">
                  <c:v>0.64159086855715997</c:v>
                </c:pt>
                <c:pt idx="35975">
                  <c:v>0.64160870340645604</c:v>
                </c:pt>
                <c:pt idx="35976">
                  <c:v>0.641626538255751</c:v>
                </c:pt>
                <c:pt idx="35977">
                  <c:v>0.64164437310504696</c:v>
                </c:pt>
                <c:pt idx="35978">
                  <c:v>0.64166220795434203</c:v>
                </c:pt>
                <c:pt idx="35979">
                  <c:v>0.641680042803638</c:v>
                </c:pt>
                <c:pt idx="35980">
                  <c:v>0.64169787765293296</c:v>
                </c:pt>
                <c:pt idx="35981">
                  <c:v>0.64171571250222903</c:v>
                </c:pt>
                <c:pt idx="35982">
                  <c:v>0.64173354735152399</c:v>
                </c:pt>
                <c:pt idx="35983">
                  <c:v>0.64175138220081995</c:v>
                </c:pt>
                <c:pt idx="35984">
                  <c:v>0.64176921705011503</c:v>
                </c:pt>
                <c:pt idx="35985">
                  <c:v>0.64178705189941099</c:v>
                </c:pt>
                <c:pt idx="35986">
                  <c:v>0.64180488674870695</c:v>
                </c:pt>
                <c:pt idx="35987">
                  <c:v>0.64182272159800202</c:v>
                </c:pt>
                <c:pt idx="35988">
                  <c:v>0.64184055644729798</c:v>
                </c:pt>
                <c:pt idx="35989">
                  <c:v>0.64185839129659294</c:v>
                </c:pt>
                <c:pt idx="35990">
                  <c:v>0.64187622614588902</c:v>
                </c:pt>
                <c:pt idx="35991">
                  <c:v>0.64189406099518398</c:v>
                </c:pt>
                <c:pt idx="35992">
                  <c:v>0.64191189584448005</c:v>
                </c:pt>
                <c:pt idx="35993">
                  <c:v>0.64192973069377501</c:v>
                </c:pt>
                <c:pt idx="35994">
                  <c:v>0.64194756554307097</c:v>
                </c:pt>
                <c:pt idx="35995">
                  <c:v>0.64196540039236605</c:v>
                </c:pt>
                <c:pt idx="35996">
                  <c:v>0.64198323524166201</c:v>
                </c:pt>
                <c:pt idx="35997">
                  <c:v>0.64200107009095697</c:v>
                </c:pt>
                <c:pt idx="35998">
                  <c:v>0.64201890494025304</c:v>
                </c:pt>
                <c:pt idx="35999">
                  <c:v>0.64203673978954801</c:v>
                </c:pt>
                <c:pt idx="36000">
                  <c:v>0.64205457463884397</c:v>
                </c:pt>
                <c:pt idx="36001">
                  <c:v>0.64207240948813904</c:v>
                </c:pt>
                <c:pt idx="36002">
                  <c:v>0.642090244337435</c:v>
                </c:pt>
                <c:pt idx="36003">
                  <c:v>0.64210807918672996</c:v>
                </c:pt>
                <c:pt idx="36004">
                  <c:v>0.64212591403602604</c:v>
                </c:pt>
                <c:pt idx="36005">
                  <c:v>0.642143748885321</c:v>
                </c:pt>
                <c:pt idx="36006">
                  <c:v>0.64216158373461696</c:v>
                </c:pt>
                <c:pt idx="36007">
                  <c:v>0.64217941858391203</c:v>
                </c:pt>
                <c:pt idx="36008">
                  <c:v>0.64219725343320799</c:v>
                </c:pt>
                <c:pt idx="36009">
                  <c:v>0.64221508828250395</c:v>
                </c:pt>
                <c:pt idx="36010">
                  <c:v>0.64223292313179903</c:v>
                </c:pt>
                <c:pt idx="36011">
                  <c:v>0.64225075798109499</c:v>
                </c:pt>
                <c:pt idx="36012">
                  <c:v>0.64226859283038995</c:v>
                </c:pt>
                <c:pt idx="36013">
                  <c:v>0.64228642767968602</c:v>
                </c:pt>
                <c:pt idx="36014">
                  <c:v>0.64230426252898098</c:v>
                </c:pt>
                <c:pt idx="36015">
                  <c:v>0.64232209737827695</c:v>
                </c:pt>
                <c:pt idx="36016">
                  <c:v>0.64233993222757202</c:v>
                </c:pt>
                <c:pt idx="36017">
                  <c:v>0.64235776707686798</c:v>
                </c:pt>
                <c:pt idx="36018">
                  <c:v>0.64237560192616305</c:v>
                </c:pt>
                <c:pt idx="36019">
                  <c:v>0.64239343677545901</c:v>
                </c:pt>
                <c:pt idx="36020">
                  <c:v>0.64241127162475398</c:v>
                </c:pt>
                <c:pt idx="36021">
                  <c:v>0.64242910647405005</c:v>
                </c:pt>
                <c:pt idx="36022">
                  <c:v>0.64244694132334501</c:v>
                </c:pt>
                <c:pt idx="36023">
                  <c:v>0.64246477617264097</c:v>
                </c:pt>
                <c:pt idx="36024">
                  <c:v>0.64248261102193605</c:v>
                </c:pt>
                <c:pt idx="36025">
                  <c:v>0.64250044587123201</c:v>
                </c:pt>
                <c:pt idx="36026">
                  <c:v>0.64251828072052697</c:v>
                </c:pt>
                <c:pt idx="36027">
                  <c:v>0.64253611556982304</c:v>
                </c:pt>
                <c:pt idx="36028">
                  <c:v>0.642553950419119</c:v>
                </c:pt>
                <c:pt idx="36029">
                  <c:v>0.64257178526841396</c:v>
                </c:pt>
                <c:pt idx="36030">
                  <c:v>0.64258962011771004</c:v>
                </c:pt>
                <c:pt idx="36031">
                  <c:v>0.642607454967005</c:v>
                </c:pt>
                <c:pt idx="36032">
                  <c:v>0.64262528981630096</c:v>
                </c:pt>
                <c:pt idx="36033">
                  <c:v>0.64264312466559603</c:v>
                </c:pt>
                <c:pt idx="36034">
                  <c:v>0.64266095951489199</c:v>
                </c:pt>
                <c:pt idx="36035">
                  <c:v>0.64267879436418696</c:v>
                </c:pt>
                <c:pt idx="36036">
                  <c:v>0.64269662921348303</c:v>
                </c:pt>
                <c:pt idx="36037">
                  <c:v>0.64271446406277799</c:v>
                </c:pt>
                <c:pt idx="36038">
                  <c:v>0.64273229891207395</c:v>
                </c:pt>
                <c:pt idx="36039">
                  <c:v>0.64275013376136902</c:v>
                </c:pt>
                <c:pt idx="36040">
                  <c:v>0.64276796861066499</c:v>
                </c:pt>
                <c:pt idx="36041">
                  <c:v>0.64278580345995995</c:v>
                </c:pt>
                <c:pt idx="36042">
                  <c:v>0.64280363830925602</c:v>
                </c:pt>
                <c:pt idx="36043">
                  <c:v>0.64282147315855098</c:v>
                </c:pt>
                <c:pt idx="36044">
                  <c:v>0.64283930800784705</c:v>
                </c:pt>
                <c:pt idx="36045">
                  <c:v>0.64285714285714202</c:v>
                </c:pt>
                <c:pt idx="36046">
                  <c:v>0.64287497770643798</c:v>
                </c:pt>
                <c:pt idx="36047">
                  <c:v>0.64289281255573305</c:v>
                </c:pt>
                <c:pt idx="36048">
                  <c:v>0.64291064740502901</c:v>
                </c:pt>
                <c:pt idx="36049">
                  <c:v>0.64292848225432497</c:v>
                </c:pt>
                <c:pt idx="36050">
                  <c:v>0.64294631710362005</c:v>
                </c:pt>
                <c:pt idx="36051">
                  <c:v>0.64296415195291601</c:v>
                </c:pt>
                <c:pt idx="36052">
                  <c:v>0.64298198680221097</c:v>
                </c:pt>
                <c:pt idx="36053">
                  <c:v>0.64299982165150704</c:v>
                </c:pt>
                <c:pt idx="36054">
                  <c:v>0.643017656500802</c:v>
                </c:pt>
                <c:pt idx="36055">
                  <c:v>0.64303549135009797</c:v>
                </c:pt>
                <c:pt idx="36056">
                  <c:v>0.64305332619939304</c:v>
                </c:pt>
                <c:pt idx="36057">
                  <c:v>0.643071161048689</c:v>
                </c:pt>
                <c:pt idx="36058">
                  <c:v>0.64308899589798396</c:v>
                </c:pt>
                <c:pt idx="36059">
                  <c:v>0.64310683074728003</c:v>
                </c:pt>
                <c:pt idx="36060">
                  <c:v>0.643124665596575</c:v>
                </c:pt>
                <c:pt idx="36061">
                  <c:v>0.64314250044587096</c:v>
                </c:pt>
                <c:pt idx="36062">
                  <c:v>0.64316033529516603</c:v>
                </c:pt>
                <c:pt idx="36063">
                  <c:v>0.64317817014446199</c:v>
                </c:pt>
                <c:pt idx="36064">
                  <c:v>0.64319600499375695</c:v>
                </c:pt>
                <c:pt idx="36065">
                  <c:v>0.64321383984305303</c:v>
                </c:pt>
                <c:pt idx="36066">
                  <c:v>0.64323167469234799</c:v>
                </c:pt>
                <c:pt idx="36067">
                  <c:v>0.64324950954164395</c:v>
                </c:pt>
                <c:pt idx="36068">
                  <c:v>0.64326734439093902</c:v>
                </c:pt>
                <c:pt idx="36069">
                  <c:v>0.64328517924023498</c:v>
                </c:pt>
                <c:pt idx="36070">
                  <c:v>0.64330301408953094</c:v>
                </c:pt>
                <c:pt idx="36071">
                  <c:v>0.64332084893882602</c:v>
                </c:pt>
                <c:pt idx="36072">
                  <c:v>0.64333868378812198</c:v>
                </c:pt>
                <c:pt idx="36073">
                  <c:v>0.64335651863741705</c:v>
                </c:pt>
                <c:pt idx="36074">
                  <c:v>0.64337435348671301</c:v>
                </c:pt>
                <c:pt idx="36075">
                  <c:v>0.64339218833600798</c:v>
                </c:pt>
                <c:pt idx="36076">
                  <c:v>0.64341002318530405</c:v>
                </c:pt>
                <c:pt idx="36077">
                  <c:v>0.64342785803459901</c:v>
                </c:pt>
                <c:pt idx="36078">
                  <c:v>0.64344569288389497</c:v>
                </c:pt>
                <c:pt idx="36079">
                  <c:v>0.64346352773319004</c:v>
                </c:pt>
                <c:pt idx="36080">
                  <c:v>0.64348136258248601</c:v>
                </c:pt>
                <c:pt idx="36081">
                  <c:v>0.64349919743178097</c:v>
                </c:pt>
                <c:pt idx="36082">
                  <c:v>0.64351703228107704</c:v>
                </c:pt>
                <c:pt idx="36083">
                  <c:v>0.643534867130372</c:v>
                </c:pt>
                <c:pt idx="36084">
                  <c:v>0.64355270197966796</c:v>
                </c:pt>
                <c:pt idx="36085">
                  <c:v>0.64357053682896304</c:v>
                </c:pt>
                <c:pt idx="36086">
                  <c:v>0.643588371678259</c:v>
                </c:pt>
                <c:pt idx="36087">
                  <c:v>0.64360620652755396</c:v>
                </c:pt>
                <c:pt idx="36088">
                  <c:v>0.64362404137685003</c:v>
                </c:pt>
                <c:pt idx="36089">
                  <c:v>0.64364187622614499</c:v>
                </c:pt>
                <c:pt idx="36090">
                  <c:v>0.64365971107544095</c:v>
                </c:pt>
                <c:pt idx="36091">
                  <c:v>0.64367754592473603</c:v>
                </c:pt>
                <c:pt idx="36092">
                  <c:v>0.64369538077403199</c:v>
                </c:pt>
                <c:pt idx="36093">
                  <c:v>0.64371321562332795</c:v>
                </c:pt>
                <c:pt idx="36094">
                  <c:v>0.64373105047262302</c:v>
                </c:pt>
                <c:pt idx="36095">
                  <c:v>0.64374888532191898</c:v>
                </c:pt>
                <c:pt idx="36096">
                  <c:v>0.64376672017121395</c:v>
                </c:pt>
                <c:pt idx="36097">
                  <c:v>0.64378455502051002</c:v>
                </c:pt>
                <c:pt idx="36098">
                  <c:v>0.64380238986980498</c:v>
                </c:pt>
                <c:pt idx="36099">
                  <c:v>0.64382022471910105</c:v>
                </c:pt>
                <c:pt idx="36100">
                  <c:v>0.64383805956839602</c:v>
                </c:pt>
                <c:pt idx="36101">
                  <c:v>0.64385589441769198</c:v>
                </c:pt>
                <c:pt idx="36102">
                  <c:v>0.64387372926698705</c:v>
                </c:pt>
                <c:pt idx="36103">
                  <c:v>0.64389156411628301</c:v>
                </c:pt>
                <c:pt idx="36104">
                  <c:v>0.64390939896557797</c:v>
                </c:pt>
                <c:pt idx="36105">
                  <c:v>0.64392723381487404</c:v>
                </c:pt>
                <c:pt idx="36106">
                  <c:v>0.64394506866416901</c:v>
                </c:pt>
                <c:pt idx="36107">
                  <c:v>0.64396290351346497</c:v>
                </c:pt>
                <c:pt idx="36108">
                  <c:v>0.64398073836276004</c:v>
                </c:pt>
                <c:pt idx="36109">
                  <c:v>0.643998573212056</c:v>
                </c:pt>
                <c:pt idx="36110">
                  <c:v>0.64401640806135096</c:v>
                </c:pt>
                <c:pt idx="36111">
                  <c:v>0.64403424291064704</c:v>
                </c:pt>
                <c:pt idx="36112">
                  <c:v>0.644052077759942</c:v>
                </c:pt>
                <c:pt idx="36113">
                  <c:v>0.64406991260923796</c:v>
                </c:pt>
                <c:pt idx="36114">
                  <c:v>0.64408774745853303</c:v>
                </c:pt>
                <c:pt idx="36115">
                  <c:v>0.64410558230782899</c:v>
                </c:pt>
                <c:pt idx="36116">
                  <c:v>0.64412341715712496</c:v>
                </c:pt>
                <c:pt idx="36117">
                  <c:v>0.64414125200642003</c:v>
                </c:pt>
                <c:pt idx="36118">
                  <c:v>0.64415908685571599</c:v>
                </c:pt>
                <c:pt idx="36119">
                  <c:v>0.64417692170501095</c:v>
                </c:pt>
                <c:pt idx="36120">
                  <c:v>0.64419475655430702</c:v>
                </c:pt>
                <c:pt idx="36121">
                  <c:v>0.64421259140360199</c:v>
                </c:pt>
                <c:pt idx="36122">
                  <c:v>0.64423042625289795</c:v>
                </c:pt>
                <c:pt idx="36123">
                  <c:v>0.64424826110219302</c:v>
                </c:pt>
                <c:pt idx="36124">
                  <c:v>0.64426609595148898</c:v>
                </c:pt>
                <c:pt idx="36125">
                  <c:v>0.64428393080078405</c:v>
                </c:pt>
                <c:pt idx="36126">
                  <c:v>0.64430176565008002</c:v>
                </c:pt>
                <c:pt idx="36127">
                  <c:v>0.64431960049937498</c:v>
                </c:pt>
                <c:pt idx="36128">
                  <c:v>0.64433743534867105</c:v>
                </c:pt>
                <c:pt idx="36129">
                  <c:v>0.64435527019796601</c:v>
                </c:pt>
                <c:pt idx="36130">
                  <c:v>0.64437310504726197</c:v>
                </c:pt>
                <c:pt idx="36131">
                  <c:v>0.64439093989655705</c:v>
                </c:pt>
                <c:pt idx="36132">
                  <c:v>0.64440877474585301</c:v>
                </c:pt>
                <c:pt idx="36133">
                  <c:v>0.64442660959514897</c:v>
                </c:pt>
                <c:pt idx="36134">
                  <c:v>0.64444444444444404</c:v>
                </c:pt>
                <c:pt idx="36135">
                  <c:v>0.64446227929374</c:v>
                </c:pt>
                <c:pt idx="36136">
                  <c:v>0.64448011414303497</c:v>
                </c:pt>
                <c:pt idx="36137">
                  <c:v>0.64449794899233104</c:v>
                </c:pt>
                <c:pt idx="36138">
                  <c:v>0.644515783841626</c:v>
                </c:pt>
                <c:pt idx="36139">
                  <c:v>0.64453361869092196</c:v>
                </c:pt>
                <c:pt idx="36140">
                  <c:v>0.64455145354021703</c:v>
                </c:pt>
                <c:pt idx="36141">
                  <c:v>0.644569288389513</c:v>
                </c:pt>
                <c:pt idx="36142">
                  <c:v>0.64458712323880796</c:v>
                </c:pt>
                <c:pt idx="36143">
                  <c:v>0.64460495808810403</c:v>
                </c:pt>
                <c:pt idx="36144">
                  <c:v>0.64462279293739899</c:v>
                </c:pt>
                <c:pt idx="36145">
                  <c:v>0.64464062778669495</c:v>
                </c:pt>
                <c:pt idx="36146">
                  <c:v>0.64465846263599003</c:v>
                </c:pt>
                <c:pt idx="36147">
                  <c:v>0.64467629748528599</c:v>
                </c:pt>
                <c:pt idx="36148">
                  <c:v>0.64469413233458095</c:v>
                </c:pt>
                <c:pt idx="36149">
                  <c:v>0.64471196718387702</c:v>
                </c:pt>
                <c:pt idx="36150">
                  <c:v>0.64472980203317198</c:v>
                </c:pt>
                <c:pt idx="36151">
                  <c:v>0.64474763688246794</c:v>
                </c:pt>
                <c:pt idx="36152">
                  <c:v>0.64476547173176302</c:v>
                </c:pt>
                <c:pt idx="36153">
                  <c:v>0.64478330658105898</c:v>
                </c:pt>
                <c:pt idx="36154">
                  <c:v>0.64480114143035405</c:v>
                </c:pt>
                <c:pt idx="36155">
                  <c:v>0.64481897627965001</c:v>
                </c:pt>
                <c:pt idx="36156">
                  <c:v>0.64483681112894597</c:v>
                </c:pt>
                <c:pt idx="36157">
                  <c:v>0.64485464597824105</c:v>
                </c:pt>
                <c:pt idx="36158">
                  <c:v>0.64487248082753701</c:v>
                </c:pt>
                <c:pt idx="36159">
                  <c:v>0.64489031567683197</c:v>
                </c:pt>
                <c:pt idx="36160">
                  <c:v>0.64490815052612804</c:v>
                </c:pt>
                <c:pt idx="36161">
                  <c:v>0.64492598537542301</c:v>
                </c:pt>
                <c:pt idx="36162">
                  <c:v>0.64494382022471897</c:v>
                </c:pt>
                <c:pt idx="36163">
                  <c:v>0.64496165507401404</c:v>
                </c:pt>
                <c:pt idx="36164">
                  <c:v>0.64497948992331</c:v>
                </c:pt>
                <c:pt idx="36165">
                  <c:v>0.64499732477260496</c:v>
                </c:pt>
                <c:pt idx="36166">
                  <c:v>0.64501515962190104</c:v>
                </c:pt>
                <c:pt idx="36167">
                  <c:v>0.645032994471196</c:v>
                </c:pt>
                <c:pt idx="36168">
                  <c:v>0.64505082932049196</c:v>
                </c:pt>
                <c:pt idx="36169">
                  <c:v>0.64506866416978703</c:v>
                </c:pt>
                <c:pt idx="36170">
                  <c:v>0.64508649901908299</c:v>
                </c:pt>
                <c:pt idx="36171">
                  <c:v>0.64510433386837795</c:v>
                </c:pt>
                <c:pt idx="36172">
                  <c:v>0.64512216871767403</c:v>
                </c:pt>
                <c:pt idx="36173">
                  <c:v>0.64514000356696899</c:v>
                </c:pt>
                <c:pt idx="36174">
                  <c:v>0.64515783841626495</c:v>
                </c:pt>
                <c:pt idx="36175">
                  <c:v>0.64517567326556002</c:v>
                </c:pt>
                <c:pt idx="36176">
                  <c:v>0.64519350811485598</c:v>
                </c:pt>
                <c:pt idx="36177">
                  <c:v>0.64521134296415195</c:v>
                </c:pt>
                <c:pt idx="36178">
                  <c:v>0.64522917781344702</c:v>
                </c:pt>
                <c:pt idx="36179">
                  <c:v>0.64524701266274298</c:v>
                </c:pt>
                <c:pt idx="36180">
                  <c:v>0.64526484751203805</c:v>
                </c:pt>
                <c:pt idx="36181">
                  <c:v>0.64528268236133401</c:v>
                </c:pt>
                <c:pt idx="36182">
                  <c:v>0.64530051721062898</c:v>
                </c:pt>
                <c:pt idx="36183">
                  <c:v>0.64531835205992505</c:v>
                </c:pt>
                <c:pt idx="36184">
                  <c:v>0.64533618690922001</c:v>
                </c:pt>
                <c:pt idx="36185">
                  <c:v>0.64535402175851597</c:v>
                </c:pt>
                <c:pt idx="36186">
                  <c:v>0.64537185660781105</c:v>
                </c:pt>
                <c:pt idx="36187">
                  <c:v>0.64538969145710701</c:v>
                </c:pt>
                <c:pt idx="36188">
                  <c:v>0.64540752630640197</c:v>
                </c:pt>
                <c:pt idx="36189">
                  <c:v>0.64542536115569804</c:v>
                </c:pt>
                <c:pt idx="36190">
                  <c:v>0.645443196004993</c:v>
                </c:pt>
                <c:pt idx="36191">
                  <c:v>0.64546103085428896</c:v>
                </c:pt>
                <c:pt idx="36192">
                  <c:v>0.64547886570358404</c:v>
                </c:pt>
                <c:pt idx="36193">
                  <c:v>0.64549670055288</c:v>
                </c:pt>
                <c:pt idx="36194">
                  <c:v>0.64551453540217496</c:v>
                </c:pt>
                <c:pt idx="36195">
                  <c:v>0.64553237025147103</c:v>
                </c:pt>
                <c:pt idx="36196">
                  <c:v>0.64555020510076599</c:v>
                </c:pt>
                <c:pt idx="36197">
                  <c:v>0.64556803995006196</c:v>
                </c:pt>
                <c:pt idx="36198">
                  <c:v>0.64558587479935703</c:v>
                </c:pt>
                <c:pt idx="36199">
                  <c:v>0.64560370964865299</c:v>
                </c:pt>
                <c:pt idx="36200">
                  <c:v>0.64562154449794895</c:v>
                </c:pt>
                <c:pt idx="36201">
                  <c:v>0.64563937934724402</c:v>
                </c:pt>
                <c:pt idx="36202">
                  <c:v>0.64565721419653999</c:v>
                </c:pt>
                <c:pt idx="36203">
                  <c:v>0.64567504904583495</c:v>
                </c:pt>
                <c:pt idx="36204">
                  <c:v>0.64569288389513102</c:v>
                </c:pt>
                <c:pt idx="36205">
                  <c:v>0.64571071874442598</c:v>
                </c:pt>
                <c:pt idx="36206">
                  <c:v>0.64572855359372205</c:v>
                </c:pt>
                <c:pt idx="36207">
                  <c:v>0.64574638844301702</c:v>
                </c:pt>
                <c:pt idx="36208">
                  <c:v>0.64576422329231298</c:v>
                </c:pt>
                <c:pt idx="36209">
                  <c:v>0.64578205814160805</c:v>
                </c:pt>
                <c:pt idx="36210">
                  <c:v>0.64579989299090401</c:v>
                </c:pt>
                <c:pt idx="36211">
                  <c:v>0.64581772784019897</c:v>
                </c:pt>
                <c:pt idx="36212">
                  <c:v>0.64583556268949505</c:v>
                </c:pt>
                <c:pt idx="36213">
                  <c:v>0.64585339753879001</c:v>
                </c:pt>
                <c:pt idx="36214">
                  <c:v>0.64587123238808597</c:v>
                </c:pt>
                <c:pt idx="36215">
                  <c:v>0.64588906723738104</c:v>
                </c:pt>
                <c:pt idx="36216">
                  <c:v>0.645906902086677</c:v>
                </c:pt>
                <c:pt idx="36217">
                  <c:v>0.64592473693597197</c:v>
                </c:pt>
                <c:pt idx="36218">
                  <c:v>0.64594257178526804</c:v>
                </c:pt>
                <c:pt idx="36219">
                  <c:v>0.645960406634563</c:v>
                </c:pt>
                <c:pt idx="36220">
                  <c:v>0.64597824148385896</c:v>
                </c:pt>
                <c:pt idx="36221">
                  <c:v>0.64599607633315503</c:v>
                </c:pt>
                <c:pt idx="36222">
                  <c:v>0.64601391118245</c:v>
                </c:pt>
                <c:pt idx="36223">
                  <c:v>0.64603174603174596</c:v>
                </c:pt>
                <c:pt idx="36224">
                  <c:v>0.64604958088104103</c:v>
                </c:pt>
                <c:pt idx="36225">
                  <c:v>0.64606741573033699</c:v>
                </c:pt>
                <c:pt idx="36226">
                  <c:v>0.64608525057963195</c:v>
                </c:pt>
                <c:pt idx="36227">
                  <c:v>0.64610308542892803</c:v>
                </c:pt>
                <c:pt idx="36228">
                  <c:v>0.64612092027822299</c:v>
                </c:pt>
                <c:pt idx="36229">
                  <c:v>0.64613875512751895</c:v>
                </c:pt>
                <c:pt idx="36230">
                  <c:v>0.64615658997681402</c:v>
                </c:pt>
                <c:pt idx="36231">
                  <c:v>0.64617442482610998</c:v>
                </c:pt>
                <c:pt idx="36232">
                  <c:v>0.64619225967540495</c:v>
                </c:pt>
                <c:pt idx="36233">
                  <c:v>0.64621009452470102</c:v>
                </c:pt>
                <c:pt idx="36234">
                  <c:v>0.64622792937399598</c:v>
                </c:pt>
                <c:pt idx="36235">
                  <c:v>0.64624576422329205</c:v>
                </c:pt>
                <c:pt idx="36236">
                  <c:v>0.64626359907258701</c:v>
                </c:pt>
                <c:pt idx="36237">
                  <c:v>0.64628143392188298</c:v>
                </c:pt>
                <c:pt idx="36238">
                  <c:v>0.64629926877117805</c:v>
                </c:pt>
                <c:pt idx="36239">
                  <c:v>0.64631710362047401</c:v>
                </c:pt>
                <c:pt idx="36240">
                  <c:v>0.64633493846976997</c:v>
                </c:pt>
                <c:pt idx="36241">
                  <c:v>0.64635277331906504</c:v>
                </c:pt>
                <c:pt idx="36242">
                  <c:v>0.646370608168361</c:v>
                </c:pt>
                <c:pt idx="36243">
                  <c:v>0.64638844301765597</c:v>
                </c:pt>
                <c:pt idx="36244">
                  <c:v>0.64640627786695204</c:v>
                </c:pt>
                <c:pt idx="36245">
                  <c:v>0.646424112716247</c:v>
                </c:pt>
                <c:pt idx="36246">
                  <c:v>0.64644194756554296</c:v>
                </c:pt>
                <c:pt idx="36247">
                  <c:v>0.64645978241483804</c:v>
                </c:pt>
                <c:pt idx="36248">
                  <c:v>0.646477617264134</c:v>
                </c:pt>
                <c:pt idx="36249">
                  <c:v>0.64649545211342896</c:v>
                </c:pt>
                <c:pt idx="36250">
                  <c:v>0.64651328696272503</c:v>
                </c:pt>
                <c:pt idx="36251">
                  <c:v>0.64653112181201999</c:v>
                </c:pt>
                <c:pt idx="36252">
                  <c:v>0.64654895666131595</c:v>
                </c:pt>
                <c:pt idx="36253">
                  <c:v>0.64656679151061103</c:v>
                </c:pt>
                <c:pt idx="36254">
                  <c:v>0.64658462635990699</c:v>
                </c:pt>
                <c:pt idx="36255">
                  <c:v>0.64660246120920195</c:v>
                </c:pt>
                <c:pt idx="36256">
                  <c:v>0.64662029605849802</c:v>
                </c:pt>
                <c:pt idx="36257">
                  <c:v>0.64663813090779299</c:v>
                </c:pt>
                <c:pt idx="36258">
                  <c:v>0.64665596575708895</c:v>
                </c:pt>
                <c:pt idx="36259">
                  <c:v>0.64667380060638402</c:v>
                </c:pt>
                <c:pt idx="36260">
                  <c:v>0.64669163545567998</c:v>
                </c:pt>
                <c:pt idx="36261">
                  <c:v>0.64670947030497505</c:v>
                </c:pt>
                <c:pt idx="36262">
                  <c:v>0.64672730515427101</c:v>
                </c:pt>
                <c:pt idx="36263">
                  <c:v>0.64674514000356698</c:v>
                </c:pt>
                <c:pt idx="36264">
                  <c:v>0.64676297485286205</c:v>
                </c:pt>
                <c:pt idx="36265">
                  <c:v>0.64678080970215801</c:v>
                </c:pt>
                <c:pt idx="36266">
                  <c:v>0.64679864455145297</c:v>
                </c:pt>
                <c:pt idx="36267">
                  <c:v>0.64681647940074904</c:v>
                </c:pt>
                <c:pt idx="36268">
                  <c:v>0.64683431425004401</c:v>
                </c:pt>
                <c:pt idx="36269">
                  <c:v>0.64685214909933997</c:v>
                </c:pt>
                <c:pt idx="36270">
                  <c:v>0.64686998394863504</c:v>
                </c:pt>
                <c:pt idx="36271">
                  <c:v>0.646887818797931</c:v>
                </c:pt>
                <c:pt idx="36272">
                  <c:v>0.64690565364722596</c:v>
                </c:pt>
                <c:pt idx="36273">
                  <c:v>0.64692348849652204</c:v>
                </c:pt>
                <c:pt idx="36274">
                  <c:v>0.646941323345817</c:v>
                </c:pt>
                <c:pt idx="36275">
                  <c:v>0.64695915819511296</c:v>
                </c:pt>
                <c:pt idx="36276">
                  <c:v>0.64697699304440803</c:v>
                </c:pt>
                <c:pt idx="36277">
                  <c:v>0.64699482789370399</c:v>
                </c:pt>
                <c:pt idx="36278">
                  <c:v>0.64701266274299896</c:v>
                </c:pt>
                <c:pt idx="36279">
                  <c:v>0.64703049759229503</c:v>
                </c:pt>
                <c:pt idx="36280">
                  <c:v>0.64704833244158999</c:v>
                </c:pt>
                <c:pt idx="36281">
                  <c:v>0.64706616729088595</c:v>
                </c:pt>
                <c:pt idx="36282">
                  <c:v>0.64708400214018102</c:v>
                </c:pt>
                <c:pt idx="36283">
                  <c:v>0.64710183698947699</c:v>
                </c:pt>
                <c:pt idx="36284">
                  <c:v>0.64711967183877295</c:v>
                </c:pt>
                <c:pt idx="36285">
                  <c:v>0.64713750668806802</c:v>
                </c:pt>
                <c:pt idx="36286">
                  <c:v>0.64715534153736398</c:v>
                </c:pt>
                <c:pt idx="36287">
                  <c:v>0.64717317638665905</c:v>
                </c:pt>
                <c:pt idx="36288">
                  <c:v>0.64719101123595502</c:v>
                </c:pt>
                <c:pt idx="36289">
                  <c:v>0.64720884608524998</c:v>
                </c:pt>
                <c:pt idx="36290">
                  <c:v>0.64722668093454605</c:v>
                </c:pt>
                <c:pt idx="36291">
                  <c:v>0.64724451578384101</c:v>
                </c:pt>
                <c:pt idx="36292">
                  <c:v>0.64726235063313697</c:v>
                </c:pt>
                <c:pt idx="36293">
                  <c:v>0.64728018548243205</c:v>
                </c:pt>
                <c:pt idx="36294">
                  <c:v>0.64729802033172801</c:v>
                </c:pt>
                <c:pt idx="36295">
                  <c:v>0.64731585518102297</c:v>
                </c:pt>
                <c:pt idx="36296">
                  <c:v>0.64733369003031904</c:v>
                </c:pt>
                <c:pt idx="36297">
                  <c:v>0.647351524879614</c:v>
                </c:pt>
                <c:pt idx="36298">
                  <c:v>0.64736935972890997</c:v>
                </c:pt>
                <c:pt idx="36299">
                  <c:v>0.64738719457820504</c:v>
                </c:pt>
                <c:pt idx="36300">
                  <c:v>0.647405029427501</c:v>
                </c:pt>
                <c:pt idx="36301">
                  <c:v>0.64742286427679596</c:v>
                </c:pt>
                <c:pt idx="36302">
                  <c:v>0.64744069912609203</c:v>
                </c:pt>
                <c:pt idx="36303">
                  <c:v>0.647458533975387</c:v>
                </c:pt>
                <c:pt idx="36304">
                  <c:v>0.64747636882468296</c:v>
                </c:pt>
                <c:pt idx="36305">
                  <c:v>0.64749420367397803</c:v>
                </c:pt>
                <c:pt idx="36306">
                  <c:v>0.64751203852327399</c:v>
                </c:pt>
                <c:pt idx="36307">
                  <c:v>0.64752987337256995</c:v>
                </c:pt>
                <c:pt idx="36308">
                  <c:v>0.64754770822186503</c:v>
                </c:pt>
                <c:pt idx="36309">
                  <c:v>0.64756554307116099</c:v>
                </c:pt>
                <c:pt idx="36310">
                  <c:v>0.64758337792045595</c:v>
                </c:pt>
                <c:pt idx="36311">
                  <c:v>0.64760121276975202</c:v>
                </c:pt>
                <c:pt idx="36312">
                  <c:v>0.64761904761904698</c:v>
                </c:pt>
                <c:pt idx="36313">
                  <c:v>0.64763688246834294</c:v>
                </c:pt>
                <c:pt idx="36314">
                  <c:v>0.64765471731763802</c:v>
                </c:pt>
                <c:pt idx="36315">
                  <c:v>0.64767255216693398</c:v>
                </c:pt>
                <c:pt idx="36316">
                  <c:v>0.64769038701622905</c:v>
                </c:pt>
                <c:pt idx="36317">
                  <c:v>0.64770822186552501</c:v>
                </c:pt>
                <c:pt idx="36318">
                  <c:v>0.64772605671481998</c:v>
                </c:pt>
                <c:pt idx="36319">
                  <c:v>0.64774389156411605</c:v>
                </c:pt>
                <c:pt idx="36320">
                  <c:v>0.64776172641341101</c:v>
                </c:pt>
                <c:pt idx="36321">
                  <c:v>0.64777956126270697</c:v>
                </c:pt>
                <c:pt idx="36322">
                  <c:v>0.64779739611200204</c:v>
                </c:pt>
                <c:pt idx="36323">
                  <c:v>0.64781523096129801</c:v>
                </c:pt>
                <c:pt idx="36324">
                  <c:v>0.64783306581059297</c:v>
                </c:pt>
                <c:pt idx="36325">
                  <c:v>0.64785090065988904</c:v>
                </c:pt>
                <c:pt idx="36326">
                  <c:v>0.647868735509185</c:v>
                </c:pt>
                <c:pt idx="36327">
                  <c:v>0.64788657035847996</c:v>
                </c:pt>
                <c:pt idx="36328">
                  <c:v>0.64790440520777604</c:v>
                </c:pt>
                <c:pt idx="36329">
                  <c:v>0.647922240057071</c:v>
                </c:pt>
                <c:pt idx="36330">
                  <c:v>0.64794007490636696</c:v>
                </c:pt>
                <c:pt idx="36331">
                  <c:v>0.64795790975566203</c:v>
                </c:pt>
                <c:pt idx="36332">
                  <c:v>0.64797574460495799</c:v>
                </c:pt>
                <c:pt idx="36333">
                  <c:v>0.64799357945425295</c:v>
                </c:pt>
                <c:pt idx="36334">
                  <c:v>0.64801141430354903</c:v>
                </c:pt>
                <c:pt idx="36335">
                  <c:v>0.64802924915284399</c:v>
                </c:pt>
                <c:pt idx="36336">
                  <c:v>0.64804708400213995</c:v>
                </c:pt>
                <c:pt idx="36337">
                  <c:v>0.64806491885143502</c:v>
                </c:pt>
                <c:pt idx="36338">
                  <c:v>0.64808275370073098</c:v>
                </c:pt>
                <c:pt idx="36339">
                  <c:v>0.64810058855002595</c:v>
                </c:pt>
                <c:pt idx="36340">
                  <c:v>0.64811842339932202</c:v>
                </c:pt>
                <c:pt idx="36341">
                  <c:v>0.64813625824861698</c:v>
                </c:pt>
                <c:pt idx="36342">
                  <c:v>0.64815409309791305</c:v>
                </c:pt>
                <c:pt idx="36343">
                  <c:v>0.64817192794720802</c:v>
                </c:pt>
                <c:pt idx="36344">
                  <c:v>0.64818976279650398</c:v>
                </c:pt>
                <c:pt idx="36345">
                  <c:v>0.64820759764579905</c:v>
                </c:pt>
                <c:pt idx="36346">
                  <c:v>0.64822543249509501</c:v>
                </c:pt>
                <c:pt idx="36347">
                  <c:v>0.64824326734439097</c:v>
                </c:pt>
                <c:pt idx="36348">
                  <c:v>0.64826110219368605</c:v>
                </c:pt>
                <c:pt idx="36349">
                  <c:v>0.64827893704298201</c:v>
                </c:pt>
                <c:pt idx="36350">
                  <c:v>0.64829677189227697</c:v>
                </c:pt>
                <c:pt idx="36351">
                  <c:v>0.64831460674157304</c:v>
                </c:pt>
                <c:pt idx="36352">
                  <c:v>0.648332441590868</c:v>
                </c:pt>
                <c:pt idx="36353">
                  <c:v>0.64835027644016396</c:v>
                </c:pt>
                <c:pt idx="36354">
                  <c:v>0.64836811128945904</c:v>
                </c:pt>
                <c:pt idx="36355">
                  <c:v>0.648385946138755</c:v>
                </c:pt>
                <c:pt idx="36356">
                  <c:v>0.64840378098804996</c:v>
                </c:pt>
                <c:pt idx="36357">
                  <c:v>0.64842161583734603</c:v>
                </c:pt>
                <c:pt idx="36358">
                  <c:v>0.64843945068664099</c:v>
                </c:pt>
                <c:pt idx="36359">
                  <c:v>0.64845728553593696</c:v>
                </c:pt>
                <c:pt idx="36360">
                  <c:v>0.64847512038523203</c:v>
                </c:pt>
                <c:pt idx="36361">
                  <c:v>0.64849295523452799</c:v>
                </c:pt>
                <c:pt idx="36362">
                  <c:v>0.64851079008382295</c:v>
                </c:pt>
                <c:pt idx="36363">
                  <c:v>0.64852862493311902</c:v>
                </c:pt>
                <c:pt idx="36364">
                  <c:v>0.64854645978241399</c:v>
                </c:pt>
                <c:pt idx="36365">
                  <c:v>0.64856429463170995</c:v>
                </c:pt>
                <c:pt idx="36366">
                  <c:v>0.64858212948100502</c:v>
                </c:pt>
                <c:pt idx="36367">
                  <c:v>0.64859996433030098</c:v>
                </c:pt>
                <c:pt idx="36368">
                  <c:v>0.64861779917959606</c:v>
                </c:pt>
                <c:pt idx="36369">
                  <c:v>0.64863563402889202</c:v>
                </c:pt>
                <c:pt idx="36370">
                  <c:v>0.64865346887818798</c:v>
                </c:pt>
                <c:pt idx="36371">
                  <c:v>0.64867130372748305</c:v>
                </c:pt>
                <c:pt idx="36372">
                  <c:v>0.64868913857677901</c:v>
                </c:pt>
                <c:pt idx="36373">
                  <c:v>0.64870697342607397</c:v>
                </c:pt>
                <c:pt idx="36374">
                  <c:v>0.64872480827537005</c:v>
                </c:pt>
                <c:pt idx="36375">
                  <c:v>0.64874264312466501</c:v>
                </c:pt>
                <c:pt idx="36376">
                  <c:v>0.64876047797396097</c:v>
                </c:pt>
                <c:pt idx="36377">
                  <c:v>0.64877831282325604</c:v>
                </c:pt>
                <c:pt idx="36378">
                  <c:v>0.648796147672552</c:v>
                </c:pt>
                <c:pt idx="36379">
                  <c:v>0.64881398252184697</c:v>
                </c:pt>
                <c:pt idx="36380">
                  <c:v>0.64883181737114304</c:v>
                </c:pt>
                <c:pt idx="36381">
                  <c:v>0.648849652220438</c:v>
                </c:pt>
                <c:pt idx="36382">
                  <c:v>0.64886748706973396</c:v>
                </c:pt>
                <c:pt idx="36383">
                  <c:v>0.64888532191902903</c:v>
                </c:pt>
                <c:pt idx="36384">
                  <c:v>0.648903156768325</c:v>
                </c:pt>
                <c:pt idx="36385">
                  <c:v>0.64892099161761996</c:v>
                </c:pt>
                <c:pt idx="36386">
                  <c:v>0.64893882646691603</c:v>
                </c:pt>
                <c:pt idx="36387">
                  <c:v>0.64895666131621099</c:v>
                </c:pt>
                <c:pt idx="36388">
                  <c:v>0.64897449616550695</c:v>
                </c:pt>
                <c:pt idx="36389">
                  <c:v>0.64899233101480203</c:v>
                </c:pt>
                <c:pt idx="36390">
                  <c:v>0.64901016586409799</c:v>
                </c:pt>
                <c:pt idx="36391">
                  <c:v>0.64902800071339395</c:v>
                </c:pt>
                <c:pt idx="36392">
                  <c:v>0.64904583556268902</c:v>
                </c:pt>
                <c:pt idx="36393">
                  <c:v>0.64906367041198498</c:v>
                </c:pt>
                <c:pt idx="36394">
                  <c:v>0.64908150526127995</c:v>
                </c:pt>
                <c:pt idx="36395">
                  <c:v>0.64909934011057602</c:v>
                </c:pt>
                <c:pt idx="36396">
                  <c:v>0.64911717495987098</c:v>
                </c:pt>
                <c:pt idx="36397">
                  <c:v>0.64913500980916705</c:v>
                </c:pt>
                <c:pt idx="36398">
                  <c:v>0.64915284465846201</c:v>
                </c:pt>
                <c:pt idx="36399">
                  <c:v>0.64917067950775798</c:v>
                </c:pt>
                <c:pt idx="36400">
                  <c:v>0.64918851435705305</c:v>
                </c:pt>
                <c:pt idx="36401">
                  <c:v>0.64920634920634901</c:v>
                </c:pt>
                <c:pt idx="36402">
                  <c:v>0.64922418405564397</c:v>
                </c:pt>
                <c:pt idx="36403">
                  <c:v>0.64924201890494004</c:v>
                </c:pt>
                <c:pt idx="36404">
                  <c:v>0.64925985375423501</c:v>
                </c:pt>
                <c:pt idx="36405">
                  <c:v>0.64927768860353097</c:v>
                </c:pt>
                <c:pt idx="36406">
                  <c:v>0.64929552345282604</c:v>
                </c:pt>
                <c:pt idx="36407">
                  <c:v>0.649313358302122</c:v>
                </c:pt>
                <c:pt idx="36408">
                  <c:v>0.64933119315141696</c:v>
                </c:pt>
                <c:pt idx="36409">
                  <c:v>0.64934902800071304</c:v>
                </c:pt>
                <c:pt idx="36410">
                  <c:v>0.649366862850008</c:v>
                </c:pt>
                <c:pt idx="36411">
                  <c:v>0.64938469769930396</c:v>
                </c:pt>
                <c:pt idx="36412">
                  <c:v>0.64940253254859903</c:v>
                </c:pt>
                <c:pt idx="36413">
                  <c:v>0.64942036739789499</c:v>
                </c:pt>
                <c:pt idx="36414">
                  <c:v>0.64943820224719095</c:v>
                </c:pt>
                <c:pt idx="36415">
                  <c:v>0.64945603709648603</c:v>
                </c:pt>
                <c:pt idx="36416">
                  <c:v>0.64947387194578199</c:v>
                </c:pt>
                <c:pt idx="36417">
                  <c:v>0.64949170679507695</c:v>
                </c:pt>
                <c:pt idx="36418">
                  <c:v>0.64950954164437302</c:v>
                </c:pt>
                <c:pt idx="36419">
                  <c:v>0.64952737649366799</c:v>
                </c:pt>
                <c:pt idx="36420">
                  <c:v>0.64954521134296395</c:v>
                </c:pt>
                <c:pt idx="36421">
                  <c:v>0.64956304619225902</c:v>
                </c:pt>
                <c:pt idx="36422">
                  <c:v>0.64958088104155498</c:v>
                </c:pt>
                <c:pt idx="36423">
                  <c:v>0.64959871589085005</c:v>
                </c:pt>
                <c:pt idx="36424">
                  <c:v>0.64961655074014601</c:v>
                </c:pt>
                <c:pt idx="36425">
                  <c:v>0.64963438558944098</c:v>
                </c:pt>
                <c:pt idx="36426">
                  <c:v>0.64965222043873705</c:v>
                </c:pt>
                <c:pt idx="36427">
                  <c:v>0.64967005528803201</c:v>
                </c:pt>
                <c:pt idx="36428">
                  <c:v>0.64968789013732797</c:v>
                </c:pt>
                <c:pt idx="36429">
                  <c:v>0.64970572498662305</c:v>
                </c:pt>
                <c:pt idx="36430">
                  <c:v>0.64972355983591901</c:v>
                </c:pt>
                <c:pt idx="36431">
                  <c:v>0.64974139468521397</c:v>
                </c:pt>
                <c:pt idx="36432">
                  <c:v>0.64975922953451004</c:v>
                </c:pt>
                <c:pt idx="36433">
                  <c:v>0.649777064383806</c:v>
                </c:pt>
                <c:pt idx="36434">
                  <c:v>0.64979489923310096</c:v>
                </c:pt>
                <c:pt idx="36435">
                  <c:v>0.64981273408239704</c:v>
                </c:pt>
                <c:pt idx="36436">
                  <c:v>0.649830568931692</c:v>
                </c:pt>
                <c:pt idx="36437">
                  <c:v>0.64984840378098796</c:v>
                </c:pt>
                <c:pt idx="36438">
                  <c:v>0.64986623863028303</c:v>
                </c:pt>
                <c:pt idx="36439">
                  <c:v>0.64988407347957899</c:v>
                </c:pt>
                <c:pt idx="36440">
                  <c:v>0.64990190832887396</c:v>
                </c:pt>
                <c:pt idx="36441">
                  <c:v>0.64991974317817003</c:v>
                </c:pt>
                <c:pt idx="36442">
                  <c:v>0.64993757802746499</c:v>
                </c:pt>
                <c:pt idx="36443">
                  <c:v>0.64995541287676095</c:v>
                </c:pt>
                <c:pt idx="36444">
                  <c:v>0.64997324772605602</c:v>
                </c:pt>
                <c:pt idx="36445">
                  <c:v>0.64999108257535199</c:v>
                </c:pt>
                <c:pt idx="36446">
                  <c:v>0.65000891742464695</c:v>
                </c:pt>
                <c:pt idx="36447">
                  <c:v>0.65002675227394302</c:v>
                </c:pt>
                <c:pt idx="36448">
                  <c:v>0.65004458712323798</c:v>
                </c:pt>
                <c:pt idx="36449">
                  <c:v>0.65006242197253405</c:v>
                </c:pt>
                <c:pt idx="36450">
                  <c:v>0.65008025682182902</c:v>
                </c:pt>
                <c:pt idx="36451">
                  <c:v>0.65009809167112498</c:v>
                </c:pt>
                <c:pt idx="36452">
                  <c:v>0.65011592652042005</c:v>
                </c:pt>
                <c:pt idx="36453">
                  <c:v>0.65013376136971601</c:v>
                </c:pt>
                <c:pt idx="36454">
                  <c:v>0.65015159621901197</c:v>
                </c:pt>
                <c:pt idx="36455">
                  <c:v>0.65016943106830705</c:v>
                </c:pt>
                <c:pt idx="36456">
                  <c:v>0.65018726591760301</c:v>
                </c:pt>
                <c:pt idx="36457">
                  <c:v>0.65020510076689797</c:v>
                </c:pt>
                <c:pt idx="36458">
                  <c:v>0.65022293561619404</c:v>
                </c:pt>
                <c:pt idx="36459">
                  <c:v>0.650240770465489</c:v>
                </c:pt>
                <c:pt idx="36460">
                  <c:v>0.65025860531478497</c:v>
                </c:pt>
                <c:pt idx="36461">
                  <c:v>0.65027644016408004</c:v>
                </c:pt>
                <c:pt idx="36462">
                  <c:v>0.650294275013376</c:v>
                </c:pt>
                <c:pt idx="36463">
                  <c:v>0.65031210986267096</c:v>
                </c:pt>
                <c:pt idx="36464">
                  <c:v>0.65032994471196703</c:v>
                </c:pt>
                <c:pt idx="36465">
                  <c:v>0.650347779561262</c:v>
                </c:pt>
                <c:pt idx="36466">
                  <c:v>0.65036561441055796</c:v>
                </c:pt>
                <c:pt idx="36467">
                  <c:v>0.65038344925985303</c:v>
                </c:pt>
                <c:pt idx="36468">
                  <c:v>0.65040128410914899</c:v>
                </c:pt>
                <c:pt idx="36469">
                  <c:v>0.65041911895844395</c:v>
                </c:pt>
                <c:pt idx="36470">
                  <c:v>0.65043695380774003</c:v>
                </c:pt>
                <c:pt idx="36471">
                  <c:v>0.65045478865703499</c:v>
                </c:pt>
                <c:pt idx="36472">
                  <c:v>0.65047262350633095</c:v>
                </c:pt>
                <c:pt idx="36473">
                  <c:v>0.65049045835562602</c:v>
                </c:pt>
                <c:pt idx="36474">
                  <c:v>0.65050829320492198</c:v>
                </c:pt>
                <c:pt idx="36475">
                  <c:v>0.65052612805421794</c:v>
                </c:pt>
                <c:pt idx="36476">
                  <c:v>0.65054396290351302</c:v>
                </c:pt>
                <c:pt idx="36477">
                  <c:v>0.65056179775280898</c:v>
                </c:pt>
                <c:pt idx="36478">
                  <c:v>0.65057963260210405</c:v>
                </c:pt>
                <c:pt idx="36479">
                  <c:v>0.65059746745140001</c:v>
                </c:pt>
                <c:pt idx="36480">
                  <c:v>0.65061530230069498</c:v>
                </c:pt>
                <c:pt idx="36481">
                  <c:v>0.65063313714999105</c:v>
                </c:pt>
                <c:pt idx="36482">
                  <c:v>0.65065097199928601</c:v>
                </c:pt>
                <c:pt idx="36483">
                  <c:v>0.65066880684858197</c:v>
                </c:pt>
                <c:pt idx="36484">
                  <c:v>0.65068664169787704</c:v>
                </c:pt>
                <c:pt idx="36485">
                  <c:v>0.65070447654717301</c:v>
                </c:pt>
                <c:pt idx="36486">
                  <c:v>0.65072231139646797</c:v>
                </c:pt>
                <c:pt idx="36487">
                  <c:v>0.65074014624576404</c:v>
                </c:pt>
                <c:pt idx="36488">
                  <c:v>0.650757981095059</c:v>
                </c:pt>
                <c:pt idx="36489">
                  <c:v>0.65077581594435496</c:v>
                </c:pt>
                <c:pt idx="36490">
                  <c:v>0.65079365079365004</c:v>
                </c:pt>
                <c:pt idx="36491">
                  <c:v>0.650811485642946</c:v>
                </c:pt>
                <c:pt idx="36492">
                  <c:v>0.65082932049224096</c:v>
                </c:pt>
                <c:pt idx="36493">
                  <c:v>0.65084715534153703</c:v>
                </c:pt>
                <c:pt idx="36494">
                  <c:v>0.65086499019083199</c:v>
                </c:pt>
                <c:pt idx="36495">
                  <c:v>0.65088282504012795</c:v>
                </c:pt>
                <c:pt idx="36496">
                  <c:v>0.65090065988942303</c:v>
                </c:pt>
                <c:pt idx="36497">
                  <c:v>0.65091849473871899</c:v>
                </c:pt>
                <c:pt idx="36498">
                  <c:v>0.65093632958801495</c:v>
                </c:pt>
                <c:pt idx="36499">
                  <c:v>0.65095416443731002</c:v>
                </c:pt>
                <c:pt idx="36500">
                  <c:v>0.65097199928660598</c:v>
                </c:pt>
                <c:pt idx="36501">
                  <c:v>0.65098983413590095</c:v>
                </c:pt>
                <c:pt idx="36502">
                  <c:v>0.65100766898519702</c:v>
                </c:pt>
                <c:pt idx="36503">
                  <c:v>0.65102550383449198</c:v>
                </c:pt>
                <c:pt idx="36504">
                  <c:v>0.65104333868378805</c:v>
                </c:pt>
                <c:pt idx="36505">
                  <c:v>0.65106117353308302</c:v>
                </c:pt>
                <c:pt idx="36506">
                  <c:v>0.65107900838237898</c:v>
                </c:pt>
                <c:pt idx="36507">
                  <c:v>0.65109684323167405</c:v>
                </c:pt>
                <c:pt idx="36508">
                  <c:v>0.65111467808097001</c:v>
                </c:pt>
                <c:pt idx="36509">
                  <c:v>0.65113251293026497</c:v>
                </c:pt>
                <c:pt idx="36510">
                  <c:v>0.65115034777956105</c:v>
                </c:pt>
                <c:pt idx="36511">
                  <c:v>0.65116818262885601</c:v>
                </c:pt>
                <c:pt idx="36512">
                  <c:v>0.65118601747815197</c:v>
                </c:pt>
                <c:pt idx="36513">
                  <c:v>0.65120385232744704</c:v>
                </c:pt>
                <c:pt idx="36514">
                  <c:v>0.651221687176743</c:v>
                </c:pt>
                <c:pt idx="36515">
                  <c:v>0.65123952202603796</c:v>
                </c:pt>
                <c:pt idx="36516">
                  <c:v>0.65125735687533404</c:v>
                </c:pt>
                <c:pt idx="36517">
                  <c:v>0.651275191724629</c:v>
                </c:pt>
                <c:pt idx="36518">
                  <c:v>0.65129302657392496</c:v>
                </c:pt>
                <c:pt idx="36519">
                  <c:v>0.65131086142322003</c:v>
                </c:pt>
                <c:pt idx="36520">
                  <c:v>0.65132869627251599</c:v>
                </c:pt>
                <c:pt idx="36521">
                  <c:v>0.65134653112181196</c:v>
                </c:pt>
                <c:pt idx="36522">
                  <c:v>0.65136436597110703</c:v>
                </c:pt>
                <c:pt idx="36523">
                  <c:v>0.65138220082040299</c:v>
                </c:pt>
                <c:pt idx="36524">
                  <c:v>0.65140003566969795</c:v>
                </c:pt>
                <c:pt idx="36525">
                  <c:v>0.65141787051899402</c:v>
                </c:pt>
                <c:pt idx="36526">
                  <c:v>0.65143570536828899</c:v>
                </c:pt>
                <c:pt idx="36527">
                  <c:v>0.65145354021758495</c:v>
                </c:pt>
                <c:pt idx="36528">
                  <c:v>0.65147137506688002</c:v>
                </c:pt>
                <c:pt idx="36529">
                  <c:v>0.65148920991617598</c:v>
                </c:pt>
                <c:pt idx="36530">
                  <c:v>0.65150704476547106</c:v>
                </c:pt>
                <c:pt idx="36531">
                  <c:v>0.65152487961476702</c:v>
                </c:pt>
                <c:pt idx="36532">
                  <c:v>0.65154271446406198</c:v>
                </c:pt>
                <c:pt idx="36533">
                  <c:v>0.65156054931335805</c:v>
                </c:pt>
                <c:pt idx="36534">
                  <c:v>0.65157838416265301</c:v>
                </c:pt>
                <c:pt idx="36535">
                  <c:v>0.65159621901194897</c:v>
                </c:pt>
                <c:pt idx="36536">
                  <c:v>0.65161405386124405</c:v>
                </c:pt>
                <c:pt idx="36537">
                  <c:v>0.65163188871054001</c:v>
                </c:pt>
                <c:pt idx="36538">
                  <c:v>0.65164972355983597</c:v>
                </c:pt>
                <c:pt idx="36539">
                  <c:v>0.65166755840913104</c:v>
                </c:pt>
                <c:pt idx="36540">
                  <c:v>0.651685393258427</c:v>
                </c:pt>
                <c:pt idx="36541">
                  <c:v>0.65170322810772197</c:v>
                </c:pt>
                <c:pt idx="36542">
                  <c:v>0.65172106295701804</c:v>
                </c:pt>
                <c:pt idx="36543">
                  <c:v>0.651738897806313</c:v>
                </c:pt>
                <c:pt idx="36544">
                  <c:v>0.65175673265560896</c:v>
                </c:pt>
                <c:pt idx="36545">
                  <c:v>0.65177456750490403</c:v>
                </c:pt>
                <c:pt idx="36546">
                  <c:v>0.6517924023542</c:v>
                </c:pt>
                <c:pt idx="36547">
                  <c:v>0.65181023720349496</c:v>
                </c:pt>
                <c:pt idx="36548">
                  <c:v>0.65182807205279103</c:v>
                </c:pt>
                <c:pt idx="36549">
                  <c:v>0.65184590690208599</c:v>
                </c:pt>
                <c:pt idx="36550">
                  <c:v>0.65186374175138195</c:v>
                </c:pt>
                <c:pt idx="36551">
                  <c:v>0.65188157660067703</c:v>
                </c:pt>
                <c:pt idx="36552">
                  <c:v>0.65189941144997299</c:v>
                </c:pt>
                <c:pt idx="36553">
                  <c:v>0.65191724629926795</c:v>
                </c:pt>
                <c:pt idx="36554">
                  <c:v>0.65193508114856402</c:v>
                </c:pt>
                <c:pt idx="36555">
                  <c:v>0.65195291599785898</c:v>
                </c:pt>
                <c:pt idx="36556">
                  <c:v>0.65197075084715495</c:v>
                </c:pt>
                <c:pt idx="36557">
                  <c:v>0.65198858569645002</c:v>
                </c:pt>
                <c:pt idx="36558">
                  <c:v>0.65200642054574598</c:v>
                </c:pt>
                <c:pt idx="36559">
                  <c:v>0.65202425539504105</c:v>
                </c:pt>
                <c:pt idx="36560">
                  <c:v>0.65204209024433701</c:v>
                </c:pt>
                <c:pt idx="36561">
                  <c:v>0.65205992509363297</c:v>
                </c:pt>
                <c:pt idx="36562">
                  <c:v>0.65207775994292805</c:v>
                </c:pt>
                <c:pt idx="36563">
                  <c:v>0.65209559479222401</c:v>
                </c:pt>
                <c:pt idx="36564">
                  <c:v>0.65211342964151897</c:v>
                </c:pt>
                <c:pt idx="36565">
                  <c:v>0.65213126449081504</c:v>
                </c:pt>
                <c:pt idx="36566">
                  <c:v>0.65214909934011001</c:v>
                </c:pt>
                <c:pt idx="36567">
                  <c:v>0.65216693418940597</c:v>
                </c:pt>
                <c:pt idx="36568">
                  <c:v>0.65218476903870104</c:v>
                </c:pt>
                <c:pt idx="36569">
                  <c:v>0.652202603887997</c:v>
                </c:pt>
                <c:pt idx="36570">
                  <c:v>0.65222043873729196</c:v>
                </c:pt>
                <c:pt idx="36571">
                  <c:v>0.65223827358658804</c:v>
                </c:pt>
                <c:pt idx="36572">
                  <c:v>0.652256108435883</c:v>
                </c:pt>
                <c:pt idx="36573">
                  <c:v>0.65227394328517896</c:v>
                </c:pt>
                <c:pt idx="36574">
                  <c:v>0.65229177813447403</c:v>
                </c:pt>
                <c:pt idx="36575">
                  <c:v>0.65230961298376999</c:v>
                </c:pt>
                <c:pt idx="36576">
                  <c:v>0.65232744783306496</c:v>
                </c:pt>
                <c:pt idx="36577">
                  <c:v>0.65234528268236103</c:v>
                </c:pt>
                <c:pt idx="36578">
                  <c:v>0.65236311753165599</c:v>
                </c:pt>
                <c:pt idx="36579">
                  <c:v>0.65238095238095195</c:v>
                </c:pt>
                <c:pt idx="36580">
                  <c:v>0.65239878723024702</c:v>
                </c:pt>
                <c:pt idx="36581">
                  <c:v>0.65241662207954298</c:v>
                </c:pt>
                <c:pt idx="36582">
                  <c:v>0.65243445692883895</c:v>
                </c:pt>
                <c:pt idx="36583">
                  <c:v>0.65245229177813402</c:v>
                </c:pt>
                <c:pt idx="36584">
                  <c:v>0.65247012662742998</c:v>
                </c:pt>
                <c:pt idx="36585">
                  <c:v>0.65248796147672505</c:v>
                </c:pt>
                <c:pt idx="36586">
                  <c:v>0.65250579632602101</c:v>
                </c:pt>
                <c:pt idx="36587">
                  <c:v>0.65252363117531598</c:v>
                </c:pt>
                <c:pt idx="36588">
                  <c:v>0.65254146602461205</c:v>
                </c:pt>
                <c:pt idx="36589">
                  <c:v>0.65255930087390701</c:v>
                </c:pt>
                <c:pt idx="36590">
                  <c:v>0.65257713572320297</c:v>
                </c:pt>
                <c:pt idx="36591">
                  <c:v>0.65259497057249805</c:v>
                </c:pt>
                <c:pt idx="36592">
                  <c:v>0.65261280542179401</c:v>
                </c:pt>
                <c:pt idx="36593">
                  <c:v>0.65263064027108897</c:v>
                </c:pt>
                <c:pt idx="36594">
                  <c:v>0.65264847512038504</c:v>
                </c:pt>
                <c:pt idx="36595">
                  <c:v>0.65266630996968</c:v>
                </c:pt>
                <c:pt idx="36596">
                  <c:v>0.65268414481897596</c:v>
                </c:pt>
                <c:pt idx="36597">
                  <c:v>0.65270197966827104</c:v>
                </c:pt>
                <c:pt idx="36598">
                  <c:v>0.652719814517567</c:v>
                </c:pt>
                <c:pt idx="36599">
                  <c:v>0.65273764936686196</c:v>
                </c:pt>
                <c:pt idx="36600">
                  <c:v>0.65275548421615803</c:v>
                </c:pt>
                <c:pt idx="36601">
                  <c:v>0.65277331906545299</c:v>
                </c:pt>
                <c:pt idx="36602">
                  <c:v>0.65279115391474896</c:v>
                </c:pt>
                <c:pt idx="36603">
                  <c:v>0.65280898876404403</c:v>
                </c:pt>
                <c:pt idx="36604">
                  <c:v>0.65282682361333999</c:v>
                </c:pt>
                <c:pt idx="36605">
                  <c:v>0.65284465846263595</c:v>
                </c:pt>
                <c:pt idx="36606">
                  <c:v>0.65286249331193102</c:v>
                </c:pt>
                <c:pt idx="36607">
                  <c:v>0.65288032816122699</c:v>
                </c:pt>
                <c:pt idx="36608">
                  <c:v>0.65289816301052195</c:v>
                </c:pt>
                <c:pt idx="36609">
                  <c:v>0.65291599785981802</c:v>
                </c:pt>
                <c:pt idx="36610">
                  <c:v>0.65293383270911298</c:v>
                </c:pt>
                <c:pt idx="36611">
                  <c:v>0.65295166755840905</c:v>
                </c:pt>
                <c:pt idx="36612">
                  <c:v>0.65296950240770402</c:v>
                </c:pt>
                <c:pt idx="36613">
                  <c:v>0.65298733725699998</c:v>
                </c:pt>
                <c:pt idx="36614">
                  <c:v>0.65300517210629505</c:v>
                </c:pt>
                <c:pt idx="36615">
                  <c:v>0.65302300695559101</c:v>
                </c:pt>
                <c:pt idx="36616">
                  <c:v>0.65304084180488597</c:v>
                </c:pt>
                <c:pt idx="36617">
                  <c:v>0.65305867665418205</c:v>
                </c:pt>
                <c:pt idx="36618">
                  <c:v>0.65307651150347701</c:v>
                </c:pt>
                <c:pt idx="36619">
                  <c:v>0.65309434635277297</c:v>
                </c:pt>
                <c:pt idx="36620">
                  <c:v>0.65311218120206804</c:v>
                </c:pt>
                <c:pt idx="36621">
                  <c:v>0.653130016051364</c:v>
                </c:pt>
                <c:pt idx="36622">
                  <c:v>0.65314785090065897</c:v>
                </c:pt>
                <c:pt idx="36623">
                  <c:v>0.65316568574995504</c:v>
                </c:pt>
                <c:pt idx="36624">
                  <c:v>0.65318352059925</c:v>
                </c:pt>
                <c:pt idx="36625">
                  <c:v>0.65320135544854596</c:v>
                </c:pt>
                <c:pt idx="36626">
                  <c:v>0.65321919029784203</c:v>
                </c:pt>
                <c:pt idx="36627">
                  <c:v>0.653237025147137</c:v>
                </c:pt>
                <c:pt idx="36628">
                  <c:v>0.65325485999643296</c:v>
                </c:pt>
                <c:pt idx="36629">
                  <c:v>0.65327269484572803</c:v>
                </c:pt>
                <c:pt idx="36630">
                  <c:v>0.65329052969502399</c:v>
                </c:pt>
                <c:pt idx="36631">
                  <c:v>0.65330836454431895</c:v>
                </c:pt>
                <c:pt idx="36632">
                  <c:v>0.65332619939361503</c:v>
                </c:pt>
                <c:pt idx="36633">
                  <c:v>0.65334403424290999</c:v>
                </c:pt>
                <c:pt idx="36634">
                  <c:v>0.65336186909220595</c:v>
                </c:pt>
                <c:pt idx="36635">
                  <c:v>0.65337970394150102</c:v>
                </c:pt>
                <c:pt idx="36636">
                  <c:v>0.65339753879079698</c:v>
                </c:pt>
                <c:pt idx="36637">
                  <c:v>0.65341537364009195</c:v>
                </c:pt>
                <c:pt idx="36638">
                  <c:v>0.65343320848938802</c:v>
                </c:pt>
                <c:pt idx="36639">
                  <c:v>0.65345104333868298</c:v>
                </c:pt>
                <c:pt idx="36640">
                  <c:v>0.65346887818797905</c:v>
                </c:pt>
                <c:pt idx="36641">
                  <c:v>0.65348671303727401</c:v>
                </c:pt>
                <c:pt idx="36642">
                  <c:v>0.65350454788656998</c:v>
                </c:pt>
                <c:pt idx="36643">
                  <c:v>0.65352238273586505</c:v>
                </c:pt>
                <c:pt idx="36644">
                  <c:v>0.65354021758516101</c:v>
                </c:pt>
                <c:pt idx="36645">
                  <c:v>0.65355805243445697</c:v>
                </c:pt>
                <c:pt idx="36646">
                  <c:v>0.65357588728375204</c:v>
                </c:pt>
                <c:pt idx="36647">
                  <c:v>0.65359372213304801</c:v>
                </c:pt>
                <c:pt idx="36648">
                  <c:v>0.65361155698234297</c:v>
                </c:pt>
                <c:pt idx="36649">
                  <c:v>0.65362939183163904</c:v>
                </c:pt>
                <c:pt idx="36650">
                  <c:v>0.653647226680934</c:v>
                </c:pt>
                <c:pt idx="36651">
                  <c:v>0.65366506153022996</c:v>
                </c:pt>
                <c:pt idx="36652">
                  <c:v>0.65368289637952504</c:v>
                </c:pt>
                <c:pt idx="36653">
                  <c:v>0.653700731228821</c:v>
                </c:pt>
                <c:pt idx="36654">
                  <c:v>0.65371856607811596</c:v>
                </c:pt>
                <c:pt idx="36655">
                  <c:v>0.65373640092741203</c:v>
                </c:pt>
                <c:pt idx="36656">
                  <c:v>0.65375423577670699</c:v>
                </c:pt>
                <c:pt idx="36657">
                  <c:v>0.65377207062600295</c:v>
                </c:pt>
                <c:pt idx="36658">
                  <c:v>0.65378990547529803</c:v>
                </c:pt>
                <c:pt idx="36659">
                  <c:v>0.65380774032459399</c:v>
                </c:pt>
                <c:pt idx="36660">
                  <c:v>0.65382557517388895</c:v>
                </c:pt>
                <c:pt idx="36661">
                  <c:v>0.65384341002318502</c:v>
                </c:pt>
                <c:pt idx="36662">
                  <c:v>0.65386124487247999</c:v>
                </c:pt>
                <c:pt idx="36663">
                  <c:v>0.65387907972177595</c:v>
                </c:pt>
                <c:pt idx="36664">
                  <c:v>0.65389691457107102</c:v>
                </c:pt>
                <c:pt idx="36665">
                  <c:v>0.65391474942036698</c:v>
                </c:pt>
                <c:pt idx="36666">
                  <c:v>0.65393258426966205</c:v>
                </c:pt>
                <c:pt idx="36667">
                  <c:v>0.65395041911895802</c:v>
                </c:pt>
                <c:pt idx="36668">
                  <c:v>0.65396825396825398</c:v>
                </c:pt>
                <c:pt idx="36669">
                  <c:v>0.65398608881754905</c:v>
                </c:pt>
                <c:pt idx="36670">
                  <c:v>0.65400392366684501</c:v>
                </c:pt>
                <c:pt idx="36671">
                  <c:v>0.65402175851613997</c:v>
                </c:pt>
                <c:pt idx="36672">
                  <c:v>0.65403959336543604</c:v>
                </c:pt>
                <c:pt idx="36673">
                  <c:v>0.65405742821473101</c:v>
                </c:pt>
                <c:pt idx="36674">
                  <c:v>0.65407526306402697</c:v>
                </c:pt>
                <c:pt idx="36675">
                  <c:v>0.65409309791332204</c:v>
                </c:pt>
                <c:pt idx="36676">
                  <c:v>0.654110932762618</c:v>
                </c:pt>
                <c:pt idx="36677">
                  <c:v>0.65412876761191296</c:v>
                </c:pt>
                <c:pt idx="36678">
                  <c:v>0.65414660246120904</c:v>
                </c:pt>
                <c:pt idx="36679">
                  <c:v>0.654164437310504</c:v>
                </c:pt>
                <c:pt idx="36680">
                  <c:v>0.65418227215979996</c:v>
                </c:pt>
                <c:pt idx="36681">
                  <c:v>0.65420010700909503</c:v>
                </c:pt>
                <c:pt idx="36682">
                  <c:v>0.65421794185839099</c:v>
                </c:pt>
                <c:pt idx="36683">
                  <c:v>0.65423577670768596</c:v>
                </c:pt>
                <c:pt idx="36684">
                  <c:v>0.65425361155698203</c:v>
                </c:pt>
                <c:pt idx="36685">
                  <c:v>0.65427144640627699</c:v>
                </c:pt>
                <c:pt idx="36686">
                  <c:v>0.65428928125557295</c:v>
                </c:pt>
                <c:pt idx="36687">
                  <c:v>0.65430711610486803</c:v>
                </c:pt>
                <c:pt idx="36688">
                  <c:v>0.65432495095416399</c:v>
                </c:pt>
                <c:pt idx="36689">
                  <c:v>0.65434278580345995</c:v>
                </c:pt>
                <c:pt idx="36690">
                  <c:v>0.65436062065275502</c:v>
                </c:pt>
                <c:pt idx="36691">
                  <c:v>0.65437845550205098</c:v>
                </c:pt>
                <c:pt idx="36692">
                  <c:v>0.65439629035134605</c:v>
                </c:pt>
                <c:pt idx="36693">
                  <c:v>0.65441412520064202</c:v>
                </c:pt>
                <c:pt idx="36694">
                  <c:v>0.65443196004993698</c:v>
                </c:pt>
                <c:pt idx="36695">
                  <c:v>0.65444979489923305</c:v>
                </c:pt>
                <c:pt idx="36696">
                  <c:v>0.65446762974852801</c:v>
                </c:pt>
                <c:pt idx="36697">
                  <c:v>0.65448546459782397</c:v>
                </c:pt>
                <c:pt idx="36698">
                  <c:v>0.65450329944711905</c:v>
                </c:pt>
                <c:pt idx="36699">
                  <c:v>0.65452113429641501</c:v>
                </c:pt>
                <c:pt idx="36700">
                  <c:v>0.65453896914570997</c:v>
                </c:pt>
                <c:pt idx="36701">
                  <c:v>0.65455680399500604</c:v>
                </c:pt>
                <c:pt idx="36702">
                  <c:v>0.654574638844301</c:v>
                </c:pt>
                <c:pt idx="36703">
                  <c:v>0.65459247369359697</c:v>
                </c:pt>
                <c:pt idx="36704">
                  <c:v>0.65461030854289204</c:v>
                </c:pt>
                <c:pt idx="36705">
                  <c:v>0.654628143392188</c:v>
                </c:pt>
                <c:pt idx="36706">
                  <c:v>0.65464597824148296</c:v>
                </c:pt>
                <c:pt idx="36707">
                  <c:v>0.65466381309077903</c:v>
                </c:pt>
                <c:pt idx="36708">
                  <c:v>0.654681647940074</c:v>
                </c:pt>
                <c:pt idx="36709">
                  <c:v>0.65469948278936996</c:v>
                </c:pt>
                <c:pt idx="36710">
                  <c:v>0.65471731763866503</c:v>
                </c:pt>
                <c:pt idx="36711">
                  <c:v>0.65473515248796099</c:v>
                </c:pt>
                <c:pt idx="36712">
                  <c:v>0.65475298733725695</c:v>
                </c:pt>
                <c:pt idx="36713">
                  <c:v>0.65477082218655203</c:v>
                </c:pt>
                <c:pt idx="36714">
                  <c:v>0.65478865703584799</c:v>
                </c:pt>
                <c:pt idx="36715">
                  <c:v>0.65480649188514295</c:v>
                </c:pt>
                <c:pt idx="36716">
                  <c:v>0.65482432673443902</c:v>
                </c:pt>
                <c:pt idx="36717">
                  <c:v>0.65484216158373398</c:v>
                </c:pt>
                <c:pt idx="36718">
                  <c:v>0.65485999643302994</c:v>
                </c:pt>
                <c:pt idx="36719">
                  <c:v>0.65487783128232502</c:v>
                </c:pt>
                <c:pt idx="36720">
                  <c:v>0.65489566613162098</c:v>
                </c:pt>
                <c:pt idx="36721">
                  <c:v>0.65491350098091605</c:v>
                </c:pt>
                <c:pt idx="36722">
                  <c:v>0.65493133583021201</c:v>
                </c:pt>
                <c:pt idx="36723">
                  <c:v>0.65494917067950698</c:v>
                </c:pt>
                <c:pt idx="36724">
                  <c:v>0.65496700552880305</c:v>
                </c:pt>
                <c:pt idx="36725">
                  <c:v>0.65498484037809801</c:v>
                </c:pt>
                <c:pt idx="36726">
                  <c:v>0.65500267522739397</c:v>
                </c:pt>
                <c:pt idx="36727">
                  <c:v>0.65502051007668904</c:v>
                </c:pt>
                <c:pt idx="36728">
                  <c:v>0.65503834492598501</c:v>
                </c:pt>
                <c:pt idx="36729">
                  <c:v>0.65505617977527997</c:v>
                </c:pt>
                <c:pt idx="36730">
                  <c:v>0.65507401462457604</c:v>
                </c:pt>
                <c:pt idx="36731">
                  <c:v>0.655091849473872</c:v>
                </c:pt>
                <c:pt idx="36732">
                  <c:v>0.65510968432316696</c:v>
                </c:pt>
                <c:pt idx="36733">
                  <c:v>0.65512751917246304</c:v>
                </c:pt>
                <c:pt idx="36734">
                  <c:v>0.655145354021758</c:v>
                </c:pt>
                <c:pt idx="36735">
                  <c:v>0.65516318887105396</c:v>
                </c:pt>
                <c:pt idx="36736">
                  <c:v>0.65518102372034903</c:v>
                </c:pt>
                <c:pt idx="36737">
                  <c:v>0.65519885856964499</c:v>
                </c:pt>
                <c:pt idx="36738">
                  <c:v>0.65521669341893995</c:v>
                </c:pt>
                <c:pt idx="36739">
                  <c:v>0.65523452826823603</c:v>
                </c:pt>
                <c:pt idx="36740">
                  <c:v>0.65525236311753099</c:v>
                </c:pt>
                <c:pt idx="36741">
                  <c:v>0.65527019796682695</c:v>
                </c:pt>
                <c:pt idx="36742">
                  <c:v>0.65528803281612202</c:v>
                </c:pt>
                <c:pt idx="36743">
                  <c:v>0.65530586766541798</c:v>
                </c:pt>
                <c:pt idx="36744">
                  <c:v>0.65532370251471295</c:v>
                </c:pt>
                <c:pt idx="36745">
                  <c:v>0.65534153736400902</c:v>
                </c:pt>
                <c:pt idx="36746">
                  <c:v>0.65535937221330398</c:v>
                </c:pt>
                <c:pt idx="36747">
                  <c:v>0.65537720706260005</c:v>
                </c:pt>
                <c:pt idx="36748">
                  <c:v>0.65539504191189502</c:v>
                </c:pt>
                <c:pt idx="36749">
                  <c:v>0.65541287676119098</c:v>
                </c:pt>
                <c:pt idx="36750">
                  <c:v>0.65543071161048605</c:v>
                </c:pt>
                <c:pt idx="36751">
                  <c:v>0.65544854645978201</c:v>
                </c:pt>
                <c:pt idx="36752">
                  <c:v>0.65546638130907797</c:v>
                </c:pt>
                <c:pt idx="36753">
                  <c:v>0.65548421615837305</c:v>
                </c:pt>
                <c:pt idx="36754">
                  <c:v>0.65550205100766901</c:v>
                </c:pt>
                <c:pt idx="36755">
                  <c:v>0.65551988585696397</c:v>
                </c:pt>
                <c:pt idx="36756">
                  <c:v>0.65553772070626004</c:v>
                </c:pt>
                <c:pt idx="36757">
                  <c:v>0.655555555555555</c:v>
                </c:pt>
                <c:pt idx="36758">
                  <c:v>0.65557339040485096</c:v>
                </c:pt>
                <c:pt idx="36759">
                  <c:v>0.65559122525414604</c:v>
                </c:pt>
                <c:pt idx="36760">
                  <c:v>0.655609060103442</c:v>
                </c:pt>
                <c:pt idx="36761">
                  <c:v>0.65562689495273696</c:v>
                </c:pt>
                <c:pt idx="36762">
                  <c:v>0.65564472980203303</c:v>
                </c:pt>
                <c:pt idx="36763">
                  <c:v>0.65566256465132799</c:v>
                </c:pt>
                <c:pt idx="36764">
                  <c:v>0.65568039950062396</c:v>
                </c:pt>
                <c:pt idx="36765">
                  <c:v>0.65569823434991903</c:v>
                </c:pt>
                <c:pt idx="36766">
                  <c:v>0.65571606919921499</c:v>
                </c:pt>
                <c:pt idx="36767">
                  <c:v>0.65573390404850995</c:v>
                </c:pt>
                <c:pt idx="36768">
                  <c:v>0.65575173889780602</c:v>
                </c:pt>
                <c:pt idx="36769">
                  <c:v>0.65576957374710099</c:v>
                </c:pt>
                <c:pt idx="36770">
                  <c:v>0.65578740859639695</c:v>
                </c:pt>
                <c:pt idx="36771">
                  <c:v>0.65580524344569202</c:v>
                </c:pt>
                <c:pt idx="36772">
                  <c:v>0.65582307829498798</c:v>
                </c:pt>
                <c:pt idx="36773">
                  <c:v>0.65584091314428306</c:v>
                </c:pt>
                <c:pt idx="36774">
                  <c:v>0.65585874799357902</c:v>
                </c:pt>
                <c:pt idx="36775">
                  <c:v>0.65587658284287498</c:v>
                </c:pt>
                <c:pt idx="36776">
                  <c:v>0.65589441769217005</c:v>
                </c:pt>
                <c:pt idx="36777">
                  <c:v>0.65591225254146601</c:v>
                </c:pt>
                <c:pt idx="36778">
                  <c:v>0.65593008739076097</c:v>
                </c:pt>
                <c:pt idx="36779">
                  <c:v>0.65594792224005705</c:v>
                </c:pt>
                <c:pt idx="36780">
                  <c:v>0.65596575708935201</c:v>
                </c:pt>
                <c:pt idx="36781">
                  <c:v>0.65598359193864797</c:v>
                </c:pt>
                <c:pt idx="36782">
                  <c:v>0.65600142678794304</c:v>
                </c:pt>
                <c:pt idx="36783">
                  <c:v>0.656019261637239</c:v>
                </c:pt>
                <c:pt idx="36784">
                  <c:v>0.65603709648653397</c:v>
                </c:pt>
                <c:pt idx="36785">
                  <c:v>0.65605493133583004</c:v>
                </c:pt>
                <c:pt idx="36786">
                  <c:v>0.656072766185125</c:v>
                </c:pt>
                <c:pt idx="36787">
                  <c:v>0.65609060103442096</c:v>
                </c:pt>
                <c:pt idx="36788">
                  <c:v>0.65610843588371603</c:v>
                </c:pt>
                <c:pt idx="36789">
                  <c:v>0.656126270733012</c:v>
                </c:pt>
                <c:pt idx="36790">
                  <c:v>0.65614410558230696</c:v>
                </c:pt>
                <c:pt idx="36791">
                  <c:v>0.65616194043160303</c:v>
                </c:pt>
                <c:pt idx="36792">
                  <c:v>0.65617977528089799</c:v>
                </c:pt>
                <c:pt idx="36793">
                  <c:v>0.65619761013019395</c:v>
                </c:pt>
                <c:pt idx="36794">
                  <c:v>0.65621544497948903</c:v>
                </c:pt>
                <c:pt idx="36795">
                  <c:v>0.65623327982878499</c:v>
                </c:pt>
                <c:pt idx="36796">
                  <c:v>0.65625111467808095</c:v>
                </c:pt>
                <c:pt idx="36797">
                  <c:v>0.65626894952737602</c:v>
                </c:pt>
                <c:pt idx="36798">
                  <c:v>0.65628678437667198</c:v>
                </c:pt>
                <c:pt idx="36799">
                  <c:v>0.65630461922596695</c:v>
                </c:pt>
                <c:pt idx="36800">
                  <c:v>0.65632245407526302</c:v>
                </c:pt>
                <c:pt idx="36801">
                  <c:v>0.65634028892455798</c:v>
                </c:pt>
                <c:pt idx="36802">
                  <c:v>0.65635812377385405</c:v>
                </c:pt>
                <c:pt idx="36803">
                  <c:v>0.65637595862314901</c:v>
                </c:pt>
                <c:pt idx="36804">
                  <c:v>0.65639379347244498</c:v>
                </c:pt>
                <c:pt idx="36805">
                  <c:v>0.65641162832174005</c:v>
                </c:pt>
                <c:pt idx="36806">
                  <c:v>0.65642946317103601</c:v>
                </c:pt>
                <c:pt idx="36807">
                  <c:v>0.65644729802033097</c:v>
                </c:pt>
                <c:pt idx="36808">
                  <c:v>0.65646513286962704</c:v>
                </c:pt>
                <c:pt idx="36809">
                  <c:v>0.65648296771892201</c:v>
                </c:pt>
                <c:pt idx="36810">
                  <c:v>0.65650080256821797</c:v>
                </c:pt>
                <c:pt idx="36811">
                  <c:v>0.65651863741751304</c:v>
                </c:pt>
                <c:pt idx="36812">
                  <c:v>0.656536472266809</c:v>
                </c:pt>
                <c:pt idx="36813">
                  <c:v>0.65655430711610396</c:v>
                </c:pt>
                <c:pt idx="36814">
                  <c:v>0.65657214196540004</c:v>
                </c:pt>
                <c:pt idx="36815">
                  <c:v>0.656589976814695</c:v>
                </c:pt>
                <c:pt idx="36816">
                  <c:v>0.65660781166399096</c:v>
                </c:pt>
                <c:pt idx="36817">
                  <c:v>0.65662564651328603</c:v>
                </c:pt>
                <c:pt idx="36818">
                  <c:v>0.65664348136258199</c:v>
                </c:pt>
                <c:pt idx="36819">
                  <c:v>0.65666131621187795</c:v>
                </c:pt>
                <c:pt idx="36820">
                  <c:v>0.65667915106117303</c:v>
                </c:pt>
                <c:pt idx="36821">
                  <c:v>0.65669698591046899</c:v>
                </c:pt>
                <c:pt idx="36822">
                  <c:v>0.65671482075976395</c:v>
                </c:pt>
                <c:pt idx="36823">
                  <c:v>0.65673265560906002</c:v>
                </c:pt>
                <c:pt idx="36824">
                  <c:v>0.65675049045835499</c:v>
                </c:pt>
                <c:pt idx="36825">
                  <c:v>0.65676832530765095</c:v>
                </c:pt>
                <c:pt idx="36826">
                  <c:v>0.65678616015694602</c:v>
                </c:pt>
                <c:pt idx="36827">
                  <c:v>0.65680399500624198</c:v>
                </c:pt>
                <c:pt idx="36828">
                  <c:v>0.65682182985553705</c:v>
                </c:pt>
                <c:pt idx="36829">
                  <c:v>0.65683966470483302</c:v>
                </c:pt>
                <c:pt idx="36830">
                  <c:v>0.65685749955412798</c:v>
                </c:pt>
                <c:pt idx="36831">
                  <c:v>0.65687533440342405</c:v>
                </c:pt>
                <c:pt idx="36832">
                  <c:v>0.65689316925271901</c:v>
                </c:pt>
                <c:pt idx="36833">
                  <c:v>0.65691100410201497</c:v>
                </c:pt>
                <c:pt idx="36834">
                  <c:v>0.65692883895131005</c:v>
                </c:pt>
                <c:pt idx="36835">
                  <c:v>0.65694667380060601</c:v>
                </c:pt>
                <c:pt idx="36836">
                  <c:v>0.65696450864990097</c:v>
                </c:pt>
                <c:pt idx="36837">
                  <c:v>0.65698234349919704</c:v>
                </c:pt>
                <c:pt idx="36838">
                  <c:v>0.657000178348493</c:v>
                </c:pt>
                <c:pt idx="36839">
                  <c:v>0.65701801319778796</c:v>
                </c:pt>
                <c:pt idx="36840">
                  <c:v>0.65703584804708404</c:v>
                </c:pt>
                <c:pt idx="36841">
                  <c:v>0.657053682896379</c:v>
                </c:pt>
                <c:pt idx="36842">
                  <c:v>0.65707151774567496</c:v>
                </c:pt>
                <c:pt idx="36843">
                  <c:v>0.65708935259497003</c:v>
                </c:pt>
                <c:pt idx="36844">
                  <c:v>0.65710718744426599</c:v>
                </c:pt>
                <c:pt idx="36845">
                  <c:v>0.65712502229356096</c:v>
                </c:pt>
                <c:pt idx="36846">
                  <c:v>0.65714285714285703</c:v>
                </c:pt>
                <c:pt idx="36847">
                  <c:v>0.65716069199215199</c:v>
                </c:pt>
                <c:pt idx="36848">
                  <c:v>0.65717852684144795</c:v>
                </c:pt>
                <c:pt idx="36849">
                  <c:v>0.65719636169074303</c:v>
                </c:pt>
                <c:pt idx="36850">
                  <c:v>0.65721419654003899</c:v>
                </c:pt>
                <c:pt idx="36851">
                  <c:v>0.65723203138933395</c:v>
                </c:pt>
                <c:pt idx="36852">
                  <c:v>0.65724986623863002</c:v>
                </c:pt>
                <c:pt idx="36853">
                  <c:v>0.65726770108792498</c:v>
                </c:pt>
                <c:pt idx="36854">
                  <c:v>0.65728553593722105</c:v>
                </c:pt>
                <c:pt idx="36855">
                  <c:v>0.65730337078651602</c:v>
                </c:pt>
                <c:pt idx="36856">
                  <c:v>0.65732120563581198</c:v>
                </c:pt>
                <c:pt idx="36857">
                  <c:v>0.65733904048510705</c:v>
                </c:pt>
                <c:pt idx="36858">
                  <c:v>0.65735687533440301</c:v>
                </c:pt>
                <c:pt idx="36859">
                  <c:v>0.65737471018369897</c:v>
                </c:pt>
                <c:pt idx="36860">
                  <c:v>0.65739254503299405</c:v>
                </c:pt>
                <c:pt idx="36861">
                  <c:v>0.65741037988229001</c:v>
                </c:pt>
                <c:pt idx="36862">
                  <c:v>0.65742821473158497</c:v>
                </c:pt>
                <c:pt idx="36863">
                  <c:v>0.65744604958088104</c:v>
                </c:pt>
                <c:pt idx="36864">
                  <c:v>0.657463884430176</c:v>
                </c:pt>
                <c:pt idx="36865">
                  <c:v>0.65748171927947197</c:v>
                </c:pt>
                <c:pt idx="36866">
                  <c:v>0.65749955412876704</c:v>
                </c:pt>
                <c:pt idx="36867">
                  <c:v>0.657517388978063</c:v>
                </c:pt>
                <c:pt idx="36868">
                  <c:v>0.65753522382735796</c:v>
                </c:pt>
                <c:pt idx="36869">
                  <c:v>0.65755305867665403</c:v>
                </c:pt>
                <c:pt idx="36870">
                  <c:v>0.657570893525949</c:v>
                </c:pt>
                <c:pt idx="36871">
                  <c:v>0.65758872837524496</c:v>
                </c:pt>
                <c:pt idx="36872">
                  <c:v>0.65760656322454003</c:v>
                </c:pt>
                <c:pt idx="36873">
                  <c:v>0.65762439807383599</c:v>
                </c:pt>
                <c:pt idx="36874">
                  <c:v>0.65764223292313095</c:v>
                </c:pt>
                <c:pt idx="36875">
                  <c:v>0.65766006777242703</c:v>
                </c:pt>
                <c:pt idx="36876">
                  <c:v>0.65767790262172199</c:v>
                </c:pt>
                <c:pt idx="36877">
                  <c:v>0.65769573747101795</c:v>
                </c:pt>
                <c:pt idx="36878">
                  <c:v>0.65771357232031302</c:v>
                </c:pt>
                <c:pt idx="36879">
                  <c:v>0.65773140716960898</c:v>
                </c:pt>
                <c:pt idx="36880">
                  <c:v>0.65774924201890494</c:v>
                </c:pt>
                <c:pt idx="36881">
                  <c:v>0.65776707686820002</c:v>
                </c:pt>
                <c:pt idx="36882">
                  <c:v>0.65778491171749598</c:v>
                </c:pt>
                <c:pt idx="36883">
                  <c:v>0.65780274656679105</c:v>
                </c:pt>
                <c:pt idx="36884">
                  <c:v>0.65782058141608701</c:v>
                </c:pt>
                <c:pt idx="36885">
                  <c:v>0.65783841626538198</c:v>
                </c:pt>
                <c:pt idx="36886">
                  <c:v>0.65785625111467805</c:v>
                </c:pt>
                <c:pt idx="36887">
                  <c:v>0.65787408596397301</c:v>
                </c:pt>
                <c:pt idx="36888">
                  <c:v>0.65789192081326897</c:v>
                </c:pt>
                <c:pt idx="36889">
                  <c:v>0.65790975566256404</c:v>
                </c:pt>
                <c:pt idx="36890">
                  <c:v>0.65792759051186001</c:v>
                </c:pt>
                <c:pt idx="36891">
                  <c:v>0.65794542536115497</c:v>
                </c:pt>
                <c:pt idx="36892">
                  <c:v>0.65796326021045104</c:v>
                </c:pt>
                <c:pt idx="36893">
                  <c:v>0.657981095059746</c:v>
                </c:pt>
                <c:pt idx="36894">
                  <c:v>0.65799892990904196</c:v>
                </c:pt>
                <c:pt idx="36895">
                  <c:v>0.65801676475833704</c:v>
                </c:pt>
                <c:pt idx="36896">
                  <c:v>0.658034599607633</c:v>
                </c:pt>
                <c:pt idx="36897">
                  <c:v>0.65805243445692796</c:v>
                </c:pt>
                <c:pt idx="36898">
                  <c:v>0.65807026930622403</c:v>
                </c:pt>
                <c:pt idx="36899">
                  <c:v>0.65808810415551899</c:v>
                </c:pt>
                <c:pt idx="36900">
                  <c:v>0.65810593900481495</c:v>
                </c:pt>
                <c:pt idx="36901">
                  <c:v>0.65812377385411003</c:v>
                </c:pt>
                <c:pt idx="36902">
                  <c:v>0.65814160870340599</c:v>
                </c:pt>
                <c:pt idx="36903">
                  <c:v>0.65815944355270195</c:v>
                </c:pt>
                <c:pt idx="36904">
                  <c:v>0.65817727840199702</c:v>
                </c:pt>
                <c:pt idx="36905">
                  <c:v>0.65819511325129298</c:v>
                </c:pt>
                <c:pt idx="36906">
                  <c:v>0.65821294810058795</c:v>
                </c:pt>
                <c:pt idx="36907">
                  <c:v>0.65823078294988402</c:v>
                </c:pt>
                <c:pt idx="36908">
                  <c:v>0.65824861779917898</c:v>
                </c:pt>
                <c:pt idx="36909">
                  <c:v>0.65826645264847505</c:v>
                </c:pt>
                <c:pt idx="36910">
                  <c:v>0.65828428749777002</c:v>
                </c:pt>
                <c:pt idx="36911">
                  <c:v>0.65830212234706598</c:v>
                </c:pt>
                <c:pt idx="36912">
                  <c:v>0.65831995719636105</c:v>
                </c:pt>
                <c:pt idx="36913">
                  <c:v>0.65833779204565701</c:v>
                </c:pt>
                <c:pt idx="36914">
                  <c:v>0.65835562689495197</c:v>
                </c:pt>
                <c:pt idx="36915">
                  <c:v>0.65837346174424805</c:v>
                </c:pt>
                <c:pt idx="36916">
                  <c:v>0.65839129659354301</c:v>
                </c:pt>
                <c:pt idx="36917">
                  <c:v>0.65840913144283897</c:v>
                </c:pt>
                <c:pt idx="36918">
                  <c:v>0.65842696629213404</c:v>
                </c:pt>
                <c:pt idx="36919">
                  <c:v>0.65844480114143</c:v>
                </c:pt>
                <c:pt idx="36920">
                  <c:v>0.65846263599072496</c:v>
                </c:pt>
                <c:pt idx="36921">
                  <c:v>0.65848047084002104</c:v>
                </c:pt>
                <c:pt idx="36922">
                  <c:v>0.658498305689316</c:v>
                </c:pt>
                <c:pt idx="36923">
                  <c:v>0.65851614053861196</c:v>
                </c:pt>
                <c:pt idx="36924">
                  <c:v>0.65853397538790703</c:v>
                </c:pt>
                <c:pt idx="36925">
                  <c:v>0.65855181023720299</c:v>
                </c:pt>
                <c:pt idx="36926">
                  <c:v>0.65856964508649896</c:v>
                </c:pt>
                <c:pt idx="36927">
                  <c:v>0.65858747993579403</c:v>
                </c:pt>
                <c:pt idx="36928">
                  <c:v>0.65860531478508999</c:v>
                </c:pt>
                <c:pt idx="36929">
                  <c:v>0.65862314963438495</c:v>
                </c:pt>
                <c:pt idx="36930">
                  <c:v>0.65864098448368102</c:v>
                </c:pt>
                <c:pt idx="36931">
                  <c:v>0.65865881933297599</c:v>
                </c:pt>
                <c:pt idx="36932">
                  <c:v>0.65867665418227195</c:v>
                </c:pt>
                <c:pt idx="36933">
                  <c:v>0.65869448903156702</c:v>
                </c:pt>
                <c:pt idx="36934">
                  <c:v>0.65871232388086298</c:v>
                </c:pt>
                <c:pt idx="36935">
                  <c:v>0.65873015873015806</c:v>
                </c:pt>
                <c:pt idx="36936">
                  <c:v>0.65874799357945402</c:v>
                </c:pt>
                <c:pt idx="36937">
                  <c:v>0.65876582842874898</c:v>
                </c:pt>
                <c:pt idx="36938">
                  <c:v>0.65878366327804505</c:v>
                </c:pt>
                <c:pt idx="36939">
                  <c:v>0.65880149812734001</c:v>
                </c:pt>
                <c:pt idx="36940">
                  <c:v>0.65881933297663597</c:v>
                </c:pt>
                <c:pt idx="36941">
                  <c:v>0.65883716782593105</c:v>
                </c:pt>
                <c:pt idx="36942">
                  <c:v>0.65885500267522701</c:v>
                </c:pt>
                <c:pt idx="36943">
                  <c:v>0.65887283752452297</c:v>
                </c:pt>
                <c:pt idx="36944">
                  <c:v>0.65889067237381804</c:v>
                </c:pt>
                <c:pt idx="36945">
                  <c:v>0.658908507223114</c:v>
                </c:pt>
                <c:pt idx="36946">
                  <c:v>0.65892634207240897</c:v>
                </c:pt>
                <c:pt idx="36947">
                  <c:v>0.65894417692170504</c:v>
                </c:pt>
                <c:pt idx="36948">
                  <c:v>0.658962011771</c:v>
                </c:pt>
                <c:pt idx="36949">
                  <c:v>0.65897984662029596</c:v>
                </c:pt>
                <c:pt idx="36950">
                  <c:v>0.65899768146959103</c:v>
                </c:pt>
                <c:pt idx="36951">
                  <c:v>0.659015516318887</c:v>
                </c:pt>
                <c:pt idx="36952">
                  <c:v>0.65903335116818196</c:v>
                </c:pt>
                <c:pt idx="36953">
                  <c:v>0.65905118601747803</c:v>
                </c:pt>
                <c:pt idx="36954">
                  <c:v>0.65906902086677299</c:v>
                </c:pt>
                <c:pt idx="36955">
                  <c:v>0.65908685571606895</c:v>
                </c:pt>
                <c:pt idx="36956">
                  <c:v>0.65910469056536403</c:v>
                </c:pt>
                <c:pt idx="36957">
                  <c:v>0.65912252541465999</c:v>
                </c:pt>
                <c:pt idx="36958">
                  <c:v>0.65914036026395495</c:v>
                </c:pt>
                <c:pt idx="36959">
                  <c:v>0.65915819511325102</c:v>
                </c:pt>
                <c:pt idx="36960">
                  <c:v>0.65917602996254598</c:v>
                </c:pt>
                <c:pt idx="36961">
                  <c:v>0.65919386481184195</c:v>
                </c:pt>
                <c:pt idx="36962">
                  <c:v>0.65921169966113702</c:v>
                </c:pt>
                <c:pt idx="36963">
                  <c:v>0.65922953451043298</c:v>
                </c:pt>
                <c:pt idx="36964">
                  <c:v>0.65924736935972805</c:v>
                </c:pt>
                <c:pt idx="36965">
                  <c:v>0.65926520420902401</c:v>
                </c:pt>
                <c:pt idx="36966">
                  <c:v>0.65928303905831998</c:v>
                </c:pt>
                <c:pt idx="36967">
                  <c:v>0.65930087390761505</c:v>
                </c:pt>
                <c:pt idx="36968">
                  <c:v>0.65931870875691101</c:v>
                </c:pt>
                <c:pt idx="36969">
                  <c:v>0.65933654360620597</c:v>
                </c:pt>
                <c:pt idx="36970">
                  <c:v>0.65935437845550204</c:v>
                </c:pt>
                <c:pt idx="36971">
                  <c:v>0.65937221330479701</c:v>
                </c:pt>
                <c:pt idx="36972">
                  <c:v>0.65939004815409297</c:v>
                </c:pt>
                <c:pt idx="36973">
                  <c:v>0.65940788300338804</c:v>
                </c:pt>
                <c:pt idx="36974">
                  <c:v>0.659425717852684</c:v>
                </c:pt>
                <c:pt idx="36975">
                  <c:v>0.65944355270197896</c:v>
                </c:pt>
                <c:pt idx="36976">
                  <c:v>0.65946138755127504</c:v>
                </c:pt>
                <c:pt idx="36977">
                  <c:v>0.65947922240057</c:v>
                </c:pt>
                <c:pt idx="36978">
                  <c:v>0.65949705724986596</c:v>
                </c:pt>
                <c:pt idx="36979">
                  <c:v>0.65951489209916103</c:v>
                </c:pt>
                <c:pt idx="36980">
                  <c:v>0.65953272694845699</c:v>
                </c:pt>
                <c:pt idx="36981">
                  <c:v>0.65955056179775196</c:v>
                </c:pt>
                <c:pt idx="36982">
                  <c:v>0.65956839664704803</c:v>
                </c:pt>
                <c:pt idx="36983">
                  <c:v>0.65958623149634299</c:v>
                </c:pt>
                <c:pt idx="36984">
                  <c:v>0.65960406634563895</c:v>
                </c:pt>
                <c:pt idx="36985">
                  <c:v>0.65962190119493402</c:v>
                </c:pt>
                <c:pt idx="36986">
                  <c:v>0.65963973604422999</c:v>
                </c:pt>
                <c:pt idx="36987">
                  <c:v>0.65965757089352595</c:v>
                </c:pt>
                <c:pt idx="36988">
                  <c:v>0.65967540574282102</c:v>
                </c:pt>
                <c:pt idx="36989">
                  <c:v>0.65969324059211698</c:v>
                </c:pt>
                <c:pt idx="36990">
                  <c:v>0.65971107544141205</c:v>
                </c:pt>
                <c:pt idx="36991">
                  <c:v>0.65972891029070801</c:v>
                </c:pt>
                <c:pt idx="36992">
                  <c:v>0.65974674514000298</c:v>
                </c:pt>
                <c:pt idx="36993">
                  <c:v>0.65976457998929905</c:v>
                </c:pt>
                <c:pt idx="36994">
                  <c:v>0.65978241483859401</c:v>
                </c:pt>
                <c:pt idx="36995">
                  <c:v>0.65980024968788997</c:v>
                </c:pt>
                <c:pt idx="36996">
                  <c:v>0.65981808453718505</c:v>
                </c:pt>
                <c:pt idx="36997">
                  <c:v>0.65983591938648101</c:v>
                </c:pt>
                <c:pt idx="36998">
                  <c:v>0.65985375423577597</c:v>
                </c:pt>
                <c:pt idx="36999">
                  <c:v>0.65987158908507204</c:v>
                </c:pt>
                <c:pt idx="37000">
                  <c:v>0.659889423934367</c:v>
                </c:pt>
                <c:pt idx="37001">
                  <c:v>0.65990725878366296</c:v>
                </c:pt>
                <c:pt idx="37002">
                  <c:v>0.65992509363295804</c:v>
                </c:pt>
                <c:pt idx="37003">
                  <c:v>0.659942928482254</c:v>
                </c:pt>
                <c:pt idx="37004">
                  <c:v>0.65996076333154896</c:v>
                </c:pt>
                <c:pt idx="37005">
                  <c:v>0.65997859818084503</c:v>
                </c:pt>
                <c:pt idx="37006">
                  <c:v>0.65999643303014</c:v>
                </c:pt>
                <c:pt idx="37007">
                  <c:v>0.66001426787943596</c:v>
                </c:pt>
                <c:pt idx="37008">
                  <c:v>0.66003210272873103</c:v>
                </c:pt>
                <c:pt idx="37009">
                  <c:v>0.66004993757802699</c:v>
                </c:pt>
                <c:pt idx="37010">
                  <c:v>0.66006777242732295</c:v>
                </c:pt>
                <c:pt idx="37011">
                  <c:v>0.66008560727661802</c:v>
                </c:pt>
                <c:pt idx="37012">
                  <c:v>0.66010344212591399</c:v>
                </c:pt>
                <c:pt idx="37013">
                  <c:v>0.66012127697520895</c:v>
                </c:pt>
                <c:pt idx="37014">
                  <c:v>0.66013911182450502</c:v>
                </c:pt>
                <c:pt idx="37015">
                  <c:v>0.66015694667379998</c:v>
                </c:pt>
                <c:pt idx="37016">
                  <c:v>0.66017478152309605</c:v>
                </c:pt>
                <c:pt idx="37017">
                  <c:v>0.66019261637239102</c:v>
                </c:pt>
                <c:pt idx="37018">
                  <c:v>0.66021045122168698</c:v>
                </c:pt>
                <c:pt idx="37019">
                  <c:v>0.66022828607098205</c:v>
                </c:pt>
                <c:pt idx="37020">
                  <c:v>0.66024612092027801</c:v>
                </c:pt>
                <c:pt idx="37021">
                  <c:v>0.66026395576957297</c:v>
                </c:pt>
                <c:pt idx="37022">
                  <c:v>0.66028179061886905</c:v>
                </c:pt>
                <c:pt idx="37023">
                  <c:v>0.66029962546816401</c:v>
                </c:pt>
                <c:pt idx="37024">
                  <c:v>0.66031746031745997</c:v>
                </c:pt>
                <c:pt idx="37025">
                  <c:v>0.66033529516675504</c:v>
                </c:pt>
                <c:pt idx="37026">
                  <c:v>0.660353130016051</c:v>
                </c:pt>
                <c:pt idx="37027">
                  <c:v>0.66037096486534597</c:v>
                </c:pt>
                <c:pt idx="37028">
                  <c:v>0.66038879971464204</c:v>
                </c:pt>
                <c:pt idx="37029">
                  <c:v>0.660406634563937</c:v>
                </c:pt>
                <c:pt idx="37030">
                  <c:v>0.66042446941323296</c:v>
                </c:pt>
                <c:pt idx="37031">
                  <c:v>0.66044230426252903</c:v>
                </c:pt>
                <c:pt idx="37032">
                  <c:v>0.660460139111824</c:v>
                </c:pt>
                <c:pt idx="37033">
                  <c:v>0.66047797396111996</c:v>
                </c:pt>
                <c:pt idx="37034">
                  <c:v>0.66049580881041503</c:v>
                </c:pt>
                <c:pt idx="37035">
                  <c:v>0.66051364365971099</c:v>
                </c:pt>
                <c:pt idx="37036">
                  <c:v>0.66053147850900595</c:v>
                </c:pt>
                <c:pt idx="37037">
                  <c:v>0.66054931335830203</c:v>
                </c:pt>
                <c:pt idx="37038">
                  <c:v>0.66056714820759699</c:v>
                </c:pt>
                <c:pt idx="37039">
                  <c:v>0.66058498305689295</c:v>
                </c:pt>
                <c:pt idx="37040">
                  <c:v>0.66060281790618802</c:v>
                </c:pt>
                <c:pt idx="37041">
                  <c:v>0.66062065275548398</c:v>
                </c:pt>
                <c:pt idx="37042">
                  <c:v>0.66063848760477895</c:v>
                </c:pt>
                <c:pt idx="37043">
                  <c:v>0.66065632245407502</c:v>
                </c:pt>
                <c:pt idx="37044">
                  <c:v>0.66067415730336998</c:v>
                </c:pt>
                <c:pt idx="37045">
                  <c:v>0.66069199215266605</c:v>
                </c:pt>
                <c:pt idx="37046">
                  <c:v>0.66070982700196101</c:v>
                </c:pt>
                <c:pt idx="37047">
                  <c:v>0.66072766185125698</c:v>
                </c:pt>
                <c:pt idx="37048">
                  <c:v>0.66074549670055205</c:v>
                </c:pt>
                <c:pt idx="37049">
                  <c:v>0.66076333154984801</c:v>
                </c:pt>
                <c:pt idx="37050">
                  <c:v>0.66078116639914397</c:v>
                </c:pt>
                <c:pt idx="37051">
                  <c:v>0.66079900124843904</c:v>
                </c:pt>
                <c:pt idx="37052">
                  <c:v>0.66081683609773501</c:v>
                </c:pt>
                <c:pt idx="37053">
                  <c:v>0.66083467094702997</c:v>
                </c:pt>
                <c:pt idx="37054">
                  <c:v>0.66085250579632604</c:v>
                </c:pt>
                <c:pt idx="37055">
                  <c:v>0.660870340645621</c:v>
                </c:pt>
                <c:pt idx="37056">
                  <c:v>0.66088817549491696</c:v>
                </c:pt>
                <c:pt idx="37057">
                  <c:v>0.66090601034421204</c:v>
                </c:pt>
                <c:pt idx="37058">
                  <c:v>0.660923845193508</c:v>
                </c:pt>
                <c:pt idx="37059">
                  <c:v>0.66094168004280296</c:v>
                </c:pt>
                <c:pt idx="37060">
                  <c:v>0.66095951489209903</c:v>
                </c:pt>
                <c:pt idx="37061">
                  <c:v>0.66097734974139399</c:v>
                </c:pt>
                <c:pt idx="37062">
                  <c:v>0.66099518459068995</c:v>
                </c:pt>
                <c:pt idx="37063">
                  <c:v>0.66101301943998503</c:v>
                </c:pt>
                <c:pt idx="37064">
                  <c:v>0.66103085428928099</c:v>
                </c:pt>
                <c:pt idx="37065">
                  <c:v>0.66104868913857595</c:v>
                </c:pt>
                <c:pt idx="37066">
                  <c:v>0.66106652398787202</c:v>
                </c:pt>
                <c:pt idx="37067">
                  <c:v>0.66108435883716699</c:v>
                </c:pt>
                <c:pt idx="37068">
                  <c:v>0.66110219368646295</c:v>
                </c:pt>
                <c:pt idx="37069">
                  <c:v>0.66112002853575802</c:v>
                </c:pt>
                <c:pt idx="37070">
                  <c:v>0.66113786338505398</c:v>
                </c:pt>
                <c:pt idx="37071">
                  <c:v>0.66115569823434905</c:v>
                </c:pt>
                <c:pt idx="37072">
                  <c:v>0.66117353308364502</c:v>
                </c:pt>
                <c:pt idx="37073">
                  <c:v>0.66119136793294098</c:v>
                </c:pt>
                <c:pt idx="37074">
                  <c:v>0.66120920278223605</c:v>
                </c:pt>
                <c:pt idx="37075">
                  <c:v>0.66122703763153201</c:v>
                </c:pt>
                <c:pt idx="37076">
                  <c:v>0.66124487248082697</c:v>
                </c:pt>
                <c:pt idx="37077">
                  <c:v>0.66126270733012305</c:v>
                </c:pt>
                <c:pt idx="37078">
                  <c:v>0.66128054217941801</c:v>
                </c:pt>
                <c:pt idx="37079">
                  <c:v>0.66129837702871397</c:v>
                </c:pt>
                <c:pt idx="37080">
                  <c:v>0.66131621187800904</c:v>
                </c:pt>
                <c:pt idx="37081">
                  <c:v>0.661334046727305</c:v>
                </c:pt>
                <c:pt idx="37082">
                  <c:v>0.66135188157659996</c:v>
                </c:pt>
                <c:pt idx="37083">
                  <c:v>0.66136971642589604</c:v>
                </c:pt>
                <c:pt idx="37084">
                  <c:v>0.661387551275191</c:v>
                </c:pt>
                <c:pt idx="37085">
                  <c:v>0.66140538612448696</c:v>
                </c:pt>
                <c:pt idx="37086">
                  <c:v>0.66142322097378203</c:v>
                </c:pt>
                <c:pt idx="37087">
                  <c:v>0.66144105582307799</c:v>
                </c:pt>
                <c:pt idx="37088">
                  <c:v>0.66145889067237296</c:v>
                </c:pt>
                <c:pt idx="37089">
                  <c:v>0.66147672552166903</c:v>
                </c:pt>
                <c:pt idx="37090">
                  <c:v>0.66149456037096399</c:v>
                </c:pt>
                <c:pt idx="37091">
                  <c:v>0.66151239522025995</c:v>
                </c:pt>
                <c:pt idx="37092">
                  <c:v>0.66153023006955503</c:v>
                </c:pt>
                <c:pt idx="37093">
                  <c:v>0.66154806491885099</c:v>
                </c:pt>
                <c:pt idx="37094">
                  <c:v>0.66156589976814695</c:v>
                </c:pt>
                <c:pt idx="37095">
                  <c:v>0.66158373461744202</c:v>
                </c:pt>
                <c:pt idx="37096">
                  <c:v>0.66160156946673798</c:v>
                </c:pt>
                <c:pt idx="37097">
                  <c:v>0.66161940431603306</c:v>
                </c:pt>
                <c:pt idx="37098">
                  <c:v>0.66163723916532902</c:v>
                </c:pt>
                <c:pt idx="37099">
                  <c:v>0.66165507401462398</c:v>
                </c:pt>
                <c:pt idx="37100">
                  <c:v>0.66167290886392005</c:v>
                </c:pt>
                <c:pt idx="37101">
                  <c:v>0.66169074371321501</c:v>
                </c:pt>
                <c:pt idx="37102">
                  <c:v>0.66170857856251097</c:v>
                </c:pt>
                <c:pt idx="37103">
                  <c:v>0.66172641341180605</c:v>
                </c:pt>
                <c:pt idx="37104">
                  <c:v>0.66174424826110201</c:v>
                </c:pt>
                <c:pt idx="37105">
                  <c:v>0.66176208311039697</c:v>
                </c:pt>
                <c:pt idx="37106">
                  <c:v>0.66177991795969304</c:v>
                </c:pt>
                <c:pt idx="37107">
                  <c:v>0.661797752808988</c:v>
                </c:pt>
                <c:pt idx="37108">
                  <c:v>0.66181558765828397</c:v>
                </c:pt>
                <c:pt idx="37109">
                  <c:v>0.66183342250757904</c:v>
                </c:pt>
                <c:pt idx="37110">
                  <c:v>0.661851257356875</c:v>
                </c:pt>
                <c:pt idx="37111">
                  <c:v>0.66186909220616996</c:v>
                </c:pt>
                <c:pt idx="37112">
                  <c:v>0.66188692705546603</c:v>
                </c:pt>
                <c:pt idx="37113">
                  <c:v>0.661904761904761</c:v>
                </c:pt>
                <c:pt idx="37114">
                  <c:v>0.66192259675405696</c:v>
                </c:pt>
                <c:pt idx="37115">
                  <c:v>0.66194043160335203</c:v>
                </c:pt>
                <c:pt idx="37116">
                  <c:v>0.66195826645264799</c:v>
                </c:pt>
                <c:pt idx="37117">
                  <c:v>0.66197610130194395</c:v>
                </c:pt>
                <c:pt idx="37118">
                  <c:v>0.66199393615123903</c:v>
                </c:pt>
                <c:pt idx="37119">
                  <c:v>0.66201177100053499</c:v>
                </c:pt>
                <c:pt idx="37120">
                  <c:v>0.66202960584982995</c:v>
                </c:pt>
                <c:pt idx="37121">
                  <c:v>0.66204744069912602</c:v>
                </c:pt>
                <c:pt idx="37122">
                  <c:v>0.66206527554842098</c:v>
                </c:pt>
                <c:pt idx="37123">
                  <c:v>0.66208311039771695</c:v>
                </c:pt>
                <c:pt idx="37124">
                  <c:v>0.66210094524701202</c:v>
                </c:pt>
                <c:pt idx="37125">
                  <c:v>0.66211878009630798</c:v>
                </c:pt>
                <c:pt idx="37126">
                  <c:v>0.66213661494560305</c:v>
                </c:pt>
                <c:pt idx="37127">
                  <c:v>0.66215444979489901</c:v>
                </c:pt>
                <c:pt idx="37128">
                  <c:v>0.66217228464419398</c:v>
                </c:pt>
                <c:pt idx="37129">
                  <c:v>0.66219011949349005</c:v>
                </c:pt>
                <c:pt idx="37130">
                  <c:v>0.66220795434278501</c:v>
                </c:pt>
                <c:pt idx="37131">
                  <c:v>0.66222578919208097</c:v>
                </c:pt>
                <c:pt idx="37132">
                  <c:v>0.66224362404137604</c:v>
                </c:pt>
                <c:pt idx="37133">
                  <c:v>0.66226145889067201</c:v>
                </c:pt>
                <c:pt idx="37134">
                  <c:v>0.66227929373996697</c:v>
                </c:pt>
                <c:pt idx="37135">
                  <c:v>0.66229712858926304</c:v>
                </c:pt>
                <c:pt idx="37136">
                  <c:v>0.662314963438558</c:v>
                </c:pt>
                <c:pt idx="37137">
                  <c:v>0.66233279828785396</c:v>
                </c:pt>
                <c:pt idx="37138">
                  <c:v>0.66235063313715004</c:v>
                </c:pt>
                <c:pt idx="37139">
                  <c:v>0.662368467986445</c:v>
                </c:pt>
                <c:pt idx="37140">
                  <c:v>0.66238630283574096</c:v>
                </c:pt>
                <c:pt idx="37141">
                  <c:v>0.66240413768503603</c:v>
                </c:pt>
                <c:pt idx="37142">
                  <c:v>0.66242197253433199</c:v>
                </c:pt>
                <c:pt idx="37143">
                  <c:v>0.66243980738362696</c:v>
                </c:pt>
                <c:pt idx="37144">
                  <c:v>0.66245764223292303</c:v>
                </c:pt>
                <c:pt idx="37145">
                  <c:v>0.66247547708221799</c:v>
                </c:pt>
                <c:pt idx="37146">
                  <c:v>0.66249331193151395</c:v>
                </c:pt>
                <c:pt idx="37147">
                  <c:v>0.66251114678080902</c:v>
                </c:pt>
                <c:pt idx="37148">
                  <c:v>0.66252898163010499</c:v>
                </c:pt>
                <c:pt idx="37149">
                  <c:v>0.66254681647939995</c:v>
                </c:pt>
                <c:pt idx="37150">
                  <c:v>0.66256465132869602</c:v>
                </c:pt>
                <c:pt idx="37151">
                  <c:v>0.66258248617799098</c:v>
                </c:pt>
                <c:pt idx="37152">
                  <c:v>0.66260032102728705</c:v>
                </c:pt>
                <c:pt idx="37153">
                  <c:v>0.66261815587658202</c:v>
                </c:pt>
                <c:pt idx="37154">
                  <c:v>0.66263599072587798</c:v>
                </c:pt>
                <c:pt idx="37155">
                  <c:v>0.66265382557517305</c:v>
                </c:pt>
                <c:pt idx="37156">
                  <c:v>0.66267166042446901</c:v>
                </c:pt>
                <c:pt idx="37157">
                  <c:v>0.66268949527376497</c:v>
                </c:pt>
                <c:pt idx="37158">
                  <c:v>0.66270733012306005</c:v>
                </c:pt>
                <c:pt idx="37159">
                  <c:v>0.66272516497235601</c:v>
                </c:pt>
                <c:pt idx="37160">
                  <c:v>0.66274299982165097</c:v>
                </c:pt>
                <c:pt idx="37161">
                  <c:v>0.66276083467094704</c:v>
                </c:pt>
                <c:pt idx="37162">
                  <c:v>0.662778669520242</c:v>
                </c:pt>
                <c:pt idx="37163">
                  <c:v>0.66279650436953796</c:v>
                </c:pt>
                <c:pt idx="37164">
                  <c:v>0.66281433921883304</c:v>
                </c:pt>
                <c:pt idx="37165">
                  <c:v>0.662832174068129</c:v>
                </c:pt>
                <c:pt idx="37166">
                  <c:v>0.66285000891742396</c:v>
                </c:pt>
                <c:pt idx="37167">
                  <c:v>0.66286784376672003</c:v>
                </c:pt>
                <c:pt idx="37168">
                  <c:v>0.66288567861601499</c:v>
                </c:pt>
                <c:pt idx="37169">
                  <c:v>0.66290351346531096</c:v>
                </c:pt>
                <c:pt idx="37170">
                  <c:v>0.66292134831460603</c:v>
                </c:pt>
                <c:pt idx="37171">
                  <c:v>0.66293918316390199</c:v>
                </c:pt>
                <c:pt idx="37172">
                  <c:v>0.66295701801319695</c:v>
                </c:pt>
                <c:pt idx="37173">
                  <c:v>0.66297485286249302</c:v>
                </c:pt>
                <c:pt idx="37174">
                  <c:v>0.66299268771178799</c:v>
                </c:pt>
                <c:pt idx="37175">
                  <c:v>0.66301052256108395</c:v>
                </c:pt>
                <c:pt idx="37176">
                  <c:v>0.66302835741037902</c:v>
                </c:pt>
                <c:pt idx="37177">
                  <c:v>0.66304619225967498</c:v>
                </c:pt>
                <c:pt idx="37178">
                  <c:v>0.66306402710897006</c:v>
                </c:pt>
                <c:pt idx="37179">
                  <c:v>0.66308186195826602</c:v>
                </c:pt>
                <c:pt idx="37180">
                  <c:v>0.66309969680756198</c:v>
                </c:pt>
                <c:pt idx="37181">
                  <c:v>0.66311753165685705</c:v>
                </c:pt>
                <c:pt idx="37182">
                  <c:v>0.66313536650615301</c:v>
                </c:pt>
                <c:pt idx="37183">
                  <c:v>0.66315320135544797</c:v>
                </c:pt>
                <c:pt idx="37184">
                  <c:v>0.66317103620474405</c:v>
                </c:pt>
                <c:pt idx="37185">
                  <c:v>0.66318887105403901</c:v>
                </c:pt>
                <c:pt idx="37186">
                  <c:v>0.66320670590333497</c:v>
                </c:pt>
                <c:pt idx="37187">
                  <c:v>0.66322454075263004</c:v>
                </c:pt>
                <c:pt idx="37188">
                  <c:v>0.663242375601926</c:v>
                </c:pt>
                <c:pt idx="37189">
                  <c:v>0.66326021045122097</c:v>
                </c:pt>
                <c:pt idx="37190">
                  <c:v>0.66327804530051704</c:v>
                </c:pt>
                <c:pt idx="37191">
                  <c:v>0.663295880149812</c:v>
                </c:pt>
                <c:pt idx="37192">
                  <c:v>0.66331371499910796</c:v>
                </c:pt>
                <c:pt idx="37193">
                  <c:v>0.66333154984840303</c:v>
                </c:pt>
                <c:pt idx="37194">
                  <c:v>0.663349384697699</c:v>
                </c:pt>
                <c:pt idx="37195">
                  <c:v>0.66336721954699396</c:v>
                </c:pt>
                <c:pt idx="37196">
                  <c:v>0.66338505439629003</c:v>
                </c:pt>
                <c:pt idx="37197">
                  <c:v>0.66340288924558499</c:v>
                </c:pt>
                <c:pt idx="37198">
                  <c:v>0.66342072409488095</c:v>
                </c:pt>
                <c:pt idx="37199">
                  <c:v>0.66343855894417603</c:v>
                </c:pt>
                <c:pt idx="37200">
                  <c:v>0.66345639379347199</c:v>
                </c:pt>
                <c:pt idx="37201">
                  <c:v>0.66347422864276795</c:v>
                </c:pt>
                <c:pt idx="37202">
                  <c:v>0.66349206349206302</c:v>
                </c:pt>
                <c:pt idx="37203">
                  <c:v>0.66350989834135898</c:v>
                </c:pt>
                <c:pt idx="37204">
                  <c:v>0.66352773319065395</c:v>
                </c:pt>
                <c:pt idx="37205">
                  <c:v>0.66354556803995002</c:v>
                </c:pt>
                <c:pt idx="37206">
                  <c:v>0.66356340288924498</c:v>
                </c:pt>
                <c:pt idx="37207">
                  <c:v>0.66358123773854105</c:v>
                </c:pt>
                <c:pt idx="37208">
                  <c:v>0.66359907258783601</c:v>
                </c:pt>
                <c:pt idx="37209">
                  <c:v>0.66361690743713198</c:v>
                </c:pt>
                <c:pt idx="37210">
                  <c:v>0.66363474228642705</c:v>
                </c:pt>
                <c:pt idx="37211">
                  <c:v>0.66365257713572301</c:v>
                </c:pt>
                <c:pt idx="37212">
                  <c:v>0.66367041198501797</c:v>
                </c:pt>
                <c:pt idx="37213">
                  <c:v>0.66368824683431404</c:v>
                </c:pt>
                <c:pt idx="37214">
                  <c:v>0.66370608168360901</c:v>
                </c:pt>
                <c:pt idx="37215">
                  <c:v>0.66372391653290497</c:v>
                </c:pt>
                <c:pt idx="37216">
                  <c:v>0.66374175138220004</c:v>
                </c:pt>
                <c:pt idx="37217">
                  <c:v>0.663759586231496</c:v>
                </c:pt>
                <c:pt idx="37218">
                  <c:v>0.66377742108079096</c:v>
                </c:pt>
                <c:pt idx="37219">
                  <c:v>0.66379525593008704</c:v>
                </c:pt>
                <c:pt idx="37220">
                  <c:v>0.663813090779382</c:v>
                </c:pt>
                <c:pt idx="37221">
                  <c:v>0.66383092562867796</c:v>
                </c:pt>
                <c:pt idx="37222">
                  <c:v>0.66384876047797303</c:v>
                </c:pt>
                <c:pt idx="37223">
                  <c:v>0.66386659532726899</c:v>
                </c:pt>
                <c:pt idx="37224">
                  <c:v>0.66388443017656495</c:v>
                </c:pt>
                <c:pt idx="37225">
                  <c:v>0.66390226502586003</c:v>
                </c:pt>
                <c:pt idx="37226">
                  <c:v>0.66392009987515599</c:v>
                </c:pt>
                <c:pt idx="37227">
                  <c:v>0.66393793472445095</c:v>
                </c:pt>
                <c:pt idx="37228">
                  <c:v>0.66395576957374702</c:v>
                </c:pt>
                <c:pt idx="37229">
                  <c:v>0.66397360442304199</c:v>
                </c:pt>
                <c:pt idx="37230">
                  <c:v>0.66399143927233795</c:v>
                </c:pt>
                <c:pt idx="37231">
                  <c:v>0.66400927412163302</c:v>
                </c:pt>
                <c:pt idx="37232">
                  <c:v>0.66402710897092898</c:v>
                </c:pt>
                <c:pt idx="37233">
                  <c:v>0.66404494382022405</c:v>
                </c:pt>
                <c:pt idx="37234">
                  <c:v>0.66406277866952002</c:v>
                </c:pt>
                <c:pt idx="37235">
                  <c:v>0.66408061351881498</c:v>
                </c:pt>
                <c:pt idx="37236">
                  <c:v>0.66409844836811105</c:v>
                </c:pt>
                <c:pt idx="37237">
                  <c:v>0.66411628321740601</c:v>
                </c:pt>
                <c:pt idx="37238">
                  <c:v>0.66413411806670197</c:v>
                </c:pt>
                <c:pt idx="37239">
                  <c:v>0.66415195291599705</c:v>
                </c:pt>
                <c:pt idx="37240">
                  <c:v>0.66416978776529301</c:v>
                </c:pt>
                <c:pt idx="37241">
                  <c:v>0.66418762261458797</c:v>
                </c:pt>
                <c:pt idx="37242">
                  <c:v>0.66420545746388404</c:v>
                </c:pt>
                <c:pt idx="37243">
                  <c:v>0.66422329231318</c:v>
                </c:pt>
                <c:pt idx="37244">
                  <c:v>0.66424112716247496</c:v>
                </c:pt>
                <c:pt idx="37245">
                  <c:v>0.66425896201177104</c:v>
                </c:pt>
                <c:pt idx="37246">
                  <c:v>0.664276796861066</c:v>
                </c:pt>
                <c:pt idx="37247">
                  <c:v>0.66429463171036196</c:v>
                </c:pt>
                <c:pt idx="37248">
                  <c:v>0.66431246655965703</c:v>
                </c:pt>
                <c:pt idx="37249">
                  <c:v>0.66433030140895299</c:v>
                </c:pt>
                <c:pt idx="37250">
                  <c:v>0.66434813625824796</c:v>
                </c:pt>
                <c:pt idx="37251">
                  <c:v>0.66436597110754403</c:v>
                </c:pt>
                <c:pt idx="37252">
                  <c:v>0.66438380595683899</c:v>
                </c:pt>
                <c:pt idx="37253">
                  <c:v>0.66440164080613495</c:v>
                </c:pt>
                <c:pt idx="37254">
                  <c:v>0.66441947565543003</c:v>
                </c:pt>
                <c:pt idx="37255">
                  <c:v>0.66443731050472599</c:v>
                </c:pt>
                <c:pt idx="37256">
                  <c:v>0.66445514535402095</c:v>
                </c:pt>
                <c:pt idx="37257">
                  <c:v>0.66447298020331702</c:v>
                </c:pt>
                <c:pt idx="37258">
                  <c:v>0.66449081505261198</c:v>
                </c:pt>
                <c:pt idx="37259">
                  <c:v>0.66450864990190806</c:v>
                </c:pt>
                <c:pt idx="37260">
                  <c:v>0.66452648475120302</c:v>
                </c:pt>
                <c:pt idx="37261">
                  <c:v>0.66454431960049898</c:v>
                </c:pt>
                <c:pt idx="37262">
                  <c:v>0.66456215444979405</c:v>
                </c:pt>
                <c:pt idx="37263">
                  <c:v>0.66457998929909001</c:v>
                </c:pt>
                <c:pt idx="37264">
                  <c:v>0.66459782414838597</c:v>
                </c:pt>
                <c:pt idx="37265">
                  <c:v>0.66461565899768105</c:v>
                </c:pt>
                <c:pt idx="37266">
                  <c:v>0.66463349384697701</c:v>
                </c:pt>
                <c:pt idx="37267">
                  <c:v>0.66465132869627197</c:v>
                </c:pt>
                <c:pt idx="37268">
                  <c:v>0.66466916354556804</c:v>
                </c:pt>
                <c:pt idx="37269">
                  <c:v>0.664686998394863</c:v>
                </c:pt>
                <c:pt idx="37270">
                  <c:v>0.66470483324415897</c:v>
                </c:pt>
                <c:pt idx="37271">
                  <c:v>0.66472266809345404</c:v>
                </c:pt>
                <c:pt idx="37272">
                  <c:v>0.66474050294275</c:v>
                </c:pt>
                <c:pt idx="37273">
                  <c:v>0.66475833779204496</c:v>
                </c:pt>
                <c:pt idx="37274">
                  <c:v>0.66477617264134103</c:v>
                </c:pt>
                <c:pt idx="37275">
                  <c:v>0.664794007490636</c:v>
                </c:pt>
                <c:pt idx="37276">
                  <c:v>0.66481184233993196</c:v>
                </c:pt>
                <c:pt idx="37277">
                  <c:v>0.66482967718922703</c:v>
                </c:pt>
                <c:pt idx="37278">
                  <c:v>0.66484751203852299</c:v>
                </c:pt>
                <c:pt idx="37279">
                  <c:v>0.66486534688781795</c:v>
                </c:pt>
                <c:pt idx="37280">
                  <c:v>0.66488318173711403</c:v>
                </c:pt>
                <c:pt idx="37281">
                  <c:v>0.66490101658640899</c:v>
                </c:pt>
                <c:pt idx="37282">
                  <c:v>0.66491885143570495</c:v>
                </c:pt>
                <c:pt idx="37283">
                  <c:v>0.66493668628500002</c:v>
                </c:pt>
                <c:pt idx="37284">
                  <c:v>0.66495452113429598</c:v>
                </c:pt>
                <c:pt idx="37285">
                  <c:v>0.66497235598359195</c:v>
                </c:pt>
                <c:pt idx="37286">
                  <c:v>0.66499019083288702</c:v>
                </c:pt>
                <c:pt idx="37287">
                  <c:v>0.66500802568218298</c:v>
                </c:pt>
                <c:pt idx="37288">
                  <c:v>0.66502586053147805</c:v>
                </c:pt>
                <c:pt idx="37289">
                  <c:v>0.66504369538077401</c:v>
                </c:pt>
                <c:pt idx="37290">
                  <c:v>0.66506153023006898</c:v>
                </c:pt>
                <c:pt idx="37291">
                  <c:v>0.66507936507936505</c:v>
                </c:pt>
                <c:pt idx="37292">
                  <c:v>0.66509719992866001</c:v>
                </c:pt>
                <c:pt idx="37293">
                  <c:v>0.66511503477795597</c:v>
                </c:pt>
                <c:pt idx="37294">
                  <c:v>0.66513286962725104</c:v>
                </c:pt>
                <c:pt idx="37295">
                  <c:v>0.66515070447654701</c:v>
                </c:pt>
                <c:pt idx="37296">
                  <c:v>0.66516853932584197</c:v>
                </c:pt>
                <c:pt idx="37297">
                  <c:v>0.66518637417513804</c:v>
                </c:pt>
                <c:pt idx="37298">
                  <c:v>0.665204209024433</c:v>
                </c:pt>
                <c:pt idx="37299">
                  <c:v>0.66522204387372896</c:v>
                </c:pt>
                <c:pt idx="37300">
                  <c:v>0.66523987872302404</c:v>
                </c:pt>
                <c:pt idx="37301">
                  <c:v>0.66525771357232</c:v>
                </c:pt>
                <c:pt idx="37302">
                  <c:v>0.66527554842161496</c:v>
                </c:pt>
                <c:pt idx="37303">
                  <c:v>0.66529338327091103</c:v>
                </c:pt>
                <c:pt idx="37304">
                  <c:v>0.66531121812020599</c:v>
                </c:pt>
                <c:pt idx="37305">
                  <c:v>0.66532905296950196</c:v>
                </c:pt>
                <c:pt idx="37306">
                  <c:v>0.66534688781879703</c:v>
                </c:pt>
                <c:pt idx="37307">
                  <c:v>0.66536472266809299</c:v>
                </c:pt>
                <c:pt idx="37308">
                  <c:v>0.66538255751738895</c:v>
                </c:pt>
                <c:pt idx="37309">
                  <c:v>0.66540039236668402</c:v>
                </c:pt>
                <c:pt idx="37310">
                  <c:v>0.66541822721597998</c:v>
                </c:pt>
                <c:pt idx="37311">
                  <c:v>0.66543606206527495</c:v>
                </c:pt>
                <c:pt idx="37312">
                  <c:v>0.66545389691457102</c:v>
                </c:pt>
                <c:pt idx="37313">
                  <c:v>0.66547173176386598</c:v>
                </c:pt>
                <c:pt idx="37314">
                  <c:v>0.66548956661316205</c:v>
                </c:pt>
                <c:pt idx="37315">
                  <c:v>0.66550740146245702</c:v>
                </c:pt>
                <c:pt idx="37316">
                  <c:v>0.66552523631175298</c:v>
                </c:pt>
                <c:pt idx="37317">
                  <c:v>0.66554307116104805</c:v>
                </c:pt>
                <c:pt idx="37318">
                  <c:v>0.66556090601034401</c:v>
                </c:pt>
                <c:pt idx="37319">
                  <c:v>0.66557874085963897</c:v>
                </c:pt>
                <c:pt idx="37320">
                  <c:v>0.66559657570893505</c:v>
                </c:pt>
                <c:pt idx="37321">
                  <c:v>0.66561441055823001</c:v>
                </c:pt>
                <c:pt idx="37322">
                  <c:v>0.66563224540752597</c:v>
                </c:pt>
                <c:pt idx="37323">
                  <c:v>0.66565008025682104</c:v>
                </c:pt>
                <c:pt idx="37324">
                  <c:v>0.665667915106117</c:v>
                </c:pt>
                <c:pt idx="37325">
                  <c:v>0.66568574995541197</c:v>
                </c:pt>
                <c:pt idx="37326">
                  <c:v>0.66570358480470804</c:v>
                </c:pt>
                <c:pt idx="37327">
                  <c:v>0.665721419654003</c:v>
                </c:pt>
                <c:pt idx="37328">
                  <c:v>0.66573925450329896</c:v>
                </c:pt>
                <c:pt idx="37329">
                  <c:v>0.66575708935259403</c:v>
                </c:pt>
                <c:pt idx="37330">
                  <c:v>0.66577492420188999</c:v>
                </c:pt>
                <c:pt idx="37331">
                  <c:v>0.66579275905118596</c:v>
                </c:pt>
                <c:pt idx="37332">
                  <c:v>0.66581059390048103</c:v>
                </c:pt>
                <c:pt idx="37333">
                  <c:v>0.66582842874977699</c:v>
                </c:pt>
                <c:pt idx="37334">
                  <c:v>0.66584626359907195</c:v>
                </c:pt>
                <c:pt idx="37335">
                  <c:v>0.66586409844836802</c:v>
                </c:pt>
                <c:pt idx="37336">
                  <c:v>0.66588193329766299</c:v>
                </c:pt>
                <c:pt idx="37337">
                  <c:v>0.66589976814695895</c:v>
                </c:pt>
                <c:pt idx="37338">
                  <c:v>0.66591760299625402</c:v>
                </c:pt>
                <c:pt idx="37339">
                  <c:v>0.66593543784554998</c:v>
                </c:pt>
                <c:pt idx="37340">
                  <c:v>0.66595327269484506</c:v>
                </c:pt>
                <c:pt idx="37341">
                  <c:v>0.66597110754414102</c:v>
                </c:pt>
                <c:pt idx="37342">
                  <c:v>0.66598894239343598</c:v>
                </c:pt>
                <c:pt idx="37343">
                  <c:v>0.66600677724273205</c:v>
                </c:pt>
                <c:pt idx="37344">
                  <c:v>0.66602461209202701</c:v>
                </c:pt>
                <c:pt idx="37345">
                  <c:v>0.66604244694132297</c:v>
                </c:pt>
                <c:pt idx="37346">
                  <c:v>0.66606028179061805</c:v>
                </c:pt>
                <c:pt idx="37347">
                  <c:v>0.66607811663991401</c:v>
                </c:pt>
                <c:pt idx="37348">
                  <c:v>0.66609595148920997</c:v>
                </c:pt>
                <c:pt idx="37349">
                  <c:v>0.66611378633850504</c:v>
                </c:pt>
                <c:pt idx="37350">
                  <c:v>0.666131621187801</c:v>
                </c:pt>
                <c:pt idx="37351">
                  <c:v>0.66614945603709597</c:v>
                </c:pt>
                <c:pt idx="37352">
                  <c:v>0.66616729088639204</c:v>
                </c:pt>
                <c:pt idx="37353">
                  <c:v>0.666185125735687</c:v>
                </c:pt>
                <c:pt idx="37354">
                  <c:v>0.66620296058498296</c:v>
                </c:pt>
                <c:pt idx="37355">
                  <c:v>0.66622079543427803</c:v>
                </c:pt>
                <c:pt idx="37356">
                  <c:v>0.666238630283574</c:v>
                </c:pt>
                <c:pt idx="37357">
                  <c:v>0.66625646513286896</c:v>
                </c:pt>
                <c:pt idx="37358">
                  <c:v>0.66627429998216503</c:v>
                </c:pt>
                <c:pt idx="37359">
                  <c:v>0.66629213483145999</c:v>
                </c:pt>
                <c:pt idx="37360">
                  <c:v>0.66630996968075595</c:v>
                </c:pt>
                <c:pt idx="37361">
                  <c:v>0.66632780453005103</c:v>
                </c:pt>
                <c:pt idx="37362">
                  <c:v>0.66634563937934699</c:v>
                </c:pt>
                <c:pt idx="37363">
                  <c:v>0.66636347422864195</c:v>
                </c:pt>
                <c:pt idx="37364">
                  <c:v>0.66638130907793802</c:v>
                </c:pt>
                <c:pt idx="37365">
                  <c:v>0.66639914392723298</c:v>
                </c:pt>
                <c:pt idx="37366">
                  <c:v>0.66641697877652895</c:v>
                </c:pt>
                <c:pt idx="37367">
                  <c:v>0.66643481362582402</c:v>
                </c:pt>
                <c:pt idx="37368">
                  <c:v>0.66645264847511998</c:v>
                </c:pt>
                <c:pt idx="37369">
                  <c:v>0.66647048332441505</c:v>
                </c:pt>
                <c:pt idx="37370">
                  <c:v>0.66648831817371101</c:v>
                </c:pt>
                <c:pt idx="37371">
                  <c:v>0.66650615302300698</c:v>
                </c:pt>
                <c:pt idx="37372">
                  <c:v>0.66652398787230205</c:v>
                </c:pt>
                <c:pt idx="37373">
                  <c:v>0.66654182272159801</c:v>
                </c:pt>
                <c:pt idx="37374">
                  <c:v>0.66655965757089297</c:v>
                </c:pt>
                <c:pt idx="37375">
                  <c:v>0.66657749242018904</c:v>
                </c:pt>
                <c:pt idx="37376">
                  <c:v>0.66659532726948401</c:v>
                </c:pt>
                <c:pt idx="37377">
                  <c:v>0.66661316211877997</c:v>
                </c:pt>
                <c:pt idx="37378">
                  <c:v>0.66663099696807504</c:v>
                </c:pt>
                <c:pt idx="37379">
                  <c:v>0.666648831817371</c:v>
                </c:pt>
                <c:pt idx="37380">
                  <c:v>0.66666666666666596</c:v>
                </c:pt>
                <c:pt idx="37381">
                  <c:v>0.66668450151596204</c:v>
                </c:pt>
                <c:pt idx="37382">
                  <c:v>0.666702336365257</c:v>
                </c:pt>
                <c:pt idx="37383">
                  <c:v>0.66672017121455296</c:v>
                </c:pt>
                <c:pt idx="37384">
                  <c:v>0.66673800606384803</c:v>
                </c:pt>
                <c:pt idx="37385">
                  <c:v>0.66675584091314399</c:v>
                </c:pt>
                <c:pt idx="37386">
                  <c:v>0.66677367576243896</c:v>
                </c:pt>
                <c:pt idx="37387">
                  <c:v>0.66679151061173503</c:v>
                </c:pt>
                <c:pt idx="37388">
                  <c:v>0.66680934546102999</c:v>
                </c:pt>
                <c:pt idx="37389">
                  <c:v>0.66682718031032595</c:v>
                </c:pt>
                <c:pt idx="37390">
                  <c:v>0.66684501515962102</c:v>
                </c:pt>
                <c:pt idx="37391">
                  <c:v>0.66686285000891699</c:v>
                </c:pt>
                <c:pt idx="37392">
                  <c:v>0.66688068485821295</c:v>
                </c:pt>
                <c:pt idx="37393">
                  <c:v>0.66689851970750802</c:v>
                </c:pt>
                <c:pt idx="37394">
                  <c:v>0.66691635455680398</c:v>
                </c:pt>
                <c:pt idx="37395">
                  <c:v>0.66693418940609905</c:v>
                </c:pt>
                <c:pt idx="37396">
                  <c:v>0.66695202425539502</c:v>
                </c:pt>
                <c:pt idx="37397">
                  <c:v>0.66696985910468998</c:v>
                </c:pt>
                <c:pt idx="37398">
                  <c:v>0.66698769395398605</c:v>
                </c:pt>
                <c:pt idx="37399">
                  <c:v>0.66700552880328101</c:v>
                </c:pt>
                <c:pt idx="37400">
                  <c:v>0.66702336365257697</c:v>
                </c:pt>
                <c:pt idx="37401">
                  <c:v>0.66704119850187205</c:v>
                </c:pt>
                <c:pt idx="37402">
                  <c:v>0.66705903335116801</c:v>
                </c:pt>
                <c:pt idx="37403">
                  <c:v>0.66707686820046297</c:v>
                </c:pt>
                <c:pt idx="37404">
                  <c:v>0.66709470304975904</c:v>
                </c:pt>
                <c:pt idx="37405">
                  <c:v>0.667112537899054</c:v>
                </c:pt>
                <c:pt idx="37406">
                  <c:v>0.66713037274834996</c:v>
                </c:pt>
                <c:pt idx="37407">
                  <c:v>0.66714820759764504</c:v>
                </c:pt>
                <c:pt idx="37408">
                  <c:v>0.667166042446941</c:v>
                </c:pt>
                <c:pt idx="37409">
                  <c:v>0.66718387729623596</c:v>
                </c:pt>
                <c:pt idx="37410">
                  <c:v>0.66720171214553203</c:v>
                </c:pt>
                <c:pt idx="37411">
                  <c:v>0.667219546994827</c:v>
                </c:pt>
                <c:pt idx="37412">
                  <c:v>0.66723738184412296</c:v>
                </c:pt>
                <c:pt idx="37413">
                  <c:v>0.66725521669341803</c:v>
                </c:pt>
                <c:pt idx="37414">
                  <c:v>0.66727305154271399</c:v>
                </c:pt>
                <c:pt idx="37415">
                  <c:v>0.66729088639200995</c:v>
                </c:pt>
                <c:pt idx="37416">
                  <c:v>0.66730872124130503</c:v>
                </c:pt>
                <c:pt idx="37417">
                  <c:v>0.66732655609060099</c:v>
                </c:pt>
                <c:pt idx="37418">
                  <c:v>0.66734439093989595</c:v>
                </c:pt>
                <c:pt idx="37419">
                  <c:v>0.66736222578919202</c:v>
                </c:pt>
                <c:pt idx="37420">
                  <c:v>0.66738006063848698</c:v>
                </c:pt>
                <c:pt idx="37421">
                  <c:v>0.66739789548778305</c:v>
                </c:pt>
                <c:pt idx="37422">
                  <c:v>0.66741573033707802</c:v>
                </c:pt>
                <c:pt idx="37423">
                  <c:v>0.66743356518637398</c:v>
                </c:pt>
                <c:pt idx="37424">
                  <c:v>0.66745140003566905</c:v>
                </c:pt>
                <c:pt idx="37425">
                  <c:v>0.66746923488496501</c:v>
                </c:pt>
                <c:pt idx="37426">
                  <c:v>0.66748706973425997</c:v>
                </c:pt>
                <c:pt idx="37427">
                  <c:v>0.66750490458355605</c:v>
                </c:pt>
                <c:pt idx="37428">
                  <c:v>0.66752273943285101</c:v>
                </c:pt>
                <c:pt idx="37429">
                  <c:v>0.66754057428214697</c:v>
                </c:pt>
                <c:pt idx="37430">
                  <c:v>0.66755840913144204</c:v>
                </c:pt>
                <c:pt idx="37431">
                  <c:v>0.667576243980738</c:v>
                </c:pt>
                <c:pt idx="37432">
                  <c:v>0.66759407883003297</c:v>
                </c:pt>
                <c:pt idx="37433">
                  <c:v>0.66761191367932904</c:v>
                </c:pt>
                <c:pt idx="37434">
                  <c:v>0.667629748528624</c:v>
                </c:pt>
                <c:pt idx="37435">
                  <c:v>0.66764758337791996</c:v>
                </c:pt>
                <c:pt idx="37436">
                  <c:v>0.66766541822721603</c:v>
                </c:pt>
                <c:pt idx="37437">
                  <c:v>0.667683253076511</c:v>
                </c:pt>
                <c:pt idx="37438">
                  <c:v>0.66770108792580696</c:v>
                </c:pt>
                <c:pt idx="37439">
                  <c:v>0.66771892277510203</c:v>
                </c:pt>
                <c:pt idx="37440">
                  <c:v>0.66773675762439799</c:v>
                </c:pt>
                <c:pt idx="37441">
                  <c:v>0.66775459247369295</c:v>
                </c:pt>
                <c:pt idx="37442">
                  <c:v>0.66777242732298903</c:v>
                </c:pt>
                <c:pt idx="37443">
                  <c:v>0.66779026217228399</c:v>
                </c:pt>
                <c:pt idx="37444">
                  <c:v>0.66780809702157995</c:v>
                </c:pt>
                <c:pt idx="37445">
                  <c:v>0.66782593187087502</c:v>
                </c:pt>
                <c:pt idx="37446">
                  <c:v>0.66784376672017098</c:v>
                </c:pt>
                <c:pt idx="37447">
                  <c:v>0.66786160156946595</c:v>
                </c:pt>
                <c:pt idx="37448">
                  <c:v>0.66787943641876202</c:v>
                </c:pt>
                <c:pt idx="37449">
                  <c:v>0.66789727126805698</c:v>
                </c:pt>
                <c:pt idx="37450">
                  <c:v>0.66791510611735305</c:v>
                </c:pt>
                <c:pt idx="37451">
                  <c:v>0.66793294096664801</c:v>
                </c:pt>
                <c:pt idx="37452">
                  <c:v>0.66795077581594398</c:v>
                </c:pt>
                <c:pt idx="37453">
                  <c:v>0.66796861066523905</c:v>
                </c:pt>
                <c:pt idx="37454">
                  <c:v>0.66798644551453501</c:v>
                </c:pt>
                <c:pt idx="37455">
                  <c:v>0.66800428036383097</c:v>
                </c:pt>
                <c:pt idx="37456">
                  <c:v>0.66802211521312604</c:v>
                </c:pt>
                <c:pt idx="37457">
                  <c:v>0.66803995006242201</c:v>
                </c:pt>
                <c:pt idx="37458">
                  <c:v>0.66805778491171697</c:v>
                </c:pt>
                <c:pt idx="37459">
                  <c:v>0.66807561976101304</c:v>
                </c:pt>
                <c:pt idx="37460">
                  <c:v>0.668093454610308</c:v>
                </c:pt>
                <c:pt idx="37461">
                  <c:v>0.66811128945960396</c:v>
                </c:pt>
                <c:pt idx="37462">
                  <c:v>0.66812912430889904</c:v>
                </c:pt>
                <c:pt idx="37463">
                  <c:v>0.668146959158195</c:v>
                </c:pt>
                <c:pt idx="37464">
                  <c:v>0.66816479400748996</c:v>
                </c:pt>
                <c:pt idx="37465">
                  <c:v>0.66818262885678603</c:v>
                </c:pt>
                <c:pt idx="37466">
                  <c:v>0.66820046370608099</c:v>
                </c:pt>
                <c:pt idx="37467">
                  <c:v>0.66821829855537695</c:v>
                </c:pt>
                <c:pt idx="37468">
                  <c:v>0.66823613340467203</c:v>
                </c:pt>
                <c:pt idx="37469">
                  <c:v>0.66825396825396799</c:v>
                </c:pt>
                <c:pt idx="37470">
                  <c:v>0.66827180310326295</c:v>
                </c:pt>
                <c:pt idx="37471">
                  <c:v>0.66828963795255902</c:v>
                </c:pt>
                <c:pt idx="37472">
                  <c:v>0.66830747280185399</c:v>
                </c:pt>
                <c:pt idx="37473">
                  <c:v>0.66832530765114995</c:v>
                </c:pt>
                <c:pt idx="37474">
                  <c:v>0.66834314250044502</c:v>
                </c:pt>
                <c:pt idx="37475">
                  <c:v>0.66836097734974098</c:v>
                </c:pt>
                <c:pt idx="37476">
                  <c:v>0.66837881219903605</c:v>
                </c:pt>
                <c:pt idx="37477">
                  <c:v>0.66839664704833202</c:v>
                </c:pt>
                <c:pt idx="37478">
                  <c:v>0.66841448189762798</c:v>
                </c:pt>
                <c:pt idx="37479">
                  <c:v>0.66843231674692305</c:v>
                </c:pt>
                <c:pt idx="37480">
                  <c:v>0.66845015159621901</c:v>
                </c:pt>
                <c:pt idx="37481">
                  <c:v>0.66846798644551397</c:v>
                </c:pt>
                <c:pt idx="37482">
                  <c:v>0.66848582129481005</c:v>
                </c:pt>
                <c:pt idx="37483">
                  <c:v>0.66850365614410501</c:v>
                </c:pt>
                <c:pt idx="37484">
                  <c:v>0.66852149099340097</c:v>
                </c:pt>
                <c:pt idx="37485">
                  <c:v>0.66853932584269604</c:v>
                </c:pt>
                <c:pt idx="37486">
                  <c:v>0.668557160691992</c:v>
                </c:pt>
                <c:pt idx="37487">
                  <c:v>0.66857499554128696</c:v>
                </c:pt>
                <c:pt idx="37488">
                  <c:v>0.66859283039058304</c:v>
                </c:pt>
                <c:pt idx="37489">
                  <c:v>0.668610665239878</c:v>
                </c:pt>
                <c:pt idx="37490">
                  <c:v>0.66862850008917396</c:v>
                </c:pt>
                <c:pt idx="37491">
                  <c:v>0.66864633493846903</c:v>
                </c:pt>
                <c:pt idx="37492">
                  <c:v>0.66866416978776499</c:v>
                </c:pt>
                <c:pt idx="37493">
                  <c:v>0.66868200463705996</c:v>
                </c:pt>
                <c:pt idx="37494">
                  <c:v>0.66869983948635603</c:v>
                </c:pt>
                <c:pt idx="37495">
                  <c:v>0.66871767433565099</c:v>
                </c:pt>
                <c:pt idx="37496">
                  <c:v>0.66873550918494695</c:v>
                </c:pt>
                <c:pt idx="37497">
                  <c:v>0.66875334403424203</c:v>
                </c:pt>
                <c:pt idx="37498">
                  <c:v>0.66877117888353799</c:v>
                </c:pt>
                <c:pt idx="37499">
                  <c:v>0.66878901373283395</c:v>
                </c:pt>
                <c:pt idx="37500">
                  <c:v>0.66880684858212902</c:v>
                </c:pt>
                <c:pt idx="37501">
                  <c:v>0.66882468343142498</c:v>
                </c:pt>
                <c:pt idx="37502">
                  <c:v>0.66884251828072006</c:v>
                </c:pt>
                <c:pt idx="37503">
                  <c:v>0.66886035313001602</c:v>
                </c:pt>
                <c:pt idx="37504">
                  <c:v>0.66887818797931098</c:v>
                </c:pt>
                <c:pt idx="37505">
                  <c:v>0.66889602282860705</c:v>
                </c:pt>
                <c:pt idx="37506">
                  <c:v>0.66891385767790201</c:v>
                </c:pt>
                <c:pt idx="37507">
                  <c:v>0.66893169252719797</c:v>
                </c:pt>
                <c:pt idx="37508">
                  <c:v>0.66894952737649305</c:v>
                </c:pt>
                <c:pt idx="37509">
                  <c:v>0.66896736222578901</c:v>
                </c:pt>
                <c:pt idx="37510">
                  <c:v>0.66898519707508397</c:v>
                </c:pt>
                <c:pt idx="37511">
                  <c:v>0.66900303192438004</c:v>
                </c:pt>
                <c:pt idx="37512">
                  <c:v>0.669020866773675</c:v>
                </c:pt>
                <c:pt idx="37513">
                  <c:v>0.66903870162297097</c:v>
                </c:pt>
                <c:pt idx="37514">
                  <c:v>0.66905653647226604</c:v>
                </c:pt>
                <c:pt idx="37515">
                  <c:v>0.669074371321562</c:v>
                </c:pt>
                <c:pt idx="37516">
                  <c:v>0.66909220617085696</c:v>
                </c:pt>
                <c:pt idx="37517">
                  <c:v>0.66911004102015303</c:v>
                </c:pt>
                <c:pt idx="37518">
                  <c:v>0.669127875869448</c:v>
                </c:pt>
                <c:pt idx="37519">
                  <c:v>0.66914571071874396</c:v>
                </c:pt>
                <c:pt idx="37520">
                  <c:v>0.66916354556803903</c:v>
                </c:pt>
                <c:pt idx="37521">
                  <c:v>0.66918138041733499</c:v>
                </c:pt>
                <c:pt idx="37522">
                  <c:v>0.66919921526663095</c:v>
                </c:pt>
                <c:pt idx="37523">
                  <c:v>0.66921705011592603</c:v>
                </c:pt>
                <c:pt idx="37524">
                  <c:v>0.66923488496522199</c:v>
                </c:pt>
                <c:pt idx="37525">
                  <c:v>0.66925271981451695</c:v>
                </c:pt>
                <c:pt idx="37526">
                  <c:v>0.66927055466381302</c:v>
                </c:pt>
                <c:pt idx="37527">
                  <c:v>0.66928838951310798</c:v>
                </c:pt>
                <c:pt idx="37528">
                  <c:v>0.66930622436240395</c:v>
                </c:pt>
                <c:pt idx="37529">
                  <c:v>0.66932405921169902</c:v>
                </c:pt>
                <c:pt idx="37530">
                  <c:v>0.66934189406099498</c:v>
                </c:pt>
                <c:pt idx="37531">
                  <c:v>0.66935972891029005</c:v>
                </c:pt>
                <c:pt idx="37532">
                  <c:v>0.66937756375958601</c:v>
                </c:pt>
                <c:pt idx="37533">
                  <c:v>0.66939539860888098</c:v>
                </c:pt>
                <c:pt idx="37534">
                  <c:v>0.66941323345817705</c:v>
                </c:pt>
                <c:pt idx="37535">
                  <c:v>0.66943106830747201</c:v>
                </c:pt>
                <c:pt idx="37536">
                  <c:v>0.66944890315676797</c:v>
                </c:pt>
                <c:pt idx="37537">
                  <c:v>0.66946673800606304</c:v>
                </c:pt>
                <c:pt idx="37538">
                  <c:v>0.66948457285535901</c:v>
                </c:pt>
                <c:pt idx="37539">
                  <c:v>0.66950240770465397</c:v>
                </c:pt>
                <c:pt idx="37540">
                  <c:v>0.66952024255395004</c:v>
                </c:pt>
                <c:pt idx="37541">
                  <c:v>0.669538077403245</c:v>
                </c:pt>
                <c:pt idx="37542">
                  <c:v>0.66955591225254096</c:v>
                </c:pt>
                <c:pt idx="37543">
                  <c:v>0.66957374710183704</c:v>
                </c:pt>
                <c:pt idx="37544">
                  <c:v>0.669591581951132</c:v>
                </c:pt>
                <c:pt idx="37545">
                  <c:v>0.66960941680042796</c:v>
                </c:pt>
                <c:pt idx="37546">
                  <c:v>0.66962725164972303</c:v>
                </c:pt>
                <c:pt idx="37547">
                  <c:v>0.66964508649901899</c:v>
                </c:pt>
                <c:pt idx="37548">
                  <c:v>0.66966292134831396</c:v>
                </c:pt>
                <c:pt idx="37549">
                  <c:v>0.66968075619761003</c:v>
                </c:pt>
                <c:pt idx="37550">
                  <c:v>0.66969859104690499</c:v>
                </c:pt>
                <c:pt idx="37551">
                  <c:v>0.66971642589620095</c:v>
                </c:pt>
                <c:pt idx="37552">
                  <c:v>0.66973426074549602</c:v>
                </c:pt>
                <c:pt idx="37553">
                  <c:v>0.66975209559479199</c:v>
                </c:pt>
                <c:pt idx="37554">
                  <c:v>0.66976993044408695</c:v>
                </c:pt>
                <c:pt idx="37555">
                  <c:v>0.66978776529338302</c:v>
                </c:pt>
                <c:pt idx="37556">
                  <c:v>0.66980560014267798</c:v>
                </c:pt>
                <c:pt idx="37557">
                  <c:v>0.66982343499197405</c:v>
                </c:pt>
                <c:pt idx="37558">
                  <c:v>0.66984126984126902</c:v>
                </c:pt>
                <c:pt idx="37559">
                  <c:v>0.66985910469056498</c:v>
                </c:pt>
                <c:pt idx="37560">
                  <c:v>0.66987693953986005</c:v>
                </c:pt>
                <c:pt idx="37561">
                  <c:v>0.66989477438915601</c:v>
                </c:pt>
                <c:pt idx="37562">
                  <c:v>0.66991260923845197</c:v>
                </c:pt>
                <c:pt idx="37563">
                  <c:v>0.66993044408774705</c:v>
                </c:pt>
                <c:pt idx="37564">
                  <c:v>0.66994827893704301</c:v>
                </c:pt>
                <c:pt idx="37565">
                  <c:v>0.66996611378633797</c:v>
                </c:pt>
                <c:pt idx="37566">
                  <c:v>0.66998394863563404</c:v>
                </c:pt>
                <c:pt idx="37567">
                  <c:v>0.670001783484929</c:v>
                </c:pt>
                <c:pt idx="37568">
                  <c:v>0.67001961833422496</c:v>
                </c:pt>
                <c:pt idx="37569">
                  <c:v>0.67003745318352004</c:v>
                </c:pt>
                <c:pt idx="37570">
                  <c:v>0.670055288032816</c:v>
                </c:pt>
                <c:pt idx="37571">
                  <c:v>0.67007312288211096</c:v>
                </c:pt>
                <c:pt idx="37572">
                  <c:v>0.67009095773140703</c:v>
                </c:pt>
                <c:pt idx="37573">
                  <c:v>0.670108792580702</c:v>
                </c:pt>
                <c:pt idx="37574">
                  <c:v>0.67012662742999796</c:v>
                </c:pt>
                <c:pt idx="37575">
                  <c:v>0.67014446227929303</c:v>
                </c:pt>
                <c:pt idx="37576">
                  <c:v>0.67016229712858899</c:v>
                </c:pt>
                <c:pt idx="37577">
                  <c:v>0.67018013197788395</c:v>
                </c:pt>
                <c:pt idx="37578">
                  <c:v>0.67019796682718003</c:v>
                </c:pt>
                <c:pt idx="37579">
                  <c:v>0.67021580167647499</c:v>
                </c:pt>
                <c:pt idx="37580">
                  <c:v>0.67023363652577095</c:v>
                </c:pt>
                <c:pt idx="37581">
                  <c:v>0.67025147137506602</c:v>
                </c:pt>
                <c:pt idx="37582">
                  <c:v>0.67026930622436198</c:v>
                </c:pt>
                <c:pt idx="37583">
                  <c:v>0.67028714107365694</c:v>
                </c:pt>
                <c:pt idx="37584">
                  <c:v>0.67030497592295302</c:v>
                </c:pt>
                <c:pt idx="37585">
                  <c:v>0.67032281077224898</c:v>
                </c:pt>
                <c:pt idx="37586">
                  <c:v>0.67034064562154405</c:v>
                </c:pt>
                <c:pt idx="37587">
                  <c:v>0.67035848047084001</c:v>
                </c:pt>
                <c:pt idx="37588">
                  <c:v>0.67037631532013497</c:v>
                </c:pt>
                <c:pt idx="37589">
                  <c:v>0.67039415016943105</c:v>
                </c:pt>
                <c:pt idx="37590">
                  <c:v>0.67041198501872601</c:v>
                </c:pt>
                <c:pt idx="37591">
                  <c:v>0.67042981986802197</c:v>
                </c:pt>
                <c:pt idx="37592">
                  <c:v>0.67044765471731704</c:v>
                </c:pt>
                <c:pt idx="37593">
                  <c:v>0.670465489566613</c:v>
                </c:pt>
                <c:pt idx="37594">
                  <c:v>0.67048332441590797</c:v>
                </c:pt>
                <c:pt idx="37595">
                  <c:v>0.67050115926520404</c:v>
                </c:pt>
                <c:pt idx="37596">
                  <c:v>0.670518994114499</c:v>
                </c:pt>
                <c:pt idx="37597">
                  <c:v>0.67053682896379496</c:v>
                </c:pt>
                <c:pt idx="37598">
                  <c:v>0.67055466381309003</c:v>
                </c:pt>
                <c:pt idx="37599">
                  <c:v>0.670572498662386</c:v>
                </c:pt>
                <c:pt idx="37600">
                  <c:v>0.67059033351168096</c:v>
                </c:pt>
                <c:pt idx="37601">
                  <c:v>0.67060816836097703</c:v>
                </c:pt>
                <c:pt idx="37602">
                  <c:v>0.67062600321027199</c:v>
                </c:pt>
                <c:pt idx="37603">
                  <c:v>0.67064383805956795</c:v>
                </c:pt>
                <c:pt idx="37604">
                  <c:v>0.67066167290886303</c:v>
                </c:pt>
                <c:pt idx="37605">
                  <c:v>0.67067950775815899</c:v>
                </c:pt>
                <c:pt idx="37606">
                  <c:v>0.67069734260745495</c:v>
                </c:pt>
                <c:pt idx="37607">
                  <c:v>0.67071517745675002</c:v>
                </c:pt>
                <c:pt idx="37608">
                  <c:v>0.67073301230604598</c:v>
                </c:pt>
                <c:pt idx="37609">
                  <c:v>0.67075084715534095</c:v>
                </c:pt>
                <c:pt idx="37610">
                  <c:v>0.67076868200463702</c:v>
                </c:pt>
                <c:pt idx="37611">
                  <c:v>0.67078651685393198</c:v>
                </c:pt>
                <c:pt idx="37612">
                  <c:v>0.67080435170322805</c:v>
                </c:pt>
                <c:pt idx="37613">
                  <c:v>0.67082218655252301</c:v>
                </c:pt>
                <c:pt idx="37614">
                  <c:v>0.67084002140181898</c:v>
                </c:pt>
                <c:pt idx="37615">
                  <c:v>0.67085785625111405</c:v>
                </c:pt>
                <c:pt idx="37616">
                  <c:v>0.67087569110041001</c:v>
                </c:pt>
                <c:pt idx="37617">
                  <c:v>0.67089352594970497</c:v>
                </c:pt>
                <c:pt idx="37618">
                  <c:v>0.67091136079900104</c:v>
                </c:pt>
                <c:pt idx="37619">
                  <c:v>0.67092919564829601</c:v>
                </c:pt>
                <c:pt idx="37620">
                  <c:v>0.67094703049759197</c:v>
                </c:pt>
                <c:pt idx="37621">
                  <c:v>0.67096486534688704</c:v>
                </c:pt>
                <c:pt idx="37622">
                  <c:v>0.670982700196183</c:v>
                </c:pt>
                <c:pt idx="37623">
                  <c:v>0.67100053504547796</c:v>
                </c:pt>
                <c:pt idx="37624">
                  <c:v>0.67101836989477404</c:v>
                </c:pt>
                <c:pt idx="37625">
                  <c:v>0.671036204744069</c:v>
                </c:pt>
                <c:pt idx="37626">
                  <c:v>0.67105403959336496</c:v>
                </c:pt>
                <c:pt idx="37627">
                  <c:v>0.67107187444266003</c:v>
                </c:pt>
                <c:pt idx="37628">
                  <c:v>0.67108970929195599</c:v>
                </c:pt>
                <c:pt idx="37629">
                  <c:v>0.67110754414125195</c:v>
                </c:pt>
                <c:pt idx="37630">
                  <c:v>0.67112537899054703</c:v>
                </c:pt>
                <c:pt idx="37631">
                  <c:v>0.67114321383984299</c:v>
                </c:pt>
                <c:pt idx="37632">
                  <c:v>0.67116104868913795</c:v>
                </c:pt>
                <c:pt idx="37633">
                  <c:v>0.67117888353843402</c:v>
                </c:pt>
                <c:pt idx="37634">
                  <c:v>0.67119671838772899</c:v>
                </c:pt>
                <c:pt idx="37635">
                  <c:v>0.67121455323702495</c:v>
                </c:pt>
                <c:pt idx="37636">
                  <c:v>0.67123238808632002</c:v>
                </c:pt>
                <c:pt idx="37637">
                  <c:v>0.67125022293561598</c:v>
                </c:pt>
                <c:pt idx="37638">
                  <c:v>0.67126805778491105</c:v>
                </c:pt>
                <c:pt idx="37639">
                  <c:v>0.67128589263420702</c:v>
                </c:pt>
                <c:pt idx="37640">
                  <c:v>0.67130372748350198</c:v>
                </c:pt>
                <c:pt idx="37641">
                  <c:v>0.67132156233279805</c:v>
                </c:pt>
                <c:pt idx="37642">
                  <c:v>0.67133939718209301</c:v>
                </c:pt>
                <c:pt idx="37643">
                  <c:v>0.67135723203138897</c:v>
                </c:pt>
                <c:pt idx="37644">
                  <c:v>0.67137506688068405</c:v>
                </c:pt>
                <c:pt idx="37645">
                  <c:v>0.67139290172998001</c:v>
                </c:pt>
                <c:pt idx="37646">
                  <c:v>0.67141073657927497</c:v>
                </c:pt>
                <c:pt idx="37647">
                  <c:v>0.67142857142857104</c:v>
                </c:pt>
                <c:pt idx="37648">
                  <c:v>0.671446406277867</c:v>
                </c:pt>
                <c:pt idx="37649">
                  <c:v>0.67146424112716196</c:v>
                </c:pt>
                <c:pt idx="37650">
                  <c:v>0.67148207597645804</c:v>
                </c:pt>
                <c:pt idx="37651">
                  <c:v>0.671499910825753</c:v>
                </c:pt>
                <c:pt idx="37652">
                  <c:v>0.67151774567504896</c:v>
                </c:pt>
                <c:pt idx="37653">
                  <c:v>0.67153558052434403</c:v>
                </c:pt>
                <c:pt idx="37654">
                  <c:v>0.67155341537363999</c:v>
                </c:pt>
                <c:pt idx="37655">
                  <c:v>0.67157125022293496</c:v>
                </c:pt>
                <c:pt idx="37656">
                  <c:v>0.67158908507223103</c:v>
                </c:pt>
                <c:pt idx="37657">
                  <c:v>0.67160691992152599</c:v>
                </c:pt>
                <c:pt idx="37658">
                  <c:v>0.67162475477082195</c:v>
                </c:pt>
                <c:pt idx="37659">
                  <c:v>0.67164258962011703</c:v>
                </c:pt>
                <c:pt idx="37660">
                  <c:v>0.67166042446941299</c:v>
                </c:pt>
                <c:pt idx="37661">
                  <c:v>0.67167825931870795</c:v>
                </c:pt>
                <c:pt idx="37662">
                  <c:v>0.67169609416800402</c:v>
                </c:pt>
                <c:pt idx="37663">
                  <c:v>0.67171392901729898</c:v>
                </c:pt>
                <c:pt idx="37664">
                  <c:v>0.67173176386659506</c:v>
                </c:pt>
                <c:pt idx="37665">
                  <c:v>0.67174959871589002</c:v>
                </c:pt>
                <c:pt idx="37666">
                  <c:v>0.67176743356518598</c:v>
                </c:pt>
                <c:pt idx="37667">
                  <c:v>0.67178526841448105</c:v>
                </c:pt>
                <c:pt idx="37668">
                  <c:v>0.67180310326377701</c:v>
                </c:pt>
                <c:pt idx="37669">
                  <c:v>0.67182093811307297</c:v>
                </c:pt>
                <c:pt idx="37670">
                  <c:v>0.67183877296236805</c:v>
                </c:pt>
                <c:pt idx="37671">
                  <c:v>0.67185660781166401</c:v>
                </c:pt>
                <c:pt idx="37672">
                  <c:v>0.67187444266095897</c:v>
                </c:pt>
                <c:pt idx="37673">
                  <c:v>0.67189227751025504</c:v>
                </c:pt>
                <c:pt idx="37674">
                  <c:v>0.67191011235955</c:v>
                </c:pt>
                <c:pt idx="37675">
                  <c:v>0.67192794720884597</c:v>
                </c:pt>
                <c:pt idx="37676">
                  <c:v>0.67194578205814104</c:v>
                </c:pt>
                <c:pt idx="37677">
                  <c:v>0.671963616907437</c:v>
                </c:pt>
                <c:pt idx="37678">
                  <c:v>0.67198145175673196</c:v>
                </c:pt>
                <c:pt idx="37679">
                  <c:v>0.67199928660602803</c:v>
                </c:pt>
                <c:pt idx="37680">
                  <c:v>0.672017121455323</c:v>
                </c:pt>
                <c:pt idx="37681">
                  <c:v>0.67203495630461896</c:v>
                </c:pt>
                <c:pt idx="37682">
                  <c:v>0.67205279115391403</c:v>
                </c:pt>
                <c:pt idx="37683">
                  <c:v>0.67207062600320999</c:v>
                </c:pt>
                <c:pt idx="37684">
                  <c:v>0.67208846085250495</c:v>
                </c:pt>
                <c:pt idx="37685">
                  <c:v>0.67210629570180103</c:v>
                </c:pt>
                <c:pt idx="37686">
                  <c:v>0.67212413055109599</c:v>
                </c:pt>
                <c:pt idx="37687">
                  <c:v>0.67214196540039195</c:v>
                </c:pt>
                <c:pt idx="37688">
                  <c:v>0.67215980024968702</c:v>
                </c:pt>
                <c:pt idx="37689">
                  <c:v>0.67217763509898298</c:v>
                </c:pt>
                <c:pt idx="37690">
                  <c:v>0.67219546994827895</c:v>
                </c:pt>
                <c:pt idx="37691">
                  <c:v>0.67221330479757402</c:v>
                </c:pt>
                <c:pt idx="37692">
                  <c:v>0.67223113964686998</c:v>
                </c:pt>
                <c:pt idx="37693">
                  <c:v>0.67224897449616505</c:v>
                </c:pt>
                <c:pt idx="37694">
                  <c:v>0.67226680934546101</c:v>
                </c:pt>
                <c:pt idx="37695">
                  <c:v>0.67228464419475598</c:v>
                </c:pt>
                <c:pt idx="37696">
                  <c:v>0.67230247904405205</c:v>
                </c:pt>
                <c:pt idx="37697">
                  <c:v>0.67232031389334701</c:v>
                </c:pt>
                <c:pt idx="37698">
                  <c:v>0.67233814874264297</c:v>
                </c:pt>
                <c:pt idx="37699">
                  <c:v>0.67235598359193804</c:v>
                </c:pt>
                <c:pt idx="37700">
                  <c:v>0.67237381844123401</c:v>
                </c:pt>
                <c:pt idx="37701">
                  <c:v>0.67239165329052897</c:v>
                </c:pt>
                <c:pt idx="37702">
                  <c:v>0.67240948813982504</c:v>
                </c:pt>
                <c:pt idx="37703">
                  <c:v>0.67242732298912</c:v>
                </c:pt>
                <c:pt idx="37704">
                  <c:v>0.67244515783841596</c:v>
                </c:pt>
                <c:pt idx="37705">
                  <c:v>0.67246299268771104</c:v>
                </c:pt>
                <c:pt idx="37706">
                  <c:v>0.672480827537007</c:v>
                </c:pt>
                <c:pt idx="37707">
                  <c:v>0.67249866238630196</c:v>
                </c:pt>
                <c:pt idx="37708">
                  <c:v>0.67251649723559803</c:v>
                </c:pt>
                <c:pt idx="37709">
                  <c:v>0.67253433208489299</c:v>
                </c:pt>
                <c:pt idx="37710">
                  <c:v>0.67255216693418896</c:v>
                </c:pt>
                <c:pt idx="37711">
                  <c:v>0.67257000178348403</c:v>
                </c:pt>
                <c:pt idx="37712">
                  <c:v>0.67258783663277999</c:v>
                </c:pt>
                <c:pt idx="37713">
                  <c:v>0.67260567148207595</c:v>
                </c:pt>
                <c:pt idx="37714">
                  <c:v>0.67262350633137102</c:v>
                </c:pt>
                <c:pt idx="37715">
                  <c:v>0.67264134118066699</c:v>
                </c:pt>
                <c:pt idx="37716">
                  <c:v>0.67265917602996195</c:v>
                </c:pt>
                <c:pt idx="37717">
                  <c:v>0.67267701087925802</c:v>
                </c:pt>
                <c:pt idx="37718">
                  <c:v>0.67269484572855298</c:v>
                </c:pt>
                <c:pt idx="37719">
                  <c:v>0.67271268057784905</c:v>
                </c:pt>
                <c:pt idx="37720">
                  <c:v>0.67273051542714402</c:v>
                </c:pt>
                <c:pt idx="37721">
                  <c:v>0.67274835027643998</c:v>
                </c:pt>
                <c:pt idx="37722">
                  <c:v>0.67276618512573505</c:v>
                </c:pt>
                <c:pt idx="37723">
                  <c:v>0.67278401997503101</c:v>
                </c:pt>
                <c:pt idx="37724">
                  <c:v>0.67280185482432597</c:v>
                </c:pt>
                <c:pt idx="37725">
                  <c:v>0.67281968967362205</c:v>
                </c:pt>
                <c:pt idx="37726">
                  <c:v>0.67283752452291701</c:v>
                </c:pt>
                <c:pt idx="37727">
                  <c:v>0.67285535937221297</c:v>
                </c:pt>
                <c:pt idx="37728">
                  <c:v>0.67287319422150804</c:v>
                </c:pt>
                <c:pt idx="37729">
                  <c:v>0.672891029070804</c:v>
                </c:pt>
                <c:pt idx="37730">
                  <c:v>0.67290886392009897</c:v>
                </c:pt>
                <c:pt idx="37731">
                  <c:v>0.67292669876939504</c:v>
                </c:pt>
                <c:pt idx="37732">
                  <c:v>0.67294453361869</c:v>
                </c:pt>
                <c:pt idx="37733">
                  <c:v>0.67296236846798596</c:v>
                </c:pt>
                <c:pt idx="37734">
                  <c:v>0.67298020331728103</c:v>
                </c:pt>
                <c:pt idx="37735">
                  <c:v>0.672998038166577</c:v>
                </c:pt>
                <c:pt idx="37736">
                  <c:v>0.67301587301587296</c:v>
                </c:pt>
                <c:pt idx="37737">
                  <c:v>0.67303370786516803</c:v>
                </c:pt>
                <c:pt idx="37738">
                  <c:v>0.67305154271446399</c:v>
                </c:pt>
                <c:pt idx="37739">
                  <c:v>0.67306937756375895</c:v>
                </c:pt>
                <c:pt idx="37740">
                  <c:v>0.67308721241305502</c:v>
                </c:pt>
                <c:pt idx="37741">
                  <c:v>0.67310504726234999</c:v>
                </c:pt>
                <c:pt idx="37742">
                  <c:v>0.67312288211164595</c:v>
                </c:pt>
                <c:pt idx="37743">
                  <c:v>0.67314071696094102</c:v>
                </c:pt>
                <c:pt idx="37744">
                  <c:v>0.67315855181023698</c:v>
                </c:pt>
                <c:pt idx="37745">
                  <c:v>0.67317638665953194</c:v>
                </c:pt>
                <c:pt idx="37746">
                  <c:v>0.67319422150882802</c:v>
                </c:pt>
                <c:pt idx="37747">
                  <c:v>0.67321205635812298</c:v>
                </c:pt>
                <c:pt idx="37748">
                  <c:v>0.67322989120741905</c:v>
                </c:pt>
                <c:pt idx="37749">
                  <c:v>0.67324772605671401</c:v>
                </c:pt>
                <c:pt idx="37750">
                  <c:v>0.67326556090600997</c:v>
                </c:pt>
                <c:pt idx="37751">
                  <c:v>0.67328339575530505</c:v>
                </c:pt>
                <c:pt idx="37752">
                  <c:v>0.67330123060460101</c:v>
                </c:pt>
                <c:pt idx="37753">
                  <c:v>0.67331906545389697</c:v>
                </c:pt>
                <c:pt idx="37754">
                  <c:v>0.67333690030319204</c:v>
                </c:pt>
                <c:pt idx="37755">
                  <c:v>0.673354735152488</c:v>
                </c:pt>
                <c:pt idx="37756">
                  <c:v>0.67337257000178297</c:v>
                </c:pt>
                <c:pt idx="37757">
                  <c:v>0.67339040485107904</c:v>
                </c:pt>
                <c:pt idx="37758">
                  <c:v>0.673408239700374</c:v>
                </c:pt>
                <c:pt idx="37759">
                  <c:v>0.67342607454966996</c:v>
                </c:pt>
                <c:pt idx="37760">
                  <c:v>0.67344390939896503</c:v>
                </c:pt>
                <c:pt idx="37761">
                  <c:v>0.673461744248261</c:v>
                </c:pt>
                <c:pt idx="37762">
                  <c:v>0.67347957909755596</c:v>
                </c:pt>
                <c:pt idx="37763">
                  <c:v>0.67349741394685203</c:v>
                </c:pt>
                <c:pt idx="37764">
                  <c:v>0.67351524879614699</c:v>
                </c:pt>
                <c:pt idx="37765">
                  <c:v>0.67353308364544295</c:v>
                </c:pt>
                <c:pt idx="37766">
                  <c:v>0.67355091849473803</c:v>
                </c:pt>
                <c:pt idx="37767">
                  <c:v>0.67356875334403399</c:v>
                </c:pt>
                <c:pt idx="37768">
                  <c:v>0.67358658819332895</c:v>
                </c:pt>
                <c:pt idx="37769">
                  <c:v>0.67360442304262502</c:v>
                </c:pt>
                <c:pt idx="37770">
                  <c:v>0.67362225789191998</c:v>
                </c:pt>
                <c:pt idx="37771">
                  <c:v>0.67364009274121595</c:v>
                </c:pt>
                <c:pt idx="37772">
                  <c:v>0.67365792759051102</c:v>
                </c:pt>
                <c:pt idx="37773">
                  <c:v>0.67367576243980698</c:v>
                </c:pt>
                <c:pt idx="37774">
                  <c:v>0.67369359728910205</c:v>
                </c:pt>
                <c:pt idx="37775">
                  <c:v>0.67371143213839801</c:v>
                </c:pt>
                <c:pt idx="37776">
                  <c:v>0.67372926698769398</c:v>
                </c:pt>
                <c:pt idx="37777">
                  <c:v>0.67374710183698905</c:v>
                </c:pt>
                <c:pt idx="37778">
                  <c:v>0.67376493668628501</c:v>
                </c:pt>
                <c:pt idx="37779">
                  <c:v>0.67378277153557997</c:v>
                </c:pt>
                <c:pt idx="37780">
                  <c:v>0.67380060638487604</c:v>
                </c:pt>
                <c:pt idx="37781">
                  <c:v>0.67381844123417101</c:v>
                </c:pt>
                <c:pt idx="37782">
                  <c:v>0.67383627608346697</c:v>
                </c:pt>
                <c:pt idx="37783">
                  <c:v>0.67385411093276204</c:v>
                </c:pt>
                <c:pt idx="37784">
                  <c:v>0.673871945782058</c:v>
                </c:pt>
                <c:pt idx="37785">
                  <c:v>0.67388978063135296</c:v>
                </c:pt>
                <c:pt idx="37786">
                  <c:v>0.67390761548064904</c:v>
                </c:pt>
                <c:pt idx="37787">
                  <c:v>0.673925450329944</c:v>
                </c:pt>
                <c:pt idx="37788">
                  <c:v>0.67394328517923996</c:v>
                </c:pt>
                <c:pt idx="37789">
                  <c:v>0.67396112002853503</c:v>
                </c:pt>
                <c:pt idx="37790">
                  <c:v>0.67397895487783099</c:v>
                </c:pt>
                <c:pt idx="37791">
                  <c:v>0.67399678972712596</c:v>
                </c:pt>
                <c:pt idx="37792">
                  <c:v>0.67401462457642203</c:v>
                </c:pt>
                <c:pt idx="37793">
                  <c:v>0.67403245942571699</c:v>
                </c:pt>
                <c:pt idx="37794">
                  <c:v>0.67405029427501295</c:v>
                </c:pt>
                <c:pt idx="37795">
                  <c:v>0.67406812912430802</c:v>
                </c:pt>
                <c:pt idx="37796">
                  <c:v>0.67408596397360399</c:v>
                </c:pt>
                <c:pt idx="37797">
                  <c:v>0.67410379882289995</c:v>
                </c:pt>
                <c:pt idx="37798">
                  <c:v>0.67412163367219502</c:v>
                </c:pt>
                <c:pt idx="37799">
                  <c:v>0.67413946852149098</c:v>
                </c:pt>
                <c:pt idx="37800">
                  <c:v>0.67415730337078605</c:v>
                </c:pt>
                <c:pt idx="37801">
                  <c:v>0.67417513822008202</c:v>
                </c:pt>
                <c:pt idx="37802">
                  <c:v>0.67419297306937698</c:v>
                </c:pt>
                <c:pt idx="37803">
                  <c:v>0.67421080791867305</c:v>
                </c:pt>
                <c:pt idx="37804">
                  <c:v>0.67422864276796801</c:v>
                </c:pt>
                <c:pt idx="37805">
                  <c:v>0.67424647761726397</c:v>
                </c:pt>
                <c:pt idx="37806">
                  <c:v>0.67426431246655905</c:v>
                </c:pt>
                <c:pt idx="37807">
                  <c:v>0.67428214731585501</c:v>
                </c:pt>
                <c:pt idx="37808">
                  <c:v>0.67429998216514997</c:v>
                </c:pt>
                <c:pt idx="37809">
                  <c:v>0.67431781701444604</c:v>
                </c:pt>
                <c:pt idx="37810">
                  <c:v>0.674335651863741</c:v>
                </c:pt>
                <c:pt idx="37811">
                  <c:v>0.67435348671303696</c:v>
                </c:pt>
                <c:pt idx="37812">
                  <c:v>0.67437132156233204</c:v>
                </c:pt>
                <c:pt idx="37813">
                  <c:v>0.674389156411628</c:v>
                </c:pt>
                <c:pt idx="37814">
                  <c:v>0.67440699126092296</c:v>
                </c:pt>
                <c:pt idx="37815">
                  <c:v>0.67442482611021903</c:v>
                </c:pt>
                <c:pt idx="37816">
                  <c:v>0.674442660959514</c:v>
                </c:pt>
                <c:pt idx="37817">
                  <c:v>0.67446049580880996</c:v>
                </c:pt>
                <c:pt idx="37818">
                  <c:v>0.67447833065810503</c:v>
                </c:pt>
                <c:pt idx="37819">
                  <c:v>0.67449616550740099</c:v>
                </c:pt>
                <c:pt idx="37820">
                  <c:v>0.67451400035669695</c:v>
                </c:pt>
                <c:pt idx="37821">
                  <c:v>0.67453183520599203</c:v>
                </c:pt>
                <c:pt idx="37822">
                  <c:v>0.67454967005528799</c:v>
                </c:pt>
                <c:pt idx="37823">
                  <c:v>0.67456750490458295</c:v>
                </c:pt>
                <c:pt idx="37824">
                  <c:v>0.67458533975387902</c:v>
                </c:pt>
                <c:pt idx="37825">
                  <c:v>0.67460317460317398</c:v>
                </c:pt>
                <c:pt idx="37826">
                  <c:v>0.67462100945247006</c:v>
                </c:pt>
                <c:pt idx="37827">
                  <c:v>0.67463884430176502</c:v>
                </c:pt>
                <c:pt idx="37828">
                  <c:v>0.67465667915106098</c:v>
                </c:pt>
                <c:pt idx="37829">
                  <c:v>0.67467451400035605</c:v>
                </c:pt>
                <c:pt idx="37830">
                  <c:v>0.67469234884965201</c:v>
                </c:pt>
                <c:pt idx="37831">
                  <c:v>0.67471018369894697</c:v>
                </c:pt>
                <c:pt idx="37832">
                  <c:v>0.67472801854824305</c:v>
                </c:pt>
                <c:pt idx="37833">
                  <c:v>0.67474585339753801</c:v>
                </c:pt>
                <c:pt idx="37834">
                  <c:v>0.67476368824683397</c:v>
                </c:pt>
                <c:pt idx="37835">
                  <c:v>0.67478152309612904</c:v>
                </c:pt>
                <c:pt idx="37836">
                  <c:v>0.674799357945425</c:v>
                </c:pt>
                <c:pt idx="37837">
                  <c:v>0.67481719279471997</c:v>
                </c:pt>
                <c:pt idx="37838">
                  <c:v>0.67483502764401604</c:v>
                </c:pt>
                <c:pt idx="37839">
                  <c:v>0.674852862493311</c:v>
                </c:pt>
                <c:pt idx="37840">
                  <c:v>0.67487069734260696</c:v>
                </c:pt>
                <c:pt idx="37841">
                  <c:v>0.67488853219190204</c:v>
                </c:pt>
                <c:pt idx="37842">
                  <c:v>0.674906367041198</c:v>
                </c:pt>
                <c:pt idx="37843">
                  <c:v>0.67492420189049396</c:v>
                </c:pt>
                <c:pt idx="37844">
                  <c:v>0.67494203673978903</c:v>
                </c:pt>
                <c:pt idx="37845">
                  <c:v>0.67495987158908499</c:v>
                </c:pt>
                <c:pt idx="37846">
                  <c:v>0.67497770643837995</c:v>
                </c:pt>
                <c:pt idx="37847">
                  <c:v>0.67499554128767603</c:v>
                </c:pt>
                <c:pt idx="37848">
                  <c:v>0.67501337613697099</c:v>
                </c:pt>
                <c:pt idx="37849">
                  <c:v>0.67503121098626695</c:v>
                </c:pt>
                <c:pt idx="37850">
                  <c:v>0.67504904583556202</c:v>
                </c:pt>
                <c:pt idx="37851">
                  <c:v>0.67506688068485798</c:v>
                </c:pt>
                <c:pt idx="37852">
                  <c:v>0.67508471553415295</c:v>
                </c:pt>
                <c:pt idx="37853">
                  <c:v>0.67510255038344902</c:v>
                </c:pt>
                <c:pt idx="37854">
                  <c:v>0.67512038523274398</c:v>
                </c:pt>
                <c:pt idx="37855">
                  <c:v>0.67513822008204005</c:v>
                </c:pt>
                <c:pt idx="37856">
                  <c:v>0.67515605493133501</c:v>
                </c:pt>
                <c:pt idx="37857">
                  <c:v>0.67517388978063098</c:v>
                </c:pt>
                <c:pt idx="37858">
                  <c:v>0.67519172462992605</c:v>
                </c:pt>
                <c:pt idx="37859">
                  <c:v>0.67520955947922201</c:v>
                </c:pt>
                <c:pt idx="37860">
                  <c:v>0.67522739432851797</c:v>
                </c:pt>
                <c:pt idx="37861">
                  <c:v>0.67524522917781304</c:v>
                </c:pt>
                <c:pt idx="37862">
                  <c:v>0.67526306402710901</c:v>
                </c:pt>
                <c:pt idx="37863">
                  <c:v>0.67528089887640397</c:v>
                </c:pt>
                <c:pt idx="37864">
                  <c:v>0.67529873372570004</c:v>
                </c:pt>
                <c:pt idx="37865">
                  <c:v>0.675316568574995</c:v>
                </c:pt>
                <c:pt idx="37866">
                  <c:v>0.67533440342429096</c:v>
                </c:pt>
                <c:pt idx="37867">
                  <c:v>0.67535223827358604</c:v>
                </c:pt>
                <c:pt idx="37868">
                  <c:v>0.675370073122882</c:v>
                </c:pt>
                <c:pt idx="37869">
                  <c:v>0.67538790797217696</c:v>
                </c:pt>
                <c:pt idx="37870">
                  <c:v>0.67540574282147303</c:v>
                </c:pt>
                <c:pt idx="37871">
                  <c:v>0.67542357767076799</c:v>
                </c:pt>
                <c:pt idx="37872">
                  <c:v>0.67544141252006396</c:v>
                </c:pt>
                <c:pt idx="37873">
                  <c:v>0.67545924736935903</c:v>
                </c:pt>
                <c:pt idx="37874">
                  <c:v>0.67547708221865499</c:v>
                </c:pt>
                <c:pt idx="37875">
                  <c:v>0.67549491706794995</c:v>
                </c:pt>
                <c:pt idx="37876">
                  <c:v>0.67551275191724602</c:v>
                </c:pt>
                <c:pt idx="37877">
                  <c:v>0.67553058676654099</c:v>
                </c:pt>
                <c:pt idx="37878">
                  <c:v>0.67554842161583695</c:v>
                </c:pt>
                <c:pt idx="37879">
                  <c:v>0.67556625646513202</c:v>
                </c:pt>
                <c:pt idx="37880">
                  <c:v>0.67558409131442798</c:v>
                </c:pt>
                <c:pt idx="37881">
                  <c:v>0.67560192616372305</c:v>
                </c:pt>
                <c:pt idx="37882">
                  <c:v>0.67561976101301902</c:v>
                </c:pt>
                <c:pt idx="37883">
                  <c:v>0.67563759586231498</c:v>
                </c:pt>
                <c:pt idx="37884">
                  <c:v>0.67565543071161005</c:v>
                </c:pt>
                <c:pt idx="37885">
                  <c:v>0.67567326556090601</c:v>
                </c:pt>
                <c:pt idx="37886">
                  <c:v>0.67569110041020097</c:v>
                </c:pt>
                <c:pt idx="37887">
                  <c:v>0.67570893525949705</c:v>
                </c:pt>
                <c:pt idx="37888">
                  <c:v>0.67572677010879201</c:v>
                </c:pt>
                <c:pt idx="37889">
                  <c:v>0.67574460495808797</c:v>
                </c:pt>
                <c:pt idx="37890">
                  <c:v>0.67576243980738304</c:v>
                </c:pt>
                <c:pt idx="37891">
                  <c:v>0.675780274656679</c:v>
                </c:pt>
                <c:pt idx="37892">
                  <c:v>0.67579810950597397</c:v>
                </c:pt>
                <c:pt idx="37893">
                  <c:v>0.67581594435527004</c:v>
                </c:pt>
                <c:pt idx="37894">
                  <c:v>0.675833779204565</c:v>
                </c:pt>
                <c:pt idx="37895">
                  <c:v>0.67585161405386096</c:v>
                </c:pt>
                <c:pt idx="37896">
                  <c:v>0.67586944890315603</c:v>
                </c:pt>
                <c:pt idx="37897">
                  <c:v>0.67588728375245199</c:v>
                </c:pt>
                <c:pt idx="37898">
                  <c:v>0.67590511860174696</c:v>
                </c:pt>
                <c:pt idx="37899">
                  <c:v>0.67592295345104303</c:v>
                </c:pt>
                <c:pt idx="37900">
                  <c:v>0.67594078830033799</c:v>
                </c:pt>
                <c:pt idx="37901">
                  <c:v>0.67595862314963395</c:v>
                </c:pt>
                <c:pt idx="37902">
                  <c:v>0.67597645799892903</c:v>
                </c:pt>
                <c:pt idx="37903">
                  <c:v>0.67599429284822499</c:v>
                </c:pt>
                <c:pt idx="37904">
                  <c:v>0.67601212769752095</c:v>
                </c:pt>
                <c:pt idx="37905">
                  <c:v>0.67602996254681602</c:v>
                </c:pt>
                <c:pt idx="37906">
                  <c:v>0.67604779739611198</c:v>
                </c:pt>
                <c:pt idx="37907">
                  <c:v>0.67606563224540706</c:v>
                </c:pt>
                <c:pt idx="37908">
                  <c:v>0.67608346709470302</c:v>
                </c:pt>
                <c:pt idx="37909">
                  <c:v>0.67610130194399798</c:v>
                </c:pt>
                <c:pt idx="37910">
                  <c:v>0.67611913679329405</c:v>
                </c:pt>
                <c:pt idx="37911">
                  <c:v>0.67613697164258901</c:v>
                </c:pt>
                <c:pt idx="37912">
                  <c:v>0.67615480649188497</c:v>
                </c:pt>
                <c:pt idx="37913">
                  <c:v>0.67617264134118005</c:v>
                </c:pt>
                <c:pt idx="37914">
                  <c:v>0.67619047619047601</c:v>
                </c:pt>
                <c:pt idx="37915">
                  <c:v>0.67620831103977097</c:v>
                </c:pt>
                <c:pt idx="37916">
                  <c:v>0.67622614588906704</c:v>
                </c:pt>
                <c:pt idx="37917">
                  <c:v>0.676243980738362</c:v>
                </c:pt>
                <c:pt idx="37918">
                  <c:v>0.67626181558765797</c:v>
                </c:pt>
                <c:pt idx="37919">
                  <c:v>0.67627965043695304</c:v>
                </c:pt>
                <c:pt idx="37920">
                  <c:v>0.676297485286249</c:v>
                </c:pt>
                <c:pt idx="37921">
                  <c:v>0.67631532013554396</c:v>
                </c:pt>
                <c:pt idx="37922">
                  <c:v>0.67633315498484003</c:v>
                </c:pt>
                <c:pt idx="37923">
                  <c:v>0.676350989834135</c:v>
                </c:pt>
                <c:pt idx="37924">
                  <c:v>0.67636882468343096</c:v>
                </c:pt>
                <c:pt idx="37925">
                  <c:v>0.67638665953272603</c:v>
                </c:pt>
                <c:pt idx="37926">
                  <c:v>0.67640449438202199</c:v>
                </c:pt>
                <c:pt idx="37927">
                  <c:v>0.67642232923131795</c:v>
                </c:pt>
                <c:pt idx="37928">
                  <c:v>0.67644016408061303</c:v>
                </c:pt>
                <c:pt idx="37929">
                  <c:v>0.67645799892990899</c:v>
                </c:pt>
                <c:pt idx="37930">
                  <c:v>0.67647583377920395</c:v>
                </c:pt>
                <c:pt idx="37931">
                  <c:v>0.67649366862850002</c:v>
                </c:pt>
                <c:pt idx="37932">
                  <c:v>0.67651150347779498</c:v>
                </c:pt>
                <c:pt idx="37933">
                  <c:v>0.67652933832709095</c:v>
                </c:pt>
                <c:pt idx="37934">
                  <c:v>0.67654717317638602</c:v>
                </c:pt>
                <c:pt idx="37935">
                  <c:v>0.67656500802568198</c:v>
                </c:pt>
                <c:pt idx="37936">
                  <c:v>0.67658284287497705</c:v>
                </c:pt>
                <c:pt idx="37937">
                  <c:v>0.67660067772427301</c:v>
                </c:pt>
                <c:pt idx="37938">
                  <c:v>0.67661851257356798</c:v>
                </c:pt>
                <c:pt idx="37939">
                  <c:v>0.67663634742286405</c:v>
                </c:pt>
                <c:pt idx="37940">
                  <c:v>0.67665418227215901</c:v>
                </c:pt>
                <c:pt idx="37941">
                  <c:v>0.67667201712145497</c:v>
                </c:pt>
                <c:pt idx="37942">
                  <c:v>0.67668985197075004</c:v>
                </c:pt>
                <c:pt idx="37943">
                  <c:v>0.67670768682004601</c:v>
                </c:pt>
                <c:pt idx="37944">
                  <c:v>0.67672552166934097</c:v>
                </c:pt>
                <c:pt idx="37945">
                  <c:v>0.67674335651863704</c:v>
                </c:pt>
                <c:pt idx="37946">
                  <c:v>0.676761191367932</c:v>
                </c:pt>
                <c:pt idx="37947">
                  <c:v>0.67677902621722796</c:v>
                </c:pt>
                <c:pt idx="37948">
                  <c:v>0.67679686106652404</c:v>
                </c:pt>
                <c:pt idx="37949">
                  <c:v>0.676814695915819</c:v>
                </c:pt>
                <c:pt idx="37950">
                  <c:v>0.67683253076511496</c:v>
                </c:pt>
                <c:pt idx="37951">
                  <c:v>0.67685036561441003</c:v>
                </c:pt>
                <c:pt idx="37952">
                  <c:v>0.67686820046370599</c:v>
                </c:pt>
                <c:pt idx="37953">
                  <c:v>0.67688603531300096</c:v>
                </c:pt>
                <c:pt idx="37954">
                  <c:v>0.67690387016229703</c:v>
                </c:pt>
                <c:pt idx="37955">
                  <c:v>0.67692170501159199</c:v>
                </c:pt>
                <c:pt idx="37956">
                  <c:v>0.67693953986088795</c:v>
                </c:pt>
                <c:pt idx="37957">
                  <c:v>0.67695737471018302</c:v>
                </c:pt>
                <c:pt idx="37958">
                  <c:v>0.67697520955947899</c:v>
                </c:pt>
                <c:pt idx="37959">
                  <c:v>0.67699304440877395</c:v>
                </c:pt>
                <c:pt idx="37960">
                  <c:v>0.67701087925807002</c:v>
                </c:pt>
                <c:pt idx="37961">
                  <c:v>0.67702871410736498</c:v>
                </c:pt>
                <c:pt idx="37962">
                  <c:v>0.67704654895666105</c:v>
                </c:pt>
                <c:pt idx="37963">
                  <c:v>0.67706438380595602</c:v>
                </c:pt>
                <c:pt idx="37964">
                  <c:v>0.67708221865525198</c:v>
                </c:pt>
                <c:pt idx="37965">
                  <c:v>0.67710005350454705</c:v>
                </c:pt>
                <c:pt idx="37966">
                  <c:v>0.67711788835384301</c:v>
                </c:pt>
                <c:pt idx="37967">
                  <c:v>0.67713572320313897</c:v>
                </c:pt>
                <c:pt idx="37968">
                  <c:v>0.67715355805243405</c:v>
                </c:pt>
                <c:pt idx="37969">
                  <c:v>0.67717139290173001</c:v>
                </c:pt>
                <c:pt idx="37970">
                  <c:v>0.67718922775102497</c:v>
                </c:pt>
                <c:pt idx="37971">
                  <c:v>0.67720706260032104</c:v>
                </c:pt>
                <c:pt idx="37972">
                  <c:v>0.677224897449616</c:v>
                </c:pt>
                <c:pt idx="37973">
                  <c:v>0.67724273229891196</c:v>
                </c:pt>
                <c:pt idx="37974">
                  <c:v>0.67726056714820704</c:v>
                </c:pt>
                <c:pt idx="37975">
                  <c:v>0.677278401997503</c:v>
                </c:pt>
                <c:pt idx="37976">
                  <c:v>0.67729623684679796</c:v>
                </c:pt>
                <c:pt idx="37977">
                  <c:v>0.67731407169609403</c:v>
                </c:pt>
                <c:pt idx="37978">
                  <c:v>0.677331906545389</c:v>
                </c:pt>
                <c:pt idx="37979">
                  <c:v>0.67734974139468496</c:v>
                </c:pt>
                <c:pt idx="37980">
                  <c:v>0.67736757624398003</c:v>
                </c:pt>
                <c:pt idx="37981">
                  <c:v>0.67738541109327599</c:v>
                </c:pt>
                <c:pt idx="37982">
                  <c:v>0.67740324594257095</c:v>
                </c:pt>
                <c:pt idx="37983">
                  <c:v>0.67742108079186703</c:v>
                </c:pt>
                <c:pt idx="37984">
                  <c:v>0.67743891564116199</c:v>
                </c:pt>
                <c:pt idx="37985">
                  <c:v>0.67745675049045795</c:v>
                </c:pt>
                <c:pt idx="37986">
                  <c:v>0.67747458533975302</c:v>
                </c:pt>
                <c:pt idx="37987">
                  <c:v>0.67749242018904898</c:v>
                </c:pt>
                <c:pt idx="37988">
                  <c:v>0.67751025503834394</c:v>
                </c:pt>
                <c:pt idx="37989">
                  <c:v>0.67752808988764002</c:v>
                </c:pt>
                <c:pt idx="37990">
                  <c:v>0.67754592473693598</c:v>
                </c:pt>
                <c:pt idx="37991">
                  <c:v>0.67756375958623105</c:v>
                </c:pt>
                <c:pt idx="37992">
                  <c:v>0.67758159443552701</c:v>
                </c:pt>
                <c:pt idx="37993">
                  <c:v>0.67759942928482197</c:v>
                </c:pt>
                <c:pt idx="37994">
                  <c:v>0.67761726413411805</c:v>
                </c:pt>
                <c:pt idx="37995">
                  <c:v>0.67763509898341301</c:v>
                </c:pt>
                <c:pt idx="37996">
                  <c:v>0.67765293383270897</c:v>
                </c:pt>
                <c:pt idx="37997">
                  <c:v>0.67767076868200404</c:v>
                </c:pt>
                <c:pt idx="37998">
                  <c:v>0.6776886035313</c:v>
                </c:pt>
                <c:pt idx="37999">
                  <c:v>0.67770643838059497</c:v>
                </c:pt>
                <c:pt idx="38000">
                  <c:v>0.67772427322989104</c:v>
                </c:pt>
                <c:pt idx="38001">
                  <c:v>0.677742108079186</c:v>
                </c:pt>
                <c:pt idx="38002">
                  <c:v>0.67775994292848196</c:v>
                </c:pt>
                <c:pt idx="38003">
                  <c:v>0.67777777777777704</c:v>
                </c:pt>
                <c:pt idx="38004">
                  <c:v>0.677795612627073</c:v>
                </c:pt>
                <c:pt idx="38005">
                  <c:v>0.67781344747636796</c:v>
                </c:pt>
                <c:pt idx="38006">
                  <c:v>0.67783128232566403</c:v>
                </c:pt>
                <c:pt idx="38007">
                  <c:v>0.67784911717495899</c:v>
                </c:pt>
                <c:pt idx="38008">
                  <c:v>0.67786695202425495</c:v>
                </c:pt>
                <c:pt idx="38009">
                  <c:v>0.67788478687355003</c:v>
                </c:pt>
                <c:pt idx="38010">
                  <c:v>0.67790262172284599</c:v>
                </c:pt>
                <c:pt idx="38011">
                  <c:v>0.67792045657214195</c:v>
                </c:pt>
                <c:pt idx="38012">
                  <c:v>0.67793829142143702</c:v>
                </c:pt>
                <c:pt idx="38013">
                  <c:v>0.67795612627073298</c:v>
                </c:pt>
                <c:pt idx="38014">
                  <c:v>0.67797396112002795</c:v>
                </c:pt>
                <c:pt idx="38015">
                  <c:v>0.67799179596932402</c:v>
                </c:pt>
                <c:pt idx="38016">
                  <c:v>0.67800963081861898</c:v>
                </c:pt>
                <c:pt idx="38017">
                  <c:v>0.67802746566791505</c:v>
                </c:pt>
                <c:pt idx="38018">
                  <c:v>0.67804530051721001</c:v>
                </c:pt>
                <c:pt idx="38019">
                  <c:v>0.67806313536650598</c:v>
                </c:pt>
                <c:pt idx="38020">
                  <c:v>0.67808097021580105</c:v>
                </c:pt>
                <c:pt idx="38021">
                  <c:v>0.67809880506509701</c:v>
                </c:pt>
                <c:pt idx="38022">
                  <c:v>0.67811663991439197</c:v>
                </c:pt>
                <c:pt idx="38023">
                  <c:v>0.67813447476368804</c:v>
                </c:pt>
                <c:pt idx="38024">
                  <c:v>0.67815230961298301</c:v>
                </c:pt>
                <c:pt idx="38025">
                  <c:v>0.67817014446227897</c:v>
                </c:pt>
                <c:pt idx="38026">
                  <c:v>0.67818797931157404</c:v>
                </c:pt>
                <c:pt idx="38027">
                  <c:v>0.67820581416087</c:v>
                </c:pt>
                <c:pt idx="38028">
                  <c:v>0.67822364901016496</c:v>
                </c:pt>
                <c:pt idx="38029">
                  <c:v>0.67824148385946104</c:v>
                </c:pt>
                <c:pt idx="38030">
                  <c:v>0.678259318708756</c:v>
                </c:pt>
                <c:pt idx="38031">
                  <c:v>0.67827715355805196</c:v>
                </c:pt>
                <c:pt idx="38032">
                  <c:v>0.67829498840734703</c:v>
                </c:pt>
                <c:pt idx="38033">
                  <c:v>0.67831282325664299</c:v>
                </c:pt>
                <c:pt idx="38034">
                  <c:v>0.67833065810593896</c:v>
                </c:pt>
                <c:pt idx="38035">
                  <c:v>0.67834849295523403</c:v>
                </c:pt>
                <c:pt idx="38036">
                  <c:v>0.67836632780452999</c:v>
                </c:pt>
                <c:pt idx="38037">
                  <c:v>0.67838416265382495</c:v>
                </c:pt>
                <c:pt idx="38038">
                  <c:v>0.67840199750312102</c:v>
                </c:pt>
                <c:pt idx="38039">
                  <c:v>0.67841983235241599</c:v>
                </c:pt>
                <c:pt idx="38040">
                  <c:v>0.67843766720171195</c:v>
                </c:pt>
                <c:pt idx="38041">
                  <c:v>0.67845550205100702</c:v>
                </c:pt>
                <c:pt idx="38042">
                  <c:v>0.67847333690030298</c:v>
                </c:pt>
                <c:pt idx="38043">
                  <c:v>0.67849117174959805</c:v>
                </c:pt>
                <c:pt idx="38044">
                  <c:v>0.67850900659889402</c:v>
                </c:pt>
                <c:pt idx="38045">
                  <c:v>0.67852684144818898</c:v>
                </c:pt>
                <c:pt idx="38046">
                  <c:v>0.67854467629748505</c:v>
                </c:pt>
                <c:pt idx="38047">
                  <c:v>0.67856251114678001</c:v>
                </c:pt>
                <c:pt idx="38048">
                  <c:v>0.67858034599607597</c:v>
                </c:pt>
                <c:pt idx="38049">
                  <c:v>0.67859818084537105</c:v>
                </c:pt>
                <c:pt idx="38050">
                  <c:v>0.67861601569466701</c:v>
                </c:pt>
                <c:pt idx="38051">
                  <c:v>0.67863385054396197</c:v>
                </c:pt>
                <c:pt idx="38052">
                  <c:v>0.67865168539325804</c:v>
                </c:pt>
                <c:pt idx="38053">
                  <c:v>0.678669520242554</c:v>
                </c:pt>
                <c:pt idx="38054">
                  <c:v>0.67868735509184897</c:v>
                </c:pt>
                <c:pt idx="38055">
                  <c:v>0.67870518994114504</c:v>
                </c:pt>
                <c:pt idx="38056">
                  <c:v>0.67872302479044</c:v>
                </c:pt>
                <c:pt idx="38057">
                  <c:v>0.67874085963973596</c:v>
                </c:pt>
                <c:pt idx="38058">
                  <c:v>0.67875869448903103</c:v>
                </c:pt>
                <c:pt idx="38059">
                  <c:v>0.67877652933832699</c:v>
                </c:pt>
                <c:pt idx="38060">
                  <c:v>0.67879436418762196</c:v>
                </c:pt>
                <c:pt idx="38061">
                  <c:v>0.67881219903691803</c:v>
                </c:pt>
                <c:pt idx="38062">
                  <c:v>0.67883003388621299</c:v>
                </c:pt>
                <c:pt idx="38063">
                  <c:v>0.67884786873550895</c:v>
                </c:pt>
                <c:pt idx="38064">
                  <c:v>0.67886570358480403</c:v>
                </c:pt>
                <c:pt idx="38065">
                  <c:v>0.67888353843409999</c:v>
                </c:pt>
                <c:pt idx="38066">
                  <c:v>0.67890137328339495</c:v>
                </c:pt>
                <c:pt idx="38067">
                  <c:v>0.67891920813269102</c:v>
                </c:pt>
                <c:pt idx="38068">
                  <c:v>0.67893704298198598</c:v>
                </c:pt>
                <c:pt idx="38069">
                  <c:v>0.67895487783128206</c:v>
                </c:pt>
                <c:pt idx="38070">
                  <c:v>0.67897271268057702</c:v>
                </c:pt>
                <c:pt idx="38071">
                  <c:v>0.67899054752987298</c:v>
                </c:pt>
                <c:pt idx="38072">
                  <c:v>0.67900838237916805</c:v>
                </c:pt>
                <c:pt idx="38073">
                  <c:v>0.67902621722846401</c:v>
                </c:pt>
                <c:pt idx="38074">
                  <c:v>0.67904405207775997</c:v>
                </c:pt>
                <c:pt idx="38075">
                  <c:v>0.67906188692705505</c:v>
                </c:pt>
                <c:pt idx="38076">
                  <c:v>0.67907972177635101</c:v>
                </c:pt>
                <c:pt idx="38077">
                  <c:v>0.67909755662564597</c:v>
                </c:pt>
                <c:pt idx="38078">
                  <c:v>0.67911539147494204</c:v>
                </c:pt>
                <c:pt idx="38079">
                  <c:v>0.679133226324237</c:v>
                </c:pt>
                <c:pt idx="38080">
                  <c:v>0.67915106117353297</c:v>
                </c:pt>
                <c:pt idx="38081">
                  <c:v>0.67916889602282804</c:v>
                </c:pt>
                <c:pt idx="38082">
                  <c:v>0.679186730872124</c:v>
                </c:pt>
                <c:pt idx="38083">
                  <c:v>0.67920456572141896</c:v>
                </c:pt>
                <c:pt idx="38084">
                  <c:v>0.67922240057071503</c:v>
                </c:pt>
                <c:pt idx="38085">
                  <c:v>0.67924023542001</c:v>
                </c:pt>
                <c:pt idx="38086">
                  <c:v>0.67925807026930596</c:v>
                </c:pt>
                <c:pt idx="38087">
                  <c:v>0.67927590511860103</c:v>
                </c:pt>
                <c:pt idx="38088">
                  <c:v>0.67929373996789699</c:v>
                </c:pt>
                <c:pt idx="38089">
                  <c:v>0.67931157481719195</c:v>
                </c:pt>
                <c:pt idx="38090">
                  <c:v>0.67932940966648803</c:v>
                </c:pt>
                <c:pt idx="38091">
                  <c:v>0.67934724451578299</c:v>
                </c:pt>
                <c:pt idx="38092">
                  <c:v>0.67936507936507895</c:v>
                </c:pt>
                <c:pt idx="38093">
                  <c:v>0.67938291421437402</c:v>
                </c:pt>
                <c:pt idx="38094">
                  <c:v>0.67940074906366998</c:v>
                </c:pt>
                <c:pt idx="38095">
                  <c:v>0.67941858391296595</c:v>
                </c:pt>
                <c:pt idx="38096">
                  <c:v>0.67943641876226102</c:v>
                </c:pt>
                <c:pt idx="38097">
                  <c:v>0.67945425361155698</c:v>
                </c:pt>
                <c:pt idx="38098">
                  <c:v>0.67947208846085205</c:v>
                </c:pt>
                <c:pt idx="38099">
                  <c:v>0.67948992331014801</c:v>
                </c:pt>
                <c:pt idx="38100">
                  <c:v>0.67950775815944298</c:v>
                </c:pt>
                <c:pt idx="38101">
                  <c:v>0.67952559300873905</c:v>
                </c:pt>
                <c:pt idx="38102">
                  <c:v>0.67954342785803401</c:v>
                </c:pt>
                <c:pt idx="38103">
                  <c:v>0.67956126270732997</c:v>
                </c:pt>
                <c:pt idx="38104">
                  <c:v>0.67957909755662504</c:v>
                </c:pt>
                <c:pt idx="38105">
                  <c:v>0.67959693240592101</c:v>
                </c:pt>
                <c:pt idx="38106">
                  <c:v>0.67961476725521597</c:v>
                </c:pt>
                <c:pt idx="38107">
                  <c:v>0.67963260210451204</c:v>
                </c:pt>
                <c:pt idx="38108">
                  <c:v>0.679650436953807</c:v>
                </c:pt>
                <c:pt idx="38109">
                  <c:v>0.67966827180310296</c:v>
                </c:pt>
                <c:pt idx="38110">
                  <c:v>0.67968610665239804</c:v>
                </c:pt>
                <c:pt idx="38111">
                  <c:v>0.679703941501694</c:v>
                </c:pt>
                <c:pt idx="38112">
                  <c:v>0.67972177635098896</c:v>
                </c:pt>
                <c:pt idx="38113">
                  <c:v>0.67973961120028503</c:v>
                </c:pt>
                <c:pt idx="38114">
                  <c:v>0.67975744604957999</c:v>
                </c:pt>
                <c:pt idx="38115">
                  <c:v>0.67977528089887596</c:v>
                </c:pt>
                <c:pt idx="38116">
                  <c:v>0.67979311574817103</c:v>
                </c:pt>
                <c:pt idx="38117">
                  <c:v>0.67981095059746699</c:v>
                </c:pt>
                <c:pt idx="38118">
                  <c:v>0.67982878544676295</c:v>
                </c:pt>
                <c:pt idx="38119">
                  <c:v>0.67984662029605802</c:v>
                </c:pt>
                <c:pt idx="38120">
                  <c:v>0.67986445514535399</c:v>
                </c:pt>
                <c:pt idx="38121">
                  <c:v>0.67988228999464895</c:v>
                </c:pt>
                <c:pt idx="38122">
                  <c:v>0.67990012484394502</c:v>
                </c:pt>
                <c:pt idx="38123">
                  <c:v>0.67991795969323998</c:v>
                </c:pt>
                <c:pt idx="38124">
                  <c:v>0.67993579454253605</c:v>
                </c:pt>
                <c:pt idx="38125">
                  <c:v>0.67995362939183102</c:v>
                </c:pt>
                <c:pt idx="38126">
                  <c:v>0.67997146424112698</c:v>
                </c:pt>
                <c:pt idx="38127">
                  <c:v>0.67998929909042205</c:v>
                </c:pt>
                <c:pt idx="38128">
                  <c:v>0.68000713393971801</c:v>
                </c:pt>
                <c:pt idx="38129">
                  <c:v>0.68002496878901297</c:v>
                </c:pt>
                <c:pt idx="38130">
                  <c:v>0.68004280363830905</c:v>
                </c:pt>
                <c:pt idx="38131">
                  <c:v>0.68006063848760401</c:v>
                </c:pt>
                <c:pt idx="38132">
                  <c:v>0.68007847333689997</c:v>
                </c:pt>
                <c:pt idx="38133">
                  <c:v>0.68009630818619504</c:v>
                </c:pt>
                <c:pt idx="38134">
                  <c:v>0.680114143035491</c:v>
                </c:pt>
                <c:pt idx="38135">
                  <c:v>0.68013197788478597</c:v>
                </c:pt>
                <c:pt idx="38136">
                  <c:v>0.68014981273408204</c:v>
                </c:pt>
                <c:pt idx="38137">
                  <c:v>0.680167647583377</c:v>
                </c:pt>
                <c:pt idx="38138">
                  <c:v>0.68018548243267296</c:v>
                </c:pt>
                <c:pt idx="38139">
                  <c:v>0.68020331728196803</c:v>
                </c:pt>
                <c:pt idx="38140">
                  <c:v>0.680221152131264</c:v>
                </c:pt>
                <c:pt idx="38141">
                  <c:v>0.68023898698055996</c:v>
                </c:pt>
                <c:pt idx="38142">
                  <c:v>0.68025682182985503</c:v>
                </c:pt>
                <c:pt idx="38143">
                  <c:v>0.68027465667915099</c:v>
                </c:pt>
                <c:pt idx="38144">
                  <c:v>0.68029249152844595</c:v>
                </c:pt>
                <c:pt idx="38145">
                  <c:v>0.68031032637774203</c:v>
                </c:pt>
                <c:pt idx="38146">
                  <c:v>0.68032816122703699</c:v>
                </c:pt>
                <c:pt idx="38147">
                  <c:v>0.68034599607633295</c:v>
                </c:pt>
                <c:pt idx="38148">
                  <c:v>0.68036383092562802</c:v>
                </c:pt>
                <c:pt idx="38149">
                  <c:v>0.68038166577492398</c:v>
                </c:pt>
                <c:pt idx="38150">
                  <c:v>0.68039950062421894</c:v>
                </c:pt>
                <c:pt idx="38151">
                  <c:v>0.68041733547351502</c:v>
                </c:pt>
                <c:pt idx="38152">
                  <c:v>0.68043517032280998</c:v>
                </c:pt>
                <c:pt idx="38153">
                  <c:v>0.68045300517210605</c:v>
                </c:pt>
                <c:pt idx="38154">
                  <c:v>0.68047084002140101</c:v>
                </c:pt>
                <c:pt idx="38155">
                  <c:v>0.68048867487069697</c:v>
                </c:pt>
                <c:pt idx="38156">
                  <c:v>0.68050650971999205</c:v>
                </c:pt>
                <c:pt idx="38157">
                  <c:v>0.68052434456928801</c:v>
                </c:pt>
                <c:pt idx="38158">
                  <c:v>0.68054217941858297</c:v>
                </c:pt>
                <c:pt idx="38159">
                  <c:v>0.68056001426787904</c:v>
                </c:pt>
                <c:pt idx="38160">
                  <c:v>0.680577849117175</c:v>
                </c:pt>
                <c:pt idx="38161">
                  <c:v>0.68059568396646997</c:v>
                </c:pt>
                <c:pt idx="38162">
                  <c:v>0.68061351881576604</c:v>
                </c:pt>
                <c:pt idx="38163">
                  <c:v>0.680631353665061</c:v>
                </c:pt>
                <c:pt idx="38164">
                  <c:v>0.68064918851435696</c:v>
                </c:pt>
                <c:pt idx="38165">
                  <c:v>0.68066702336365204</c:v>
                </c:pt>
                <c:pt idx="38166">
                  <c:v>0.680684858212948</c:v>
                </c:pt>
                <c:pt idx="38167">
                  <c:v>0.68070269306224296</c:v>
                </c:pt>
                <c:pt idx="38168">
                  <c:v>0.68072052791153903</c:v>
                </c:pt>
                <c:pt idx="38169">
                  <c:v>0.68073836276083399</c:v>
                </c:pt>
                <c:pt idx="38170">
                  <c:v>0.68075619761012995</c:v>
                </c:pt>
                <c:pt idx="38171">
                  <c:v>0.68077403245942503</c:v>
                </c:pt>
                <c:pt idx="38172">
                  <c:v>0.68079186730872099</c:v>
                </c:pt>
                <c:pt idx="38173">
                  <c:v>0.68080970215801595</c:v>
                </c:pt>
                <c:pt idx="38174">
                  <c:v>0.68082753700731202</c:v>
                </c:pt>
                <c:pt idx="38175">
                  <c:v>0.68084537185660698</c:v>
                </c:pt>
                <c:pt idx="38176">
                  <c:v>0.68086320670590295</c:v>
                </c:pt>
                <c:pt idx="38177">
                  <c:v>0.68088104155519802</c:v>
                </c:pt>
                <c:pt idx="38178">
                  <c:v>0.68089887640449398</c:v>
                </c:pt>
                <c:pt idx="38179">
                  <c:v>0.68091671125378905</c:v>
                </c:pt>
                <c:pt idx="38180">
                  <c:v>0.68093454610308501</c:v>
                </c:pt>
                <c:pt idx="38181">
                  <c:v>0.68095238095238098</c:v>
                </c:pt>
                <c:pt idx="38182">
                  <c:v>0.68097021580167605</c:v>
                </c:pt>
                <c:pt idx="38183">
                  <c:v>0.68098805065097201</c:v>
                </c:pt>
                <c:pt idx="38184">
                  <c:v>0.68100588550026697</c:v>
                </c:pt>
                <c:pt idx="38185">
                  <c:v>0.68102372034956304</c:v>
                </c:pt>
                <c:pt idx="38186">
                  <c:v>0.68104155519885801</c:v>
                </c:pt>
                <c:pt idx="38187">
                  <c:v>0.68105939004815397</c:v>
                </c:pt>
                <c:pt idx="38188">
                  <c:v>0.68107722489744904</c:v>
                </c:pt>
                <c:pt idx="38189">
                  <c:v>0.681095059746745</c:v>
                </c:pt>
                <c:pt idx="38190">
                  <c:v>0.68111289459603996</c:v>
                </c:pt>
                <c:pt idx="38191">
                  <c:v>0.68113072944533604</c:v>
                </c:pt>
                <c:pt idx="38192">
                  <c:v>0.681148564294631</c:v>
                </c:pt>
                <c:pt idx="38193">
                  <c:v>0.68116639914392696</c:v>
                </c:pt>
                <c:pt idx="38194">
                  <c:v>0.68118423399322203</c:v>
                </c:pt>
                <c:pt idx="38195">
                  <c:v>0.68120206884251799</c:v>
                </c:pt>
                <c:pt idx="38196">
                  <c:v>0.68121990369181296</c:v>
                </c:pt>
                <c:pt idx="38197">
                  <c:v>0.68123773854110903</c:v>
                </c:pt>
                <c:pt idx="38198">
                  <c:v>0.68125557339040399</c:v>
                </c:pt>
                <c:pt idx="38199">
                  <c:v>0.68127340823969995</c:v>
                </c:pt>
                <c:pt idx="38200">
                  <c:v>0.68129124308899502</c:v>
                </c:pt>
                <c:pt idx="38201">
                  <c:v>0.68130907793829099</c:v>
                </c:pt>
                <c:pt idx="38202">
                  <c:v>0.68132691278758695</c:v>
                </c:pt>
                <c:pt idx="38203">
                  <c:v>0.68134474763688202</c:v>
                </c:pt>
                <c:pt idx="38204">
                  <c:v>0.68136258248617798</c:v>
                </c:pt>
                <c:pt idx="38205">
                  <c:v>0.68138041733547305</c:v>
                </c:pt>
                <c:pt idx="38206">
                  <c:v>0.68139825218476902</c:v>
                </c:pt>
                <c:pt idx="38207">
                  <c:v>0.68141608703406398</c:v>
                </c:pt>
                <c:pt idx="38208">
                  <c:v>0.68143392188336005</c:v>
                </c:pt>
                <c:pt idx="38209">
                  <c:v>0.68145175673265501</c:v>
                </c:pt>
                <c:pt idx="38210">
                  <c:v>0.68146959158195097</c:v>
                </c:pt>
                <c:pt idx="38211">
                  <c:v>0.68148742643124605</c:v>
                </c:pt>
                <c:pt idx="38212">
                  <c:v>0.68150526128054201</c:v>
                </c:pt>
                <c:pt idx="38213">
                  <c:v>0.68152309612983697</c:v>
                </c:pt>
                <c:pt idx="38214">
                  <c:v>0.68154093097913304</c:v>
                </c:pt>
                <c:pt idx="38215">
                  <c:v>0.681558765828428</c:v>
                </c:pt>
                <c:pt idx="38216">
                  <c:v>0.68157660067772396</c:v>
                </c:pt>
                <c:pt idx="38217">
                  <c:v>0.68159443552701904</c:v>
                </c:pt>
                <c:pt idx="38218">
                  <c:v>0.681612270376315</c:v>
                </c:pt>
                <c:pt idx="38219">
                  <c:v>0.68163010522560996</c:v>
                </c:pt>
                <c:pt idx="38220">
                  <c:v>0.68164794007490603</c:v>
                </c:pt>
                <c:pt idx="38221">
                  <c:v>0.681665774924201</c:v>
                </c:pt>
                <c:pt idx="38222">
                  <c:v>0.68168360977349696</c:v>
                </c:pt>
                <c:pt idx="38223">
                  <c:v>0.68170144462279203</c:v>
                </c:pt>
                <c:pt idx="38224">
                  <c:v>0.68171927947208799</c:v>
                </c:pt>
                <c:pt idx="38225">
                  <c:v>0.68173711432138395</c:v>
                </c:pt>
                <c:pt idx="38226">
                  <c:v>0.68175494917067903</c:v>
                </c:pt>
                <c:pt idx="38227">
                  <c:v>0.68177278401997499</c:v>
                </c:pt>
                <c:pt idx="38228">
                  <c:v>0.68179061886926995</c:v>
                </c:pt>
                <c:pt idx="38229">
                  <c:v>0.68180845371856602</c:v>
                </c:pt>
                <c:pt idx="38230">
                  <c:v>0.68182628856786098</c:v>
                </c:pt>
                <c:pt idx="38231">
                  <c:v>0.68184412341715706</c:v>
                </c:pt>
                <c:pt idx="38232">
                  <c:v>0.68186195826645202</c:v>
                </c:pt>
                <c:pt idx="38233">
                  <c:v>0.68187979311574798</c:v>
                </c:pt>
                <c:pt idx="38234">
                  <c:v>0.68189762796504305</c:v>
                </c:pt>
                <c:pt idx="38235">
                  <c:v>0.68191546281433901</c:v>
                </c:pt>
                <c:pt idx="38236">
                  <c:v>0.68193329766363397</c:v>
                </c:pt>
                <c:pt idx="38237">
                  <c:v>0.68195113251293005</c:v>
                </c:pt>
                <c:pt idx="38238">
                  <c:v>0.68196896736222501</c:v>
                </c:pt>
                <c:pt idx="38239">
                  <c:v>0.68198680221152097</c:v>
                </c:pt>
                <c:pt idx="38240">
                  <c:v>0.68200463706081604</c:v>
                </c:pt>
                <c:pt idx="38241">
                  <c:v>0.682022471910112</c:v>
                </c:pt>
                <c:pt idx="38242">
                  <c:v>0.68204030675940697</c:v>
                </c:pt>
                <c:pt idx="38243">
                  <c:v>0.68205814160870304</c:v>
                </c:pt>
                <c:pt idx="38244">
                  <c:v>0.682075976457998</c:v>
                </c:pt>
                <c:pt idx="38245">
                  <c:v>0.68209381130729396</c:v>
                </c:pt>
                <c:pt idx="38246">
                  <c:v>0.68211164615658904</c:v>
                </c:pt>
                <c:pt idx="38247">
                  <c:v>0.682129481005885</c:v>
                </c:pt>
                <c:pt idx="38248">
                  <c:v>0.68214731585518096</c:v>
                </c:pt>
                <c:pt idx="38249">
                  <c:v>0.68216515070447603</c:v>
                </c:pt>
                <c:pt idx="38250">
                  <c:v>0.68218298555377199</c:v>
                </c:pt>
                <c:pt idx="38251">
                  <c:v>0.68220082040306695</c:v>
                </c:pt>
                <c:pt idx="38252">
                  <c:v>0.68221865525236303</c:v>
                </c:pt>
                <c:pt idx="38253">
                  <c:v>0.68223649010165799</c:v>
                </c:pt>
                <c:pt idx="38254">
                  <c:v>0.68225432495095395</c:v>
                </c:pt>
                <c:pt idx="38255">
                  <c:v>0.68227215980024902</c:v>
                </c:pt>
                <c:pt idx="38256">
                  <c:v>0.68228999464954498</c:v>
                </c:pt>
                <c:pt idx="38257">
                  <c:v>0.68230782949883995</c:v>
                </c:pt>
                <c:pt idx="38258">
                  <c:v>0.68232566434813602</c:v>
                </c:pt>
                <c:pt idx="38259">
                  <c:v>0.68234349919743098</c:v>
                </c:pt>
                <c:pt idx="38260">
                  <c:v>0.68236133404672705</c:v>
                </c:pt>
                <c:pt idx="38261">
                  <c:v>0.68237916889602201</c:v>
                </c:pt>
                <c:pt idx="38262">
                  <c:v>0.68239700374531798</c:v>
                </c:pt>
                <c:pt idx="38263">
                  <c:v>0.68241483859461305</c:v>
                </c:pt>
                <c:pt idx="38264">
                  <c:v>0.68243267344390901</c:v>
                </c:pt>
                <c:pt idx="38265">
                  <c:v>0.68245050829320497</c:v>
                </c:pt>
                <c:pt idx="38266">
                  <c:v>0.68246834314250004</c:v>
                </c:pt>
                <c:pt idx="38267">
                  <c:v>0.68248617799179601</c:v>
                </c:pt>
                <c:pt idx="38268">
                  <c:v>0.68250401284109097</c:v>
                </c:pt>
                <c:pt idx="38269">
                  <c:v>0.68252184769038704</c:v>
                </c:pt>
                <c:pt idx="38270">
                  <c:v>0.682539682539682</c:v>
                </c:pt>
                <c:pt idx="38271">
                  <c:v>0.68255751738897796</c:v>
                </c:pt>
                <c:pt idx="38272">
                  <c:v>0.68257535223827304</c:v>
                </c:pt>
                <c:pt idx="38273">
                  <c:v>0.682593187087569</c:v>
                </c:pt>
                <c:pt idx="38274">
                  <c:v>0.68261102193686396</c:v>
                </c:pt>
                <c:pt idx="38275">
                  <c:v>0.68262885678616003</c:v>
                </c:pt>
                <c:pt idx="38276">
                  <c:v>0.68264669163545499</c:v>
                </c:pt>
                <c:pt idx="38277">
                  <c:v>0.68266452648475096</c:v>
                </c:pt>
                <c:pt idx="38278">
                  <c:v>0.68268236133404603</c:v>
                </c:pt>
                <c:pt idx="38279">
                  <c:v>0.68270019618334199</c:v>
                </c:pt>
                <c:pt idx="38280">
                  <c:v>0.68271803103263695</c:v>
                </c:pt>
                <c:pt idx="38281">
                  <c:v>0.68273586588193302</c:v>
                </c:pt>
                <c:pt idx="38282">
                  <c:v>0.68275370073122799</c:v>
                </c:pt>
                <c:pt idx="38283">
                  <c:v>0.68277153558052395</c:v>
                </c:pt>
                <c:pt idx="38284">
                  <c:v>0.68278937042981902</c:v>
                </c:pt>
                <c:pt idx="38285">
                  <c:v>0.68280720527911498</c:v>
                </c:pt>
                <c:pt idx="38286">
                  <c:v>0.68282504012841005</c:v>
                </c:pt>
                <c:pt idx="38287">
                  <c:v>0.68284287497770602</c:v>
                </c:pt>
                <c:pt idx="38288">
                  <c:v>0.68286070982700198</c:v>
                </c:pt>
                <c:pt idx="38289">
                  <c:v>0.68287854467629705</c:v>
                </c:pt>
                <c:pt idx="38290">
                  <c:v>0.68289637952559301</c:v>
                </c:pt>
                <c:pt idx="38291">
                  <c:v>0.68291421437488797</c:v>
                </c:pt>
                <c:pt idx="38292">
                  <c:v>0.68293204922418405</c:v>
                </c:pt>
                <c:pt idx="38293">
                  <c:v>0.68294988407347901</c:v>
                </c:pt>
                <c:pt idx="38294">
                  <c:v>0.68296771892277497</c:v>
                </c:pt>
                <c:pt idx="38295">
                  <c:v>0.68298555377207004</c:v>
                </c:pt>
                <c:pt idx="38296">
                  <c:v>0.683003388621366</c:v>
                </c:pt>
                <c:pt idx="38297">
                  <c:v>0.68302122347066097</c:v>
                </c:pt>
                <c:pt idx="38298">
                  <c:v>0.68303905831995704</c:v>
                </c:pt>
                <c:pt idx="38299">
                  <c:v>0.683056893169252</c:v>
                </c:pt>
                <c:pt idx="38300">
                  <c:v>0.68307472801854796</c:v>
                </c:pt>
                <c:pt idx="38301">
                  <c:v>0.68309256286784303</c:v>
                </c:pt>
                <c:pt idx="38302">
                  <c:v>0.683110397717139</c:v>
                </c:pt>
                <c:pt idx="38303">
                  <c:v>0.68312823256643396</c:v>
                </c:pt>
                <c:pt idx="38304">
                  <c:v>0.68314606741573003</c:v>
                </c:pt>
                <c:pt idx="38305">
                  <c:v>0.68316390226502499</c:v>
                </c:pt>
                <c:pt idx="38306">
                  <c:v>0.68318173711432095</c:v>
                </c:pt>
                <c:pt idx="38307">
                  <c:v>0.68319957196361603</c:v>
                </c:pt>
                <c:pt idx="38308">
                  <c:v>0.68321740681291199</c:v>
                </c:pt>
                <c:pt idx="38309">
                  <c:v>0.68323524166220795</c:v>
                </c:pt>
                <c:pt idx="38310">
                  <c:v>0.68325307651150302</c:v>
                </c:pt>
                <c:pt idx="38311">
                  <c:v>0.68327091136079898</c:v>
                </c:pt>
                <c:pt idx="38312">
                  <c:v>0.68328874621009394</c:v>
                </c:pt>
                <c:pt idx="38313">
                  <c:v>0.68330658105939002</c:v>
                </c:pt>
                <c:pt idx="38314">
                  <c:v>0.68332441590868498</c:v>
                </c:pt>
                <c:pt idx="38315">
                  <c:v>0.68334225075798105</c:v>
                </c:pt>
                <c:pt idx="38316">
                  <c:v>0.68336008560727601</c:v>
                </c:pt>
                <c:pt idx="38317">
                  <c:v>0.68337792045657197</c:v>
                </c:pt>
                <c:pt idx="38318">
                  <c:v>0.68339575530586705</c:v>
                </c:pt>
                <c:pt idx="38319">
                  <c:v>0.68341359015516301</c:v>
                </c:pt>
                <c:pt idx="38320">
                  <c:v>0.68343142500445797</c:v>
                </c:pt>
                <c:pt idx="38321">
                  <c:v>0.68344925985375404</c:v>
                </c:pt>
                <c:pt idx="38322">
                  <c:v>0.68346709470304901</c:v>
                </c:pt>
                <c:pt idx="38323">
                  <c:v>0.68348492955234497</c:v>
                </c:pt>
                <c:pt idx="38324">
                  <c:v>0.68350276440164004</c:v>
                </c:pt>
                <c:pt idx="38325">
                  <c:v>0.683520599250936</c:v>
                </c:pt>
                <c:pt idx="38326">
                  <c:v>0.68353843410023096</c:v>
                </c:pt>
                <c:pt idx="38327">
                  <c:v>0.68355626894952703</c:v>
                </c:pt>
                <c:pt idx="38328">
                  <c:v>0.683574103798822</c:v>
                </c:pt>
                <c:pt idx="38329">
                  <c:v>0.68359193864811796</c:v>
                </c:pt>
                <c:pt idx="38330">
                  <c:v>0.68360977349741303</c:v>
                </c:pt>
                <c:pt idx="38331">
                  <c:v>0.68362760834670899</c:v>
                </c:pt>
                <c:pt idx="38332">
                  <c:v>0.68364544319600495</c:v>
                </c:pt>
                <c:pt idx="38333">
                  <c:v>0.68366327804530003</c:v>
                </c:pt>
                <c:pt idx="38334">
                  <c:v>0.68368111289459599</c:v>
                </c:pt>
                <c:pt idx="38335">
                  <c:v>0.68369894774389095</c:v>
                </c:pt>
                <c:pt idx="38336">
                  <c:v>0.68371678259318702</c:v>
                </c:pt>
                <c:pt idx="38337">
                  <c:v>0.68373461744248198</c:v>
                </c:pt>
                <c:pt idx="38338">
                  <c:v>0.68375245229177795</c:v>
                </c:pt>
                <c:pt idx="38339">
                  <c:v>0.68377028714107302</c:v>
                </c:pt>
                <c:pt idx="38340">
                  <c:v>0.68378812199036898</c:v>
                </c:pt>
                <c:pt idx="38341">
                  <c:v>0.68380595683966405</c:v>
                </c:pt>
                <c:pt idx="38342">
                  <c:v>0.68382379168896001</c:v>
                </c:pt>
                <c:pt idx="38343">
                  <c:v>0.68384162653825498</c:v>
                </c:pt>
                <c:pt idx="38344">
                  <c:v>0.68385946138755105</c:v>
                </c:pt>
                <c:pt idx="38345">
                  <c:v>0.68387729623684601</c:v>
                </c:pt>
                <c:pt idx="38346">
                  <c:v>0.68389513108614197</c:v>
                </c:pt>
                <c:pt idx="38347">
                  <c:v>0.68391296593543704</c:v>
                </c:pt>
                <c:pt idx="38348">
                  <c:v>0.68393080078473301</c:v>
                </c:pt>
                <c:pt idx="38349">
                  <c:v>0.68394863563402797</c:v>
                </c:pt>
                <c:pt idx="38350">
                  <c:v>0.68396647048332404</c:v>
                </c:pt>
                <c:pt idx="38351">
                  <c:v>0.683984305332619</c:v>
                </c:pt>
                <c:pt idx="38352">
                  <c:v>0.68400214018191496</c:v>
                </c:pt>
                <c:pt idx="38353">
                  <c:v>0.68401997503121104</c:v>
                </c:pt>
                <c:pt idx="38354">
                  <c:v>0.684037809880506</c:v>
                </c:pt>
                <c:pt idx="38355">
                  <c:v>0.68405564472980196</c:v>
                </c:pt>
                <c:pt idx="38356">
                  <c:v>0.68407347957909703</c:v>
                </c:pt>
                <c:pt idx="38357">
                  <c:v>0.68409131442839299</c:v>
                </c:pt>
                <c:pt idx="38358">
                  <c:v>0.68410914927768796</c:v>
                </c:pt>
                <c:pt idx="38359">
                  <c:v>0.68412698412698403</c:v>
                </c:pt>
                <c:pt idx="38360">
                  <c:v>0.68414481897627899</c:v>
                </c:pt>
                <c:pt idx="38361">
                  <c:v>0.68416265382557495</c:v>
                </c:pt>
                <c:pt idx="38362">
                  <c:v>0.68418048867487002</c:v>
                </c:pt>
                <c:pt idx="38363">
                  <c:v>0.68419832352416599</c:v>
                </c:pt>
                <c:pt idx="38364">
                  <c:v>0.68421615837346095</c:v>
                </c:pt>
                <c:pt idx="38365">
                  <c:v>0.68423399322275702</c:v>
                </c:pt>
                <c:pt idx="38366">
                  <c:v>0.68425182807205198</c:v>
                </c:pt>
                <c:pt idx="38367">
                  <c:v>0.68426966292134805</c:v>
                </c:pt>
                <c:pt idx="38368">
                  <c:v>0.68428749777064302</c:v>
                </c:pt>
                <c:pt idx="38369">
                  <c:v>0.68430533261993898</c:v>
                </c:pt>
                <c:pt idx="38370">
                  <c:v>0.68432316746923405</c:v>
                </c:pt>
                <c:pt idx="38371">
                  <c:v>0.68434100231853001</c:v>
                </c:pt>
                <c:pt idx="38372">
                  <c:v>0.68435883716782597</c:v>
                </c:pt>
                <c:pt idx="38373">
                  <c:v>0.68437667201712105</c:v>
                </c:pt>
                <c:pt idx="38374">
                  <c:v>0.68439450686641701</c:v>
                </c:pt>
                <c:pt idx="38375">
                  <c:v>0.68441234171571197</c:v>
                </c:pt>
                <c:pt idx="38376">
                  <c:v>0.68443017656500804</c:v>
                </c:pt>
                <c:pt idx="38377">
                  <c:v>0.684448011414303</c:v>
                </c:pt>
                <c:pt idx="38378">
                  <c:v>0.68446584626359896</c:v>
                </c:pt>
                <c:pt idx="38379">
                  <c:v>0.68448368111289404</c:v>
                </c:pt>
                <c:pt idx="38380">
                  <c:v>0.68450151596219</c:v>
                </c:pt>
                <c:pt idx="38381">
                  <c:v>0.68451935081148496</c:v>
                </c:pt>
                <c:pt idx="38382">
                  <c:v>0.68453718566078103</c:v>
                </c:pt>
                <c:pt idx="38383">
                  <c:v>0.684555020510076</c:v>
                </c:pt>
                <c:pt idx="38384">
                  <c:v>0.68457285535937196</c:v>
                </c:pt>
                <c:pt idx="38385">
                  <c:v>0.68459069020866703</c:v>
                </c:pt>
                <c:pt idx="38386">
                  <c:v>0.68460852505796299</c:v>
                </c:pt>
                <c:pt idx="38387">
                  <c:v>0.68462635990725795</c:v>
                </c:pt>
                <c:pt idx="38388">
                  <c:v>0.68464419475655403</c:v>
                </c:pt>
                <c:pt idx="38389">
                  <c:v>0.68466202960584899</c:v>
                </c:pt>
                <c:pt idx="38390">
                  <c:v>0.68467986445514495</c:v>
                </c:pt>
                <c:pt idx="38391">
                  <c:v>0.68469769930444002</c:v>
                </c:pt>
                <c:pt idx="38392">
                  <c:v>0.68471553415373598</c:v>
                </c:pt>
                <c:pt idx="38393">
                  <c:v>0.68473336900303094</c:v>
                </c:pt>
                <c:pt idx="38394">
                  <c:v>0.68475120385232702</c:v>
                </c:pt>
                <c:pt idx="38395">
                  <c:v>0.68476903870162298</c:v>
                </c:pt>
                <c:pt idx="38396">
                  <c:v>0.68478687355091805</c:v>
                </c:pt>
                <c:pt idx="38397">
                  <c:v>0.68480470840021401</c:v>
                </c:pt>
                <c:pt idx="38398">
                  <c:v>0.68482254324950897</c:v>
                </c:pt>
                <c:pt idx="38399">
                  <c:v>0.68484037809880505</c:v>
                </c:pt>
                <c:pt idx="38400">
                  <c:v>0.68485821294810001</c:v>
                </c:pt>
                <c:pt idx="38401">
                  <c:v>0.68487604779739597</c:v>
                </c:pt>
                <c:pt idx="38402">
                  <c:v>0.68489388264669104</c:v>
                </c:pt>
                <c:pt idx="38403">
                  <c:v>0.684911717495987</c:v>
                </c:pt>
                <c:pt idx="38404">
                  <c:v>0.68492955234528197</c:v>
                </c:pt>
                <c:pt idx="38405">
                  <c:v>0.68494738719457804</c:v>
                </c:pt>
                <c:pt idx="38406">
                  <c:v>0.684965222043873</c:v>
                </c:pt>
                <c:pt idx="38407">
                  <c:v>0.68498305689316896</c:v>
                </c:pt>
                <c:pt idx="38408">
                  <c:v>0.68500089174246404</c:v>
                </c:pt>
                <c:pt idx="38409">
                  <c:v>0.68501872659176</c:v>
                </c:pt>
                <c:pt idx="38410">
                  <c:v>0.68503656144105496</c:v>
                </c:pt>
                <c:pt idx="38411">
                  <c:v>0.68505439629035103</c:v>
                </c:pt>
                <c:pt idx="38412">
                  <c:v>0.68507223113964599</c:v>
                </c:pt>
                <c:pt idx="38413">
                  <c:v>0.68509006598894195</c:v>
                </c:pt>
                <c:pt idx="38414">
                  <c:v>0.68510790083823703</c:v>
                </c:pt>
                <c:pt idx="38415">
                  <c:v>0.68512573568753299</c:v>
                </c:pt>
                <c:pt idx="38416">
                  <c:v>0.68514357053682895</c:v>
                </c:pt>
                <c:pt idx="38417">
                  <c:v>0.68516140538612402</c:v>
                </c:pt>
                <c:pt idx="38418">
                  <c:v>0.68517924023541998</c:v>
                </c:pt>
                <c:pt idx="38419">
                  <c:v>0.68519707508471495</c:v>
                </c:pt>
                <c:pt idx="38420">
                  <c:v>0.68521490993401102</c:v>
                </c:pt>
                <c:pt idx="38421">
                  <c:v>0.68523274478330598</c:v>
                </c:pt>
                <c:pt idx="38422">
                  <c:v>0.68525057963260205</c:v>
                </c:pt>
                <c:pt idx="38423">
                  <c:v>0.68526841448189701</c:v>
                </c:pt>
                <c:pt idx="38424">
                  <c:v>0.68528624933119298</c:v>
                </c:pt>
                <c:pt idx="38425">
                  <c:v>0.68530408418048805</c:v>
                </c:pt>
                <c:pt idx="38426">
                  <c:v>0.68532191902978401</c:v>
                </c:pt>
                <c:pt idx="38427">
                  <c:v>0.68533975387907897</c:v>
                </c:pt>
                <c:pt idx="38428">
                  <c:v>0.68535758872837504</c:v>
                </c:pt>
                <c:pt idx="38429">
                  <c:v>0.68537542357767001</c:v>
                </c:pt>
                <c:pt idx="38430">
                  <c:v>0.68539325842696597</c:v>
                </c:pt>
                <c:pt idx="38431">
                  <c:v>0.68541109327626104</c:v>
                </c:pt>
                <c:pt idx="38432">
                  <c:v>0.685428928125557</c:v>
                </c:pt>
                <c:pt idx="38433">
                  <c:v>0.68544676297485196</c:v>
                </c:pt>
                <c:pt idx="38434">
                  <c:v>0.68546459782414804</c:v>
                </c:pt>
                <c:pt idx="38435">
                  <c:v>0.685482432673443</c:v>
                </c:pt>
                <c:pt idx="38436">
                  <c:v>0.68550026752273896</c:v>
                </c:pt>
                <c:pt idx="38437">
                  <c:v>0.68551810237203403</c:v>
                </c:pt>
                <c:pt idx="38438">
                  <c:v>0.68553593722132999</c:v>
                </c:pt>
                <c:pt idx="38439">
                  <c:v>0.68555377207062596</c:v>
                </c:pt>
                <c:pt idx="38440">
                  <c:v>0.68557160691992103</c:v>
                </c:pt>
                <c:pt idx="38441">
                  <c:v>0.68558944176921699</c:v>
                </c:pt>
                <c:pt idx="38442">
                  <c:v>0.68560727661851195</c:v>
                </c:pt>
                <c:pt idx="38443">
                  <c:v>0.68562511146780802</c:v>
                </c:pt>
                <c:pt idx="38444">
                  <c:v>0.68564294631710299</c:v>
                </c:pt>
                <c:pt idx="38445">
                  <c:v>0.68566078116639895</c:v>
                </c:pt>
                <c:pt idx="38446">
                  <c:v>0.68567861601569402</c:v>
                </c:pt>
                <c:pt idx="38447">
                  <c:v>0.68569645086498998</c:v>
                </c:pt>
                <c:pt idx="38448">
                  <c:v>0.68571428571428505</c:v>
                </c:pt>
                <c:pt idx="38449">
                  <c:v>0.68573212056358102</c:v>
                </c:pt>
                <c:pt idx="38450">
                  <c:v>0.68574995541287598</c:v>
                </c:pt>
                <c:pt idx="38451">
                  <c:v>0.68576779026217205</c:v>
                </c:pt>
                <c:pt idx="38452">
                  <c:v>0.68578562511146701</c:v>
                </c:pt>
                <c:pt idx="38453">
                  <c:v>0.68580345996076297</c:v>
                </c:pt>
                <c:pt idx="38454">
                  <c:v>0.68582129481005805</c:v>
                </c:pt>
                <c:pt idx="38455">
                  <c:v>0.68583912965935401</c:v>
                </c:pt>
                <c:pt idx="38456">
                  <c:v>0.68585696450864897</c:v>
                </c:pt>
                <c:pt idx="38457">
                  <c:v>0.68587479935794504</c:v>
                </c:pt>
                <c:pt idx="38458">
                  <c:v>0.685892634207241</c:v>
                </c:pt>
                <c:pt idx="38459">
                  <c:v>0.68591046905653597</c:v>
                </c:pt>
                <c:pt idx="38460">
                  <c:v>0.68592830390583204</c:v>
                </c:pt>
                <c:pt idx="38461">
                  <c:v>0.685946138755127</c:v>
                </c:pt>
                <c:pt idx="38462">
                  <c:v>0.68596397360442296</c:v>
                </c:pt>
                <c:pt idx="38463">
                  <c:v>0.68598180845371803</c:v>
                </c:pt>
                <c:pt idx="38464">
                  <c:v>0.685999643303014</c:v>
                </c:pt>
                <c:pt idx="38465">
                  <c:v>0.68601747815230896</c:v>
                </c:pt>
                <c:pt idx="38466">
                  <c:v>0.68603531300160503</c:v>
                </c:pt>
                <c:pt idx="38467">
                  <c:v>0.68605314785089999</c:v>
                </c:pt>
                <c:pt idx="38468">
                  <c:v>0.68607098270019595</c:v>
                </c:pt>
                <c:pt idx="38469">
                  <c:v>0.68608881754949103</c:v>
                </c:pt>
                <c:pt idx="38470">
                  <c:v>0.68610665239878699</c:v>
                </c:pt>
                <c:pt idx="38471">
                  <c:v>0.68612448724808195</c:v>
                </c:pt>
                <c:pt idx="38472">
                  <c:v>0.68614232209737802</c:v>
                </c:pt>
                <c:pt idx="38473">
                  <c:v>0.68616015694667298</c:v>
                </c:pt>
                <c:pt idx="38474">
                  <c:v>0.68617799179596894</c:v>
                </c:pt>
                <c:pt idx="38475">
                  <c:v>0.68619582664526402</c:v>
                </c:pt>
                <c:pt idx="38476">
                  <c:v>0.68621366149455998</c:v>
                </c:pt>
                <c:pt idx="38477">
                  <c:v>0.68623149634385505</c:v>
                </c:pt>
                <c:pt idx="38478">
                  <c:v>0.68624933119315101</c:v>
                </c:pt>
                <c:pt idx="38479">
                  <c:v>0.68626716604244697</c:v>
                </c:pt>
                <c:pt idx="38480">
                  <c:v>0.68628500089174205</c:v>
                </c:pt>
                <c:pt idx="38481">
                  <c:v>0.68630283574103801</c:v>
                </c:pt>
                <c:pt idx="38482">
                  <c:v>0.68632067059033297</c:v>
                </c:pt>
                <c:pt idx="38483">
                  <c:v>0.68633850543962904</c:v>
                </c:pt>
                <c:pt idx="38484">
                  <c:v>0.68635634028892401</c:v>
                </c:pt>
                <c:pt idx="38485">
                  <c:v>0.68637417513821997</c:v>
                </c:pt>
                <c:pt idx="38486">
                  <c:v>0.68639200998751504</c:v>
                </c:pt>
                <c:pt idx="38487">
                  <c:v>0.686409844836811</c:v>
                </c:pt>
                <c:pt idx="38488">
                  <c:v>0.68642767968610596</c:v>
                </c:pt>
                <c:pt idx="38489">
                  <c:v>0.68644551453540203</c:v>
                </c:pt>
                <c:pt idx="38490">
                  <c:v>0.686463349384697</c:v>
                </c:pt>
                <c:pt idx="38491">
                  <c:v>0.68648118423399296</c:v>
                </c:pt>
                <c:pt idx="38492">
                  <c:v>0.68649901908328803</c:v>
                </c:pt>
                <c:pt idx="38493">
                  <c:v>0.68651685393258399</c:v>
                </c:pt>
                <c:pt idx="38494">
                  <c:v>0.68653468878187895</c:v>
                </c:pt>
                <c:pt idx="38495">
                  <c:v>0.68655252363117503</c:v>
                </c:pt>
                <c:pt idx="38496">
                  <c:v>0.68657035848046999</c:v>
                </c:pt>
                <c:pt idx="38497">
                  <c:v>0.68658819332976595</c:v>
                </c:pt>
                <c:pt idx="38498">
                  <c:v>0.68660602817906102</c:v>
                </c:pt>
                <c:pt idx="38499">
                  <c:v>0.68662386302835698</c:v>
                </c:pt>
                <c:pt idx="38500">
                  <c:v>0.68664169787765295</c:v>
                </c:pt>
                <c:pt idx="38501">
                  <c:v>0.68665953272694802</c:v>
                </c:pt>
                <c:pt idx="38502">
                  <c:v>0.68667736757624398</c:v>
                </c:pt>
                <c:pt idx="38503">
                  <c:v>0.68669520242553905</c:v>
                </c:pt>
                <c:pt idx="38504">
                  <c:v>0.68671303727483501</c:v>
                </c:pt>
                <c:pt idx="38505">
                  <c:v>0.68673087212412998</c:v>
                </c:pt>
                <c:pt idx="38506">
                  <c:v>0.68674870697342605</c:v>
                </c:pt>
                <c:pt idx="38507">
                  <c:v>0.68676654182272101</c:v>
                </c:pt>
                <c:pt idx="38508">
                  <c:v>0.68678437667201697</c:v>
                </c:pt>
                <c:pt idx="38509">
                  <c:v>0.68680221152131204</c:v>
                </c:pt>
                <c:pt idx="38510">
                  <c:v>0.68682004637060801</c:v>
                </c:pt>
                <c:pt idx="38511">
                  <c:v>0.68683788121990297</c:v>
                </c:pt>
                <c:pt idx="38512">
                  <c:v>0.68685571606919904</c:v>
                </c:pt>
                <c:pt idx="38513">
                  <c:v>0.686873550918494</c:v>
                </c:pt>
                <c:pt idx="38514">
                  <c:v>0.68689138576778996</c:v>
                </c:pt>
                <c:pt idx="38515">
                  <c:v>0.68690922061708504</c:v>
                </c:pt>
                <c:pt idx="38516">
                  <c:v>0.686927055466381</c:v>
                </c:pt>
                <c:pt idx="38517">
                  <c:v>0.68694489031567596</c:v>
                </c:pt>
                <c:pt idx="38518">
                  <c:v>0.68696272516497203</c:v>
                </c:pt>
                <c:pt idx="38519">
                  <c:v>0.68698056001426699</c:v>
                </c:pt>
                <c:pt idx="38520">
                  <c:v>0.68699839486356296</c:v>
                </c:pt>
                <c:pt idx="38521">
                  <c:v>0.68701622971285803</c:v>
                </c:pt>
                <c:pt idx="38522">
                  <c:v>0.68703406456215399</c:v>
                </c:pt>
                <c:pt idx="38523">
                  <c:v>0.68705189941144995</c:v>
                </c:pt>
                <c:pt idx="38524">
                  <c:v>0.68706973426074502</c:v>
                </c:pt>
                <c:pt idx="38525">
                  <c:v>0.68708756911004099</c:v>
                </c:pt>
                <c:pt idx="38526">
                  <c:v>0.68710540395933595</c:v>
                </c:pt>
                <c:pt idx="38527">
                  <c:v>0.68712323880863202</c:v>
                </c:pt>
                <c:pt idx="38528">
                  <c:v>0.68714107365792698</c:v>
                </c:pt>
                <c:pt idx="38529">
                  <c:v>0.68715890850722305</c:v>
                </c:pt>
                <c:pt idx="38530">
                  <c:v>0.68717674335651802</c:v>
                </c:pt>
                <c:pt idx="38531">
                  <c:v>0.68719457820581398</c:v>
                </c:pt>
                <c:pt idx="38532">
                  <c:v>0.68721241305510905</c:v>
                </c:pt>
                <c:pt idx="38533">
                  <c:v>0.68723024790440501</c:v>
                </c:pt>
                <c:pt idx="38534">
                  <c:v>0.68724808275369997</c:v>
                </c:pt>
                <c:pt idx="38535">
                  <c:v>0.68726591760299605</c:v>
                </c:pt>
                <c:pt idx="38536">
                  <c:v>0.68728375245229101</c:v>
                </c:pt>
                <c:pt idx="38537">
                  <c:v>0.68730158730158697</c:v>
                </c:pt>
                <c:pt idx="38538">
                  <c:v>0.68731942215088204</c:v>
                </c:pt>
                <c:pt idx="38539">
                  <c:v>0.687337257000178</c:v>
                </c:pt>
                <c:pt idx="38540">
                  <c:v>0.68735509184947297</c:v>
                </c:pt>
                <c:pt idx="38541">
                  <c:v>0.68737292669876904</c:v>
                </c:pt>
                <c:pt idx="38542">
                  <c:v>0.687390761548064</c:v>
                </c:pt>
                <c:pt idx="38543">
                  <c:v>0.68740859639735996</c:v>
                </c:pt>
                <c:pt idx="38544">
                  <c:v>0.68742643124665503</c:v>
                </c:pt>
                <c:pt idx="38545">
                  <c:v>0.687444266095951</c:v>
                </c:pt>
                <c:pt idx="38546">
                  <c:v>0.68746210094524696</c:v>
                </c:pt>
                <c:pt idx="38547">
                  <c:v>0.68747993579454203</c:v>
                </c:pt>
                <c:pt idx="38548">
                  <c:v>0.68749777064383799</c:v>
                </c:pt>
                <c:pt idx="38549">
                  <c:v>0.68751560549313295</c:v>
                </c:pt>
                <c:pt idx="38550">
                  <c:v>0.68753344034242903</c:v>
                </c:pt>
                <c:pt idx="38551">
                  <c:v>0.68755127519172399</c:v>
                </c:pt>
                <c:pt idx="38552">
                  <c:v>0.68756911004101995</c:v>
                </c:pt>
                <c:pt idx="38553">
                  <c:v>0.68758694489031502</c:v>
                </c:pt>
                <c:pt idx="38554">
                  <c:v>0.68760477973961098</c:v>
                </c:pt>
                <c:pt idx="38555">
                  <c:v>0.68762261458890594</c:v>
                </c:pt>
                <c:pt idx="38556">
                  <c:v>0.68764044943820202</c:v>
                </c:pt>
                <c:pt idx="38557">
                  <c:v>0.68765828428749698</c:v>
                </c:pt>
                <c:pt idx="38558">
                  <c:v>0.68767611913679305</c:v>
                </c:pt>
                <c:pt idx="38559">
                  <c:v>0.68769395398608801</c:v>
                </c:pt>
                <c:pt idx="38560">
                  <c:v>0.68771178883538397</c:v>
                </c:pt>
                <c:pt idx="38561">
                  <c:v>0.68772962368467905</c:v>
                </c:pt>
                <c:pt idx="38562">
                  <c:v>0.68774745853397501</c:v>
                </c:pt>
                <c:pt idx="38563">
                  <c:v>0.68776529338326997</c:v>
                </c:pt>
                <c:pt idx="38564">
                  <c:v>0.68778312823256604</c:v>
                </c:pt>
                <c:pt idx="38565">
                  <c:v>0.687800963081862</c:v>
                </c:pt>
                <c:pt idx="38566">
                  <c:v>0.68781879793115697</c:v>
                </c:pt>
                <c:pt idx="38567">
                  <c:v>0.68783663278045304</c:v>
                </c:pt>
                <c:pt idx="38568">
                  <c:v>0.687854467629748</c:v>
                </c:pt>
                <c:pt idx="38569">
                  <c:v>0.68787230247904396</c:v>
                </c:pt>
                <c:pt idx="38570">
                  <c:v>0.68789013732833904</c:v>
                </c:pt>
                <c:pt idx="38571">
                  <c:v>0.687907972177635</c:v>
                </c:pt>
                <c:pt idx="38572">
                  <c:v>0.68792580702692996</c:v>
                </c:pt>
                <c:pt idx="38573">
                  <c:v>0.68794364187622603</c:v>
                </c:pt>
                <c:pt idx="38574">
                  <c:v>0.68796147672552099</c:v>
                </c:pt>
                <c:pt idx="38575">
                  <c:v>0.68797931157481695</c:v>
                </c:pt>
                <c:pt idx="38576">
                  <c:v>0.68799714642411203</c:v>
                </c:pt>
                <c:pt idx="38577">
                  <c:v>0.68801498127340799</c:v>
                </c:pt>
                <c:pt idx="38578">
                  <c:v>0.68803281612270295</c:v>
                </c:pt>
                <c:pt idx="38579">
                  <c:v>0.68805065097199902</c:v>
                </c:pt>
                <c:pt idx="38580">
                  <c:v>0.68806848582129398</c:v>
                </c:pt>
                <c:pt idx="38581">
                  <c:v>0.68808632067058995</c:v>
                </c:pt>
                <c:pt idx="38582">
                  <c:v>0.68810415551988502</c:v>
                </c:pt>
                <c:pt idx="38583">
                  <c:v>0.68812199036918098</c:v>
                </c:pt>
                <c:pt idx="38584">
                  <c:v>0.68813982521847605</c:v>
                </c:pt>
                <c:pt idx="38585">
                  <c:v>0.68815766006777201</c:v>
                </c:pt>
                <c:pt idx="38586">
                  <c:v>0.68817549491706798</c:v>
                </c:pt>
                <c:pt idx="38587">
                  <c:v>0.68819332976636305</c:v>
                </c:pt>
                <c:pt idx="38588">
                  <c:v>0.68821116461565901</c:v>
                </c:pt>
                <c:pt idx="38589">
                  <c:v>0.68822899946495397</c:v>
                </c:pt>
                <c:pt idx="38590">
                  <c:v>0.68824683431425004</c:v>
                </c:pt>
                <c:pt idx="38591">
                  <c:v>0.68826466916354501</c:v>
                </c:pt>
                <c:pt idx="38592">
                  <c:v>0.68828250401284097</c:v>
                </c:pt>
                <c:pt idx="38593">
                  <c:v>0.68830033886213604</c:v>
                </c:pt>
                <c:pt idx="38594">
                  <c:v>0.688318173711432</c:v>
                </c:pt>
                <c:pt idx="38595">
                  <c:v>0.68833600856072696</c:v>
                </c:pt>
                <c:pt idx="38596">
                  <c:v>0.68835384341002304</c:v>
                </c:pt>
                <c:pt idx="38597">
                  <c:v>0.688371678259318</c:v>
                </c:pt>
                <c:pt idx="38598">
                  <c:v>0.68838951310861396</c:v>
                </c:pt>
                <c:pt idx="38599">
                  <c:v>0.68840734795790903</c:v>
                </c:pt>
                <c:pt idx="38600">
                  <c:v>0.68842518280720499</c:v>
                </c:pt>
                <c:pt idx="38601">
                  <c:v>0.68844301765649996</c:v>
                </c:pt>
                <c:pt idx="38602">
                  <c:v>0.68846085250579603</c:v>
                </c:pt>
                <c:pt idx="38603">
                  <c:v>0.68847868735509099</c:v>
                </c:pt>
                <c:pt idx="38604">
                  <c:v>0.68849652220438695</c:v>
                </c:pt>
                <c:pt idx="38605">
                  <c:v>0.68851435705368202</c:v>
                </c:pt>
                <c:pt idx="38606">
                  <c:v>0.68853219190297799</c:v>
                </c:pt>
                <c:pt idx="38607">
                  <c:v>0.68855002675227395</c:v>
                </c:pt>
                <c:pt idx="38608">
                  <c:v>0.68856786160156902</c:v>
                </c:pt>
                <c:pt idx="38609">
                  <c:v>0.68858569645086498</c:v>
                </c:pt>
                <c:pt idx="38610">
                  <c:v>0.68860353130016005</c:v>
                </c:pt>
                <c:pt idx="38611">
                  <c:v>0.68862136614945602</c:v>
                </c:pt>
                <c:pt idx="38612">
                  <c:v>0.68863920099875098</c:v>
                </c:pt>
                <c:pt idx="38613">
                  <c:v>0.68865703584804705</c:v>
                </c:pt>
                <c:pt idx="38614">
                  <c:v>0.68867487069734201</c:v>
                </c:pt>
                <c:pt idx="38615">
                  <c:v>0.68869270554663797</c:v>
                </c:pt>
                <c:pt idx="38616">
                  <c:v>0.68871054039593305</c:v>
                </c:pt>
                <c:pt idx="38617">
                  <c:v>0.68872837524522901</c:v>
                </c:pt>
                <c:pt idx="38618">
                  <c:v>0.68874621009452397</c:v>
                </c:pt>
                <c:pt idx="38619">
                  <c:v>0.68876404494382004</c:v>
                </c:pt>
                <c:pt idx="38620">
                  <c:v>0.688781879793115</c:v>
                </c:pt>
                <c:pt idx="38621">
                  <c:v>0.68879971464241097</c:v>
                </c:pt>
                <c:pt idx="38622">
                  <c:v>0.68881754949170604</c:v>
                </c:pt>
                <c:pt idx="38623">
                  <c:v>0.688835384341002</c:v>
                </c:pt>
                <c:pt idx="38624">
                  <c:v>0.68885321919029696</c:v>
                </c:pt>
                <c:pt idx="38625">
                  <c:v>0.68887105403959303</c:v>
                </c:pt>
                <c:pt idx="38626">
                  <c:v>0.688888888888888</c:v>
                </c:pt>
                <c:pt idx="38627">
                  <c:v>0.68890672373818396</c:v>
                </c:pt>
                <c:pt idx="38628">
                  <c:v>0.68892455858747903</c:v>
                </c:pt>
                <c:pt idx="38629">
                  <c:v>0.68894239343677499</c:v>
                </c:pt>
                <c:pt idx="38630">
                  <c:v>0.68896022828607095</c:v>
                </c:pt>
                <c:pt idx="38631">
                  <c:v>0.68897806313536603</c:v>
                </c:pt>
                <c:pt idx="38632">
                  <c:v>0.68899589798466199</c:v>
                </c:pt>
                <c:pt idx="38633">
                  <c:v>0.68901373283395695</c:v>
                </c:pt>
                <c:pt idx="38634">
                  <c:v>0.68903156768325302</c:v>
                </c:pt>
                <c:pt idx="38635">
                  <c:v>0.68904940253254798</c:v>
                </c:pt>
                <c:pt idx="38636">
                  <c:v>0.68906723738184406</c:v>
                </c:pt>
                <c:pt idx="38637">
                  <c:v>0.68908507223113902</c:v>
                </c:pt>
                <c:pt idx="38638">
                  <c:v>0.68910290708043498</c:v>
                </c:pt>
                <c:pt idx="38639">
                  <c:v>0.68912074192973005</c:v>
                </c:pt>
                <c:pt idx="38640">
                  <c:v>0.68913857677902601</c:v>
                </c:pt>
                <c:pt idx="38641">
                  <c:v>0.68915641162832098</c:v>
                </c:pt>
                <c:pt idx="38642">
                  <c:v>0.68917424647761705</c:v>
                </c:pt>
                <c:pt idx="38643">
                  <c:v>0.68919208132691201</c:v>
                </c:pt>
                <c:pt idx="38644">
                  <c:v>0.68920991617620797</c:v>
                </c:pt>
                <c:pt idx="38645">
                  <c:v>0.68922775102550304</c:v>
                </c:pt>
                <c:pt idx="38646">
                  <c:v>0.689245585874799</c:v>
                </c:pt>
                <c:pt idx="38647">
                  <c:v>0.68926342072409397</c:v>
                </c:pt>
                <c:pt idx="38648">
                  <c:v>0.68928125557339004</c:v>
                </c:pt>
                <c:pt idx="38649">
                  <c:v>0.689299090422685</c:v>
                </c:pt>
                <c:pt idx="38650">
                  <c:v>0.68931692527198096</c:v>
                </c:pt>
                <c:pt idx="38651">
                  <c:v>0.68933476012127604</c:v>
                </c:pt>
                <c:pt idx="38652">
                  <c:v>0.689352594970572</c:v>
                </c:pt>
                <c:pt idx="38653">
                  <c:v>0.68937042981986796</c:v>
                </c:pt>
                <c:pt idx="38654">
                  <c:v>0.68938826466916303</c:v>
                </c:pt>
                <c:pt idx="38655">
                  <c:v>0.68940609951845899</c:v>
                </c:pt>
                <c:pt idx="38656">
                  <c:v>0.68942393436775395</c:v>
                </c:pt>
                <c:pt idx="38657">
                  <c:v>0.68944176921705003</c:v>
                </c:pt>
                <c:pt idx="38658">
                  <c:v>0.68945960406634499</c:v>
                </c:pt>
                <c:pt idx="38659">
                  <c:v>0.68947743891564095</c:v>
                </c:pt>
                <c:pt idx="38660">
                  <c:v>0.68949527376493602</c:v>
                </c:pt>
                <c:pt idx="38661">
                  <c:v>0.68951310861423198</c:v>
                </c:pt>
                <c:pt idx="38662">
                  <c:v>0.68953094346352695</c:v>
                </c:pt>
                <c:pt idx="38663">
                  <c:v>0.68954877831282302</c:v>
                </c:pt>
                <c:pt idx="38664">
                  <c:v>0.68956661316211798</c:v>
                </c:pt>
                <c:pt idx="38665">
                  <c:v>0.68958444801141405</c:v>
                </c:pt>
                <c:pt idx="38666">
                  <c:v>0.68960228286070901</c:v>
                </c:pt>
                <c:pt idx="38667">
                  <c:v>0.68962011771000498</c:v>
                </c:pt>
                <c:pt idx="38668">
                  <c:v>0.68963795255930005</c:v>
                </c:pt>
                <c:pt idx="38669">
                  <c:v>0.68965578740859601</c:v>
                </c:pt>
                <c:pt idx="38670">
                  <c:v>0.68967362225789197</c:v>
                </c:pt>
                <c:pt idx="38671">
                  <c:v>0.68969145710718704</c:v>
                </c:pt>
                <c:pt idx="38672">
                  <c:v>0.68970929195648301</c:v>
                </c:pt>
                <c:pt idx="38673">
                  <c:v>0.68972712680577797</c:v>
                </c:pt>
                <c:pt idx="38674">
                  <c:v>0.68974496165507404</c:v>
                </c:pt>
                <c:pt idx="38675">
                  <c:v>0.689762796504369</c:v>
                </c:pt>
                <c:pt idx="38676">
                  <c:v>0.68978063135366496</c:v>
                </c:pt>
                <c:pt idx="38677">
                  <c:v>0.68979846620296004</c:v>
                </c:pt>
                <c:pt idx="38678">
                  <c:v>0.689816301052256</c:v>
                </c:pt>
                <c:pt idx="38679">
                  <c:v>0.68983413590155096</c:v>
                </c:pt>
                <c:pt idx="38680">
                  <c:v>0.68985197075084703</c:v>
                </c:pt>
                <c:pt idx="38681">
                  <c:v>0.68986980560014199</c:v>
                </c:pt>
                <c:pt idx="38682">
                  <c:v>0.68988764044943796</c:v>
                </c:pt>
                <c:pt idx="38683">
                  <c:v>0.68990547529873303</c:v>
                </c:pt>
                <c:pt idx="38684">
                  <c:v>0.68992331014802899</c:v>
                </c:pt>
                <c:pt idx="38685">
                  <c:v>0.68994114499732395</c:v>
                </c:pt>
                <c:pt idx="38686">
                  <c:v>0.68995897984662002</c:v>
                </c:pt>
                <c:pt idx="38687">
                  <c:v>0.68997681469591499</c:v>
                </c:pt>
                <c:pt idx="38688">
                  <c:v>0.68999464954521095</c:v>
                </c:pt>
                <c:pt idx="38689">
                  <c:v>0.69001248439450602</c:v>
                </c:pt>
                <c:pt idx="38690">
                  <c:v>0.69003031924380198</c:v>
                </c:pt>
                <c:pt idx="38691">
                  <c:v>0.69004815409309705</c:v>
                </c:pt>
                <c:pt idx="38692">
                  <c:v>0.69006598894239302</c:v>
                </c:pt>
                <c:pt idx="38693">
                  <c:v>0.69008382379168898</c:v>
                </c:pt>
                <c:pt idx="38694">
                  <c:v>0.69010165864098405</c:v>
                </c:pt>
                <c:pt idx="38695">
                  <c:v>0.69011949349028001</c:v>
                </c:pt>
                <c:pt idx="38696">
                  <c:v>0.69013732833957497</c:v>
                </c:pt>
                <c:pt idx="38697">
                  <c:v>0.69015516318887105</c:v>
                </c:pt>
                <c:pt idx="38698">
                  <c:v>0.69017299803816601</c:v>
                </c:pt>
                <c:pt idx="38699">
                  <c:v>0.69019083288746197</c:v>
                </c:pt>
                <c:pt idx="38700">
                  <c:v>0.69020866773675704</c:v>
                </c:pt>
                <c:pt idx="38701">
                  <c:v>0.690226502586053</c:v>
                </c:pt>
                <c:pt idx="38702">
                  <c:v>0.69024433743534797</c:v>
                </c:pt>
                <c:pt idx="38703">
                  <c:v>0.69026217228464404</c:v>
                </c:pt>
                <c:pt idx="38704">
                  <c:v>0.690280007133939</c:v>
                </c:pt>
                <c:pt idx="38705">
                  <c:v>0.69029784198323496</c:v>
                </c:pt>
                <c:pt idx="38706">
                  <c:v>0.69031567683253003</c:v>
                </c:pt>
                <c:pt idx="38707">
                  <c:v>0.690333511681826</c:v>
                </c:pt>
                <c:pt idx="38708">
                  <c:v>0.69035134653112096</c:v>
                </c:pt>
                <c:pt idx="38709">
                  <c:v>0.69036918138041703</c:v>
                </c:pt>
                <c:pt idx="38710">
                  <c:v>0.69038701622971199</c:v>
                </c:pt>
                <c:pt idx="38711">
                  <c:v>0.69040485107900795</c:v>
                </c:pt>
                <c:pt idx="38712">
                  <c:v>0.69042268592830303</c:v>
                </c:pt>
                <c:pt idx="38713">
                  <c:v>0.69044052077759899</c:v>
                </c:pt>
                <c:pt idx="38714">
                  <c:v>0.69045835562689495</c:v>
                </c:pt>
                <c:pt idx="38715">
                  <c:v>0.69047619047619002</c:v>
                </c:pt>
                <c:pt idx="38716">
                  <c:v>0.69049402532548598</c:v>
                </c:pt>
                <c:pt idx="38717">
                  <c:v>0.69051186017478094</c:v>
                </c:pt>
                <c:pt idx="38718">
                  <c:v>0.69052969502407702</c:v>
                </c:pt>
                <c:pt idx="38719">
                  <c:v>0.69054752987337198</c:v>
                </c:pt>
                <c:pt idx="38720">
                  <c:v>0.69056536472266805</c:v>
                </c:pt>
                <c:pt idx="38721">
                  <c:v>0.69058319957196301</c:v>
                </c:pt>
                <c:pt idx="38722">
                  <c:v>0.69060103442125897</c:v>
                </c:pt>
                <c:pt idx="38723">
                  <c:v>0.69061886927055405</c:v>
                </c:pt>
                <c:pt idx="38724">
                  <c:v>0.69063670411985001</c:v>
                </c:pt>
                <c:pt idx="38725">
                  <c:v>0.69065453896914497</c:v>
                </c:pt>
                <c:pt idx="38726">
                  <c:v>0.69067237381844104</c:v>
                </c:pt>
                <c:pt idx="38727">
                  <c:v>0.69069020866773601</c:v>
                </c:pt>
                <c:pt idx="38728">
                  <c:v>0.69070804351703197</c:v>
                </c:pt>
                <c:pt idx="38729">
                  <c:v>0.69072587836632704</c:v>
                </c:pt>
                <c:pt idx="38730">
                  <c:v>0.690743713215623</c:v>
                </c:pt>
                <c:pt idx="38731">
                  <c:v>0.69076154806491796</c:v>
                </c:pt>
                <c:pt idx="38732">
                  <c:v>0.69077938291421404</c:v>
                </c:pt>
                <c:pt idx="38733">
                  <c:v>0.690797217763509</c:v>
                </c:pt>
                <c:pt idx="38734">
                  <c:v>0.69081505261280496</c:v>
                </c:pt>
                <c:pt idx="38735">
                  <c:v>0.69083288746210003</c:v>
                </c:pt>
                <c:pt idx="38736">
                  <c:v>0.69085072231139599</c:v>
                </c:pt>
                <c:pt idx="38737">
                  <c:v>0.69086855716069195</c:v>
                </c:pt>
                <c:pt idx="38738">
                  <c:v>0.69088639200998703</c:v>
                </c:pt>
                <c:pt idx="38739">
                  <c:v>0.69090422685928299</c:v>
                </c:pt>
                <c:pt idx="38740">
                  <c:v>0.69092206170857795</c:v>
                </c:pt>
                <c:pt idx="38741">
                  <c:v>0.69093989655787402</c:v>
                </c:pt>
                <c:pt idx="38742">
                  <c:v>0.69095773140716898</c:v>
                </c:pt>
                <c:pt idx="38743">
                  <c:v>0.69097556625646495</c:v>
                </c:pt>
                <c:pt idx="38744">
                  <c:v>0.69099340110576002</c:v>
                </c:pt>
                <c:pt idx="38745">
                  <c:v>0.69101123595505598</c:v>
                </c:pt>
                <c:pt idx="38746">
                  <c:v>0.69102907080435105</c:v>
                </c:pt>
                <c:pt idx="38747">
                  <c:v>0.69104690565364701</c:v>
                </c:pt>
                <c:pt idx="38748">
                  <c:v>0.69106474050294198</c:v>
                </c:pt>
                <c:pt idx="38749">
                  <c:v>0.69108257535223805</c:v>
                </c:pt>
                <c:pt idx="38750">
                  <c:v>0.69110041020153301</c:v>
                </c:pt>
                <c:pt idx="38751">
                  <c:v>0.69111824505082897</c:v>
                </c:pt>
                <c:pt idx="38752">
                  <c:v>0.69113607990012405</c:v>
                </c:pt>
                <c:pt idx="38753">
                  <c:v>0.69115391474942001</c:v>
                </c:pt>
                <c:pt idx="38754">
                  <c:v>0.69117174959871497</c:v>
                </c:pt>
                <c:pt idx="38755">
                  <c:v>0.69118958444801104</c:v>
                </c:pt>
                <c:pt idx="38756">
                  <c:v>0.691207419297306</c:v>
                </c:pt>
                <c:pt idx="38757">
                  <c:v>0.69122525414660196</c:v>
                </c:pt>
                <c:pt idx="38758">
                  <c:v>0.69124308899589804</c:v>
                </c:pt>
                <c:pt idx="38759">
                  <c:v>0.691260923845193</c:v>
                </c:pt>
                <c:pt idx="38760">
                  <c:v>0.69127875869448896</c:v>
                </c:pt>
                <c:pt idx="38761">
                  <c:v>0.69129659354378403</c:v>
                </c:pt>
                <c:pt idx="38762">
                  <c:v>0.69131442839307999</c:v>
                </c:pt>
                <c:pt idx="38763">
                  <c:v>0.69133226324237496</c:v>
                </c:pt>
                <c:pt idx="38764">
                  <c:v>0.69135009809167103</c:v>
                </c:pt>
                <c:pt idx="38765">
                  <c:v>0.69136793294096599</c:v>
                </c:pt>
                <c:pt idx="38766">
                  <c:v>0.69138576779026195</c:v>
                </c:pt>
                <c:pt idx="38767">
                  <c:v>0.69140360263955702</c:v>
                </c:pt>
                <c:pt idx="38768">
                  <c:v>0.69142143748885299</c:v>
                </c:pt>
                <c:pt idx="38769">
                  <c:v>0.69143927233814795</c:v>
                </c:pt>
                <c:pt idx="38770">
                  <c:v>0.69145710718744402</c:v>
                </c:pt>
                <c:pt idx="38771">
                  <c:v>0.69147494203673898</c:v>
                </c:pt>
                <c:pt idx="38772">
                  <c:v>0.69149277688603505</c:v>
                </c:pt>
                <c:pt idx="38773">
                  <c:v>0.69151061173533002</c:v>
                </c:pt>
                <c:pt idx="38774">
                  <c:v>0.69152844658462598</c:v>
                </c:pt>
                <c:pt idx="38775">
                  <c:v>0.69154628143392105</c:v>
                </c:pt>
                <c:pt idx="38776">
                  <c:v>0.69156411628321701</c:v>
                </c:pt>
                <c:pt idx="38777">
                  <c:v>0.69158195113251297</c:v>
                </c:pt>
                <c:pt idx="38778">
                  <c:v>0.69159978598180805</c:v>
                </c:pt>
                <c:pt idx="38779">
                  <c:v>0.69161762083110401</c:v>
                </c:pt>
                <c:pt idx="38780">
                  <c:v>0.69163545568039897</c:v>
                </c:pt>
                <c:pt idx="38781">
                  <c:v>0.69165329052969504</c:v>
                </c:pt>
                <c:pt idx="38782">
                  <c:v>0.69167112537899</c:v>
                </c:pt>
                <c:pt idx="38783">
                  <c:v>0.69168896022828597</c:v>
                </c:pt>
                <c:pt idx="38784">
                  <c:v>0.69170679507758104</c:v>
                </c:pt>
                <c:pt idx="38785">
                  <c:v>0.691724629926877</c:v>
                </c:pt>
                <c:pt idx="38786">
                  <c:v>0.69174246477617196</c:v>
                </c:pt>
                <c:pt idx="38787">
                  <c:v>0.69176029962546803</c:v>
                </c:pt>
                <c:pt idx="38788">
                  <c:v>0.691778134474763</c:v>
                </c:pt>
                <c:pt idx="38789">
                  <c:v>0.69179596932405896</c:v>
                </c:pt>
                <c:pt idx="38790">
                  <c:v>0.69181380417335403</c:v>
                </c:pt>
                <c:pt idx="38791">
                  <c:v>0.69183163902264999</c:v>
                </c:pt>
                <c:pt idx="38792">
                  <c:v>0.69184947387194495</c:v>
                </c:pt>
                <c:pt idx="38793">
                  <c:v>0.69186730872124103</c:v>
                </c:pt>
                <c:pt idx="38794">
                  <c:v>0.69188514357053599</c:v>
                </c:pt>
                <c:pt idx="38795">
                  <c:v>0.69190297841983195</c:v>
                </c:pt>
                <c:pt idx="38796">
                  <c:v>0.69192081326912702</c:v>
                </c:pt>
                <c:pt idx="38797">
                  <c:v>0.69193864811842298</c:v>
                </c:pt>
                <c:pt idx="38798">
                  <c:v>0.69195648296771795</c:v>
                </c:pt>
                <c:pt idx="38799">
                  <c:v>0.69197431781701402</c:v>
                </c:pt>
                <c:pt idx="38800">
                  <c:v>0.69199215266630998</c:v>
                </c:pt>
                <c:pt idx="38801">
                  <c:v>0.69200998751560505</c:v>
                </c:pt>
                <c:pt idx="38802">
                  <c:v>0.69202782236490101</c:v>
                </c:pt>
                <c:pt idx="38803">
                  <c:v>0.69204565721419598</c:v>
                </c:pt>
                <c:pt idx="38804">
                  <c:v>0.69206349206349205</c:v>
                </c:pt>
                <c:pt idx="38805">
                  <c:v>0.69208132691278701</c:v>
                </c:pt>
                <c:pt idx="38806">
                  <c:v>0.69209916176208297</c:v>
                </c:pt>
                <c:pt idx="38807">
                  <c:v>0.69211699661137804</c:v>
                </c:pt>
                <c:pt idx="38808">
                  <c:v>0.692134831460674</c:v>
                </c:pt>
                <c:pt idx="38809">
                  <c:v>0.69215266630996897</c:v>
                </c:pt>
                <c:pt idx="38810">
                  <c:v>0.69217050115926504</c:v>
                </c:pt>
                <c:pt idx="38811">
                  <c:v>0.69218833600856</c:v>
                </c:pt>
                <c:pt idx="38812">
                  <c:v>0.69220617085785596</c:v>
                </c:pt>
                <c:pt idx="38813">
                  <c:v>0.69222400570715104</c:v>
                </c:pt>
                <c:pt idx="38814">
                  <c:v>0.692241840556447</c:v>
                </c:pt>
                <c:pt idx="38815">
                  <c:v>0.69225967540574196</c:v>
                </c:pt>
                <c:pt idx="38816">
                  <c:v>0.69227751025503803</c:v>
                </c:pt>
                <c:pt idx="38817">
                  <c:v>0.69229534510433299</c:v>
                </c:pt>
                <c:pt idx="38818">
                  <c:v>0.69231317995362895</c:v>
                </c:pt>
                <c:pt idx="38819">
                  <c:v>0.69233101480292403</c:v>
                </c:pt>
                <c:pt idx="38820">
                  <c:v>0.69234884965221999</c:v>
                </c:pt>
                <c:pt idx="38821">
                  <c:v>0.69236668450151595</c:v>
                </c:pt>
                <c:pt idx="38822">
                  <c:v>0.69238451935081102</c:v>
                </c:pt>
                <c:pt idx="38823">
                  <c:v>0.69240235420010698</c:v>
                </c:pt>
                <c:pt idx="38824">
                  <c:v>0.69242018904940195</c:v>
                </c:pt>
                <c:pt idx="38825">
                  <c:v>0.69243802389869802</c:v>
                </c:pt>
                <c:pt idx="38826">
                  <c:v>0.69245585874799298</c:v>
                </c:pt>
                <c:pt idx="38827">
                  <c:v>0.69247369359728905</c:v>
                </c:pt>
                <c:pt idx="38828">
                  <c:v>0.69249152844658401</c:v>
                </c:pt>
                <c:pt idx="38829">
                  <c:v>0.69250936329587998</c:v>
                </c:pt>
                <c:pt idx="38830">
                  <c:v>0.69252719814517505</c:v>
                </c:pt>
                <c:pt idx="38831">
                  <c:v>0.69254503299447101</c:v>
                </c:pt>
                <c:pt idx="38832">
                  <c:v>0.69256286784376597</c:v>
                </c:pt>
                <c:pt idx="38833">
                  <c:v>0.69258070269306204</c:v>
                </c:pt>
                <c:pt idx="38834">
                  <c:v>0.69259853754235701</c:v>
                </c:pt>
                <c:pt idx="38835">
                  <c:v>0.69261637239165297</c:v>
                </c:pt>
                <c:pt idx="38836">
                  <c:v>0.69263420724094804</c:v>
                </c:pt>
                <c:pt idx="38837">
                  <c:v>0.692652042090244</c:v>
                </c:pt>
                <c:pt idx="38838">
                  <c:v>0.69266987693953896</c:v>
                </c:pt>
                <c:pt idx="38839">
                  <c:v>0.69268771178883504</c:v>
                </c:pt>
                <c:pt idx="38840">
                  <c:v>0.69270554663813</c:v>
                </c:pt>
                <c:pt idx="38841">
                  <c:v>0.69272338148742596</c:v>
                </c:pt>
                <c:pt idx="38842">
                  <c:v>0.69274121633672103</c:v>
                </c:pt>
                <c:pt idx="38843">
                  <c:v>0.69275905118601699</c:v>
                </c:pt>
                <c:pt idx="38844">
                  <c:v>0.69277688603531296</c:v>
                </c:pt>
                <c:pt idx="38845">
                  <c:v>0.69279472088460803</c:v>
                </c:pt>
                <c:pt idx="38846">
                  <c:v>0.69281255573390399</c:v>
                </c:pt>
                <c:pt idx="38847">
                  <c:v>0.69283039058319895</c:v>
                </c:pt>
                <c:pt idx="38848">
                  <c:v>0.69284822543249502</c:v>
                </c:pt>
                <c:pt idx="38849">
                  <c:v>0.69286606028178999</c:v>
                </c:pt>
                <c:pt idx="38850">
                  <c:v>0.69288389513108595</c:v>
                </c:pt>
                <c:pt idx="38851">
                  <c:v>0.69290172998038102</c:v>
                </c:pt>
                <c:pt idx="38852">
                  <c:v>0.69291956482967698</c:v>
                </c:pt>
                <c:pt idx="38853">
                  <c:v>0.69293739967897205</c:v>
                </c:pt>
                <c:pt idx="38854">
                  <c:v>0.69295523452826802</c:v>
                </c:pt>
                <c:pt idx="38855">
                  <c:v>0.69297306937756298</c:v>
                </c:pt>
                <c:pt idx="38856">
                  <c:v>0.69299090422685905</c:v>
                </c:pt>
                <c:pt idx="38857">
                  <c:v>0.69300873907615401</c:v>
                </c:pt>
                <c:pt idx="38858">
                  <c:v>0.69302657392544997</c:v>
                </c:pt>
                <c:pt idx="38859">
                  <c:v>0.69304440877474505</c:v>
                </c:pt>
                <c:pt idx="38860">
                  <c:v>0.69306224362404101</c:v>
                </c:pt>
                <c:pt idx="38861">
                  <c:v>0.69308007847333597</c:v>
                </c:pt>
                <c:pt idx="38862">
                  <c:v>0.69309791332263204</c:v>
                </c:pt>
                <c:pt idx="38863">
                  <c:v>0.693115748171927</c:v>
                </c:pt>
                <c:pt idx="38864">
                  <c:v>0.69313358302122297</c:v>
                </c:pt>
                <c:pt idx="38865">
                  <c:v>0.69315141787051904</c:v>
                </c:pt>
                <c:pt idx="38866">
                  <c:v>0.693169252719814</c:v>
                </c:pt>
                <c:pt idx="38867">
                  <c:v>0.69318708756910996</c:v>
                </c:pt>
                <c:pt idx="38868">
                  <c:v>0.69320492241840503</c:v>
                </c:pt>
                <c:pt idx="38869">
                  <c:v>0.693222757267701</c:v>
                </c:pt>
                <c:pt idx="38870">
                  <c:v>0.69324059211699596</c:v>
                </c:pt>
                <c:pt idx="38871">
                  <c:v>0.69325842696629203</c:v>
                </c:pt>
                <c:pt idx="38872">
                  <c:v>0.69327626181558699</c:v>
                </c:pt>
                <c:pt idx="38873">
                  <c:v>0.69329409666488295</c:v>
                </c:pt>
                <c:pt idx="38874">
                  <c:v>0.69331193151417803</c:v>
                </c:pt>
                <c:pt idx="38875">
                  <c:v>0.69332976636347399</c:v>
                </c:pt>
                <c:pt idx="38876">
                  <c:v>0.69334760121276895</c:v>
                </c:pt>
                <c:pt idx="38877">
                  <c:v>0.69336543606206502</c:v>
                </c:pt>
                <c:pt idx="38878">
                  <c:v>0.69338327091135998</c:v>
                </c:pt>
                <c:pt idx="38879">
                  <c:v>0.69340110576065594</c:v>
                </c:pt>
                <c:pt idx="38880">
                  <c:v>0.69341894060995102</c:v>
                </c:pt>
                <c:pt idx="38881">
                  <c:v>0.69343677545924698</c:v>
                </c:pt>
                <c:pt idx="38882">
                  <c:v>0.69345461030854205</c:v>
                </c:pt>
                <c:pt idx="38883">
                  <c:v>0.69347244515783801</c:v>
                </c:pt>
                <c:pt idx="38884">
                  <c:v>0.69349028000713397</c:v>
                </c:pt>
                <c:pt idx="38885">
                  <c:v>0.69350811485642905</c:v>
                </c:pt>
                <c:pt idx="38886">
                  <c:v>0.69352594970572501</c:v>
                </c:pt>
                <c:pt idx="38887">
                  <c:v>0.69354378455501997</c:v>
                </c:pt>
                <c:pt idx="38888">
                  <c:v>0.69356161940431604</c:v>
                </c:pt>
                <c:pt idx="38889">
                  <c:v>0.69357945425361101</c:v>
                </c:pt>
                <c:pt idx="38890">
                  <c:v>0.69359728910290697</c:v>
                </c:pt>
                <c:pt idx="38891">
                  <c:v>0.69361512395220204</c:v>
                </c:pt>
                <c:pt idx="38892">
                  <c:v>0.693632958801498</c:v>
                </c:pt>
                <c:pt idx="38893">
                  <c:v>0.69365079365079296</c:v>
                </c:pt>
                <c:pt idx="38894">
                  <c:v>0.69366862850008904</c:v>
                </c:pt>
                <c:pt idx="38895">
                  <c:v>0.693686463349384</c:v>
                </c:pt>
                <c:pt idx="38896">
                  <c:v>0.69370429819867996</c:v>
                </c:pt>
                <c:pt idx="38897">
                  <c:v>0.69372213304797503</c:v>
                </c:pt>
                <c:pt idx="38898">
                  <c:v>0.69373996789727099</c:v>
                </c:pt>
                <c:pt idx="38899">
                  <c:v>0.69375780274656595</c:v>
                </c:pt>
                <c:pt idx="38900">
                  <c:v>0.69377563759586203</c:v>
                </c:pt>
                <c:pt idx="38901">
                  <c:v>0.69379347244515699</c:v>
                </c:pt>
                <c:pt idx="38902">
                  <c:v>0.69381130729445295</c:v>
                </c:pt>
                <c:pt idx="38903">
                  <c:v>0.69382914214374802</c:v>
                </c:pt>
                <c:pt idx="38904">
                  <c:v>0.69384697699304398</c:v>
                </c:pt>
                <c:pt idx="38905">
                  <c:v>0.69386481184233995</c:v>
                </c:pt>
                <c:pt idx="38906">
                  <c:v>0.69388264669163502</c:v>
                </c:pt>
                <c:pt idx="38907">
                  <c:v>0.69390048154093098</c:v>
                </c:pt>
                <c:pt idx="38908">
                  <c:v>0.69391831639022605</c:v>
                </c:pt>
                <c:pt idx="38909">
                  <c:v>0.69393615123952201</c:v>
                </c:pt>
                <c:pt idx="38910">
                  <c:v>0.69395398608881698</c:v>
                </c:pt>
                <c:pt idx="38911">
                  <c:v>0.69397182093811305</c:v>
                </c:pt>
                <c:pt idx="38912">
                  <c:v>0.69398965578740801</c:v>
                </c:pt>
                <c:pt idx="38913">
                  <c:v>0.69400749063670397</c:v>
                </c:pt>
                <c:pt idx="38914">
                  <c:v>0.69402532548599905</c:v>
                </c:pt>
                <c:pt idx="38915">
                  <c:v>0.69404316033529501</c:v>
                </c:pt>
                <c:pt idx="38916">
                  <c:v>0.69406099518458997</c:v>
                </c:pt>
                <c:pt idx="38917">
                  <c:v>0.69407883003388604</c:v>
                </c:pt>
                <c:pt idx="38918">
                  <c:v>0.694096664883181</c:v>
                </c:pt>
                <c:pt idx="38919">
                  <c:v>0.69411449973247696</c:v>
                </c:pt>
                <c:pt idx="38920">
                  <c:v>0.69413233458177204</c:v>
                </c:pt>
                <c:pt idx="38921">
                  <c:v>0.694150169431068</c:v>
                </c:pt>
                <c:pt idx="38922">
                  <c:v>0.69416800428036296</c:v>
                </c:pt>
                <c:pt idx="38923">
                  <c:v>0.69418583912965903</c:v>
                </c:pt>
                <c:pt idx="38924">
                  <c:v>0.69420367397895399</c:v>
                </c:pt>
                <c:pt idx="38925">
                  <c:v>0.69422150882824996</c:v>
                </c:pt>
                <c:pt idx="38926">
                  <c:v>0.69423934367754503</c:v>
                </c:pt>
                <c:pt idx="38927">
                  <c:v>0.69425717852684099</c:v>
                </c:pt>
                <c:pt idx="38928">
                  <c:v>0.69427501337613695</c:v>
                </c:pt>
                <c:pt idx="38929">
                  <c:v>0.69429284822543202</c:v>
                </c:pt>
                <c:pt idx="38930">
                  <c:v>0.69431068307472799</c:v>
                </c:pt>
                <c:pt idx="38931">
                  <c:v>0.69432851792402295</c:v>
                </c:pt>
                <c:pt idx="38932">
                  <c:v>0.69434635277331902</c:v>
                </c:pt>
                <c:pt idx="38933">
                  <c:v>0.69436418762261398</c:v>
                </c:pt>
                <c:pt idx="38934">
                  <c:v>0.69438202247191005</c:v>
                </c:pt>
                <c:pt idx="38935">
                  <c:v>0.69439985732120502</c:v>
                </c:pt>
                <c:pt idx="38936">
                  <c:v>0.69441769217050098</c:v>
                </c:pt>
                <c:pt idx="38937">
                  <c:v>0.69443552701979605</c:v>
                </c:pt>
                <c:pt idx="38938">
                  <c:v>0.69445336186909201</c:v>
                </c:pt>
                <c:pt idx="38939">
                  <c:v>0.69447119671838697</c:v>
                </c:pt>
                <c:pt idx="38940">
                  <c:v>0.69448903156768305</c:v>
                </c:pt>
                <c:pt idx="38941">
                  <c:v>0.69450686641697801</c:v>
                </c:pt>
                <c:pt idx="38942">
                  <c:v>0.69452470126627397</c:v>
                </c:pt>
                <c:pt idx="38943">
                  <c:v>0.69454253611556904</c:v>
                </c:pt>
                <c:pt idx="38944">
                  <c:v>0.694560370964865</c:v>
                </c:pt>
                <c:pt idx="38945">
                  <c:v>0.69457820581415997</c:v>
                </c:pt>
                <c:pt idx="38946">
                  <c:v>0.69459604066345604</c:v>
                </c:pt>
                <c:pt idx="38947">
                  <c:v>0.694613875512751</c:v>
                </c:pt>
                <c:pt idx="38948">
                  <c:v>0.69463171036204696</c:v>
                </c:pt>
                <c:pt idx="38949">
                  <c:v>0.69464954521134203</c:v>
                </c:pt>
                <c:pt idx="38950">
                  <c:v>0.694667380060638</c:v>
                </c:pt>
                <c:pt idx="38951">
                  <c:v>0.69468521490993396</c:v>
                </c:pt>
                <c:pt idx="38952">
                  <c:v>0.69470304975922903</c:v>
                </c:pt>
                <c:pt idx="38953">
                  <c:v>0.69472088460852499</c:v>
                </c:pt>
                <c:pt idx="38954">
                  <c:v>0.69473871945781995</c:v>
                </c:pt>
                <c:pt idx="38955">
                  <c:v>0.69475655430711603</c:v>
                </c:pt>
                <c:pt idx="38956">
                  <c:v>0.69477438915641099</c:v>
                </c:pt>
                <c:pt idx="38957">
                  <c:v>0.69479222400570695</c:v>
                </c:pt>
                <c:pt idx="38958">
                  <c:v>0.69481005885500202</c:v>
                </c:pt>
                <c:pt idx="38959">
                  <c:v>0.69482789370429798</c:v>
                </c:pt>
                <c:pt idx="38960">
                  <c:v>0.69484572855359295</c:v>
                </c:pt>
                <c:pt idx="38961">
                  <c:v>0.69486356340288902</c:v>
                </c:pt>
                <c:pt idx="38962">
                  <c:v>0.69488139825218398</c:v>
                </c:pt>
                <c:pt idx="38963">
                  <c:v>0.69489923310148005</c:v>
                </c:pt>
                <c:pt idx="38964">
                  <c:v>0.69491706795077501</c:v>
                </c:pt>
                <c:pt idx="38965">
                  <c:v>0.69493490280007097</c:v>
                </c:pt>
                <c:pt idx="38966">
                  <c:v>0.69495273764936605</c:v>
                </c:pt>
                <c:pt idx="38967">
                  <c:v>0.69497057249866201</c:v>
                </c:pt>
                <c:pt idx="38968">
                  <c:v>0.69498840734795697</c:v>
                </c:pt>
                <c:pt idx="38969">
                  <c:v>0.69500624219725304</c:v>
                </c:pt>
                <c:pt idx="38970">
                  <c:v>0.695024077046549</c:v>
                </c:pt>
                <c:pt idx="38971">
                  <c:v>0.69504191189584397</c:v>
                </c:pt>
                <c:pt idx="38972">
                  <c:v>0.69505974674514004</c:v>
                </c:pt>
                <c:pt idx="38973">
                  <c:v>0.695077581594435</c:v>
                </c:pt>
                <c:pt idx="38974">
                  <c:v>0.69509541644373096</c:v>
                </c:pt>
                <c:pt idx="38975">
                  <c:v>0.69511325129302604</c:v>
                </c:pt>
                <c:pt idx="38976">
                  <c:v>0.695131086142322</c:v>
                </c:pt>
                <c:pt idx="38977">
                  <c:v>0.69514892099161696</c:v>
                </c:pt>
                <c:pt idx="38978">
                  <c:v>0.69516675584091303</c:v>
                </c:pt>
                <c:pt idx="38979">
                  <c:v>0.69518459069020799</c:v>
                </c:pt>
                <c:pt idx="38980">
                  <c:v>0.69520242553950395</c:v>
                </c:pt>
                <c:pt idx="38981">
                  <c:v>0.69522026038879903</c:v>
                </c:pt>
                <c:pt idx="38982">
                  <c:v>0.69523809523809499</c:v>
                </c:pt>
                <c:pt idx="38983">
                  <c:v>0.69525593008738995</c:v>
                </c:pt>
                <c:pt idx="38984">
                  <c:v>0.69527376493668602</c:v>
                </c:pt>
                <c:pt idx="38985">
                  <c:v>0.69529159978598098</c:v>
                </c:pt>
                <c:pt idx="38986">
                  <c:v>0.69530943463527695</c:v>
                </c:pt>
                <c:pt idx="38987">
                  <c:v>0.69532726948457202</c:v>
                </c:pt>
                <c:pt idx="38988">
                  <c:v>0.69534510433386798</c:v>
                </c:pt>
                <c:pt idx="38989">
                  <c:v>0.69536293918316305</c:v>
                </c:pt>
                <c:pt idx="38990">
                  <c:v>0.69538077403245901</c:v>
                </c:pt>
                <c:pt idx="38991">
                  <c:v>0.69539860888175498</c:v>
                </c:pt>
                <c:pt idx="38992">
                  <c:v>0.69541644373105005</c:v>
                </c:pt>
                <c:pt idx="38993">
                  <c:v>0.69543427858034601</c:v>
                </c:pt>
                <c:pt idx="38994">
                  <c:v>0.69545211342964097</c:v>
                </c:pt>
                <c:pt idx="38995">
                  <c:v>0.69546994827893704</c:v>
                </c:pt>
                <c:pt idx="38996">
                  <c:v>0.69548778312823201</c:v>
                </c:pt>
                <c:pt idx="38997">
                  <c:v>0.69550561797752797</c:v>
                </c:pt>
                <c:pt idx="38998">
                  <c:v>0.69552345282682304</c:v>
                </c:pt>
                <c:pt idx="38999">
                  <c:v>0.695541287676119</c:v>
                </c:pt>
                <c:pt idx="39000">
                  <c:v>0.69555912252541396</c:v>
                </c:pt>
                <c:pt idx="39001">
                  <c:v>0.69557695737471004</c:v>
                </c:pt>
                <c:pt idx="39002">
                  <c:v>0.695594792224005</c:v>
                </c:pt>
                <c:pt idx="39003">
                  <c:v>0.69561262707330096</c:v>
                </c:pt>
                <c:pt idx="39004">
                  <c:v>0.69563046192259603</c:v>
                </c:pt>
                <c:pt idx="39005">
                  <c:v>0.69564829677189199</c:v>
                </c:pt>
                <c:pt idx="39006">
                  <c:v>0.69566613162118696</c:v>
                </c:pt>
                <c:pt idx="39007">
                  <c:v>0.69568396647048303</c:v>
                </c:pt>
                <c:pt idx="39008">
                  <c:v>0.69570180131977799</c:v>
                </c:pt>
                <c:pt idx="39009">
                  <c:v>0.69571963616907395</c:v>
                </c:pt>
                <c:pt idx="39010">
                  <c:v>0.69573747101836902</c:v>
                </c:pt>
                <c:pt idx="39011">
                  <c:v>0.69575530586766499</c:v>
                </c:pt>
                <c:pt idx="39012">
                  <c:v>0.69577314071696095</c:v>
                </c:pt>
                <c:pt idx="39013">
                  <c:v>0.69579097556625602</c:v>
                </c:pt>
                <c:pt idx="39014">
                  <c:v>0.69580881041555198</c:v>
                </c:pt>
                <c:pt idx="39015">
                  <c:v>0.69582664526484705</c:v>
                </c:pt>
                <c:pt idx="39016">
                  <c:v>0.69584448011414302</c:v>
                </c:pt>
                <c:pt idx="39017">
                  <c:v>0.69586231496343798</c:v>
                </c:pt>
                <c:pt idx="39018">
                  <c:v>0.69588014981273405</c:v>
                </c:pt>
                <c:pt idx="39019">
                  <c:v>0.69589798466202901</c:v>
                </c:pt>
                <c:pt idx="39020">
                  <c:v>0.69591581951132497</c:v>
                </c:pt>
                <c:pt idx="39021">
                  <c:v>0.69593365436062005</c:v>
                </c:pt>
                <c:pt idx="39022">
                  <c:v>0.69595148920991601</c:v>
                </c:pt>
                <c:pt idx="39023">
                  <c:v>0.69596932405921097</c:v>
                </c:pt>
                <c:pt idx="39024">
                  <c:v>0.69598715890850704</c:v>
                </c:pt>
                <c:pt idx="39025">
                  <c:v>0.696004993757802</c:v>
                </c:pt>
                <c:pt idx="39026">
                  <c:v>0.69602282860709797</c:v>
                </c:pt>
                <c:pt idx="39027">
                  <c:v>0.69604066345639304</c:v>
                </c:pt>
                <c:pt idx="39028">
                  <c:v>0.696058498305689</c:v>
                </c:pt>
                <c:pt idx="39029">
                  <c:v>0.69607633315498396</c:v>
                </c:pt>
                <c:pt idx="39030">
                  <c:v>0.69609416800428003</c:v>
                </c:pt>
                <c:pt idx="39031">
                  <c:v>0.696112002853575</c:v>
                </c:pt>
                <c:pt idx="39032">
                  <c:v>0.69612983770287096</c:v>
                </c:pt>
                <c:pt idx="39033">
                  <c:v>0.69614767255216603</c:v>
                </c:pt>
                <c:pt idx="39034">
                  <c:v>0.69616550740146199</c:v>
                </c:pt>
                <c:pt idx="39035">
                  <c:v>0.69618334225075795</c:v>
                </c:pt>
                <c:pt idx="39036">
                  <c:v>0.69620117710005303</c:v>
                </c:pt>
                <c:pt idx="39037">
                  <c:v>0.69621901194934899</c:v>
                </c:pt>
                <c:pt idx="39038">
                  <c:v>0.69623684679864395</c:v>
                </c:pt>
                <c:pt idx="39039">
                  <c:v>0.69625468164794002</c:v>
                </c:pt>
                <c:pt idx="39040">
                  <c:v>0.69627251649723498</c:v>
                </c:pt>
                <c:pt idx="39041">
                  <c:v>0.69629035134653094</c:v>
                </c:pt>
                <c:pt idx="39042">
                  <c:v>0.69630818619582602</c:v>
                </c:pt>
                <c:pt idx="39043">
                  <c:v>0.69632602104512198</c:v>
                </c:pt>
                <c:pt idx="39044">
                  <c:v>0.69634385589441705</c:v>
                </c:pt>
                <c:pt idx="39045">
                  <c:v>0.69636169074371301</c:v>
                </c:pt>
                <c:pt idx="39046">
                  <c:v>0.69637952559300798</c:v>
                </c:pt>
                <c:pt idx="39047">
                  <c:v>0.69639736044230405</c:v>
                </c:pt>
                <c:pt idx="39048">
                  <c:v>0.69641519529159901</c:v>
                </c:pt>
                <c:pt idx="39049">
                  <c:v>0.69643303014089497</c:v>
                </c:pt>
                <c:pt idx="39050">
                  <c:v>0.69645086499019004</c:v>
                </c:pt>
                <c:pt idx="39051">
                  <c:v>0.69646869983948601</c:v>
                </c:pt>
                <c:pt idx="39052">
                  <c:v>0.69648653468878097</c:v>
                </c:pt>
                <c:pt idx="39053">
                  <c:v>0.69650436953807704</c:v>
                </c:pt>
                <c:pt idx="39054">
                  <c:v>0.696522204387372</c:v>
                </c:pt>
                <c:pt idx="39055">
                  <c:v>0.69654003923666796</c:v>
                </c:pt>
                <c:pt idx="39056">
                  <c:v>0.69655787408596304</c:v>
                </c:pt>
                <c:pt idx="39057">
                  <c:v>0.696575708935259</c:v>
                </c:pt>
                <c:pt idx="39058">
                  <c:v>0.69659354378455496</c:v>
                </c:pt>
                <c:pt idx="39059">
                  <c:v>0.69661137863385003</c:v>
                </c:pt>
                <c:pt idx="39060">
                  <c:v>0.69662921348314599</c:v>
                </c:pt>
                <c:pt idx="39061">
                  <c:v>0.69664704833244095</c:v>
                </c:pt>
                <c:pt idx="39062">
                  <c:v>0.69666488318173703</c:v>
                </c:pt>
                <c:pt idx="39063">
                  <c:v>0.69668271803103199</c:v>
                </c:pt>
                <c:pt idx="39064">
                  <c:v>0.69670055288032795</c:v>
                </c:pt>
                <c:pt idx="39065">
                  <c:v>0.69671838772962302</c:v>
                </c:pt>
                <c:pt idx="39066">
                  <c:v>0.69673622257891898</c:v>
                </c:pt>
                <c:pt idx="39067">
                  <c:v>0.69675405742821395</c:v>
                </c:pt>
                <c:pt idx="39068">
                  <c:v>0.69677189227751002</c:v>
                </c:pt>
                <c:pt idx="39069">
                  <c:v>0.69678972712680498</c:v>
                </c:pt>
                <c:pt idx="39070">
                  <c:v>0.69680756197610105</c:v>
                </c:pt>
                <c:pt idx="39071">
                  <c:v>0.69682539682539602</c:v>
                </c:pt>
                <c:pt idx="39072">
                  <c:v>0.69684323167469198</c:v>
                </c:pt>
                <c:pt idx="39073">
                  <c:v>0.69686106652398705</c:v>
                </c:pt>
                <c:pt idx="39074">
                  <c:v>0.69687890137328301</c:v>
                </c:pt>
                <c:pt idx="39075">
                  <c:v>0.69689673622257897</c:v>
                </c:pt>
                <c:pt idx="39076">
                  <c:v>0.69691457107187404</c:v>
                </c:pt>
                <c:pt idx="39077">
                  <c:v>0.69693240592117001</c:v>
                </c:pt>
                <c:pt idx="39078">
                  <c:v>0.69695024077046497</c:v>
                </c:pt>
                <c:pt idx="39079">
                  <c:v>0.69696807561976104</c:v>
                </c:pt>
                <c:pt idx="39080">
                  <c:v>0.696985910469056</c:v>
                </c:pt>
                <c:pt idx="39081">
                  <c:v>0.69700374531835196</c:v>
                </c:pt>
                <c:pt idx="39082">
                  <c:v>0.69702158016764704</c:v>
                </c:pt>
                <c:pt idx="39083">
                  <c:v>0.697039415016943</c:v>
                </c:pt>
                <c:pt idx="39084">
                  <c:v>0.69705724986623796</c:v>
                </c:pt>
                <c:pt idx="39085">
                  <c:v>0.69707508471553403</c:v>
                </c:pt>
                <c:pt idx="39086">
                  <c:v>0.69709291956482899</c:v>
                </c:pt>
                <c:pt idx="39087">
                  <c:v>0.69711075441412496</c:v>
                </c:pt>
                <c:pt idx="39088">
                  <c:v>0.69712858926342003</c:v>
                </c:pt>
                <c:pt idx="39089">
                  <c:v>0.69714642411271599</c:v>
                </c:pt>
                <c:pt idx="39090">
                  <c:v>0.69716425896201095</c:v>
                </c:pt>
                <c:pt idx="39091">
                  <c:v>0.69718209381130702</c:v>
                </c:pt>
                <c:pt idx="39092">
                  <c:v>0.69719992866060199</c:v>
                </c:pt>
                <c:pt idx="39093">
                  <c:v>0.69721776350989795</c:v>
                </c:pt>
                <c:pt idx="39094">
                  <c:v>0.69723559835919302</c:v>
                </c:pt>
                <c:pt idx="39095">
                  <c:v>0.69725343320848898</c:v>
                </c:pt>
                <c:pt idx="39096">
                  <c:v>0.69727126805778405</c:v>
                </c:pt>
                <c:pt idx="39097">
                  <c:v>0.69728910290708002</c:v>
                </c:pt>
                <c:pt idx="39098">
                  <c:v>0.69730693775637598</c:v>
                </c:pt>
                <c:pt idx="39099">
                  <c:v>0.69732477260567105</c:v>
                </c:pt>
                <c:pt idx="39100">
                  <c:v>0.69734260745496701</c:v>
                </c:pt>
                <c:pt idx="39101">
                  <c:v>0.69736044230426197</c:v>
                </c:pt>
                <c:pt idx="39102">
                  <c:v>0.69737827715355805</c:v>
                </c:pt>
                <c:pt idx="39103">
                  <c:v>0.69739611200285301</c:v>
                </c:pt>
                <c:pt idx="39104">
                  <c:v>0.69741394685214897</c:v>
                </c:pt>
                <c:pt idx="39105">
                  <c:v>0.69743178170144404</c:v>
                </c:pt>
                <c:pt idx="39106">
                  <c:v>0.69744961655074</c:v>
                </c:pt>
                <c:pt idx="39107">
                  <c:v>0.69746745140003497</c:v>
                </c:pt>
                <c:pt idx="39108">
                  <c:v>0.69748528624933104</c:v>
                </c:pt>
                <c:pt idx="39109">
                  <c:v>0.697503121098626</c:v>
                </c:pt>
                <c:pt idx="39110">
                  <c:v>0.69752095594792196</c:v>
                </c:pt>
                <c:pt idx="39111">
                  <c:v>0.69753879079721703</c:v>
                </c:pt>
                <c:pt idx="39112">
                  <c:v>0.697556625646513</c:v>
                </c:pt>
                <c:pt idx="39113">
                  <c:v>0.69757446049580796</c:v>
                </c:pt>
                <c:pt idx="39114">
                  <c:v>0.69759229534510403</c:v>
                </c:pt>
                <c:pt idx="39115">
                  <c:v>0.69761013019439899</c:v>
                </c:pt>
                <c:pt idx="39116">
                  <c:v>0.69762796504369495</c:v>
                </c:pt>
                <c:pt idx="39117">
                  <c:v>0.69764579989299003</c:v>
                </c:pt>
                <c:pt idx="39118">
                  <c:v>0.69766363474228599</c:v>
                </c:pt>
                <c:pt idx="39119">
                  <c:v>0.69768146959158195</c:v>
                </c:pt>
                <c:pt idx="39120">
                  <c:v>0.69769930444087702</c:v>
                </c:pt>
                <c:pt idx="39121">
                  <c:v>0.69771713929017298</c:v>
                </c:pt>
                <c:pt idx="39122">
                  <c:v>0.69773497413946794</c:v>
                </c:pt>
                <c:pt idx="39123">
                  <c:v>0.69775280898876402</c:v>
                </c:pt>
                <c:pt idx="39124">
                  <c:v>0.69777064383805898</c:v>
                </c:pt>
                <c:pt idx="39125">
                  <c:v>0.69778847868735505</c:v>
                </c:pt>
                <c:pt idx="39126">
                  <c:v>0.69780631353665001</c:v>
                </c:pt>
                <c:pt idx="39127">
                  <c:v>0.69782414838594597</c:v>
                </c:pt>
                <c:pt idx="39128">
                  <c:v>0.69784198323524105</c:v>
                </c:pt>
                <c:pt idx="39129">
                  <c:v>0.69785981808453701</c:v>
                </c:pt>
                <c:pt idx="39130">
                  <c:v>0.69787765293383197</c:v>
                </c:pt>
                <c:pt idx="39131">
                  <c:v>0.69789548778312804</c:v>
                </c:pt>
                <c:pt idx="39132">
                  <c:v>0.69791332263242301</c:v>
                </c:pt>
                <c:pt idx="39133">
                  <c:v>0.69793115748171897</c:v>
                </c:pt>
                <c:pt idx="39134">
                  <c:v>0.69794899233101404</c:v>
                </c:pt>
                <c:pt idx="39135">
                  <c:v>0.69796682718031</c:v>
                </c:pt>
                <c:pt idx="39136">
                  <c:v>0.69798466202960496</c:v>
                </c:pt>
                <c:pt idx="39137">
                  <c:v>0.69800249687890104</c:v>
                </c:pt>
                <c:pt idx="39138">
                  <c:v>0.698020331728196</c:v>
                </c:pt>
                <c:pt idx="39139">
                  <c:v>0.69803816657749196</c:v>
                </c:pt>
                <c:pt idx="39140">
                  <c:v>0.69805600142678703</c:v>
                </c:pt>
                <c:pt idx="39141">
                  <c:v>0.69807383627608299</c:v>
                </c:pt>
                <c:pt idx="39142">
                  <c:v>0.69809167112537895</c:v>
                </c:pt>
                <c:pt idx="39143">
                  <c:v>0.69810950597467403</c:v>
                </c:pt>
                <c:pt idx="39144">
                  <c:v>0.69812734082396999</c:v>
                </c:pt>
                <c:pt idx="39145">
                  <c:v>0.69814517567326495</c:v>
                </c:pt>
                <c:pt idx="39146">
                  <c:v>0.69816301052256102</c:v>
                </c:pt>
                <c:pt idx="39147">
                  <c:v>0.69818084537185598</c:v>
                </c:pt>
                <c:pt idx="39148">
                  <c:v>0.69819868022115195</c:v>
                </c:pt>
                <c:pt idx="39149">
                  <c:v>0.69821651507044702</c:v>
                </c:pt>
                <c:pt idx="39150">
                  <c:v>0.69823434991974298</c:v>
                </c:pt>
                <c:pt idx="39151">
                  <c:v>0.69825218476903805</c:v>
                </c:pt>
                <c:pt idx="39152">
                  <c:v>0.69827001961833401</c:v>
                </c:pt>
                <c:pt idx="39153">
                  <c:v>0.69828785446762898</c:v>
                </c:pt>
                <c:pt idx="39154">
                  <c:v>0.69830568931692505</c:v>
                </c:pt>
                <c:pt idx="39155">
                  <c:v>0.69832352416622001</c:v>
                </c:pt>
                <c:pt idx="39156">
                  <c:v>0.69834135901551597</c:v>
                </c:pt>
                <c:pt idx="39157">
                  <c:v>0.69835919386481105</c:v>
                </c:pt>
                <c:pt idx="39158">
                  <c:v>0.69837702871410701</c:v>
                </c:pt>
                <c:pt idx="39159">
                  <c:v>0.69839486356340197</c:v>
                </c:pt>
                <c:pt idx="39160">
                  <c:v>0.69841269841269804</c:v>
                </c:pt>
                <c:pt idx="39161">
                  <c:v>0.698430533261993</c:v>
                </c:pt>
                <c:pt idx="39162">
                  <c:v>0.69844836811128896</c:v>
                </c:pt>
                <c:pt idx="39163">
                  <c:v>0.69846620296058504</c:v>
                </c:pt>
                <c:pt idx="39164">
                  <c:v>0.69848403780988</c:v>
                </c:pt>
                <c:pt idx="39165">
                  <c:v>0.69850187265917596</c:v>
                </c:pt>
                <c:pt idx="39166">
                  <c:v>0.69851970750847103</c:v>
                </c:pt>
                <c:pt idx="39167">
                  <c:v>0.69853754235776699</c:v>
                </c:pt>
                <c:pt idx="39168">
                  <c:v>0.69855537720706196</c:v>
                </c:pt>
                <c:pt idx="39169">
                  <c:v>0.69857321205635803</c:v>
                </c:pt>
                <c:pt idx="39170">
                  <c:v>0.69859104690565299</c:v>
                </c:pt>
                <c:pt idx="39171">
                  <c:v>0.69860888175494895</c:v>
                </c:pt>
                <c:pt idx="39172">
                  <c:v>0.69862671660424402</c:v>
                </c:pt>
                <c:pt idx="39173">
                  <c:v>0.69864455145353999</c:v>
                </c:pt>
                <c:pt idx="39174">
                  <c:v>0.69866238630283495</c:v>
                </c:pt>
                <c:pt idx="39175">
                  <c:v>0.69868022115213102</c:v>
                </c:pt>
                <c:pt idx="39176">
                  <c:v>0.69869805600142598</c:v>
                </c:pt>
                <c:pt idx="39177">
                  <c:v>0.69871589085072205</c:v>
                </c:pt>
                <c:pt idx="39178">
                  <c:v>0.69873372570001702</c:v>
                </c:pt>
                <c:pt idx="39179">
                  <c:v>0.69875156054931298</c:v>
                </c:pt>
                <c:pt idx="39180">
                  <c:v>0.69876939539860805</c:v>
                </c:pt>
                <c:pt idx="39181">
                  <c:v>0.69878723024790401</c:v>
                </c:pt>
                <c:pt idx="39182">
                  <c:v>0.69880506509719997</c:v>
                </c:pt>
                <c:pt idx="39183">
                  <c:v>0.69882289994649505</c:v>
                </c:pt>
                <c:pt idx="39184">
                  <c:v>0.69884073479579101</c:v>
                </c:pt>
                <c:pt idx="39185">
                  <c:v>0.69885856964508597</c:v>
                </c:pt>
                <c:pt idx="39186">
                  <c:v>0.69887640449438204</c:v>
                </c:pt>
                <c:pt idx="39187">
                  <c:v>0.698894239343677</c:v>
                </c:pt>
                <c:pt idx="39188">
                  <c:v>0.69891207419297297</c:v>
                </c:pt>
                <c:pt idx="39189">
                  <c:v>0.69892990904226804</c:v>
                </c:pt>
                <c:pt idx="39190">
                  <c:v>0.698947743891564</c:v>
                </c:pt>
                <c:pt idx="39191">
                  <c:v>0.69896557874085896</c:v>
                </c:pt>
                <c:pt idx="39192">
                  <c:v>0.69898341359015503</c:v>
                </c:pt>
                <c:pt idx="39193">
                  <c:v>0.69900124843945</c:v>
                </c:pt>
                <c:pt idx="39194">
                  <c:v>0.69901908328874596</c:v>
                </c:pt>
                <c:pt idx="39195">
                  <c:v>0.69903691813804103</c:v>
                </c:pt>
                <c:pt idx="39196">
                  <c:v>0.69905475298733699</c:v>
                </c:pt>
                <c:pt idx="39197">
                  <c:v>0.69907258783663195</c:v>
                </c:pt>
                <c:pt idx="39198">
                  <c:v>0.69909042268592803</c:v>
                </c:pt>
                <c:pt idx="39199">
                  <c:v>0.69910825753522299</c:v>
                </c:pt>
                <c:pt idx="39200">
                  <c:v>0.69912609238451895</c:v>
                </c:pt>
                <c:pt idx="39201">
                  <c:v>0.69914392723381402</c:v>
                </c:pt>
                <c:pt idx="39202">
                  <c:v>0.69916176208310998</c:v>
                </c:pt>
                <c:pt idx="39203">
                  <c:v>0.69917959693240594</c:v>
                </c:pt>
                <c:pt idx="39204">
                  <c:v>0.69919743178170102</c:v>
                </c:pt>
                <c:pt idx="39205">
                  <c:v>0.69921526663099698</c:v>
                </c:pt>
                <c:pt idx="39206">
                  <c:v>0.69923310148029205</c:v>
                </c:pt>
                <c:pt idx="39207">
                  <c:v>0.69925093632958801</c:v>
                </c:pt>
                <c:pt idx="39208">
                  <c:v>0.69926877117888298</c:v>
                </c:pt>
                <c:pt idx="39209">
                  <c:v>0.69928660602817905</c:v>
                </c:pt>
                <c:pt idx="39210">
                  <c:v>0.69930444087747401</c:v>
                </c:pt>
                <c:pt idx="39211">
                  <c:v>0.69932227572676997</c:v>
                </c:pt>
                <c:pt idx="39212">
                  <c:v>0.69934011057606504</c:v>
                </c:pt>
                <c:pt idx="39213">
                  <c:v>0.69935794542536101</c:v>
                </c:pt>
                <c:pt idx="39214">
                  <c:v>0.69937578027465597</c:v>
                </c:pt>
                <c:pt idx="39215">
                  <c:v>0.69939361512395204</c:v>
                </c:pt>
                <c:pt idx="39216">
                  <c:v>0.699411449973247</c:v>
                </c:pt>
                <c:pt idx="39217">
                  <c:v>0.69942928482254296</c:v>
                </c:pt>
                <c:pt idx="39218">
                  <c:v>0.69944711967183804</c:v>
                </c:pt>
                <c:pt idx="39219">
                  <c:v>0.699464954521134</c:v>
                </c:pt>
                <c:pt idx="39220">
                  <c:v>0.69948278937042896</c:v>
                </c:pt>
                <c:pt idx="39221">
                  <c:v>0.69950062421972503</c:v>
                </c:pt>
                <c:pt idx="39222">
                  <c:v>0.69951845906901999</c:v>
                </c:pt>
                <c:pt idx="39223">
                  <c:v>0.69953629391831595</c:v>
                </c:pt>
                <c:pt idx="39224">
                  <c:v>0.69955412876761103</c:v>
                </c:pt>
                <c:pt idx="39225">
                  <c:v>0.69957196361690699</c:v>
                </c:pt>
                <c:pt idx="39226">
                  <c:v>0.69958979846620295</c:v>
                </c:pt>
                <c:pt idx="39227">
                  <c:v>0.69960763331549802</c:v>
                </c:pt>
                <c:pt idx="39228">
                  <c:v>0.69962546816479398</c:v>
                </c:pt>
                <c:pt idx="39229">
                  <c:v>0.69964330301408895</c:v>
                </c:pt>
                <c:pt idx="39230">
                  <c:v>0.69966113786338502</c:v>
                </c:pt>
                <c:pt idx="39231">
                  <c:v>0.69967897271267998</c:v>
                </c:pt>
                <c:pt idx="39232">
                  <c:v>0.69969680756197605</c:v>
                </c:pt>
                <c:pt idx="39233">
                  <c:v>0.69971464241127102</c:v>
                </c:pt>
                <c:pt idx="39234">
                  <c:v>0.69973247726056698</c:v>
                </c:pt>
                <c:pt idx="39235">
                  <c:v>0.69975031210986205</c:v>
                </c:pt>
                <c:pt idx="39236">
                  <c:v>0.69976814695915801</c:v>
                </c:pt>
                <c:pt idx="39237">
                  <c:v>0.69978598180845297</c:v>
                </c:pt>
                <c:pt idx="39238">
                  <c:v>0.69980381665774904</c:v>
                </c:pt>
                <c:pt idx="39239">
                  <c:v>0.69982165150704401</c:v>
                </c:pt>
                <c:pt idx="39240">
                  <c:v>0.69983948635633997</c:v>
                </c:pt>
                <c:pt idx="39241">
                  <c:v>0.69985732120563504</c:v>
                </c:pt>
                <c:pt idx="39242">
                  <c:v>0.699875156054931</c:v>
                </c:pt>
                <c:pt idx="39243">
                  <c:v>0.69989299090422596</c:v>
                </c:pt>
                <c:pt idx="39244">
                  <c:v>0.69991082575352204</c:v>
                </c:pt>
                <c:pt idx="39245">
                  <c:v>0.699928660602817</c:v>
                </c:pt>
                <c:pt idx="39246">
                  <c:v>0.69994649545211296</c:v>
                </c:pt>
                <c:pt idx="39247">
                  <c:v>0.69996433030140803</c:v>
                </c:pt>
                <c:pt idx="39248">
                  <c:v>0.69998216515070399</c:v>
                </c:pt>
                <c:pt idx="39249">
                  <c:v>0.7</c:v>
                </c:pt>
                <c:pt idx="39250">
                  <c:v>0.70001783484929503</c:v>
                </c:pt>
                <c:pt idx="39251">
                  <c:v>0.70003566969859099</c:v>
                </c:pt>
                <c:pt idx="39252">
                  <c:v>0.70005350454788595</c:v>
                </c:pt>
                <c:pt idx="39253">
                  <c:v>0.70007133939718202</c:v>
                </c:pt>
                <c:pt idx="39254">
                  <c:v>0.70008917424647699</c:v>
                </c:pt>
                <c:pt idx="39255">
                  <c:v>0.70010700909577295</c:v>
                </c:pt>
                <c:pt idx="39256">
                  <c:v>0.70012484394506802</c:v>
                </c:pt>
                <c:pt idx="39257">
                  <c:v>0.70014267879436398</c:v>
                </c:pt>
                <c:pt idx="39258">
                  <c:v>0.70016051364365905</c:v>
                </c:pt>
                <c:pt idx="39259">
                  <c:v>0.70017834849295502</c:v>
                </c:pt>
                <c:pt idx="39260">
                  <c:v>0.70019618334224998</c:v>
                </c:pt>
                <c:pt idx="39261">
                  <c:v>0.70021401819154605</c:v>
                </c:pt>
                <c:pt idx="39262">
                  <c:v>0.70023185304084101</c:v>
                </c:pt>
                <c:pt idx="39263">
                  <c:v>0.70024968789013697</c:v>
                </c:pt>
                <c:pt idx="39264">
                  <c:v>0.70026752273943205</c:v>
                </c:pt>
                <c:pt idx="39265">
                  <c:v>0.70028535758872801</c:v>
                </c:pt>
                <c:pt idx="39266">
                  <c:v>0.70030319243802297</c:v>
                </c:pt>
                <c:pt idx="39267">
                  <c:v>0.70032102728731904</c:v>
                </c:pt>
                <c:pt idx="39268">
                  <c:v>0.700338862136614</c:v>
                </c:pt>
                <c:pt idx="39269">
                  <c:v>0.70035669698590997</c:v>
                </c:pt>
                <c:pt idx="39270">
                  <c:v>0.70037453183520604</c:v>
                </c:pt>
                <c:pt idx="39271">
                  <c:v>0.700392366684501</c:v>
                </c:pt>
                <c:pt idx="39272">
                  <c:v>0.70041020153379696</c:v>
                </c:pt>
                <c:pt idx="39273">
                  <c:v>0.70042803638309203</c:v>
                </c:pt>
                <c:pt idx="39274">
                  <c:v>0.700445871232388</c:v>
                </c:pt>
                <c:pt idx="39275">
                  <c:v>0.70046370608168296</c:v>
                </c:pt>
                <c:pt idx="39276">
                  <c:v>0.70048154093097903</c:v>
                </c:pt>
                <c:pt idx="39277">
                  <c:v>0.70049937578027399</c:v>
                </c:pt>
                <c:pt idx="39278">
                  <c:v>0.70051721062956995</c:v>
                </c:pt>
                <c:pt idx="39279">
                  <c:v>0.70053504547886503</c:v>
                </c:pt>
                <c:pt idx="39280">
                  <c:v>0.70055288032816099</c:v>
                </c:pt>
                <c:pt idx="39281">
                  <c:v>0.70057071517745595</c:v>
                </c:pt>
                <c:pt idx="39282">
                  <c:v>0.70058855002675202</c:v>
                </c:pt>
                <c:pt idx="39283">
                  <c:v>0.70060638487604698</c:v>
                </c:pt>
                <c:pt idx="39284">
                  <c:v>0.70062421972534294</c:v>
                </c:pt>
                <c:pt idx="39285">
                  <c:v>0.70064205457463802</c:v>
                </c:pt>
                <c:pt idx="39286">
                  <c:v>0.70065988942393398</c:v>
                </c:pt>
                <c:pt idx="39287">
                  <c:v>0.70067772427322905</c:v>
                </c:pt>
                <c:pt idx="39288">
                  <c:v>0.70069555912252501</c:v>
                </c:pt>
                <c:pt idx="39289">
                  <c:v>0.70071339397182097</c:v>
                </c:pt>
                <c:pt idx="39290">
                  <c:v>0.70073122882111605</c:v>
                </c:pt>
                <c:pt idx="39291">
                  <c:v>0.70074906367041201</c:v>
                </c:pt>
                <c:pt idx="39292">
                  <c:v>0.70076689851970697</c:v>
                </c:pt>
                <c:pt idx="39293">
                  <c:v>0.70078473336900304</c:v>
                </c:pt>
                <c:pt idx="39294">
                  <c:v>0.70080256821829801</c:v>
                </c:pt>
                <c:pt idx="39295">
                  <c:v>0.70082040306759397</c:v>
                </c:pt>
                <c:pt idx="39296">
                  <c:v>0.70083823791688904</c:v>
                </c:pt>
                <c:pt idx="39297">
                  <c:v>0.700856072766185</c:v>
                </c:pt>
                <c:pt idx="39298">
                  <c:v>0.70087390761547996</c:v>
                </c:pt>
                <c:pt idx="39299">
                  <c:v>0.70089174246477604</c:v>
                </c:pt>
                <c:pt idx="39300">
                  <c:v>0.700909577314071</c:v>
                </c:pt>
                <c:pt idx="39301">
                  <c:v>0.70092741216336696</c:v>
                </c:pt>
                <c:pt idx="39302">
                  <c:v>0.70094524701266203</c:v>
                </c:pt>
                <c:pt idx="39303">
                  <c:v>0.70096308186195799</c:v>
                </c:pt>
                <c:pt idx="39304">
                  <c:v>0.70098091671125295</c:v>
                </c:pt>
                <c:pt idx="39305">
                  <c:v>0.70099875156054903</c:v>
                </c:pt>
                <c:pt idx="39306">
                  <c:v>0.70101658640984399</c:v>
                </c:pt>
                <c:pt idx="39307">
                  <c:v>0.70103442125913995</c:v>
                </c:pt>
                <c:pt idx="39308">
                  <c:v>0.70105225610843502</c:v>
                </c:pt>
                <c:pt idx="39309">
                  <c:v>0.70107009095773098</c:v>
                </c:pt>
                <c:pt idx="39310">
                  <c:v>0.70108792580702695</c:v>
                </c:pt>
                <c:pt idx="39311">
                  <c:v>0.70110576065632202</c:v>
                </c:pt>
                <c:pt idx="39312">
                  <c:v>0.70112359550561798</c:v>
                </c:pt>
                <c:pt idx="39313">
                  <c:v>0.70114143035491305</c:v>
                </c:pt>
                <c:pt idx="39314">
                  <c:v>0.70115926520420901</c:v>
                </c:pt>
                <c:pt idx="39315">
                  <c:v>0.70117710005350398</c:v>
                </c:pt>
                <c:pt idx="39316">
                  <c:v>0.70119493490280005</c:v>
                </c:pt>
                <c:pt idx="39317">
                  <c:v>0.70121276975209501</c:v>
                </c:pt>
                <c:pt idx="39318">
                  <c:v>0.70123060460139097</c:v>
                </c:pt>
                <c:pt idx="39319">
                  <c:v>0.70124843945068605</c:v>
                </c:pt>
                <c:pt idx="39320">
                  <c:v>0.70126627429998201</c:v>
                </c:pt>
                <c:pt idx="39321">
                  <c:v>0.70128410914927697</c:v>
                </c:pt>
                <c:pt idx="39322">
                  <c:v>0.70130194399857304</c:v>
                </c:pt>
                <c:pt idx="39323">
                  <c:v>0.701319778847868</c:v>
                </c:pt>
                <c:pt idx="39324">
                  <c:v>0.70133761369716396</c:v>
                </c:pt>
                <c:pt idx="39325">
                  <c:v>0.70135544854645904</c:v>
                </c:pt>
                <c:pt idx="39326">
                  <c:v>0.701373283395755</c:v>
                </c:pt>
                <c:pt idx="39327">
                  <c:v>0.70139111824504996</c:v>
                </c:pt>
                <c:pt idx="39328">
                  <c:v>0.70140895309434603</c:v>
                </c:pt>
                <c:pt idx="39329">
                  <c:v>0.70142678794364099</c:v>
                </c:pt>
                <c:pt idx="39330">
                  <c:v>0.70144462279293696</c:v>
                </c:pt>
                <c:pt idx="39331">
                  <c:v>0.70146245764223203</c:v>
                </c:pt>
                <c:pt idx="39332">
                  <c:v>0.70148029249152799</c:v>
                </c:pt>
                <c:pt idx="39333">
                  <c:v>0.70149812734082395</c:v>
                </c:pt>
                <c:pt idx="39334">
                  <c:v>0.70151596219011902</c:v>
                </c:pt>
                <c:pt idx="39335">
                  <c:v>0.70153379703941499</c:v>
                </c:pt>
                <c:pt idx="39336">
                  <c:v>0.70155163188870995</c:v>
                </c:pt>
                <c:pt idx="39337">
                  <c:v>0.70156946673800602</c:v>
                </c:pt>
                <c:pt idx="39338">
                  <c:v>0.70158730158730098</c:v>
                </c:pt>
                <c:pt idx="39339">
                  <c:v>0.70160513643659705</c:v>
                </c:pt>
                <c:pt idx="39340">
                  <c:v>0.70162297128589202</c:v>
                </c:pt>
                <c:pt idx="39341">
                  <c:v>0.70164080613518798</c:v>
                </c:pt>
                <c:pt idx="39342">
                  <c:v>0.70165864098448305</c:v>
                </c:pt>
                <c:pt idx="39343">
                  <c:v>0.70167647583377901</c:v>
                </c:pt>
                <c:pt idx="39344">
                  <c:v>0.70169431068307397</c:v>
                </c:pt>
                <c:pt idx="39345">
                  <c:v>0.70171214553237005</c:v>
                </c:pt>
                <c:pt idx="39346">
                  <c:v>0.70172998038166501</c:v>
                </c:pt>
                <c:pt idx="39347">
                  <c:v>0.70174781523096097</c:v>
                </c:pt>
                <c:pt idx="39348">
                  <c:v>0.70176565008025604</c:v>
                </c:pt>
                <c:pt idx="39349">
                  <c:v>0.701783484929552</c:v>
                </c:pt>
                <c:pt idx="39350">
                  <c:v>0.70180131977884697</c:v>
                </c:pt>
                <c:pt idx="39351">
                  <c:v>0.70181915462814304</c:v>
                </c:pt>
                <c:pt idx="39352">
                  <c:v>0.701836989477438</c:v>
                </c:pt>
                <c:pt idx="39353">
                  <c:v>0.70185482432673396</c:v>
                </c:pt>
                <c:pt idx="39354">
                  <c:v>0.70187265917602903</c:v>
                </c:pt>
                <c:pt idx="39355">
                  <c:v>0.701890494025325</c:v>
                </c:pt>
                <c:pt idx="39356">
                  <c:v>0.70190832887462096</c:v>
                </c:pt>
                <c:pt idx="39357">
                  <c:v>0.70192616372391603</c:v>
                </c:pt>
                <c:pt idx="39358">
                  <c:v>0.70194399857321199</c:v>
                </c:pt>
                <c:pt idx="39359">
                  <c:v>0.70196183342250695</c:v>
                </c:pt>
                <c:pt idx="39360">
                  <c:v>0.70197966827180303</c:v>
                </c:pt>
                <c:pt idx="39361">
                  <c:v>0.70199750312109799</c:v>
                </c:pt>
                <c:pt idx="39362">
                  <c:v>0.70201533797039395</c:v>
                </c:pt>
                <c:pt idx="39363">
                  <c:v>0.70203317281968902</c:v>
                </c:pt>
                <c:pt idx="39364">
                  <c:v>0.70205100766898498</c:v>
                </c:pt>
                <c:pt idx="39365">
                  <c:v>0.70206884251827995</c:v>
                </c:pt>
                <c:pt idx="39366">
                  <c:v>0.70208667736757602</c:v>
                </c:pt>
                <c:pt idx="39367">
                  <c:v>0.70210451221687098</c:v>
                </c:pt>
                <c:pt idx="39368">
                  <c:v>0.70212234706616705</c:v>
                </c:pt>
                <c:pt idx="39369">
                  <c:v>0.70214018191546201</c:v>
                </c:pt>
                <c:pt idx="39370">
                  <c:v>0.70215801676475798</c:v>
                </c:pt>
                <c:pt idx="39371">
                  <c:v>0.70217585161405305</c:v>
                </c:pt>
                <c:pt idx="39372">
                  <c:v>0.70219368646334901</c:v>
                </c:pt>
                <c:pt idx="39373">
                  <c:v>0.70221152131264397</c:v>
                </c:pt>
                <c:pt idx="39374">
                  <c:v>0.70222935616194004</c:v>
                </c:pt>
                <c:pt idx="39375">
                  <c:v>0.702247191011236</c:v>
                </c:pt>
                <c:pt idx="39376">
                  <c:v>0.70226502586053097</c:v>
                </c:pt>
                <c:pt idx="39377">
                  <c:v>0.70228286070982704</c:v>
                </c:pt>
                <c:pt idx="39378">
                  <c:v>0.702300695559122</c:v>
                </c:pt>
                <c:pt idx="39379">
                  <c:v>0.70231853040841796</c:v>
                </c:pt>
                <c:pt idx="39380">
                  <c:v>0.70233636525771304</c:v>
                </c:pt>
                <c:pt idx="39381">
                  <c:v>0.702354200107009</c:v>
                </c:pt>
                <c:pt idx="39382">
                  <c:v>0.70237203495630396</c:v>
                </c:pt>
                <c:pt idx="39383">
                  <c:v>0.70238986980560003</c:v>
                </c:pt>
                <c:pt idx="39384">
                  <c:v>0.70240770465489499</c:v>
                </c:pt>
                <c:pt idx="39385">
                  <c:v>0.70242553950419095</c:v>
                </c:pt>
                <c:pt idx="39386">
                  <c:v>0.70244337435348603</c:v>
                </c:pt>
                <c:pt idx="39387">
                  <c:v>0.70246120920278199</c:v>
                </c:pt>
                <c:pt idx="39388">
                  <c:v>0.70247904405207695</c:v>
                </c:pt>
                <c:pt idx="39389">
                  <c:v>0.70249687890137302</c:v>
                </c:pt>
                <c:pt idx="39390">
                  <c:v>0.70251471375066799</c:v>
                </c:pt>
                <c:pt idx="39391">
                  <c:v>0.70253254859996395</c:v>
                </c:pt>
                <c:pt idx="39392">
                  <c:v>0.70255038344925902</c:v>
                </c:pt>
                <c:pt idx="39393">
                  <c:v>0.70256821829855498</c:v>
                </c:pt>
                <c:pt idx="39394">
                  <c:v>0.70258605314785005</c:v>
                </c:pt>
                <c:pt idx="39395">
                  <c:v>0.70260388799714601</c:v>
                </c:pt>
                <c:pt idx="39396">
                  <c:v>0.70262172284644198</c:v>
                </c:pt>
                <c:pt idx="39397">
                  <c:v>0.70263955769573705</c:v>
                </c:pt>
                <c:pt idx="39398">
                  <c:v>0.70265739254503301</c:v>
                </c:pt>
                <c:pt idx="39399">
                  <c:v>0.70267522739432797</c:v>
                </c:pt>
                <c:pt idx="39400">
                  <c:v>0.70269306224362404</c:v>
                </c:pt>
                <c:pt idx="39401">
                  <c:v>0.70271089709291901</c:v>
                </c:pt>
                <c:pt idx="39402">
                  <c:v>0.70272873194221497</c:v>
                </c:pt>
                <c:pt idx="39403">
                  <c:v>0.70274656679151004</c:v>
                </c:pt>
                <c:pt idx="39404">
                  <c:v>0.702764401640806</c:v>
                </c:pt>
                <c:pt idx="39405">
                  <c:v>0.70278223649010096</c:v>
                </c:pt>
                <c:pt idx="39406">
                  <c:v>0.70280007133939704</c:v>
                </c:pt>
                <c:pt idx="39407">
                  <c:v>0.702817906188692</c:v>
                </c:pt>
                <c:pt idx="39408">
                  <c:v>0.70283574103798796</c:v>
                </c:pt>
                <c:pt idx="39409">
                  <c:v>0.70285357588728303</c:v>
                </c:pt>
                <c:pt idx="39410">
                  <c:v>0.70287141073657899</c:v>
                </c:pt>
                <c:pt idx="39411">
                  <c:v>0.70288924558587396</c:v>
                </c:pt>
                <c:pt idx="39412">
                  <c:v>0.70290708043517003</c:v>
                </c:pt>
                <c:pt idx="39413">
                  <c:v>0.70292491528446499</c:v>
                </c:pt>
                <c:pt idx="39414">
                  <c:v>0.70294275013376095</c:v>
                </c:pt>
                <c:pt idx="39415">
                  <c:v>0.70296058498305602</c:v>
                </c:pt>
                <c:pt idx="39416">
                  <c:v>0.70297841983235199</c:v>
                </c:pt>
                <c:pt idx="39417">
                  <c:v>0.70299625468164795</c:v>
                </c:pt>
                <c:pt idx="39418">
                  <c:v>0.70301408953094302</c:v>
                </c:pt>
                <c:pt idx="39419">
                  <c:v>0.70303192438023898</c:v>
                </c:pt>
                <c:pt idx="39420">
                  <c:v>0.70304975922953405</c:v>
                </c:pt>
                <c:pt idx="39421">
                  <c:v>0.70306759407883002</c:v>
                </c:pt>
                <c:pt idx="39422">
                  <c:v>0.70308542892812498</c:v>
                </c:pt>
                <c:pt idx="39423">
                  <c:v>0.70310326377742105</c:v>
                </c:pt>
                <c:pt idx="39424">
                  <c:v>0.70312109862671601</c:v>
                </c:pt>
                <c:pt idx="39425">
                  <c:v>0.70313893347601197</c:v>
                </c:pt>
                <c:pt idx="39426">
                  <c:v>0.70315676832530705</c:v>
                </c:pt>
                <c:pt idx="39427">
                  <c:v>0.70317460317460301</c:v>
                </c:pt>
                <c:pt idx="39428">
                  <c:v>0.70319243802389797</c:v>
                </c:pt>
                <c:pt idx="39429">
                  <c:v>0.70321027287319404</c:v>
                </c:pt>
                <c:pt idx="39430">
                  <c:v>0.703228107722489</c:v>
                </c:pt>
                <c:pt idx="39431">
                  <c:v>0.70324594257178497</c:v>
                </c:pt>
                <c:pt idx="39432">
                  <c:v>0.70326377742108004</c:v>
                </c:pt>
                <c:pt idx="39433">
                  <c:v>0.703281612270376</c:v>
                </c:pt>
                <c:pt idx="39434">
                  <c:v>0.70329944711967096</c:v>
                </c:pt>
                <c:pt idx="39435">
                  <c:v>0.70331728196896703</c:v>
                </c:pt>
                <c:pt idx="39436">
                  <c:v>0.703335116818262</c:v>
                </c:pt>
                <c:pt idx="39437">
                  <c:v>0.70335295166755796</c:v>
                </c:pt>
                <c:pt idx="39438">
                  <c:v>0.70337078651685303</c:v>
                </c:pt>
                <c:pt idx="39439">
                  <c:v>0.70338862136614899</c:v>
                </c:pt>
                <c:pt idx="39440">
                  <c:v>0.70340645621544495</c:v>
                </c:pt>
                <c:pt idx="39441">
                  <c:v>0.70342429106474003</c:v>
                </c:pt>
                <c:pt idx="39442">
                  <c:v>0.70344212591403599</c:v>
                </c:pt>
                <c:pt idx="39443">
                  <c:v>0.70345996076333095</c:v>
                </c:pt>
                <c:pt idx="39444">
                  <c:v>0.70347779561262702</c:v>
                </c:pt>
                <c:pt idx="39445">
                  <c:v>0.70349563046192198</c:v>
                </c:pt>
                <c:pt idx="39446">
                  <c:v>0.70351346531121794</c:v>
                </c:pt>
                <c:pt idx="39447">
                  <c:v>0.70353130016051302</c:v>
                </c:pt>
                <c:pt idx="39448">
                  <c:v>0.70354913500980898</c:v>
                </c:pt>
                <c:pt idx="39449">
                  <c:v>0.70356696985910405</c:v>
                </c:pt>
                <c:pt idx="39450">
                  <c:v>0.70358480470840001</c:v>
                </c:pt>
                <c:pt idx="39451">
                  <c:v>0.70360263955769498</c:v>
                </c:pt>
                <c:pt idx="39452">
                  <c:v>0.70362047440699105</c:v>
                </c:pt>
                <c:pt idx="39453">
                  <c:v>0.70363830925628601</c:v>
                </c:pt>
                <c:pt idx="39454">
                  <c:v>0.70365614410558197</c:v>
                </c:pt>
                <c:pt idx="39455">
                  <c:v>0.70367397895487704</c:v>
                </c:pt>
                <c:pt idx="39456">
                  <c:v>0.70369181380417301</c:v>
                </c:pt>
                <c:pt idx="39457">
                  <c:v>0.70370964865346797</c:v>
                </c:pt>
                <c:pt idx="39458">
                  <c:v>0.70372748350276404</c:v>
                </c:pt>
                <c:pt idx="39459">
                  <c:v>0.703745318352059</c:v>
                </c:pt>
                <c:pt idx="39460">
                  <c:v>0.70376315320135496</c:v>
                </c:pt>
                <c:pt idx="39461">
                  <c:v>0.70378098805065004</c:v>
                </c:pt>
                <c:pt idx="39462">
                  <c:v>0.703798822899946</c:v>
                </c:pt>
                <c:pt idx="39463">
                  <c:v>0.70381665774924196</c:v>
                </c:pt>
                <c:pt idx="39464">
                  <c:v>0.70383449259853703</c:v>
                </c:pt>
                <c:pt idx="39465">
                  <c:v>0.70385232744783299</c:v>
                </c:pt>
                <c:pt idx="39466">
                  <c:v>0.70387016229712795</c:v>
                </c:pt>
                <c:pt idx="39467">
                  <c:v>0.70388799714642403</c:v>
                </c:pt>
                <c:pt idx="39468">
                  <c:v>0.70390583199571899</c:v>
                </c:pt>
                <c:pt idx="39469">
                  <c:v>0.70392366684501495</c:v>
                </c:pt>
                <c:pt idx="39470">
                  <c:v>0.70394150169431002</c:v>
                </c:pt>
                <c:pt idx="39471">
                  <c:v>0.70395933654360598</c:v>
                </c:pt>
                <c:pt idx="39472">
                  <c:v>0.70397717139290095</c:v>
                </c:pt>
                <c:pt idx="39473">
                  <c:v>0.70399500624219702</c:v>
                </c:pt>
                <c:pt idx="39474">
                  <c:v>0.70401284109149198</c:v>
                </c:pt>
                <c:pt idx="39475">
                  <c:v>0.70403067594078805</c:v>
                </c:pt>
                <c:pt idx="39476">
                  <c:v>0.70404851079008302</c:v>
                </c:pt>
                <c:pt idx="39477">
                  <c:v>0.70406634563937898</c:v>
                </c:pt>
                <c:pt idx="39478">
                  <c:v>0.70408418048867405</c:v>
                </c:pt>
                <c:pt idx="39479">
                  <c:v>0.70410201533797001</c:v>
                </c:pt>
                <c:pt idx="39480">
                  <c:v>0.70411985018726597</c:v>
                </c:pt>
                <c:pt idx="39481">
                  <c:v>0.70413768503656105</c:v>
                </c:pt>
                <c:pt idx="39482">
                  <c:v>0.70415551988585701</c:v>
                </c:pt>
                <c:pt idx="39483">
                  <c:v>0.70417335473515197</c:v>
                </c:pt>
                <c:pt idx="39484">
                  <c:v>0.70419118958444804</c:v>
                </c:pt>
                <c:pt idx="39485">
                  <c:v>0.704209024433743</c:v>
                </c:pt>
                <c:pt idx="39486">
                  <c:v>0.70422685928303896</c:v>
                </c:pt>
                <c:pt idx="39487">
                  <c:v>0.70424469413233404</c:v>
                </c:pt>
                <c:pt idx="39488">
                  <c:v>0.70426252898163</c:v>
                </c:pt>
                <c:pt idx="39489">
                  <c:v>0.70428036383092496</c:v>
                </c:pt>
                <c:pt idx="39490">
                  <c:v>0.70429819868022103</c:v>
                </c:pt>
                <c:pt idx="39491">
                  <c:v>0.70431603352951599</c:v>
                </c:pt>
                <c:pt idx="39492">
                  <c:v>0.70433386837881196</c:v>
                </c:pt>
                <c:pt idx="39493">
                  <c:v>0.70435170322810703</c:v>
                </c:pt>
                <c:pt idx="39494">
                  <c:v>0.70436953807740299</c:v>
                </c:pt>
                <c:pt idx="39495">
                  <c:v>0.70438737292669795</c:v>
                </c:pt>
                <c:pt idx="39496">
                  <c:v>0.70440520777599402</c:v>
                </c:pt>
                <c:pt idx="39497">
                  <c:v>0.70442304262528899</c:v>
                </c:pt>
                <c:pt idx="39498">
                  <c:v>0.70444087747458495</c:v>
                </c:pt>
                <c:pt idx="39499">
                  <c:v>0.70445871232388002</c:v>
                </c:pt>
                <c:pt idx="39500">
                  <c:v>0.70447654717317598</c:v>
                </c:pt>
                <c:pt idx="39501">
                  <c:v>0.70449438202247106</c:v>
                </c:pt>
                <c:pt idx="39502">
                  <c:v>0.70451221687176702</c:v>
                </c:pt>
                <c:pt idx="39503">
                  <c:v>0.70453005172106298</c:v>
                </c:pt>
                <c:pt idx="39504">
                  <c:v>0.70454788657035805</c:v>
                </c:pt>
                <c:pt idx="39505">
                  <c:v>0.70456572141965401</c:v>
                </c:pt>
                <c:pt idx="39506">
                  <c:v>0.70458355626894897</c:v>
                </c:pt>
                <c:pt idx="39507">
                  <c:v>0.70460139111824505</c:v>
                </c:pt>
                <c:pt idx="39508">
                  <c:v>0.70461922596754001</c:v>
                </c:pt>
                <c:pt idx="39509">
                  <c:v>0.70463706081683597</c:v>
                </c:pt>
                <c:pt idx="39510">
                  <c:v>0.70465489566613104</c:v>
                </c:pt>
                <c:pt idx="39511">
                  <c:v>0.704672730515427</c:v>
                </c:pt>
                <c:pt idx="39512">
                  <c:v>0.70469056536472197</c:v>
                </c:pt>
                <c:pt idx="39513">
                  <c:v>0.70470840021401804</c:v>
                </c:pt>
                <c:pt idx="39514">
                  <c:v>0.704726235063313</c:v>
                </c:pt>
                <c:pt idx="39515">
                  <c:v>0.70474406991260896</c:v>
                </c:pt>
                <c:pt idx="39516">
                  <c:v>0.70476190476190403</c:v>
                </c:pt>
                <c:pt idx="39517">
                  <c:v>0.7047797396112</c:v>
                </c:pt>
                <c:pt idx="39518">
                  <c:v>0.70479757446049496</c:v>
                </c:pt>
                <c:pt idx="39519">
                  <c:v>0.70481540930979103</c:v>
                </c:pt>
                <c:pt idx="39520">
                  <c:v>0.70483324415908599</c:v>
                </c:pt>
                <c:pt idx="39521">
                  <c:v>0.70485107900838195</c:v>
                </c:pt>
                <c:pt idx="39522">
                  <c:v>0.70486891385767703</c:v>
                </c:pt>
                <c:pt idx="39523">
                  <c:v>0.70488674870697299</c:v>
                </c:pt>
                <c:pt idx="39524">
                  <c:v>0.70490458355626895</c:v>
                </c:pt>
                <c:pt idx="39525">
                  <c:v>0.70492241840556402</c:v>
                </c:pt>
                <c:pt idx="39526">
                  <c:v>0.70494025325485998</c:v>
                </c:pt>
                <c:pt idx="39527">
                  <c:v>0.70495808810415495</c:v>
                </c:pt>
                <c:pt idx="39528">
                  <c:v>0.70497592295345102</c:v>
                </c:pt>
                <c:pt idx="39529">
                  <c:v>0.70499375780274598</c:v>
                </c:pt>
                <c:pt idx="39530">
                  <c:v>0.70501159265204205</c:v>
                </c:pt>
                <c:pt idx="39531">
                  <c:v>0.70502942750133701</c:v>
                </c:pt>
                <c:pt idx="39532">
                  <c:v>0.70504726235063298</c:v>
                </c:pt>
                <c:pt idx="39533">
                  <c:v>0.70506509719992805</c:v>
                </c:pt>
                <c:pt idx="39534">
                  <c:v>0.70508293204922401</c:v>
                </c:pt>
                <c:pt idx="39535">
                  <c:v>0.70510076689851897</c:v>
                </c:pt>
                <c:pt idx="39536">
                  <c:v>0.70511860174781504</c:v>
                </c:pt>
                <c:pt idx="39537">
                  <c:v>0.70513643659711001</c:v>
                </c:pt>
                <c:pt idx="39538">
                  <c:v>0.70515427144640597</c:v>
                </c:pt>
                <c:pt idx="39539">
                  <c:v>0.70517210629570104</c:v>
                </c:pt>
                <c:pt idx="39540">
                  <c:v>0.705189941144997</c:v>
                </c:pt>
                <c:pt idx="39541">
                  <c:v>0.70520777599429196</c:v>
                </c:pt>
                <c:pt idx="39542">
                  <c:v>0.70522561084358804</c:v>
                </c:pt>
                <c:pt idx="39543">
                  <c:v>0.705243445692883</c:v>
                </c:pt>
                <c:pt idx="39544">
                  <c:v>0.70526128054217896</c:v>
                </c:pt>
                <c:pt idx="39545">
                  <c:v>0.70527911539147403</c:v>
                </c:pt>
                <c:pt idx="39546">
                  <c:v>0.70529695024076999</c:v>
                </c:pt>
                <c:pt idx="39547">
                  <c:v>0.70531478509006595</c:v>
                </c:pt>
                <c:pt idx="39548">
                  <c:v>0.70533261993936103</c:v>
                </c:pt>
                <c:pt idx="39549">
                  <c:v>0.70535045478865699</c:v>
                </c:pt>
                <c:pt idx="39550">
                  <c:v>0.70536828963795195</c:v>
                </c:pt>
                <c:pt idx="39551">
                  <c:v>0.70538612448724802</c:v>
                </c:pt>
                <c:pt idx="39552">
                  <c:v>0.70540395933654298</c:v>
                </c:pt>
                <c:pt idx="39553">
                  <c:v>0.70542179418583895</c:v>
                </c:pt>
                <c:pt idx="39554">
                  <c:v>0.70543962903513402</c:v>
                </c:pt>
                <c:pt idx="39555">
                  <c:v>0.70545746388442998</c:v>
                </c:pt>
                <c:pt idx="39556">
                  <c:v>0.70547529873372505</c:v>
                </c:pt>
                <c:pt idx="39557">
                  <c:v>0.70549313358302101</c:v>
                </c:pt>
                <c:pt idx="39558">
                  <c:v>0.70551096843231598</c:v>
                </c:pt>
                <c:pt idx="39559">
                  <c:v>0.70552880328161205</c:v>
                </c:pt>
                <c:pt idx="39560">
                  <c:v>0.70554663813090701</c:v>
                </c:pt>
                <c:pt idx="39561">
                  <c:v>0.70556447298020297</c:v>
                </c:pt>
                <c:pt idx="39562">
                  <c:v>0.70558230782949805</c:v>
                </c:pt>
                <c:pt idx="39563">
                  <c:v>0.70560014267879401</c:v>
                </c:pt>
                <c:pt idx="39564">
                  <c:v>0.70561797752808897</c:v>
                </c:pt>
                <c:pt idx="39565">
                  <c:v>0.70563581237738504</c:v>
                </c:pt>
                <c:pt idx="39566">
                  <c:v>0.70565364722668</c:v>
                </c:pt>
                <c:pt idx="39567">
                  <c:v>0.70567148207597596</c:v>
                </c:pt>
                <c:pt idx="39568">
                  <c:v>0.70568931692527204</c:v>
                </c:pt>
                <c:pt idx="39569">
                  <c:v>0.705707151774567</c:v>
                </c:pt>
                <c:pt idx="39570">
                  <c:v>0.70572498662386296</c:v>
                </c:pt>
                <c:pt idx="39571">
                  <c:v>0.70574282147315803</c:v>
                </c:pt>
                <c:pt idx="39572">
                  <c:v>0.70576065632245399</c:v>
                </c:pt>
                <c:pt idx="39573">
                  <c:v>0.70577849117174896</c:v>
                </c:pt>
                <c:pt idx="39574">
                  <c:v>0.70579632602104503</c:v>
                </c:pt>
                <c:pt idx="39575">
                  <c:v>0.70581416087033999</c:v>
                </c:pt>
                <c:pt idx="39576">
                  <c:v>0.70583199571963595</c:v>
                </c:pt>
                <c:pt idx="39577">
                  <c:v>0.70584983056893102</c:v>
                </c:pt>
                <c:pt idx="39578">
                  <c:v>0.70586766541822699</c:v>
                </c:pt>
                <c:pt idx="39579">
                  <c:v>0.70588550026752195</c:v>
                </c:pt>
                <c:pt idx="39580">
                  <c:v>0.70590333511681802</c:v>
                </c:pt>
                <c:pt idx="39581">
                  <c:v>0.70592116996611298</c:v>
                </c:pt>
                <c:pt idx="39582">
                  <c:v>0.70593900481540905</c:v>
                </c:pt>
                <c:pt idx="39583">
                  <c:v>0.70595683966470402</c:v>
                </c:pt>
                <c:pt idx="39584">
                  <c:v>0.70597467451399998</c:v>
                </c:pt>
                <c:pt idx="39585">
                  <c:v>0.70599250936329505</c:v>
                </c:pt>
                <c:pt idx="39586">
                  <c:v>0.70601034421259101</c:v>
                </c:pt>
                <c:pt idx="39587">
                  <c:v>0.70602817906188697</c:v>
                </c:pt>
                <c:pt idx="39588">
                  <c:v>0.70604601391118205</c:v>
                </c:pt>
                <c:pt idx="39589">
                  <c:v>0.70606384876047801</c:v>
                </c:pt>
                <c:pt idx="39590">
                  <c:v>0.70608168360977297</c:v>
                </c:pt>
                <c:pt idx="39591">
                  <c:v>0.70609951845906904</c:v>
                </c:pt>
                <c:pt idx="39592">
                  <c:v>0.706117353308364</c:v>
                </c:pt>
                <c:pt idx="39593">
                  <c:v>0.70613518815765997</c:v>
                </c:pt>
                <c:pt idx="39594">
                  <c:v>0.70615302300695504</c:v>
                </c:pt>
                <c:pt idx="39595">
                  <c:v>0.706170857856251</c:v>
                </c:pt>
                <c:pt idx="39596">
                  <c:v>0.70618869270554596</c:v>
                </c:pt>
                <c:pt idx="39597">
                  <c:v>0.70620652755484203</c:v>
                </c:pt>
                <c:pt idx="39598">
                  <c:v>0.706224362404137</c:v>
                </c:pt>
                <c:pt idx="39599">
                  <c:v>0.70624219725343296</c:v>
                </c:pt>
                <c:pt idx="39600">
                  <c:v>0.70626003210272803</c:v>
                </c:pt>
                <c:pt idx="39601">
                  <c:v>0.70627786695202399</c:v>
                </c:pt>
                <c:pt idx="39602">
                  <c:v>0.70629570180131895</c:v>
                </c:pt>
                <c:pt idx="39603">
                  <c:v>0.70631353665061503</c:v>
                </c:pt>
                <c:pt idx="39604">
                  <c:v>0.70633137149990999</c:v>
                </c:pt>
                <c:pt idx="39605">
                  <c:v>0.70634920634920595</c:v>
                </c:pt>
                <c:pt idx="39606">
                  <c:v>0.70636704119850102</c:v>
                </c:pt>
                <c:pt idx="39607">
                  <c:v>0.70638487604779698</c:v>
                </c:pt>
                <c:pt idx="39608">
                  <c:v>0.70640271089709294</c:v>
                </c:pt>
                <c:pt idx="39609">
                  <c:v>0.70642054574638802</c:v>
                </c:pt>
                <c:pt idx="39610">
                  <c:v>0.70643838059568398</c:v>
                </c:pt>
                <c:pt idx="39611">
                  <c:v>0.70645621544497905</c:v>
                </c:pt>
                <c:pt idx="39612">
                  <c:v>0.70647405029427501</c:v>
                </c:pt>
                <c:pt idx="39613">
                  <c:v>0.70649188514356998</c:v>
                </c:pt>
                <c:pt idx="39614">
                  <c:v>0.70650971999286605</c:v>
                </c:pt>
                <c:pt idx="39615">
                  <c:v>0.70652755484216101</c:v>
                </c:pt>
                <c:pt idx="39616">
                  <c:v>0.70654538969145697</c:v>
                </c:pt>
                <c:pt idx="39617">
                  <c:v>0.70656322454075204</c:v>
                </c:pt>
                <c:pt idx="39618">
                  <c:v>0.70658105939004801</c:v>
                </c:pt>
                <c:pt idx="39619">
                  <c:v>0.70659889423934297</c:v>
                </c:pt>
                <c:pt idx="39620">
                  <c:v>0.70661672908863904</c:v>
                </c:pt>
                <c:pt idx="39621">
                  <c:v>0.706634563937934</c:v>
                </c:pt>
                <c:pt idx="39622">
                  <c:v>0.70665239878722996</c:v>
                </c:pt>
                <c:pt idx="39623">
                  <c:v>0.70667023363652504</c:v>
                </c:pt>
                <c:pt idx="39624">
                  <c:v>0.706688068485821</c:v>
                </c:pt>
                <c:pt idx="39625">
                  <c:v>0.70670590333511596</c:v>
                </c:pt>
                <c:pt idx="39626">
                  <c:v>0.70672373818441203</c:v>
                </c:pt>
                <c:pt idx="39627">
                  <c:v>0.70674157303370699</c:v>
                </c:pt>
                <c:pt idx="39628">
                  <c:v>0.70675940788300295</c:v>
                </c:pt>
                <c:pt idx="39629">
                  <c:v>0.70677724273229803</c:v>
                </c:pt>
                <c:pt idx="39630">
                  <c:v>0.70679507758159399</c:v>
                </c:pt>
                <c:pt idx="39631">
                  <c:v>0.70681291243088995</c:v>
                </c:pt>
                <c:pt idx="39632">
                  <c:v>0.70683074728018502</c:v>
                </c:pt>
                <c:pt idx="39633">
                  <c:v>0.70684858212948098</c:v>
                </c:pt>
                <c:pt idx="39634">
                  <c:v>0.70686641697877595</c:v>
                </c:pt>
                <c:pt idx="39635">
                  <c:v>0.70688425182807202</c:v>
                </c:pt>
                <c:pt idx="39636">
                  <c:v>0.70690208667736698</c:v>
                </c:pt>
                <c:pt idx="39637">
                  <c:v>0.70691992152666305</c:v>
                </c:pt>
                <c:pt idx="39638">
                  <c:v>0.70693775637595802</c:v>
                </c:pt>
                <c:pt idx="39639">
                  <c:v>0.70695559122525398</c:v>
                </c:pt>
                <c:pt idx="39640">
                  <c:v>0.70697342607454905</c:v>
                </c:pt>
                <c:pt idx="39641">
                  <c:v>0.70699126092384501</c:v>
                </c:pt>
                <c:pt idx="39642">
                  <c:v>0.70700909577313997</c:v>
                </c:pt>
                <c:pt idx="39643">
                  <c:v>0.70702693062243605</c:v>
                </c:pt>
                <c:pt idx="39644">
                  <c:v>0.70704476547173101</c:v>
                </c:pt>
                <c:pt idx="39645">
                  <c:v>0.70706260032102697</c:v>
                </c:pt>
                <c:pt idx="39646">
                  <c:v>0.70708043517032204</c:v>
                </c:pt>
                <c:pt idx="39647">
                  <c:v>0.707098270019618</c:v>
                </c:pt>
                <c:pt idx="39648">
                  <c:v>0.70711610486891296</c:v>
                </c:pt>
                <c:pt idx="39649">
                  <c:v>0.70713393971820904</c:v>
                </c:pt>
                <c:pt idx="39650">
                  <c:v>0.707151774567504</c:v>
                </c:pt>
                <c:pt idx="39651">
                  <c:v>0.70716960941679996</c:v>
                </c:pt>
                <c:pt idx="39652">
                  <c:v>0.70718744426609503</c:v>
                </c:pt>
                <c:pt idx="39653">
                  <c:v>0.70720527911539099</c:v>
                </c:pt>
                <c:pt idx="39654">
                  <c:v>0.70722311396468696</c:v>
                </c:pt>
                <c:pt idx="39655">
                  <c:v>0.70724094881398203</c:v>
                </c:pt>
                <c:pt idx="39656">
                  <c:v>0.70725878366327799</c:v>
                </c:pt>
                <c:pt idx="39657">
                  <c:v>0.70727661851257295</c:v>
                </c:pt>
                <c:pt idx="39658">
                  <c:v>0.70729445336186902</c:v>
                </c:pt>
                <c:pt idx="39659">
                  <c:v>0.70731228821116399</c:v>
                </c:pt>
                <c:pt idx="39660">
                  <c:v>0.70733012306045995</c:v>
                </c:pt>
                <c:pt idx="39661">
                  <c:v>0.70734795790975502</c:v>
                </c:pt>
                <c:pt idx="39662">
                  <c:v>0.70736579275905098</c:v>
                </c:pt>
                <c:pt idx="39663">
                  <c:v>0.70738362760834606</c:v>
                </c:pt>
                <c:pt idx="39664">
                  <c:v>0.70740146245764202</c:v>
                </c:pt>
                <c:pt idx="39665">
                  <c:v>0.70741929730693698</c:v>
                </c:pt>
                <c:pt idx="39666">
                  <c:v>0.70743713215623305</c:v>
                </c:pt>
                <c:pt idx="39667">
                  <c:v>0.70745496700552801</c:v>
                </c:pt>
                <c:pt idx="39668">
                  <c:v>0.70747280185482397</c:v>
                </c:pt>
                <c:pt idx="39669">
                  <c:v>0.70749063670411905</c:v>
                </c:pt>
                <c:pt idx="39670">
                  <c:v>0.70750847155341501</c:v>
                </c:pt>
                <c:pt idx="39671">
                  <c:v>0.70752630640270997</c:v>
                </c:pt>
                <c:pt idx="39672">
                  <c:v>0.70754414125200604</c:v>
                </c:pt>
                <c:pt idx="39673">
                  <c:v>0.707561976101301</c:v>
                </c:pt>
                <c:pt idx="39674">
                  <c:v>0.70757981095059697</c:v>
                </c:pt>
                <c:pt idx="39675">
                  <c:v>0.70759764579989304</c:v>
                </c:pt>
                <c:pt idx="39676">
                  <c:v>0.707615480649188</c:v>
                </c:pt>
                <c:pt idx="39677">
                  <c:v>0.70763331549848396</c:v>
                </c:pt>
                <c:pt idx="39678">
                  <c:v>0.70765115034777903</c:v>
                </c:pt>
                <c:pt idx="39679">
                  <c:v>0.707668985197075</c:v>
                </c:pt>
                <c:pt idx="39680">
                  <c:v>0.70768682004636996</c:v>
                </c:pt>
                <c:pt idx="39681">
                  <c:v>0.70770465489566603</c:v>
                </c:pt>
                <c:pt idx="39682">
                  <c:v>0.70772248974496099</c:v>
                </c:pt>
                <c:pt idx="39683">
                  <c:v>0.70774032459425695</c:v>
                </c:pt>
                <c:pt idx="39684">
                  <c:v>0.70775815944355203</c:v>
                </c:pt>
                <c:pt idx="39685">
                  <c:v>0.70777599429284799</c:v>
                </c:pt>
                <c:pt idx="39686">
                  <c:v>0.70779382914214295</c:v>
                </c:pt>
                <c:pt idx="39687">
                  <c:v>0.70781166399143902</c:v>
                </c:pt>
                <c:pt idx="39688">
                  <c:v>0.70782949884073398</c:v>
                </c:pt>
                <c:pt idx="39689">
                  <c:v>0.70784733369002995</c:v>
                </c:pt>
                <c:pt idx="39690">
                  <c:v>0.70786516853932502</c:v>
                </c:pt>
                <c:pt idx="39691">
                  <c:v>0.70788300338862098</c:v>
                </c:pt>
                <c:pt idx="39692">
                  <c:v>0.70790083823791605</c:v>
                </c:pt>
                <c:pt idx="39693">
                  <c:v>0.70791867308721201</c:v>
                </c:pt>
                <c:pt idx="39694">
                  <c:v>0.70793650793650797</c:v>
                </c:pt>
                <c:pt idx="39695">
                  <c:v>0.70795434278580305</c:v>
                </c:pt>
                <c:pt idx="39696">
                  <c:v>0.70797217763509901</c:v>
                </c:pt>
                <c:pt idx="39697">
                  <c:v>0.70799001248439397</c:v>
                </c:pt>
                <c:pt idx="39698">
                  <c:v>0.70800784733369004</c:v>
                </c:pt>
                <c:pt idx="39699">
                  <c:v>0.70802568218298501</c:v>
                </c:pt>
                <c:pt idx="39700">
                  <c:v>0.70804351703228097</c:v>
                </c:pt>
                <c:pt idx="39701">
                  <c:v>0.70806135188157604</c:v>
                </c:pt>
                <c:pt idx="39702">
                  <c:v>0.708079186730872</c:v>
                </c:pt>
                <c:pt idx="39703">
                  <c:v>0.70809702158016696</c:v>
                </c:pt>
                <c:pt idx="39704">
                  <c:v>0.70811485642946304</c:v>
                </c:pt>
                <c:pt idx="39705">
                  <c:v>0.708132691278758</c:v>
                </c:pt>
                <c:pt idx="39706">
                  <c:v>0.70815052612805396</c:v>
                </c:pt>
                <c:pt idx="39707">
                  <c:v>0.70816836097734903</c:v>
                </c:pt>
                <c:pt idx="39708">
                  <c:v>0.70818619582664499</c:v>
                </c:pt>
                <c:pt idx="39709">
                  <c:v>0.70820403067593996</c:v>
                </c:pt>
                <c:pt idx="39710">
                  <c:v>0.70822186552523603</c:v>
                </c:pt>
                <c:pt idx="39711">
                  <c:v>0.70823970037453099</c:v>
                </c:pt>
                <c:pt idx="39712">
                  <c:v>0.70825753522382695</c:v>
                </c:pt>
                <c:pt idx="39713">
                  <c:v>0.70827537007312202</c:v>
                </c:pt>
                <c:pt idx="39714">
                  <c:v>0.70829320492241798</c:v>
                </c:pt>
                <c:pt idx="39715">
                  <c:v>0.70831103977171395</c:v>
                </c:pt>
                <c:pt idx="39716">
                  <c:v>0.70832887462100902</c:v>
                </c:pt>
                <c:pt idx="39717">
                  <c:v>0.70834670947030498</c:v>
                </c:pt>
                <c:pt idx="39718">
                  <c:v>0.70836454431960005</c:v>
                </c:pt>
                <c:pt idx="39719">
                  <c:v>0.70838237916889601</c:v>
                </c:pt>
                <c:pt idx="39720">
                  <c:v>0.70840021401819098</c:v>
                </c:pt>
                <c:pt idx="39721">
                  <c:v>0.70841804886748705</c:v>
                </c:pt>
                <c:pt idx="39722">
                  <c:v>0.70843588371678201</c:v>
                </c:pt>
                <c:pt idx="39723">
                  <c:v>0.70845371856607797</c:v>
                </c:pt>
                <c:pt idx="39724">
                  <c:v>0.70847155341537305</c:v>
                </c:pt>
                <c:pt idx="39725">
                  <c:v>0.70848938826466901</c:v>
                </c:pt>
                <c:pt idx="39726">
                  <c:v>0.70850722311396397</c:v>
                </c:pt>
                <c:pt idx="39727">
                  <c:v>0.70852505796326004</c:v>
                </c:pt>
                <c:pt idx="39728">
                  <c:v>0.708542892812555</c:v>
                </c:pt>
                <c:pt idx="39729">
                  <c:v>0.70856072766185096</c:v>
                </c:pt>
                <c:pt idx="39730">
                  <c:v>0.70857856251114604</c:v>
                </c:pt>
                <c:pt idx="39731">
                  <c:v>0.708596397360442</c:v>
                </c:pt>
                <c:pt idx="39732">
                  <c:v>0.70861423220973696</c:v>
                </c:pt>
                <c:pt idx="39733">
                  <c:v>0.70863206705903303</c:v>
                </c:pt>
                <c:pt idx="39734">
                  <c:v>0.70864990190832799</c:v>
                </c:pt>
                <c:pt idx="39735">
                  <c:v>0.70866773675762396</c:v>
                </c:pt>
                <c:pt idx="39736">
                  <c:v>0.70868557160691903</c:v>
                </c:pt>
                <c:pt idx="39737">
                  <c:v>0.70870340645621499</c:v>
                </c:pt>
                <c:pt idx="39738">
                  <c:v>0.70872124130551095</c:v>
                </c:pt>
                <c:pt idx="39739">
                  <c:v>0.70873907615480602</c:v>
                </c:pt>
                <c:pt idx="39740">
                  <c:v>0.70875691100410199</c:v>
                </c:pt>
                <c:pt idx="39741">
                  <c:v>0.70877474585339695</c:v>
                </c:pt>
                <c:pt idx="39742">
                  <c:v>0.70879258070269302</c:v>
                </c:pt>
                <c:pt idx="39743">
                  <c:v>0.70881041555198798</c:v>
                </c:pt>
                <c:pt idx="39744">
                  <c:v>0.70882825040128405</c:v>
                </c:pt>
                <c:pt idx="39745">
                  <c:v>0.70884608525057902</c:v>
                </c:pt>
                <c:pt idx="39746">
                  <c:v>0.70886392009987498</c:v>
                </c:pt>
                <c:pt idx="39747">
                  <c:v>0.70888175494917005</c:v>
                </c:pt>
                <c:pt idx="39748">
                  <c:v>0.70889958979846601</c:v>
                </c:pt>
                <c:pt idx="39749">
                  <c:v>0.70891742464776097</c:v>
                </c:pt>
                <c:pt idx="39750">
                  <c:v>0.70893525949705705</c:v>
                </c:pt>
                <c:pt idx="39751">
                  <c:v>0.70895309434635201</c:v>
                </c:pt>
                <c:pt idx="39752">
                  <c:v>0.70897092919564797</c:v>
                </c:pt>
                <c:pt idx="39753">
                  <c:v>0.70898876404494304</c:v>
                </c:pt>
                <c:pt idx="39754">
                  <c:v>0.709006598894239</c:v>
                </c:pt>
                <c:pt idx="39755">
                  <c:v>0.70902443374353397</c:v>
                </c:pt>
                <c:pt idx="39756">
                  <c:v>0.70904226859283004</c:v>
                </c:pt>
                <c:pt idx="39757">
                  <c:v>0.709060103442125</c:v>
                </c:pt>
                <c:pt idx="39758">
                  <c:v>0.70907793829142096</c:v>
                </c:pt>
                <c:pt idx="39759">
                  <c:v>0.70909577314071603</c:v>
                </c:pt>
                <c:pt idx="39760">
                  <c:v>0.709113607990012</c:v>
                </c:pt>
                <c:pt idx="39761">
                  <c:v>0.70913144283930796</c:v>
                </c:pt>
                <c:pt idx="39762">
                  <c:v>0.70914927768860303</c:v>
                </c:pt>
                <c:pt idx="39763">
                  <c:v>0.70916711253789899</c:v>
                </c:pt>
                <c:pt idx="39764">
                  <c:v>0.70918494738719395</c:v>
                </c:pt>
                <c:pt idx="39765">
                  <c:v>0.70920278223649003</c:v>
                </c:pt>
                <c:pt idx="39766">
                  <c:v>0.70922061708578499</c:v>
                </c:pt>
                <c:pt idx="39767">
                  <c:v>0.70923845193508095</c:v>
                </c:pt>
                <c:pt idx="39768">
                  <c:v>0.70925628678437602</c:v>
                </c:pt>
                <c:pt idx="39769">
                  <c:v>0.70927412163367198</c:v>
                </c:pt>
                <c:pt idx="39770">
                  <c:v>0.70929195648296695</c:v>
                </c:pt>
                <c:pt idx="39771">
                  <c:v>0.70930979133226302</c:v>
                </c:pt>
                <c:pt idx="39772">
                  <c:v>0.70932762618155798</c:v>
                </c:pt>
                <c:pt idx="39773">
                  <c:v>0.70934546103085405</c:v>
                </c:pt>
                <c:pt idx="39774">
                  <c:v>0.70936329588014901</c:v>
                </c:pt>
                <c:pt idx="39775">
                  <c:v>0.70938113072944498</c:v>
                </c:pt>
                <c:pt idx="39776">
                  <c:v>0.70939896557874005</c:v>
                </c:pt>
                <c:pt idx="39777">
                  <c:v>0.70941680042803601</c:v>
                </c:pt>
                <c:pt idx="39778">
                  <c:v>0.70943463527733097</c:v>
                </c:pt>
                <c:pt idx="39779">
                  <c:v>0.70945247012662704</c:v>
                </c:pt>
                <c:pt idx="39780">
                  <c:v>0.70947030497592301</c:v>
                </c:pt>
                <c:pt idx="39781">
                  <c:v>0.70948813982521797</c:v>
                </c:pt>
                <c:pt idx="39782">
                  <c:v>0.70950597467451404</c:v>
                </c:pt>
                <c:pt idx="39783">
                  <c:v>0.709523809523809</c:v>
                </c:pt>
                <c:pt idx="39784">
                  <c:v>0.70954164437310496</c:v>
                </c:pt>
                <c:pt idx="39785">
                  <c:v>0.70955947922240004</c:v>
                </c:pt>
                <c:pt idx="39786">
                  <c:v>0.709577314071696</c:v>
                </c:pt>
                <c:pt idx="39787">
                  <c:v>0.70959514892099096</c:v>
                </c:pt>
                <c:pt idx="39788">
                  <c:v>0.70961298377028703</c:v>
                </c:pt>
                <c:pt idx="39789">
                  <c:v>0.70963081861958199</c:v>
                </c:pt>
                <c:pt idx="39790">
                  <c:v>0.70964865346887795</c:v>
                </c:pt>
                <c:pt idx="39791">
                  <c:v>0.70966648831817303</c:v>
                </c:pt>
                <c:pt idx="39792">
                  <c:v>0.70968432316746899</c:v>
                </c:pt>
                <c:pt idx="39793">
                  <c:v>0.70970215801676395</c:v>
                </c:pt>
                <c:pt idx="39794">
                  <c:v>0.70971999286606002</c:v>
                </c:pt>
                <c:pt idx="39795">
                  <c:v>0.70973782771535499</c:v>
                </c:pt>
                <c:pt idx="39796">
                  <c:v>0.70975566256465095</c:v>
                </c:pt>
                <c:pt idx="39797">
                  <c:v>0.70977349741394602</c:v>
                </c:pt>
                <c:pt idx="39798">
                  <c:v>0.70979133226324198</c:v>
                </c:pt>
                <c:pt idx="39799">
                  <c:v>0.70980916711253705</c:v>
                </c:pt>
                <c:pt idx="39800">
                  <c:v>0.70982700196183302</c:v>
                </c:pt>
                <c:pt idx="39801">
                  <c:v>0.70984483681112898</c:v>
                </c:pt>
                <c:pt idx="39802">
                  <c:v>0.70986267166042405</c:v>
                </c:pt>
                <c:pt idx="39803">
                  <c:v>0.70988050650972001</c:v>
                </c:pt>
                <c:pt idx="39804">
                  <c:v>0.70989834135901497</c:v>
                </c:pt>
                <c:pt idx="39805">
                  <c:v>0.70991617620831104</c:v>
                </c:pt>
                <c:pt idx="39806">
                  <c:v>0.70993401105760601</c:v>
                </c:pt>
                <c:pt idx="39807">
                  <c:v>0.70995184590690197</c:v>
                </c:pt>
                <c:pt idx="39808">
                  <c:v>0.70996968075619704</c:v>
                </c:pt>
                <c:pt idx="39809">
                  <c:v>0.709987515605493</c:v>
                </c:pt>
                <c:pt idx="39810">
                  <c:v>0.71000535045478796</c:v>
                </c:pt>
                <c:pt idx="39811">
                  <c:v>0.71002318530408404</c:v>
                </c:pt>
                <c:pt idx="39812">
                  <c:v>0.710041020153379</c:v>
                </c:pt>
                <c:pt idx="39813">
                  <c:v>0.71005885500267496</c:v>
                </c:pt>
                <c:pt idx="39814">
                  <c:v>0.71007668985197003</c:v>
                </c:pt>
                <c:pt idx="39815">
                  <c:v>0.71009452470126599</c:v>
                </c:pt>
                <c:pt idx="39816">
                  <c:v>0.71011235955056096</c:v>
                </c:pt>
                <c:pt idx="39817">
                  <c:v>0.71013019439985703</c:v>
                </c:pt>
                <c:pt idx="39818">
                  <c:v>0.71014802924915199</c:v>
                </c:pt>
                <c:pt idx="39819">
                  <c:v>0.71016586409844795</c:v>
                </c:pt>
                <c:pt idx="39820">
                  <c:v>0.71018369894774303</c:v>
                </c:pt>
                <c:pt idx="39821">
                  <c:v>0.71020153379703899</c:v>
                </c:pt>
                <c:pt idx="39822">
                  <c:v>0.71021936864633495</c:v>
                </c:pt>
                <c:pt idx="39823">
                  <c:v>0.71023720349563002</c:v>
                </c:pt>
                <c:pt idx="39824">
                  <c:v>0.71025503834492598</c:v>
                </c:pt>
                <c:pt idx="39825">
                  <c:v>0.71027287319422105</c:v>
                </c:pt>
                <c:pt idx="39826">
                  <c:v>0.71029070804351702</c:v>
                </c:pt>
                <c:pt idx="39827">
                  <c:v>0.71030854289281198</c:v>
                </c:pt>
                <c:pt idx="39828">
                  <c:v>0.71032637774210805</c:v>
                </c:pt>
                <c:pt idx="39829">
                  <c:v>0.71034421259140301</c:v>
                </c:pt>
                <c:pt idx="39830">
                  <c:v>0.71036204744069897</c:v>
                </c:pt>
                <c:pt idx="39831">
                  <c:v>0.71037988228999405</c:v>
                </c:pt>
                <c:pt idx="39832">
                  <c:v>0.71039771713929001</c:v>
                </c:pt>
                <c:pt idx="39833">
                  <c:v>0.71041555198858497</c:v>
                </c:pt>
                <c:pt idx="39834">
                  <c:v>0.71043338683788104</c:v>
                </c:pt>
                <c:pt idx="39835">
                  <c:v>0.710451221687176</c:v>
                </c:pt>
                <c:pt idx="39836">
                  <c:v>0.71046905653647197</c:v>
                </c:pt>
                <c:pt idx="39837">
                  <c:v>0.71048689138576704</c:v>
                </c:pt>
                <c:pt idx="39838">
                  <c:v>0.710504726235063</c:v>
                </c:pt>
                <c:pt idx="39839">
                  <c:v>0.71052256108435796</c:v>
                </c:pt>
                <c:pt idx="39840">
                  <c:v>0.71054039593365403</c:v>
                </c:pt>
                <c:pt idx="39841">
                  <c:v>0.710558230782949</c:v>
                </c:pt>
                <c:pt idx="39842">
                  <c:v>0.71057606563224496</c:v>
                </c:pt>
                <c:pt idx="39843">
                  <c:v>0.71059390048154003</c:v>
                </c:pt>
                <c:pt idx="39844">
                  <c:v>0.71061173533083599</c:v>
                </c:pt>
                <c:pt idx="39845">
                  <c:v>0.71062957018013195</c:v>
                </c:pt>
                <c:pt idx="39846">
                  <c:v>0.71064740502942703</c:v>
                </c:pt>
                <c:pt idx="39847">
                  <c:v>0.71066523987872299</c:v>
                </c:pt>
                <c:pt idx="39848">
                  <c:v>0.71068307472801795</c:v>
                </c:pt>
                <c:pt idx="39849">
                  <c:v>0.71070090957731402</c:v>
                </c:pt>
                <c:pt idx="39850">
                  <c:v>0.71071874442660898</c:v>
                </c:pt>
                <c:pt idx="39851">
                  <c:v>0.71073657927590494</c:v>
                </c:pt>
                <c:pt idx="39852">
                  <c:v>0.71075441412520002</c:v>
                </c:pt>
                <c:pt idx="39853">
                  <c:v>0.71077224897449598</c:v>
                </c:pt>
                <c:pt idx="39854">
                  <c:v>0.71079008382379105</c:v>
                </c:pt>
                <c:pt idx="39855">
                  <c:v>0.71080791867308701</c:v>
                </c:pt>
                <c:pt idx="39856">
                  <c:v>0.71082575352238198</c:v>
                </c:pt>
                <c:pt idx="39857">
                  <c:v>0.71084358837167805</c:v>
                </c:pt>
                <c:pt idx="39858">
                  <c:v>0.71086142322097301</c:v>
                </c:pt>
                <c:pt idx="39859">
                  <c:v>0.71087925807026897</c:v>
                </c:pt>
                <c:pt idx="39860">
                  <c:v>0.71089709291956404</c:v>
                </c:pt>
                <c:pt idx="39861">
                  <c:v>0.71091492776886001</c:v>
                </c:pt>
                <c:pt idx="39862">
                  <c:v>0.71093276261815497</c:v>
                </c:pt>
                <c:pt idx="39863">
                  <c:v>0.71095059746745104</c:v>
                </c:pt>
                <c:pt idx="39864">
                  <c:v>0.710968432316746</c:v>
                </c:pt>
                <c:pt idx="39865">
                  <c:v>0.71098626716604196</c:v>
                </c:pt>
                <c:pt idx="39866">
                  <c:v>0.71100410201533704</c:v>
                </c:pt>
                <c:pt idx="39867">
                  <c:v>0.711021936864633</c:v>
                </c:pt>
                <c:pt idx="39868">
                  <c:v>0.71103977171392896</c:v>
                </c:pt>
                <c:pt idx="39869">
                  <c:v>0.71105760656322403</c:v>
                </c:pt>
                <c:pt idx="39870">
                  <c:v>0.71107544141251999</c:v>
                </c:pt>
                <c:pt idx="39871">
                  <c:v>0.71109327626181495</c:v>
                </c:pt>
                <c:pt idx="39872">
                  <c:v>0.71111111111111103</c:v>
                </c:pt>
                <c:pt idx="39873">
                  <c:v>0.71112894596040599</c:v>
                </c:pt>
                <c:pt idx="39874">
                  <c:v>0.71114678080970195</c:v>
                </c:pt>
                <c:pt idx="39875">
                  <c:v>0.71116461565899702</c:v>
                </c:pt>
                <c:pt idx="39876">
                  <c:v>0.71118245050829298</c:v>
                </c:pt>
                <c:pt idx="39877">
                  <c:v>0.71120028535758795</c:v>
                </c:pt>
                <c:pt idx="39878">
                  <c:v>0.71121812020688402</c:v>
                </c:pt>
                <c:pt idx="39879">
                  <c:v>0.71123595505617898</c:v>
                </c:pt>
                <c:pt idx="39880">
                  <c:v>0.71125378990547505</c:v>
                </c:pt>
                <c:pt idx="39881">
                  <c:v>0.71127162475477002</c:v>
                </c:pt>
                <c:pt idx="39882">
                  <c:v>0.71128945960406598</c:v>
                </c:pt>
                <c:pt idx="39883">
                  <c:v>0.71130729445336105</c:v>
                </c:pt>
                <c:pt idx="39884">
                  <c:v>0.71132512930265701</c:v>
                </c:pt>
                <c:pt idx="39885">
                  <c:v>0.71134296415195197</c:v>
                </c:pt>
                <c:pt idx="39886">
                  <c:v>0.71136079900124805</c:v>
                </c:pt>
                <c:pt idx="39887">
                  <c:v>0.71137863385054401</c:v>
                </c:pt>
                <c:pt idx="39888">
                  <c:v>0.71139646869983897</c:v>
                </c:pt>
                <c:pt idx="39889">
                  <c:v>0.71141430354913504</c:v>
                </c:pt>
                <c:pt idx="39890">
                  <c:v>0.71143213839843</c:v>
                </c:pt>
                <c:pt idx="39891">
                  <c:v>0.71144997324772596</c:v>
                </c:pt>
                <c:pt idx="39892">
                  <c:v>0.71146780809702104</c:v>
                </c:pt>
                <c:pt idx="39893">
                  <c:v>0.711485642946317</c:v>
                </c:pt>
                <c:pt idx="39894">
                  <c:v>0.71150347779561196</c:v>
                </c:pt>
                <c:pt idx="39895">
                  <c:v>0.71152131264490803</c:v>
                </c:pt>
                <c:pt idx="39896">
                  <c:v>0.71153914749420299</c:v>
                </c:pt>
                <c:pt idx="39897">
                  <c:v>0.71155698234349896</c:v>
                </c:pt>
                <c:pt idx="39898">
                  <c:v>0.71157481719279403</c:v>
                </c:pt>
                <c:pt idx="39899">
                  <c:v>0.71159265204208999</c:v>
                </c:pt>
                <c:pt idx="39900">
                  <c:v>0.71161048689138495</c:v>
                </c:pt>
                <c:pt idx="39901">
                  <c:v>0.71162832174068102</c:v>
                </c:pt>
                <c:pt idx="39902">
                  <c:v>0.71164615658997599</c:v>
                </c:pt>
                <c:pt idx="39903">
                  <c:v>0.71166399143927195</c:v>
                </c:pt>
                <c:pt idx="39904">
                  <c:v>0.71168182628856702</c:v>
                </c:pt>
                <c:pt idx="39905">
                  <c:v>0.71169966113786298</c:v>
                </c:pt>
                <c:pt idx="39906">
                  <c:v>0.71171749598715806</c:v>
                </c:pt>
                <c:pt idx="39907">
                  <c:v>0.71173533083645402</c:v>
                </c:pt>
                <c:pt idx="39908">
                  <c:v>0.71175316568574998</c:v>
                </c:pt>
                <c:pt idx="39909">
                  <c:v>0.71177100053504505</c:v>
                </c:pt>
                <c:pt idx="39910">
                  <c:v>0.71178883538434101</c:v>
                </c:pt>
                <c:pt idx="39911">
                  <c:v>0.71180667023363597</c:v>
                </c:pt>
                <c:pt idx="39912">
                  <c:v>0.71182450508293205</c:v>
                </c:pt>
                <c:pt idx="39913">
                  <c:v>0.71184233993222701</c:v>
                </c:pt>
                <c:pt idx="39914">
                  <c:v>0.71186017478152297</c:v>
                </c:pt>
                <c:pt idx="39915">
                  <c:v>0.71187800963081804</c:v>
                </c:pt>
                <c:pt idx="39916">
                  <c:v>0.711895844480114</c:v>
                </c:pt>
                <c:pt idx="39917">
                  <c:v>0.71191367932940897</c:v>
                </c:pt>
                <c:pt idx="39918">
                  <c:v>0.71193151417870504</c:v>
                </c:pt>
                <c:pt idx="39919">
                  <c:v>0.711949349028</c:v>
                </c:pt>
                <c:pt idx="39920">
                  <c:v>0.71196718387729596</c:v>
                </c:pt>
                <c:pt idx="39921">
                  <c:v>0.71198501872659103</c:v>
                </c:pt>
                <c:pt idx="39922">
                  <c:v>0.712002853575887</c:v>
                </c:pt>
                <c:pt idx="39923">
                  <c:v>0.71202068842518196</c:v>
                </c:pt>
                <c:pt idx="39924">
                  <c:v>0.71203852327447803</c:v>
                </c:pt>
                <c:pt idx="39925">
                  <c:v>0.71205635812377299</c:v>
                </c:pt>
                <c:pt idx="39926">
                  <c:v>0.71207419297306895</c:v>
                </c:pt>
                <c:pt idx="39927">
                  <c:v>0.71209202782236403</c:v>
                </c:pt>
                <c:pt idx="39928">
                  <c:v>0.71210986267165999</c:v>
                </c:pt>
                <c:pt idx="39929">
                  <c:v>0.71212769752095595</c:v>
                </c:pt>
                <c:pt idx="39930">
                  <c:v>0.71214553237025102</c:v>
                </c:pt>
                <c:pt idx="39931">
                  <c:v>0.71216336721954698</c:v>
                </c:pt>
                <c:pt idx="39932">
                  <c:v>0.71218120206884195</c:v>
                </c:pt>
                <c:pt idx="39933">
                  <c:v>0.71219903691813802</c:v>
                </c:pt>
                <c:pt idx="39934">
                  <c:v>0.71221687176743298</c:v>
                </c:pt>
                <c:pt idx="39935">
                  <c:v>0.71223470661672905</c:v>
                </c:pt>
                <c:pt idx="39936">
                  <c:v>0.71225254146602401</c:v>
                </c:pt>
                <c:pt idx="39937">
                  <c:v>0.71227037631531998</c:v>
                </c:pt>
                <c:pt idx="39938">
                  <c:v>0.71228821116461505</c:v>
                </c:pt>
                <c:pt idx="39939">
                  <c:v>0.71230604601391101</c:v>
                </c:pt>
                <c:pt idx="39940">
                  <c:v>0.71232388086320597</c:v>
                </c:pt>
                <c:pt idx="39941">
                  <c:v>0.71234171571250204</c:v>
                </c:pt>
                <c:pt idx="39942">
                  <c:v>0.71235955056179701</c:v>
                </c:pt>
                <c:pt idx="39943">
                  <c:v>0.71237738541109297</c:v>
                </c:pt>
                <c:pt idx="39944">
                  <c:v>0.71239522026038804</c:v>
                </c:pt>
                <c:pt idx="39945">
                  <c:v>0.712413055109684</c:v>
                </c:pt>
                <c:pt idx="39946">
                  <c:v>0.71243088995897896</c:v>
                </c:pt>
                <c:pt idx="39947">
                  <c:v>0.71244872480827504</c:v>
                </c:pt>
                <c:pt idx="39948">
                  <c:v>0.71246655965757</c:v>
                </c:pt>
                <c:pt idx="39949">
                  <c:v>0.71248439450686596</c:v>
                </c:pt>
                <c:pt idx="39950">
                  <c:v>0.71250222935616103</c:v>
                </c:pt>
                <c:pt idx="39951">
                  <c:v>0.71252006420545699</c:v>
                </c:pt>
                <c:pt idx="39952">
                  <c:v>0.71253789905475295</c:v>
                </c:pt>
                <c:pt idx="39953">
                  <c:v>0.71255573390404803</c:v>
                </c:pt>
                <c:pt idx="39954">
                  <c:v>0.71257356875334399</c:v>
                </c:pt>
                <c:pt idx="39955">
                  <c:v>0.71259140360263895</c:v>
                </c:pt>
                <c:pt idx="39956">
                  <c:v>0.71260923845193502</c:v>
                </c:pt>
                <c:pt idx="39957">
                  <c:v>0.71262707330122999</c:v>
                </c:pt>
                <c:pt idx="39958">
                  <c:v>0.71264490815052595</c:v>
                </c:pt>
                <c:pt idx="39959">
                  <c:v>0.71266274299982102</c:v>
                </c:pt>
                <c:pt idx="39960">
                  <c:v>0.71268057784911698</c:v>
                </c:pt>
                <c:pt idx="39961">
                  <c:v>0.71269841269841205</c:v>
                </c:pt>
                <c:pt idx="39962">
                  <c:v>0.71271624754770802</c:v>
                </c:pt>
                <c:pt idx="39963">
                  <c:v>0.71273408239700298</c:v>
                </c:pt>
                <c:pt idx="39964">
                  <c:v>0.71275191724629905</c:v>
                </c:pt>
                <c:pt idx="39965">
                  <c:v>0.71276975209559401</c:v>
                </c:pt>
                <c:pt idx="39966">
                  <c:v>0.71278758694488997</c:v>
                </c:pt>
                <c:pt idx="39967">
                  <c:v>0.71280542179418505</c:v>
                </c:pt>
                <c:pt idx="39968">
                  <c:v>0.71282325664348101</c:v>
                </c:pt>
                <c:pt idx="39969">
                  <c:v>0.71284109149277597</c:v>
                </c:pt>
                <c:pt idx="39970">
                  <c:v>0.71285892634207204</c:v>
                </c:pt>
                <c:pt idx="39971">
                  <c:v>0.712876761191367</c:v>
                </c:pt>
                <c:pt idx="39972">
                  <c:v>0.71289459604066296</c:v>
                </c:pt>
                <c:pt idx="39973">
                  <c:v>0.71291243088995804</c:v>
                </c:pt>
                <c:pt idx="39974">
                  <c:v>0.712930265739254</c:v>
                </c:pt>
                <c:pt idx="39975">
                  <c:v>0.71294810058854996</c:v>
                </c:pt>
                <c:pt idx="39976">
                  <c:v>0.71296593543784503</c:v>
                </c:pt>
                <c:pt idx="39977">
                  <c:v>0.71298377028714099</c:v>
                </c:pt>
                <c:pt idx="39978">
                  <c:v>0.71300160513643596</c:v>
                </c:pt>
                <c:pt idx="39979">
                  <c:v>0.71301943998573203</c:v>
                </c:pt>
                <c:pt idx="39980">
                  <c:v>0.71303727483502699</c:v>
                </c:pt>
                <c:pt idx="39981">
                  <c:v>0.71305510968432295</c:v>
                </c:pt>
                <c:pt idx="39982">
                  <c:v>0.71307294453361802</c:v>
                </c:pt>
                <c:pt idx="39983">
                  <c:v>0.71309077938291399</c:v>
                </c:pt>
                <c:pt idx="39984">
                  <c:v>0.71310861423220895</c:v>
                </c:pt>
                <c:pt idx="39985">
                  <c:v>0.71312644908150502</c:v>
                </c:pt>
                <c:pt idx="39986">
                  <c:v>0.71314428393079998</c:v>
                </c:pt>
                <c:pt idx="39987">
                  <c:v>0.71316211878009605</c:v>
                </c:pt>
                <c:pt idx="39988">
                  <c:v>0.71317995362939102</c:v>
                </c:pt>
                <c:pt idx="39989">
                  <c:v>0.71319778847868698</c:v>
                </c:pt>
                <c:pt idx="39990">
                  <c:v>0.71321562332798205</c:v>
                </c:pt>
                <c:pt idx="39991">
                  <c:v>0.71323345817727801</c:v>
                </c:pt>
                <c:pt idx="39992">
                  <c:v>0.71325129302657397</c:v>
                </c:pt>
                <c:pt idx="39993">
                  <c:v>0.71326912787586905</c:v>
                </c:pt>
                <c:pt idx="39994">
                  <c:v>0.71328696272516501</c:v>
                </c:pt>
                <c:pt idx="39995">
                  <c:v>0.71330479757445997</c:v>
                </c:pt>
                <c:pt idx="39996">
                  <c:v>0.71332263242375604</c:v>
                </c:pt>
                <c:pt idx="39997">
                  <c:v>0.713340467273051</c:v>
                </c:pt>
                <c:pt idx="39998">
                  <c:v>0.71335830212234697</c:v>
                </c:pt>
                <c:pt idx="39999">
                  <c:v>0.71337613697164204</c:v>
                </c:pt>
                <c:pt idx="40000">
                  <c:v>0.713393971820938</c:v>
                </c:pt>
                <c:pt idx="40001">
                  <c:v>0.71341180667023296</c:v>
                </c:pt>
                <c:pt idx="40002">
                  <c:v>0.71342964151952903</c:v>
                </c:pt>
                <c:pt idx="40003">
                  <c:v>0.713447476368824</c:v>
                </c:pt>
                <c:pt idx="40004">
                  <c:v>0.71346531121811996</c:v>
                </c:pt>
                <c:pt idx="40005">
                  <c:v>0.71348314606741503</c:v>
                </c:pt>
                <c:pt idx="40006">
                  <c:v>0.71350098091671099</c:v>
                </c:pt>
                <c:pt idx="40007">
                  <c:v>0.71351881576600595</c:v>
                </c:pt>
                <c:pt idx="40008">
                  <c:v>0.71353665061530203</c:v>
                </c:pt>
                <c:pt idx="40009">
                  <c:v>0.71355448546459699</c:v>
                </c:pt>
                <c:pt idx="40010">
                  <c:v>0.71357232031389295</c:v>
                </c:pt>
                <c:pt idx="40011">
                  <c:v>0.71359015516318802</c:v>
                </c:pt>
                <c:pt idx="40012">
                  <c:v>0.71360799001248398</c:v>
                </c:pt>
                <c:pt idx="40013">
                  <c:v>0.71362582486177994</c:v>
                </c:pt>
                <c:pt idx="40014">
                  <c:v>0.71364365971107502</c:v>
                </c:pt>
                <c:pt idx="40015">
                  <c:v>0.71366149456037098</c:v>
                </c:pt>
                <c:pt idx="40016">
                  <c:v>0.71367932940966605</c:v>
                </c:pt>
                <c:pt idx="40017">
                  <c:v>0.71369716425896201</c:v>
                </c:pt>
                <c:pt idx="40018">
                  <c:v>0.71371499910825698</c:v>
                </c:pt>
                <c:pt idx="40019">
                  <c:v>0.71373283395755305</c:v>
                </c:pt>
                <c:pt idx="40020">
                  <c:v>0.71375066880684801</c:v>
                </c:pt>
                <c:pt idx="40021">
                  <c:v>0.71376850365614397</c:v>
                </c:pt>
                <c:pt idx="40022">
                  <c:v>0.71378633850543904</c:v>
                </c:pt>
                <c:pt idx="40023">
                  <c:v>0.71380417335473501</c:v>
                </c:pt>
                <c:pt idx="40024">
                  <c:v>0.71382200820402997</c:v>
                </c:pt>
                <c:pt idx="40025">
                  <c:v>0.71383984305332604</c:v>
                </c:pt>
                <c:pt idx="40026">
                  <c:v>0.713857677902621</c:v>
                </c:pt>
                <c:pt idx="40027">
                  <c:v>0.71387551275191696</c:v>
                </c:pt>
                <c:pt idx="40028">
                  <c:v>0.71389334760121204</c:v>
                </c:pt>
                <c:pt idx="40029">
                  <c:v>0.713911182450508</c:v>
                </c:pt>
                <c:pt idx="40030">
                  <c:v>0.71392901729980296</c:v>
                </c:pt>
                <c:pt idx="40031">
                  <c:v>0.71394685214909903</c:v>
                </c:pt>
                <c:pt idx="40032">
                  <c:v>0.71396468699839399</c:v>
                </c:pt>
                <c:pt idx="40033">
                  <c:v>0.71398252184768995</c:v>
                </c:pt>
                <c:pt idx="40034">
                  <c:v>0.71400035669698503</c:v>
                </c:pt>
                <c:pt idx="40035">
                  <c:v>0.71401819154628099</c:v>
                </c:pt>
                <c:pt idx="40036">
                  <c:v>0.71403602639557695</c:v>
                </c:pt>
                <c:pt idx="40037">
                  <c:v>0.71405386124487202</c:v>
                </c:pt>
                <c:pt idx="40038">
                  <c:v>0.71407169609416798</c:v>
                </c:pt>
                <c:pt idx="40039">
                  <c:v>0.71408953094346295</c:v>
                </c:pt>
                <c:pt idx="40040">
                  <c:v>0.71410736579275902</c:v>
                </c:pt>
                <c:pt idx="40041">
                  <c:v>0.71412520064205398</c:v>
                </c:pt>
                <c:pt idx="40042">
                  <c:v>0.71414303549135005</c:v>
                </c:pt>
                <c:pt idx="40043">
                  <c:v>0.71416087034064502</c:v>
                </c:pt>
                <c:pt idx="40044">
                  <c:v>0.71417870518994098</c:v>
                </c:pt>
                <c:pt idx="40045">
                  <c:v>0.71419654003923605</c:v>
                </c:pt>
                <c:pt idx="40046">
                  <c:v>0.71421437488853201</c:v>
                </c:pt>
                <c:pt idx="40047">
                  <c:v>0.71423220973782697</c:v>
                </c:pt>
                <c:pt idx="40048">
                  <c:v>0.71425004458712305</c:v>
                </c:pt>
                <c:pt idx="40049">
                  <c:v>0.71426787943641801</c:v>
                </c:pt>
                <c:pt idx="40050">
                  <c:v>0.71428571428571397</c:v>
                </c:pt>
                <c:pt idx="40051">
                  <c:v>0.71430354913500904</c:v>
                </c:pt>
                <c:pt idx="40052">
                  <c:v>0.714321383984305</c:v>
                </c:pt>
                <c:pt idx="40053">
                  <c:v>0.71433921883359996</c:v>
                </c:pt>
                <c:pt idx="40054">
                  <c:v>0.71435705368289604</c:v>
                </c:pt>
                <c:pt idx="40055">
                  <c:v>0.714374888532191</c:v>
                </c:pt>
                <c:pt idx="40056">
                  <c:v>0.71439272338148696</c:v>
                </c:pt>
                <c:pt idx="40057">
                  <c:v>0.71441055823078203</c:v>
                </c:pt>
                <c:pt idx="40058">
                  <c:v>0.71442839308007799</c:v>
                </c:pt>
                <c:pt idx="40059">
                  <c:v>0.71444622792937396</c:v>
                </c:pt>
                <c:pt idx="40060">
                  <c:v>0.71446406277866903</c:v>
                </c:pt>
                <c:pt idx="40061">
                  <c:v>0.71448189762796499</c:v>
                </c:pt>
                <c:pt idx="40062">
                  <c:v>0.71449973247725995</c:v>
                </c:pt>
                <c:pt idx="40063">
                  <c:v>0.71451756732655602</c:v>
                </c:pt>
                <c:pt idx="40064">
                  <c:v>0.71453540217585099</c:v>
                </c:pt>
                <c:pt idx="40065">
                  <c:v>0.71455323702514695</c:v>
                </c:pt>
                <c:pt idx="40066">
                  <c:v>0.71457107187444202</c:v>
                </c:pt>
                <c:pt idx="40067">
                  <c:v>0.71458890672373798</c:v>
                </c:pt>
                <c:pt idx="40068">
                  <c:v>0.71460674157303306</c:v>
                </c:pt>
                <c:pt idx="40069">
                  <c:v>0.71462457642232902</c:v>
                </c:pt>
                <c:pt idx="40070">
                  <c:v>0.71464241127162398</c:v>
                </c:pt>
                <c:pt idx="40071">
                  <c:v>0.71466024612092005</c:v>
                </c:pt>
                <c:pt idx="40072">
                  <c:v>0.71467808097021501</c:v>
                </c:pt>
                <c:pt idx="40073">
                  <c:v>0.71469591581951097</c:v>
                </c:pt>
                <c:pt idx="40074">
                  <c:v>0.71471375066880605</c:v>
                </c:pt>
                <c:pt idx="40075">
                  <c:v>0.71473158551810201</c:v>
                </c:pt>
                <c:pt idx="40076">
                  <c:v>0.71474942036739697</c:v>
                </c:pt>
                <c:pt idx="40077">
                  <c:v>0.71476725521669304</c:v>
                </c:pt>
                <c:pt idx="40078">
                  <c:v>0.714785090065988</c:v>
                </c:pt>
                <c:pt idx="40079">
                  <c:v>0.71480292491528397</c:v>
                </c:pt>
                <c:pt idx="40080">
                  <c:v>0.71482075976458004</c:v>
                </c:pt>
                <c:pt idx="40081">
                  <c:v>0.714838594613875</c:v>
                </c:pt>
                <c:pt idx="40082">
                  <c:v>0.71485642946317096</c:v>
                </c:pt>
                <c:pt idx="40083">
                  <c:v>0.71487426431246603</c:v>
                </c:pt>
                <c:pt idx="40084">
                  <c:v>0.714892099161762</c:v>
                </c:pt>
                <c:pt idx="40085">
                  <c:v>0.71490993401105696</c:v>
                </c:pt>
                <c:pt idx="40086">
                  <c:v>0.71492776886035303</c:v>
                </c:pt>
                <c:pt idx="40087">
                  <c:v>0.71494560370964799</c:v>
                </c:pt>
                <c:pt idx="40088">
                  <c:v>0.71496343855894395</c:v>
                </c:pt>
                <c:pt idx="40089">
                  <c:v>0.71498127340823903</c:v>
                </c:pt>
                <c:pt idx="40090">
                  <c:v>0.71499910825753499</c:v>
                </c:pt>
                <c:pt idx="40091">
                  <c:v>0.71501694310682995</c:v>
                </c:pt>
                <c:pt idx="40092">
                  <c:v>0.71503477795612602</c:v>
                </c:pt>
                <c:pt idx="40093">
                  <c:v>0.71505261280542098</c:v>
                </c:pt>
                <c:pt idx="40094">
                  <c:v>0.71507044765471695</c:v>
                </c:pt>
                <c:pt idx="40095">
                  <c:v>0.71508828250401202</c:v>
                </c:pt>
                <c:pt idx="40096">
                  <c:v>0.71510611735330798</c:v>
                </c:pt>
                <c:pt idx="40097">
                  <c:v>0.71512395220260305</c:v>
                </c:pt>
                <c:pt idx="40098">
                  <c:v>0.71514178705189901</c:v>
                </c:pt>
                <c:pt idx="40099">
                  <c:v>0.71515962190119498</c:v>
                </c:pt>
                <c:pt idx="40100">
                  <c:v>0.71517745675049005</c:v>
                </c:pt>
                <c:pt idx="40101">
                  <c:v>0.71519529159978601</c:v>
                </c:pt>
                <c:pt idx="40102">
                  <c:v>0.71521312644908097</c:v>
                </c:pt>
                <c:pt idx="40103">
                  <c:v>0.71523096129837704</c:v>
                </c:pt>
                <c:pt idx="40104">
                  <c:v>0.71524879614767201</c:v>
                </c:pt>
                <c:pt idx="40105">
                  <c:v>0.71526663099696797</c:v>
                </c:pt>
                <c:pt idx="40106">
                  <c:v>0.71528446584626304</c:v>
                </c:pt>
                <c:pt idx="40107">
                  <c:v>0.715302300695559</c:v>
                </c:pt>
                <c:pt idx="40108">
                  <c:v>0.71532013554485396</c:v>
                </c:pt>
                <c:pt idx="40109">
                  <c:v>0.71533797039415004</c:v>
                </c:pt>
                <c:pt idx="40110">
                  <c:v>0.715355805243445</c:v>
                </c:pt>
                <c:pt idx="40111">
                  <c:v>0.71537364009274096</c:v>
                </c:pt>
                <c:pt idx="40112">
                  <c:v>0.71539147494203603</c:v>
                </c:pt>
                <c:pt idx="40113">
                  <c:v>0.71540930979133199</c:v>
                </c:pt>
                <c:pt idx="40114">
                  <c:v>0.71542714464062696</c:v>
                </c:pt>
                <c:pt idx="40115">
                  <c:v>0.71544497948992303</c:v>
                </c:pt>
                <c:pt idx="40116">
                  <c:v>0.71546281433921799</c:v>
                </c:pt>
                <c:pt idx="40117">
                  <c:v>0.71548064918851395</c:v>
                </c:pt>
                <c:pt idx="40118">
                  <c:v>0.71549848403780902</c:v>
                </c:pt>
                <c:pt idx="40119">
                  <c:v>0.71551631888710499</c:v>
                </c:pt>
                <c:pt idx="40120">
                  <c:v>0.71553415373640095</c:v>
                </c:pt>
                <c:pt idx="40121">
                  <c:v>0.71555198858569602</c:v>
                </c:pt>
                <c:pt idx="40122">
                  <c:v>0.71556982343499198</c:v>
                </c:pt>
                <c:pt idx="40123">
                  <c:v>0.71558765828428705</c:v>
                </c:pt>
                <c:pt idx="40124">
                  <c:v>0.71560549313358301</c:v>
                </c:pt>
                <c:pt idx="40125">
                  <c:v>0.71562332798287798</c:v>
                </c:pt>
                <c:pt idx="40126">
                  <c:v>0.71564116283217405</c:v>
                </c:pt>
                <c:pt idx="40127">
                  <c:v>0.71565899768146901</c:v>
                </c:pt>
                <c:pt idx="40128">
                  <c:v>0.71567683253076497</c:v>
                </c:pt>
                <c:pt idx="40129">
                  <c:v>0.71569466738006005</c:v>
                </c:pt>
                <c:pt idx="40130">
                  <c:v>0.71571250222935601</c:v>
                </c:pt>
                <c:pt idx="40131">
                  <c:v>0.71573033707865097</c:v>
                </c:pt>
                <c:pt idx="40132">
                  <c:v>0.71574817192794704</c:v>
                </c:pt>
                <c:pt idx="40133">
                  <c:v>0.715766006777242</c:v>
                </c:pt>
                <c:pt idx="40134">
                  <c:v>0.71578384162653796</c:v>
                </c:pt>
                <c:pt idx="40135">
                  <c:v>0.71580167647583304</c:v>
                </c:pt>
                <c:pt idx="40136">
                  <c:v>0.715819511325129</c:v>
                </c:pt>
                <c:pt idx="40137">
                  <c:v>0.71583734617442396</c:v>
                </c:pt>
                <c:pt idx="40138">
                  <c:v>0.71585518102372003</c:v>
                </c:pt>
                <c:pt idx="40139">
                  <c:v>0.715873015873015</c:v>
                </c:pt>
                <c:pt idx="40140">
                  <c:v>0.71589085072231096</c:v>
                </c:pt>
                <c:pt idx="40141">
                  <c:v>0.71590868557160603</c:v>
                </c:pt>
                <c:pt idx="40142">
                  <c:v>0.71592652042090199</c:v>
                </c:pt>
                <c:pt idx="40143">
                  <c:v>0.71594435527019795</c:v>
                </c:pt>
                <c:pt idx="40144">
                  <c:v>0.71596219011949302</c:v>
                </c:pt>
                <c:pt idx="40145">
                  <c:v>0.71598002496878899</c:v>
                </c:pt>
                <c:pt idx="40146">
                  <c:v>0.71599785981808395</c:v>
                </c:pt>
                <c:pt idx="40147">
                  <c:v>0.71601569466738002</c:v>
                </c:pt>
                <c:pt idx="40148">
                  <c:v>0.71603352951667498</c:v>
                </c:pt>
                <c:pt idx="40149">
                  <c:v>0.71605136436597105</c:v>
                </c:pt>
                <c:pt idx="40150">
                  <c:v>0.71606919921526602</c:v>
                </c:pt>
                <c:pt idx="40151">
                  <c:v>0.71608703406456198</c:v>
                </c:pt>
                <c:pt idx="40152">
                  <c:v>0.71610486891385705</c:v>
                </c:pt>
                <c:pt idx="40153">
                  <c:v>0.71612270376315301</c:v>
                </c:pt>
                <c:pt idx="40154">
                  <c:v>0.71614053861244797</c:v>
                </c:pt>
                <c:pt idx="40155">
                  <c:v>0.71615837346174405</c:v>
                </c:pt>
                <c:pt idx="40156">
                  <c:v>0.71617620831103901</c:v>
                </c:pt>
                <c:pt idx="40157">
                  <c:v>0.71619404316033497</c:v>
                </c:pt>
                <c:pt idx="40158">
                  <c:v>0.71621187800963004</c:v>
                </c:pt>
                <c:pt idx="40159">
                  <c:v>0.716229712858926</c:v>
                </c:pt>
                <c:pt idx="40160">
                  <c:v>0.71624754770822097</c:v>
                </c:pt>
                <c:pt idx="40161">
                  <c:v>0.71626538255751704</c:v>
                </c:pt>
                <c:pt idx="40162">
                  <c:v>0.716283217406812</c:v>
                </c:pt>
                <c:pt idx="40163">
                  <c:v>0.71630105225610796</c:v>
                </c:pt>
                <c:pt idx="40164">
                  <c:v>0.71631888710540303</c:v>
                </c:pt>
                <c:pt idx="40165">
                  <c:v>0.716336721954699</c:v>
                </c:pt>
                <c:pt idx="40166">
                  <c:v>0.71635455680399496</c:v>
                </c:pt>
                <c:pt idx="40167">
                  <c:v>0.71637239165329003</c:v>
                </c:pt>
                <c:pt idx="40168">
                  <c:v>0.71639022650258599</c:v>
                </c:pt>
                <c:pt idx="40169">
                  <c:v>0.71640806135188095</c:v>
                </c:pt>
                <c:pt idx="40170">
                  <c:v>0.71642589620117703</c:v>
                </c:pt>
                <c:pt idx="40171">
                  <c:v>0.71644373105047199</c:v>
                </c:pt>
                <c:pt idx="40172">
                  <c:v>0.71646156589976795</c:v>
                </c:pt>
                <c:pt idx="40173">
                  <c:v>0.71647940074906302</c:v>
                </c:pt>
                <c:pt idx="40174">
                  <c:v>0.71649723559835898</c:v>
                </c:pt>
                <c:pt idx="40175">
                  <c:v>0.71651507044765395</c:v>
                </c:pt>
                <c:pt idx="40176">
                  <c:v>0.71653290529695002</c:v>
                </c:pt>
                <c:pt idx="40177">
                  <c:v>0.71655074014624498</c:v>
                </c:pt>
                <c:pt idx="40178">
                  <c:v>0.71656857499554105</c:v>
                </c:pt>
                <c:pt idx="40179">
                  <c:v>0.71658640984483601</c:v>
                </c:pt>
                <c:pt idx="40180">
                  <c:v>0.71660424469413198</c:v>
                </c:pt>
                <c:pt idx="40181">
                  <c:v>0.71662207954342705</c:v>
                </c:pt>
                <c:pt idx="40182">
                  <c:v>0.71663991439272301</c:v>
                </c:pt>
                <c:pt idx="40183">
                  <c:v>0.71665774924201797</c:v>
                </c:pt>
                <c:pt idx="40184">
                  <c:v>0.71667558409131404</c:v>
                </c:pt>
                <c:pt idx="40185">
                  <c:v>0.71669341894061001</c:v>
                </c:pt>
                <c:pt idx="40186">
                  <c:v>0.71671125378990497</c:v>
                </c:pt>
                <c:pt idx="40187">
                  <c:v>0.71672908863920104</c:v>
                </c:pt>
                <c:pt idx="40188">
                  <c:v>0.716746923488496</c:v>
                </c:pt>
                <c:pt idx="40189">
                  <c:v>0.71676475833779196</c:v>
                </c:pt>
                <c:pt idx="40190">
                  <c:v>0.71678259318708704</c:v>
                </c:pt>
                <c:pt idx="40191">
                  <c:v>0.716800428036383</c:v>
                </c:pt>
                <c:pt idx="40192">
                  <c:v>0.71681826288567796</c:v>
                </c:pt>
                <c:pt idx="40193">
                  <c:v>0.71683609773497403</c:v>
                </c:pt>
                <c:pt idx="40194">
                  <c:v>0.71685393258426899</c:v>
                </c:pt>
                <c:pt idx="40195">
                  <c:v>0.71687176743356495</c:v>
                </c:pt>
                <c:pt idx="40196">
                  <c:v>0.71688960228286003</c:v>
                </c:pt>
                <c:pt idx="40197">
                  <c:v>0.71690743713215599</c:v>
                </c:pt>
                <c:pt idx="40198">
                  <c:v>0.71692527198145095</c:v>
                </c:pt>
                <c:pt idx="40199">
                  <c:v>0.71694310683074702</c:v>
                </c:pt>
                <c:pt idx="40200">
                  <c:v>0.71696094168004199</c:v>
                </c:pt>
                <c:pt idx="40201">
                  <c:v>0.71697877652933795</c:v>
                </c:pt>
                <c:pt idx="40202">
                  <c:v>0.71699661137863302</c:v>
                </c:pt>
                <c:pt idx="40203">
                  <c:v>0.71701444622792898</c:v>
                </c:pt>
                <c:pt idx="40204">
                  <c:v>0.71703228107722405</c:v>
                </c:pt>
                <c:pt idx="40205">
                  <c:v>0.71705011592652002</c:v>
                </c:pt>
                <c:pt idx="40206">
                  <c:v>0.71706795077581598</c:v>
                </c:pt>
                <c:pt idx="40207">
                  <c:v>0.71708578562511105</c:v>
                </c:pt>
                <c:pt idx="40208">
                  <c:v>0.71710362047440701</c:v>
                </c:pt>
                <c:pt idx="40209">
                  <c:v>0.71712145532370197</c:v>
                </c:pt>
                <c:pt idx="40210">
                  <c:v>0.71713929017299805</c:v>
                </c:pt>
                <c:pt idx="40211">
                  <c:v>0.71715712502229301</c:v>
                </c:pt>
                <c:pt idx="40212">
                  <c:v>0.71717495987158897</c:v>
                </c:pt>
                <c:pt idx="40213">
                  <c:v>0.71719279472088404</c:v>
                </c:pt>
                <c:pt idx="40214">
                  <c:v>0.71721062957018</c:v>
                </c:pt>
                <c:pt idx="40215">
                  <c:v>0.71722846441947496</c:v>
                </c:pt>
                <c:pt idx="40216">
                  <c:v>0.71724629926877104</c:v>
                </c:pt>
                <c:pt idx="40217">
                  <c:v>0.717264134118066</c:v>
                </c:pt>
                <c:pt idx="40218">
                  <c:v>0.71728196896736196</c:v>
                </c:pt>
                <c:pt idx="40219">
                  <c:v>0.71729980381665703</c:v>
                </c:pt>
                <c:pt idx="40220">
                  <c:v>0.71731763866595299</c:v>
                </c:pt>
                <c:pt idx="40221">
                  <c:v>0.71733547351524796</c:v>
                </c:pt>
                <c:pt idx="40222">
                  <c:v>0.71735330836454403</c:v>
                </c:pt>
                <c:pt idx="40223">
                  <c:v>0.71737114321383899</c:v>
                </c:pt>
                <c:pt idx="40224">
                  <c:v>0.71738897806313495</c:v>
                </c:pt>
                <c:pt idx="40225">
                  <c:v>0.71740681291243003</c:v>
                </c:pt>
                <c:pt idx="40226">
                  <c:v>0.71742464776172599</c:v>
                </c:pt>
                <c:pt idx="40227">
                  <c:v>0.71744248261102195</c:v>
                </c:pt>
                <c:pt idx="40228">
                  <c:v>0.71746031746031702</c:v>
                </c:pt>
                <c:pt idx="40229">
                  <c:v>0.71747815230961298</c:v>
                </c:pt>
                <c:pt idx="40230">
                  <c:v>0.71749598715890806</c:v>
                </c:pt>
                <c:pt idx="40231">
                  <c:v>0.71751382200820402</c:v>
                </c:pt>
                <c:pt idx="40232">
                  <c:v>0.71753165685749898</c:v>
                </c:pt>
                <c:pt idx="40233">
                  <c:v>0.71754949170679505</c:v>
                </c:pt>
                <c:pt idx="40234">
                  <c:v>0.71756732655609001</c:v>
                </c:pt>
                <c:pt idx="40235">
                  <c:v>0.71758516140538597</c:v>
                </c:pt>
                <c:pt idx="40236">
                  <c:v>0.71760299625468105</c:v>
                </c:pt>
                <c:pt idx="40237">
                  <c:v>0.71762083110397701</c:v>
                </c:pt>
                <c:pt idx="40238">
                  <c:v>0.71763866595327197</c:v>
                </c:pt>
                <c:pt idx="40239">
                  <c:v>0.71765650080256804</c:v>
                </c:pt>
                <c:pt idx="40240">
                  <c:v>0.717674335651863</c:v>
                </c:pt>
                <c:pt idx="40241">
                  <c:v>0.71769217050115897</c:v>
                </c:pt>
                <c:pt idx="40242">
                  <c:v>0.71771000535045404</c:v>
                </c:pt>
                <c:pt idx="40243">
                  <c:v>0.71772784019975</c:v>
                </c:pt>
                <c:pt idx="40244">
                  <c:v>0.71774567504904496</c:v>
                </c:pt>
                <c:pt idx="40245">
                  <c:v>0.71776350989834103</c:v>
                </c:pt>
                <c:pt idx="40246">
                  <c:v>0.717781344747636</c:v>
                </c:pt>
                <c:pt idx="40247">
                  <c:v>0.71779917959693196</c:v>
                </c:pt>
                <c:pt idx="40248">
                  <c:v>0.71781701444622703</c:v>
                </c:pt>
                <c:pt idx="40249">
                  <c:v>0.71783484929552299</c:v>
                </c:pt>
                <c:pt idx="40250">
                  <c:v>0.71785268414481895</c:v>
                </c:pt>
                <c:pt idx="40251">
                  <c:v>0.71787051899411403</c:v>
                </c:pt>
                <c:pt idx="40252">
                  <c:v>0.71788835384340999</c:v>
                </c:pt>
                <c:pt idx="40253">
                  <c:v>0.71790618869270495</c:v>
                </c:pt>
                <c:pt idx="40254">
                  <c:v>0.71792402354200102</c:v>
                </c:pt>
                <c:pt idx="40255">
                  <c:v>0.71794185839129598</c:v>
                </c:pt>
                <c:pt idx="40256">
                  <c:v>0.71795969324059195</c:v>
                </c:pt>
                <c:pt idx="40257">
                  <c:v>0.71797752808988702</c:v>
                </c:pt>
                <c:pt idx="40258">
                  <c:v>0.71799536293918298</c:v>
                </c:pt>
                <c:pt idx="40259">
                  <c:v>0.71801319778847805</c:v>
                </c:pt>
                <c:pt idx="40260">
                  <c:v>0.71803103263777401</c:v>
                </c:pt>
                <c:pt idx="40261">
                  <c:v>0.71804886748706898</c:v>
                </c:pt>
                <c:pt idx="40262">
                  <c:v>0.71806670233636505</c:v>
                </c:pt>
                <c:pt idx="40263">
                  <c:v>0.71808453718566001</c:v>
                </c:pt>
                <c:pt idx="40264">
                  <c:v>0.71810237203495597</c:v>
                </c:pt>
                <c:pt idx="40265">
                  <c:v>0.71812020688425104</c:v>
                </c:pt>
                <c:pt idx="40266">
                  <c:v>0.71813804173354701</c:v>
                </c:pt>
                <c:pt idx="40267">
                  <c:v>0.71815587658284197</c:v>
                </c:pt>
                <c:pt idx="40268">
                  <c:v>0.71817371143213804</c:v>
                </c:pt>
                <c:pt idx="40269">
                  <c:v>0.718191546281433</c:v>
                </c:pt>
                <c:pt idx="40270">
                  <c:v>0.71820938113072896</c:v>
                </c:pt>
                <c:pt idx="40271">
                  <c:v>0.71822721598002404</c:v>
                </c:pt>
                <c:pt idx="40272">
                  <c:v>0.71824505082932</c:v>
                </c:pt>
                <c:pt idx="40273">
                  <c:v>0.71826288567861596</c:v>
                </c:pt>
                <c:pt idx="40274">
                  <c:v>0.71828072052791103</c:v>
                </c:pt>
                <c:pt idx="40275">
                  <c:v>0.71829855537720699</c:v>
                </c:pt>
                <c:pt idx="40276">
                  <c:v>0.71831639022650196</c:v>
                </c:pt>
                <c:pt idx="40277">
                  <c:v>0.71833422507579803</c:v>
                </c:pt>
                <c:pt idx="40278">
                  <c:v>0.71835205992509299</c:v>
                </c:pt>
                <c:pt idx="40279">
                  <c:v>0.71836989477438895</c:v>
                </c:pt>
                <c:pt idx="40280">
                  <c:v>0.71838772962368402</c:v>
                </c:pt>
                <c:pt idx="40281">
                  <c:v>0.71840556447297998</c:v>
                </c:pt>
                <c:pt idx="40282">
                  <c:v>0.71842339932227495</c:v>
                </c:pt>
                <c:pt idx="40283">
                  <c:v>0.71844123417157102</c:v>
                </c:pt>
                <c:pt idx="40284">
                  <c:v>0.71845906902086598</c:v>
                </c:pt>
                <c:pt idx="40285">
                  <c:v>0.71847690387016205</c:v>
                </c:pt>
                <c:pt idx="40286">
                  <c:v>0.71849473871945702</c:v>
                </c:pt>
                <c:pt idx="40287">
                  <c:v>0.71851257356875298</c:v>
                </c:pt>
                <c:pt idx="40288">
                  <c:v>0.71853040841804805</c:v>
                </c:pt>
                <c:pt idx="40289">
                  <c:v>0.71854824326734401</c:v>
                </c:pt>
                <c:pt idx="40290">
                  <c:v>0.71856607811663897</c:v>
                </c:pt>
                <c:pt idx="40291">
                  <c:v>0.71858391296593505</c:v>
                </c:pt>
                <c:pt idx="40292">
                  <c:v>0.71860174781523101</c:v>
                </c:pt>
                <c:pt idx="40293">
                  <c:v>0.71861958266452597</c:v>
                </c:pt>
                <c:pt idx="40294">
                  <c:v>0.71863741751382204</c:v>
                </c:pt>
                <c:pt idx="40295">
                  <c:v>0.718655252363117</c:v>
                </c:pt>
                <c:pt idx="40296">
                  <c:v>0.71867308721241296</c:v>
                </c:pt>
                <c:pt idx="40297">
                  <c:v>0.71869092206170804</c:v>
                </c:pt>
                <c:pt idx="40298">
                  <c:v>0.718708756911004</c:v>
                </c:pt>
                <c:pt idx="40299">
                  <c:v>0.71872659176029896</c:v>
                </c:pt>
                <c:pt idx="40300">
                  <c:v>0.71874442660959503</c:v>
                </c:pt>
                <c:pt idx="40301">
                  <c:v>0.71876226145888999</c:v>
                </c:pt>
                <c:pt idx="40302">
                  <c:v>0.71878009630818596</c:v>
                </c:pt>
                <c:pt idx="40303">
                  <c:v>0.71879793115748103</c:v>
                </c:pt>
                <c:pt idx="40304">
                  <c:v>0.71881576600677699</c:v>
                </c:pt>
                <c:pt idx="40305">
                  <c:v>0.71883360085607195</c:v>
                </c:pt>
                <c:pt idx="40306">
                  <c:v>0.71885143570536802</c:v>
                </c:pt>
                <c:pt idx="40307">
                  <c:v>0.71886927055466299</c:v>
                </c:pt>
                <c:pt idx="40308">
                  <c:v>0.71888710540395895</c:v>
                </c:pt>
                <c:pt idx="40309">
                  <c:v>0.71890494025325402</c:v>
                </c:pt>
                <c:pt idx="40310">
                  <c:v>0.71892277510254998</c:v>
                </c:pt>
                <c:pt idx="40311">
                  <c:v>0.71894060995184506</c:v>
                </c:pt>
                <c:pt idx="40312">
                  <c:v>0.71895844480114102</c:v>
                </c:pt>
                <c:pt idx="40313">
                  <c:v>0.71897627965043698</c:v>
                </c:pt>
                <c:pt idx="40314">
                  <c:v>0.71899411449973205</c:v>
                </c:pt>
                <c:pt idx="40315">
                  <c:v>0.71901194934902801</c:v>
                </c:pt>
                <c:pt idx="40316">
                  <c:v>0.71902978419832297</c:v>
                </c:pt>
                <c:pt idx="40317">
                  <c:v>0.71904761904761905</c:v>
                </c:pt>
                <c:pt idx="40318">
                  <c:v>0.71906545389691401</c:v>
                </c:pt>
                <c:pt idx="40319">
                  <c:v>0.71908328874620997</c:v>
                </c:pt>
                <c:pt idx="40320">
                  <c:v>0.71910112359550504</c:v>
                </c:pt>
                <c:pt idx="40321">
                  <c:v>0.719118958444801</c:v>
                </c:pt>
                <c:pt idx="40322">
                  <c:v>0.71913679329409597</c:v>
                </c:pt>
                <c:pt idx="40323">
                  <c:v>0.71915462814339204</c:v>
                </c:pt>
                <c:pt idx="40324">
                  <c:v>0.719172462992687</c:v>
                </c:pt>
                <c:pt idx="40325">
                  <c:v>0.71919029784198296</c:v>
                </c:pt>
                <c:pt idx="40326">
                  <c:v>0.71920813269127803</c:v>
                </c:pt>
                <c:pt idx="40327">
                  <c:v>0.719225967540574</c:v>
                </c:pt>
                <c:pt idx="40328">
                  <c:v>0.71924380238986896</c:v>
                </c:pt>
                <c:pt idx="40329">
                  <c:v>0.71926163723916503</c:v>
                </c:pt>
                <c:pt idx="40330">
                  <c:v>0.71927947208845999</c:v>
                </c:pt>
                <c:pt idx="40331">
                  <c:v>0.71929730693775595</c:v>
                </c:pt>
                <c:pt idx="40332">
                  <c:v>0.71931514178705103</c:v>
                </c:pt>
                <c:pt idx="40333">
                  <c:v>0.71933297663634699</c:v>
                </c:pt>
                <c:pt idx="40334">
                  <c:v>0.71935081148564295</c:v>
                </c:pt>
                <c:pt idx="40335">
                  <c:v>0.71936864633493802</c:v>
                </c:pt>
                <c:pt idx="40336">
                  <c:v>0.71938648118423398</c:v>
                </c:pt>
                <c:pt idx="40337">
                  <c:v>0.71940431603352895</c:v>
                </c:pt>
                <c:pt idx="40338">
                  <c:v>0.71942215088282502</c:v>
                </c:pt>
                <c:pt idx="40339">
                  <c:v>0.71943998573211998</c:v>
                </c:pt>
                <c:pt idx="40340">
                  <c:v>0.71945782058141605</c:v>
                </c:pt>
                <c:pt idx="40341">
                  <c:v>0.71947565543071101</c:v>
                </c:pt>
                <c:pt idx="40342">
                  <c:v>0.71949349028000698</c:v>
                </c:pt>
                <c:pt idx="40343">
                  <c:v>0.71951132512930205</c:v>
                </c:pt>
                <c:pt idx="40344">
                  <c:v>0.71952915997859801</c:v>
                </c:pt>
                <c:pt idx="40345">
                  <c:v>0.71954699482789297</c:v>
                </c:pt>
                <c:pt idx="40346">
                  <c:v>0.71956482967718904</c:v>
                </c:pt>
                <c:pt idx="40347">
                  <c:v>0.71958266452648401</c:v>
                </c:pt>
                <c:pt idx="40348">
                  <c:v>0.71960049937577997</c:v>
                </c:pt>
                <c:pt idx="40349">
                  <c:v>0.71961833422507504</c:v>
                </c:pt>
                <c:pt idx="40350">
                  <c:v>0.719636169074371</c:v>
                </c:pt>
                <c:pt idx="40351">
                  <c:v>0.71965400392366596</c:v>
                </c:pt>
                <c:pt idx="40352">
                  <c:v>0.71967183877296204</c:v>
                </c:pt>
                <c:pt idx="40353">
                  <c:v>0.719689673622257</c:v>
                </c:pt>
                <c:pt idx="40354">
                  <c:v>0.71970750847155296</c:v>
                </c:pt>
                <c:pt idx="40355">
                  <c:v>0.71972534332084803</c:v>
                </c:pt>
                <c:pt idx="40356">
                  <c:v>0.71974317817014399</c:v>
                </c:pt>
                <c:pt idx="40357">
                  <c:v>0.71976101301943995</c:v>
                </c:pt>
                <c:pt idx="40358">
                  <c:v>0.71977884786873503</c:v>
                </c:pt>
                <c:pt idx="40359">
                  <c:v>0.71979668271803099</c:v>
                </c:pt>
                <c:pt idx="40360">
                  <c:v>0.71981451756732595</c:v>
                </c:pt>
                <c:pt idx="40361">
                  <c:v>0.71983235241662202</c:v>
                </c:pt>
                <c:pt idx="40362">
                  <c:v>0.71985018726591699</c:v>
                </c:pt>
                <c:pt idx="40363">
                  <c:v>0.71986802211521295</c:v>
                </c:pt>
                <c:pt idx="40364">
                  <c:v>0.71988585696450802</c:v>
                </c:pt>
                <c:pt idx="40365">
                  <c:v>0.71990369181380398</c:v>
                </c:pt>
                <c:pt idx="40366">
                  <c:v>0.71992152666309905</c:v>
                </c:pt>
                <c:pt idx="40367">
                  <c:v>0.71993936151239502</c:v>
                </c:pt>
                <c:pt idx="40368">
                  <c:v>0.71995719636168998</c:v>
                </c:pt>
                <c:pt idx="40369">
                  <c:v>0.71997503121098605</c:v>
                </c:pt>
                <c:pt idx="40370">
                  <c:v>0.71999286606028101</c:v>
                </c:pt>
                <c:pt idx="40371">
                  <c:v>0.72001070090957697</c:v>
                </c:pt>
                <c:pt idx="40372">
                  <c:v>0.72002853575887205</c:v>
                </c:pt>
                <c:pt idx="40373">
                  <c:v>0.72004637060816801</c:v>
                </c:pt>
                <c:pt idx="40374">
                  <c:v>0.72006420545746297</c:v>
                </c:pt>
                <c:pt idx="40375">
                  <c:v>0.72008204030675904</c:v>
                </c:pt>
                <c:pt idx="40376">
                  <c:v>0.720099875156054</c:v>
                </c:pt>
                <c:pt idx="40377">
                  <c:v>0.72011771000534996</c:v>
                </c:pt>
                <c:pt idx="40378">
                  <c:v>0.72013554485464504</c:v>
                </c:pt>
                <c:pt idx="40379">
                  <c:v>0.720153379703941</c:v>
                </c:pt>
                <c:pt idx="40380">
                  <c:v>0.72017121455323696</c:v>
                </c:pt>
                <c:pt idx="40381">
                  <c:v>0.72018904940253203</c:v>
                </c:pt>
                <c:pt idx="40382">
                  <c:v>0.72020688425182799</c:v>
                </c:pt>
                <c:pt idx="40383">
                  <c:v>0.72022471910112296</c:v>
                </c:pt>
                <c:pt idx="40384">
                  <c:v>0.72024255395041903</c:v>
                </c:pt>
                <c:pt idx="40385">
                  <c:v>0.72026038879971399</c:v>
                </c:pt>
                <c:pt idx="40386">
                  <c:v>0.72027822364900995</c:v>
                </c:pt>
                <c:pt idx="40387">
                  <c:v>0.72029605849830503</c:v>
                </c:pt>
                <c:pt idx="40388">
                  <c:v>0.72031389334760099</c:v>
                </c:pt>
                <c:pt idx="40389">
                  <c:v>0.72033172819689595</c:v>
                </c:pt>
                <c:pt idx="40390">
                  <c:v>0.72034956304619202</c:v>
                </c:pt>
                <c:pt idx="40391">
                  <c:v>0.72036739789548698</c:v>
                </c:pt>
                <c:pt idx="40392">
                  <c:v>0.72038523274478306</c:v>
                </c:pt>
                <c:pt idx="40393">
                  <c:v>0.72040306759407802</c:v>
                </c:pt>
                <c:pt idx="40394">
                  <c:v>0.72042090244337398</c:v>
                </c:pt>
                <c:pt idx="40395">
                  <c:v>0.72043873729266905</c:v>
                </c:pt>
                <c:pt idx="40396">
                  <c:v>0.72045657214196501</c:v>
                </c:pt>
                <c:pt idx="40397">
                  <c:v>0.72047440699126097</c:v>
                </c:pt>
                <c:pt idx="40398">
                  <c:v>0.72049224184055605</c:v>
                </c:pt>
                <c:pt idx="40399">
                  <c:v>0.72051007668985201</c:v>
                </c:pt>
                <c:pt idx="40400">
                  <c:v>0.72052791153914697</c:v>
                </c:pt>
                <c:pt idx="40401">
                  <c:v>0.72054574638844304</c:v>
                </c:pt>
                <c:pt idx="40402">
                  <c:v>0.720563581237738</c:v>
                </c:pt>
                <c:pt idx="40403">
                  <c:v>0.72058141608703397</c:v>
                </c:pt>
                <c:pt idx="40404">
                  <c:v>0.72059925093632904</c:v>
                </c:pt>
                <c:pt idx="40405">
                  <c:v>0.720617085785625</c:v>
                </c:pt>
                <c:pt idx="40406">
                  <c:v>0.72063492063491996</c:v>
                </c:pt>
                <c:pt idx="40407">
                  <c:v>0.72065275548421603</c:v>
                </c:pt>
                <c:pt idx="40408">
                  <c:v>0.720670590333511</c:v>
                </c:pt>
                <c:pt idx="40409">
                  <c:v>0.72068842518280696</c:v>
                </c:pt>
                <c:pt idx="40410">
                  <c:v>0.72070626003210203</c:v>
                </c:pt>
                <c:pt idx="40411">
                  <c:v>0.72072409488139799</c:v>
                </c:pt>
                <c:pt idx="40412">
                  <c:v>0.72074192973069295</c:v>
                </c:pt>
                <c:pt idx="40413">
                  <c:v>0.72075976457998903</c:v>
                </c:pt>
                <c:pt idx="40414">
                  <c:v>0.72077759942928399</c:v>
                </c:pt>
                <c:pt idx="40415">
                  <c:v>0.72079543427857995</c:v>
                </c:pt>
                <c:pt idx="40416">
                  <c:v>0.72081326912787502</c:v>
                </c:pt>
                <c:pt idx="40417">
                  <c:v>0.72083110397717098</c:v>
                </c:pt>
                <c:pt idx="40418">
                  <c:v>0.72084893882646695</c:v>
                </c:pt>
                <c:pt idx="40419">
                  <c:v>0.72086677367576202</c:v>
                </c:pt>
                <c:pt idx="40420">
                  <c:v>0.72088460852505798</c:v>
                </c:pt>
                <c:pt idx="40421">
                  <c:v>0.72090244337435305</c:v>
                </c:pt>
                <c:pt idx="40422">
                  <c:v>0.72092027822364901</c:v>
                </c:pt>
                <c:pt idx="40423">
                  <c:v>0.72093811307294398</c:v>
                </c:pt>
                <c:pt idx="40424">
                  <c:v>0.72095594792224005</c:v>
                </c:pt>
                <c:pt idx="40425">
                  <c:v>0.72097378277153501</c:v>
                </c:pt>
                <c:pt idx="40426">
                  <c:v>0.72099161762083097</c:v>
                </c:pt>
                <c:pt idx="40427">
                  <c:v>0.72100945247012604</c:v>
                </c:pt>
                <c:pt idx="40428">
                  <c:v>0.72102728731942201</c:v>
                </c:pt>
                <c:pt idx="40429">
                  <c:v>0.72104512216871697</c:v>
                </c:pt>
                <c:pt idx="40430">
                  <c:v>0.72106295701801304</c:v>
                </c:pt>
                <c:pt idx="40431">
                  <c:v>0.721080791867308</c:v>
                </c:pt>
                <c:pt idx="40432">
                  <c:v>0.72109862671660396</c:v>
                </c:pt>
                <c:pt idx="40433">
                  <c:v>0.72111646156589904</c:v>
                </c:pt>
                <c:pt idx="40434">
                  <c:v>0.721134296415195</c:v>
                </c:pt>
                <c:pt idx="40435">
                  <c:v>0.72115213126448996</c:v>
                </c:pt>
                <c:pt idx="40436">
                  <c:v>0.72116996611378603</c:v>
                </c:pt>
                <c:pt idx="40437">
                  <c:v>0.72118780096308099</c:v>
                </c:pt>
                <c:pt idx="40438">
                  <c:v>0.72120563581237696</c:v>
                </c:pt>
                <c:pt idx="40439">
                  <c:v>0.72122347066167203</c:v>
                </c:pt>
                <c:pt idx="40440">
                  <c:v>0.72124130551096799</c:v>
                </c:pt>
                <c:pt idx="40441">
                  <c:v>0.72125914036026395</c:v>
                </c:pt>
                <c:pt idx="40442">
                  <c:v>0.72127697520955902</c:v>
                </c:pt>
                <c:pt idx="40443">
                  <c:v>0.72129481005885498</c:v>
                </c:pt>
                <c:pt idx="40444">
                  <c:v>0.72131264490814995</c:v>
                </c:pt>
                <c:pt idx="40445">
                  <c:v>0.72133047975744602</c:v>
                </c:pt>
                <c:pt idx="40446">
                  <c:v>0.72134831460674098</c:v>
                </c:pt>
                <c:pt idx="40447">
                  <c:v>0.72136614945603705</c:v>
                </c:pt>
                <c:pt idx="40448">
                  <c:v>0.72138398430533202</c:v>
                </c:pt>
                <c:pt idx="40449">
                  <c:v>0.72140181915462798</c:v>
                </c:pt>
                <c:pt idx="40450">
                  <c:v>0.72141965400392305</c:v>
                </c:pt>
                <c:pt idx="40451">
                  <c:v>0.72143748885321901</c:v>
                </c:pt>
                <c:pt idx="40452">
                  <c:v>0.72145532370251397</c:v>
                </c:pt>
                <c:pt idx="40453">
                  <c:v>0.72147315855181005</c:v>
                </c:pt>
                <c:pt idx="40454">
                  <c:v>0.72149099340110501</c:v>
                </c:pt>
                <c:pt idx="40455">
                  <c:v>0.72150882825040097</c:v>
                </c:pt>
                <c:pt idx="40456">
                  <c:v>0.72152666309969604</c:v>
                </c:pt>
                <c:pt idx="40457">
                  <c:v>0.721544497948992</c:v>
                </c:pt>
                <c:pt idx="40458">
                  <c:v>0.72156233279828697</c:v>
                </c:pt>
                <c:pt idx="40459">
                  <c:v>0.72158016764758304</c:v>
                </c:pt>
                <c:pt idx="40460">
                  <c:v>0.721598002496878</c:v>
                </c:pt>
                <c:pt idx="40461">
                  <c:v>0.72161583734617396</c:v>
                </c:pt>
                <c:pt idx="40462">
                  <c:v>0.72163367219546903</c:v>
                </c:pt>
                <c:pt idx="40463">
                  <c:v>0.72165150704476499</c:v>
                </c:pt>
                <c:pt idx="40464">
                  <c:v>0.72166934189406096</c:v>
                </c:pt>
                <c:pt idx="40465">
                  <c:v>0.72168717674335603</c:v>
                </c:pt>
                <c:pt idx="40466">
                  <c:v>0.72170501159265199</c:v>
                </c:pt>
                <c:pt idx="40467">
                  <c:v>0.72172284644194695</c:v>
                </c:pt>
                <c:pt idx="40468">
                  <c:v>0.72174068129124302</c:v>
                </c:pt>
                <c:pt idx="40469">
                  <c:v>0.72175851614053799</c:v>
                </c:pt>
                <c:pt idx="40470">
                  <c:v>0.72177635098983395</c:v>
                </c:pt>
                <c:pt idx="40471">
                  <c:v>0.72179418583912902</c:v>
                </c:pt>
                <c:pt idx="40472">
                  <c:v>0.72181202068842498</c:v>
                </c:pt>
                <c:pt idx="40473">
                  <c:v>0.72182985553772006</c:v>
                </c:pt>
                <c:pt idx="40474">
                  <c:v>0.72184769038701602</c:v>
                </c:pt>
                <c:pt idx="40475">
                  <c:v>0.72186552523631098</c:v>
                </c:pt>
                <c:pt idx="40476">
                  <c:v>0.72188336008560705</c:v>
                </c:pt>
                <c:pt idx="40477">
                  <c:v>0.72190119493490201</c:v>
                </c:pt>
                <c:pt idx="40478">
                  <c:v>0.72191902978419797</c:v>
                </c:pt>
                <c:pt idx="40479">
                  <c:v>0.72193686463349305</c:v>
                </c:pt>
                <c:pt idx="40480">
                  <c:v>0.72195469948278901</c:v>
                </c:pt>
                <c:pt idx="40481">
                  <c:v>0.72197253433208397</c:v>
                </c:pt>
                <c:pt idx="40482">
                  <c:v>0.72199036918138004</c:v>
                </c:pt>
                <c:pt idx="40483">
                  <c:v>0.722008204030675</c:v>
                </c:pt>
                <c:pt idx="40484">
                  <c:v>0.72202603887997097</c:v>
                </c:pt>
                <c:pt idx="40485">
                  <c:v>0.72204387372926704</c:v>
                </c:pt>
                <c:pt idx="40486">
                  <c:v>0.722061708578562</c:v>
                </c:pt>
                <c:pt idx="40487">
                  <c:v>0.72207954342785796</c:v>
                </c:pt>
                <c:pt idx="40488">
                  <c:v>0.72209737827715303</c:v>
                </c:pt>
                <c:pt idx="40489">
                  <c:v>0.722115213126449</c:v>
                </c:pt>
                <c:pt idx="40490">
                  <c:v>0.72213304797574396</c:v>
                </c:pt>
                <c:pt idx="40491">
                  <c:v>0.72215088282504003</c:v>
                </c:pt>
                <c:pt idx="40492">
                  <c:v>0.72216871767433499</c:v>
                </c:pt>
                <c:pt idx="40493">
                  <c:v>0.72218655252363095</c:v>
                </c:pt>
                <c:pt idx="40494">
                  <c:v>0.72220438737292603</c:v>
                </c:pt>
                <c:pt idx="40495">
                  <c:v>0.72222222222222199</c:v>
                </c:pt>
                <c:pt idx="40496">
                  <c:v>0.72224005707151695</c:v>
                </c:pt>
                <c:pt idx="40497">
                  <c:v>0.72225789192081302</c:v>
                </c:pt>
                <c:pt idx="40498">
                  <c:v>0.72227572677010798</c:v>
                </c:pt>
                <c:pt idx="40499">
                  <c:v>0.72229356161940395</c:v>
                </c:pt>
                <c:pt idx="40500">
                  <c:v>0.72231139646869902</c:v>
                </c:pt>
                <c:pt idx="40501">
                  <c:v>0.72232923131799498</c:v>
                </c:pt>
                <c:pt idx="40502">
                  <c:v>0.72234706616729005</c:v>
                </c:pt>
                <c:pt idx="40503">
                  <c:v>0.72236490101658601</c:v>
                </c:pt>
                <c:pt idx="40504">
                  <c:v>0.72238273586588198</c:v>
                </c:pt>
                <c:pt idx="40505">
                  <c:v>0.72240057071517705</c:v>
                </c:pt>
                <c:pt idx="40506">
                  <c:v>0.72241840556447301</c:v>
                </c:pt>
                <c:pt idx="40507">
                  <c:v>0.72243624041376797</c:v>
                </c:pt>
                <c:pt idx="40508">
                  <c:v>0.72245407526306404</c:v>
                </c:pt>
                <c:pt idx="40509">
                  <c:v>0.72247191011235901</c:v>
                </c:pt>
                <c:pt idx="40510">
                  <c:v>0.72248974496165497</c:v>
                </c:pt>
                <c:pt idx="40511">
                  <c:v>0.72250757981095004</c:v>
                </c:pt>
                <c:pt idx="40512">
                  <c:v>0.722525414660246</c:v>
                </c:pt>
                <c:pt idx="40513">
                  <c:v>0.72254324950954096</c:v>
                </c:pt>
                <c:pt idx="40514">
                  <c:v>0.72256108435883704</c:v>
                </c:pt>
                <c:pt idx="40515">
                  <c:v>0.722578919208132</c:v>
                </c:pt>
                <c:pt idx="40516">
                  <c:v>0.72259675405742796</c:v>
                </c:pt>
                <c:pt idx="40517">
                  <c:v>0.72261458890672303</c:v>
                </c:pt>
                <c:pt idx="40518">
                  <c:v>0.72263242375601899</c:v>
                </c:pt>
                <c:pt idx="40519">
                  <c:v>0.72265025860531396</c:v>
                </c:pt>
                <c:pt idx="40520">
                  <c:v>0.72266809345461003</c:v>
                </c:pt>
                <c:pt idx="40521">
                  <c:v>0.72268592830390499</c:v>
                </c:pt>
                <c:pt idx="40522">
                  <c:v>0.72270376315320095</c:v>
                </c:pt>
                <c:pt idx="40523">
                  <c:v>0.72272159800249602</c:v>
                </c:pt>
                <c:pt idx="40524">
                  <c:v>0.72273943285179199</c:v>
                </c:pt>
                <c:pt idx="40525">
                  <c:v>0.72275726770108795</c:v>
                </c:pt>
                <c:pt idx="40526">
                  <c:v>0.72277510255038302</c:v>
                </c:pt>
                <c:pt idx="40527">
                  <c:v>0.72279293739967898</c:v>
                </c:pt>
                <c:pt idx="40528">
                  <c:v>0.72281077224897405</c:v>
                </c:pt>
                <c:pt idx="40529">
                  <c:v>0.72282860709827002</c:v>
                </c:pt>
                <c:pt idx="40530">
                  <c:v>0.72284644194756498</c:v>
                </c:pt>
                <c:pt idx="40531">
                  <c:v>0.72286427679686105</c:v>
                </c:pt>
                <c:pt idx="40532">
                  <c:v>0.72288211164615601</c:v>
                </c:pt>
                <c:pt idx="40533">
                  <c:v>0.72289994649545197</c:v>
                </c:pt>
                <c:pt idx="40534">
                  <c:v>0.72291778134474705</c:v>
                </c:pt>
                <c:pt idx="40535">
                  <c:v>0.72293561619404301</c:v>
                </c:pt>
                <c:pt idx="40536">
                  <c:v>0.72295345104333797</c:v>
                </c:pt>
                <c:pt idx="40537">
                  <c:v>0.72297128589263404</c:v>
                </c:pt>
                <c:pt idx="40538">
                  <c:v>0.722989120741929</c:v>
                </c:pt>
                <c:pt idx="40539">
                  <c:v>0.72300695559122496</c:v>
                </c:pt>
                <c:pt idx="40540">
                  <c:v>0.72302479044052004</c:v>
                </c:pt>
                <c:pt idx="40541">
                  <c:v>0.723042625289816</c:v>
                </c:pt>
                <c:pt idx="40542">
                  <c:v>0.72306046013911096</c:v>
                </c:pt>
                <c:pt idx="40543">
                  <c:v>0.72307829498840703</c:v>
                </c:pt>
                <c:pt idx="40544">
                  <c:v>0.723096129837702</c:v>
                </c:pt>
                <c:pt idx="40545">
                  <c:v>0.72311396468699796</c:v>
                </c:pt>
                <c:pt idx="40546">
                  <c:v>0.72313179953629303</c:v>
                </c:pt>
                <c:pt idx="40547">
                  <c:v>0.72314963438558899</c:v>
                </c:pt>
                <c:pt idx="40548">
                  <c:v>0.72316746923488495</c:v>
                </c:pt>
                <c:pt idx="40549">
                  <c:v>0.72318530408418003</c:v>
                </c:pt>
                <c:pt idx="40550">
                  <c:v>0.72320313893347599</c:v>
                </c:pt>
                <c:pt idx="40551">
                  <c:v>0.72322097378277095</c:v>
                </c:pt>
                <c:pt idx="40552">
                  <c:v>0.72323880863206702</c:v>
                </c:pt>
                <c:pt idx="40553">
                  <c:v>0.72325664348136198</c:v>
                </c:pt>
                <c:pt idx="40554">
                  <c:v>0.72327447833065805</c:v>
                </c:pt>
                <c:pt idx="40555">
                  <c:v>0.72329231317995302</c:v>
                </c:pt>
                <c:pt idx="40556">
                  <c:v>0.72331014802924898</c:v>
                </c:pt>
                <c:pt idx="40557">
                  <c:v>0.72332798287854405</c:v>
                </c:pt>
                <c:pt idx="40558">
                  <c:v>0.72334581772784001</c:v>
                </c:pt>
                <c:pt idx="40559">
                  <c:v>0.72336365257713497</c:v>
                </c:pt>
                <c:pt idx="40560">
                  <c:v>0.72338148742643105</c:v>
                </c:pt>
                <c:pt idx="40561">
                  <c:v>0.72339932227572601</c:v>
                </c:pt>
                <c:pt idx="40562">
                  <c:v>0.72341715712502197</c:v>
                </c:pt>
                <c:pt idx="40563">
                  <c:v>0.72343499197431704</c:v>
                </c:pt>
                <c:pt idx="40564">
                  <c:v>0.723452826823613</c:v>
                </c:pt>
                <c:pt idx="40565">
                  <c:v>0.72347066167290797</c:v>
                </c:pt>
                <c:pt idx="40566">
                  <c:v>0.72348849652220404</c:v>
                </c:pt>
                <c:pt idx="40567">
                  <c:v>0.723506331371499</c:v>
                </c:pt>
                <c:pt idx="40568">
                  <c:v>0.72352416622079496</c:v>
                </c:pt>
                <c:pt idx="40569">
                  <c:v>0.72354200107009004</c:v>
                </c:pt>
                <c:pt idx="40570">
                  <c:v>0.723559835919386</c:v>
                </c:pt>
                <c:pt idx="40571">
                  <c:v>0.72357767076868196</c:v>
                </c:pt>
                <c:pt idx="40572">
                  <c:v>0.72359550561797703</c:v>
                </c:pt>
                <c:pt idx="40573">
                  <c:v>0.72361334046727299</c:v>
                </c:pt>
                <c:pt idx="40574">
                  <c:v>0.72363117531656795</c:v>
                </c:pt>
                <c:pt idx="40575">
                  <c:v>0.72364901016586403</c:v>
                </c:pt>
                <c:pt idx="40576">
                  <c:v>0.72366684501515899</c:v>
                </c:pt>
                <c:pt idx="40577">
                  <c:v>0.72368467986445495</c:v>
                </c:pt>
                <c:pt idx="40578">
                  <c:v>0.72370251471375002</c:v>
                </c:pt>
                <c:pt idx="40579">
                  <c:v>0.72372034956304598</c:v>
                </c:pt>
                <c:pt idx="40580">
                  <c:v>0.72373818441234095</c:v>
                </c:pt>
                <c:pt idx="40581">
                  <c:v>0.72375601926163702</c:v>
                </c:pt>
                <c:pt idx="40582">
                  <c:v>0.72377385411093198</c:v>
                </c:pt>
                <c:pt idx="40583">
                  <c:v>0.72379168896022805</c:v>
                </c:pt>
                <c:pt idx="40584">
                  <c:v>0.72380952380952301</c:v>
                </c:pt>
                <c:pt idx="40585">
                  <c:v>0.72382735865881898</c:v>
                </c:pt>
                <c:pt idx="40586">
                  <c:v>0.72384519350811405</c:v>
                </c:pt>
                <c:pt idx="40587">
                  <c:v>0.72386302835741001</c:v>
                </c:pt>
                <c:pt idx="40588">
                  <c:v>0.72388086320670497</c:v>
                </c:pt>
                <c:pt idx="40589">
                  <c:v>0.72389869805600104</c:v>
                </c:pt>
                <c:pt idx="40590">
                  <c:v>0.72391653290529701</c:v>
                </c:pt>
                <c:pt idx="40591">
                  <c:v>0.72393436775459197</c:v>
                </c:pt>
                <c:pt idx="40592">
                  <c:v>0.72395220260388804</c:v>
                </c:pt>
                <c:pt idx="40593">
                  <c:v>0.723970037453183</c:v>
                </c:pt>
                <c:pt idx="40594">
                  <c:v>0.72398787230247896</c:v>
                </c:pt>
                <c:pt idx="40595">
                  <c:v>0.72400570715177404</c:v>
                </c:pt>
                <c:pt idx="40596">
                  <c:v>0.72402354200107</c:v>
                </c:pt>
                <c:pt idx="40597">
                  <c:v>0.72404137685036496</c:v>
                </c:pt>
                <c:pt idx="40598">
                  <c:v>0.72405921169966103</c:v>
                </c:pt>
                <c:pt idx="40599">
                  <c:v>0.72407704654895599</c:v>
                </c:pt>
                <c:pt idx="40600">
                  <c:v>0.72409488139825195</c:v>
                </c:pt>
                <c:pt idx="40601">
                  <c:v>0.72411271624754703</c:v>
                </c:pt>
                <c:pt idx="40602">
                  <c:v>0.72413055109684299</c:v>
                </c:pt>
                <c:pt idx="40603">
                  <c:v>0.72414838594613795</c:v>
                </c:pt>
                <c:pt idx="40604">
                  <c:v>0.72416622079543402</c:v>
                </c:pt>
                <c:pt idx="40605">
                  <c:v>0.72418405564472899</c:v>
                </c:pt>
                <c:pt idx="40606">
                  <c:v>0.72420189049402495</c:v>
                </c:pt>
                <c:pt idx="40607">
                  <c:v>0.72421972534332002</c:v>
                </c:pt>
                <c:pt idx="40608">
                  <c:v>0.72423756019261598</c:v>
                </c:pt>
                <c:pt idx="40609">
                  <c:v>0.72425539504191105</c:v>
                </c:pt>
                <c:pt idx="40610">
                  <c:v>0.72427322989120702</c:v>
                </c:pt>
                <c:pt idx="40611">
                  <c:v>0.72429106474050298</c:v>
                </c:pt>
                <c:pt idx="40612">
                  <c:v>0.72430889958979805</c:v>
                </c:pt>
                <c:pt idx="40613">
                  <c:v>0.72432673443909401</c:v>
                </c:pt>
                <c:pt idx="40614">
                  <c:v>0.72434456928838897</c:v>
                </c:pt>
                <c:pt idx="40615">
                  <c:v>0.72436240413768505</c:v>
                </c:pt>
                <c:pt idx="40616">
                  <c:v>0.72438023898698001</c:v>
                </c:pt>
                <c:pt idx="40617">
                  <c:v>0.72439807383627597</c:v>
                </c:pt>
                <c:pt idx="40618">
                  <c:v>0.72441590868557104</c:v>
                </c:pt>
                <c:pt idx="40619">
                  <c:v>0.724433743534867</c:v>
                </c:pt>
                <c:pt idx="40620">
                  <c:v>0.72445157838416196</c:v>
                </c:pt>
                <c:pt idx="40621">
                  <c:v>0.72446941323345804</c:v>
                </c:pt>
                <c:pt idx="40622">
                  <c:v>0.724487248082753</c:v>
                </c:pt>
                <c:pt idx="40623">
                  <c:v>0.72450508293204896</c:v>
                </c:pt>
                <c:pt idx="40624">
                  <c:v>0.72452291778134403</c:v>
                </c:pt>
                <c:pt idx="40625">
                  <c:v>0.72454075263063999</c:v>
                </c:pt>
                <c:pt idx="40626">
                  <c:v>0.72455858747993496</c:v>
                </c:pt>
                <c:pt idx="40627">
                  <c:v>0.72457642232923103</c:v>
                </c:pt>
                <c:pt idx="40628">
                  <c:v>0.72459425717852599</c:v>
                </c:pt>
                <c:pt idx="40629">
                  <c:v>0.72461209202782195</c:v>
                </c:pt>
                <c:pt idx="40630">
                  <c:v>0.72462992687711703</c:v>
                </c:pt>
                <c:pt idx="40631">
                  <c:v>0.72464776172641299</c:v>
                </c:pt>
                <c:pt idx="40632">
                  <c:v>0.72466559657570895</c:v>
                </c:pt>
                <c:pt idx="40633">
                  <c:v>0.72468343142500402</c:v>
                </c:pt>
                <c:pt idx="40634">
                  <c:v>0.72470126627429998</c:v>
                </c:pt>
                <c:pt idx="40635">
                  <c:v>0.72471910112359506</c:v>
                </c:pt>
                <c:pt idx="40636">
                  <c:v>0.72473693597289102</c:v>
                </c:pt>
                <c:pt idx="40637">
                  <c:v>0.72475477082218598</c:v>
                </c:pt>
                <c:pt idx="40638">
                  <c:v>0.72477260567148205</c:v>
                </c:pt>
                <c:pt idx="40639">
                  <c:v>0.72479044052077701</c:v>
                </c:pt>
                <c:pt idx="40640">
                  <c:v>0.72480827537007297</c:v>
                </c:pt>
                <c:pt idx="40641">
                  <c:v>0.72482611021936805</c:v>
                </c:pt>
                <c:pt idx="40642">
                  <c:v>0.72484394506866401</c:v>
                </c:pt>
                <c:pt idx="40643">
                  <c:v>0.72486177991795897</c:v>
                </c:pt>
                <c:pt idx="40644">
                  <c:v>0.72487961476725504</c:v>
                </c:pt>
                <c:pt idx="40645">
                  <c:v>0.72489744961655</c:v>
                </c:pt>
                <c:pt idx="40646">
                  <c:v>0.72491528446584597</c:v>
                </c:pt>
                <c:pt idx="40647">
                  <c:v>0.72493311931514104</c:v>
                </c:pt>
                <c:pt idx="40648">
                  <c:v>0.724950954164437</c:v>
                </c:pt>
                <c:pt idx="40649">
                  <c:v>0.72496878901373196</c:v>
                </c:pt>
                <c:pt idx="40650">
                  <c:v>0.72498662386302803</c:v>
                </c:pt>
                <c:pt idx="40651">
                  <c:v>0.725004458712323</c:v>
                </c:pt>
                <c:pt idx="40652">
                  <c:v>0.72502229356161896</c:v>
                </c:pt>
                <c:pt idx="40653">
                  <c:v>0.72504012841091403</c:v>
                </c:pt>
                <c:pt idx="40654">
                  <c:v>0.72505796326020999</c:v>
                </c:pt>
                <c:pt idx="40655">
                  <c:v>0.72507579810950595</c:v>
                </c:pt>
                <c:pt idx="40656">
                  <c:v>0.72509363295880103</c:v>
                </c:pt>
                <c:pt idx="40657">
                  <c:v>0.72511146780809699</c:v>
                </c:pt>
                <c:pt idx="40658">
                  <c:v>0.72512930265739195</c:v>
                </c:pt>
                <c:pt idx="40659">
                  <c:v>0.72514713750668802</c:v>
                </c:pt>
                <c:pt idx="40660">
                  <c:v>0.72516497235598298</c:v>
                </c:pt>
                <c:pt idx="40661">
                  <c:v>0.72518280720527895</c:v>
                </c:pt>
                <c:pt idx="40662">
                  <c:v>0.72520064205457402</c:v>
                </c:pt>
                <c:pt idx="40663">
                  <c:v>0.72521847690386998</c:v>
                </c:pt>
                <c:pt idx="40664">
                  <c:v>0.72523631175316505</c:v>
                </c:pt>
                <c:pt idx="40665">
                  <c:v>0.72525414660246101</c:v>
                </c:pt>
                <c:pt idx="40666">
                  <c:v>0.72527198145175598</c:v>
                </c:pt>
                <c:pt idx="40667">
                  <c:v>0.72528981630105205</c:v>
                </c:pt>
                <c:pt idx="40668">
                  <c:v>0.72530765115034701</c:v>
                </c:pt>
                <c:pt idx="40669">
                  <c:v>0.72532548599964297</c:v>
                </c:pt>
                <c:pt idx="40670">
                  <c:v>0.72534332084893804</c:v>
                </c:pt>
                <c:pt idx="40671">
                  <c:v>0.72536115569823401</c:v>
                </c:pt>
                <c:pt idx="40672">
                  <c:v>0.72537899054752897</c:v>
                </c:pt>
                <c:pt idx="40673">
                  <c:v>0.72539682539682504</c:v>
                </c:pt>
                <c:pt idx="40674">
                  <c:v>0.72541466024612</c:v>
                </c:pt>
                <c:pt idx="40675">
                  <c:v>0.72543249509541596</c:v>
                </c:pt>
                <c:pt idx="40676">
                  <c:v>0.72545032994471104</c:v>
                </c:pt>
                <c:pt idx="40677">
                  <c:v>0.725468164794007</c:v>
                </c:pt>
                <c:pt idx="40678">
                  <c:v>0.72548599964330296</c:v>
                </c:pt>
                <c:pt idx="40679">
                  <c:v>0.72550383449259803</c:v>
                </c:pt>
                <c:pt idx="40680">
                  <c:v>0.72552166934189399</c:v>
                </c:pt>
                <c:pt idx="40681">
                  <c:v>0.72553950419118896</c:v>
                </c:pt>
                <c:pt idx="40682">
                  <c:v>0.72555733904048503</c:v>
                </c:pt>
                <c:pt idx="40683">
                  <c:v>0.72557517388977999</c:v>
                </c:pt>
                <c:pt idx="40684">
                  <c:v>0.72559300873907595</c:v>
                </c:pt>
                <c:pt idx="40685">
                  <c:v>0.72561084358837102</c:v>
                </c:pt>
                <c:pt idx="40686">
                  <c:v>0.72562867843766699</c:v>
                </c:pt>
                <c:pt idx="40687">
                  <c:v>0.72564651328696195</c:v>
                </c:pt>
                <c:pt idx="40688">
                  <c:v>0.72566434813625802</c:v>
                </c:pt>
                <c:pt idx="40689">
                  <c:v>0.72568218298555298</c:v>
                </c:pt>
                <c:pt idx="40690">
                  <c:v>0.72570001783484905</c:v>
                </c:pt>
                <c:pt idx="40691">
                  <c:v>0.72571785268414402</c:v>
                </c:pt>
                <c:pt idx="40692">
                  <c:v>0.72573568753343998</c:v>
                </c:pt>
                <c:pt idx="40693">
                  <c:v>0.72575352238273505</c:v>
                </c:pt>
                <c:pt idx="40694">
                  <c:v>0.72577135723203101</c:v>
                </c:pt>
                <c:pt idx="40695">
                  <c:v>0.72578919208132597</c:v>
                </c:pt>
                <c:pt idx="40696">
                  <c:v>0.72580702693062205</c:v>
                </c:pt>
                <c:pt idx="40697">
                  <c:v>0.72582486177991801</c:v>
                </c:pt>
                <c:pt idx="40698">
                  <c:v>0.72584269662921297</c:v>
                </c:pt>
                <c:pt idx="40699">
                  <c:v>0.72586053147850904</c:v>
                </c:pt>
                <c:pt idx="40700">
                  <c:v>0.725878366327804</c:v>
                </c:pt>
                <c:pt idx="40701">
                  <c:v>0.72589620117709996</c:v>
                </c:pt>
                <c:pt idx="40702">
                  <c:v>0.72591403602639504</c:v>
                </c:pt>
                <c:pt idx="40703">
                  <c:v>0.725931870875691</c:v>
                </c:pt>
                <c:pt idx="40704">
                  <c:v>0.72594970572498596</c:v>
                </c:pt>
                <c:pt idx="40705">
                  <c:v>0.72596754057428203</c:v>
                </c:pt>
                <c:pt idx="40706">
                  <c:v>0.725985375423577</c:v>
                </c:pt>
                <c:pt idx="40707">
                  <c:v>0.72600321027287296</c:v>
                </c:pt>
                <c:pt idx="40708">
                  <c:v>0.72602104512216803</c:v>
                </c:pt>
                <c:pt idx="40709">
                  <c:v>0.72603887997146399</c:v>
                </c:pt>
                <c:pt idx="40710">
                  <c:v>0.72605671482075895</c:v>
                </c:pt>
                <c:pt idx="40711">
                  <c:v>0.72607454967005502</c:v>
                </c:pt>
                <c:pt idx="40712">
                  <c:v>0.72609238451934999</c:v>
                </c:pt>
                <c:pt idx="40713">
                  <c:v>0.72611021936864595</c:v>
                </c:pt>
                <c:pt idx="40714">
                  <c:v>0.72612805421794102</c:v>
                </c:pt>
                <c:pt idx="40715">
                  <c:v>0.72614588906723698</c:v>
                </c:pt>
                <c:pt idx="40716">
                  <c:v>0.72616372391653194</c:v>
                </c:pt>
                <c:pt idx="40717">
                  <c:v>0.72618155876582802</c:v>
                </c:pt>
                <c:pt idx="40718">
                  <c:v>0.72619939361512398</c:v>
                </c:pt>
                <c:pt idx="40719">
                  <c:v>0.72621722846441905</c:v>
                </c:pt>
                <c:pt idx="40720">
                  <c:v>0.72623506331371501</c:v>
                </c:pt>
                <c:pt idx="40721">
                  <c:v>0.72625289816300997</c:v>
                </c:pt>
                <c:pt idx="40722">
                  <c:v>0.72627073301230605</c:v>
                </c:pt>
                <c:pt idx="40723">
                  <c:v>0.72628856786160101</c:v>
                </c:pt>
                <c:pt idx="40724">
                  <c:v>0.72630640271089697</c:v>
                </c:pt>
                <c:pt idx="40725">
                  <c:v>0.72632423756019204</c:v>
                </c:pt>
                <c:pt idx="40726">
                  <c:v>0.726342072409488</c:v>
                </c:pt>
                <c:pt idx="40727">
                  <c:v>0.72635990725878297</c:v>
                </c:pt>
                <c:pt idx="40728">
                  <c:v>0.72637774210807904</c:v>
                </c:pt>
                <c:pt idx="40729">
                  <c:v>0.726395576957374</c:v>
                </c:pt>
                <c:pt idx="40730">
                  <c:v>0.72641341180666996</c:v>
                </c:pt>
                <c:pt idx="40731">
                  <c:v>0.72643124665596503</c:v>
                </c:pt>
                <c:pt idx="40732">
                  <c:v>0.726449081505261</c:v>
                </c:pt>
                <c:pt idx="40733">
                  <c:v>0.72646691635455596</c:v>
                </c:pt>
                <c:pt idx="40734">
                  <c:v>0.72648475120385203</c:v>
                </c:pt>
                <c:pt idx="40735">
                  <c:v>0.72650258605314699</c:v>
                </c:pt>
                <c:pt idx="40736">
                  <c:v>0.72652042090244295</c:v>
                </c:pt>
                <c:pt idx="40737">
                  <c:v>0.72653825575173803</c:v>
                </c:pt>
                <c:pt idx="40738">
                  <c:v>0.72655609060103399</c:v>
                </c:pt>
                <c:pt idx="40739">
                  <c:v>0.72657392545032995</c:v>
                </c:pt>
                <c:pt idx="40740">
                  <c:v>0.72659176029962502</c:v>
                </c:pt>
                <c:pt idx="40741">
                  <c:v>0.72660959514892098</c:v>
                </c:pt>
                <c:pt idx="40742">
                  <c:v>0.72662742999821595</c:v>
                </c:pt>
                <c:pt idx="40743">
                  <c:v>0.72664526484751202</c:v>
                </c:pt>
                <c:pt idx="40744">
                  <c:v>0.72666309969680698</c:v>
                </c:pt>
                <c:pt idx="40745">
                  <c:v>0.72668093454610305</c:v>
                </c:pt>
                <c:pt idx="40746">
                  <c:v>0.72669876939539801</c:v>
                </c:pt>
                <c:pt idx="40747">
                  <c:v>0.72671660424469398</c:v>
                </c:pt>
                <c:pt idx="40748">
                  <c:v>0.72673443909398905</c:v>
                </c:pt>
                <c:pt idx="40749">
                  <c:v>0.72675227394328501</c:v>
                </c:pt>
                <c:pt idx="40750">
                  <c:v>0.72677010879257997</c:v>
                </c:pt>
                <c:pt idx="40751">
                  <c:v>0.72678794364187604</c:v>
                </c:pt>
                <c:pt idx="40752">
                  <c:v>0.72680577849117101</c:v>
                </c:pt>
                <c:pt idx="40753">
                  <c:v>0.72682361334046697</c:v>
                </c:pt>
                <c:pt idx="40754">
                  <c:v>0.72684144818976204</c:v>
                </c:pt>
                <c:pt idx="40755">
                  <c:v>0.726859283039058</c:v>
                </c:pt>
                <c:pt idx="40756">
                  <c:v>0.72687711788835296</c:v>
                </c:pt>
                <c:pt idx="40757">
                  <c:v>0.72689495273764904</c:v>
                </c:pt>
                <c:pt idx="40758">
                  <c:v>0.726912787586944</c:v>
                </c:pt>
                <c:pt idx="40759">
                  <c:v>0.72693062243623996</c:v>
                </c:pt>
                <c:pt idx="40760">
                  <c:v>0.72694845728553503</c:v>
                </c:pt>
                <c:pt idx="40761">
                  <c:v>0.72696629213483099</c:v>
                </c:pt>
                <c:pt idx="40762">
                  <c:v>0.72698412698412695</c:v>
                </c:pt>
                <c:pt idx="40763">
                  <c:v>0.72700196183342203</c:v>
                </c:pt>
                <c:pt idx="40764">
                  <c:v>0.72701979668271799</c:v>
                </c:pt>
                <c:pt idx="40765">
                  <c:v>0.72703763153201295</c:v>
                </c:pt>
                <c:pt idx="40766">
                  <c:v>0.72705546638130902</c:v>
                </c:pt>
                <c:pt idx="40767">
                  <c:v>0.72707330123060399</c:v>
                </c:pt>
                <c:pt idx="40768">
                  <c:v>0.72709113607989995</c:v>
                </c:pt>
                <c:pt idx="40769">
                  <c:v>0.72710897092919502</c:v>
                </c:pt>
                <c:pt idx="40770">
                  <c:v>0.72712680577849098</c:v>
                </c:pt>
                <c:pt idx="40771">
                  <c:v>0.72714464062778605</c:v>
                </c:pt>
                <c:pt idx="40772">
                  <c:v>0.72716247547708202</c:v>
                </c:pt>
                <c:pt idx="40773">
                  <c:v>0.72718031032637698</c:v>
                </c:pt>
                <c:pt idx="40774">
                  <c:v>0.72719814517567305</c:v>
                </c:pt>
                <c:pt idx="40775">
                  <c:v>0.72721598002496801</c:v>
                </c:pt>
                <c:pt idx="40776">
                  <c:v>0.72723381487426397</c:v>
                </c:pt>
                <c:pt idx="40777">
                  <c:v>0.72725164972355905</c:v>
                </c:pt>
                <c:pt idx="40778">
                  <c:v>0.72726948457285501</c:v>
                </c:pt>
                <c:pt idx="40779">
                  <c:v>0.72728731942214997</c:v>
                </c:pt>
                <c:pt idx="40780">
                  <c:v>0.72730515427144604</c:v>
                </c:pt>
                <c:pt idx="40781">
                  <c:v>0.727322989120741</c:v>
                </c:pt>
                <c:pt idx="40782">
                  <c:v>0.72734082397003696</c:v>
                </c:pt>
                <c:pt idx="40783">
                  <c:v>0.72735865881933204</c:v>
                </c:pt>
                <c:pt idx="40784">
                  <c:v>0.727376493668628</c:v>
                </c:pt>
                <c:pt idx="40785">
                  <c:v>0.72739432851792396</c:v>
                </c:pt>
                <c:pt idx="40786">
                  <c:v>0.72741216336721903</c:v>
                </c:pt>
                <c:pt idx="40787">
                  <c:v>0.72742999821651499</c:v>
                </c:pt>
                <c:pt idx="40788">
                  <c:v>0.72744783306580996</c:v>
                </c:pt>
                <c:pt idx="40789">
                  <c:v>0.72746566791510603</c:v>
                </c:pt>
                <c:pt idx="40790">
                  <c:v>0.72748350276440099</c:v>
                </c:pt>
                <c:pt idx="40791">
                  <c:v>0.72750133761369695</c:v>
                </c:pt>
                <c:pt idx="40792">
                  <c:v>0.72751917246299203</c:v>
                </c:pt>
                <c:pt idx="40793">
                  <c:v>0.72753700731228799</c:v>
                </c:pt>
                <c:pt idx="40794">
                  <c:v>0.72755484216158295</c:v>
                </c:pt>
                <c:pt idx="40795">
                  <c:v>0.72757267701087902</c:v>
                </c:pt>
                <c:pt idx="40796">
                  <c:v>0.72759051186017398</c:v>
                </c:pt>
                <c:pt idx="40797">
                  <c:v>0.72760834670947006</c:v>
                </c:pt>
                <c:pt idx="40798">
                  <c:v>0.72762618155876502</c:v>
                </c:pt>
                <c:pt idx="40799">
                  <c:v>0.72764401640806098</c:v>
                </c:pt>
                <c:pt idx="40800">
                  <c:v>0.72766185125735605</c:v>
                </c:pt>
                <c:pt idx="40801">
                  <c:v>0.72767968610665201</c:v>
                </c:pt>
                <c:pt idx="40802">
                  <c:v>0.72769752095594797</c:v>
                </c:pt>
                <c:pt idx="40803">
                  <c:v>0.72771535580524305</c:v>
                </c:pt>
                <c:pt idx="40804">
                  <c:v>0.72773319065453901</c:v>
                </c:pt>
                <c:pt idx="40805">
                  <c:v>0.72775102550383397</c:v>
                </c:pt>
                <c:pt idx="40806">
                  <c:v>0.72776886035313004</c:v>
                </c:pt>
                <c:pt idx="40807">
                  <c:v>0.727786695202425</c:v>
                </c:pt>
                <c:pt idx="40808">
                  <c:v>0.72780453005172097</c:v>
                </c:pt>
                <c:pt idx="40809">
                  <c:v>0.72782236490101604</c:v>
                </c:pt>
                <c:pt idx="40810">
                  <c:v>0.727840199750312</c:v>
                </c:pt>
                <c:pt idx="40811">
                  <c:v>0.72785803459960696</c:v>
                </c:pt>
                <c:pt idx="40812">
                  <c:v>0.72787586944890303</c:v>
                </c:pt>
                <c:pt idx="40813">
                  <c:v>0.727893704298198</c:v>
                </c:pt>
                <c:pt idx="40814">
                  <c:v>0.72791153914749396</c:v>
                </c:pt>
                <c:pt idx="40815">
                  <c:v>0.72792937399678903</c:v>
                </c:pt>
                <c:pt idx="40816">
                  <c:v>0.72794720884608499</c:v>
                </c:pt>
                <c:pt idx="40817">
                  <c:v>0.72796504369537995</c:v>
                </c:pt>
                <c:pt idx="40818">
                  <c:v>0.72798287854467603</c:v>
                </c:pt>
                <c:pt idx="40819">
                  <c:v>0.72800071339397099</c:v>
                </c:pt>
                <c:pt idx="40820">
                  <c:v>0.72801854824326695</c:v>
                </c:pt>
                <c:pt idx="40821">
                  <c:v>0.72803638309256202</c:v>
                </c:pt>
                <c:pt idx="40822">
                  <c:v>0.72805421794185798</c:v>
                </c:pt>
                <c:pt idx="40823">
                  <c:v>0.72807205279115395</c:v>
                </c:pt>
                <c:pt idx="40824">
                  <c:v>0.72808988764044902</c:v>
                </c:pt>
                <c:pt idx="40825">
                  <c:v>0.72810772248974498</c:v>
                </c:pt>
                <c:pt idx="40826">
                  <c:v>0.72812555733904005</c:v>
                </c:pt>
                <c:pt idx="40827">
                  <c:v>0.72814339218833601</c:v>
                </c:pt>
                <c:pt idx="40828">
                  <c:v>0.72816122703763098</c:v>
                </c:pt>
                <c:pt idx="40829">
                  <c:v>0.72817906188692705</c:v>
                </c:pt>
                <c:pt idx="40830">
                  <c:v>0.72819689673622201</c:v>
                </c:pt>
                <c:pt idx="40831">
                  <c:v>0.72821473158551797</c:v>
                </c:pt>
                <c:pt idx="40832">
                  <c:v>0.72823256643481304</c:v>
                </c:pt>
                <c:pt idx="40833">
                  <c:v>0.72825040128410901</c:v>
                </c:pt>
                <c:pt idx="40834">
                  <c:v>0.72826823613340397</c:v>
                </c:pt>
                <c:pt idx="40835">
                  <c:v>0.72828607098270004</c:v>
                </c:pt>
                <c:pt idx="40836">
                  <c:v>0.728303905831995</c:v>
                </c:pt>
                <c:pt idx="40837">
                  <c:v>0.72832174068129096</c:v>
                </c:pt>
                <c:pt idx="40838">
                  <c:v>0.72833957553058604</c:v>
                </c:pt>
                <c:pt idx="40839">
                  <c:v>0.728357410379882</c:v>
                </c:pt>
                <c:pt idx="40840">
                  <c:v>0.72837524522917696</c:v>
                </c:pt>
                <c:pt idx="40841">
                  <c:v>0.72839308007847303</c:v>
                </c:pt>
                <c:pt idx="40842">
                  <c:v>0.72841091492776799</c:v>
                </c:pt>
                <c:pt idx="40843">
                  <c:v>0.72842874977706396</c:v>
                </c:pt>
                <c:pt idx="40844">
                  <c:v>0.72844658462635903</c:v>
                </c:pt>
                <c:pt idx="40845">
                  <c:v>0.72846441947565499</c:v>
                </c:pt>
                <c:pt idx="40846">
                  <c:v>0.72848225432495095</c:v>
                </c:pt>
                <c:pt idx="40847">
                  <c:v>0.72850008917424602</c:v>
                </c:pt>
                <c:pt idx="40848">
                  <c:v>0.72851792402354199</c:v>
                </c:pt>
                <c:pt idx="40849">
                  <c:v>0.72853575887283695</c:v>
                </c:pt>
                <c:pt idx="40850">
                  <c:v>0.72855359372213302</c:v>
                </c:pt>
                <c:pt idx="40851">
                  <c:v>0.72857142857142798</c:v>
                </c:pt>
                <c:pt idx="40852">
                  <c:v>0.72858926342072405</c:v>
                </c:pt>
                <c:pt idx="40853">
                  <c:v>0.72860709827001902</c:v>
                </c:pt>
                <c:pt idx="40854">
                  <c:v>0.72862493311931498</c:v>
                </c:pt>
                <c:pt idx="40855">
                  <c:v>0.72864276796861005</c:v>
                </c:pt>
                <c:pt idx="40856">
                  <c:v>0.72866060281790601</c:v>
                </c:pt>
                <c:pt idx="40857">
                  <c:v>0.72867843766720097</c:v>
                </c:pt>
                <c:pt idx="40858">
                  <c:v>0.72869627251649705</c:v>
                </c:pt>
                <c:pt idx="40859">
                  <c:v>0.72871410736579201</c:v>
                </c:pt>
                <c:pt idx="40860">
                  <c:v>0.72873194221508797</c:v>
                </c:pt>
                <c:pt idx="40861">
                  <c:v>0.72874977706438304</c:v>
                </c:pt>
                <c:pt idx="40862">
                  <c:v>0.728767611913679</c:v>
                </c:pt>
                <c:pt idx="40863">
                  <c:v>0.72878544676297397</c:v>
                </c:pt>
                <c:pt idx="40864">
                  <c:v>0.72880328161227004</c:v>
                </c:pt>
                <c:pt idx="40865">
                  <c:v>0.728821116461565</c:v>
                </c:pt>
                <c:pt idx="40866">
                  <c:v>0.72883895131086096</c:v>
                </c:pt>
                <c:pt idx="40867">
                  <c:v>0.72885678616015603</c:v>
                </c:pt>
                <c:pt idx="40868">
                  <c:v>0.728874621009452</c:v>
                </c:pt>
                <c:pt idx="40869">
                  <c:v>0.72889245585874796</c:v>
                </c:pt>
                <c:pt idx="40870">
                  <c:v>0.72891029070804303</c:v>
                </c:pt>
                <c:pt idx="40871">
                  <c:v>0.72892812555733899</c:v>
                </c:pt>
                <c:pt idx="40872">
                  <c:v>0.72894596040663395</c:v>
                </c:pt>
                <c:pt idx="40873">
                  <c:v>0.72896379525593002</c:v>
                </c:pt>
                <c:pt idx="40874">
                  <c:v>0.72898163010522499</c:v>
                </c:pt>
                <c:pt idx="40875">
                  <c:v>0.72899946495452095</c:v>
                </c:pt>
                <c:pt idx="40876">
                  <c:v>0.72901729980381602</c:v>
                </c:pt>
                <c:pt idx="40877">
                  <c:v>0.72903513465311198</c:v>
                </c:pt>
                <c:pt idx="40878">
                  <c:v>0.72905296950240694</c:v>
                </c:pt>
                <c:pt idx="40879">
                  <c:v>0.72907080435170302</c:v>
                </c:pt>
                <c:pt idx="40880">
                  <c:v>0.72908863920099798</c:v>
                </c:pt>
                <c:pt idx="40881">
                  <c:v>0.72910647405029405</c:v>
                </c:pt>
                <c:pt idx="40882">
                  <c:v>0.72912430889958901</c:v>
                </c:pt>
                <c:pt idx="40883">
                  <c:v>0.72914214374888497</c:v>
                </c:pt>
                <c:pt idx="40884">
                  <c:v>0.72915997859818005</c:v>
                </c:pt>
                <c:pt idx="40885">
                  <c:v>0.72917781344747601</c:v>
                </c:pt>
                <c:pt idx="40886">
                  <c:v>0.72919564829677097</c:v>
                </c:pt>
                <c:pt idx="40887">
                  <c:v>0.72921348314606704</c:v>
                </c:pt>
                <c:pt idx="40888">
                  <c:v>0.72923131799536201</c:v>
                </c:pt>
                <c:pt idx="40889">
                  <c:v>0.72924915284465797</c:v>
                </c:pt>
                <c:pt idx="40890">
                  <c:v>0.72926698769395404</c:v>
                </c:pt>
                <c:pt idx="40891">
                  <c:v>0.729284822543249</c:v>
                </c:pt>
                <c:pt idx="40892">
                  <c:v>0.72930265739254496</c:v>
                </c:pt>
                <c:pt idx="40893">
                  <c:v>0.72932049224184003</c:v>
                </c:pt>
                <c:pt idx="40894">
                  <c:v>0.729338327091136</c:v>
                </c:pt>
                <c:pt idx="40895">
                  <c:v>0.72935616194043096</c:v>
                </c:pt>
                <c:pt idx="40896">
                  <c:v>0.72937399678972703</c:v>
                </c:pt>
                <c:pt idx="40897">
                  <c:v>0.72939183163902199</c:v>
                </c:pt>
                <c:pt idx="40898">
                  <c:v>0.72940966648831795</c:v>
                </c:pt>
                <c:pt idx="40899">
                  <c:v>0.72942750133761303</c:v>
                </c:pt>
                <c:pt idx="40900">
                  <c:v>0.72944533618690899</c:v>
                </c:pt>
                <c:pt idx="40901">
                  <c:v>0.72946317103620395</c:v>
                </c:pt>
                <c:pt idx="40902">
                  <c:v>0.72948100588550002</c:v>
                </c:pt>
                <c:pt idx="40903">
                  <c:v>0.72949884073479498</c:v>
                </c:pt>
                <c:pt idx="40904">
                  <c:v>0.72951667558409095</c:v>
                </c:pt>
                <c:pt idx="40905">
                  <c:v>0.72953451043338602</c:v>
                </c:pt>
                <c:pt idx="40906">
                  <c:v>0.72955234528268198</c:v>
                </c:pt>
                <c:pt idx="40907">
                  <c:v>0.72957018013197705</c:v>
                </c:pt>
                <c:pt idx="40908">
                  <c:v>0.72958801498127301</c:v>
                </c:pt>
                <c:pt idx="40909">
                  <c:v>0.72960584983056898</c:v>
                </c:pt>
                <c:pt idx="40910">
                  <c:v>0.72962368467986405</c:v>
                </c:pt>
                <c:pt idx="40911">
                  <c:v>0.72964151952916001</c:v>
                </c:pt>
                <c:pt idx="40912">
                  <c:v>0.72965935437845497</c:v>
                </c:pt>
                <c:pt idx="40913">
                  <c:v>0.72967718922775104</c:v>
                </c:pt>
                <c:pt idx="40914">
                  <c:v>0.72969502407704601</c:v>
                </c:pt>
                <c:pt idx="40915">
                  <c:v>0.72971285892634197</c:v>
                </c:pt>
                <c:pt idx="40916">
                  <c:v>0.72973069377563704</c:v>
                </c:pt>
                <c:pt idx="40917">
                  <c:v>0.729748528624933</c:v>
                </c:pt>
                <c:pt idx="40918">
                  <c:v>0.72976636347422796</c:v>
                </c:pt>
                <c:pt idx="40919">
                  <c:v>0.72978419832352404</c:v>
                </c:pt>
                <c:pt idx="40920">
                  <c:v>0.729802033172819</c:v>
                </c:pt>
                <c:pt idx="40921">
                  <c:v>0.72981986802211496</c:v>
                </c:pt>
                <c:pt idx="40922">
                  <c:v>0.72983770287141003</c:v>
                </c:pt>
                <c:pt idx="40923">
                  <c:v>0.72985553772070599</c:v>
                </c:pt>
                <c:pt idx="40924">
                  <c:v>0.72987337257000096</c:v>
                </c:pt>
                <c:pt idx="40925">
                  <c:v>0.72989120741929703</c:v>
                </c:pt>
                <c:pt idx="40926">
                  <c:v>0.72990904226859199</c:v>
                </c:pt>
                <c:pt idx="40927">
                  <c:v>0.72992687711788795</c:v>
                </c:pt>
                <c:pt idx="40928">
                  <c:v>0.72994471196718302</c:v>
                </c:pt>
                <c:pt idx="40929">
                  <c:v>0.72996254681647899</c:v>
                </c:pt>
                <c:pt idx="40930">
                  <c:v>0.72998038166577495</c:v>
                </c:pt>
                <c:pt idx="40931">
                  <c:v>0.72999821651507002</c:v>
                </c:pt>
                <c:pt idx="40932">
                  <c:v>0.73001605136436598</c:v>
                </c:pt>
                <c:pt idx="40933">
                  <c:v>0.73003388621366105</c:v>
                </c:pt>
                <c:pt idx="40934">
                  <c:v>0.73005172106295702</c:v>
                </c:pt>
                <c:pt idx="40935">
                  <c:v>0.73006955591225198</c:v>
                </c:pt>
                <c:pt idx="40936">
                  <c:v>0.73008739076154805</c:v>
                </c:pt>
                <c:pt idx="40937">
                  <c:v>0.73010522561084301</c:v>
                </c:pt>
                <c:pt idx="40938">
                  <c:v>0.73012306046013897</c:v>
                </c:pt>
                <c:pt idx="40939">
                  <c:v>0.73014089530943405</c:v>
                </c:pt>
                <c:pt idx="40940">
                  <c:v>0.73015873015873001</c:v>
                </c:pt>
                <c:pt idx="40941">
                  <c:v>0.73017656500802497</c:v>
                </c:pt>
                <c:pt idx="40942">
                  <c:v>0.73019439985732104</c:v>
                </c:pt>
                <c:pt idx="40943">
                  <c:v>0.730212234706616</c:v>
                </c:pt>
                <c:pt idx="40944">
                  <c:v>0.73023006955591196</c:v>
                </c:pt>
                <c:pt idx="40945">
                  <c:v>0.73024790440520704</c:v>
                </c:pt>
                <c:pt idx="40946">
                  <c:v>0.730265739254503</c:v>
                </c:pt>
                <c:pt idx="40947">
                  <c:v>0.73028357410379796</c:v>
                </c:pt>
                <c:pt idx="40948">
                  <c:v>0.73030140895309403</c:v>
                </c:pt>
                <c:pt idx="40949">
                  <c:v>0.730319243802389</c:v>
                </c:pt>
                <c:pt idx="40950">
                  <c:v>0.73033707865168496</c:v>
                </c:pt>
                <c:pt idx="40951">
                  <c:v>0.73035491350098003</c:v>
                </c:pt>
                <c:pt idx="40952">
                  <c:v>0.73037274835027599</c:v>
                </c:pt>
                <c:pt idx="40953">
                  <c:v>0.73039058319957195</c:v>
                </c:pt>
                <c:pt idx="40954">
                  <c:v>0.73040841804886703</c:v>
                </c:pt>
                <c:pt idx="40955">
                  <c:v>0.73042625289816299</c:v>
                </c:pt>
                <c:pt idx="40956">
                  <c:v>0.73044408774745795</c:v>
                </c:pt>
                <c:pt idx="40957">
                  <c:v>0.73046192259675402</c:v>
                </c:pt>
                <c:pt idx="40958">
                  <c:v>0.73047975744604898</c:v>
                </c:pt>
                <c:pt idx="40959">
                  <c:v>0.73049759229534506</c:v>
                </c:pt>
                <c:pt idx="40960">
                  <c:v>0.73051542714464002</c:v>
                </c:pt>
                <c:pt idx="40961">
                  <c:v>0.73053326199393598</c:v>
                </c:pt>
                <c:pt idx="40962">
                  <c:v>0.73055109684323105</c:v>
                </c:pt>
                <c:pt idx="40963">
                  <c:v>0.73056893169252701</c:v>
                </c:pt>
                <c:pt idx="40964">
                  <c:v>0.73058676654182197</c:v>
                </c:pt>
                <c:pt idx="40965">
                  <c:v>0.73060460139111805</c:v>
                </c:pt>
                <c:pt idx="40966">
                  <c:v>0.73062243624041301</c:v>
                </c:pt>
                <c:pt idx="40967">
                  <c:v>0.73064027108970897</c:v>
                </c:pt>
                <c:pt idx="40968">
                  <c:v>0.73065810593900404</c:v>
                </c:pt>
                <c:pt idx="40969">
                  <c:v>0.7306759407883</c:v>
                </c:pt>
                <c:pt idx="40970">
                  <c:v>0.73069377563759497</c:v>
                </c:pt>
                <c:pt idx="40971">
                  <c:v>0.73071161048689104</c:v>
                </c:pt>
                <c:pt idx="40972">
                  <c:v>0.730729445336186</c:v>
                </c:pt>
                <c:pt idx="40973">
                  <c:v>0.73074728018548196</c:v>
                </c:pt>
                <c:pt idx="40974">
                  <c:v>0.73076511503477704</c:v>
                </c:pt>
                <c:pt idx="40975">
                  <c:v>0.730782949884073</c:v>
                </c:pt>
                <c:pt idx="40976">
                  <c:v>0.73080078473336896</c:v>
                </c:pt>
                <c:pt idx="40977">
                  <c:v>0.73081861958266403</c:v>
                </c:pt>
                <c:pt idx="40978">
                  <c:v>0.73083645443195999</c:v>
                </c:pt>
                <c:pt idx="40979">
                  <c:v>0.73085428928125495</c:v>
                </c:pt>
                <c:pt idx="40980">
                  <c:v>0.73087212413055103</c:v>
                </c:pt>
                <c:pt idx="40981">
                  <c:v>0.73088995897984599</c:v>
                </c:pt>
                <c:pt idx="40982">
                  <c:v>0.73090779382914195</c:v>
                </c:pt>
                <c:pt idx="40983">
                  <c:v>0.73092562867843702</c:v>
                </c:pt>
                <c:pt idx="40984">
                  <c:v>0.73094346352773298</c:v>
                </c:pt>
                <c:pt idx="40985">
                  <c:v>0.73096129837702795</c:v>
                </c:pt>
                <c:pt idx="40986">
                  <c:v>0.73097913322632402</c:v>
                </c:pt>
                <c:pt idx="40987">
                  <c:v>0.73099696807561898</c:v>
                </c:pt>
                <c:pt idx="40988">
                  <c:v>0.73101480292491505</c:v>
                </c:pt>
                <c:pt idx="40989">
                  <c:v>0.73103263777421001</c:v>
                </c:pt>
                <c:pt idx="40990">
                  <c:v>0.73105047262350598</c:v>
                </c:pt>
                <c:pt idx="40991">
                  <c:v>0.73106830747280105</c:v>
                </c:pt>
                <c:pt idx="40992">
                  <c:v>0.73108614232209701</c:v>
                </c:pt>
                <c:pt idx="40993">
                  <c:v>0.73110397717139197</c:v>
                </c:pt>
                <c:pt idx="40994">
                  <c:v>0.73112181202068804</c:v>
                </c:pt>
                <c:pt idx="40995">
                  <c:v>0.73113964686998301</c:v>
                </c:pt>
                <c:pt idx="40996">
                  <c:v>0.73115748171927897</c:v>
                </c:pt>
                <c:pt idx="40997">
                  <c:v>0.73117531656857504</c:v>
                </c:pt>
                <c:pt idx="40998">
                  <c:v>0.73119315141787</c:v>
                </c:pt>
                <c:pt idx="40999">
                  <c:v>0.73121098626716596</c:v>
                </c:pt>
                <c:pt idx="41000">
                  <c:v>0.73122882111646104</c:v>
                </c:pt>
                <c:pt idx="41001">
                  <c:v>0.731246655965757</c:v>
                </c:pt>
                <c:pt idx="41002">
                  <c:v>0.73126449081505196</c:v>
                </c:pt>
                <c:pt idx="41003">
                  <c:v>0.73128232566434803</c:v>
                </c:pt>
                <c:pt idx="41004">
                  <c:v>0.73130016051364299</c:v>
                </c:pt>
                <c:pt idx="41005">
                  <c:v>0.73131799536293896</c:v>
                </c:pt>
                <c:pt idx="41006">
                  <c:v>0.73133583021223403</c:v>
                </c:pt>
                <c:pt idx="41007">
                  <c:v>0.73135366506152999</c:v>
                </c:pt>
                <c:pt idx="41008">
                  <c:v>0.73137149991082495</c:v>
                </c:pt>
                <c:pt idx="41009">
                  <c:v>0.73138933476012102</c:v>
                </c:pt>
                <c:pt idx="41010">
                  <c:v>0.73140716960941599</c:v>
                </c:pt>
                <c:pt idx="41011">
                  <c:v>0.73142500445871195</c:v>
                </c:pt>
                <c:pt idx="41012">
                  <c:v>0.73144283930800702</c:v>
                </c:pt>
                <c:pt idx="41013">
                  <c:v>0.73146067415730298</c:v>
                </c:pt>
                <c:pt idx="41014">
                  <c:v>0.73147850900659805</c:v>
                </c:pt>
                <c:pt idx="41015">
                  <c:v>0.73149634385589402</c:v>
                </c:pt>
                <c:pt idx="41016">
                  <c:v>0.73151417870518998</c:v>
                </c:pt>
                <c:pt idx="41017">
                  <c:v>0.73153201355448505</c:v>
                </c:pt>
                <c:pt idx="41018">
                  <c:v>0.73154984840378101</c:v>
                </c:pt>
                <c:pt idx="41019">
                  <c:v>0.73156768325307597</c:v>
                </c:pt>
                <c:pt idx="41020">
                  <c:v>0.73158551810237205</c:v>
                </c:pt>
                <c:pt idx="41021">
                  <c:v>0.73160335295166701</c:v>
                </c:pt>
                <c:pt idx="41022">
                  <c:v>0.73162118780096297</c:v>
                </c:pt>
                <c:pt idx="41023">
                  <c:v>0.73163902265025804</c:v>
                </c:pt>
                <c:pt idx="41024">
                  <c:v>0.731656857499554</c:v>
                </c:pt>
                <c:pt idx="41025">
                  <c:v>0.73167469234884897</c:v>
                </c:pt>
                <c:pt idx="41026">
                  <c:v>0.73169252719814504</c:v>
                </c:pt>
                <c:pt idx="41027">
                  <c:v>0.73171036204744</c:v>
                </c:pt>
                <c:pt idx="41028">
                  <c:v>0.73172819689673596</c:v>
                </c:pt>
                <c:pt idx="41029">
                  <c:v>0.73174603174603103</c:v>
                </c:pt>
                <c:pt idx="41030">
                  <c:v>0.73176386659532699</c:v>
                </c:pt>
                <c:pt idx="41031">
                  <c:v>0.73178170144462196</c:v>
                </c:pt>
                <c:pt idx="41032">
                  <c:v>0.73179953629391803</c:v>
                </c:pt>
                <c:pt idx="41033">
                  <c:v>0.73181737114321299</c:v>
                </c:pt>
                <c:pt idx="41034">
                  <c:v>0.73183520599250895</c:v>
                </c:pt>
                <c:pt idx="41035">
                  <c:v>0.73185304084180403</c:v>
                </c:pt>
                <c:pt idx="41036">
                  <c:v>0.73187087569109999</c:v>
                </c:pt>
                <c:pt idx="41037">
                  <c:v>0.73188871054039595</c:v>
                </c:pt>
                <c:pt idx="41038">
                  <c:v>0.73190654538969102</c:v>
                </c:pt>
                <c:pt idx="41039">
                  <c:v>0.73192438023898698</c:v>
                </c:pt>
                <c:pt idx="41040">
                  <c:v>0.73194221508828206</c:v>
                </c:pt>
                <c:pt idx="41041">
                  <c:v>0.73196004993757802</c:v>
                </c:pt>
                <c:pt idx="41042">
                  <c:v>0.73197788478687298</c:v>
                </c:pt>
                <c:pt idx="41043">
                  <c:v>0.73199571963616905</c:v>
                </c:pt>
                <c:pt idx="41044">
                  <c:v>0.73201355448546401</c:v>
                </c:pt>
                <c:pt idx="41045">
                  <c:v>0.73203138933475997</c:v>
                </c:pt>
                <c:pt idx="41046">
                  <c:v>0.73204922418405505</c:v>
                </c:pt>
                <c:pt idx="41047">
                  <c:v>0.73206705903335101</c:v>
                </c:pt>
                <c:pt idx="41048">
                  <c:v>0.73208489388264597</c:v>
                </c:pt>
                <c:pt idx="41049">
                  <c:v>0.73210272873194204</c:v>
                </c:pt>
                <c:pt idx="41050">
                  <c:v>0.732120563581237</c:v>
                </c:pt>
                <c:pt idx="41051">
                  <c:v>0.73213839843053297</c:v>
                </c:pt>
                <c:pt idx="41052">
                  <c:v>0.73215623327982804</c:v>
                </c:pt>
                <c:pt idx="41053">
                  <c:v>0.732174068129124</c:v>
                </c:pt>
                <c:pt idx="41054">
                  <c:v>0.73219190297841896</c:v>
                </c:pt>
                <c:pt idx="41055">
                  <c:v>0.73220973782771503</c:v>
                </c:pt>
                <c:pt idx="41056">
                  <c:v>0.73222757267701</c:v>
                </c:pt>
                <c:pt idx="41057">
                  <c:v>0.73224540752630596</c:v>
                </c:pt>
                <c:pt idx="41058">
                  <c:v>0.73226324237560103</c:v>
                </c:pt>
                <c:pt idx="41059">
                  <c:v>0.73228107722489699</c:v>
                </c:pt>
                <c:pt idx="41060">
                  <c:v>0.73229891207419295</c:v>
                </c:pt>
                <c:pt idx="41061">
                  <c:v>0.73231674692348803</c:v>
                </c:pt>
                <c:pt idx="41062">
                  <c:v>0.73233458177278399</c:v>
                </c:pt>
                <c:pt idx="41063">
                  <c:v>0.73235241662207895</c:v>
                </c:pt>
                <c:pt idx="41064">
                  <c:v>0.73237025147137502</c:v>
                </c:pt>
                <c:pt idx="41065">
                  <c:v>0.73238808632066998</c:v>
                </c:pt>
                <c:pt idx="41066">
                  <c:v>0.73240592116996595</c:v>
                </c:pt>
                <c:pt idx="41067">
                  <c:v>0.73242375601926102</c:v>
                </c:pt>
                <c:pt idx="41068">
                  <c:v>0.73244159086855698</c:v>
                </c:pt>
                <c:pt idx="41069">
                  <c:v>0.73245942571785205</c:v>
                </c:pt>
                <c:pt idx="41070">
                  <c:v>0.73247726056714801</c:v>
                </c:pt>
                <c:pt idx="41071">
                  <c:v>0.73249509541644298</c:v>
                </c:pt>
                <c:pt idx="41072">
                  <c:v>0.73251293026573905</c:v>
                </c:pt>
                <c:pt idx="41073">
                  <c:v>0.73253076511503401</c:v>
                </c:pt>
                <c:pt idx="41074">
                  <c:v>0.73254859996432997</c:v>
                </c:pt>
                <c:pt idx="41075">
                  <c:v>0.73256643481362504</c:v>
                </c:pt>
                <c:pt idx="41076">
                  <c:v>0.73258426966292101</c:v>
                </c:pt>
                <c:pt idx="41077">
                  <c:v>0.73260210451221597</c:v>
                </c:pt>
                <c:pt idx="41078">
                  <c:v>0.73261993936151204</c:v>
                </c:pt>
                <c:pt idx="41079">
                  <c:v>0.732637774210807</c:v>
                </c:pt>
                <c:pt idx="41080">
                  <c:v>0.73265560906010296</c:v>
                </c:pt>
                <c:pt idx="41081">
                  <c:v>0.73267344390939804</c:v>
                </c:pt>
                <c:pt idx="41082">
                  <c:v>0.732691278758694</c:v>
                </c:pt>
                <c:pt idx="41083">
                  <c:v>0.73270911360798996</c:v>
                </c:pt>
                <c:pt idx="41084">
                  <c:v>0.73272694845728503</c:v>
                </c:pt>
                <c:pt idx="41085">
                  <c:v>0.73274478330658099</c:v>
                </c:pt>
                <c:pt idx="41086">
                  <c:v>0.73276261815587596</c:v>
                </c:pt>
                <c:pt idx="41087">
                  <c:v>0.73278045300517203</c:v>
                </c:pt>
                <c:pt idx="41088">
                  <c:v>0.73279828785446699</c:v>
                </c:pt>
                <c:pt idx="41089">
                  <c:v>0.73281612270376295</c:v>
                </c:pt>
                <c:pt idx="41090">
                  <c:v>0.73283395755305802</c:v>
                </c:pt>
                <c:pt idx="41091">
                  <c:v>0.73285179240235399</c:v>
                </c:pt>
                <c:pt idx="41092">
                  <c:v>0.73286962725164895</c:v>
                </c:pt>
                <c:pt idx="41093">
                  <c:v>0.73288746210094502</c:v>
                </c:pt>
                <c:pt idx="41094">
                  <c:v>0.73290529695023998</c:v>
                </c:pt>
                <c:pt idx="41095">
                  <c:v>0.73292313179953605</c:v>
                </c:pt>
                <c:pt idx="41096">
                  <c:v>0.73294096664883102</c:v>
                </c:pt>
                <c:pt idx="41097">
                  <c:v>0.73295880149812698</c:v>
                </c:pt>
                <c:pt idx="41098">
                  <c:v>0.73297663634742205</c:v>
                </c:pt>
                <c:pt idx="41099">
                  <c:v>0.73299447119671801</c:v>
                </c:pt>
                <c:pt idx="41100">
                  <c:v>0.73301230604601297</c:v>
                </c:pt>
                <c:pt idx="41101">
                  <c:v>0.73303014089530905</c:v>
                </c:pt>
                <c:pt idx="41102">
                  <c:v>0.73304797574460501</c:v>
                </c:pt>
                <c:pt idx="41103">
                  <c:v>0.73306581059389997</c:v>
                </c:pt>
                <c:pt idx="41104">
                  <c:v>0.73308364544319604</c:v>
                </c:pt>
                <c:pt idx="41105">
                  <c:v>0.733101480292491</c:v>
                </c:pt>
                <c:pt idx="41106">
                  <c:v>0.73311931514178696</c:v>
                </c:pt>
                <c:pt idx="41107">
                  <c:v>0.73313714999108204</c:v>
                </c:pt>
                <c:pt idx="41108">
                  <c:v>0.733154984840378</c:v>
                </c:pt>
                <c:pt idx="41109">
                  <c:v>0.73317281968967296</c:v>
                </c:pt>
                <c:pt idx="41110">
                  <c:v>0.73319065453896903</c:v>
                </c:pt>
                <c:pt idx="41111">
                  <c:v>0.733208489388264</c:v>
                </c:pt>
                <c:pt idx="41112">
                  <c:v>0.73322632423755996</c:v>
                </c:pt>
                <c:pt idx="41113">
                  <c:v>0.73324415908685503</c:v>
                </c:pt>
                <c:pt idx="41114">
                  <c:v>0.73326199393615099</c:v>
                </c:pt>
                <c:pt idx="41115">
                  <c:v>0.73327982878544595</c:v>
                </c:pt>
                <c:pt idx="41116">
                  <c:v>0.73329766363474203</c:v>
                </c:pt>
                <c:pt idx="41117">
                  <c:v>0.73331549848403699</c:v>
                </c:pt>
                <c:pt idx="41118">
                  <c:v>0.73333333333333295</c:v>
                </c:pt>
                <c:pt idx="41119">
                  <c:v>0.73335116818262802</c:v>
                </c:pt>
                <c:pt idx="41120">
                  <c:v>0.73336900303192398</c:v>
                </c:pt>
                <c:pt idx="41121">
                  <c:v>0.73338683788121894</c:v>
                </c:pt>
                <c:pt idx="41122">
                  <c:v>0.73340467273051502</c:v>
                </c:pt>
                <c:pt idx="41123">
                  <c:v>0.73342250757981098</c:v>
                </c:pt>
                <c:pt idx="41124">
                  <c:v>0.73344034242910605</c:v>
                </c:pt>
                <c:pt idx="41125">
                  <c:v>0.73345817727840201</c:v>
                </c:pt>
                <c:pt idx="41126">
                  <c:v>0.73347601212769697</c:v>
                </c:pt>
                <c:pt idx="41127">
                  <c:v>0.73349384697699305</c:v>
                </c:pt>
                <c:pt idx="41128">
                  <c:v>0.73351168182628801</c:v>
                </c:pt>
                <c:pt idx="41129">
                  <c:v>0.73352951667558397</c:v>
                </c:pt>
                <c:pt idx="41130">
                  <c:v>0.73354735152487904</c:v>
                </c:pt>
                <c:pt idx="41131">
                  <c:v>0.733565186374175</c:v>
                </c:pt>
                <c:pt idx="41132">
                  <c:v>0.73358302122346997</c:v>
                </c:pt>
                <c:pt idx="41133">
                  <c:v>0.73360085607276604</c:v>
                </c:pt>
                <c:pt idx="41134">
                  <c:v>0.733618690922061</c:v>
                </c:pt>
                <c:pt idx="41135">
                  <c:v>0.73363652577135696</c:v>
                </c:pt>
                <c:pt idx="41136">
                  <c:v>0.73365436062065204</c:v>
                </c:pt>
                <c:pt idx="41137">
                  <c:v>0.733672195469948</c:v>
                </c:pt>
                <c:pt idx="41138">
                  <c:v>0.73369003031924296</c:v>
                </c:pt>
                <c:pt idx="41139">
                  <c:v>0.73370786516853903</c:v>
                </c:pt>
                <c:pt idx="41140">
                  <c:v>0.73372570001783399</c:v>
                </c:pt>
                <c:pt idx="41141">
                  <c:v>0.73374353486712995</c:v>
                </c:pt>
                <c:pt idx="41142">
                  <c:v>0.73376136971642503</c:v>
                </c:pt>
                <c:pt idx="41143">
                  <c:v>0.73377920456572099</c:v>
                </c:pt>
                <c:pt idx="41144">
                  <c:v>0.73379703941501695</c:v>
                </c:pt>
                <c:pt idx="41145">
                  <c:v>0.73381487426431202</c:v>
                </c:pt>
                <c:pt idx="41146">
                  <c:v>0.73383270911360798</c:v>
                </c:pt>
                <c:pt idx="41147">
                  <c:v>0.73385054396290295</c:v>
                </c:pt>
                <c:pt idx="41148">
                  <c:v>0.73386837881219902</c:v>
                </c:pt>
                <c:pt idx="41149">
                  <c:v>0.73388621366149398</c:v>
                </c:pt>
                <c:pt idx="41150">
                  <c:v>0.73390404851079005</c:v>
                </c:pt>
                <c:pt idx="41151">
                  <c:v>0.73392188336008501</c:v>
                </c:pt>
                <c:pt idx="41152">
                  <c:v>0.73393971820938098</c:v>
                </c:pt>
                <c:pt idx="41153">
                  <c:v>0.73395755305867605</c:v>
                </c:pt>
                <c:pt idx="41154">
                  <c:v>0.73397538790797201</c:v>
                </c:pt>
                <c:pt idx="41155">
                  <c:v>0.73399322275726697</c:v>
                </c:pt>
                <c:pt idx="41156">
                  <c:v>0.73401105760656304</c:v>
                </c:pt>
                <c:pt idx="41157">
                  <c:v>0.73402889245585801</c:v>
                </c:pt>
                <c:pt idx="41158">
                  <c:v>0.73404672730515397</c:v>
                </c:pt>
                <c:pt idx="41159">
                  <c:v>0.73406456215444904</c:v>
                </c:pt>
                <c:pt idx="41160">
                  <c:v>0.734082397003745</c:v>
                </c:pt>
                <c:pt idx="41161">
                  <c:v>0.73410023185303996</c:v>
                </c:pt>
                <c:pt idx="41162">
                  <c:v>0.73411806670233604</c:v>
                </c:pt>
                <c:pt idx="41163">
                  <c:v>0.734135901551631</c:v>
                </c:pt>
                <c:pt idx="41164">
                  <c:v>0.73415373640092696</c:v>
                </c:pt>
                <c:pt idx="41165">
                  <c:v>0.73417157125022203</c:v>
                </c:pt>
                <c:pt idx="41166">
                  <c:v>0.73418940609951799</c:v>
                </c:pt>
                <c:pt idx="41167">
                  <c:v>0.73420724094881396</c:v>
                </c:pt>
                <c:pt idx="41168">
                  <c:v>0.73422507579810903</c:v>
                </c:pt>
                <c:pt idx="41169">
                  <c:v>0.73424291064740499</c:v>
                </c:pt>
                <c:pt idx="41170">
                  <c:v>0.73426074549669995</c:v>
                </c:pt>
                <c:pt idx="41171">
                  <c:v>0.73427858034599602</c:v>
                </c:pt>
                <c:pt idx="41172">
                  <c:v>0.73429641519529099</c:v>
                </c:pt>
                <c:pt idx="41173">
                  <c:v>0.73431425004458695</c:v>
                </c:pt>
                <c:pt idx="41174">
                  <c:v>0.73433208489388202</c:v>
                </c:pt>
                <c:pt idx="41175">
                  <c:v>0.73434991974317798</c:v>
                </c:pt>
                <c:pt idx="41176">
                  <c:v>0.73436775459247305</c:v>
                </c:pt>
                <c:pt idx="41177">
                  <c:v>0.73438558944176902</c:v>
                </c:pt>
                <c:pt idx="41178">
                  <c:v>0.73440342429106398</c:v>
                </c:pt>
                <c:pt idx="41179">
                  <c:v>0.73442125914036005</c:v>
                </c:pt>
                <c:pt idx="41180">
                  <c:v>0.73443909398965501</c:v>
                </c:pt>
                <c:pt idx="41181">
                  <c:v>0.73445692883895097</c:v>
                </c:pt>
                <c:pt idx="41182">
                  <c:v>0.73447476368824605</c:v>
                </c:pt>
                <c:pt idx="41183">
                  <c:v>0.73449259853754201</c:v>
                </c:pt>
                <c:pt idx="41184">
                  <c:v>0.73451043338683697</c:v>
                </c:pt>
                <c:pt idx="41185">
                  <c:v>0.73452826823613304</c:v>
                </c:pt>
                <c:pt idx="41186">
                  <c:v>0.734546103085428</c:v>
                </c:pt>
                <c:pt idx="41187">
                  <c:v>0.73456393793472397</c:v>
                </c:pt>
                <c:pt idx="41188">
                  <c:v>0.73458177278401904</c:v>
                </c:pt>
                <c:pt idx="41189">
                  <c:v>0.734599607633315</c:v>
                </c:pt>
                <c:pt idx="41190">
                  <c:v>0.73461744248261096</c:v>
                </c:pt>
                <c:pt idx="41191">
                  <c:v>0.73463527733190603</c:v>
                </c:pt>
                <c:pt idx="41192">
                  <c:v>0.73465311218120199</c:v>
                </c:pt>
                <c:pt idx="41193">
                  <c:v>0.73467094703049696</c:v>
                </c:pt>
                <c:pt idx="41194">
                  <c:v>0.73468878187979303</c:v>
                </c:pt>
                <c:pt idx="41195">
                  <c:v>0.73470661672908799</c:v>
                </c:pt>
                <c:pt idx="41196">
                  <c:v>0.73472445157838395</c:v>
                </c:pt>
                <c:pt idx="41197">
                  <c:v>0.73474228642767903</c:v>
                </c:pt>
                <c:pt idx="41198">
                  <c:v>0.73476012127697499</c:v>
                </c:pt>
                <c:pt idx="41199">
                  <c:v>0.73477795612626995</c:v>
                </c:pt>
                <c:pt idx="41200">
                  <c:v>0.73479579097556602</c:v>
                </c:pt>
                <c:pt idx="41201">
                  <c:v>0.73481362582486098</c:v>
                </c:pt>
                <c:pt idx="41202">
                  <c:v>0.73483146067415706</c:v>
                </c:pt>
                <c:pt idx="41203">
                  <c:v>0.73484929552345202</c:v>
                </c:pt>
                <c:pt idx="41204">
                  <c:v>0.73486713037274798</c:v>
                </c:pt>
                <c:pt idx="41205">
                  <c:v>0.73488496522204305</c:v>
                </c:pt>
                <c:pt idx="41206">
                  <c:v>0.73490280007133901</c:v>
                </c:pt>
                <c:pt idx="41207">
                  <c:v>0.73492063492063497</c:v>
                </c:pt>
                <c:pt idx="41208">
                  <c:v>0.73493846976993005</c:v>
                </c:pt>
                <c:pt idx="41209">
                  <c:v>0.73495630461922601</c:v>
                </c:pt>
                <c:pt idx="41210">
                  <c:v>0.73497413946852097</c:v>
                </c:pt>
                <c:pt idx="41211">
                  <c:v>0.73499197431781704</c:v>
                </c:pt>
                <c:pt idx="41212">
                  <c:v>0.735009809167112</c:v>
                </c:pt>
                <c:pt idx="41213">
                  <c:v>0.73502764401640797</c:v>
                </c:pt>
                <c:pt idx="41214">
                  <c:v>0.73504547886570304</c:v>
                </c:pt>
                <c:pt idx="41215">
                  <c:v>0.735063313714999</c:v>
                </c:pt>
                <c:pt idx="41216">
                  <c:v>0.73508114856429396</c:v>
                </c:pt>
                <c:pt idx="41217">
                  <c:v>0.73509898341359003</c:v>
                </c:pt>
                <c:pt idx="41218">
                  <c:v>0.735116818262885</c:v>
                </c:pt>
                <c:pt idx="41219">
                  <c:v>0.73513465311218096</c:v>
                </c:pt>
                <c:pt idx="41220">
                  <c:v>0.73515248796147603</c:v>
                </c:pt>
                <c:pt idx="41221">
                  <c:v>0.73517032281077199</c:v>
                </c:pt>
                <c:pt idx="41222">
                  <c:v>0.73518815766006695</c:v>
                </c:pt>
                <c:pt idx="41223">
                  <c:v>0.73520599250936303</c:v>
                </c:pt>
                <c:pt idx="41224">
                  <c:v>0.73522382735865799</c:v>
                </c:pt>
                <c:pt idx="41225">
                  <c:v>0.73524166220795395</c:v>
                </c:pt>
                <c:pt idx="41226">
                  <c:v>0.73525949705724902</c:v>
                </c:pt>
                <c:pt idx="41227">
                  <c:v>0.73527733190654498</c:v>
                </c:pt>
                <c:pt idx="41228">
                  <c:v>0.73529516675584095</c:v>
                </c:pt>
                <c:pt idx="41229">
                  <c:v>0.73531300160513602</c:v>
                </c:pt>
                <c:pt idx="41230">
                  <c:v>0.73533083645443198</c:v>
                </c:pt>
                <c:pt idx="41231">
                  <c:v>0.73534867130372705</c:v>
                </c:pt>
                <c:pt idx="41232">
                  <c:v>0.73536650615302301</c:v>
                </c:pt>
                <c:pt idx="41233">
                  <c:v>0.73538434100231798</c:v>
                </c:pt>
                <c:pt idx="41234">
                  <c:v>0.73540217585161405</c:v>
                </c:pt>
                <c:pt idx="41235">
                  <c:v>0.73542001070090901</c:v>
                </c:pt>
                <c:pt idx="41236">
                  <c:v>0.73543784555020497</c:v>
                </c:pt>
                <c:pt idx="41237">
                  <c:v>0.73545568039950004</c:v>
                </c:pt>
                <c:pt idx="41238">
                  <c:v>0.73547351524879601</c:v>
                </c:pt>
                <c:pt idx="41239">
                  <c:v>0.73549135009809097</c:v>
                </c:pt>
                <c:pt idx="41240">
                  <c:v>0.73550918494738704</c:v>
                </c:pt>
                <c:pt idx="41241">
                  <c:v>0.735527019796682</c:v>
                </c:pt>
                <c:pt idx="41242">
                  <c:v>0.73554485464597796</c:v>
                </c:pt>
                <c:pt idx="41243">
                  <c:v>0.73556268949527304</c:v>
                </c:pt>
                <c:pt idx="41244">
                  <c:v>0.735580524344569</c:v>
                </c:pt>
                <c:pt idx="41245">
                  <c:v>0.73559835919386396</c:v>
                </c:pt>
                <c:pt idx="41246">
                  <c:v>0.73561619404316003</c:v>
                </c:pt>
                <c:pt idx="41247">
                  <c:v>0.73563402889245499</c:v>
                </c:pt>
                <c:pt idx="41248">
                  <c:v>0.73565186374175096</c:v>
                </c:pt>
                <c:pt idx="41249">
                  <c:v>0.73566969859104603</c:v>
                </c:pt>
                <c:pt idx="41250">
                  <c:v>0.73568753344034199</c:v>
                </c:pt>
                <c:pt idx="41251">
                  <c:v>0.73570536828963795</c:v>
                </c:pt>
                <c:pt idx="41252">
                  <c:v>0.73572320313893302</c:v>
                </c:pt>
                <c:pt idx="41253">
                  <c:v>0.73574103798822899</c:v>
                </c:pt>
                <c:pt idx="41254">
                  <c:v>0.73575887283752395</c:v>
                </c:pt>
                <c:pt idx="41255">
                  <c:v>0.73577670768682002</c:v>
                </c:pt>
                <c:pt idx="41256">
                  <c:v>0.73579454253611498</c:v>
                </c:pt>
                <c:pt idx="41257">
                  <c:v>0.73581237738541105</c:v>
                </c:pt>
                <c:pt idx="41258">
                  <c:v>0.73583021223470602</c:v>
                </c:pt>
                <c:pt idx="41259">
                  <c:v>0.73584804708400198</c:v>
                </c:pt>
                <c:pt idx="41260">
                  <c:v>0.73586588193329705</c:v>
                </c:pt>
                <c:pt idx="41261">
                  <c:v>0.73588371678259301</c:v>
                </c:pt>
                <c:pt idx="41262">
                  <c:v>0.73590155163188797</c:v>
                </c:pt>
                <c:pt idx="41263">
                  <c:v>0.73591938648118405</c:v>
                </c:pt>
                <c:pt idx="41264">
                  <c:v>0.73593722133047901</c:v>
                </c:pt>
                <c:pt idx="41265">
                  <c:v>0.73595505617977497</c:v>
                </c:pt>
                <c:pt idx="41266">
                  <c:v>0.73597289102907004</c:v>
                </c:pt>
                <c:pt idx="41267">
                  <c:v>0.735990725878366</c:v>
                </c:pt>
                <c:pt idx="41268">
                  <c:v>0.73600856072766097</c:v>
                </c:pt>
                <c:pt idx="41269">
                  <c:v>0.73602639557695704</c:v>
                </c:pt>
                <c:pt idx="41270">
                  <c:v>0.736044230426252</c:v>
                </c:pt>
                <c:pt idx="41271">
                  <c:v>0.73606206527554796</c:v>
                </c:pt>
                <c:pt idx="41272">
                  <c:v>0.73607990012484303</c:v>
                </c:pt>
                <c:pt idx="41273">
                  <c:v>0.736097734974139</c:v>
                </c:pt>
                <c:pt idx="41274">
                  <c:v>0.73611556982343496</c:v>
                </c:pt>
                <c:pt idx="41275">
                  <c:v>0.73613340467273003</c:v>
                </c:pt>
                <c:pt idx="41276">
                  <c:v>0.73615123952202599</c:v>
                </c:pt>
                <c:pt idx="41277">
                  <c:v>0.73616907437132095</c:v>
                </c:pt>
                <c:pt idx="41278">
                  <c:v>0.73618690922061703</c:v>
                </c:pt>
                <c:pt idx="41279">
                  <c:v>0.73620474406991199</c:v>
                </c:pt>
                <c:pt idx="41280">
                  <c:v>0.73622257891920795</c:v>
                </c:pt>
                <c:pt idx="41281">
                  <c:v>0.73624041376850302</c:v>
                </c:pt>
                <c:pt idx="41282">
                  <c:v>0.73625824861779898</c:v>
                </c:pt>
                <c:pt idx="41283">
                  <c:v>0.73627608346709394</c:v>
                </c:pt>
                <c:pt idx="41284">
                  <c:v>0.73629391831639002</c:v>
                </c:pt>
                <c:pt idx="41285">
                  <c:v>0.73631175316568498</c:v>
                </c:pt>
                <c:pt idx="41286">
                  <c:v>0.73632958801498105</c:v>
                </c:pt>
                <c:pt idx="41287">
                  <c:v>0.73634742286427601</c:v>
                </c:pt>
                <c:pt idx="41288">
                  <c:v>0.73636525771357197</c:v>
                </c:pt>
                <c:pt idx="41289">
                  <c:v>0.73638309256286705</c:v>
                </c:pt>
                <c:pt idx="41290">
                  <c:v>0.73640092741216301</c:v>
                </c:pt>
                <c:pt idx="41291">
                  <c:v>0.73641876226145797</c:v>
                </c:pt>
                <c:pt idx="41292">
                  <c:v>0.73643659711075404</c:v>
                </c:pt>
                <c:pt idx="41293">
                  <c:v>0.73645443196004901</c:v>
                </c:pt>
                <c:pt idx="41294">
                  <c:v>0.73647226680934497</c:v>
                </c:pt>
                <c:pt idx="41295">
                  <c:v>0.73649010165864104</c:v>
                </c:pt>
                <c:pt idx="41296">
                  <c:v>0.736507936507936</c:v>
                </c:pt>
                <c:pt idx="41297">
                  <c:v>0.73652577135723196</c:v>
                </c:pt>
                <c:pt idx="41298">
                  <c:v>0.73654360620652704</c:v>
                </c:pt>
                <c:pt idx="41299">
                  <c:v>0.736561441055823</c:v>
                </c:pt>
                <c:pt idx="41300">
                  <c:v>0.73657927590511796</c:v>
                </c:pt>
                <c:pt idx="41301">
                  <c:v>0.73659711075441403</c:v>
                </c:pt>
                <c:pt idx="41302">
                  <c:v>0.73661494560370899</c:v>
                </c:pt>
                <c:pt idx="41303">
                  <c:v>0.73663278045300495</c:v>
                </c:pt>
                <c:pt idx="41304">
                  <c:v>0.73665061530230003</c:v>
                </c:pt>
                <c:pt idx="41305">
                  <c:v>0.73666845015159599</c:v>
                </c:pt>
                <c:pt idx="41306">
                  <c:v>0.73668628500089095</c:v>
                </c:pt>
                <c:pt idx="41307">
                  <c:v>0.73670411985018702</c:v>
                </c:pt>
                <c:pt idx="41308">
                  <c:v>0.73672195469948198</c:v>
                </c:pt>
                <c:pt idx="41309">
                  <c:v>0.73673978954877795</c:v>
                </c:pt>
                <c:pt idx="41310">
                  <c:v>0.73675762439807302</c:v>
                </c:pt>
                <c:pt idx="41311">
                  <c:v>0.73677545924736898</c:v>
                </c:pt>
                <c:pt idx="41312">
                  <c:v>0.73679329409666405</c:v>
                </c:pt>
                <c:pt idx="41313">
                  <c:v>0.73681112894596001</c:v>
                </c:pt>
                <c:pt idx="41314">
                  <c:v>0.73682896379525598</c:v>
                </c:pt>
                <c:pt idx="41315">
                  <c:v>0.73684679864455105</c:v>
                </c:pt>
                <c:pt idx="41316">
                  <c:v>0.73686463349384701</c:v>
                </c:pt>
                <c:pt idx="41317">
                  <c:v>0.73688246834314197</c:v>
                </c:pt>
                <c:pt idx="41318">
                  <c:v>0.73690030319243804</c:v>
                </c:pt>
                <c:pt idx="41319">
                  <c:v>0.73691813804173301</c:v>
                </c:pt>
                <c:pt idx="41320">
                  <c:v>0.73693597289102897</c:v>
                </c:pt>
                <c:pt idx="41321">
                  <c:v>0.73695380774032404</c:v>
                </c:pt>
                <c:pt idx="41322">
                  <c:v>0.73697164258962</c:v>
                </c:pt>
                <c:pt idx="41323">
                  <c:v>0.73698947743891496</c:v>
                </c:pt>
                <c:pt idx="41324">
                  <c:v>0.73700731228821104</c:v>
                </c:pt>
                <c:pt idx="41325">
                  <c:v>0.737025147137506</c:v>
                </c:pt>
                <c:pt idx="41326">
                  <c:v>0.73704298198680196</c:v>
                </c:pt>
                <c:pt idx="41327">
                  <c:v>0.73706081683609703</c:v>
                </c:pt>
                <c:pt idx="41328">
                  <c:v>0.73707865168539299</c:v>
                </c:pt>
                <c:pt idx="41329">
                  <c:v>0.73709648653468796</c:v>
                </c:pt>
                <c:pt idx="41330">
                  <c:v>0.73711432138398403</c:v>
                </c:pt>
                <c:pt idx="41331">
                  <c:v>0.73713215623327899</c:v>
                </c:pt>
                <c:pt idx="41332">
                  <c:v>0.73714999108257495</c:v>
                </c:pt>
                <c:pt idx="41333">
                  <c:v>0.73716782593187002</c:v>
                </c:pt>
                <c:pt idx="41334">
                  <c:v>0.73718566078116599</c:v>
                </c:pt>
                <c:pt idx="41335">
                  <c:v>0.73720349563046195</c:v>
                </c:pt>
                <c:pt idx="41336">
                  <c:v>0.73722133047975702</c:v>
                </c:pt>
                <c:pt idx="41337">
                  <c:v>0.73723916532905298</c:v>
                </c:pt>
                <c:pt idx="41338">
                  <c:v>0.73725700017834805</c:v>
                </c:pt>
                <c:pt idx="41339">
                  <c:v>0.73727483502764402</c:v>
                </c:pt>
                <c:pt idx="41340">
                  <c:v>0.73729266987693898</c:v>
                </c:pt>
                <c:pt idx="41341">
                  <c:v>0.73731050472623505</c:v>
                </c:pt>
                <c:pt idx="41342">
                  <c:v>0.73732833957553001</c:v>
                </c:pt>
                <c:pt idx="41343">
                  <c:v>0.73734617442482597</c:v>
                </c:pt>
                <c:pt idx="41344">
                  <c:v>0.73736400927412105</c:v>
                </c:pt>
                <c:pt idx="41345">
                  <c:v>0.73738184412341701</c:v>
                </c:pt>
                <c:pt idx="41346">
                  <c:v>0.73739967897271197</c:v>
                </c:pt>
                <c:pt idx="41347">
                  <c:v>0.73741751382200804</c:v>
                </c:pt>
                <c:pt idx="41348">
                  <c:v>0.737435348671303</c:v>
                </c:pt>
                <c:pt idx="41349">
                  <c:v>0.73745318352059896</c:v>
                </c:pt>
                <c:pt idx="41350">
                  <c:v>0.73747101836989404</c:v>
                </c:pt>
                <c:pt idx="41351">
                  <c:v>0.73748885321919</c:v>
                </c:pt>
                <c:pt idx="41352">
                  <c:v>0.73750668806848496</c:v>
                </c:pt>
                <c:pt idx="41353">
                  <c:v>0.73752452291778103</c:v>
                </c:pt>
                <c:pt idx="41354">
                  <c:v>0.737542357767076</c:v>
                </c:pt>
                <c:pt idx="41355">
                  <c:v>0.73756019261637196</c:v>
                </c:pt>
                <c:pt idx="41356">
                  <c:v>0.73757802746566703</c:v>
                </c:pt>
                <c:pt idx="41357">
                  <c:v>0.73759586231496299</c:v>
                </c:pt>
                <c:pt idx="41358">
                  <c:v>0.73761369716425895</c:v>
                </c:pt>
                <c:pt idx="41359">
                  <c:v>0.73763153201355403</c:v>
                </c:pt>
                <c:pt idx="41360">
                  <c:v>0.73764936686284999</c:v>
                </c:pt>
                <c:pt idx="41361">
                  <c:v>0.73766720171214495</c:v>
                </c:pt>
                <c:pt idx="41362">
                  <c:v>0.73768503656144102</c:v>
                </c:pt>
                <c:pt idx="41363">
                  <c:v>0.73770287141073598</c:v>
                </c:pt>
                <c:pt idx="41364">
                  <c:v>0.73772070626003206</c:v>
                </c:pt>
                <c:pt idx="41365">
                  <c:v>0.73773854110932702</c:v>
                </c:pt>
                <c:pt idx="41366">
                  <c:v>0.73775637595862298</c:v>
                </c:pt>
                <c:pt idx="41367">
                  <c:v>0.73777421080791805</c:v>
                </c:pt>
                <c:pt idx="41368">
                  <c:v>0.73779204565721401</c:v>
                </c:pt>
                <c:pt idx="41369">
                  <c:v>0.73780988050650897</c:v>
                </c:pt>
                <c:pt idx="41370">
                  <c:v>0.73782771535580505</c:v>
                </c:pt>
                <c:pt idx="41371">
                  <c:v>0.73784555020510001</c:v>
                </c:pt>
                <c:pt idx="41372">
                  <c:v>0.73786338505439597</c:v>
                </c:pt>
                <c:pt idx="41373">
                  <c:v>0.73788121990369104</c:v>
                </c:pt>
                <c:pt idx="41374">
                  <c:v>0.737899054752987</c:v>
                </c:pt>
                <c:pt idx="41375">
                  <c:v>0.73791688960228197</c:v>
                </c:pt>
                <c:pt idx="41376">
                  <c:v>0.73793472445157804</c:v>
                </c:pt>
                <c:pt idx="41377">
                  <c:v>0.737952559300873</c:v>
                </c:pt>
                <c:pt idx="41378">
                  <c:v>0.73797039415016896</c:v>
                </c:pt>
                <c:pt idx="41379">
                  <c:v>0.73798822899946404</c:v>
                </c:pt>
                <c:pt idx="41380">
                  <c:v>0.73800606384876</c:v>
                </c:pt>
                <c:pt idx="41381">
                  <c:v>0.73802389869805596</c:v>
                </c:pt>
                <c:pt idx="41382">
                  <c:v>0.73804173354735103</c:v>
                </c:pt>
                <c:pt idx="41383">
                  <c:v>0.73805956839664699</c:v>
                </c:pt>
                <c:pt idx="41384">
                  <c:v>0.73807740324594195</c:v>
                </c:pt>
                <c:pt idx="41385">
                  <c:v>0.73809523809523803</c:v>
                </c:pt>
                <c:pt idx="41386">
                  <c:v>0.73811307294453299</c:v>
                </c:pt>
                <c:pt idx="41387">
                  <c:v>0.73813090779382895</c:v>
                </c:pt>
                <c:pt idx="41388">
                  <c:v>0.73814874264312402</c:v>
                </c:pt>
                <c:pt idx="41389">
                  <c:v>0.73816657749241998</c:v>
                </c:pt>
                <c:pt idx="41390">
                  <c:v>0.73818441234171495</c:v>
                </c:pt>
                <c:pt idx="41391">
                  <c:v>0.73820224719101102</c:v>
                </c:pt>
                <c:pt idx="41392">
                  <c:v>0.73822008204030598</c:v>
                </c:pt>
                <c:pt idx="41393">
                  <c:v>0.73823791688960205</c:v>
                </c:pt>
                <c:pt idx="41394">
                  <c:v>0.73825575173889701</c:v>
                </c:pt>
                <c:pt idx="41395">
                  <c:v>0.73827358658819298</c:v>
                </c:pt>
                <c:pt idx="41396">
                  <c:v>0.73829142143748805</c:v>
                </c:pt>
                <c:pt idx="41397">
                  <c:v>0.73830925628678401</c:v>
                </c:pt>
                <c:pt idx="41398">
                  <c:v>0.73832709113607897</c:v>
                </c:pt>
                <c:pt idx="41399">
                  <c:v>0.73834492598537504</c:v>
                </c:pt>
                <c:pt idx="41400">
                  <c:v>0.73836276083467001</c:v>
                </c:pt>
                <c:pt idx="41401">
                  <c:v>0.73838059568396597</c:v>
                </c:pt>
                <c:pt idx="41402">
                  <c:v>0.73839843053326204</c:v>
                </c:pt>
                <c:pt idx="41403">
                  <c:v>0.738416265382557</c:v>
                </c:pt>
                <c:pt idx="41404">
                  <c:v>0.73843410023185296</c:v>
                </c:pt>
                <c:pt idx="41405">
                  <c:v>0.73845193508114804</c:v>
                </c:pt>
                <c:pt idx="41406">
                  <c:v>0.738469769930444</c:v>
                </c:pt>
                <c:pt idx="41407">
                  <c:v>0.73848760477973896</c:v>
                </c:pt>
                <c:pt idx="41408">
                  <c:v>0.73850543962903503</c:v>
                </c:pt>
                <c:pt idx="41409">
                  <c:v>0.73852327447832999</c:v>
                </c:pt>
                <c:pt idx="41410">
                  <c:v>0.73854110932762596</c:v>
                </c:pt>
                <c:pt idx="41411">
                  <c:v>0.73855894417692103</c:v>
                </c:pt>
                <c:pt idx="41412">
                  <c:v>0.73857677902621699</c:v>
                </c:pt>
                <c:pt idx="41413">
                  <c:v>0.73859461387551195</c:v>
                </c:pt>
                <c:pt idx="41414">
                  <c:v>0.73861244872480802</c:v>
                </c:pt>
                <c:pt idx="41415">
                  <c:v>0.73863028357410299</c:v>
                </c:pt>
                <c:pt idx="41416">
                  <c:v>0.73864811842339895</c:v>
                </c:pt>
                <c:pt idx="41417">
                  <c:v>0.73866595327269402</c:v>
                </c:pt>
                <c:pt idx="41418">
                  <c:v>0.73868378812198998</c:v>
                </c:pt>
                <c:pt idx="41419">
                  <c:v>0.73870162297128505</c:v>
                </c:pt>
                <c:pt idx="41420">
                  <c:v>0.73871945782058102</c:v>
                </c:pt>
                <c:pt idx="41421">
                  <c:v>0.73873729266987698</c:v>
                </c:pt>
                <c:pt idx="41422">
                  <c:v>0.73875512751917205</c:v>
                </c:pt>
                <c:pt idx="41423">
                  <c:v>0.73877296236846801</c:v>
                </c:pt>
                <c:pt idx="41424">
                  <c:v>0.73879079721776297</c:v>
                </c:pt>
                <c:pt idx="41425">
                  <c:v>0.73880863206705905</c:v>
                </c:pt>
                <c:pt idx="41426">
                  <c:v>0.73882646691635401</c:v>
                </c:pt>
                <c:pt idx="41427">
                  <c:v>0.73884430176564997</c:v>
                </c:pt>
                <c:pt idx="41428">
                  <c:v>0.73886213661494504</c:v>
                </c:pt>
                <c:pt idx="41429">
                  <c:v>0.738879971464241</c:v>
                </c:pt>
                <c:pt idx="41430">
                  <c:v>0.73889780631353597</c:v>
                </c:pt>
                <c:pt idx="41431">
                  <c:v>0.73891564116283204</c:v>
                </c:pt>
                <c:pt idx="41432">
                  <c:v>0.738933476012127</c:v>
                </c:pt>
                <c:pt idx="41433">
                  <c:v>0.73895131086142296</c:v>
                </c:pt>
                <c:pt idx="41434">
                  <c:v>0.73896914571071803</c:v>
                </c:pt>
                <c:pt idx="41435">
                  <c:v>0.738986980560014</c:v>
                </c:pt>
                <c:pt idx="41436">
                  <c:v>0.73900481540930896</c:v>
                </c:pt>
                <c:pt idx="41437">
                  <c:v>0.73902265025860503</c:v>
                </c:pt>
                <c:pt idx="41438">
                  <c:v>0.73904048510789999</c:v>
                </c:pt>
                <c:pt idx="41439">
                  <c:v>0.73905831995719595</c:v>
                </c:pt>
                <c:pt idx="41440">
                  <c:v>0.73907615480649103</c:v>
                </c:pt>
                <c:pt idx="41441">
                  <c:v>0.73909398965578699</c:v>
                </c:pt>
                <c:pt idx="41442">
                  <c:v>0.73911182450508295</c:v>
                </c:pt>
                <c:pt idx="41443">
                  <c:v>0.73912965935437802</c:v>
                </c:pt>
                <c:pt idx="41444">
                  <c:v>0.73914749420367398</c:v>
                </c:pt>
                <c:pt idx="41445">
                  <c:v>0.73916532905296894</c:v>
                </c:pt>
                <c:pt idx="41446">
                  <c:v>0.73918316390226502</c:v>
                </c:pt>
                <c:pt idx="41447">
                  <c:v>0.73920099875155998</c:v>
                </c:pt>
                <c:pt idx="41448">
                  <c:v>0.73921883360085605</c:v>
                </c:pt>
                <c:pt idx="41449">
                  <c:v>0.73923666845015101</c:v>
                </c:pt>
                <c:pt idx="41450">
                  <c:v>0.73925450329944697</c:v>
                </c:pt>
                <c:pt idx="41451">
                  <c:v>0.73927233814874205</c:v>
                </c:pt>
                <c:pt idx="41452">
                  <c:v>0.73929017299803801</c:v>
                </c:pt>
                <c:pt idx="41453">
                  <c:v>0.73930800784733297</c:v>
                </c:pt>
                <c:pt idx="41454">
                  <c:v>0.73932584269662904</c:v>
                </c:pt>
                <c:pt idx="41455">
                  <c:v>0.73934367754592401</c:v>
                </c:pt>
                <c:pt idx="41456">
                  <c:v>0.73936151239521997</c:v>
                </c:pt>
                <c:pt idx="41457">
                  <c:v>0.73937934724451504</c:v>
                </c:pt>
                <c:pt idx="41458">
                  <c:v>0.739397182093811</c:v>
                </c:pt>
                <c:pt idx="41459">
                  <c:v>0.73941501694310596</c:v>
                </c:pt>
                <c:pt idx="41460">
                  <c:v>0.73943285179240203</c:v>
                </c:pt>
                <c:pt idx="41461">
                  <c:v>0.739450686641697</c:v>
                </c:pt>
                <c:pt idx="41462">
                  <c:v>0.73946852149099296</c:v>
                </c:pt>
                <c:pt idx="41463">
                  <c:v>0.73948635634028803</c:v>
                </c:pt>
                <c:pt idx="41464">
                  <c:v>0.73950419118958399</c:v>
                </c:pt>
                <c:pt idx="41465">
                  <c:v>0.73952202603887995</c:v>
                </c:pt>
                <c:pt idx="41466">
                  <c:v>0.73953986088817503</c:v>
                </c:pt>
                <c:pt idx="41467">
                  <c:v>0.73955769573747099</c:v>
                </c:pt>
                <c:pt idx="41468">
                  <c:v>0.73957553058676595</c:v>
                </c:pt>
                <c:pt idx="41469">
                  <c:v>0.73959336543606202</c:v>
                </c:pt>
                <c:pt idx="41470">
                  <c:v>0.73961120028535698</c:v>
                </c:pt>
                <c:pt idx="41471">
                  <c:v>0.73962903513465295</c:v>
                </c:pt>
                <c:pt idx="41472">
                  <c:v>0.73964686998394802</c:v>
                </c:pt>
                <c:pt idx="41473">
                  <c:v>0.73966470483324398</c:v>
                </c:pt>
                <c:pt idx="41474">
                  <c:v>0.73968253968253905</c:v>
                </c:pt>
                <c:pt idx="41475">
                  <c:v>0.73970037453183501</c:v>
                </c:pt>
                <c:pt idx="41476">
                  <c:v>0.73971820938112998</c:v>
                </c:pt>
                <c:pt idx="41477">
                  <c:v>0.73973604423042605</c:v>
                </c:pt>
                <c:pt idx="41478">
                  <c:v>0.73975387907972101</c:v>
                </c:pt>
                <c:pt idx="41479">
                  <c:v>0.73977171392901697</c:v>
                </c:pt>
                <c:pt idx="41480">
                  <c:v>0.73978954877831204</c:v>
                </c:pt>
                <c:pt idx="41481">
                  <c:v>0.73980738362760801</c:v>
                </c:pt>
                <c:pt idx="41482">
                  <c:v>0.73982521847690297</c:v>
                </c:pt>
                <c:pt idx="41483">
                  <c:v>0.73984305332619904</c:v>
                </c:pt>
                <c:pt idx="41484">
                  <c:v>0.739860888175494</c:v>
                </c:pt>
                <c:pt idx="41485">
                  <c:v>0.73987872302478996</c:v>
                </c:pt>
                <c:pt idx="41486">
                  <c:v>0.73989655787408504</c:v>
                </c:pt>
                <c:pt idx="41487">
                  <c:v>0.739914392723381</c:v>
                </c:pt>
                <c:pt idx="41488">
                  <c:v>0.73993222757267696</c:v>
                </c:pt>
                <c:pt idx="41489">
                  <c:v>0.73995006242197203</c:v>
                </c:pt>
                <c:pt idx="41490">
                  <c:v>0.73996789727126799</c:v>
                </c:pt>
                <c:pt idx="41491">
                  <c:v>0.73998573212056296</c:v>
                </c:pt>
                <c:pt idx="41492">
                  <c:v>0.74000356696985903</c:v>
                </c:pt>
                <c:pt idx="41493">
                  <c:v>0.74002140181915399</c:v>
                </c:pt>
                <c:pt idx="41494">
                  <c:v>0.74003923666844995</c:v>
                </c:pt>
                <c:pt idx="41495">
                  <c:v>0.74005707151774502</c:v>
                </c:pt>
                <c:pt idx="41496">
                  <c:v>0.74007490636704099</c:v>
                </c:pt>
                <c:pt idx="41497">
                  <c:v>0.74009274121633595</c:v>
                </c:pt>
                <c:pt idx="41498">
                  <c:v>0.74011057606563202</c:v>
                </c:pt>
                <c:pt idx="41499">
                  <c:v>0.74012841091492698</c:v>
                </c:pt>
                <c:pt idx="41500">
                  <c:v>0.74014624576422305</c:v>
                </c:pt>
                <c:pt idx="41501">
                  <c:v>0.74016408061351802</c:v>
                </c:pt>
                <c:pt idx="41502">
                  <c:v>0.74018191546281398</c:v>
                </c:pt>
                <c:pt idx="41503">
                  <c:v>0.74019975031210905</c:v>
                </c:pt>
                <c:pt idx="41504">
                  <c:v>0.74021758516140501</c:v>
                </c:pt>
                <c:pt idx="41505">
                  <c:v>0.74023542001069997</c:v>
                </c:pt>
                <c:pt idx="41506">
                  <c:v>0.74025325485999605</c:v>
                </c:pt>
                <c:pt idx="41507">
                  <c:v>0.74027108970929201</c:v>
                </c:pt>
                <c:pt idx="41508">
                  <c:v>0.74028892455858697</c:v>
                </c:pt>
                <c:pt idx="41509">
                  <c:v>0.74030675940788304</c:v>
                </c:pt>
                <c:pt idx="41510">
                  <c:v>0.740324594257178</c:v>
                </c:pt>
                <c:pt idx="41511">
                  <c:v>0.74034242910647396</c:v>
                </c:pt>
                <c:pt idx="41512">
                  <c:v>0.74036026395576904</c:v>
                </c:pt>
                <c:pt idx="41513">
                  <c:v>0.740378098805065</c:v>
                </c:pt>
                <c:pt idx="41514">
                  <c:v>0.74039593365435996</c:v>
                </c:pt>
                <c:pt idx="41515">
                  <c:v>0.74041376850365603</c:v>
                </c:pt>
                <c:pt idx="41516">
                  <c:v>0.740431603352951</c:v>
                </c:pt>
                <c:pt idx="41517">
                  <c:v>0.74044943820224696</c:v>
                </c:pt>
                <c:pt idx="41518">
                  <c:v>0.74046727305154203</c:v>
                </c:pt>
                <c:pt idx="41519">
                  <c:v>0.74048510790083799</c:v>
                </c:pt>
                <c:pt idx="41520">
                  <c:v>0.74050294275013295</c:v>
                </c:pt>
                <c:pt idx="41521">
                  <c:v>0.74052077759942903</c:v>
                </c:pt>
                <c:pt idx="41522">
                  <c:v>0.74053861244872399</c:v>
                </c:pt>
                <c:pt idx="41523">
                  <c:v>0.74055644729801995</c:v>
                </c:pt>
                <c:pt idx="41524">
                  <c:v>0.74057428214731502</c:v>
                </c:pt>
                <c:pt idx="41525">
                  <c:v>0.74059211699661098</c:v>
                </c:pt>
                <c:pt idx="41526">
                  <c:v>0.74060995184590594</c:v>
                </c:pt>
                <c:pt idx="41527">
                  <c:v>0.74062778669520202</c:v>
                </c:pt>
                <c:pt idx="41528">
                  <c:v>0.74064562154449798</c:v>
                </c:pt>
                <c:pt idx="41529">
                  <c:v>0.74066345639379305</c:v>
                </c:pt>
                <c:pt idx="41530">
                  <c:v>0.74068129124308901</c:v>
                </c:pt>
                <c:pt idx="41531">
                  <c:v>0.74069912609238397</c:v>
                </c:pt>
                <c:pt idx="41532">
                  <c:v>0.74071696094168005</c:v>
                </c:pt>
                <c:pt idx="41533">
                  <c:v>0.74073479579097501</c:v>
                </c:pt>
                <c:pt idx="41534">
                  <c:v>0.74075263064027097</c:v>
                </c:pt>
                <c:pt idx="41535">
                  <c:v>0.74077046548956604</c:v>
                </c:pt>
                <c:pt idx="41536">
                  <c:v>0.740788300338862</c:v>
                </c:pt>
                <c:pt idx="41537">
                  <c:v>0.74080613518815697</c:v>
                </c:pt>
                <c:pt idx="41538">
                  <c:v>0.74082397003745304</c:v>
                </c:pt>
                <c:pt idx="41539">
                  <c:v>0.740841804886748</c:v>
                </c:pt>
                <c:pt idx="41540">
                  <c:v>0.74085963973604396</c:v>
                </c:pt>
                <c:pt idx="41541">
                  <c:v>0.74087747458533904</c:v>
                </c:pt>
                <c:pt idx="41542">
                  <c:v>0.740895309434635</c:v>
                </c:pt>
                <c:pt idx="41543">
                  <c:v>0.74091314428392996</c:v>
                </c:pt>
                <c:pt idx="41544">
                  <c:v>0.74093097913322603</c:v>
                </c:pt>
                <c:pt idx="41545">
                  <c:v>0.74094881398252099</c:v>
                </c:pt>
                <c:pt idx="41546">
                  <c:v>0.74096664883181695</c:v>
                </c:pt>
                <c:pt idx="41547">
                  <c:v>0.74098448368111203</c:v>
                </c:pt>
                <c:pt idx="41548">
                  <c:v>0.74100231853040799</c:v>
                </c:pt>
                <c:pt idx="41549">
                  <c:v>0.74102015337970395</c:v>
                </c:pt>
                <c:pt idx="41550">
                  <c:v>0.74103798822899902</c:v>
                </c:pt>
                <c:pt idx="41551">
                  <c:v>0.74105582307829498</c:v>
                </c:pt>
                <c:pt idx="41552">
                  <c:v>0.74107365792758995</c:v>
                </c:pt>
                <c:pt idx="41553">
                  <c:v>0.74109149277688602</c:v>
                </c:pt>
                <c:pt idx="41554">
                  <c:v>0.74110932762618098</c:v>
                </c:pt>
                <c:pt idx="41555">
                  <c:v>0.74112716247547705</c:v>
                </c:pt>
                <c:pt idx="41556">
                  <c:v>0.74114499732477201</c:v>
                </c:pt>
                <c:pt idx="41557">
                  <c:v>0.74116283217406798</c:v>
                </c:pt>
                <c:pt idx="41558">
                  <c:v>0.74118066702336305</c:v>
                </c:pt>
                <c:pt idx="41559">
                  <c:v>0.74119850187265901</c:v>
                </c:pt>
                <c:pt idx="41560">
                  <c:v>0.74121633672195397</c:v>
                </c:pt>
                <c:pt idx="41561">
                  <c:v>0.74123417157125004</c:v>
                </c:pt>
                <c:pt idx="41562">
                  <c:v>0.74125200642054501</c:v>
                </c:pt>
                <c:pt idx="41563">
                  <c:v>0.74126984126984097</c:v>
                </c:pt>
                <c:pt idx="41564">
                  <c:v>0.74128767611913604</c:v>
                </c:pt>
                <c:pt idx="41565">
                  <c:v>0.741305510968432</c:v>
                </c:pt>
                <c:pt idx="41566">
                  <c:v>0.74132334581772696</c:v>
                </c:pt>
                <c:pt idx="41567">
                  <c:v>0.74134118066702304</c:v>
                </c:pt>
                <c:pt idx="41568">
                  <c:v>0.741359015516318</c:v>
                </c:pt>
                <c:pt idx="41569">
                  <c:v>0.74137685036561396</c:v>
                </c:pt>
                <c:pt idx="41570">
                  <c:v>0.74139468521490903</c:v>
                </c:pt>
                <c:pt idx="41571">
                  <c:v>0.74141252006420499</c:v>
                </c:pt>
                <c:pt idx="41572">
                  <c:v>0.74143035491350096</c:v>
                </c:pt>
                <c:pt idx="41573">
                  <c:v>0.74144818976279603</c:v>
                </c:pt>
                <c:pt idx="41574">
                  <c:v>0.74146602461209199</c:v>
                </c:pt>
                <c:pt idx="41575">
                  <c:v>0.74148385946138695</c:v>
                </c:pt>
                <c:pt idx="41576">
                  <c:v>0.74150169431068302</c:v>
                </c:pt>
                <c:pt idx="41577">
                  <c:v>0.74151952915997799</c:v>
                </c:pt>
                <c:pt idx="41578">
                  <c:v>0.74153736400927395</c:v>
                </c:pt>
                <c:pt idx="41579">
                  <c:v>0.74155519885856902</c:v>
                </c:pt>
                <c:pt idx="41580">
                  <c:v>0.74157303370786498</c:v>
                </c:pt>
                <c:pt idx="41581">
                  <c:v>0.74159086855716005</c:v>
                </c:pt>
                <c:pt idx="41582">
                  <c:v>0.74160870340645602</c:v>
                </c:pt>
                <c:pt idx="41583">
                  <c:v>0.74162653825575098</c:v>
                </c:pt>
                <c:pt idx="41584">
                  <c:v>0.74164437310504705</c:v>
                </c:pt>
                <c:pt idx="41585">
                  <c:v>0.74166220795434201</c:v>
                </c:pt>
                <c:pt idx="41586">
                  <c:v>0.74168004280363797</c:v>
                </c:pt>
                <c:pt idx="41587">
                  <c:v>0.74169787765293305</c:v>
                </c:pt>
                <c:pt idx="41588">
                  <c:v>0.74171571250222901</c:v>
                </c:pt>
                <c:pt idx="41589">
                  <c:v>0.74173354735152397</c:v>
                </c:pt>
                <c:pt idx="41590">
                  <c:v>0.74175138220082004</c:v>
                </c:pt>
                <c:pt idx="41591">
                  <c:v>0.741769217050115</c:v>
                </c:pt>
                <c:pt idx="41592">
                  <c:v>0.74178705189941097</c:v>
                </c:pt>
                <c:pt idx="41593">
                  <c:v>0.74180488674870604</c:v>
                </c:pt>
                <c:pt idx="41594">
                  <c:v>0.741822721598002</c:v>
                </c:pt>
                <c:pt idx="41595">
                  <c:v>0.74184055644729796</c:v>
                </c:pt>
                <c:pt idx="41596">
                  <c:v>0.74185839129659303</c:v>
                </c:pt>
                <c:pt idx="41597">
                  <c:v>0.741876226145889</c:v>
                </c:pt>
                <c:pt idx="41598">
                  <c:v>0.74189406099518396</c:v>
                </c:pt>
                <c:pt idx="41599">
                  <c:v>0.74191189584448003</c:v>
                </c:pt>
                <c:pt idx="41600">
                  <c:v>0.74192973069377499</c:v>
                </c:pt>
                <c:pt idx="41601">
                  <c:v>0.74194756554307095</c:v>
                </c:pt>
                <c:pt idx="41602">
                  <c:v>0.74196540039236603</c:v>
                </c:pt>
                <c:pt idx="41603">
                  <c:v>0.74198323524166199</c:v>
                </c:pt>
                <c:pt idx="41604">
                  <c:v>0.74200107009095695</c:v>
                </c:pt>
                <c:pt idx="41605">
                  <c:v>0.74201890494025302</c:v>
                </c:pt>
                <c:pt idx="41606">
                  <c:v>0.74203673978954798</c:v>
                </c:pt>
                <c:pt idx="41607">
                  <c:v>0.74205457463884394</c:v>
                </c:pt>
                <c:pt idx="41608">
                  <c:v>0.74207240948813902</c:v>
                </c:pt>
                <c:pt idx="41609">
                  <c:v>0.74209024433743498</c:v>
                </c:pt>
                <c:pt idx="41610">
                  <c:v>0.74210807918673005</c:v>
                </c:pt>
                <c:pt idx="41611">
                  <c:v>0.74212591403602601</c:v>
                </c:pt>
                <c:pt idx="41612">
                  <c:v>0.74214374888532197</c:v>
                </c:pt>
                <c:pt idx="41613">
                  <c:v>0.74216158373461705</c:v>
                </c:pt>
                <c:pt idx="41614">
                  <c:v>0.74217941858391301</c:v>
                </c:pt>
                <c:pt idx="41615">
                  <c:v>0.74219725343320797</c:v>
                </c:pt>
                <c:pt idx="41616">
                  <c:v>0.74221508828250404</c:v>
                </c:pt>
                <c:pt idx="41617">
                  <c:v>0.74223292313179901</c:v>
                </c:pt>
                <c:pt idx="41618">
                  <c:v>0.74225075798109497</c:v>
                </c:pt>
                <c:pt idx="41619">
                  <c:v>0.74226859283039004</c:v>
                </c:pt>
                <c:pt idx="41620">
                  <c:v>0.742286427679686</c:v>
                </c:pt>
                <c:pt idx="41621">
                  <c:v>0.74230426252898096</c:v>
                </c:pt>
                <c:pt idx="41622">
                  <c:v>0.74232209737827703</c:v>
                </c:pt>
                <c:pt idx="41623">
                  <c:v>0.742339932227572</c:v>
                </c:pt>
                <c:pt idx="41624">
                  <c:v>0.74235776707686796</c:v>
                </c:pt>
                <c:pt idx="41625">
                  <c:v>0.74237560192616303</c:v>
                </c:pt>
                <c:pt idx="41626">
                  <c:v>0.74239343677545899</c:v>
                </c:pt>
                <c:pt idx="41627">
                  <c:v>0.74241127162475395</c:v>
                </c:pt>
                <c:pt idx="41628">
                  <c:v>0.74242910647405003</c:v>
                </c:pt>
                <c:pt idx="41629">
                  <c:v>0.74244694132334499</c:v>
                </c:pt>
                <c:pt idx="41630">
                  <c:v>0.74246477617264095</c:v>
                </c:pt>
                <c:pt idx="41631">
                  <c:v>0.74248261102193602</c:v>
                </c:pt>
                <c:pt idx="41632">
                  <c:v>0.74250044587123198</c:v>
                </c:pt>
                <c:pt idx="41633">
                  <c:v>0.74251828072052795</c:v>
                </c:pt>
                <c:pt idx="41634">
                  <c:v>0.74253611556982302</c:v>
                </c:pt>
                <c:pt idx="41635">
                  <c:v>0.74255395041911898</c:v>
                </c:pt>
                <c:pt idx="41636">
                  <c:v>0.74257178526841405</c:v>
                </c:pt>
                <c:pt idx="41637">
                  <c:v>0.74258962011771001</c:v>
                </c:pt>
                <c:pt idx="41638">
                  <c:v>0.74260745496700498</c:v>
                </c:pt>
                <c:pt idx="41639">
                  <c:v>0.74262528981630105</c:v>
                </c:pt>
                <c:pt idx="41640">
                  <c:v>0.74264312466559601</c:v>
                </c:pt>
                <c:pt idx="41641">
                  <c:v>0.74266095951489197</c:v>
                </c:pt>
                <c:pt idx="41642">
                  <c:v>0.74267879436418704</c:v>
                </c:pt>
                <c:pt idx="41643">
                  <c:v>0.74269662921348301</c:v>
                </c:pt>
                <c:pt idx="41644">
                  <c:v>0.74271446406277797</c:v>
                </c:pt>
                <c:pt idx="41645">
                  <c:v>0.74273229891207404</c:v>
                </c:pt>
                <c:pt idx="41646">
                  <c:v>0.742750133761369</c:v>
                </c:pt>
                <c:pt idx="41647">
                  <c:v>0.74276796861066496</c:v>
                </c:pt>
                <c:pt idx="41648">
                  <c:v>0.74278580345996004</c:v>
                </c:pt>
                <c:pt idx="41649">
                  <c:v>0.742803638309256</c:v>
                </c:pt>
                <c:pt idx="41650">
                  <c:v>0.74282147315855096</c:v>
                </c:pt>
                <c:pt idx="41651">
                  <c:v>0.74283930800784703</c:v>
                </c:pt>
                <c:pt idx="41652">
                  <c:v>0.74285714285714199</c:v>
                </c:pt>
                <c:pt idx="41653">
                  <c:v>0.74287497770643796</c:v>
                </c:pt>
                <c:pt idx="41654">
                  <c:v>0.74289281255573303</c:v>
                </c:pt>
                <c:pt idx="41655">
                  <c:v>0.74291064740502899</c:v>
                </c:pt>
                <c:pt idx="41656">
                  <c:v>0.74292848225432495</c:v>
                </c:pt>
                <c:pt idx="41657">
                  <c:v>0.74294631710362002</c:v>
                </c:pt>
                <c:pt idx="41658">
                  <c:v>0.74296415195291599</c:v>
                </c:pt>
                <c:pt idx="41659">
                  <c:v>0.74298198680221095</c:v>
                </c:pt>
                <c:pt idx="41660">
                  <c:v>0.74299982165150702</c:v>
                </c:pt>
                <c:pt idx="41661">
                  <c:v>0.74301765650080198</c:v>
                </c:pt>
                <c:pt idx="41662">
                  <c:v>0.74303549135009805</c:v>
                </c:pt>
                <c:pt idx="41663">
                  <c:v>0.74305332619939302</c:v>
                </c:pt>
                <c:pt idx="41664">
                  <c:v>0.74307116104868898</c:v>
                </c:pt>
                <c:pt idx="41665">
                  <c:v>0.74308899589798405</c:v>
                </c:pt>
                <c:pt idx="41666">
                  <c:v>0.74310683074728001</c:v>
                </c:pt>
                <c:pt idx="41667">
                  <c:v>0.74312466559657497</c:v>
                </c:pt>
                <c:pt idx="41668">
                  <c:v>0.74314250044587105</c:v>
                </c:pt>
                <c:pt idx="41669">
                  <c:v>0.74316033529516601</c:v>
                </c:pt>
                <c:pt idx="41670">
                  <c:v>0.74317817014446197</c:v>
                </c:pt>
                <c:pt idx="41671">
                  <c:v>0.74319600499375704</c:v>
                </c:pt>
                <c:pt idx="41672">
                  <c:v>0.743213839843053</c:v>
                </c:pt>
                <c:pt idx="41673">
                  <c:v>0.74323167469234797</c:v>
                </c:pt>
                <c:pt idx="41674">
                  <c:v>0.74324950954164404</c:v>
                </c:pt>
                <c:pt idx="41675">
                  <c:v>0.743267344390939</c:v>
                </c:pt>
                <c:pt idx="41676">
                  <c:v>0.74328517924023496</c:v>
                </c:pt>
                <c:pt idx="41677">
                  <c:v>0.74330301408953003</c:v>
                </c:pt>
                <c:pt idx="41678">
                  <c:v>0.743320848938826</c:v>
                </c:pt>
                <c:pt idx="41679">
                  <c:v>0.74333868378812196</c:v>
                </c:pt>
                <c:pt idx="41680">
                  <c:v>0.74335651863741703</c:v>
                </c:pt>
                <c:pt idx="41681">
                  <c:v>0.74337435348671299</c:v>
                </c:pt>
                <c:pt idx="41682">
                  <c:v>0.74339218833600795</c:v>
                </c:pt>
                <c:pt idx="41683">
                  <c:v>0.74341002318530403</c:v>
                </c:pt>
                <c:pt idx="41684">
                  <c:v>0.74342785803459899</c:v>
                </c:pt>
                <c:pt idx="41685">
                  <c:v>0.74344569288389495</c:v>
                </c:pt>
                <c:pt idx="41686">
                  <c:v>0.74346352773319002</c:v>
                </c:pt>
                <c:pt idx="41687">
                  <c:v>0.74348136258248598</c:v>
                </c:pt>
                <c:pt idx="41688">
                  <c:v>0.74349919743178094</c:v>
                </c:pt>
                <c:pt idx="41689">
                  <c:v>0.74351703228107702</c:v>
                </c:pt>
                <c:pt idx="41690">
                  <c:v>0.74353486713037198</c:v>
                </c:pt>
                <c:pt idx="41691">
                  <c:v>0.74355270197966805</c:v>
                </c:pt>
                <c:pt idx="41692">
                  <c:v>0.74357053682896301</c:v>
                </c:pt>
                <c:pt idx="41693">
                  <c:v>0.74358837167825897</c:v>
                </c:pt>
                <c:pt idx="41694">
                  <c:v>0.74360620652755405</c:v>
                </c:pt>
                <c:pt idx="41695">
                  <c:v>0.74362404137685001</c:v>
                </c:pt>
                <c:pt idx="41696">
                  <c:v>0.74364187622614497</c:v>
                </c:pt>
                <c:pt idx="41697">
                  <c:v>0.74365971107544104</c:v>
                </c:pt>
                <c:pt idx="41698">
                  <c:v>0.74367754592473601</c:v>
                </c:pt>
                <c:pt idx="41699">
                  <c:v>0.74369538077403197</c:v>
                </c:pt>
                <c:pt idx="41700">
                  <c:v>0.74371321562332704</c:v>
                </c:pt>
                <c:pt idx="41701">
                  <c:v>0.743731050472623</c:v>
                </c:pt>
                <c:pt idx="41702">
                  <c:v>0.74374888532191896</c:v>
                </c:pt>
                <c:pt idx="41703">
                  <c:v>0.74376672017121404</c:v>
                </c:pt>
                <c:pt idx="41704">
                  <c:v>0.74378455502051</c:v>
                </c:pt>
                <c:pt idx="41705">
                  <c:v>0.74380238986980496</c:v>
                </c:pt>
                <c:pt idx="41706">
                  <c:v>0.74382022471910103</c:v>
                </c:pt>
                <c:pt idx="41707">
                  <c:v>0.74383805956839599</c:v>
                </c:pt>
                <c:pt idx="41708">
                  <c:v>0.74385589441769195</c:v>
                </c:pt>
                <c:pt idx="41709">
                  <c:v>0.74387372926698703</c:v>
                </c:pt>
                <c:pt idx="41710">
                  <c:v>0.74389156411628299</c:v>
                </c:pt>
                <c:pt idx="41711">
                  <c:v>0.74390939896557795</c:v>
                </c:pt>
                <c:pt idx="41712">
                  <c:v>0.74392723381487402</c:v>
                </c:pt>
                <c:pt idx="41713">
                  <c:v>0.74394506866416898</c:v>
                </c:pt>
                <c:pt idx="41714">
                  <c:v>0.74396290351346495</c:v>
                </c:pt>
                <c:pt idx="41715">
                  <c:v>0.74398073836276002</c:v>
                </c:pt>
                <c:pt idx="41716">
                  <c:v>0.74399857321205598</c:v>
                </c:pt>
                <c:pt idx="41717">
                  <c:v>0.74401640806135105</c:v>
                </c:pt>
                <c:pt idx="41718">
                  <c:v>0.74403424291064701</c:v>
                </c:pt>
                <c:pt idx="41719">
                  <c:v>0.74405207775994298</c:v>
                </c:pt>
                <c:pt idx="41720">
                  <c:v>0.74406991260923805</c:v>
                </c:pt>
                <c:pt idx="41721">
                  <c:v>0.74408774745853401</c:v>
                </c:pt>
                <c:pt idx="41722">
                  <c:v>0.74410558230782897</c:v>
                </c:pt>
                <c:pt idx="41723">
                  <c:v>0.74412341715712504</c:v>
                </c:pt>
                <c:pt idx="41724">
                  <c:v>0.74414125200642001</c:v>
                </c:pt>
                <c:pt idx="41725">
                  <c:v>0.74415908685571597</c:v>
                </c:pt>
                <c:pt idx="41726">
                  <c:v>0.74417692170501104</c:v>
                </c:pt>
                <c:pt idx="41727">
                  <c:v>0.744194756554307</c:v>
                </c:pt>
                <c:pt idx="41728">
                  <c:v>0.74421259140360196</c:v>
                </c:pt>
                <c:pt idx="41729">
                  <c:v>0.74423042625289804</c:v>
                </c:pt>
                <c:pt idx="41730">
                  <c:v>0.744248261102193</c:v>
                </c:pt>
                <c:pt idx="41731">
                  <c:v>0.74426609595148896</c:v>
                </c:pt>
                <c:pt idx="41732">
                  <c:v>0.74428393080078403</c:v>
                </c:pt>
                <c:pt idx="41733">
                  <c:v>0.74430176565007999</c:v>
                </c:pt>
                <c:pt idx="41734">
                  <c:v>0.74431960049937496</c:v>
                </c:pt>
                <c:pt idx="41735">
                  <c:v>0.74433743534867103</c:v>
                </c:pt>
                <c:pt idx="41736">
                  <c:v>0.74435527019796599</c:v>
                </c:pt>
                <c:pt idx="41737">
                  <c:v>0.74437310504726195</c:v>
                </c:pt>
                <c:pt idx="41738">
                  <c:v>0.74439093989655702</c:v>
                </c:pt>
                <c:pt idx="41739">
                  <c:v>0.74440877474585299</c:v>
                </c:pt>
                <c:pt idx="41740">
                  <c:v>0.74442660959514895</c:v>
                </c:pt>
                <c:pt idx="41741">
                  <c:v>0.74444444444444402</c:v>
                </c:pt>
                <c:pt idx="41742">
                  <c:v>0.74446227929373998</c:v>
                </c:pt>
                <c:pt idx="41743">
                  <c:v>0.74448011414303505</c:v>
                </c:pt>
                <c:pt idx="41744">
                  <c:v>0.74449794899233102</c:v>
                </c:pt>
                <c:pt idx="41745">
                  <c:v>0.74451578384162598</c:v>
                </c:pt>
                <c:pt idx="41746">
                  <c:v>0.74453361869092205</c:v>
                </c:pt>
                <c:pt idx="41747">
                  <c:v>0.74455145354021701</c:v>
                </c:pt>
                <c:pt idx="41748">
                  <c:v>0.74456928838951297</c:v>
                </c:pt>
                <c:pt idx="41749">
                  <c:v>0.74458712323880805</c:v>
                </c:pt>
                <c:pt idx="41750">
                  <c:v>0.74460495808810401</c:v>
                </c:pt>
                <c:pt idx="41751">
                  <c:v>0.74462279293739897</c:v>
                </c:pt>
                <c:pt idx="41752">
                  <c:v>0.74464062778669504</c:v>
                </c:pt>
                <c:pt idx="41753">
                  <c:v>0.74465846263599</c:v>
                </c:pt>
                <c:pt idx="41754">
                  <c:v>0.74467629748528597</c:v>
                </c:pt>
                <c:pt idx="41755">
                  <c:v>0.74469413233458104</c:v>
                </c:pt>
                <c:pt idx="41756">
                  <c:v>0.744711967183877</c:v>
                </c:pt>
                <c:pt idx="41757">
                  <c:v>0.74472980203317196</c:v>
                </c:pt>
                <c:pt idx="41758">
                  <c:v>0.74474763688246803</c:v>
                </c:pt>
                <c:pt idx="41759">
                  <c:v>0.744765471731763</c:v>
                </c:pt>
                <c:pt idx="41760">
                  <c:v>0.74478330658105896</c:v>
                </c:pt>
                <c:pt idx="41761">
                  <c:v>0.74480114143035403</c:v>
                </c:pt>
                <c:pt idx="41762">
                  <c:v>0.74481897627964999</c:v>
                </c:pt>
                <c:pt idx="41763">
                  <c:v>0.74483681112894595</c:v>
                </c:pt>
                <c:pt idx="41764">
                  <c:v>0.74485464597824103</c:v>
                </c:pt>
                <c:pt idx="41765">
                  <c:v>0.74487248082753699</c:v>
                </c:pt>
                <c:pt idx="41766">
                  <c:v>0.74489031567683195</c:v>
                </c:pt>
                <c:pt idx="41767">
                  <c:v>0.74490815052612802</c:v>
                </c:pt>
                <c:pt idx="41768">
                  <c:v>0.74492598537542298</c:v>
                </c:pt>
                <c:pt idx="41769">
                  <c:v>0.74494382022471906</c:v>
                </c:pt>
                <c:pt idx="41770">
                  <c:v>0.74496165507401402</c:v>
                </c:pt>
                <c:pt idx="41771">
                  <c:v>0.74497948992330998</c:v>
                </c:pt>
                <c:pt idx="41772">
                  <c:v>0.74499732477260505</c:v>
                </c:pt>
                <c:pt idx="41773">
                  <c:v>0.74501515962190101</c:v>
                </c:pt>
                <c:pt idx="41774">
                  <c:v>0.74503299447119598</c:v>
                </c:pt>
                <c:pt idx="41775">
                  <c:v>0.74505082932049205</c:v>
                </c:pt>
                <c:pt idx="41776">
                  <c:v>0.74506866416978701</c:v>
                </c:pt>
                <c:pt idx="41777">
                  <c:v>0.74508649901908297</c:v>
                </c:pt>
                <c:pt idx="41778">
                  <c:v>0.74510433386837804</c:v>
                </c:pt>
                <c:pt idx="41779">
                  <c:v>0.745122168717674</c:v>
                </c:pt>
                <c:pt idx="41780">
                  <c:v>0.74514000356696897</c:v>
                </c:pt>
                <c:pt idx="41781">
                  <c:v>0.74515783841626504</c:v>
                </c:pt>
                <c:pt idx="41782">
                  <c:v>0.74517567326556</c:v>
                </c:pt>
                <c:pt idx="41783">
                  <c:v>0.74519350811485596</c:v>
                </c:pt>
                <c:pt idx="41784">
                  <c:v>0.74521134296415104</c:v>
                </c:pt>
                <c:pt idx="41785">
                  <c:v>0.745229177813447</c:v>
                </c:pt>
                <c:pt idx="41786">
                  <c:v>0.74524701266274296</c:v>
                </c:pt>
                <c:pt idx="41787">
                  <c:v>0.74526484751203803</c:v>
                </c:pt>
                <c:pt idx="41788">
                  <c:v>0.74528268236133399</c:v>
                </c:pt>
                <c:pt idx="41789">
                  <c:v>0.74530051721062895</c:v>
                </c:pt>
                <c:pt idx="41790">
                  <c:v>0.74531835205992503</c:v>
                </c:pt>
                <c:pt idx="41791">
                  <c:v>0.74533618690921999</c:v>
                </c:pt>
                <c:pt idx="41792">
                  <c:v>0.74535402175851595</c:v>
                </c:pt>
                <c:pt idx="41793">
                  <c:v>0.74537185660781102</c:v>
                </c:pt>
                <c:pt idx="41794">
                  <c:v>0.74538969145710698</c:v>
                </c:pt>
                <c:pt idx="41795">
                  <c:v>0.74540752630640195</c:v>
                </c:pt>
                <c:pt idx="41796">
                  <c:v>0.74542536115569802</c:v>
                </c:pt>
                <c:pt idx="41797">
                  <c:v>0.74544319600499298</c:v>
                </c:pt>
                <c:pt idx="41798">
                  <c:v>0.74546103085428905</c:v>
                </c:pt>
                <c:pt idx="41799">
                  <c:v>0.74547886570358401</c:v>
                </c:pt>
                <c:pt idx="41800">
                  <c:v>0.74549670055287998</c:v>
                </c:pt>
                <c:pt idx="41801">
                  <c:v>0.74551453540217505</c:v>
                </c:pt>
                <c:pt idx="41802">
                  <c:v>0.74553237025147101</c:v>
                </c:pt>
                <c:pt idx="41803">
                  <c:v>0.74555020510076597</c:v>
                </c:pt>
                <c:pt idx="41804">
                  <c:v>0.74556803995006204</c:v>
                </c:pt>
                <c:pt idx="41805">
                  <c:v>0.74558587479935701</c:v>
                </c:pt>
                <c:pt idx="41806">
                  <c:v>0.74560370964865297</c:v>
                </c:pt>
                <c:pt idx="41807">
                  <c:v>0.74562154449794904</c:v>
                </c:pt>
                <c:pt idx="41808">
                  <c:v>0.745639379347244</c:v>
                </c:pt>
                <c:pt idx="41809">
                  <c:v>0.74565721419653996</c:v>
                </c:pt>
                <c:pt idx="41810">
                  <c:v>0.74567504904583504</c:v>
                </c:pt>
                <c:pt idx="41811">
                  <c:v>0.745692883895131</c:v>
                </c:pt>
                <c:pt idx="41812">
                  <c:v>0.74571071874442596</c:v>
                </c:pt>
                <c:pt idx="41813">
                  <c:v>0.74572855359372203</c:v>
                </c:pt>
                <c:pt idx="41814">
                  <c:v>0.74574638844301699</c:v>
                </c:pt>
                <c:pt idx="41815">
                  <c:v>0.74576422329231296</c:v>
                </c:pt>
                <c:pt idx="41816">
                  <c:v>0.74578205814160803</c:v>
                </c:pt>
                <c:pt idx="41817">
                  <c:v>0.74579989299090399</c:v>
                </c:pt>
                <c:pt idx="41818">
                  <c:v>0.74581772784019895</c:v>
                </c:pt>
                <c:pt idx="41819">
                  <c:v>0.74583556268949502</c:v>
                </c:pt>
                <c:pt idx="41820">
                  <c:v>0.74585339753878999</c:v>
                </c:pt>
                <c:pt idx="41821">
                  <c:v>0.74587123238808595</c:v>
                </c:pt>
                <c:pt idx="41822">
                  <c:v>0.74588906723738102</c:v>
                </c:pt>
                <c:pt idx="41823">
                  <c:v>0.74590690208667698</c:v>
                </c:pt>
                <c:pt idx="41824">
                  <c:v>0.74592473693597205</c:v>
                </c:pt>
                <c:pt idx="41825">
                  <c:v>0.74594257178526802</c:v>
                </c:pt>
                <c:pt idx="41826">
                  <c:v>0.74596040663456398</c:v>
                </c:pt>
                <c:pt idx="41827">
                  <c:v>0.74597824148385905</c:v>
                </c:pt>
                <c:pt idx="41828">
                  <c:v>0.74599607633315501</c:v>
                </c:pt>
                <c:pt idx="41829">
                  <c:v>0.74601391118244997</c:v>
                </c:pt>
                <c:pt idx="41830">
                  <c:v>0.74603174603174605</c:v>
                </c:pt>
                <c:pt idx="41831">
                  <c:v>0.74604958088104101</c:v>
                </c:pt>
                <c:pt idx="41832">
                  <c:v>0.74606741573033697</c:v>
                </c:pt>
                <c:pt idx="41833">
                  <c:v>0.74608525057963204</c:v>
                </c:pt>
                <c:pt idx="41834">
                  <c:v>0.746103085428928</c:v>
                </c:pt>
                <c:pt idx="41835">
                  <c:v>0.74612092027822297</c:v>
                </c:pt>
                <c:pt idx="41836">
                  <c:v>0.74613875512751904</c:v>
                </c:pt>
                <c:pt idx="41837">
                  <c:v>0.746156589976814</c:v>
                </c:pt>
                <c:pt idx="41838">
                  <c:v>0.74617442482610996</c:v>
                </c:pt>
                <c:pt idx="41839">
                  <c:v>0.74619225967540503</c:v>
                </c:pt>
                <c:pt idx="41840">
                  <c:v>0.746210094524701</c:v>
                </c:pt>
                <c:pt idx="41841">
                  <c:v>0.74622792937399596</c:v>
                </c:pt>
                <c:pt idx="41842">
                  <c:v>0.74624576422329203</c:v>
                </c:pt>
                <c:pt idx="41843">
                  <c:v>0.74626359907258699</c:v>
                </c:pt>
                <c:pt idx="41844">
                  <c:v>0.74628143392188295</c:v>
                </c:pt>
                <c:pt idx="41845">
                  <c:v>0.74629926877117803</c:v>
                </c:pt>
                <c:pt idx="41846">
                  <c:v>0.74631710362047399</c:v>
                </c:pt>
                <c:pt idx="41847">
                  <c:v>0.74633493846976995</c:v>
                </c:pt>
                <c:pt idx="41848">
                  <c:v>0.74635277331906502</c:v>
                </c:pt>
                <c:pt idx="41849">
                  <c:v>0.74637060816836098</c:v>
                </c:pt>
                <c:pt idx="41850">
                  <c:v>0.74638844301765594</c:v>
                </c:pt>
                <c:pt idx="41851">
                  <c:v>0.74640627786695202</c:v>
                </c:pt>
                <c:pt idx="41852">
                  <c:v>0.74642411271624698</c:v>
                </c:pt>
                <c:pt idx="41853">
                  <c:v>0.74644194756554305</c:v>
                </c:pt>
                <c:pt idx="41854">
                  <c:v>0.74645978241483801</c:v>
                </c:pt>
                <c:pt idx="41855">
                  <c:v>0.74647761726413397</c:v>
                </c:pt>
                <c:pt idx="41856">
                  <c:v>0.74649545211342905</c:v>
                </c:pt>
                <c:pt idx="41857">
                  <c:v>0.74651328696272501</c:v>
                </c:pt>
                <c:pt idx="41858">
                  <c:v>0.74653112181201997</c:v>
                </c:pt>
                <c:pt idx="41859">
                  <c:v>0.74654895666131604</c:v>
                </c:pt>
                <c:pt idx="41860">
                  <c:v>0.74656679151061101</c:v>
                </c:pt>
                <c:pt idx="41861">
                  <c:v>0.74658462635990697</c:v>
                </c:pt>
                <c:pt idx="41862">
                  <c:v>0.74660246120920204</c:v>
                </c:pt>
                <c:pt idx="41863">
                  <c:v>0.746620296058498</c:v>
                </c:pt>
                <c:pt idx="41864">
                  <c:v>0.74663813090779296</c:v>
                </c:pt>
                <c:pt idx="41865">
                  <c:v>0.74665596575708904</c:v>
                </c:pt>
                <c:pt idx="41866">
                  <c:v>0.746673800606384</c:v>
                </c:pt>
                <c:pt idx="41867">
                  <c:v>0.74669163545567996</c:v>
                </c:pt>
                <c:pt idx="41868">
                  <c:v>0.74670947030497503</c:v>
                </c:pt>
                <c:pt idx="41869">
                  <c:v>0.74672730515427099</c:v>
                </c:pt>
                <c:pt idx="41870">
                  <c:v>0.74674514000356695</c:v>
                </c:pt>
                <c:pt idx="41871">
                  <c:v>0.74676297485286203</c:v>
                </c:pt>
                <c:pt idx="41872">
                  <c:v>0.74678080970215799</c:v>
                </c:pt>
                <c:pt idx="41873">
                  <c:v>0.74679864455145295</c:v>
                </c:pt>
                <c:pt idx="41874">
                  <c:v>0.74681647940074902</c:v>
                </c:pt>
                <c:pt idx="41875">
                  <c:v>0.74683431425004398</c:v>
                </c:pt>
                <c:pt idx="41876">
                  <c:v>0.74685214909933995</c:v>
                </c:pt>
                <c:pt idx="41877">
                  <c:v>0.74686998394863502</c:v>
                </c:pt>
                <c:pt idx="41878">
                  <c:v>0.74688781879793098</c:v>
                </c:pt>
                <c:pt idx="41879">
                  <c:v>0.74690565364722605</c:v>
                </c:pt>
                <c:pt idx="41880">
                  <c:v>0.74692348849652201</c:v>
                </c:pt>
                <c:pt idx="41881">
                  <c:v>0.74694132334581698</c:v>
                </c:pt>
                <c:pt idx="41882">
                  <c:v>0.74695915819511305</c:v>
                </c:pt>
                <c:pt idx="41883">
                  <c:v>0.74697699304440801</c:v>
                </c:pt>
                <c:pt idx="41884">
                  <c:v>0.74699482789370397</c:v>
                </c:pt>
                <c:pt idx="41885">
                  <c:v>0.74701266274299905</c:v>
                </c:pt>
                <c:pt idx="41886">
                  <c:v>0.74703049759229501</c:v>
                </c:pt>
                <c:pt idx="41887">
                  <c:v>0.74704833244158997</c:v>
                </c:pt>
                <c:pt idx="41888">
                  <c:v>0.74706616729088604</c:v>
                </c:pt>
                <c:pt idx="41889">
                  <c:v>0.747084002140181</c:v>
                </c:pt>
                <c:pt idx="41890">
                  <c:v>0.74710183698947696</c:v>
                </c:pt>
                <c:pt idx="41891">
                  <c:v>0.74711967183877204</c:v>
                </c:pt>
                <c:pt idx="41892">
                  <c:v>0.747137506688068</c:v>
                </c:pt>
                <c:pt idx="41893">
                  <c:v>0.74715534153736396</c:v>
                </c:pt>
                <c:pt idx="41894">
                  <c:v>0.74717317638665903</c:v>
                </c:pt>
                <c:pt idx="41895">
                  <c:v>0.74719101123595499</c:v>
                </c:pt>
                <c:pt idx="41896">
                  <c:v>0.74720884608524996</c:v>
                </c:pt>
                <c:pt idx="41897">
                  <c:v>0.74722668093454603</c:v>
                </c:pt>
                <c:pt idx="41898">
                  <c:v>0.74724451578384099</c:v>
                </c:pt>
                <c:pt idx="41899">
                  <c:v>0.74726235063313695</c:v>
                </c:pt>
                <c:pt idx="41900">
                  <c:v>0.74728018548243202</c:v>
                </c:pt>
                <c:pt idx="41901">
                  <c:v>0.74729802033172799</c:v>
                </c:pt>
                <c:pt idx="41902">
                  <c:v>0.74731585518102295</c:v>
                </c:pt>
                <c:pt idx="41903">
                  <c:v>0.74733369003031902</c:v>
                </c:pt>
                <c:pt idx="41904">
                  <c:v>0.74735152487961398</c:v>
                </c:pt>
                <c:pt idx="41905">
                  <c:v>0.74736935972891005</c:v>
                </c:pt>
                <c:pt idx="41906">
                  <c:v>0.74738719457820502</c:v>
                </c:pt>
                <c:pt idx="41907">
                  <c:v>0.74740502942750098</c:v>
                </c:pt>
                <c:pt idx="41908">
                  <c:v>0.74742286427679605</c:v>
                </c:pt>
                <c:pt idx="41909">
                  <c:v>0.74744069912609201</c:v>
                </c:pt>
                <c:pt idx="41910">
                  <c:v>0.74745853397538697</c:v>
                </c:pt>
                <c:pt idx="41911">
                  <c:v>0.74747636882468305</c:v>
                </c:pt>
                <c:pt idx="41912">
                  <c:v>0.74749420367397901</c:v>
                </c:pt>
                <c:pt idx="41913">
                  <c:v>0.74751203852327397</c:v>
                </c:pt>
                <c:pt idx="41914">
                  <c:v>0.74752987337257004</c:v>
                </c:pt>
                <c:pt idx="41915">
                  <c:v>0.747547708221865</c:v>
                </c:pt>
                <c:pt idx="41916">
                  <c:v>0.74756554307116097</c:v>
                </c:pt>
                <c:pt idx="41917">
                  <c:v>0.74758337792045604</c:v>
                </c:pt>
                <c:pt idx="41918">
                  <c:v>0.747601212769752</c:v>
                </c:pt>
                <c:pt idx="41919">
                  <c:v>0.74761904761904696</c:v>
                </c:pt>
                <c:pt idx="41920">
                  <c:v>0.74763688246834303</c:v>
                </c:pt>
                <c:pt idx="41921">
                  <c:v>0.747654717317638</c:v>
                </c:pt>
                <c:pt idx="41922">
                  <c:v>0.74767255216693396</c:v>
                </c:pt>
                <c:pt idx="41923">
                  <c:v>0.74769038701622903</c:v>
                </c:pt>
                <c:pt idx="41924">
                  <c:v>0.74770822186552499</c:v>
                </c:pt>
                <c:pt idx="41925">
                  <c:v>0.74772605671481995</c:v>
                </c:pt>
                <c:pt idx="41926">
                  <c:v>0.74774389156411603</c:v>
                </c:pt>
                <c:pt idx="41927">
                  <c:v>0.74776172641341099</c:v>
                </c:pt>
                <c:pt idx="41928">
                  <c:v>0.74777956126270695</c:v>
                </c:pt>
                <c:pt idx="41929">
                  <c:v>0.74779739611200202</c:v>
                </c:pt>
                <c:pt idx="41930">
                  <c:v>0.74781523096129798</c:v>
                </c:pt>
                <c:pt idx="41931">
                  <c:v>0.74783306581059295</c:v>
                </c:pt>
                <c:pt idx="41932">
                  <c:v>0.74785090065988902</c:v>
                </c:pt>
                <c:pt idx="41933">
                  <c:v>0.74786873550918498</c:v>
                </c:pt>
                <c:pt idx="41934">
                  <c:v>0.74788657035848005</c:v>
                </c:pt>
                <c:pt idx="41935">
                  <c:v>0.74790440520777601</c:v>
                </c:pt>
                <c:pt idx="41936">
                  <c:v>0.74792224005707098</c:v>
                </c:pt>
                <c:pt idx="41937">
                  <c:v>0.74794007490636705</c:v>
                </c:pt>
                <c:pt idx="41938">
                  <c:v>0.74795790975566201</c:v>
                </c:pt>
                <c:pt idx="41939">
                  <c:v>0.74797574460495797</c:v>
                </c:pt>
                <c:pt idx="41940">
                  <c:v>0.74799357945425304</c:v>
                </c:pt>
                <c:pt idx="41941">
                  <c:v>0.748011414303549</c:v>
                </c:pt>
                <c:pt idx="41942">
                  <c:v>0.74802924915284397</c:v>
                </c:pt>
                <c:pt idx="41943">
                  <c:v>0.74804708400214004</c:v>
                </c:pt>
                <c:pt idx="41944">
                  <c:v>0.748064918851435</c:v>
                </c:pt>
                <c:pt idx="41945">
                  <c:v>0.74808275370073096</c:v>
                </c:pt>
                <c:pt idx="41946">
                  <c:v>0.74810058855002604</c:v>
                </c:pt>
                <c:pt idx="41947">
                  <c:v>0.748118423399322</c:v>
                </c:pt>
                <c:pt idx="41948">
                  <c:v>0.74813625824861696</c:v>
                </c:pt>
                <c:pt idx="41949">
                  <c:v>0.74815409309791303</c:v>
                </c:pt>
                <c:pt idx="41950">
                  <c:v>0.74817192794720799</c:v>
                </c:pt>
                <c:pt idx="41951">
                  <c:v>0.74818976279650395</c:v>
                </c:pt>
                <c:pt idx="41952">
                  <c:v>0.74820759764579903</c:v>
                </c:pt>
                <c:pt idx="41953">
                  <c:v>0.74822543249509499</c:v>
                </c:pt>
                <c:pt idx="41954">
                  <c:v>0.74824326734439095</c:v>
                </c:pt>
                <c:pt idx="41955">
                  <c:v>0.74826110219368602</c:v>
                </c:pt>
                <c:pt idx="41956">
                  <c:v>0.74827893704298198</c:v>
                </c:pt>
                <c:pt idx="41957">
                  <c:v>0.74829677189227695</c:v>
                </c:pt>
                <c:pt idx="41958">
                  <c:v>0.74831460674157302</c:v>
                </c:pt>
                <c:pt idx="41959">
                  <c:v>0.74833244159086798</c:v>
                </c:pt>
                <c:pt idx="41960">
                  <c:v>0.74835027644016405</c:v>
                </c:pt>
                <c:pt idx="41961">
                  <c:v>0.74836811128945901</c:v>
                </c:pt>
                <c:pt idx="41962">
                  <c:v>0.74838594613875498</c:v>
                </c:pt>
                <c:pt idx="41963">
                  <c:v>0.74840378098805005</c:v>
                </c:pt>
                <c:pt idx="41964">
                  <c:v>0.74842161583734601</c:v>
                </c:pt>
                <c:pt idx="41965">
                  <c:v>0.74843945068664097</c:v>
                </c:pt>
                <c:pt idx="41966">
                  <c:v>0.74845728553593704</c:v>
                </c:pt>
                <c:pt idx="41967">
                  <c:v>0.74847512038523201</c:v>
                </c:pt>
                <c:pt idx="41968">
                  <c:v>0.74849295523452797</c:v>
                </c:pt>
                <c:pt idx="41969">
                  <c:v>0.74851079008382304</c:v>
                </c:pt>
                <c:pt idx="41970">
                  <c:v>0.748528624933119</c:v>
                </c:pt>
                <c:pt idx="41971">
                  <c:v>0.74854645978241396</c:v>
                </c:pt>
                <c:pt idx="41972">
                  <c:v>0.74856429463171004</c:v>
                </c:pt>
                <c:pt idx="41973">
                  <c:v>0.748582129481005</c:v>
                </c:pt>
                <c:pt idx="41974">
                  <c:v>0.74859996433030096</c:v>
                </c:pt>
                <c:pt idx="41975">
                  <c:v>0.74861779917959603</c:v>
                </c:pt>
                <c:pt idx="41976">
                  <c:v>0.74863563402889199</c:v>
                </c:pt>
                <c:pt idx="41977">
                  <c:v>0.74865346887818796</c:v>
                </c:pt>
                <c:pt idx="41978">
                  <c:v>0.74867130372748303</c:v>
                </c:pt>
                <c:pt idx="41979">
                  <c:v>0.74868913857677899</c:v>
                </c:pt>
                <c:pt idx="41980">
                  <c:v>0.74870697342607395</c:v>
                </c:pt>
                <c:pt idx="41981">
                  <c:v>0.74872480827537002</c:v>
                </c:pt>
                <c:pt idx="41982">
                  <c:v>0.74874264312466499</c:v>
                </c:pt>
                <c:pt idx="41983">
                  <c:v>0.74876047797396095</c:v>
                </c:pt>
                <c:pt idx="41984">
                  <c:v>0.74877831282325602</c:v>
                </c:pt>
                <c:pt idx="41985">
                  <c:v>0.74879614767255198</c:v>
                </c:pt>
                <c:pt idx="41986">
                  <c:v>0.74881398252184705</c:v>
                </c:pt>
                <c:pt idx="41987">
                  <c:v>0.74883181737114302</c:v>
                </c:pt>
                <c:pt idx="41988">
                  <c:v>0.74884965222043798</c:v>
                </c:pt>
                <c:pt idx="41989">
                  <c:v>0.74886748706973405</c:v>
                </c:pt>
                <c:pt idx="41990">
                  <c:v>0.74888532191902901</c:v>
                </c:pt>
                <c:pt idx="41991">
                  <c:v>0.74890315676832497</c:v>
                </c:pt>
                <c:pt idx="41992">
                  <c:v>0.74892099161762005</c:v>
                </c:pt>
                <c:pt idx="41993">
                  <c:v>0.74893882646691601</c:v>
                </c:pt>
                <c:pt idx="41994">
                  <c:v>0.74895666131621097</c:v>
                </c:pt>
                <c:pt idx="41995">
                  <c:v>0.74897449616550704</c:v>
                </c:pt>
                <c:pt idx="41996">
                  <c:v>0.748992331014802</c:v>
                </c:pt>
                <c:pt idx="41997">
                  <c:v>0.74901016586409797</c:v>
                </c:pt>
                <c:pt idx="41998">
                  <c:v>0.74902800071339304</c:v>
                </c:pt>
                <c:pt idx="41999">
                  <c:v>0.749045835562689</c:v>
                </c:pt>
                <c:pt idx="42000">
                  <c:v>0.74906367041198496</c:v>
                </c:pt>
                <c:pt idx="42001">
                  <c:v>0.74908150526128003</c:v>
                </c:pt>
                <c:pt idx="42002">
                  <c:v>0.749099340110576</c:v>
                </c:pt>
                <c:pt idx="42003">
                  <c:v>0.74911717495987096</c:v>
                </c:pt>
                <c:pt idx="42004">
                  <c:v>0.74913500980916703</c:v>
                </c:pt>
                <c:pt idx="42005">
                  <c:v>0.74915284465846199</c:v>
                </c:pt>
                <c:pt idx="42006">
                  <c:v>0.74917067950775795</c:v>
                </c:pt>
                <c:pt idx="42007">
                  <c:v>0.74918851435705303</c:v>
                </c:pt>
                <c:pt idx="42008">
                  <c:v>0.74920634920634899</c:v>
                </c:pt>
                <c:pt idx="42009">
                  <c:v>0.74922418405564395</c:v>
                </c:pt>
                <c:pt idx="42010">
                  <c:v>0.74924201890494002</c:v>
                </c:pt>
                <c:pt idx="42011">
                  <c:v>0.74925985375423498</c:v>
                </c:pt>
                <c:pt idx="42012">
                  <c:v>0.74927768860353094</c:v>
                </c:pt>
                <c:pt idx="42013">
                  <c:v>0.74929552345282602</c:v>
                </c:pt>
                <c:pt idx="42014">
                  <c:v>0.74931335830212198</c:v>
                </c:pt>
                <c:pt idx="42015">
                  <c:v>0.74933119315141705</c:v>
                </c:pt>
                <c:pt idx="42016">
                  <c:v>0.74934902800071301</c:v>
                </c:pt>
                <c:pt idx="42017">
                  <c:v>0.74936686285000798</c:v>
                </c:pt>
                <c:pt idx="42018">
                  <c:v>0.74938469769930405</c:v>
                </c:pt>
                <c:pt idx="42019">
                  <c:v>0.74940253254860001</c:v>
                </c:pt>
                <c:pt idx="42020">
                  <c:v>0.74942036739789497</c:v>
                </c:pt>
                <c:pt idx="42021">
                  <c:v>0.74943820224719104</c:v>
                </c:pt>
                <c:pt idx="42022">
                  <c:v>0.74945603709648601</c:v>
                </c:pt>
                <c:pt idx="42023">
                  <c:v>0.74947387194578197</c:v>
                </c:pt>
                <c:pt idx="42024">
                  <c:v>0.74949170679507704</c:v>
                </c:pt>
                <c:pt idx="42025">
                  <c:v>0.749509541644373</c:v>
                </c:pt>
                <c:pt idx="42026">
                  <c:v>0.74952737649366796</c:v>
                </c:pt>
                <c:pt idx="42027">
                  <c:v>0.74954521134296404</c:v>
                </c:pt>
                <c:pt idx="42028">
                  <c:v>0.749563046192259</c:v>
                </c:pt>
                <c:pt idx="42029">
                  <c:v>0.74958088104155496</c:v>
                </c:pt>
                <c:pt idx="42030">
                  <c:v>0.74959871589085003</c:v>
                </c:pt>
                <c:pt idx="42031">
                  <c:v>0.74961655074014599</c:v>
                </c:pt>
                <c:pt idx="42032">
                  <c:v>0.74963438558944095</c:v>
                </c:pt>
                <c:pt idx="42033">
                  <c:v>0.74965222043873703</c:v>
                </c:pt>
                <c:pt idx="42034">
                  <c:v>0.74967005528803199</c:v>
                </c:pt>
                <c:pt idx="42035">
                  <c:v>0.74968789013732795</c:v>
                </c:pt>
                <c:pt idx="42036">
                  <c:v>0.74970572498662302</c:v>
                </c:pt>
                <c:pt idx="42037">
                  <c:v>0.74972355983591898</c:v>
                </c:pt>
                <c:pt idx="42038">
                  <c:v>0.74974139468521495</c:v>
                </c:pt>
                <c:pt idx="42039">
                  <c:v>0.74975922953451002</c:v>
                </c:pt>
                <c:pt idx="42040">
                  <c:v>0.74977706438380598</c:v>
                </c:pt>
                <c:pt idx="42041">
                  <c:v>0.74979489923310105</c:v>
                </c:pt>
                <c:pt idx="42042">
                  <c:v>0.74981273408239701</c:v>
                </c:pt>
                <c:pt idx="42043">
                  <c:v>0.74983056893169198</c:v>
                </c:pt>
                <c:pt idx="42044">
                  <c:v>0.74984840378098805</c:v>
                </c:pt>
                <c:pt idx="42045">
                  <c:v>0.74986623863028301</c:v>
                </c:pt>
                <c:pt idx="42046">
                  <c:v>0.74988407347957897</c:v>
                </c:pt>
                <c:pt idx="42047">
                  <c:v>0.74990190832887405</c:v>
                </c:pt>
                <c:pt idx="42048">
                  <c:v>0.74991974317817001</c:v>
                </c:pt>
                <c:pt idx="42049">
                  <c:v>0.74993757802746497</c:v>
                </c:pt>
                <c:pt idx="42050">
                  <c:v>0.74995541287676104</c:v>
                </c:pt>
                <c:pt idx="42051">
                  <c:v>0.749973247726056</c:v>
                </c:pt>
                <c:pt idx="42052">
                  <c:v>0.74999108257535196</c:v>
                </c:pt>
                <c:pt idx="42053">
                  <c:v>0.75000891742464704</c:v>
                </c:pt>
                <c:pt idx="42054">
                  <c:v>0.750026752273943</c:v>
                </c:pt>
                <c:pt idx="42055">
                  <c:v>0.75004458712323796</c:v>
                </c:pt>
                <c:pt idx="42056">
                  <c:v>0.75006242197253403</c:v>
                </c:pt>
                <c:pt idx="42057">
                  <c:v>0.75008025682182899</c:v>
                </c:pt>
                <c:pt idx="42058">
                  <c:v>0.75009809167112496</c:v>
                </c:pt>
                <c:pt idx="42059">
                  <c:v>0.75011592652042003</c:v>
                </c:pt>
                <c:pt idx="42060">
                  <c:v>0.75013376136971599</c:v>
                </c:pt>
                <c:pt idx="42061">
                  <c:v>0.75015159621901195</c:v>
                </c:pt>
                <c:pt idx="42062">
                  <c:v>0.75016943106830702</c:v>
                </c:pt>
                <c:pt idx="42063">
                  <c:v>0.75018726591760299</c:v>
                </c:pt>
                <c:pt idx="42064">
                  <c:v>0.75020510076689795</c:v>
                </c:pt>
                <c:pt idx="42065">
                  <c:v>0.75022293561619402</c:v>
                </c:pt>
                <c:pt idx="42066">
                  <c:v>0.75024077046548898</c:v>
                </c:pt>
                <c:pt idx="42067">
                  <c:v>0.75025860531478505</c:v>
                </c:pt>
                <c:pt idx="42068">
                  <c:v>0.75027644016408002</c:v>
                </c:pt>
                <c:pt idx="42069">
                  <c:v>0.75029427501337598</c:v>
                </c:pt>
                <c:pt idx="42070">
                  <c:v>0.75031210986267105</c:v>
                </c:pt>
                <c:pt idx="42071">
                  <c:v>0.75032994471196701</c:v>
                </c:pt>
                <c:pt idx="42072">
                  <c:v>0.75034777956126197</c:v>
                </c:pt>
                <c:pt idx="42073">
                  <c:v>0.75036561441055805</c:v>
                </c:pt>
                <c:pt idx="42074">
                  <c:v>0.75038344925985301</c:v>
                </c:pt>
                <c:pt idx="42075">
                  <c:v>0.75040128410914897</c:v>
                </c:pt>
                <c:pt idx="42076">
                  <c:v>0.75041911895844404</c:v>
                </c:pt>
                <c:pt idx="42077">
                  <c:v>0.75043695380774</c:v>
                </c:pt>
                <c:pt idx="42078">
                  <c:v>0.75045478865703497</c:v>
                </c:pt>
                <c:pt idx="42079">
                  <c:v>0.75047262350633104</c:v>
                </c:pt>
                <c:pt idx="42080">
                  <c:v>0.750490458355626</c:v>
                </c:pt>
                <c:pt idx="42081">
                  <c:v>0.75050829320492196</c:v>
                </c:pt>
                <c:pt idx="42082">
                  <c:v>0.75052612805421703</c:v>
                </c:pt>
                <c:pt idx="42083">
                  <c:v>0.750543962903513</c:v>
                </c:pt>
                <c:pt idx="42084">
                  <c:v>0.75056179775280896</c:v>
                </c:pt>
                <c:pt idx="42085">
                  <c:v>0.75057963260210403</c:v>
                </c:pt>
                <c:pt idx="42086">
                  <c:v>0.75059746745139999</c:v>
                </c:pt>
                <c:pt idx="42087">
                  <c:v>0.75061530230069495</c:v>
                </c:pt>
                <c:pt idx="42088">
                  <c:v>0.75063313714999103</c:v>
                </c:pt>
                <c:pt idx="42089">
                  <c:v>0.75065097199928599</c:v>
                </c:pt>
                <c:pt idx="42090">
                  <c:v>0.75066880684858195</c:v>
                </c:pt>
                <c:pt idx="42091">
                  <c:v>0.75068664169787702</c:v>
                </c:pt>
                <c:pt idx="42092">
                  <c:v>0.75070447654717298</c:v>
                </c:pt>
                <c:pt idx="42093">
                  <c:v>0.75072231139646795</c:v>
                </c:pt>
                <c:pt idx="42094">
                  <c:v>0.75074014624576402</c:v>
                </c:pt>
                <c:pt idx="42095">
                  <c:v>0.75075798109505898</c:v>
                </c:pt>
                <c:pt idx="42096">
                  <c:v>0.75077581594435505</c:v>
                </c:pt>
                <c:pt idx="42097">
                  <c:v>0.75079365079365001</c:v>
                </c:pt>
                <c:pt idx="42098">
                  <c:v>0.75081148564294597</c:v>
                </c:pt>
                <c:pt idx="42099">
                  <c:v>0.75082932049224105</c:v>
                </c:pt>
                <c:pt idx="42100">
                  <c:v>0.75084715534153701</c:v>
                </c:pt>
                <c:pt idx="42101">
                  <c:v>0.75086499019083197</c:v>
                </c:pt>
                <c:pt idx="42102">
                  <c:v>0.75088282504012804</c:v>
                </c:pt>
                <c:pt idx="42103">
                  <c:v>0.75090065988942301</c:v>
                </c:pt>
                <c:pt idx="42104">
                  <c:v>0.75091849473871897</c:v>
                </c:pt>
                <c:pt idx="42105">
                  <c:v>0.75093632958801404</c:v>
                </c:pt>
                <c:pt idx="42106">
                  <c:v>0.75095416443731</c:v>
                </c:pt>
                <c:pt idx="42107">
                  <c:v>0.75097199928660596</c:v>
                </c:pt>
                <c:pt idx="42108">
                  <c:v>0.75098983413590104</c:v>
                </c:pt>
                <c:pt idx="42109">
                  <c:v>0.751007668985197</c:v>
                </c:pt>
                <c:pt idx="42110">
                  <c:v>0.75102550383449196</c:v>
                </c:pt>
                <c:pt idx="42111">
                  <c:v>0.75104333868378803</c:v>
                </c:pt>
                <c:pt idx="42112">
                  <c:v>0.75106117353308299</c:v>
                </c:pt>
                <c:pt idx="42113">
                  <c:v>0.75107900838237895</c:v>
                </c:pt>
                <c:pt idx="42114">
                  <c:v>0.75109684323167403</c:v>
                </c:pt>
                <c:pt idx="42115">
                  <c:v>0.75111467808096999</c:v>
                </c:pt>
                <c:pt idx="42116">
                  <c:v>0.75113251293026495</c:v>
                </c:pt>
                <c:pt idx="42117">
                  <c:v>0.75115034777956102</c:v>
                </c:pt>
                <c:pt idx="42118">
                  <c:v>0.75116818262885598</c:v>
                </c:pt>
                <c:pt idx="42119">
                  <c:v>0.75118601747815195</c:v>
                </c:pt>
                <c:pt idx="42120">
                  <c:v>0.75120385232744702</c:v>
                </c:pt>
                <c:pt idx="42121">
                  <c:v>0.75122168717674298</c:v>
                </c:pt>
                <c:pt idx="42122">
                  <c:v>0.75123952202603805</c:v>
                </c:pt>
                <c:pt idx="42123">
                  <c:v>0.75125735687533401</c:v>
                </c:pt>
                <c:pt idx="42124">
                  <c:v>0.75127519172462998</c:v>
                </c:pt>
                <c:pt idx="42125">
                  <c:v>0.75129302657392505</c:v>
                </c:pt>
                <c:pt idx="42126">
                  <c:v>0.75131086142322101</c:v>
                </c:pt>
                <c:pt idx="42127">
                  <c:v>0.75132869627251597</c:v>
                </c:pt>
                <c:pt idx="42128">
                  <c:v>0.75134653112181204</c:v>
                </c:pt>
                <c:pt idx="42129">
                  <c:v>0.75136436597110701</c:v>
                </c:pt>
                <c:pt idx="42130">
                  <c:v>0.75138220082040297</c:v>
                </c:pt>
                <c:pt idx="42131">
                  <c:v>0.75140003566969804</c:v>
                </c:pt>
                <c:pt idx="42132">
                  <c:v>0.751417870518994</c:v>
                </c:pt>
                <c:pt idx="42133">
                  <c:v>0.75143570536828896</c:v>
                </c:pt>
                <c:pt idx="42134">
                  <c:v>0.75145354021758504</c:v>
                </c:pt>
                <c:pt idx="42135">
                  <c:v>0.75147137506688</c:v>
                </c:pt>
                <c:pt idx="42136">
                  <c:v>0.75148920991617596</c:v>
                </c:pt>
                <c:pt idx="42137">
                  <c:v>0.75150704476547103</c:v>
                </c:pt>
                <c:pt idx="42138">
                  <c:v>0.75152487961476699</c:v>
                </c:pt>
                <c:pt idx="42139">
                  <c:v>0.75154271446406196</c:v>
                </c:pt>
                <c:pt idx="42140">
                  <c:v>0.75156054931335803</c:v>
                </c:pt>
                <c:pt idx="42141">
                  <c:v>0.75157838416265299</c:v>
                </c:pt>
                <c:pt idx="42142">
                  <c:v>0.75159621901194895</c:v>
                </c:pt>
                <c:pt idx="42143">
                  <c:v>0.75161405386124402</c:v>
                </c:pt>
                <c:pt idx="42144">
                  <c:v>0.75163188871053999</c:v>
                </c:pt>
                <c:pt idx="42145">
                  <c:v>0.75164972355983595</c:v>
                </c:pt>
                <c:pt idx="42146">
                  <c:v>0.75166755840913102</c:v>
                </c:pt>
                <c:pt idx="42147">
                  <c:v>0.75168539325842698</c:v>
                </c:pt>
                <c:pt idx="42148">
                  <c:v>0.75170322810772205</c:v>
                </c:pt>
                <c:pt idx="42149">
                  <c:v>0.75172106295701802</c:v>
                </c:pt>
                <c:pt idx="42150">
                  <c:v>0.75173889780631298</c:v>
                </c:pt>
                <c:pt idx="42151">
                  <c:v>0.75175673265560905</c:v>
                </c:pt>
                <c:pt idx="42152">
                  <c:v>0.75177456750490401</c:v>
                </c:pt>
                <c:pt idx="42153">
                  <c:v>0.75179240235419997</c:v>
                </c:pt>
                <c:pt idx="42154">
                  <c:v>0.75181023720349505</c:v>
                </c:pt>
                <c:pt idx="42155">
                  <c:v>0.75182807205279101</c:v>
                </c:pt>
                <c:pt idx="42156">
                  <c:v>0.75184590690208597</c:v>
                </c:pt>
                <c:pt idx="42157">
                  <c:v>0.75186374175138204</c:v>
                </c:pt>
                <c:pt idx="42158">
                  <c:v>0.751881576600677</c:v>
                </c:pt>
                <c:pt idx="42159">
                  <c:v>0.75189941144997297</c:v>
                </c:pt>
                <c:pt idx="42160">
                  <c:v>0.75191724629926804</c:v>
                </c:pt>
                <c:pt idx="42161">
                  <c:v>0.751935081148564</c:v>
                </c:pt>
                <c:pt idx="42162">
                  <c:v>0.75195291599785896</c:v>
                </c:pt>
                <c:pt idx="42163">
                  <c:v>0.75197075084715503</c:v>
                </c:pt>
                <c:pt idx="42164">
                  <c:v>0.75198858569645</c:v>
                </c:pt>
                <c:pt idx="42165">
                  <c:v>0.75200642054574596</c:v>
                </c:pt>
                <c:pt idx="42166">
                  <c:v>0.75202425539504103</c:v>
                </c:pt>
                <c:pt idx="42167">
                  <c:v>0.75204209024433699</c:v>
                </c:pt>
                <c:pt idx="42168">
                  <c:v>0.75205992509363295</c:v>
                </c:pt>
                <c:pt idx="42169">
                  <c:v>0.75207775994292803</c:v>
                </c:pt>
                <c:pt idx="42170">
                  <c:v>0.75209559479222399</c:v>
                </c:pt>
                <c:pt idx="42171">
                  <c:v>0.75211342964151895</c:v>
                </c:pt>
                <c:pt idx="42172">
                  <c:v>0.75213126449081502</c:v>
                </c:pt>
                <c:pt idx="42173">
                  <c:v>0.75214909934010998</c:v>
                </c:pt>
                <c:pt idx="42174">
                  <c:v>0.75216693418940594</c:v>
                </c:pt>
                <c:pt idx="42175">
                  <c:v>0.75218476903870102</c:v>
                </c:pt>
                <c:pt idx="42176">
                  <c:v>0.75220260388799698</c:v>
                </c:pt>
                <c:pt idx="42177">
                  <c:v>0.75222043873729205</c:v>
                </c:pt>
                <c:pt idx="42178">
                  <c:v>0.75223827358658801</c:v>
                </c:pt>
                <c:pt idx="42179">
                  <c:v>0.75225610843588298</c:v>
                </c:pt>
                <c:pt idx="42180">
                  <c:v>0.75227394328517905</c:v>
                </c:pt>
                <c:pt idx="42181">
                  <c:v>0.75229177813447401</c:v>
                </c:pt>
                <c:pt idx="42182">
                  <c:v>0.75230961298376997</c:v>
                </c:pt>
                <c:pt idx="42183">
                  <c:v>0.75232744783306504</c:v>
                </c:pt>
                <c:pt idx="42184">
                  <c:v>0.75234528268236101</c:v>
                </c:pt>
                <c:pt idx="42185">
                  <c:v>0.75236311753165597</c:v>
                </c:pt>
                <c:pt idx="42186">
                  <c:v>0.75238095238095204</c:v>
                </c:pt>
                <c:pt idx="42187">
                  <c:v>0.752398787230247</c:v>
                </c:pt>
                <c:pt idx="42188">
                  <c:v>0.75241662207954296</c:v>
                </c:pt>
                <c:pt idx="42189">
                  <c:v>0.75243445692883804</c:v>
                </c:pt>
                <c:pt idx="42190">
                  <c:v>0.752452291778134</c:v>
                </c:pt>
                <c:pt idx="42191">
                  <c:v>0.75247012662742996</c:v>
                </c:pt>
                <c:pt idx="42192">
                  <c:v>0.75248796147672503</c:v>
                </c:pt>
                <c:pt idx="42193">
                  <c:v>0.75250579632602099</c:v>
                </c:pt>
                <c:pt idx="42194">
                  <c:v>0.75252363117531595</c:v>
                </c:pt>
                <c:pt idx="42195">
                  <c:v>0.75254146602461203</c:v>
                </c:pt>
                <c:pt idx="42196">
                  <c:v>0.75255930087390699</c:v>
                </c:pt>
                <c:pt idx="42197">
                  <c:v>0.75257713572320295</c:v>
                </c:pt>
                <c:pt idx="42198">
                  <c:v>0.75259497057249802</c:v>
                </c:pt>
                <c:pt idx="42199">
                  <c:v>0.75261280542179398</c:v>
                </c:pt>
                <c:pt idx="42200">
                  <c:v>0.75263064027108895</c:v>
                </c:pt>
                <c:pt idx="42201">
                  <c:v>0.75264847512038502</c:v>
                </c:pt>
                <c:pt idx="42202">
                  <c:v>0.75266630996967998</c:v>
                </c:pt>
                <c:pt idx="42203">
                  <c:v>0.75268414481897605</c:v>
                </c:pt>
                <c:pt idx="42204">
                  <c:v>0.75270197966827102</c:v>
                </c:pt>
                <c:pt idx="42205">
                  <c:v>0.75271981451756698</c:v>
                </c:pt>
                <c:pt idx="42206">
                  <c:v>0.75273764936686205</c:v>
                </c:pt>
                <c:pt idx="42207">
                  <c:v>0.75275548421615801</c:v>
                </c:pt>
                <c:pt idx="42208">
                  <c:v>0.75277331906545297</c:v>
                </c:pt>
                <c:pt idx="42209">
                  <c:v>0.75279115391474904</c:v>
                </c:pt>
                <c:pt idx="42210">
                  <c:v>0.75280898876404401</c:v>
                </c:pt>
                <c:pt idx="42211">
                  <c:v>0.75282682361333997</c:v>
                </c:pt>
                <c:pt idx="42212">
                  <c:v>0.75284465846263604</c:v>
                </c:pt>
                <c:pt idx="42213">
                  <c:v>0.752862493311931</c:v>
                </c:pt>
                <c:pt idx="42214">
                  <c:v>0.75288032816122696</c:v>
                </c:pt>
                <c:pt idx="42215">
                  <c:v>0.75289816301052204</c:v>
                </c:pt>
                <c:pt idx="42216">
                  <c:v>0.752915997859818</c:v>
                </c:pt>
                <c:pt idx="42217">
                  <c:v>0.75293383270911296</c:v>
                </c:pt>
                <c:pt idx="42218">
                  <c:v>0.75295166755840903</c:v>
                </c:pt>
                <c:pt idx="42219">
                  <c:v>0.75296950240770399</c:v>
                </c:pt>
                <c:pt idx="42220">
                  <c:v>0.75298733725699996</c:v>
                </c:pt>
                <c:pt idx="42221">
                  <c:v>0.75300517210629503</c:v>
                </c:pt>
                <c:pt idx="42222">
                  <c:v>0.75302300695559099</c:v>
                </c:pt>
                <c:pt idx="42223">
                  <c:v>0.75304084180488595</c:v>
                </c:pt>
                <c:pt idx="42224">
                  <c:v>0.75305867665418202</c:v>
                </c:pt>
                <c:pt idx="42225">
                  <c:v>0.75307651150347699</c:v>
                </c:pt>
                <c:pt idx="42226">
                  <c:v>0.75309434635277295</c:v>
                </c:pt>
                <c:pt idx="42227">
                  <c:v>0.75311218120206802</c:v>
                </c:pt>
                <c:pt idx="42228">
                  <c:v>0.75313001605136398</c:v>
                </c:pt>
                <c:pt idx="42229">
                  <c:v>0.75314785090065905</c:v>
                </c:pt>
                <c:pt idx="42230">
                  <c:v>0.75316568574995502</c:v>
                </c:pt>
                <c:pt idx="42231">
                  <c:v>0.75318352059925098</c:v>
                </c:pt>
                <c:pt idx="42232">
                  <c:v>0.75320135544854605</c:v>
                </c:pt>
                <c:pt idx="42233">
                  <c:v>0.75321919029784201</c:v>
                </c:pt>
                <c:pt idx="42234">
                  <c:v>0.75323702514713697</c:v>
                </c:pt>
                <c:pt idx="42235">
                  <c:v>0.75325485999643305</c:v>
                </c:pt>
                <c:pt idx="42236">
                  <c:v>0.75327269484572801</c:v>
                </c:pt>
                <c:pt idx="42237">
                  <c:v>0.75329052969502397</c:v>
                </c:pt>
                <c:pt idx="42238">
                  <c:v>0.75330836454431904</c:v>
                </c:pt>
                <c:pt idx="42239">
                  <c:v>0.753326199393615</c:v>
                </c:pt>
                <c:pt idx="42240">
                  <c:v>0.75334403424290997</c:v>
                </c:pt>
                <c:pt idx="42241">
                  <c:v>0.75336186909220604</c:v>
                </c:pt>
                <c:pt idx="42242">
                  <c:v>0.753379703941501</c:v>
                </c:pt>
                <c:pt idx="42243">
                  <c:v>0.75339753879079696</c:v>
                </c:pt>
                <c:pt idx="42244">
                  <c:v>0.75341537364009203</c:v>
                </c:pt>
                <c:pt idx="42245">
                  <c:v>0.753433208489388</c:v>
                </c:pt>
                <c:pt idx="42246">
                  <c:v>0.75345104333868296</c:v>
                </c:pt>
                <c:pt idx="42247">
                  <c:v>0.75346887818797903</c:v>
                </c:pt>
                <c:pt idx="42248">
                  <c:v>0.75348671303727399</c:v>
                </c:pt>
                <c:pt idx="42249">
                  <c:v>0.75350454788656995</c:v>
                </c:pt>
                <c:pt idx="42250">
                  <c:v>0.75352238273586503</c:v>
                </c:pt>
                <c:pt idx="42251">
                  <c:v>0.75354021758516099</c:v>
                </c:pt>
                <c:pt idx="42252">
                  <c:v>0.75355805243445695</c:v>
                </c:pt>
                <c:pt idx="42253">
                  <c:v>0.75357588728375202</c:v>
                </c:pt>
                <c:pt idx="42254">
                  <c:v>0.75359372213304798</c:v>
                </c:pt>
                <c:pt idx="42255">
                  <c:v>0.75361155698234294</c:v>
                </c:pt>
                <c:pt idx="42256">
                  <c:v>0.75362939183163902</c:v>
                </c:pt>
                <c:pt idx="42257">
                  <c:v>0.75364722668093398</c:v>
                </c:pt>
                <c:pt idx="42258">
                  <c:v>0.75366506153023005</c:v>
                </c:pt>
                <c:pt idx="42259">
                  <c:v>0.75368289637952501</c:v>
                </c:pt>
                <c:pt idx="42260">
                  <c:v>0.75370073122882097</c:v>
                </c:pt>
                <c:pt idx="42261">
                  <c:v>0.75371856607811605</c:v>
                </c:pt>
                <c:pt idx="42262">
                  <c:v>0.75373640092741201</c:v>
                </c:pt>
                <c:pt idx="42263">
                  <c:v>0.75375423577670697</c:v>
                </c:pt>
                <c:pt idx="42264">
                  <c:v>0.75377207062600304</c:v>
                </c:pt>
                <c:pt idx="42265">
                  <c:v>0.75378990547529801</c:v>
                </c:pt>
                <c:pt idx="42266">
                  <c:v>0.75380774032459397</c:v>
                </c:pt>
                <c:pt idx="42267">
                  <c:v>0.75382557517388904</c:v>
                </c:pt>
                <c:pt idx="42268">
                  <c:v>0.753843410023185</c:v>
                </c:pt>
                <c:pt idx="42269">
                  <c:v>0.75386124487247996</c:v>
                </c:pt>
                <c:pt idx="42270">
                  <c:v>0.75387907972177604</c:v>
                </c:pt>
                <c:pt idx="42271">
                  <c:v>0.753896914571071</c:v>
                </c:pt>
                <c:pt idx="42272">
                  <c:v>0.75391474942036696</c:v>
                </c:pt>
                <c:pt idx="42273">
                  <c:v>0.75393258426966203</c:v>
                </c:pt>
                <c:pt idx="42274">
                  <c:v>0.75395041911895799</c:v>
                </c:pt>
                <c:pt idx="42275">
                  <c:v>0.75396825396825395</c:v>
                </c:pt>
                <c:pt idx="42276">
                  <c:v>0.75398608881754903</c:v>
                </c:pt>
                <c:pt idx="42277">
                  <c:v>0.75400392366684499</c:v>
                </c:pt>
                <c:pt idx="42278">
                  <c:v>0.75402175851613995</c:v>
                </c:pt>
                <c:pt idx="42279">
                  <c:v>0.75403959336543602</c:v>
                </c:pt>
                <c:pt idx="42280">
                  <c:v>0.75405742821473098</c:v>
                </c:pt>
                <c:pt idx="42281">
                  <c:v>0.75407526306402695</c:v>
                </c:pt>
                <c:pt idx="42282">
                  <c:v>0.75409309791332202</c:v>
                </c:pt>
                <c:pt idx="42283">
                  <c:v>0.75411093276261798</c:v>
                </c:pt>
                <c:pt idx="42284">
                  <c:v>0.75412876761191305</c:v>
                </c:pt>
                <c:pt idx="42285">
                  <c:v>0.75414660246120901</c:v>
                </c:pt>
                <c:pt idx="42286">
                  <c:v>0.75416443731050398</c:v>
                </c:pt>
                <c:pt idx="42287">
                  <c:v>0.75418227215980005</c:v>
                </c:pt>
                <c:pt idx="42288">
                  <c:v>0.75420010700909501</c:v>
                </c:pt>
                <c:pt idx="42289">
                  <c:v>0.75421794185839097</c:v>
                </c:pt>
                <c:pt idx="42290">
                  <c:v>0.75423577670768605</c:v>
                </c:pt>
                <c:pt idx="42291">
                  <c:v>0.75425361155698201</c:v>
                </c:pt>
                <c:pt idx="42292">
                  <c:v>0.75427144640627697</c:v>
                </c:pt>
                <c:pt idx="42293">
                  <c:v>0.75428928125557304</c:v>
                </c:pt>
                <c:pt idx="42294">
                  <c:v>0.754307116104868</c:v>
                </c:pt>
                <c:pt idx="42295">
                  <c:v>0.75432495095416396</c:v>
                </c:pt>
                <c:pt idx="42296">
                  <c:v>0.75434278580345904</c:v>
                </c:pt>
                <c:pt idx="42297">
                  <c:v>0.754360620652755</c:v>
                </c:pt>
                <c:pt idx="42298">
                  <c:v>0.75437845550205096</c:v>
                </c:pt>
                <c:pt idx="42299">
                  <c:v>0.75439629035134603</c:v>
                </c:pt>
                <c:pt idx="42300">
                  <c:v>0.75441412520064199</c:v>
                </c:pt>
                <c:pt idx="42301">
                  <c:v>0.75443196004993696</c:v>
                </c:pt>
                <c:pt idx="42302">
                  <c:v>0.75444979489923303</c:v>
                </c:pt>
                <c:pt idx="42303">
                  <c:v>0.75446762974852799</c:v>
                </c:pt>
                <c:pt idx="42304">
                  <c:v>0.75448546459782395</c:v>
                </c:pt>
                <c:pt idx="42305">
                  <c:v>0.75450329944711902</c:v>
                </c:pt>
                <c:pt idx="42306">
                  <c:v>0.75452113429641499</c:v>
                </c:pt>
                <c:pt idx="42307">
                  <c:v>0.75453896914570995</c:v>
                </c:pt>
                <c:pt idx="42308">
                  <c:v>0.75455680399500602</c:v>
                </c:pt>
                <c:pt idx="42309">
                  <c:v>0.75457463884430098</c:v>
                </c:pt>
                <c:pt idx="42310">
                  <c:v>0.75459247369359705</c:v>
                </c:pt>
                <c:pt idx="42311">
                  <c:v>0.75461030854289202</c:v>
                </c:pt>
                <c:pt idx="42312">
                  <c:v>0.75462814339218798</c:v>
                </c:pt>
                <c:pt idx="42313">
                  <c:v>0.75464597824148305</c:v>
                </c:pt>
                <c:pt idx="42314">
                  <c:v>0.75466381309077901</c:v>
                </c:pt>
                <c:pt idx="42315">
                  <c:v>0.75468164794007397</c:v>
                </c:pt>
                <c:pt idx="42316">
                  <c:v>0.75469948278937005</c:v>
                </c:pt>
                <c:pt idx="42317">
                  <c:v>0.75471731763866601</c:v>
                </c:pt>
                <c:pt idx="42318">
                  <c:v>0.75473515248796097</c:v>
                </c:pt>
                <c:pt idx="42319">
                  <c:v>0.75475298733725704</c:v>
                </c:pt>
                <c:pt idx="42320">
                  <c:v>0.754770822186552</c:v>
                </c:pt>
                <c:pt idx="42321">
                  <c:v>0.75478865703584797</c:v>
                </c:pt>
                <c:pt idx="42322">
                  <c:v>0.75480649188514304</c:v>
                </c:pt>
                <c:pt idx="42323">
                  <c:v>0.754824326734439</c:v>
                </c:pt>
                <c:pt idx="42324">
                  <c:v>0.75484216158373396</c:v>
                </c:pt>
                <c:pt idx="42325">
                  <c:v>0.75485999643303003</c:v>
                </c:pt>
                <c:pt idx="42326">
                  <c:v>0.754877831282325</c:v>
                </c:pt>
                <c:pt idx="42327">
                  <c:v>0.75489566613162096</c:v>
                </c:pt>
                <c:pt idx="42328">
                  <c:v>0.75491350098091603</c:v>
                </c:pt>
                <c:pt idx="42329">
                  <c:v>0.75493133583021199</c:v>
                </c:pt>
                <c:pt idx="42330">
                  <c:v>0.75494917067950695</c:v>
                </c:pt>
                <c:pt idx="42331">
                  <c:v>0.75496700552880303</c:v>
                </c:pt>
                <c:pt idx="42332">
                  <c:v>0.75498484037809799</c:v>
                </c:pt>
                <c:pt idx="42333">
                  <c:v>0.75500267522739395</c:v>
                </c:pt>
                <c:pt idx="42334">
                  <c:v>0.75502051007668902</c:v>
                </c:pt>
                <c:pt idx="42335">
                  <c:v>0.75503834492598498</c:v>
                </c:pt>
                <c:pt idx="42336">
                  <c:v>0.75505617977528094</c:v>
                </c:pt>
                <c:pt idx="42337">
                  <c:v>0.75507401462457602</c:v>
                </c:pt>
                <c:pt idx="42338">
                  <c:v>0.75509184947387198</c:v>
                </c:pt>
                <c:pt idx="42339">
                  <c:v>0.75510968432316705</c:v>
                </c:pt>
                <c:pt idx="42340">
                  <c:v>0.75512751917246301</c:v>
                </c:pt>
                <c:pt idx="42341">
                  <c:v>0.75514535402175798</c:v>
                </c:pt>
                <c:pt idx="42342">
                  <c:v>0.75516318887105405</c:v>
                </c:pt>
                <c:pt idx="42343">
                  <c:v>0.75518102372034901</c:v>
                </c:pt>
                <c:pt idx="42344">
                  <c:v>0.75519885856964497</c:v>
                </c:pt>
                <c:pt idx="42345">
                  <c:v>0.75521669341894004</c:v>
                </c:pt>
                <c:pt idx="42346">
                  <c:v>0.75523452826823601</c:v>
                </c:pt>
                <c:pt idx="42347">
                  <c:v>0.75525236311753097</c:v>
                </c:pt>
                <c:pt idx="42348">
                  <c:v>0.75527019796682704</c:v>
                </c:pt>
                <c:pt idx="42349">
                  <c:v>0.755288032816122</c:v>
                </c:pt>
                <c:pt idx="42350">
                  <c:v>0.75530586766541796</c:v>
                </c:pt>
                <c:pt idx="42351">
                  <c:v>0.75532370251471304</c:v>
                </c:pt>
                <c:pt idx="42352">
                  <c:v>0.755341537364009</c:v>
                </c:pt>
                <c:pt idx="42353">
                  <c:v>0.75535937221330396</c:v>
                </c:pt>
                <c:pt idx="42354">
                  <c:v>0.75537720706260003</c:v>
                </c:pt>
                <c:pt idx="42355">
                  <c:v>0.75539504191189499</c:v>
                </c:pt>
                <c:pt idx="42356">
                  <c:v>0.75541287676119095</c:v>
                </c:pt>
                <c:pt idx="42357">
                  <c:v>0.75543071161048603</c:v>
                </c:pt>
                <c:pt idx="42358">
                  <c:v>0.75544854645978199</c:v>
                </c:pt>
                <c:pt idx="42359">
                  <c:v>0.75546638130907795</c:v>
                </c:pt>
                <c:pt idx="42360">
                  <c:v>0.75548421615837302</c:v>
                </c:pt>
                <c:pt idx="42361">
                  <c:v>0.75550205100766898</c:v>
                </c:pt>
                <c:pt idx="42362">
                  <c:v>0.75551988585696395</c:v>
                </c:pt>
                <c:pt idx="42363">
                  <c:v>0.75553772070626002</c:v>
                </c:pt>
                <c:pt idx="42364">
                  <c:v>0.75555555555555498</c:v>
                </c:pt>
                <c:pt idx="42365">
                  <c:v>0.75557339040485105</c:v>
                </c:pt>
                <c:pt idx="42366">
                  <c:v>0.75559122525414602</c:v>
                </c:pt>
                <c:pt idx="42367">
                  <c:v>0.75560906010344198</c:v>
                </c:pt>
                <c:pt idx="42368">
                  <c:v>0.75562689495273705</c:v>
                </c:pt>
                <c:pt idx="42369">
                  <c:v>0.75564472980203301</c:v>
                </c:pt>
                <c:pt idx="42370">
                  <c:v>0.75566256465132797</c:v>
                </c:pt>
                <c:pt idx="42371">
                  <c:v>0.75568039950062404</c:v>
                </c:pt>
                <c:pt idx="42372">
                  <c:v>0.75569823434991901</c:v>
                </c:pt>
                <c:pt idx="42373">
                  <c:v>0.75571606919921497</c:v>
                </c:pt>
                <c:pt idx="42374">
                  <c:v>0.75573390404851004</c:v>
                </c:pt>
                <c:pt idx="42375">
                  <c:v>0.755751738897806</c:v>
                </c:pt>
                <c:pt idx="42376">
                  <c:v>0.75576957374710096</c:v>
                </c:pt>
                <c:pt idx="42377">
                  <c:v>0.75578740859639704</c:v>
                </c:pt>
                <c:pt idx="42378">
                  <c:v>0.755805243445692</c:v>
                </c:pt>
                <c:pt idx="42379">
                  <c:v>0.75582307829498796</c:v>
                </c:pt>
                <c:pt idx="42380">
                  <c:v>0.75584091314428303</c:v>
                </c:pt>
                <c:pt idx="42381">
                  <c:v>0.75585874799357899</c:v>
                </c:pt>
                <c:pt idx="42382">
                  <c:v>0.75587658284287496</c:v>
                </c:pt>
                <c:pt idx="42383">
                  <c:v>0.75589441769217003</c:v>
                </c:pt>
                <c:pt idx="42384">
                  <c:v>0.75591225254146599</c:v>
                </c:pt>
                <c:pt idx="42385">
                  <c:v>0.75593008739076095</c:v>
                </c:pt>
                <c:pt idx="42386">
                  <c:v>0.75594792224005702</c:v>
                </c:pt>
                <c:pt idx="42387">
                  <c:v>0.75596575708935199</c:v>
                </c:pt>
                <c:pt idx="42388">
                  <c:v>0.75598359193864795</c:v>
                </c:pt>
                <c:pt idx="42389">
                  <c:v>0.75600142678794302</c:v>
                </c:pt>
                <c:pt idx="42390">
                  <c:v>0.75601926163723898</c:v>
                </c:pt>
                <c:pt idx="42391">
                  <c:v>0.75603709648653405</c:v>
                </c:pt>
                <c:pt idx="42392">
                  <c:v>0.75605493133583002</c:v>
                </c:pt>
                <c:pt idx="42393">
                  <c:v>0.75607276618512498</c:v>
                </c:pt>
                <c:pt idx="42394">
                  <c:v>0.75609060103442105</c:v>
                </c:pt>
                <c:pt idx="42395">
                  <c:v>0.75610843588371601</c:v>
                </c:pt>
                <c:pt idx="42396">
                  <c:v>0.75612627073301197</c:v>
                </c:pt>
                <c:pt idx="42397">
                  <c:v>0.75614410558230705</c:v>
                </c:pt>
                <c:pt idx="42398">
                  <c:v>0.75616194043160301</c:v>
                </c:pt>
                <c:pt idx="42399">
                  <c:v>0.75617977528089797</c:v>
                </c:pt>
                <c:pt idx="42400">
                  <c:v>0.75619761013019404</c:v>
                </c:pt>
                <c:pt idx="42401">
                  <c:v>0.756215444979489</c:v>
                </c:pt>
                <c:pt idx="42402">
                  <c:v>0.75623327982878497</c:v>
                </c:pt>
                <c:pt idx="42403">
                  <c:v>0.75625111467808004</c:v>
                </c:pt>
                <c:pt idx="42404">
                  <c:v>0.756268949527376</c:v>
                </c:pt>
                <c:pt idx="42405">
                  <c:v>0.75628678437667196</c:v>
                </c:pt>
                <c:pt idx="42406">
                  <c:v>0.75630461922596703</c:v>
                </c:pt>
                <c:pt idx="42407">
                  <c:v>0.756322454075263</c:v>
                </c:pt>
                <c:pt idx="42408">
                  <c:v>0.75634028892455796</c:v>
                </c:pt>
                <c:pt idx="42409">
                  <c:v>0.75635812377385403</c:v>
                </c:pt>
                <c:pt idx="42410">
                  <c:v>0.75637595862314899</c:v>
                </c:pt>
                <c:pt idx="42411">
                  <c:v>0.75639379347244495</c:v>
                </c:pt>
                <c:pt idx="42412">
                  <c:v>0.75641162832174003</c:v>
                </c:pt>
                <c:pt idx="42413">
                  <c:v>0.75642946317103599</c:v>
                </c:pt>
                <c:pt idx="42414">
                  <c:v>0.75644729802033095</c:v>
                </c:pt>
                <c:pt idx="42415">
                  <c:v>0.75646513286962702</c:v>
                </c:pt>
                <c:pt idx="42416">
                  <c:v>0.75648296771892198</c:v>
                </c:pt>
                <c:pt idx="42417">
                  <c:v>0.75650080256821794</c:v>
                </c:pt>
                <c:pt idx="42418">
                  <c:v>0.75651863741751302</c:v>
                </c:pt>
                <c:pt idx="42419">
                  <c:v>0.75653647226680898</c:v>
                </c:pt>
                <c:pt idx="42420">
                  <c:v>0.75655430711610405</c:v>
                </c:pt>
                <c:pt idx="42421">
                  <c:v>0.75657214196540001</c:v>
                </c:pt>
                <c:pt idx="42422">
                  <c:v>0.75658997681469498</c:v>
                </c:pt>
                <c:pt idx="42423">
                  <c:v>0.75660781166399105</c:v>
                </c:pt>
                <c:pt idx="42424">
                  <c:v>0.75662564651328701</c:v>
                </c:pt>
                <c:pt idx="42425">
                  <c:v>0.75664348136258197</c:v>
                </c:pt>
                <c:pt idx="42426">
                  <c:v>0.75666131621187804</c:v>
                </c:pt>
                <c:pt idx="42427">
                  <c:v>0.75667915106117301</c:v>
                </c:pt>
                <c:pt idx="42428">
                  <c:v>0.75669698591046897</c:v>
                </c:pt>
                <c:pt idx="42429">
                  <c:v>0.75671482075976404</c:v>
                </c:pt>
                <c:pt idx="42430">
                  <c:v>0.75673265560906</c:v>
                </c:pt>
                <c:pt idx="42431">
                  <c:v>0.75675049045835496</c:v>
                </c:pt>
                <c:pt idx="42432">
                  <c:v>0.75676832530765104</c:v>
                </c:pt>
                <c:pt idx="42433">
                  <c:v>0.756786160156946</c:v>
                </c:pt>
                <c:pt idx="42434">
                  <c:v>0.75680399500624196</c:v>
                </c:pt>
                <c:pt idx="42435">
                  <c:v>0.75682182985553703</c:v>
                </c:pt>
                <c:pt idx="42436">
                  <c:v>0.75683966470483299</c:v>
                </c:pt>
                <c:pt idx="42437">
                  <c:v>0.75685749955412795</c:v>
                </c:pt>
                <c:pt idx="42438">
                  <c:v>0.75687533440342403</c:v>
                </c:pt>
                <c:pt idx="42439">
                  <c:v>0.75689316925271899</c:v>
                </c:pt>
                <c:pt idx="42440">
                  <c:v>0.75691100410201495</c:v>
                </c:pt>
                <c:pt idx="42441">
                  <c:v>0.75692883895131002</c:v>
                </c:pt>
                <c:pt idx="42442">
                  <c:v>0.75694667380060598</c:v>
                </c:pt>
                <c:pt idx="42443">
                  <c:v>0.75696450864990195</c:v>
                </c:pt>
                <c:pt idx="42444">
                  <c:v>0.75698234349919702</c:v>
                </c:pt>
                <c:pt idx="42445">
                  <c:v>0.75700017834849298</c:v>
                </c:pt>
                <c:pt idx="42446">
                  <c:v>0.75701801319778805</c:v>
                </c:pt>
                <c:pt idx="42447">
                  <c:v>0.75703584804708401</c:v>
                </c:pt>
                <c:pt idx="42448">
                  <c:v>0.75705368289637898</c:v>
                </c:pt>
                <c:pt idx="42449">
                  <c:v>0.75707151774567505</c:v>
                </c:pt>
                <c:pt idx="42450">
                  <c:v>0.75708935259497001</c:v>
                </c:pt>
                <c:pt idx="42451">
                  <c:v>0.75710718744426597</c:v>
                </c:pt>
                <c:pt idx="42452">
                  <c:v>0.75712502229356105</c:v>
                </c:pt>
                <c:pt idx="42453">
                  <c:v>0.75714285714285701</c:v>
                </c:pt>
                <c:pt idx="42454">
                  <c:v>0.75716069199215197</c:v>
                </c:pt>
                <c:pt idx="42455">
                  <c:v>0.75717852684144804</c:v>
                </c:pt>
                <c:pt idx="42456">
                  <c:v>0.757196361690743</c:v>
                </c:pt>
                <c:pt idx="42457">
                  <c:v>0.75721419654003896</c:v>
                </c:pt>
                <c:pt idx="42458">
                  <c:v>0.75723203138933404</c:v>
                </c:pt>
                <c:pt idx="42459">
                  <c:v>0.75724986623863</c:v>
                </c:pt>
                <c:pt idx="42460">
                  <c:v>0.75726770108792496</c:v>
                </c:pt>
                <c:pt idx="42461">
                  <c:v>0.75728553593722103</c:v>
                </c:pt>
                <c:pt idx="42462">
                  <c:v>0.75730337078651599</c:v>
                </c:pt>
                <c:pt idx="42463">
                  <c:v>0.75732120563581196</c:v>
                </c:pt>
                <c:pt idx="42464">
                  <c:v>0.75733904048510703</c:v>
                </c:pt>
                <c:pt idx="42465">
                  <c:v>0.75735687533440299</c:v>
                </c:pt>
                <c:pt idx="42466">
                  <c:v>0.75737471018369895</c:v>
                </c:pt>
                <c:pt idx="42467">
                  <c:v>0.75739254503299402</c:v>
                </c:pt>
                <c:pt idx="42468">
                  <c:v>0.75741037988228999</c:v>
                </c:pt>
                <c:pt idx="42469">
                  <c:v>0.75742821473158495</c:v>
                </c:pt>
                <c:pt idx="42470">
                  <c:v>0.75744604958088102</c:v>
                </c:pt>
                <c:pt idx="42471">
                  <c:v>0.75746388443017598</c:v>
                </c:pt>
                <c:pt idx="42472">
                  <c:v>0.75748171927947205</c:v>
                </c:pt>
                <c:pt idx="42473">
                  <c:v>0.75749955412876702</c:v>
                </c:pt>
                <c:pt idx="42474">
                  <c:v>0.75751738897806298</c:v>
                </c:pt>
                <c:pt idx="42475">
                  <c:v>0.75753522382735805</c:v>
                </c:pt>
                <c:pt idx="42476">
                  <c:v>0.75755305867665401</c:v>
                </c:pt>
                <c:pt idx="42477">
                  <c:v>0.75757089352594897</c:v>
                </c:pt>
                <c:pt idx="42478">
                  <c:v>0.75758872837524505</c:v>
                </c:pt>
                <c:pt idx="42479">
                  <c:v>0.75760656322454001</c:v>
                </c:pt>
                <c:pt idx="42480">
                  <c:v>0.75762439807383597</c:v>
                </c:pt>
                <c:pt idx="42481">
                  <c:v>0.75764223292313104</c:v>
                </c:pt>
                <c:pt idx="42482">
                  <c:v>0.757660067772427</c:v>
                </c:pt>
                <c:pt idx="42483">
                  <c:v>0.75767790262172197</c:v>
                </c:pt>
                <c:pt idx="42484">
                  <c:v>0.75769573747101804</c:v>
                </c:pt>
                <c:pt idx="42485">
                  <c:v>0.757713572320313</c:v>
                </c:pt>
                <c:pt idx="42486">
                  <c:v>0.75773140716960896</c:v>
                </c:pt>
                <c:pt idx="42487">
                  <c:v>0.75774924201890403</c:v>
                </c:pt>
                <c:pt idx="42488">
                  <c:v>0.7577670768682</c:v>
                </c:pt>
                <c:pt idx="42489">
                  <c:v>0.75778491171749596</c:v>
                </c:pt>
                <c:pt idx="42490">
                  <c:v>0.75780274656679103</c:v>
                </c:pt>
                <c:pt idx="42491">
                  <c:v>0.75782058141608699</c:v>
                </c:pt>
                <c:pt idx="42492">
                  <c:v>0.75783841626538195</c:v>
                </c:pt>
                <c:pt idx="42493">
                  <c:v>0.75785625111467803</c:v>
                </c:pt>
                <c:pt idx="42494">
                  <c:v>0.75787408596397299</c:v>
                </c:pt>
                <c:pt idx="42495">
                  <c:v>0.75789192081326895</c:v>
                </c:pt>
                <c:pt idx="42496">
                  <c:v>0.75790975566256402</c:v>
                </c:pt>
                <c:pt idx="42497">
                  <c:v>0.75792759051185998</c:v>
                </c:pt>
                <c:pt idx="42498">
                  <c:v>0.75794542536115495</c:v>
                </c:pt>
                <c:pt idx="42499">
                  <c:v>0.75796326021045102</c:v>
                </c:pt>
                <c:pt idx="42500">
                  <c:v>0.75798109505974598</c:v>
                </c:pt>
                <c:pt idx="42501">
                  <c:v>0.75799892990904205</c:v>
                </c:pt>
                <c:pt idx="42502">
                  <c:v>0.75801676475833701</c:v>
                </c:pt>
                <c:pt idx="42503">
                  <c:v>0.75803459960763298</c:v>
                </c:pt>
                <c:pt idx="42504">
                  <c:v>0.75805243445692805</c:v>
                </c:pt>
                <c:pt idx="42505">
                  <c:v>0.75807026930622401</c:v>
                </c:pt>
                <c:pt idx="42506">
                  <c:v>0.75808810415551897</c:v>
                </c:pt>
                <c:pt idx="42507">
                  <c:v>0.75810593900481504</c:v>
                </c:pt>
                <c:pt idx="42508">
                  <c:v>0.75812377385411001</c:v>
                </c:pt>
                <c:pt idx="42509">
                  <c:v>0.75814160870340597</c:v>
                </c:pt>
                <c:pt idx="42510">
                  <c:v>0.75815944355270104</c:v>
                </c:pt>
                <c:pt idx="42511">
                  <c:v>0.758177278401997</c:v>
                </c:pt>
                <c:pt idx="42512">
                  <c:v>0.75819511325129296</c:v>
                </c:pt>
                <c:pt idx="42513">
                  <c:v>0.75821294810058804</c:v>
                </c:pt>
                <c:pt idx="42514">
                  <c:v>0.758230782949884</c:v>
                </c:pt>
                <c:pt idx="42515">
                  <c:v>0.75824861779917896</c:v>
                </c:pt>
                <c:pt idx="42516">
                  <c:v>0.75826645264847503</c:v>
                </c:pt>
                <c:pt idx="42517">
                  <c:v>0.75828428749776999</c:v>
                </c:pt>
                <c:pt idx="42518">
                  <c:v>0.75830212234706595</c:v>
                </c:pt>
                <c:pt idx="42519">
                  <c:v>0.75831995719636103</c:v>
                </c:pt>
                <c:pt idx="42520">
                  <c:v>0.75833779204565699</c:v>
                </c:pt>
                <c:pt idx="42521">
                  <c:v>0.75835562689495195</c:v>
                </c:pt>
                <c:pt idx="42522">
                  <c:v>0.75837346174424802</c:v>
                </c:pt>
                <c:pt idx="42523">
                  <c:v>0.75839129659354299</c:v>
                </c:pt>
                <c:pt idx="42524">
                  <c:v>0.75840913144283895</c:v>
                </c:pt>
                <c:pt idx="42525">
                  <c:v>0.75842696629213402</c:v>
                </c:pt>
                <c:pt idx="42526">
                  <c:v>0.75844480114142998</c:v>
                </c:pt>
                <c:pt idx="42527">
                  <c:v>0.75846263599072505</c:v>
                </c:pt>
                <c:pt idx="42528">
                  <c:v>0.75848047084002101</c:v>
                </c:pt>
                <c:pt idx="42529">
                  <c:v>0.75849830568931698</c:v>
                </c:pt>
                <c:pt idx="42530">
                  <c:v>0.75851614053861205</c:v>
                </c:pt>
                <c:pt idx="42531">
                  <c:v>0.75853397538790801</c:v>
                </c:pt>
                <c:pt idx="42532">
                  <c:v>0.75855181023720297</c:v>
                </c:pt>
                <c:pt idx="42533">
                  <c:v>0.75856964508649904</c:v>
                </c:pt>
                <c:pt idx="42534">
                  <c:v>0.75858747993579401</c:v>
                </c:pt>
                <c:pt idx="42535">
                  <c:v>0.75860531478508997</c:v>
                </c:pt>
                <c:pt idx="42536">
                  <c:v>0.75862314963438504</c:v>
                </c:pt>
                <c:pt idx="42537">
                  <c:v>0.758640984483681</c:v>
                </c:pt>
                <c:pt idx="42538">
                  <c:v>0.75865881933297596</c:v>
                </c:pt>
                <c:pt idx="42539">
                  <c:v>0.75867665418227204</c:v>
                </c:pt>
                <c:pt idx="42540">
                  <c:v>0.758694489031567</c:v>
                </c:pt>
                <c:pt idx="42541">
                  <c:v>0.75871232388086296</c:v>
                </c:pt>
                <c:pt idx="42542">
                  <c:v>0.75873015873015803</c:v>
                </c:pt>
                <c:pt idx="42543">
                  <c:v>0.75874799357945399</c:v>
                </c:pt>
                <c:pt idx="42544">
                  <c:v>0.75876582842874896</c:v>
                </c:pt>
                <c:pt idx="42545">
                  <c:v>0.75878366327804503</c:v>
                </c:pt>
                <c:pt idx="42546">
                  <c:v>0.75880149812733999</c:v>
                </c:pt>
                <c:pt idx="42547">
                  <c:v>0.75881933297663595</c:v>
                </c:pt>
                <c:pt idx="42548">
                  <c:v>0.75883716782593102</c:v>
                </c:pt>
                <c:pt idx="42549">
                  <c:v>0.75885500267522699</c:v>
                </c:pt>
                <c:pt idx="42550">
                  <c:v>0.75887283752452295</c:v>
                </c:pt>
                <c:pt idx="42551">
                  <c:v>0.75889067237381802</c:v>
                </c:pt>
                <c:pt idx="42552">
                  <c:v>0.75890850722311398</c:v>
                </c:pt>
                <c:pt idx="42553">
                  <c:v>0.75892634207240905</c:v>
                </c:pt>
                <c:pt idx="42554">
                  <c:v>0.75894417692170502</c:v>
                </c:pt>
                <c:pt idx="42555">
                  <c:v>0.75896201177099998</c:v>
                </c:pt>
                <c:pt idx="42556">
                  <c:v>0.75897984662029605</c:v>
                </c:pt>
                <c:pt idx="42557">
                  <c:v>0.75899768146959101</c:v>
                </c:pt>
                <c:pt idx="42558">
                  <c:v>0.75901551631888697</c:v>
                </c:pt>
                <c:pt idx="42559">
                  <c:v>0.75903335116818205</c:v>
                </c:pt>
                <c:pt idx="42560">
                  <c:v>0.75905118601747801</c:v>
                </c:pt>
                <c:pt idx="42561">
                  <c:v>0.75906902086677297</c:v>
                </c:pt>
                <c:pt idx="42562">
                  <c:v>0.75908685571606904</c:v>
                </c:pt>
                <c:pt idx="42563">
                  <c:v>0.759104690565364</c:v>
                </c:pt>
                <c:pt idx="42564">
                  <c:v>0.75912252541465997</c:v>
                </c:pt>
                <c:pt idx="42565">
                  <c:v>0.75914036026395504</c:v>
                </c:pt>
                <c:pt idx="42566">
                  <c:v>0.759158195113251</c:v>
                </c:pt>
                <c:pt idx="42567">
                  <c:v>0.75917602996254596</c:v>
                </c:pt>
                <c:pt idx="42568">
                  <c:v>0.75919386481184203</c:v>
                </c:pt>
                <c:pt idx="42569">
                  <c:v>0.759211699661137</c:v>
                </c:pt>
                <c:pt idx="42570">
                  <c:v>0.75922953451043296</c:v>
                </c:pt>
                <c:pt idx="42571">
                  <c:v>0.75924736935972803</c:v>
                </c:pt>
                <c:pt idx="42572">
                  <c:v>0.75926520420902399</c:v>
                </c:pt>
                <c:pt idx="42573">
                  <c:v>0.75928303905831995</c:v>
                </c:pt>
                <c:pt idx="42574">
                  <c:v>0.75930087390761503</c:v>
                </c:pt>
                <c:pt idx="42575">
                  <c:v>0.75931870875691099</c:v>
                </c:pt>
                <c:pt idx="42576">
                  <c:v>0.75933654360620595</c:v>
                </c:pt>
                <c:pt idx="42577">
                  <c:v>0.75935437845550202</c:v>
                </c:pt>
                <c:pt idx="42578">
                  <c:v>0.75937221330479698</c:v>
                </c:pt>
                <c:pt idx="42579">
                  <c:v>0.75939004815409294</c:v>
                </c:pt>
                <c:pt idx="42580">
                  <c:v>0.75940788300338802</c:v>
                </c:pt>
                <c:pt idx="42581">
                  <c:v>0.75942571785268398</c:v>
                </c:pt>
                <c:pt idx="42582">
                  <c:v>0.75944355270197905</c:v>
                </c:pt>
                <c:pt idx="42583">
                  <c:v>0.75946138755127501</c:v>
                </c:pt>
                <c:pt idx="42584">
                  <c:v>0.75947922240056998</c:v>
                </c:pt>
                <c:pt idx="42585">
                  <c:v>0.75949705724986605</c:v>
                </c:pt>
                <c:pt idx="42586">
                  <c:v>0.75951489209916101</c:v>
                </c:pt>
                <c:pt idx="42587">
                  <c:v>0.75953272694845697</c:v>
                </c:pt>
                <c:pt idx="42588">
                  <c:v>0.75955056179775204</c:v>
                </c:pt>
                <c:pt idx="42589">
                  <c:v>0.75956839664704801</c:v>
                </c:pt>
                <c:pt idx="42590">
                  <c:v>0.75958623149634297</c:v>
                </c:pt>
                <c:pt idx="42591">
                  <c:v>0.75960406634563904</c:v>
                </c:pt>
                <c:pt idx="42592">
                  <c:v>0.759621901194934</c:v>
                </c:pt>
                <c:pt idx="42593">
                  <c:v>0.75963973604422996</c:v>
                </c:pt>
                <c:pt idx="42594">
                  <c:v>0.75965757089352504</c:v>
                </c:pt>
                <c:pt idx="42595">
                  <c:v>0.759675405742821</c:v>
                </c:pt>
                <c:pt idx="42596">
                  <c:v>0.75969324059211696</c:v>
                </c:pt>
                <c:pt idx="42597">
                  <c:v>0.75971107544141203</c:v>
                </c:pt>
                <c:pt idx="42598">
                  <c:v>0.75972891029070799</c:v>
                </c:pt>
                <c:pt idx="42599">
                  <c:v>0.75974674514000295</c:v>
                </c:pt>
                <c:pt idx="42600">
                  <c:v>0.75976457998929903</c:v>
                </c:pt>
                <c:pt idx="42601">
                  <c:v>0.75978241483859399</c:v>
                </c:pt>
                <c:pt idx="42602">
                  <c:v>0.75980024968788995</c:v>
                </c:pt>
                <c:pt idx="42603">
                  <c:v>0.75981808453718502</c:v>
                </c:pt>
                <c:pt idx="42604">
                  <c:v>0.75983591938648098</c:v>
                </c:pt>
                <c:pt idx="42605">
                  <c:v>0.75985375423577595</c:v>
                </c:pt>
                <c:pt idx="42606">
                  <c:v>0.75987158908507202</c:v>
                </c:pt>
                <c:pt idx="42607">
                  <c:v>0.75988942393436698</c:v>
                </c:pt>
                <c:pt idx="42608">
                  <c:v>0.75990725878366305</c:v>
                </c:pt>
                <c:pt idx="42609">
                  <c:v>0.75992509363295802</c:v>
                </c:pt>
                <c:pt idx="42610">
                  <c:v>0.75994292848225398</c:v>
                </c:pt>
                <c:pt idx="42611">
                  <c:v>0.75996076333154905</c:v>
                </c:pt>
                <c:pt idx="42612">
                  <c:v>0.75997859818084501</c:v>
                </c:pt>
                <c:pt idx="42613">
                  <c:v>0.75999643303013997</c:v>
                </c:pt>
                <c:pt idx="42614">
                  <c:v>0.76001426787943605</c:v>
                </c:pt>
                <c:pt idx="42615">
                  <c:v>0.76003210272873101</c:v>
                </c:pt>
                <c:pt idx="42616">
                  <c:v>0.76004993757802697</c:v>
                </c:pt>
                <c:pt idx="42617">
                  <c:v>0.76006777242732304</c:v>
                </c:pt>
                <c:pt idx="42618">
                  <c:v>0.760085607276618</c:v>
                </c:pt>
                <c:pt idx="42619">
                  <c:v>0.76010344212591396</c:v>
                </c:pt>
                <c:pt idx="42620">
                  <c:v>0.76012127697520904</c:v>
                </c:pt>
                <c:pt idx="42621">
                  <c:v>0.760139111824505</c:v>
                </c:pt>
                <c:pt idx="42622">
                  <c:v>0.76015694667379996</c:v>
                </c:pt>
                <c:pt idx="42623">
                  <c:v>0.76017478152309603</c:v>
                </c:pt>
                <c:pt idx="42624">
                  <c:v>0.76019261637239099</c:v>
                </c:pt>
                <c:pt idx="42625">
                  <c:v>0.76021045122168696</c:v>
                </c:pt>
                <c:pt idx="42626">
                  <c:v>0.76022828607098203</c:v>
                </c:pt>
                <c:pt idx="42627">
                  <c:v>0.76024612092027799</c:v>
                </c:pt>
                <c:pt idx="42628">
                  <c:v>0.76026395576957295</c:v>
                </c:pt>
                <c:pt idx="42629">
                  <c:v>0.76028179061886902</c:v>
                </c:pt>
                <c:pt idx="42630">
                  <c:v>0.76029962546816399</c:v>
                </c:pt>
                <c:pt idx="42631">
                  <c:v>0.76031746031745995</c:v>
                </c:pt>
                <c:pt idx="42632">
                  <c:v>0.76033529516675502</c:v>
                </c:pt>
                <c:pt idx="42633">
                  <c:v>0.76035313001605098</c:v>
                </c:pt>
                <c:pt idx="42634">
                  <c:v>0.76037096486534606</c:v>
                </c:pt>
                <c:pt idx="42635">
                  <c:v>0.76038879971464202</c:v>
                </c:pt>
                <c:pt idx="42636">
                  <c:v>0.76040663456393798</c:v>
                </c:pt>
                <c:pt idx="42637">
                  <c:v>0.76042446941323305</c:v>
                </c:pt>
                <c:pt idx="42638">
                  <c:v>0.76044230426252901</c:v>
                </c:pt>
                <c:pt idx="42639">
                  <c:v>0.76046013911182397</c:v>
                </c:pt>
                <c:pt idx="42640">
                  <c:v>0.76047797396112005</c:v>
                </c:pt>
                <c:pt idx="42641">
                  <c:v>0.76049580881041501</c:v>
                </c:pt>
                <c:pt idx="42642">
                  <c:v>0.76051364365971097</c:v>
                </c:pt>
                <c:pt idx="42643">
                  <c:v>0.76053147850900604</c:v>
                </c:pt>
                <c:pt idx="42644">
                  <c:v>0.760549313358302</c:v>
                </c:pt>
                <c:pt idx="42645">
                  <c:v>0.76056714820759697</c:v>
                </c:pt>
                <c:pt idx="42646">
                  <c:v>0.76058498305689304</c:v>
                </c:pt>
                <c:pt idx="42647">
                  <c:v>0.760602817906188</c:v>
                </c:pt>
                <c:pt idx="42648">
                  <c:v>0.76062065275548396</c:v>
                </c:pt>
                <c:pt idx="42649">
                  <c:v>0.76063848760477903</c:v>
                </c:pt>
                <c:pt idx="42650">
                  <c:v>0.760656322454075</c:v>
                </c:pt>
                <c:pt idx="42651">
                  <c:v>0.76067415730336996</c:v>
                </c:pt>
                <c:pt idx="42652">
                  <c:v>0.76069199215266603</c:v>
                </c:pt>
                <c:pt idx="42653">
                  <c:v>0.76070982700196099</c:v>
                </c:pt>
                <c:pt idx="42654">
                  <c:v>0.76072766185125695</c:v>
                </c:pt>
                <c:pt idx="42655">
                  <c:v>0.76074549670055203</c:v>
                </c:pt>
                <c:pt idx="42656">
                  <c:v>0.76076333154984799</c:v>
                </c:pt>
                <c:pt idx="42657">
                  <c:v>0.76078116639914395</c:v>
                </c:pt>
                <c:pt idx="42658">
                  <c:v>0.76079900124843902</c:v>
                </c:pt>
                <c:pt idx="42659">
                  <c:v>0.76081683609773498</c:v>
                </c:pt>
                <c:pt idx="42660">
                  <c:v>0.76083467094702995</c:v>
                </c:pt>
                <c:pt idx="42661">
                  <c:v>0.76085250579632602</c:v>
                </c:pt>
                <c:pt idx="42662">
                  <c:v>0.76087034064562098</c:v>
                </c:pt>
                <c:pt idx="42663">
                  <c:v>0.76088817549491705</c:v>
                </c:pt>
                <c:pt idx="42664">
                  <c:v>0.76090601034421201</c:v>
                </c:pt>
                <c:pt idx="42665">
                  <c:v>0.76092384519350798</c:v>
                </c:pt>
                <c:pt idx="42666">
                  <c:v>0.76094168004280305</c:v>
                </c:pt>
                <c:pt idx="42667">
                  <c:v>0.76095951489209901</c:v>
                </c:pt>
                <c:pt idx="42668">
                  <c:v>0.76097734974139397</c:v>
                </c:pt>
                <c:pt idx="42669">
                  <c:v>0.76099518459069004</c:v>
                </c:pt>
                <c:pt idx="42670">
                  <c:v>0.76101301943998501</c:v>
                </c:pt>
                <c:pt idx="42671">
                  <c:v>0.76103085428928097</c:v>
                </c:pt>
                <c:pt idx="42672">
                  <c:v>0.76104868913857604</c:v>
                </c:pt>
                <c:pt idx="42673">
                  <c:v>0.761066523987872</c:v>
                </c:pt>
                <c:pt idx="42674">
                  <c:v>0.76108435883716696</c:v>
                </c:pt>
                <c:pt idx="42675">
                  <c:v>0.76110219368646304</c:v>
                </c:pt>
                <c:pt idx="42676">
                  <c:v>0.761120028535758</c:v>
                </c:pt>
                <c:pt idx="42677">
                  <c:v>0.76113786338505396</c:v>
                </c:pt>
                <c:pt idx="42678">
                  <c:v>0.76115569823434903</c:v>
                </c:pt>
                <c:pt idx="42679">
                  <c:v>0.76117353308364499</c:v>
                </c:pt>
                <c:pt idx="42680">
                  <c:v>0.76119136793294095</c:v>
                </c:pt>
                <c:pt idx="42681">
                  <c:v>0.76120920278223603</c:v>
                </c:pt>
                <c:pt idx="42682">
                  <c:v>0.76122703763153199</c:v>
                </c:pt>
                <c:pt idx="42683">
                  <c:v>0.76124487248082695</c:v>
                </c:pt>
                <c:pt idx="42684">
                  <c:v>0.76126270733012302</c:v>
                </c:pt>
                <c:pt idx="42685">
                  <c:v>0.76128054217941798</c:v>
                </c:pt>
                <c:pt idx="42686">
                  <c:v>0.76129837702871395</c:v>
                </c:pt>
                <c:pt idx="42687">
                  <c:v>0.76131621187800902</c:v>
                </c:pt>
                <c:pt idx="42688">
                  <c:v>0.76133404672730498</c:v>
                </c:pt>
                <c:pt idx="42689">
                  <c:v>0.76135188157660005</c:v>
                </c:pt>
                <c:pt idx="42690">
                  <c:v>0.76136971642589601</c:v>
                </c:pt>
                <c:pt idx="42691">
                  <c:v>0.76138755127519098</c:v>
                </c:pt>
                <c:pt idx="42692">
                  <c:v>0.76140538612448705</c:v>
                </c:pt>
                <c:pt idx="42693">
                  <c:v>0.76142322097378201</c:v>
                </c:pt>
                <c:pt idx="42694">
                  <c:v>0.76144105582307797</c:v>
                </c:pt>
                <c:pt idx="42695">
                  <c:v>0.76145889067237305</c:v>
                </c:pt>
                <c:pt idx="42696">
                  <c:v>0.76147672552166901</c:v>
                </c:pt>
                <c:pt idx="42697">
                  <c:v>0.76149456037096397</c:v>
                </c:pt>
                <c:pt idx="42698">
                  <c:v>0.76151239522026004</c:v>
                </c:pt>
                <c:pt idx="42699">
                  <c:v>0.761530230069555</c:v>
                </c:pt>
                <c:pt idx="42700">
                  <c:v>0.76154806491885096</c:v>
                </c:pt>
                <c:pt idx="42701">
                  <c:v>0.76156589976814604</c:v>
                </c:pt>
                <c:pt idx="42702">
                  <c:v>0.761583734617442</c:v>
                </c:pt>
                <c:pt idx="42703">
                  <c:v>0.76160156946673796</c:v>
                </c:pt>
                <c:pt idx="42704">
                  <c:v>0.76161940431603303</c:v>
                </c:pt>
                <c:pt idx="42705">
                  <c:v>0.76163723916532899</c:v>
                </c:pt>
                <c:pt idx="42706">
                  <c:v>0.76165507401462396</c:v>
                </c:pt>
                <c:pt idx="42707">
                  <c:v>0.76167290886392003</c:v>
                </c:pt>
                <c:pt idx="42708">
                  <c:v>0.76169074371321499</c:v>
                </c:pt>
                <c:pt idx="42709">
                  <c:v>0.76170857856251095</c:v>
                </c:pt>
                <c:pt idx="42710">
                  <c:v>0.76172641341180602</c:v>
                </c:pt>
                <c:pt idx="42711">
                  <c:v>0.76174424826110199</c:v>
                </c:pt>
                <c:pt idx="42712">
                  <c:v>0.76176208311039695</c:v>
                </c:pt>
                <c:pt idx="42713">
                  <c:v>0.76177991795969302</c:v>
                </c:pt>
                <c:pt idx="42714">
                  <c:v>0.76179775280898798</c:v>
                </c:pt>
                <c:pt idx="42715">
                  <c:v>0.76181558765828405</c:v>
                </c:pt>
                <c:pt idx="42716">
                  <c:v>0.76183342250757902</c:v>
                </c:pt>
                <c:pt idx="42717">
                  <c:v>0.76185125735687498</c:v>
                </c:pt>
                <c:pt idx="42718">
                  <c:v>0.76186909220617005</c:v>
                </c:pt>
                <c:pt idx="42719">
                  <c:v>0.76188692705546601</c:v>
                </c:pt>
                <c:pt idx="42720">
                  <c:v>0.76190476190476097</c:v>
                </c:pt>
                <c:pt idx="42721">
                  <c:v>0.76192259675405705</c:v>
                </c:pt>
                <c:pt idx="42722">
                  <c:v>0.76194043160335201</c:v>
                </c:pt>
                <c:pt idx="42723">
                  <c:v>0.76195826645264797</c:v>
                </c:pt>
                <c:pt idx="42724">
                  <c:v>0.76197610130194404</c:v>
                </c:pt>
                <c:pt idx="42725">
                  <c:v>0.761993936151239</c:v>
                </c:pt>
                <c:pt idx="42726">
                  <c:v>0.76201177100053497</c:v>
                </c:pt>
                <c:pt idx="42727">
                  <c:v>0.76202960584983004</c:v>
                </c:pt>
                <c:pt idx="42728">
                  <c:v>0.762047440699126</c:v>
                </c:pt>
                <c:pt idx="42729">
                  <c:v>0.76206527554842096</c:v>
                </c:pt>
                <c:pt idx="42730">
                  <c:v>0.76208311039771703</c:v>
                </c:pt>
                <c:pt idx="42731">
                  <c:v>0.762100945247012</c:v>
                </c:pt>
                <c:pt idx="42732">
                  <c:v>0.76211878009630796</c:v>
                </c:pt>
                <c:pt idx="42733">
                  <c:v>0.76213661494560303</c:v>
                </c:pt>
                <c:pt idx="42734">
                  <c:v>0.76215444979489899</c:v>
                </c:pt>
                <c:pt idx="42735">
                  <c:v>0.76217228464419395</c:v>
                </c:pt>
                <c:pt idx="42736">
                  <c:v>0.76219011949349003</c:v>
                </c:pt>
                <c:pt idx="42737">
                  <c:v>0.76220795434278499</c:v>
                </c:pt>
                <c:pt idx="42738">
                  <c:v>0.76222578919208095</c:v>
                </c:pt>
                <c:pt idx="42739">
                  <c:v>0.76224362404137602</c:v>
                </c:pt>
                <c:pt idx="42740">
                  <c:v>0.76226145889067198</c:v>
                </c:pt>
                <c:pt idx="42741">
                  <c:v>0.76227929373996794</c:v>
                </c:pt>
                <c:pt idx="42742">
                  <c:v>0.76229712858926302</c:v>
                </c:pt>
                <c:pt idx="42743">
                  <c:v>0.76231496343855898</c:v>
                </c:pt>
                <c:pt idx="42744">
                  <c:v>0.76233279828785405</c:v>
                </c:pt>
                <c:pt idx="42745">
                  <c:v>0.76235063313715001</c:v>
                </c:pt>
                <c:pt idx="42746">
                  <c:v>0.76236846798644498</c:v>
                </c:pt>
                <c:pt idx="42747">
                  <c:v>0.76238630283574105</c:v>
                </c:pt>
                <c:pt idx="42748">
                  <c:v>0.76240413768503601</c:v>
                </c:pt>
                <c:pt idx="42749">
                  <c:v>0.76242197253433197</c:v>
                </c:pt>
                <c:pt idx="42750">
                  <c:v>0.76243980738362704</c:v>
                </c:pt>
                <c:pt idx="42751">
                  <c:v>0.76245764223292301</c:v>
                </c:pt>
                <c:pt idx="42752">
                  <c:v>0.76247547708221797</c:v>
                </c:pt>
                <c:pt idx="42753">
                  <c:v>0.76249331193151404</c:v>
                </c:pt>
                <c:pt idx="42754">
                  <c:v>0.762511146780809</c:v>
                </c:pt>
                <c:pt idx="42755">
                  <c:v>0.76252898163010496</c:v>
                </c:pt>
                <c:pt idx="42756">
                  <c:v>0.76254681647940004</c:v>
                </c:pt>
                <c:pt idx="42757">
                  <c:v>0.762564651328696</c:v>
                </c:pt>
                <c:pt idx="42758">
                  <c:v>0.76258248617799096</c:v>
                </c:pt>
                <c:pt idx="42759">
                  <c:v>0.76260032102728703</c:v>
                </c:pt>
                <c:pt idx="42760">
                  <c:v>0.76261815587658199</c:v>
                </c:pt>
                <c:pt idx="42761">
                  <c:v>0.76263599072587795</c:v>
                </c:pt>
                <c:pt idx="42762">
                  <c:v>0.76265382557517303</c:v>
                </c:pt>
                <c:pt idx="42763">
                  <c:v>0.76267166042446899</c:v>
                </c:pt>
                <c:pt idx="42764">
                  <c:v>0.76268949527376495</c:v>
                </c:pt>
                <c:pt idx="42765">
                  <c:v>0.76270733012306002</c:v>
                </c:pt>
                <c:pt idx="42766">
                  <c:v>0.76272516497235598</c:v>
                </c:pt>
                <c:pt idx="42767">
                  <c:v>0.76274299982165095</c:v>
                </c:pt>
                <c:pt idx="42768">
                  <c:v>0.76276083467094702</c:v>
                </c:pt>
                <c:pt idx="42769">
                  <c:v>0.76277866952024198</c:v>
                </c:pt>
                <c:pt idx="42770">
                  <c:v>0.76279650436953805</c:v>
                </c:pt>
                <c:pt idx="42771">
                  <c:v>0.76281433921883302</c:v>
                </c:pt>
                <c:pt idx="42772">
                  <c:v>0.76283217406812898</c:v>
                </c:pt>
                <c:pt idx="42773">
                  <c:v>0.76285000891742405</c:v>
                </c:pt>
                <c:pt idx="42774">
                  <c:v>0.76286784376672001</c:v>
                </c:pt>
                <c:pt idx="42775">
                  <c:v>0.76288567861601497</c:v>
                </c:pt>
                <c:pt idx="42776">
                  <c:v>0.76290351346531105</c:v>
                </c:pt>
                <c:pt idx="42777">
                  <c:v>0.76292134831460601</c:v>
                </c:pt>
                <c:pt idx="42778">
                  <c:v>0.76293918316390197</c:v>
                </c:pt>
                <c:pt idx="42779">
                  <c:v>0.76295701801319704</c:v>
                </c:pt>
                <c:pt idx="42780">
                  <c:v>0.762974852862493</c:v>
                </c:pt>
                <c:pt idx="42781">
                  <c:v>0.76299268771178796</c:v>
                </c:pt>
                <c:pt idx="42782">
                  <c:v>0.76301052256108404</c:v>
                </c:pt>
                <c:pt idx="42783">
                  <c:v>0.763028357410379</c:v>
                </c:pt>
                <c:pt idx="42784">
                  <c:v>0.76304619225967496</c:v>
                </c:pt>
                <c:pt idx="42785">
                  <c:v>0.76306402710897003</c:v>
                </c:pt>
                <c:pt idx="42786">
                  <c:v>0.76308186195826599</c:v>
                </c:pt>
                <c:pt idx="42787">
                  <c:v>0.76309969680756196</c:v>
                </c:pt>
                <c:pt idx="42788">
                  <c:v>0.76311753165685703</c:v>
                </c:pt>
                <c:pt idx="42789">
                  <c:v>0.76313536650615299</c:v>
                </c:pt>
                <c:pt idx="42790">
                  <c:v>0.76315320135544795</c:v>
                </c:pt>
                <c:pt idx="42791">
                  <c:v>0.76317103620474402</c:v>
                </c:pt>
                <c:pt idx="42792">
                  <c:v>0.76318887105403899</c:v>
                </c:pt>
                <c:pt idx="42793">
                  <c:v>0.76320670590333495</c:v>
                </c:pt>
                <c:pt idx="42794">
                  <c:v>0.76322454075263002</c:v>
                </c:pt>
                <c:pt idx="42795">
                  <c:v>0.76324237560192598</c:v>
                </c:pt>
                <c:pt idx="42796">
                  <c:v>0.76326021045122106</c:v>
                </c:pt>
                <c:pt idx="42797">
                  <c:v>0.76327804530051702</c:v>
                </c:pt>
                <c:pt idx="42798">
                  <c:v>0.76329588014981198</c:v>
                </c:pt>
                <c:pt idx="42799">
                  <c:v>0.76331371499910805</c:v>
                </c:pt>
                <c:pt idx="42800">
                  <c:v>0.76333154984840301</c:v>
                </c:pt>
                <c:pt idx="42801">
                  <c:v>0.76334938469769897</c:v>
                </c:pt>
                <c:pt idx="42802">
                  <c:v>0.76336721954699405</c:v>
                </c:pt>
                <c:pt idx="42803">
                  <c:v>0.76338505439629001</c:v>
                </c:pt>
                <c:pt idx="42804">
                  <c:v>0.76340288924558497</c:v>
                </c:pt>
                <c:pt idx="42805">
                  <c:v>0.76342072409488104</c:v>
                </c:pt>
                <c:pt idx="42806">
                  <c:v>0.763438558944176</c:v>
                </c:pt>
                <c:pt idx="42807">
                  <c:v>0.76345639379347197</c:v>
                </c:pt>
                <c:pt idx="42808">
                  <c:v>0.76347422864276704</c:v>
                </c:pt>
                <c:pt idx="42809">
                  <c:v>0.763492063492063</c:v>
                </c:pt>
                <c:pt idx="42810">
                  <c:v>0.76350989834135896</c:v>
                </c:pt>
                <c:pt idx="42811">
                  <c:v>0.76352773319065403</c:v>
                </c:pt>
                <c:pt idx="42812">
                  <c:v>0.76354556803995</c:v>
                </c:pt>
                <c:pt idx="42813">
                  <c:v>0.76356340288924496</c:v>
                </c:pt>
                <c:pt idx="42814">
                  <c:v>0.76358123773854103</c:v>
                </c:pt>
                <c:pt idx="42815">
                  <c:v>0.76359907258783599</c:v>
                </c:pt>
                <c:pt idx="42816">
                  <c:v>0.76361690743713195</c:v>
                </c:pt>
                <c:pt idx="42817">
                  <c:v>0.76363474228642703</c:v>
                </c:pt>
                <c:pt idx="42818">
                  <c:v>0.76365257713572299</c:v>
                </c:pt>
                <c:pt idx="42819">
                  <c:v>0.76367041198501795</c:v>
                </c:pt>
                <c:pt idx="42820">
                  <c:v>0.76368824683431402</c:v>
                </c:pt>
                <c:pt idx="42821">
                  <c:v>0.76370608168360898</c:v>
                </c:pt>
                <c:pt idx="42822">
                  <c:v>0.76372391653290495</c:v>
                </c:pt>
                <c:pt idx="42823">
                  <c:v>0.76374175138220002</c:v>
                </c:pt>
                <c:pt idx="42824">
                  <c:v>0.76375958623149598</c:v>
                </c:pt>
                <c:pt idx="42825">
                  <c:v>0.76377742108079105</c:v>
                </c:pt>
                <c:pt idx="42826">
                  <c:v>0.76379525593008701</c:v>
                </c:pt>
                <c:pt idx="42827">
                  <c:v>0.76381309077938198</c:v>
                </c:pt>
                <c:pt idx="42828">
                  <c:v>0.76383092562867805</c:v>
                </c:pt>
                <c:pt idx="42829">
                  <c:v>0.76384876047797401</c:v>
                </c:pt>
                <c:pt idx="42830">
                  <c:v>0.76386659532726897</c:v>
                </c:pt>
                <c:pt idx="42831">
                  <c:v>0.76388443017656504</c:v>
                </c:pt>
                <c:pt idx="42832">
                  <c:v>0.76390226502586001</c:v>
                </c:pt>
                <c:pt idx="42833">
                  <c:v>0.76392009987515597</c:v>
                </c:pt>
                <c:pt idx="42834">
                  <c:v>0.76393793472445104</c:v>
                </c:pt>
                <c:pt idx="42835">
                  <c:v>0.763955769573747</c:v>
                </c:pt>
                <c:pt idx="42836">
                  <c:v>0.76397360442304196</c:v>
                </c:pt>
                <c:pt idx="42837">
                  <c:v>0.76399143927233804</c:v>
                </c:pt>
                <c:pt idx="42838">
                  <c:v>0.764009274121633</c:v>
                </c:pt>
                <c:pt idx="42839">
                  <c:v>0.76402710897092896</c:v>
                </c:pt>
                <c:pt idx="42840">
                  <c:v>0.76404494382022403</c:v>
                </c:pt>
                <c:pt idx="42841">
                  <c:v>0.76406277866951999</c:v>
                </c:pt>
                <c:pt idx="42842">
                  <c:v>0.76408061351881496</c:v>
                </c:pt>
                <c:pt idx="42843">
                  <c:v>0.76409844836811103</c:v>
                </c:pt>
                <c:pt idx="42844">
                  <c:v>0.76411628321740599</c:v>
                </c:pt>
                <c:pt idx="42845">
                  <c:v>0.76413411806670195</c:v>
                </c:pt>
                <c:pt idx="42846">
                  <c:v>0.76415195291599702</c:v>
                </c:pt>
                <c:pt idx="42847">
                  <c:v>0.76416978776529298</c:v>
                </c:pt>
                <c:pt idx="42848">
                  <c:v>0.76418762261458895</c:v>
                </c:pt>
                <c:pt idx="42849">
                  <c:v>0.76420545746388402</c:v>
                </c:pt>
                <c:pt idx="42850">
                  <c:v>0.76422329231317998</c:v>
                </c:pt>
                <c:pt idx="42851">
                  <c:v>0.76424112716247505</c:v>
                </c:pt>
                <c:pt idx="42852">
                  <c:v>0.76425896201177101</c:v>
                </c:pt>
                <c:pt idx="42853">
                  <c:v>0.76427679686106598</c:v>
                </c:pt>
                <c:pt idx="42854">
                  <c:v>0.76429463171036205</c:v>
                </c:pt>
                <c:pt idx="42855">
                  <c:v>0.76431246655965701</c:v>
                </c:pt>
                <c:pt idx="42856">
                  <c:v>0.76433030140895297</c:v>
                </c:pt>
                <c:pt idx="42857">
                  <c:v>0.76434813625824805</c:v>
                </c:pt>
                <c:pt idx="42858">
                  <c:v>0.76436597110754401</c:v>
                </c:pt>
                <c:pt idx="42859">
                  <c:v>0.76438380595683897</c:v>
                </c:pt>
                <c:pt idx="42860">
                  <c:v>0.76440164080613504</c:v>
                </c:pt>
                <c:pt idx="42861">
                  <c:v>0.76441947565543</c:v>
                </c:pt>
                <c:pt idx="42862">
                  <c:v>0.76443731050472596</c:v>
                </c:pt>
                <c:pt idx="42863">
                  <c:v>0.76445514535402104</c:v>
                </c:pt>
                <c:pt idx="42864">
                  <c:v>0.764472980203317</c:v>
                </c:pt>
                <c:pt idx="42865">
                  <c:v>0.76449081505261196</c:v>
                </c:pt>
                <c:pt idx="42866">
                  <c:v>0.76450864990190803</c:v>
                </c:pt>
                <c:pt idx="42867">
                  <c:v>0.76452648475120299</c:v>
                </c:pt>
                <c:pt idx="42868">
                  <c:v>0.76454431960049896</c:v>
                </c:pt>
                <c:pt idx="42869">
                  <c:v>0.76456215444979403</c:v>
                </c:pt>
                <c:pt idx="42870">
                  <c:v>0.76457998929908999</c:v>
                </c:pt>
                <c:pt idx="42871">
                  <c:v>0.76459782414838595</c:v>
                </c:pt>
                <c:pt idx="42872">
                  <c:v>0.76461565899768102</c:v>
                </c:pt>
                <c:pt idx="42873">
                  <c:v>0.76463349384697699</c:v>
                </c:pt>
                <c:pt idx="42874">
                  <c:v>0.76465132869627195</c:v>
                </c:pt>
                <c:pt idx="42875">
                  <c:v>0.76466916354556802</c:v>
                </c:pt>
                <c:pt idx="42876">
                  <c:v>0.76468699839486298</c:v>
                </c:pt>
                <c:pt idx="42877">
                  <c:v>0.76470483324415905</c:v>
                </c:pt>
                <c:pt idx="42878">
                  <c:v>0.76472266809345402</c:v>
                </c:pt>
                <c:pt idx="42879">
                  <c:v>0.76474050294274998</c:v>
                </c:pt>
                <c:pt idx="42880">
                  <c:v>0.76475833779204505</c:v>
                </c:pt>
                <c:pt idx="42881">
                  <c:v>0.76477617264134101</c:v>
                </c:pt>
                <c:pt idx="42882">
                  <c:v>0.76479400749063597</c:v>
                </c:pt>
                <c:pt idx="42883">
                  <c:v>0.76481184233993205</c:v>
                </c:pt>
                <c:pt idx="42884">
                  <c:v>0.76482967718922701</c:v>
                </c:pt>
                <c:pt idx="42885">
                  <c:v>0.76484751203852297</c:v>
                </c:pt>
                <c:pt idx="42886">
                  <c:v>0.76486534688781804</c:v>
                </c:pt>
                <c:pt idx="42887">
                  <c:v>0.764883181737114</c:v>
                </c:pt>
                <c:pt idx="42888">
                  <c:v>0.76490101658640897</c:v>
                </c:pt>
                <c:pt idx="42889">
                  <c:v>0.76491885143570504</c:v>
                </c:pt>
                <c:pt idx="42890">
                  <c:v>0.764936686285</c:v>
                </c:pt>
                <c:pt idx="42891">
                  <c:v>0.76495452113429596</c:v>
                </c:pt>
                <c:pt idx="42892">
                  <c:v>0.76497235598359103</c:v>
                </c:pt>
                <c:pt idx="42893">
                  <c:v>0.764990190832887</c:v>
                </c:pt>
                <c:pt idx="42894">
                  <c:v>0.76500802568218296</c:v>
                </c:pt>
                <c:pt idx="42895">
                  <c:v>0.76502586053147803</c:v>
                </c:pt>
                <c:pt idx="42896">
                  <c:v>0.76504369538077399</c:v>
                </c:pt>
                <c:pt idx="42897">
                  <c:v>0.76506153023006895</c:v>
                </c:pt>
                <c:pt idx="42898">
                  <c:v>0.76507936507936503</c:v>
                </c:pt>
                <c:pt idx="42899">
                  <c:v>0.76509719992865999</c:v>
                </c:pt>
                <c:pt idx="42900">
                  <c:v>0.76511503477795595</c:v>
                </c:pt>
                <c:pt idx="42901">
                  <c:v>0.76513286962725102</c:v>
                </c:pt>
                <c:pt idx="42902">
                  <c:v>0.76515070447654698</c:v>
                </c:pt>
                <c:pt idx="42903">
                  <c:v>0.76516853932584195</c:v>
                </c:pt>
                <c:pt idx="42904">
                  <c:v>0.76518637417513802</c:v>
                </c:pt>
                <c:pt idx="42905">
                  <c:v>0.76520420902443298</c:v>
                </c:pt>
                <c:pt idx="42906">
                  <c:v>0.76522204387372905</c:v>
                </c:pt>
                <c:pt idx="42907">
                  <c:v>0.76523987872302401</c:v>
                </c:pt>
                <c:pt idx="42908">
                  <c:v>0.76525771357231998</c:v>
                </c:pt>
                <c:pt idx="42909">
                  <c:v>0.76527554842161505</c:v>
                </c:pt>
                <c:pt idx="42910">
                  <c:v>0.76529338327091101</c:v>
                </c:pt>
                <c:pt idx="42911">
                  <c:v>0.76531121812020597</c:v>
                </c:pt>
                <c:pt idx="42912">
                  <c:v>0.76532905296950204</c:v>
                </c:pt>
                <c:pt idx="42913">
                  <c:v>0.76534688781879701</c:v>
                </c:pt>
                <c:pt idx="42914">
                  <c:v>0.76536472266809297</c:v>
                </c:pt>
                <c:pt idx="42915">
                  <c:v>0.76538255751738804</c:v>
                </c:pt>
                <c:pt idx="42916">
                  <c:v>0.765400392366684</c:v>
                </c:pt>
                <c:pt idx="42917">
                  <c:v>0.76541822721597996</c:v>
                </c:pt>
                <c:pt idx="42918">
                  <c:v>0.76543606206527504</c:v>
                </c:pt>
                <c:pt idx="42919">
                  <c:v>0.765453896914571</c:v>
                </c:pt>
                <c:pt idx="42920">
                  <c:v>0.76547173176386596</c:v>
                </c:pt>
                <c:pt idx="42921">
                  <c:v>0.76548956661316203</c:v>
                </c:pt>
                <c:pt idx="42922">
                  <c:v>0.76550740146245699</c:v>
                </c:pt>
                <c:pt idx="42923">
                  <c:v>0.76552523631175295</c:v>
                </c:pt>
                <c:pt idx="42924">
                  <c:v>0.76554307116104803</c:v>
                </c:pt>
                <c:pt idx="42925">
                  <c:v>0.76556090601034399</c:v>
                </c:pt>
                <c:pt idx="42926">
                  <c:v>0.76557874085963895</c:v>
                </c:pt>
                <c:pt idx="42927">
                  <c:v>0.76559657570893502</c:v>
                </c:pt>
                <c:pt idx="42928">
                  <c:v>0.76561441055822999</c:v>
                </c:pt>
                <c:pt idx="42929">
                  <c:v>0.76563224540752595</c:v>
                </c:pt>
                <c:pt idx="42930">
                  <c:v>0.76565008025682102</c:v>
                </c:pt>
                <c:pt idx="42931">
                  <c:v>0.76566791510611698</c:v>
                </c:pt>
                <c:pt idx="42932">
                  <c:v>0.76568574995541205</c:v>
                </c:pt>
                <c:pt idx="42933">
                  <c:v>0.76570358480470802</c:v>
                </c:pt>
                <c:pt idx="42934">
                  <c:v>0.76572141965400398</c:v>
                </c:pt>
                <c:pt idx="42935">
                  <c:v>0.76573925450329905</c:v>
                </c:pt>
                <c:pt idx="42936">
                  <c:v>0.76575708935259501</c:v>
                </c:pt>
                <c:pt idx="42937">
                  <c:v>0.76577492420188997</c:v>
                </c:pt>
                <c:pt idx="42938">
                  <c:v>0.76579275905118604</c:v>
                </c:pt>
                <c:pt idx="42939">
                  <c:v>0.76581059390048101</c:v>
                </c:pt>
                <c:pt idx="42940">
                  <c:v>0.76582842874977697</c:v>
                </c:pt>
                <c:pt idx="42941">
                  <c:v>0.76584626359907204</c:v>
                </c:pt>
                <c:pt idx="42942">
                  <c:v>0.765864098448368</c:v>
                </c:pt>
                <c:pt idx="42943">
                  <c:v>0.76588193329766296</c:v>
                </c:pt>
                <c:pt idx="42944">
                  <c:v>0.76589976814695904</c:v>
                </c:pt>
                <c:pt idx="42945">
                  <c:v>0.765917602996254</c:v>
                </c:pt>
                <c:pt idx="42946">
                  <c:v>0.76593543784554996</c:v>
                </c:pt>
                <c:pt idx="42947">
                  <c:v>0.76595327269484503</c:v>
                </c:pt>
                <c:pt idx="42948">
                  <c:v>0.76597110754414099</c:v>
                </c:pt>
                <c:pt idx="42949">
                  <c:v>0.76598894239343596</c:v>
                </c:pt>
                <c:pt idx="42950">
                  <c:v>0.76600677724273203</c:v>
                </c:pt>
                <c:pt idx="42951">
                  <c:v>0.76602461209202699</c:v>
                </c:pt>
                <c:pt idx="42952">
                  <c:v>0.76604244694132295</c:v>
                </c:pt>
                <c:pt idx="42953">
                  <c:v>0.76606028179061803</c:v>
                </c:pt>
                <c:pt idx="42954">
                  <c:v>0.76607811663991399</c:v>
                </c:pt>
                <c:pt idx="42955">
                  <c:v>0.76609595148920995</c:v>
                </c:pt>
                <c:pt idx="42956">
                  <c:v>0.76611378633850502</c:v>
                </c:pt>
                <c:pt idx="42957">
                  <c:v>0.76613162118780098</c:v>
                </c:pt>
                <c:pt idx="42958">
                  <c:v>0.76614945603709605</c:v>
                </c:pt>
                <c:pt idx="42959">
                  <c:v>0.76616729088639202</c:v>
                </c:pt>
                <c:pt idx="42960">
                  <c:v>0.76618512573568698</c:v>
                </c:pt>
                <c:pt idx="42961">
                  <c:v>0.76620296058498305</c:v>
                </c:pt>
                <c:pt idx="42962">
                  <c:v>0.76622079543427801</c:v>
                </c:pt>
                <c:pt idx="42963">
                  <c:v>0.76623863028357397</c:v>
                </c:pt>
                <c:pt idx="42964">
                  <c:v>0.76625646513286905</c:v>
                </c:pt>
                <c:pt idx="42965">
                  <c:v>0.76627429998216501</c:v>
                </c:pt>
                <c:pt idx="42966">
                  <c:v>0.76629213483145997</c:v>
                </c:pt>
                <c:pt idx="42967">
                  <c:v>0.76630996968075604</c:v>
                </c:pt>
                <c:pt idx="42968">
                  <c:v>0.766327804530051</c:v>
                </c:pt>
                <c:pt idx="42969">
                  <c:v>0.76634563937934697</c:v>
                </c:pt>
                <c:pt idx="42970">
                  <c:v>0.76636347422864204</c:v>
                </c:pt>
                <c:pt idx="42971">
                  <c:v>0.766381309077938</c:v>
                </c:pt>
                <c:pt idx="42972">
                  <c:v>0.76639914392723296</c:v>
                </c:pt>
                <c:pt idx="42973">
                  <c:v>0.76641697877652903</c:v>
                </c:pt>
                <c:pt idx="42974">
                  <c:v>0.766434813625824</c:v>
                </c:pt>
                <c:pt idx="42975">
                  <c:v>0.76645264847511996</c:v>
                </c:pt>
                <c:pt idx="42976">
                  <c:v>0.76647048332441503</c:v>
                </c:pt>
                <c:pt idx="42977">
                  <c:v>0.76648831817371099</c:v>
                </c:pt>
                <c:pt idx="42978">
                  <c:v>0.76650615302300695</c:v>
                </c:pt>
                <c:pt idx="42979">
                  <c:v>0.76652398787230203</c:v>
                </c:pt>
                <c:pt idx="42980">
                  <c:v>0.76654182272159799</c:v>
                </c:pt>
                <c:pt idx="42981">
                  <c:v>0.76655965757089295</c:v>
                </c:pt>
                <c:pt idx="42982">
                  <c:v>0.76657749242018902</c:v>
                </c:pt>
                <c:pt idx="42983">
                  <c:v>0.76659532726948398</c:v>
                </c:pt>
                <c:pt idx="42984">
                  <c:v>0.76661316211877994</c:v>
                </c:pt>
                <c:pt idx="42985">
                  <c:v>0.76663099696807502</c:v>
                </c:pt>
                <c:pt idx="42986">
                  <c:v>0.76664883181737098</c:v>
                </c:pt>
                <c:pt idx="42987">
                  <c:v>0.76666666666666605</c:v>
                </c:pt>
                <c:pt idx="42988">
                  <c:v>0.76668450151596201</c:v>
                </c:pt>
                <c:pt idx="42989">
                  <c:v>0.76670233636525698</c:v>
                </c:pt>
                <c:pt idx="42990">
                  <c:v>0.76672017121455305</c:v>
                </c:pt>
                <c:pt idx="42991">
                  <c:v>0.76673800606384801</c:v>
                </c:pt>
                <c:pt idx="42992">
                  <c:v>0.76675584091314397</c:v>
                </c:pt>
                <c:pt idx="42993">
                  <c:v>0.76677367576243904</c:v>
                </c:pt>
                <c:pt idx="42994">
                  <c:v>0.76679151061173501</c:v>
                </c:pt>
                <c:pt idx="42995">
                  <c:v>0.76680934546102997</c:v>
                </c:pt>
                <c:pt idx="42996">
                  <c:v>0.76682718031032604</c:v>
                </c:pt>
                <c:pt idx="42997">
                  <c:v>0.766845015159621</c:v>
                </c:pt>
                <c:pt idx="42998">
                  <c:v>0.76686285000891696</c:v>
                </c:pt>
                <c:pt idx="42999">
                  <c:v>0.76688068485821204</c:v>
                </c:pt>
                <c:pt idx="43000">
                  <c:v>0.766898519707508</c:v>
                </c:pt>
                <c:pt idx="43001">
                  <c:v>0.76691635455680396</c:v>
                </c:pt>
                <c:pt idx="43002">
                  <c:v>0.76693418940609903</c:v>
                </c:pt>
                <c:pt idx="43003">
                  <c:v>0.76695202425539499</c:v>
                </c:pt>
                <c:pt idx="43004">
                  <c:v>0.76696985910468995</c:v>
                </c:pt>
                <c:pt idx="43005">
                  <c:v>0.76698769395398603</c:v>
                </c:pt>
                <c:pt idx="43006">
                  <c:v>0.76700552880328099</c:v>
                </c:pt>
                <c:pt idx="43007">
                  <c:v>0.76702336365257695</c:v>
                </c:pt>
                <c:pt idx="43008">
                  <c:v>0.76704119850187202</c:v>
                </c:pt>
                <c:pt idx="43009">
                  <c:v>0.76705903335116798</c:v>
                </c:pt>
                <c:pt idx="43010">
                  <c:v>0.76707686820046295</c:v>
                </c:pt>
                <c:pt idx="43011">
                  <c:v>0.76709470304975902</c:v>
                </c:pt>
                <c:pt idx="43012">
                  <c:v>0.76711253789905398</c:v>
                </c:pt>
                <c:pt idx="43013">
                  <c:v>0.76713037274835005</c:v>
                </c:pt>
                <c:pt idx="43014">
                  <c:v>0.76714820759764502</c:v>
                </c:pt>
                <c:pt idx="43015">
                  <c:v>0.76716604244694098</c:v>
                </c:pt>
                <c:pt idx="43016">
                  <c:v>0.76718387729623605</c:v>
                </c:pt>
                <c:pt idx="43017">
                  <c:v>0.76720171214553201</c:v>
                </c:pt>
                <c:pt idx="43018">
                  <c:v>0.76721954699482697</c:v>
                </c:pt>
                <c:pt idx="43019">
                  <c:v>0.76723738184412305</c:v>
                </c:pt>
                <c:pt idx="43020">
                  <c:v>0.76725521669341801</c:v>
                </c:pt>
                <c:pt idx="43021">
                  <c:v>0.76727305154271397</c:v>
                </c:pt>
                <c:pt idx="43022">
                  <c:v>0.76729088639201004</c:v>
                </c:pt>
                <c:pt idx="43023">
                  <c:v>0.767308721241305</c:v>
                </c:pt>
                <c:pt idx="43024">
                  <c:v>0.76732655609060096</c:v>
                </c:pt>
                <c:pt idx="43025">
                  <c:v>0.76734439093989604</c:v>
                </c:pt>
                <c:pt idx="43026">
                  <c:v>0.767362225789192</c:v>
                </c:pt>
                <c:pt idx="43027">
                  <c:v>0.76738006063848696</c:v>
                </c:pt>
                <c:pt idx="43028">
                  <c:v>0.76739789548778303</c:v>
                </c:pt>
                <c:pt idx="43029">
                  <c:v>0.76741573033707799</c:v>
                </c:pt>
                <c:pt idx="43030">
                  <c:v>0.76743356518637396</c:v>
                </c:pt>
                <c:pt idx="43031">
                  <c:v>0.76745140003566903</c:v>
                </c:pt>
                <c:pt idx="43032">
                  <c:v>0.76746923488496499</c:v>
                </c:pt>
                <c:pt idx="43033">
                  <c:v>0.76748706973425995</c:v>
                </c:pt>
                <c:pt idx="43034">
                  <c:v>0.76750490458355602</c:v>
                </c:pt>
                <c:pt idx="43035">
                  <c:v>0.76752273943285099</c:v>
                </c:pt>
                <c:pt idx="43036">
                  <c:v>0.76754057428214695</c:v>
                </c:pt>
                <c:pt idx="43037">
                  <c:v>0.76755840913144202</c:v>
                </c:pt>
                <c:pt idx="43038">
                  <c:v>0.76757624398073798</c:v>
                </c:pt>
                <c:pt idx="43039">
                  <c:v>0.76759407883003306</c:v>
                </c:pt>
                <c:pt idx="43040">
                  <c:v>0.76761191367932902</c:v>
                </c:pt>
                <c:pt idx="43041">
                  <c:v>0.76762974852862498</c:v>
                </c:pt>
                <c:pt idx="43042">
                  <c:v>0.76764758337792005</c:v>
                </c:pt>
                <c:pt idx="43043">
                  <c:v>0.76766541822721601</c:v>
                </c:pt>
                <c:pt idx="43044">
                  <c:v>0.76768325307651097</c:v>
                </c:pt>
                <c:pt idx="43045">
                  <c:v>0.76770108792580705</c:v>
                </c:pt>
                <c:pt idx="43046">
                  <c:v>0.76771892277510201</c:v>
                </c:pt>
                <c:pt idx="43047">
                  <c:v>0.76773675762439797</c:v>
                </c:pt>
                <c:pt idx="43048">
                  <c:v>0.76775459247369304</c:v>
                </c:pt>
                <c:pt idx="43049">
                  <c:v>0.767772427322989</c:v>
                </c:pt>
                <c:pt idx="43050">
                  <c:v>0.76779026217228397</c:v>
                </c:pt>
                <c:pt idx="43051">
                  <c:v>0.76780809702158004</c:v>
                </c:pt>
                <c:pt idx="43052">
                  <c:v>0.767825931870875</c:v>
                </c:pt>
                <c:pt idx="43053">
                  <c:v>0.76784376672017096</c:v>
                </c:pt>
                <c:pt idx="43054">
                  <c:v>0.76786160156946603</c:v>
                </c:pt>
                <c:pt idx="43055">
                  <c:v>0.767879436418762</c:v>
                </c:pt>
                <c:pt idx="43056">
                  <c:v>0.76789727126805696</c:v>
                </c:pt>
                <c:pt idx="43057">
                  <c:v>0.76791510611735303</c:v>
                </c:pt>
                <c:pt idx="43058">
                  <c:v>0.76793294096664799</c:v>
                </c:pt>
                <c:pt idx="43059">
                  <c:v>0.76795077581594395</c:v>
                </c:pt>
                <c:pt idx="43060">
                  <c:v>0.76796861066523903</c:v>
                </c:pt>
                <c:pt idx="43061">
                  <c:v>0.76798644551453499</c:v>
                </c:pt>
                <c:pt idx="43062">
                  <c:v>0.76800428036383095</c:v>
                </c:pt>
                <c:pt idx="43063">
                  <c:v>0.76802211521312602</c:v>
                </c:pt>
                <c:pt idx="43064">
                  <c:v>0.76803995006242198</c:v>
                </c:pt>
                <c:pt idx="43065">
                  <c:v>0.76805778491171695</c:v>
                </c:pt>
                <c:pt idx="43066">
                  <c:v>0.76807561976101302</c:v>
                </c:pt>
                <c:pt idx="43067">
                  <c:v>0.76809345461030798</c:v>
                </c:pt>
                <c:pt idx="43068">
                  <c:v>0.76811128945960405</c:v>
                </c:pt>
                <c:pt idx="43069">
                  <c:v>0.76812912430889901</c:v>
                </c:pt>
                <c:pt idx="43070">
                  <c:v>0.76814695915819498</c:v>
                </c:pt>
                <c:pt idx="43071">
                  <c:v>0.76816479400749005</c:v>
                </c:pt>
                <c:pt idx="43072">
                  <c:v>0.76818262885678601</c:v>
                </c:pt>
                <c:pt idx="43073">
                  <c:v>0.76820046370608097</c:v>
                </c:pt>
                <c:pt idx="43074">
                  <c:v>0.76821829855537704</c:v>
                </c:pt>
                <c:pt idx="43075">
                  <c:v>0.76823613340467201</c:v>
                </c:pt>
                <c:pt idx="43076">
                  <c:v>0.76825396825396797</c:v>
                </c:pt>
                <c:pt idx="43077">
                  <c:v>0.76827180310326304</c:v>
                </c:pt>
                <c:pt idx="43078">
                  <c:v>0.768289637952559</c:v>
                </c:pt>
                <c:pt idx="43079">
                  <c:v>0.76830747280185396</c:v>
                </c:pt>
                <c:pt idx="43080">
                  <c:v>0.76832530765115004</c:v>
                </c:pt>
                <c:pt idx="43081">
                  <c:v>0.768343142500445</c:v>
                </c:pt>
                <c:pt idx="43082">
                  <c:v>0.76836097734974096</c:v>
                </c:pt>
                <c:pt idx="43083">
                  <c:v>0.76837881219903603</c:v>
                </c:pt>
                <c:pt idx="43084">
                  <c:v>0.76839664704833199</c:v>
                </c:pt>
                <c:pt idx="43085">
                  <c:v>0.76841448189762795</c:v>
                </c:pt>
                <c:pt idx="43086">
                  <c:v>0.76843231674692303</c:v>
                </c:pt>
                <c:pt idx="43087">
                  <c:v>0.76845015159621899</c:v>
                </c:pt>
                <c:pt idx="43088">
                  <c:v>0.76846798644551395</c:v>
                </c:pt>
                <c:pt idx="43089">
                  <c:v>0.76848582129481002</c:v>
                </c:pt>
                <c:pt idx="43090">
                  <c:v>0.76850365614410499</c:v>
                </c:pt>
                <c:pt idx="43091">
                  <c:v>0.76852149099340095</c:v>
                </c:pt>
                <c:pt idx="43092">
                  <c:v>0.76853932584269602</c:v>
                </c:pt>
                <c:pt idx="43093">
                  <c:v>0.76855716069199198</c:v>
                </c:pt>
                <c:pt idx="43094">
                  <c:v>0.76857499554128705</c:v>
                </c:pt>
                <c:pt idx="43095">
                  <c:v>0.76859283039058302</c:v>
                </c:pt>
                <c:pt idx="43096">
                  <c:v>0.76861066523987798</c:v>
                </c:pt>
                <c:pt idx="43097">
                  <c:v>0.76862850008917405</c:v>
                </c:pt>
                <c:pt idx="43098">
                  <c:v>0.76864633493846901</c:v>
                </c:pt>
                <c:pt idx="43099">
                  <c:v>0.76866416978776497</c:v>
                </c:pt>
                <c:pt idx="43100">
                  <c:v>0.76868200463706005</c:v>
                </c:pt>
                <c:pt idx="43101">
                  <c:v>0.76869983948635601</c:v>
                </c:pt>
                <c:pt idx="43102">
                  <c:v>0.76871767433565097</c:v>
                </c:pt>
                <c:pt idx="43103">
                  <c:v>0.76873550918494704</c:v>
                </c:pt>
                <c:pt idx="43104">
                  <c:v>0.768753344034242</c:v>
                </c:pt>
                <c:pt idx="43105">
                  <c:v>0.76877117888353796</c:v>
                </c:pt>
                <c:pt idx="43106">
                  <c:v>0.76878901373283304</c:v>
                </c:pt>
                <c:pt idx="43107">
                  <c:v>0.768806848582129</c:v>
                </c:pt>
                <c:pt idx="43108">
                  <c:v>0.76882468343142496</c:v>
                </c:pt>
                <c:pt idx="43109">
                  <c:v>0.76884251828072003</c:v>
                </c:pt>
                <c:pt idx="43110">
                  <c:v>0.76886035313001599</c:v>
                </c:pt>
                <c:pt idx="43111">
                  <c:v>0.76887818797931096</c:v>
                </c:pt>
                <c:pt idx="43112">
                  <c:v>0.76889602282860703</c:v>
                </c:pt>
                <c:pt idx="43113">
                  <c:v>0.76891385767790199</c:v>
                </c:pt>
                <c:pt idx="43114">
                  <c:v>0.76893169252719795</c:v>
                </c:pt>
                <c:pt idx="43115">
                  <c:v>0.76894952737649302</c:v>
                </c:pt>
                <c:pt idx="43116">
                  <c:v>0.76896736222578899</c:v>
                </c:pt>
                <c:pt idx="43117">
                  <c:v>0.76898519707508395</c:v>
                </c:pt>
                <c:pt idx="43118">
                  <c:v>0.76900303192438002</c:v>
                </c:pt>
                <c:pt idx="43119">
                  <c:v>0.76902086677367498</c:v>
                </c:pt>
                <c:pt idx="43120">
                  <c:v>0.76903870162297105</c:v>
                </c:pt>
                <c:pt idx="43121">
                  <c:v>0.76905653647226602</c:v>
                </c:pt>
                <c:pt idx="43122">
                  <c:v>0.76907437132156198</c:v>
                </c:pt>
                <c:pt idx="43123">
                  <c:v>0.76909220617085705</c:v>
                </c:pt>
                <c:pt idx="43124">
                  <c:v>0.76911004102015301</c:v>
                </c:pt>
                <c:pt idx="43125">
                  <c:v>0.76912787586944797</c:v>
                </c:pt>
                <c:pt idx="43126">
                  <c:v>0.76914571071874405</c:v>
                </c:pt>
                <c:pt idx="43127">
                  <c:v>0.76916354556803901</c:v>
                </c:pt>
                <c:pt idx="43128">
                  <c:v>0.76918138041733497</c:v>
                </c:pt>
                <c:pt idx="43129">
                  <c:v>0.76919921526663104</c:v>
                </c:pt>
                <c:pt idx="43130">
                  <c:v>0.769217050115926</c:v>
                </c:pt>
                <c:pt idx="43131">
                  <c:v>0.76923488496522197</c:v>
                </c:pt>
                <c:pt idx="43132">
                  <c:v>0.76925271981451704</c:v>
                </c:pt>
                <c:pt idx="43133">
                  <c:v>0.769270554663813</c:v>
                </c:pt>
                <c:pt idx="43134">
                  <c:v>0.76928838951310796</c:v>
                </c:pt>
                <c:pt idx="43135">
                  <c:v>0.76930622436240403</c:v>
                </c:pt>
                <c:pt idx="43136">
                  <c:v>0.769324059211699</c:v>
                </c:pt>
                <c:pt idx="43137">
                  <c:v>0.76934189406099496</c:v>
                </c:pt>
                <c:pt idx="43138">
                  <c:v>0.76935972891029003</c:v>
                </c:pt>
                <c:pt idx="43139">
                  <c:v>0.76937756375958599</c:v>
                </c:pt>
                <c:pt idx="43140">
                  <c:v>0.76939539860888095</c:v>
                </c:pt>
                <c:pt idx="43141">
                  <c:v>0.76941323345817703</c:v>
                </c:pt>
                <c:pt idx="43142">
                  <c:v>0.76943106830747199</c:v>
                </c:pt>
                <c:pt idx="43143">
                  <c:v>0.76944890315676795</c:v>
                </c:pt>
                <c:pt idx="43144">
                  <c:v>0.76946673800606302</c:v>
                </c:pt>
                <c:pt idx="43145">
                  <c:v>0.76948457285535898</c:v>
                </c:pt>
                <c:pt idx="43146">
                  <c:v>0.76950240770465494</c:v>
                </c:pt>
                <c:pt idx="43147">
                  <c:v>0.76952024255395002</c:v>
                </c:pt>
                <c:pt idx="43148">
                  <c:v>0.76953807740324598</c:v>
                </c:pt>
                <c:pt idx="43149">
                  <c:v>0.76955591225254105</c:v>
                </c:pt>
                <c:pt idx="43150">
                  <c:v>0.76957374710183701</c:v>
                </c:pt>
                <c:pt idx="43151">
                  <c:v>0.76959158195113198</c:v>
                </c:pt>
                <c:pt idx="43152">
                  <c:v>0.76960941680042805</c:v>
                </c:pt>
                <c:pt idx="43153">
                  <c:v>0.76962725164972301</c:v>
                </c:pt>
                <c:pt idx="43154">
                  <c:v>0.76964508649901897</c:v>
                </c:pt>
                <c:pt idx="43155">
                  <c:v>0.76966292134831404</c:v>
                </c:pt>
                <c:pt idx="43156">
                  <c:v>0.76968075619761001</c:v>
                </c:pt>
                <c:pt idx="43157">
                  <c:v>0.76969859104690497</c:v>
                </c:pt>
                <c:pt idx="43158">
                  <c:v>0.76971642589620104</c:v>
                </c:pt>
                <c:pt idx="43159">
                  <c:v>0.769734260745496</c:v>
                </c:pt>
                <c:pt idx="43160">
                  <c:v>0.76975209559479196</c:v>
                </c:pt>
                <c:pt idx="43161">
                  <c:v>0.76976993044408704</c:v>
                </c:pt>
                <c:pt idx="43162">
                  <c:v>0.769787765293383</c:v>
                </c:pt>
                <c:pt idx="43163">
                  <c:v>0.76980560014267796</c:v>
                </c:pt>
                <c:pt idx="43164">
                  <c:v>0.76982343499197403</c:v>
                </c:pt>
                <c:pt idx="43165">
                  <c:v>0.76984126984126899</c:v>
                </c:pt>
                <c:pt idx="43166">
                  <c:v>0.76985910469056495</c:v>
                </c:pt>
                <c:pt idx="43167">
                  <c:v>0.76987693953986003</c:v>
                </c:pt>
                <c:pt idx="43168">
                  <c:v>0.76989477438915599</c:v>
                </c:pt>
                <c:pt idx="43169">
                  <c:v>0.76991260923845195</c:v>
                </c:pt>
                <c:pt idx="43170">
                  <c:v>0.76993044408774702</c:v>
                </c:pt>
                <c:pt idx="43171">
                  <c:v>0.76994827893704298</c:v>
                </c:pt>
                <c:pt idx="43172">
                  <c:v>0.76996611378633795</c:v>
                </c:pt>
                <c:pt idx="43173">
                  <c:v>0.76998394863563402</c:v>
                </c:pt>
                <c:pt idx="43174">
                  <c:v>0.77000178348492898</c:v>
                </c:pt>
                <c:pt idx="43175">
                  <c:v>0.77001961833422505</c:v>
                </c:pt>
                <c:pt idx="43176">
                  <c:v>0.77003745318352002</c:v>
                </c:pt>
                <c:pt idx="43177">
                  <c:v>0.77005528803281598</c:v>
                </c:pt>
                <c:pt idx="43178">
                  <c:v>0.77007312288211105</c:v>
                </c:pt>
                <c:pt idx="43179">
                  <c:v>0.77009095773140701</c:v>
                </c:pt>
                <c:pt idx="43180">
                  <c:v>0.77010879258070197</c:v>
                </c:pt>
                <c:pt idx="43181">
                  <c:v>0.77012662742999805</c:v>
                </c:pt>
                <c:pt idx="43182">
                  <c:v>0.77014446227929301</c:v>
                </c:pt>
                <c:pt idx="43183">
                  <c:v>0.77016229712858897</c:v>
                </c:pt>
                <c:pt idx="43184">
                  <c:v>0.77018013197788404</c:v>
                </c:pt>
                <c:pt idx="43185">
                  <c:v>0.77019796682718</c:v>
                </c:pt>
                <c:pt idx="43186">
                  <c:v>0.77021580167647496</c:v>
                </c:pt>
                <c:pt idx="43187">
                  <c:v>0.77023363652577104</c:v>
                </c:pt>
                <c:pt idx="43188">
                  <c:v>0.770251471375066</c:v>
                </c:pt>
                <c:pt idx="43189">
                  <c:v>0.77026930622436196</c:v>
                </c:pt>
                <c:pt idx="43190">
                  <c:v>0.77028714107365703</c:v>
                </c:pt>
                <c:pt idx="43191">
                  <c:v>0.77030497592295299</c:v>
                </c:pt>
                <c:pt idx="43192">
                  <c:v>0.77032281077224896</c:v>
                </c:pt>
                <c:pt idx="43193">
                  <c:v>0.77034064562154403</c:v>
                </c:pt>
                <c:pt idx="43194">
                  <c:v>0.77035848047083999</c:v>
                </c:pt>
                <c:pt idx="43195">
                  <c:v>0.77037631532013495</c:v>
                </c:pt>
                <c:pt idx="43196">
                  <c:v>0.77039415016943102</c:v>
                </c:pt>
                <c:pt idx="43197">
                  <c:v>0.77041198501872599</c:v>
                </c:pt>
                <c:pt idx="43198">
                  <c:v>0.77042981986802195</c:v>
                </c:pt>
                <c:pt idx="43199">
                  <c:v>0.77044765471731702</c:v>
                </c:pt>
                <c:pt idx="43200">
                  <c:v>0.77046548956661298</c:v>
                </c:pt>
                <c:pt idx="43201">
                  <c:v>0.77048332441590806</c:v>
                </c:pt>
                <c:pt idx="43202">
                  <c:v>0.77050115926520402</c:v>
                </c:pt>
                <c:pt idx="43203">
                  <c:v>0.77051899411449898</c:v>
                </c:pt>
                <c:pt idx="43204">
                  <c:v>0.77053682896379505</c:v>
                </c:pt>
                <c:pt idx="43205">
                  <c:v>0.77055466381309001</c:v>
                </c:pt>
                <c:pt idx="43206">
                  <c:v>0.77057249866238597</c:v>
                </c:pt>
                <c:pt idx="43207">
                  <c:v>0.77059033351168105</c:v>
                </c:pt>
                <c:pt idx="43208">
                  <c:v>0.77060816836097701</c:v>
                </c:pt>
                <c:pt idx="43209">
                  <c:v>0.77062600321027197</c:v>
                </c:pt>
                <c:pt idx="43210">
                  <c:v>0.77064383805956804</c:v>
                </c:pt>
                <c:pt idx="43211">
                  <c:v>0.770661672908863</c:v>
                </c:pt>
                <c:pt idx="43212">
                  <c:v>0.77067950775815897</c:v>
                </c:pt>
                <c:pt idx="43213">
                  <c:v>0.77069734260745404</c:v>
                </c:pt>
                <c:pt idx="43214">
                  <c:v>0.77071517745675</c:v>
                </c:pt>
                <c:pt idx="43215">
                  <c:v>0.77073301230604596</c:v>
                </c:pt>
                <c:pt idx="43216">
                  <c:v>0.77075084715534103</c:v>
                </c:pt>
                <c:pt idx="43217">
                  <c:v>0.770768682004637</c:v>
                </c:pt>
                <c:pt idx="43218">
                  <c:v>0.77078651685393196</c:v>
                </c:pt>
                <c:pt idx="43219">
                  <c:v>0.77080435170322803</c:v>
                </c:pt>
                <c:pt idx="43220">
                  <c:v>0.77082218655252299</c:v>
                </c:pt>
                <c:pt idx="43221">
                  <c:v>0.77084002140181895</c:v>
                </c:pt>
                <c:pt idx="43222">
                  <c:v>0.77085785625111403</c:v>
                </c:pt>
                <c:pt idx="43223">
                  <c:v>0.77087569110040999</c:v>
                </c:pt>
                <c:pt idx="43224">
                  <c:v>0.77089352594970495</c:v>
                </c:pt>
                <c:pt idx="43225">
                  <c:v>0.77091136079900102</c:v>
                </c:pt>
                <c:pt idx="43226">
                  <c:v>0.77092919564829598</c:v>
                </c:pt>
                <c:pt idx="43227">
                  <c:v>0.77094703049759195</c:v>
                </c:pt>
                <c:pt idx="43228">
                  <c:v>0.77096486534688702</c:v>
                </c:pt>
                <c:pt idx="43229">
                  <c:v>0.77098270019618298</c:v>
                </c:pt>
                <c:pt idx="43230">
                  <c:v>0.77100053504547805</c:v>
                </c:pt>
                <c:pt idx="43231">
                  <c:v>0.77101836989477401</c:v>
                </c:pt>
                <c:pt idx="43232">
                  <c:v>0.77103620474406898</c:v>
                </c:pt>
                <c:pt idx="43233">
                  <c:v>0.77105403959336505</c:v>
                </c:pt>
                <c:pt idx="43234">
                  <c:v>0.77107187444266101</c:v>
                </c:pt>
                <c:pt idx="43235">
                  <c:v>0.77108970929195597</c:v>
                </c:pt>
                <c:pt idx="43236">
                  <c:v>0.77110754414125204</c:v>
                </c:pt>
                <c:pt idx="43237">
                  <c:v>0.77112537899054701</c:v>
                </c:pt>
                <c:pt idx="43238">
                  <c:v>0.77114321383984297</c:v>
                </c:pt>
                <c:pt idx="43239">
                  <c:v>0.77116104868913804</c:v>
                </c:pt>
                <c:pt idx="43240">
                  <c:v>0.771178883538434</c:v>
                </c:pt>
                <c:pt idx="43241">
                  <c:v>0.77119671838772896</c:v>
                </c:pt>
                <c:pt idx="43242">
                  <c:v>0.77121455323702504</c:v>
                </c:pt>
                <c:pt idx="43243">
                  <c:v>0.77123238808632</c:v>
                </c:pt>
                <c:pt idx="43244">
                  <c:v>0.77125022293561596</c:v>
                </c:pt>
                <c:pt idx="43245">
                  <c:v>0.77126805778491103</c:v>
                </c:pt>
                <c:pt idx="43246">
                  <c:v>0.77128589263420699</c:v>
                </c:pt>
                <c:pt idx="43247">
                  <c:v>0.77130372748350196</c:v>
                </c:pt>
                <c:pt idx="43248">
                  <c:v>0.77132156233279803</c:v>
                </c:pt>
                <c:pt idx="43249">
                  <c:v>0.77133939718209299</c:v>
                </c:pt>
                <c:pt idx="43250">
                  <c:v>0.77135723203138895</c:v>
                </c:pt>
                <c:pt idx="43251">
                  <c:v>0.77137506688068402</c:v>
                </c:pt>
                <c:pt idx="43252">
                  <c:v>0.77139290172997999</c:v>
                </c:pt>
                <c:pt idx="43253">
                  <c:v>0.77141073657927595</c:v>
                </c:pt>
                <c:pt idx="43254">
                  <c:v>0.77142857142857102</c:v>
                </c:pt>
                <c:pt idx="43255">
                  <c:v>0.77144640627786698</c:v>
                </c:pt>
                <c:pt idx="43256">
                  <c:v>0.77146424112716205</c:v>
                </c:pt>
                <c:pt idx="43257">
                  <c:v>0.77148207597645801</c:v>
                </c:pt>
                <c:pt idx="43258">
                  <c:v>0.77149991082575298</c:v>
                </c:pt>
                <c:pt idx="43259">
                  <c:v>0.77151774567504905</c:v>
                </c:pt>
                <c:pt idx="43260">
                  <c:v>0.77153558052434401</c:v>
                </c:pt>
                <c:pt idx="43261">
                  <c:v>0.77155341537363997</c:v>
                </c:pt>
                <c:pt idx="43262">
                  <c:v>0.77157125022293505</c:v>
                </c:pt>
                <c:pt idx="43263">
                  <c:v>0.77158908507223101</c:v>
                </c:pt>
                <c:pt idx="43264">
                  <c:v>0.77160691992152597</c:v>
                </c:pt>
                <c:pt idx="43265">
                  <c:v>0.77162475477082204</c:v>
                </c:pt>
                <c:pt idx="43266">
                  <c:v>0.771642589620117</c:v>
                </c:pt>
                <c:pt idx="43267">
                  <c:v>0.77166042446941296</c:v>
                </c:pt>
                <c:pt idx="43268">
                  <c:v>0.77167825931870804</c:v>
                </c:pt>
                <c:pt idx="43269">
                  <c:v>0.771696094168004</c:v>
                </c:pt>
                <c:pt idx="43270">
                  <c:v>0.77171392901729896</c:v>
                </c:pt>
                <c:pt idx="43271">
                  <c:v>0.77173176386659503</c:v>
                </c:pt>
                <c:pt idx="43272">
                  <c:v>0.77174959871589</c:v>
                </c:pt>
                <c:pt idx="43273">
                  <c:v>0.77176743356518596</c:v>
                </c:pt>
                <c:pt idx="43274">
                  <c:v>0.77178526841448103</c:v>
                </c:pt>
                <c:pt idx="43275">
                  <c:v>0.77180310326377699</c:v>
                </c:pt>
                <c:pt idx="43276">
                  <c:v>0.77182093811307295</c:v>
                </c:pt>
                <c:pt idx="43277">
                  <c:v>0.77183877296236802</c:v>
                </c:pt>
                <c:pt idx="43278">
                  <c:v>0.77185660781166399</c:v>
                </c:pt>
                <c:pt idx="43279">
                  <c:v>0.77187444266095895</c:v>
                </c:pt>
                <c:pt idx="43280">
                  <c:v>0.77189227751025502</c:v>
                </c:pt>
                <c:pt idx="43281">
                  <c:v>0.77191011235954998</c:v>
                </c:pt>
                <c:pt idx="43282">
                  <c:v>0.77192794720884605</c:v>
                </c:pt>
                <c:pt idx="43283">
                  <c:v>0.77194578205814102</c:v>
                </c:pt>
                <c:pt idx="43284">
                  <c:v>0.77196361690743698</c:v>
                </c:pt>
                <c:pt idx="43285">
                  <c:v>0.77198145175673205</c:v>
                </c:pt>
                <c:pt idx="43286">
                  <c:v>0.77199928660602801</c:v>
                </c:pt>
                <c:pt idx="43287">
                  <c:v>0.77201712145532297</c:v>
                </c:pt>
                <c:pt idx="43288">
                  <c:v>0.77203495630461905</c:v>
                </c:pt>
                <c:pt idx="43289">
                  <c:v>0.77205279115391401</c:v>
                </c:pt>
                <c:pt idx="43290">
                  <c:v>0.77207062600320997</c:v>
                </c:pt>
                <c:pt idx="43291">
                  <c:v>0.77208846085250504</c:v>
                </c:pt>
                <c:pt idx="43292">
                  <c:v>0.772106295701801</c:v>
                </c:pt>
                <c:pt idx="43293">
                  <c:v>0.77212413055109597</c:v>
                </c:pt>
                <c:pt idx="43294">
                  <c:v>0.77214196540039204</c:v>
                </c:pt>
                <c:pt idx="43295">
                  <c:v>0.772159800249687</c:v>
                </c:pt>
                <c:pt idx="43296">
                  <c:v>0.77217763509898296</c:v>
                </c:pt>
                <c:pt idx="43297">
                  <c:v>0.77219546994827803</c:v>
                </c:pt>
                <c:pt idx="43298">
                  <c:v>0.772213304797574</c:v>
                </c:pt>
                <c:pt idx="43299">
                  <c:v>0.77223113964686996</c:v>
                </c:pt>
                <c:pt idx="43300">
                  <c:v>0.77224897449616503</c:v>
                </c:pt>
                <c:pt idx="43301">
                  <c:v>0.77226680934546099</c:v>
                </c:pt>
                <c:pt idx="43302">
                  <c:v>0.77228464419475595</c:v>
                </c:pt>
                <c:pt idx="43303">
                  <c:v>0.77230247904405203</c:v>
                </c:pt>
                <c:pt idx="43304">
                  <c:v>0.77232031389334699</c:v>
                </c:pt>
                <c:pt idx="43305">
                  <c:v>0.77233814874264295</c:v>
                </c:pt>
                <c:pt idx="43306">
                  <c:v>0.77235598359193802</c:v>
                </c:pt>
                <c:pt idx="43307">
                  <c:v>0.77237381844123398</c:v>
                </c:pt>
                <c:pt idx="43308">
                  <c:v>0.77239165329052895</c:v>
                </c:pt>
                <c:pt idx="43309">
                  <c:v>0.77240948813982502</c:v>
                </c:pt>
                <c:pt idx="43310">
                  <c:v>0.77242732298911998</c:v>
                </c:pt>
                <c:pt idx="43311">
                  <c:v>0.77244515783841605</c:v>
                </c:pt>
                <c:pt idx="43312">
                  <c:v>0.77246299268771101</c:v>
                </c:pt>
                <c:pt idx="43313">
                  <c:v>0.77248082753700698</c:v>
                </c:pt>
                <c:pt idx="43314">
                  <c:v>0.77249866238630205</c:v>
                </c:pt>
                <c:pt idx="43315">
                  <c:v>0.77251649723559801</c:v>
                </c:pt>
                <c:pt idx="43316">
                  <c:v>0.77253433208489297</c:v>
                </c:pt>
                <c:pt idx="43317">
                  <c:v>0.77255216693418904</c:v>
                </c:pt>
                <c:pt idx="43318">
                  <c:v>0.77257000178348401</c:v>
                </c:pt>
                <c:pt idx="43319">
                  <c:v>0.77258783663277997</c:v>
                </c:pt>
                <c:pt idx="43320">
                  <c:v>0.77260567148207504</c:v>
                </c:pt>
                <c:pt idx="43321">
                  <c:v>0.772623506331371</c:v>
                </c:pt>
                <c:pt idx="43322">
                  <c:v>0.77264134118066696</c:v>
                </c:pt>
                <c:pt idx="43323">
                  <c:v>0.77265917602996204</c:v>
                </c:pt>
                <c:pt idx="43324">
                  <c:v>0.772677010879258</c:v>
                </c:pt>
                <c:pt idx="43325">
                  <c:v>0.77269484572855296</c:v>
                </c:pt>
                <c:pt idx="43326">
                  <c:v>0.77271268057784903</c:v>
                </c:pt>
                <c:pt idx="43327">
                  <c:v>0.77273051542714399</c:v>
                </c:pt>
                <c:pt idx="43328">
                  <c:v>0.77274835027643995</c:v>
                </c:pt>
                <c:pt idx="43329">
                  <c:v>0.77276618512573503</c:v>
                </c:pt>
                <c:pt idx="43330">
                  <c:v>0.77278401997503099</c:v>
                </c:pt>
                <c:pt idx="43331">
                  <c:v>0.77280185482432595</c:v>
                </c:pt>
                <c:pt idx="43332">
                  <c:v>0.77281968967362202</c:v>
                </c:pt>
                <c:pt idx="43333">
                  <c:v>0.77283752452291699</c:v>
                </c:pt>
                <c:pt idx="43334">
                  <c:v>0.77285535937221295</c:v>
                </c:pt>
                <c:pt idx="43335">
                  <c:v>0.77287319422150802</c:v>
                </c:pt>
                <c:pt idx="43336">
                  <c:v>0.77289102907080398</c:v>
                </c:pt>
                <c:pt idx="43337">
                  <c:v>0.77290886392009905</c:v>
                </c:pt>
                <c:pt idx="43338">
                  <c:v>0.77292669876939502</c:v>
                </c:pt>
                <c:pt idx="43339">
                  <c:v>0.77294453361869098</c:v>
                </c:pt>
                <c:pt idx="43340">
                  <c:v>0.77296236846798605</c:v>
                </c:pt>
                <c:pt idx="43341">
                  <c:v>0.77298020331728201</c:v>
                </c:pt>
                <c:pt idx="43342">
                  <c:v>0.77299803816657697</c:v>
                </c:pt>
                <c:pt idx="43343">
                  <c:v>0.77301587301587305</c:v>
                </c:pt>
                <c:pt idx="43344">
                  <c:v>0.77303370786516801</c:v>
                </c:pt>
                <c:pt idx="43345">
                  <c:v>0.77305154271446397</c:v>
                </c:pt>
                <c:pt idx="43346">
                  <c:v>0.77306937756375904</c:v>
                </c:pt>
                <c:pt idx="43347">
                  <c:v>0.773087212413055</c:v>
                </c:pt>
                <c:pt idx="43348">
                  <c:v>0.77310504726234996</c:v>
                </c:pt>
                <c:pt idx="43349">
                  <c:v>0.77312288211164604</c:v>
                </c:pt>
                <c:pt idx="43350">
                  <c:v>0.773140716960941</c:v>
                </c:pt>
                <c:pt idx="43351">
                  <c:v>0.77315855181023696</c:v>
                </c:pt>
                <c:pt idx="43352">
                  <c:v>0.77317638665953203</c:v>
                </c:pt>
                <c:pt idx="43353">
                  <c:v>0.77319422150882799</c:v>
                </c:pt>
                <c:pt idx="43354">
                  <c:v>0.77321205635812296</c:v>
                </c:pt>
                <c:pt idx="43355">
                  <c:v>0.77322989120741903</c:v>
                </c:pt>
                <c:pt idx="43356">
                  <c:v>0.77324772605671399</c:v>
                </c:pt>
                <c:pt idx="43357">
                  <c:v>0.77326556090600995</c:v>
                </c:pt>
                <c:pt idx="43358">
                  <c:v>0.77328339575530503</c:v>
                </c:pt>
                <c:pt idx="43359">
                  <c:v>0.77330123060460099</c:v>
                </c:pt>
                <c:pt idx="43360">
                  <c:v>0.77331906545389695</c:v>
                </c:pt>
                <c:pt idx="43361">
                  <c:v>0.77333690030319202</c:v>
                </c:pt>
                <c:pt idx="43362">
                  <c:v>0.77335473515248798</c:v>
                </c:pt>
                <c:pt idx="43363">
                  <c:v>0.77337257000178306</c:v>
                </c:pt>
                <c:pt idx="43364">
                  <c:v>0.77339040485107902</c:v>
                </c:pt>
                <c:pt idx="43365">
                  <c:v>0.77340823970037398</c:v>
                </c:pt>
                <c:pt idx="43366">
                  <c:v>0.77342607454967005</c:v>
                </c:pt>
                <c:pt idx="43367">
                  <c:v>0.77344390939896501</c:v>
                </c:pt>
                <c:pt idx="43368">
                  <c:v>0.77346174424826097</c:v>
                </c:pt>
                <c:pt idx="43369">
                  <c:v>0.77347957909755605</c:v>
                </c:pt>
                <c:pt idx="43370">
                  <c:v>0.77349741394685201</c:v>
                </c:pt>
                <c:pt idx="43371">
                  <c:v>0.77351524879614697</c:v>
                </c:pt>
                <c:pt idx="43372">
                  <c:v>0.77353308364544304</c:v>
                </c:pt>
                <c:pt idx="43373">
                  <c:v>0.773550918494738</c:v>
                </c:pt>
                <c:pt idx="43374">
                  <c:v>0.77356875334403397</c:v>
                </c:pt>
                <c:pt idx="43375">
                  <c:v>0.77358658819332904</c:v>
                </c:pt>
                <c:pt idx="43376">
                  <c:v>0.773604423042625</c:v>
                </c:pt>
                <c:pt idx="43377">
                  <c:v>0.77362225789191996</c:v>
                </c:pt>
                <c:pt idx="43378">
                  <c:v>0.77364009274121603</c:v>
                </c:pt>
                <c:pt idx="43379">
                  <c:v>0.773657927590511</c:v>
                </c:pt>
                <c:pt idx="43380">
                  <c:v>0.77367576243980696</c:v>
                </c:pt>
                <c:pt idx="43381">
                  <c:v>0.77369359728910203</c:v>
                </c:pt>
                <c:pt idx="43382">
                  <c:v>0.77371143213839799</c:v>
                </c:pt>
                <c:pt idx="43383">
                  <c:v>0.77372926698769395</c:v>
                </c:pt>
                <c:pt idx="43384">
                  <c:v>0.77374710183698903</c:v>
                </c:pt>
                <c:pt idx="43385">
                  <c:v>0.77376493668628499</c:v>
                </c:pt>
                <c:pt idx="43386">
                  <c:v>0.77378277153557995</c:v>
                </c:pt>
                <c:pt idx="43387">
                  <c:v>0.77380060638487602</c:v>
                </c:pt>
                <c:pt idx="43388">
                  <c:v>0.77381844123417098</c:v>
                </c:pt>
                <c:pt idx="43389">
                  <c:v>0.77383627608346695</c:v>
                </c:pt>
                <c:pt idx="43390">
                  <c:v>0.77385411093276202</c:v>
                </c:pt>
                <c:pt idx="43391">
                  <c:v>0.77387194578205798</c:v>
                </c:pt>
                <c:pt idx="43392">
                  <c:v>0.77388978063135305</c:v>
                </c:pt>
                <c:pt idx="43393">
                  <c:v>0.77390761548064901</c:v>
                </c:pt>
                <c:pt idx="43394">
                  <c:v>0.77392545032994398</c:v>
                </c:pt>
                <c:pt idx="43395">
                  <c:v>0.77394328517924005</c:v>
                </c:pt>
                <c:pt idx="43396">
                  <c:v>0.77396112002853501</c:v>
                </c:pt>
                <c:pt idx="43397">
                  <c:v>0.77397895487783097</c:v>
                </c:pt>
                <c:pt idx="43398">
                  <c:v>0.77399678972712604</c:v>
                </c:pt>
                <c:pt idx="43399">
                  <c:v>0.77401462457642201</c:v>
                </c:pt>
                <c:pt idx="43400">
                  <c:v>0.77403245942571697</c:v>
                </c:pt>
                <c:pt idx="43401">
                  <c:v>0.77405029427501304</c:v>
                </c:pt>
                <c:pt idx="43402">
                  <c:v>0.774068129124308</c:v>
                </c:pt>
                <c:pt idx="43403">
                  <c:v>0.77408596397360396</c:v>
                </c:pt>
                <c:pt idx="43404">
                  <c:v>0.77410379882289904</c:v>
                </c:pt>
                <c:pt idx="43405">
                  <c:v>0.774121633672195</c:v>
                </c:pt>
                <c:pt idx="43406">
                  <c:v>0.77413946852149096</c:v>
                </c:pt>
                <c:pt idx="43407">
                  <c:v>0.77415730337078603</c:v>
                </c:pt>
                <c:pt idx="43408">
                  <c:v>0.77417513822008199</c:v>
                </c:pt>
                <c:pt idx="43409">
                  <c:v>0.77419297306937696</c:v>
                </c:pt>
                <c:pt idx="43410">
                  <c:v>0.77421080791867303</c:v>
                </c:pt>
                <c:pt idx="43411">
                  <c:v>0.77422864276796799</c:v>
                </c:pt>
                <c:pt idx="43412">
                  <c:v>0.77424647761726395</c:v>
                </c:pt>
                <c:pt idx="43413">
                  <c:v>0.77426431246655902</c:v>
                </c:pt>
                <c:pt idx="43414">
                  <c:v>0.77428214731585498</c:v>
                </c:pt>
                <c:pt idx="43415">
                  <c:v>0.77429998216514995</c:v>
                </c:pt>
                <c:pt idx="43416">
                  <c:v>0.77431781701444602</c:v>
                </c:pt>
                <c:pt idx="43417">
                  <c:v>0.77433565186374098</c:v>
                </c:pt>
                <c:pt idx="43418">
                  <c:v>0.77435348671303705</c:v>
                </c:pt>
                <c:pt idx="43419">
                  <c:v>0.77437132156233202</c:v>
                </c:pt>
                <c:pt idx="43420">
                  <c:v>0.77438915641162798</c:v>
                </c:pt>
                <c:pt idx="43421">
                  <c:v>0.77440699126092305</c:v>
                </c:pt>
                <c:pt idx="43422">
                  <c:v>0.77442482611021901</c:v>
                </c:pt>
                <c:pt idx="43423">
                  <c:v>0.77444266095951397</c:v>
                </c:pt>
                <c:pt idx="43424">
                  <c:v>0.77446049580881005</c:v>
                </c:pt>
                <c:pt idx="43425">
                  <c:v>0.77447833065810501</c:v>
                </c:pt>
                <c:pt idx="43426">
                  <c:v>0.77449616550740097</c:v>
                </c:pt>
                <c:pt idx="43427">
                  <c:v>0.77451400035669704</c:v>
                </c:pt>
                <c:pt idx="43428">
                  <c:v>0.774531835205992</c:v>
                </c:pt>
                <c:pt idx="43429">
                  <c:v>0.77454967005528796</c:v>
                </c:pt>
                <c:pt idx="43430">
                  <c:v>0.77456750490458304</c:v>
                </c:pt>
                <c:pt idx="43431">
                  <c:v>0.774585339753879</c:v>
                </c:pt>
                <c:pt idx="43432">
                  <c:v>0.77460317460317396</c:v>
                </c:pt>
                <c:pt idx="43433">
                  <c:v>0.77462100945247003</c:v>
                </c:pt>
                <c:pt idx="43434">
                  <c:v>0.77463884430176499</c:v>
                </c:pt>
                <c:pt idx="43435">
                  <c:v>0.77465667915106096</c:v>
                </c:pt>
                <c:pt idx="43436">
                  <c:v>0.77467451400035603</c:v>
                </c:pt>
                <c:pt idx="43437">
                  <c:v>0.77469234884965199</c:v>
                </c:pt>
                <c:pt idx="43438">
                  <c:v>0.77471018369894695</c:v>
                </c:pt>
                <c:pt idx="43439">
                  <c:v>0.77472801854824302</c:v>
                </c:pt>
                <c:pt idx="43440">
                  <c:v>0.77474585339753799</c:v>
                </c:pt>
                <c:pt idx="43441">
                  <c:v>0.77476368824683395</c:v>
                </c:pt>
                <c:pt idx="43442">
                  <c:v>0.77478152309612902</c:v>
                </c:pt>
                <c:pt idx="43443">
                  <c:v>0.77479935794542498</c:v>
                </c:pt>
                <c:pt idx="43444">
                  <c:v>0.77481719279472006</c:v>
                </c:pt>
                <c:pt idx="43445">
                  <c:v>0.77483502764401602</c:v>
                </c:pt>
                <c:pt idx="43446">
                  <c:v>0.77485286249331198</c:v>
                </c:pt>
                <c:pt idx="43447">
                  <c:v>0.77487069734260705</c:v>
                </c:pt>
                <c:pt idx="43448">
                  <c:v>0.77488853219190301</c:v>
                </c:pt>
                <c:pt idx="43449">
                  <c:v>0.77490636704119797</c:v>
                </c:pt>
                <c:pt idx="43450">
                  <c:v>0.77492420189049405</c:v>
                </c:pt>
                <c:pt idx="43451">
                  <c:v>0.77494203673978901</c:v>
                </c:pt>
                <c:pt idx="43452">
                  <c:v>0.77495987158908497</c:v>
                </c:pt>
                <c:pt idx="43453">
                  <c:v>0.77497770643838004</c:v>
                </c:pt>
                <c:pt idx="43454">
                  <c:v>0.774995541287676</c:v>
                </c:pt>
                <c:pt idx="43455">
                  <c:v>0.77501337613697097</c:v>
                </c:pt>
                <c:pt idx="43456">
                  <c:v>0.77503121098626704</c:v>
                </c:pt>
                <c:pt idx="43457">
                  <c:v>0.775049045835562</c:v>
                </c:pt>
                <c:pt idx="43458">
                  <c:v>0.77506688068485796</c:v>
                </c:pt>
                <c:pt idx="43459">
                  <c:v>0.77508471553415303</c:v>
                </c:pt>
                <c:pt idx="43460">
                  <c:v>0.775102550383449</c:v>
                </c:pt>
                <c:pt idx="43461">
                  <c:v>0.77512038523274396</c:v>
                </c:pt>
                <c:pt idx="43462">
                  <c:v>0.77513822008204003</c:v>
                </c:pt>
                <c:pt idx="43463">
                  <c:v>0.77515605493133499</c:v>
                </c:pt>
                <c:pt idx="43464">
                  <c:v>0.77517388978063095</c:v>
                </c:pt>
                <c:pt idx="43465">
                  <c:v>0.77519172462992603</c:v>
                </c:pt>
                <c:pt idx="43466">
                  <c:v>0.77520955947922199</c:v>
                </c:pt>
                <c:pt idx="43467">
                  <c:v>0.77522739432851795</c:v>
                </c:pt>
                <c:pt idx="43468">
                  <c:v>0.77524522917781302</c:v>
                </c:pt>
                <c:pt idx="43469">
                  <c:v>0.77526306402710898</c:v>
                </c:pt>
                <c:pt idx="43470">
                  <c:v>0.77528089887640395</c:v>
                </c:pt>
                <c:pt idx="43471">
                  <c:v>0.77529873372570002</c:v>
                </c:pt>
                <c:pt idx="43472">
                  <c:v>0.77531656857499498</c:v>
                </c:pt>
                <c:pt idx="43473">
                  <c:v>0.77533440342429105</c:v>
                </c:pt>
                <c:pt idx="43474">
                  <c:v>0.77535223827358601</c:v>
                </c:pt>
                <c:pt idx="43475">
                  <c:v>0.77537007312288198</c:v>
                </c:pt>
                <c:pt idx="43476">
                  <c:v>0.77538790797217705</c:v>
                </c:pt>
                <c:pt idx="43477">
                  <c:v>0.77540574282147301</c:v>
                </c:pt>
                <c:pt idx="43478">
                  <c:v>0.77542357767076797</c:v>
                </c:pt>
                <c:pt idx="43479">
                  <c:v>0.77544141252006404</c:v>
                </c:pt>
                <c:pt idx="43480">
                  <c:v>0.77545924736935901</c:v>
                </c:pt>
                <c:pt idx="43481">
                  <c:v>0.77547708221865497</c:v>
                </c:pt>
                <c:pt idx="43482">
                  <c:v>0.77549491706795004</c:v>
                </c:pt>
                <c:pt idx="43483">
                  <c:v>0.775512751917246</c:v>
                </c:pt>
                <c:pt idx="43484">
                  <c:v>0.77553058676654096</c:v>
                </c:pt>
                <c:pt idx="43485">
                  <c:v>0.77554842161583704</c:v>
                </c:pt>
                <c:pt idx="43486">
                  <c:v>0.775566256465132</c:v>
                </c:pt>
                <c:pt idx="43487">
                  <c:v>0.77558409131442796</c:v>
                </c:pt>
                <c:pt idx="43488">
                  <c:v>0.77560192616372303</c:v>
                </c:pt>
                <c:pt idx="43489">
                  <c:v>0.77561976101301899</c:v>
                </c:pt>
                <c:pt idx="43490">
                  <c:v>0.77563759586231495</c:v>
                </c:pt>
                <c:pt idx="43491">
                  <c:v>0.77565543071161003</c:v>
                </c:pt>
                <c:pt idx="43492">
                  <c:v>0.77567326556090599</c:v>
                </c:pt>
                <c:pt idx="43493">
                  <c:v>0.77569110041020095</c:v>
                </c:pt>
                <c:pt idx="43494">
                  <c:v>0.77570893525949702</c:v>
                </c:pt>
                <c:pt idx="43495">
                  <c:v>0.77572677010879199</c:v>
                </c:pt>
                <c:pt idx="43496">
                  <c:v>0.77574460495808795</c:v>
                </c:pt>
                <c:pt idx="43497">
                  <c:v>0.77576243980738302</c:v>
                </c:pt>
                <c:pt idx="43498">
                  <c:v>0.77578027465667898</c:v>
                </c:pt>
                <c:pt idx="43499">
                  <c:v>0.77579810950597405</c:v>
                </c:pt>
                <c:pt idx="43500">
                  <c:v>0.77581594435527002</c:v>
                </c:pt>
                <c:pt idx="43501">
                  <c:v>0.77583377920456498</c:v>
                </c:pt>
                <c:pt idx="43502">
                  <c:v>0.77585161405386105</c:v>
                </c:pt>
                <c:pt idx="43503">
                  <c:v>0.77586944890315601</c:v>
                </c:pt>
                <c:pt idx="43504">
                  <c:v>0.77588728375245197</c:v>
                </c:pt>
                <c:pt idx="43505">
                  <c:v>0.77590511860174705</c:v>
                </c:pt>
                <c:pt idx="43506">
                  <c:v>0.77592295345104301</c:v>
                </c:pt>
                <c:pt idx="43507">
                  <c:v>0.77594078830033797</c:v>
                </c:pt>
                <c:pt idx="43508">
                  <c:v>0.77595862314963404</c:v>
                </c:pt>
                <c:pt idx="43509">
                  <c:v>0.775976457998929</c:v>
                </c:pt>
                <c:pt idx="43510">
                  <c:v>0.77599429284822496</c:v>
                </c:pt>
                <c:pt idx="43511">
                  <c:v>0.77601212769752004</c:v>
                </c:pt>
                <c:pt idx="43512">
                  <c:v>0.776029962546816</c:v>
                </c:pt>
                <c:pt idx="43513">
                  <c:v>0.77604779739611196</c:v>
                </c:pt>
                <c:pt idx="43514">
                  <c:v>0.77606563224540703</c:v>
                </c:pt>
                <c:pt idx="43515">
                  <c:v>0.77608346709470299</c:v>
                </c:pt>
                <c:pt idx="43516">
                  <c:v>0.77610130194399796</c:v>
                </c:pt>
                <c:pt idx="43517">
                  <c:v>0.77611913679329403</c:v>
                </c:pt>
                <c:pt idx="43518">
                  <c:v>0.77613697164258899</c:v>
                </c:pt>
                <c:pt idx="43519">
                  <c:v>0.77615480649188495</c:v>
                </c:pt>
                <c:pt idx="43520">
                  <c:v>0.77617264134118003</c:v>
                </c:pt>
                <c:pt idx="43521">
                  <c:v>0.77619047619047599</c:v>
                </c:pt>
                <c:pt idx="43522">
                  <c:v>0.77620831103977095</c:v>
                </c:pt>
                <c:pt idx="43523">
                  <c:v>0.77622614588906702</c:v>
                </c:pt>
                <c:pt idx="43524">
                  <c:v>0.77624398073836198</c:v>
                </c:pt>
                <c:pt idx="43525">
                  <c:v>0.77626181558765806</c:v>
                </c:pt>
                <c:pt idx="43526">
                  <c:v>0.77627965043695302</c:v>
                </c:pt>
                <c:pt idx="43527">
                  <c:v>0.77629748528624898</c:v>
                </c:pt>
                <c:pt idx="43528">
                  <c:v>0.77631532013554405</c:v>
                </c:pt>
                <c:pt idx="43529">
                  <c:v>0.77633315498484001</c:v>
                </c:pt>
                <c:pt idx="43530">
                  <c:v>0.77635098983413497</c:v>
                </c:pt>
                <c:pt idx="43531">
                  <c:v>0.77636882468343105</c:v>
                </c:pt>
                <c:pt idx="43532">
                  <c:v>0.77638665953272601</c:v>
                </c:pt>
                <c:pt idx="43533">
                  <c:v>0.77640449438202197</c:v>
                </c:pt>
                <c:pt idx="43534">
                  <c:v>0.77642232923131804</c:v>
                </c:pt>
                <c:pt idx="43535">
                  <c:v>0.776440164080613</c:v>
                </c:pt>
                <c:pt idx="43536">
                  <c:v>0.77645799892990897</c:v>
                </c:pt>
                <c:pt idx="43537">
                  <c:v>0.77647583377920404</c:v>
                </c:pt>
                <c:pt idx="43538">
                  <c:v>0.7764936686285</c:v>
                </c:pt>
                <c:pt idx="43539">
                  <c:v>0.77651150347779496</c:v>
                </c:pt>
                <c:pt idx="43540">
                  <c:v>0.77652933832709103</c:v>
                </c:pt>
                <c:pt idx="43541">
                  <c:v>0.776547173176386</c:v>
                </c:pt>
                <c:pt idx="43542">
                  <c:v>0.77656500802568196</c:v>
                </c:pt>
                <c:pt idx="43543">
                  <c:v>0.77658284287497703</c:v>
                </c:pt>
                <c:pt idx="43544">
                  <c:v>0.77660067772427299</c:v>
                </c:pt>
                <c:pt idx="43545">
                  <c:v>0.77661851257356795</c:v>
                </c:pt>
                <c:pt idx="43546">
                  <c:v>0.77663634742286403</c:v>
                </c:pt>
                <c:pt idx="43547">
                  <c:v>0.77665418227215899</c:v>
                </c:pt>
                <c:pt idx="43548">
                  <c:v>0.77667201712145495</c:v>
                </c:pt>
                <c:pt idx="43549">
                  <c:v>0.77668985197075002</c:v>
                </c:pt>
                <c:pt idx="43550">
                  <c:v>0.77670768682004598</c:v>
                </c:pt>
                <c:pt idx="43551">
                  <c:v>0.77672552166934195</c:v>
                </c:pt>
                <c:pt idx="43552">
                  <c:v>0.77674335651863702</c:v>
                </c:pt>
                <c:pt idx="43553">
                  <c:v>0.77676119136793298</c:v>
                </c:pt>
                <c:pt idx="43554">
                  <c:v>0.77677902621722805</c:v>
                </c:pt>
                <c:pt idx="43555">
                  <c:v>0.77679686106652401</c:v>
                </c:pt>
                <c:pt idx="43556">
                  <c:v>0.77681469591581898</c:v>
                </c:pt>
                <c:pt idx="43557">
                  <c:v>0.77683253076511505</c:v>
                </c:pt>
                <c:pt idx="43558">
                  <c:v>0.77685036561441001</c:v>
                </c:pt>
                <c:pt idx="43559">
                  <c:v>0.77686820046370597</c:v>
                </c:pt>
                <c:pt idx="43560">
                  <c:v>0.77688603531300104</c:v>
                </c:pt>
                <c:pt idx="43561">
                  <c:v>0.77690387016229701</c:v>
                </c:pt>
                <c:pt idx="43562">
                  <c:v>0.77692170501159197</c:v>
                </c:pt>
                <c:pt idx="43563">
                  <c:v>0.77693953986088804</c:v>
                </c:pt>
                <c:pt idx="43564">
                  <c:v>0.776957374710183</c:v>
                </c:pt>
                <c:pt idx="43565">
                  <c:v>0.77697520955947896</c:v>
                </c:pt>
                <c:pt idx="43566">
                  <c:v>0.77699304440877404</c:v>
                </c:pt>
                <c:pt idx="43567">
                  <c:v>0.77701087925807</c:v>
                </c:pt>
                <c:pt idx="43568">
                  <c:v>0.77702871410736496</c:v>
                </c:pt>
                <c:pt idx="43569">
                  <c:v>0.77704654895666103</c:v>
                </c:pt>
                <c:pt idx="43570">
                  <c:v>0.77706438380595599</c:v>
                </c:pt>
                <c:pt idx="43571">
                  <c:v>0.77708221865525196</c:v>
                </c:pt>
                <c:pt idx="43572">
                  <c:v>0.77710005350454703</c:v>
                </c:pt>
                <c:pt idx="43573">
                  <c:v>0.77711788835384299</c:v>
                </c:pt>
                <c:pt idx="43574">
                  <c:v>0.77713572320313895</c:v>
                </c:pt>
                <c:pt idx="43575">
                  <c:v>0.77715355805243402</c:v>
                </c:pt>
                <c:pt idx="43576">
                  <c:v>0.77717139290172998</c:v>
                </c:pt>
                <c:pt idx="43577">
                  <c:v>0.77718922775102495</c:v>
                </c:pt>
                <c:pt idx="43578">
                  <c:v>0.77720706260032102</c:v>
                </c:pt>
                <c:pt idx="43579">
                  <c:v>0.77722489744961598</c:v>
                </c:pt>
                <c:pt idx="43580">
                  <c:v>0.77724273229891205</c:v>
                </c:pt>
                <c:pt idx="43581">
                  <c:v>0.77726056714820702</c:v>
                </c:pt>
                <c:pt idx="43582">
                  <c:v>0.77727840199750298</c:v>
                </c:pt>
                <c:pt idx="43583">
                  <c:v>0.77729623684679805</c:v>
                </c:pt>
                <c:pt idx="43584">
                  <c:v>0.77731407169609401</c:v>
                </c:pt>
                <c:pt idx="43585">
                  <c:v>0.77733190654538897</c:v>
                </c:pt>
                <c:pt idx="43586">
                  <c:v>0.77734974139468505</c:v>
                </c:pt>
                <c:pt idx="43587">
                  <c:v>0.77736757624398001</c:v>
                </c:pt>
                <c:pt idx="43588">
                  <c:v>0.77738541109327597</c:v>
                </c:pt>
                <c:pt idx="43589">
                  <c:v>0.77740324594257104</c:v>
                </c:pt>
                <c:pt idx="43590">
                  <c:v>0.777421080791867</c:v>
                </c:pt>
                <c:pt idx="43591">
                  <c:v>0.77743891564116197</c:v>
                </c:pt>
                <c:pt idx="43592">
                  <c:v>0.77745675049045804</c:v>
                </c:pt>
                <c:pt idx="43593">
                  <c:v>0.777474585339753</c:v>
                </c:pt>
                <c:pt idx="43594">
                  <c:v>0.77749242018904896</c:v>
                </c:pt>
                <c:pt idx="43595">
                  <c:v>0.77751025503834403</c:v>
                </c:pt>
                <c:pt idx="43596">
                  <c:v>0.77752808988763999</c:v>
                </c:pt>
                <c:pt idx="43597">
                  <c:v>0.77754592473693596</c:v>
                </c:pt>
                <c:pt idx="43598">
                  <c:v>0.77756375958623103</c:v>
                </c:pt>
                <c:pt idx="43599">
                  <c:v>0.77758159443552699</c:v>
                </c:pt>
                <c:pt idx="43600">
                  <c:v>0.77759942928482195</c:v>
                </c:pt>
                <c:pt idx="43601">
                  <c:v>0.77761726413411802</c:v>
                </c:pt>
                <c:pt idx="43602">
                  <c:v>0.77763509898341299</c:v>
                </c:pt>
                <c:pt idx="43603">
                  <c:v>0.77765293383270895</c:v>
                </c:pt>
                <c:pt idx="43604">
                  <c:v>0.77767076868200402</c:v>
                </c:pt>
                <c:pt idx="43605">
                  <c:v>0.77768860353129998</c:v>
                </c:pt>
                <c:pt idx="43606">
                  <c:v>0.77770643838059506</c:v>
                </c:pt>
                <c:pt idx="43607">
                  <c:v>0.77772427322989102</c:v>
                </c:pt>
                <c:pt idx="43608">
                  <c:v>0.77774210807918598</c:v>
                </c:pt>
                <c:pt idx="43609">
                  <c:v>0.77775994292848205</c:v>
                </c:pt>
                <c:pt idx="43610">
                  <c:v>0.77777777777777701</c:v>
                </c:pt>
                <c:pt idx="43611">
                  <c:v>0.77779561262707297</c:v>
                </c:pt>
                <c:pt idx="43612">
                  <c:v>0.77781344747636805</c:v>
                </c:pt>
                <c:pt idx="43613">
                  <c:v>0.77783128232566401</c:v>
                </c:pt>
                <c:pt idx="43614">
                  <c:v>0.77784911717495897</c:v>
                </c:pt>
                <c:pt idx="43615">
                  <c:v>0.77786695202425504</c:v>
                </c:pt>
                <c:pt idx="43616">
                  <c:v>0.77788478687355</c:v>
                </c:pt>
                <c:pt idx="43617">
                  <c:v>0.77790262172284597</c:v>
                </c:pt>
                <c:pt idx="43618">
                  <c:v>0.77792045657214104</c:v>
                </c:pt>
                <c:pt idx="43619">
                  <c:v>0.777938291421437</c:v>
                </c:pt>
                <c:pt idx="43620">
                  <c:v>0.77795612627073296</c:v>
                </c:pt>
                <c:pt idx="43621">
                  <c:v>0.77797396112002803</c:v>
                </c:pt>
                <c:pt idx="43622">
                  <c:v>0.777991795969324</c:v>
                </c:pt>
                <c:pt idx="43623">
                  <c:v>0.77800963081861896</c:v>
                </c:pt>
                <c:pt idx="43624">
                  <c:v>0.77802746566791503</c:v>
                </c:pt>
                <c:pt idx="43625">
                  <c:v>0.77804530051720999</c:v>
                </c:pt>
                <c:pt idx="43626">
                  <c:v>0.77806313536650595</c:v>
                </c:pt>
                <c:pt idx="43627">
                  <c:v>0.77808097021580103</c:v>
                </c:pt>
                <c:pt idx="43628">
                  <c:v>0.77809880506509699</c:v>
                </c:pt>
                <c:pt idx="43629">
                  <c:v>0.77811663991439195</c:v>
                </c:pt>
                <c:pt idx="43630">
                  <c:v>0.77813447476368802</c:v>
                </c:pt>
                <c:pt idx="43631">
                  <c:v>0.77815230961298298</c:v>
                </c:pt>
                <c:pt idx="43632">
                  <c:v>0.77817014446227895</c:v>
                </c:pt>
                <c:pt idx="43633">
                  <c:v>0.77818797931157402</c:v>
                </c:pt>
                <c:pt idx="43634">
                  <c:v>0.77820581416086998</c:v>
                </c:pt>
                <c:pt idx="43635">
                  <c:v>0.77822364901016505</c:v>
                </c:pt>
                <c:pt idx="43636">
                  <c:v>0.77824148385946101</c:v>
                </c:pt>
                <c:pt idx="43637">
                  <c:v>0.77825931870875598</c:v>
                </c:pt>
                <c:pt idx="43638">
                  <c:v>0.77827715355805205</c:v>
                </c:pt>
                <c:pt idx="43639">
                  <c:v>0.77829498840734801</c:v>
                </c:pt>
                <c:pt idx="43640">
                  <c:v>0.77831282325664297</c:v>
                </c:pt>
                <c:pt idx="43641">
                  <c:v>0.77833065810593904</c:v>
                </c:pt>
                <c:pt idx="43642">
                  <c:v>0.77834849295523401</c:v>
                </c:pt>
                <c:pt idx="43643">
                  <c:v>0.77836632780452997</c:v>
                </c:pt>
                <c:pt idx="43644">
                  <c:v>0.77838416265382504</c:v>
                </c:pt>
                <c:pt idx="43645">
                  <c:v>0.778401997503121</c:v>
                </c:pt>
                <c:pt idx="43646">
                  <c:v>0.77841983235241596</c:v>
                </c:pt>
                <c:pt idx="43647">
                  <c:v>0.77843766720171204</c:v>
                </c:pt>
                <c:pt idx="43648">
                  <c:v>0.778455502051007</c:v>
                </c:pt>
                <c:pt idx="43649">
                  <c:v>0.77847333690030296</c:v>
                </c:pt>
                <c:pt idx="43650">
                  <c:v>0.77849117174959803</c:v>
                </c:pt>
                <c:pt idx="43651">
                  <c:v>0.77850900659889399</c:v>
                </c:pt>
                <c:pt idx="43652">
                  <c:v>0.77852684144818896</c:v>
                </c:pt>
                <c:pt idx="43653">
                  <c:v>0.77854467629748503</c:v>
                </c:pt>
                <c:pt idx="43654">
                  <c:v>0.77856251114677999</c:v>
                </c:pt>
                <c:pt idx="43655">
                  <c:v>0.77858034599607595</c:v>
                </c:pt>
                <c:pt idx="43656">
                  <c:v>0.77859818084537102</c:v>
                </c:pt>
                <c:pt idx="43657">
                  <c:v>0.77861601569466699</c:v>
                </c:pt>
                <c:pt idx="43658">
                  <c:v>0.77863385054396295</c:v>
                </c:pt>
                <c:pt idx="43659">
                  <c:v>0.77865168539325802</c:v>
                </c:pt>
                <c:pt idx="43660">
                  <c:v>0.77866952024255398</c:v>
                </c:pt>
                <c:pt idx="43661">
                  <c:v>0.77868735509184905</c:v>
                </c:pt>
                <c:pt idx="43662">
                  <c:v>0.77870518994114502</c:v>
                </c:pt>
                <c:pt idx="43663">
                  <c:v>0.77872302479043998</c:v>
                </c:pt>
                <c:pt idx="43664">
                  <c:v>0.77874085963973605</c:v>
                </c:pt>
                <c:pt idx="43665">
                  <c:v>0.77875869448903101</c:v>
                </c:pt>
                <c:pt idx="43666">
                  <c:v>0.77877652933832697</c:v>
                </c:pt>
                <c:pt idx="43667">
                  <c:v>0.77879436418762205</c:v>
                </c:pt>
                <c:pt idx="43668">
                  <c:v>0.77881219903691801</c:v>
                </c:pt>
                <c:pt idx="43669">
                  <c:v>0.77883003388621297</c:v>
                </c:pt>
                <c:pt idx="43670">
                  <c:v>0.77884786873550904</c:v>
                </c:pt>
                <c:pt idx="43671">
                  <c:v>0.778865703584804</c:v>
                </c:pt>
                <c:pt idx="43672">
                  <c:v>0.77888353843409996</c:v>
                </c:pt>
                <c:pt idx="43673">
                  <c:v>0.77890137328339504</c:v>
                </c:pt>
                <c:pt idx="43674">
                  <c:v>0.778919208132691</c:v>
                </c:pt>
                <c:pt idx="43675">
                  <c:v>0.77893704298198596</c:v>
                </c:pt>
                <c:pt idx="43676">
                  <c:v>0.77895487783128203</c:v>
                </c:pt>
                <c:pt idx="43677">
                  <c:v>0.778972712680577</c:v>
                </c:pt>
                <c:pt idx="43678">
                  <c:v>0.77899054752987296</c:v>
                </c:pt>
                <c:pt idx="43679">
                  <c:v>0.77900838237916803</c:v>
                </c:pt>
                <c:pt idx="43680">
                  <c:v>0.77902621722846399</c:v>
                </c:pt>
                <c:pt idx="43681">
                  <c:v>0.77904405207775995</c:v>
                </c:pt>
                <c:pt idx="43682">
                  <c:v>0.77906188692705503</c:v>
                </c:pt>
                <c:pt idx="43683">
                  <c:v>0.77907972177635099</c:v>
                </c:pt>
                <c:pt idx="43684">
                  <c:v>0.77909755662564595</c:v>
                </c:pt>
                <c:pt idx="43685">
                  <c:v>0.77911539147494202</c:v>
                </c:pt>
                <c:pt idx="43686">
                  <c:v>0.77913322632423698</c:v>
                </c:pt>
                <c:pt idx="43687">
                  <c:v>0.77915106117353305</c:v>
                </c:pt>
                <c:pt idx="43688">
                  <c:v>0.77916889602282802</c:v>
                </c:pt>
                <c:pt idx="43689">
                  <c:v>0.77918673087212398</c:v>
                </c:pt>
                <c:pt idx="43690">
                  <c:v>0.77920456572141905</c:v>
                </c:pt>
                <c:pt idx="43691">
                  <c:v>0.77922240057071501</c:v>
                </c:pt>
                <c:pt idx="43692">
                  <c:v>0.77924023542000997</c:v>
                </c:pt>
                <c:pt idx="43693">
                  <c:v>0.77925807026930605</c:v>
                </c:pt>
                <c:pt idx="43694">
                  <c:v>0.77927590511860101</c:v>
                </c:pt>
                <c:pt idx="43695">
                  <c:v>0.77929373996789697</c:v>
                </c:pt>
                <c:pt idx="43696">
                  <c:v>0.77931157481719204</c:v>
                </c:pt>
                <c:pt idx="43697">
                  <c:v>0.779329409666488</c:v>
                </c:pt>
                <c:pt idx="43698">
                  <c:v>0.77934724451578297</c:v>
                </c:pt>
                <c:pt idx="43699">
                  <c:v>0.77936507936507904</c:v>
                </c:pt>
                <c:pt idx="43700">
                  <c:v>0.779382914214374</c:v>
                </c:pt>
                <c:pt idx="43701">
                  <c:v>0.77940074906366996</c:v>
                </c:pt>
                <c:pt idx="43702">
                  <c:v>0.77941858391296504</c:v>
                </c:pt>
                <c:pt idx="43703">
                  <c:v>0.779436418762261</c:v>
                </c:pt>
                <c:pt idx="43704">
                  <c:v>0.77945425361155696</c:v>
                </c:pt>
                <c:pt idx="43705">
                  <c:v>0.77947208846085203</c:v>
                </c:pt>
                <c:pt idx="43706">
                  <c:v>0.77948992331014799</c:v>
                </c:pt>
                <c:pt idx="43707">
                  <c:v>0.77950775815944295</c:v>
                </c:pt>
                <c:pt idx="43708">
                  <c:v>0.77952559300873903</c:v>
                </c:pt>
                <c:pt idx="43709">
                  <c:v>0.77954342785803399</c:v>
                </c:pt>
                <c:pt idx="43710">
                  <c:v>0.77956126270732995</c:v>
                </c:pt>
                <c:pt idx="43711">
                  <c:v>0.77957909755662502</c:v>
                </c:pt>
                <c:pt idx="43712">
                  <c:v>0.77959693240592098</c:v>
                </c:pt>
                <c:pt idx="43713">
                  <c:v>0.77961476725521595</c:v>
                </c:pt>
                <c:pt idx="43714">
                  <c:v>0.77963260210451202</c:v>
                </c:pt>
                <c:pt idx="43715">
                  <c:v>0.77965043695380698</c:v>
                </c:pt>
                <c:pt idx="43716">
                  <c:v>0.77966827180310305</c:v>
                </c:pt>
                <c:pt idx="43717">
                  <c:v>0.77968610665239801</c:v>
                </c:pt>
                <c:pt idx="43718">
                  <c:v>0.77970394150169398</c:v>
                </c:pt>
                <c:pt idx="43719">
                  <c:v>0.77972177635098905</c:v>
                </c:pt>
                <c:pt idx="43720">
                  <c:v>0.77973961120028501</c:v>
                </c:pt>
                <c:pt idx="43721">
                  <c:v>0.77975744604957997</c:v>
                </c:pt>
                <c:pt idx="43722">
                  <c:v>0.77977528089887604</c:v>
                </c:pt>
                <c:pt idx="43723">
                  <c:v>0.77979311574817101</c:v>
                </c:pt>
                <c:pt idx="43724">
                  <c:v>0.77981095059746697</c:v>
                </c:pt>
                <c:pt idx="43725">
                  <c:v>0.77982878544676204</c:v>
                </c:pt>
                <c:pt idx="43726">
                  <c:v>0.779846620296058</c:v>
                </c:pt>
                <c:pt idx="43727">
                  <c:v>0.77986445514535396</c:v>
                </c:pt>
                <c:pt idx="43728">
                  <c:v>0.77988228999464904</c:v>
                </c:pt>
                <c:pt idx="43729">
                  <c:v>0.779900124843945</c:v>
                </c:pt>
                <c:pt idx="43730">
                  <c:v>0.77991795969323996</c:v>
                </c:pt>
                <c:pt idx="43731">
                  <c:v>0.77993579454253603</c:v>
                </c:pt>
                <c:pt idx="43732">
                  <c:v>0.77995362939183099</c:v>
                </c:pt>
                <c:pt idx="43733">
                  <c:v>0.77997146424112695</c:v>
                </c:pt>
                <c:pt idx="43734">
                  <c:v>0.77998929909042203</c:v>
                </c:pt>
                <c:pt idx="43735">
                  <c:v>0.78000713393971799</c:v>
                </c:pt>
                <c:pt idx="43736">
                  <c:v>0.78002496878901295</c:v>
                </c:pt>
                <c:pt idx="43737">
                  <c:v>0.78004280363830902</c:v>
                </c:pt>
                <c:pt idx="43738">
                  <c:v>0.78006063848760399</c:v>
                </c:pt>
                <c:pt idx="43739">
                  <c:v>0.78007847333689995</c:v>
                </c:pt>
                <c:pt idx="43740">
                  <c:v>0.78009630818619502</c:v>
                </c:pt>
                <c:pt idx="43741">
                  <c:v>0.78011414303549098</c:v>
                </c:pt>
                <c:pt idx="43742">
                  <c:v>0.78013197788478605</c:v>
                </c:pt>
                <c:pt idx="43743">
                  <c:v>0.78014981273408202</c:v>
                </c:pt>
                <c:pt idx="43744">
                  <c:v>0.78016764758337698</c:v>
                </c:pt>
                <c:pt idx="43745">
                  <c:v>0.78018548243267305</c:v>
                </c:pt>
                <c:pt idx="43746">
                  <c:v>0.78020331728196901</c:v>
                </c:pt>
                <c:pt idx="43747">
                  <c:v>0.78022115213126397</c:v>
                </c:pt>
                <c:pt idx="43748">
                  <c:v>0.78023898698056005</c:v>
                </c:pt>
                <c:pt idx="43749">
                  <c:v>0.78025682182985501</c:v>
                </c:pt>
                <c:pt idx="43750">
                  <c:v>0.78027465667915097</c:v>
                </c:pt>
                <c:pt idx="43751">
                  <c:v>0.78029249152844604</c:v>
                </c:pt>
                <c:pt idx="43752">
                  <c:v>0.780310326377742</c:v>
                </c:pt>
                <c:pt idx="43753">
                  <c:v>0.78032816122703696</c:v>
                </c:pt>
                <c:pt idx="43754">
                  <c:v>0.78034599607633304</c:v>
                </c:pt>
                <c:pt idx="43755">
                  <c:v>0.780363830925628</c:v>
                </c:pt>
                <c:pt idx="43756">
                  <c:v>0.78038166577492396</c:v>
                </c:pt>
                <c:pt idx="43757">
                  <c:v>0.78039950062421903</c:v>
                </c:pt>
                <c:pt idx="43758">
                  <c:v>0.78041733547351499</c:v>
                </c:pt>
                <c:pt idx="43759">
                  <c:v>0.78043517032280996</c:v>
                </c:pt>
                <c:pt idx="43760">
                  <c:v>0.78045300517210603</c:v>
                </c:pt>
                <c:pt idx="43761">
                  <c:v>0.78047084002140099</c:v>
                </c:pt>
                <c:pt idx="43762">
                  <c:v>0.78048867487069695</c:v>
                </c:pt>
                <c:pt idx="43763">
                  <c:v>0.78050650971999203</c:v>
                </c:pt>
                <c:pt idx="43764">
                  <c:v>0.78052434456928799</c:v>
                </c:pt>
                <c:pt idx="43765">
                  <c:v>0.78054217941858395</c:v>
                </c:pt>
                <c:pt idx="43766">
                  <c:v>0.78056001426787902</c:v>
                </c:pt>
                <c:pt idx="43767">
                  <c:v>0.78057784911717498</c:v>
                </c:pt>
                <c:pt idx="43768">
                  <c:v>0.78059568396647006</c:v>
                </c:pt>
                <c:pt idx="43769">
                  <c:v>0.78061351881576602</c:v>
                </c:pt>
                <c:pt idx="43770">
                  <c:v>0.78063135366506098</c:v>
                </c:pt>
                <c:pt idx="43771">
                  <c:v>0.78064918851435705</c:v>
                </c:pt>
                <c:pt idx="43772">
                  <c:v>0.78066702336365201</c:v>
                </c:pt>
                <c:pt idx="43773">
                  <c:v>0.78068485821294797</c:v>
                </c:pt>
                <c:pt idx="43774">
                  <c:v>0.78070269306224305</c:v>
                </c:pt>
                <c:pt idx="43775">
                  <c:v>0.78072052791153901</c:v>
                </c:pt>
                <c:pt idx="43776">
                  <c:v>0.78073836276083397</c:v>
                </c:pt>
                <c:pt idx="43777">
                  <c:v>0.78075619761013004</c:v>
                </c:pt>
                <c:pt idx="43778">
                  <c:v>0.780774032459425</c:v>
                </c:pt>
                <c:pt idx="43779">
                  <c:v>0.78079186730872097</c:v>
                </c:pt>
                <c:pt idx="43780">
                  <c:v>0.78080970215801604</c:v>
                </c:pt>
                <c:pt idx="43781">
                  <c:v>0.780827537007312</c:v>
                </c:pt>
                <c:pt idx="43782">
                  <c:v>0.78084537185660696</c:v>
                </c:pt>
                <c:pt idx="43783">
                  <c:v>0.78086320670590303</c:v>
                </c:pt>
                <c:pt idx="43784">
                  <c:v>0.780881041555198</c:v>
                </c:pt>
                <c:pt idx="43785">
                  <c:v>0.78089887640449396</c:v>
                </c:pt>
                <c:pt idx="43786">
                  <c:v>0.78091671125378903</c:v>
                </c:pt>
                <c:pt idx="43787">
                  <c:v>0.78093454610308499</c:v>
                </c:pt>
                <c:pt idx="43788">
                  <c:v>0.78095238095238095</c:v>
                </c:pt>
                <c:pt idx="43789">
                  <c:v>0.78097021580167603</c:v>
                </c:pt>
                <c:pt idx="43790">
                  <c:v>0.78098805065097199</c:v>
                </c:pt>
                <c:pt idx="43791">
                  <c:v>0.78100588550026695</c:v>
                </c:pt>
                <c:pt idx="43792">
                  <c:v>0.78102372034956302</c:v>
                </c:pt>
                <c:pt idx="43793">
                  <c:v>0.78104155519885798</c:v>
                </c:pt>
                <c:pt idx="43794">
                  <c:v>0.78105939004815395</c:v>
                </c:pt>
                <c:pt idx="43795">
                  <c:v>0.78107722489744902</c:v>
                </c:pt>
                <c:pt idx="43796">
                  <c:v>0.78109505974674498</c:v>
                </c:pt>
                <c:pt idx="43797">
                  <c:v>0.78111289459604005</c:v>
                </c:pt>
                <c:pt idx="43798">
                  <c:v>0.78113072944533601</c:v>
                </c:pt>
                <c:pt idx="43799">
                  <c:v>0.78114856429463098</c:v>
                </c:pt>
                <c:pt idx="43800">
                  <c:v>0.78116639914392705</c:v>
                </c:pt>
                <c:pt idx="43801">
                  <c:v>0.78118423399322201</c:v>
                </c:pt>
                <c:pt idx="43802">
                  <c:v>0.78120206884251797</c:v>
                </c:pt>
                <c:pt idx="43803">
                  <c:v>0.78121990369181304</c:v>
                </c:pt>
                <c:pt idx="43804">
                  <c:v>0.78123773854110901</c:v>
                </c:pt>
                <c:pt idx="43805">
                  <c:v>0.78125557339040397</c:v>
                </c:pt>
                <c:pt idx="43806">
                  <c:v>0.78127340823970004</c:v>
                </c:pt>
                <c:pt idx="43807">
                  <c:v>0.781291243088995</c:v>
                </c:pt>
                <c:pt idx="43808">
                  <c:v>0.78130907793829096</c:v>
                </c:pt>
                <c:pt idx="43809">
                  <c:v>0.78132691278758604</c:v>
                </c:pt>
                <c:pt idx="43810">
                  <c:v>0.781344747636882</c:v>
                </c:pt>
                <c:pt idx="43811">
                  <c:v>0.78136258248617796</c:v>
                </c:pt>
                <c:pt idx="43812">
                  <c:v>0.78138041733547303</c:v>
                </c:pt>
                <c:pt idx="43813">
                  <c:v>0.78139825218476899</c:v>
                </c:pt>
                <c:pt idx="43814">
                  <c:v>0.78141608703406396</c:v>
                </c:pt>
                <c:pt idx="43815">
                  <c:v>0.78143392188336003</c:v>
                </c:pt>
                <c:pt idx="43816">
                  <c:v>0.78145175673265499</c:v>
                </c:pt>
                <c:pt idx="43817">
                  <c:v>0.78146959158195095</c:v>
                </c:pt>
                <c:pt idx="43818">
                  <c:v>0.78148742643124602</c:v>
                </c:pt>
                <c:pt idx="43819">
                  <c:v>0.78150526128054199</c:v>
                </c:pt>
                <c:pt idx="43820">
                  <c:v>0.78152309612983695</c:v>
                </c:pt>
                <c:pt idx="43821">
                  <c:v>0.78154093097913302</c:v>
                </c:pt>
                <c:pt idx="43822">
                  <c:v>0.78155876582842798</c:v>
                </c:pt>
                <c:pt idx="43823">
                  <c:v>0.78157660067772405</c:v>
                </c:pt>
                <c:pt idx="43824">
                  <c:v>0.78159443552701902</c:v>
                </c:pt>
                <c:pt idx="43825">
                  <c:v>0.78161227037631498</c:v>
                </c:pt>
                <c:pt idx="43826">
                  <c:v>0.78163010522561005</c:v>
                </c:pt>
                <c:pt idx="43827">
                  <c:v>0.78164794007490601</c:v>
                </c:pt>
                <c:pt idx="43828">
                  <c:v>0.78166577492420097</c:v>
                </c:pt>
                <c:pt idx="43829">
                  <c:v>0.78168360977349705</c:v>
                </c:pt>
                <c:pt idx="43830">
                  <c:v>0.78170144462279201</c:v>
                </c:pt>
                <c:pt idx="43831">
                  <c:v>0.78171927947208797</c:v>
                </c:pt>
                <c:pt idx="43832">
                  <c:v>0.78173711432138304</c:v>
                </c:pt>
                <c:pt idx="43833">
                  <c:v>0.781754949170679</c:v>
                </c:pt>
                <c:pt idx="43834">
                  <c:v>0.78177278401997496</c:v>
                </c:pt>
                <c:pt idx="43835">
                  <c:v>0.78179061886927004</c:v>
                </c:pt>
                <c:pt idx="43836">
                  <c:v>0.781808453718566</c:v>
                </c:pt>
                <c:pt idx="43837">
                  <c:v>0.78182628856786096</c:v>
                </c:pt>
                <c:pt idx="43838">
                  <c:v>0.78184412341715703</c:v>
                </c:pt>
                <c:pt idx="43839">
                  <c:v>0.781861958266452</c:v>
                </c:pt>
                <c:pt idx="43840">
                  <c:v>0.78187979311574796</c:v>
                </c:pt>
                <c:pt idx="43841">
                  <c:v>0.78189762796504303</c:v>
                </c:pt>
                <c:pt idx="43842">
                  <c:v>0.78191546281433899</c:v>
                </c:pt>
                <c:pt idx="43843">
                  <c:v>0.78193329766363395</c:v>
                </c:pt>
                <c:pt idx="43844">
                  <c:v>0.78195113251293002</c:v>
                </c:pt>
                <c:pt idx="43845">
                  <c:v>0.78196896736222499</c:v>
                </c:pt>
                <c:pt idx="43846">
                  <c:v>0.78198680221152095</c:v>
                </c:pt>
                <c:pt idx="43847">
                  <c:v>0.78200463706081602</c:v>
                </c:pt>
                <c:pt idx="43848">
                  <c:v>0.78202247191011198</c:v>
                </c:pt>
                <c:pt idx="43849">
                  <c:v>0.78204030675940694</c:v>
                </c:pt>
                <c:pt idx="43850">
                  <c:v>0.78205814160870302</c:v>
                </c:pt>
                <c:pt idx="43851">
                  <c:v>0.78207597645799898</c:v>
                </c:pt>
                <c:pt idx="43852">
                  <c:v>0.78209381130729405</c:v>
                </c:pt>
                <c:pt idx="43853">
                  <c:v>0.78211164615659001</c:v>
                </c:pt>
                <c:pt idx="43854">
                  <c:v>0.78212948100588497</c:v>
                </c:pt>
                <c:pt idx="43855">
                  <c:v>0.78214731585518105</c:v>
                </c:pt>
                <c:pt idx="43856">
                  <c:v>0.78216515070447601</c:v>
                </c:pt>
                <c:pt idx="43857">
                  <c:v>0.78218298555377197</c:v>
                </c:pt>
                <c:pt idx="43858">
                  <c:v>0.78220082040306704</c:v>
                </c:pt>
                <c:pt idx="43859">
                  <c:v>0.782218655252363</c:v>
                </c:pt>
                <c:pt idx="43860">
                  <c:v>0.78223649010165797</c:v>
                </c:pt>
                <c:pt idx="43861">
                  <c:v>0.78225432495095404</c:v>
                </c:pt>
                <c:pt idx="43862">
                  <c:v>0.782272159800249</c:v>
                </c:pt>
                <c:pt idx="43863">
                  <c:v>0.78228999464954496</c:v>
                </c:pt>
                <c:pt idx="43864">
                  <c:v>0.78230782949884003</c:v>
                </c:pt>
                <c:pt idx="43865">
                  <c:v>0.782325664348136</c:v>
                </c:pt>
                <c:pt idx="43866">
                  <c:v>0.78234349919743096</c:v>
                </c:pt>
                <c:pt idx="43867">
                  <c:v>0.78236133404672703</c:v>
                </c:pt>
                <c:pt idx="43868">
                  <c:v>0.78237916889602199</c:v>
                </c:pt>
                <c:pt idx="43869">
                  <c:v>0.78239700374531795</c:v>
                </c:pt>
                <c:pt idx="43870">
                  <c:v>0.78241483859461303</c:v>
                </c:pt>
                <c:pt idx="43871">
                  <c:v>0.78243267344390899</c:v>
                </c:pt>
                <c:pt idx="43872">
                  <c:v>0.78245050829320495</c:v>
                </c:pt>
                <c:pt idx="43873">
                  <c:v>0.78246834314250002</c:v>
                </c:pt>
                <c:pt idx="43874">
                  <c:v>0.78248617799179598</c:v>
                </c:pt>
                <c:pt idx="43875">
                  <c:v>0.78250401284109095</c:v>
                </c:pt>
                <c:pt idx="43876">
                  <c:v>0.78252184769038702</c:v>
                </c:pt>
                <c:pt idx="43877">
                  <c:v>0.78253968253968198</c:v>
                </c:pt>
                <c:pt idx="43878">
                  <c:v>0.78255751738897805</c:v>
                </c:pt>
                <c:pt idx="43879">
                  <c:v>0.78257535223827301</c:v>
                </c:pt>
                <c:pt idx="43880">
                  <c:v>0.78259318708756898</c:v>
                </c:pt>
                <c:pt idx="43881">
                  <c:v>0.78261102193686405</c:v>
                </c:pt>
                <c:pt idx="43882">
                  <c:v>0.78262885678616001</c:v>
                </c:pt>
                <c:pt idx="43883">
                  <c:v>0.78264669163545497</c:v>
                </c:pt>
                <c:pt idx="43884">
                  <c:v>0.78266452648475104</c:v>
                </c:pt>
                <c:pt idx="43885">
                  <c:v>0.78268236133404601</c:v>
                </c:pt>
                <c:pt idx="43886">
                  <c:v>0.78270019618334197</c:v>
                </c:pt>
                <c:pt idx="43887">
                  <c:v>0.78271803103263704</c:v>
                </c:pt>
                <c:pt idx="43888">
                  <c:v>0.782735865881933</c:v>
                </c:pt>
                <c:pt idx="43889">
                  <c:v>0.78275370073122796</c:v>
                </c:pt>
                <c:pt idx="43890">
                  <c:v>0.78277153558052404</c:v>
                </c:pt>
                <c:pt idx="43891">
                  <c:v>0.782789370429819</c:v>
                </c:pt>
                <c:pt idx="43892">
                  <c:v>0.78280720527911496</c:v>
                </c:pt>
                <c:pt idx="43893">
                  <c:v>0.78282504012841003</c:v>
                </c:pt>
                <c:pt idx="43894">
                  <c:v>0.78284287497770599</c:v>
                </c:pt>
                <c:pt idx="43895">
                  <c:v>0.78286070982700195</c:v>
                </c:pt>
                <c:pt idx="43896">
                  <c:v>0.78287854467629703</c:v>
                </c:pt>
                <c:pt idx="43897">
                  <c:v>0.78289637952559299</c:v>
                </c:pt>
                <c:pt idx="43898">
                  <c:v>0.78291421437488795</c:v>
                </c:pt>
                <c:pt idx="43899">
                  <c:v>0.78293204922418402</c:v>
                </c:pt>
                <c:pt idx="43900">
                  <c:v>0.78294988407347899</c:v>
                </c:pt>
                <c:pt idx="43901">
                  <c:v>0.78296771892277495</c:v>
                </c:pt>
                <c:pt idx="43902">
                  <c:v>0.78298555377207002</c:v>
                </c:pt>
                <c:pt idx="43903">
                  <c:v>0.78300338862136598</c:v>
                </c:pt>
                <c:pt idx="43904">
                  <c:v>0.78302122347066105</c:v>
                </c:pt>
                <c:pt idx="43905">
                  <c:v>0.78303905831995702</c:v>
                </c:pt>
                <c:pt idx="43906">
                  <c:v>0.78305689316925198</c:v>
                </c:pt>
                <c:pt idx="43907">
                  <c:v>0.78307472801854805</c:v>
                </c:pt>
                <c:pt idx="43908">
                  <c:v>0.78309256286784301</c:v>
                </c:pt>
                <c:pt idx="43909">
                  <c:v>0.78311039771713897</c:v>
                </c:pt>
                <c:pt idx="43910">
                  <c:v>0.78312823256643405</c:v>
                </c:pt>
                <c:pt idx="43911">
                  <c:v>0.78314606741573001</c:v>
                </c:pt>
                <c:pt idx="43912">
                  <c:v>0.78316390226502497</c:v>
                </c:pt>
                <c:pt idx="43913">
                  <c:v>0.78318173711432104</c:v>
                </c:pt>
                <c:pt idx="43914">
                  <c:v>0.783199571963616</c:v>
                </c:pt>
                <c:pt idx="43915">
                  <c:v>0.78321740681291196</c:v>
                </c:pt>
                <c:pt idx="43916">
                  <c:v>0.78323524166220704</c:v>
                </c:pt>
                <c:pt idx="43917">
                  <c:v>0.783253076511503</c:v>
                </c:pt>
                <c:pt idx="43918">
                  <c:v>0.78327091136079896</c:v>
                </c:pt>
                <c:pt idx="43919">
                  <c:v>0.78328874621009403</c:v>
                </c:pt>
                <c:pt idx="43920">
                  <c:v>0.78330658105938999</c:v>
                </c:pt>
                <c:pt idx="43921">
                  <c:v>0.78332441590868496</c:v>
                </c:pt>
                <c:pt idx="43922">
                  <c:v>0.78334225075798103</c:v>
                </c:pt>
                <c:pt idx="43923">
                  <c:v>0.78336008560727599</c:v>
                </c:pt>
                <c:pt idx="43924">
                  <c:v>0.78337792045657195</c:v>
                </c:pt>
                <c:pt idx="43925">
                  <c:v>0.78339575530586703</c:v>
                </c:pt>
                <c:pt idx="43926">
                  <c:v>0.78341359015516299</c:v>
                </c:pt>
                <c:pt idx="43927">
                  <c:v>0.78343142500445795</c:v>
                </c:pt>
                <c:pt idx="43928">
                  <c:v>0.78344925985375402</c:v>
                </c:pt>
                <c:pt idx="43929">
                  <c:v>0.78346709470304898</c:v>
                </c:pt>
                <c:pt idx="43930">
                  <c:v>0.78348492955234506</c:v>
                </c:pt>
                <c:pt idx="43931">
                  <c:v>0.78350276440164002</c:v>
                </c:pt>
                <c:pt idx="43932">
                  <c:v>0.78352059925093598</c:v>
                </c:pt>
                <c:pt idx="43933">
                  <c:v>0.78353843410023105</c:v>
                </c:pt>
                <c:pt idx="43934">
                  <c:v>0.78355626894952701</c:v>
                </c:pt>
                <c:pt idx="43935">
                  <c:v>0.78357410379882197</c:v>
                </c:pt>
                <c:pt idx="43936">
                  <c:v>0.78359193864811805</c:v>
                </c:pt>
                <c:pt idx="43937">
                  <c:v>0.78360977349741301</c:v>
                </c:pt>
                <c:pt idx="43938">
                  <c:v>0.78362760834670897</c:v>
                </c:pt>
                <c:pt idx="43939">
                  <c:v>0.78364544319600504</c:v>
                </c:pt>
                <c:pt idx="43940">
                  <c:v>0.7836632780453</c:v>
                </c:pt>
                <c:pt idx="43941">
                  <c:v>0.78368111289459597</c:v>
                </c:pt>
                <c:pt idx="43942">
                  <c:v>0.78369894774389104</c:v>
                </c:pt>
                <c:pt idx="43943">
                  <c:v>0.783716782593187</c:v>
                </c:pt>
                <c:pt idx="43944">
                  <c:v>0.78373461744248196</c:v>
                </c:pt>
                <c:pt idx="43945">
                  <c:v>0.78375245229177803</c:v>
                </c:pt>
                <c:pt idx="43946">
                  <c:v>0.783770287141073</c:v>
                </c:pt>
                <c:pt idx="43947">
                  <c:v>0.78378812199036896</c:v>
                </c:pt>
                <c:pt idx="43948">
                  <c:v>0.78380595683966403</c:v>
                </c:pt>
                <c:pt idx="43949">
                  <c:v>0.78382379168895999</c:v>
                </c:pt>
                <c:pt idx="43950">
                  <c:v>0.78384162653825495</c:v>
                </c:pt>
                <c:pt idx="43951">
                  <c:v>0.78385946138755103</c:v>
                </c:pt>
                <c:pt idx="43952">
                  <c:v>0.78387729623684599</c:v>
                </c:pt>
                <c:pt idx="43953">
                  <c:v>0.78389513108614195</c:v>
                </c:pt>
                <c:pt idx="43954">
                  <c:v>0.78391296593543702</c:v>
                </c:pt>
                <c:pt idx="43955">
                  <c:v>0.78393080078473298</c:v>
                </c:pt>
                <c:pt idx="43956">
                  <c:v>0.78394863563402895</c:v>
                </c:pt>
                <c:pt idx="43957">
                  <c:v>0.78396647048332402</c:v>
                </c:pt>
                <c:pt idx="43958">
                  <c:v>0.78398430533261998</c:v>
                </c:pt>
                <c:pt idx="43959">
                  <c:v>0.78400214018191505</c:v>
                </c:pt>
                <c:pt idx="43960">
                  <c:v>0.78401997503121101</c:v>
                </c:pt>
                <c:pt idx="43961">
                  <c:v>0.78403780988050598</c:v>
                </c:pt>
                <c:pt idx="43962">
                  <c:v>0.78405564472980205</c:v>
                </c:pt>
                <c:pt idx="43963">
                  <c:v>0.78407347957909701</c:v>
                </c:pt>
                <c:pt idx="43964">
                  <c:v>0.78409131442839297</c:v>
                </c:pt>
                <c:pt idx="43965">
                  <c:v>0.78410914927768804</c:v>
                </c:pt>
                <c:pt idx="43966">
                  <c:v>0.78412698412698401</c:v>
                </c:pt>
                <c:pt idx="43967">
                  <c:v>0.78414481897627897</c:v>
                </c:pt>
                <c:pt idx="43968">
                  <c:v>0.78416265382557504</c:v>
                </c:pt>
                <c:pt idx="43969">
                  <c:v>0.78418048867487</c:v>
                </c:pt>
                <c:pt idx="43970">
                  <c:v>0.78419832352416596</c:v>
                </c:pt>
                <c:pt idx="43971">
                  <c:v>0.78421615837346104</c:v>
                </c:pt>
                <c:pt idx="43972">
                  <c:v>0.784233993222757</c:v>
                </c:pt>
                <c:pt idx="43973">
                  <c:v>0.78425182807205196</c:v>
                </c:pt>
                <c:pt idx="43974">
                  <c:v>0.78426966292134803</c:v>
                </c:pt>
                <c:pt idx="43975">
                  <c:v>0.78428749777064299</c:v>
                </c:pt>
                <c:pt idx="43976">
                  <c:v>0.78430533261993896</c:v>
                </c:pt>
                <c:pt idx="43977">
                  <c:v>0.78432316746923403</c:v>
                </c:pt>
                <c:pt idx="43978">
                  <c:v>0.78434100231852999</c:v>
                </c:pt>
                <c:pt idx="43979">
                  <c:v>0.78435883716782595</c:v>
                </c:pt>
                <c:pt idx="43980">
                  <c:v>0.78437667201712102</c:v>
                </c:pt>
                <c:pt idx="43981">
                  <c:v>0.78439450686641699</c:v>
                </c:pt>
                <c:pt idx="43982">
                  <c:v>0.78441234171571195</c:v>
                </c:pt>
                <c:pt idx="43983">
                  <c:v>0.78443017656500802</c:v>
                </c:pt>
                <c:pt idx="43984">
                  <c:v>0.78444801141430298</c:v>
                </c:pt>
                <c:pt idx="43985">
                  <c:v>0.78446584626359905</c:v>
                </c:pt>
                <c:pt idx="43986">
                  <c:v>0.78448368111289402</c:v>
                </c:pt>
                <c:pt idx="43987">
                  <c:v>0.78450151596218998</c:v>
                </c:pt>
                <c:pt idx="43988">
                  <c:v>0.78451935081148505</c:v>
                </c:pt>
                <c:pt idx="43989">
                  <c:v>0.78453718566078101</c:v>
                </c:pt>
                <c:pt idx="43990">
                  <c:v>0.78455502051007597</c:v>
                </c:pt>
                <c:pt idx="43991">
                  <c:v>0.78457285535937205</c:v>
                </c:pt>
                <c:pt idx="43992">
                  <c:v>0.78459069020866701</c:v>
                </c:pt>
                <c:pt idx="43993">
                  <c:v>0.78460852505796297</c:v>
                </c:pt>
                <c:pt idx="43994">
                  <c:v>0.78462635990725804</c:v>
                </c:pt>
                <c:pt idx="43995">
                  <c:v>0.784644194756554</c:v>
                </c:pt>
                <c:pt idx="43996">
                  <c:v>0.78466202960584897</c:v>
                </c:pt>
                <c:pt idx="43997">
                  <c:v>0.78467986445514504</c:v>
                </c:pt>
                <c:pt idx="43998">
                  <c:v>0.78469769930444</c:v>
                </c:pt>
                <c:pt idx="43999">
                  <c:v>0.78471553415373596</c:v>
                </c:pt>
                <c:pt idx="44000">
                  <c:v>0.78473336900303103</c:v>
                </c:pt>
                <c:pt idx="44001">
                  <c:v>0.784751203852327</c:v>
                </c:pt>
                <c:pt idx="44002">
                  <c:v>0.78476903870162296</c:v>
                </c:pt>
                <c:pt idx="44003">
                  <c:v>0.78478687355091803</c:v>
                </c:pt>
                <c:pt idx="44004">
                  <c:v>0.78480470840021399</c:v>
                </c:pt>
                <c:pt idx="44005">
                  <c:v>0.78482254324950895</c:v>
                </c:pt>
                <c:pt idx="44006">
                  <c:v>0.78484037809880502</c:v>
                </c:pt>
                <c:pt idx="44007">
                  <c:v>0.78485821294809999</c:v>
                </c:pt>
                <c:pt idx="44008">
                  <c:v>0.78487604779739595</c:v>
                </c:pt>
                <c:pt idx="44009">
                  <c:v>0.78489388264669102</c:v>
                </c:pt>
                <c:pt idx="44010">
                  <c:v>0.78491171749598698</c:v>
                </c:pt>
                <c:pt idx="44011">
                  <c:v>0.78492955234528194</c:v>
                </c:pt>
                <c:pt idx="44012">
                  <c:v>0.78494738719457802</c:v>
                </c:pt>
                <c:pt idx="44013">
                  <c:v>0.78496522204387298</c:v>
                </c:pt>
                <c:pt idx="44014">
                  <c:v>0.78498305689316905</c:v>
                </c:pt>
                <c:pt idx="44015">
                  <c:v>0.78500089174246401</c:v>
                </c:pt>
                <c:pt idx="44016">
                  <c:v>0.78501872659175997</c:v>
                </c:pt>
                <c:pt idx="44017">
                  <c:v>0.78503656144105505</c:v>
                </c:pt>
                <c:pt idx="44018">
                  <c:v>0.78505439629035101</c:v>
                </c:pt>
                <c:pt idx="44019">
                  <c:v>0.78507223113964597</c:v>
                </c:pt>
                <c:pt idx="44020">
                  <c:v>0.78509006598894204</c:v>
                </c:pt>
                <c:pt idx="44021">
                  <c:v>0.78510790083823701</c:v>
                </c:pt>
                <c:pt idx="44022">
                  <c:v>0.78512573568753297</c:v>
                </c:pt>
                <c:pt idx="44023">
                  <c:v>0.78514357053682804</c:v>
                </c:pt>
                <c:pt idx="44024">
                  <c:v>0.785161405386124</c:v>
                </c:pt>
                <c:pt idx="44025">
                  <c:v>0.78517924023541996</c:v>
                </c:pt>
                <c:pt idx="44026">
                  <c:v>0.78519707508471503</c:v>
                </c:pt>
                <c:pt idx="44027">
                  <c:v>0.785214909934011</c:v>
                </c:pt>
                <c:pt idx="44028">
                  <c:v>0.78523274478330596</c:v>
                </c:pt>
                <c:pt idx="44029">
                  <c:v>0.78525057963260203</c:v>
                </c:pt>
                <c:pt idx="44030">
                  <c:v>0.78526841448189699</c:v>
                </c:pt>
                <c:pt idx="44031">
                  <c:v>0.78528624933119295</c:v>
                </c:pt>
                <c:pt idx="44032">
                  <c:v>0.78530408418048803</c:v>
                </c:pt>
                <c:pt idx="44033">
                  <c:v>0.78532191902978399</c:v>
                </c:pt>
                <c:pt idx="44034">
                  <c:v>0.78533975387907895</c:v>
                </c:pt>
                <c:pt idx="44035">
                  <c:v>0.78535758872837502</c:v>
                </c:pt>
                <c:pt idx="44036">
                  <c:v>0.78537542357766998</c:v>
                </c:pt>
                <c:pt idx="44037">
                  <c:v>0.78539325842696595</c:v>
                </c:pt>
                <c:pt idx="44038">
                  <c:v>0.78541109327626102</c:v>
                </c:pt>
                <c:pt idx="44039">
                  <c:v>0.78542892812555698</c:v>
                </c:pt>
                <c:pt idx="44040">
                  <c:v>0.78544676297485205</c:v>
                </c:pt>
                <c:pt idx="44041">
                  <c:v>0.78546459782414801</c:v>
                </c:pt>
                <c:pt idx="44042">
                  <c:v>0.78548243267344298</c:v>
                </c:pt>
                <c:pt idx="44043">
                  <c:v>0.78550026752273905</c:v>
                </c:pt>
                <c:pt idx="44044">
                  <c:v>0.78551810237203501</c:v>
                </c:pt>
                <c:pt idx="44045">
                  <c:v>0.78553593722132997</c:v>
                </c:pt>
                <c:pt idx="44046">
                  <c:v>0.78555377207062604</c:v>
                </c:pt>
                <c:pt idx="44047">
                  <c:v>0.78557160691992101</c:v>
                </c:pt>
                <c:pt idx="44048">
                  <c:v>0.78558944176921697</c:v>
                </c:pt>
                <c:pt idx="44049">
                  <c:v>0.78560727661851204</c:v>
                </c:pt>
                <c:pt idx="44050">
                  <c:v>0.785625111467808</c:v>
                </c:pt>
                <c:pt idx="44051">
                  <c:v>0.78564294631710296</c:v>
                </c:pt>
                <c:pt idx="44052">
                  <c:v>0.78566078116639904</c:v>
                </c:pt>
                <c:pt idx="44053">
                  <c:v>0.785678616015694</c:v>
                </c:pt>
                <c:pt idx="44054">
                  <c:v>0.78569645086498996</c:v>
                </c:pt>
                <c:pt idx="44055">
                  <c:v>0.78571428571428503</c:v>
                </c:pt>
                <c:pt idx="44056">
                  <c:v>0.78573212056358099</c:v>
                </c:pt>
                <c:pt idx="44057">
                  <c:v>0.78574995541287596</c:v>
                </c:pt>
                <c:pt idx="44058">
                  <c:v>0.78576779026217203</c:v>
                </c:pt>
                <c:pt idx="44059">
                  <c:v>0.78578562511146699</c:v>
                </c:pt>
                <c:pt idx="44060">
                  <c:v>0.78580345996076295</c:v>
                </c:pt>
                <c:pt idx="44061">
                  <c:v>0.78582129481005802</c:v>
                </c:pt>
                <c:pt idx="44062">
                  <c:v>0.78583912965935399</c:v>
                </c:pt>
                <c:pt idx="44063">
                  <c:v>0.78585696450864995</c:v>
                </c:pt>
                <c:pt idx="44064">
                  <c:v>0.78587479935794502</c:v>
                </c:pt>
                <c:pt idx="44065">
                  <c:v>0.78589263420724098</c:v>
                </c:pt>
                <c:pt idx="44066">
                  <c:v>0.78591046905653605</c:v>
                </c:pt>
                <c:pt idx="44067">
                  <c:v>0.78592830390583202</c:v>
                </c:pt>
                <c:pt idx="44068">
                  <c:v>0.78594613875512698</c:v>
                </c:pt>
                <c:pt idx="44069">
                  <c:v>0.78596397360442305</c:v>
                </c:pt>
                <c:pt idx="44070">
                  <c:v>0.78598180845371801</c:v>
                </c:pt>
                <c:pt idx="44071">
                  <c:v>0.78599964330301397</c:v>
                </c:pt>
                <c:pt idx="44072">
                  <c:v>0.78601747815230905</c:v>
                </c:pt>
                <c:pt idx="44073">
                  <c:v>0.78603531300160501</c:v>
                </c:pt>
                <c:pt idx="44074">
                  <c:v>0.78605314785089997</c:v>
                </c:pt>
                <c:pt idx="44075">
                  <c:v>0.78607098270019604</c:v>
                </c:pt>
                <c:pt idx="44076">
                  <c:v>0.786088817549491</c:v>
                </c:pt>
                <c:pt idx="44077">
                  <c:v>0.78610665239878696</c:v>
                </c:pt>
                <c:pt idx="44078">
                  <c:v>0.78612448724808204</c:v>
                </c:pt>
                <c:pt idx="44079">
                  <c:v>0.786142322097378</c:v>
                </c:pt>
                <c:pt idx="44080">
                  <c:v>0.78616015694667296</c:v>
                </c:pt>
                <c:pt idx="44081">
                  <c:v>0.78617799179596903</c:v>
                </c:pt>
                <c:pt idx="44082">
                  <c:v>0.786195826645264</c:v>
                </c:pt>
                <c:pt idx="44083">
                  <c:v>0.78621366149455996</c:v>
                </c:pt>
                <c:pt idx="44084">
                  <c:v>0.78623149634385503</c:v>
                </c:pt>
                <c:pt idx="44085">
                  <c:v>0.78624933119315099</c:v>
                </c:pt>
                <c:pt idx="44086">
                  <c:v>0.78626716604244695</c:v>
                </c:pt>
                <c:pt idx="44087">
                  <c:v>0.78628500089174203</c:v>
                </c:pt>
                <c:pt idx="44088">
                  <c:v>0.78630283574103799</c:v>
                </c:pt>
                <c:pt idx="44089">
                  <c:v>0.78632067059033295</c:v>
                </c:pt>
                <c:pt idx="44090">
                  <c:v>0.78633850543962902</c:v>
                </c:pt>
                <c:pt idx="44091">
                  <c:v>0.78635634028892398</c:v>
                </c:pt>
                <c:pt idx="44092">
                  <c:v>0.78637417513822006</c:v>
                </c:pt>
                <c:pt idx="44093">
                  <c:v>0.78639200998751502</c:v>
                </c:pt>
                <c:pt idx="44094">
                  <c:v>0.78640984483681098</c:v>
                </c:pt>
                <c:pt idx="44095">
                  <c:v>0.78642767968610605</c:v>
                </c:pt>
                <c:pt idx="44096">
                  <c:v>0.78644551453540201</c:v>
                </c:pt>
                <c:pt idx="44097">
                  <c:v>0.78646334938469697</c:v>
                </c:pt>
                <c:pt idx="44098">
                  <c:v>0.78648118423399305</c:v>
                </c:pt>
                <c:pt idx="44099">
                  <c:v>0.78649901908328801</c:v>
                </c:pt>
                <c:pt idx="44100">
                  <c:v>0.78651685393258397</c:v>
                </c:pt>
                <c:pt idx="44101">
                  <c:v>0.78653468878187904</c:v>
                </c:pt>
                <c:pt idx="44102">
                  <c:v>0.786552523631175</c:v>
                </c:pt>
                <c:pt idx="44103">
                  <c:v>0.78657035848046997</c:v>
                </c:pt>
                <c:pt idx="44104">
                  <c:v>0.78658819332976604</c:v>
                </c:pt>
                <c:pt idx="44105">
                  <c:v>0.786606028179061</c:v>
                </c:pt>
                <c:pt idx="44106">
                  <c:v>0.78662386302835696</c:v>
                </c:pt>
                <c:pt idx="44107">
                  <c:v>0.78664169787765204</c:v>
                </c:pt>
                <c:pt idx="44108">
                  <c:v>0.786659532726948</c:v>
                </c:pt>
                <c:pt idx="44109">
                  <c:v>0.78667736757624396</c:v>
                </c:pt>
                <c:pt idx="44110">
                  <c:v>0.78669520242553903</c:v>
                </c:pt>
                <c:pt idx="44111">
                  <c:v>0.78671303727483499</c:v>
                </c:pt>
                <c:pt idx="44112">
                  <c:v>0.78673087212412995</c:v>
                </c:pt>
                <c:pt idx="44113">
                  <c:v>0.78674870697342603</c:v>
                </c:pt>
                <c:pt idx="44114">
                  <c:v>0.78676654182272099</c:v>
                </c:pt>
                <c:pt idx="44115">
                  <c:v>0.78678437667201695</c:v>
                </c:pt>
                <c:pt idx="44116">
                  <c:v>0.78680221152131202</c:v>
                </c:pt>
                <c:pt idx="44117">
                  <c:v>0.78682004637060798</c:v>
                </c:pt>
                <c:pt idx="44118">
                  <c:v>0.78683788121990295</c:v>
                </c:pt>
                <c:pt idx="44119">
                  <c:v>0.78685571606919902</c:v>
                </c:pt>
                <c:pt idx="44120">
                  <c:v>0.78687355091849398</c:v>
                </c:pt>
                <c:pt idx="44121">
                  <c:v>0.78689138576779005</c:v>
                </c:pt>
                <c:pt idx="44122">
                  <c:v>0.78690922061708501</c:v>
                </c:pt>
                <c:pt idx="44123">
                  <c:v>0.78692705546638098</c:v>
                </c:pt>
                <c:pt idx="44124">
                  <c:v>0.78694489031567605</c:v>
                </c:pt>
                <c:pt idx="44125">
                  <c:v>0.78696272516497201</c:v>
                </c:pt>
                <c:pt idx="44126">
                  <c:v>0.78698056001426697</c:v>
                </c:pt>
                <c:pt idx="44127">
                  <c:v>0.78699839486356304</c:v>
                </c:pt>
                <c:pt idx="44128">
                  <c:v>0.78701622971285801</c:v>
                </c:pt>
                <c:pt idx="44129">
                  <c:v>0.78703406456215397</c:v>
                </c:pt>
                <c:pt idx="44130">
                  <c:v>0.78705189941144904</c:v>
                </c:pt>
                <c:pt idx="44131">
                  <c:v>0.787069734260745</c:v>
                </c:pt>
                <c:pt idx="44132">
                  <c:v>0.78708756911004096</c:v>
                </c:pt>
                <c:pt idx="44133">
                  <c:v>0.78710540395933604</c:v>
                </c:pt>
                <c:pt idx="44134">
                  <c:v>0.787123238808632</c:v>
                </c:pt>
                <c:pt idx="44135">
                  <c:v>0.78714107365792696</c:v>
                </c:pt>
                <c:pt idx="44136">
                  <c:v>0.78715890850722303</c:v>
                </c:pt>
                <c:pt idx="44137">
                  <c:v>0.78717674335651799</c:v>
                </c:pt>
                <c:pt idx="44138">
                  <c:v>0.78719457820581396</c:v>
                </c:pt>
                <c:pt idx="44139">
                  <c:v>0.78721241305510903</c:v>
                </c:pt>
                <c:pt idx="44140">
                  <c:v>0.78723024790440499</c:v>
                </c:pt>
                <c:pt idx="44141">
                  <c:v>0.78724808275369995</c:v>
                </c:pt>
                <c:pt idx="44142">
                  <c:v>0.78726591760299602</c:v>
                </c:pt>
                <c:pt idx="44143">
                  <c:v>0.78728375245229099</c:v>
                </c:pt>
                <c:pt idx="44144">
                  <c:v>0.78730158730158695</c:v>
                </c:pt>
                <c:pt idx="44145">
                  <c:v>0.78731942215088202</c:v>
                </c:pt>
                <c:pt idx="44146">
                  <c:v>0.78733725700017798</c:v>
                </c:pt>
                <c:pt idx="44147">
                  <c:v>0.78735509184947305</c:v>
                </c:pt>
                <c:pt idx="44148">
                  <c:v>0.78737292669876902</c:v>
                </c:pt>
                <c:pt idx="44149">
                  <c:v>0.78739076154806398</c:v>
                </c:pt>
                <c:pt idx="44150">
                  <c:v>0.78740859639736005</c:v>
                </c:pt>
                <c:pt idx="44151">
                  <c:v>0.78742643124665601</c:v>
                </c:pt>
                <c:pt idx="44152">
                  <c:v>0.78744426609595097</c:v>
                </c:pt>
                <c:pt idx="44153">
                  <c:v>0.78746210094524705</c:v>
                </c:pt>
                <c:pt idx="44154">
                  <c:v>0.78747993579454201</c:v>
                </c:pt>
                <c:pt idx="44155">
                  <c:v>0.78749777064383797</c:v>
                </c:pt>
                <c:pt idx="44156">
                  <c:v>0.78751560549313304</c:v>
                </c:pt>
                <c:pt idx="44157">
                  <c:v>0.787533440342429</c:v>
                </c:pt>
                <c:pt idx="44158">
                  <c:v>0.78755127519172397</c:v>
                </c:pt>
                <c:pt idx="44159">
                  <c:v>0.78756911004102004</c:v>
                </c:pt>
                <c:pt idx="44160">
                  <c:v>0.787586944890315</c:v>
                </c:pt>
                <c:pt idx="44161">
                  <c:v>0.78760477973961096</c:v>
                </c:pt>
                <c:pt idx="44162">
                  <c:v>0.78762261458890603</c:v>
                </c:pt>
                <c:pt idx="44163">
                  <c:v>0.78764044943820199</c:v>
                </c:pt>
                <c:pt idx="44164">
                  <c:v>0.78765828428749696</c:v>
                </c:pt>
                <c:pt idx="44165">
                  <c:v>0.78767611913679303</c:v>
                </c:pt>
                <c:pt idx="44166">
                  <c:v>0.78769395398608799</c:v>
                </c:pt>
                <c:pt idx="44167">
                  <c:v>0.78771178883538395</c:v>
                </c:pt>
                <c:pt idx="44168">
                  <c:v>0.78772962368467903</c:v>
                </c:pt>
                <c:pt idx="44169">
                  <c:v>0.78774745853397499</c:v>
                </c:pt>
                <c:pt idx="44170">
                  <c:v>0.78776529338327095</c:v>
                </c:pt>
                <c:pt idx="44171">
                  <c:v>0.78778312823256602</c:v>
                </c:pt>
                <c:pt idx="44172">
                  <c:v>0.78780096308186198</c:v>
                </c:pt>
                <c:pt idx="44173">
                  <c:v>0.78781879793115706</c:v>
                </c:pt>
                <c:pt idx="44174">
                  <c:v>0.78783663278045302</c:v>
                </c:pt>
                <c:pt idx="44175">
                  <c:v>0.78785446762974798</c:v>
                </c:pt>
                <c:pt idx="44176">
                  <c:v>0.78787230247904405</c:v>
                </c:pt>
                <c:pt idx="44177">
                  <c:v>0.78789013732833901</c:v>
                </c:pt>
                <c:pt idx="44178">
                  <c:v>0.78790797217763497</c:v>
                </c:pt>
                <c:pt idx="44179">
                  <c:v>0.78792580702693005</c:v>
                </c:pt>
                <c:pt idx="44180">
                  <c:v>0.78794364187622601</c:v>
                </c:pt>
                <c:pt idx="44181">
                  <c:v>0.78796147672552097</c:v>
                </c:pt>
                <c:pt idx="44182">
                  <c:v>0.78797931157481704</c:v>
                </c:pt>
                <c:pt idx="44183">
                  <c:v>0.787997146424112</c:v>
                </c:pt>
                <c:pt idx="44184">
                  <c:v>0.78801498127340797</c:v>
                </c:pt>
                <c:pt idx="44185">
                  <c:v>0.78803281612270304</c:v>
                </c:pt>
                <c:pt idx="44186">
                  <c:v>0.788050650971999</c:v>
                </c:pt>
                <c:pt idx="44187">
                  <c:v>0.78806848582129396</c:v>
                </c:pt>
                <c:pt idx="44188">
                  <c:v>0.78808632067059003</c:v>
                </c:pt>
                <c:pt idx="44189">
                  <c:v>0.788104155519885</c:v>
                </c:pt>
                <c:pt idx="44190">
                  <c:v>0.78812199036918096</c:v>
                </c:pt>
                <c:pt idx="44191">
                  <c:v>0.78813982521847603</c:v>
                </c:pt>
                <c:pt idx="44192">
                  <c:v>0.78815766006777199</c:v>
                </c:pt>
                <c:pt idx="44193">
                  <c:v>0.78817549491706795</c:v>
                </c:pt>
                <c:pt idx="44194">
                  <c:v>0.78819332976636303</c:v>
                </c:pt>
                <c:pt idx="44195">
                  <c:v>0.78821116461565899</c:v>
                </c:pt>
                <c:pt idx="44196">
                  <c:v>0.78822899946495395</c:v>
                </c:pt>
                <c:pt idx="44197">
                  <c:v>0.78824683431425002</c:v>
                </c:pt>
                <c:pt idx="44198">
                  <c:v>0.78826466916354498</c:v>
                </c:pt>
                <c:pt idx="44199">
                  <c:v>0.78828250401284095</c:v>
                </c:pt>
                <c:pt idx="44200">
                  <c:v>0.78830033886213602</c:v>
                </c:pt>
                <c:pt idx="44201">
                  <c:v>0.78831817371143198</c:v>
                </c:pt>
                <c:pt idx="44202">
                  <c:v>0.78833600856072705</c:v>
                </c:pt>
                <c:pt idx="44203">
                  <c:v>0.78835384341002301</c:v>
                </c:pt>
                <c:pt idx="44204">
                  <c:v>0.78837167825931798</c:v>
                </c:pt>
                <c:pt idx="44205">
                  <c:v>0.78838951310861405</c:v>
                </c:pt>
                <c:pt idx="44206">
                  <c:v>0.78840734795790901</c:v>
                </c:pt>
                <c:pt idx="44207">
                  <c:v>0.78842518280720497</c:v>
                </c:pt>
                <c:pt idx="44208">
                  <c:v>0.78844301765650004</c:v>
                </c:pt>
                <c:pt idx="44209">
                  <c:v>0.78846085250579601</c:v>
                </c:pt>
                <c:pt idx="44210">
                  <c:v>0.78847868735509097</c:v>
                </c:pt>
                <c:pt idx="44211">
                  <c:v>0.78849652220438704</c:v>
                </c:pt>
                <c:pt idx="44212">
                  <c:v>0.788514357053682</c:v>
                </c:pt>
                <c:pt idx="44213">
                  <c:v>0.78853219190297796</c:v>
                </c:pt>
                <c:pt idx="44214">
                  <c:v>0.78855002675227304</c:v>
                </c:pt>
                <c:pt idx="44215">
                  <c:v>0.788567861601569</c:v>
                </c:pt>
                <c:pt idx="44216">
                  <c:v>0.78858569645086496</c:v>
                </c:pt>
                <c:pt idx="44217">
                  <c:v>0.78860353130016003</c:v>
                </c:pt>
                <c:pt idx="44218">
                  <c:v>0.78862136614945599</c:v>
                </c:pt>
                <c:pt idx="44219">
                  <c:v>0.78863920099875096</c:v>
                </c:pt>
                <c:pt idx="44220">
                  <c:v>0.78865703584804703</c:v>
                </c:pt>
                <c:pt idx="44221">
                  <c:v>0.78867487069734199</c:v>
                </c:pt>
                <c:pt idx="44222">
                  <c:v>0.78869270554663795</c:v>
                </c:pt>
                <c:pt idx="44223">
                  <c:v>0.78871054039593302</c:v>
                </c:pt>
                <c:pt idx="44224">
                  <c:v>0.78872837524522899</c:v>
                </c:pt>
                <c:pt idx="44225">
                  <c:v>0.78874621009452395</c:v>
                </c:pt>
                <c:pt idx="44226">
                  <c:v>0.78876404494382002</c:v>
                </c:pt>
                <c:pt idx="44227">
                  <c:v>0.78878187979311498</c:v>
                </c:pt>
                <c:pt idx="44228">
                  <c:v>0.78879971464241105</c:v>
                </c:pt>
                <c:pt idx="44229">
                  <c:v>0.78881754949170602</c:v>
                </c:pt>
                <c:pt idx="44230">
                  <c:v>0.78883538434100198</c:v>
                </c:pt>
                <c:pt idx="44231">
                  <c:v>0.78885321919029705</c:v>
                </c:pt>
                <c:pt idx="44232">
                  <c:v>0.78887105403959301</c:v>
                </c:pt>
                <c:pt idx="44233">
                  <c:v>0.78888888888888797</c:v>
                </c:pt>
                <c:pt idx="44234">
                  <c:v>0.78890672373818405</c:v>
                </c:pt>
                <c:pt idx="44235">
                  <c:v>0.78892455858747901</c:v>
                </c:pt>
                <c:pt idx="44236">
                  <c:v>0.78894239343677497</c:v>
                </c:pt>
                <c:pt idx="44237">
                  <c:v>0.78896022828607004</c:v>
                </c:pt>
                <c:pt idx="44238">
                  <c:v>0.788978063135366</c:v>
                </c:pt>
                <c:pt idx="44239">
                  <c:v>0.78899589798466196</c:v>
                </c:pt>
                <c:pt idx="44240">
                  <c:v>0.78901373283395704</c:v>
                </c:pt>
                <c:pt idx="44241">
                  <c:v>0.789031567683253</c:v>
                </c:pt>
                <c:pt idx="44242">
                  <c:v>0.78904940253254796</c:v>
                </c:pt>
                <c:pt idx="44243">
                  <c:v>0.78906723738184403</c:v>
                </c:pt>
                <c:pt idx="44244">
                  <c:v>0.789085072231139</c:v>
                </c:pt>
                <c:pt idx="44245">
                  <c:v>0.78910290708043496</c:v>
                </c:pt>
                <c:pt idx="44246">
                  <c:v>0.78912074192973003</c:v>
                </c:pt>
                <c:pt idx="44247">
                  <c:v>0.78913857677902599</c:v>
                </c:pt>
                <c:pt idx="44248">
                  <c:v>0.78915641162832095</c:v>
                </c:pt>
                <c:pt idx="44249">
                  <c:v>0.78917424647761703</c:v>
                </c:pt>
                <c:pt idx="44250">
                  <c:v>0.78919208132691199</c:v>
                </c:pt>
                <c:pt idx="44251">
                  <c:v>0.78920991617620795</c:v>
                </c:pt>
                <c:pt idx="44252">
                  <c:v>0.78922775102550302</c:v>
                </c:pt>
                <c:pt idx="44253">
                  <c:v>0.78924558587479898</c:v>
                </c:pt>
                <c:pt idx="44254">
                  <c:v>0.78926342072409394</c:v>
                </c:pt>
                <c:pt idx="44255">
                  <c:v>0.78928125557339002</c:v>
                </c:pt>
                <c:pt idx="44256">
                  <c:v>0.78929909042268598</c:v>
                </c:pt>
                <c:pt idx="44257">
                  <c:v>0.78931692527198105</c:v>
                </c:pt>
                <c:pt idx="44258">
                  <c:v>0.78933476012127701</c:v>
                </c:pt>
                <c:pt idx="44259">
                  <c:v>0.78935259497057197</c:v>
                </c:pt>
                <c:pt idx="44260">
                  <c:v>0.78937042981986805</c:v>
                </c:pt>
                <c:pt idx="44261">
                  <c:v>0.78938826466916301</c:v>
                </c:pt>
                <c:pt idx="44262">
                  <c:v>0.78940609951845897</c:v>
                </c:pt>
                <c:pt idx="44263">
                  <c:v>0.78942393436775404</c:v>
                </c:pt>
                <c:pt idx="44264">
                  <c:v>0.78944176921705</c:v>
                </c:pt>
                <c:pt idx="44265">
                  <c:v>0.78945960406634497</c:v>
                </c:pt>
                <c:pt idx="44266">
                  <c:v>0.78947743891564104</c:v>
                </c:pt>
                <c:pt idx="44267">
                  <c:v>0.789495273764936</c:v>
                </c:pt>
                <c:pt idx="44268">
                  <c:v>0.78951310861423196</c:v>
                </c:pt>
                <c:pt idx="44269">
                  <c:v>0.78953094346352704</c:v>
                </c:pt>
                <c:pt idx="44270">
                  <c:v>0.789548778312823</c:v>
                </c:pt>
                <c:pt idx="44271">
                  <c:v>0.78956661316211796</c:v>
                </c:pt>
                <c:pt idx="44272">
                  <c:v>0.78958444801141403</c:v>
                </c:pt>
                <c:pt idx="44273">
                  <c:v>0.78960228286070899</c:v>
                </c:pt>
                <c:pt idx="44274">
                  <c:v>0.78962011771000495</c:v>
                </c:pt>
                <c:pt idx="44275">
                  <c:v>0.78963795255930003</c:v>
                </c:pt>
                <c:pt idx="44276">
                  <c:v>0.78965578740859599</c:v>
                </c:pt>
                <c:pt idx="44277">
                  <c:v>0.78967362225789195</c:v>
                </c:pt>
                <c:pt idx="44278">
                  <c:v>0.78969145710718702</c:v>
                </c:pt>
                <c:pt idx="44279">
                  <c:v>0.78970929195648298</c:v>
                </c:pt>
                <c:pt idx="44280">
                  <c:v>0.78972712680577795</c:v>
                </c:pt>
                <c:pt idx="44281">
                  <c:v>0.78974496165507402</c:v>
                </c:pt>
                <c:pt idx="44282">
                  <c:v>0.78976279650436898</c:v>
                </c:pt>
                <c:pt idx="44283">
                  <c:v>0.78978063135366505</c:v>
                </c:pt>
                <c:pt idx="44284">
                  <c:v>0.78979846620296001</c:v>
                </c:pt>
                <c:pt idx="44285">
                  <c:v>0.78981630105225598</c:v>
                </c:pt>
                <c:pt idx="44286">
                  <c:v>0.78983413590155105</c:v>
                </c:pt>
                <c:pt idx="44287">
                  <c:v>0.78985197075084701</c:v>
                </c:pt>
                <c:pt idx="44288">
                  <c:v>0.78986980560014197</c:v>
                </c:pt>
                <c:pt idx="44289">
                  <c:v>0.78988764044943804</c:v>
                </c:pt>
                <c:pt idx="44290">
                  <c:v>0.78990547529873301</c:v>
                </c:pt>
                <c:pt idx="44291">
                  <c:v>0.78992331014802897</c:v>
                </c:pt>
                <c:pt idx="44292">
                  <c:v>0.78994114499732404</c:v>
                </c:pt>
                <c:pt idx="44293">
                  <c:v>0.78995897984662</c:v>
                </c:pt>
                <c:pt idx="44294">
                  <c:v>0.78997681469591496</c:v>
                </c:pt>
                <c:pt idx="44295">
                  <c:v>0.78999464954521104</c:v>
                </c:pt>
                <c:pt idx="44296">
                  <c:v>0.790012484394506</c:v>
                </c:pt>
                <c:pt idx="44297">
                  <c:v>0.79003031924380196</c:v>
                </c:pt>
                <c:pt idx="44298">
                  <c:v>0.79004815409309703</c:v>
                </c:pt>
                <c:pt idx="44299">
                  <c:v>0.79006598894239299</c:v>
                </c:pt>
                <c:pt idx="44300">
                  <c:v>0.79008382379168896</c:v>
                </c:pt>
                <c:pt idx="44301">
                  <c:v>0.79010165864098403</c:v>
                </c:pt>
                <c:pt idx="44302">
                  <c:v>0.79011949349027999</c:v>
                </c:pt>
                <c:pt idx="44303">
                  <c:v>0.79013732833957495</c:v>
                </c:pt>
                <c:pt idx="44304">
                  <c:v>0.79015516318887102</c:v>
                </c:pt>
                <c:pt idx="44305">
                  <c:v>0.79017299803816599</c:v>
                </c:pt>
                <c:pt idx="44306">
                  <c:v>0.79019083288746195</c:v>
                </c:pt>
                <c:pt idx="44307">
                  <c:v>0.79020866773675702</c:v>
                </c:pt>
                <c:pt idx="44308">
                  <c:v>0.79022650258605298</c:v>
                </c:pt>
                <c:pt idx="44309">
                  <c:v>0.79024433743534805</c:v>
                </c:pt>
                <c:pt idx="44310">
                  <c:v>0.79026217228464402</c:v>
                </c:pt>
                <c:pt idx="44311">
                  <c:v>0.79028000713393898</c:v>
                </c:pt>
                <c:pt idx="44312">
                  <c:v>0.79029784198323505</c:v>
                </c:pt>
                <c:pt idx="44313">
                  <c:v>0.79031567683253001</c:v>
                </c:pt>
                <c:pt idx="44314">
                  <c:v>0.79033351168182597</c:v>
                </c:pt>
                <c:pt idx="44315">
                  <c:v>0.79035134653112105</c:v>
                </c:pt>
                <c:pt idx="44316">
                  <c:v>0.79036918138041701</c:v>
                </c:pt>
                <c:pt idx="44317">
                  <c:v>0.79038701622971197</c:v>
                </c:pt>
                <c:pt idx="44318">
                  <c:v>0.79040485107900804</c:v>
                </c:pt>
                <c:pt idx="44319">
                  <c:v>0.790422685928303</c:v>
                </c:pt>
                <c:pt idx="44320">
                  <c:v>0.79044052077759897</c:v>
                </c:pt>
                <c:pt idx="44321">
                  <c:v>0.79045835562689404</c:v>
                </c:pt>
                <c:pt idx="44322">
                  <c:v>0.79047619047619</c:v>
                </c:pt>
                <c:pt idx="44323">
                  <c:v>0.79049402532548596</c:v>
                </c:pt>
                <c:pt idx="44324">
                  <c:v>0.79051186017478103</c:v>
                </c:pt>
                <c:pt idx="44325">
                  <c:v>0.79052969502407699</c:v>
                </c:pt>
                <c:pt idx="44326">
                  <c:v>0.79054752987337196</c:v>
                </c:pt>
                <c:pt idx="44327">
                  <c:v>0.79056536472266803</c:v>
                </c:pt>
                <c:pt idx="44328">
                  <c:v>0.79058319957196299</c:v>
                </c:pt>
                <c:pt idx="44329">
                  <c:v>0.79060103442125895</c:v>
                </c:pt>
                <c:pt idx="44330">
                  <c:v>0.79061886927055403</c:v>
                </c:pt>
                <c:pt idx="44331">
                  <c:v>0.79063670411984999</c:v>
                </c:pt>
                <c:pt idx="44332">
                  <c:v>0.79065453896914495</c:v>
                </c:pt>
                <c:pt idx="44333">
                  <c:v>0.79067237381844102</c:v>
                </c:pt>
                <c:pt idx="44334">
                  <c:v>0.79069020866773598</c:v>
                </c:pt>
                <c:pt idx="44335">
                  <c:v>0.79070804351703206</c:v>
                </c:pt>
                <c:pt idx="44336">
                  <c:v>0.79072587836632702</c:v>
                </c:pt>
                <c:pt idx="44337">
                  <c:v>0.79074371321562298</c:v>
                </c:pt>
                <c:pt idx="44338">
                  <c:v>0.79076154806491805</c:v>
                </c:pt>
                <c:pt idx="44339">
                  <c:v>0.79077938291421401</c:v>
                </c:pt>
                <c:pt idx="44340">
                  <c:v>0.79079721776350897</c:v>
                </c:pt>
                <c:pt idx="44341">
                  <c:v>0.79081505261280505</c:v>
                </c:pt>
                <c:pt idx="44342">
                  <c:v>0.79083288746210001</c:v>
                </c:pt>
                <c:pt idx="44343">
                  <c:v>0.79085072231139597</c:v>
                </c:pt>
                <c:pt idx="44344">
                  <c:v>0.79086855716069204</c:v>
                </c:pt>
                <c:pt idx="44345">
                  <c:v>0.790886392009987</c:v>
                </c:pt>
                <c:pt idx="44346">
                  <c:v>0.79090422685928297</c:v>
                </c:pt>
                <c:pt idx="44347">
                  <c:v>0.79092206170857804</c:v>
                </c:pt>
                <c:pt idx="44348">
                  <c:v>0.790939896557874</c:v>
                </c:pt>
                <c:pt idx="44349">
                  <c:v>0.79095773140716896</c:v>
                </c:pt>
                <c:pt idx="44350">
                  <c:v>0.79097556625646503</c:v>
                </c:pt>
                <c:pt idx="44351">
                  <c:v>0.79099340110576</c:v>
                </c:pt>
                <c:pt idx="44352">
                  <c:v>0.79101123595505596</c:v>
                </c:pt>
                <c:pt idx="44353">
                  <c:v>0.79102907080435103</c:v>
                </c:pt>
                <c:pt idx="44354">
                  <c:v>0.79104690565364699</c:v>
                </c:pt>
                <c:pt idx="44355">
                  <c:v>0.79106474050294195</c:v>
                </c:pt>
                <c:pt idx="44356">
                  <c:v>0.79108257535223803</c:v>
                </c:pt>
                <c:pt idx="44357">
                  <c:v>0.79110041020153299</c:v>
                </c:pt>
                <c:pt idx="44358">
                  <c:v>0.79111824505082895</c:v>
                </c:pt>
                <c:pt idx="44359">
                  <c:v>0.79113607990012402</c:v>
                </c:pt>
                <c:pt idx="44360">
                  <c:v>0.79115391474941998</c:v>
                </c:pt>
                <c:pt idx="44361">
                  <c:v>0.79117174959871595</c:v>
                </c:pt>
                <c:pt idx="44362">
                  <c:v>0.79118958444801102</c:v>
                </c:pt>
                <c:pt idx="44363">
                  <c:v>0.79120741929730698</c:v>
                </c:pt>
                <c:pt idx="44364">
                  <c:v>0.79122525414660205</c:v>
                </c:pt>
                <c:pt idx="44365">
                  <c:v>0.79124308899589801</c:v>
                </c:pt>
                <c:pt idx="44366">
                  <c:v>0.79126092384519298</c:v>
                </c:pt>
                <c:pt idx="44367">
                  <c:v>0.79127875869448905</c:v>
                </c:pt>
                <c:pt idx="44368">
                  <c:v>0.79129659354378401</c:v>
                </c:pt>
                <c:pt idx="44369">
                  <c:v>0.79131442839307997</c:v>
                </c:pt>
                <c:pt idx="44370">
                  <c:v>0.79133226324237504</c:v>
                </c:pt>
                <c:pt idx="44371">
                  <c:v>0.79135009809167101</c:v>
                </c:pt>
                <c:pt idx="44372">
                  <c:v>0.79136793294096597</c:v>
                </c:pt>
                <c:pt idx="44373">
                  <c:v>0.79138576779026204</c:v>
                </c:pt>
                <c:pt idx="44374">
                  <c:v>0.791403602639557</c:v>
                </c:pt>
                <c:pt idx="44375">
                  <c:v>0.79142143748885296</c:v>
                </c:pt>
                <c:pt idx="44376">
                  <c:v>0.79143927233814804</c:v>
                </c:pt>
                <c:pt idx="44377">
                  <c:v>0.791457107187444</c:v>
                </c:pt>
                <c:pt idx="44378">
                  <c:v>0.79147494203673896</c:v>
                </c:pt>
                <c:pt idx="44379">
                  <c:v>0.79149277688603503</c:v>
                </c:pt>
                <c:pt idx="44380">
                  <c:v>0.79151061173532999</c:v>
                </c:pt>
                <c:pt idx="44381">
                  <c:v>0.79152844658462596</c:v>
                </c:pt>
                <c:pt idx="44382">
                  <c:v>0.79154628143392103</c:v>
                </c:pt>
                <c:pt idx="44383">
                  <c:v>0.79156411628321699</c:v>
                </c:pt>
                <c:pt idx="44384">
                  <c:v>0.79158195113251295</c:v>
                </c:pt>
                <c:pt idx="44385">
                  <c:v>0.79159978598180802</c:v>
                </c:pt>
                <c:pt idx="44386">
                  <c:v>0.79161762083110399</c:v>
                </c:pt>
                <c:pt idx="44387">
                  <c:v>0.79163545568039895</c:v>
                </c:pt>
                <c:pt idx="44388">
                  <c:v>0.79165329052969502</c:v>
                </c:pt>
                <c:pt idx="44389">
                  <c:v>0.79167112537898998</c:v>
                </c:pt>
                <c:pt idx="44390">
                  <c:v>0.79168896022828605</c:v>
                </c:pt>
                <c:pt idx="44391">
                  <c:v>0.79170679507758102</c:v>
                </c:pt>
                <c:pt idx="44392">
                  <c:v>0.79172462992687698</c:v>
                </c:pt>
                <c:pt idx="44393">
                  <c:v>0.79174246477617205</c:v>
                </c:pt>
                <c:pt idx="44394">
                  <c:v>0.79176029962546801</c:v>
                </c:pt>
                <c:pt idx="44395">
                  <c:v>0.79177813447476297</c:v>
                </c:pt>
                <c:pt idx="44396">
                  <c:v>0.79179596932405905</c:v>
                </c:pt>
                <c:pt idx="44397">
                  <c:v>0.79181380417335401</c:v>
                </c:pt>
                <c:pt idx="44398">
                  <c:v>0.79183163902264997</c:v>
                </c:pt>
                <c:pt idx="44399">
                  <c:v>0.79184947387194504</c:v>
                </c:pt>
                <c:pt idx="44400">
                  <c:v>0.791867308721241</c:v>
                </c:pt>
                <c:pt idx="44401">
                  <c:v>0.79188514357053597</c:v>
                </c:pt>
                <c:pt idx="44402">
                  <c:v>0.79190297841983204</c:v>
                </c:pt>
                <c:pt idx="44403">
                  <c:v>0.791920813269127</c:v>
                </c:pt>
                <c:pt idx="44404">
                  <c:v>0.79193864811842296</c:v>
                </c:pt>
                <c:pt idx="44405">
                  <c:v>0.79195648296771803</c:v>
                </c:pt>
                <c:pt idx="44406">
                  <c:v>0.791974317817014</c:v>
                </c:pt>
                <c:pt idx="44407">
                  <c:v>0.79199215266630996</c:v>
                </c:pt>
                <c:pt idx="44408">
                  <c:v>0.79200998751560503</c:v>
                </c:pt>
                <c:pt idx="44409">
                  <c:v>0.79202782236490099</c:v>
                </c:pt>
                <c:pt idx="44410">
                  <c:v>0.79204565721419595</c:v>
                </c:pt>
                <c:pt idx="44411">
                  <c:v>0.79206349206349203</c:v>
                </c:pt>
                <c:pt idx="44412">
                  <c:v>0.79208132691278699</c:v>
                </c:pt>
                <c:pt idx="44413">
                  <c:v>0.79209916176208295</c:v>
                </c:pt>
                <c:pt idx="44414">
                  <c:v>0.79211699661137802</c:v>
                </c:pt>
                <c:pt idx="44415">
                  <c:v>0.79213483146067398</c:v>
                </c:pt>
                <c:pt idx="44416">
                  <c:v>0.79215266630996894</c:v>
                </c:pt>
                <c:pt idx="44417">
                  <c:v>0.79217050115926502</c:v>
                </c:pt>
                <c:pt idx="44418">
                  <c:v>0.79218833600855998</c:v>
                </c:pt>
                <c:pt idx="44419">
                  <c:v>0.79220617085785605</c:v>
                </c:pt>
                <c:pt idx="44420">
                  <c:v>0.79222400570715101</c:v>
                </c:pt>
                <c:pt idx="44421">
                  <c:v>0.79224184055644697</c:v>
                </c:pt>
                <c:pt idx="44422">
                  <c:v>0.79225967540574205</c:v>
                </c:pt>
                <c:pt idx="44423">
                  <c:v>0.79227751025503801</c:v>
                </c:pt>
                <c:pt idx="44424">
                  <c:v>0.79229534510433297</c:v>
                </c:pt>
                <c:pt idx="44425">
                  <c:v>0.79231317995362904</c:v>
                </c:pt>
                <c:pt idx="44426">
                  <c:v>0.79233101480292401</c:v>
                </c:pt>
                <c:pt idx="44427">
                  <c:v>0.79234884965221997</c:v>
                </c:pt>
                <c:pt idx="44428">
                  <c:v>0.79236668450151504</c:v>
                </c:pt>
                <c:pt idx="44429">
                  <c:v>0.792384519350811</c:v>
                </c:pt>
                <c:pt idx="44430">
                  <c:v>0.79240235420010696</c:v>
                </c:pt>
                <c:pt idx="44431">
                  <c:v>0.79242018904940204</c:v>
                </c:pt>
                <c:pt idx="44432">
                  <c:v>0.792438023898698</c:v>
                </c:pt>
                <c:pt idx="44433">
                  <c:v>0.79245585874799296</c:v>
                </c:pt>
                <c:pt idx="44434">
                  <c:v>0.79247369359728903</c:v>
                </c:pt>
                <c:pt idx="44435">
                  <c:v>0.79249152844658399</c:v>
                </c:pt>
                <c:pt idx="44436">
                  <c:v>0.79250936329587995</c:v>
                </c:pt>
                <c:pt idx="44437">
                  <c:v>0.79252719814517503</c:v>
                </c:pt>
                <c:pt idx="44438">
                  <c:v>0.79254503299447099</c:v>
                </c:pt>
                <c:pt idx="44439">
                  <c:v>0.79256286784376595</c:v>
                </c:pt>
                <c:pt idx="44440">
                  <c:v>0.79258070269306202</c:v>
                </c:pt>
                <c:pt idx="44441">
                  <c:v>0.79259853754235698</c:v>
                </c:pt>
                <c:pt idx="44442">
                  <c:v>0.79261637239165295</c:v>
                </c:pt>
                <c:pt idx="44443">
                  <c:v>0.79263420724094802</c:v>
                </c:pt>
                <c:pt idx="44444">
                  <c:v>0.79265204209024398</c:v>
                </c:pt>
                <c:pt idx="44445">
                  <c:v>0.79266987693953905</c:v>
                </c:pt>
                <c:pt idx="44446">
                  <c:v>0.79268771178883501</c:v>
                </c:pt>
                <c:pt idx="44447">
                  <c:v>0.79270554663812998</c:v>
                </c:pt>
                <c:pt idx="44448">
                  <c:v>0.79272338148742605</c:v>
                </c:pt>
                <c:pt idx="44449">
                  <c:v>0.79274121633672201</c:v>
                </c:pt>
                <c:pt idx="44450">
                  <c:v>0.79275905118601697</c:v>
                </c:pt>
                <c:pt idx="44451">
                  <c:v>0.79277688603531304</c:v>
                </c:pt>
                <c:pt idx="44452">
                  <c:v>0.79279472088460801</c:v>
                </c:pt>
                <c:pt idx="44453">
                  <c:v>0.79281255573390397</c:v>
                </c:pt>
                <c:pt idx="44454">
                  <c:v>0.79283039058319904</c:v>
                </c:pt>
                <c:pt idx="44455">
                  <c:v>0.792848225432495</c:v>
                </c:pt>
                <c:pt idx="44456">
                  <c:v>0.79286606028178996</c:v>
                </c:pt>
                <c:pt idx="44457">
                  <c:v>0.79288389513108604</c:v>
                </c:pt>
                <c:pt idx="44458">
                  <c:v>0.792901729980381</c:v>
                </c:pt>
                <c:pt idx="44459">
                  <c:v>0.79291956482967696</c:v>
                </c:pt>
                <c:pt idx="44460">
                  <c:v>0.79293739967897203</c:v>
                </c:pt>
                <c:pt idx="44461">
                  <c:v>0.79295523452826799</c:v>
                </c:pt>
                <c:pt idx="44462">
                  <c:v>0.79297306937756296</c:v>
                </c:pt>
                <c:pt idx="44463">
                  <c:v>0.79299090422685903</c:v>
                </c:pt>
                <c:pt idx="44464">
                  <c:v>0.79300873907615399</c:v>
                </c:pt>
                <c:pt idx="44465">
                  <c:v>0.79302657392544995</c:v>
                </c:pt>
                <c:pt idx="44466">
                  <c:v>0.79304440877474502</c:v>
                </c:pt>
                <c:pt idx="44467">
                  <c:v>0.79306224362404099</c:v>
                </c:pt>
                <c:pt idx="44468">
                  <c:v>0.79308007847333695</c:v>
                </c:pt>
                <c:pt idx="44469">
                  <c:v>0.79309791332263202</c:v>
                </c:pt>
                <c:pt idx="44470">
                  <c:v>0.79311574817192798</c:v>
                </c:pt>
                <c:pt idx="44471">
                  <c:v>0.79313358302122305</c:v>
                </c:pt>
                <c:pt idx="44472">
                  <c:v>0.79315141787051902</c:v>
                </c:pt>
                <c:pt idx="44473">
                  <c:v>0.79316925271981398</c:v>
                </c:pt>
                <c:pt idx="44474">
                  <c:v>0.79318708756911005</c:v>
                </c:pt>
                <c:pt idx="44475">
                  <c:v>0.79320492241840501</c:v>
                </c:pt>
                <c:pt idx="44476">
                  <c:v>0.79322275726770097</c:v>
                </c:pt>
                <c:pt idx="44477">
                  <c:v>0.79324059211699605</c:v>
                </c:pt>
                <c:pt idx="44478">
                  <c:v>0.79325842696629201</c:v>
                </c:pt>
                <c:pt idx="44479">
                  <c:v>0.79327626181558697</c:v>
                </c:pt>
                <c:pt idx="44480">
                  <c:v>0.79329409666488304</c:v>
                </c:pt>
                <c:pt idx="44481">
                  <c:v>0.793311931514178</c:v>
                </c:pt>
                <c:pt idx="44482">
                  <c:v>0.79332976636347396</c:v>
                </c:pt>
                <c:pt idx="44483">
                  <c:v>0.79334760121276904</c:v>
                </c:pt>
                <c:pt idx="44484">
                  <c:v>0.793365436062065</c:v>
                </c:pt>
                <c:pt idx="44485">
                  <c:v>0.79338327091135996</c:v>
                </c:pt>
                <c:pt idx="44486">
                  <c:v>0.79340110576065603</c:v>
                </c:pt>
                <c:pt idx="44487">
                  <c:v>0.793418940609951</c:v>
                </c:pt>
                <c:pt idx="44488">
                  <c:v>0.79343677545924696</c:v>
                </c:pt>
                <c:pt idx="44489">
                  <c:v>0.79345461030854203</c:v>
                </c:pt>
                <c:pt idx="44490">
                  <c:v>0.79347244515783799</c:v>
                </c:pt>
                <c:pt idx="44491">
                  <c:v>0.79349028000713395</c:v>
                </c:pt>
                <c:pt idx="44492">
                  <c:v>0.79350811485642903</c:v>
                </c:pt>
                <c:pt idx="44493">
                  <c:v>0.79352594970572499</c:v>
                </c:pt>
                <c:pt idx="44494">
                  <c:v>0.79354378455501995</c:v>
                </c:pt>
                <c:pt idx="44495">
                  <c:v>0.79356161940431602</c:v>
                </c:pt>
                <c:pt idx="44496">
                  <c:v>0.79357945425361098</c:v>
                </c:pt>
                <c:pt idx="44497">
                  <c:v>0.79359728910290706</c:v>
                </c:pt>
                <c:pt idx="44498">
                  <c:v>0.79361512395220202</c:v>
                </c:pt>
                <c:pt idx="44499">
                  <c:v>0.79363295880149798</c:v>
                </c:pt>
                <c:pt idx="44500">
                  <c:v>0.79365079365079305</c:v>
                </c:pt>
                <c:pt idx="44501">
                  <c:v>0.79366862850008901</c:v>
                </c:pt>
                <c:pt idx="44502">
                  <c:v>0.79368646334938397</c:v>
                </c:pt>
                <c:pt idx="44503">
                  <c:v>0.79370429819868005</c:v>
                </c:pt>
                <c:pt idx="44504">
                  <c:v>0.79372213304797501</c:v>
                </c:pt>
                <c:pt idx="44505">
                  <c:v>0.79373996789727097</c:v>
                </c:pt>
                <c:pt idx="44506">
                  <c:v>0.79375780274656604</c:v>
                </c:pt>
                <c:pt idx="44507">
                  <c:v>0.793775637595862</c:v>
                </c:pt>
                <c:pt idx="44508">
                  <c:v>0.79379347244515697</c:v>
                </c:pt>
                <c:pt idx="44509">
                  <c:v>0.79381130729445304</c:v>
                </c:pt>
                <c:pt idx="44510">
                  <c:v>0.793829142143748</c:v>
                </c:pt>
                <c:pt idx="44511">
                  <c:v>0.79384697699304396</c:v>
                </c:pt>
                <c:pt idx="44512">
                  <c:v>0.79386481184233904</c:v>
                </c:pt>
                <c:pt idx="44513">
                  <c:v>0.793882646691635</c:v>
                </c:pt>
                <c:pt idx="44514">
                  <c:v>0.79390048154093096</c:v>
                </c:pt>
                <c:pt idx="44515">
                  <c:v>0.79391831639022603</c:v>
                </c:pt>
                <c:pt idx="44516">
                  <c:v>0.79393615123952199</c:v>
                </c:pt>
                <c:pt idx="44517">
                  <c:v>0.79395398608881695</c:v>
                </c:pt>
                <c:pt idx="44518">
                  <c:v>0.79397182093811303</c:v>
                </c:pt>
                <c:pt idx="44519">
                  <c:v>0.79398965578740799</c:v>
                </c:pt>
                <c:pt idx="44520">
                  <c:v>0.79400749063670395</c:v>
                </c:pt>
                <c:pt idx="44521">
                  <c:v>0.79402532548599902</c:v>
                </c:pt>
                <c:pt idx="44522">
                  <c:v>0.79404316033529498</c:v>
                </c:pt>
                <c:pt idx="44523">
                  <c:v>0.79406099518458995</c:v>
                </c:pt>
                <c:pt idx="44524">
                  <c:v>0.79407883003388602</c:v>
                </c:pt>
                <c:pt idx="44525">
                  <c:v>0.79409666488318098</c:v>
                </c:pt>
                <c:pt idx="44526">
                  <c:v>0.79411449973247705</c:v>
                </c:pt>
                <c:pt idx="44527">
                  <c:v>0.79413233458177201</c:v>
                </c:pt>
                <c:pt idx="44528">
                  <c:v>0.79415016943106798</c:v>
                </c:pt>
                <c:pt idx="44529">
                  <c:v>0.79416800428036305</c:v>
                </c:pt>
                <c:pt idx="44530">
                  <c:v>0.79418583912965901</c:v>
                </c:pt>
                <c:pt idx="44531">
                  <c:v>0.79420367397895397</c:v>
                </c:pt>
                <c:pt idx="44532">
                  <c:v>0.79422150882825004</c:v>
                </c:pt>
                <c:pt idx="44533">
                  <c:v>0.79423934367754501</c:v>
                </c:pt>
                <c:pt idx="44534">
                  <c:v>0.79425717852684097</c:v>
                </c:pt>
                <c:pt idx="44535">
                  <c:v>0.79427501337613604</c:v>
                </c:pt>
                <c:pt idx="44536">
                  <c:v>0.794292848225432</c:v>
                </c:pt>
                <c:pt idx="44537">
                  <c:v>0.79431068307472796</c:v>
                </c:pt>
                <c:pt idx="44538">
                  <c:v>0.79432851792402304</c:v>
                </c:pt>
                <c:pt idx="44539">
                  <c:v>0.794346352773319</c:v>
                </c:pt>
                <c:pt idx="44540">
                  <c:v>0.79436418762261396</c:v>
                </c:pt>
                <c:pt idx="44541">
                  <c:v>0.79438202247191003</c:v>
                </c:pt>
                <c:pt idx="44542">
                  <c:v>0.79439985732120499</c:v>
                </c:pt>
                <c:pt idx="44543">
                  <c:v>0.79441769217050096</c:v>
                </c:pt>
                <c:pt idx="44544">
                  <c:v>0.79443552701979603</c:v>
                </c:pt>
                <c:pt idx="44545">
                  <c:v>0.79445336186909199</c:v>
                </c:pt>
                <c:pt idx="44546">
                  <c:v>0.79447119671838695</c:v>
                </c:pt>
                <c:pt idx="44547">
                  <c:v>0.79448903156768302</c:v>
                </c:pt>
                <c:pt idx="44548">
                  <c:v>0.79450686641697799</c:v>
                </c:pt>
                <c:pt idx="44549">
                  <c:v>0.79452470126627395</c:v>
                </c:pt>
                <c:pt idx="44550">
                  <c:v>0.79454253611556902</c:v>
                </c:pt>
                <c:pt idx="44551">
                  <c:v>0.79456037096486498</c:v>
                </c:pt>
                <c:pt idx="44552">
                  <c:v>0.79457820581416005</c:v>
                </c:pt>
                <c:pt idx="44553">
                  <c:v>0.79459604066345602</c:v>
                </c:pt>
                <c:pt idx="44554">
                  <c:v>0.79461387551275098</c:v>
                </c:pt>
                <c:pt idx="44555">
                  <c:v>0.79463171036204705</c:v>
                </c:pt>
                <c:pt idx="44556">
                  <c:v>0.79464954521134301</c:v>
                </c:pt>
                <c:pt idx="44557">
                  <c:v>0.79466738006063797</c:v>
                </c:pt>
                <c:pt idx="44558">
                  <c:v>0.79468521490993405</c:v>
                </c:pt>
                <c:pt idx="44559">
                  <c:v>0.79470304975922901</c:v>
                </c:pt>
                <c:pt idx="44560">
                  <c:v>0.79472088460852497</c:v>
                </c:pt>
                <c:pt idx="44561">
                  <c:v>0.79473871945782004</c:v>
                </c:pt>
                <c:pt idx="44562">
                  <c:v>0.794756554307116</c:v>
                </c:pt>
                <c:pt idx="44563">
                  <c:v>0.79477438915641097</c:v>
                </c:pt>
                <c:pt idx="44564">
                  <c:v>0.79479222400570704</c:v>
                </c:pt>
                <c:pt idx="44565">
                  <c:v>0.794810058855002</c:v>
                </c:pt>
                <c:pt idx="44566">
                  <c:v>0.79482789370429796</c:v>
                </c:pt>
                <c:pt idx="44567">
                  <c:v>0.79484572855359303</c:v>
                </c:pt>
                <c:pt idx="44568">
                  <c:v>0.794863563402889</c:v>
                </c:pt>
                <c:pt idx="44569">
                  <c:v>0.79488139825218396</c:v>
                </c:pt>
                <c:pt idx="44570">
                  <c:v>0.79489923310148003</c:v>
                </c:pt>
                <c:pt idx="44571">
                  <c:v>0.79491706795077499</c:v>
                </c:pt>
                <c:pt idx="44572">
                  <c:v>0.79493490280007095</c:v>
                </c:pt>
                <c:pt idx="44573">
                  <c:v>0.79495273764936603</c:v>
                </c:pt>
                <c:pt idx="44574">
                  <c:v>0.79497057249866199</c:v>
                </c:pt>
                <c:pt idx="44575">
                  <c:v>0.79498840734795795</c:v>
                </c:pt>
                <c:pt idx="44576">
                  <c:v>0.79500624219725302</c:v>
                </c:pt>
                <c:pt idx="44577">
                  <c:v>0.79502407704654898</c:v>
                </c:pt>
                <c:pt idx="44578">
                  <c:v>0.79504191189584394</c:v>
                </c:pt>
                <c:pt idx="44579">
                  <c:v>0.79505974674514002</c:v>
                </c:pt>
                <c:pt idx="44580">
                  <c:v>0.79507758159443498</c:v>
                </c:pt>
                <c:pt idx="44581">
                  <c:v>0.79509541644373105</c:v>
                </c:pt>
                <c:pt idx="44582">
                  <c:v>0.79511325129302601</c:v>
                </c:pt>
                <c:pt idx="44583">
                  <c:v>0.79513108614232197</c:v>
                </c:pt>
                <c:pt idx="44584">
                  <c:v>0.79514892099161705</c:v>
                </c:pt>
                <c:pt idx="44585">
                  <c:v>0.79516675584091301</c:v>
                </c:pt>
                <c:pt idx="44586">
                  <c:v>0.79518459069020797</c:v>
                </c:pt>
                <c:pt idx="44587">
                  <c:v>0.79520242553950404</c:v>
                </c:pt>
                <c:pt idx="44588">
                  <c:v>0.79522026038879901</c:v>
                </c:pt>
                <c:pt idx="44589">
                  <c:v>0.79523809523809497</c:v>
                </c:pt>
                <c:pt idx="44590">
                  <c:v>0.79525593008739004</c:v>
                </c:pt>
                <c:pt idx="44591">
                  <c:v>0.795273764936686</c:v>
                </c:pt>
                <c:pt idx="44592">
                  <c:v>0.79529159978598096</c:v>
                </c:pt>
                <c:pt idx="44593">
                  <c:v>0.79530943463527703</c:v>
                </c:pt>
                <c:pt idx="44594">
                  <c:v>0.795327269484572</c:v>
                </c:pt>
                <c:pt idx="44595">
                  <c:v>0.79534510433386796</c:v>
                </c:pt>
                <c:pt idx="44596">
                  <c:v>0.79536293918316303</c:v>
                </c:pt>
                <c:pt idx="44597">
                  <c:v>0.79538077403245899</c:v>
                </c:pt>
                <c:pt idx="44598">
                  <c:v>0.79539860888175495</c:v>
                </c:pt>
                <c:pt idx="44599">
                  <c:v>0.79541644373105003</c:v>
                </c:pt>
                <c:pt idx="44600">
                  <c:v>0.79543427858034599</c:v>
                </c:pt>
                <c:pt idx="44601">
                  <c:v>0.79545211342964095</c:v>
                </c:pt>
                <c:pt idx="44602">
                  <c:v>0.79546994827893702</c:v>
                </c:pt>
                <c:pt idx="44603">
                  <c:v>0.79548778312823198</c:v>
                </c:pt>
                <c:pt idx="44604">
                  <c:v>0.79550561797752795</c:v>
                </c:pt>
                <c:pt idx="44605">
                  <c:v>0.79552345282682302</c:v>
                </c:pt>
                <c:pt idx="44606">
                  <c:v>0.79554128767611898</c:v>
                </c:pt>
                <c:pt idx="44607">
                  <c:v>0.79555912252541405</c:v>
                </c:pt>
                <c:pt idx="44608">
                  <c:v>0.79557695737471001</c:v>
                </c:pt>
                <c:pt idx="44609">
                  <c:v>0.79559479222400498</c:v>
                </c:pt>
                <c:pt idx="44610">
                  <c:v>0.79561262707330105</c:v>
                </c:pt>
                <c:pt idx="44611">
                  <c:v>0.79563046192259601</c:v>
                </c:pt>
                <c:pt idx="44612">
                  <c:v>0.79564829677189197</c:v>
                </c:pt>
                <c:pt idx="44613">
                  <c:v>0.79566613162118704</c:v>
                </c:pt>
                <c:pt idx="44614">
                  <c:v>0.79568396647048301</c:v>
                </c:pt>
                <c:pt idx="44615">
                  <c:v>0.79570180131977797</c:v>
                </c:pt>
                <c:pt idx="44616">
                  <c:v>0.79571963616907404</c:v>
                </c:pt>
                <c:pt idx="44617">
                  <c:v>0.795737471018369</c:v>
                </c:pt>
                <c:pt idx="44618">
                  <c:v>0.79575530586766496</c:v>
                </c:pt>
                <c:pt idx="44619">
                  <c:v>0.79577314071696004</c:v>
                </c:pt>
                <c:pt idx="44620">
                  <c:v>0.795790975566256</c:v>
                </c:pt>
                <c:pt idx="44621">
                  <c:v>0.79580881041555196</c:v>
                </c:pt>
                <c:pt idx="44622">
                  <c:v>0.79582664526484703</c:v>
                </c:pt>
                <c:pt idx="44623">
                  <c:v>0.79584448011414299</c:v>
                </c:pt>
                <c:pt idx="44624">
                  <c:v>0.79586231496343796</c:v>
                </c:pt>
                <c:pt idx="44625">
                  <c:v>0.79588014981273403</c:v>
                </c:pt>
                <c:pt idx="44626">
                  <c:v>0.79589798466202899</c:v>
                </c:pt>
                <c:pt idx="44627">
                  <c:v>0.79591581951132495</c:v>
                </c:pt>
                <c:pt idx="44628">
                  <c:v>0.79593365436062002</c:v>
                </c:pt>
                <c:pt idx="44629">
                  <c:v>0.79595148920991599</c:v>
                </c:pt>
                <c:pt idx="44630">
                  <c:v>0.79596932405921095</c:v>
                </c:pt>
                <c:pt idx="44631">
                  <c:v>0.79598715890850702</c:v>
                </c:pt>
                <c:pt idx="44632">
                  <c:v>0.79600499375780198</c:v>
                </c:pt>
                <c:pt idx="44633">
                  <c:v>0.79602282860709805</c:v>
                </c:pt>
                <c:pt idx="44634">
                  <c:v>0.79604066345639302</c:v>
                </c:pt>
                <c:pt idx="44635">
                  <c:v>0.79605849830568898</c:v>
                </c:pt>
                <c:pt idx="44636">
                  <c:v>0.79607633315498405</c:v>
                </c:pt>
                <c:pt idx="44637">
                  <c:v>0.79609416800428001</c:v>
                </c:pt>
                <c:pt idx="44638">
                  <c:v>0.79611200285357497</c:v>
                </c:pt>
                <c:pt idx="44639">
                  <c:v>0.79612983770287105</c:v>
                </c:pt>
                <c:pt idx="44640">
                  <c:v>0.79614767255216601</c:v>
                </c:pt>
                <c:pt idx="44641">
                  <c:v>0.79616550740146197</c:v>
                </c:pt>
                <c:pt idx="44642">
                  <c:v>0.79618334225075704</c:v>
                </c:pt>
                <c:pt idx="44643">
                  <c:v>0.796201177100053</c:v>
                </c:pt>
                <c:pt idx="44644">
                  <c:v>0.79621901194934896</c:v>
                </c:pt>
                <c:pt idx="44645">
                  <c:v>0.79623684679864404</c:v>
                </c:pt>
                <c:pt idx="44646">
                  <c:v>0.79625468164794</c:v>
                </c:pt>
                <c:pt idx="44647">
                  <c:v>0.79627251649723496</c:v>
                </c:pt>
                <c:pt idx="44648">
                  <c:v>0.79629035134653103</c:v>
                </c:pt>
                <c:pt idx="44649">
                  <c:v>0.796308186195826</c:v>
                </c:pt>
                <c:pt idx="44650">
                  <c:v>0.79632602104512196</c:v>
                </c:pt>
                <c:pt idx="44651">
                  <c:v>0.79634385589441703</c:v>
                </c:pt>
                <c:pt idx="44652">
                  <c:v>0.79636169074371299</c:v>
                </c:pt>
                <c:pt idx="44653">
                  <c:v>0.79637952559300795</c:v>
                </c:pt>
                <c:pt idx="44654">
                  <c:v>0.79639736044230403</c:v>
                </c:pt>
                <c:pt idx="44655">
                  <c:v>0.79641519529159899</c:v>
                </c:pt>
                <c:pt idx="44656">
                  <c:v>0.79643303014089495</c:v>
                </c:pt>
                <c:pt idx="44657">
                  <c:v>0.79645086499019002</c:v>
                </c:pt>
                <c:pt idx="44658">
                  <c:v>0.79646869983948598</c:v>
                </c:pt>
                <c:pt idx="44659">
                  <c:v>0.79648653468878094</c:v>
                </c:pt>
                <c:pt idx="44660">
                  <c:v>0.79650436953807702</c:v>
                </c:pt>
                <c:pt idx="44661">
                  <c:v>0.79652220438737298</c:v>
                </c:pt>
                <c:pt idx="44662">
                  <c:v>0.79654003923666805</c:v>
                </c:pt>
                <c:pt idx="44663">
                  <c:v>0.79655787408596401</c:v>
                </c:pt>
                <c:pt idx="44664">
                  <c:v>0.79657570893525897</c:v>
                </c:pt>
                <c:pt idx="44665">
                  <c:v>0.79659354378455505</c:v>
                </c:pt>
                <c:pt idx="44666">
                  <c:v>0.79661137863385001</c:v>
                </c:pt>
                <c:pt idx="44667">
                  <c:v>0.79662921348314597</c:v>
                </c:pt>
                <c:pt idx="44668">
                  <c:v>0.79664704833244104</c:v>
                </c:pt>
                <c:pt idx="44669">
                  <c:v>0.796664883181737</c:v>
                </c:pt>
                <c:pt idx="44670">
                  <c:v>0.79668271803103197</c:v>
                </c:pt>
                <c:pt idx="44671">
                  <c:v>0.79670055288032804</c:v>
                </c:pt>
                <c:pt idx="44672">
                  <c:v>0.796718387729623</c:v>
                </c:pt>
                <c:pt idx="44673">
                  <c:v>0.79673622257891896</c:v>
                </c:pt>
                <c:pt idx="44674">
                  <c:v>0.79675405742821404</c:v>
                </c:pt>
                <c:pt idx="44675">
                  <c:v>0.79677189227751</c:v>
                </c:pt>
                <c:pt idx="44676">
                  <c:v>0.79678972712680496</c:v>
                </c:pt>
                <c:pt idx="44677">
                  <c:v>0.79680756197610103</c:v>
                </c:pt>
                <c:pt idx="44678">
                  <c:v>0.79682539682539599</c:v>
                </c:pt>
                <c:pt idx="44679">
                  <c:v>0.79684323167469195</c:v>
                </c:pt>
                <c:pt idx="44680">
                  <c:v>0.79686106652398703</c:v>
                </c:pt>
                <c:pt idx="44681">
                  <c:v>0.79687890137328299</c:v>
                </c:pt>
                <c:pt idx="44682">
                  <c:v>0.79689673622257895</c:v>
                </c:pt>
                <c:pt idx="44683">
                  <c:v>0.79691457107187402</c:v>
                </c:pt>
                <c:pt idx="44684">
                  <c:v>0.79693240592116998</c:v>
                </c:pt>
                <c:pt idx="44685">
                  <c:v>0.79695024077046495</c:v>
                </c:pt>
                <c:pt idx="44686">
                  <c:v>0.79696807561976102</c:v>
                </c:pt>
                <c:pt idx="44687">
                  <c:v>0.79698591046905598</c:v>
                </c:pt>
                <c:pt idx="44688">
                  <c:v>0.79700374531835205</c:v>
                </c:pt>
                <c:pt idx="44689">
                  <c:v>0.79702158016764701</c:v>
                </c:pt>
                <c:pt idx="44690">
                  <c:v>0.79703941501694298</c:v>
                </c:pt>
                <c:pt idx="44691">
                  <c:v>0.79705724986623805</c:v>
                </c:pt>
                <c:pt idx="44692">
                  <c:v>0.79707508471553401</c:v>
                </c:pt>
                <c:pt idx="44693">
                  <c:v>0.79709291956482897</c:v>
                </c:pt>
                <c:pt idx="44694">
                  <c:v>0.79711075441412504</c:v>
                </c:pt>
                <c:pt idx="44695">
                  <c:v>0.79712858926342001</c:v>
                </c:pt>
                <c:pt idx="44696">
                  <c:v>0.79714642411271597</c:v>
                </c:pt>
                <c:pt idx="44697">
                  <c:v>0.79716425896201104</c:v>
                </c:pt>
                <c:pt idx="44698">
                  <c:v>0.797182093811307</c:v>
                </c:pt>
                <c:pt idx="44699">
                  <c:v>0.79719992866060196</c:v>
                </c:pt>
                <c:pt idx="44700">
                  <c:v>0.79721776350989804</c:v>
                </c:pt>
                <c:pt idx="44701">
                  <c:v>0.797235598359193</c:v>
                </c:pt>
                <c:pt idx="44702">
                  <c:v>0.79725343320848896</c:v>
                </c:pt>
                <c:pt idx="44703">
                  <c:v>0.79727126805778403</c:v>
                </c:pt>
                <c:pt idx="44704">
                  <c:v>0.79728910290707999</c:v>
                </c:pt>
                <c:pt idx="44705">
                  <c:v>0.79730693775637596</c:v>
                </c:pt>
                <c:pt idx="44706">
                  <c:v>0.79732477260567103</c:v>
                </c:pt>
                <c:pt idx="44707">
                  <c:v>0.79734260745496699</c:v>
                </c:pt>
                <c:pt idx="44708">
                  <c:v>0.79736044230426195</c:v>
                </c:pt>
                <c:pt idx="44709">
                  <c:v>0.79737827715355802</c:v>
                </c:pt>
                <c:pt idx="44710">
                  <c:v>0.79739611200285299</c:v>
                </c:pt>
                <c:pt idx="44711">
                  <c:v>0.79741394685214895</c:v>
                </c:pt>
                <c:pt idx="44712">
                  <c:v>0.79743178170144402</c:v>
                </c:pt>
                <c:pt idx="44713">
                  <c:v>0.79744961655073998</c:v>
                </c:pt>
                <c:pt idx="44714">
                  <c:v>0.79746745140003505</c:v>
                </c:pt>
                <c:pt idx="44715">
                  <c:v>0.79748528624933102</c:v>
                </c:pt>
                <c:pt idx="44716">
                  <c:v>0.79750312109862598</c:v>
                </c:pt>
                <c:pt idx="44717">
                  <c:v>0.79752095594792205</c:v>
                </c:pt>
                <c:pt idx="44718">
                  <c:v>0.79753879079721701</c:v>
                </c:pt>
                <c:pt idx="44719">
                  <c:v>0.79755662564651297</c:v>
                </c:pt>
                <c:pt idx="44720">
                  <c:v>0.79757446049580805</c:v>
                </c:pt>
                <c:pt idx="44721">
                  <c:v>0.79759229534510401</c:v>
                </c:pt>
                <c:pt idx="44722">
                  <c:v>0.79761013019439897</c:v>
                </c:pt>
                <c:pt idx="44723">
                  <c:v>0.79762796504369504</c:v>
                </c:pt>
                <c:pt idx="44724">
                  <c:v>0.79764579989299</c:v>
                </c:pt>
                <c:pt idx="44725">
                  <c:v>0.79766363474228597</c:v>
                </c:pt>
                <c:pt idx="44726">
                  <c:v>0.79768146959158104</c:v>
                </c:pt>
                <c:pt idx="44727">
                  <c:v>0.797699304440877</c:v>
                </c:pt>
                <c:pt idx="44728">
                  <c:v>0.79771713929017296</c:v>
                </c:pt>
                <c:pt idx="44729">
                  <c:v>0.79773497413946803</c:v>
                </c:pt>
                <c:pt idx="44730">
                  <c:v>0.797752808988764</c:v>
                </c:pt>
                <c:pt idx="44731">
                  <c:v>0.79777064383805896</c:v>
                </c:pt>
                <c:pt idx="44732">
                  <c:v>0.79778847868735503</c:v>
                </c:pt>
                <c:pt idx="44733">
                  <c:v>0.79780631353664999</c:v>
                </c:pt>
                <c:pt idx="44734">
                  <c:v>0.79782414838594595</c:v>
                </c:pt>
                <c:pt idx="44735">
                  <c:v>0.79784198323524103</c:v>
                </c:pt>
                <c:pt idx="44736">
                  <c:v>0.79785981808453699</c:v>
                </c:pt>
                <c:pt idx="44737">
                  <c:v>0.79787765293383195</c:v>
                </c:pt>
                <c:pt idx="44738">
                  <c:v>0.79789548778312802</c:v>
                </c:pt>
                <c:pt idx="44739">
                  <c:v>0.79791332263242298</c:v>
                </c:pt>
                <c:pt idx="44740">
                  <c:v>0.79793115748171894</c:v>
                </c:pt>
                <c:pt idx="44741">
                  <c:v>0.79794899233101402</c:v>
                </c:pt>
                <c:pt idx="44742">
                  <c:v>0.79796682718030998</c:v>
                </c:pt>
                <c:pt idx="44743">
                  <c:v>0.79798466202960505</c:v>
                </c:pt>
                <c:pt idx="44744">
                  <c:v>0.79800249687890101</c:v>
                </c:pt>
                <c:pt idx="44745">
                  <c:v>0.79802033172819598</c:v>
                </c:pt>
                <c:pt idx="44746">
                  <c:v>0.79803816657749205</c:v>
                </c:pt>
                <c:pt idx="44747">
                  <c:v>0.79805600142678701</c:v>
                </c:pt>
                <c:pt idx="44748">
                  <c:v>0.79807383627608297</c:v>
                </c:pt>
                <c:pt idx="44749">
                  <c:v>0.79809167112537904</c:v>
                </c:pt>
                <c:pt idx="44750">
                  <c:v>0.79810950597467401</c:v>
                </c:pt>
                <c:pt idx="44751">
                  <c:v>0.79812734082396997</c:v>
                </c:pt>
                <c:pt idx="44752">
                  <c:v>0.79814517567326504</c:v>
                </c:pt>
                <c:pt idx="44753">
                  <c:v>0.798163010522561</c:v>
                </c:pt>
                <c:pt idx="44754">
                  <c:v>0.79818084537185596</c:v>
                </c:pt>
                <c:pt idx="44755">
                  <c:v>0.79819868022115203</c:v>
                </c:pt>
                <c:pt idx="44756">
                  <c:v>0.798216515070447</c:v>
                </c:pt>
                <c:pt idx="44757">
                  <c:v>0.79823434991974296</c:v>
                </c:pt>
                <c:pt idx="44758">
                  <c:v>0.79825218476903803</c:v>
                </c:pt>
                <c:pt idx="44759">
                  <c:v>0.79827001961833399</c:v>
                </c:pt>
                <c:pt idx="44760">
                  <c:v>0.79828785446762895</c:v>
                </c:pt>
                <c:pt idx="44761">
                  <c:v>0.79830568931692503</c:v>
                </c:pt>
                <c:pt idx="44762">
                  <c:v>0.79832352416621999</c:v>
                </c:pt>
                <c:pt idx="44763">
                  <c:v>0.79834135901551595</c:v>
                </c:pt>
                <c:pt idx="44764">
                  <c:v>0.79835919386481102</c:v>
                </c:pt>
                <c:pt idx="44765">
                  <c:v>0.79837702871410698</c:v>
                </c:pt>
                <c:pt idx="44766">
                  <c:v>0.79839486356340195</c:v>
                </c:pt>
                <c:pt idx="44767">
                  <c:v>0.79841269841269802</c:v>
                </c:pt>
                <c:pt idx="44768">
                  <c:v>0.79843053326199398</c:v>
                </c:pt>
                <c:pt idx="44769">
                  <c:v>0.79844836811128905</c:v>
                </c:pt>
                <c:pt idx="44770">
                  <c:v>0.79846620296058501</c:v>
                </c:pt>
                <c:pt idx="44771">
                  <c:v>0.79848403780987998</c:v>
                </c:pt>
                <c:pt idx="44772">
                  <c:v>0.79850187265917605</c:v>
                </c:pt>
                <c:pt idx="44773">
                  <c:v>0.79851970750847101</c:v>
                </c:pt>
                <c:pt idx="44774">
                  <c:v>0.79853754235776697</c:v>
                </c:pt>
                <c:pt idx="44775">
                  <c:v>0.79855537720706204</c:v>
                </c:pt>
                <c:pt idx="44776">
                  <c:v>0.79857321205635801</c:v>
                </c:pt>
                <c:pt idx="44777">
                  <c:v>0.79859104690565297</c:v>
                </c:pt>
                <c:pt idx="44778">
                  <c:v>0.79860888175494904</c:v>
                </c:pt>
                <c:pt idx="44779">
                  <c:v>0.798626716604244</c:v>
                </c:pt>
                <c:pt idx="44780">
                  <c:v>0.79864455145353996</c:v>
                </c:pt>
                <c:pt idx="44781">
                  <c:v>0.79866238630283504</c:v>
                </c:pt>
                <c:pt idx="44782">
                  <c:v>0.798680221152131</c:v>
                </c:pt>
                <c:pt idx="44783">
                  <c:v>0.79869805600142596</c:v>
                </c:pt>
                <c:pt idx="44784">
                  <c:v>0.79871589085072203</c:v>
                </c:pt>
                <c:pt idx="44785">
                  <c:v>0.79873372570001699</c:v>
                </c:pt>
                <c:pt idx="44786">
                  <c:v>0.79875156054931296</c:v>
                </c:pt>
                <c:pt idx="44787">
                  <c:v>0.79876939539860803</c:v>
                </c:pt>
                <c:pt idx="44788">
                  <c:v>0.79878723024790399</c:v>
                </c:pt>
                <c:pt idx="44789">
                  <c:v>0.79880506509719995</c:v>
                </c:pt>
                <c:pt idx="44790">
                  <c:v>0.79882289994649502</c:v>
                </c:pt>
                <c:pt idx="44791">
                  <c:v>0.79884073479579099</c:v>
                </c:pt>
                <c:pt idx="44792">
                  <c:v>0.79885856964508595</c:v>
                </c:pt>
                <c:pt idx="44793">
                  <c:v>0.79887640449438202</c:v>
                </c:pt>
                <c:pt idx="44794">
                  <c:v>0.79889423934367698</c:v>
                </c:pt>
                <c:pt idx="44795">
                  <c:v>0.79891207419297305</c:v>
                </c:pt>
                <c:pt idx="44796">
                  <c:v>0.79892990904226802</c:v>
                </c:pt>
                <c:pt idx="44797">
                  <c:v>0.79894774389156398</c:v>
                </c:pt>
                <c:pt idx="44798">
                  <c:v>0.79896557874085905</c:v>
                </c:pt>
                <c:pt idx="44799">
                  <c:v>0.79898341359015501</c:v>
                </c:pt>
                <c:pt idx="44800">
                  <c:v>0.79900124843944997</c:v>
                </c:pt>
                <c:pt idx="44801">
                  <c:v>0.79901908328874605</c:v>
                </c:pt>
                <c:pt idx="44802">
                  <c:v>0.79903691813804101</c:v>
                </c:pt>
                <c:pt idx="44803">
                  <c:v>0.79905475298733697</c:v>
                </c:pt>
                <c:pt idx="44804">
                  <c:v>0.79907258783663204</c:v>
                </c:pt>
                <c:pt idx="44805">
                  <c:v>0.799090422685928</c:v>
                </c:pt>
                <c:pt idx="44806">
                  <c:v>0.79910825753522297</c:v>
                </c:pt>
                <c:pt idx="44807">
                  <c:v>0.79912609238451904</c:v>
                </c:pt>
                <c:pt idx="44808">
                  <c:v>0.799143927233814</c:v>
                </c:pt>
                <c:pt idx="44809">
                  <c:v>0.79916176208310996</c:v>
                </c:pt>
                <c:pt idx="44810">
                  <c:v>0.79917959693240503</c:v>
                </c:pt>
                <c:pt idx="44811">
                  <c:v>0.799197431781701</c:v>
                </c:pt>
                <c:pt idx="44812">
                  <c:v>0.79921526663099696</c:v>
                </c:pt>
                <c:pt idx="44813">
                  <c:v>0.79923310148029203</c:v>
                </c:pt>
                <c:pt idx="44814">
                  <c:v>0.79925093632958799</c:v>
                </c:pt>
                <c:pt idx="44815">
                  <c:v>0.79926877117888295</c:v>
                </c:pt>
                <c:pt idx="44816">
                  <c:v>0.79928660602817903</c:v>
                </c:pt>
                <c:pt idx="44817">
                  <c:v>0.79930444087747399</c:v>
                </c:pt>
                <c:pt idx="44818">
                  <c:v>0.79932227572676995</c:v>
                </c:pt>
                <c:pt idx="44819">
                  <c:v>0.79934011057606502</c:v>
                </c:pt>
                <c:pt idx="44820">
                  <c:v>0.79935794542536098</c:v>
                </c:pt>
                <c:pt idx="44821">
                  <c:v>0.79937578027465594</c:v>
                </c:pt>
                <c:pt idx="44822">
                  <c:v>0.79939361512395202</c:v>
                </c:pt>
                <c:pt idx="44823">
                  <c:v>0.79941144997324698</c:v>
                </c:pt>
                <c:pt idx="44824">
                  <c:v>0.79942928482254305</c:v>
                </c:pt>
                <c:pt idx="44825">
                  <c:v>0.79944711967183801</c:v>
                </c:pt>
                <c:pt idx="44826">
                  <c:v>0.79946495452113397</c:v>
                </c:pt>
                <c:pt idx="44827">
                  <c:v>0.79948278937042905</c:v>
                </c:pt>
                <c:pt idx="44828">
                  <c:v>0.79950062421972501</c:v>
                </c:pt>
                <c:pt idx="44829">
                  <c:v>0.79951845906901997</c:v>
                </c:pt>
                <c:pt idx="44830">
                  <c:v>0.79953629391831604</c:v>
                </c:pt>
                <c:pt idx="44831">
                  <c:v>0.79955412876761101</c:v>
                </c:pt>
                <c:pt idx="44832">
                  <c:v>0.79957196361690697</c:v>
                </c:pt>
                <c:pt idx="44833">
                  <c:v>0.79958979846620204</c:v>
                </c:pt>
                <c:pt idx="44834">
                  <c:v>0.799607633315498</c:v>
                </c:pt>
                <c:pt idx="44835">
                  <c:v>0.79962546816479396</c:v>
                </c:pt>
                <c:pt idx="44836">
                  <c:v>0.79964330301408904</c:v>
                </c:pt>
                <c:pt idx="44837">
                  <c:v>0.799661137863385</c:v>
                </c:pt>
                <c:pt idx="44838">
                  <c:v>0.79967897271267996</c:v>
                </c:pt>
                <c:pt idx="44839">
                  <c:v>0.79969680756197603</c:v>
                </c:pt>
                <c:pt idx="44840">
                  <c:v>0.79971464241127099</c:v>
                </c:pt>
                <c:pt idx="44841">
                  <c:v>0.79973247726056695</c:v>
                </c:pt>
                <c:pt idx="44842">
                  <c:v>0.79975031210986203</c:v>
                </c:pt>
                <c:pt idx="44843">
                  <c:v>0.79976814695915799</c:v>
                </c:pt>
                <c:pt idx="44844">
                  <c:v>0.79978598180845295</c:v>
                </c:pt>
                <c:pt idx="44845">
                  <c:v>0.79980381665774902</c:v>
                </c:pt>
                <c:pt idx="44846">
                  <c:v>0.79982165150704398</c:v>
                </c:pt>
                <c:pt idx="44847">
                  <c:v>0.79983948635633995</c:v>
                </c:pt>
                <c:pt idx="44848">
                  <c:v>0.79985732120563502</c:v>
                </c:pt>
                <c:pt idx="44849">
                  <c:v>0.79987515605493098</c:v>
                </c:pt>
                <c:pt idx="44850">
                  <c:v>0.79989299090422605</c:v>
                </c:pt>
                <c:pt idx="44851">
                  <c:v>0.79991082575352201</c:v>
                </c:pt>
                <c:pt idx="44852">
                  <c:v>0.79992866060281698</c:v>
                </c:pt>
                <c:pt idx="44853">
                  <c:v>0.79994649545211305</c:v>
                </c:pt>
                <c:pt idx="44854">
                  <c:v>0.79996433030140801</c:v>
                </c:pt>
                <c:pt idx="44855">
                  <c:v>0.79998216515070397</c:v>
                </c:pt>
                <c:pt idx="44856">
                  <c:v>0.8</c:v>
                </c:pt>
                <c:pt idx="44857">
                  <c:v>0.80001783484929501</c:v>
                </c:pt>
                <c:pt idx="44858">
                  <c:v>0.80003566969859097</c:v>
                </c:pt>
                <c:pt idx="44859">
                  <c:v>0.80005350454788604</c:v>
                </c:pt>
                <c:pt idx="44860">
                  <c:v>0.800071339397182</c:v>
                </c:pt>
                <c:pt idx="44861">
                  <c:v>0.80008917424647696</c:v>
                </c:pt>
                <c:pt idx="44862">
                  <c:v>0.80010700909577304</c:v>
                </c:pt>
                <c:pt idx="44863">
                  <c:v>0.800124843945068</c:v>
                </c:pt>
                <c:pt idx="44864">
                  <c:v>0.80014267879436396</c:v>
                </c:pt>
                <c:pt idx="44865">
                  <c:v>0.80016051364365903</c:v>
                </c:pt>
                <c:pt idx="44866">
                  <c:v>0.80017834849295499</c:v>
                </c:pt>
                <c:pt idx="44867">
                  <c:v>0.80019618334224996</c:v>
                </c:pt>
                <c:pt idx="44868">
                  <c:v>0.80021401819154603</c:v>
                </c:pt>
                <c:pt idx="44869">
                  <c:v>0.80023185304084099</c:v>
                </c:pt>
                <c:pt idx="44870">
                  <c:v>0.80024968789013695</c:v>
                </c:pt>
                <c:pt idx="44871">
                  <c:v>0.80026752273943202</c:v>
                </c:pt>
                <c:pt idx="44872">
                  <c:v>0.80028535758872799</c:v>
                </c:pt>
                <c:pt idx="44873">
                  <c:v>0.80030319243802395</c:v>
                </c:pt>
                <c:pt idx="44874">
                  <c:v>0.80032102728731902</c:v>
                </c:pt>
                <c:pt idx="44875">
                  <c:v>0.80033886213661498</c:v>
                </c:pt>
                <c:pt idx="44876">
                  <c:v>0.80035669698591005</c:v>
                </c:pt>
                <c:pt idx="44877">
                  <c:v>0.80037453183520602</c:v>
                </c:pt>
                <c:pt idx="44878">
                  <c:v>0.80039236668450098</c:v>
                </c:pt>
                <c:pt idx="44879">
                  <c:v>0.80041020153379705</c:v>
                </c:pt>
                <c:pt idx="44880">
                  <c:v>0.80042803638309201</c:v>
                </c:pt>
                <c:pt idx="44881">
                  <c:v>0.80044587123238797</c:v>
                </c:pt>
                <c:pt idx="44882">
                  <c:v>0.80046370608168305</c:v>
                </c:pt>
                <c:pt idx="44883">
                  <c:v>0.80048154093097901</c:v>
                </c:pt>
                <c:pt idx="44884">
                  <c:v>0.80049937578027397</c:v>
                </c:pt>
                <c:pt idx="44885">
                  <c:v>0.80051721062957004</c:v>
                </c:pt>
                <c:pt idx="44886">
                  <c:v>0.800535045478865</c:v>
                </c:pt>
                <c:pt idx="44887">
                  <c:v>0.80055288032816097</c:v>
                </c:pt>
                <c:pt idx="44888">
                  <c:v>0.80057071517745604</c:v>
                </c:pt>
                <c:pt idx="44889">
                  <c:v>0.800588550026752</c:v>
                </c:pt>
                <c:pt idx="44890">
                  <c:v>0.80060638487604696</c:v>
                </c:pt>
                <c:pt idx="44891">
                  <c:v>0.80062421972534303</c:v>
                </c:pt>
                <c:pt idx="44892">
                  <c:v>0.800642054574638</c:v>
                </c:pt>
                <c:pt idx="44893">
                  <c:v>0.80065988942393396</c:v>
                </c:pt>
                <c:pt idx="44894">
                  <c:v>0.80067772427322903</c:v>
                </c:pt>
                <c:pt idx="44895">
                  <c:v>0.80069555912252499</c:v>
                </c:pt>
                <c:pt idx="44896">
                  <c:v>0.80071339397182095</c:v>
                </c:pt>
                <c:pt idx="44897">
                  <c:v>0.80073122882111603</c:v>
                </c:pt>
                <c:pt idx="44898">
                  <c:v>0.80074906367041199</c:v>
                </c:pt>
                <c:pt idx="44899">
                  <c:v>0.80076689851970695</c:v>
                </c:pt>
                <c:pt idx="44900">
                  <c:v>0.80078473336900302</c:v>
                </c:pt>
                <c:pt idx="44901">
                  <c:v>0.80080256821829798</c:v>
                </c:pt>
                <c:pt idx="44902">
                  <c:v>0.80082040306759406</c:v>
                </c:pt>
                <c:pt idx="44903">
                  <c:v>0.80083823791688902</c:v>
                </c:pt>
                <c:pt idx="44904">
                  <c:v>0.80085607276618498</c:v>
                </c:pt>
                <c:pt idx="44905">
                  <c:v>0.80087390761548005</c:v>
                </c:pt>
                <c:pt idx="44906">
                  <c:v>0.80089174246477601</c:v>
                </c:pt>
                <c:pt idx="44907">
                  <c:v>0.80090957731407098</c:v>
                </c:pt>
                <c:pt idx="44908">
                  <c:v>0.80092741216336705</c:v>
                </c:pt>
                <c:pt idx="44909">
                  <c:v>0.80094524701266201</c:v>
                </c:pt>
                <c:pt idx="44910">
                  <c:v>0.80096308186195797</c:v>
                </c:pt>
                <c:pt idx="44911">
                  <c:v>0.80098091671125304</c:v>
                </c:pt>
                <c:pt idx="44912">
                  <c:v>0.800998751560549</c:v>
                </c:pt>
                <c:pt idx="44913">
                  <c:v>0.80101658640984397</c:v>
                </c:pt>
                <c:pt idx="44914">
                  <c:v>0.80103442125914004</c:v>
                </c:pt>
                <c:pt idx="44915">
                  <c:v>0.801052256108435</c:v>
                </c:pt>
                <c:pt idx="44916">
                  <c:v>0.80107009095773096</c:v>
                </c:pt>
                <c:pt idx="44917">
                  <c:v>0.80108792580702604</c:v>
                </c:pt>
                <c:pt idx="44918">
                  <c:v>0.801105760656322</c:v>
                </c:pt>
                <c:pt idx="44919">
                  <c:v>0.80112359550561796</c:v>
                </c:pt>
                <c:pt idx="44920">
                  <c:v>0.80114143035491303</c:v>
                </c:pt>
                <c:pt idx="44921">
                  <c:v>0.80115926520420899</c:v>
                </c:pt>
                <c:pt idx="44922">
                  <c:v>0.80117710005350395</c:v>
                </c:pt>
                <c:pt idx="44923">
                  <c:v>0.80119493490280003</c:v>
                </c:pt>
                <c:pt idx="44924">
                  <c:v>0.80121276975209499</c:v>
                </c:pt>
                <c:pt idx="44925">
                  <c:v>0.80123060460139095</c:v>
                </c:pt>
                <c:pt idx="44926">
                  <c:v>0.80124843945068602</c:v>
                </c:pt>
                <c:pt idx="44927">
                  <c:v>0.80126627429998198</c:v>
                </c:pt>
                <c:pt idx="44928">
                  <c:v>0.80128410914927695</c:v>
                </c:pt>
                <c:pt idx="44929">
                  <c:v>0.80130194399857302</c:v>
                </c:pt>
                <c:pt idx="44930">
                  <c:v>0.80131977884786798</c:v>
                </c:pt>
                <c:pt idx="44931">
                  <c:v>0.80133761369716405</c:v>
                </c:pt>
                <c:pt idx="44932">
                  <c:v>0.80135544854645901</c:v>
                </c:pt>
                <c:pt idx="44933">
                  <c:v>0.80137328339575498</c:v>
                </c:pt>
                <c:pt idx="44934">
                  <c:v>0.80139111824505005</c:v>
                </c:pt>
                <c:pt idx="44935">
                  <c:v>0.80140895309434601</c:v>
                </c:pt>
                <c:pt idx="44936">
                  <c:v>0.80142678794364097</c:v>
                </c:pt>
                <c:pt idx="44937">
                  <c:v>0.80144462279293704</c:v>
                </c:pt>
                <c:pt idx="44938">
                  <c:v>0.80146245764223201</c:v>
                </c:pt>
                <c:pt idx="44939">
                  <c:v>0.80148029249152797</c:v>
                </c:pt>
                <c:pt idx="44940">
                  <c:v>0.80149812734082304</c:v>
                </c:pt>
                <c:pt idx="44941">
                  <c:v>0.801515962190119</c:v>
                </c:pt>
                <c:pt idx="44942">
                  <c:v>0.80153379703941496</c:v>
                </c:pt>
                <c:pt idx="44943">
                  <c:v>0.80155163188871004</c:v>
                </c:pt>
                <c:pt idx="44944">
                  <c:v>0.801569466738006</c:v>
                </c:pt>
                <c:pt idx="44945">
                  <c:v>0.80158730158730096</c:v>
                </c:pt>
                <c:pt idx="44946">
                  <c:v>0.80160513643659703</c:v>
                </c:pt>
                <c:pt idx="44947">
                  <c:v>0.80162297128589199</c:v>
                </c:pt>
                <c:pt idx="44948">
                  <c:v>0.80164080613518796</c:v>
                </c:pt>
                <c:pt idx="44949">
                  <c:v>0.80165864098448303</c:v>
                </c:pt>
                <c:pt idx="44950">
                  <c:v>0.80167647583377899</c:v>
                </c:pt>
                <c:pt idx="44951">
                  <c:v>0.80169431068307395</c:v>
                </c:pt>
                <c:pt idx="44952">
                  <c:v>0.80171214553237002</c:v>
                </c:pt>
                <c:pt idx="44953">
                  <c:v>0.80172998038166499</c:v>
                </c:pt>
                <c:pt idx="44954">
                  <c:v>0.80174781523096095</c:v>
                </c:pt>
                <c:pt idx="44955">
                  <c:v>0.80176565008025602</c:v>
                </c:pt>
                <c:pt idx="44956">
                  <c:v>0.80178348492955198</c:v>
                </c:pt>
                <c:pt idx="44957">
                  <c:v>0.80180131977884705</c:v>
                </c:pt>
                <c:pt idx="44958">
                  <c:v>0.80181915462814302</c:v>
                </c:pt>
                <c:pt idx="44959">
                  <c:v>0.80183698947743798</c:v>
                </c:pt>
                <c:pt idx="44960">
                  <c:v>0.80185482432673405</c:v>
                </c:pt>
                <c:pt idx="44961">
                  <c:v>0.80187265917603001</c:v>
                </c:pt>
                <c:pt idx="44962">
                  <c:v>0.80189049402532497</c:v>
                </c:pt>
                <c:pt idx="44963">
                  <c:v>0.80190832887462105</c:v>
                </c:pt>
                <c:pt idx="44964">
                  <c:v>0.80192616372391601</c:v>
                </c:pt>
                <c:pt idx="44965">
                  <c:v>0.80194399857321197</c:v>
                </c:pt>
                <c:pt idx="44966">
                  <c:v>0.80196183342250704</c:v>
                </c:pt>
                <c:pt idx="44967">
                  <c:v>0.801979668271803</c:v>
                </c:pt>
                <c:pt idx="44968">
                  <c:v>0.80199750312109797</c:v>
                </c:pt>
                <c:pt idx="44969">
                  <c:v>0.80201533797039404</c:v>
                </c:pt>
                <c:pt idx="44970">
                  <c:v>0.802033172819689</c:v>
                </c:pt>
                <c:pt idx="44971">
                  <c:v>0.80205100766898496</c:v>
                </c:pt>
                <c:pt idx="44972">
                  <c:v>0.80206884251828003</c:v>
                </c:pt>
                <c:pt idx="44973">
                  <c:v>0.802086677367576</c:v>
                </c:pt>
                <c:pt idx="44974">
                  <c:v>0.80210451221687096</c:v>
                </c:pt>
                <c:pt idx="44975">
                  <c:v>0.80212234706616703</c:v>
                </c:pt>
                <c:pt idx="44976">
                  <c:v>0.80214018191546199</c:v>
                </c:pt>
                <c:pt idx="44977">
                  <c:v>0.80215801676475795</c:v>
                </c:pt>
                <c:pt idx="44978">
                  <c:v>0.80217585161405303</c:v>
                </c:pt>
                <c:pt idx="44979">
                  <c:v>0.80219368646334899</c:v>
                </c:pt>
                <c:pt idx="44980">
                  <c:v>0.80221152131264495</c:v>
                </c:pt>
                <c:pt idx="44981">
                  <c:v>0.80222935616194002</c:v>
                </c:pt>
                <c:pt idx="44982">
                  <c:v>0.80224719101123598</c:v>
                </c:pt>
                <c:pt idx="44983">
                  <c:v>0.80226502586053094</c:v>
                </c:pt>
                <c:pt idx="44984">
                  <c:v>0.80228286070982702</c:v>
                </c:pt>
                <c:pt idx="44985">
                  <c:v>0.80230069555912198</c:v>
                </c:pt>
                <c:pt idx="44986">
                  <c:v>0.80231853040841805</c:v>
                </c:pt>
                <c:pt idx="44987">
                  <c:v>0.80233636525771301</c:v>
                </c:pt>
                <c:pt idx="44988">
                  <c:v>0.80235420010700897</c:v>
                </c:pt>
                <c:pt idx="44989">
                  <c:v>0.80237203495630405</c:v>
                </c:pt>
                <c:pt idx="44990">
                  <c:v>0.80238986980560001</c:v>
                </c:pt>
                <c:pt idx="44991">
                  <c:v>0.80240770465489497</c:v>
                </c:pt>
                <c:pt idx="44992">
                  <c:v>0.80242553950419104</c:v>
                </c:pt>
                <c:pt idx="44993">
                  <c:v>0.80244337435348601</c:v>
                </c:pt>
                <c:pt idx="44994">
                  <c:v>0.80246120920278197</c:v>
                </c:pt>
                <c:pt idx="44995">
                  <c:v>0.80247904405207704</c:v>
                </c:pt>
                <c:pt idx="44996">
                  <c:v>0.802496878901373</c:v>
                </c:pt>
                <c:pt idx="44997">
                  <c:v>0.80251471375066796</c:v>
                </c:pt>
                <c:pt idx="44998">
                  <c:v>0.80253254859996404</c:v>
                </c:pt>
                <c:pt idx="44999">
                  <c:v>0.802550383449259</c:v>
                </c:pt>
                <c:pt idx="45000">
                  <c:v>0.80256821829855496</c:v>
                </c:pt>
                <c:pt idx="45001">
                  <c:v>0.80258605314785003</c:v>
                </c:pt>
                <c:pt idx="45002">
                  <c:v>0.80260388799714599</c:v>
                </c:pt>
                <c:pt idx="45003">
                  <c:v>0.80262172284644195</c:v>
                </c:pt>
                <c:pt idx="45004">
                  <c:v>0.80263955769573703</c:v>
                </c:pt>
                <c:pt idx="45005">
                  <c:v>0.80265739254503299</c:v>
                </c:pt>
                <c:pt idx="45006">
                  <c:v>0.80267522739432795</c:v>
                </c:pt>
                <c:pt idx="45007">
                  <c:v>0.80269306224362402</c:v>
                </c:pt>
                <c:pt idx="45008">
                  <c:v>0.80271089709291898</c:v>
                </c:pt>
                <c:pt idx="45009">
                  <c:v>0.80272873194221495</c:v>
                </c:pt>
                <c:pt idx="45010">
                  <c:v>0.80274656679151002</c:v>
                </c:pt>
                <c:pt idx="45011">
                  <c:v>0.80276440164080598</c:v>
                </c:pt>
                <c:pt idx="45012">
                  <c:v>0.80278223649010105</c:v>
                </c:pt>
                <c:pt idx="45013">
                  <c:v>0.80280007133939701</c:v>
                </c:pt>
                <c:pt idx="45014">
                  <c:v>0.80281790618869198</c:v>
                </c:pt>
                <c:pt idx="45015">
                  <c:v>0.80283574103798805</c:v>
                </c:pt>
                <c:pt idx="45016">
                  <c:v>0.80285357588728301</c:v>
                </c:pt>
                <c:pt idx="45017">
                  <c:v>0.80287141073657897</c:v>
                </c:pt>
                <c:pt idx="45018">
                  <c:v>0.80288924558587405</c:v>
                </c:pt>
                <c:pt idx="45019">
                  <c:v>0.80290708043517001</c:v>
                </c:pt>
                <c:pt idx="45020">
                  <c:v>0.80292491528446497</c:v>
                </c:pt>
                <c:pt idx="45021">
                  <c:v>0.80294275013376104</c:v>
                </c:pt>
                <c:pt idx="45022">
                  <c:v>0.802960584983056</c:v>
                </c:pt>
                <c:pt idx="45023">
                  <c:v>0.80297841983235196</c:v>
                </c:pt>
                <c:pt idx="45024">
                  <c:v>0.80299625468164704</c:v>
                </c:pt>
                <c:pt idx="45025">
                  <c:v>0.803014089530943</c:v>
                </c:pt>
                <c:pt idx="45026">
                  <c:v>0.80303192438023896</c:v>
                </c:pt>
                <c:pt idx="45027">
                  <c:v>0.80304975922953403</c:v>
                </c:pt>
                <c:pt idx="45028">
                  <c:v>0.80306759407882999</c:v>
                </c:pt>
                <c:pt idx="45029">
                  <c:v>0.80308542892812496</c:v>
                </c:pt>
                <c:pt idx="45030">
                  <c:v>0.80310326377742103</c:v>
                </c:pt>
                <c:pt idx="45031">
                  <c:v>0.80312109862671599</c:v>
                </c:pt>
                <c:pt idx="45032">
                  <c:v>0.80313893347601195</c:v>
                </c:pt>
                <c:pt idx="45033">
                  <c:v>0.80315676832530702</c:v>
                </c:pt>
                <c:pt idx="45034">
                  <c:v>0.80317460317460299</c:v>
                </c:pt>
                <c:pt idx="45035">
                  <c:v>0.80319243802389795</c:v>
                </c:pt>
                <c:pt idx="45036">
                  <c:v>0.80321027287319402</c:v>
                </c:pt>
                <c:pt idx="45037">
                  <c:v>0.80322810772248898</c:v>
                </c:pt>
                <c:pt idx="45038">
                  <c:v>0.80324594257178505</c:v>
                </c:pt>
                <c:pt idx="45039">
                  <c:v>0.80326377742108002</c:v>
                </c:pt>
                <c:pt idx="45040">
                  <c:v>0.80328161227037598</c:v>
                </c:pt>
                <c:pt idx="45041">
                  <c:v>0.80329944711967105</c:v>
                </c:pt>
                <c:pt idx="45042">
                  <c:v>0.80331728196896701</c:v>
                </c:pt>
                <c:pt idx="45043">
                  <c:v>0.80333511681826197</c:v>
                </c:pt>
                <c:pt idx="45044">
                  <c:v>0.80335295166755805</c:v>
                </c:pt>
                <c:pt idx="45045">
                  <c:v>0.80337078651685301</c:v>
                </c:pt>
                <c:pt idx="45046">
                  <c:v>0.80338862136614897</c:v>
                </c:pt>
                <c:pt idx="45047">
                  <c:v>0.80340645621544404</c:v>
                </c:pt>
                <c:pt idx="45048">
                  <c:v>0.80342429106474</c:v>
                </c:pt>
                <c:pt idx="45049">
                  <c:v>0.80344212591403597</c:v>
                </c:pt>
                <c:pt idx="45050">
                  <c:v>0.80345996076333104</c:v>
                </c:pt>
                <c:pt idx="45051">
                  <c:v>0.803477795612627</c:v>
                </c:pt>
                <c:pt idx="45052">
                  <c:v>0.80349563046192196</c:v>
                </c:pt>
                <c:pt idx="45053">
                  <c:v>0.80351346531121803</c:v>
                </c:pt>
                <c:pt idx="45054">
                  <c:v>0.803531300160513</c:v>
                </c:pt>
                <c:pt idx="45055">
                  <c:v>0.80354913500980896</c:v>
                </c:pt>
                <c:pt idx="45056">
                  <c:v>0.80356696985910403</c:v>
                </c:pt>
                <c:pt idx="45057">
                  <c:v>0.80358480470839999</c:v>
                </c:pt>
                <c:pt idx="45058">
                  <c:v>0.80360263955769495</c:v>
                </c:pt>
                <c:pt idx="45059">
                  <c:v>0.80362047440699103</c:v>
                </c:pt>
                <c:pt idx="45060">
                  <c:v>0.80363830925628599</c:v>
                </c:pt>
                <c:pt idx="45061">
                  <c:v>0.80365614410558195</c:v>
                </c:pt>
                <c:pt idx="45062">
                  <c:v>0.80367397895487702</c:v>
                </c:pt>
                <c:pt idx="45063">
                  <c:v>0.80369181380417298</c:v>
                </c:pt>
                <c:pt idx="45064">
                  <c:v>0.80370964865346795</c:v>
                </c:pt>
                <c:pt idx="45065">
                  <c:v>0.80372748350276402</c:v>
                </c:pt>
                <c:pt idx="45066">
                  <c:v>0.80374531835205998</c:v>
                </c:pt>
                <c:pt idx="45067">
                  <c:v>0.80376315320135505</c:v>
                </c:pt>
                <c:pt idx="45068">
                  <c:v>0.80378098805065101</c:v>
                </c:pt>
                <c:pt idx="45069">
                  <c:v>0.80379882289994597</c:v>
                </c:pt>
                <c:pt idx="45070">
                  <c:v>0.80381665774924205</c:v>
                </c:pt>
                <c:pt idx="45071">
                  <c:v>0.80383449259853701</c:v>
                </c:pt>
                <c:pt idx="45072">
                  <c:v>0.80385232744783297</c:v>
                </c:pt>
                <c:pt idx="45073">
                  <c:v>0.80387016229712804</c:v>
                </c:pt>
                <c:pt idx="45074">
                  <c:v>0.803887997146424</c:v>
                </c:pt>
                <c:pt idx="45075">
                  <c:v>0.80390583199571897</c:v>
                </c:pt>
                <c:pt idx="45076">
                  <c:v>0.80392366684501504</c:v>
                </c:pt>
                <c:pt idx="45077">
                  <c:v>0.80394150169431</c:v>
                </c:pt>
                <c:pt idx="45078">
                  <c:v>0.80395933654360596</c:v>
                </c:pt>
                <c:pt idx="45079">
                  <c:v>0.80397717139290104</c:v>
                </c:pt>
                <c:pt idx="45080">
                  <c:v>0.803995006242197</c:v>
                </c:pt>
                <c:pt idx="45081">
                  <c:v>0.80401284109149196</c:v>
                </c:pt>
                <c:pt idx="45082">
                  <c:v>0.80403067594078803</c:v>
                </c:pt>
                <c:pt idx="45083">
                  <c:v>0.80404851079008299</c:v>
                </c:pt>
                <c:pt idx="45084">
                  <c:v>0.80406634563937895</c:v>
                </c:pt>
                <c:pt idx="45085">
                  <c:v>0.80408418048867403</c:v>
                </c:pt>
                <c:pt idx="45086">
                  <c:v>0.80410201533796999</c:v>
                </c:pt>
                <c:pt idx="45087">
                  <c:v>0.80411985018726595</c:v>
                </c:pt>
                <c:pt idx="45088">
                  <c:v>0.80413768503656102</c:v>
                </c:pt>
                <c:pt idx="45089">
                  <c:v>0.80415551988585698</c:v>
                </c:pt>
                <c:pt idx="45090">
                  <c:v>0.80417335473515195</c:v>
                </c:pt>
                <c:pt idx="45091">
                  <c:v>0.80419118958444802</c:v>
                </c:pt>
                <c:pt idx="45092">
                  <c:v>0.80420902443374298</c:v>
                </c:pt>
                <c:pt idx="45093">
                  <c:v>0.80422685928303905</c:v>
                </c:pt>
                <c:pt idx="45094">
                  <c:v>0.80424469413233401</c:v>
                </c:pt>
                <c:pt idx="45095">
                  <c:v>0.80426252898162998</c:v>
                </c:pt>
                <c:pt idx="45096">
                  <c:v>0.80428036383092505</c:v>
                </c:pt>
                <c:pt idx="45097">
                  <c:v>0.80429819868022101</c:v>
                </c:pt>
                <c:pt idx="45098">
                  <c:v>0.80431603352951597</c:v>
                </c:pt>
                <c:pt idx="45099">
                  <c:v>0.80433386837881204</c:v>
                </c:pt>
                <c:pt idx="45100">
                  <c:v>0.80435170322810701</c:v>
                </c:pt>
                <c:pt idx="45101">
                  <c:v>0.80436953807740297</c:v>
                </c:pt>
                <c:pt idx="45102">
                  <c:v>0.80438737292669804</c:v>
                </c:pt>
                <c:pt idx="45103">
                  <c:v>0.804405207775994</c:v>
                </c:pt>
                <c:pt idx="45104">
                  <c:v>0.80442304262528896</c:v>
                </c:pt>
                <c:pt idx="45105">
                  <c:v>0.80444087747458504</c:v>
                </c:pt>
                <c:pt idx="45106">
                  <c:v>0.80445871232388</c:v>
                </c:pt>
                <c:pt idx="45107">
                  <c:v>0.80447654717317596</c:v>
                </c:pt>
                <c:pt idx="45108">
                  <c:v>0.80449438202247103</c:v>
                </c:pt>
                <c:pt idx="45109">
                  <c:v>0.80451221687176699</c:v>
                </c:pt>
                <c:pt idx="45110">
                  <c:v>0.80453005172106296</c:v>
                </c:pt>
                <c:pt idx="45111">
                  <c:v>0.80454788657035803</c:v>
                </c:pt>
                <c:pt idx="45112">
                  <c:v>0.80456572141965399</c:v>
                </c:pt>
                <c:pt idx="45113">
                  <c:v>0.80458355626894895</c:v>
                </c:pt>
                <c:pt idx="45114">
                  <c:v>0.80460139111824502</c:v>
                </c:pt>
                <c:pt idx="45115">
                  <c:v>0.80461922596753999</c:v>
                </c:pt>
                <c:pt idx="45116">
                  <c:v>0.80463706081683595</c:v>
                </c:pt>
                <c:pt idx="45117">
                  <c:v>0.80465489566613102</c:v>
                </c:pt>
                <c:pt idx="45118">
                  <c:v>0.80467273051542698</c:v>
                </c:pt>
                <c:pt idx="45119">
                  <c:v>0.80469056536472205</c:v>
                </c:pt>
                <c:pt idx="45120">
                  <c:v>0.80470840021401802</c:v>
                </c:pt>
                <c:pt idx="45121">
                  <c:v>0.80472623506331298</c:v>
                </c:pt>
                <c:pt idx="45122">
                  <c:v>0.80474406991260905</c:v>
                </c:pt>
                <c:pt idx="45123">
                  <c:v>0.80476190476190401</c:v>
                </c:pt>
                <c:pt idx="45124">
                  <c:v>0.80477973961119997</c:v>
                </c:pt>
                <c:pt idx="45125">
                  <c:v>0.80479757446049505</c:v>
                </c:pt>
                <c:pt idx="45126">
                  <c:v>0.80481540930979101</c:v>
                </c:pt>
                <c:pt idx="45127">
                  <c:v>0.80483324415908597</c:v>
                </c:pt>
                <c:pt idx="45128">
                  <c:v>0.80485107900838204</c:v>
                </c:pt>
                <c:pt idx="45129">
                  <c:v>0.804868913857677</c:v>
                </c:pt>
                <c:pt idx="45130">
                  <c:v>0.80488674870697297</c:v>
                </c:pt>
                <c:pt idx="45131">
                  <c:v>0.80490458355626804</c:v>
                </c:pt>
                <c:pt idx="45132">
                  <c:v>0.804922418405564</c:v>
                </c:pt>
                <c:pt idx="45133">
                  <c:v>0.80494025325485996</c:v>
                </c:pt>
                <c:pt idx="45134">
                  <c:v>0.80495808810415503</c:v>
                </c:pt>
                <c:pt idx="45135">
                  <c:v>0.804975922953451</c:v>
                </c:pt>
                <c:pt idx="45136">
                  <c:v>0.80499375780274596</c:v>
                </c:pt>
                <c:pt idx="45137">
                  <c:v>0.80501159265204203</c:v>
                </c:pt>
                <c:pt idx="45138">
                  <c:v>0.80502942750133699</c:v>
                </c:pt>
                <c:pt idx="45139">
                  <c:v>0.80504726235063295</c:v>
                </c:pt>
                <c:pt idx="45140">
                  <c:v>0.80506509719992803</c:v>
                </c:pt>
                <c:pt idx="45141">
                  <c:v>0.80508293204922399</c:v>
                </c:pt>
                <c:pt idx="45142">
                  <c:v>0.80510076689851895</c:v>
                </c:pt>
                <c:pt idx="45143">
                  <c:v>0.80511860174781502</c:v>
                </c:pt>
                <c:pt idx="45144">
                  <c:v>0.80513643659710998</c:v>
                </c:pt>
                <c:pt idx="45145">
                  <c:v>0.80515427144640594</c:v>
                </c:pt>
                <c:pt idx="45146">
                  <c:v>0.80517210629570102</c:v>
                </c:pt>
                <c:pt idx="45147">
                  <c:v>0.80518994114499698</c:v>
                </c:pt>
                <c:pt idx="45148">
                  <c:v>0.80520777599429205</c:v>
                </c:pt>
                <c:pt idx="45149">
                  <c:v>0.80522561084358801</c:v>
                </c:pt>
                <c:pt idx="45150">
                  <c:v>0.80524344569288298</c:v>
                </c:pt>
                <c:pt idx="45151">
                  <c:v>0.80526128054217905</c:v>
                </c:pt>
                <c:pt idx="45152">
                  <c:v>0.80527911539147401</c:v>
                </c:pt>
                <c:pt idx="45153">
                  <c:v>0.80529695024076997</c:v>
                </c:pt>
                <c:pt idx="45154">
                  <c:v>0.80531478509006604</c:v>
                </c:pt>
                <c:pt idx="45155">
                  <c:v>0.80533261993936101</c:v>
                </c:pt>
                <c:pt idx="45156">
                  <c:v>0.80535045478865697</c:v>
                </c:pt>
                <c:pt idx="45157">
                  <c:v>0.80536828963795204</c:v>
                </c:pt>
                <c:pt idx="45158">
                  <c:v>0.805386124487248</c:v>
                </c:pt>
                <c:pt idx="45159">
                  <c:v>0.80540395933654296</c:v>
                </c:pt>
                <c:pt idx="45160">
                  <c:v>0.80542179418583904</c:v>
                </c:pt>
                <c:pt idx="45161">
                  <c:v>0.805439629035134</c:v>
                </c:pt>
                <c:pt idx="45162">
                  <c:v>0.80545746388442996</c:v>
                </c:pt>
                <c:pt idx="45163">
                  <c:v>0.80547529873372503</c:v>
                </c:pt>
                <c:pt idx="45164">
                  <c:v>0.80549313358302099</c:v>
                </c:pt>
                <c:pt idx="45165">
                  <c:v>0.80551096843231595</c:v>
                </c:pt>
                <c:pt idx="45166">
                  <c:v>0.80552880328161203</c:v>
                </c:pt>
                <c:pt idx="45167">
                  <c:v>0.80554663813090699</c:v>
                </c:pt>
                <c:pt idx="45168">
                  <c:v>0.80556447298020295</c:v>
                </c:pt>
                <c:pt idx="45169">
                  <c:v>0.80558230782949802</c:v>
                </c:pt>
                <c:pt idx="45170">
                  <c:v>0.80560014267879398</c:v>
                </c:pt>
                <c:pt idx="45171">
                  <c:v>0.80561797752808895</c:v>
                </c:pt>
                <c:pt idx="45172">
                  <c:v>0.80563581237738502</c:v>
                </c:pt>
                <c:pt idx="45173">
                  <c:v>0.80565364722668098</c:v>
                </c:pt>
                <c:pt idx="45174">
                  <c:v>0.80567148207597605</c:v>
                </c:pt>
                <c:pt idx="45175">
                  <c:v>0.80568931692527201</c:v>
                </c:pt>
                <c:pt idx="45176">
                  <c:v>0.80570715177456698</c:v>
                </c:pt>
                <c:pt idx="45177">
                  <c:v>0.80572498662386305</c:v>
                </c:pt>
                <c:pt idx="45178">
                  <c:v>0.80574282147315801</c:v>
                </c:pt>
                <c:pt idx="45179">
                  <c:v>0.80576065632245397</c:v>
                </c:pt>
                <c:pt idx="45180">
                  <c:v>0.80577849117174905</c:v>
                </c:pt>
                <c:pt idx="45181">
                  <c:v>0.80579632602104501</c:v>
                </c:pt>
                <c:pt idx="45182">
                  <c:v>0.80581416087033997</c:v>
                </c:pt>
                <c:pt idx="45183">
                  <c:v>0.80583199571963604</c:v>
                </c:pt>
                <c:pt idx="45184">
                  <c:v>0.805849830568931</c:v>
                </c:pt>
                <c:pt idx="45185">
                  <c:v>0.80586766541822696</c:v>
                </c:pt>
                <c:pt idx="45186">
                  <c:v>0.80588550026752204</c:v>
                </c:pt>
                <c:pt idx="45187">
                  <c:v>0.805903335116818</c:v>
                </c:pt>
                <c:pt idx="45188">
                  <c:v>0.80592116996611296</c:v>
                </c:pt>
                <c:pt idx="45189">
                  <c:v>0.80593900481540903</c:v>
                </c:pt>
                <c:pt idx="45190">
                  <c:v>0.80595683966470399</c:v>
                </c:pt>
                <c:pt idx="45191">
                  <c:v>0.80597467451399996</c:v>
                </c:pt>
                <c:pt idx="45192">
                  <c:v>0.80599250936329503</c:v>
                </c:pt>
                <c:pt idx="45193">
                  <c:v>0.80601034421259099</c:v>
                </c:pt>
                <c:pt idx="45194">
                  <c:v>0.80602817906188695</c:v>
                </c:pt>
                <c:pt idx="45195">
                  <c:v>0.80604601391118202</c:v>
                </c:pt>
                <c:pt idx="45196">
                  <c:v>0.80606384876047799</c:v>
                </c:pt>
                <c:pt idx="45197">
                  <c:v>0.80608168360977295</c:v>
                </c:pt>
                <c:pt idx="45198">
                  <c:v>0.80609951845906902</c:v>
                </c:pt>
                <c:pt idx="45199">
                  <c:v>0.80611735330836398</c:v>
                </c:pt>
                <c:pt idx="45200">
                  <c:v>0.80613518815766005</c:v>
                </c:pt>
                <c:pt idx="45201">
                  <c:v>0.80615302300695502</c:v>
                </c:pt>
                <c:pt idx="45202">
                  <c:v>0.80617085785625098</c:v>
                </c:pt>
                <c:pt idx="45203">
                  <c:v>0.80618869270554605</c:v>
                </c:pt>
                <c:pt idx="45204">
                  <c:v>0.80620652755484201</c:v>
                </c:pt>
                <c:pt idx="45205">
                  <c:v>0.80622436240413697</c:v>
                </c:pt>
                <c:pt idx="45206">
                  <c:v>0.80624219725343305</c:v>
                </c:pt>
                <c:pt idx="45207">
                  <c:v>0.80626003210272801</c:v>
                </c:pt>
                <c:pt idx="45208">
                  <c:v>0.80627786695202397</c:v>
                </c:pt>
                <c:pt idx="45209">
                  <c:v>0.80629570180131904</c:v>
                </c:pt>
                <c:pt idx="45210">
                  <c:v>0.806313536650615</c:v>
                </c:pt>
                <c:pt idx="45211">
                  <c:v>0.80633137149990997</c:v>
                </c:pt>
                <c:pt idx="45212">
                  <c:v>0.80634920634920604</c:v>
                </c:pt>
                <c:pt idx="45213">
                  <c:v>0.806367041198501</c:v>
                </c:pt>
                <c:pt idx="45214">
                  <c:v>0.80638487604779696</c:v>
                </c:pt>
                <c:pt idx="45215">
                  <c:v>0.80640271089709203</c:v>
                </c:pt>
                <c:pt idx="45216">
                  <c:v>0.806420545746388</c:v>
                </c:pt>
                <c:pt idx="45217">
                  <c:v>0.80643838059568396</c:v>
                </c:pt>
                <c:pt idx="45218">
                  <c:v>0.80645621544497903</c:v>
                </c:pt>
                <c:pt idx="45219">
                  <c:v>0.80647405029427499</c:v>
                </c:pt>
                <c:pt idx="45220">
                  <c:v>0.80649188514356995</c:v>
                </c:pt>
                <c:pt idx="45221">
                  <c:v>0.80650971999286603</c:v>
                </c:pt>
                <c:pt idx="45222">
                  <c:v>0.80652755484216099</c:v>
                </c:pt>
                <c:pt idx="45223">
                  <c:v>0.80654538969145695</c:v>
                </c:pt>
                <c:pt idx="45224">
                  <c:v>0.80656322454075202</c:v>
                </c:pt>
                <c:pt idx="45225">
                  <c:v>0.80658105939004798</c:v>
                </c:pt>
                <c:pt idx="45226">
                  <c:v>0.80659889423934295</c:v>
                </c:pt>
                <c:pt idx="45227">
                  <c:v>0.80661672908863902</c:v>
                </c:pt>
                <c:pt idx="45228">
                  <c:v>0.80663456393793398</c:v>
                </c:pt>
                <c:pt idx="45229">
                  <c:v>0.80665239878723005</c:v>
                </c:pt>
                <c:pt idx="45230">
                  <c:v>0.80667023363652501</c:v>
                </c:pt>
                <c:pt idx="45231">
                  <c:v>0.80668806848582097</c:v>
                </c:pt>
                <c:pt idx="45232">
                  <c:v>0.80670590333511605</c:v>
                </c:pt>
                <c:pt idx="45233">
                  <c:v>0.80672373818441201</c:v>
                </c:pt>
                <c:pt idx="45234">
                  <c:v>0.80674157303370697</c:v>
                </c:pt>
                <c:pt idx="45235">
                  <c:v>0.80675940788300304</c:v>
                </c:pt>
                <c:pt idx="45236">
                  <c:v>0.80677724273229801</c:v>
                </c:pt>
                <c:pt idx="45237">
                  <c:v>0.80679507758159397</c:v>
                </c:pt>
                <c:pt idx="45238">
                  <c:v>0.80681291243088904</c:v>
                </c:pt>
                <c:pt idx="45239">
                  <c:v>0.806830747280185</c:v>
                </c:pt>
                <c:pt idx="45240">
                  <c:v>0.80684858212948096</c:v>
                </c:pt>
                <c:pt idx="45241">
                  <c:v>0.80686641697877604</c:v>
                </c:pt>
                <c:pt idx="45242">
                  <c:v>0.806884251828072</c:v>
                </c:pt>
                <c:pt idx="45243">
                  <c:v>0.80690208667736696</c:v>
                </c:pt>
                <c:pt idx="45244">
                  <c:v>0.80691992152666303</c:v>
                </c:pt>
                <c:pt idx="45245">
                  <c:v>0.80693775637595799</c:v>
                </c:pt>
                <c:pt idx="45246">
                  <c:v>0.80695559122525395</c:v>
                </c:pt>
                <c:pt idx="45247">
                  <c:v>0.80697342607454903</c:v>
                </c:pt>
                <c:pt idx="45248">
                  <c:v>0.80699126092384499</c:v>
                </c:pt>
                <c:pt idx="45249">
                  <c:v>0.80700909577313995</c:v>
                </c:pt>
                <c:pt idx="45250">
                  <c:v>0.80702693062243602</c:v>
                </c:pt>
                <c:pt idx="45251">
                  <c:v>0.80704476547173098</c:v>
                </c:pt>
                <c:pt idx="45252">
                  <c:v>0.80706260032102695</c:v>
                </c:pt>
                <c:pt idx="45253">
                  <c:v>0.80708043517032202</c:v>
                </c:pt>
                <c:pt idx="45254">
                  <c:v>0.80709827001961798</c:v>
                </c:pt>
                <c:pt idx="45255">
                  <c:v>0.80711610486891305</c:v>
                </c:pt>
                <c:pt idx="45256">
                  <c:v>0.80713393971820901</c:v>
                </c:pt>
                <c:pt idx="45257">
                  <c:v>0.80715177456750398</c:v>
                </c:pt>
                <c:pt idx="45258">
                  <c:v>0.80716960941680005</c:v>
                </c:pt>
                <c:pt idx="45259">
                  <c:v>0.80718744426609501</c:v>
                </c:pt>
                <c:pt idx="45260">
                  <c:v>0.80720527911539097</c:v>
                </c:pt>
                <c:pt idx="45261">
                  <c:v>0.80722311396468704</c:v>
                </c:pt>
                <c:pt idx="45262">
                  <c:v>0.80724094881398201</c:v>
                </c:pt>
                <c:pt idx="45263">
                  <c:v>0.80725878366327797</c:v>
                </c:pt>
                <c:pt idx="45264">
                  <c:v>0.80727661851257304</c:v>
                </c:pt>
                <c:pt idx="45265">
                  <c:v>0.807294453361869</c:v>
                </c:pt>
                <c:pt idx="45266">
                  <c:v>0.80731228821116396</c:v>
                </c:pt>
                <c:pt idx="45267">
                  <c:v>0.80733012306046004</c:v>
                </c:pt>
                <c:pt idx="45268">
                  <c:v>0.807347957909755</c:v>
                </c:pt>
                <c:pt idx="45269">
                  <c:v>0.80736579275905096</c:v>
                </c:pt>
                <c:pt idx="45270">
                  <c:v>0.80738362760834603</c:v>
                </c:pt>
                <c:pt idx="45271">
                  <c:v>0.80740146245764199</c:v>
                </c:pt>
                <c:pt idx="45272">
                  <c:v>0.80741929730693696</c:v>
                </c:pt>
                <c:pt idx="45273">
                  <c:v>0.80743713215623303</c:v>
                </c:pt>
                <c:pt idx="45274">
                  <c:v>0.80745496700552799</c:v>
                </c:pt>
                <c:pt idx="45275">
                  <c:v>0.80747280185482395</c:v>
                </c:pt>
                <c:pt idx="45276">
                  <c:v>0.80749063670411902</c:v>
                </c:pt>
                <c:pt idx="45277">
                  <c:v>0.80750847155341499</c:v>
                </c:pt>
                <c:pt idx="45278">
                  <c:v>0.80752630640271095</c:v>
                </c:pt>
                <c:pt idx="45279">
                  <c:v>0.80754414125200602</c:v>
                </c:pt>
                <c:pt idx="45280">
                  <c:v>0.80756197610130198</c:v>
                </c:pt>
                <c:pt idx="45281">
                  <c:v>0.80757981095059705</c:v>
                </c:pt>
                <c:pt idx="45282">
                  <c:v>0.80759764579989302</c:v>
                </c:pt>
                <c:pt idx="45283">
                  <c:v>0.80761548064918798</c:v>
                </c:pt>
                <c:pt idx="45284">
                  <c:v>0.80763331549848405</c:v>
                </c:pt>
                <c:pt idx="45285">
                  <c:v>0.80765115034777901</c:v>
                </c:pt>
                <c:pt idx="45286">
                  <c:v>0.80766898519707497</c:v>
                </c:pt>
                <c:pt idx="45287">
                  <c:v>0.80768682004637005</c:v>
                </c:pt>
                <c:pt idx="45288">
                  <c:v>0.80770465489566601</c:v>
                </c:pt>
                <c:pt idx="45289">
                  <c:v>0.80772248974496097</c:v>
                </c:pt>
                <c:pt idx="45290">
                  <c:v>0.80774032459425704</c:v>
                </c:pt>
                <c:pt idx="45291">
                  <c:v>0.807758159443552</c:v>
                </c:pt>
                <c:pt idx="45292">
                  <c:v>0.80777599429284797</c:v>
                </c:pt>
                <c:pt idx="45293">
                  <c:v>0.80779382914214304</c:v>
                </c:pt>
                <c:pt idx="45294">
                  <c:v>0.807811663991439</c:v>
                </c:pt>
                <c:pt idx="45295">
                  <c:v>0.80782949884073396</c:v>
                </c:pt>
                <c:pt idx="45296">
                  <c:v>0.80784733369003003</c:v>
                </c:pt>
                <c:pt idx="45297">
                  <c:v>0.807865168539325</c:v>
                </c:pt>
                <c:pt idx="45298">
                  <c:v>0.80788300338862096</c:v>
                </c:pt>
                <c:pt idx="45299">
                  <c:v>0.80790083823791603</c:v>
                </c:pt>
                <c:pt idx="45300">
                  <c:v>0.80791867308721199</c:v>
                </c:pt>
                <c:pt idx="45301">
                  <c:v>0.80793650793650795</c:v>
                </c:pt>
                <c:pt idx="45302">
                  <c:v>0.80795434278580303</c:v>
                </c:pt>
                <c:pt idx="45303">
                  <c:v>0.80797217763509899</c:v>
                </c:pt>
                <c:pt idx="45304">
                  <c:v>0.80799001248439395</c:v>
                </c:pt>
                <c:pt idx="45305">
                  <c:v>0.80800784733369002</c:v>
                </c:pt>
                <c:pt idx="45306">
                  <c:v>0.80802568218298498</c:v>
                </c:pt>
                <c:pt idx="45307">
                  <c:v>0.80804351703228094</c:v>
                </c:pt>
                <c:pt idx="45308">
                  <c:v>0.80806135188157602</c:v>
                </c:pt>
                <c:pt idx="45309">
                  <c:v>0.80807918673087198</c:v>
                </c:pt>
                <c:pt idx="45310">
                  <c:v>0.80809702158016705</c:v>
                </c:pt>
                <c:pt idx="45311">
                  <c:v>0.80811485642946301</c:v>
                </c:pt>
                <c:pt idx="45312">
                  <c:v>0.80813269127875798</c:v>
                </c:pt>
                <c:pt idx="45313">
                  <c:v>0.80815052612805405</c:v>
                </c:pt>
                <c:pt idx="45314">
                  <c:v>0.80816836097734901</c:v>
                </c:pt>
                <c:pt idx="45315">
                  <c:v>0.80818619582664497</c:v>
                </c:pt>
                <c:pt idx="45316">
                  <c:v>0.80820403067594004</c:v>
                </c:pt>
                <c:pt idx="45317">
                  <c:v>0.80822186552523601</c:v>
                </c:pt>
                <c:pt idx="45318">
                  <c:v>0.80823970037453097</c:v>
                </c:pt>
                <c:pt idx="45319">
                  <c:v>0.80825753522382704</c:v>
                </c:pt>
                <c:pt idx="45320">
                  <c:v>0.808275370073122</c:v>
                </c:pt>
                <c:pt idx="45321">
                  <c:v>0.80829320492241796</c:v>
                </c:pt>
                <c:pt idx="45322">
                  <c:v>0.80831103977171304</c:v>
                </c:pt>
                <c:pt idx="45323">
                  <c:v>0.808328874621009</c:v>
                </c:pt>
                <c:pt idx="45324">
                  <c:v>0.80834670947030496</c:v>
                </c:pt>
                <c:pt idx="45325">
                  <c:v>0.80836454431960003</c:v>
                </c:pt>
                <c:pt idx="45326">
                  <c:v>0.80838237916889599</c:v>
                </c:pt>
                <c:pt idx="45327">
                  <c:v>0.80840021401819095</c:v>
                </c:pt>
                <c:pt idx="45328">
                  <c:v>0.80841804886748703</c:v>
                </c:pt>
                <c:pt idx="45329">
                  <c:v>0.80843588371678199</c:v>
                </c:pt>
                <c:pt idx="45330">
                  <c:v>0.80845371856607795</c:v>
                </c:pt>
                <c:pt idx="45331">
                  <c:v>0.80847155341537302</c:v>
                </c:pt>
                <c:pt idx="45332">
                  <c:v>0.80848938826466898</c:v>
                </c:pt>
                <c:pt idx="45333">
                  <c:v>0.80850722311396395</c:v>
                </c:pt>
                <c:pt idx="45334">
                  <c:v>0.80852505796326002</c:v>
                </c:pt>
                <c:pt idx="45335">
                  <c:v>0.80854289281255498</c:v>
                </c:pt>
                <c:pt idx="45336">
                  <c:v>0.80856072766185105</c:v>
                </c:pt>
                <c:pt idx="45337">
                  <c:v>0.80857856251114602</c:v>
                </c:pt>
                <c:pt idx="45338">
                  <c:v>0.80859639736044198</c:v>
                </c:pt>
                <c:pt idx="45339">
                  <c:v>0.80861423220973705</c:v>
                </c:pt>
                <c:pt idx="45340">
                  <c:v>0.80863206705903301</c:v>
                </c:pt>
                <c:pt idx="45341">
                  <c:v>0.80864990190832797</c:v>
                </c:pt>
                <c:pt idx="45342">
                  <c:v>0.80866773675762404</c:v>
                </c:pt>
                <c:pt idx="45343">
                  <c:v>0.80868557160691901</c:v>
                </c:pt>
                <c:pt idx="45344">
                  <c:v>0.80870340645621497</c:v>
                </c:pt>
                <c:pt idx="45345">
                  <c:v>0.80872124130551004</c:v>
                </c:pt>
                <c:pt idx="45346">
                  <c:v>0.808739076154806</c:v>
                </c:pt>
                <c:pt idx="45347">
                  <c:v>0.80875691100410196</c:v>
                </c:pt>
                <c:pt idx="45348">
                  <c:v>0.80877474585339704</c:v>
                </c:pt>
                <c:pt idx="45349">
                  <c:v>0.808792580702693</c:v>
                </c:pt>
                <c:pt idx="45350">
                  <c:v>0.80881041555198796</c:v>
                </c:pt>
                <c:pt idx="45351">
                  <c:v>0.80882825040128403</c:v>
                </c:pt>
                <c:pt idx="45352">
                  <c:v>0.80884608525057899</c:v>
                </c:pt>
                <c:pt idx="45353">
                  <c:v>0.80886392009987496</c:v>
                </c:pt>
                <c:pt idx="45354">
                  <c:v>0.80888175494917003</c:v>
                </c:pt>
                <c:pt idx="45355">
                  <c:v>0.80889958979846599</c:v>
                </c:pt>
                <c:pt idx="45356">
                  <c:v>0.80891742464776095</c:v>
                </c:pt>
                <c:pt idx="45357">
                  <c:v>0.80893525949705702</c:v>
                </c:pt>
                <c:pt idx="45358">
                  <c:v>0.80895309434635199</c:v>
                </c:pt>
                <c:pt idx="45359">
                  <c:v>0.80897092919564795</c:v>
                </c:pt>
                <c:pt idx="45360">
                  <c:v>0.80898876404494302</c:v>
                </c:pt>
                <c:pt idx="45361">
                  <c:v>0.80900659889423898</c:v>
                </c:pt>
                <c:pt idx="45362">
                  <c:v>0.80902443374353405</c:v>
                </c:pt>
                <c:pt idx="45363">
                  <c:v>0.80904226859283002</c:v>
                </c:pt>
                <c:pt idx="45364">
                  <c:v>0.80906010344212498</c:v>
                </c:pt>
                <c:pt idx="45365">
                  <c:v>0.80907793829142105</c:v>
                </c:pt>
                <c:pt idx="45366">
                  <c:v>0.80909577314071701</c:v>
                </c:pt>
                <c:pt idx="45367">
                  <c:v>0.80911360799001197</c:v>
                </c:pt>
                <c:pt idx="45368">
                  <c:v>0.80913144283930805</c:v>
                </c:pt>
                <c:pt idx="45369">
                  <c:v>0.80914927768860301</c:v>
                </c:pt>
                <c:pt idx="45370">
                  <c:v>0.80916711253789897</c:v>
                </c:pt>
                <c:pt idx="45371">
                  <c:v>0.80918494738719404</c:v>
                </c:pt>
                <c:pt idx="45372">
                  <c:v>0.80920278223649</c:v>
                </c:pt>
                <c:pt idx="45373">
                  <c:v>0.80922061708578497</c:v>
                </c:pt>
                <c:pt idx="45374">
                  <c:v>0.80923845193508104</c:v>
                </c:pt>
                <c:pt idx="45375">
                  <c:v>0.809256286784376</c:v>
                </c:pt>
                <c:pt idx="45376">
                  <c:v>0.80927412163367196</c:v>
                </c:pt>
                <c:pt idx="45377">
                  <c:v>0.80929195648296703</c:v>
                </c:pt>
                <c:pt idx="45378">
                  <c:v>0.809309791332263</c:v>
                </c:pt>
                <c:pt idx="45379">
                  <c:v>0.80932762618155796</c:v>
                </c:pt>
                <c:pt idx="45380">
                  <c:v>0.80934546103085403</c:v>
                </c:pt>
                <c:pt idx="45381">
                  <c:v>0.80936329588014899</c:v>
                </c:pt>
                <c:pt idx="45382">
                  <c:v>0.80938113072944495</c:v>
                </c:pt>
                <c:pt idx="45383">
                  <c:v>0.80939896557874003</c:v>
                </c:pt>
                <c:pt idx="45384">
                  <c:v>0.80941680042803599</c:v>
                </c:pt>
                <c:pt idx="45385">
                  <c:v>0.80943463527733195</c:v>
                </c:pt>
                <c:pt idx="45386">
                  <c:v>0.80945247012662702</c:v>
                </c:pt>
                <c:pt idx="45387">
                  <c:v>0.80947030497592298</c:v>
                </c:pt>
                <c:pt idx="45388">
                  <c:v>0.80948813982521794</c:v>
                </c:pt>
                <c:pt idx="45389">
                  <c:v>0.80950597467451402</c:v>
                </c:pt>
                <c:pt idx="45390">
                  <c:v>0.80952380952380898</c:v>
                </c:pt>
                <c:pt idx="45391">
                  <c:v>0.80954164437310505</c:v>
                </c:pt>
                <c:pt idx="45392">
                  <c:v>0.80955947922240001</c:v>
                </c:pt>
                <c:pt idx="45393">
                  <c:v>0.80957731407169597</c:v>
                </c:pt>
                <c:pt idx="45394">
                  <c:v>0.80959514892099105</c:v>
                </c:pt>
                <c:pt idx="45395">
                  <c:v>0.80961298377028701</c:v>
                </c:pt>
                <c:pt idx="45396">
                  <c:v>0.80963081861958197</c:v>
                </c:pt>
                <c:pt idx="45397">
                  <c:v>0.80964865346887804</c:v>
                </c:pt>
                <c:pt idx="45398">
                  <c:v>0.80966648831817301</c:v>
                </c:pt>
                <c:pt idx="45399">
                  <c:v>0.80968432316746897</c:v>
                </c:pt>
                <c:pt idx="45400">
                  <c:v>0.80970215801676404</c:v>
                </c:pt>
                <c:pt idx="45401">
                  <c:v>0.80971999286606</c:v>
                </c:pt>
                <c:pt idx="45402">
                  <c:v>0.80973782771535496</c:v>
                </c:pt>
                <c:pt idx="45403">
                  <c:v>0.80975566256465104</c:v>
                </c:pt>
                <c:pt idx="45404">
                  <c:v>0.809773497413946</c:v>
                </c:pt>
                <c:pt idx="45405">
                  <c:v>0.80979133226324196</c:v>
                </c:pt>
                <c:pt idx="45406">
                  <c:v>0.80980916711253703</c:v>
                </c:pt>
                <c:pt idx="45407">
                  <c:v>0.80982700196183299</c:v>
                </c:pt>
                <c:pt idx="45408">
                  <c:v>0.80984483681112895</c:v>
                </c:pt>
                <c:pt idx="45409">
                  <c:v>0.80986267166042403</c:v>
                </c:pt>
                <c:pt idx="45410">
                  <c:v>0.80988050650971999</c:v>
                </c:pt>
                <c:pt idx="45411">
                  <c:v>0.80989834135901495</c:v>
                </c:pt>
                <c:pt idx="45412">
                  <c:v>0.80991617620831102</c:v>
                </c:pt>
                <c:pt idx="45413">
                  <c:v>0.80993401105760598</c:v>
                </c:pt>
                <c:pt idx="45414">
                  <c:v>0.80995184590690195</c:v>
                </c:pt>
                <c:pt idx="45415">
                  <c:v>0.80996968075619702</c:v>
                </c:pt>
                <c:pt idx="45416">
                  <c:v>0.80998751560549298</c:v>
                </c:pt>
                <c:pt idx="45417">
                  <c:v>0.81000535045478805</c:v>
                </c:pt>
                <c:pt idx="45418">
                  <c:v>0.81002318530408401</c:v>
                </c:pt>
                <c:pt idx="45419">
                  <c:v>0.81004102015337898</c:v>
                </c:pt>
                <c:pt idx="45420">
                  <c:v>0.81005885500267505</c:v>
                </c:pt>
                <c:pt idx="45421">
                  <c:v>0.81007668985197001</c:v>
                </c:pt>
                <c:pt idx="45422">
                  <c:v>0.81009452470126597</c:v>
                </c:pt>
                <c:pt idx="45423">
                  <c:v>0.81011235955056105</c:v>
                </c:pt>
                <c:pt idx="45424">
                  <c:v>0.81013019439985701</c:v>
                </c:pt>
                <c:pt idx="45425">
                  <c:v>0.81014802924915197</c:v>
                </c:pt>
                <c:pt idx="45426">
                  <c:v>0.81016586409844804</c:v>
                </c:pt>
                <c:pt idx="45427">
                  <c:v>0.810183698947743</c:v>
                </c:pt>
                <c:pt idx="45428">
                  <c:v>0.81020153379703896</c:v>
                </c:pt>
                <c:pt idx="45429">
                  <c:v>0.81021936864633404</c:v>
                </c:pt>
                <c:pt idx="45430">
                  <c:v>0.81023720349563</c:v>
                </c:pt>
                <c:pt idx="45431">
                  <c:v>0.81025503834492596</c:v>
                </c:pt>
                <c:pt idx="45432">
                  <c:v>0.81027287319422103</c:v>
                </c:pt>
                <c:pt idx="45433">
                  <c:v>0.81029070804351699</c:v>
                </c:pt>
                <c:pt idx="45434">
                  <c:v>0.81030854289281196</c:v>
                </c:pt>
                <c:pt idx="45435">
                  <c:v>0.81032637774210803</c:v>
                </c:pt>
                <c:pt idx="45436">
                  <c:v>0.81034421259140299</c:v>
                </c:pt>
                <c:pt idx="45437">
                  <c:v>0.81036204744069895</c:v>
                </c:pt>
                <c:pt idx="45438">
                  <c:v>0.81037988228999402</c:v>
                </c:pt>
                <c:pt idx="45439">
                  <c:v>0.81039771713928999</c:v>
                </c:pt>
                <c:pt idx="45440">
                  <c:v>0.81041555198858495</c:v>
                </c:pt>
                <c:pt idx="45441">
                  <c:v>0.81043338683788102</c:v>
                </c:pt>
                <c:pt idx="45442">
                  <c:v>0.81045122168717598</c:v>
                </c:pt>
                <c:pt idx="45443">
                  <c:v>0.81046905653647205</c:v>
                </c:pt>
                <c:pt idx="45444">
                  <c:v>0.81048689138576702</c:v>
                </c:pt>
                <c:pt idx="45445">
                  <c:v>0.81050472623506298</c:v>
                </c:pt>
                <c:pt idx="45446">
                  <c:v>0.81052256108435805</c:v>
                </c:pt>
                <c:pt idx="45447">
                  <c:v>0.81054039593365401</c:v>
                </c:pt>
                <c:pt idx="45448">
                  <c:v>0.81055823078294897</c:v>
                </c:pt>
                <c:pt idx="45449">
                  <c:v>0.81057606563224505</c:v>
                </c:pt>
                <c:pt idx="45450">
                  <c:v>0.81059390048154001</c:v>
                </c:pt>
                <c:pt idx="45451">
                  <c:v>0.81061173533083597</c:v>
                </c:pt>
                <c:pt idx="45452">
                  <c:v>0.81062957018013104</c:v>
                </c:pt>
                <c:pt idx="45453">
                  <c:v>0.810647405029427</c:v>
                </c:pt>
                <c:pt idx="45454">
                  <c:v>0.81066523987872297</c:v>
                </c:pt>
                <c:pt idx="45455">
                  <c:v>0.81068307472801804</c:v>
                </c:pt>
                <c:pt idx="45456">
                  <c:v>0.810700909577314</c:v>
                </c:pt>
                <c:pt idx="45457">
                  <c:v>0.81071874442660896</c:v>
                </c:pt>
                <c:pt idx="45458">
                  <c:v>0.81073657927590503</c:v>
                </c:pt>
                <c:pt idx="45459">
                  <c:v>0.8107544141252</c:v>
                </c:pt>
                <c:pt idx="45460">
                  <c:v>0.81077224897449596</c:v>
                </c:pt>
                <c:pt idx="45461">
                  <c:v>0.81079008382379103</c:v>
                </c:pt>
                <c:pt idx="45462">
                  <c:v>0.81080791867308699</c:v>
                </c:pt>
                <c:pt idx="45463">
                  <c:v>0.81082575352238195</c:v>
                </c:pt>
                <c:pt idx="45464">
                  <c:v>0.81084358837167803</c:v>
                </c:pt>
                <c:pt idx="45465">
                  <c:v>0.81086142322097299</c:v>
                </c:pt>
                <c:pt idx="45466">
                  <c:v>0.81087925807026895</c:v>
                </c:pt>
                <c:pt idx="45467">
                  <c:v>0.81089709291956402</c:v>
                </c:pt>
                <c:pt idx="45468">
                  <c:v>0.81091492776885998</c:v>
                </c:pt>
                <c:pt idx="45469">
                  <c:v>0.81093276261815495</c:v>
                </c:pt>
                <c:pt idx="45470">
                  <c:v>0.81095059746745102</c:v>
                </c:pt>
                <c:pt idx="45471">
                  <c:v>0.81096843231674698</c:v>
                </c:pt>
                <c:pt idx="45472">
                  <c:v>0.81098626716604205</c:v>
                </c:pt>
                <c:pt idx="45473">
                  <c:v>0.81100410201533801</c:v>
                </c:pt>
                <c:pt idx="45474">
                  <c:v>0.81102193686463298</c:v>
                </c:pt>
                <c:pt idx="45475">
                  <c:v>0.81103977171392905</c:v>
                </c:pt>
                <c:pt idx="45476">
                  <c:v>0.81105760656322401</c:v>
                </c:pt>
                <c:pt idx="45477">
                  <c:v>0.81107544141251997</c:v>
                </c:pt>
                <c:pt idx="45478">
                  <c:v>0.81109327626181504</c:v>
                </c:pt>
                <c:pt idx="45479">
                  <c:v>0.81111111111111101</c:v>
                </c:pt>
                <c:pt idx="45480">
                  <c:v>0.81112894596040597</c:v>
                </c:pt>
                <c:pt idx="45481">
                  <c:v>0.81114678080970204</c:v>
                </c:pt>
                <c:pt idx="45482">
                  <c:v>0.811164615658997</c:v>
                </c:pt>
                <c:pt idx="45483">
                  <c:v>0.81118245050829296</c:v>
                </c:pt>
                <c:pt idx="45484">
                  <c:v>0.81120028535758804</c:v>
                </c:pt>
                <c:pt idx="45485">
                  <c:v>0.811218120206884</c:v>
                </c:pt>
                <c:pt idx="45486">
                  <c:v>0.81123595505617896</c:v>
                </c:pt>
                <c:pt idx="45487">
                  <c:v>0.81125378990547503</c:v>
                </c:pt>
                <c:pt idx="45488">
                  <c:v>0.81127162475476999</c:v>
                </c:pt>
                <c:pt idx="45489">
                  <c:v>0.81128945960406595</c:v>
                </c:pt>
                <c:pt idx="45490">
                  <c:v>0.81130729445336103</c:v>
                </c:pt>
                <c:pt idx="45491">
                  <c:v>0.81132512930265699</c:v>
                </c:pt>
                <c:pt idx="45492">
                  <c:v>0.81134296415195295</c:v>
                </c:pt>
                <c:pt idx="45493">
                  <c:v>0.81136079900124802</c:v>
                </c:pt>
                <c:pt idx="45494">
                  <c:v>0.81137863385054398</c:v>
                </c:pt>
                <c:pt idx="45495">
                  <c:v>0.81139646869983895</c:v>
                </c:pt>
                <c:pt idx="45496">
                  <c:v>0.81141430354913502</c:v>
                </c:pt>
                <c:pt idx="45497">
                  <c:v>0.81143213839842998</c:v>
                </c:pt>
                <c:pt idx="45498">
                  <c:v>0.81144997324772605</c:v>
                </c:pt>
                <c:pt idx="45499">
                  <c:v>0.81146780809702102</c:v>
                </c:pt>
                <c:pt idx="45500">
                  <c:v>0.81148564294631698</c:v>
                </c:pt>
                <c:pt idx="45501">
                  <c:v>0.81150347779561205</c:v>
                </c:pt>
                <c:pt idx="45502">
                  <c:v>0.81152131264490801</c:v>
                </c:pt>
                <c:pt idx="45503">
                  <c:v>0.81153914749420297</c:v>
                </c:pt>
                <c:pt idx="45504">
                  <c:v>0.81155698234349904</c:v>
                </c:pt>
                <c:pt idx="45505">
                  <c:v>0.81157481719279401</c:v>
                </c:pt>
                <c:pt idx="45506">
                  <c:v>0.81159265204208997</c:v>
                </c:pt>
                <c:pt idx="45507">
                  <c:v>0.81161048689138504</c:v>
                </c:pt>
                <c:pt idx="45508">
                  <c:v>0.811628321740681</c:v>
                </c:pt>
                <c:pt idx="45509">
                  <c:v>0.81164615658997596</c:v>
                </c:pt>
                <c:pt idx="45510">
                  <c:v>0.81166399143927204</c:v>
                </c:pt>
                <c:pt idx="45511">
                  <c:v>0.811681826288567</c:v>
                </c:pt>
                <c:pt idx="45512">
                  <c:v>0.81169966113786296</c:v>
                </c:pt>
                <c:pt idx="45513">
                  <c:v>0.81171749598715803</c:v>
                </c:pt>
                <c:pt idx="45514">
                  <c:v>0.81173533083645399</c:v>
                </c:pt>
                <c:pt idx="45515">
                  <c:v>0.81175316568574996</c:v>
                </c:pt>
                <c:pt idx="45516">
                  <c:v>0.81177100053504503</c:v>
                </c:pt>
                <c:pt idx="45517">
                  <c:v>0.81178883538434099</c:v>
                </c:pt>
                <c:pt idx="45518">
                  <c:v>0.81180667023363595</c:v>
                </c:pt>
                <c:pt idx="45519">
                  <c:v>0.81182450508293202</c:v>
                </c:pt>
                <c:pt idx="45520">
                  <c:v>0.81184233993222699</c:v>
                </c:pt>
                <c:pt idx="45521">
                  <c:v>0.81186017478152295</c:v>
                </c:pt>
                <c:pt idx="45522">
                  <c:v>0.81187800963081802</c:v>
                </c:pt>
                <c:pt idx="45523">
                  <c:v>0.81189584448011398</c:v>
                </c:pt>
                <c:pt idx="45524">
                  <c:v>0.81191367932940905</c:v>
                </c:pt>
                <c:pt idx="45525">
                  <c:v>0.81193151417870502</c:v>
                </c:pt>
                <c:pt idx="45526">
                  <c:v>0.81194934902799998</c:v>
                </c:pt>
                <c:pt idx="45527">
                  <c:v>0.81196718387729605</c:v>
                </c:pt>
                <c:pt idx="45528">
                  <c:v>0.81198501872659101</c:v>
                </c:pt>
                <c:pt idx="45529">
                  <c:v>0.81200285357588697</c:v>
                </c:pt>
                <c:pt idx="45530">
                  <c:v>0.81202068842518205</c:v>
                </c:pt>
                <c:pt idx="45531">
                  <c:v>0.81203852327447801</c:v>
                </c:pt>
                <c:pt idx="45532">
                  <c:v>0.81205635812377297</c:v>
                </c:pt>
                <c:pt idx="45533">
                  <c:v>0.81207419297306904</c:v>
                </c:pt>
                <c:pt idx="45534">
                  <c:v>0.812092027822364</c:v>
                </c:pt>
                <c:pt idx="45535">
                  <c:v>0.81210986267165997</c:v>
                </c:pt>
                <c:pt idx="45536">
                  <c:v>0.81212769752095504</c:v>
                </c:pt>
                <c:pt idx="45537">
                  <c:v>0.812145532370251</c:v>
                </c:pt>
                <c:pt idx="45538">
                  <c:v>0.81216336721954696</c:v>
                </c:pt>
                <c:pt idx="45539">
                  <c:v>0.81218120206884203</c:v>
                </c:pt>
                <c:pt idx="45540">
                  <c:v>0.812199036918138</c:v>
                </c:pt>
                <c:pt idx="45541">
                  <c:v>0.81221687176743296</c:v>
                </c:pt>
                <c:pt idx="45542">
                  <c:v>0.81223470661672903</c:v>
                </c:pt>
                <c:pt idx="45543">
                  <c:v>0.81225254146602399</c:v>
                </c:pt>
                <c:pt idx="45544">
                  <c:v>0.81227037631531995</c:v>
                </c:pt>
                <c:pt idx="45545">
                  <c:v>0.81228821116461503</c:v>
                </c:pt>
                <c:pt idx="45546">
                  <c:v>0.81230604601391099</c:v>
                </c:pt>
                <c:pt idx="45547">
                  <c:v>0.81232388086320595</c:v>
                </c:pt>
                <c:pt idx="45548">
                  <c:v>0.81234171571250202</c:v>
                </c:pt>
                <c:pt idx="45549">
                  <c:v>0.81235955056179698</c:v>
                </c:pt>
                <c:pt idx="45550">
                  <c:v>0.81237738541109294</c:v>
                </c:pt>
                <c:pt idx="45551">
                  <c:v>0.81239522026038802</c:v>
                </c:pt>
                <c:pt idx="45552">
                  <c:v>0.81241305510968398</c:v>
                </c:pt>
                <c:pt idx="45553">
                  <c:v>0.81243088995897905</c:v>
                </c:pt>
                <c:pt idx="45554">
                  <c:v>0.81244872480827501</c:v>
                </c:pt>
                <c:pt idx="45555">
                  <c:v>0.81246655965756998</c:v>
                </c:pt>
                <c:pt idx="45556">
                  <c:v>0.81248439450686605</c:v>
                </c:pt>
                <c:pt idx="45557">
                  <c:v>0.81250222935616101</c:v>
                </c:pt>
                <c:pt idx="45558">
                  <c:v>0.81252006420545697</c:v>
                </c:pt>
                <c:pt idx="45559">
                  <c:v>0.81253789905475204</c:v>
                </c:pt>
                <c:pt idx="45560">
                  <c:v>0.81255573390404801</c:v>
                </c:pt>
                <c:pt idx="45561">
                  <c:v>0.81257356875334397</c:v>
                </c:pt>
                <c:pt idx="45562">
                  <c:v>0.81259140360263904</c:v>
                </c:pt>
                <c:pt idx="45563">
                  <c:v>0.812609238451935</c:v>
                </c:pt>
                <c:pt idx="45564">
                  <c:v>0.81262707330122996</c:v>
                </c:pt>
                <c:pt idx="45565">
                  <c:v>0.81264490815052604</c:v>
                </c:pt>
                <c:pt idx="45566">
                  <c:v>0.812662742999821</c:v>
                </c:pt>
                <c:pt idx="45567">
                  <c:v>0.81268057784911696</c:v>
                </c:pt>
                <c:pt idx="45568">
                  <c:v>0.81269841269841203</c:v>
                </c:pt>
                <c:pt idx="45569">
                  <c:v>0.81271624754770799</c:v>
                </c:pt>
                <c:pt idx="45570">
                  <c:v>0.81273408239700295</c:v>
                </c:pt>
                <c:pt idx="45571">
                  <c:v>0.81275191724629903</c:v>
                </c:pt>
                <c:pt idx="45572">
                  <c:v>0.81276975209559399</c:v>
                </c:pt>
                <c:pt idx="45573">
                  <c:v>0.81278758694488995</c:v>
                </c:pt>
                <c:pt idx="45574">
                  <c:v>0.81280542179418502</c:v>
                </c:pt>
                <c:pt idx="45575">
                  <c:v>0.81282325664348098</c:v>
                </c:pt>
                <c:pt idx="45576">
                  <c:v>0.81284109149277595</c:v>
                </c:pt>
                <c:pt idx="45577">
                  <c:v>0.81285892634207202</c:v>
                </c:pt>
                <c:pt idx="45578">
                  <c:v>0.81287676119136798</c:v>
                </c:pt>
                <c:pt idx="45579">
                  <c:v>0.81289459604066305</c:v>
                </c:pt>
                <c:pt idx="45580">
                  <c:v>0.81291243088995901</c:v>
                </c:pt>
                <c:pt idx="45581">
                  <c:v>0.81293026573925398</c:v>
                </c:pt>
                <c:pt idx="45582">
                  <c:v>0.81294810058855005</c:v>
                </c:pt>
                <c:pt idx="45583">
                  <c:v>0.81296593543784501</c:v>
                </c:pt>
                <c:pt idx="45584">
                  <c:v>0.81298377028714097</c:v>
                </c:pt>
                <c:pt idx="45585">
                  <c:v>0.81300160513643605</c:v>
                </c:pt>
                <c:pt idx="45586">
                  <c:v>0.81301943998573201</c:v>
                </c:pt>
                <c:pt idx="45587">
                  <c:v>0.81303727483502697</c:v>
                </c:pt>
                <c:pt idx="45588">
                  <c:v>0.81305510968432304</c:v>
                </c:pt>
                <c:pt idx="45589">
                  <c:v>0.813072944533618</c:v>
                </c:pt>
                <c:pt idx="45590">
                  <c:v>0.81309077938291396</c:v>
                </c:pt>
                <c:pt idx="45591">
                  <c:v>0.81310861423220904</c:v>
                </c:pt>
                <c:pt idx="45592">
                  <c:v>0.813126449081505</c:v>
                </c:pt>
                <c:pt idx="45593">
                  <c:v>0.81314428393079996</c:v>
                </c:pt>
                <c:pt idx="45594">
                  <c:v>0.81316211878009603</c:v>
                </c:pt>
                <c:pt idx="45595">
                  <c:v>0.81317995362939099</c:v>
                </c:pt>
                <c:pt idx="45596">
                  <c:v>0.81319778847868696</c:v>
                </c:pt>
                <c:pt idx="45597">
                  <c:v>0.81321562332798203</c:v>
                </c:pt>
                <c:pt idx="45598">
                  <c:v>0.81323345817727799</c:v>
                </c:pt>
                <c:pt idx="45599">
                  <c:v>0.81325129302657395</c:v>
                </c:pt>
                <c:pt idx="45600">
                  <c:v>0.81326912787586902</c:v>
                </c:pt>
                <c:pt idx="45601">
                  <c:v>0.81328696272516499</c:v>
                </c:pt>
                <c:pt idx="45602">
                  <c:v>0.81330479757445995</c:v>
                </c:pt>
                <c:pt idx="45603">
                  <c:v>0.81332263242375602</c:v>
                </c:pt>
                <c:pt idx="45604">
                  <c:v>0.81334046727305098</c:v>
                </c:pt>
                <c:pt idx="45605">
                  <c:v>0.81335830212234705</c:v>
                </c:pt>
                <c:pt idx="45606">
                  <c:v>0.81337613697164202</c:v>
                </c:pt>
                <c:pt idx="45607">
                  <c:v>0.81339397182093798</c:v>
                </c:pt>
                <c:pt idx="45608">
                  <c:v>0.81341180667023305</c:v>
                </c:pt>
                <c:pt idx="45609">
                  <c:v>0.81342964151952901</c:v>
                </c:pt>
                <c:pt idx="45610">
                  <c:v>0.81344747636882397</c:v>
                </c:pt>
                <c:pt idx="45611">
                  <c:v>0.81346531121812005</c:v>
                </c:pt>
                <c:pt idx="45612">
                  <c:v>0.81348314606741501</c:v>
                </c:pt>
                <c:pt idx="45613">
                  <c:v>0.81350098091671097</c:v>
                </c:pt>
                <c:pt idx="45614">
                  <c:v>0.81351881576600604</c:v>
                </c:pt>
                <c:pt idx="45615">
                  <c:v>0.813536650615302</c:v>
                </c:pt>
                <c:pt idx="45616">
                  <c:v>0.81355448546459697</c:v>
                </c:pt>
                <c:pt idx="45617">
                  <c:v>0.81357232031389304</c:v>
                </c:pt>
                <c:pt idx="45618">
                  <c:v>0.813590155163188</c:v>
                </c:pt>
                <c:pt idx="45619">
                  <c:v>0.81360799001248396</c:v>
                </c:pt>
                <c:pt idx="45620">
                  <c:v>0.81362582486177903</c:v>
                </c:pt>
                <c:pt idx="45621">
                  <c:v>0.813643659711075</c:v>
                </c:pt>
                <c:pt idx="45622">
                  <c:v>0.81366149456037096</c:v>
                </c:pt>
                <c:pt idx="45623">
                  <c:v>0.81367932940966603</c:v>
                </c:pt>
                <c:pt idx="45624">
                  <c:v>0.81369716425896199</c:v>
                </c:pt>
                <c:pt idx="45625">
                  <c:v>0.81371499910825695</c:v>
                </c:pt>
                <c:pt idx="45626">
                  <c:v>0.81373283395755303</c:v>
                </c:pt>
                <c:pt idx="45627">
                  <c:v>0.81375066880684799</c:v>
                </c:pt>
                <c:pt idx="45628">
                  <c:v>0.81376850365614395</c:v>
                </c:pt>
                <c:pt idx="45629">
                  <c:v>0.81378633850543902</c:v>
                </c:pt>
                <c:pt idx="45630">
                  <c:v>0.81380417335473498</c:v>
                </c:pt>
                <c:pt idx="45631">
                  <c:v>0.81382200820402995</c:v>
                </c:pt>
                <c:pt idx="45632">
                  <c:v>0.81383984305332602</c:v>
                </c:pt>
                <c:pt idx="45633">
                  <c:v>0.81385767790262098</c:v>
                </c:pt>
                <c:pt idx="45634">
                  <c:v>0.81387551275191705</c:v>
                </c:pt>
                <c:pt idx="45635">
                  <c:v>0.81389334760121201</c:v>
                </c:pt>
                <c:pt idx="45636">
                  <c:v>0.81391118245050798</c:v>
                </c:pt>
                <c:pt idx="45637">
                  <c:v>0.81392901729980305</c:v>
                </c:pt>
                <c:pt idx="45638">
                  <c:v>0.81394685214909901</c:v>
                </c:pt>
                <c:pt idx="45639">
                  <c:v>0.81396468699839397</c:v>
                </c:pt>
                <c:pt idx="45640">
                  <c:v>0.81398252184769004</c:v>
                </c:pt>
                <c:pt idx="45641">
                  <c:v>0.81400035669698501</c:v>
                </c:pt>
                <c:pt idx="45642">
                  <c:v>0.81401819154628097</c:v>
                </c:pt>
                <c:pt idx="45643">
                  <c:v>0.81403602639557604</c:v>
                </c:pt>
                <c:pt idx="45644">
                  <c:v>0.814053861244872</c:v>
                </c:pt>
                <c:pt idx="45645">
                  <c:v>0.81407169609416796</c:v>
                </c:pt>
                <c:pt idx="45646">
                  <c:v>0.81408953094346304</c:v>
                </c:pt>
                <c:pt idx="45647">
                  <c:v>0.814107365792759</c:v>
                </c:pt>
                <c:pt idx="45648">
                  <c:v>0.81412520064205396</c:v>
                </c:pt>
                <c:pt idx="45649">
                  <c:v>0.81414303549135003</c:v>
                </c:pt>
                <c:pt idx="45650">
                  <c:v>0.81416087034064499</c:v>
                </c:pt>
                <c:pt idx="45651">
                  <c:v>0.81417870518994095</c:v>
                </c:pt>
                <c:pt idx="45652">
                  <c:v>0.81419654003923603</c:v>
                </c:pt>
                <c:pt idx="45653">
                  <c:v>0.81421437488853199</c:v>
                </c:pt>
                <c:pt idx="45654">
                  <c:v>0.81423220973782695</c:v>
                </c:pt>
                <c:pt idx="45655">
                  <c:v>0.81425004458712302</c:v>
                </c:pt>
                <c:pt idx="45656">
                  <c:v>0.81426787943641799</c:v>
                </c:pt>
                <c:pt idx="45657">
                  <c:v>0.81428571428571395</c:v>
                </c:pt>
                <c:pt idx="45658">
                  <c:v>0.81430354913500902</c:v>
                </c:pt>
                <c:pt idx="45659">
                  <c:v>0.81432138398430498</c:v>
                </c:pt>
                <c:pt idx="45660">
                  <c:v>0.81433921883360005</c:v>
                </c:pt>
                <c:pt idx="45661">
                  <c:v>0.81435705368289601</c:v>
                </c:pt>
                <c:pt idx="45662">
                  <c:v>0.81437488853219098</c:v>
                </c:pt>
                <c:pt idx="45663">
                  <c:v>0.81439272338148705</c:v>
                </c:pt>
                <c:pt idx="45664">
                  <c:v>0.81441055823078201</c:v>
                </c:pt>
                <c:pt idx="45665">
                  <c:v>0.81442839308007797</c:v>
                </c:pt>
                <c:pt idx="45666">
                  <c:v>0.81444622792937404</c:v>
                </c:pt>
                <c:pt idx="45667">
                  <c:v>0.81446406277866901</c:v>
                </c:pt>
                <c:pt idx="45668">
                  <c:v>0.81448189762796497</c:v>
                </c:pt>
                <c:pt idx="45669">
                  <c:v>0.81449973247726004</c:v>
                </c:pt>
                <c:pt idx="45670">
                  <c:v>0.814517567326556</c:v>
                </c:pt>
                <c:pt idx="45671">
                  <c:v>0.81453540217585096</c:v>
                </c:pt>
                <c:pt idx="45672">
                  <c:v>0.81455323702514704</c:v>
                </c:pt>
                <c:pt idx="45673">
                  <c:v>0.814571071874442</c:v>
                </c:pt>
                <c:pt idx="45674">
                  <c:v>0.81458890672373796</c:v>
                </c:pt>
                <c:pt idx="45675">
                  <c:v>0.81460674157303303</c:v>
                </c:pt>
                <c:pt idx="45676">
                  <c:v>0.81462457642232899</c:v>
                </c:pt>
                <c:pt idx="45677">
                  <c:v>0.81464241127162396</c:v>
                </c:pt>
                <c:pt idx="45678">
                  <c:v>0.81466024612092003</c:v>
                </c:pt>
                <c:pt idx="45679">
                  <c:v>0.81467808097021499</c:v>
                </c:pt>
                <c:pt idx="45680">
                  <c:v>0.81469591581951095</c:v>
                </c:pt>
                <c:pt idx="45681">
                  <c:v>0.81471375066880602</c:v>
                </c:pt>
                <c:pt idx="45682">
                  <c:v>0.81473158551810199</c:v>
                </c:pt>
                <c:pt idx="45683">
                  <c:v>0.81474942036739795</c:v>
                </c:pt>
                <c:pt idx="45684">
                  <c:v>0.81476725521669302</c:v>
                </c:pt>
                <c:pt idx="45685">
                  <c:v>0.81478509006598898</c:v>
                </c:pt>
                <c:pt idx="45686">
                  <c:v>0.81480292491528405</c:v>
                </c:pt>
                <c:pt idx="45687">
                  <c:v>0.81482075976458002</c:v>
                </c:pt>
                <c:pt idx="45688">
                  <c:v>0.81483859461387498</c:v>
                </c:pt>
                <c:pt idx="45689">
                  <c:v>0.81485642946317105</c:v>
                </c:pt>
                <c:pt idx="45690">
                  <c:v>0.81487426431246601</c:v>
                </c:pt>
                <c:pt idx="45691">
                  <c:v>0.81489209916176197</c:v>
                </c:pt>
                <c:pt idx="45692">
                  <c:v>0.81490993401105705</c:v>
                </c:pt>
                <c:pt idx="45693">
                  <c:v>0.81492776886035301</c:v>
                </c:pt>
                <c:pt idx="45694">
                  <c:v>0.81494560370964797</c:v>
                </c:pt>
                <c:pt idx="45695">
                  <c:v>0.81496343855894404</c:v>
                </c:pt>
                <c:pt idx="45696">
                  <c:v>0.814981273408239</c:v>
                </c:pt>
                <c:pt idx="45697">
                  <c:v>0.81499910825753497</c:v>
                </c:pt>
                <c:pt idx="45698">
                  <c:v>0.81501694310683004</c:v>
                </c:pt>
                <c:pt idx="45699">
                  <c:v>0.815034777956126</c:v>
                </c:pt>
                <c:pt idx="45700">
                  <c:v>0.81505261280542096</c:v>
                </c:pt>
                <c:pt idx="45701">
                  <c:v>0.81507044765471703</c:v>
                </c:pt>
                <c:pt idx="45702">
                  <c:v>0.815088282504012</c:v>
                </c:pt>
                <c:pt idx="45703">
                  <c:v>0.81510611735330796</c:v>
                </c:pt>
                <c:pt idx="45704">
                  <c:v>0.81512395220260303</c:v>
                </c:pt>
                <c:pt idx="45705">
                  <c:v>0.81514178705189899</c:v>
                </c:pt>
                <c:pt idx="45706">
                  <c:v>0.81515962190119495</c:v>
                </c:pt>
                <c:pt idx="45707">
                  <c:v>0.81517745675049003</c:v>
                </c:pt>
                <c:pt idx="45708">
                  <c:v>0.81519529159978599</c:v>
                </c:pt>
                <c:pt idx="45709">
                  <c:v>0.81521312644908095</c:v>
                </c:pt>
                <c:pt idx="45710">
                  <c:v>0.81523096129837702</c:v>
                </c:pt>
                <c:pt idx="45711">
                  <c:v>0.81524879614767198</c:v>
                </c:pt>
                <c:pt idx="45712">
                  <c:v>0.81526663099696794</c:v>
                </c:pt>
                <c:pt idx="45713">
                  <c:v>0.81528446584626302</c:v>
                </c:pt>
                <c:pt idx="45714">
                  <c:v>0.81530230069555898</c:v>
                </c:pt>
                <c:pt idx="45715">
                  <c:v>0.81532013554485405</c:v>
                </c:pt>
                <c:pt idx="45716">
                  <c:v>0.81533797039415001</c:v>
                </c:pt>
                <c:pt idx="45717">
                  <c:v>0.81535580524344498</c:v>
                </c:pt>
                <c:pt idx="45718">
                  <c:v>0.81537364009274105</c:v>
                </c:pt>
                <c:pt idx="45719">
                  <c:v>0.81539147494203601</c:v>
                </c:pt>
                <c:pt idx="45720">
                  <c:v>0.81540930979133197</c:v>
                </c:pt>
                <c:pt idx="45721">
                  <c:v>0.81542714464062704</c:v>
                </c:pt>
                <c:pt idx="45722">
                  <c:v>0.81544497948992301</c:v>
                </c:pt>
                <c:pt idx="45723">
                  <c:v>0.81546281433921797</c:v>
                </c:pt>
                <c:pt idx="45724">
                  <c:v>0.81548064918851404</c:v>
                </c:pt>
                <c:pt idx="45725">
                  <c:v>0.815498484037809</c:v>
                </c:pt>
                <c:pt idx="45726">
                  <c:v>0.81551631888710496</c:v>
                </c:pt>
                <c:pt idx="45727">
                  <c:v>0.81553415373640004</c:v>
                </c:pt>
                <c:pt idx="45728">
                  <c:v>0.815551988585696</c:v>
                </c:pt>
                <c:pt idx="45729">
                  <c:v>0.81556982343499196</c:v>
                </c:pt>
                <c:pt idx="45730">
                  <c:v>0.81558765828428703</c:v>
                </c:pt>
                <c:pt idx="45731">
                  <c:v>0.81560549313358299</c:v>
                </c:pt>
                <c:pt idx="45732">
                  <c:v>0.81562332798287795</c:v>
                </c:pt>
                <c:pt idx="45733">
                  <c:v>0.81564116283217403</c:v>
                </c:pt>
                <c:pt idx="45734">
                  <c:v>0.81565899768146899</c:v>
                </c:pt>
                <c:pt idx="45735">
                  <c:v>0.81567683253076495</c:v>
                </c:pt>
                <c:pt idx="45736">
                  <c:v>0.81569466738006002</c:v>
                </c:pt>
                <c:pt idx="45737">
                  <c:v>0.81571250222935598</c:v>
                </c:pt>
                <c:pt idx="45738">
                  <c:v>0.81573033707865095</c:v>
                </c:pt>
                <c:pt idx="45739">
                  <c:v>0.81574817192794702</c:v>
                </c:pt>
                <c:pt idx="45740">
                  <c:v>0.81576600677724198</c:v>
                </c:pt>
                <c:pt idx="45741">
                  <c:v>0.81578384162653805</c:v>
                </c:pt>
                <c:pt idx="45742">
                  <c:v>0.81580167647583302</c:v>
                </c:pt>
                <c:pt idx="45743">
                  <c:v>0.81581951132512898</c:v>
                </c:pt>
                <c:pt idx="45744">
                  <c:v>0.81583734617442405</c:v>
                </c:pt>
                <c:pt idx="45745">
                  <c:v>0.81585518102372001</c:v>
                </c:pt>
                <c:pt idx="45746">
                  <c:v>0.81587301587301497</c:v>
                </c:pt>
                <c:pt idx="45747">
                  <c:v>0.81589085072231105</c:v>
                </c:pt>
                <c:pt idx="45748">
                  <c:v>0.81590868557160601</c:v>
                </c:pt>
                <c:pt idx="45749">
                  <c:v>0.81592652042090197</c:v>
                </c:pt>
                <c:pt idx="45750">
                  <c:v>0.81594435527019704</c:v>
                </c:pt>
                <c:pt idx="45751">
                  <c:v>0.815962190119493</c:v>
                </c:pt>
                <c:pt idx="45752">
                  <c:v>0.81598002496878896</c:v>
                </c:pt>
                <c:pt idx="45753">
                  <c:v>0.81599785981808404</c:v>
                </c:pt>
                <c:pt idx="45754">
                  <c:v>0.81601569466738</c:v>
                </c:pt>
                <c:pt idx="45755">
                  <c:v>0.81603352951667496</c:v>
                </c:pt>
                <c:pt idx="45756">
                  <c:v>0.81605136436597103</c:v>
                </c:pt>
                <c:pt idx="45757">
                  <c:v>0.81606919921526599</c:v>
                </c:pt>
                <c:pt idx="45758">
                  <c:v>0.81608703406456196</c:v>
                </c:pt>
                <c:pt idx="45759">
                  <c:v>0.81610486891385703</c:v>
                </c:pt>
                <c:pt idx="45760">
                  <c:v>0.81612270376315299</c:v>
                </c:pt>
                <c:pt idx="45761">
                  <c:v>0.81614053861244795</c:v>
                </c:pt>
                <c:pt idx="45762">
                  <c:v>0.81615837346174402</c:v>
                </c:pt>
                <c:pt idx="45763">
                  <c:v>0.81617620831103899</c:v>
                </c:pt>
                <c:pt idx="45764">
                  <c:v>0.81619404316033495</c:v>
                </c:pt>
                <c:pt idx="45765">
                  <c:v>0.81621187800963002</c:v>
                </c:pt>
                <c:pt idx="45766">
                  <c:v>0.81622971285892598</c:v>
                </c:pt>
                <c:pt idx="45767">
                  <c:v>0.81624754770822106</c:v>
                </c:pt>
                <c:pt idx="45768">
                  <c:v>0.81626538255751702</c:v>
                </c:pt>
                <c:pt idx="45769">
                  <c:v>0.81628321740681198</c:v>
                </c:pt>
                <c:pt idx="45770">
                  <c:v>0.81630105225610805</c:v>
                </c:pt>
                <c:pt idx="45771">
                  <c:v>0.81631888710540401</c:v>
                </c:pt>
                <c:pt idx="45772">
                  <c:v>0.81633672195469897</c:v>
                </c:pt>
                <c:pt idx="45773">
                  <c:v>0.81635455680399505</c:v>
                </c:pt>
                <c:pt idx="45774">
                  <c:v>0.81637239165329001</c:v>
                </c:pt>
                <c:pt idx="45775">
                  <c:v>0.81639022650258597</c:v>
                </c:pt>
                <c:pt idx="45776">
                  <c:v>0.81640806135188104</c:v>
                </c:pt>
                <c:pt idx="45777">
                  <c:v>0.816425896201177</c:v>
                </c:pt>
                <c:pt idx="45778">
                  <c:v>0.81644373105047197</c:v>
                </c:pt>
                <c:pt idx="45779">
                  <c:v>0.81646156589976804</c:v>
                </c:pt>
                <c:pt idx="45780">
                  <c:v>0.816479400749063</c:v>
                </c:pt>
                <c:pt idx="45781">
                  <c:v>0.81649723559835896</c:v>
                </c:pt>
                <c:pt idx="45782">
                  <c:v>0.81651507044765403</c:v>
                </c:pt>
                <c:pt idx="45783">
                  <c:v>0.81653290529695</c:v>
                </c:pt>
                <c:pt idx="45784">
                  <c:v>0.81655074014624496</c:v>
                </c:pt>
                <c:pt idx="45785">
                  <c:v>0.81656857499554103</c:v>
                </c:pt>
                <c:pt idx="45786">
                  <c:v>0.81658640984483599</c:v>
                </c:pt>
                <c:pt idx="45787">
                  <c:v>0.81660424469413195</c:v>
                </c:pt>
                <c:pt idx="45788">
                  <c:v>0.81662207954342703</c:v>
                </c:pt>
                <c:pt idx="45789">
                  <c:v>0.81663991439272299</c:v>
                </c:pt>
                <c:pt idx="45790">
                  <c:v>0.81665774924201895</c:v>
                </c:pt>
                <c:pt idx="45791">
                  <c:v>0.81667558409131402</c:v>
                </c:pt>
                <c:pt idx="45792">
                  <c:v>0.81669341894060998</c:v>
                </c:pt>
                <c:pt idx="45793">
                  <c:v>0.81671125378990495</c:v>
                </c:pt>
                <c:pt idx="45794">
                  <c:v>0.81672908863920102</c:v>
                </c:pt>
                <c:pt idx="45795">
                  <c:v>0.81674692348849598</c:v>
                </c:pt>
                <c:pt idx="45796">
                  <c:v>0.81676475833779205</c:v>
                </c:pt>
                <c:pt idx="45797">
                  <c:v>0.81678259318708701</c:v>
                </c:pt>
                <c:pt idx="45798">
                  <c:v>0.81680042803638297</c:v>
                </c:pt>
                <c:pt idx="45799">
                  <c:v>0.81681826288567805</c:v>
                </c:pt>
                <c:pt idx="45800">
                  <c:v>0.81683609773497401</c:v>
                </c:pt>
                <c:pt idx="45801">
                  <c:v>0.81685393258426897</c:v>
                </c:pt>
                <c:pt idx="45802">
                  <c:v>0.81687176743356504</c:v>
                </c:pt>
                <c:pt idx="45803">
                  <c:v>0.81688960228286001</c:v>
                </c:pt>
                <c:pt idx="45804">
                  <c:v>0.81690743713215597</c:v>
                </c:pt>
                <c:pt idx="45805">
                  <c:v>0.81692527198145104</c:v>
                </c:pt>
                <c:pt idx="45806">
                  <c:v>0.816943106830747</c:v>
                </c:pt>
                <c:pt idx="45807">
                  <c:v>0.81696094168004196</c:v>
                </c:pt>
                <c:pt idx="45808">
                  <c:v>0.81697877652933804</c:v>
                </c:pt>
                <c:pt idx="45809">
                  <c:v>0.816996611378633</c:v>
                </c:pt>
                <c:pt idx="45810">
                  <c:v>0.81701444622792896</c:v>
                </c:pt>
                <c:pt idx="45811">
                  <c:v>0.81703228107722403</c:v>
                </c:pt>
                <c:pt idx="45812">
                  <c:v>0.81705011592651999</c:v>
                </c:pt>
                <c:pt idx="45813">
                  <c:v>0.81706795077581595</c:v>
                </c:pt>
                <c:pt idx="45814">
                  <c:v>0.81708578562511103</c:v>
                </c:pt>
                <c:pt idx="45815">
                  <c:v>0.81710362047440699</c:v>
                </c:pt>
                <c:pt idx="45816">
                  <c:v>0.81712145532370195</c:v>
                </c:pt>
                <c:pt idx="45817">
                  <c:v>0.81713929017299802</c:v>
                </c:pt>
                <c:pt idx="45818">
                  <c:v>0.81715712502229298</c:v>
                </c:pt>
                <c:pt idx="45819">
                  <c:v>0.81717495987158895</c:v>
                </c:pt>
                <c:pt idx="45820">
                  <c:v>0.81719279472088402</c:v>
                </c:pt>
                <c:pt idx="45821">
                  <c:v>0.81721062957017998</c:v>
                </c:pt>
                <c:pt idx="45822">
                  <c:v>0.81722846441947505</c:v>
                </c:pt>
                <c:pt idx="45823">
                  <c:v>0.81724629926877101</c:v>
                </c:pt>
                <c:pt idx="45824">
                  <c:v>0.81726413411806598</c:v>
                </c:pt>
                <c:pt idx="45825">
                  <c:v>0.81728196896736205</c:v>
                </c:pt>
                <c:pt idx="45826">
                  <c:v>0.81729980381665701</c:v>
                </c:pt>
                <c:pt idx="45827">
                  <c:v>0.81731763866595297</c:v>
                </c:pt>
                <c:pt idx="45828">
                  <c:v>0.81733547351524805</c:v>
                </c:pt>
                <c:pt idx="45829">
                  <c:v>0.81735330836454401</c:v>
                </c:pt>
                <c:pt idx="45830">
                  <c:v>0.81737114321383897</c:v>
                </c:pt>
                <c:pt idx="45831">
                  <c:v>0.81738897806313504</c:v>
                </c:pt>
                <c:pt idx="45832">
                  <c:v>0.81740681291243</c:v>
                </c:pt>
                <c:pt idx="45833">
                  <c:v>0.81742464776172596</c:v>
                </c:pt>
                <c:pt idx="45834">
                  <c:v>0.81744248261102104</c:v>
                </c:pt>
                <c:pt idx="45835">
                  <c:v>0.817460317460317</c:v>
                </c:pt>
                <c:pt idx="45836">
                  <c:v>0.81747815230961296</c:v>
                </c:pt>
                <c:pt idx="45837">
                  <c:v>0.81749598715890803</c:v>
                </c:pt>
                <c:pt idx="45838">
                  <c:v>0.81751382200820399</c:v>
                </c:pt>
                <c:pt idx="45839">
                  <c:v>0.81753165685749896</c:v>
                </c:pt>
                <c:pt idx="45840">
                  <c:v>0.81754949170679503</c:v>
                </c:pt>
                <c:pt idx="45841">
                  <c:v>0.81756732655608999</c:v>
                </c:pt>
                <c:pt idx="45842">
                  <c:v>0.81758516140538595</c:v>
                </c:pt>
                <c:pt idx="45843">
                  <c:v>0.81760299625468102</c:v>
                </c:pt>
                <c:pt idx="45844">
                  <c:v>0.81762083110397699</c:v>
                </c:pt>
                <c:pt idx="45845">
                  <c:v>0.81763866595327195</c:v>
                </c:pt>
                <c:pt idx="45846">
                  <c:v>0.81765650080256802</c:v>
                </c:pt>
                <c:pt idx="45847">
                  <c:v>0.81767433565186298</c:v>
                </c:pt>
                <c:pt idx="45848">
                  <c:v>0.81769217050115905</c:v>
                </c:pt>
                <c:pt idx="45849">
                  <c:v>0.81771000535045402</c:v>
                </c:pt>
                <c:pt idx="45850">
                  <c:v>0.81772784019974998</c:v>
                </c:pt>
                <c:pt idx="45851">
                  <c:v>0.81774567504904505</c:v>
                </c:pt>
                <c:pt idx="45852">
                  <c:v>0.81776350989834101</c:v>
                </c:pt>
                <c:pt idx="45853">
                  <c:v>0.81778134474763597</c:v>
                </c:pt>
                <c:pt idx="45854">
                  <c:v>0.81779917959693205</c:v>
                </c:pt>
                <c:pt idx="45855">
                  <c:v>0.81781701444622701</c:v>
                </c:pt>
                <c:pt idx="45856">
                  <c:v>0.81783484929552297</c:v>
                </c:pt>
                <c:pt idx="45857">
                  <c:v>0.81785268414481804</c:v>
                </c:pt>
                <c:pt idx="45858">
                  <c:v>0.817870518994114</c:v>
                </c:pt>
                <c:pt idx="45859">
                  <c:v>0.81788835384340997</c:v>
                </c:pt>
                <c:pt idx="45860">
                  <c:v>0.81790618869270504</c:v>
                </c:pt>
                <c:pt idx="45861">
                  <c:v>0.817924023542001</c:v>
                </c:pt>
                <c:pt idx="45862">
                  <c:v>0.81794185839129596</c:v>
                </c:pt>
                <c:pt idx="45863">
                  <c:v>0.81795969324059203</c:v>
                </c:pt>
                <c:pt idx="45864">
                  <c:v>0.817977528089887</c:v>
                </c:pt>
                <c:pt idx="45865">
                  <c:v>0.81799536293918296</c:v>
                </c:pt>
                <c:pt idx="45866">
                  <c:v>0.81801319778847803</c:v>
                </c:pt>
                <c:pt idx="45867">
                  <c:v>0.81803103263777399</c:v>
                </c:pt>
                <c:pt idx="45868">
                  <c:v>0.81804886748706895</c:v>
                </c:pt>
                <c:pt idx="45869">
                  <c:v>0.81806670233636503</c:v>
                </c:pt>
                <c:pt idx="45870">
                  <c:v>0.81808453718565999</c:v>
                </c:pt>
                <c:pt idx="45871">
                  <c:v>0.81810237203495595</c:v>
                </c:pt>
                <c:pt idx="45872">
                  <c:v>0.81812020688425102</c:v>
                </c:pt>
                <c:pt idx="45873">
                  <c:v>0.81813804173354698</c:v>
                </c:pt>
                <c:pt idx="45874">
                  <c:v>0.81815587658284195</c:v>
                </c:pt>
                <c:pt idx="45875">
                  <c:v>0.81817371143213802</c:v>
                </c:pt>
                <c:pt idx="45876">
                  <c:v>0.81819154628143298</c:v>
                </c:pt>
                <c:pt idx="45877">
                  <c:v>0.81820938113072905</c:v>
                </c:pt>
                <c:pt idx="45878">
                  <c:v>0.81822721598002501</c:v>
                </c:pt>
                <c:pt idx="45879">
                  <c:v>0.81824505082931998</c:v>
                </c:pt>
                <c:pt idx="45880">
                  <c:v>0.81826288567861605</c:v>
                </c:pt>
                <c:pt idx="45881">
                  <c:v>0.81828072052791101</c:v>
                </c:pt>
                <c:pt idx="45882">
                  <c:v>0.81829855537720697</c:v>
                </c:pt>
                <c:pt idx="45883">
                  <c:v>0.81831639022650204</c:v>
                </c:pt>
                <c:pt idx="45884">
                  <c:v>0.81833422507579801</c:v>
                </c:pt>
                <c:pt idx="45885">
                  <c:v>0.81835205992509297</c:v>
                </c:pt>
                <c:pt idx="45886">
                  <c:v>0.81836989477438904</c:v>
                </c:pt>
                <c:pt idx="45887">
                  <c:v>0.818387729623684</c:v>
                </c:pt>
                <c:pt idx="45888">
                  <c:v>0.81840556447297996</c:v>
                </c:pt>
                <c:pt idx="45889">
                  <c:v>0.81842339932227504</c:v>
                </c:pt>
                <c:pt idx="45890">
                  <c:v>0.818441234171571</c:v>
                </c:pt>
                <c:pt idx="45891">
                  <c:v>0.81845906902086596</c:v>
                </c:pt>
                <c:pt idx="45892">
                  <c:v>0.81847690387016203</c:v>
                </c:pt>
                <c:pt idx="45893">
                  <c:v>0.81849473871945699</c:v>
                </c:pt>
                <c:pt idx="45894">
                  <c:v>0.81851257356875295</c:v>
                </c:pt>
                <c:pt idx="45895">
                  <c:v>0.81853040841804803</c:v>
                </c:pt>
                <c:pt idx="45896">
                  <c:v>0.81854824326734399</c:v>
                </c:pt>
                <c:pt idx="45897">
                  <c:v>0.81856607811663995</c:v>
                </c:pt>
                <c:pt idx="45898">
                  <c:v>0.81858391296593502</c:v>
                </c:pt>
                <c:pt idx="45899">
                  <c:v>0.81860174781523098</c:v>
                </c:pt>
                <c:pt idx="45900">
                  <c:v>0.81861958266452595</c:v>
                </c:pt>
                <c:pt idx="45901">
                  <c:v>0.81863741751382202</c:v>
                </c:pt>
                <c:pt idx="45902">
                  <c:v>0.81865525236311698</c:v>
                </c:pt>
                <c:pt idx="45903">
                  <c:v>0.81867308721241305</c:v>
                </c:pt>
                <c:pt idx="45904">
                  <c:v>0.81869092206170802</c:v>
                </c:pt>
                <c:pt idx="45905">
                  <c:v>0.81870875691100398</c:v>
                </c:pt>
                <c:pt idx="45906">
                  <c:v>0.81872659176029905</c:v>
                </c:pt>
                <c:pt idx="45907">
                  <c:v>0.81874442660959501</c:v>
                </c:pt>
                <c:pt idx="45908">
                  <c:v>0.81876226145888997</c:v>
                </c:pt>
                <c:pt idx="45909">
                  <c:v>0.81878009630818605</c:v>
                </c:pt>
                <c:pt idx="45910">
                  <c:v>0.81879793115748101</c:v>
                </c:pt>
                <c:pt idx="45911">
                  <c:v>0.81881576600677697</c:v>
                </c:pt>
                <c:pt idx="45912">
                  <c:v>0.81883360085607204</c:v>
                </c:pt>
                <c:pt idx="45913">
                  <c:v>0.818851435705368</c:v>
                </c:pt>
                <c:pt idx="45914">
                  <c:v>0.81886927055466296</c:v>
                </c:pt>
                <c:pt idx="45915">
                  <c:v>0.81888710540395904</c:v>
                </c:pt>
                <c:pt idx="45916">
                  <c:v>0.818904940253254</c:v>
                </c:pt>
                <c:pt idx="45917">
                  <c:v>0.81892277510254996</c:v>
                </c:pt>
                <c:pt idx="45918">
                  <c:v>0.81894060995184503</c:v>
                </c:pt>
                <c:pt idx="45919">
                  <c:v>0.81895844480114099</c:v>
                </c:pt>
                <c:pt idx="45920">
                  <c:v>0.81897627965043696</c:v>
                </c:pt>
                <c:pt idx="45921">
                  <c:v>0.81899411449973203</c:v>
                </c:pt>
                <c:pt idx="45922">
                  <c:v>0.81901194934902799</c:v>
                </c:pt>
                <c:pt idx="45923">
                  <c:v>0.81902978419832295</c:v>
                </c:pt>
                <c:pt idx="45924">
                  <c:v>0.81904761904761902</c:v>
                </c:pt>
                <c:pt idx="45925">
                  <c:v>0.81906545389691399</c:v>
                </c:pt>
                <c:pt idx="45926">
                  <c:v>0.81908328874620995</c:v>
                </c:pt>
                <c:pt idx="45927">
                  <c:v>0.81910112359550502</c:v>
                </c:pt>
                <c:pt idx="45928">
                  <c:v>0.81911895844480098</c:v>
                </c:pt>
                <c:pt idx="45929">
                  <c:v>0.81913679329409606</c:v>
                </c:pt>
                <c:pt idx="45930">
                  <c:v>0.81915462814339202</c:v>
                </c:pt>
                <c:pt idx="45931">
                  <c:v>0.81917246299268698</c:v>
                </c:pt>
                <c:pt idx="45932">
                  <c:v>0.81919029784198305</c:v>
                </c:pt>
                <c:pt idx="45933">
                  <c:v>0.81920813269127801</c:v>
                </c:pt>
                <c:pt idx="45934">
                  <c:v>0.81922596754057397</c:v>
                </c:pt>
                <c:pt idx="45935">
                  <c:v>0.81924380238986905</c:v>
                </c:pt>
                <c:pt idx="45936">
                  <c:v>0.81926163723916501</c:v>
                </c:pt>
                <c:pt idx="45937">
                  <c:v>0.81927947208845997</c:v>
                </c:pt>
                <c:pt idx="45938">
                  <c:v>0.81929730693775604</c:v>
                </c:pt>
                <c:pt idx="45939">
                  <c:v>0.819315141787051</c:v>
                </c:pt>
                <c:pt idx="45940">
                  <c:v>0.81933297663634697</c:v>
                </c:pt>
                <c:pt idx="45941">
                  <c:v>0.81935081148564204</c:v>
                </c:pt>
                <c:pt idx="45942">
                  <c:v>0.819368646334938</c:v>
                </c:pt>
                <c:pt idx="45943">
                  <c:v>0.81938648118423396</c:v>
                </c:pt>
                <c:pt idx="45944">
                  <c:v>0.81940431603352903</c:v>
                </c:pt>
                <c:pt idx="45945">
                  <c:v>0.819422150882825</c:v>
                </c:pt>
                <c:pt idx="45946">
                  <c:v>0.81943998573211996</c:v>
                </c:pt>
                <c:pt idx="45947">
                  <c:v>0.81945782058141603</c:v>
                </c:pt>
                <c:pt idx="45948">
                  <c:v>0.81947565543071099</c:v>
                </c:pt>
                <c:pt idx="45949">
                  <c:v>0.81949349028000695</c:v>
                </c:pt>
                <c:pt idx="45950">
                  <c:v>0.81951132512930203</c:v>
                </c:pt>
                <c:pt idx="45951">
                  <c:v>0.81952915997859799</c:v>
                </c:pt>
                <c:pt idx="45952">
                  <c:v>0.81954699482789295</c:v>
                </c:pt>
                <c:pt idx="45953">
                  <c:v>0.81956482967718902</c:v>
                </c:pt>
                <c:pt idx="45954">
                  <c:v>0.81958266452648398</c:v>
                </c:pt>
                <c:pt idx="45955">
                  <c:v>0.81960049937577995</c:v>
                </c:pt>
                <c:pt idx="45956">
                  <c:v>0.81961833422507502</c:v>
                </c:pt>
                <c:pt idx="45957">
                  <c:v>0.81963616907437098</c:v>
                </c:pt>
                <c:pt idx="45958">
                  <c:v>0.81965400392366605</c:v>
                </c:pt>
                <c:pt idx="45959">
                  <c:v>0.81967183877296201</c:v>
                </c:pt>
                <c:pt idx="45960">
                  <c:v>0.81968967362225698</c:v>
                </c:pt>
                <c:pt idx="45961">
                  <c:v>0.81970750847155305</c:v>
                </c:pt>
                <c:pt idx="45962">
                  <c:v>0.81972534332084801</c:v>
                </c:pt>
                <c:pt idx="45963">
                  <c:v>0.81974317817014397</c:v>
                </c:pt>
                <c:pt idx="45964">
                  <c:v>0.81976101301943904</c:v>
                </c:pt>
                <c:pt idx="45965">
                  <c:v>0.81977884786873501</c:v>
                </c:pt>
                <c:pt idx="45966">
                  <c:v>0.81979668271803097</c:v>
                </c:pt>
                <c:pt idx="45967">
                  <c:v>0.81981451756732604</c:v>
                </c:pt>
                <c:pt idx="45968">
                  <c:v>0.819832352416622</c:v>
                </c:pt>
                <c:pt idx="45969">
                  <c:v>0.81985018726591696</c:v>
                </c:pt>
                <c:pt idx="45970">
                  <c:v>0.81986802211521304</c:v>
                </c:pt>
                <c:pt idx="45971">
                  <c:v>0.819885856964508</c:v>
                </c:pt>
                <c:pt idx="45972">
                  <c:v>0.81990369181380396</c:v>
                </c:pt>
                <c:pt idx="45973">
                  <c:v>0.81992152666309903</c:v>
                </c:pt>
                <c:pt idx="45974">
                  <c:v>0.81993936151239499</c:v>
                </c:pt>
                <c:pt idx="45975">
                  <c:v>0.81995719636168996</c:v>
                </c:pt>
                <c:pt idx="45976">
                  <c:v>0.81997503121098603</c:v>
                </c:pt>
                <c:pt idx="45977">
                  <c:v>0.81999286606028099</c:v>
                </c:pt>
                <c:pt idx="45978">
                  <c:v>0.82001070090957695</c:v>
                </c:pt>
                <c:pt idx="45979">
                  <c:v>0.82002853575887202</c:v>
                </c:pt>
                <c:pt idx="45980">
                  <c:v>0.82004637060816798</c:v>
                </c:pt>
                <c:pt idx="45981">
                  <c:v>0.82006420545746295</c:v>
                </c:pt>
                <c:pt idx="45982">
                  <c:v>0.82008204030675902</c:v>
                </c:pt>
                <c:pt idx="45983">
                  <c:v>0.82009987515605498</c:v>
                </c:pt>
                <c:pt idx="45984">
                  <c:v>0.82011771000535005</c:v>
                </c:pt>
                <c:pt idx="45985">
                  <c:v>0.82013554485464601</c:v>
                </c:pt>
                <c:pt idx="45986">
                  <c:v>0.82015337970394098</c:v>
                </c:pt>
                <c:pt idx="45987">
                  <c:v>0.82017121455323705</c:v>
                </c:pt>
                <c:pt idx="45988">
                  <c:v>0.82018904940253201</c:v>
                </c:pt>
                <c:pt idx="45989">
                  <c:v>0.82020688425182797</c:v>
                </c:pt>
                <c:pt idx="45990">
                  <c:v>0.82022471910112305</c:v>
                </c:pt>
                <c:pt idx="45991">
                  <c:v>0.82024255395041901</c:v>
                </c:pt>
                <c:pt idx="45992">
                  <c:v>0.82026038879971397</c:v>
                </c:pt>
                <c:pt idx="45993">
                  <c:v>0.82027822364901004</c:v>
                </c:pt>
                <c:pt idx="45994">
                  <c:v>0.820296058498305</c:v>
                </c:pt>
                <c:pt idx="45995">
                  <c:v>0.82031389334760096</c:v>
                </c:pt>
                <c:pt idx="45996">
                  <c:v>0.82033172819689604</c:v>
                </c:pt>
                <c:pt idx="45997">
                  <c:v>0.820349563046192</c:v>
                </c:pt>
                <c:pt idx="45998">
                  <c:v>0.82036739789548696</c:v>
                </c:pt>
                <c:pt idx="45999">
                  <c:v>0.82038523274478303</c:v>
                </c:pt>
                <c:pt idx="46000">
                  <c:v>0.82040306759407799</c:v>
                </c:pt>
                <c:pt idx="46001">
                  <c:v>0.82042090244337396</c:v>
                </c:pt>
                <c:pt idx="46002">
                  <c:v>0.82043873729266903</c:v>
                </c:pt>
                <c:pt idx="46003">
                  <c:v>0.82045657214196499</c:v>
                </c:pt>
                <c:pt idx="46004">
                  <c:v>0.82047440699126095</c:v>
                </c:pt>
                <c:pt idx="46005">
                  <c:v>0.82049224184055602</c:v>
                </c:pt>
                <c:pt idx="46006">
                  <c:v>0.82051007668985199</c:v>
                </c:pt>
                <c:pt idx="46007">
                  <c:v>0.82052791153914695</c:v>
                </c:pt>
                <c:pt idx="46008">
                  <c:v>0.82054574638844302</c:v>
                </c:pt>
                <c:pt idx="46009">
                  <c:v>0.82056358123773798</c:v>
                </c:pt>
                <c:pt idx="46010">
                  <c:v>0.82058141608703405</c:v>
                </c:pt>
                <c:pt idx="46011">
                  <c:v>0.82059925093632902</c:v>
                </c:pt>
                <c:pt idx="46012">
                  <c:v>0.82061708578562498</c:v>
                </c:pt>
                <c:pt idx="46013">
                  <c:v>0.82063492063492005</c:v>
                </c:pt>
                <c:pt idx="46014">
                  <c:v>0.82065275548421601</c:v>
                </c:pt>
                <c:pt idx="46015">
                  <c:v>0.82067059033351097</c:v>
                </c:pt>
                <c:pt idx="46016">
                  <c:v>0.82068842518280705</c:v>
                </c:pt>
                <c:pt idx="46017">
                  <c:v>0.82070626003210201</c:v>
                </c:pt>
                <c:pt idx="46018">
                  <c:v>0.82072409488139797</c:v>
                </c:pt>
                <c:pt idx="46019">
                  <c:v>0.82074192973069304</c:v>
                </c:pt>
                <c:pt idx="46020">
                  <c:v>0.820759764579989</c:v>
                </c:pt>
                <c:pt idx="46021">
                  <c:v>0.82077759942928397</c:v>
                </c:pt>
                <c:pt idx="46022">
                  <c:v>0.82079543427858004</c:v>
                </c:pt>
                <c:pt idx="46023">
                  <c:v>0.820813269127875</c:v>
                </c:pt>
                <c:pt idx="46024">
                  <c:v>0.82083110397717096</c:v>
                </c:pt>
                <c:pt idx="46025">
                  <c:v>0.82084893882646603</c:v>
                </c:pt>
                <c:pt idx="46026">
                  <c:v>0.820866773675762</c:v>
                </c:pt>
                <c:pt idx="46027">
                  <c:v>0.82088460852505796</c:v>
                </c:pt>
                <c:pt idx="46028">
                  <c:v>0.82090244337435303</c:v>
                </c:pt>
                <c:pt idx="46029">
                  <c:v>0.82092027822364899</c:v>
                </c:pt>
                <c:pt idx="46030">
                  <c:v>0.82093811307294395</c:v>
                </c:pt>
                <c:pt idx="46031">
                  <c:v>0.82095594792224003</c:v>
                </c:pt>
                <c:pt idx="46032">
                  <c:v>0.82097378277153499</c:v>
                </c:pt>
                <c:pt idx="46033">
                  <c:v>0.82099161762083095</c:v>
                </c:pt>
                <c:pt idx="46034">
                  <c:v>0.82100945247012602</c:v>
                </c:pt>
                <c:pt idx="46035">
                  <c:v>0.82102728731942198</c:v>
                </c:pt>
                <c:pt idx="46036">
                  <c:v>0.82104512216871695</c:v>
                </c:pt>
                <c:pt idx="46037">
                  <c:v>0.82106295701801302</c:v>
                </c:pt>
                <c:pt idx="46038">
                  <c:v>0.82108079186730798</c:v>
                </c:pt>
                <c:pt idx="46039">
                  <c:v>0.82109862671660405</c:v>
                </c:pt>
                <c:pt idx="46040">
                  <c:v>0.82111646156589901</c:v>
                </c:pt>
                <c:pt idx="46041">
                  <c:v>0.82113429641519498</c:v>
                </c:pt>
                <c:pt idx="46042">
                  <c:v>0.82115213126449005</c:v>
                </c:pt>
                <c:pt idx="46043">
                  <c:v>0.82116996611378601</c:v>
                </c:pt>
                <c:pt idx="46044">
                  <c:v>0.82118780096308097</c:v>
                </c:pt>
                <c:pt idx="46045">
                  <c:v>0.82120563581237704</c:v>
                </c:pt>
                <c:pt idx="46046">
                  <c:v>0.82122347066167201</c:v>
                </c:pt>
                <c:pt idx="46047">
                  <c:v>0.82124130551096797</c:v>
                </c:pt>
                <c:pt idx="46048">
                  <c:v>0.82125914036026304</c:v>
                </c:pt>
                <c:pt idx="46049">
                  <c:v>0.821276975209559</c:v>
                </c:pt>
                <c:pt idx="46050">
                  <c:v>0.82129481005885496</c:v>
                </c:pt>
                <c:pt idx="46051">
                  <c:v>0.82131264490815004</c:v>
                </c:pt>
                <c:pt idx="46052">
                  <c:v>0.821330479757446</c:v>
                </c:pt>
                <c:pt idx="46053">
                  <c:v>0.82134831460674096</c:v>
                </c:pt>
                <c:pt idx="46054">
                  <c:v>0.82136614945603703</c:v>
                </c:pt>
                <c:pt idx="46055">
                  <c:v>0.82138398430533199</c:v>
                </c:pt>
                <c:pt idx="46056">
                  <c:v>0.82140181915462795</c:v>
                </c:pt>
                <c:pt idx="46057">
                  <c:v>0.82141965400392303</c:v>
                </c:pt>
                <c:pt idx="46058">
                  <c:v>0.82143748885321899</c:v>
                </c:pt>
                <c:pt idx="46059">
                  <c:v>0.82145532370251395</c:v>
                </c:pt>
                <c:pt idx="46060">
                  <c:v>0.82147315855181002</c:v>
                </c:pt>
                <c:pt idx="46061">
                  <c:v>0.82149099340110499</c:v>
                </c:pt>
                <c:pt idx="46062">
                  <c:v>0.82150882825040095</c:v>
                </c:pt>
                <c:pt idx="46063">
                  <c:v>0.82152666309969602</c:v>
                </c:pt>
                <c:pt idx="46064">
                  <c:v>0.82154449794899198</c:v>
                </c:pt>
                <c:pt idx="46065">
                  <c:v>0.82156233279828705</c:v>
                </c:pt>
                <c:pt idx="46066">
                  <c:v>0.82158016764758302</c:v>
                </c:pt>
                <c:pt idx="46067">
                  <c:v>0.82159800249687798</c:v>
                </c:pt>
                <c:pt idx="46068">
                  <c:v>0.82161583734617405</c:v>
                </c:pt>
                <c:pt idx="46069">
                  <c:v>0.82163367219546901</c:v>
                </c:pt>
                <c:pt idx="46070">
                  <c:v>0.82165150704476497</c:v>
                </c:pt>
                <c:pt idx="46071">
                  <c:v>0.82166934189406104</c:v>
                </c:pt>
                <c:pt idx="46072">
                  <c:v>0.82168717674335601</c:v>
                </c:pt>
                <c:pt idx="46073">
                  <c:v>0.82170501159265197</c:v>
                </c:pt>
                <c:pt idx="46074">
                  <c:v>0.82172284644194704</c:v>
                </c:pt>
                <c:pt idx="46075">
                  <c:v>0.821740681291243</c:v>
                </c:pt>
                <c:pt idx="46076">
                  <c:v>0.82175851614053796</c:v>
                </c:pt>
                <c:pt idx="46077">
                  <c:v>0.82177635098983404</c:v>
                </c:pt>
                <c:pt idx="46078">
                  <c:v>0.821794185839129</c:v>
                </c:pt>
                <c:pt idx="46079">
                  <c:v>0.82181202068842496</c:v>
                </c:pt>
                <c:pt idx="46080">
                  <c:v>0.82182985553772003</c:v>
                </c:pt>
                <c:pt idx="46081">
                  <c:v>0.82184769038701599</c:v>
                </c:pt>
                <c:pt idx="46082">
                  <c:v>0.82186552523631096</c:v>
                </c:pt>
                <c:pt idx="46083">
                  <c:v>0.82188336008560703</c:v>
                </c:pt>
                <c:pt idx="46084">
                  <c:v>0.82190119493490199</c:v>
                </c:pt>
                <c:pt idx="46085">
                  <c:v>0.82191902978419795</c:v>
                </c:pt>
                <c:pt idx="46086">
                  <c:v>0.82193686463349303</c:v>
                </c:pt>
                <c:pt idx="46087">
                  <c:v>0.82195469948278899</c:v>
                </c:pt>
                <c:pt idx="46088">
                  <c:v>0.82197253433208495</c:v>
                </c:pt>
                <c:pt idx="46089">
                  <c:v>0.82199036918138002</c:v>
                </c:pt>
                <c:pt idx="46090">
                  <c:v>0.82200820403067598</c:v>
                </c:pt>
                <c:pt idx="46091">
                  <c:v>0.82202603887997105</c:v>
                </c:pt>
                <c:pt idx="46092">
                  <c:v>0.82204387372926702</c:v>
                </c:pt>
                <c:pt idx="46093">
                  <c:v>0.82206170857856198</c:v>
                </c:pt>
                <c:pt idx="46094">
                  <c:v>0.82207954342785805</c:v>
                </c:pt>
                <c:pt idx="46095">
                  <c:v>0.82209737827715301</c:v>
                </c:pt>
                <c:pt idx="46096">
                  <c:v>0.82211521312644897</c:v>
                </c:pt>
                <c:pt idx="46097">
                  <c:v>0.82213304797574405</c:v>
                </c:pt>
                <c:pt idx="46098">
                  <c:v>0.82215088282504001</c:v>
                </c:pt>
                <c:pt idx="46099">
                  <c:v>0.82216871767433497</c:v>
                </c:pt>
                <c:pt idx="46100">
                  <c:v>0.82218655252363104</c:v>
                </c:pt>
                <c:pt idx="46101">
                  <c:v>0.822204387372926</c:v>
                </c:pt>
                <c:pt idx="46102">
                  <c:v>0.82222222222222197</c:v>
                </c:pt>
                <c:pt idx="46103">
                  <c:v>0.82224005707151704</c:v>
                </c:pt>
                <c:pt idx="46104">
                  <c:v>0.822257891920813</c:v>
                </c:pt>
                <c:pt idx="46105">
                  <c:v>0.82227572677010796</c:v>
                </c:pt>
                <c:pt idx="46106">
                  <c:v>0.82229356161940403</c:v>
                </c:pt>
                <c:pt idx="46107">
                  <c:v>0.822311396468699</c:v>
                </c:pt>
                <c:pt idx="46108">
                  <c:v>0.82232923131799496</c:v>
                </c:pt>
                <c:pt idx="46109">
                  <c:v>0.82234706616729003</c:v>
                </c:pt>
                <c:pt idx="46110">
                  <c:v>0.82236490101658599</c:v>
                </c:pt>
                <c:pt idx="46111">
                  <c:v>0.82238273586588195</c:v>
                </c:pt>
                <c:pt idx="46112">
                  <c:v>0.82240057071517703</c:v>
                </c:pt>
                <c:pt idx="46113">
                  <c:v>0.82241840556447299</c:v>
                </c:pt>
                <c:pt idx="46114">
                  <c:v>0.82243624041376795</c:v>
                </c:pt>
                <c:pt idx="46115">
                  <c:v>0.82245407526306402</c:v>
                </c:pt>
                <c:pt idx="46116">
                  <c:v>0.82247191011235898</c:v>
                </c:pt>
                <c:pt idx="46117">
                  <c:v>0.82248974496165494</c:v>
                </c:pt>
                <c:pt idx="46118">
                  <c:v>0.82250757981095002</c:v>
                </c:pt>
                <c:pt idx="46119">
                  <c:v>0.82252541466024598</c:v>
                </c:pt>
                <c:pt idx="46120">
                  <c:v>0.82254324950954105</c:v>
                </c:pt>
                <c:pt idx="46121">
                  <c:v>0.82256108435883701</c:v>
                </c:pt>
                <c:pt idx="46122">
                  <c:v>0.82257891920813198</c:v>
                </c:pt>
                <c:pt idx="46123">
                  <c:v>0.82259675405742805</c:v>
                </c:pt>
                <c:pt idx="46124">
                  <c:v>0.82261458890672301</c:v>
                </c:pt>
                <c:pt idx="46125">
                  <c:v>0.82263242375601897</c:v>
                </c:pt>
                <c:pt idx="46126">
                  <c:v>0.82265025860531404</c:v>
                </c:pt>
                <c:pt idx="46127">
                  <c:v>0.82266809345461001</c:v>
                </c:pt>
                <c:pt idx="46128">
                  <c:v>0.82268592830390497</c:v>
                </c:pt>
                <c:pt idx="46129">
                  <c:v>0.82270376315320104</c:v>
                </c:pt>
                <c:pt idx="46130">
                  <c:v>0.822721598002496</c:v>
                </c:pt>
                <c:pt idx="46131">
                  <c:v>0.82273943285179196</c:v>
                </c:pt>
                <c:pt idx="46132">
                  <c:v>0.82275726770108704</c:v>
                </c:pt>
                <c:pt idx="46133">
                  <c:v>0.822775102550383</c:v>
                </c:pt>
                <c:pt idx="46134">
                  <c:v>0.82279293739967896</c:v>
                </c:pt>
                <c:pt idx="46135">
                  <c:v>0.82281077224897403</c:v>
                </c:pt>
                <c:pt idx="46136">
                  <c:v>0.82282860709826999</c:v>
                </c:pt>
                <c:pt idx="46137">
                  <c:v>0.82284644194756495</c:v>
                </c:pt>
                <c:pt idx="46138">
                  <c:v>0.82286427679686103</c:v>
                </c:pt>
                <c:pt idx="46139">
                  <c:v>0.82288211164615599</c:v>
                </c:pt>
                <c:pt idx="46140">
                  <c:v>0.82289994649545195</c:v>
                </c:pt>
                <c:pt idx="46141">
                  <c:v>0.82291778134474702</c:v>
                </c:pt>
                <c:pt idx="46142">
                  <c:v>0.82293561619404298</c:v>
                </c:pt>
                <c:pt idx="46143">
                  <c:v>0.82295345104333795</c:v>
                </c:pt>
                <c:pt idx="46144">
                  <c:v>0.82297128589263402</c:v>
                </c:pt>
                <c:pt idx="46145">
                  <c:v>0.82298912074192898</c:v>
                </c:pt>
                <c:pt idx="46146">
                  <c:v>0.82300695559122505</c:v>
                </c:pt>
                <c:pt idx="46147">
                  <c:v>0.82302479044052002</c:v>
                </c:pt>
                <c:pt idx="46148">
                  <c:v>0.82304262528981598</c:v>
                </c:pt>
                <c:pt idx="46149">
                  <c:v>0.82306046013911105</c:v>
                </c:pt>
                <c:pt idx="46150">
                  <c:v>0.82307829498840701</c:v>
                </c:pt>
                <c:pt idx="46151">
                  <c:v>0.82309612983770197</c:v>
                </c:pt>
                <c:pt idx="46152">
                  <c:v>0.82311396468699805</c:v>
                </c:pt>
                <c:pt idx="46153">
                  <c:v>0.82313179953629301</c:v>
                </c:pt>
                <c:pt idx="46154">
                  <c:v>0.82314963438558897</c:v>
                </c:pt>
                <c:pt idx="46155">
                  <c:v>0.82316746923488404</c:v>
                </c:pt>
                <c:pt idx="46156">
                  <c:v>0.82318530408418</c:v>
                </c:pt>
                <c:pt idx="46157">
                  <c:v>0.82320313893347596</c:v>
                </c:pt>
                <c:pt idx="46158">
                  <c:v>0.82322097378277104</c:v>
                </c:pt>
                <c:pt idx="46159">
                  <c:v>0.823238808632067</c:v>
                </c:pt>
                <c:pt idx="46160">
                  <c:v>0.82325664348136196</c:v>
                </c:pt>
                <c:pt idx="46161">
                  <c:v>0.82327447833065803</c:v>
                </c:pt>
                <c:pt idx="46162">
                  <c:v>0.82329231317995299</c:v>
                </c:pt>
                <c:pt idx="46163">
                  <c:v>0.82331014802924896</c:v>
                </c:pt>
                <c:pt idx="46164">
                  <c:v>0.82332798287854403</c:v>
                </c:pt>
                <c:pt idx="46165">
                  <c:v>0.82334581772783999</c:v>
                </c:pt>
                <c:pt idx="46166">
                  <c:v>0.82336365257713495</c:v>
                </c:pt>
                <c:pt idx="46167">
                  <c:v>0.82338148742643102</c:v>
                </c:pt>
                <c:pt idx="46168">
                  <c:v>0.82339932227572599</c:v>
                </c:pt>
                <c:pt idx="46169">
                  <c:v>0.82341715712502195</c:v>
                </c:pt>
                <c:pt idx="46170">
                  <c:v>0.82343499197431702</c:v>
                </c:pt>
                <c:pt idx="46171">
                  <c:v>0.82345282682361298</c:v>
                </c:pt>
                <c:pt idx="46172">
                  <c:v>0.82347066167290806</c:v>
                </c:pt>
                <c:pt idx="46173">
                  <c:v>0.82348849652220402</c:v>
                </c:pt>
                <c:pt idx="46174">
                  <c:v>0.82350633137149898</c:v>
                </c:pt>
                <c:pt idx="46175">
                  <c:v>0.82352416622079505</c:v>
                </c:pt>
                <c:pt idx="46176">
                  <c:v>0.82354200107009101</c:v>
                </c:pt>
                <c:pt idx="46177">
                  <c:v>0.82355983591938597</c:v>
                </c:pt>
                <c:pt idx="46178">
                  <c:v>0.82357767076868205</c:v>
                </c:pt>
                <c:pt idx="46179">
                  <c:v>0.82359550561797701</c:v>
                </c:pt>
                <c:pt idx="46180">
                  <c:v>0.82361334046727297</c:v>
                </c:pt>
                <c:pt idx="46181">
                  <c:v>0.82363117531656804</c:v>
                </c:pt>
                <c:pt idx="46182">
                  <c:v>0.823649010165864</c:v>
                </c:pt>
                <c:pt idx="46183">
                  <c:v>0.82366684501515897</c:v>
                </c:pt>
                <c:pt idx="46184">
                  <c:v>0.82368467986445504</c:v>
                </c:pt>
                <c:pt idx="46185">
                  <c:v>0.82370251471375</c:v>
                </c:pt>
                <c:pt idx="46186">
                  <c:v>0.82372034956304596</c:v>
                </c:pt>
                <c:pt idx="46187">
                  <c:v>0.82373818441234103</c:v>
                </c:pt>
                <c:pt idx="46188">
                  <c:v>0.823756019261637</c:v>
                </c:pt>
                <c:pt idx="46189">
                  <c:v>0.82377385411093196</c:v>
                </c:pt>
                <c:pt idx="46190">
                  <c:v>0.82379168896022803</c:v>
                </c:pt>
                <c:pt idx="46191">
                  <c:v>0.82380952380952299</c:v>
                </c:pt>
                <c:pt idx="46192">
                  <c:v>0.82382735865881895</c:v>
                </c:pt>
                <c:pt idx="46193">
                  <c:v>0.82384519350811403</c:v>
                </c:pt>
                <c:pt idx="46194">
                  <c:v>0.82386302835740999</c:v>
                </c:pt>
                <c:pt idx="46195">
                  <c:v>0.82388086320670595</c:v>
                </c:pt>
                <c:pt idx="46196">
                  <c:v>0.82389869805600102</c:v>
                </c:pt>
                <c:pt idx="46197">
                  <c:v>0.82391653290529698</c:v>
                </c:pt>
                <c:pt idx="46198">
                  <c:v>0.82393436775459195</c:v>
                </c:pt>
                <c:pt idx="46199">
                  <c:v>0.82395220260388802</c:v>
                </c:pt>
                <c:pt idx="46200">
                  <c:v>0.82397003745318298</c:v>
                </c:pt>
                <c:pt idx="46201">
                  <c:v>0.82398787230247905</c:v>
                </c:pt>
                <c:pt idx="46202">
                  <c:v>0.82400570715177401</c:v>
                </c:pt>
                <c:pt idx="46203">
                  <c:v>0.82402354200106998</c:v>
                </c:pt>
                <c:pt idx="46204">
                  <c:v>0.82404137685036505</c:v>
                </c:pt>
                <c:pt idx="46205">
                  <c:v>0.82405921169966101</c:v>
                </c:pt>
                <c:pt idx="46206">
                  <c:v>0.82407704654895597</c:v>
                </c:pt>
                <c:pt idx="46207">
                  <c:v>0.82409488139825204</c:v>
                </c:pt>
                <c:pt idx="46208">
                  <c:v>0.82411271624754701</c:v>
                </c:pt>
                <c:pt idx="46209">
                  <c:v>0.82413055109684297</c:v>
                </c:pt>
                <c:pt idx="46210">
                  <c:v>0.82414838594613804</c:v>
                </c:pt>
                <c:pt idx="46211">
                  <c:v>0.824166220795434</c:v>
                </c:pt>
                <c:pt idx="46212">
                  <c:v>0.82418405564472896</c:v>
                </c:pt>
                <c:pt idx="46213">
                  <c:v>0.82420189049402504</c:v>
                </c:pt>
                <c:pt idx="46214">
                  <c:v>0.82421972534332</c:v>
                </c:pt>
                <c:pt idx="46215">
                  <c:v>0.82423756019261596</c:v>
                </c:pt>
                <c:pt idx="46216">
                  <c:v>0.82425539504191103</c:v>
                </c:pt>
                <c:pt idx="46217">
                  <c:v>0.82427322989120699</c:v>
                </c:pt>
                <c:pt idx="46218">
                  <c:v>0.82429106474050295</c:v>
                </c:pt>
                <c:pt idx="46219">
                  <c:v>0.82430889958979803</c:v>
                </c:pt>
                <c:pt idx="46220">
                  <c:v>0.82432673443909399</c:v>
                </c:pt>
                <c:pt idx="46221">
                  <c:v>0.82434456928838895</c:v>
                </c:pt>
                <c:pt idx="46222">
                  <c:v>0.82436240413768502</c:v>
                </c:pt>
                <c:pt idx="46223">
                  <c:v>0.82438023898697999</c:v>
                </c:pt>
                <c:pt idx="46224">
                  <c:v>0.82439807383627595</c:v>
                </c:pt>
                <c:pt idx="46225">
                  <c:v>0.82441590868557102</c:v>
                </c:pt>
                <c:pt idx="46226">
                  <c:v>0.82443374353486698</c:v>
                </c:pt>
                <c:pt idx="46227">
                  <c:v>0.82445157838416205</c:v>
                </c:pt>
                <c:pt idx="46228">
                  <c:v>0.82446941323345802</c:v>
                </c:pt>
                <c:pt idx="46229">
                  <c:v>0.82448724808275298</c:v>
                </c:pt>
                <c:pt idx="46230">
                  <c:v>0.82450508293204905</c:v>
                </c:pt>
                <c:pt idx="46231">
                  <c:v>0.82452291778134401</c:v>
                </c:pt>
                <c:pt idx="46232">
                  <c:v>0.82454075263063997</c:v>
                </c:pt>
                <c:pt idx="46233">
                  <c:v>0.82455858747993505</c:v>
                </c:pt>
                <c:pt idx="46234">
                  <c:v>0.82457642232923101</c:v>
                </c:pt>
                <c:pt idx="46235">
                  <c:v>0.82459425717852597</c:v>
                </c:pt>
                <c:pt idx="46236">
                  <c:v>0.82461209202782204</c:v>
                </c:pt>
                <c:pt idx="46237">
                  <c:v>0.824629926877117</c:v>
                </c:pt>
                <c:pt idx="46238">
                  <c:v>0.82464776172641296</c:v>
                </c:pt>
                <c:pt idx="46239">
                  <c:v>0.82466559657570804</c:v>
                </c:pt>
                <c:pt idx="46240">
                  <c:v>0.824683431425004</c:v>
                </c:pt>
                <c:pt idx="46241">
                  <c:v>0.82470126627429996</c:v>
                </c:pt>
                <c:pt idx="46242">
                  <c:v>0.82471910112359503</c:v>
                </c:pt>
                <c:pt idx="46243">
                  <c:v>0.82473693597289099</c:v>
                </c:pt>
                <c:pt idx="46244">
                  <c:v>0.82475477082218596</c:v>
                </c:pt>
                <c:pt idx="46245">
                  <c:v>0.82477260567148203</c:v>
                </c:pt>
                <c:pt idx="46246">
                  <c:v>0.82479044052077699</c:v>
                </c:pt>
                <c:pt idx="46247">
                  <c:v>0.82480827537007295</c:v>
                </c:pt>
                <c:pt idx="46248">
                  <c:v>0.82482611021936802</c:v>
                </c:pt>
                <c:pt idx="46249">
                  <c:v>0.82484394506866399</c:v>
                </c:pt>
                <c:pt idx="46250">
                  <c:v>0.82486177991795895</c:v>
                </c:pt>
                <c:pt idx="46251">
                  <c:v>0.82487961476725502</c:v>
                </c:pt>
                <c:pt idx="46252">
                  <c:v>0.82489744961654998</c:v>
                </c:pt>
                <c:pt idx="46253">
                  <c:v>0.82491528446584605</c:v>
                </c:pt>
                <c:pt idx="46254">
                  <c:v>0.82493311931514102</c:v>
                </c:pt>
                <c:pt idx="46255">
                  <c:v>0.82495095416443698</c:v>
                </c:pt>
                <c:pt idx="46256">
                  <c:v>0.82496878901373205</c:v>
                </c:pt>
                <c:pt idx="46257">
                  <c:v>0.82498662386302801</c:v>
                </c:pt>
                <c:pt idx="46258">
                  <c:v>0.82500445871232297</c:v>
                </c:pt>
                <c:pt idx="46259">
                  <c:v>0.82502229356161905</c:v>
                </c:pt>
                <c:pt idx="46260">
                  <c:v>0.82504012841091401</c:v>
                </c:pt>
                <c:pt idx="46261">
                  <c:v>0.82505796326020997</c:v>
                </c:pt>
                <c:pt idx="46262">
                  <c:v>0.82507579810950504</c:v>
                </c:pt>
                <c:pt idx="46263">
                  <c:v>0.825093632958801</c:v>
                </c:pt>
                <c:pt idx="46264">
                  <c:v>0.82511146780809697</c:v>
                </c:pt>
                <c:pt idx="46265">
                  <c:v>0.82512930265739204</c:v>
                </c:pt>
                <c:pt idx="46266">
                  <c:v>0.825147137506688</c:v>
                </c:pt>
                <c:pt idx="46267">
                  <c:v>0.82516497235598296</c:v>
                </c:pt>
                <c:pt idx="46268">
                  <c:v>0.82518280720527903</c:v>
                </c:pt>
                <c:pt idx="46269">
                  <c:v>0.825200642054574</c:v>
                </c:pt>
                <c:pt idx="46270">
                  <c:v>0.82521847690386996</c:v>
                </c:pt>
                <c:pt idx="46271">
                  <c:v>0.82523631175316503</c:v>
                </c:pt>
                <c:pt idx="46272">
                  <c:v>0.82525414660246099</c:v>
                </c:pt>
                <c:pt idx="46273">
                  <c:v>0.82527198145175595</c:v>
                </c:pt>
                <c:pt idx="46274">
                  <c:v>0.82528981630105203</c:v>
                </c:pt>
                <c:pt idx="46275">
                  <c:v>0.82530765115034699</c:v>
                </c:pt>
                <c:pt idx="46276">
                  <c:v>0.82532548599964295</c:v>
                </c:pt>
                <c:pt idx="46277">
                  <c:v>0.82534332084893802</c:v>
                </c:pt>
                <c:pt idx="46278">
                  <c:v>0.82536115569823398</c:v>
                </c:pt>
                <c:pt idx="46279">
                  <c:v>0.82537899054752895</c:v>
                </c:pt>
                <c:pt idx="46280">
                  <c:v>0.82539682539682502</c:v>
                </c:pt>
                <c:pt idx="46281">
                  <c:v>0.82541466024611998</c:v>
                </c:pt>
                <c:pt idx="46282">
                  <c:v>0.82543249509541605</c:v>
                </c:pt>
                <c:pt idx="46283">
                  <c:v>0.82545032994471201</c:v>
                </c:pt>
                <c:pt idx="46284">
                  <c:v>0.82546816479400698</c:v>
                </c:pt>
                <c:pt idx="46285">
                  <c:v>0.82548599964330305</c:v>
                </c:pt>
                <c:pt idx="46286">
                  <c:v>0.82550383449259801</c:v>
                </c:pt>
                <c:pt idx="46287">
                  <c:v>0.82552166934189397</c:v>
                </c:pt>
                <c:pt idx="46288">
                  <c:v>0.82553950419118904</c:v>
                </c:pt>
                <c:pt idx="46289">
                  <c:v>0.82555733904048501</c:v>
                </c:pt>
                <c:pt idx="46290">
                  <c:v>0.82557517388977997</c:v>
                </c:pt>
                <c:pt idx="46291">
                  <c:v>0.82559300873907604</c:v>
                </c:pt>
                <c:pt idx="46292">
                  <c:v>0.825610843588371</c:v>
                </c:pt>
                <c:pt idx="46293">
                  <c:v>0.82562867843766696</c:v>
                </c:pt>
                <c:pt idx="46294">
                  <c:v>0.82564651328696204</c:v>
                </c:pt>
                <c:pt idx="46295">
                  <c:v>0.825664348136258</c:v>
                </c:pt>
                <c:pt idx="46296">
                  <c:v>0.82568218298555296</c:v>
                </c:pt>
                <c:pt idx="46297">
                  <c:v>0.82570001783484903</c:v>
                </c:pt>
                <c:pt idx="46298">
                  <c:v>0.82571785268414399</c:v>
                </c:pt>
                <c:pt idx="46299">
                  <c:v>0.82573568753343995</c:v>
                </c:pt>
                <c:pt idx="46300">
                  <c:v>0.82575352238273503</c:v>
                </c:pt>
                <c:pt idx="46301">
                  <c:v>0.82577135723203099</c:v>
                </c:pt>
                <c:pt idx="46302">
                  <c:v>0.82578919208132695</c:v>
                </c:pt>
                <c:pt idx="46303">
                  <c:v>0.82580702693062202</c:v>
                </c:pt>
                <c:pt idx="46304">
                  <c:v>0.82582486177991798</c:v>
                </c:pt>
                <c:pt idx="46305">
                  <c:v>0.82584269662921295</c:v>
                </c:pt>
                <c:pt idx="46306">
                  <c:v>0.82586053147850902</c:v>
                </c:pt>
                <c:pt idx="46307">
                  <c:v>0.82587836632780398</c:v>
                </c:pt>
                <c:pt idx="46308">
                  <c:v>0.82589620117710005</c:v>
                </c:pt>
                <c:pt idx="46309">
                  <c:v>0.82591403602639502</c:v>
                </c:pt>
                <c:pt idx="46310">
                  <c:v>0.82593187087569098</c:v>
                </c:pt>
                <c:pt idx="46311">
                  <c:v>0.82594970572498605</c:v>
                </c:pt>
                <c:pt idx="46312">
                  <c:v>0.82596754057428201</c:v>
                </c:pt>
                <c:pt idx="46313">
                  <c:v>0.82598537542357697</c:v>
                </c:pt>
                <c:pt idx="46314">
                  <c:v>0.82600321027287305</c:v>
                </c:pt>
                <c:pt idx="46315">
                  <c:v>0.82602104512216801</c:v>
                </c:pt>
                <c:pt idx="46316">
                  <c:v>0.82603887997146397</c:v>
                </c:pt>
                <c:pt idx="46317">
                  <c:v>0.82605671482075904</c:v>
                </c:pt>
                <c:pt idx="46318">
                  <c:v>0.826074549670055</c:v>
                </c:pt>
                <c:pt idx="46319">
                  <c:v>0.82609238451934996</c:v>
                </c:pt>
                <c:pt idx="46320">
                  <c:v>0.82611021936864604</c:v>
                </c:pt>
                <c:pt idx="46321">
                  <c:v>0.826128054217941</c:v>
                </c:pt>
                <c:pt idx="46322">
                  <c:v>0.82614588906723696</c:v>
                </c:pt>
                <c:pt idx="46323">
                  <c:v>0.82616372391653203</c:v>
                </c:pt>
                <c:pt idx="46324">
                  <c:v>0.82618155876582799</c:v>
                </c:pt>
                <c:pt idx="46325">
                  <c:v>0.82619939361512396</c:v>
                </c:pt>
                <c:pt idx="46326">
                  <c:v>0.82621722846441903</c:v>
                </c:pt>
                <c:pt idx="46327">
                  <c:v>0.82623506331371499</c:v>
                </c:pt>
                <c:pt idx="46328">
                  <c:v>0.82625289816300995</c:v>
                </c:pt>
                <c:pt idx="46329">
                  <c:v>0.82627073301230602</c:v>
                </c:pt>
                <c:pt idx="46330">
                  <c:v>0.82628856786160099</c:v>
                </c:pt>
                <c:pt idx="46331">
                  <c:v>0.82630640271089695</c:v>
                </c:pt>
                <c:pt idx="46332">
                  <c:v>0.82632423756019202</c:v>
                </c:pt>
                <c:pt idx="46333">
                  <c:v>0.82634207240948798</c:v>
                </c:pt>
                <c:pt idx="46334">
                  <c:v>0.82635990725878306</c:v>
                </c:pt>
                <c:pt idx="46335">
                  <c:v>0.82637774210807902</c:v>
                </c:pt>
                <c:pt idx="46336">
                  <c:v>0.82639557695737398</c:v>
                </c:pt>
                <c:pt idx="46337">
                  <c:v>0.82641341180667005</c:v>
                </c:pt>
                <c:pt idx="46338">
                  <c:v>0.82643124665596501</c:v>
                </c:pt>
                <c:pt idx="46339">
                  <c:v>0.82644908150526097</c:v>
                </c:pt>
                <c:pt idx="46340">
                  <c:v>0.82646691635455605</c:v>
                </c:pt>
                <c:pt idx="46341">
                  <c:v>0.82648475120385201</c:v>
                </c:pt>
                <c:pt idx="46342">
                  <c:v>0.82650258605314697</c:v>
                </c:pt>
                <c:pt idx="46343">
                  <c:v>0.82652042090244304</c:v>
                </c:pt>
                <c:pt idx="46344">
                  <c:v>0.826538255751738</c:v>
                </c:pt>
                <c:pt idx="46345">
                  <c:v>0.82655609060103397</c:v>
                </c:pt>
                <c:pt idx="46346">
                  <c:v>0.82657392545032904</c:v>
                </c:pt>
                <c:pt idx="46347">
                  <c:v>0.826591760299625</c:v>
                </c:pt>
                <c:pt idx="46348">
                  <c:v>0.82660959514892096</c:v>
                </c:pt>
                <c:pt idx="46349">
                  <c:v>0.82662742999821603</c:v>
                </c:pt>
                <c:pt idx="46350">
                  <c:v>0.826645264847512</c:v>
                </c:pt>
                <c:pt idx="46351">
                  <c:v>0.82666309969680696</c:v>
                </c:pt>
                <c:pt idx="46352">
                  <c:v>0.82668093454610303</c:v>
                </c:pt>
                <c:pt idx="46353">
                  <c:v>0.82669876939539799</c:v>
                </c:pt>
                <c:pt idx="46354">
                  <c:v>0.82671660424469395</c:v>
                </c:pt>
                <c:pt idx="46355">
                  <c:v>0.82673443909398903</c:v>
                </c:pt>
                <c:pt idx="46356">
                  <c:v>0.82675227394328499</c:v>
                </c:pt>
                <c:pt idx="46357">
                  <c:v>0.82677010879257995</c:v>
                </c:pt>
                <c:pt idx="46358">
                  <c:v>0.82678794364187602</c:v>
                </c:pt>
                <c:pt idx="46359">
                  <c:v>0.82680577849117098</c:v>
                </c:pt>
                <c:pt idx="46360">
                  <c:v>0.82682361334046695</c:v>
                </c:pt>
                <c:pt idx="46361">
                  <c:v>0.82684144818976202</c:v>
                </c:pt>
                <c:pt idx="46362">
                  <c:v>0.82685928303905798</c:v>
                </c:pt>
                <c:pt idx="46363">
                  <c:v>0.82687711788835305</c:v>
                </c:pt>
                <c:pt idx="46364">
                  <c:v>0.82689495273764901</c:v>
                </c:pt>
                <c:pt idx="46365">
                  <c:v>0.82691278758694398</c:v>
                </c:pt>
                <c:pt idx="46366">
                  <c:v>0.82693062243624005</c:v>
                </c:pt>
                <c:pt idx="46367">
                  <c:v>0.82694845728553501</c:v>
                </c:pt>
                <c:pt idx="46368">
                  <c:v>0.82696629213483097</c:v>
                </c:pt>
                <c:pt idx="46369">
                  <c:v>0.82698412698412604</c:v>
                </c:pt>
                <c:pt idx="46370">
                  <c:v>0.82700196183342201</c:v>
                </c:pt>
                <c:pt idx="46371">
                  <c:v>0.82701979668271797</c:v>
                </c:pt>
                <c:pt idx="46372">
                  <c:v>0.82703763153201304</c:v>
                </c:pt>
                <c:pt idx="46373">
                  <c:v>0.827055466381309</c:v>
                </c:pt>
                <c:pt idx="46374">
                  <c:v>0.82707330123060396</c:v>
                </c:pt>
                <c:pt idx="46375">
                  <c:v>0.82709113607990004</c:v>
                </c:pt>
                <c:pt idx="46376">
                  <c:v>0.827108970929195</c:v>
                </c:pt>
                <c:pt idx="46377">
                  <c:v>0.82712680577849096</c:v>
                </c:pt>
                <c:pt idx="46378">
                  <c:v>0.82714464062778603</c:v>
                </c:pt>
                <c:pt idx="46379">
                  <c:v>0.82716247547708199</c:v>
                </c:pt>
                <c:pt idx="46380">
                  <c:v>0.82718031032637696</c:v>
                </c:pt>
                <c:pt idx="46381">
                  <c:v>0.82719814517567303</c:v>
                </c:pt>
                <c:pt idx="46382">
                  <c:v>0.82721598002496799</c:v>
                </c:pt>
                <c:pt idx="46383">
                  <c:v>0.82723381487426395</c:v>
                </c:pt>
                <c:pt idx="46384">
                  <c:v>0.82725164972355902</c:v>
                </c:pt>
                <c:pt idx="46385">
                  <c:v>0.82726948457285499</c:v>
                </c:pt>
                <c:pt idx="46386">
                  <c:v>0.82728731942214995</c:v>
                </c:pt>
                <c:pt idx="46387">
                  <c:v>0.82730515427144602</c:v>
                </c:pt>
                <c:pt idx="46388">
                  <c:v>0.82732298912074198</c:v>
                </c:pt>
                <c:pt idx="46389">
                  <c:v>0.82734082397003705</c:v>
                </c:pt>
                <c:pt idx="46390">
                  <c:v>0.82735865881933301</c:v>
                </c:pt>
                <c:pt idx="46391">
                  <c:v>0.82737649366862798</c:v>
                </c:pt>
                <c:pt idx="46392">
                  <c:v>0.82739432851792405</c:v>
                </c:pt>
                <c:pt idx="46393">
                  <c:v>0.82741216336721901</c:v>
                </c:pt>
                <c:pt idx="46394">
                  <c:v>0.82742999821651497</c:v>
                </c:pt>
                <c:pt idx="46395">
                  <c:v>0.82744783306581005</c:v>
                </c:pt>
                <c:pt idx="46396">
                  <c:v>0.82746566791510601</c:v>
                </c:pt>
                <c:pt idx="46397">
                  <c:v>0.82748350276440097</c:v>
                </c:pt>
                <c:pt idx="46398">
                  <c:v>0.82750133761369704</c:v>
                </c:pt>
                <c:pt idx="46399">
                  <c:v>0.827519172462992</c:v>
                </c:pt>
                <c:pt idx="46400">
                  <c:v>0.82753700731228796</c:v>
                </c:pt>
                <c:pt idx="46401">
                  <c:v>0.82755484216158304</c:v>
                </c:pt>
                <c:pt idx="46402">
                  <c:v>0.827572677010879</c:v>
                </c:pt>
                <c:pt idx="46403">
                  <c:v>0.82759051186017396</c:v>
                </c:pt>
                <c:pt idx="46404">
                  <c:v>0.82760834670947003</c:v>
                </c:pt>
                <c:pt idx="46405">
                  <c:v>0.827626181558765</c:v>
                </c:pt>
                <c:pt idx="46406">
                  <c:v>0.82764401640806096</c:v>
                </c:pt>
                <c:pt idx="46407">
                  <c:v>0.82766185125735603</c:v>
                </c:pt>
                <c:pt idx="46408">
                  <c:v>0.82767968610665199</c:v>
                </c:pt>
                <c:pt idx="46409">
                  <c:v>0.82769752095594795</c:v>
                </c:pt>
                <c:pt idx="46410">
                  <c:v>0.82771535580524302</c:v>
                </c:pt>
                <c:pt idx="46411">
                  <c:v>0.82773319065453899</c:v>
                </c:pt>
                <c:pt idx="46412">
                  <c:v>0.82775102550383395</c:v>
                </c:pt>
                <c:pt idx="46413">
                  <c:v>0.82776886035313002</c:v>
                </c:pt>
                <c:pt idx="46414">
                  <c:v>0.82778669520242498</c:v>
                </c:pt>
                <c:pt idx="46415">
                  <c:v>0.82780453005172105</c:v>
                </c:pt>
                <c:pt idx="46416">
                  <c:v>0.82782236490101602</c:v>
                </c:pt>
                <c:pt idx="46417">
                  <c:v>0.82784019975031198</c:v>
                </c:pt>
                <c:pt idx="46418">
                  <c:v>0.82785803459960705</c:v>
                </c:pt>
                <c:pt idx="46419">
                  <c:v>0.82787586944890301</c:v>
                </c:pt>
                <c:pt idx="46420">
                  <c:v>0.82789370429819797</c:v>
                </c:pt>
                <c:pt idx="46421">
                  <c:v>0.82791153914749405</c:v>
                </c:pt>
                <c:pt idx="46422">
                  <c:v>0.82792937399678901</c:v>
                </c:pt>
                <c:pt idx="46423">
                  <c:v>0.82794720884608497</c:v>
                </c:pt>
                <c:pt idx="46424">
                  <c:v>0.82796504369538004</c:v>
                </c:pt>
                <c:pt idx="46425">
                  <c:v>0.827982878544676</c:v>
                </c:pt>
                <c:pt idx="46426">
                  <c:v>0.82800071339397097</c:v>
                </c:pt>
                <c:pt idx="46427">
                  <c:v>0.82801854824326704</c:v>
                </c:pt>
                <c:pt idx="46428">
                  <c:v>0.828036383092562</c:v>
                </c:pt>
                <c:pt idx="46429">
                  <c:v>0.82805421794185796</c:v>
                </c:pt>
                <c:pt idx="46430">
                  <c:v>0.82807205279115303</c:v>
                </c:pt>
                <c:pt idx="46431">
                  <c:v>0.828089887640449</c:v>
                </c:pt>
                <c:pt idx="46432">
                  <c:v>0.82810772248974496</c:v>
                </c:pt>
                <c:pt idx="46433">
                  <c:v>0.82812555733904003</c:v>
                </c:pt>
                <c:pt idx="46434">
                  <c:v>0.82814339218833599</c:v>
                </c:pt>
                <c:pt idx="46435">
                  <c:v>0.82816122703763095</c:v>
                </c:pt>
                <c:pt idx="46436">
                  <c:v>0.82817906188692703</c:v>
                </c:pt>
                <c:pt idx="46437">
                  <c:v>0.82819689673622199</c:v>
                </c:pt>
                <c:pt idx="46438">
                  <c:v>0.82821473158551795</c:v>
                </c:pt>
                <c:pt idx="46439">
                  <c:v>0.82823256643481302</c:v>
                </c:pt>
                <c:pt idx="46440">
                  <c:v>0.82825040128410898</c:v>
                </c:pt>
                <c:pt idx="46441">
                  <c:v>0.82826823613340395</c:v>
                </c:pt>
                <c:pt idx="46442">
                  <c:v>0.82828607098270002</c:v>
                </c:pt>
                <c:pt idx="46443">
                  <c:v>0.82830390583199498</c:v>
                </c:pt>
                <c:pt idx="46444">
                  <c:v>0.82832174068129105</c:v>
                </c:pt>
                <c:pt idx="46445">
                  <c:v>0.82833957553058601</c:v>
                </c:pt>
                <c:pt idx="46446">
                  <c:v>0.82835741037988198</c:v>
                </c:pt>
                <c:pt idx="46447">
                  <c:v>0.82837524522917705</c:v>
                </c:pt>
                <c:pt idx="46448">
                  <c:v>0.82839308007847301</c:v>
                </c:pt>
                <c:pt idx="46449">
                  <c:v>0.82841091492776797</c:v>
                </c:pt>
                <c:pt idx="46450">
                  <c:v>0.82842874977706404</c:v>
                </c:pt>
                <c:pt idx="46451">
                  <c:v>0.82844658462635901</c:v>
                </c:pt>
                <c:pt idx="46452">
                  <c:v>0.82846441947565497</c:v>
                </c:pt>
                <c:pt idx="46453">
                  <c:v>0.82848225432495004</c:v>
                </c:pt>
                <c:pt idx="46454">
                  <c:v>0.828500089174246</c:v>
                </c:pt>
                <c:pt idx="46455">
                  <c:v>0.82851792402354196</c:v>
                </c:pt>
                <c:pt idx="46456">
                  <c:v>0.82853575887283704</c:v>
                </c:pt>
                <c:pt idx="46457">
                  <c:v>0.828553593722133</c:v>
                </c:pt>
                <c:pt idx="46458">
                  <c:v>0.82857142857142796</c:v>
                </c:pt>
                <c:pt idx="46459">
                  <c:v>0.82858926342072403</c:v>
                </c:pt>
                <c:pt idx="46460">
                  <c:v>0.82860709827001899</c:v>
                </c:pt>
                <c:pt idx="46461">
                  <c:v>0.82862493311931495</c:v>
                </c:pt>
                <c:pt idx="46462">
                  <c:v>0.82864276796861003</c:v>
                </c:pt>
                <c:pt idx="46463">
                  <c:v>0.82866060281790599</c:v>
                </c:pt>
                <c:pt idx="46464">
                  <c:v>0.82867843766720095</c:v>
                </c:pt>
                <c:pt idx="46465">
                  <c:v>0.82869627251649702</c:v>
                </c:pt>
                <c:pt idx="46466">
                  <c:v>0.82871410736579199</c:v>
                </c:pt>
                <c:pt idx="46467">
                  <c:v>0.82873194221508795</c:v>
                </c:pt>
                <c:pt idx="46468">
                  <c:v>0.82874977706438302</c:v>
                </c:pt>
                <c:pt idx="46469">
                  <c:v>0.82876761191367898</c:v>
                </c:pt>
                <c:pt idx="46470">
                  <c:v>0.82878544676297405</c:v>
                </c:pt>
                <c:pt idx="46471">
                  <c:v>0.82880328161227002</c:v>
                </c:pt>
                <c:pt idx="46472">
                  <c:v>0.82882111646156498</c:v>
                </c:pt>
                <c:pt idx="46473">
                  <c:v>0.82883895131086105</c:v>
                </c:pt>
                <c:pt idx="46474">
                  <c:v>0.82885678616015601</c:v>
                </c:pt>
                <c:pt idx="46475">
                  <c:v>0.82887462100945197</c:v>
                </c:pt>
                <c:pt idx="46476">
                  <c:v>0.82889245585874805</c:v>
                </c:pt>
                <c:pt idx="46477">
                  <c:v>0.82891029070804301</c:v>
                </c:pt>
                <c:pt idx="46478">
                  <c:v>0.82892812555733897</c:v>
                </c:pt>
                <c:pt idx="46479">
                  <c:v>0.82894596040663404</c:v>
                </c:pt>
                <c:pt idx="46480">
                  <c:v>0.82896379525593</c:v>
                </c:pt>
                <c:pt idx="46481">
                  <c:v>0.82898163010522496</c:v>
                </c:pt>
                <c:pt idx="46482">
                  <c:v>0.82899946495452104</c:v>
                </c:pt>
                <c:pt idx="46483">
                  <c:v>0.829017299803816</c:v>
                </c:pt>
                <c:pt idx="46484">
                  <c:v>0.82903513465311196</c:v>
                </c:pt>
                <c:pt idx="46485">
                  <c:v>0.82905296950240703</c:v>
                </c:pt>
                <c:pt idx="46486">
                  <c:v>0.82907080435170299</c:v>
                </c:pt>
                <c:pt idx="46487">
                  <c:v>0.82908863920099796</c:v>
                </c:pt>
                <c:pt idx="46488">
                  <c:v>0.82910647405029403</c:v>
                </c:pt>
                <c:pt idx="46489">
                  <c:v>0.82912430889958899</c:v>
                </c:pt>
                <c:pt idx="46490">
                  <c:v>0.82914214374888495</c:v>
                </c:pt>
                <c:pt idx="46491">
                  <c:v>0.82915997859818003</c:v>
                </c:pt>
                <c:pt idx="46492">
                  <c:v>0.82917781344747599</c:v>
                </c:pt>
                <c:pt idx="46493">
                  <c:v>0.82919564829677195</c:v>
                </c:pt>
                <c:pt idx="46494">
                  <c:v>0.82921348314606702</c:v>
                </c:pt>
                <c:pt idx="46495">
                  <c:v>0.82923131799536298</c:v>
                </c:pt>
                <c:pt idx="46496">
                  <c:v>0.82924915284465806</c:v>
                </c:pt>
                <c:pt idx="46497">
                  <c:v>0.82926698769395402</c:v>
                </c:pt>
                <c:pt idx="46498">
                  <c:v>0.82928482254324898</c:v>
                </c:pt>
                <c:pt idx="46499">
                  <c:v>0.82930265739254505</c:v>
                </c:pt>
                <c:pt idx="46500">
                  <c:v>0.82932049224184001</c:v>
                </c:pt>
                <c:pt idx="46501">
                  <c:v>0.82933832709113597</c:v>
                </c:pt>
                <c:pt idx="46502">
                  <c:v>0.82935616194043105</c:v>
                </c:pt>
                <c:pt idx="46503">
                  <c:v>0.82937399678972701</c:v>
                </c:pt>
                <c:pt idx="46504">
                  <c:v>0.82939183163902197</c:v>
                </c:pt>
                <c:pt idx="46505">
                  <c:v>0.82940966648831804</c:v>
                </c:pt>
                <c:pt idx="46506">
                  <c:v>0.829427501337613</c:v>
                </c:pt>
                <c:pt idx="46507">
                  <c:v>0.82944533618690897</c:v>
                </c:pt>
                <c:pt idx="46508">
                  <c:v>0.82946317103620404</c:v>
                </c:pt>
                <c:pt idx="46509">
                  <c:v>0.8294810058855</c:v>
                </c:pt>
                <c:pt idx="46510">
                  <c:v>0.82949884073479496</c:v>
                </c:pt>
                <c:pt idx="46511">
                  <c:v>0.82951667558409103</c:v>
                </c:pt>
                <c:pt idx="46512">
                  <c:v>0.829534510433386</c:v>
                </c:pt>
                <c:pt idx="46513">
                  <c:v>0.82955234528268196</c:v>
                </c:pt>
                <c:pt idx="46514">
                  <c:v>0.82957018013197703</c:v>
                </c:pt>
                <c:pt idx="46515">
                  <c:v>0.82958801498127299</c:v>
                </c:pt>
                <c:pt idx="46516">
                  <c:v>0.82960584983056895</c:v>
                </c:pt>
                <c:pt idx="46517">
                  <c:v>0.82962368467986403</c:v>
                </c:pt>
                <c:pt idx="46518">
                  <c:v>0.82964151952915999</c:v>
                </c:pt>
                <c:pt idx="46519">
                  <c:v>0.82965935437845495</c:v>
                </c:pt>
                <c:pt idx="46520">
                  <c:v>0.82967718922775102</c:v>
                </c:pt>
                <c:pt idx="46521">
                  <c:v>0.82969502407704598</c:v>
                </c:pt>
                <c:pt idx="46522">
                  <c:v>0.82971285892634195</c:v>
                </c:pt>
                <c:pt idx="46523">
                  <c:v>0.82973069377563702</c:v>
                </c:pt>
                <c:pt idx="46524">
                  <c:v>0.82974852862493298</c:v>
                </c:pt>
                <c:pt idx="46525">
                  <c:v>0.82976636347422805</c:v>
                </c:pt>
                <c:pt idx="46526">
                  <c:v>0.82978419832352401</c:v>
                </c:pt>
                <c:pt idx="46527">
                  <c:v>0.82980203317281898</c:v>
                </c:pt>
                <c:pt idx="46528">
                  <c:v>0.82981986802211505</c:v>
                </c:pt>
                <c:pt idx="46529">
                  <c:v>0.82983770287141001</c:v>
                </c:pt>
                <c:pt idx="46530">
                  <c:v>0.82985553772070597</c:v>
                </c:pt>
                <c:pt idx="46531">
                  <c:v>0.82987337257000104</c:v>
                </c:pt>
                <c:pt idx="46532">
                  <c:v>0.82989120741929701</c:v>
                </c:pt>
                <c:pt idx="46533">
                  <c:v>0.82990904226859197</c:v>
                </c:pt>
                <c:pt idx="46534">
                  <c:v>0.82992687711788804</c:v>
                </c:pt>
                <c:pt idx="46535">
                  <c:v>0.829944711967183</c:v>
                </c:pt>
                <c:pt idx="46536">
                  <c:v>0.82996254681647896</c:v>
                </c:pt>
                <c:pt idx="46537">
                  <c:v>0.82998038166577404</c:v>
                </c:pt>
                <c:pt idx="46538">
                  <c:v>0.82999821651507</c:v>
                </c:pt>
                <c:pt idx="46539">
                  <c:v>0.83001605136436596</c:v>
                </c:pt>
                <c:pt idx="46540">
                  <c:v>0.83003388621366103</c:v>
                </c:pt>
                <c:pt idx="46541">
                  <c:v>0.83005172106295699</c:v>
                </c:pt>
                <c:pt idx="46542">
                  <c:v>0.83006955591225196</c:v>
                </c:pt>
                <c:pt idx="46543">
                  <c:v>0.83008739076154803</c:v>
                </c:pt>
                <c:pt idx="46544">
                  <c:v>0.83010522561084299</c:v>
                </c:pt>
                <c:pt idx="46545">
                  <c:v>0.83012306046013895</c:v>
                </c:pt>
                <c:pt idx="46546">
                  <c:v>0.83014089530943402</c:v>
                </c:pt>
                <c:pt idx="46547">
                  <c:v>0.83015873015872998</c:v>
                </c:pt>
                <c:pt idx="46548">
                  <c:v>0.83017656500802495</c:v>
                </c:pt>
                <c:pt idx="46549">
                  <c:v>0.83019439985732102</c:v>
                </c:pt>
                <c:pt idx="46550">
                  <c:v>0.83021223470661598</c:v>
                </c:pt>
                <c:pt idx="46551">
                  <c:v>0.83023006955591205</c:v>
                </c:pt>
                <c:pt idx="46552">
                  <c:v>0.83024790440520702</c:v>
                </c:pt>
                <c:pt idx="46553">
                  <c:v>0.83026573925450298</c:v>
                </c:pt>
                <c:pt idx="46554">
                  <c:v>0.83028357410379805</c:v>
                </c:pt>
                <c:pt idx="46555">
                  <c:v>0.83030140895309401</c:v>
                </c:pt>
                <c:pt idx="46556">
                  <c:v>0.83031924380238897</c:v>
                </c:pt>
                <c:pt idx="46557">
                  <c:v>0.83033707865168505</c:v>
                </c:pt>
                <c:pt idx="46558">
                  <c:v>0.83035491350098001</c:v>
                </c:pt>
                <c:pt idx="46559">
                  <c:v>0.83037274835027597</c:v>
                </c:pt>
                <c:pt idx="46560">
                  <c:v>0.83039058319957104</c:v>
                </c:pt>
                <c:pt idx="46561">
                  <c:v>0.830408418048867</c:v>
                </c:pt>
                <c:pt idx="46562">
                  <c:v>0.83042625289816296</c:v>
                </c:pt>
                <c:pt idx="46563">
                  <c:v>0.83044408774745804</c:v>
                </c:pt>
                <c:pt idx="46564">
                  <c:v>0.830461922596754</c:v>
                </c:pt>
                <c:pt idx="46565">
                  <c:v>0.83047975744604896</c:v>
                </c:pt>
                <c:pt idx="46566">
                  <c:v>0.83049759229534503</c:v>
                </c:pt>
                <c:pt idx="46567">
                  <c:v>0.83051542714463999</c:v>
                </c:pt>
                <c:pt idx="46568">
                  <c:v>0.83053326199393596</c:v>
                </c:pt>
                <c:pt idx="46569">
                  <c:v>0.83055109684323103</c:v>
                </c:pt>
                <c:pt idx="46570">
                  <c:v>0.83056893169252699</c:v>
                </c:pt>
                <c:pt idx="46571">
                  <c:v>0.83058676654182195</c:v>
                </c:pt>
                <c:pt idx="46572">
                  <c:v>0.83060460139111802</c:v>
                </c:pt>
                <c:pt idx="46573">
                  <c:v>0.83062243624041299</c:v>
                </c:pt>
                <c:pt idx="46574">
                  <c:v>0.83064027108970895</c:v>
                </c:pt>
                <c:pt idx="46575">
                  <c:v>0.83065810593900402</c:v>
                </c:pt>
                <c:pt idx="46576">
                  <c:v>0.83067594078829998</c:v>
                </c:pt>
                <c:pt idx="46577">
                  <c:v>0.83069377563759506</c:v>
                </c:pt>
                <c:pt idx="46578">
                  <c:v>0.83071161048689102</c:v>
                </c:pt>
                <c:pt idx="46579">
                  <c:v>0.83072944533618598</c:v>
                </c:pt>
                <c:pt idx="46580">
                  <c:v>0.83074728018548205</c:v>
                </c:pt>
                <c:pt idx="46581">
                  <c:v>0.83076511503477701</c:v>
                </c:pt>
                <c:pt idx="46582">
                  <c:v>0.83078294988407297</c:v>
                </c:pt>
                <c:pt idx="46583">
                  <c:v>0.83080078473336905</c:v>
                </c:pt>
                <c:pt idx="46584">
                  <c:v>0.83081861958266401</c:v>
                </c:pt>
                <c:pt idx="46585">
                  <c:v>0.83083645443195997</c:v>
                </c:pt>
                <c:pt idx="46586">
                  <c:v>0.83085428928125504</c:v>
                </c:pt>
                <c:pt idx="46587">
                  <c:v>0.830872124130551</c:v>
                </c:pt>
                <c:pt idx="46588">
                  <c:v>0.83088995897984597</c:v>
                </c:pt>
                <c:pt idx="46589">
                  <c:v>0.83090779382914204</c:v>
                </c:pt>
                <c:pt idx="46590">
                  <c:v>0.830925628678437</c:v>
                </c:pt>
                <c:pt idx="46591">
                  <c:v>0.83094346352773296</c:v>
                </c:pt>
                <c:pt idx="46592">
                  <c:v>0.83096129837702803</c:v>
                </c:pt>
                <c:pt idx="46593">
                  <c:v>0.830979133226324</c:v>
                </c:pt>
                <c:pt idx="46594">
                  <c:v>0.83099696807561896</c:v>
                </c:pt>
                <c:pt idx="46595">
                  <c:v>0.83101480292491503</c:v>
                </c:pt>
                <c:pt idx="46596">
                  <c:v>0.83103263777420999</c:v>
                </c:pt>
                <c:pt idx="46597">
                  <c:v>0.83105047262350595</c:v>
                </c:pt>
                <c:pt idx="46598">
                  <c:v>0.83106830747280103</c:v>
                </c:pt>
                <c:pt idx="46599">
                  <c:v>0.83108614232209699</c:v>
                </c:pt>
                <c:pt idx="46600">
                  <c:v>0.83110397717139295</c:v>
                </c:pt>
                <c:pt idx="46601">
                  <c:v>0.83112181202068802</c:v>
                </c:pt>
                <c:pt idx="46602">
                  <c:v>0.83113964686998398</c:v>
                </c:pt>
                <c:pt idx="46603">
                  <c:v>0.83115748171927895</c:v>
                </c:pt>
                <c:pt idx="46604">
                  <c:v>0.83117531656857502</c:v>
                </c:pt>
                <c:pt idx="46605">
                  <c:v>0.83119315141786998</c:v>
                </c:pt>
                <c:pt idx="46606">
                  <c:v>0.83121098626716605</c:v>
                </c:pt>
                <c:pt idx="46607">
                  <c:v>0.83122882111646101</c:v>
                </c:pt>
                <c:pt idx="46608">
                  <c:v>0.83124665596575698</c:v>
                </c:pt>
                <c:pt idx="46609">
                  <c:v>0.83126449081505205</c:v>
                </c:pt>
                <c:pt idx="46610">
                  <c:v>0.83128232566434801</c:v>
                </c:pt>
                <c:pt idx="46611">
                  <c:v>0.83130016051364297</c:v>
                </c:pt>
                <c:pt idx="46612">
                  <c:v>0.83131799536293904</c:v>
                </c:pt>
                <c:pt idx="46613">
                  <c:v>0.83133583021223401</c:v>
                </c:pt>
                <c:pt idx="46614">
                  <c:v>0.83135366506152997</c:v>
                </c:pt>
                <c:pt idx="46615">
                  <c:v>0.83137149991082504</c:v>
                </c:pt>
                <c:pt idx="46616">
                  <c:v>0.831389334760121</c:v>
                </c:pt>
                <c:pt idx="46617">
                  <c:v>0.83140716960941596</c:v>
                </c:pt>
                <c:pt idx="46618">
                  <c:v>0.83142500445871204</c:v>
                </c:pt>
                <c:pt idx="46619">
                  <c:v>0.831442839308007</c:v>
                </c:pt>
                <c:pt idx="46620">
                  <c:v>0.83146067415730296</c:v>
                </c:pt>
                <c:pt idx="46621">
                  <c:v>0.83147850900659803</c:v>
                </c:pt>
                <c:pt idx="46622">
                  <c:v>0.83149634385589399</c:v>
                </c:pt>
                <c:pt idx="46623">
                  <c:v>0.83151417870518995</c:v>
                </c:pt>
                <c:pt idx="46624">
                  <c:v>0.83153201355448503</c:v>
                </c:pt>
                <c:pt idx="46625">
                  <c:v>0.83154984840378099</c:v>
                </c:pt>
                <c:pt idx="46626">
                  <c:v>0.83156768325307595</c:v>
                </c:pt>
                <c:pt idx="46627">
                  <c:v>0.83158551810237202</c:v>
                </c:pt>
                <c:pt idx="46628">
                  <c:v>0.83160335295166699</c:v>
                </c:pt>
                <c:pt idx="46629">
                  <c:v>0.83162118780096295</c:v>
                </c:pt>
                <c:pt idx="46630">
                  <c:v>0.83163902265025802</c:v>
                </c:pt>
                <c:pt idx="46631">
                  <c:v>0.83165685749955398</c:v>
                </c:pt>
                <c:pt idx="46632">
                  <c:v>0.83167469234884905</c:v>
                </c:pt>
                <c:pt idx="46633">
                  <c:v>0.83169252719814502</c:v>
                </c:pt>
                <c:pt idx="46634">
                  <c:v>0.83171036204743998</c:v>
                </c:pt>
                <c:pt idx="46635">
                  <c:v>0.83172819689673605</c:v>
                </c:pt>
                <c:pt idx="46636">
                  <c:v>0.83174603174603101</c:v>
                </c:pt>
                <c:pt idx="46637">
                  <c:v>0.83176386659532697</c:v>
                </c:pt>
                <c:pt idx="46638">
                  <c:v>0.83178170144462205</c:v>
                </c:pt>
                <c:pt idx="46639">
                  <c:v>0.83179953629391801</c:v>
                </c:pt>
                <c:pt idx="46640">
                  <c:v>0.83181737114321297</c:v>
                </c:pt>
                <c:pt idx="46641">
                  <c:v>0.83183520599250904</c:v>
                </c:pt>
                <c:pt idx="46642">
                  <c:v>0.831853040841804</c:v>
                </c:pt>
                <c:pt idx="46643">
                  <c:v>0.83187087569109996</c:v>
                </c:pt>
                <c:pt idx="46644">
                  <c:v>0.83188871054039504</c:v>
                </c:pt>
                <c:pt idx="46645">
                  <c:v>0.831906545389691</c:v>
                </c:pt>
                <c:pt idx="46646">
                  <c:v>0.83192438023898696</c:v>
                </c:pt>
                <c:pt idx="46647">
                  <c:v>0.83194221508828203</c:v>
                </c:pt>
                <c:pt idx="46648">
                  <c:v>0.83196004993757799</c:v>
                </c:pt>
                <c:pt idx="46649">
                  <c:v>0.83197788478687296</c:v>
                </c:pt>
                <c:pt idx="46650">
                  <c:v>0.83199571963616903</c:v>
                </c:pt>
                <c:pt idx="46651">
                  <c:v>0.83201355448546399</c:v>
                </c:pt>
                <c:pt idx="46652">
                  <c:v>0.83203138933475995</c:v>
                </c:pt>
                <c:pt idx="46653">
                  <c:v>0.83204922418405503</c:v>
                </c:pt>
                <c:pt idx="46654">
                  <c:v>0.83206705903335099</c:v>
                </c:pt>
                <c:pt idx="46655">
                  <c:v>0.83208489388264595</c:v>
                </c:pt>
                <c:pt idx="46656">
                  <c:v>0.83210272873194202</c:v>
                </c:pt>
                <c:pt idx="46657">
                  <c:v>0.83212056358123698</c:v>
                </c:pt>
                <c:pt idx="46658">
                  <c:v>0.83213839843053306</c:v>
                </c:pt>
                <c:pt idx="46659">
                  <c:v>0.83215623327982802</c:v>
                </c:pt>
                <c:pt idx="46660">
                  <c:v>0.83217406812912398</c:v>
                </c:pt>
                <c:pt idx="46661">
                  <c:v>0.83219190297841905</c:v>
                </c:pt>
                <c:pt idx="46662">
                  <c:v>0.83220973782771501</c:v>
                </c:pt>
                <c:pt idx="46663">
                  <c:v>0.83222757267700997</c:v>
                </c:pt>
                <c:pt idx="46664">
                  <c:v>0.83224540752630605</c:v>
                </c:pt>
                <c:pt idx="46665">
                  <c:v>0.83226324237560101</c:v>
                </c:pt>
                <c:pt idx="46666">
                  <c:v>0.83228107722489697</c:v>
                </c:pt>
                <c:pt idx="46667">
                  <c:v>0.83229891207419204</c:v>
                </c:pt>
                <c:pt idx="46668">
                  <c:v>0.832316746923488</c:v>
                </c:pt>
                <c:pt idx="46669">
                  <c:v>0.83233458177278397</c:v>
                </c:pt>
                <c:pt idx="46670">
                  <c:v>0.83235241662207904</c:v>
                </c:pt>
                <c:pt idx="46671">
                  <c:v>0.832370251471375</c:v>
                </c:pt>
                <c:pt idx="46672">
                  <c:v>0.83238808632066996</c:v>
                </c:pt>
                <c:pt idx="46673">
                  <c:v>0.83240592116996603</c:v>
                </c:pt>
                <c:pt idx="46674">
                  <c:v>0.832423756019261</c:v>
                </c:pt>
                <c:pt idx="46675">
                  <c:v>0.83244159086855696</c:v>
                </c:pt>
                <c:pt idx="46676">
                  <c:v>0.83245942571785203</c:v>
                </c:pt>
                <c:pt idx="46677">
                  <c:v>0.83247726056714799</c:v>
                </c:pt>
                <c:pt idx="46678">
                  <c:v>0.83249509541644295</c:v>
                </c:pt>
                <c:pt idx="46679">
                  <c:v>0.83251293026573903</c:v>
                </c:pt>
                <c:pt idx="46680">
                  <c:v>0.83253076511503399</c:v>
                </c:pt>
                <c:pt idx="46681">
                  <c:v>0.83254859996432995</c:v>
                </c:pt>
                <c:pt idx="46682">
                  <c:v>0.83256643481362502</c:v>
                </c:pt>
                <c:pt idx="46683">
                  <c:v>0.83258426966292098</c:v>
                </c:pt>
                <c:pt idx="46684">
                  <c:v>0.83260210451221595</c:v>
                </c:pt>
                <c:pt idx="46685">
                  <c:v>0.83261993936151202</c:v>
                </c:pt>
                <c:pt idx="46686">
                  <c:v>0.83263777421080698</c:v>
                </c:pt>
                <c:pt idx="46687">
                  <c:v>0.83265560906010305</c:v>
                </c:pt>
                <c:pt idx="46688">
                  <c:v>0.83267344390939901</c:v>
                </c:pt>
                <c:pt idx="46689">
                  <c:v>0.83269127875869398</c:v>
                </c:pt>
                <c:pt idx="46690">
                  <c:v>0.83270911360799005</c:v>
                </c:pt>
                <c:pt idx="46691">
                  <c:v>0.83272694845728501</c:v>
                </c:pt>
                <c:pt idx="46692">
                  <c:v>0.83274478330658097</c:v>
                </c:pt>
                <c:pt idx="46693">
                  <c:v>0.83276261815587604</c:v>
                </c:pt>
                <c:pt idx="46694">
                  <c:v>0.83278045300517201</c:v>
                </c:pt>
                <c:pt idx="46695">
                  <c:v>0.83279828785446697</c:v>
                </c:pt>
                <c:pt idx="46696">
                  <c:v>0.83281612270376304</c:v>
                </c:pt>
                <c:pt idx="46697">
                  <c:v>0.832833957553058</c:v>
                </c:pt>
                <c:pt idx="46698">
                  <c:v>0.83285179240235396</c:v>
                </c:pt>
                <c:pt idx="46699">
                  <c:v>0.83286962725164904</c:v>
                </c:pt>
                <c:pt idx="46700">
                  <c:v>0.832887462100945</c:v>
                </c:pt>
                <c:pt idx="46701">
                  <c:v>0.83290529695023996</c:v>
                </c:pt>
                <c:pt idx="46702">
                  <c:v>0.83292313179953603</c:v>
                </c:pt>
                <c:pt idx="46703">
                  <c:v>0.83294096664883099</c:v>
                </c:pt>
                <c:pt idx="46704">
                  <c:v>0.83295880149812696</c:v>
                </c:pt>
                <c:pt idx="46705">
                  <c:v>0.83297663634742203</c:v>
                </c:pt>
                <c:pt idx="46706">
                  <c:v>0.83299447119671799</c:v>
                </c:pt>
                <c:pt idx="46707">
                  <c:v>0.83301230604601395</c:v>
                </c:pt>
                <c:pt idx="46708">
                  <c:v>0.83303014089530902</c:v>
                </c:pt>
                <c:pt idx="46709">
                  <c:v>0.83304797574460498</c:v>
                </c:pt>
                <c:pt idx="46710">
                  <c:v>0.83306581059389995</c:v>
                </c:pt>
                <c:pt idx="46711">
                  <c:v>0.83308364544319602</c:v>
                </c:pt>
                <c:pt idx="46712">
                  <c:v>0.83310148029249098</c:v>
                </c:pt>
                <c:pt idx="46713">
                  <c:v>0.83311931514178705</c:v>
                </c:pt>
                <c:pt idx="46714">
                  <c:v>0.83313714999108202</c:v>
                </c:pt>
                <c:pt idx="46715">
                  <c:v>0.83315498484037798</c:v>
                </c:pt>
                <c:pt idx="46716">
                  <c:v>0.83317281968967305</c:v>
                </c:pt>
                <c:pt idx="46717">
                  <c:v>0.83319065453896901</c:v>
                </c:pt>
                <c:pt idx="46718">
                  <c:v>0.83320848938826397</c:v>
                </c:pt>
                <c:pt idx="46719">
                  <c:v>0.83322632423756005</c:v>
                </c:pt>
                <c:pt idx="46720">
                  <c:v>0.83324415908685501</c:v>
                </c:pt>
                <c:pt idx="46721">
                  <c:v>0.83326199393615097</c:v>
                </c:pt>
                <c:pt idx="46722">
                  <c:v>0.83327982878544604</c:v>
                </c:pt>
                <c:pt idx="46723">
                  <c:v>0.833297663634742</c:v>
                </c:pt>
                <c:pt idx="46724">
                  <c:v>0.83331549848403697</c:v>
                </c:pt>
                <c:pt idx="46725">
                  <c:v>0.83333333333333304</c:v>
                </c:pt>
                <c:pt idx="46726">
                  <c:v>0.833351168182628</c:v>
                </c:pt>
                <c:pt idx="46727">
                  <c:v>0.83336900303192396</c:v>
                </c:pt>
                <c:pt idx="46728">
                  <c:v>0.83338683788121903</c:v>
                </c:pt>
                <c:pt idx="46729">
                  <c:v>0.83340467273051499</c:v>
                </c:pt>
                <c:pt idx="46730">
                  <c:v>0.83342250757981096</c:v>
                </c:pt>
                <c:pt idx="46731">
                  <c:v>0.83344034242910603</c:v>
                </c:pt>
                <c:pt idx="46732">
                  <c:v>0.83345817727840199</c:v>
                </c:pt>
                <c:pt idx="46733">
                  <c:v>0.83347601212769695</c:v>
                </c:pt>
                <c:pt idx="46734">
                  <c:v>0.83349384697699302</c:v>
                </c:pt>
                <c:pt idx="46735">
                  <c:v>0.83351168182628799</c:v>
                </c:pt>
                <c:pt idx="46736">
                  <c:v>0.83352951667558395</c:v>
                </c:pt>
                <c:pt idx="46737">
                  <c:v>0.83354735152487902</c:v>
                </c:pt>
                <c:pt idx="46738">
                  <c:v>0.83356518637417498</c:v>
                </c:pt>
                <c:pt idx="46739">
                  <c:v>0.83358302122347006</c:v>
                </c:pt>
                <c:pt idx="46740">
                  <c:v>0.83360085607276602</c:v>
                </c:pt>
                <c:pt idx="46741">
                  <c:v>0.83361869092206098</c:v>
                </c:pt>
                <c:pt idx="46742">
                  <c:v>0.83363652577135705</c:v>
                </c:pt>
                <c:pt idx="46743">
                  <c:v>0.83365436062065201</c:v>
                </c:pt>
                <c:pt idx="46744">
                  <c:v>0.83367219546994797</c:v>
                </c:pt>
                <c:pt idx="46745">
                  <c:v>0.83369003031924305</c:v>
                </c:pt>
                <c:pt idx="46746">
                  <c:v>0.83370786516853901</c:v>
                </c:pt>
                <c:pt idx="46747">
                  <c:v>0.83372570001783397</c:v>
                </c:pt>
                <c:pt idx="46748">
                  <c:v>0.83374353486713004</c:v>
                </c:pt>
                <c:pt idx="46749">
                  <c:v>0.833761369716425</c:v>
                </c:pt>
                <c:pt idx="46750">
                  <c:v>0.83377920456572097</c:v>
                </c:pt>
                <c:pt idx="46751">
                  <c:v>0.83379703941501604</c:v>
                </c:pt>
                <c:pt idx="46752">
                  <c:v>0.833814874264312</c:v>
                </c:pt>
                <c:pt idx="46753">
                  <c:v>0.83383270911360796</c:v>
                </c:pt>
                <c:pt idx="46754">
                  <c:v>0.83385054396290303</c:v>
                </c:pt>
                <c:pt idx="46755">
                  <c:v>0.833868378812199</c:v>
                </c:pt>
                <c:pt idx="46756">
                  <c:v>0.83388621366149396</c:v>
                </c:pt>
                <c:pt idx="46757">
                  <c:v>0.83390404851079003</c:v>
                </c:pt>
                <c:pt idx="46758">
                  <c:v>0.83392188336008499</c:v>
                </c:pt>
                <c:pt idx="46759">
                  <c:v>0.83393971820938095</c:v>
                </c:pt>
                <c:pt idx="46760">
                  <c:v>0.83395755305867603</c:v>
                </c:pt>
                <c:pt idx="46761">
                  <c:v>0.83397538790797199</c:v>
                </c:pt>
                <c:pt idx="46762">
                  <c:v>0.83399322275726695</c:v>
                </c:pt>
                <c:pt idx="46763">
                  <c:v>0.83401105760656302</c:v>
                </c:pt>
                <c:pt idx="46764">
                  <c:v>0.83402889245585798</c:v>
                </c:pt>
                <c:pt idx="46765">
                  <c:v>0.83404672730515395</c:v>
                </c:pt>
                <c:pt idx="46766">
                  <c:v>0.83406456215444902</c:v>
                </c:pt>
                <c:pt idx="46767">
                  <c:v>0.83408239700374498</c:v>
                </c:pt>
                <c:pt idx="46768">
                  <c:v>0.83410023185304005</c:v>
                </c:pt>
                <c:pt idx="46769">
                  <c:v>0.83411806670233601</c:v>
                </c:pt>
                <c:pt idx="46770">
                  <c:v>0.83413590155163098</c:v>
                </c:pt>
                <c:pt idx="46771">
                  <c:v>0.83415373640092705</c:v>
                </c:pt>
                <c:pt idx="46772">
                  <c:v>0.83417157125022201</c:v>
                </c:pt>
                <c:pt idx="46773">
                  <c:v>0.83418940609951797</c:v>
                </c:pt>
                <c:pt idx="46774">
                  <c:v>0.83420724094881304</c:v>
                </c:pt>
                <c:pt idx="46775">
                  <c:v>0.83422507579810901</c:v>
                </c:pt>
                <c:pt idx="46776">
                  <c:v>0.83424291064740497</c:v>
                </c:pt>
                <c:pt idx="46777">
                  <c:v>0.83426074549670004</c:v>
                </c:pt>
                <c:pt idx="46778">
                  <c:v>0.834278580345996</c:v>
                </c:pt>
                <c:pt idx="46779">
                  <c:v>0.83429641519529096</c:v>
                </c:pt>
                <c:pt idx="46780">
                  <c:v>0.83431425004458704</c:v>
                </c:pt>
                <c:pt idx="46781">
                  <c:v>0.834332084893882</c:v>
                </c:pt>
                <c:pt idx="46782">
                  <c:v>0.83434991974317796</c:v>
                </c:pt>
                <c:pt idx="46783">
                  <c:v>0.83436775459247303</c:v>
                </c:pt>
                <c:pt idx="46784">
                  <c:v>0.83438558944176899</c:v>
                </c:pt>
                <c:pt idx="46785">
                  <c:v>0.83440342429106396</c:v>
                </c:pt>
                <c:pt idx="46786">
                  <c:v>0.83442125914036003</c:v>
                </c:pt>
                <c:pt idx="46787">
                  <c:v>0.83443909398965499</c:v>
                </c:pt>
                <c:pt idx="46788">
                  <c:v>0.83445692883895095</c:v>
                </c:pt>
                <c:pt idx="46789">
                  <c:v>0.83447476368824602</c:v>
                </c:pt>
                <c:pt idx="46790">
                  <c:v>0.83449259853754199</c:v>
                </c:pt>
                <c:pt idx="46791">
                  <c:v>0.83451043338683695</c:v>
                </c:pt>
                <c:pt idx="46792">
                  <c:v>0.83452826823613302</c:v>
                </c:pt>
                <c:pt idx="46793">
                  <c:v>0.83454610308542898</c:v>
                </c:pt>
                <c:pt idx="46794">
                  <c:v>0.83456393793472405</c:v>
                </c:pt>
                <c:pt idx="46795">
                  <c:v>0.83458177278402002</c:v>
                </c:pt>
                <c:pt idx="46796">
                  <c:v>0.83459960763331498</c:v>
                </c:pt>
                <c:pt idx="46797">
                  <c:v>0.83461744248261105</c:v>
                </c:pt>
                <c:pt idx="46798">
                  <c:v>0.83463527733190601</c:v>
                </c:pt>
                <c:pt idx="46799">
                  <c:v>0.83465311218120197</c:v>
                </c:pt>
                <c:pt idx="46800">
                  <c:v>0.83467094703049705</c:v>
                </c:pt>
                <c:pt idx="46801">
                  <c:v>0.83468878187979301</c:v>
                </c:pt>
                <c:pt idx="46802">
                  <c:v>0.83470661672908797</c:v>
                </c:pt>
                <c:pt idx="46803">
                  <c:v>0.83472445157838404</c:v>
                </c:pt>
                <c:pt idx="46804">
                  <c:v>0.834742286427679</c:v>
                </c:pt>
                <c:pt idx="46805">
                  <c:v>0.83476012127697496</c:v>
                </c:pt>
                <c:pt idx="46806">
                  <c:v>0.83477795612627004</c:v>
                </c:pt>
                <c:pt idx="46807">
                  <c:v>0.834795790975566</c:v>
                </c:pt>
                <c:pt idx="46808">
                  <c:v>0.83481362582486096</c:v>
                </c:pt>
                <c:pt idx="46809">
                  <c:v>0.83483146067415703</c:v>
                </c:pt>
                <c:pt idx="46810">
                  <c:v>0.834849295523452</c:v>
                </c:pt>
                <c:pt idx="46811">
                  <c:v>0.83486713037274796</c:v>
                </c:pt>
                <c:pt idx="46812">
                  <c:v>0.83488496522204303</c:v>
                </c:pt>
                <c:pt idx="46813">
                  <c:v>0.83490280007133899</c:v>
                </c:pt>
                <c:pt idx="46814">
                  <c:v>0.83492063492063495</c:v>
                </c:pt>
                <c:pt idx="46815">
                  <c:v>0.83493846976993003</c:v>
                </c:pt>
                <c:pt idx="46816">
                  <c:v>0.83495630461922599</c:v>
                </c:pt>
                <c:pt idx="46817">
                  <c:v>0.83497413946852095</c:v>
                </c:pt>
                <c:pt idx="46818">
                  <c:v>0.83499197431781702</c:v>
                </c:pt>
                <c:pt idx="46819">
                  <c:v>0.83500980916711198</c:v>
                </c:pt>
                <c:pt idx="46820">
                  <c:v>0.83502764401640805</c:v>
                </c:pt>
                <c:pt idx="46821">
                  <c:v>0.83504547886570302</c:v>
                </c:pt>
                <c:pt idx="46822">
                  <c:v>0.83506331371499898</c:v>
                </c:pt>
                <c:pt idx="46823">
                  <c:v>0.83508114856429405</c:v>
                </c:pt>
                <c:pt idx="46824">
                  <c:v>0.83509898341359001</c:v>
                </c:pt>
                <c:pt idx="46825">
                  <c:v>0.83511681826288497</c:v>
                </c:pt>
                <c:pt idx="46826">
                  <c:v>0.83513465311218105</c:v>
                </c:pt>
                <c:pt idx="46827">
                  <c:v>0.83515248796147601</c:v>
                </c:pt>
                <c:pt idx="46828">
                  <c:v>0.83517032281077197</c:v>
                </c:pt>
                <c:pt idx="46829">
                  <c:v>0.83518815766006704</c:v>
                </c:pt>
                <c:pt idx="46830">
                  <c:v>0.835205992509363</c:v>
                </c:pt>
                <c:pt idx="46831">
                  <c:v>0.83522382735865797</c:v>
                </c:pt>
                <c:pt idx="46832">
                  <c:v>0.83524166220795404</c:v>
                </c:pt>
                <c:pt idx="46833">
                  <c:v>0.835259497057249</c:v>
                </c:pt>
                <c:pt idx="46834">
                  <c:v>0.83527733190654496</c:v>
                </c:pt>
                <c:pt idx="46835">
                  <c:v>0.83529516675584004</c:v>
                </c:pt>
                <c:pt idx="46836">
                  <c:v>0.835313001605136</c:v>
                </c:pt>
                <c:pt idx="46837">
                  <c:v>0.83533083645443196</c:v>
                </c:pt>
                <c:pt idx="46838">
                  <c:v>0.83534867130372703</c:v>
                </c:pt>
                <c:pt idx="46839">
                  <c:v>0.83536650615302299</c:v>
                </c:pt>
                <c:pt idx="46840">
                  <c:v>0.83538434100231795</c:v>
                </c:pt>
                <c:pt idx="46841">
                  <c:v>0.83540217585161403</c:v>
                </c:pt>
                <c:pt idx="46842">
                  <c:v>0.83542001070090899</c:v>
                </c:pt>
                <c:pt idx="46843">
                  <c:v>0.83543784555020495</c:v>
                </c:pt>
                <c:pt idx="46844">
                  <c:v>0.83545568039950002</c:v>
                </c:pt>
                <c:pt idx="46845">
                  <c:v>0.83547351524879598</c:v>
                </c:pt>
                <c:pt idx="46846">
                  <c:v>0.83549135009809095</c:v>
                </c:pt>
                <c:pt idx="46847">
                  <c:v>0.83550918494738702</c:v>
                </c:pt>
                <c:pt idx="46848">
                  <c:v>0.83552701979668198</c:v>
                </c:pt>
                <c:pt idx="46849">
                  <c:v>0.83554485464597805</c:v>
                </c:pt>
                <c:pt idx="46850">
                  <c:v>0.83556268949527301</c:v>
                </c:pt>
                <c:pt idx="46851">
                  <c:v>0.83558052434456898</c:v>
                </c:pt>
                <c:pt idx="46852">
                  <c:v>0.83559835919386405</c:v>
                </c:pt>
                <c:pt idx="46853">
                  <c:v>0.83561619404316001</c:v>
                </c:pt>
                <c:pt idx="46854">
                  <c:v>0.83563402889245497</c:v>
                </c:pt>
                <c:pt idx="46855">
                  <c:v>0.83565186374175104</c:v>
                </c:pt>
                <c:pt idx="46856">
                  <c:v>0.83566969859104601</c:v>
                </c:pt>
                <c:pt idx="46857">
                  <c:v>0.83568753344034197</c:v>
                </c:pt>
                <c:pt idx="46858">
                  <c:v>0.83570536828963704</c:v>
                </c:pt>
                <c:pt idx="46859">
                  <c:v>0.835723203138933</c:v>
                </c:pt>
                <c:pt idx="46860">
                  <c:v>0.83574103798822896</c:v>
                </c:pt>
                <c:pt idx="46861">
                  <c:v>0.83575887283752404</c:v>
                </c:pt>
                <c:pt idx="46862">
                  <c:v>0.83577670768682</c:v>
                </c:pt>
                <c:pt idx="46863">
                  <c:v>0.83579454253611496</c:v>
                </c:pt>
                <c:pt idx="46864">
                  <c:v>0.83581237738541103</c:v>
                </c:pt>
                <c:pt idx="46865">
                  <c:v>0.83583021223470599</c:v>
                </c:pt>
                <c:pt idx="46866">
                  <c:v>0.83584804708400195</c:v>
                </c:pt>
                <c:pt idx="46867">
                  <c:v>0.83586588193329703</c:v>
                </c:pt>
                <c:pt idx="46868">
                  <c:v>0.83588371678259299</c:v>
                </c:pt>
                <c:pt idx="46869">
                  <c:v>0.83590155163188795</c:v>
                </c:pt>
                <c:pt idx="46870">
                  <c:v>0.83591938648118402</c:v>
                </c:pt>
                <c:pt idx="46871">
                  <c:v>0.83593722133047899</c:v>
                </c:pt>
                <c:pt idx="46872">
                  <c:v>0.83595505617977495</c:v>
                </c:pt>
                <c:pt idx="46873">
                  <c:v>0.83597289102907002</c:v>
                </c:pt>
                <c:pt idx="46874">
                  <c:v>0.83599072587836598</c:v>
                </c:pt>
                <c:pt idx="46875">
                  <c:v>0.83600856072766105</c:v>
                </c:pt>
                <c:pt idx="46876">
                  <c:v>0.83602639557695702</c:v>
                </c:pt>
                <c:pt idx="46877">
                  <c:v>0.83604423042625198</c:v>
                </c:pt>
                <c:pt idx="46878">
                  <c:v>0.83606206527554805</c:v>
                </c:pt>
                <c:pt idx="46879">
                  <c:v>0.83607990012484301</c:v>
                </c:pt>
                <c:pt idx="46880">
                  <c:v>0.83609773497413897</c:v>
                </c:pt>
                <c:pt idx="46881">
                  <c:v>0.83611556982343505</c:v>
                </c:pt>
                <c:pt idx="46882">
                  <c:v>0.83613340467273001</c:v>
                </c:pt>
                <c:pt idx="46883">
                  <c:v>0.83615123952202597</c:v>
                </c:pt>
                <c:pt idx="46884">
                  <c:v>0.83616907437132104</c:v>
                </c:pt>
                <c:pt idx="46885">
                  <c:v>0.836186909220617</c:v>
                </c:pt>
                <c:pt idx="46886">
                  <c:v>0.83620474406991196</c:v>
                </c:pt>
                <c:pt idx="46887">
                  <c:v>0.83622257891920804</c:v>
                </c:pt>
                <c:pt idx="46888">
                  <c:v>0.836240413768503</c:v>
                </c:pt>
                <c:pt idx="46889">
                  <c:v>0.83625824861779896</c:v>
                </c:pt>
                <c:pt idx="46890">
                  <c:v>0.83627608346709403</c:v>
                </c:pt>
                <c:pt idx="46891">
                  <c:v>0.83629391831638999</c:v>
                </c:pt>
                <c:pt idx="46892">
                  <c:v>0.83631175316568496</c:v>
                </c:pt>
                <c:pt idx="46893">
                  <c:v>0.83632958801498103</c:v>
                </c:pt>
                <c:pt idx="46894">
                  <c:v>0.83634742286427599</c:v>
                </c:pt>
                <c:pt idx="46895">
                  <c:v>0.83636525771357195</c:v>
                </c:pt>
                <c:pt idx="46896">
                  <c:v>0.83638309256286703</c:v>
                </c:pt>
                <c:pt idx="46897">
                  <c:v>0.83640092741216299</c:v>
                </c:pt>
                <c:pt idx="46898">
                  <c:v>0.83641876226145795</c:v>
                </c:pt>
                <c:pt idx="46899">
                  <c:v>0.83643659711075402</c:v>
                </c:pt>
                <c:pt idx="46900">
                  <c:v>0.83645443196004998</c:v>
                </c:pt>
                <c:pt idx="46901">
                  <c:v>0.83647226680934506</c:v>
                </c:pt>
                <c:pt idx="46902">
                  <c:v>0.83649010165864102</c:v>
                </c:pt>
                <c:pt idx="46903">
                  <c:v>0.83650793650793598</c:v>
                </c:pt>
                <c:pt idx="46904">
                  <c:v>0.83652577135723205</c:v>
                </c:pt>
                <c:pt idx="46905">
                  <c:v>0.83654360620652701</c:v>
                </c:pt>
                <c:pt idx="46906">
                  <c:v>0.83656144105582297</c:v>
                </c:pt>
                <c:pt idx="46907">
                  <c:v>0.83657927590511805</c:v>
                </c:pt>
                <c:pt idx="46908">
                  <c:v>0.83659711075441401</c:v>
                </c:pt>
                <c:pt idx="46909">
                  <c:v>0.83661494560370897</c:v>
                </c:pt>
                <c:pt idx="46910">
                  <c:v>0.83663278045300504</c:v>
                </c:pt>
                <c:pt idx="46911">
                  <c:v>0.8366506153023</c:v>
                </c:pt>
                <c:pt idx="46912">
                  <c:v>0.83666845015159597</c:v>
                </c:pt>
                <c:pt idx="46913">
                  <c:v>0.83668628500089104</c:v>
                </c:pt>
                <c:pt idx="46914">
                  <c:v>0.836704119850187</c:v>
                </c:pt>
                <c:pt idx="46915">
                  <c:v>0.83672195469948196</c:v>
                </c:pt>
                <c:pt idx="46916">
                  <c:v>0.83673978954877803</c:v>
                </c:pt>
                <c:pt idx="46917">
                  <c:v>0.836757624398073</c:v>
                </c:pt>
                <c:pt idx="46918">
                  <c:v>0.83677545924736896</c:v>
                </c:pt>
                <c:pt idx="46919">
                  <c:v>0.83679329409666403</c:v>
                </c:pt>
                <c:pt idx="46920">
                  <c:v>0.83681112894595999</c:v>
                </c:pt>
                <c:pt idx="46921">
                  <c:v>0.83682896379525595</c:v>
                </c:pt>
                <c:pt idx="46922">
                  <c:v>0.83684679864455103</c:v>
                </c:pt>
                <c:pt idx="46923">
                  <c:v>0.83686463349384699</c:v>
                </c:pt>
                <c:pt idx="46924">
                  <c:v>0.83688246834314195</c:v>
                </c:pt>
                <c:pt idx="46925">
                  <c:v>0.83690030319243802</c:v>
                </c:pt>
                <c:pt idx="46926">
                  <c:v>0.83691813804173298</c:v>
                </c:pt>
                <c:pt idx="46927">
                  <c:v>0.83693597289102895</c:v>
                </c:pt>
                <c:pt idx="46928">
                  <c:v>0.83695380774032402</c:v>
                </c:pt>
                <c:pt idx="46929">
                  <c:v>0.83697164258961998</c:v>
                </c:pt>
                <c:pt idx="46930">
                  <c:v>0.83698947743891505</c:v>
                </c:pt>
                <c:pt idx="46931">
                  <c:v>0.83700731228821101</c:v>
                </c:pt>
                <c:pt idx="46932">
                  <c:v>0.83702514713750598</c:v>
                </c:pt>
                <c:pt idx="46933">
                  <c:v>0.83704298198680205</c:v>
                </c:pt>
                <c:pt idx="46934">
                  <c:v>0.83706081683609701</c:v>
                </c:pt>
                <c:pt idx="46935">
                  <c:v>0.83707865168539297</c:v>
                </c:pt>
                <c:pt idx="46936">
                  <c:v>0.83709648653468804</c:v>
                </c:pt>
                <c:pt idx="46937">
                  <c:v>0.83711432138398401</c:v>
                </c:pt>
                <c:pt idx="46938">
                  <c:v>0.83713215623327897</c:v>
                </c:pt>
                <c:pt idx="46939">
                  <c:v>0.83714999108257504</c:v>
                </c:pt>
                <c:pt idx="46940">
                  <c:v>0.83716782593187</c:v>
                </c:pt>
                <c:pt idx="46941">
                  <c:v>0.83718566078116596</c:v>
                </c:pt>
                <c:pt idx="46942">
                  <c:v>0.83720349563046104</c:v>
                </c:pt>
                <c:pt idx="46943">
                  <c:v>0.837221330479757</c:v>
                </c:pt>
                <c:pt idx="46944">
                  <c:v>0.83723916532905296</c:v>
                </c:pt>
                <c:pt idx="46945">
                  <c:v>0.83725700017834803</c:v>
                </c:pt>
                <c:pt idx="46946">
                  <c:v>0.83727483502764399</c:v>
                </c:pt>
                <c:pt idx="46947">
                  <c:v>0.83729266987693896</c:v>
                </c:pt>
                <c:pt idx="46948">
                  <c:v>0.83731050472623503</c:v>
                </c:pt>
                <c:pt idx="46949">
                  <c:v>0.83732833957552999</c:v>
                </c:pt>
                <c:pt idx="46950">
                  <c:v>0.83734617442482595</c:v>
                </c:pt>
                <c:pt idx="46951">
                  <c:v>0.83736400927412102</c:v>
                </c:pt>
                <c:pt idx="46952">
                  <c:v>0.83738184412341699</c:v>
                </c:pt>
                <c:pt idx="46953">
                  <c:v>0.83739967897271195</c:v>
                </c:pt>
                <c:pt idx="46954">
                  <c:v>0.83741751382200802</c:v>
                </c:pt>
                <c:pt idx="46955">
                  <c:v>0.83743534867130298</c:v>
                </c:pt>
                <c:pt idx="46956">
                  <c:v>0.83745318352059905</c:v>
                </c:pt>
                <c:pt idx="46957">
                  <c:v>0.83747101836989402</c:v>
                </c:pt>
                <c:pt idx="46958">
                  <c:v>0.83748885321918998</c:v>
                </c:pt>
                <c:pt idx="46959">
                  <c:v>0.83750668806848505</c:v>
                </c:pt>
                <c:pt idx="46960">
                  <c:v>0.83752452291778101</c:v>
                </c:pt>
                <c:pt idx="46961">
                  <c:v>0.83754235776707597</c:v>
                </c:pt>
                <c:pt idx="46962">
                  <c:v>0.83756019261637205</c:v>
                </c:pt>
                <c:pt idx="46963">
                  <c:v>0.83757802746566701</c:v>
                </c:pt>
                <c:pt idx="46964">
                  <c:v>0.83759586231496297</c:v>
                </c:pt>
                <c:pt idx="46965">
                  <c:v>0.83761369716425804</c:v>
                </c:pt>
                <c:pt idx="46966">
                  <c:v>0.837631532013554</c:v>
                </c:pt>
                <c:pt idx="46967">
                  <c:v>0.83764936686284996</c:v>
                </c:pt>
                <c:pt idx="46968">
                  <c:v>0.83766720171214504</c:v>
                </c:pt>
                <c:pt idx="46969">
                  <c:v>0.837685036561441</c:v>
                </c:pt>
                <c:pt idx="46970">
                  <c:v>0.83770287141073596</c:v>
                </c:pt>
                <c:pt idx="46971">
                  <c:v>0.83772070626003203</c:v>
                </c:pt>
                <c:pt idx="46972">
                  <c:v>0.837738541109327</c:v>
                </c:pt>
                <c:pt idx="46973">
                  <c:v>0.83775637595862296</c:v>
                </c:pt>
                <c:pt idx="46974">
                  <c:v>0.83777421080791803</c:v>
                </c:pt>
                <c:pt idx="46975">
                  <c:v>0.83779204565721399</c:v>
                </c:pt>
                <c:pt idx="46976">
                  <c:v>0.83780988050650895</c:v>
                </c:pt>
                <c:pt idx="46977">
                  <c:v>0.83782771535580502</c:v>
                </c:pt>
                <c:pt idx="46978">
                  <c:v>0.83784555020509999</c:v>
                </c:pt>
                <c:pt idx="46979">
                  <c:v>0.83786338505439595</c:v>
                </c:pt>
                <c:pt idx="46980">
                  <c:v>0.83788121990369102</c:v>
                </c:pt>
                <c:pt idx="46981">
                  <c:v>0.83789905475298698</c:v>
                </c:pt>
                <c:pt idx="46982">
                  <c:v>0.83791688960228194</c:v>
                </c:pt>
                <c:pt idx="46983">
                  <c:v>0.83793472445157802</c:v>
                </c:pt>
                <c:pt idx="46984">
                  <c:v>0.83795255930087298</c:v>
                </c:pt>
                <c:pt idx="46985">
                  <c:v>0.83797039415016905</c:v>
                </c:pt>
                <c:pt idx="46986">
                  <c:v>0.83798822899946401</c:v>
                </c:pt>
                <c:pt idx="46987">
                  <c:v>0.83800606384875997</c:v>
                </c:pt>
                <c:pt idx="46988">
                  <c:v>0.83802389869805605</c:v>
                </c:pt>
                <c:pt idx="46989">
                  <c:v>0.83804173354735101</c:v>
                </c:pt>
                <c:pt idx="46990">
                  <c:v>0.83805956839664697</c:v>
                </c:pt>
                <c:pt idx="46991">
                  <c:v>0.83807740324594204</c:v>
                </c:pt>
                <c:pt idx="46992">
                  <c:v>0.838095238095238</c:v>
                </c:pt>
                <c:pt idx="46993">
                  <c:v>0.83811307294453297</c:v>
                </c:pt>
                <c:pt idx="46994">
                  <c:v>0.83813090779382904</c:v>
                </c:pt>
                <c:pt idx="46995">
                  <c:v>0.838148742643124</c:v>
                </c:pt>
                <c:pt idx="46996">
                  <c:v>0.83816657749241996</c:v>
                </c:pt>
                <c:pt idx="46997">
                  <c:v>0.83818441234171503</c:v>
                </c:pt>
                <c:pt idx="46998">
                  <c:v>0.838202247191011</c:v>
                </c:pt>
                <c:pt idx="46999">
                  <c:v>0.83822008204030596</c:v>
                </c:pt>
                <c:pt idx="47000">
                  <c:v>0.83823791688960203</c:v>
                </c:pt>
                <c:pt idx="47001">
                  <c:v>0.83825575173889699</c:v>
                </c:pt>
                <c:pt idx="47002">
                  <c:v>0.83827358658819295</c:v>
                </c:pt>
                <c:pt idx="47003">
                  <c:v>0.83829142143748803</c:v>
                </c:pt>
                <c:pt idx="47004">
                  <c:v>0.83830925628678399</c:v>
                </c:pt>
                <c:pt idx="47005">
                  <c:v>0.83832709113607995</c:v>
                </c:pt>
                <c:pt idx="47006">
                  <c:v>0.83834492598537502</c:v>
                </c:pt>
                <c:pt idx="47007">
                  <c:v>0.83836276083467098</c:v>
                </c:pt>
                <c:pt idx="47008">
                  <c:v>0.83838059568396595</c:v>
                </c:pt>
                <c:pt idx="47009">
                  <c:v>0.83839843053326202</c:v>
                </c:pt>
                <c:pt idx="47010">
                  <c:v>0.83841626538255698</c:v>
                </c:pt>
                <c:pt idx="47011">
                  <c:v>0.83843410023185305</c:v>
                </c:pt>
                <c:pt idx="47012">
                  <c:v>0.83845193508114801</c:v>
                </c:pt>
                <c:pt idx="47013">
                  <c:v>0.83846976993044398</c:v>
                </c:pt>
                <c:pt idx="47014">
                  <c:v>0.83848760477973905</c:v>
                </c:pt>
                <c:pt idx="47015">
                  <c:v>0.83850543962903501</c:v>
                </c:pt>
                <c:pt idx="47016">
                  <c:v>0.83852327447832997</c:v>
                </c:pt>
                <c:pt idx="47017">
                  <c:v>0.83854110932762604</c:v>
                </c:pt>
                <c:pt idx="47018">
                  <c:v>0.83855894417692101</c:v>
                </c:pt>
                <c:pt idx="47019">
                  <c:v>0.83857677902621697</c:v>
                </c:pt>
                <c:pt idx="47020">
                  <c:v>0.83859461387551204</c:v>
                </c:pt>
                <c:pt idx="47021">
                  <c:v>0.838612448724808</c:v>
                </c:pt>
                <c:pt idx="47022">
                  <c:v>0.83863028357410296</c:v>
                </c:pt>
                <c:pt idx="47023">
                  <c:v>0.83864811842339904</c:v>
                </c:pt>
                <c:pt idx="47024">
                  <c:v>0.838665953272694</c:v>
                </c:pt>
                <c:pt idx="47025">
                  <c:v>0.83868378812198996</c:v>
                </c:pt>
                <c:pt idx="47026">
                  <c:v>0.83870162297128503</c:v>
                </c:pt>
                <c:pt idx="47027">
                  <c:v>0.83871945782058099</c:v>
                </c:pt>
                <c:pt idx="47028">
                  <c:v>0.83873729266987695</c:v>
                </c:pt>
                <c:pt idx="47029">
                  <c:v>0.83875512751917203</c:v>
                </c:pt>
                <c:pt idx="47030">
                  <c:v>0.83877296236846799</c:v>
                </c:pt>
                <c:pt idx="47031">
                  <c:v>0.83879079721776295</c:v>
                </c:pt>
                <c:pt idx="47032">
                  <c:v>0.83880863206705902</c:v>
                </c:pt>
                <c:pt idx="47033">
                  <c:v>0.83882646691635399</c:v>
                </c:pt>
                <c:pt idx="47034">
                  <c:v>0.83884430176564995</c:v>
                </c:pt>
                <c:pt idx="47035">
                  <c:v>0.83886213661494502</c:v>
                </c:pt>
                <c:pt idx="47036">
                  <c:v>0.83887997146424098</c:v>
                </c:pt>
                <c:pt idx="47037">
                  <c:v>0.83889780631353605</c:v>
                </c:pt>
                <c:pt idx="47038">
                  <c:v>0.83891564116283202</c:v>
                </c:pt>
                <c:pt idx="47039">
                  <c:v>0.83893347601212698</c:v>
                </c:pt>
                <c:pt idx="47040">
                  <c:v>0.83895131086142305</c:v>
                </c:pt>
                <c:pt idx="47041">
                  <c:v>0.83896914571071801</c:v>
                </c:pt>
                <c:pt idx="47042">
                  <c:v>0.83898698056001397</c:v>
                </c:pt>
                <c:pt idx="47043">
                  <c:v>0.83900481540930905</c:v>
                </c:pt>
                <c:pt idx="47044">
                  <c:v>0.83902265025860501</c:v>
                </c:pt>
                <c:pt idx="47045">
                  <c:v>0.83904048510789997</c:v>
                </c:pt>
                <c:pt idx="47046">
                  <c:v>0.83905831995719604</c:v>
                </c:pt>
                <c:pt idx="47047">
                  <c:v>0.839076154806491</c:v>
                </c:pt>
                <c:pt idx="47048">
                  <c:v>0.83909398965578696</c:v>
                </c:pt>
                <c:pt idx="47049">
                  <c:v>0.83911182450508204</c:v>
                </c:pt>
                <c:pt idx="47050">
                  <c:v>0.839129659354378</c:v>
                </c:pt>
                <c:pt idx="47051">
                  <c:v>0.83914749420367396</c:v>
                </c:pt>
                <c:pt idx="47052">
                  <c:v>0.83916532905296903</c:v>
                </c:pt>
                <c:pt idx="47053">
                  <c:v>0.83918316390226499</c:v>
                </c:pt>
                <c:pt idx="47054">
                  <c:v>0.83920099875155996</c:v>
                </c:pt>
                <c:pt idx="47055">
                  <c:v>0.83921883360085603</c:v>
                </c:pt>
                <c:pt idx="47056">
                  <c:v>0.83923666845015099</c:v>
                </c:pt>
                <c:pt idx="47057">
                  <c:v>0.83925450329944695</c:v>
                </c:pt>
                <c:pt idx="47058">
                  <c:v>0.83927233814874203</c:v>
                </c:pt>
                <c:pt idx="47059">
                  <c:v>0.83929017299803799</c:v>
                </c:pt>
                <c:pt idx="47060">
                  <c:v>0.83930800784733295</c:v>
                </c:pt>
                <c:pt idx="47061">
                  <c:v>0.83932584269662902</c:v>
                </c:pt>
                <c:pt idx="47062">
                  <c:v>0.83934367754592398</c:v>
                </c:pt>
                <c:pt idx="47063">
                  <c:v>0.83936151239522006</c:v>
                </c:pt>
                <c:pt idx="47064">
                  <c:v>0.83937934724451502</c:v>
                </c:pt>
                <c:pt idx="47065">
                  <c:v>0.83939718209381098</c:v>
                </c:pt>
                <c:pt idx="47066">
                  <c:v>0.83941501694310605</c:v>
                </c:pt>
                <c:pt idx="47067">
                  <c:v>0.83943285179240201</c:v>
                </c:pt>
                <c:pt idx="47068">
                  <c:v>0.83945068664169697</c:v>
                </c:pt>
                <c:pt idx="47069">
                  <c:v>0.83946852149099305</c:v>
                </c:pt>
                <c:pt idx="47070">
                  <c:v>0.83948635634028801</c:v>
                </c:pt>
                <c:pt idx="47071">
                  <c:v>0.83950419118958397</c:v>
                </c:pt>
                <c:pt idx="47072">
                  <c:v>0.83952202603887904</c:v>
                </c:pt>
                <c:pt idx="47073">
                  <c:v>0.839539860888175</c:v>
                </c:pt>
                <c:pt idx="47074">
                  <c:v>0.83955769573747097</c:v>
                </c:pt>
                <c:pt idx="47075">
                  <c:v>0.83957553058676604</c:v>
                </c:pt>
                <c:pt idx="47076">
                  <c:v>0.839593365436062</c:v>
                </c:pt>
                <c:pt idx="47077">
                  <c:v>0.83961120028535696</c:v>
                </c:pt>
                <c:pt idx="47078">
                  <c:v>0.83962903513465303</c:v>
                </c:pt>
                <c:pt idx="47079">
                  <c:v>0.839646869983948</c:v>
                </c:pt>
                <c:pt idx="47080">
                  <c:v>0.83966470483324396</c:v>
                </c:pt>
                <c:pt idx="47081">
                  <c:v>0.83968253968253903</c:v>
                </c:pt>
                <c:pt idx="47082">
                  <c:v>0.83970037453183499</c:v>
                </c:pt>
                <c:pt idx="47083">
                  <c:v>0.83971820938112995</c:v>
                </c:pt>
                <c:pt idx="47084">
                  <c:v>0.83973604423042603</c:v>
                </c:pt>
                <c:pt idx="47085">
                  <c:v>0.83975387907972099</c:v>
                </c:pt>
                <c:pt idx="47086">
                  <c:v>0.83977171392901695</c:v>
                </c:pt>
                <c:pt idx="47087">
                  <c:v>0.83978954877831202</c:v>
                </c:pt>
                <c:pt idx="47088">
                  <c:v>0.83980738362760798</c:v>
                </c:pt>
                <c:pt idx="47089">
                  <c:v>0.83982521847690295</c:v>
                </c:pt>
                <c:pt idx="47090">
                  <c:v>0.83984305332619902</c:v>
                </c:pt>
                <c:pt idx="47091">
                  <c:v>0.83986088817549398</c:v>
                </c:pt>
                <c:pt idx="47092">
                  <c:v>0.83987872302479005</c:v>
                </c:pt>
                <c:pt idx="47093">
                  <c:v>0.83989655787408601</c:v>
                </c:pt>
                <c:pt idx="47094">
                  <c:v>0.83991439272338098</c:v>
                </c:pt>
                <c:pt idx="47095">
                  <c:v>0.83993222757267705</c:v>
                </c:pt>
                <c:pt idx="47096">
                  <c:v>0.83995006242197201</c:v>
                </c:pt>
                <c:pt idx="47097">
                  <c:v>0.83996789727126797</c:v>
                </c:pt>
                <c:pt idx="47098">
                  <c:v>0.83998573212056304</c:v>
                </c:pt>
                <c:pt idx="47099">
                  <c:v>0.84000356696985901</c:v>
                </c:pt>
                <c:pt idx="47100">
                  <c:v>0.84002140181915397</c:v>
                </c:pt>
                <c:pt idx="47101">
                  <c:v>0.84003923666845004</c:v>
                </c:pt>
                <c:pt idx="47102">
                  <c:v>0.840057071517745</c:v>
                </c:pt>
                <c:pt idx="47103">
                  <c:v>0.84007490636704096</c:v>
                </c:pt>
                <c:pt idx="47104">
                  <c:v>0.84009274121633604</c:v>
                </c:pt>
                <c:pt idx="47105">
                  <c:v>0.840110576065632</c:v>
                </c:pt>
                <c:pt idx="47106">
                  <c:v>0.84012841091492696</c:v>
                </c:pt>
                <c:pt idx="47107">
                  <c:v>0.84014624576422303</c:v>
                </c:pt>
                <c:pt idx="47108">
                  <c:v>0.84016408061351799</c:v>
                </c:pt>
                <c:pt idx="47109">
                  <c:v>0.84018191546281396</c:v>
                </c:pt>
                <c:pt idx="47110">
                  <c:v>0.84019975031210903</c:v>
                </c:pt>
                <c:pt idx="47111">
                  <c:v>0.84021758516140499</c:v>
                </c:pt>
                <c:pt idx="47112">
                  <c:v>0.84023542001070095</c:v>
                </c:pt>
                <c:pt idx="47113">
                  <c:v>0.84025325485999602</c:v>
                </c:pt>
                <c:pt idx="47114">
                  <c:v>0.84027108970929199</c:v>
                </c:pt>
                <c:pt idx="47115">
                  <c:v>0.84028892455858695</c:v>
                </c:pt>
                <c:pt idx="47116">
                  <c:v>0.84030675940788302</c:v>
                </c:pt>
                <c:pt idx="47117">
                  <c:v>0.84032459425717798</c:v>
                </c:pt>
                <c:pt idx="47118">
                  <c:v>0.84034242910647405</c:v>
                </c:pt>
                <c:pt idx="47119">
                  <c:v>0.84036026395576902</c:v>
                </c:pt>
                <c:pt idx="47120">
                  <c:v>0.84037809880506498</c:v>
                </c:pt>
                <c:pt idx="47121">
                  <c:v>0.84039593365436005</c:v>
                </c:pt>
                <c:pt idx="47122">
                  <c:v>0.84041376850365601</c:v>
                </c:pt>
                <c:pt idx="47123">
                  <c:v>0.84043160335295097</c:v>
                </c:pt>
                <c:pt idx="47124">
                  <c:v>0.84044943820224705</c:v>
                </c:pt>
                <c:pt idx="47125">
                  <c:v>0.84046727305154201</c:v>
                </c:pt>
                <c:pt idx="47126">
                  <c:v>0.84048510790083797</c:v>
                </c:pt>
                <c:pt idx="47127">
                  <c:v>0.84050294275013304</c:v>
                </c:pt>
                <c:pt idx="47128">
                  <c:v>0.840520777599429</c:v>
                </c:pt>
                <c:pt idx="47129">
                  <c:v>0.84053861244872397</c:v>
                </c:pt>
                <c:pt idx="47130">
                  <c:v>0.84055644729802004</c:v>
                </c:pt>
                <c:pt idx="47131">
                  <c:v>0.840574282147315</c:v>
                </c:pt>
                <c:pt idx="47132">
                  <c:v>0.84059211699661096</c:v>
                </c:pt>
                <c:pt idx="47133">
                  <c:v>0.84060995184590603</c:v>
                </c:pt>
                <c:pt idx="47134">
                  <c:v>0.840627786695202</c:v>
                </c:pt>
                <c:pt idx="47135">
                  <c:v>0.84064562154449796</c:v>
                </c:pt>
                <c:pt idx="47136">
                  <c:v>0.84066345639379303</c:v>
                </c:pt>
                <c:pt idx="47137">
                  <c:v>0.84068129124308899</c:v>
                </c:pt>
                <c:pt idx="47138">
                  <c:v>0.84069912609238395</c:v>
                </c:pt>
                <c:pt idx="47139">
                  <c:v>0.84071696094168002</c:v>
                </c:pt>
                <c:pt idx="47140">
                  <c:v>0.84073479579097499</c:v>
                </c:pt>
                <c:pt idx="47141">
                  <c:v>0.84075263064027095</c:v>
                </c:pt>
                <c:pt idx="47142">
                  <c:v>0.84077046548956602</c:v>
                </c:pt>
                <c:pt idx="47143">
                  <c:v>0.84078830033886198</c:v>
                </c:pt>
                <c:pt idx="47144">
                  <c:v>0.84080613518815694</c:v>
                </c:pt>
                <c:pt idx="47145">
                  <c:v>0.84082397003745302</c:v>
                </c:pt>
                <c:pt idx="47146">
                  <c:v>0.84084180488674798</c:v>
                </c:pt>
                <c:pt idx="47147">
                  <c:v>0.84085963973604405</c:v>
                </c:pt>
                <c:pt idx="47148">
                  <c:v>0.84087747458533901</c:v>
                </c:pt>
                <c:pt idx="47149">
                  <c:v>0.84089530943463497</c:v>
                </c:pt>
                <c:pt idx="47150">
                  <c:v>0.84091314428393005</c:v>
                </c:pt>
                <c:pt idx="47151">
                  <c:v>0.84093097913322601</c:v>
                </c:pt>
                <c:pt idx="47152">
                  <c:v>0.84094881398252097</c:v>
                </c:pt>
                <c:pt idx="47153">
                  <c:v>0.84096664883181704</c:v>
                </c:pt>
                <c:pt idx="47154">
                  <c:v>0.84098448368111201</c:v>
                </c:pt>
                <c:pt idx="47155">
                  <c:v>0.84100231853040797</c:v>
                </c:pt>
                <c:pt idx="47156">
                  <c:v>0.84102015337970304</c:v>
                </c:pt>
                <c:pt idx="47157">
                  <c:v>0.841037988228999</c:v>
                </c:pt>
                <c:pt idx="47158">
                  <c:v>0.84105582307829496</c:v>
                </c:pt>
                <c:pt idx="47159">
                  <c:v>0.84107365792759003</c:v>
                </c:pt>
                <c:pt idx="47160">
                  <c:v>0.841091492776886</c:v>
                </c:pt>
                <c:pt idx="47161">
                  <c:v>0.84110932762618096</c:v>
                </c:pt>
                <c:pt idx="47162">
                  <c:v>0.84112716247547703</c:v>
                </c:pt>
                <c:pt idx="47163">
                  <c:v>0.84114499732477199</c:v>
                </c:pt>
                <c:pt idx="47164">
                  <c:v>0.84116283217406795</c:v>
                </c:pt>
                <c:pt idx="47165">
                  <c:v>0.84118066702336303</c:v>
                </c:pt>
                <c:pt idx="47166">
                  <c:v>0.84119850187265899</c:v>
                </c:pt>
                <c:pt idx="47167">
                  <c:v>0.84121633672195395</c:v>
                </c:pt>
                <c:pt idx="47168">
                  <c:v>0.84123417157125002</c:v>
                </c:pt>
                <c:pt idx="47169">
                  <c:v>0.84125200642054498</c:v>
                </c:pt>
                <c:pt idx="47170">
                  <c:v>0.84126984126984095</c:v>
                </c:pt>
                <c:pt idx="47171">
                  <c:v>0.84128767611913602</c:v>
                </c:pt>
                <c:pt idx="47172">
                  <c:v>0.84130551096843198</c:v>
                </c:pt>
                <c:pt idx="47173">
                  <c:v>0.84132334581772705</c:v>
                </c:pt>
                <c:pt idx="47174">
                  <c:v>0.84134118066702301</c:v>
                </c:pt>
                <c:pt idx="47175">
                  <c:v>0.84135901551631798</c:v>
                </c:pt>
                <c:pt idx="47176">
                  <c:v>0.84137685036561405</c:v>
                </c:pt>
                <c:pt idx="47177">
                  <c:v>0.84139468521490901</c:v>
                </c:pt>
                <c:pt idx="47178">
                  <c:v>0.84141252006420497</c:v>
                </c:pt>
                <c:pt idx="47179">
                  <c:v>0.84143035491350004</c:v>
                </c:pt>
                <c:pt idx="47180">
                  <c:v>0.84144818976279601</c:v>
                </c:pt>
                <c:pt idx="47181">
                  <c:v>0.84146602461209197</c:v>
                </c:pt>
                <c:pt idx="47182">
                  <c:v>0.84148385946138704</c:v>
                </c:pt>
                <c:pt idx="47183">
                  <c:v>0.841501694310683</c:v>
                </c:pt>
                <c:pt idx="47184">
                  <c:v>0.84151952915997796</c:v>
                </c:pt>
                <c:pt idx="47185">
                  <c:v>0.84153736400927404</c:v>
                </c:pt>
                <c:pt idx="47186">
                  <c:v>0.841555198858569</c:v>
                </c:pt>
                <c:pt idx="47187">
                  <c:v>0.84157303370786496</c:v>
                </c:pt>
                <c:pt idx="47188">
                  <c:v>0.84159086855716003</c:v>
                </c:pt>
                <c:pt idx="47189">
                  <c:v>0.84160870340645599</c:v>
                </c:pt>
                <c:pt idx="47190">
                  <c:v>0.84162653825575096</c:v>
                </c:pt>
                <c:pt idx="47191">
                  <c:v>0.84164437310504703</c:v>
                </c:pt>
                <c:pt idx="47192">
                  <c:v>0.84166220795434199</c:v>
                </c:pt>
                <c:pt idx="47193">
                  <c:v>0.84168004280363795</c:v>
                </c:pt>
                <c:pt idx="47194">
                  <c:v>0.84169787765293302</c:v>
                </c:pt>
                <c:pt idx="47195">
                  <c:v>0.84171571250222899</c:v>
                </c:pt>
                <c:pt idx="47196">
                  <c:v>0.84173354735152395</c:v>
                </c:pt>
                <c:pt idx="47197">
                  <c:v>0.84175138220082002</c:v>
                </c:pt>
                <c:pt idx="47198">
                  <c:v>0.84176921705011598</c:v>
                </c:pt>
                <c:pt idx="47199">
                  <c:v>0.84178705189941105</c:v>
                </c:pt>
                <c:pt idx="47200">
                  <c:v>0.84180488674870702</c:v>
                </c:pt>
                <c:pt idx="47201">
                  <c:v>0.84182272159800198</c:v>
                </c:pt>
                <c:pt idx="47202">
                  <c:v>0.84184055644729805</c:v>
                </c:pt>
                <c:pt idx="47203">
                  <c:v>0.84185839129659301</c:v>
                </c:pt>
                <c:pt idx="47204">
                  <c:v>0.84187622614588897</c:v>
                </c:pt>
                <c:pt idx="47205">
                  <c:v>0.84189406099518405</c:v>
                </c:pt>
                <c:pt idx="47206">
                  <c:v>0.84191189584448001</c:v>
                </c:pt>
                <c:pt idx="47207">
                  <c:v>0.84192973069377497</c:v>
                </c:pt>
                <c:pt idx="47208">
                  <c:v>0.84194756554307104</c:v>
                </c:pt>
                <c:pt idx="47209">
                  <c:v>0.841965400392366</c:v>
                </c:pt>
                <c:pt idx="47210">
                  <c:v>0.84198323524166196</c:v>
                </c:pt>
                <c:pt idx="47211">
                  <c:v>0.84200107009095704</c:v>
                </c:pt>
                <c:pt idx="47212">
                  <c:v>0.842018904940253</c:v>
                </c:pt>
                <c:pt idx="47213">
                  <c:v>0.84203673978954796</c:v>
                </c:pt>
                <c:pt idx="47214">
                  <c:v>0.84205457463884403</c:v>
                </c:pt>
                <c:pt idx="47215">
                  <c:v>0.842072409488139</c:v>
                </c:pt>
                <c:pt idx="47216">
                  <c:v>0.84209024433743496</c:v>
                </c:pt>
                <c:pt idx="47217">
                  <c:v>0.84210807918673003</c:v>
                </c:pt>
                <c:pt idx="47218">
                  <c:v>0.84212591403602599</c:v>
                </c:pt>
                <c:pt idx="47219">
                  <c:v>0.84214374888532195</c:v>
                </c:pt>
                <c:pt idx="47220">
                  <c:v>0.84216158373461703</c:v>
                </c:pt>
                <c:pt idx="47221">
                  <c:v>0.84217941858391299</c:v>
                </c:pt>
                <c:pt idx="47222">
                  <c:v>0.84219725343320795</c:v>
                </c:pt>
                <c:pt idx="47223">
                  <c:v>0.84221508828250402</c:v>
                </c:pt>
                <c:pt idx="47224">
                  <c:v>0.84223292313179898</c:v>
                </c:pt>
                <c:pt idx="47225">
                  <c:v>0.84225075798109506</c:v>
                </c:pt>
                <c:pt idx="47226">
                  <c:v>0.84226859283039002</c:v>
                </c:pt>
                <c:pt idx="47227">
                  <c:v>0.84228642767968598</c:v>
                </c:pt>
                <c:pt idx="47228">
                  <c:v>0.84230426252898105</c:v>
                </c:pt>
                <c:pt idx="47229">
                  <c:v>0.84232209737827701</c:v>
                </c:pt>
                <c:pt idx="47230">
                  <c:v>0.84233993222757197</c:v>
                </c:pt>
                <c:pt idx="47231">
                  <c:v>0.84235776707686805</c:v>
                </c:pt>
                <c:pt idx="47232">
                  <c:v>0.84237560192616301</c:v>
                </c:pt>
                <c:pt idx="47233">
                  <c:v>0.84239343677545897</c:v>
                </c:pt>
                <c:pt idx="47234">
                  <c:v>0.84241127162475404</c:v>
                </c:pt>
                <c:pt idx="47235">
                  <c:v>0.84242910647405</c:v>
                </c:pt>
                <c:pt idx="47236">
                  <c:v>0.84244694132334497</c:v>
                </c:pt>
                <c:pt idx="47237">
                  <c:v>0.84246477617264104</c:v>
                </c:pt>
                <c:pt idx="47238">
                  <c:v>0.842482611021936</c:v>
                </c:pt>
                <c:pt idx="47239">
                  <c:v>0.84250044587123196</c:v>
                </c:pt>
                <c:pt idx="47240">
                  <c:v>0.84251828072052704</c:v>
                </c:pt>
                <c:pt idx="47241">
                  <c:v>0.842536115569823</c:v>
                </c:pt>
                <c:pt idx="47242">
                  <c:v>0.84255395041911896</c:v>
                </c:pt>
                <c:pt idx="47243">
                  <c:v>0.84257178526841403</c:v>
                </c:pt>
                <c:pt idx="47244">
                  <c:v>0.84258962011770999</c:v>
                </c:pt>
                <c:pt idx="47245">
                  <c:v>0.84260745496700495</c:v>
                </c:pt>
                <c:pt idx="47246">
                  <c:v>0.84262528981630103</c:v>
                </c:pt>
                <c:pt idx="47247">
                  <c:v>0.84264312466559599</c:v>
                </c:pt>
                <c:pt idx="47248">
                  <c:v>0.84266095951489195</c:v>
                </c:pt>
                <c:pt idx="47249">
                  <c:v>0.84267879436418702</c:v>
                </c:pt>
                <c:pt idx="47250">
                  <c:v>0.84269662921348298</c:v>
                </c:pt>
                <c:pt idx="47251">
                  <c:v>0.84271446406277795</c:v>
                </c:pt>
                <c:pt idx="47252">
                  <c:v>0.84273229891207402</c:v>
                </c:pt>
                <c:pt idx="47253">
                  <c:v>0.84275013376136898</c:v>
                </c:pt>
                <c:pt idx="47254">
                  <c:v>0.84276796861066505</c:v>
                </c:pt>
                <c:pt idx="47255">
                  <c:v>0.84278580345996001</c:v>
                </c:pt>
                <c:pt idx="47256">
                  <c:v>0.84280363830925598</c:v>
                </c:pt>
                <c:pt idx="47257">
                  <c:v>0.84282147315855105</c:v>
                </c:pt>
                <c:pt idx="47258">
                  <c:v>0.84283930800784701</c:v>
                </c:pt>
                <c:pt idx="47259">
                  <c:v>0.84285714285714197</c:v>
                </c:pt>
                <c:pt idx="47260">
                  <c:v>0.84287497770643804</c:v>
                </c:pt>
                <c:pt idx="47261">
                  <c:v>0.84289281255573301</c:v>
                </c:pt>
                <c:pt idx="47262">
                  <c:v>0.84291064740502897</c:v>
                </c:pt>
                <c:pt idx="47263">
                  <c:v>0.84292848225432404</c:v>
                </c:pt>
                <c:pt idx="47264">
                  <c:v>0.84294631710362</c:v>
                </c:pt>
                <c:pt idx="47265">
                  <c:v>0.84296415195291596</c:v>
                </c:pt>
                <c:pt idx="47266">
                  <c:v>0.84298198680221104</c:v>
                </c:pt>
                <c:pt idx="47267">
                  <c:v>0.842999821651507</c:v>
                </c:pt>
                <c:pt idx="47268">
                  <c:v>0.84301765650080196</c:v>
                </c:pt>
                <c:pt idx="47269">
                  <c:v>0.84303549135009803</c:v>
                </c:pt>
                <c:pt idx="47270">
                  <c:v>0.84305332619939299</c:v>
                </c:pt>
                <c:pt idx="47271">
                  <c:v>0.84307116104868896</c:v>
                </c:pt>
                <c:pt idx="47272">
                  <c:v>0.84308899589798403</c:v>
                </c:pt>
                <c:pt idx="47273">
                  <c:v>0.84310683074727999</c:v>
                </c:pt>
                <c:pt idx="47274">
                  <c:v>0.84312466559657495</c:v>
                </c:pt>
                <c:pt idx="47275">
                  <c:v>0.84314250044587102</c:v>
                </c:pt>
                <c:pt idx="47276">
                  <c:v>0.84316033529516599</c:v>
                </c:pt>
                <c:pt idx="47277">
                  <c:v>0.84317817014446195</c:v>
                </c:pt>
                <c:pt idx="47278">
                  <c:v>0.84319600499375702</c:v>
                </c:pt>
                <c:pt idx="47279">
                  <c:v>0.84321383984305298</c:v>
                </c:pt>
                <c:pt idx="47280">
                  <c:v>0.84323167469234805</c:v>
                </c:pt>
                <c:pt idx="47281">
                  <c:v>0.84324950954164402</c:v>
                </c:pt>
                <c:pt idx="47282">
                  <c:v>0.84326734439093898</c:v>
                </c:pt>
                <c:pt idx="47283">
                  <c:v>0.84328517924023505</c:v>
                </c:pt>
                <c:pt idx="47284">
                  <c:v>0.84330301408953001</c:v>
                </c:pt>
                <c:pt idx="47285">
                  <c:v>0.84332084893882597</c:v>
                </c:pt>
                <c:pt idx="47286">
                  <c:v>0.84333868378812205</c:v>
                </c:pt>
                <c:pt idx="47287">
                  <c:v>0.84335651863741701</c:v>
                </c:pt>
                <c:pt idx="47288">
                  <c:v>0.84337435348671297</c:v>
                </c:pt>
                <c:pt idx="47289">
                  <c:v>0.84339218833600804</c:v>
                </c:pt>
                <c:pt idx="47290">
                  <c:v>0.843410023185304</c:v>
                </c:pt>
                <c:pt idx="47291">
                  <c:v>0.84342785803459897</c:v>
                </c:pt>
                <c:pt idx="47292">
                  <c:v>0.84344569288389504</c:v>
                </c:pt>
                <c:pt idx="47293">
                  <c:v>0.84346352773319</c:v>
                </c:pt>
                <c:pt idx="47294">
                  <c:v>0.84348136258248596</c:v>
                </c:pt>
                <c:pt idx="47295">
                  <c:v>0.84349919743178103</c:v>
                </c:pt>
                <c:pt idx="47296">
                  <c:v>0.84351703228107699</c:v>
                </c:pt>
                <c:pt idx="47297">
                  <c:v>0.84353486713037196</c:v>
                </c:pt>
                <c:pt idx="47298">
                  <c:v>0.84355270197966803</c:v>
                </c:pt>
                <c:pt idx="47299">
                  <c:v>0.84357053682896299</c:v>
                </c:pt>
                <c:pt idx="47300">
                  <c:v>0.84358837167825895</c:v>
                </c:pt>
                <c:pt idx="47301">
                  <c:v>0.84360620652755403</c:v>
                </c:pt>
                <c:pt idx="47302">
                  <c:v>0.84362404137684999</c:v>
                </c:pt>
                <c:pt idx="47303">
                  <c:v>0.84364187622614495</c:v>
                </c:pt>
                <c:pt idx="47304">
                  <c:v>0.84365971107544102</c:v>
                </c:pt>
                <c:pt idx="47305">
                  <c:v>0.84367754592473698</c:v>
                </c:pt>
                <c:pt idx="47306">
                  <c:v>0.84369538077403206</c:v>
                </c:pt>
                <c:pt idx="47307">
                  <c:v>0.84371321562332802</c:v>
                </c:pt>
                <c:pt idx="47308">
                  <c:v>0.84373105047262298</c:v>
                </c:pt>
                <c:pt idx="47309">
                  <c:v>0.84374888532191905</c:v>
                </c:pt>
                <c:pt idx="47310">
                  <c:v>0.84376672017121401</c:v>
                </c:pt>
                <c:pt idx="47311">
                  <c:v>0.84378455502050997</c:v>
                </c:pt>
                <c:pt idx="47312">
                  <c:v>0.84380238986980505</c:v>
                </c:pt>
                <c:pt idx="47313">
                  <c:v>0.84382022471910101</c:v>
                </c:pt>
                <c:pt idx="47314">
                  <c:v>0.84383805956839597</c:v>
                </c:pt>
                <c:pt idx="47315">
                  <c:v>0.84385589441769204</c:v>
                </c:pt>
                <c:pt idx="47316">
                  <c:v>0.843873729266987</c:v>
                </c:pt>
                <c:pt idx="47317">
                  <c:v>0.84389156411628297</c:v>
                </c:pt>
                <c:pt idx="47318">
                  <c:v>0.84390939896557804</c:v>
                </c:pt>
                <c:pt idx="47319">
                  <c:v>0.843927233814874</c:v>
                </c:pt>
                <c:pt idx="47320">
                  <c:v>0.84394506866416896</c:v>
                </c:pt>
                <c:pt idx="47321">
                  <c:v>0.84396290351346503</c:v>
                </c:pt>
                <c:pt idx="47322">
                  <c:v>0.84398073836276</c:v>
                </c:pt>
                <c:pt idx="47323">
                  <c:v>0.84399857321205596</c:v>
                </c:pt>
                <c:pt idx="47324">
                  <c:v>0.84401640806135103</c:v>
                </c:pt>
                <c:pt idx="47325">
                  <c:v>0.84403424291064699</c:v>
                </c:pt>
                <c:pt idx="47326">
                  <c:v>0.84405207775994295</c:v>
                </c:pt>
                <c:pt idx="47327">
                  <c:v>0.84406991260923803</c:v>
                </c:pt>
                <c:pt idx="47328">
                  <c:v>0.84408774745853399</c:v>
                </c:pt>
                <c:pt idx="47329">
                  <c:v>0.84410558230782895</c:v>
                </c:pt>
                <c:pt idx="47330">
                  <c:v>0.84412341715712502</c:v>
                </c:pt>
                <c:pt idx="47331">
                  <c:v>0.84414125200641998</c:v>
                </c:pt>
                <c:pt idx="47332">
                  <c:v>0.84415908685571595</c:v>
                </c:pt>
                <c:pt idx="47333">
                  <c:v>0.84417692170501102</c:v>
                </c:pt>
                <c:pt idx="47334">
                  <c:v>0.84419475655430698</c:v>
                </c:pt>
                <c:pt idx="47335">
                  <c:v>0.84421259140360205</c:v>
                </c:pt>
                <c:pt idx="47336">
                  <c:v>0.84423042625289801</c:v>
                </c:pt>
                <c:pt idx="47337">
                  <c:v>0.84424826110219298</c:v>
                </c:pt>
                <c:pt idx="47338">
                  <c:v>0.84426609595148905</c:v>
                </c:pt>
                <c:pt idx="47339">
                  <c:v>0.84428393080078401</c:v>
                </c:pt>
                <c:pt idx="47340">
                  <c:v>0.84430176565007997</c:v>
                </c:pt>
                <c:pt idx="47341">
                  <c:v>0.84431960049937504</c:v>
                </c:pt>
                <c:pt idx="47342">
                  <c:v>0.84433743534867101</c:v>
                </c:pt>
                <c:pt idx="47343">
                  <c:v>0.84435527019796597</c:v>
                </c:pt>
                <c:pt idx="47344">
                  <c:v>0.84437310504726204</c:v>
                </c:pt>
                <c:pt idx="47345">
                  <c:v>0.844390939896557</c:v>
                </c:pt>
                <c:pt idx="47346">
                  <c:v>0.84440877474585296</c:v>
                </c:pt>
                <c:pt idx="47347">
                  <c:v>0.84442660959514804</c:v>
                </c:pt>
                <c:pt idx="47348">
                  <c:v>0.844444444444444</c:v>
                </c:pt>
                <c:pt idx="47349">
                  <c:v>0.84446227929373996</c:v>
                </c:pt>
                <c:pt idx="47350">
                  <c:v>0.84448011414303503</c:v>
                </c:pt>
                <c:pt idx="47351">
                  <c:v>0.84449794899233099</c:v>
                </c:pt>
                <c:pt idx="47352">
                  <c:v>0.84451578384162596</c:v>
                </c:pt>
                <c:pt idx="47353">
                  <c:v>0.84453361869092203</c:v>
                </c:pt>
                <c:pt idx="47354">
                  <c:v>0.84455145354021699</c:v>
                </c:pt>
                <c:pt idx="47355">
                  <c:v>0.84456928838951295</c:v>
                </c:pt>
                <c:pt idx="47356">
                  <c:v>0.84458712323880802</c:v>
                </c:pt>
                <c:pt idx="47357">
                  <c:v>0.84460495808810399</c:v>
                </c:pt>
                <c:pt idx="47358">
                  <c:v>0.84462279293739895</c:v>
                </c:pt>
                <c:pt idx="47359">
                  <c:v>0.84464062778669502</c:v>
                </c:pt>
                <c:pt idx="47360">
                  <c:v>0.84465846263598998</c:v>
                </c:pt>
                <c:pt idx="47361">
                  <c:v>0.84467629748528605</c:v>
                </c:pt>
                <c:pt idx="47362">
                  <c:v>0.84469413233458102</c:v>
                </c:pt>
                <c:pt idx="47363">
                  <c:v>0.84471196718387698</c:v>
                </c:pt>
                <c:pt idx="47364">
                  <c:v>0.84472980203317205</c:v>
                </c:pt>
                <c:pt idx="47365">
                  <c:v>0.84474763688246801</c:v>
                </c:pt>
                <c:pt idx="47366">
                  <c:v>0.84476547173176297</c:v>
                </c:pt>
                <c:pt idx="47367">
                  <c:v>0.84478330658105905</c:v>
                </c:pt>
                <c:pt idx="47368">
                  <c:v>0.84480114143035401</c:v>
                </c:pt>
                <c:pt idx="47369">
                  <c:v>0.84481897627964997</c:v>
                </c:pt>
                <c:pt idx="47370">
                  <c:v>0.84483681112894504</c:v>
                </c:pt>
                <c:pt idx="47371">
                  <c:v>0.844854645978241</c:v>
                </c:pt>
                <c:pt idx="47372">
                  <c:v>0.84487248082753696</c:v>
                </c:pt>
                <c:pt idx="47373">
                  <c:v>0.84489031567683204</c:v>
                </c:pt>
                <c:pt idx="47374">
                  <c:v>0.844908150526128</c:v>
                </c:pt>
                <c:pt idx="47375">
                  <c:v>0.84492598537542296</c:v>
                </c:pt>
                <c:pt idx="47376">
                  <c:v>0.84494382022471903</c:v>
                </c:pt>
                <c:pt idx="47377">
                  <c:v>0.844961655074014</c:v>
                </c:pt>
                <c:pt idx="47378">
                  <c:v>0.84497948992330996</c:v>
                </c:pt>
                <c:pt idx="47379">
                  <c:v>0.84499732477260503</c:v>
                </c:pt>
                <c:pt idx="47380">
                  <c:v>0.84501515962190099</c:v>
                </c:pt>
                <c:pt idx="47381">
                  <c:v>0.84503299447119595</c:v>
                </c:pt>
                <c:pt idx="47382">
                  <c:v>0.84505082932049203</c:v>
                </c:pt>
                <c:pt idx="47383">
                  <c:v>0.84506866416978699</c:v>
                </c:pt>
                <c:pt idx="47384">
                  <c:v>0.84508649901908295</c:v>
                </c:pt>
                <c:pt idx="47385">
                  <c:v>0.84510433386837802</c:v>
                </c:pt>
                <c:pt idx="47386">
                  <c:v>0.84512216871767398</c:v>
                </c:pt>
                <c:pt idx="47387">
                  <c:v>0.84514000356696894</c:v>
                </c:pt>
                <c:pt idx="47388">
                  <c:v>0.84515783841626502</c:v>
                </c:pt>
                <c:pt idx="47389">
                  <c:v>0.84517567326555998</c:v>
                </c:pt>
                <c:pt idx="47390">
                  <c:v>0.84519350811485605</c:v>
                </c:pt>
                <c:pt idx="47391">
                  <c:v>0.84521134296415101</c:v>
                </c:pt>
                <c:pt idx="47392">
                  <c:v>0.84522917781344697</c:v>
                </c:pt>
                <c:pt idx="47393">
                  <c:v>0.84524701266274305</c:v>
                </c:pt>
                <c:pt idx="47394">
                  <c:v>0.84526484751203801</c:v>
                </c:pt>
                <c:pt idx="47395">
                  <c:v>0.84528268236133397</c:v>
                </c:pt>
                <c:pt idx="47396">
                  <c:v>0.84530051721062904</c:v>
                </c:pt>
                <c:pt idx="47397">
                  <c:v>0.845318352059925</c:v>
                </c:pt>
                <c:pt idx="47398">
                  <c:v>0.84533618690921997</c:v>
                </c:pt>
                <c:pt idx="47399">
                  <c:v>0.84535402175851604</c:v>
                </c:pt>
                <c:pt idx="47400">
                  <c:v>0.845371856607811</c:v>
                </c:pt>
                <c:pt idx="47401">
                  <c:v>0.84538969145710696</c:v>
                </c:pt>
                <c:pt idx="47402">
                  <c:v>0.84540752630640204</c:v>
                </c:pt>
                <c:pt idx="47403">
                  <c:v>0.845425361155698</c:v>
                </c:pt>
                <c:pt idx="47404">
                  <c:v>0.84544319600499296</c:v>
                </c:pt>
                <c:pt idx="47405">
                  <c:v>0.84546103085428903</c:v>
                </c:pt>
                <c:pt idx="47406">
                  <c:v>0.84547886570358399</c:v>
                </c:pt>
                <c:pt idx="47407">
                  <c:v>0.84549670055287995</c:v>
                </c:pt>
                <c:pt idx="47408">
                  <c:v>0.84551453540217503</c:v>
                </c:pt>
                <c:pt idx="47409">
                  <c:v>0.84553237025147099</c:v>
                </c:pt>
                <c:pt idx="47410">
                  <c:v>0.84555020510076695</c:v>
                </c:pt>
                <c:pt idx="47411">
                  <c:v>0.84556803995006202</c:v>
                </c:pt>
                <c:pt idx="47412">
                  <c:v>0.84558587479935798</c:v>
                </c:pt>
                <c:pt idx="47413">
                  <c:v>0.84560370964865295</c:v>
                </c:pt>
                <c:pt idx="47414">
                  <c:v>0.84562154449794902</c:v>
                </c:pt>
                <c:pt idx="47415">
                  <c:v>0.84563937934724398</c:v>
                </c:pt>
                <c:pt idx="47416">
                  <c:v>0.84565721419654005</c:v>
                </c:pt>
                <c:pt idx="47417">
                  <c:v>0.84567504904583501</c:v>
                </c:pt>
                <c:pt idx="47418">
                  <c:v>0.84569288389513098</c:v>
                </c:pt>
                <c:pt idx="47419">
                  <c:v>0.84571071874442605</c:v>
                </c:pt>
                <c:pt idx="47420">
                  <c:v>0.84572855359372201</c:v>
                </c:pt>
                <c:pt idx="47421">
                  <c:v>0.84574638844301697</c:v>
                </c:pt>
                <c:pt idx="47422">
                  <c:v>0.84576422329231304</c:v>
                </c:pt>
                <c:pt idx="47423">
                  <c:v>0.84578205814160801</c:v>
                </c:pt>
                <c:pt idx="47424">
                  <c:v>0.84579989299090397</c:v>
                </c:pt>
                <c:pt idx="47425">
                  <c:v>0.84581772784019904</c:v>
                </c:pt>
                <c:pt idx="47426">
                  <c:v>0.845835562689495</c:v>
                </c:pt>
                <c:pt idx="47427">
                  <c:v>0.84585339753878996</c:v>
                </c:pt>
                <c:pt idx="47428">
                  <c:v>0.84587123238808604</c:v>
                </c:pt>
                <c:pt idx="47429">
                  <c:v>0.845889067237381</c:v>
                </c:pt>
                <c:pt idx="47430">
                  <c:v>0.84590690208667696</c:v>
                </c:pt>
                <c:pt idx="47431">
                  <c:v>0.84592473693597203</c:v>
                </c:pt>
                <c:pt idx="47432">
                  <c:v>0.84594257178526799</c:v>
                </c:pt>
                <c:pt idx="47433">
                  <c:v>0.84596040663456396</c:v>
                </c:pt>
                <c:pt idx="47434">
                  <c:v>0.84597824148385903</c:v>
                </c:pt>
                <c:pt idx="47435">
                  <c:v>0.84599607633315499</c:v>
                </c:pt>
                <c:pt idx="47436">
                  <c:v>0.84601391118244995</c:v>
                </c:pt>
                <c:pt idx="47437">
                  <c:v>0.84603174603174602</c:v>
                </c:pt>
                <c:pt idx="47438">
                  <c:v>0.84604958088104099</c:v>
                </c:pt>
                <c:pt idx="47439">
                  <c:v>0.84606741573033695</c:v>
                </c:pt>
                <c:pt idx="47440">
                  <c:v>0.84608525057963202</c:v>
                </c:pt>
                <c:pt idx="47441">
                  <c:v>0.84610308542892798</c:v>
                </c:pt>
                <c:pt idx="47442">
                  <c:v>0.84612092027822305</c:v>
                </c:pt>
                <c:pt idx="47443">
                  <c:v>0.84613875512751902</c:v>
                </c:pt>
                <c:pt idx="47444">
                  <c:v>0.84615658997681398</c:v>
                </c:pt>
                <c:pt idx="47445">
                  <c:v>0.84617442482611005</c:v>
                </c:pt>
                <c:pt idx="47446">
                  <c:v>0.84619225967540501</c:v>
                </c:pt>
                <c:pt idx="47447">
                  <c:v>0.84621009452470097</c:v>
                </c:pt>
                <c:pt idx="47448">
                  <c:v>0.84622792937399605</c:v>
                </c:pt>
                <c:pt idx="47449">
                  <c:v>0.84624576422329201</c:v>
                </c:pt>
                <c:pt idx="47450">
                  <c:v>0.84626359907258697</c:v>
                </c:pt>
                <c:pt idx="47451">
                  <c:v>0.84628143392188304</c:v>
                </c:pt>
                <c:pt idx="47452">
                  <c:v>0.846299268771178</c:v>
                </c:pt>
                <c:pt idx="47453">
                  <c:v>0.84631710362047397</c:v>
                </c:pt>
                <c:pt idx="47454">
                  <c:v>0.84633493846976904</c:v>
                </c:pt>
                <c:pt idx="47455">
                  <c:v>0.846352773319065</c:v>
                </c:pt>
                <c:pt idx="47456">
                  <c:v>0.84637060816836096</c:v>
                </c:pt>
                <c:pt idx="47457">
                  <c:v>0.84638844301765603</c:v>
                </c:pt>
                <c:pt idx="47458">
                  <c:v>0.84640627786695199</c:v>
                </c:pt>
                <c:pt idx="47459">
                  <c:v>0.84642411271624696</c:v>
                </c:pt>
                <c:pt idx="47460">
                  <c:v>0.84644194756554303</c:v>
                </c:pt>
                <c:pt idx="47461">
                  <c:v>0.84645978241483799</c:v>
                </c:pt>
                <c:pt idx="47462">
                  <c:v>0.84647761726413395</c:v>
                </c:pt>
                <c:pt idx="47463">
                  <c:v>0.84649545211342903</c:v>
                </c:pt>
                <c:pt idx="47464">
                  <c:v>0.84651328696272499</c:v>
                </c:pt>
                <c:pt idx="47465">
                  <c:v>0.84653112181201995</c:v>
                </c:pt>
                <c:pt idx="47466">
                  <c:v>0.84654895666131602</c:v>
                </c:pt>
                <c:pt idx="47467">
                  <c:v>0.84656679151061098</c:v>
                </c:pt>
                <c:pt idx="47468">
                  <c:v>0.84658462635990706</c:v>
                </c:pt>
                <c:pt idx="47469">
                  <c:v>0.84660246120920202</c:v>
                </c:pt>
                <c:pt idx="47470">
                  <c:v>0.84662029605849798</c:v>
                </c:pt>
                <c:pt idx="47471">
                  <c:v>0.84663813090779305</c:v>
                </c:pt>
                <c:pt idx="47472">
                  <c:v>0.84665596575708901</c:v>
                </c:pt>
                <c:pt idx="47473">
                  <c:v>0.84667380060638397</c:v>
                </c:pt>
                <c:pt idx="47474">
                  <c:v>0.84669163545568005</c:v>
                </c:pt>
                <c:pt idx="47475">
                  <c:v>0.84670947030497501</c:v>
                </c:pt>
                <c:pt idx="47476">
                  <c:v>0.84672730515427097</c:v>
                </c:pt>
                <c:pt idx="47477">
                  <c:v>0.84674514000356604</c:v>
                </c:pt>
                <c:pt idx="47478">
                  <c:v>0.846762974852862</c:v>
                </c:pt>
                <c:pt idx="47479">
                  <c:v>0.84678080970215797</c:v>
                </c:pt>
                <c:pt idx="47480">
                  <c:v>0.84679864455145304</c:v>
                </c:pt>
                <c:pt idx="47481">
                  <c:v>0.846816479400749</c:v>
                </c:pt>
                <c:pt idx="47482">
                  <c:v>0.84683431425004396</c:v>
                </c:pt>
                <c:pt idx="47483">
                  <c:v>0.84685214909934003</c:v>
                </c:pt>
                <c:pt idx="47484">
                  <c:v>0.846869983948635</c:v>
                </c:pt>
                <c:pt idx="47485">
                  <c:v>0.84688781879793096</c:v>
                </c:pt>
                <c:pt idx="47486">
                  <c:v>0.84690565364722603</c:v>
                </c:pt>
                <c:pt idx="47487">
                  <c:v>0.84692348849652199</c:v>
                </c:pt>
                <c:pt idx="47488">
                  <c:v>0.84694132334581695</c:v>
                </c:pt>
                <c:pt idx="47489">
                  <c:v>0.84695915819511303</c:v>
                </c:pt>
                <c:pt idx="47490">
                  <c:v>0.84697699304440799</c:v>
                </c:pt>
                <c:pt idx="47491">
                  <c:v>0.84699482789370395</c:v>
                </c:pt>
                <c:pt idx="47492">
                  <c:v>0.84701266274299902</c:v>
                </c:pt>
                <c:pt idx="47493">
                  <c:v>0.84703049759229498</c:v>
                </c:pt>
                <c:pt idx="47494">
                  <c:v>0.84704833244158995</c:v>
                </c:pt>
                <c:pt idx="47495">
                  <c:v>0.84706616729088602</c:v>
                </c:pt>
                <c:pt idx="47496">
                  <c:v>0.84708400214018098</c:v>
                </c:pt>
                <c:pt idx="47497">
                  <c:v>0.84710183698947705</c:v>
                </c:pt>
                <c:pt idx="47498">
                  <c:v>0.84711967183877301</c:v>
                </c:pt>
                <c:pt idx="47499">
                  <c:v>0.84713750668806798</c:v>
                </c:pt>
                <c:pt idx="47500">
                  <c:v>0.84715534153736405</c:v>
                </c:pt>
                <c:pt idx="47501">
                  <c:v>0.84717317638665901</c:v>
                </c:pt>
                <c:pt idx="47502">
                  <c:v>0.84719101123595497</c:v>
                </c:pt>
                <c:pt idx="47503">
                  <c:v>0.84720884608525004</c:v>
                </c:pt>
                <c:pt idx="47504">
                  <c:v>0.84722668093454601</c:v>
                </c:pt>
                <c:pt idx="47505">
                  <c:v>0.84724451578384097</c:v>
                </c:pt>
                <c:pt idx="47506">
                  <c:v>0.84726235063313704</c:v>
                </c:pt>
                <c:pt idx="47507">
                  <c:v>0.847280185482432</c:v>
                </c:pt>
                <c:pt idx="47508">
                  <c:v>0.84729802033172796</c:v>
                </c:pt>
                <c:pt idx="47509">
                  <c:v>0.84731585518102304</c:v>
                </c:pt>
                <c:pt idx="47510">
                  <c:v>0.847333690030319</c:v>
                </c:pt>
                <c:pt idx="47511">
                  <c:v>0.84735152487961396</c:v>
                </c:pt>
                <c:pt idx="47512">
                  <c:v>0.84736935972891003</c:v>
                </c:pt>
                <c:pt idx="47513">
                  <c:v>0.84738719457820499</c:v>
                </c:pt>
                <c:pt idx="47514">
                  <c:v>0.84740502942750096</c:v>
                </c:pt>
                <c:pt idx="47515">
                  <c:v>0.84742286427679603</c:v>
                </c:pt>
                <c:pt idx="47516">
                  <c:v>0.84744069912609199</c:v>
                </c:pt>
                <c:pt idx="47517">
                  <c:v>0.84745853397538795</c:v>
                </c:pt>
                <c:pt idx="47518">
                  <c:v>0.84747636882468302</c:v>
                </c:pt>
                <c:pt idx="47519">
                  <c:v>0.84749420367397899</c:v>
                </c:pt>
                <c:pt idx="47520">
                  <c:v>0.84751203852327395</c:v>
                </c:pt>
                <c:pt idx="47521">
                  <c:v>0.84752987337257002</c:v>
                </c:pt>
                <c:pt idx="47522">
                  <c:v>0.84754770822186498</c:v>
                </c:pt>
                <c:pt idx="47523">
                  <c:v>0.84756554307116105</c:v>
                </c:pt>
                <c:pt idx="47524">
                  <c:v>0.84758337792045602</c:v>
                </c:pt>
                <c:pt idx="47525">
                  <c:v>0.84760121276975198</c:v>
                </c:pt>
                <c:pt idx="47526">
                  <c:v>0.84761904761904705</c:v>
                </c:pt>
                <c:pt idx="47527">
                  <c:v>0.84763688246834301</c:v>
                </c:pt>
                <c:pt idx="47528">
                  <c:v>0.84765471731763797</c:v>
                </c:pt>
                <c:pt idx="47529">
                  <c:v>0.84767255216693405</c:v>
                </c:pt>
                <c:pt idx="47530">
                  <c:v>0.84769038701622901</c:v>
                </c:pt>
                <c:pt idx="47531">
                  <c:v>0.84770822186552497</c:v>
                </c:pt>
                <c:pt idx="47532">
                  <c:v>0.84772605671482004</c:v>
                </c:pt>
                <c:pt idx="47533">
                  <c:v>0.847743891564116</c:v>
                </c:pt>
                <c:pt idx="47534">
                  <c:v>0.84776172641341097</c:v>
                </c:pt>
                <c:pt idx="47535">
                  <c:v>0.84777956126270704</c:v>
                </c:pt>
                <c:pt idx="47536">
                  <c:v>0.847797396112002</c:v>
                </c:pt>
                <c:pt idx="47537">
                  <c:v>0.84781523096129796</c:v>
                </c:pt>
                <c:pt idx="47538">
                  <c:v>0.84783306581059303</c:v>
                </c:pt>
                <c:pt idx="47539">
                  <c:v>0.847850900659889</c:v>
                </c:pt>
                <c:pt idx="47540">
                  <c:v>0.84786873550918496</c:v>
                </c:pt>
                <c:pt idx="47541">
                  <c:v>0.84788657035848003</c:v>
                </c:pt>
                <c:pt idx="47542">
                  <c:v>0.84790440520777599</c:v>
                </c:pt>
                <c:pt idx="47543">
                  <c:v>0.84792224005707095</c:v>
                </c:pt>
                <c:pt idx="47544">
                  <c:v>0.84794007490636703</c:v>
                </c:pt>
                <c:pt idx="47545">
                  <c:v>0.84795790975566199</c:v>
                </c:pt>
                <c:pt idx="47546">
                  <c:v>0.84797574460495795</c:v>
                </c:pt>
                <c:pt idx="47547">
                  <c:v>0.84799357945425302</c:v>
                </c:pt>
                <c:pt idx="47548">
                  <c:v>0.84801141430354898</c:v>
                </c:pt>
                <c:pt idx="47549">
                  <c:v>0.84802924915284394</c:v>
                </c:pt>
                <c:pt idx="47550">
                  <c:v>0.84804708400214002</c:v>
                </c:pt>
                <c:pt idx="47551">
                  <c:v>0.84806491885143498</c:v>
                </c:pt>
                <c:pt idx="47552">
                  <c:v>0.84808275370073105</c:v>
                </c:pt>
                <c:pt idx="47553">
                  <c:v>0.84810058855002601</c:v>
                </c:pt>
                <c:pt idx="47554">
                  <c:v>0.84811842339932197</c:v>
                </c:pt>
                <c:pt idx="47555">
                  <c:v>0.84813625824861705</c:v>
                </c:pt>
                <c:pt idx="47556">
                  <c:v>0.84815409309791301</c:v>
                </c:pt>
                <c:pt idx="47557">
                  <c:v>0.84817192794720797</c:v>
                </c:pt>
                <c:pt idx="47558">
                  <c:v>0.84818976279650404</c:v>
                </c:pt>
                <c:pt idx="47559">
                  <c:v>0.84820759764579901</c:v>
                </c:pt>
                <c:pt idx="47560">
                  <c:v>0.84822543249509497</c:v>
                </c:pt>
                <c:pt idx="47561">
                  <c:v>0.84824326734439004</c:v>
                </c:pt>
                <c:pt idx="47562">
                  <c:v>0.848261102193686</c:v>
                </c:pt>
                <c:pt idx="47563">
                  <c:v>0.84827893704298196</c:v>
                </c:pt>
                <c:pt idx="47564">
                  <c:v>0.84829677189227704</c:v>
                </c:pt>
                <c:pt idx="47565">
                  <c:v>0.848314606741573</c:v>
                </c:pt>
                <c:pt idx="47566">
                  <c:v>0.84833244159086796</c:v>
                </c:pt>
                <c:pt idx="47567">
                  <c:v>0.84835027644016403</c:v>
                </c:pt>
                <c:pt idx="47568">
                  <c:v>0.84836811128945899</c:v>
                </c:pt>
                <c:pt idx="47569">
                  <c:v>0.84838594613875495</c:v>
                </c:pt>
                <c:pt idx="47570">
                  <c:v>0.84840378098805003</c:v>
                </c:pt>
                <c:pt idx="47571">
                  <c:v>0.84842161583734599</c:v>
                </c:pt>
                <c:pt idx="47572">
                  <c:v>0.84843945068664095</c:v>
                </c:pt>
                <c:pt idx="47573">
                  <c:v>0.84845728553593702</c:v>
                </c:pt>
                <c:pt idx="47574">
                  <c:v>0.84847512038523198</c:v>
                </c:pt>
                <c:pt idx="47575">
                  <c:v>0.84849295523452795</c:v>
                </c:pt>
                <c:pt idx="47576">
                  <c:v>0.84851079008382302</c:v>
                </c:pt>
                <c:pt idx="47577">
                  <c:v>0.84852862493311898</c:v>
                </c:pt>
                <c:pt idx="47578">
                  <c:v>0.84854645978241405</c:v>
                </c:pt>
                <c:pt idx="47579">
                  <c:v>0.84856429463171001</c:v>
                </c:pt>
                <c:pt idx="47580">
                  <c:v>0.84858212948100498</c:v>
                </c:pt>
                <c:pt idx="47581">
                  <c:v>0.84859996433030105</c:v>
                </c:pt>
                <c:pt idx="47582">
                  <c:v>0.84861779917959601</c:v>
                </c:pt>
                <c:pt idx="47583">
                  <c:v>0.84863563402889197</c:v>
                </c:pt>
                <c:pt idx="47584">
                  <c:v>0.84865346887818705</c:v>
                </c:pt>
                <c:pt idx="47585">
                  <c:v>0.84867130372748301</c:v>
                </c:pt>
                <c:pt idx="47586">
                  <c:v>0.84868913857677897</c:v>
                </c:pt>
                <c:pt idx="47587">
                  <c:v>0.84870697342607404</c:v>
                </c:pt>
                <c:pt idx="47588">
                  <c:v>0.84872480827537</c:v>
                </c:pt>
                <c:pt idx="47589">
                  <c:v>0.84874264312466496</c:v>
                </c:pt>
                <c:pt idx="47590">
                  <c:v>0.84876047797396104</c:v>
                </c:pt>
                <c:pt idx="47591">
                  <c:v>0.848778312823256</c:v>
                </c:pt>
                <c:pt idx="47592">
                  <c:v>0.84879614767255196</c:v>
                </c:pt>
                <c:pt idx="47593">
                  <c:v>0.84881398252184703</c:v>
                </c:pt>
                <c:pt idx="47594">
                  <c:v>0.84883181737114299</c:v>
                </c:pt>
                <c:pt idx="47595">
                  <c:v>0.84884965222043796</c:v>
                </c:pt>
                <c:pt idx="47596">
                  <c:v>0.84886748706973403</c:v>
                </c:pt>
                <c:pt idx="47597">
                  <c:v>0.84888532191902899</c:v>
                </c:pt>
                <c:pt idx="47598">
                  <c:v>0.84890315676832495</c:v>
                </c:pt>
                <c:pt idx="47599">
                  <c:v>0.84892099161762002</c:v>
                </c:pt>
                <c:pt idx="47600">
                  <c:v>0.84893882646691599</c:v>
                </c:pt>
                <c:pt idx="47601">
                  <c:v>0.84895666131621095</c:v>
                </c:pt>
                <c:pt idx="47602">
                  <c:v>0.84897449616550702</c:v>
                </c:pt>
                <c:pt idx="47603">
                  <c:v>0.84899233101480198</c:v>
                </c:pt>
                <c:pt idx="47604">
                  <c:v>0.84901016586409805</c:v>
                </c:pt>
                <c:pt idx="47605">
                  <c:v>0.84902800071339402</c:v>
                </c:pt>
                <c:pt idx="47606">
                  <c:v>0.84904583556268898</c:v>
                </c:pt>
                <c:pt idx="47607">
                  <c:v>0.84906367041198505</c:v>
                </c:pt>
                <c:pt idx="47608">
                  <c:v>0.84908150526128001</c:v>
                </c:pt>
                <c:pt idx="47609">
                  <c:v>0.84909934011057597</c:v>
                </c:pt>
                <c:pt idx="47610">
                  <c:v>0.84911717495987105</c:v>
                </c:pt>
                <c:pt idx="47611">
                  <c:v>0.84913500980916701</c:v>
                </c:pt>
                <c:pt idx="47612">
                  <c:v>0.84915284465846197</c:v>
                </c:pt>
                <c:pt idx="47613">
                  <c:v>0.84917067950775804</c:v>
                </c:pt>
                <c:pt idx="47614">
                  <c:v>0.849188514357053</c:v>
                </c:pt>
                <c:pt idx="47615">
                  <c:v>0.84920634920634896</c:v>
                </c:pt>
                <c:pt idx="47616">
                  <c:v>0.84922418405564404</c:v>
                </c:pt>
                <c:pt idx="47617">
                  <c:v>0.84924201890494</c:v>
                </c:pt>
                <c:pt idx="47618">
                  <c:v>0.84925985375423496</c:v>
                </c:pt>
                <c:pt idx="47619">
                  <c:v>0.84927768860353103</c:v>
                </c:pt>
                <c:pt idx="47620">
                  <c:v>0.849295523452826</c:v>
                </c:pt>
                <c:pt idx="47621">
                  <c:v>0.84931335830212196</c:v>
                </c:pt>
                <c:pt idx="47622">
                  <c:v>0.84933119315141703</c:v>
                </c:pt>
                <c:pt idx="47623">
                  <c:v>0.84934902800071299</c:v>
                </c:pt>
                <c:pt idx="47624">
                  <c:v>0.84936686285000895</c:v>
                </c:pt>
                <c:pt idx="47625">
                  <c:v>0.84938469769930403</c:v>
                </c:pt>
                <c:pt idx="47626">
                  <c:v>0.84940253254859999</c:v>
                </c:pt>
                <c:pt idx="47627">
                  <c:v>0.84942036739789495</c:v>
                </c:pt>
                <c:pt idx="47628">
                  <c:v>0.84943820224719102</c:v>
                </c:pt>
                <c:pt idx="47629">
                  <c:v>0.84945603709648598</c:v>
                </c:pt>
                <c:pt idx="47630">
                  <c:v>0.84947387194578206</c:v>
                </c:pt>
                <c:pt idx="47631">
                  <c:v>0.84949170679507702</c:v>
                </c:pt>
                <c:pt idx="47632">
                  <c:v>0.84950954164437298</c:v>
                </c:pt>
                <c:pt idx="47633">
                  <c:v>0.84952737649366805</c:v>
                </c:pt>
                <c:pt idx="47634">
                  <c:v>0.84954521134296401</c:v>
                </c:pt>
                <c:pt idx="47635">
                  <c:v>0.84956304619225897</c:v>
                </c:pt>
                <c:pt idx="47636">
                  <c:v>0.84958088104155505</c:v>
                </c:pt>
                <c:pt idx="47637">
                  <c:v>0.84959871589085001</c:v>
                </c:pt>
                <c:pt idx="47638">
                  <c:v>0.84961655074014597</c:v>
                </c:pt>
                <c:pt idx="47639">
                  <c:v>0.84963438558944104</c:v>
                </c:pt>
                <c:pt idx="47640">
                  <c:v>0.849652220438737</c:v>
                </c:pt>
                <c:pt idx="47641">
                  <c:v>0.84967005528803197</c:v>
                </c:pt>
                <c:pt idx="47642">
                  <c:v>0.84968789013732804</c:v>
                </c:pt>
                <c:pt idx="47643">
                  <c:v>0.849705724986623</c:v>
                </c:pt>
                <c:pt idx="47644">
                  <c:v>0.84972355983591896</c:v>
                </c:pt>
                <c:pt idx="47645">
                  <c:v>0.84974139468521404</c:v>
                </c:pt>
                <c:pt idx="47646">
                  <c:v>0.84975922953451</c:v>
                </c:pt>
                <c:pt idx="47647">
                  <c:v>0.84977706438380596</c:v>
                </c:pt>
                <c:pt idx="47648">
                  <c:v>0.84979489923310103</c:v>
                </c:pt>
                <c:pt idx="47649">
                  <c:v>0.84981273408239699</c:v>
                </c:pt>
                <c:pt idx="47650">
                  <c:v>0.84983056893169195</c:v>
                </c:pt>
                <c:pt idx="47651">
                  <c:v>0.84984840378098803</c:v>
                </c:pt>
                <c:pt idx="47652">
                  <c:v>0.84986623863028299</c:v>
                </c:pt>
                <c:pt idx="47653">
                  <c:v>0.84988407347957895</c:v>
                </c:pt>
                <c:pt idx="47654">
                  <c:v>0.84990190832887402</c:v>
                </c:pt>
                <c:pt idx="47655">
                  <c:v>0.84991974317816998</c:v>
                </c:pt>
                <c:pt idx="47656">
                  <c:v>0.84993757802746495</c:v>
                </c:pt>
                <c:pt idx="47657">
                  <c:v>0.84995541287676102</c:v>
                </c:pt>
                <c:pt idx="47658">
                  <c:v>0.84997324772605598</c:v>
                </c:pt>
                <c:pt idx="47659">
                  <c:v>0.84999108257535205</c:v>
                </c:pt>
                <c:pt idx="47660">
                  <c:v>0.85000891742464701</c:v>
                </c:pt>
                <c:pt idx="47661">
                  <c:v>0.85002675227394298</c:v>
                </c:pt>
                <c:pt idx="47662">
                  <c:v>0.85004458712323805</c:v>
                </c:pt>
                <c:pt idx="47663">
                  <c:v>0.85006242197253401</c:v>
                </c:pt>
                <c:pt idx="47664">
                  <c:v>0.85008025682182897</c:v>
                </c:pt>
                <c:pt idx="47665">
                  <c:v>0.85009809167112504</c:v>
                </c:pt>
                <c:pt idx="47666">
                  <c:v>0.85011592652042001</c:v>
                </c:pt>
                <c:pt idx="47667">
                  <c:v>0.85013376136971597</c:v>
                </c:pt>
                <c:pt idx="47668">
                  <c:v>0.85015159621901104</c:v>
                </c:pt>
                <c:pt idx="47669">
                  <c:v>0.850169431068307</c:v>
                </c:pt>
                <c:pt idx="47670">
                  <c:v>0.85018726591760296</c:v>
                </c:pt>
                <c:pt idx="47671">
                  <c:v>0.85020510076689804</c:v>
                </c:pt>
                <c:pt idx="47672">
                  <c:v>0.850222935616194</c:v>
                </c:pt>
                <c:pt idx="47673">
                  <c:v>0.85024077046548896</c:v>
                </c:pt>
                <c:pt idx="47674">
                  <c:v>0.85025860531478503</c:v>
                </c:pt>
                <c:pt idx="47675">
                  <c:v>0.85027644016407999</c:v>
                </c:pt>
                <c:pt idx="47676">
                  <c:v>0.85029427501337596</c:v>
                </c:pt>
                <c:pt idx="47677">
                  <c:v>0.85031210986267103</c:v>
                </c:pt>
                <c:pt idx="47678">
                  <c:v>0.85032994471196699</c:v>
                </c:pt>
                <c:pt idx="47679">
                  <c:v>0.85034777956126195</c:v>
                </c:pt>
                <c:pt idx="47680">
                  <c:v>0.85036561441055802</c:v>
                </c:pt>
                <c:pt idx="47681">
                  <c:v>0.85038344925985299</c:v>
                </c:pt>
                <c:pt idx="47682">
                  <c:v>0.85040128410914895</c:v>
                </c:pt>
                <c:pt idx="47683">
                  <c:v>0.85041911895844402</c:v>
                </c:pt>
                <c:pt idx="47684">
                  <c:v>0.85043695380773998</c:v>
                </c:pt>
                <c:pt idx="47685">
                  <c:v>0.85045478865703505</c:v>
                </c:pt>
                <c:pt idx="47686">
                  <c:v>0.85047262350633102</c:v>
                </c:pt>
                <c:pt idx="47687">
                  <c:v>0.85049045835562598</c:v>
                </c:pt>
                <c:pt idx="47688">
                  <c:v>0.85050829320492205</c:v>
                </c:pt>
                <c:pt idx="47689">
                  <c:v>0.85052612805421701</c:v>
                </c:pt>
                <c:pt idx="47690">
                  <c:v>0.85054396290351297</c:v>
                </c:pt>
                <c:pt idx="47691">
                  <c:v>0.85056179775280805</c:v>
                </c:pt>
                <c:pt idx="47692">
                  <c:v>0.85057963260210401</c:v>
                </c:pt>
                <c:pt idx="47693">
                  <c:v>0.85059746745139997</c:v>
                </c:pt>
                <c:pt idx="47694">
                  <c:v>0.85061530230069504</c:v>
                </c:pt>
                <c:pt idx="47695">
                  <c:v>0.850633137149991</c:v>
                </c:pt>
                <c:pt idx="47696">
                  <c:v>0.85065097199928597</c:v>
                </c:pt>
                <c:pt idx="47697">
                  <c:v>0.85066880684858204</c:v>
                </c:pt>
                <c:pt idx="47698">
                  <c:v>0.850686641697877</c:v>
                </c:pt>
                <c:pt idx="47699">
                  <c:v>0.85070447654717296</c:v>
                </c:pt>
                <c:pt idx="47700">
                  <c:v>0.85072231139646803</c:v>
                </c:pt>
                <c:pt idx="47701">
                  <c:v>0.850740146245764</c:v>
                </c:pt>
                <c:pt idx="47702">
                  <c:v>0.85075798109505896</c:v>
                </c:pt>
                <c:pt idx="47703">
                  <c:v>0.85077581594435503</c:v>
                </c:pt>
                <c:pt idx="47704">
                  <c:v>0.85079365079364999</c:v>
                </c:pt>
                <c:pt idx="47705">
                  <c:v>0.85081148564294595</c:v>
                </c:pt>
                <c:pt idx="47706">
                  <c:v>0.85082932049224103</c:v>
                </c:pt>
                <c:pt idx="47707">
                  <c:v>0.85084715534153699</c:v>
                </c:pt>
                <c:pt idx="47708">
                  <c:v>0.85086499019083195</c:v>
                </c:pt>
                <c:pt idx="47709">
                  <c:v>0.85088282504012802</c:v>
                </c:pt>
                <c:pt idx="47710">
                  <c:v>0.85090065988942398</c:v>
                </c:pt>
                <c:pt idx="47711">
                  <c:v>0.85091849473871894</c:v>
                </c:pt>
                <c:pt idx="47712">
                  <c:v>0.85093632958801502</c:v>
                </c:pt>
                <c:pt idx="47713">
                  <c:v>0.85095416443730998</c:v>
                </c:pt>
                <c:pt idx="47714">
                  <c:v>0.85097199928660605</c:v>
                </c:pt>
                <c:pt idx="47715">
                  <c:v>0.85098983413590101</c:v>
                </c:pt>
                <c:pt idx="47716">
                  <c:v>0.85100766898519697</c:v>
                </c:pt>
                <c:pt idx="47717">
                  <c:v>0.85102550383449205</c:v>
                </c:pt>
                <c:pt idx="47718">
                  <c:v>0.85104333868378801</c:v>
                </c:pt>
                <c:pt idx="47719">
                  <c:v>0.85106117353308297</c:v>
                </c:pt>
                <c:pt idx="47720">
                  <c:v>0.85107900838237904</c:v>
                </c:pt>
                <c:pt idx="47721">
                  <c:v>0.85109684323167401</c:v>
                </c:pt>
                <c:pt idx="47722">
                  <c:v>0.85111467808096997</c:v>
                </c:pt>
                <c:pt idx="47723">
                  <c:v>0.85113251293026504</c:v>
                </c:pt>
                <c:pt idx="47724">
                  <c:v>0.851150347779561</c:v>
                </c:pt>
                <c:pt idx="47725">
                  <c:v>0.85116818262885596</c:v>
                </c:pt>
                <c:pt idx="47726">
                  <c:v>0.85118601747815203</c:v>
                </c:pt>
                <c:pt idx="47727">
                  <c:v>0.851203852327447</c:v>
                </c:pt>
                <c:pt idx="47728">
                  <c:v>0.85122168717674296</c:v>
                </c:pt>
                <c:pt idx="47729">
                  <c:v>0.85123952202603803</c:v>
                </c:pt>
                <c:pt idx="47730">
                  <c:v>0.85125735687533399</c:v>
                </c:pt>
                <c:pt idx="47731">
                  <c:v>0.85127519172462995</c:v>
                </c:pt>
                <c:pt idx="47732">
                  <c:v>0.85129302657392503</c:v>
                </c:pt>
                <c:pt idx="47733">
                  <c:v>0.85131086142322099</c:v>
                </c:pt>
                <c:pt idx="47734">
                  <c:v>0.85132869627251595</c:v>
                </c:pt>
                <c:pt idx="47735">
                  <c:v>0.85134653112181202</c:v>
                </c:pt>
                <c:pt idx="47736">
                  <c:v>0.85136436597110698</c:v>
                </c:pt>
                <c:pt idx="47737">
                  <c:v>0.85138220082040295</c:v>
                </c:pt>
                <c:pt idx="47738">
                  <c:v>0.85140003566969802</c:v>
                </c:pt>
                <c:pt idx="47739">
                  <c:v>0.85141787051899398</c:v>
                </c:pt>
                <c:pt idx="47740">
                  <c:v>0.85143570536828905</c:v>
                </c:pt>
                <c:pt idx="47741">
                  <c:v>0.85145354021758501</c:v>
                </c:pt>
                <c:pt idx="47742">
                  <c:v>0.85147137506687998</c:v>
                </c:pt>
                <c:pt idx="47743">
                  <c:v>0.85148920991617605</c:v>
                </c:pt>
                <c:pt idx="47744">
                  <c:v>0.85150704476547101</c:v>
                </c:pt>
                <c:pt idx="47745">
                  <c:v>0.85152487961476697</c:v>
                </c:pt>
                <c:pt idx="47746">
                  <c:v>0.85154271446406204</c:v>
                </c:pt>
                <c:pt idx="47747">
                  <c:v>0.85156054931335801</c:v>
                </c:pt>
                <c:pt idx="47748">
                  <c:v>0.85157838416265297</c:v>
                </c:pt>
                <c:pt idx="47749">
                  <c:v>0.85159621901194904</c:v>
                </c:pt>
                <c:pt idx="47750">
                  <c:v>0.851614053861244</c:v>
                </c:pt>
                <c:pt idx="47751">
                  <c:v>0.85163188871053996</c:v>
                </c:pt>
                <c:pt idx="47752">
                  <c:v>0.85164972355983504</c:v>
                </c:pt>
                <c:pt idx="47753">
                  <c:v>0.851667558409131</c:v>
                </c:pt>
                <c:pt idx="47754">
                  <c:v>0.85168539325842696</c:v>
                </c:pt>
                <c:pt idx="47755">
                  <c:v>0.85170322810772203</c:v>
                </c:pt>
                <c:pt idx="47756">
                  <c:v>0.85172106295701799</c:v>
                </c:pt>
                <c:pt idx="47757">
                  <c:v>0.85173889780631296</c:v>
                </c:pt>
                <c:pt idx="47758">
                  <c:v>0.85175673265560903</c:v>
                </c:pt>
                <c:pt idx="47759">
                  <c:v>0.85177456750490399</c:v>
                </c:pt>
                <c:pt idx="47760">
                  <c:v>0.85179240235419995</c:v>
                </c:pt>
                <c:pt idx="47761">
                  <c:v>0.85181023720349502</c:v>
                </c:pt>
                <c:pt idx="47762">
                  <c:v>0.85182807205279099</c:v>
                </c:pt>
                <c:pt idx="47763">
                  <c:v>0.85184590690208595</c:v>
                </c:pt>
                <c:pt idx="47764">
                  <c:v>0.85186374175138202</c:v>
                </c:pt>
                <c:pt idx="47765">
                  <c:v>0.85188157660067698</c:v>
                </c:pt>
                <c:pt idx="47766">
                  <c:v>0.85189941144997305</c:v>
                </c:pt>
                <c:pt idx="47767">
                  <c:v>0.85191724629926802</c:v>
                </c:pt>
                <c:pt idx="47768">
                  <c:v>0.85193508114856398</c:v>
                </c:pt>
                <c:pt idx="47769">
                  <c:v>0.85195291599785905</c:v>
                </c:pt>
                <c:pt idx="47770">
                  <c:v>0.85197075084715501</c:v>
                </c:pt>
                <c:pt idx="47771">
                  <c:v>0.85198858569644997</c:v>
                </c:pt>
                <c:pt idx="47772">
                  <c:v>0.85200642054574605</c:v>
                </c:pt>
                <c:pt idx="47773">
                  <c:v>0.85202425539504101</c:v>
                </c:pt>
                <c:pt idx="47774">
                  <c:v>0.85204209024433697</c:v>
                </c:pt>
                <c:pt idx="47775">
                  <c:v>0.85205992509363204</c:v>
                </c:pt>
                <c:pt idx="47776">
                  <c:v>0.852077759942928</c:v>
                </c:pt>
                <c:pt idx="47777">
                  <c:v>0.85209559479222396</c:v>
                </c:pt>
                <c:pt idx="47778">
                  <c:v>0.85211342964151904</c:v>
                </c:pt>
                <c:pt idx="47779">
                  <c:v>0.852131264490815</c:v>
                </c:pt>
                <c:pt idx="47780">
                  <c:v>0.85214909934010996</c:v>
                </c:pt>
                <c:pt idx="47781">
                  <c:v>0.85216693418940603</c:v>
                </c:pt>
                <c:pt idx="47782">
                  <c:v>0.852184769038701</c:v>
                </c:pt>
                <c:pt idx="47783">
                  <c:v>0.85220260388799696</c:v>
                </c:pt>
                <c:pt idx="47784">
                  <c:v>0.85222043873729203</c:v>
                </c:pt>
                <c:pt idx="47785">
                  <c:v>0.85223827358658799</c:v>
                </c:pt>
                <c:pt idx="47786">
                  <c:v>0.85225610843588295</c:v>
                </c:pt>
                <c:pt idx="47787">
                  <c:v>0.85227394328517903</c:v>
                </c:pt>
                <c:pt idx="47788">
                  <c:v>0.85229177813447399</c:v>
                </c:pt>
                <c:pt idx="47789">
                  <c:v>0.85230961298376995</c:v>
                </c:pt>
                <c:pt idx="47790">
                  <c:v>0.85232744783306502</c:v>
                </c:pt>
                <c:pt idx="47791">
                  <c:v>0.85234528268236098</c:v>
                </c:pt>
                <c:pt idx="47792">
                  <c:v>0.85236311753165594</c:v>
                </c:pt>
                <c:pt idx="47793">
                  <c:v>0.85238095238095202</c:v>
                </c:pt>
                <c:pt idx="47794">
                  <c:v>0.85239878723024698</c:v>
                </c:pt>
                <c:pt idx="47795">
                  <c:v>0.85241662207954305</c:v>
                </c:pt>
                <c:pt idx="47796">
                  <c:v>0.85243445692883801</c:v>
                </c:pt>
                <c:pt idx="47797">
                  <c:v>0.85245229177813397</c:v>
                </c:pt>
                <c:pt idx="47798">
                  <c:v>0.85247012662743005</c:v>
                </c:pt>
                <c:pt idx="47799">
                  <c:v>0.85248796147672501</c:v>
                </c:pt>
                <c:pt idx="47800">
                  <c:v>0.85250579632602097</c:v>
                </c:pt>
                <c:pt idx="47801">
                  <c:v>0.85252363117531604</c:v>
                </c:pt>
                <c:pt idx="47802">
                  <c:v>0.852541466024612</c:v>
                </c:pt>
                <c:pt idx="47803">
                  <c:v>0.85255930087390697</c:v>
                </c:pt>
                <c:pt idx="47804">
                  <c:v>0.85257713572320304</c:v>
                </c:pt>
                <c:pt idx="47805">
                  <c:v>0.852594970572498</c:v>
                </c:pt>
                <c:pt idx="47806">
                  <c:v>0.85261280542179396</c:v>
                </c:pt>
                <c:pt idx="47807">
                  <c:v>0.85263064027108904</c:v>
                </c:pt>
                <c:pt idx="47808">
                  <c:v>0.852648475120385</c:v>
                </c:pt>
                <c:pt idx="47809">
                  <c:v>0.85266630996967996</c:v>
                </c:pt>
                <c:pt idx="47810">
                  <c:v>0.85268414481897603</c:v>
                </c:pt>
                <c:pt idx="47811">
                  <c:v>0.85270197966827099</c:v>
                </c:pt>
                <c:pt idx="47812">
                  <c:v>0.85271981451756695</c:v>
                </c:pt>
                <c:pt idx="47813">
                  <c:v>0.85273764936686203</c:v>
                </c:pt>
                <c:pt idx="47814">
                  <c:v>0.85275548421615799</c:v>
                </c:pt>
                <c:pt idx="47815">
                  <c:v>0.85277331906545395</c:v>
                </c:pt>
                <c:pt idx="47816">
                  <c:v>0.85279115391474902</c:v>
                </c:pt>
                <c:pt idx="47817">
                  <c:v>0.85280898876404498</c:v>
                </c:pt>
                <c:pt idx="47818">
                  <c:v>0.85282682361333995</c:v>
                </c:pt>
                <c:pt idx="47819">
                  <c:v>0.85284465846263602</c:v>
                </c:pt>
                <c:pt idx="47820">
                  <c:v>0.85286249331193098</c:v>
                </c:pt>
                <c:pt idx="47821">
                  <c:v>0.85288032816122705</c:v>
                </c:pt>
                <c:pt idx="47822">
                  <c:v>0.85289816301052201</c:v>
                </c:pt>
                <c:pt idx="47823">
                  <c:v>0.85291599785981798</c:v>
                </c:pt>
                <c:pt idx="47824">
                  <c:v>0.85293383270911305</c:v>
                </c:pt>
                <c:pt idx="47825">
                  <c:v>0.85295166755840901</c:v>
                </c:pt>
                <c:pt idx="47826">
                  <c:v>0.85296950240770397</c:v>
                </c:pt>
                <c:pt idx="47827">
                  <c:v>0.85298733725700004</c:v>
                </c:pt>
                <c:pt idx="47828">
                  <c:v>0.85300517210629501</c:v>
                </c:pt>
                <c:pt idx="47829">
                  <c:v>0.85302300695559097</c:v>
                </c:pt>
                <c:pt idx="47830">
                  <c:v>0.85304084180488604</c:v>
                </c:pt>
                <c:pt idx="47831">
                  <c:v>0.853058676654182</c:v>
                </c:pt>
                <c:pt idx="47832">
                  <c:v>0.85307651150347696</c:v>
                </c:pt>
                <c:pt idx="47833">
                  <c:v>0.85309434635277304</c:v>
                </c:pt>
                <c:pt idx="47834">
                  <c:v>0.853112181202068</c:v>
                </c:pt>
                <c:pt idx="47835">
                  <c:v>0.85313001605136396</c:v>
                </c:pt>
                <c:pt idx="47836">
                  <c:v>0.85314785090065903</c:v>
                </c:pt>
                <c:pt idx="47837">
                  <c:v>0.85316568574995499</c:v>
                </c:pt>
                <c:pt idx="47838">
                  <c:v>0.85318352059925096</c:v>
                </c:pt>
                <c:pt idx="47839">
                  <c:v>0.85320135544854603</c:v>
                </c:pt>
                <c:pt idx="47840">
                  <c:v>0.85321919029784199</c:v>
                </c:pt>
                <c:pt idx="47841">
                  <c:v>0.85323702514713695</c:v>
                </c:pt>
                <c:pt idx="47842">
                  <c:v>0.85325485999643302</c:v>
                </c:pt>
                <c:pt idx="47843">
                  <c:v>0.85327269484572799</c:v>
                </c:pt>
                <c:pt idx="47844">
                  <c:v>0.85329052969502395</c:v>
                </c:pt>
                <c:pt idx="47845">
                  <c:v>0.85330836454431902</c:v>
                </c:pt>
                <c:pt idx="47846">
                  <c:v>0.85332619939361498</c:v>
                </c:pt>
                <c:pt idx="47847">
                  <c:v>0.85334403424291005</c:v>
                </c:pt>
                <c:pt idx="47848">
                  <c:v>0.85336186909220602</c:v>
                </c:pt>
                <c:pt idx="47849">
                  <c:v>0.85337970394150098</c:v>
                </c:pt>
                <c:pt idx="47850">
                  <c:v>0.85339753879079705</c:v>
                </c:pt>
                <c:pt idx="47851">
                  <c:v>0.85341537364009201</c:v>
                </c:pt>
                <c:pt idx="47852">
                  <c:v>0.85343320848938797</c:v>
                </c:pt>
                <c:pt idx="47853">
                  <c:v>0.85345104333868305</c:v>
                </c:pt>
                <c:pt idx="47854">
                  <c:v>0.85346887818797901</c:v>
                </c:pt>
                <c:pt idx="47855">
                  <c:v>0.85348671303727397</c:v>
                </c:pt>
                <c:pt idx="47856">
                  <c:v>0.85350454788657004</c:v>
                </c:pt>
                <c:pt idx="47857">
                  <c:v>0.853522382735865</c:v>
                </c:pt>
                <c:pt idx="47858">
                  <c:v>0.85354021758516097</c:v>
                </c:pt>
                <c:pt idx="47859">
                  <c:v>0.85355805243445604</c:v>
                </c:pt>
                <c:pt idx="47860">
                  <c:v>0.853575887283752</c:v>
                </c:pt>
                <c:pt idx="47861">
                  <c:v>0.85359372213304796</c:v>
                </c:pt>
                <c:pt idx="47862">
                  <c:v>0.85361155698234303</c:v>
                </c:pt>
                <c:pt idx="47863">
                  <c:v>0.853629391831639</c:v>
                </c:pt>
                <c:pt idx="47864">
                  <c:v>0.85364722668093396</c:v>
                </c:pt>
                <c:pt idx="47865">
                  <c:v>0.85366506153023003</c:v>
                </c:pt>
                <c:pt idx="47866">
                  <c:v>0.85368289637952499</c:v>
                </c:pt>
                <c:pt idx="47867">
                  <c:v>0.85370073122882095</c:v>
                </c:pt>
                <c:pt idx="47868">
                  <c:v>0.85371856607811603</c:v>
                </c:pt>
                <c:pt idx="47869">
                  <c:v>0.85373640092741199</c:v>
                </c:pt>
                <c:pt idx="47870">
                  <c:v>0.85375423577670695</c:v>
                </c:pt>
                <c:pt idx="47871">
                  <c:v>0.85377207062600302</c:v>
                </c:pt>
                <c:pt idx="47872">
                  <c:v>0.85378990547529798</c:v>
                </c:pt>
                <c:pt idx="47873">
                  <c:v>0.85380774032459394</c:v>
                </c:pt>
                <c:pt idx="47874">
                  <c:v>0.85382557517388902</c:v>
                </c:pt>
                <c:pt idx="47875">
                  <c:v>0.85384341002318498</c:v>
                </c:pt>
                <c:pt idx="47876">
                  <c:v>0.85386124487248005</c:v>
                </c:pt>
                <c:pt idx="47877">
                  <c:v>0.85387907972177601</c:v>
                </c:pt>
                <c:pt idx="47878">
                  <c:v>0.85389691457107098</c:v>
                </c:pt>
                <c:pt idx="47879">
                  <c:v>0.85391474942036705</c:v>
                </c:pt>
                <c:pt idx="47880">
                  <c:v>0.85393258426966201</c:v>
                </c:pt>
                <c:pt idx="47881">
                  <c:v>0.85395041911895797</c:v>
                </c:pt>
                <c:pt idx="47882">
                  <c:v>0.85396825396825304</c:v>
                </c:pt>
                <c:pt idx="47883">
                  <c:v>0.85398608881754901</c:v>
                </c:pt>
                <c:pt idx="47884">
                  <c:v>0.85400392366684497</c:v>
                </c:pt>
                <c:pt idx="47885">
                  <c:v>0.85402175851614004</c:v>
                </c:pt>
                <c:pt idx="47886">
                  <c:v>0.854039593365436</c:v>
                </c:pt>
                <c:pt idx="47887">
                  <c:v>0.85405742821473096</c:v>
                </c:pt>
                <c:pt idx="47888">
                  <c:v>0.85407526306402703</c:v>
                </c:pt>
                <c:pt idx="47889">
                  <c:v>0.854093097913322</c:v>
                </c:pt>
                <c:pt idx="47890">
                  <c:v>0.85411093276261796</c:v>
                </c:pt>
                <c:pt idx="47891">
                  <c:v>0.85412876761191303</c:v>
                </c:pt>
                <c:pt idx="47892">
                  <c:v>0.85414660246120899</c:v>
                </c:pt>
                <c:pt idx="47893">
                  <c:v>0.85416443731050395</c:v>
                </c:pt>
                <c:pt idx="47894">
                  <c:v>0.85418227215980003</c:v>
                </c:pt>
                <c:pt idx="47895">
                  <c:v>0.85420010700909499</c:v>
                </c:pt>
                <c:pt idx="47896">
                  <c:v>0.85421794185839095</c:v>
                </c:pt>
                <c:pt idx="47897">
                  <c:v>0.85423577670768602</c:v>
                </c:pt>
                <c:pt idx="47898">
                  <c:v>0.85425361155698198</c:v>
                </c:pt>
                <c:pt idx="47899">
                  <c:v>0.85427144640627695</c:v>
                </c:pt>
                <c:pt idx="47900">
                  <c:v>0.85428928125557302</c:v>
                </c:pt>
                <c:pt idx="47901">
                  <c:v>0.85430711610486798</c:v>
                </c:pt>
                <c:pt idx="47902">
                  <c:v>0.85432495095416405</c:v>
                </c:pt>
                <c:pt idx="47903">
                  <c:v>0.85434278580346001</c:v>
                </c:pt>
                <c:pt idx="47904">
                  <c:v>0.85436062065275498</c:v>
                </c:pt>
                <c:pt idx="47905">
                  <c:v>0.85437845550205105</c:v>
                </c:pt>
                <c:pt idx="47906">
                  <c:v>0.85439629035134601</c:v>
                </c:pt>
                <c:pt idx="47907">
                  <c:v>0.85441412520064197</c:v>
                </c:pt>
                <c:pt idx="47908">
                  <c:v>0.85443196004993704</c:v>
                </c:pt>
                <c:pt idx="47909">
                  <c:v>0.85444979489923301</c:v>
                </c:pt>
                <c:pt idx="47910">
                  <c:v>0.85446762974852797</c:v>
                </c:pt>
                <c:pt idx="47911">
                  <c:v>0.85448546459782404</c:v>
                </c:pt>
                <c:pt idx="47912">
                  <c:v>0.854503299447119</c:v>
                </c:pt>
                <c:pt idx="47913">
                  <c:v>0.85452113429641496</c:v>
                </c:pt>
                <c:pt idx="47914">
                  <c:v>0.85453896914571004</c:v>
                </c:pt>
                <c:pt idx="47915">
                  <c:v>0.854556803995006</c:v>
                </c:pt>
                <c:pt idx="47916">
                  <c:v>0.85457463884430096</c:v>
                </c:pt>
                <c:pt idx="47917">
                  <c:v>0.85459247369359703</c:v>
                </c:pt>
                <c:pt idx="47918">
                  <c:v>0.85461030854289199</c:v>
                </c:pt>
                <c:pt idx="47919">
                  <c:v>0.85462814339218796</c:v>
                </c:pt>
                <c:pt idx="47920">
                  <c:v>0.85464597824148303</c:v>
                </c:pt>
                <c:pt idx="47921">
                  <c:v>0.85466381309077899</c:v>
                </c:pt>
                <c:pt idx="47922">
                  <c:v>0.85468164794007495</c:v>
                </c:pt>
                <c:pt idx="47923">
                  <c:v>0.85469948278937002</c:v>
                </c:pt>
                <c:pt idx="47924">
                  <c:v>0.85471731763866599</c:v>
                </c:pt>
                <c:pt idx="47925">
                  <c:v>0.85473515248796095</c:v>
                </c:pt>
                <c:pt idx="47926">
                  <c:v>0.85475298733725702</c:v>
                </c:pt>
                <c:pt idx="47927">
                  <c:v>0.85477082218655198</c:v>
                </c:pt>
                <c:pt idx="47928">
                  <c:v>0.85478865703584805</c:v>
                </c:pt>
                <c:pt idx="47929">
                  <c:v>0.85480649188514302</c:v>
                </c:pt>
                <c:pt idx="47930">
                  <c:v>0.85482432673443898</c:v>
                </c:pt>
                <c:pt idx="47931">
                  <c:v>0.85484216158373405</c:v>
                </c:pt>
                <c:pt idx="47932">
                  <c:v>0.85485999643303001</c:v>
                </c:pt>
                <c:pt idx="47933">
                  <c:v>0.85487783128232497</c:v>
                </c:pt>
                <c:pt idx="47934">
                  <c:v>0.85489566613162105</c:v>
                </c:pt>
                <c:pt idx="47935">
                  <c:v>0.85491350098091601</c:v>
                </c:pt>
                <c:pt idx="47936">
                  <c:v>0.85493133583021197</c:v>
                </c:pt>
                <c:pt idx="47937">
                  <c:v>0.85494917067950704</c:v>
                </c:pt>
                <c:pt idx="47938">
                  <c:v>0.854967005528803</c:v>
                </c:pt>
                <c:pt idx="47939">
                  <c:v>0.85498484037809797</c:v>
                </c:pt>
                <c:pt idx="47940">
                  <c:v>0.85500267522739404</c:v>
                </c:pt>
                <c:pt idx="47941">
                  <c:v>0.855020510076689</c:v>
                </c:pt>
                <c:pt idx="47942">
                  <c:v>0.85503834492598496</c:v>
                </c:pt>
                <c:pt idx="47943">
                  <c:v>0.85505617977528003</c:v>
                </c:pt>
                <c:pt idx="47944">
                  <c:v>0.855074014624576</c:v>
                </c:pt>
                <c:pt idx="47945">
                  <c:v>0.85509184947387196</c:v>
                </c:pt>
                <c:pt idx="47946">
                  <c:v>0.85510968432316703</c:v>
                </c:pt>
                <c:pt idx="47947">
                  <c:v>0.85512751917246299</c:v>
                </c:pt>
                <c:pt idx="47948">
                  <c:v>0.85514535402175795</c:v>
                </c:pt>
                <c:pt idx="47949">
                  <c:v>0.85516318887105403</c:v>
                </c:pt>
                <c:pt idx="47950">
                  <c:v>0.85518102372034899</c:v>
                </c:pt>
                <c:pt idx="47951">
                  <c:v>0.85519885856964495</c:v>
                </c:pt>
                <c:pt idx="47952">
                  <c:v>0.85521669341894002</c:v>
                </c:pt>
                <c:pt idx="47953">
                  <c:v>0.85523452826823598</c:v>
                </c:pt>
                <c:pt idx="47954">
                  <c:v>0.85525236311753094</c:v>
                </c:pt>
                <c:pt idx="47955">
                  <c:v>0.85527019796682702</c:v>
                </c:pt>
                <c:pt idx="47956">
                  <c:v>0.85528803281612198</c:v>
                </c:pt>
                <c:pt idx="47957">
                  <c:v>0.85530586766541805</c:v>
                </c:pt>
                <c:pt idx="47958">
                  <c:v>0.85532370251471301</c:v>
                </c:pt>
                <c:pt idx="47959">
                  <c:v>0.85534153736400897</c:v>
                </c:pt>
                <c:pt idx="47960">
                  <c:v>0.85535937221330405</c:v>
                </c:pt>
                <c:pt idx="47961">
                  <c:v>0.85537720706260001</c:v>
                </c:pt>
                <c:pt idx="47962">
                  <c:v>0.85539504191189497</c:v>
                </c:pt>
                <c:pt idx="47963">
                  <c:v>0.85541287676119104</c:v>
                </c:pt>
                <c:pt idx="47964">
                  <c:v>0.85543071161048601</c:v>
                </c:pt>
                <c:pt idx="47965">
                  <c:v>0.85544854645978197</c:v>
                </c:pt>
                <c:pt idx="47966">
                  <c:v>0.85546638130907704</c:v>
                </c:pt>
                <c:pt idx="47967">
                  <c:v>0.855484216158373</c:v>
                </c:pt>
                <c:pt idx="47968">
                  <c:v>0.85550205100766896</c:v>
                </c:pt>
                <c:pt idx="47969">
                  <c:v>0.85551988585696404</c:v>
                </c:pt>
                <c:pt idx="47970">
                  <c:v>0.85553772070626</c:v>
                </c:pt>
                <c:pt idx="47971">
                  <c:v>0.85555555555555496</c:v>
                </c:pt>
                <c:pt idx="47972">
                  <c:v>0.85557339040485103</c:v>
                </c:pt>
                <c:pt idx="47973">
                  <c:v>0.85559122525414599</c:v>
                </c:pt>
                <c:pt idx="47974">
                  <c:v>0.85560906010344195</c:v>
                </c:pt>
                <c:pt idx="47975">
                  <c:v>0.85562689495273703</c:v>
                </c:pt>
                <c:pt idx="47976">
                  <c:v>0.85564472980203299</c:v>
                </c:pt>
                <c:pt idx="47977">
                  <c:v>0.85566256465132795</c:v>
                </c:pt>
                <c:pt idx="47978">
                  <c:v>0.85568039950062402</c:v>
                </c:pt>
                <c:pt idx="47979">
                  <c:v>0.85569823434991898</c:v>
                </c:pt>
                <c:pt idx="47980">
                  <c:v>0.85571606919921495</c:v>
                </c:pt>
                <c:pt idx="47981">
                  <c:v>0.85573390404851002</c:v>
                </c:pt>
                <c:pt idx="47982">
                  <c:v>0.85575173889780598</c:v>
                </c:pt>
                <c:pt idx="47983">
                  <c:v>0.85576957374710105</c:v>
                </c:pt>
                <c:pt idx="47984">
                  <c:v>0.85578740859639701</c:v>
                </c:pt>
                <c:pt idx="47985">
                  <c:v>0.85580524344569198</c:v>
                </c:pt>
                <c:pt idx="47986">
                  <c:v>0.85582307829498805</c:v>
                </c:pt>
                <c:pt idx="47987">
                  <c:v>0.85584091314428301</c:v>
                </c:pt>
                <c:pt idx="47988">
                  <c:v>0.85585874799357897</c:v>
                </c:pt>
                <c:pt idx="47989">
                  <c:v>0.85587658284287405</c:v>
                </c:pt>
                <c:pt idx="47990">
                  <c:v>0.85589441769217001</c:v>
                </c:pt>
                <c:pt idx="47991">
                  <c:v>0.85591225254146597</c:v>
                </c:pt>
                <c:pt idx="47992">
                  <c:v>0.85593008739076104</c:v>
                </c:pt>
                <c:pt idx="47993">
                  <c:v>0.855947922240057</c:v>
                </c:pt>
                <c:pt idx="47994">
                  <c:v>0.85596575708935196</c:v>
                </c:pt>
                <c:pt idx="47995">
                  <c:v>0.85598359193864804</c:v>
                </c:pt>
                <c:pt idx="47996">
                  <c:v>0.856001426787943</c:v>
                </c:pt>
                <c:pt idx="47997">
                  <c:v>0.85601926163723896</c:v>
                </c:pt>
                <c:pt idx="47998">
                  <c:v>0.85603709648653403</c:v>
                </c:pt>
                <c:pt idx="47999">
                  <c:v>0.85605493133582999</c:v>
                </c:pt>
                <c:pt idx="48000">
                  <c:v>0.85607276618512496</c:v>
                </c:pt>
                <c:pt idx="48001">
                  <c:v>0.85609060103442103</c:v>
                </c:pt>
                <c:pt idx="48002">
                  <c:v>0.85610843588371599</c:v>
                </c:pt>
                <c:pt idx="48003">
                  <c:v>0.85612627073301195</c:v>
                </c:pt>
                <c:pt idx="48004">
                  <c:v>0.85614410558230702</c:v>
                </c:pt>
                <c:pt idx="48005">
                  <c:v>0.85616194043160299</c:v>
                </c:pt>
                <c:pt idx="48006">
                  <c:v>0.85617977528089795</c:v>
                </c:pt>
                <c:pt idx="48007">
                  <c:v>0.85619761013019402</c:v>
                </c:pt>
                <c:pt idx="48008">
                  <c:v>0.85621544497948898</c:v>
                </c:pt>
                <c:pt idx="48009">
                  <c:v>0.85623327982878505</c:v>
                </c:pt>
                <c:pt idx="48010">
                  <c:v>0.85625111467808102</c:v>
                </c:pt>
                <c:pt idx="48011">
                  <c:v>0.85626894952737598</c:v>
                </c:pt>
                <c:pt idx="48012">
                  <c:v>0.85628678437667205</c:v>
                </c:pt>
                <c:pt idx="48013">
                  <c:v>0.85630461922596701</c:v>
                </c:pt>
                <c:pt idx="48014">
                  <c:v>0.85632245407526297</c:v>
                </c:pt>
                <c:pt idx="48015">
                  <c:v>0.85634028892455805</c:v>
                </c:pt>
                <c:pt idx="48016">
                  <c:v>0.85635812377385401</c:v>
                </c:pt>
                <c:pt idx="48017">
                  <c:v>0.85637595862314897</c:v>
                </c:pt>
                <c:pt idx="48018">
                  <c:v>0.85639379347244504</c:v>
                </c:pt>
                <c:pt idx="48019">
                  <c:v>0.85641162832174</c:v>
                </c:pt>
                <c:pt idx="48020">
                  <c:v>0.85642946317103597</c:v>
                </c:pt>
                <c:pt idx="48021">
                  <c:v>0.85644729802033104</c:v>
                </c:pt>
                <c:pt idx="48022">
                  <c:v>0.856465132869627</c:v>
                </c:pt>
                <c:pt idx="48023">
                  <c:v>0.85648296771892196</c:v>
                </c:pt>
                <c:pt idx="48024">
                  <c:v>0.85650080256821803</c:v>
                </c:pt>
                <c:pt idx="48025">
                  <c:v>0.856518637417513</c:v>
                </c:pt>
                <c:pt idx="48026">
                  <c:v>0.85653647226680896</c:v>
                </c:pt>
                <c:pt idx="48027">
                  <c:v>0.85655430711610403</c:v>
                </c:pt>
                <c:pt idx="48028">
                  <c:v>0.85657214196539999</c:v>
                </c:pt>
                <c:pt idx="48029">
                  <c:v>0.85658997681469595</c:v>
                </c:pt>
                <c:pt idx="48030">
                  <c:v>0.85660781166399103</c:v>
                </c:pt>
                <c:pt idx="48031">
                  <c:v>0.85662564651328699</c:v>
                </c:pt>
                <c:pt idx="48032">
                  <c:v>0.85664348136258195</c:v>
                </c:pt>
                <c:pt idx="48033">
                  <c:v>0.85666131621187802</c:v>
                </c:pt>
                <c:pt idx="48034">
                  <c:v>0.85667915106117298</c:v>
                </c:pt>
                <c:pt idx="48035">
                  <c:v>0.85669698591046906</c:v>
                </c:pt>
                <c:pt idx="48036">
                  <c:v>0.85671482075976402</c:v>
                </c:pt>
                <c:pt idx="48037">
                  <c:v>0.85673265560905998</c:v>
                </c:pt>
                <c:pt idx="48038">
                  <c:v>0.85675049045835505</c:v>
                </c:pt>
                <c:pt idx="48039">
                  <c:v>0.85676832530765101</c:v>
                </c:pt>
                <c:pt idx="48040">
                  <c:v>0.85678616015694598</c:v>
                </c:pt>
                <c:pt idx="48041">
                  <c:v>0.85680399500624205</c:v>
                </c:pt>
                <c:pt idx="48042">
                  <c:v>0.85682182985553701</c:v>
                </c:pt>
                <c:pt idx="48043">
                  <c:v>0.85683966470483297</c:v>
                </c:pt>
                <c:pt idx="48044">
                  <c:v>0.85685749955412804</c:v>
                </c:pt>
                <c:pt idx="48045">
                  <c:v>0.856875334403424</c:v>
                </c:pt>
                <c:pt idx="48046">
                  <c:v>0.85689316925271897</c:v>
                </c:pt>
                <c:pt idx="48047">
                  <c:v>0.85691100410201504</c:v>
                </c:pt>
                <c:pt idx="48048">
                  <c:v>0.85692883895131</c:v>
                </c:pt>
                <c:pt idx="48049">
                  <c:v>0.85694667380060596</c:v>
                </c:pt>
                <c:pt idx="48050">
                  <c:v>0.85696450864990104</c:v>
                </c:pt>
                <c:pt idx="48051">
                  <c:v>0.856982343499197</c:v>
                </c:pt>
                <c:pt idx="48052">
                  <c:v>0.85700017834849296</c:v>
                </c:pt>
                <c:pt idx="48053">
                  <c:v>0.85701801319778803</c:v>
                </c:pt>
                <c:pt idx="48054">
                  <c:v>0.85703584804708399</c:v>
                </c:pt>
                <c:pt idx="48055">
                  <c:v>0.85705368289637895</c:v>
                </c:pt>
                <c:pt idx="48056">
                  <c:v>0.85707151774567503</c:v>
                </c:pt>
                <c:pt idx="48057">
                  <c:v>0.85708935259496999</c:v>
                </c:pt>
                <c:pt idx="48058">
                  <c:v>0.85710718744426595</c:v>
                </c:pt>
                <c:pt idx="48059">
                  <c:v>0.85712502229356102</c:v>
                </c:pt>
                <c:pt idx="48060">
                  <c:v>0.85714285714285698</c:v>
                </c:pt>
                <c:pt idx="48061">
                  <c:v>0.85716069199215195</c:v>
                </c:pt>
                <c:pt idx="48062">
                  <c:v>0.85717852684144802</c:v>
                </c:pt>
                <c:pt idx="48063">
                  <c:v>0.85719636169074298</c:v>
                </c:pt>
                <c:pt idx="48064">
                  <c:v>0.85721419654003905</c:v>
                </c:pt>
                <c:pt idx="48065">
                  <c:v>0.85723203138933401</c:v>
                </c:pt>
                <c:pt idx="48066">
                  <c:v>0.85724986623862998</c:v>
                </c:pt>
                <c:pt idx="48067">
                  <c:v>0.85726770108792505</c:v>
                </c:pt>
                <c:pt idx="48068">
                  <c:v>0.85728553593722101</c:v>
                </c:pt>
                <c:pt idx="48069">
                  <c:v>0.85730337078651597</c:v>
                </c:pt>
                <c:pt idx="48070">
                  <c:v>0.85732120563581204</c:v>
                </c:pt>
                <c:pt idx="48071">
                  <c:v>0.85733904048510701</c:v>
                </c:pt>
                <c:pt idx="48072">
                  <c:v>0.85735687533440297</c:v>
                </c:pt>
                <c:pt idx="48073">
                  <c:v>0.85737471018369804</c:v>
                </c:pt>
                <c:pt idx="48074">
                  <c:v>0.857392545032994</c:v>
                </c:pt>
                <c:pt idx="48075">
                  <c:v>0.85741037988228996</c:v>
                </c:pt>
                <c:pt idx="48076">
                  <c:v>0.85742821473158504</c:v>
                </c:pt>
                <c:pt idx="48077">
                  <c:v>0.857446049580881</c:v>
                </c:pt>
                <c:pt idx="48078">
                  <c:v>0.85746388443017596</c:v>
                </c:pt>
                <c:pt idx="48079">
                  <c:v>0.85748171927947203</c:v>
                </c:pt>
                <c:pt idx="48080">
                  <c:v>0.85749955412876699</c:v>
                </c:pt>
                <c:pt idx="48081">
                  <c:v>0.85751738897806296</c:v>
                </c:pt>
                <c:pt idx="48082">
                  <c:v>0.85753522382735803</c:v>
                </c:pt>
                <c:pt idx="48083">
                  <c:v>0.85755305867665399</c:v>
                </c:pt>
                <c:pt idx="48084">
                  <c:v>0.85757089352594895</c:v>
                </c:pt>
                <c:pt idx="48085">
                  <c:v>0.85758872837524502</c:v>
                </c:pt>
                <c:pt idx="48086">
                  <c:v>0.85760656322453999</c:v>
                </c:pt>
                <c:pt idx="48087">
                  <c:v>0.85762439807383595</c:v>
                </c:pt>
                <c:pt idx="48088">
                  <c:v>0.85764223292313102</c:v>
                </c:pt>
                <c:pt idx="48089">
                  <c:v>0.85766006777242698</c:v>
                </c:pt>
                <c:pt idx="48090">
                  <c:v>0.85767790262172205</c:v>
                </c:pt>
                <c:pt idx="48091">
                  <c:v>0.85769573747101802</c:v>
                </c:pt>
                <c:pt idx="48092">
                  <c:v>0.85771357232031298</c:v>
                </c:pt>
                <c:pt idx="48093">
                  <c:v>0.85773140716960905</c:v>
                </c:pt>
                <c:pt idx="48094">
                  <c:v>0.85774924201890401</c:v>
                </c:pt>
                <c:pt idx="48095">
                  <c:v>0.85776707686819997</c:v>
                </c:pt>
                <c:pt idx="48096">
                  <c:v>0.85778491171749505</c:v>
                </c:pt>
                <c:pt idx="48097">
                  <c:v>0.85780274656679101</c:v>
                </c:pt>
                <c:pt idx="48098">
                  <c:v>0.85782058141608697</c:v>
                </c:pt>
                <c:pt idx="48099">
                  <c:v>0.85783841626538204</c:v>
                </c:pt>
                <c:pt idx="48100">
                  <c:v>0.857856251114678</c:v>
                </c:pt>
                <c:pt idx="48101">
                  <c:v>0.85787408596397297</c:v>
                </c:pt>
                <c:pt idx="48102">
                  <c:v>0.85789192081326904</c:v>
                </c:pt>
                <c:pt idx="48103">
                  <c:v>0.857909755662564</c:v>
                </c:pt>
                <c:pt idx="48104">
                  <c:v>0.85792759051185996</c:v>
                </c:pt>
                <c:pt idx="48105">
                  <c:v>0.85794542536115503</c:v>
                </c:pt>
                <c:pt idx="48106">
                  <c:v>0.857963260210451</c:v>
                </c:pt>
                <c:pt idx="48107">
                  <c:v>0.85798109505974596</c:v>
                </c:pt>
                <c:pt idx="48108">
                  <c:v>0.85799892990904203</c:v>
                </c:pt>
                <c:pt idx="48109">
                  <c:v>0.85801676475833699</c:v>
                </c:pt>
                <c:pt idx="48110">
                  <c:v>0.85803459960763295</c:v>
                </c:pt>
                <c:pt idx="48111">
                  <c:v>0.85805243445692803</c:v>
                </c:pt>
                <c:pt idx="48112">
                  <c:v>0.85807026930622399</c:v>
                </c:pt>
                <c:pt idx="48113">
                  <c:v>0.85808810415551895</c:v>
                </c:pt>
                <c:pt idx="48114">
                  <c:v>0.85810593900481502</c:v>
                </c:pt>
                <c:pt idx="48115">
                  <c:v>0.85812377385411098</c:v>
                </c:pt>
                <c:pt idx="48116">
                  <c:v>0.85814160870340594</c:v>
                </c:pt>
                <c:pt idx="48117">
                  <c:v>0.85815944355270202</c:v>
                </c:pt>
                <c:pt idx="48118">
                  <c:v>0.85817727840199698</c:v>
                </c:pt>
                <c:pt idx="48119">
                  <c:v>0.85819511325129305</c:v>
                </c:pt>
                <c:pt idx="48120">
                  <c:v>0.85821294810058801</c:v>
                </c:pt>
                <c:pt idx="48121">
                  <c:v>0.85823078294988397</c:v>
                </c:pt>
                <c:pt idx="48122">
                  <c:v>0.85824861779917905</c:v>
                </c:pt>
                <c:pt idx="48123">
                  <c:v>0.85826645264847501</c:v>
                </c:pt>
                <c:pt idx="48124">
                  <c:v>0.85828428749776997</c:v>
                </c:pt>
                <c:pt idx="48125">
                  <c:v>0.85830212234706604</c:v>
                </c:pt>
                <c:pt idx="48126">
                  <c:v>0.85831995719636101</c:v>
                </c:pt>
                <c:pt idx="48127">
                  <c:v>0.85833779204565697</c:v>
                </c:pt>
                <c:pt idx="48128">
                  <c:v>0.85835562689495204</c:v>
                </c:pt>
                <c:pt idx="48129">
                  <c:v>0.858373461744248</c:v>
                </c:pt>
                <c:pt idx="48130">
                  <c:v>0.85839129659354296</c:v>
                </c:pt>
                <c:pt idx="48131">
                  <c:v>0.85840913144283904</c:v>
                </c:pt>
                <c:pt idx="48132">
                  <c:v>0.858426966292134</c:v>
                </c:pt>
                <c:pt idx="48133">
                  <c:v>0.85844480114142996</c:v>
                </c:pt>
                <c:pt idx="48134">
                  <c:v>0.85846263599072503</c:v>
                </c:pt>
                <c:pt idx="48135">
                  <c:v>0.85848047084002099</c:v>
                </c:pt>
                <c:pt idx="48136">
                  <c:v>0.85849830568931695</c:v>
                </c:pt>
                <c:pt idx="48137">
                  <c:v>0.85851614053861203</c:v>
                </c:pt>
                <c:pt idx="48138">
                  <c:v>0.85853397538790799</c:v>
                </c:pt>
                <c:pt idx="48139">
                  <c:v>0.85855181023720295</c:v>
                </c:pt>
                <c:pt idx="48140">
                  <c:v>0.85856964508649902</c:v>
                </c:pt>
                <c:pt idx="48141">
                  <c:v>0.85858747993579398</c:v>
                </c:pt>
                <c:pt idx="48142">
                  <c:v>0.85860531478508995</c:v>
                </c:pt>
                <c:pt idx="48143">
                  <c:v>0.85862314963438502</c:v>
                </c:pt>
                <c:pt idx="48144">
                  <c:v>0.85864098448368098</c:v>
                </c:pt>
                <c:pt idx="48145">
                  <c:v>0.85865881933297605</c:v>
                </c:pt>
                <c:pt idx="48146">
                  <c:v>0.85867665418227201</c:v>
                </c:pt>
                <c:pt idx="48147">
                  <c:v>0.85869448903156698</c:v>
                </c:pt>
                <c:pt idx="48148">
                  <c:v>0.85871232388086305</c:v>
                </c:pt>
                <c:pt idx="48149">
                  <c:v>0.85873015873015801</c:v>
                </c:pt>
                <c:pt idx="48150">
                  <c:v>0.85874799357945397</c:v>
                </c:pt>
                <c:pt idx="48151">
                  <c:v>0.85876582842874905</c:v>
                </c:pt>
                <c:pt idx="48152">
                  <c:v>0.85878366327804501</c:v>
                </c:pt>
                <c:pt idx="48153">
                  <c:v>0.85880149812733997</c:v>
                </c:pt>
                <c:pt idx="48154">
                  <c:v>0.85881933297663604</c:v>
                </c:pt>
                <c:pt idx="48155">
                  <c:v>0.858837167825931</c:v>
                </c:pt>
                <c:pt idx="48156">
                  <c:v>0.85885500267522696</c:v>
                </c:pt>
                <c:pt idx="48157">
                  <c:v>0.85887283752452204</c:v>
                </c:pt>
                <c:pt idx="48158">
                  <c:v>0.858890672373818</c:v>
                </c:pt>
                <c:pt idx="48159">
                  <c:v>0.85890850722311396</c:v>
                </c:pt>
                <c:pt idx="48160">
                  <c:v>0.85892634207240903</c:v>
                </c:pt>
                <c:pt idx="48161">
                  <c:v>0.85894417692170499</c:v>
                </c:pt>
                <c:pt idx="48162">
                  <c:v>0.85896201177099996</c:v>
                </c:pt>
                <c:pt idx="48163">
                  <c:v>0.85897984662029603</c:v>
                </c:pt>
                <c:pt idx="48164">
                  <c:v>0.85899768146959099</c:v>
                </c:pt>
                <c:pt idx="48165">
                  <c:v>0.85901551631888695</c:v>
                </c:pt>
                <c:pt idx="48166">
                  <c:v>0.85903335116818202</c:v>
                </c:pt>
                <c:pt idx="48167">
                  <c:v>0.85905118601747799</c:v>
                </c:pt>
                <c:pt idx="48168">
                  <c:v>0.85906902086677295</c:v>
                </c:pt>
                <c:pt idx="48169">
                  <c:v>0.85908685571606902</c:v>
                </c:pt>
                <c:pt idx="48170">
                  <c:v>0.85910469056536398</c:v>
                </c:pt>
                <c:pt idx="48171">
                  <c:v>0.85912252541466005</c:v>
                </c:pt>
                <c:pt idx="48172">
                  <c:v>0.85914036026395502</c:v>
                </c:pt>
                <c:pt idx="48173">
                  <c:v>0.85915819511325098</c:v>
                </c:pt>
                <c:pt idx="48174">
                  <c:v>0.85917602996254605</c:v>
                </c:pt>
                <c:pt idx="48175">
                  <c:v>0.85919386481184201</c:v>
                </c:pt>
                <c:pt idx="48176">
                  <c:v>0.85921169966113697</c:v>
                </c:pt>
                <c:pt idx="48177">
                  <c:v>0.85922953451043305</c:v>
                </c:pt>
                <c:pt idx="48178">
                  <c:v>0.85924736935972801</c:v>
                </c:pt>
                <c:pt idx="48179">
                  <c:v>0.85926520420902397</c:v>
                </c:pt>
                <c:pt idx="48180">
                  <c:v>0.85928303905831904</c:v>
                </c:pt>
                <c:pt idx="48181">
                  <c:v>0.859300873907615</c:v>
                </c:pt>
                <c:pt idx="48182">
                  <c:v>0.85931870875691097</c:v>
                </c:pt>
                <c:pt idx="48183">
                  <c:v>0.85933654360620604</c:v>
                </c:pt>
                <c:pt idx="48184">
                  <c:v>0.859354378455502</c:v>
                </c:pt>
                <c:pt idx="48185">
                  <c:v>0.85937221330479696</c:v>
                </c:pt>
                <c:pt idx="48186">
                  <c:v>0.85939004815409303</c:v>
                </c:pt>
                <c:pt idx="48187">
                  <c:v>0.859407883003388</c:v>
                </c:pt>
                <c:pt idx="48188">
                  <c:v>0.85942571785268396</c:v>
                </c:pt>
                <c:pt idx="48189">
                  <c:v>0.85944355270197903</c:v>
                </c:pt>
                <c:pt idx="48190">
                  <c:v>0.85946138755127499</c:v>
                </c:pt>
                <c:pt idx="48191">
                  <c:v>0.85947922240056995</c:v>
                </c:pt>
                <c:pt idx="48192">
                  <c:v>0.85949705724986603</c:v>
                </c:pt>
                <c:pt idx="48193">
                  <c:v>0.85951489209916099</c:v>
                </c:pt>
                <c:pt idx="48194">
                  <c:v>0.85953272694845695</c:v>
                </c:pt>
                <c:pt idx="48195">
                  <c:v>0.85955056179775202</c:v>
                </c:pt>
                <c:pt idx="48196">
                  <c:v>0.85956839664704798</c:v>
                </c:pt>
                <c:pt idx="48197">
                  <c:v>0.85958623149634295</c:v>
                </c:pt>
                <c:pt idx="48198">
                  <c:v>0.85960406634563902</c:v>
                </c:pt>
                <c:pt idx="48199">
                  <c:v>0.85962190119493398</c:v>
                </c:pt>
                <c:pt idx="48200">
                  <c:v>0.85963973604423005</c:v>
                </c:pt>
                <c:pt idx="48201">
                  <c:v>0.85965757089352501</c:v>
                </c:pt>
                <c:pt idx="48202">
                  <c:v>0.85967540574282097</c:v>
                </c:pt>
                <c:pt idx="48203">
                  <c:v>0.85969324059211705</c:v>
                </c:pt>
                <c:pt idx="48204">
                  <c:v>0.85971107544141201</c:v>
                </c:pt>
                <c:pt idx="48205">
                  <c:v>0.85972891029070797</c:v>
                </c:pt>
                <c:pt idx="48206">
                  <c:v>0.85974674514000304</c:v>
                </c:pt>
                <c:pt idx="48207">
                  <c:v>0.859764579989299</c:v>
                </c:pt>
                <c:pt idx="48208">
                  <c:v>0.85978241483859397</c:v>
                </c:pt>
                <c:pt idx="48209">
                  <c:v>0.85980024968789004</c:v>
                </c:pt>
                <c:pt idx="48210">
                  <c:v>0.859818084537185</c:v>
                </c:pt>
                <c:pt idx="48211">
                  <c:v>0.85983591938648096</c:v>
                </c:pt>
                <c:pt idx="48212">
                  <c:v>0.85985375423577604</c:v>
                </c:pt>
                <c:pt idx="48213">
                  <c:v>0.859871589085072</c:v>
                </c:pt>
                <c:pt idx="48214">
                  <c:v>0.85988942393436696</c:v>
                </c:pt>
                <c:pt idx="48215">
                  <c:v>0.85990725878366303</c:v>
                </c:pt>
                <c:pt idx="48216">
                  <c:v>0.85992509363295799</c:v>
                </c:pt>
                <c:pt idx="48217">
                  <c:v>0.85994292848225395</c:v>
                </c:pt>
                <c:pt idx="48218">
                  <c:v>0.85996076333154903</c:v>
                </c:pt>
                <c:pt idx="48219">
                  <c:v>0.85997859818084499</c:v>
                </c:pt>
                <c:pt idx="48220">
                  <c:v>0.85999643303014095</c:v>
                </c:pt>
                <c:pt idx="48221">
                  <c:v>0.86001426787943602</c:v>
                </c:pt>
                <c:pt idx="48222">
                  <c:v>0.86003210272873198</c:v>
                </c:pt>
                <c:pt idx="48223">
                  <c:v>0.86004993757802695</c:v>
                </c:pt>
                <c:pt idx="48224">
                  <c:v>0.86006777242732302</c:v>
                </c:pt>
                <c:pt idx="48225">
                  <c:v>0.86008560727661798</c:v>
                </c:pt>
                <c:pt idx="48226">
                  <c:v>0.86010344212591405</c:v>
                </c:pt>
                <c:pt idx="48227">
                  <c:v>0.86012127697520901</c:v>
                </c:pt>
                <c:pt idx="48228">
                  <c:v>0.86013911182450498</c:v>
                </c:pt>
                <c:pt idx="48229">
                  <c:v>0.86015694667380005</c:v>
                </c:pt>
                <c:pt idx="48230">
                  <c:v>0.86017478152309601</c:v>
                </c:pt>
                <c:pt idx="48231">
                  <c:v>0.86019261637239097</c:v>
                </c:pt>
                <c:pt idx="48232">
                  <c:v>0.86021045122168704</c:v>
                </c:pt>
                <c:pt idx="48233">
                  <c:v>0.86022828607098201</c:v>
                </c:pt>
                <c:pt idx="48234">
                  <c:v>0.86024612092027797</c:v>
                </c:pt>
                <c:pt idx="48235">
                  <c:v>0.86026395576957304</c:v>
                </c:pt>
                <c:pt idx="48236">
                  <c:v>0.860281790618869</c:v>
                </c:pt>
                <c:pt idx="48237">
                  <c:v>0.86029962546816396</c:v>
                </c:pt>
                <c:pt idx="48238">
                  <c:v>0.86031746031746004</c:v>
                </c:pt>
                <c:pt idx="48239">
                  <c:v>0.860335295166755</c:v>
                </c:pt>
                <c:pt idx="48240">
                  <c:v>0.86035313001605096</c:v>
                </c:pt>
                <c:pt idx="48241">
                  <c:v>0.86037096486534603</c:v>
                </c:pt>
                <c:pt idx="48242">
                  <c:v>0.86038879971464199</c:v>
                </c:pt>
                <c:pt idx="48243">
                  <c:v>0.86040663456393796</c:v>
                </c:pt>
                <c:pt idx="48244">
                  <c:v>0.86042446941323303</c:v>
                </c:pt>
                <c:pt idx="48245">
                  <c:v>0.86044230426252899</c:v>
                </c:pt>
                <c:pt idx="48246">
                  <c:v>0.86046013911182395</c:v>
                </c:pt>
                <c:pt idx="48247">
                  <c:v>0.86047797396112002</c:v>
                </c:pt>
                <c:pt idx="48248">
                  <c:v>0.86049580881041499</c:v>
                </c:pt>
                <c:pt idx="48249">
                  <c:v>0.86051364365971095</c:v>
                </c:pt>
                <c:pt idx="48250">
                  <c:v>0.86053147850900602</c:v>
                </c:pt>
                <c:pt idx="48251">
                  <c:v>0.86054931335830198</c:v>
                </c:pt>
                <c:pt idx="48252">
                  <c:v>0.86056714820759705</c:v>
                </c:pt>
                <c:pt idx="48253">
                  <c:v>0.86058498305689302</c:v>
                </c:pt>
                <c:pt idx="48254">
                  <c:v>0.86060281790618798</c:v>
                </c:pt>
                <c:pt idx="48255">
                  <c:v>0.86062065275548405</c:v>
                </c:pt>
                <c:pt idx="48256">
                  <c:v>0.86063848760477901</c:v>
                </c:pt>
                <c:pt idx="48257">
                  <c:v>0.86065632245407497</c:v>
                </c:pt>
                <c:pt idx="48258">
                  <c:v>0.86067415730337005</c:v>
                </c:pt>
                <c:pt idx="48259">
                  <c:v>0.86069199215266601</c:v>
                </c:pt>
                <c:pt idx="48260">
                  <c:v>0.86070982700196097</c:v>
                </c:pt>
                <c:pt idx="48261">
                  <c:v>0.86072766185125704</c:v>
                </c:pt>
                <c:pt idx="48262">
                  <c:v>0.860745496700552</c:v>
                </c:pt>
                <c:pt idx="48263">
                  <c:v>0.86076333154984797</c:v>
                </c:pt>
                <c:pt idx="48264">
                  <c:v>0.86078116639914304</c:v>
                </c:pt>
                <c:pt idx="48265">
                  <c:v>0.860799001248439</c:v>
                </c:pt>
                <c:pt idx="48266">
                  <c:v>0.86081683609773496</c:v>
                </c:pt>
                <c:pt idx="48267">
                  <c:v>0.86083467094703003</c:v>
                </c:pt>
                <c:pt idx="48268">
                  <c:v>0.860852505796326</c:v>
                </c:pt>
                <c:pt idx="48269">
                  <c:v>0.86087034064562096</c:v>
                </c:pt>
                <c:pt idx="48270">
                  <c:v>0.86088817549491703</c:v>
                </c:pt>
                <c:pt idx="48271">
                  <c:v>0.86090601034421199</c:v>
                </c:pt>
                <c:pt idx="48272">
                  <c:v>0.86092384519350795</c:v>
                </c:pt>
                <c:pt idx="48273">
                  <c:v>0.86094168004280303</c:v>
                </c:pt>
                <c:pt idx="48274">
                  <c:v>0.86095951489209899</c:v>
                </c:pt>
                <c:pt idx="48275">
                  <c:v>0.86097734974139395</c:v>
                </c:pt>
                <c:pt idx="48276">
                  <c:v>0.86099518459069002</c:v>
                </c:pt>
                <c:pt idx="48277">
                  <c:v>0.86101301943998498</c:v>
                </c:pt>
                <c:pt idx="48278">
                  <c:v>0.86103085428928094</c:v>
                </c:pt>
                <c:pt idx="48279">
                  <c:v>0.86104868913857602</c:v>
                </c:pt>
                <c:pt idx="48280">
                  <c:v>0.86106652398787198</c:v>
                </c:pt>
                <c:pt idx="48281">
                  <c:v>0.86108435883716705</c:v>
                </c:pt>
                <c:pt idx="48282">
                  <c:v>0.86110219368646301</c:v>
                </c:pt>
                <c:pt idx="48283">
                  <c:v>0.86112002853575798</c:v>
                </c:pt>
                <c:pt idx="48284">
                  <c:v>0.86113786338505405</c:v>
                </c:pt>
                <c:pt idx="48285">
                  <c:v>0.86115569823434901</c:v>
                </c:pt>
                <c:pt idx="48286">
                  <c:v>0.86117353308364497</c:v>
                </c:pt>
                <c:pt idx="48287">
                  <c:v>0.86119136793294004</c:v>
                </c:pt>
                <c:pt idx="48288">
                  <c:v>0.86120920278223601</c:v>
                </c:pt>
                <c:pt idx="48289">
                  <c:v>0.86122703763153197</c:v>
                </c:pt>
                <c:pt idx="48290">
                  <c:v>0.86124487248082704</c:v>
                </c:pt>
                <c:pt idx="48291">
                  <c:v>0.861262707330123</c:v>
                </c:pt>
                <c:pt idx="48292">
                  <c:v>0.86128054217941796</c:v>
                </c:pt>
                <c:pt idx="48293">
                  <c:v>0.86129837702871404</c:v>
                </c:pt>
                <c:pt idx="48294">
                  <c:v>0.861316211878009</c:v>
                </c:pt>
                <c:pt idx="48295">
                  <c:v>0.86133404672730496</c:v>
                </c:pt>
                <c:pt idx="48296">
                  <c:v>0.86135188157660003</c:v>
                </c:pt>
                <c:pt idx="48297">
                  <c:v>0.86136971642589599</c:v>
                </c:pt>
                <c:pt idx="48298">
                  <c:v>0.86138755127519095</c:v>
                </c:pt>
                <c:pt idx="48299">
                  <c:v>0.86140538612448703</c:v>
                </c:pt>
                <c:pt idx="48300">
                  <c:v>0.86142322097378199</c:v>
                </c:pt>
                <c:pt idx="48301">
                  <c:v>0.86144105582307795</c:v>
                </c:pt>
                <c:pt idx="48302">
                  <c:v>0.86145889067237302</c:v>
                </c:pt>
                <c:pt idx="48303">
                  <c:v>0.86147672552166898</c:v>
                </c:pt>
                <c:pt idx="48304">
                  <c:v>0.86149456037096395</c:v>
                </c:pt>
                <c:pt idx="48305">
                  <c:v>0.86151239522026002</c:v>
                </c:pt>
                <c:pt idx="48306">
                  <c:v>0.86153023006955498</c:v>
                </c:pt>
                <c:pt idx="48307">
                  <c:v>0.86154806491885105</c:v>
                </c:pt>
                <c:pt idx="48308">
                  <c:v>0.86156589976814701</c:v>
                </c:pt>
                <c:pt idx="48309">
                  <c:v>0.86158373461744198</c:v>
                </c:pt>
                <c:pt idx="48310">
                  <c:v>0.86160156946673805</c:v>
                </c:pt>
                <c:pt idx="48311">
                  <c:v>0.86161940431603301</c:v>
                </c:pt>
                <c:pt idx="48312">
                  <c:v>0.86163723916532897</c:v>
                </c:pt>
                <c:pt idx="48313">
                  <c:v>0.86165507401462405</c:v>
                </c:pt>
                <c:pt idx="48314">
                  <c:v>0.86167290886392001</c:v>
                </c:pt>
                <c:pt idx="48315">
                  <c:v>0.86169074371321497</c:v>
                </c:pt>
                <c:pt idx="48316">
                  <c:v>0.86170857856251104</c:v>
                </c:pt>
                <c:pt idx="48317">
                  <c:v>0.861726413411806</c:v>
                </c:pt>
                <c:pt idx="48318">
                  <c:v>0.86174424826110196</c:v>
                </c:pt>
                <c:pt idx="48319">
                  <c:v>0.86176208311039704</c:v>
                </c:pt>
                <c:pt idx="48320">
                  <c:v>0.861779917959693</c:v>
                </c:pt>
                <c:pt idx="48321">
                  <c:v>0.86179775280898796</c:v>
                </c:pt>
                <c:pt idx="48322">
                  <c:v>0.86181558765828403</c:v>
                </c:pt>
                <c:pt idx="48323">
                  <c:v>0.86183342250757899</c:v>
                </c:pt>
                <c:pt idx="48324">
                  <c:v>0.86185125735687496</c:v>
                </c:pt>
                <c:pt idx="48325">
                  <c:v>0.86186909220617003</c:v>
                </c:pt>
                <c:pt idx="48326">
                  <c:v>0.86188692705546599</c:v>
                </c:pt>
                <c:pt idx="48327">
                  <c:v>0.86190476190476195</c:v>
                </c:pt>
                <c:pt idx="48328">
                  <c:v>0.86192259675405702</c:v>
                </c:pt>
                <c:pt idx="48329">
                  <c:v>0.86194043160335299</c:v>
                </c:pt>
                <c:pt idx="48330">
                  <c:v>0.86195826645264795</c:v>
                </c:pt>
                <c:pt idx="48331">
                  <c:v>0.86197610130194402</c:v>
                </c:pt>
                <c:pt idx="48332">
                  <c:v>0.86199393615123898</c:v>
                </c:pt>
                <c:pt idx="48333">
                  <c:v>0.86201177100053505</c:v>
                </c:pt>
                <c:pt idx="48334">
                  <c:v>0.86202960584983002</c:v>
                </c:pt>
                <c:pt idx="48335">
                  <c:v>0.86204744069912598</c:v>
                </c:pt>
                <c:pt idx="48336">
                  <c:v>0.86206527554842105</c:v>
                </c:pt>
                <c:pt idx="48337">
                  <c:v>0.86208311039771701</c:v>
                </c:pt>
                <c:pt idx="48338">
                  <c:v>0.86210094524701197</c:v>
                </c:pt>
                <c:pt idx="48339">
                  <c:v>0.86211878009630805</c:v>
                </c:pt>
                <c:pt idx="48340">
                  <c:v>0.86213661494560301</c:v>
                </c:pt>
                <c:pt idx="48341">
                  <c:v>0.86215444979489897</c:v>
                </c:pt>
                <c:pt idx="48342">
                  <c:v>0.86217228464419404</c:v>
                </c:pt>
                <c:pt idx="48343">
                  <c:v>0.86219011949349</c:v>
                </c:pt>
                <c:pt idx="48344">
                  <c:v>0.86220795434278497</c:v>
                </c:pt>
                <c:pt idx="48345">
                  <c:v>0.86222578919208104</c:v>
                </c:pt>
                <c:pt idx="48346">
                  <c:v>0.862243624041376</c:v>
                </c:pt>
                <c:pt idx="48347">
                  <c:v>0.86226145889067196</c:v>
                </c:pt>
                <c:pt idx="48348">
                  <c:v>0.86227929373996703</c:v>
                </c:pt>
                <c:pt idx="48349">
                  <c:v>0.862297128589263</c:v>
                </c:pt>
                <c:pt idx="48350">
                  <c:v>0.86231496343855896</c:v>
                </c:pt>
                <c:pt idx="48351">
                  <c:v>0.86233279828785403</c:v>
                </c:pt>
                <c:pt idx="48352">
                  <c:v>0.86235063313714999</c:v>
                </c:pt>
                <c:pt idx="48353">
                  <c:v>0.86236846798644495</c:v>
                </c:pt>
                <c:pt idx="48354">
                  <c:v>0.86238630283574103</c:v>
                </c:pt>
                <c:pt idx="48355">
                  <c:v>0.86240413768503599</c:v>
                </c:pt>
                <c:pt idx="48356">
                  <c:v>0.86242197253433195</c:v>
                </c:pt>
                <c:pt idx="48357">
                  <c:v>0.86243980738362702</c:v>
                </c:pt>
                <c:pt idx="48358">
                  <c:v>0.86245764223292298</c:v>
                </c:pt>
                <c:pt idx="48359">
                  <c:v>0.86247547708221795</c:v>
                </c:pt>
                <c:pt idx="48360">
                  <c:v>0.86249331193151402</c:v>
                </c:pt>
                <c:pt idx="48361">
                  <c:v>0.86251114678080898</c:v>
                </c:pt>
                <c:pt idx="48362">
                  <c:v>0.86252898163010505</c:v>
                </c:pt>
                <c:pt idx="48363">
                  <c:v>0.86254681647940001</c:v>
                </c:pt>
                <c:pt idx="48364">
                  <c:v>0.86256465132869597</c:v>
                </c:pt>
                <c:pt idx="48365">
                  <c:v>0.86258248617799105</c:v>
                </c:pt>
                <c:pt idx="48366">
                  <c:v>0.86260032102728701</c:v>
                </c:pt>
                <c:pt idx="48367">
                  <c:v>0.86261815587658197</c:v>
                </c:pt>
                <c:pt idx="48368">
                  <c:v>0.86263599072587804</c:v>
                </c:pt>
                <c:pt idx="48369">
                  <c:v>0.86265382557517301</c:v>
                </c:pt>
                <c:pt idx="48370">
                  <c:v>0.86267166042446897</c:v>
                </c:pt>
                <c:pt idx="48371">
                  <c:v>0.86268949527376404</c:v>
                </c:pt>
                <c:pt idx="48372">
                  <c:v>0.86270733012306</c:v>
                </c:pt>
                <c:pt idx="48373">
                  <c:v>0.86272516497235596</c:v>
                </c:pt>
                <c:pt idx="48374">
                  <c:v>0.86274299982165104</c:v>
                </c:pt>
                <c:pt idx="48375">
                  <c:v>0.862760834670947</c:v>
                </c:pt>
                <c:pt idx="48376">
                  <c:v>0.86277866952024196</c:v>
                </c:pt>
                <c:pt idx="48377">
                  <c:v>0.86279650436953803</c:v>
                </c:pt>
                <c:pt idx="48378">
                  <c:v>0.86281433921883299</c:v>
                </c:pt>
                <c:pt idx="48379">
                  <c:v>0.86283217406812895</c:v>
                </c:pt>
                <c:pt idx="48380">
                  <c:v>0.86285000891742403</c:v>
                </c:pt>
                <c:pt idx="48381">
                  <c:v>0.86286784376671999</c:v>
                </c:pt>
                <c:pt idx="48382">
                  <c:v>0.86288567861601495</c:v>
                </c:pt>
                <c:pt idx="48383">
                  <c:v>0.86290351346531102</c:v>
                </c:pt>
                <c:pt idx="48384">
                  <c:v>0.86292134831460598</c:v>
                </c:pt>
                <c:pt idx="48385">
                  <c:v>0.86293918316390195</c:v>
                </c:pt>
                <c:pt idx="48386">
                  <c:v>0.86295701801319702</c:v>
                </c:pt>
                <c:pt idx="48387">
                  <c:v>0.86297485286249298</c:v>
                </c:pt>
                <c:pt idx="48388">
                  <c:v>0.86299268771178805</c:v>
                </c:pt>
                <c:pt idx="48389">
                  <c:v>0.86301052256108401</c:v>
                </c:pt>
                <c:pt idx="48390">
                  <c:v>0.86302835741037898</c:v>
                </c:pt>
                <c:pt idx="48391">
                  <c:v>0.86304619225967505</c:v>
                </c:pt>
                <c:pt idx="48392">
                  <c:v>0.86306402710897001</c:v>
                </c:pt>
                <c:pt idx="48393">
                  <c:v>0.86308186195826597</c:v>
                </c:pt>
                <c:pt idx="48394">
                  <c:v>0.86309969680756105</c:v>
                </c:pt>
                <c:pt idx="48395">
                  <c:v>0.86311753165685701</c:v>
                </c:pt>
                <c:pt idx="48396">
                  <c:v>0.86313536650615297</c:v>
                </c:pt>
                <c:pt idx="48397">
                  <c:v>0.86315320135544804</c:v>
                </c:pt>
                <c:pt idx="48398">
                  <c:v>0.863171036204744</c:v>
                </c:pt>
                <c:pt idx="48399">
                  <c:v>0.86318887105403896</c:v>
                </c:pt>
                <c:pt idx="48400">
                  <c:v>0.86320670590333504</c:v>
                </c:pt>
                <c:pt idx="48401">
                  <c:v>0.86322454075263</c:v>
                </c:pt>
                <c:pt idx="48402">
                  <c:v>0.86324237560192596</c:v>
                </c:pt>
                <c:pt idx="48403">
                  <c:v>0.86326021045122103</c:v>
                </c:pt>
                <c:pt idx="48404">
                  <c:v>0.86327804530051699</c:v>
                </c:pt>
                <c:pt idx="48405">
                  <c:v>0.86329588014981196</c:v>
                </c:pt>
                <c:pt idx="48406">
                  <c:v>0.86331371499910803</c:v>
                </c:pt>
                <c:pt idx="48407">
                  <c:v>0.86333154984840299</c:v>
                </c:pt>
                <c:pt idx="48408">
                  <c:v>0.86334938469769895</c:v>
                </c:pt>
                <c:pt idx="48409">
                  <c:v>0.86336721954699402</c:v>
                </c:pt>
                <c:pt idx="48410">
                  <c:v>0.86338505439628999</c:v>
                </c:pt>
                <c:pt idx="48411">
                  <c:v>0.86340288924558495</c:v>
                </c:pt>
                <c:pt idx="48412">
                  <c:v>0.86342072409488102</c:v>
                </c:pt>
                <c:pt idx="48413">
                  <c:v>0.86343855894417598</c:v>
                </c:pt>
                <c:pt idx="48414">
                  <c:v>0.86345639379347205</c:v>
                </c:pt>
                <c:pt idx="48415">
                  <c:v>0.86347422864276802</c:v>
                </c:pt>
                <c:pt idx="48416">
                  <c:v>0.86349206349206298</c:v>
                </c:pt>
                <c:pt idx="48417">
                  <c:v>0.86350989834135905</c:v>
                </c:pt>
                <c:pt idx="48418">
                  <c:v>0.86352773319065401</c:v>
                </c:pt>
                <c:pt idx="48419">
                  <c:v>0.86354556803994997</c:v>
                </c:pt>
                <c:pt idx="48420">
                  <c:v>0.86356340288924505</c:v>
                </c:pt>
                <c:pt idx="48421">
                  <c:v>0.86358123773854101</c:v>
                </c:pt>
                <c:pt idx="48422">
                  <c:v>0.86359907258783597</c:v>
                </c:pt>
                <c:pt idx="48423">
                  <c:v>0.86361690743713204</c:v>
                </c:pt>
                <c:pt idx="48424">
                  <c:v>0.863634742286427</c:v>
                </c:pt>
                <c:pt idx="48425">
                  <c:v>0.86365257713572297</c:v>
                </c:pt>
                <c:pt idx="48426">
                  <c:v>0.86367041198501804</c:v>
                </c:pt>
                <c:pt idx="48427">
                  <c:v>0.863688246834314</c:v>
                </c:pt>
                <c:pt idx="48428">
                  <c:v>0.86370608168360896</c:v>
                </c:pt>
                <c:pt idx="48429">
                  <c:v>0.86372391653290503</c:v>
                </c:pt>
                <c:pt idx="48430">
                  <c:v>0.8637417513822</c:v>
                </c:pt>
                <c:pt idx="48431">
                  <c:v>0.86375958623149596</c:v>
                </c:pt>
                <c:pt idx="48432">
                  <c:v>0.86377742108079103</c:v>
                </c:pt>
                <c:pt idx="48433">
                  <c:v>0.86379525593008699</c:v>
                </c:pt>
                <c:pt idx="48434">
                  <c:v>0.86381309077938295</c:v>
                </c:pt>
                <c:pt idx="48435">
                  <c:v>0.86383092562867803</c:v>
                </c:pt>
                <c:pt idx="48436">
                  <c:v>0.86384876047797399</c:v>
                </c:pt>
                <c:pt idx="48437">
                  <c:v>0.86386659532726895</c:v>
                </c:pt>
                <c:pt idx="48438">
                  <c:v>0.86388443017656502</c:v>
                </c:pt>
                <c:pt idx="48439">
                  <c:v>0.86390226502585998</c:v>
                </c:pt>
                <c:pt idx="48440">
                  <c:v>0.86392009987515594</c:v>
                </c:pt>
                <c:pt idx="48441">
                  <c:v>0.86393793472445102</c:v>
                </c:pt>
                <c:pt idx="48442">
                  <c:v>0.86395576957374698</c:v>
                </c:pt>
                <c:pt idx="48443">
                  <c:v>0.86397360442304205</c:v>
                </c:pt>
                <c:pt idx="48444">
                  <c:v>0.86399143927233801</c:v>
                </c:pt>
                <c:pt idx="48445">
                  <c:v>0.86400927412163298</c:v>
                </c:pt>
                <c:pt idx="48446">
                  <c:v>0.86402710897092905</c:v>
                </c:pt>
                <c:pt idx="48447">
                  <c:v>0.86404494382022401</c:v>
                </c:pt>
                <c:pt idx="48448">
                  <c:v>0.86406277866951997</c:v>
                </c:pt>
                <c:pt idx="48449">
                  <c:v>0.86408061351881504</c:v>
                </c:pt>
                <c:pt idx="48450">
                  <c:v>0.86409844836811101</c:v>
                </c:pt>
                <c:pt idx="48451">
                  <c:v>0.86411628321740597</c:v>
                </c:pt>
                <c:pt idx="48452">
                  <c:v>0.86413411806670204</c:v>
                </c:pt>
                <c:pt idx="48453">
                  <c:v>0.864151952915997</c:v>
                </c:pt>
                <c:pt idx="48454">
                  <c:v>0.86416978776529296</c:v>
                </c:pt>
                <c:pt idx="48455">
                  <c:v>0.86418762261458804</c:v>
                </c:pt>
                <c:pt idx="48456">
                  <c:v>0.864205457463884</c:v>
                </c:pt>
                <c:pt idx="48457">
                  <c:v>0.86422329231317996</c:v>
                </c:pt>
                <c:pt idx="48458">
                  <c:v>0.86424112716247503</c:v>
                </c:pt>
                <c:pt idx="48459">
                  <c:v>0.86425896201177099</c:v>
                </c:pt>
                <c:pt idx="48460">
                  <c:v>0.86427679686106595</c:v>
                </c:pt>
                <c:pt idx="48461">
                  <c:v>0.86429463171036203</c:v>
                </c:pt>
                <c:pt idx="48462">
                  <c:v>0.86431246655965699</c:v>
                </c:pt>
                <c:pt idx="48463">
                  <c:v>0.86433030140895295</c:v>
                </c:pt>
                <c:pt idx="48464">
                  <c:v>0.86434813625824802</c:v>
                </c:pt>
                <c:pt idx="48465">
                  <c:v>0.86436597110754398</c:v>
                </c:pt>
                <c:pt idx="48466">
                  <c:v>0.86438380595683895</c:v>
                </c:pt>
                <c:pt idx="48467">
                  <c:v>0.86440164080613502</c:v>
                </c:pt>
                <c:pt idx="48468">
                  <c:v>0.86441947565542998</c:v>
                </c:pt>
                <c:pt idx="48469">
                  <c:v>0.86443731050472605</c:v>
                </c:pt>
                <c:pt idx="48470">
                  <c:v>0.86445514535402102</c:v>
                </c:pt>
                <c:pt idx="48471">
                  <c:v>0.86447298020331698</c:v>
                </c:pt>
                <c:pt idx="48472">
                  <c:v>0.86449081505261205</c:v>
                </c:pt>
                <c:pt idx="48473">
                  <c:v>0.86450864990190801</c:v>
                </c:pt>
                <c:pt idx="48474">
                  <c:v>0.86452648475120297</c:v>
                </c:pt>
                <c:pt idx="48475">
                  <c:v>0.86454431960049904</c:v>
                </c:pt>
                <c:pt idx="48476">
                  <c:v>0.86456215444979401</c:v>
                </c:pt>
                <c:pt idx="48477">
                  <c:v>0.86457998929908997</c:v>
                </c:pt>
                <c:pt idx="48478">
                  <c:v>0.86459782414838504</c:v>
                </c:pt>
                <c:pt idx="48479">
                  <c:v>0.864615658997681</c:v>
                </c:pt>
                <c:pt idx="48480">
                  <c:v>0.86463349384697696</c:v>
                </c:pt>
                <c:pt idx="48481">
                  <c:v>0.86465132869627204</c:v>
                </c:pt>
                <c:pt idx="48482">
                  <c:v>0.864669163545568</c:v>
                </c:pt>
                <c:pt idx="48483">
                  <c:v>0.86468699839486296</c:v>
                </c:pt>
                <c:pt idx="48484">
                  <c:v>0.86470483324415903</c:v>
                </c:pt>
                <c:pt idx="48485">
                  <c:v>0.86472266809345399</c:v>
                </c:pt>
                <c:pt idx="48486">
                  <c:v>0.86474050294274996</c:v>
                </c:pt>
                <c:pt idx="48487">
                  <c:v>0.86475833779204503</c:v>
                </c:pt>
                <c:pt idx="48488">
                  <c:v>0.86477617264134099</c:v>
                </c:pt>
                <c:pt idx="48489">
                  <c:v>0.86479400749063595</c:v>
                </c:pt>
                <c:pt idx="48490">
                  <c:v>0.86481184233993202</c:v>
                </c:pt>
                <c:pt idx="48491">
                  <c:v>0.86482967718922699</c:v>
                </c:pt>
                <c:pt idx="48492">
                  <c:v>0.86484751203852295</c:v>
                </c:pt>
                <c:pt idx="48493">
                  <c:v>0.86486534688781802</c:v>
                </c:pt>
                <c:pt idx="48494">
                  <c:v>0.86488318173711398</c:v>
                </c:pt>
                <c:pt idx="48495">
                  <c:v>0.86490101658640905</c:v>
                </c:pt>
                <c:pt idx="48496">
                  <c:v>0.86491885143570502</c:v>
                </c:pt>
                <c:pt idx="48497">
                  <c:v>0.86493668628499998</c:v>
                </c:pt>
                <c:pt idx="48498">
                  <c:v>0.86495452113429605</c:v>
                </c:pt>
                <c:pt idx="48499">
                  <c:v>0.86497235598359101</c:v>
                </c:pt>
                <c:pt idx="48500">
                  <c:v>0.86499019083288697</c:v>
                </c:pt>
                <c:pt idx="48501">
                  <c:v>0.86500802568218205</c:v>
                </c:pt>
                <c:pt idx="48502">
                  <c:v>0.86502586053147801</c:v>
                </c:pt>
                <c:pt idx="48503">
                  <c:v>0.86504369538077397</c:v>
                </c:pt>
                <c:pt idx="48504">
                  <c:v>0.86506153023006904</c:v>
                </c:pt>
                <c:pt idx="48505">
                  <c:v>0.865079365079365</c:v>
                </c:pt>
                <c:pt idx="48506">
                  <c:v>0.86509719992865997</c:v>
                </c:pt>
                <c:pt idx="48507">
                  <c:v>0.86511503477795604</c:v>
                </c:pt>
                <c:pt idx="48508">
                  <c:v>0.865132869627251</c:v>
                </c:pt>
                <c:pt idx="48509">
                  <c:v>0.86515070447654696</c:v>
                </c:pt>
                <c:pt idx="48510">
                  <c:v>0.86516853932584203</c:v>
                </c:pt>
                <c:pt idx="48511">
                  <c:v>0.865186374175138</c:v>
                </c:pt>
                <c:pt idx="48512">
                  <c:v>0.86520420902443296</c:v>
                </c:pt>
                <c:pt idx="48513">
                  <c:v>0.86522204387372903</c:v>
                </c:pt>
                <c:pt idx="48514">
                  <c:v>0.86523987872302399</c:v>
                </c:pt>
                <c:pt idx="48515">
                  <c:v>0.86525771357231995</c:v>
                </c:pt>
                <c:pt idx="48516">
                  <c:v>0.86527554842161503</c:v>
                </c:pt>
                <c:pt idx="48517">
                  <c:v>0.86529338327091099</c:v>
                </c:pt>
                <c:pt idx="48518">
                  <c:v>0.86531121812020595</c:v>
                </c:pt>
                <c:pt idx="48519">
                  <c:v>0.86532905296950202</c:v>
                </c:pt>
                <c:pt idx="48520">
                  <c:v>0.86534688781879798</c:v>
                </c:pt>
                <c:pt idx="48521">
                  <c:v>0.86536472266809294</c:v>
                </c:pt>
                <c:pt idx="48522">
                  <c:v>0.86538255751738902</c:v>
                </c:pt>
                <c:pt idx="48523">
                  <c:v>0.86540039236668398</c:v>
                </c:pt>
                <c:pt idx="48524">
                  <c:v>0.86541822721598005</c:v>
                </c:pt>
                <c:pt idx="48525">
                  <c:v>0.86543606206527501</c:v>
                </c:pt>
                <c:pt idx="48526">
                  <c:v>0.86545389691457097</c:v>
                </c:pt>
                <c:pt idx="48527">
                  <c:v>0.86547173176386605</c:v>
                </c:pt>
                <c:pt idx="48528">
                  <c:v>0.86548956661316201</c:v>
                </c:pt>
                <c:pt idx="48529">
                  <c:v>0.86550740146245697</c:v>
                </c:pt>
                <c:pt idx="48530">
                  <c:v>0.86552523631175304</c:v>
                </c:pt>
                <c:pt idx="48531">
                  <c:v>0.86554307116104801</c:v>
                </c:pt>
                <c:pt idx="48532">
                  <c:v>0.86556090601034397</c:v>
                </c:pt>
                <c:pt idx="48533">
                  <c:v>0.86557874085963904</c:v>
                </c:pt>
                <c:pt idx="48534">
                  <c:v>0.865596575708935</c:v>
                </c:pt>
                <c:pt idx="48535">
                  <c:v>0.86561441055822996</c:v>
                </c:pt>
                <c:pt idx="48536">
                  <c:v>0.86563224540752604</c:v>
                </c:pt>
                <c:pt idx="48537">
                  <c:v>0.865650080256821</c:v>
                </c:pt>
                <c:pt idx="48538">
                  <c:v>0.86566791510611696</c:v>
                </c:pt>
                <c:pt idx="48539">
                  <c:v>0.86568574995541203</c:v>
                </c:pt>
                <c:pt idx="48540">
                  <c:v>0.86570358480470799</c:v>
                </c:pt>
                <c:pt idx="48541">
                  <c:v>0.86572141965400395</c:v>
                </c:pt>
                <c:pt idx="48542">
                  <c:v>0.86573925450329903</c:v>
                </c:pt>
                <c:pt idx="48543">
                  <c:v>0.86575708935259499</c:v>
                </c:pt>
                <c:pt idx="48544">
                  <c:v>0.86577492420188995</c:v>
                </c:pt>
                <c:pt idx="48545">
                  <c:v>0.86579275905118602</c:v>
                </c:pt>
                <c:pt idx="48546">
                  <c:v>0.86581059390048098</c:v>
                </c:pt>
                <c:pt idx="48547">
                  <c:v>0.86582842874977695</c:v>
                </c:pt>
                <c:pt idx="48548">
                  <c:v>0.86584626359907202</c:v>
                </c:pt>
                <c:pt idx="48549">
                  <c:v>0.86586409844836798</c:v>
                </c:pt>
                <c:pt idx="48550">
                  <c:v>0.86588193329766305</c:v>
                </c:pt>
                <c:pt idx="48551">
                  <c:v>0.86589976814695901</c:v>
                </c:pt>
                <c:pt idx="48552">
                  <c:v>0.86591760299625398</c:v>
                </c:pt>
                <c:pt idx="48553">
                  <c:v>0.86593543784555005</c:v>
                </c:pt>
                <c:pt idx="48554">
                  <c:v>0.86595327269484501</c:v>
                </c:pt>
                <c:pt idx="48555">
                  <c:v>0.86597110754414097</c:v>
                </c:pt>
                <c:pt idx="48556">
                  <c:v>0.86598894239343605</c:v>
                </c:pt>
                <c:pt idx="48557">
                  <c:v>0.86600677724273201</c:v>
                </c:pt>
                <c:pt idx="48558">
                  <c:v>0.86602461209202697</c:v>
                </c:pt>
                <c:pt idx="48559">
                  <c:v>0.86604244694132304</c:v>
                </c:pt>
                <c:pt idx="48560">
                  <c:v>0.866060281790618</c:v>
                </c:pt>
                <c:pt idx="48561">
                  <c:v>0.86607811663991396</c:v>
                </c:pt>
                <c:pt idx="48562">
                  <c:v>0.86609595148920904</c:v>
                </c:pt>
                <c:pt idx="48563">
                  <c:v>0.866113786338505</c:v>
                </c:pt>
                <c:pt idx="48564">
                  <c:v>0.86613162118780096</c:v>
                </c:pt>
                <c:pt idx="48565">
                  <c:v>0.86614945603709603</c:v>
                </c:pt>
                <c:pt idx="48566">
                  <c:v>0.86616729088639199</c:v>
                </c:pt>
                <c:pt idx="48567">
                  <c:v>0.86618512573568696</c:v>
                </c:pt>
                <c:pt idx="48568">
                  <c:v>0.86620296058498303</c:v>
                </c:pt>
                <c:pt idx="48569">
                  <c:v>0.86622079543427799</c:v>
                </c:pt>
                <c:pt idx="48570">
                  <c:v>0.86623863028357395</c:v>
                </c:pt>
                <c:pt idx="48571">
                  <c:v>0.86625646513286902</c:v>
                </c:pt>
                <c:pt idx="48572">
                  <c:v>0.86627429998216499</c:v>
                </c:pt>
                <c:pt idx="48573">
                  <c:v>0.86629213483145995</c:v>
                </c:pt>
                <c:pt idx="48574">
                  <c:v>0.86630996968075602</c:v>
                </c:pt>
                <c:pt idx="48575">
                  <c:v>0.86632780453005098</c:v>
                </c:pt>
                <c:pt idx="48576">
                  <c:v>0.86634563937934705</c:v>
                </c:pt>
                <c:pt idx="48577">
                  <c:v>0.86636347422864202</c:v>
                </c:pt>
                <c:pt idx="48578">
                  <c:v>0.86638130907793798</c:v>
                </c:pt>
                <c:pt idx="48579">
                  <c:v>0.86639914392723305</c:v>
                </c:pt>
                <c:pt idx="48580">
                  <c:v>0.86641697877652901</c:v>
                </c:pt>
                <c:pt idx="48581">
                  <c:v>0.86643481362582397</c:v>
                </c:pt>
                <c:pt idx="48582">
                  <c:v>0.86645264847512005</c:v>
                </c:pt>
                <c:pt idx="48583">
                  <c:v>0.86647048332441501</c:v>
                </c:pt>
                <c:pt idx="48584">
                  <c:v>0.86648831817371097</c:v>
                </c:pt>
                <c:pt idx="48585">
                  <c:v>0.86650615302300604</c:v>
                </c:pt>
                <c:pt idx="48586">
                  <c:v>0.866523987872302</c:v>
                </c:pt>
                <c:pt idx="48587">
                  <c:v>0.86654182272159797</c:v>
                </c:pt>
                <c:pt idx="48588">
                  <c:v>0.86655965757089304</c:v>
                </c:pt>
                <c:pt idx="48589">
                  <c:v>0.866577492420189</c:v>
                </c:pt>
                <c:pt idx="48590">
                  <c:v>0.86659532726948396</c:v>
                </c:pt>
                <c:pt idx="48591">
                  <c:v>0.86661316211878003</c:v>
                </c:pt>
                <c:pt idx="48592">
                  <c:v>0.866630996968075</c:v>
                </c:pt>
                <c:pt idx="48593">
                  <c:v>0.86664883181737096</c:v>
                </c:pt>
                <c:pt idx="48594">
                  <c:v>0.86666666666666603</c:v>
                </c:pt>
                <c:pt idx="48595">
                  <c:v>0.86668450151596199</c:v>
                </c:pt>
                <c:pt idx="48596">
                  <c:v>0.86670233636525695</c:v>
                </c:pt>
                <c:pt idx="48597">
                  <c:v>0.86672017121455303</c:v>
                </c:pt>
                <c:pt idx="48598">
                  <c:v>0.86673800606384799</c:v>
                </c:pt>
                <c:pt idx="48599">
                  <c:v>0.86675584091314395</c:v>
                </c:pt>
                <c:pt idx="48600">
                  <c:v>0.86677367576243902</c:v>
                </c:pt>
                <c:pt idx="48601">
                  <c:v>0.86679151061173498</c:v>
                </c:pt>
                <c:pt idx="48602">
                  <c:v>0.86680934546102995</c:v>
                </c:pt>
                <c:pt idx="48603">
                  <c:v>0.86682718031032602</c:v>
                </c:pt>
                <c:pt idx="48604">
                  <c:v>0.86684501515962098</c:v>
                </c:pt>
                <c:pt idx="48605">
                  <c:v>0.86686285000891705</c:v>
                </c:pt>
                <c:pt idx="48606">
                  <c:v>0.86688068485821201</c:v>
                </c:pt>
                <c:pt idx="48607">
                  <c:v>0.86689851970750798</c:v>
                </c:pt>
                <c:pt idx="48608">
                  <c:v>0.86691635455680405</c:v>
                </c:pt>
                <c:pt idx="48609">
                  <c:v>0.86693418940609901</c:v>
                </c:pt>
                <c:pt idx="48610">
                  <c:v>0.86695202425539497</c:v>
                </c:pt>
                <c:pt idx="48611">
                  <c:v>0.86696985910469004</c:v>
                </c:pt>
                <c:pt idx="48612">
                  <c:v>0.86698769395398601</c:v>
                </c:pt>
                <c:pt idx="48613">
                  <c:v>0.86700552880328097</c:v>
                </c:pt>
                <c:pt idx="48614">
                  <c:v>0.86702336365257704</c:v>
                </c:pt>
                <c:pt idx="48615">
                  <c:v>0.867041198501872</c:v>
                </c:pt>
                <c:pt idx="48616">
                  <c:v>0.86705903335116796</c:v>
                </c:pt>
                <c:pt idx="48617">
                  <c:v>0.86707686820046304</c:v>
                </c:pt>
                <c:pt idx="48618">
                  <c:v>0.867094703049759</c:v>
                </c:pt>
                <c:pt idx="48619">
                  <c:v>0.86711253789905396</c:v>
                </c:pt>
                <c:pt idx="48620">
                  <c:v>0.86713037274835003</c:v>
                </c:pt>
                <c:pt idx="48621">
                  <c:v>0.86714820759764499</c:v>
                </c:pt>
                <c:pt idx="48622">
                  <c:v>0.86716604244694095</c:v>
                </c:pt>
                <c:pt idx="48623">
                  <c:v>0.86718387729623603</c:v>
                </c:pt>
                <c:pt idx="48624">
                  <c:v>0.86720171214553199</c:v>
                </c:pt>
                <c:pt idx="48625">
                  <c:v>0.86721954699482695</c:v>
                </c:pt>
                <c:pt idx="48626">
                  <c:v>0.86723738184412302</c:v>
                </c:pt>
                <c:pt idx="48627">
                  <c:v>0.86725521669341898</c:v>
                </c:pt>
                <c:pt idx="48628">
                  <c:v>0.86727305154271395</c:v>
                </c:pt>
                <c:pt idx="48629">
                  <c:v>0.86729088639201002</c:v>
                </c:pt>
                <c:pt idx="48630">
                  <c:v>0.86730872124130498</c:v>
                </c:pt>
                <c:pt idx="48631">
                  <c:v>0.86732655609060105</c:v>
                </c:pt>
                <c:pt idx="48632">
                  <c:v>0.86734439093989601</c:v>
                </c:pt>
                <c:pt idx="48633">
                  <c:v>0.86736222578919198</c:v>
                </c:pt>
                <c:pt idx="48634">
                  <c:v>0.86738006063848705</c:v>
                </c:pt>
                <c:pt idx="48635">
                  <c:v>0.86739789548778301</c:v>
                </c:pt>
                <c:pt idx="48636">
                  <c:v>0.86741573033707797</c:v>
                </c:pt>
                <c:pt idx="48637">
                  <c:v>0.86743356518637404</c:v>
                </c:pt>
                <c:pt idx="48638">
                  <c:v>0.86745140003566901</c:v>
                </c:pt>
                <c:pt idx="48639">
                  <c:v>0.86746923488496497</c:v>
                </c:pt>
                <c:pt idx="48640">
                  <c:v>0.86748706973426004</c:v>
                </c:pt>
                <c:pt idx="48641">
                  <c:v>0.867504904583556</c:v>
                </c:pt>
                <c:pt idx="48642">
                  <c:v>0.86752273943285096</c:v>
                </c:pt>
                <c:pt idx="48643">
                  <c:v>0.86754057428214704</c:v>
                </c:pt>
                <c:pt idx="48644">
                  <c:v>0.867558409131442</c:v>
                </c:pt>
                <c:pt idx="48645">
                  <c:v>0.86757624398073796</c:v>
                </c:pt>
                <c:pt idx="48646">
                  <c:v>0.86759407883003303</c:v>
                </c:pt>
                <c:pt idx="48647">
                  <c:v>0.86761191367932899</c:v>
                </c:pt>
                <c:pt idx="48648">
                  <c:v>0.86762974852862496</c:v>
                </c:pt>
                <c:pt idx="48649">
                  <c:v>0.86764758337792003</c:v>
                </c:pt>
                <c:pt idx="48650">
                  <c:v>0.86766541822721599</c:v>
                </c:pt>
                <c:pt idx="48651">
                  <c:v>0.86768325307651095</c:v>
                </c:pt>
                <c:pt idx="48652">
                  <c:v>0.86770108792580702</c:v>
                </c:pt>
                <c:pt idx="48653">
                  <c:v>0.86771892277510199</c:v>
                </c:pt>
                <c:pt idx="48654">
                  <c:v>0.86773675762439795</c:v>
                </c:pt>
                <c:pt idx="48655">
                  <c:v>0.86775459247369302</c:v>
                </c:pt>
                <c:pt idx="48656">
                  <c:v>0.86777242732298898</c:v>
                </c:pt>
                <c:pt idx="48657">
                  <c:v>0.86779026217228405</c:v>
                </c:pt>
                <c:pt idx="48658">
                  <c:v>0.86780809702158002</c:v>
                </c:pt>
                <c:pt idx="48659">
                  <c:v>0.86782593187087498</c:v>
                </c:pt>
                <c:pt idx="48660">
                  <c:v>0.86784376672017105</c:v>
                </c:pt>
                <c:pt idx="48661">
                  <c:v>0.86786160156946601</c:v>
                </c:pt>
                <c:pt idx="48662">
                  <c:v>0.86787943641876197</c:v>
                </c:pt>
                <c:pt idx="48663">
                  <c:v>0.86789727126805705</c:v>
                </c:pt>
                <c:pt idx="48664">
                  <c:v>0.86791510611735301</c:v>
                </c:pt>
                <c:pt idx="48665">
                  <c:v>0.86793294096664797</c:v>
                </c:pt>
                <c:pt idx="48666">
                  <c:v>0.86795077581594404</c:v>
                </c:pt>
                <c:pt idx="48667">
                  <c:v>0.867968610665239</c:v>
                </c:pt>
                <c:pt idx="48668">
                  <c:v>0.86798644551453497</c:v>
                </c:pt>
                <c:pt idx="48669">
                  <c:v>0.86800428036383004</c:v>
                </c:pt>
                <c:pt idx="48670">
                  <c:v>0.868022115213126</c:v>
                </c:pt>
                <c:pt idx="48671">
                  <c:v>0.86803995006242196</c:v>
                </c:pt>
                <c:pt idx="48672">
                  <c:v>0.86805778491171703</c:v>
                </c:pt>
                <c:pt idx="48673">
                  <c:v>0.868075619761013</c:v>
                </c:pt>
                <c:pt idx="48674">
                  <c:v>0.86809345461030796</c:v>
                </c:pt>
                <c:pt idx="48675">
                  <c:v>0.86811128945960403</c:v>
                </c:pt>
                <c:pt idx="48676">
                  <c:v>0.86812912430889899</c:v>
                </c:pt>
                <c:pt idx="48677">
                  <c:v>0.86814695915819495</c:v>
                </c:pt>
                <c:pt idx="48678">
                  <c:v>0.86816479400749003</c:v>
                </c:pt>
                <c:pt idx="48679">
                  <c:v>0.86818262885678599</c:v>
                </c:pt>
                <c:pt idx="48680">
                  <c:v>0.86820046370608095</c:v>
                </c:pt>
                <c:pt idx="48681">
                  <c:v>0.86821829855537702</c:v>
                </c:pt>
                <c:pt idx="48682">
                  <c:v>0.86823613340467198</c:v>
                </c:pt>
                <c:pt idx="48683">
                  <c:v>0.86825396825396794</c:v>
                </c:pt>
                <c:pt idx="48684">
                  <c:v>0.86827180310326302</c:v>
                </c:pt>
                <c:pt idx="48685">
                  <c:v>0.86828963795255898</c:v>
                </c:pt>
                <c:pt idx="48686">
                  <c:v>0.86830747280185405</c:v>
                </c:pt>
                <c:pt idx="48687">
                  <c:v>0.86832530765115001</c:v>
                </c:pt>
                <c:pt idx="48688">
                  <c:v>0.86834314250044498</c:v>
                </c:pt>
                <c:pt idx="48689">
                  <c:v>0.86836097734974105</c:v>
                </c:pt>
                <c:pt idx="48690">
                  <c:v>0.86837881219903601</c:v>
                </c:pt>
                <c:pt idx="48691">
                  <c:v>0.86839664704833197</c:v>
                </c:pt>
                <c:pt idx="48692">
                  <c:v>0.86841448189762704</c:v>
                </c:pt>
                <c:pt idx="48693">
                  <c:v>0.86843231674692301</c:v>
                </c:pt>
                <c:pt idx="48694">
                  <c:v>0.86845015159621897</c:v>
                </c:pt>
                <c:pt idx="48695">
                  <c:v>0.86846798644551404</c:v>
                </c:pt>
                <c:pt idx="48696">
                  <c:v>0.86848582129481</c:v>
                </c:pt>
                <c:pt idx="48697">
                  <c:v>0.86850365614410496</c:v>
                </c:pt>
                <c:pt idx="48698">
                  <c:v>0.86852149099340104</c:v>
                </c:pt>
                <c:pt idx="48699">
                  <c:v>0.868539325842696</c:v>
                </c:pt>
                <c:pt idx="48700">
                  <c:v>0.86855716069199196</c:v>
                </c:pt>
                <c:pt idx="48701">
                  <c:v>0.86857499554128703</c:v>
                </c:pt>
                <c:pt idx="48702">
                  <c:v>0.86859283039058299</c:v>
                </c:pt>
                <c:pt idx="48703">
                  <c:v>0.86861066523987795</c:v>
                </c:pt>
                <c:pt idx="48704">
                  <c:v>0.86862850008917403</c:v>
                </c:pt>
                <c:pt idx="48705">
                  <c:v>0.86864633493846899</c:v>
                </c:pt>
                <c:pt idx="48706">
                  <c:v>0.86866416978776495</c:v>
                </c:pt>
                <c:pt idx="48707">
                  <c:v>0.86868200463706002</c:v>
                </c:pt>
                <c:pt idx="48708">
                  <c:v>0.86869983948635598</c:v>
                </c:pt>
                <c:pt idx="48709">
                  <c:v>0.86871767433565095</c:v>
                </c:pt>
                <c:pt idx="48710">
                  <c:v>0.86873550918494702</c:v>
                </c:pt>
                <c:pt idx="48711">
                  <c:v>0.86875334403424198</c:v>
                </c:pt>
                <c:pt idx="48712">
                  <c:v>0.86877117888353805</c:v>
                </c:pt>
                <c:pt idx="48713">
                  <c:v>0.86878901373283302</c:v>
                </c:pt>
                <c:pt idx="48714">
                  <c:v>0.86880684858212898</c:v>
                </c:pt>
                <c:pt idx="48715">
                  <c:v>0.86882468343142505</c:v>
                </c:pt>
                <c:pt idx="48716">
                  <c:v>0.86884251828072001</c:v>
                </c:pt>
                <c:pt idx="48717">
                  <c:v>0.86886035313001597</c:v>
                </c:pt>
                <c:pt idx="48718">
                  <c:v>0.86887818797931105</c:v>
                </c:pt>
                <c:pt idx="48719">
                  <c:v>0.86889602282860701</c:v>
                </c:pt>
                <c:pt idx="48720">
                  <c:v>0.86891385767790197</c:v>
                </c:pt>
                <c:pt idx="48721">
                  <c:v>0.86893169252719804</c:v>
                </c:pt>
                <c:pt idx="48722">
                  <c:v>0.868949527376493</c:v>
                </c:pt>
                <c:pt idx="48723">
                  <c:v>0.86896736222578896</c:v>
                </c:pt>
                <c:pt idx="48724">
                  <c:v>0.86898519707508404</c:v>
                </c:pt>
                <c:pt idx="48725">
                  <c:v>0.86900303192438</c:v>
                </c:pt>
                <c:pt idx="48726">
                  <c:v>0.86902086677367496</c:v>
                </c:pt>
                <c:pt idx="48727">
                  <c:v>0.86903870162297103</c:v>
                </c:pt>
                <c:pt idx="48728">
                  <c:v>0.86905653647226599</c:v>
                </c:pt>
                <c:pt idx="48729">
                  <c:v>0.86907437132156196</c:v>
                </c:pt>
                <c:pt idx="48730">
                  <c:v>0.86909220617085703</c:v>
                </c:pt>
                <c:pt idx="48731">
                  <c:v>0.86911004102015299</c:v>
                </c:pt>
                <c:pt idx="48732">
                  <c:v>0.86912787586944895</c:v>
                </c:pt>
                <c:pt idx="48733">
                  <c:v>0.86914571071874402</c:v>
                </c:pt>
                <c:pt idx="48734">
                  <c:v>0.86916354556803999</c:v>
                </c:pt>
                <c:pt idx="48735">
                  <c:v>0.86918138041733495</c:v>
                </c:pt>
                <c:pt idx="48736">
                  <c:v>0.86919921526663102</c:v>
                </c:pt>
                <c:pt idx="48737">
                  <c:v>0.86921705011592598</c:v>
                </c:pt>
                <c:pt idx="48738">
                  <c:v>0.86923488496522205</c:v>
                </c:pt>
                <c:pt idx="48739">
                  <c:v>0.86925271981451702</c:v>
                </c:pt>
                <c:pt idx="48740">
                  <c:v>0.86927055466381298</c:v>
                </c:pt>
                <c:pt idx="48741">
                  <c:v>0.86928838951310805</c:v>
                </c:pt>
                <c:pt idx="48742">
                  <c:v>0.86930622436240401</c:v>
                </c:pt>
                <c:pt idx="48743">
                  <c:v>0.86932405921169897</c:v>
                </c:pt>
                <c:pt idx="48744">
                  <c:v>0.86934189406099505</c:v>
                </c:pt>
                <c:pt idx="48745">
                  <c:v>0.86935972891029001</c:v>
                </c:pt>
                <c:pt idx="48746">
                  <c:v>0.86937756375958597</c:v>
                </c:pt>
                <c:pt idx="48747">
                  <c:v>0.86939539860888104</c:v>
                </c:pt>
                <c:pt idx="48748">
                  <c:v>0.869413233458177</c:v>
                </c:pt>
                <c:pt idx="48749">
                  <c:v>0.86943106830747197</c:v>
                </c:pt>
                <c:pt idx="48750">
                  <c:v>0.86944890315676804</c:v>
                </c:pt>
                <c:pt idx="48751">
                  <c:v>0.869466738006063</c:v>
                </c:pt>
                <c:pt idx="48752">
                  <c:v>0.86948457285535896</c:v>
                </c:pt>
                <c:pt idx="48753">
                  <c:v>0.86950240770465403</c:v>
                </c:pt>
                <c:pt idx="48754">
                  <c:v>0.86952024255395</c:v>
                </c:pt>
                <c:pt idx="48755">
                  <c:v>0.86953807740324596</c:v>
                </c:pt>
                <c:pt idx="48756">
                  <c:v>0.86955591225254103</c:v>
                </c:pt>
                <c:pt idx="48757">
                  <c:v>0.86957374710183699</c:v>
                </c:pt>
                <c:pt idx="48758">
                  <c:v>0.86959158195113195</c:v>
                </c:pt>
                <c:pt idx="48759">
                  <c:v>0.86960941680042803</c:v>
                </c:pt>
                <c:pt idx="48760">
                  <c:v>0.86962725164972299</c:v>
                </c:pt>
                <c:pt idx="48761">
                  <c:v>0.86964508649901895</c:v>
                </c:pt>
                <c:pt idx="48762">
                  <c:v>0.86966292134831402</c:v>
                </c:pt>
                <c:pt idx="48763">
                  <c:v>0.86968075619760998</c:v>
                </c:pt>
                <c:pt idx="48764">
                  <c:v>0.86969859104690495</c:v>
                </c:pt>
                <c:pt idx="48765">
                  <c:v>0.86971642589620102</c:v>
                </c:pt>
                <c:pt idx="48766">
                  <c:v>0.86973426074549598</c:v>
                </c:pt>
                <c:pt idx="48767">
                  <c:v>0.86975209559479205</c:v>
                </c:pt>
                <c:pt idx="48768">
                  <c:v>0.86976993044408701</c:v>
                </c:pt>
                <c:pt idx="48769">
                  <c:v>0.86978776529338298</c:v>
                </c:pt>
                <c:pt idx="48770">
                  <c:v>0.86980560014267805</c:v>
                </c:pt>
                <c:pt idx="48771">
                  <c:v>0.86982343499197401</c:v>
                </c:pt>
                <c:pt idx="48772">
                  <c:v>0.86984126984126897</c:v>
                </c:pt>
                <c:pt idx="48773">
                  <c:v>0.86985910469056504</c:v>
                </c:pt>
                <c:pt idx="48774">
                  <c:v>0.86987693953986001</c:v>
                </c:pt>
                <c:pt idx="48775">
                  <c:v>0.86989477438915597</c:v>
                </c:pt>
                <c:pt idx="48776">
                  <c:v>0.86991260923845104</c:v>
                </c:pt>
                <c:pt idx="48777">
                  <c:v>0.869930444087747</c:v>
                </c:pt>
                <c:pt idx="48778">
                  <c:v>0.86994827893704296</c:v>
                </c:pt>
                <c:pt idx="48779">
                  <c:v>0.86996611378633804</c:v>
                </c:pt>
                <c:pt idx="48780">
                  <c:v>0.869983948635634</c:v>
                </c:pt>
                <c:pt idx="48781">
                  <c:v>0.87000178348492896</c:v>
                </c:pt>
                <c:pt idx="48782">
                  <c:v>0.87001961833422503</c:v>
                </c:pt>
                <c:pt idx="48783">
                  <c:v>0.87003745318351999</c:v>
                </c:pt>
                <c:pt idx="48784">
                  <c:v>0.87005528803281595</c:v>
                </c:pt>
                <c:pt idx="48785">
                  <c:v>0.87007312288211103</c:v>
                </c:pt>
                <c:pt idx="48786">
                  <c:v>0.87009095773140699</c:v>
                </c:pt>
                <c:pt idx="48787">
                  <c:v>0.87010879258070195</c:v>
                </c:pt>
                <c:pt idx="48788">
                  <c:v>0.87012662742999802</c:v>
                </c:pt>
                <c:pt idx="48789">
                  <c:v>0.87014446227929299</c:v>
                </c:pt>
                <c:pt idx="48790">
                  <c:v>0.87016229712858895</c:v>
                </c:pt>
                <c:pt idx="48791">
                  <c:v>0.87018013197788402</c:v>
                </c:pt>
                <c:pt idx="48792">
                  <c:v>0.87019796682717998</c:v>
                </c:pt>
                <c:pt idx="48793">
                  <c:v>0.87021580167647505</c:v>
                </c:pt>
                <c:pt idx="48794">
                  <c:v>0.87023363652577101</c:v>
                </c:pt>
                <c:pt idx="48795">
                  <c:v>0.87025147137506598</c:v>
                </c:pt>
                <c:pt idx="48796">
                  <c:v>0.87026930622436205</c:v>
                </c:pt>
                <c:pt idx="48797">
                  <c:v>0.87028714107365701</c:v>
                </c:pt>
                <c:pt idx="48798">
                  <c:v>0.87030497592295297</c:v>
                </c:pt>
                <c:pt idx="48799">
                  <c:v>0.87032281077224805</c:v>
                </c:pt>
                <c:pt idx="48800">
                  <c:v>0.87034064562154401</c:v>
                </c:pt>
                <c:pt idx="48801">
                  <c:v>0.87035848047083997</c:v>
                </c:pt>
                <c:pt idx="48802">
                  <c:v>0.87037631532013504</c:v>
                </c:pt>
                <c:pt idx="48803">
                  <c:v>0.870394150169431</c:v>
                </c:pt>
                <c:pt idx="48804">
                  <c:v>0.87041198501872596</c:v>
                </c:pt>
                <c:pt idx="48805">
                  <c:v>0.87042981986802204</c:v>
                </c:pt>
                <c:pt idx="48806">
                  <c:v>0.870447654717317</c:v>
                </c:pt>
                <c:pt idx="48807">
                  <c:v>0.87046548956661296</c:v>
                </c:pt>
                <c:pt idx="48808">
                  <c:v>0.87048332441590803</c:v>
                </c:pt>
                <c:pt idx="48809">
                  <c:v>0.87050115926520399</c:v>
                </c:pt>
                <c:pt idx="48810">
                  <c:v>0.87051899411449896</c:v>
                </c:pt>
                <c:pt idx="48811">
                  <c:v>0.87053682896379503</c:v>
                </c:pt>
                <c:pt idx="48812">
                  <c:v>0.87055466381308999</c:v>
                </c:pt>
                <c:pt idx="48813">
                  <c:v>0.87057249866238595</c:v>
                </c:pt>
                <c:pt idx="48814">
                  <c:v>0.87059033351168102</c:v>
                </c:pt>
                <c:pt idx="48815">
                  <c:v>0.87060816836097699</c:v>
                </c:pt>
                <c:pt idx="48816">
                  <c:v>0.87062600321027195</c:v>
                </c:pt>
                <c:pt idx="48817">
                  <c:v>0.87064383805956802</c:v>
                </c:pt>
                <c:pt idx="48818">
                  <c:v>0.87066167290886298</c:v>
                </c:pt>
                <c:pt idx="48819">
                  <c:v>0.87067950775815905</c:v>
                </c:pt>
                <c:pt idx="48820">
                  <c:v>0.87069734260745502</c:v>
                </c:pt>
                <c:pt idx="48821">
                  <c:v>0.87071517745674998</c:v>
                </c:pt>
                <c:pt idx="48822">
                  <c:v>0.87073301230604605</c:v>
                </c:pt>
                <c:pt idx="48823">
                  <c:v>0.87075084715534101</c:v>
                </c:pt>
                <c:pt idx="48824">
                  <c:v>0.87076868200463697</c:v>
                </c:pt>
                <c:pt idx="48825">
                  <c:v>0.87078651685393205</c:v>
                </c:pt>
                <c:pt idx="48826">
                  <c:v>0.87080435170322801</c:v>
                </c:pt>
                <c:pt idx="48827">
                  <c:v>0.87082218655252297</c:v>
                </c:pt>
                <c:pt idx="48828">
                  <c:v>0.87084002140181904</c:v>
                </c:pt>
                <c:pt idx="48829">
                  <c:v>0.870857856251114</c:v>
                </c:pt>
                <c:pt idx="48830">
                  <c:v>0.87087569110040997</c:v>
                </c:pt>
                <c:pt idx="48831">
                  <c:v>0.87089352594970504</c:v>
                </c:pt>
                <c:pt idx="48832">
                  <c:v>0.870911360799001</c:v>
                </c:pt>
                <c:pt idx="48833">
                  <c:v>0.87092919564829596</c:v>
                </c:pt>
                <c:pt idx="48834">
                  <c:v>0.87094703049759203</c:v>
                </c:pt>
                <c:pt idx="48835">
                  <c:v>0.870964865346887</c:v>
                </c:pt>
                <c:pt idx="48836">
                  <c:v>0.87098270019618296</c:v>
                </c:pt>
                <c:pt idx="48837">
                  <c:v>0.87100053504547803</c:v>
                </c:pt>
                <c:pt idx="48838">
                  <c:v>0.87101836989477399</c:v>
                </c:pt>
                <c:pt idx="48839">
                  <c:v>0.87103620474406995</c:v>
                </c:pt>
                <c:pt idx="48840">
                  <c:v>0.87105403959336503</c:v>
                </c:pt>
                <c:pt idx="48841">
                  <c:v>0.87107187444266099</c:v>
                </c:pt>
                <c:pt idx="48842">
                  <c:v>0.87108970929195595</c:v>
                </c:pt>
                <c:pt idx="48843">
                  <c:v>0.87110754414125202</c:v>
                </c:pt>
                <c:pt idx="48844">
                  <c:v>0.87112537899054698</c:v>
                </c:pt>
                <c:pt idx="48845">
                  <c:v>0.87114321383984294</c:v>
                </c:pt>
                <c:pt idx="48846">
                  <c:v>0.87116104868913802</c:v>
                </c:pt>
                <c:pt idx="48847">
                  <c:v>0.87117888353843398</c:v>
                </c:pt>
                <c:pt idx="48848">
                  <c:v>0.87119671838772905</c:v>
                </c:pt>
                <c:pt idx="48849">
                  <c:v>0.87121455323702501</c:v>
                </c:pt>
                <c:pt idx="48850">
                  <c:v>0.87123238808631998</c:v>
                </c:pt>
                <c:pt idx="48851">
                  <c:v>0.87125022293561605</c:v>
                </c:pt>
                <c:pt idx="48852">
                  <c:v>0.87126805778491101</c:v>
                </c:pt>
                <c:pt idx="48853">
                  <c:v>0.87128589263420697</c:v>
                </c:pt>
                <c:pt idx="48854">
                  <c:v>0.87130372748350204</c:v>
                </c:pt>
                <c:pt idx="48855">
                  <c:v>0.87132156233279801</c:v>
                </c:pt>
                <c:pt idx="48856">
                  <c:v>0.87133939718209297</c:v>
                </c:pt>
                <c:pt idx="48857">
                  <c:v>0.87135723203138904</c:v>
                </c:pt>
                <c:pt idx="48858">
                  <c:v>0.871375066880684</c:v>
                </c:pt>
                <c:pt idx="48859">
                  <c:v>0.87139290172997996</c:v>
                </c:pt>
                <c:pt idx="48860">
                  <c:v>0.87141073657927504</c:v>
                </c:pt>
                <c:pt idx="48861">
                  <c:v>0.871428571428571</c:v>
                </c:pt>
                <c:pt idx="48862">
                  <c:v>0.87144640627786696</c:v>
                </c:pt>
                <c:pt idx="48863">
                  <c:v>0.87146424112716203</c:v>
                </c:pt>
                <c:pt idx="48864">
                  <c:v>0.87148207597645799</c:v>
                </c:pt>
                <c:pt idx="48865">
                  <c:v>0.87149991082575295</c:v>
                </c:pt>
                <c:pt idx="48866">
                  <c:v>0.87151774567504903</c:v>
                </c:pt>
                <c:pt idx="48867">
                  <c:v>0.87153558052434399</c:v>
                </c:pt>
                <c:pt idx="48868">
                  <c:v>0.87155341537363995</c:v>
                </c:pt>
                <c:pt idx="48869">
                  <c:v>0.87157125022293502</c:v>
                </c:pt>
                <c:pt idx="48870">
                  <c:v>0.87158908507223098</c:v>
                </c:pt>
                <c:pt idx="48871">
                  <c:v>0.87160691992152595</c:v>
                </c:pt>
                <c:pt idx="48872">
                  <c:v>0.87162475477082202</c:v>
                </c:pt>
                <c:pt idx="48873">
                  <c:v>0.87164258962011698</c:v>
                </c:pt>
                <c:pt idx="48874">
                  <c:v>0.87166042446941305</c:v>
                </c:pt>
                <c:pt idx="48875">
                  <c:v>0.87167825931870802</c:v>
                </c:pt>
                <c:pt idx="48876">
                  <c:v>0.87169609416800398</c:v>
                </c:pt>
                <c:pt idx="48877">
                  <c:v>0.87171392901729905</c:v>
                </c:pt>
                <c:pt idx="48878">
                  <c:v>0.87173176386659501</c:v>
                </c:pt>
                <c:pt idx="48879">
                  <c:v>0.87174959871588997</c:v>
                </c:pt>
                <c:pt idx="48880">
                  <c:v>0.87176743356518605</c:v>
                </c:pt>
                <c:pt idx="48881">
                  <c:v>0.87178526841448101</c:v>
                </c:pt>
                <c:pt idx="48882">
                  <c:v>0.87180310326377697</c:v>
                </c:pt>
                <c:pt idx="48883">
                  <c:v>0.87182093811307204</c:v>
                </c:pt>
                <c:pt idx="48884">
                  <c:v>0.871838772962368</c:v>
                </c:pt>
                <c:pt idx="48885">
                  <c:v>0.87185660781166396</c:v>
                </c:pt>
                <c:pt idx="48886">
                  <c:v>0.87187444266095904</c:v>
                </c:pt>
                <c:pt idx="48887">
                  <c:v>0.871892277510255</c:v>
                </c:pt>
                <c:pt idx="48888">
                  <c:v>0.87191011235954996</c:v>
                </c:pt>
                <c:pt idx="48889">
                  <c:v>0.87192794720884603</c:v>
                </c:pt>
                <c:pt idx="48890">
                  <c:v>0.87194578205814099</c:v>
                </c:pt>
                <c:pt idx="48891">
                  <c:v>0.87196361690743696</c:v>
                </c:pt>
                <c:pt idx="48892">
                  <c:v>0.87198145175673203</c:v>
                </c:pt>
                <c:pt idx="48893">
                  <c:v>0.87199928660602799</c:v>
                </c:pt>
                <c:pt idx="48894">
                  <c:v>0.87201712145532295</c:v>
                </c:pt>
                <c:pt idx="48895">
                  <c:v>0.87203495630461902</c:v>
                </c:pt>
                <c:pt idx="48896">
                  <c:v>0.87205279115391399</c:v>
                </c:pt>
                <c:pt idx="48897">
                  <c:v>0.87207062600320995</c:v>
                </c:pt>
                <c:pt idx="48898">
                  <c:v>0.87208846085250502</c:v>
                </c:pt>
                <c:pt idx="48899">
                  <c:v>0.87210629570180098</c:v>
                </c:pt>
                <c:pt idx="48900">
                  <c:v>0.87212413055109606</c:v>
                </c:pt>
                <c:pt idx="48901">
                  <c:v>0.87214196540039202</c:v>
                </c:pt>
                <c:pt idx="48902">
                  <c:v>0.87215980024968698</c:v>
                </c:pt>
                <c:pt idx="48903">
                  <c:v>0.87217763509898305</c:v>
                </c:pt>
                <c:pt idx="48904">
                  <c:v>0.87219546994827801</c:v>
                </c:pt>
                <c:pt idx="48905">
                  <c:v>0.87221330479757397</c:v>
                </c:pt>
                <c:pt idx="48906">
                  <c:v>0.87223113964686905</c:v>
                </c:pt>
                <c:pt idx="48907">
                  <c:v>0.87224897449616501</c:v>
                </c:pt>
                <c:pt idx="48908">
                  <c:v>0.87226680934546097</c:v>
                </c:pt>
                <c:pt idx="48909">
                  <c:v>0.87228464419475604</c:v>
                </c:pt>
                <c:pt idx="48910">
                  <c:v>0.872302479044052</c:v>
                </c:pt>
                <c:pt idx="48911">
                  <c:v>0.87232031389334697</c:v>
                </c:pt>
                <c:pt idx="48912">
                  <c:v>0.87233814874264304</c:v>
                </c:pt>
                <c:pt idx="48913">
                  <c:v>0.872355983591938</c:v>
                </c:pt>
                <c:pt idx="48914">
                  <c:v>0.87237381844123396</c:v>
                </c:pt>
                <c:pt idx="48915">
                  <c:v>0.87239165329052903</c:v>
                </c:pt>
                <c:pt idx="48916">
                  <c:v>0.872409488139825</c:v>
                </c:pt>
                <c:pt idx="48917">
                  <c:v>0.87242732298911996</c:v>
                </c:pt>
                <c:pt idx="48918">
                  <c:v>0.87244515783841603</c:v>
                </c:pt>
                <c:pt idx="48919">
                  <c:v>0.87246299268771099</c:v>
                </c:pt>
                <c:pt idx="48920">
                  <c:v>0.87248082753700695</c:v>
                </c:pt>
                <c:pt idx="48921">
                  <c:v>0.87249866238630203</c:v>
                </c:pt>
                <c:pt idx="48922">
                  <c:v>0.87251649723559799</c:v>
                </c:pt>
                <c:pt idx="48923">
                  <c:v>0.87253433208489295</c:v>
                </c:pt>
                <c:pt idx="48924">
                  <c:v>0.87255216693418902</c:v>
                </c:pt>
                <c:pt idx="48925">
                  <c:v>0.87257000178348498</c:v>
                </c:pt>
                <c:pt idx="48926">
                  <c:v>0.87258783663277995</c:v>
                </c:pt>
                <c:pt idx="48927">
                  <c:v>0.87260567148207602</c:v>
                </c:pt>
                <c:pt idx="48928">
                  <c:v>0.87262350633137098</c:v>
                </c:pt>
                <c:pt idx="48929">
                  <c:v>0.87264134118066705</c:v>
                </c:pt>
                <c:pt idx="48930">
                  <c:v>0.87265917602996201</c:v>
                </c:pt>
                <c:pt idx="48931">
                  <c:v>0.87267701087925797</c:v>
                </c:pt>
                <c:pt idx="48932">
                  <c:v>0.87269484572855305</c:v>
                </c:pt>
                <c:pt idx="48933">
                  <c:v>0.87271268057784901</c:v>
                </c:pt>
                <c:pt idx="48934">
                  <c:v>0.87273051542714397</c:v>
                </c:pt>
                <c:pt idx="48935">
                  <c:v>0.87274835027644004</c:v>
                </c:pt>
                <c:pt idx="48936">
                  <c:v>0.87276618512573501</c:v>
                </c:pt>
                <c:pt idx="48937">
                  <c:v>0.87278401997503097</c:v>
                </c:pt>
                <c:pt idx="48938">
                  <c:v>0.87280185482432604</c:v>
                </c:pt>
                <c:pt idx="48939">
                  <c:v>0.872819689673622</c:v>
                </c:pt>
                <c:pt idx="48940">
                  <c:v>0.87283752452291696</c:v>
                </c:pt>
                <c:pt idx="48941">
                  <c:v>0.87285535937221304</c:v>
                </c:pt>
                <c:pt idx="48942">
                  <c:v>0.872873194221508</c:v>
                </c:pt>
                <c:pt idx="48943">
                  <c:v>0.87289102907080396</c:v>
                </c:pt>
                <c:pt idx="48944">
                  <c:v>0.87290886392009903</c:v>
                </c:pt>
                <c:pt idx="48945">
                  <c:v>0.87292669876939499</c:v>
                </c:pt>
                <c:pt idx="48946">
                  <c:v>0.87294453361869095</c:v>
                </c:pt>
                <c:pt idx="48947">
                  <c:v>0.87296236846798603</c:v>
                </c:pt>
                <c:pt idx="48948">
                  <c:v>0.87298020331728199</c:v>
                </c:pt>
                <c:pt idx="48949">
                  <c:v>0.87299803816657695</c:v>
                </c:pt>
                <c:pt idx="48950">
                  <c:v>0.87301587301587302</c:v>
                </c:pt>
                <c:pt idx="48951">
                  <c:v>0.87303370786516798</c:v>
                </c:pt>
                <c:pt idx="48952">
                  <c:v>0.87305154271446395</c:v>
                </c:pt>
                <c:pt idx="48953">
                  <c:v>0.87306937756375902</c:v>
                </c:pt>
                <c:pt idx="48954">
                  <c:v>0.87308721241305498</c:v>
                </c:pt>
                <c:pt idx="48955">
                  <c:v>0.87310504726235005</c:v>
                </c:pt>
                <c:pt idx="48956">
                  <c:v>0.87312288211164601</c:v>
                </c:pt>
                <c:pt idx="48957">
                  <c:v>0.87314071696094098</c:v>
                </c:pt>
                <c:pt idx="48958">
                  <c:v>0.87315855181023705</c:v>
                </c:pt>
                <c:pt idx="48959">
                  <c:v>0.87317638665953201</c:v>
                </c:pt>
                <c:pt idx="48960">
                  <c:v>0.87319422150882797</c:v>
                </c:pt>
                <c:pt idx="48961">
                  <c:v>0.87321205635812305</c:v>
                </c:pt>
                <c:pt idx="48962">
                  <c:v>0.87322989120741901</c:v>
                </c:pt>
                <c:pt idx="48963">
                  <c:v>0.87324772605671397</c:v>
                </c:pt>
                <c:pt idx="48964">
                  <c:v>0.87326556090601004</c:v>
                </c:pt>
                <c:pt idx="48965">
                  <c:v>0.873283395755305</c:v>
                </c:pt>
                <c:pt idx="48966">
                  <c:v>0.87330123060460096</c:v>
                </c:pt>
                <c:pt idx="48967">
                  <c:v>0.87331906545389604</c:v>
                </c:pt>
                <c:pt idx="48968">
                  <c:v>0.873336900303192</c:v>
                </c:pt>
                <c:pt idx="48969">
                  <c:v>0.87335473515248796</c:v>
                </c:pt>
                <c:pt idx="48970">
                  <c:v>0.87337257000178303</c:v>
                </c:pt>
                <c:pt idx="48971">
                  <c:v>0.87339040485107899</c:v>
                </c:pt>
                <c:pt idx="48972">
                  <c:v>0.87340823970037396</c:v>
                </c:pt>
                <c:pt idx="48973">
                  <c:v>0.87342607454967003</c:v>
                </c:pt>
                <c:pt idx="48974">
                  <c:v>0.87344390939896499</c:v>
                </c:pt>
                <c:pt idx="48975">
                  <c:v>0.87346174424826095</c:v>
                </c:pt>
                <c:pt idx="48976">
                  <c:v>0.87347957909755602</c:v>
                </c:pt>
                <c:pt idx="48977">
                  <c:v>0.87349741394685199</c:v>
                </c:pt>
                <c:pt idx="48978">
                  <c:v>0.87351524879614695</c:v>
                </c:pt>
                <c:pt idx="48979">
                  <c:v>0.87353308364544302</c:v>
                </c:pt>
                <c:pt idx="48980">
                  <c:v>0.87355091849473798</c:v>
                </c:pt>
                <c:pt idx="48981">
                  <c:v>0.87356875334403405</c:v>
                </c:pt>
                <c:pt idx="48982">
                  <c:v>0.87358658819332902</c:v>
                </c:pt>
                <c:pt idx="48983">
                  <c:v>0.87360442304262498</c:v>
                </c:pt>
                <c:pt idx="48984">
                  <c:v>0.87362225789192005</c:v>
                </c:pt>
                <c:pt idx="48985">
                  <c:v>0.87364009274121601</c:v>
                </c:pt>
                <c:pt idx="48986">
                  <c:v>0.87365792759051097</c:v>
                </c:pt>
                <c:pt idx="48987">
                  <c:v>0.87367576243980705</c:v>
                </c:pt>
                <c:pt idx="48988">
                  <c:v>0.87369359728910201</c:v>
                </c:pt>
                <c:pt idx="48989">
                  <c:v>0.87371143213839797</c:v>
                </c:pt>
                <c:pt idx="48990">
                  <c:v>0.87372926698769304</c:v>
                </c:pt>
                <c:pt idx="48991">
                  <c:v>0.873747101836989</c:v>
                </c:pt>
                <c:pt idx="48992">
                  <c:v>0.87376493668628497</c:v>
                </c:pt>
                <c:pt idx="48993">
                  <c:v>0.87378277153558004</c:v>
                </c:pt>
                <c:pt idx="48994">
                  <c:v>0.873800606384876</c:v>
                </c:pt>
                <c:pt idx="48995">
                  <c:v>0.87381844123417096</c:v>
                </c:pt>
                <c:pt idx="48996">
                  <c:v>0.87383627608346703</c:v>
                </c:pt>
                <c:pt idx="48997">
                  <c:v>0.873854110932762</c:v>
                </c:pt>
                <c:pt idx="48998">
                  <c:v>0.87387194578205796</c:v>
                </c:pt>
                <c:pt idx="48999">
                  <c:v>0.87388978063135303</c:v>
                </c:pt>
                <c:pt idx="49000">
                  <c:v>0.87390761548064899</c:v>
                </c:pt>
                <c:pt idx="49001">
                  <c:v>0.87392545032994395</c:v>
                </c:pt>
                <c:pt idx="49002">
                  <c:v>0.87394328517924003</c:v>
                </c:pt>
                <c:pt idx="49003">
                  <c:v>0.87396112002853499</c:v>
                </c:pt>
                <c:pt idx="49004">
                  <c:v>0.87397895487783095</c:v>
                </c:pt>
                <c:pt idx="49005">
                  <c:v>0.87399678972712602</c:v>
                </c:pt>
                <c:pt idx="49006">
                  <c:v>0.87401462457642198</c:v>
                </c:pt>
                <c:pt idx="49007">
                  <c:v>0.87403245942571695</c:v>
                </c:pt>
                <c:pt idx="49008">
                  <c:v>0.87405029427501302</c:v>
                </c:pt>
                <c:pt idx="49009">
                  <c:v>0.87406812912430798</c:v>
                </c:pt>
                <c:pt idx="49010">
                  <c:v>0.87408596397360405</c:v>
                </c:pt>
                <c:pt idx="49011">
                  <c:v>0.87410379882289901</c:v>
                </c:pt>
                <c:pt idx="49012">
                  <c:v>0.87412163367219498</c:v>
                </c:pt>
                <c:pt idx="49013">
                  <c:v>0.87413946852149105</c:v>
                </c:pt>
                <c:pt idx="49014">
                  <c:v>0.87415730337078601</c:v>
                </c:pt>
                <c:pt idx="49015">
                  <c:v>0.87417513822008197</c:v>
                </c:pt>
                <c:pt idx="49016">
                  <c:v>0.87419297306937704</c:v>
                </c:pt>
                <c:pt idx="49017">
                  <c:v>0.87421080791867301</c:v>
                </c:pt>
                <c:pt idx="49018">
                  <c:v>0.87422864276796797</c:v>
                </c:pt>
                <c:pt idx="49019">
                  <c:v>0.87424647761726404</c:v>
                </c:pt>
                <c:pt idx="49020">
                  <c:v>0.874264312466559</c:v>
                </c:pt>
                <c:pt idx="49021">
                  <c:v>0.87428214731585496</c:v>
                </c:pt>
                <c:pt idx="49022">
                  <c:v>0.87429998216515004</c:v>
                </c:pt>
                <c:pt idx="49023">
                  <c:v>0.874317817014446</c:v>
                </c:pt>
                <c:pt idx="49024">
                  <c:v>0.87433565186374096</c:v>
                </c:pt>
                <c:pt idx="49025">
                  <c:v>0.87435348671303703</c:v>
                </c:pt>
                <c:pt idx="49026">
                  <c:v>0.87437132156233199</c:v>
                </c:pt>
                <c:pt idx="49027">
                  <c:v>0.87438915641162795</c:v>
                </c:pt>
                <c:pt idx="49028">
                  <c:v>0.87440699126092303</c:v>
                </c:pt>
                <c:pt idx="49029">
                  <c:v>0.87442482611021899</c:v>
                </c:pt>
                <c:pt idx="49030">
                  <c:v>0.87444266095951395</c:v>
                </c:pt>
                <c:pt idx="49031">
                  <c:v>0.87446049580881002</c:v>
                </c:pt>
                <c:pt idx="49032">
                  <c:v>0.87447833065810598</c:v>
                </c:pt>
                <c:pt idx="49033">
                  <c:v>0.87449616550740095</c:v>
                </c:pt>
                <c:pt idx="49034">
                  <c:v>0.87451400035669702</c:v>
                </c:pt>
                <c:pt idx="49035">
                  <c:v>0.87453183520599198</c:v>
                </c:pt>
                <c:pt idx="49036">
                  <c:v>0.87454967005528805</c:v>
                </c:pt>
                <c:pt idx="49037">
                  <c:v>0.87456750490458302</c:v>
                </c:pt>
                <c:pt idx="49038">
                  <c:v>0.87458533975387898</c:v>
                </c:pt>
                <c:pt idx="49039">
                  <c:v>0.87460317460317405</c:v>
                </c:pt>
                <c:pt idx="49040">
                  <c:v>0.87462100945247001</c:v>
                </c:pt>
                <c:pt idx="49041">
                  <c:v>0.87463884430176497</c:v>
                </c:pt>
                <c:pt idx="49042">
                  <c:v>0.87465667915106105</c:v>
                </c:pt>
                <c:pt idx="49043">
                  <c:v>0.87467451400035601</c:v>
                </c:pt>
                <c:pt idx="49044">
                  <c:v>0.87469234884965197</c:v>
                </c:pt>
                <c:pt idx="49045">
                  <c:v>0.87471018369894704</c:v>
                </c:pt>
                <c:pt idx="49046">
                  <c:v>0.874728018548243</c:v>
                </c:pt>
                <c:pt idx="49047">
                  <c:v>0.87474585339753796</c:v>
                </c:pt>
                <c:pt idx="49048">
                  <c:v>0.87476368824683404</c:v>
                </c:pt>
                <c:pt idx="49049">
                  <c:v>0.874781523096129</c:v>
                </c:pt>
                <c:pt idx="49050">
                  <c:v>0.87479935794542496</c:v>
                </c:pt>
                <c:pt idx="49051">
                  <c:v>0.87481719279472003</c:v>
                </c:pt>
                <c:pt idx="49052">
                  <c:v>0.87483502764401599</c:v>
                </c:pt>
                <c:pt idx="49053">
                  <c:v>0.87485286249331196</c:v>
                </c:pt>
                <c:pt idx="49054">
                  <c:v>0.87487069734260703</c:v>
                </c:pt>
                <c:pt idx="49055">
                  <c:v>0.87488853219190299</c:v>
                </c:pt>
                <c:pt idx="49056">
                  <c:v>0.87490636704119795</c:v>
                </c:pt>
                <c:pt idx="49057">
                  <c:v>0.87492420189049402</c:v>
                </c:pt>
                <c:pt idx="49058">
                  <c:v>0.87494203673978899</c:v>
                </c:pt>
                <c:pt idx="49059">
                  <c:v>0.87495987158908495</c:v>
                </c:pt>
                <c:pt idx="49060">
                  <c:v>0.87497770643838002</c:v>
                </c:pt>
                <c:pt idx="49061">
                  <c:v>0.87499554128767598</c:v>
                </c:pt>
                <c:pt idx="49062">
                  <c:v>0.87501337613697105</c:v>
                </c:pt>
                <c:pt idx="49063">
                  <c:v>0.87503121098626702</c:v>
                </c:pt>
                <c:pt idx="49064">
                  <c:v>0.87504904583556198</c:v>
                </c:pt>
                <c:pt idx="49065">
                  <c:v>0.87506688068485805</c:v>
                </c:pt>
                <c:pt idx="49066">
                  <c:v>0.87508471553415301</c:v>
                </c:pt>
                <c:pt idx="49067">
                  <c:v>0.87510255038344897</c:v>
                </c:pt>
                <c:pt idx="49068">
                  <c:v>0.87512038523274405</c:v>
                </c:pt>
                <c:pt idx="49069">
                  <c:v>0.87513822008204001</c:v>
                </c:pt>
                <c:pt idx="49070">
                  <c:v>0.87515605493133497</c:v>
                </c:pt>
                <c:pt idx="49071">
                  <c:v>0.87517388978063104</c:v>
                </c:pt>
                <c:pt idx="49072">
                  <c:v>0.875191724629926</c:v>
                </c:pt>
                <c:pt idx="49073">
                  <c:v>0.87520955947922197</c:v>
                </c:pt>
                <c:pt idx="49074">
                  <c:v>0.87522739432851704</c:v>
                </c:pt>
                <c:pt idx="49075">
                  <c:v>0.875245229177813</c:v>
                </c:pt>
                <c:pt idx="49076">
                  <c:v>0.87526306402710896</c:v>
                </c:pt>
                <c:pt idx="49077">
                  <c:v>0.87528089887640403</c:v>
                </c:pt>
                <c:pt idx="49078">
                  <c:v>0.8752987337257</c:v>
                </c:pt>
                <c:pt idx="49079">
                  <c:v>0.87531656857499496</c:v>
                </c:pt>
                <c:pt idx="49080">
                  <c:v>0.87533440342429103</c:v>
                </c:pt>
                <c:pt idx="49081">
                  <c:v>0.87535223827358599</c:v>
                </c:pt>
                <c:pt idx="49082">
                  <c:v>0.87537007312288195</c:v>
                </c:pt>
                <c:pt idx="49083">
                  <c:v>0.87538790797217703</c:v>
                </c:pt>
                <c:pt idx="49084">
                  <c:v>0.87540574282147299</c:v>
                </c:pt>
                <c:pt idx="49085">
                  <c:v>0.87542357767076795</c:v>
                </c:pt>
                <c:pt idx="49086">
                  <c:v>0.87544141252006402</c:v>
                </c:pt>
                <c:pt idx="49087">
                  <c:v>0.87545924736935898</c:v>
                </c:pt>
                <c:pt idx="49088">
                  <c:v>0.87547708221865495</c:v>
                </c:pt>
                <c:pt idx="49089">
                  <c:v>0.87549491706795002</c:v>
                </c:pt>
                <c:pt idx="49090">
                  <c:v>0.87551275191724598</c:v>
                </c:pt>
                <c:pt idx="49091">
                  <c:v>0.87553058676654105</c:v>
                </c:pt>
                <c:pt idx="49092">
                  <c:v>0.87554842161583701</c:v>
                </c:pt>
                <c:pt idx="49093">
                  <c:v>0.87556625646513198</c:v>
                </c:pt>
                <c:pt idx="49094">
                  <c:v>0.87558409131442805</c:v>
                </c:pt>
                <c:pt idx="49095">
                  <c:v>0.87560192616372301</c:v>
                </c:pt>
                <c:pt idx="49096">
                  <c:v>0.87561976101301897</c:v>
                </c:pt>
                <c:pt idx="49097">
                  <c:v>0.87563759586231404</c:v>
                </c:pt>
                <c:pt idx="49098">
                  <c:v>0.87565543071161001</c:v>
                </c:pt>
                <c:pt idx="49099">
                  <c:v>0.87567326556090597</c:v>
                </c:pt>
                <c:pt idx="49100">
                  <c:v>0.87569110041020104</c:v>
                </c:pt>
                <c:pt idx="49101">
                  <c:v>0.875708935259497</c:v>
                </c:pt>
                <c:pt idx="49102">
                  <c:v>0.87572677010879196</c:v>
                </c:pt>
                <c:pt idx="49103">
                  <c:v>0.87574460495808804</c:v>
                </c:pt>
                <c:pt idx="49104">
                  <c:v>0.875762439807383</c:v>
                </c:pt>
                <c:pt idx="49105">
                  <c:v>0.87578027465667896</c:v>
                </c:pt>
                <c:pt idx="49106">
                  <c:v>0.87579810950597403</c:v>
                </c:pt>
                <c:pt idx="49107">
                  <c:v>0.87581594435526999</c:v>
                </c:pt>
                <c:pt idx="49108">
                  <c:v>0.87583377920456496</c:v>
                </c:pt>
                <c:pt idx="49109">
                  <c:v>0.87585161405386103</c:v>
                </c:pt>
                <c:pt idx="49110">
                  <c:v>0.87586944890315599</c:v>
                </c:pt>
                <c:pt idx="49111">
                  <c:v>0.87588728375245195</c:v>
                </c:pt>
                <c:pt idx="49112">
                  <c:v>0.87590511860174702</c:v>
                </c:pt>
                <c:pt idx="49113">
                  <c:v>0.87592295345104298</c:v>
                </c:pt>
                <c:pt idx="49114">
                  <c:v>0.87594078830033795</c:v>
                </c:pt>
                <c:pt idx="49115">
                  <c:v>0.87595862314963402</c:v>
                </c:pt>
                <c:pt idx="49116">
                  <c:v>0.87597645799892898</c:v>
                </c:pt>
                <c:pt idx="49117">
                  <c:v>0.87599429284822505</c:v>
                </c:pt>
                <c:pt idx="49118">
                  <c:v>0.87601212769752002</c:v>
                </c:pt>
                <c:pt idx="49119">
                  <c:v>0.87602996254681598</c:v>
                </c:pt>
                <c:pt idx="49120">
                  <c:v>0.87604779739611205</c:v>
                </c:pt>
                <c:pt idx="49121">
                  <c:v>0.87606563224540701</c:v>
                </c:pt>
                <c:pt idx="49122">
                  <c:v>0.87608346709470297</c:v>
                </c:pt>
                <c:pt idx="49123">
                  <c:v>0.87610130194399805</c:v>
                </c:pt>
                <c:pt idx="49124">
                  <c:v>0.87611913679329401</c:v>
                </c:pt>
                <c:pt idx="49125">
                  <c:v>0.87613697164258897</c:v>
                </c:pt>
                <c:pt idx="49126">
                  <c:v>0.87615480649188504</c:v>
                </c:pt>
                <c:pt idx="49127">
                  <c:v>0.87617264134118</c:v>
                </c:pt>
                <c:pt idx="49128">
                  <c:v>0.87619047619047596</c:v>
                </c:pt>
                <c:pt idx="49129">
                  <c:v>0.87620831103977104</c:v>
                </c:pt>
                <c:pt idx="49130">
                  <c:v>0.876226145889067</c:v>
                </c:pt>
                <c:pt idx="49131">
                  <c:v>0.87624398073836196</c:v>
                </c:pt>
                <c:pt idx="49132">
                  <c:v>0.87626181558765803</c:v>
                </c:pt>
                <c:pt idx="49133">
                  <c:v>0.87627965043695299</c:v>
                </c:pt>
                <c:pt idx="49134">
                  <c:v>0.87629748528624896</c:v>
                </c:pt>
                <c:pt idx="49135">
                  <c:v>0.87631532013554403</c:v>
                </c:pt>
                <c:pt idx="49136">
                  <c:v>0.87633315498483999</c:v>
                </c:pt>
                <c:pt idx="49137">
                  <c:v>0.87635098983413595</c:v>
                </c:pt>
                <c:pt idx="49138">
                  <c:v>0.87636882468343102</c:v>
                </c:pt>
                <c:pt idx="49139">
                  <c:v>0.87638665953272699</c:v>
                </c:pt>
                <c:pt idx="49140">
                  <c:v>0.87640449438202195</c:v>
                </c:pt>
                <c:pt idx="49141">
                  <c:v>0.87642232923131802</c:v>
                </c:pt>
                <c:pt idx="49142">
                  <c:v>0.87644016408061298</c:v>
                </c:pt>
                <c:pt idx="49143">
                  <c:v>0.87645799892990905</c:v>
                </c:pt>
                <c:pt idx="49144">
                  <c:v>0.87647583377920402</c:v>
                </c:pt>
                <c:pt idx="49145">
                  <c:v>0.87649366862849998</c:v>
                </c:pt>
                <c:pt idx="49146">
                  <c:v>0.87651150347779505</c:v>
                </c:pt>
                <c:pt idx="49147">
                  <c:v>0.87652933832709101</c:v>
                </c:pt>
                <c:pt idx="49148">
                  <c:v>0.87654717317638597</c:v>
                </c:pt>
                <c:pt idx="49149">
                  <c:v>0.87656500802568205</c:v>
                </c:pt>
                <c:pt idx="49150">
                  <c:v>0.87658284287497701</c:v>
                </c:pt>
                <c:pt idx="49151">
                  <c:v>0.87660067772427297</c:v>
                </c:pt>
                <c:pt idx="49152">
                  <c:v>0.87661851257356804</c:v>
                </c:pt>
                <c:pt idx="49153">
                  <c:v>0.876636347422864</c:v>
                </c:pt>
                <c:pt idx="49154">
                  <c:v>0.87665418227215897</c:v>
                </c:pt>
                <c:pt idx="49155">
                  <c:v>0.87667201712145504</c:v>
                </c:pt>
                <c:pt idx="49156">
                  <c:v>0.87668985197075</c:v>
                </c:pt>
                <c:pt idx="49157">
                  <c:v>0.87670768682004596</c:v>
                </c:pt>
                <c:pt idx="49158">
                  <c:v>0.87672552166934103</c:v>
                </c:pt>
                <c:pt idx="49159">
                  <c:v>0.876743356518637</c:v>
                </c:pt>
                <c:pt idx="49160">
                  <c:v>0.87676119136793296</c:v>
                </c:pt>
                <c:pt idx="49161">
                  <c:v>0.87677902621722803</c:v>
                </c:pt>
                <c:pt idx="49162">
                  <c:v>0.87679686106652399</c:v>
                </c:pt>
                <c:pt idx="49163">
                  <c:v>0.87681469591581895</c:v>
                </c:pt>
                <c:pt idx="49164">
                  <c:v>0.87683253076511503</c:v>
                </c:pt>
                <c:pt idx="49165">
                  <c:v>0.87685036561440999</c:v>
                </c:pt>
                <c:pt idx="49166">
                  <c:v>0.87686820046370595</c:v>
                </c:pt>
                <c:pt idx="49167">
                  <c:v>0.87688603531300102</c:v>
                </c:pt>
                <c:pt idx="49168">
                  <c:v>0.87690387016229698</c:v>
                </c:pt>
                <c:pt idx="49169">
                  <c:v>0.87692170501159195</c:v>
                </c:pt>
                <c:pt idx="49170">
                  <c:v>0.87693953986088802</c:v>
                </c:pt>
                <c:pt idx="49171">
                  <c:v>0.87695737471018298</c:v>
                </c:pt>
                <c:pt idx="49172">
                  <c:v>0.87697520955947905</c:v>
                </c:pt>
                <c:pt idx="49173">
                  <c:v>0.87699304440877401</c:v>
                </c:pt>
                <c:pt idx="49174">
                  <c:v>0.87701087925806998</c:v>
                </c:pt>
                <c:pt idx="49175">
                  <c:v>0.87702871410736505</c:v>
                </c:pt>
                <c:pt idx="49176">
                  <c:v>0.87704654895666101</c:v>
                </c:pt>
                <c:pt idx="49177">
                  <c:v>0.87706438380595597</c:v>
                </c:pt>
                <c:pt idx="49178">
                  <c:v>0.87708221865525204</c:v>
                </c:pt>
                <c:pt idx="49179">
                  <c:v>0.87710005350454701</c:v>
                </c:pt>
                <c:pt idx="49180">
                  <c:v>0.87711788835384297</c:v>
                </c:pt>
                <c:pt idx="49181">
                  <c:v>0.87713572320313804</c:v>
                </c:pt>
                <c:pt idx="49182">
                  <c:v>0.877153558052434</c:v>
                </c:pt>
                <c:pt idx="49183">
                  <c:v>0.87717139290172996</c:v>
                </c:pt>
                <c:pt idx="49184">
                  <c:v>0.87718922775102504</c:v>
                </c:pt>
                <c:pt idx="49185">
                  <c:v>0.877207062600321</c:v>
                </c:pt>
                <c:pt idx="49186">
                  <c:v>0.87722489744961596</c:v>
                </c:pt>
                <c:pt idx="49187">
                  <c:v>0.87724273229891203</c:v>
                </c:pt>
                <c:pt idx="49188">
                  <c:v>0.87726056714820699</c:v>
                </c:pt>
                <c:pt idx="49189">
                  <c:v>0.87727840199750295</c:v>
                </c:pt>
                <c:pt idx="49190">
                  <c:v>0.87729623684679803</c:v>
                </c:pt>
                <c:pt idx="49191">
                  <c:v>0.87731407169609399</c:v>
                </c:pt>
                <c:pt idx="49192">
                  <c:v>0.87733190654538895</c:v>
                </c:pt>
                <c:pt idx="49193">
                  <c:v>0.87734974139468502</c:v>
                </c:pt>
                <c:pt idx="49194">
                  <c:v>0.87736757624397999</c:v>
                </c:pt>
                <c:pt idx="49195">
                  <c:v>0.87738541109327595</c:v>
                </c:pt>
                <c:pt idx="49196">
                  <c:v>0.87740324594257102</c:v>
                </c:pt>
                <c:pt idx="49197">
                  <c:v>0.87742108079186698</c:v>
                </c:pt>
                <c:pt idx="49198">
                  <c:v>0.87743891564116205</c:v>
                </c:pt>
                <c:pt idx="49199">
                  <c:v>0.87745675049045802</c:v>
                </c:pt>
                <c:pt idx="49200">
                  <c:v>0.87747458533975298</c:v>
                </c:pt>
                <c:pt idx="49201">
                  <c:v>0.87749242018904905</c:v>
                </c:pt>
                <c:pt idx="49202">
                  <c:v>0.87751025503834401</c:v>
                </c:pt>
                <c:pt idx="49203">
                  <c:v>0.87752808988763997</c:v>
                </c:pt>
                <c:pt idx="49204">
                  <c:v>0.87754592473693505</c:v>
                </c:pt>
                <c:pt idx="49205">
                  <c:v>0.87756375958623101</c:v>
                </c:pt>
                <c:pt idx="49206">
                  <c:v>0.87758159443552697</c:v>
                </c:pt>
                <c:pt idx="49207">
                  <c:v>0.87759942928482204</c:v>
                </c:pt>
                <c:pt idx="49208">
                  <c:v>0.877617264134118</c:v>
                </c:pt>
                <c:pt idx="49209">
                  <c:v>0.87763509898341296</c:v>
                </c:pt>
                <c:pt idx="49210">
                  <c:v>0.87765293383270904</c:v>
                </c:pt>
                <c:pt idx="49211">
                  <c:v>0.877670768682004</c:v>
                </c:pt>
                <c:pt idx="49212">
                  <c:v>0.87768860353129996</c:v>
                </c:pt>
                <c:pt idx="49213">
                  <c:v>0.87770643838059503</c:v>
                </c:pt>
                <c:pt idx="49214">
                  <c:v>0.87772427322989099</c:v>
                </c:pt>
                <c:pt idx="49215">
                  <c:v>0.87774210807918596</c:v>
                </c:pt>
                <c:pt idx="49216">
                  <c:v>0.87775994292848203</c:v>
                </c:pt>
                <c:pt idx="49217">
                  <c:v>0.87777777777777699</c:v>
                </c:pt>
                <c:pt idx="49218">
                  <c:v>0.87779561262707295</c:v>
                </c:pt>
                <c:pt idx="49219">
                  <c:v>0.87781344747636803</c:v>
                </c:pt>
                <c:pt idx="49220">
                  <c:v>0.87783128232566399</c:v>
                </c:pt>
                <c:pt idx="49221">
                  <c:v>0.87784911717495895</c:v>
                </c:pt>
                <c:pt idx="49222">
                  <c:v>0.87786695202425502</c:v>
                </c:pt>
                <c:pt idx="49223">
                  <c:v>0.87788478687354998</c:v>
                </c:pt>
                <c:pt idx="49224">
                  <c:v>0.87790262172284605</c:v>
                </c:pt>
                <c:pt idx="49225">
                  <c:v>0.87792045657214202</c:v>
                </c:pt>
                <c:pt idx="49226">
                  <c:v>0.87793829142143698</c:v>
                </c:pt>
                <c:pt idx="49227">
                  <c:v>0.87795612627073305</c:v>
                </c:pt>
                <c:pt idx="49228">
                  <c:v>0.87797396112002801</c:v>
                </c:pt>
                <c:pt idx="49229">
                  <c:v>0.87799179596932397</c:v>
                </c:pt>
                <c:pt idx="49230">
                  <c:v>0.87800963081861905</c:v>
                </c:pt>
                <c:pt idx="49231">
                  <c:v>0.87802746566791501</c:v>
                </c:pt>
                <c:pt idx="49232">
                  <c:v>0.87804530051720997</c:v>
                </c:pt>
                <c:pt idx="49233">
                  <c:v>0.87806313536650604</c:v>
                </c:pt>
                <c:pt idx="49234">
                  <c:v>0.878080970215801</c:v>
                </c:pt>
                <c:pt idx="49235">
                  <c:v>0.87809880506509697</c:v>
                </c:pt>
                <c:pt idx="49236">
                  <c:v>0.87811663991439204</c:v>
                </c:pt>
                <c:pt idx="49237">
                  <c:v>0.878134474763688</c:v>
                </c:pt>
                <c:pt idx="49238">
                  <c:v>0.87815230961298296</c:v>
                </c:pt>
                <c:pt idx="49239">
                  <c:v>0.87817014446227903</c:v>
                </c:pt>
                <c:pt idx="49240">
                  <c:v>0.878187979311574</c:v>
                </c:pt>
                <c:pt idx="49241">
                  <c:v>0.87820581416086996</c:v>
                </c:pt>
                <c:pt idx="49242">
                  <c:v>0.87822364901016503</c:v>
                </c:pt>
                <c:pt idx="49243">
                  <c:v>0.87824148385946099</c:v>
                </c:pt>
                <c:pt idx="49244">
                  <c:v>0.87825931870875695</c:v>
                </c:pt>
                <c:pt idx="49245">
                  <c:v>0.87827715355805203</c:v>
                </c:pt>
                <c:pt idx="49246">
                  <c:v>0.87829498840734799</c:v>
                </c:pt>
                <c:pt idx="49247">
                  <c:v>0.87831282325664295</c:v>
                </c:pt>
                <c:pt idx="49248">
                  <c:v>0.87833065810593902</c:v>
                </c:pt>
                <c:pt idx="49249">
                  <c:v>0.87834849295523398</c:v>
                </c:pt>
                <c:pt idx="49250">
                  <c:v>0.87836632780452994</c:v>
                </c:pt>
                <c:pt idx="49251">
                  <c:v>0.87838416265382502</c:v>
                </c:pt>
                <c:pt idx="49252">
                  <c:v>0.87840199750312098</c:v>
                </c:pt>
                <c:pt idx="49253">
                  <c:v>0.87841983235241605</c:v>
                </c:pt>
                <c:pt idx="49254">
                  <c:v>0.87843766720171201</c:v>
                </c:pt>
                <c:pt idx="49255">
                  <c:v>0.87845550205100698</c:v>
                </c:pt>
                <c:pt idx="49256">
                  <c:v>0.87847333690030305</c:v>
                </c:pt>
                <c:pt idx="49257">
                  <c:v>0.87849117174959801</c:v>
                </c:pt>
                <c:pt idx="49258">
                  <c:v>0.87850900659889397</c:v>
                </c:pt>
                <c:pt idx="49259">
                  <c:v>0.87852684144818904</c:v>
                </c:pt>
                <c:pt idx="49260">
                  <c:v>0.87854467629748501</c:v>
                </c:pt>
                <c:pt idx="49261">
                  <c:v>0.87856251114677997</c:v>
                </c:pt>
                <c:pt idx="49262">
                  <c:v>0.87858034599607604</c:v>
                </c:pt>
                <c:pt idx="49263">
                  <c:v>0.878598180845371</c:v>
                </c:pt>
                <c:pt idx="49264">
                  <c:v>0.87861601569466696</c:v>
                </c:pt>
                <c:pt idx="49265">
                  <c:v>0.87863385054396204</c:v>
                </c:pt>
                <c:pt idx="49266">
                  <c:v>0.878651685393258</c:v>
                </c:pt>
                <c:pt idx="49267">
                  <c:v>0.87866952024255396</c:v>
                </c:pt>
                <c:pt idx="49268">
                  <c:v>0.87868735509184903</c:v>
                </c:pt>
                <c:pt idx="49269">
                  <c:v>0.87870518994114499</c:v>
                </c:pt>
                <c:pt idx="49270">
                  <c:v>0.87872302479043995</c:v>
                </c:pt>
                <c:pt idx="49271">
                  <c:v>0.87874085963973603</c:v>
                </c:pt>
                <c:pt idx="49272">
                  <c:v>0.87875869448903099</c:v>
                </c:pt>
                <c:pt idx="49273">
                  <c:v>0.87877652933832695</c:v>
                </c:pt>
                <c:pt idx="49274">
                  <c:v>0.87879436418762202</c:v>
                </c:pt>
                <c:pt idx="49275">
                  <c:v>0.87881219903691798</c:v>
                </c:pt>
                <c:pt idx="49276">
                  <c:v>0.87883003388621295</c:v>
                </c:pt>
                <c:pt idx="49277">
                  <c:v>0.87884786873550902</c:v>
                </c:pt>
                <c:pt idx="49278">
                  <c:v>0.87886570358480398</c:v>
                </c:pt>
                <c:pt idx="49279">
                  <c:v>0.87888353843410005</c:v>
                </c:pt>
                <c:pt idx="49280">
                  <c:v>0.87890137328339502</c:v>
                </c:pt>
                <c:pt idx="49281">
                  <c:v>0.87891920813269098</c:v>
                </c:pt>
                <c:pt idx="49282">
                  <c:v>0.87893704298198605</c:v>
                </c:pt>
                <c:pt idx="49283">
                  <c:v>0.87895487783128201</c:v>
                </c:pt>
                <c:pt idx="49284">
                  <c:v>0.87897271268057697</c:v>
                </c:pt>
                <c:pt idx="49285">
                  <c:v>0.87899054752987305</c:v>
                </c:pt>
                <c:pt idx="49286">
                  <c:v>0.87900838237916801</c:v>
                </c:pt>
                <c:pt idx="49287">
                  <c:v>0.87902621722846397</c:v>
                </c:pt>
                <c:pt idx="49288">
                  <c:v>0.87904405207775904</c:v>
                </c:pt>
                <c:pt idx="49289">
                  <c:v>0.879061886927055</c:v>
                </c:pt>
                <c:pt idx="49290">
                  <c:v>0.87907972177635096</c:v>
                </c:pt>
                <c:pt idx="49291">
                  <c:v>0.87909755662564604</c:v>
                </c:pt>
                <c:pt idx="49292">
                  <c:v>0.879115391474942</c:v>
                </c:pt>
                <c:pt idx="49293">
                  <c:v>0.87913322632423696</c:v>
                </c:pt>
                <c:pt idx="49294">
                  <c:v>0.87915106117353303</c:v>
                </c:pt>
                <c:pt idx="49295">
                  <c:v>0.87916889602282799</c:v>
                </c:pt>
                <c:pt idx="49296">
                  <c:v>0.87918673087212396</c:v>
                </c:pt>
                <c:pt idx="49297">
                  <c:v>0.87920456572141903</c:v>
                </c:pt>
                <c:pt idx="49298">
                  <c:v>0.87922240057071499</c:v>
                </c:pt>
                <c:pt idx="49299">
                  <c:v>0.87924023542000995</c:v>
                </c:pt>
                <c:pt idx="49300">
                  <c:v>0.87925807026930602</c:v>
                </c:pt>
                <c:pt idx="49301">
                  <c:v>0.87927590511860099</c:v>
                </c:pt>
                <c:pt idx="49302">
                  <c:v>0.87929373996789695</c:v>
                </c:pt>
                <c:pt idx="49303">
                  <c:v>0.87931157481719202</c:v>
                </c:pt>
                <c:pt idx="49304">
                  <c:v>0.87932940966648798</c:v>
                </c:pt>
                <c:pt idx="49305">
                  <c:v>0.87934724451578306</c:v>
                </c:pt>
                <c:pt idx="49306">
                  <c:v>0.87936507936507902</c:v>
                </c:pt>
                <c:pt idx="49307">
                  <c:v>0.87938291421437398</c:v>
                </c:pt>
                <c:pt idx="49308">
                  <c:v>0.87940074906367005</c:v>
                </c:pt>
                <c:pt idx="49309">
                  <c:v>0.87941858391296501</c:v>
                </c:pt>
                <c:pt idx="49310">
                  <c:v>0.87943641876226097</c:v>
                </c:pt>
                <c:pt idx="49311">
                  <c:v>0.87945425361155605</c:v>
                </c:pt>
                <c:pt idx="49312">
                  <c:v>0.87947208846085201</c:v>
                </c:pt>
                <c:pt idx="49313">
                  <c:v>0.87948992331014797</c:v>
                </c:pt>
                <c:pt idx="49314">
                  <c:v>0.87950775815944304</c:v>
                </c:pt>
                <c:pt idx="49315">
                  <c:v>0.879525593008739</c:v>
                </c:pt>
                <c:pt idx="49316">
                  <c:v>0.87954342785803397</c:v>
                </c:pt>
                <c:pt idx="49317">
                  <c:v>0.87956126270733004</c:v>
                </c:pt>
                <c:pt idx="49318">
                  <c:v>0.879579097556625</c:v>
                </c:pt>
                <c:pt idx="49319">
                  <c:v>0.87959693240592096</c:v>
                </c:pt>
                <c:pt idx="49320">
                  <c:v>0.87961476725521603</c:v>
                </c:pt>
                <c:pt idx="49321">
                  <c:v>0.879632602104512</c:v>
                </c:pt>
                <c:pt idx="49322">
                  <c:v>0.87965043695380696</c:v>
                </c:pt>
                <c:pt idx="49323">
                  <c:v>0.87966827180310303</c:v>
                </c:pt>
                <c:pt idx="49324">
                  <c:v>0.87968610665239799</c:v>
                </c:pt>
                <c:pt idx="49325">
                  <c:v>0.87970394150169395</c:v>
                </c:pt>
                <c:pt idx="49326">
                  <c:v>0.87972177635098903</c:v>
                </c:pt>
                <c:pt idx="49327">
                  <c:v>0.87973961120028499</c:v>
                </c:pt>
                <c:pt idx="49328">
                  <c:v>0.87975744604957995</c:v>
                </c:pt>
                <c:pt idx="49329">
                  <c:v>0.87977528089887602</c:v>
                </c:pt>
                <c:pt idx="49330">
                  <c:v>0.87979311574817198</c:v>
                </c:pt>
                <c:pt idx="49331">
                  <c:v>0.87981095059746695</c:v>
                </c:pt>
                <c:pt idx="49332">
                  <c:v>0.87982878544676302</c:v>
                </c:pt>
                <c:pt idx="49333">
                  <c:v>0.87984662029605798</c:v>
                </c:pt>
                <c:pt idx="49334">
                  <c:v>0.87986445514535405</c:v>
                </c:pt>
                <c:pt idx="49335">
                  <c:v>0.87988228999464901</c:v>
                </c:pt>
                <c:pt idx="49336">
                  <c:v>0.87990012484394498</c:v>
                </c:pt>
                <c:pt idx="49337">
                  <c:v>0.87991795969324005</c:v>
                </c:pt>
                <c:pt idx="49338">
                  <c:v>0.87993579454253601</c:v>
                </c:pt>
                <c:pt idx="49339">
                  <c:v>0.87995362939183097</c:v>
                </c:pt>
                <c:pt idx="49340">
                  <c:v>0.87997146424112704</c:v>
                </c:pt>
                <c:pt idx="49341">
                  <c:v>0.87998929909042201</c:v>
                </c:pt>
                <c:pt idx="49342">
                  <c:v>0.88000713393971797</c:v>
                </c:pt>
                <c:pt idx="49343">
                  <c:v>0.88002496878901304</c:v>
                </c:pt>
                <c:pt idx="49344">
                  <c:v>0.880042803638309</c:v>
                </c:pt>
                <c:pt idx="49345">
                  <c:v>0.88006063848760396</c:v>
                </c:pt>
                <c:pt idx="49346">
                  <c:v>0.88007847333690004</c:v>
                </c:pt>
                <c:pt idx="49347">
                  <c:v>0.880096308186195</c:v>
                </c:pt>
                <c:pt idx="49348">
                  <c:v>0.88011414303549096</c:v>
                </c:pt>
                <c:pt idx="49349">
                  <c:v>0.88013197788478603</c:v>
                </c:pt>
                <c:pt idx="49350">
                  <c:v>0.88014981273408199</c:v>
                </c:pt>
                <c:pt idx="49351">
                  <c:v>0.88016764758337795</c:v>
                </c:pt>
                <c:pt idx="49352">
                  <c:v>0.88018548243267303</c:v>
                </c:pt>
                <c:pt idx="49353">
                  <c:v>0.88020331728196899</c:v>
                </c:pt>
                <c:pt idx="49354">
                  <c:v>0.88022115213126395</c:v>
                </c:pt>
                <c:pt idx="49355">
                  <c:v>0.88023898698056002</c:v>
                </c:pt>
                <c:pt idx="49356">
                  <c:v>0.88025682182985499</c:v>
                </c:pt>
                <c:pt idx="49357">
                  <c:v>0.88027465667915095</c:v>
                </c:pt>
                <c:pt idx="49358">
                  <c:v>0.88029249152844602</c:v>
                </c:pt>
                <c:pt idx="49359">
                  <c:v>0.88031032637774198</c:v>
                </c:pt>
                <c:pt idx="49360">
                  <c:v>0.88032816122703705</c:v>
                </c:pt>
                <c:pt idx="49361">
                  <c:v>0.88034599607633301</c:v>
                </c:pt>
                <c:pt idx="49362">
                  <c:v>0.88036383092562798</c:v>
                </c:pt>
                <c:pt idx="49363">
                  <c:v>0.88038166577492405</c:v>
                </c:pt>
                <c:pt idx="49364">
                  <c:v>0.88039950062421901</c:v>
                </c:pt>
                <c:pt idx="49365">
                  <c:v>0.88041733547351497</c:v>
                </c:pt>
                <c:pt idx="49366">
                  <c:v>0.88043517032281005</c:v>
                </c:pt>
                <c:pt idx="49367">
                  <c:v>0.88045300517210601</c:v>
                </c:pt>
                <c:pt idx="49368">
                  <c:v>0.88047084002140097</c:v>
                </c:pt>
                <c:pt idx="49369">
                  <c:v>0.88048867487069704</c:v>
                </c:pt>
                <c:pt idx="49370">
                  <c:v>0.880506509719992</c:v>
                </c:pt>
                <c:pt idx="49371">
                  <c:v>0.88052434456928796</c:v>
                </c:pt>
                <c:pt idx="49372">
                  <c:v>0.88054217941858304</c:v>
                </c:pt>
                <c:pt idx="49373">
                  <c:v>0.880560014267879</c:v>
                </c:pt>
                <c:pt idx="49374">
                  <c:v>0.88057784911717496</c:v>
                </c:pt>
                <c:pt idx="49375">
                  <c:v>0.88059568396647003</c:v>
                </c:pt>
                <c:pt idx="49376">
                  <c:v>0.88061351881576599</c:v>
                </c:pt>
                <c:pt idx="49377">
                  <c:v>0.88063135366506096</c:v>
                </c:pt>
                <c:pt idx="49378">
                  <c:v>0.88064918851435703</c:v>
                </c:pt>
                <c:pt idx="49379">
                  <c:v>0.88066702336365199</c:v>
                </c:pt>
                <c:pt idx="49380">
                  <c:v>0.88068485821294795</c:v>
                </c:pt>
                <c:pt idx="49381">
                  <c:v>0.88070269306224302</c:v>
                </c:pt>
                <c:pt idx="49382">
                  <c:v>0.88072052791153899</c:v>
                </c:pt>
                <c:pt idx="49383">
                  <c:v>0.88073836276083395</c:v>
                </c:pt>
                <c:pt idx="49384">
                  <c:v>0.88075619761013002</c:v>
                </c:pt>
                <c:pt idx="49385">
                  <c:v>0.88077403245942498</c:v>
                </c:pt>
                <c:pt idx="49386">
                  <c:v>0.88079186730872105</c:v>
                </c:pt>
                <c:pt idx="49387">
                  <c:v>0.88080970215801602</c:v>
                </c:pt>
                <c:pt idx="49388">
                  <c:v>0.88082753700731198</c:v>
                </c:pt>
                <c:pt idx="49389">
                  <c:v>0.88084537185660705</c:v>
                </c:pt>
                <c:pt idx="49390">
                  <c:v>0.88086320670590301</c:v>
                </c:pt>
                <c:pt idx="49391">
                  <c:v>0.88088104155519797</c:v>
                </c:pt>
                <c:pt idx="49392">
                  <c:v>0.88089887640449405</c:v>
                </c:pt>
                <c:pt idx="49393">
                  <c:v>0.88091671125378901</c:v>
                </c:pt>
                <c:pt idx="49394">
                  <c:v>0.88093454610308497</c:v>
                </c:pt>
                <c:pt idx="49395">
                  <c:v>0.88095238095238004</c:v>
                </c:pt>
                <c:pt idx="49396">
                  <c:v>0.880970215801676</c:v>
                </c:pt>
                <c:pt idx="49397">
                  <c:v>0.88098805065097197</c:v>
                </c:pt>
                <c:pt idx="49398">
                  <c:v>0.88100588550026704</c:v>
                </c:pt>
                <c:pt idx="49399">
                  <c:v>0.881023720349563</c:v>
                </c:pt>
                <c:pt idx="49400">
                  <c:v>0.88104155519885796</c:v>
                </c:pt>
                <c:pt idx="49401">
                  <c:v>0.88105939004815403</c:v>
                </c:pt>
                <c:pt idx="49402">
                  <c:v>0.881077224897449</c:v>
                </c:pt>
                <c:pt idx="49403">
                  <c:v>0.88109505974674496</c:v>
                </c:pt>
                <c:pt idx="49404">
                  <c:v>0.88111289459604003</c:v>
                </c:pt>
                <c:pt idx="49405">
                  <c:v>0.88113072944533599</c:v>
                </c:pt>
                <c:pt idx="49406">
                  <c:v>0.88114856429463095</c:v>
                </c:pt>
                <c:pt idx="49407">
                  <c:v>0.88116639914392703</c:v>
                </c:pt>
                <c:pt idx="49408">
                  <c:v>0.88118423399322199</c:v>
                </c:pt>
                <c:pt idx="49409">
                  <c:v>0.88120206884251795</c:v>
                </c:pt>
                <c:pt idx="49410">
                  <c:v>0.88121990369181302</c:v>
                </c:pt>
                <c:pt idx="49411">
                  <c:v>0.88123773854110898</c:v>
                </c:pt>
                <c:pt idx="49412">
                  <c:v>0.88125557339040395</c:v>
                </c:pt>
                <c:pt idx="49413">
                  <c:v>0.88127340823970002</c:v>
                </c:pt>
                <c:pt idx="49414">
                  <c:v>0.88129124308899498</c:v>
                </c:pt>
                <c:pt idx="49415">
                  <c:v>0.88130907793829105</c:v>
                </c:pt>
                <c:pt idx="49416">
                  <c:v>0.88132691278758601</c:v>
                </c:pt>
                <c:pt idx="49417">
                  <c:v>0.88134474763688198</c:v>
                </c:pt>
                <c:pt idx="49418">
                  <c:v>0.88136258248617705</c:v>
                </c:pt>
                <c:pt idx="49419">
                  <c:v>0.88138041733547301</c:v>
                </c:pt>
                <c:pt idx="49420">
                  <c:v>0.88139825218476897</c:v>
                </c:pt>
                <c:pt idx="49421">
                  <c:v>0.88141608703406404</c:v>
                </c:pt>
                <c:pt idx="49422">
                  <c:v>0.88143392188336001</c:v>
                </c:pt>
                <c:pt idx="49423">
                  <c:v>0.88145175673265497</c:v>
                </c:pt>
                <c:pt idx="49424">
                  <c:v>0.88146959158195104</c:v>
                </c:pt>
                <c:pt idx="49425">
                  <c:v>0.881487426431246</c:v>
                </c:pt>
                <c:pt idx="49426">
                  <c:v>0.88150526128054196</c:v>
                </c:pt>
                <c:pt idx="49427">
                  <c:v>0.88152309612983704</c:v>
                </c:pt>
                <c:pt idx="49428">
                  <c:v>0.881540930979133</c:v>
                </c:pt>
                <c:pt idx="49429">
                  <c:v>0.88155876582842796</c:v>
                </c:pt>
                <c:pt idx="49430">
                  <c:v>0.88157660067772403</c:v>
                </c:pt>
                <c:pt idx="49431">
                  <c:v>0.88159443552701899</c:v>
                </c:pt>
                <c:pt idx="49432">
                  <c:v>0.88161227037631495</c:v>
                </c:pt>
                <c:pt idx="49433">
                  <c:v>0.88163010522561003</c:v>
                </c:pt>
                <c:pt idx="49434">
                  <c:v>0.88164794007490599</c:v>
                </c:pt>
                <c:pt idx="49435">
                  <c:v>0.88166577492420095</c:v>
                </c:pt>
                <c:pt idx="49436">
                  <c:v>0.88168360977349702</c:v>
                </c:pt>
                <c:pt idx="49437">
                  <c:v>0.88170144462279298</c:v>
                </c:pt>
                <c:pt idx="49438">
                  <c:v>0.88171927947208795</c:v>
                </c:pt>
                <c:pt idx="49439">
                  <c:v>0.88173711432138402</c:v>
                </c:pt>
                <c:pt idx="49440">
                  <c:v>0.88175494917067898</c:v>
                </c:pt>
                <c:pt idx="49441">
                  <c:v>0.88177278401997505</c:v>
                </c:pt>
                <c:pt idx="49442">
                  <c:v>0.88179061886927002</c:v>
                </c:pt>
                <c:pt idx="49443">
                  <c:v>0.88180845371856598</c:v>
                </c:pt>
                <c:pt idx="49444">
                  <c:v>0.88182628856786105</c:v>
                </c:pt>
                <c:pt idx="49445">
                  <c:v>0.88184412341715701</c:v>
                </c:pt>
                <c:pt idx="49446">
                  <c:v>0.88186195826645197</c:v>
                </c:pt>
                <c:pt idx="49447">
                  <c:v>0.88187979311574805</c:v>
                </c:pt>
                <c:pt idx="49448">
                  <c:v>0.88189762796504301</c:v>
                </c:pt>
                <c:pt idx="49449">
                  <c:v>0.88191546281433897</c:v>
                </c:pt>
                <c:pt idx="49450">
                  <c:v>0.88193329766363404</c:v>
                </c:pt>
                <c:pt idx="49451">
                  <c:v>0.88195113251293</c:v>
                </c:pt>
                <c:pt idx="49452">
                  <c:v>0.88196896736222496</c:v>
                </c:pt>
                <c:pt idx="49453">
                  <c:v>0.88198680221152104</c:v>
                </c:pt>
                <c:pt idx="49454">
                  <c:v>0.882004637060816</c:v>
                </c:pt>
                <c:pt idx="49455">
                  <c:v>0.88202247191011196</c:v>
                </c:pt>
                <c:pt idx="49456">
                  <c:v>0.88204030675940703</c:v>
                </c:pt>
                <c:pt idx="49457">
                  <c:v>0.88205814160870299</c:v>
                </c:pt>
                <c:pt idx="49458">
                  <c:v>0.88207597645799896</c:v>
                </c:pt>
                <c:pt idx="49459">
                  <c:v>0.88209381130729403</c:v>
                </c:pt>
                <c:pt idx="49460">
                  <c:v>0.88211164615658999</c:v>
                </c:pt>
                <c:pt idx="49461">
                  <c:v>0.88212948100588495</c:v>
                </c:pt>
                <c:pt idx="49462">
                  <c:v>0.88214731585518102</c:v>
                </c:pt>
                <c:pt idx="49463">
                  <c:v>0.88216515070447599</c:v>
                </c:pt>
                <c:pt idx="49464">
                  <c:v>0.88218298555377195</c:v>
                </c:pt>
                <c:pt idx="49465">
                  <c:v>0.88220082040306702</c:v>
                </c:pt>
                <c:pt idx="49466">
                  <c:v>0.88221865525236298</c:v>
                </c:pt>
                <c:pt idx="49467">
                  <c:v>0.88223649010165806</c:v>
                </c:pt>
                <c:pt idx="49468">
                  <c:v>0.88225432495095402</c:v>
                </c:pt>
                <c:pt idx="49469">
                  <c:v>0.88227215980024898</c:v>
                </c:pt>
                <c:pt idx="49470">
                  <c:v>0.88228999464954505</c:v>
                </c:pt>
                <c:pt idx="49471">
                  <c:v>0.88230782949884001</c:v>
                </c:pt>
                <c:pt idx="49472">
                  <c:v>0.88232566434813597</c:v>
                </c:pt>
                <c:pt idx="49473">
                  <c:v>0.88234349919743105</c:v>
                </c:pt>
                <c:pt idx="49474">
                  <c:v>0.88236133404672701</c:v>
                </c:pt>
                <c:pt idx="49475">
                  <c:v>0.88237916889602197</c:v>
                </c:pt>
                <c:pt idx="49476">
                  <c:v>0.88239700374531804</c:v>
                </c:pt>
                <c:pt idx="49477">
                  <c:v>0.882414838594613</c:v>
                </c:pt>
                <c:pt idx="49478">
                  <c:v>0.88243267344390897</c:v>
                </c:pt>
                <c:pt idx="49479">
                  <c:v>0.88245050829320404</c:v>
                </c:pt>
                <c:pt idx="49480">
                  <c:v>0.8824683431425</c:v>
                </c:pt>
                <c:pt idx="49481">
                  <c:v>0.88248617799179596</c:v>
                </c:pt>
                <c:pt idx="49482">
                  <c:v>0.88250401284109103</c:v>
                </c:pt>
                <c:pt idx="49483">
                  <c:v>0.882521847690387</c:v>
                </c:pt>
                <c:pt idx="49484">
                  <c:v>0.88253968253968196</c:v>
                </c:pt>
                <c:pt idx="49485">
                  <c:v>0.88255751738897803</c:v>
                </c:pt>
                <c:pt idx="49486">
                  <c:v>0.88257535223827299</c:v>
                </c:pt>
                <c:pt idx="49487">
                  <c:v>0.88259318708756895</c:v>
                </c:pt>
                <c:pt idx="49488">
                  <c:v>0.88261102193686403</c:v>
                </c:pt>
                <c:pt idx="49489">
                  <c:v>0.88262885678615999</c:v>
                </c:pt>
                <c:pt idx="49490">
                  <c:v>0.88264669163545495</c:v>
                </c:pt>
                <c:pt idx="49491">
                  <c:v>0.88266452648475102</c:v>
                </c:pt>
                <c:pt idx="49492">
                  <c:v>0.88268236133404598</c:v>
                </c:pt>
                <c:pt idx="49493">
                  <c:v>0.88270019618334195</c:v>
                </c:pt>
                <c:pt idx="49494">
                  <c:v>0.88271803103263702</c:v>
                </c:pt>
                <c:pt idx="49495">
                  <c:v>0.88273586588193298</c:v>
                </c:pt>
                <c:pt idx="49496">
                  <c:v>0.88275370073122805</c:v>
                </c:pt>
                <c:pt idx="49497">
                  <c:v>0.88277153558052401</c:v>
                </c:pt>
                <c:pt idx="49498">
                  <c:v>0.88278937042981898</c:v>
                </c:pt>
                <c:pt idx="49499">
                  <c:v>0.88280720527911505</c:v>
                </c:pt>
                <c:pt idx="49500">
                  <c:v>0.88282504012841001</c:v>
                </c:pt>
                <c:pt idx="49501">
                  <c:v>0.88284287497770597</c:v>
                </c:pt>
                <c:pt idx="49502">
                  <c:v>0.88286070982700104</c:v>
                </c:pt>
                <c:pt idx="49503">
                  <c:v>0.88287854467629701</c:v>
                </c:pt>
                <c:pt idx="49504">
                  <c:v>0.88289637952559297</c:v>
                </c:pt>
                <c:pt idx="49505">
                  <c:v>0.88291421437488804</c:v>
                </c:pt>
                <c:pt idx="49506">
                  <c:v>0.882932049224184</c:v>
                </c:pt>
                <c:pt idx="49507">
                  <c:v>0.88294988407347896</c:v>
                </c:pt>
                <c:pt idx="49508">
                  <c:v>0.88296771892277504</c:v>
                </c:pt>
                <c:pt idx="49509">
                  <c:v>0.88298555377207</c:v>
                </c:pt>
                <c:pt idx="49510">
                  <c:v>0.88300338862136596</c:v>
                </c:pt>
                <c:pt idx="49511">
                  <c:v>0.88302122347066103</c:v>
                </c:pt>
                <c:pt idx="49512">
                  <c:v>0.88303905831995699</c:v>
                </c:pt>
                <c:pt idx="49513">
                  <c:v>0.88305689316925196</c:v>
                </c:pt>
                <c:pt idx="49514">
                  <c:v>0.88307472801854803</c:v>
                </c:pt>
                <c:pt idx="49515">
                  <c:v>0.88309256286784299</c:v>
                </c:pt>
                <c:pt idx="49516">
                  <c:v>0.88311039771713895</c:v>
                </c:pt>
                <c:pt idx="49517">
                  <c:v>0.88312823256643402</c:v>
                </c:pt>
                <c:pt idx="49518">
                  <c:v>0.88314606741572999</c:v>
                </c:pt>
                <c:pt idx="49519">
                  <c:v>0.88316390226502495</c:v>
                </c:pt>
                <c:pt idx="49520">
                  <c:v>0.88318173711432102</c:v>
                </c:pt>
                <c:pt idx="49521">
                  <c:v>0.88319957196361598</c:v>
                </c:pt>
                <c:pt idx="49522">
                  <c:v>0.88321740681291205</c:v>
                </c:pt>
                <c:pt idx="49523">
                  <c:v>0.88323524166220702</c:v>
                </c:pt>
                <c:pt idx="49524">
                  <c:v>0.88325307651150298</c:v>
                </c:pt>
                <c:pt idx="49525">
                  <c:v>0.88327091136079905</c:v>
                </c:pt>
                <c:pt idx="49526">
                  <c:v>0.88328874621009401</c:v>
                </c:pt>
                <c:pt idx="49527">
                  <c:v>0.88330658105938997</c:v>
                </c:pt>
                <c:pt idx="49528">
                  <c:v>0.88332441590868505</c:v>
                </c:pt>
                <c:pt idx="49529">
                  <c:v>0.88334225075798101</c:v>
                </c:pt>
                <c:pt idx="49530">
                  <c:v>0.88336008560727597</c:v>
                </c:pt>
                <c:pt idx="49531">
                  <c:v>0.88337792045657204</c:v>
                </c:pt>
                <c:pt idx="49532">
                  <c:v>0.883395755305867</c:v>
                </c:pt>
                <c:pt idx="49533">
                  <c:v>0.88341359015516296</c:v>
                </c:pt>
                <c:pt idx="49534">
                  <c:v>0.88343142500445804</c:v>
                </c:pt>
                <c:pt idx="49535">
                  <c:v>0.883449259853754</c:v>
                </c:pt>
                <c:pt idx="49536">
                  <c:v>0.88346709470304896</c:v>
                </c:pt>
                <c:pt idx="49537">
                  <c:v>0.88348492955234503</c:v>
                </c:pt>
                <c:pt idx="49538">
                  <c:v>0.88350276440164</c:v>
                </c:pt>
                <c:pt idx="49539">
                  <c:v>0.88352059925093596</c:v>
                </c:pt>
                <c:pt idx="49540">
                  <c:v>0.88353843410023103</c:v>
                </c:pt>
                <c:pt idx="49541">
                  <c:v>0.88355626894952699</c:v>
                </c:pt>
                <c:pt idx="49542">
                  <c:v>0.88357410379882295</c:v>
                </c:pt>
                <c:pt idx="49543">
                  <c:v>0.88359193864811802</c:v>
                </c:pt>
                <c:pt idx="49544">
                  <c:v>0.88360977349741399</c:v>
                </c:pt>
                <c:pt idx="49545">
                  <c:v>0.88362760834670895</c:v>
                </c:pt>
                <c:pt idx="49546">
                  <c:v>0.88364544319600502</c:v>
                </c:pt>
                <c:pt idx="49547">
                  <c:v>0.88366327804529998</c:v>
                </c:pt>
                <c:pt idx="49548">
                  <c:v>0.88368111289459605</c:v>
                </c:pt>
                <c:pt idx="49549">
                  <c:v>0.88369894774389102</c:v>
                </c:pt>
                <c:pt idx="49550">
                  <c:v>0.88371678259318698</c:v>
                </c:pt>
                <c:pt idx="49551">
                  <c:v>0.88373461744248205</c:v>
                </c:pt>
                <c:pt idx="49552">
                  <c:v>0.88375245229177801</c:v>
                </c:pt>
                <c:pt idx="49553">
                  <c:v>0.88377028714107297</c:v>
                </c:pt>
                <c:pt idx="49554">
                  <c:v>0.88378812199036905</c:v>
                </c:pt>
                <c:pt idx="49555">
                  <c:v>0.88380595683966401</c:v>
                </c:pt>
                <c:pt idx="49556">
                  <c:v>0.88382379168895997</c:v>
                </c:pt>
                <c:pt idx="49557">
                  <c:v>0.88384162653825504</c:v>
                </c:pt>
                <c:pt idx="49558">
                  <c:v>0.883859461387551</c:v>
                </c:pt>
                <c:pt idx="49559">
                  <c:v>0.88387729623684597</c:v>
                </c:pt>
                <c:pt idx="49560">
                  <c:v>0.88389513108614204</c:v>
                </c:pt>
                <c:pt idx="49561">
                  <c:v>0.883912965935437</c:v>
                </c:pt>
                <c:pt idx="49562">
                  <c:v>0.88393080078473296</c:v>
                </c:pt>
                <c:pt idx="49563">
                  <c:v>0.88394863563402803</c:v>
                </c:pt>
                <c:pt idx="49564">
                  <c:v>0.883966470483324</c:v>
                </c:pt>
                <c:pt idx="49565">
                  <c:v>0.88398430533261996</c:v>
                </c:pt>
                <c:pt idx="49566">
                  <c:v>0.88400214018191503</c:v>
                </c:pt>
                <c:pt idx="49567">
                  <c:v>0.88401997503121099</c:v>
                </c:pt>
                <c:pt idx="49568">
                  <c:v>0.88403780988050595</c:v>
                </c:pt>
                <c:pt idx="49569">
                  <c:v>0.88405564472980203</c:v>
                </c:pt>
                <c:pt idx="49570">
                  <c:v>0.88407347957909699</c:v>
                </c:pt>
                <c:pt idx="49571">
                  <c:v>0.88409131442839295</c:v>
                </c:pt>
                <c:pt idx="49572">
                  <c:v>0.88410914927768802</c:v>
                </c:pt>
                <c:pt idx="49573">
                  <c:v>0.88412698412698398</c:v>
                </c:pt>
                <c:pt idx="49574">
                  <c:v>0.88414481897627895</c:v>
                </c:pt>
                <c:pt idx="49575">
                  <c:v>0.88416265382557502</c:v>
                </c:pt>
                <c:pt idx="49576">
                  <c:v>0.88418048867486998</c:v>
                </c:pt>
                <c:pt idx="49577">
                  <c:v>0.88419832352416605</c:v>
                </c:pt>
                <c:pt idx="49578">
                  <c:v>0.88421615837346101</c:v>
                </c:pt>
                <c:pt idx="49579">
                  <c:v>0.88423399322275698</c:v>
                </c:pt>
                <c:pt idx="49580">
                  <c:v>0.88425182807205205</c:v>
                </c:pt>
                <c:pt idx="49581">
                  <c:v>0.88426966292134801</c:v>
                </c:pt>
                <c:pt idx="49582">
                  <c:v>0.88428749777064297</c:v>
                </c:pt>
                <c:pt idx="49583">
                  <c:v>0.88430533261993904</c:v>
                </c:pt>
                <c:pt idx="49584">
                  <c:v>0.88432316746923401</c:v>
                </c:pt>
                <c:pt idx="49585">
                  <c:v>0.88434100231852997</c:v>
                </c:pt>
                <c:pt idx="49586">
                  <c:v>0.88435883716782504</c:v>
                </c:pt>
                <c:pt idx="49587">
                  <c:v>0.884376672017121</c:v>
                </c:pt>
                <c:pt idx="49588">
                  <c:v>0.88439450686641696</c:v>
                </c:pt>
                <c:pt idx="49589">
                  <c:v>0.88441234171571204</c:v>
                </c:pt>
                <c:pt idx="49590">
                  <c:v>0.884430176565008</c:v>
                </c:pt>
                <c:pt idx="49591">
                  <c:v>0.88444801141430296</c:v>
                </c:pt>
                <c:pt idx="49592">
                  <c:v>0.88446584626359903</c:v>
                </c:pt>
                <c:pt idx="49593">
                  <c:v>0.88448368111289399</c:v>
                </c:pt>
                <c:pt idx="49594">
                  <c:v>0.88450151596218995</c:v>
                </c:pt>
                <c:pt idx="49595">
                  <c:v>0.88451935081148503</c:v>
                </c:pt>
                <c:pt idx="49596">
                  <c:v>0.88453718566078099</c:v>
                </c:pt>
                <c:pt idx="49597">
                  <c:v>0.88455502051007595</c:v>
                </c:pt>
                <c:pt idx="49598">
                  <c:v>0.88457285535937202</c:v>
                </c:pt>
                <c:pt idx="49599">
                  <c:v>0.88459069020866699</c:v>
                </c:pt>
                <c:pt idx="49600">
                  <c:v>0.88460852505796295</c:v>
                </c:pt>
                <c:pt idx="49601">
                  <c:v>0.88462635990725802</c:v>
                </c:pt>
                <c:pt idx="49602">
                  <c:v>0.88464419475655398</c:v>
                </c:pt>
                <c:pt idx="49603">
                  <c:v>0.88466202960584905</c:v>
                </c:pt>
                <c:pt idx="49604">
                  <c:v>0.88467986445514502</c:v>
                </c:pt>
                <c:pt idx="49605">
                  <c:v>0.88469769930443998</c:v>
                </c:pt>
                <c:pt idx="49606">
                  <c:v>0.88471553415373605</c:v>
                </c:pt>
                <c:pt idx="49607">
                  <c:v>0.88473336900303101</c:v>
                </c:pt>
                <c:pt idx="49608">
                  <c:v>0.88475120385232697</c:v>
                </c:pt>
                <c:pt idx="49609">
                  <c:v>0.88476903870162205</c:v>
                </c:pt>
                <c:pt idx="49610">
                  <c:v>0.88478687355091801</c:v>
                </c:pt>
                <c:pt idx="49611">
                  <c:v>0.88480470840021397</c:v>
                </c:pt>
                <c:pt idx="49612">
                  <c:v>0.88482254324950904</c:v>
                </c:pt>
                <c:pt idx="49613">
                  <c:v>0.884840378098805</c:v>
                </c:pt>
                <c:pt idx="49614">
                  <c:v>0.88485821294809996</c:v>
                </c:pt>
                <c:pt idx="49615">
                  <c:v>0.88487604779739604</c:v>
                </c:pt>
                <c:pt idx="49616">
                  <c:v>0.884893882646691</c:v>
                </c:pt>
                <c:pt idx="49617">
                  <c:v>0.88491171749598696</c:v>
                </c:pt>
                <c:pt idx="49618">
                  <c:v>0.88492955234528203</c:v>
                </c:pt>
                <c:pt idx="49619">
                  <c:v>0.88494738719457799</c:v>
                </c:pt>
                <c:pt idx="49620">
                  <c:v>0.88496522204387296</c:v>
                </c:pt>
                <c:pt idx="49621">
                  <c:v>0.88498305689316903</c:v>
                </c:pt>
                <c:pt idx="49622">
                  <c:v>0.88500089174246399</c:v>
                </c:pt>
                <c:pt idx="49623">
                  <c:v>0.88501872659175995</c:v>
                </c:pt>
                <c:pt idx="49624">
                  <c:v>0.88503656144105503</c:v>
                </c:pt>
                <c:pt idx="49625">
                  <c:v>0.88505439629035099</c:v>
                </c:pt>
                <c:pt idx="49626">
                  <c:v>0.88507223113964595</c:v>
                </c:pt>
                <c:pt idx="49627">
                  <c:v>0.88509006598894202</c:v>
                </c:pt>
                <c:pt idx="49628">
                  <c:v>0.88510790083823698</c:v>
                </c:pt>
                <c:pt idx="49629">
                  <c:v>0.88512573568753306</c:v>
                </c:pt>
                <c:pt idx="49630">
                  <c:v>0.88514357053682902</c:v>
                </c:pt>
                <c:pt idx="49631">
                  <c:v>0.88516140538612398</c:v>
                </c:pt>
                <c:pt idx="49632">
                  <c:v>0.88517924023542005</c:v>
                </c:pt>
                <c:pt idx="49633">
                  <c:v>0.88519707508471501</c:v>
                </c:pt>
                <c:pt idx="49634">
                  <c:v>0.88521490993401097</c:v>
                </c:pt>
                <c:pt idx="49635">
                  <c:v>0.88523274478330605</c:v>
                </c:pt>
                <c:pt idx="49636">
                  <c:v>0.88525057963260201</c:v>
                </c:pt>
                <c:pt idx="49637">
                  <c:v>0.88526841448189697</c:v>
                </c:pt>
                <c:pt idx="49638">
                  <c:v>0.88528624933119304</c:v>
                </c:pt>
                <c:pt idx="49639">
                  <c:v>0.885304084180488</c:v>
                </c:pt>
                <c:pt idx="49640">
                  <c:v>0.88532191902978397</c:v>
                </c:pt>
                <c:pt idx="49641">
                  <c:v>0.88533975387907904</c:v>
                </c:pt>
                <c:pt idx="49642">
                  <c:v>0.885357588728375</c:v>
                </c:pt>
                <c:pt idx="49643">
                  <c:v>0.88537542357766996</c:v>
                </c:pt>
                <c:pt idx="49644">
                  <c:v>0.88539325842696603</c:v>
                </c:pt>
                <c:pt idx="49645">
                  <c:v>0.885411093276261</c:v>
                </c:pt>
                <c:pt idx="49646">
                  <c:v>0.88542892812555696</c:v>
                </c:pt>
                <c:pt idx="49647">
                  <c:v>0.88544676297485203</c:v>
                </c:pt>
                <c:pt idx="49648">
                  <c:v>0.88546459782414799</c:v>
                </c:pt>
                <c:pt idx="49649">
                  <c:v>0.88548243267344395</c:v>
                </c:pt>
                <c:pt idx="49650">
                  <c:v>0.88550026752273903</c:v>
                </c:pt>
                <c:pt idx="49651">
                  <c:v>0.88551810237203499</c:v>
                </c:pt>
                <c:pt idx="49652">
                  <c:v>0.88553593722132995</c:v>
                </c:pt>
                <c:pt idx="49653">
                  <c:v>0.88555377207062602</c:v>
                </c:pt>
                <c:pt idx="49654">
                  <c:v>0.88557160691992098</c:v>
                </c:pt>
                <c:pt idx="49655">
                  <c:v>0.88558944176921695</c:v>
                </c:pt>
                <c:pt idx="49656">
                  <c:v>0.88560727661851202</c:v>
                </c:pt>
                <c:pt idx="49657">
                  <c:v>0.88562511146780798</c:v>
                </c:pt>
                <c:pt idx="49658">
                  <c:v>0.88564294631710305</c:v>
                </c:pt>
                <c:pt idx="49659">
                  <c:v>0.88566078116639901</c:v>
                </c:pt>
                <c:pt idx="49660">
                  <c:v>0.88567861601569398</c:v>
                </c:pt>
                <c:pt idx="49661">
                  <c:v>0.88569645086499005</c:v>
                </c:pt>
                <c:pt idx="49662">
                  <c:v>0.88571428571428501</c:v>
                </c:pt>
                <c:pt idx="49663">
                  <c:v>0.88573212056358097</c:v>
                </c:pt>
                <c:pt idx="49664">
                  <c:v>0.88574995541287604</c:v>
                </c:pt>
                <c:pt idx="49665">
                  <c:v>0.88576779026217201</c:v>
                </c:pt>
                <c:pt idx="49666">
                  <c:v>0.88578562511146697</c:v>
                </c:pt>
                <c:pt idx="49667">
                  <c:v>0.88580345996076304</c:v>
                </c:pt>
                <c:pt idx="49668">
                  <c:v>0.885821294810058</c:v>
                </c:pt>
                <c:pt idx="49669">
                  <c:v>0.88583912965935396</c:v>
                </c:pt>
                <c:pt idx="49670">
                  <c:v>0.88585696450864904</c:v>
                </c:pt>
                <c:pt idx="49671">
                  <c:v>0.885874799357945</c:v>
                </c:pt>
                <c:pt idx="49672">
                  <c:v>0.88589263420724096</c:v>
                </c:pt>
                <c:pt idx="49673">
                  <c:v>0.88591046905653603</c:v>
                </c:pt>
                <c:pt idx="49674">
                  <c:v>0.88592830390583199</c:v>
                </c:pt>
                <c:pt idx="49675">
                  <c:v>0.88594613875512696</c:v>
                </c:pt>
                <c:pt idx="49676">
                  <c:v>0.88596397360442303</c:v>
                </c:pt>
                <c:pt idx="49677">
                  <c:v>0.88598180845371799</c:v>
                </c:pt>
                <c:pt idx="49678">
                  <c:v>0.88599964330301395</c:v>
                </c:pt>
                <c:pt idx="49679">
                  <c:v>0.88601747815230902</c:v>
                </c:pt>
                <c:pt idx="49680">
                  <c:v>0.88603531300160498</c:v>
                </c:pt>
                <c:pt idx="49681">
                  <c:v>0.88605314785089995</c:v>
                </c:pt>
                <c:pt idx="49682">
                  <c:v>0.88607098270019602</c:v>
                </c:pt>
                <c:pt idx="49683">
                  <c:v>0.88608881754949098</c:v>
                </c:pt>
                <c:pt idx="49684">
                  <c:v>0.88610665239878705</c:v>
                </c:pt>
                <c:pt idx="49685">
                  <c:v>0.88612448724808202</c:v>
                </c:pt>
                <c:pt idx="49686">
                  <c:v>0.88614232209737798</c:v>
                </c:pt>
                <c:pt idx="49687">
                  <c:v>0.88616015694667305</c:v>
                </c:pt>
                <c:pt idx="49688">
                  <c:v>0.88617799179596901</c:v>
                </c:pt>
                <c:pt idx="49689">
                  <c:v>0.88619582664526397</c:v>
                </c:pt>
                <c:pt idx="49690">
                  <c:v>0.88621366149456005</c:v>
                </c:pt>
                <c:pt idx="49691">
                  <c:v>0.88623149634385501</c:v>
                </c:pt>
                <c:pt idx="49692">
                  <c:v>0.88624933119315097</c:v>
                </c:pt>
                <c:pt idx="49693">
                  <c:v>0.88626716604244604</c:v>
                </c:pt>
                <c:pt idx="49694">
                  <c:v>0.886285000891742</c:v>
                </c:pt>
                <c:pt idx="49695">
                  <c:v>0.88630283574103796</c:v>
                </c:pt>
                <c:pt idx="49696">
                  <c:v>0.88632067059033304</c:v>
                </c:pt>
                <c:pt idx="49697">
                  <c:v>0.886338505439629</c:v>
                </c:pt>
                <c:pt idx="49698">
                  <c:v>0.88635634028892396</c:v>
                </c:pt>
                <c:pt idx="49699">
                  <c:v>0.88637417513822003</c:v>
                </c:pt>
                <c:pt idx="49700">
                  <c:v>0.88639200998751499</c:v>
                </c:pt>
                <c:pt idx="49701">
                  <c:v>0.88640984483681096</c:v>
                </c:pt>
                <c:pt idx="49702">
                  <c:v>0.88642767968610603</c:v>
                </c:pt>
                <c:pt idx="49703">
                  <c:v>0.88644551453540199</c:v>
                </c:pt>
                <c:pt idx="49704">
                  <c:v>0.88646334938469695</c:v>
                </c:pt>
                <c:pt idx="49705">
                  <c:v>0.88648118423399302</c:v>
                </c:pt>
                <c:pt idx="49706">
                  <c:v>0.88649901908328799</c:v>
                </c:pt>
                <c:pt idx="49707">
                  <c:v>0.88651685393258395</c:v>
                </c:pt>
                <c:pt idx="49708">
                  <c:v>0.88653468878187902</c:v>
                </c:pt>
                <c:pt idx="49709">
                  <c:v>0.88655252363117498</c:v>
                </c:pt>
                <c:pt idx="49710">
                  <c:v>0.88657035848047006</c:v>
                </c:pt>
                <c:pt idx="49711">
                  <c:v>0.88658819332976602</c:v>
                </c:pt>
                <c:pt idx="49712">
                  <c:v>0.88660602817906098</c:v>
                </c:pt>
                <c:pt idx="49713">
                  <c:v>0.88662386302835705</c:v>
                </c:pt>
                <c:pt idx="49714">
                  <c:v>0.88664169787765201</c:v>
                </c:pt>
                <c:pt idx="49715">
                  <c:v>0.88665953272694797</c:v>
                </c:pt>
                <c:pt idx="49716">
                  <c:v>0.88667736757624305</c:v>
                </c:pt>
                <c:pt idx="49717">
                  <c:v>0.88669520242553901</c:v>
                </c:pt>
                <c:pt idx="49718">
                  <c:v>0.88671303727483497</c:v>
                </c:pt>
                <c:pt idx="49719">
                  <c:v>0.88673087212413004</c:v>
                </c:pt>
                <c:pt idx="49720">
                  <c:v>0.886748706973426</c:v>
                </c:pt>
                <c:pt idx="49721">
                  <c:v>0.88676654182272097</c:v>
                </c:pt>
                <c:pt idx="49722">
                  <c:v>0.88678437667201704</c:v>
                </c:pt>
                <c:pt idx="49723">
                  <c:v>0.886802211521312</c:v>
                </c:pt>
                <c:pt idx="49724">
                  <c:v>0.88682004637060796</c:v>
                </c:pt>
                <c:pt idx="49725">
                  <c:v>0.88683788121990303</c:v>
                </c:pt>
                <c:pt idx="49726">
                  <c:v>0.886855716069199</c:v>
                </c:pt>
                <c:pt idx="49727">
                  <c:v>0.88687355091849396</c:v>
                </c:pt>
                <c:pt idx="49728">
                  <c:v>0.88689138576779003</c:v>
                </c:pt>
                <c:pt idx="49729">
                  <c:v>0.88690922061708499</c:v>
                </c:pt>
                <c:pt idx="49730">
                  <c:v>0.88692705546638095</c:v>
                </c:pt>
                <c:pt idx="49731">
                  <c:v>0.88694489031567603</c:v>
                </c:pt>
                <c:pt idx="49732">
                  <c:v>0.88696272516497199</c:v>
                </c:pt>
                <c:pt idx="49733">
                  <c:v>0.88698056001426695</c:v>
                </c:pt>
                <c:pt idx="49734">
                  <c:v>0.88699839486356302</c:v>
                </c:pt>
                <c:pt idx="49735">
                  <c:v>0.88701622971285798</c:v>
                </c:pt>
                <c:pt idx="49736">
                  <c:v>0.88703406456215395</c:v>
                </c:pt>
                <c:pt idx="49737">
                  <c:v>0.88705189941145002</c:v>
                </c:pt>
                <c:pt idx="49738">
                  <c:v>0.88706973426074498</c:v>
                </c:pt>
                <c:pt idx="49739">
                  <c:v>0.88708756911004105</c:v>
                </c:pt>
                <c:pt idx="49740">
                  <c:v>0.88710540395933601</c:v>
                </c:pt>
                <c:pt idx="49741">
                  <c:v>0.88712323880863198</c:v>
                </c:pt>
                <c:pt idx="49742">
                  <c:v>0.88714107365792705</c:v>
                </c:pt>
                <c:pt idx="49743">
                  <c:v>0.88715890850722301</c:v>
                </c:pt>
                <c:pt idx="49744">
                  <c:v>0.88717674335651797</c:v>
                </c:pt>
                <c:pt idx="49745">
                  <c:v>0.88719457820581404</c:v>
                </c:pt>
                <c:pt idx="49746">
                  <c:v>0.88721241305510901</c:v>
                </c:pt>
                <c:pt idx="49747">
                  <c:v>0.88723024790440497</c:v>
                </c:pt>
                <c:pt idx="49748">
                  <c:v>0.88724808275370004</c:v>
                </c:pt>
                <c:pt idx="49749">
                  <c:v>0.887265917602996</c:v>
                </c:pt>
                <c:pt idx="49750">
                  <c:v>0.88728375245229096</c:v>
                </c:pt>
                <c:pt idx="49751">
                  <c:v>0.88730158730158704</c:v>
                </c:pt>
                <c:pt idx="49752">
                  <c:v>0.887319422150882</c:v>
                </c:pt>
                <c:pt idx="49753">
                  <c:v>0.88733725700017796</c:v>
                </c:pt>
                <c:pt idx="49754">
                  <c:v>0.88735509184947303</c:v>
                </c:pt>
                <c:pt idx="49755">
                  <c:v>0.88737292669876899</c:v>
                </c:pt>
                <c:pt idx="49756">
                  <c:v>0.88739076154806495</c:v>
                </c:pt>
                <c:pt idx="49757">
                  <c:v>0.88740859639736003</c:v>
                </c:pt>
                <c:pt idx="49758">
                  <c:v>0.88742643124665599</c:v>
                </c:pt>
                <c:pt idx="49759">
                  <c:v>0.88744426609595095</c:v>
                </c:pt>
                <c:pt idx="49760">
                  <c:v>0.88746210094524702</c:v>
                </c:pt>
                <c:pt idx="49761">
                  <c:v>0.88747993579454199</c:v>
                </c:pt>
                <c:pt idx="49762">
                  <c:v>0.88749777064383795</c:v>
                </c:pt>
                <c:pt idx="49763">
                  <c:v>0.88751560549313302</c:v>
                </c:pt>
                <c:pt idx="49764">
                  <c:v>0.88753344034242898</c:v>
                </c:pt>
                <c:pt idx="49765">
                  <c:v>0.88755127519172405</c:v>
                </c:pt>
                <c:pt idx="49766">
                  <c:v>0.88756911004102002</c:v>
                </c:pt>
                <c:pt idx="49767">
                  <c:v>0.88758694489031498</c:v>
                </c:pt>
                <c:pt idx="49768">
                  <c:v>0.88760477973961105</c:v>
                </c:pt>
                <c:pt idx="49769">
                  <c:v>0.88762261458890601</c:v>
                </c:pt>
                <c:pt idx="49770">
                  <c:v>0.88764044943820197</c:v>
                </c:pt>
                <c:pt idx="49771">
                  <c:v>0.88765828428749705</c:v>
                </c:pt>
                <c:pt idx="49772">
                  <c:v>0.88767611913679301</c:v>
                </c:pt>
                <c:pt idx="49773">
                  <c:v>0.88769395398608797</c:v>
                </c:pt>
                <c:pt idx="49774">
                  <c:v>0.88771178883538404</c:v>
                </c:pt>
                <c:pt idx="49775">
                  <c:v>0.887729623684679</c:v>
                </c:pt>
                <c:pt idx="49776">
                  <c:v>0.88774745853397496</c:v>
                </c:pt>
                <c:pt idx="49777">
                  <c:v>0.88776529338327004</c:v>
                </c:pt>
                <c:pt idx="49778">
                  <c:v>0.887783128232566</c:v>
                </c:pt>
                <c:pt idx="49779">
                  <c:v>0.88780096308186196</c:v>
                </c:pt>
                <c:pt idx="49780">
                  <c:v>0.88781879793115703</c:v>
                </c:pt>
                <c:pt idx="49781">
                  <c:v>0.88783663278045299</c:v>
                </c:pt>
                <c:pt idx="49782">
                  <c:v>0.88785446762974796</c:v>
                </c:pt>
                <c:pt idx="49783">
                  <c:v>0.88787230247904403</c:v>
                </c:pt>
                <c:pt idx="49784">
                  <c:v>0.88789013732833899</c:v>
                </c:pt>
                <c:pt idx="49785">
                  <c:v>0.88790797217763495</c:v>
                </c:pt>
                <c:pt idx="49786">
                  <c:v>0.88792580702693003</c:v>
                </c:pt>
                <c:pt idx="49787">
                  <c:v>0.88794364187622599</c:v>
                </c:pt>
                <c:pt idx="49788">
                  <c:v>0.88796147672552095</c:v>
                </c:pt>
                <c:pt idx="49789">
                  <c:v>0.88797931157481702</c:v>
                </c:pt>
                <c:pt idx="49790">
                  <c:v>0.88799714642411198</c:v>
                </c:pt>
                <c:pt idx="49791">
                  <c:v>0.88801498127340805</c:v>
                </c:pt>
                <c:pt idx="49792">
                  <c:v>0.88803281612270302</c:v>
                </c:pt>
                <c:pt idx="49793">
                  <c:v>0.88805065097199898</c:v>
                </c:pt>
                <c:pt idx="49794">
                  <c:v>0.88806848582129405</c:v>
                </c:pt>
                <c:pt idx="49795">
                  <c:v>0.88808632067059001</c:v>
                </c:pt>
                <c:pt idx="49796">
                  <c:v>0.88810415551988497</c:v>
                </c:pt>
                <c:pt idx="49797">
                  <c:v>0.88812199036918105</c:v>
                </c:pt>
                <c:pt idx="49798">
                  <c:v>0.88813982521847601</c:v>
                </c:pt>
                <c:pt idx="49799">
                  <c:v>0.88815766006777197</c:v>
                </c:pt>
                <c:pt idx="49800">
                  <c:v>0.88817549491706704</c:v>
                </c:pt>
                <c:pt idx="49801">
                  <c:v>0.888193329766363</c:v>
                </c:pt>
                <c:pt idx="49802">
                  <c:v>0.88821116461565897</c:v>
                </c:pt>
                <c:pt idx="49803">
                  <c:v>0.88822899946495404</c:v>
                </c:pt>
                <c:pt idx="49804">
                  <c:v>0.88824683431425</c:v>
                </c:pt>
                <c:pt idx="49805">
                  <c:v>0.88826466916354496</c:v>
                </c:pt>
                <c:pt idx="49806">
                  <c:v>0.88828250401284103</c:v>
                </c:pt>
                <c:pt idx="49807">
                  <c:v>0.888300338862136</c:v>
                </c:pt>
                <c:pt idx="49808">
                  <c:v>0.88831817371143196</c:v>
                </c:pt>
                <c:pt idx="49809">
                  <c:v>0.88833600856072703</c:v>
                </c:pt>
                <c:pt idx="49810">
                  <c:v>0.88835384341002299</c:v>
                </c:pt>
                <c:pt idx="49811">
                  <c:v>0.88837167825931795</c:v>
                </c:pt>
                <c:pt idx="49812">
                  <c:v>0.88838951310861403</c:v>
                </c:pt>
                <c:pt idx="49813">
                  <c:v>0.88840734795790899</c:v>
                </c:pt>
                <c:pt idx="49814">
                  <c:v>0.88842518280720495</c:v>
                </c:pt>
                <c:pt idx="49815">
                  <c:v>0.88844301765650002</c:v>
                </c:pt>
                <c:pt idx="49816">
                  <c:v>0.88846085250579598</c:v>
                </c:pt>
                <c:pt idx="49817">
                  <c:v>0.88847868735509095</c:v>
                </c:pt>
                <c:pt idx="49818">
                  <c:v>0.88849652220438702</c:v>
                </c:pt>
                <c:pt idx="49819">
                  <c:v>0.88851435705368198</c:v>
                </c:pt>
                <c:pt idx="49820">
                  <c:v>0.88853219190297805</c:v>
                </c:pt>
                <c:pt idx="49821">
                  <c:v>0.88855002675227301</c:v>
                </c:pt>
                <c:pt idx="49822">
                  <c:v>0.88856786160156898</c:v>
                </c:pt>
                <c:pt idx="49823">
                  <c:v>0.88858569645086405</c:v>
                </c:pt>
                <c:pt idx="49824">
                  <c:v>0.88860353130016001</c:v>
                </c:pt>
                <c:pt idx="49825">
                  <c:v>0.88862136614945597</c:v>
                </c:pt>
                <c:pt idx="49826">
                  <c:v>0.88863920099875104</c:v>
                </c:pt>
                <c:pt idx="49827">
                  <c:v>0.88865703584804701</c:v>
                </c:pt>
                <c:pt idx="49828">
                  <c:v>0.88867487069734197</c:v>
                </c:pt>
                <c:pt idx="49829">
                  <c:v>0.88869270554663804</c:v>
                </c:pt>
                <c:pt idx="49830">
                  <c:v>0.888710540395933</c:v>
                </c:pt>
                <c:pt idx="49831">
                  <c:v>0.88872837524522896</c:v>
                </c:pt>
                <c:pt idx="49832">
                  <c:v>0.88874621009452404</c:v>
                </c:pt>
                <c:pt idx="49833">
                  <c:v>0.88876404494382</c:v>
                </c:pt>
                <c:pt idx="49834">
                  <c:v>0.88878187979311496</c:v>
                </c:pt>
                <c:pt idx="49835">
                  <c:v>0.88879971464241103</c:v>
                </c:pt>
                <c:pt idx="49836">
                  <c:v>0.88881754949170599</c:v>
                </c:pt>
                <c:pt idx="49837">
                  <c:v>0.88883538434100196</c:v>
                </c:pt>
                <c:pt idx="49838">
                  <c:v>0.88885321919029703</c:v>
                </c:pt>
                <c:pt idx="49839">
                  <c:v>0.88887105403959299</c:v>
                </c:pt>
                <c:pt idx="49840">
                  <c:v>0.88888888888888795</c:v>
                </c:pt>
                <c:pt idx="49841">
                  <c:v>0.88890672373818402</c:v>
                </c:pt>
                <c:pt idx="49842">
                  <c:v>0.88892455858747998</c:v>
                </c:pt>
                <c:pt idx="49843">
                  <c:v>0.88894239343677495</c:v>
                </c:pt>
                <c:pt idx="49844">
                  <c:v>0.88896022828607102</c:v>
                </c:pt>
                <c:pt idx="49845">
                  <c:v>0.88897806313536598</c:v>
                </c:pt>
                <c:pt idx="49846">
                  <c:v>0.88899589798466205</c:v>
                </c:pt>
                <c:pt idx="49847">
                  <c:v>0.88901373283395702</c:v>
                </c:pt>
                <c:pt idx="49848">
                  <c:v>0.88903156768325298</c:v>
                </c:pt>
                <c:pt idx="49849">
                  <c:v>0.88904940253254805</c:v>
                </c:pt>
                <c:pt idx="49850">
                  <c:v>0.88906723738184401</c:v>
                </c:pt>
                <c:pt idx="49851">
                  <c:v>0.88908507223113897</c:v>
                </c:pt>
                <c:pt idx="49852">
                  <c:v>0.88910290708043505</c:v>
                </c:pt>
                <c:pt idx="49853">
                  <c:v>0.88912074192973001</c:v>
                </c:pt>
                <c:pt idx="49854">
                  <c:v>0.88913857677902597</c:v>
                </c:pt>
                <c:pt idx="49855">
                  <c:v>0.88915641162832104</c:v>
                </c:pt>
                <c:pt idx="49856">
                  <c:v>0.889174246477617</c:v>
                </c:pt>
                <c:pt idx="49857">
                  <c:v>0.88919208132691197</c:v>
                </c:pt>
                <c:pt idx="49858">
                  <c:v>0.88920991617620804</c:v>
                </c:pt>
                <c:pt idx="49859">
                  <c:v>0.889227751025503</c:v>
                </c:pt>
                <c:pt idx="49860">
                  <c:v>0.88924558587479896</c:v>
                </c:pt>
                <c:pt idx="49861">
                  <c:v>0.88926342072409403</c:v>
                </c:pt>
                <c:pt idx="49862">
                  <c:v>0.88928125557338999</c:v>
                </c:pt>
                <c:pt idx="49863">
                  <c:v>0.88929909042268596</c:v>
                </c:pt>
                <c:pt idx="49864">
                  <c:v>0.88931692527198103</c:v>
                </c:pt>
                <c:pt idx="49865">
                  <c:v>0.88933476012127699</c:v>
                </c:pt>
                <c:pt idx="49866">
                  <c:v>0.88935259497057195</c:v>
                </c:pt>
                <c:pt idx="49867">
                  <c:v>0.88937042981986802</c:v>
                </c:pt>
                <c:pt idx="49868">
                  <c:v>0.88938826466916299</c:v>
                </c:pt>
                <c:pt idx="49869">
                  <c:v>0.88940609951845895</c:v>
                </c:pt>
                <c:pt idx="49870">
                  <c:v>0.88942393436775402</c:v>
                </c:pt>
                <c:pt idx="49871">
                  <c:v>0.88944176921704998</c:v>
                </c:pt>
                <c:pt idx="49872">
                  <c:v>0.88945960406634506</c:v>
                </c:pt>
                <c:pt idx="49873">
                  <c:v>0.88947743891564102</c:v>
                </c:pt>
                <c:pt idx="49874">
                  <c:v>0.88949527376493598</c:v>
                </c:pt>
                <c:pt idx="49875">
                  <c:v>0.88951310861423205</c:v>
                </c:pt>
                <c:pt idx="49876">
                  <c:v>0.88953094346352701</c:v>
                </c:pt>
                <c:pt idx="49877">
                  <c:v>0.88954877831282297</c:v>
                </c:pt>
                <c:pt idx="49878">
                  <c:v>0.88956661316211805</c:v>
                </c:pt>
                <c:pt idx="49879">
                  <c:v>0.88958444801141401</c:v>
                </c:pt>
                <c:pt idx="49880">
                  <c:v>0.88960228286070897</c:v>
                </c:pt>
                <c:pt idx="49881">
                  <c:v>0.88962011771000504</c:v>
                </c:pt>
                <c:pt idx="49882">
                  <c:v>0.8896379525593</c:v>
                </c:pt>
                <c:pt idx="49883">
                  <c:v>0.88965578740859597</c:v>
                </c:pt>
                <c:pt idx="49884">
                  <c:v>0.88967362225789104</c:v>
                </c:pt>
                <c:pt idx="49885">
                  <c:v>0.889691457107187</c:v>
                </c:pt>
                <c:pt idx="49886">
                  <c:v>0.88970929195648296</c:v>
                </c:pt>
                <c:pt idx="49887">
                  <c:v>0.88972712680577803</c:v>
                </c:pt>
                <c:pt idx="49888">
                  <c:v>0.889744961655074</c:v>
                </c:pt>
                <c:pt idx="49889">
                  <c:v>0.88976279650436896</c:v>
                </c:pt>
                <c:pt idx="49890">
                  <c:v>0.88978063135366503</c:v>
                </c:pt>
                <c:pt idx="49891">
                  <c:v>0.88979846620295999</c:v>
                </c:pt>
                <c:pt idx="49892">
                  <c:v>0.88981630105225595</c:v>
                </c:pt>
                <c:pt idx="49893">
                  <c:v>0.88983413590155103</c:v>
                </c:pt>
                <c:pt idx="49894">
                  <c:v>0.88985197075084699</c:v>
                </c:pt>
                <c:pt idx="49895">
                  <c:v>0.88986980560014195</c:v>
                </c:pt>
                <c:pt idx="49896">
                  <c:v>0.88988764044943802</c:v>
                </c:pt>
                <c:pt idx="49897">
                  <c:v>0.88990547529873298</c:v>
                </c:pt>
                <c:pt idx="49898">
                  <c:v>0.88992331014802895</c:v>
                </c:pt>
                <c:pt idx="49899">
                  <c:v>0.88994114499732402</c:v>
                </c:pt>
                <c:pt idx="49900">
                  <c:v>0.88995897984661998</c:v>
                </c:pt>
                <c:pt idx="49901">
                  <c:v>0.88997681469591505</c:v>
                </c:pt>
                <c:pt idx="49902">
                  <c:v>0.88999464954521101</c:v>
                </c:pt>
                <c:pt idx="49903">
                  <c:v>0.89001248439450598</c:v>
                </c:pt>
                <c:pt idx="49904">
                  <c:v>0.89003031924380205</c:v>
                </c:pt>
                <c:pt idx="49905">
                  <c:v>0.89004815409309701</c:v>
                </c:pt>
                <c:pt idx="49906">
                  <c:v>0.89006598894239297</c:v>
                </c:pt>
                <c:pt idx="49907">
                  <c:v>0.89008382379168804</c:v>
                </c:pt>
                <c:pt idx="49908">
                  <c:v>0.89010165864098401</c:v>
                </c:pt>
                <c:pt idx="49909">
                  <c:v>0.89011949349027997</c:v>
                </c:pt>
                <c:pt idx="49910">
                  <c:v>0.89013732833957504</c:v>
                </c:pt>
                <c:pt idx="49911">
                  <c:v>0.890155163188871</c:v>
                </c:pt>
                <c:pt idx="49912">
                  <c:v>0.89017299803816596</c:v>
                </c:pt>
                <c:pt idx="49913">
                  <c:v>0.89019083288746204</c:v>
                </c:pt>
                <c:pt idx="49914">
                  <c:v>0.890208667736757</c:v>
                </c:pt>
                <c:pt idx="49915">
                  <c:v>0.89022650258605296</c:v>
                </c:pt>
                <c:pt idx="49916">
                  <c:v>0.89024433743534803</c:v>
                </c:pt>
                <c:pt idx="49917">
                  <c:v>0.89026217228464399</c:v>
                </c:pt>
                <c:pt idx="49918">
                  <c:v>0.89028000713393896</c:v>
                </c:pt>
                <c:pt idx="49919">
                  <c:v>0.89029784198323503</c:v>
                </c:pt>
                <c:pt idx="49920">
                  <c:v>0.89031567683252999</c:v>
                </c:pt>
                <c:pt idx="49921">
                  <c:v>0.89033351168182595</c:v>
                </c:pt>
                <c:pt idx="49922">
                  <c:v>0.89035134653112102</c:v>
                </c:pt>
                <c:pt idx="49923">
                  <c:v>0.89036918138041699</c:v>
                </c:pt>
                <c:pt idx="49924">
                  <c:v>0.89038701622971195</c:v>
                </c:pt>
                <c:pt idx="49925">
                  <c:v>0.89040485107900802</c:v>
                </c:pt>
                <c:pt idx="49926">
                  <c:v>0.89042268592830298</c:v>
                </c:pt>
                <c:pt idx="49927">
                  <c:v>0.89044052077759905</c:v>
                </c:pt>
                <c:pt idx="49928">
                  <c:v>0.89045835562689402</c:v>
                </c:pt>
                <c:pt idx="49929">
                  <c:v>0.89047619047618998</c:v>
                </c:pt>
                <c:pt idx="49930">
                  <c:v>0.89049402532548605</c:v>
                </c:pt>
                <c:pt idx="49931">
                  <c:v>0.89051186017478101</c:v>
                </c:pt>
                <c:pt idx="49932">
                  <c:v>0.89052969502407697</c:v>
                </c:pt>
                <c:pt idx="49933">
                  <c:v>0.89054752987337205</c:v>
                </c:pt>
                <c:pt idx="49934">
                  <c:v>0.89056536472266801</c:v>
                </c:pt>
                <c:pt idx="49935">
                  <c:v>0.89058319957196297</c:v>
                </c:pt>
                <c:pt idx="49936">
                  <c:v>0.89060103442125904</c:v>
                </c:pt>
                <c:pt idx="49937">
                  <c:v>0.890618869270554</c:v>
                </c:pt>
                <c:pt idx="49938">
                  <c:v>0.89063670411984996</c:v>
                </c:pt>
                <c:pt idx="49939">
                  <c:v>0.89065453896914504</c:v>
                </c:pt>
                <c:pt idx="49940">
                  <c:v>0.890672373818441</c:v>
                </c:pt>
                <c:pt idx="49941">
                  <c:v>0.89069020866773596</c:v>
                </c:pt>
                <c:pt idx="49942">
                  <c:v>0.89070804351703203</c:v>
                </c:pt>
                <c:pt idx="49943">
                  <c:v>0.890725878366327</c:v>
                </c:pt>
                <c:pt idx="49944">
                  <c:v>0.89074371321562296</c:v>
                </c:pt>
                <c:pt idx="49945">
                  <c:v>0.89076154806491803</c:v>
                </c:pt>
                <c:pt idx="49946">
                  <c:v>0.89077938291421399</c:v>
                </c:pt>
                <c:pt idx="49947">
                  <c:v>0.89079721776350995</c:v>
                </c:pt>
                <c:pt idx="49948">
                  <c:v>0.89081505261280503</c:v>
                </c:pt>
                <c:pt idx="49949">
                  <c:v>0.89083288746210099</c:v>
                </c:pt>
                <c:pt idx="49950">
                  <c:v>0.89085072231139595</c:v>
                </c:pt>
                <c:pt idx="49951">
                  <c:v>0.89086855716069202</c:v>
                </c:pt>
                <c:pt idx="49952">
                  <c:v>0.89088639200998698</c:v>
                </c:pt>
                <c:pt idx="49953">
                  <c:v>0.89090422685928305</c:v>
                </c:pt>
                <c:pt idx="49954">
                  <c:v>0.89092206170857802</c:v>
                </c:pt>
                <c:pt idx="49955">
                  <c:v>0.89093989655787398</c:v>
                </c:pt>
                <c:pt idx="49956">
                  <c:v>0.89095773140716905</c:v>
                </c:pt>
                <c:pt idx="49957">
                  <c:v>0.89097556625646501</c:v>
                </c:pt>
                <c:pt idx="49958">
                  <c:v>0.89099340110575997</c:v>
                </c:pt>
                <c:pt idx="49959">
                  <c:v>0.89101123595505605</c:v>
                </c:pt>
                <c:pt idx="49960">
                  <c:v>0.89102907080435101</c:v>
                </c:pt>
                <c:pt idx="49961">
                  <c:v>0.89104690565364697</c:v>
                </c:pt>
                <c:pt idx="49962">
                  <c:v>0.89106474050294204</c:v>
                </c:pt>
                <c:pt idx="49963">
                  <c:v>0.891082575352238</c:v>
                </c:pt>
                <c:pt idx="49964">
                  <c:v>0.89110041020153297</c:v>
                </c:pt>
                <c:pt idx="49965">
                  <c:v>0.89111824505082904</c:v>
                </c:pt>
                <c:pt idx="49966">
                  <c:v>0.891136079900124</c:v>
                </c:pt>
                <c:pt idx="49967">
                  <c:v>0.89115391474941996</c:v>
                </c:pt>
                <c:pt idx="49968">
                  <c:v>0.89117174959871504</c:v>
                </c:pt>
                <c:pt idx="49969">
                  <c:v>0.891189584448011</c:v>
                </c:pt>
                <c:pt idx="49970">
                  <c:v>0.89120741929730696</c:v>
                </c:pt>
                <c:pt idx="49971">
                  <c:v>0.89122525414660203</c:v>
                </c:pt>
                <c:pt idx="49972">
                  <c:v>0.89124308899589799</c:v>
                </c:pt>
                <c:pt idx="49973">
                  <c:v>0.89126092384519295</c:v>
                </c:pt>
                <c:pt idx="49974">
                  <c:v>0.89127875869448903</c:v>
                </c:pt>
                <c:pt idx="49975">
                  <c:v>0.89129659354378399</c:v>
                </c:pt>
                <c:pt idx="49976">
                  <c:v>0.89131442839307995</c:v>
                </c:pt>
                <c:pt idx="49977">
                  <c:v>0.89133226324237502</c:v>
                </c:pt>
                <c:pt idx="49978">
                  <c:v>0.89135009809167098</c:v>
                </c:pt>
                <c:pt idx="49979">
                  <c:v>0.89136793294096595</c:v>
                </c:pt>
                <c:pt idx="49980">
                  <c:v>0.89138576779026202</c:v>
                </c:pt>
                <c:pt idx="49981">
                  <c:v>0.89140360263955698</c:v>
                </c:pt>
                <c:pt idx="49982">
                  <c:v>0.89142143748885305</c:v>
                </c:pt>
                <c:pt idx="49983">
                  <c:v>0.89143927233814801</c:v>
                </c:pt>
                <c:pt idx="49984">
                  <c:v>0.89145710718744398</c:v>
                </c:pt>
                <c:pt idx="49985">
                  <c:v>0.89147494203673905</c:v>
                </c:pt>
                <c:pt idx="49986">
                  <c:v>0.89149277688603501</c:v>
                </c:pt>
                <c:pt idx="49987">
                  <c:v>0.89151061173532997</c:v>
                </c:pt>
                <c:pt idx="49988">
                  <c:v>0.89152844658462604</c:v>
                </c:pt>
                <c:pt idx="49989">
                  <c:v>0.89154628143392101</c:v>
                </c:pt>
                <c:pt idx="49990">
                  <c:v>0.89156411628321697</c:v>
                </c:pt>
                <c:pt idx="49991">
                  <c:v>0.89158195113251204</c:v>
                </c:pt>
                <c:pt idx="49992">
                  <c:v>0.891599785981808</c:v>
                </c:pt>
                <c:pt idx="49993">
                  <c:v>0.89161762083110396</c:v>
                </c:pt>
                <c:pt idx="49994">
                  <c:v>0.89163545568039904</c:v>
                </c:pt>
                <c:pt idx="49995">
                  <c:v>0.891653290529695</c:v>
                </c:pt>
                <c:pt idx="49996">
                  <c:v>0.89167112537898996</c:v>
                </c:pt>
                <c:pt idx="49997">
                  <c:v>0.89168896022828603</c:v>
                </c:pt>
                <c:pt idx="49998">
                  <c:v>0.89170679507758099</c:v>
                </c:pt>
                <c:pt idx="49999">
                  <c:v>0.89172462992687695</c:v>
                </c:pt>
                <c:pt idx="50000">
                  <c:v>0.89174246477617203</c:v>
                </c:pt>
                <c:pt idx="50001">
                  <c:v>0.89176029962546799</c:v>
                </c:pt>
                <c:pt idx="50002">
                  <c:v>0.89177813447476295</c:v>
                </c:pt>
                <c:pt idx="50003">
                  <c:v>0.89179596932405902</c:v>
                </c:pt>
                <c:pt idx="50004">
                  <c:v>0.89181380417335399</c:v>
                </c:pt>
                <c:pt idx="50005">
                  <c:v>0.89183163902264995</c:v>
                </c:pt>
                <c:pt idx="50006">
                  <c:v>0.89184947387194502</c:v>
                </c:pt>
                <c:pt idx="50007">
                  <c:v>0.89186730872124098</c:v>
                </c:pt>
                <c:pt idx="50008">
                  <c:v>0.89188514357053605</c:v>
                </c:pt>
                <c:pt idx="50009">
                  <c:v>0.89190297841983202</c:v>
                </c:pt>
                <c:pt idx="50010">
                  <c:v>0.89192081326912698</c:v>
                </c:pt>
                <c:pt idx="50011">
                  <c:v>0.89193864811842305</c:v>
                </c:pt>
                <c:pt idx="50012">
                  <c:v>0.89195648296771801</c:v>
                </c:pt>
                <c:pt idx="50013">
                  <c:v>0.89197431781701397</c:v>
                </c:pt>
                <c:pt idx="50014">
                  <c:v>0.89199215266630905</c:v>
                </c:pt>
                <c:pt idx="50015">
                  <c:v>0.89200998751560501</c:v>
                </c:pt>
                <c:pt idx="50016">
                  <c:v>0.89202782236490097</c:v>
                </c:pt>
                <c:pt idx="50017">
                  <c:v>0.89204565721419604</c:v>
                </c:pt>
                <c:pt idx="50018">
                  <c:v>0.892063492063492</c:v>
                </c:pt>
                <c:pt idx="50019">
                  <c:v>0.89208132691278696</c:v>
                </c:pt>
                <c:pt idx="50020">
                  <c:v>0.89209916176208304</c:v>
                </c:pt>
                <c:pt idx="50021">
                  <c:v>0.892116996611378</c:v>
                </c:pt>
                <c:pt idx="50022">
                  <c:v>0.89213483146067396</c:v>
                </c:pt>
                <c:pt idx="50023">
                  <c:v>0.89215266630996903</c:v>
                </c:pt>
                <c:pt idx="50024">
                  <c:v>0.89217050115926499</c:v>
                </c:pt>
                <c:pt idx="50025">
                  <c:v>0.89218833600855996</c:v>
                </c:pt>
                <c:pt idx="50026">
                  <c:v>0.89220617085785603</c:v>
                </c:pt>
                <c:pt idx="50027">
                  <c:v>0.89222400570715099</c:v>
                </c:pt>
                <c:pt idx="50028">
                  <c:v>0.89224184055644695</c:v>
                </c:pt>
                <c:pt idx="50029">
                  <c:v>0.89225967540574203</c:v>
                </c:pt>
                <c:pt idx="50030">
                  <c:v>0.89227751025503799</c:v>
                </c:pt>
                <c:pt idx="50031">
                  <c:v>0.89229534510433295</c:v>
                </c:pt>
                <c:pt idx="50032">
                  <c:v>0.89231317995362902</c:v>
                </c:pt>
                <c:pt idx="50033">
                  <c:v>0.89233101480292398</c:v>
                </c:pt>
                <c:pt idx="50034">
                  <c:v>0.89234884965222006</c:v>
                </c:pt>
                <c:pt idx="50035">
                  <c:v>0.89236668450151602</c:v>
                </c:pt>
                <c:pt idx="50036">
                  <c:v>0.89238451935081098</c:v>
                </c:pt>
                <c:pt idx="50037">
                  <c:v>0.89240235420010705</c:v>
                </c:pt>
                <c:pt idx="50038">
                  <c:v>0.89242018904940201</c:v>
                </c:pt>
                <c:pt idx="50039">
                  <c:v>0.89243802389869797</c:v>
                </c:pt>
                <c:pt idx="50040">
                  <c:v>0.89245585874799305</c:v>
                </c:pt>
                <c:pt idx="50041">
                  <c:v>0.89247369359728901</c:v>
                </c:pt>
                <c:pt idx="50042">
                  <c:v>0.89249152844658397</c:v>
                </c:pt>
                <c:pt idx="50043">
                  <c:v>0.89250936329588004</c:v>
                </c:pt>
                <c:pt idx="50044">
                  <c:v>0.892527198145175</c:v>
                </c:pt>
                <c:pt idx="50045">
                  <c:v>0.89254503299447097</c:v>
                </c:pt>
                <c:pt idx="50046">
                  <c:v>0.89256286784376604</c:v>
                </c:pt>
                <c:pt idx="50047">
                  <c:v>0.892580702693062</c:v>
                </c:pt>
                <c:pt idx="50048">
                  <c:v>0.89259853754235696</c:v>
                </c:pt>
                <c:pt idx="50049">
                  <c:v>0.89261637239165303</c:v>
                </c:pt>
                <c:pt idx="50050">
                  <c:v>0.892634207240948</c:v>
                </c:pt>
                <c:pt idx="50051">
                  <c:v>0.89265204209024396</c:v>
                </c:pt>
                <c:pt idx="50052">
                  <c:v>0.89266987693953903</c:v>
                </c:pt>
                <c:pt idx="50053">
                  <c:v>0.89268771178883499</c:v>
                </c:pt>
                <c:pt idx="50054">
                  <c:v>0.89270554663813095</c:v>
                </c:pt>
                <c:pt idx="50055">
                  <c:v>0.89272338148742603</c:v>
                </c:pt>
                <c:pt idx="50056">
                  <c:v>0.89274121633672199</c:v>
                </c:pt>
                <c:pt idx="50057">
                  <c:v>0.89275905118601695</c:v>
                </c:pt>
                <c:pt idx="50058">
                  <c:v>0.89277688603531302</c:v>
                </c:pt>
                <c:pt idx="50059">
                  <c:v>0.89279472088460798</c:v>
                </c:pt>
                <c:pt idx="50060">
                  <c:v>0.89281255573390395</c:v>
                </c:pt>
                <c:pt idx="50061">
                  <c:v>0.89283039058319902</c:v>
                </c:pt>
                <c:pt idx="50062">
                  <c:v>0.89284822543249498</c:v>
                </c:pt>
                <c:pt idx="50063">
                  <c:v>0.89286606028179005</c:v>
                </c:pt>
                <c:pt idx="50064">
                  <c:v>0.89288389513108601</c:v>
                </c:pt>
                <c:pt idx="50065">
                  <c:v>0.89290172998038098</c:v>
                </c:pt>
                <c:pt idx="50066">
                  <c:v>0.89291956482967705</c:v>
                </c:pt>
                <c:pt idx="50067">
                  <c:v>0.89293739967897201</c:v>
                </c:pt>
                <c:pt idx="50068">
                  <c:v>0.89295523452826797</c:v>
                </c:pt>
                <c:pt idx="50069">
                  <c:v>0.89297306937756304</c:v>
                </c:pt>
                <c:pt idx="50070">
                  <c:v>0.89299090422685901</c:v>
                </c:pt>
                <c:pt idx="50071">
                  <c:v>0.89300873907615397</c:v>
                </c:pt>
                <c:pt idx="50072">
                  <c:v>0.89302657392545004</c:v>
                </c:pt>
                <c:pt idx="50073">
                  <c:v>0.893044408774745</c:v>
                </c:pt>
                <c:pt idx="50074">
                  <c:v>0.89306224362404096</c:v>
                </c:pt>
                <c:pt idx="50075">
                  <c:v>0.89308007847333604</c:v>
                </c:pt>
                <c:pt idx="50076">
                  <c:v>0.893097913322632</c:v>
                </c:pt>
                <c:pt idx="50077">
                  <c:v>0.89311574817192796</c:v>
                </c:pt>
                <c:pt idx="50078">
                  <c:v>0.89313358302122303</c:v>
                </c:pt>
                <c:pt idx="50079">
                  <c:v>0.89315141787051899</c:v>
                </c:pt>
                <c:pt idx="50080">
                  <c:v>0.89316925271981396</c:v>
                </c:pt>
                <c:pt idx="50081">
                  <c:v>0.89318708756911003</c:v>
                </c:pt>
                <c:pt idx="50082">
                  <c:v>0.89320492241840499</c:v>
                </c:pt>
                <c:pt idx="50083">
                  <c:v>0.89322275726770095</c:v>
                </c:pt>
                <c:pt idx="50084">
                  <c:v>0.89324059211699602</c:v>
                </c:pt>
                <c:pt idx="50085">
                  <c:v>0.89325842696629199</c:v>
                </c:pt>
                <c:pt idx="50086">
                  <c:v>0.89327626181558695</c:v>
                </c:pt>
                <c:pt idx="50087">
                  <c:v>0.89329409666488302</c:v>
                </c:pt>
                <c:pt idx="50088">
                  <c:v>0.89331193151417798</c:v>
                </c:pt>
                <c:pt idx="50089">
                  <c:v>0.89332976636347405</c:v>
                </c:pt>
                <c:pt idx="50090">
                  <c:v>0.89334760121276902</c:v>
                </c:pt>
                <c:pt idx="50091">
                  <c:v>0.89336543606206498</c:v>
                </c:pt>
                <c:pt idx="50092">
                  <c:v>0.89338327091136005</c:v>
                </c:pt>
                <c:pt idx="50093">
                  <c:v>0.89340110576065601</c:v>
                </c:pt>
                <c:pt idx="50094">
                  <c:v>0.89341894060995097</c:v>
                </c:pt>
                <c:pt idx="50095">
                  <c:v>0.89343677545924705</c:v>
                </c:pt>
                <c:pt idx="50096">
                  <c:v>0.89345461030854201</c:v>
                </c:pt>
                <c:pt idx="50097">
                  <c:v>0.89347244515783797</c:v>
                </c:pt>
                <c:pt idx="50098">
                  <c:v>0.89349028000713304</c:v>
                </c:pt>
                <c:pt idx="50099">
                  <c:v>0.893508114856429</c:v>
                </c:pt>
                <c:pt idx="50100">
                  <c:v>0.89352594970572496</c:v>
                </c:pt>
                <c:pt idx="50101">
                  <c:v>0.89354378455502004</c:v>
                </c:pt>
                <c:pt idx="50102">
                  <c:v>0.893561619404316</c:v>
                </c:pt>
                <c:pt idx="50103">
                  <c:v>0.89357945425361096</c:v>
                </c:pt>
                <c:pt idx="50104">
                  <c:v>0.89359728910290703</c:v>
                </c:pt>
                <c:pt idx="50105">
                  <c:v>0.893615123952202</c:v>
                </c:pt>
                <c:pt idx="50106">
                  <c:v>0.89363295880149796</c:v>
                </c:pt>
                <c:pt idx="50107">
                  <c:v>0.89365079365079303</c:v>
                </c:pt>
                <c:pt idx="50108">
                  <c:v>0.89366862850008899</c:v>
                </c:pt>
                <c:pt idx="50109">
                  <c:v>0.89368646334938395</c:v>
                </c:pt>
                <c:pt idx="50110">
                  <c:v>0.89370429819868002</c:v>
                </c:pt>
                <c:pt idx="50111">
                  <c:v>0.89372213304797499</c:v>
                </c:pt>
                <c:pt idx="50112">
                  <c:v>0.89373996789727095</c:v>
                </c:pt>
                <c:pt idx="50113">
                  <c:v>0.89375780274656602</c:v>
                </c:pt>
                <c:pt idx="50114">
                  <c:v>0.89377563759586198</c:v>
                </c:pt>
                <c:pt idx="50115">
                  <c:v>0.89379347244515694</c:v>
                </c:pt>
                <c:pt idx="50116">
                  <c:v>0.89381130729445302</c:v>
                </c:pt>
                <c:pt idx="50117">
                  <c:v>0.89382914214374798</c:v>
                </c:pt>
                <c:pt idx="50118">
                  <c:v>0.89384697699304405</c:v>
                </c:pt>
                <c:pt idx="50119">
                  <c:v>0.89386481184233901</c:v>
                </c:pt>
                <c:pt idx="50120">
                  <c:v>0.89388264669163497</c:v>
                </c:pt>
                <c:pt idx="50121">
                  <c:v>0.89390048154093005</c:v>
                </c:pt>
                <c:pt idx="50122">
                  <c:v>0.89391831639022601</c:v>
                </c:pt>
                <c:pt idx="50123">
                  <c:v>0.89393615123952197</c:v>
                </c:pt>
                <c:pt idx="50124">
                  <c:v>0.89395398608881704</c:v>
                </c:pt>
                <c:pt idx="50125">
                  <c:v>0.893971820938113</c:v>
                </c:pt>
                <c:pt idx="50126">
                  <c:v>0.89398965578740797</c:v>
                </c:pt>
                <c:pt idx="50127">
                  <c:v>0.89400749063670404</c:v>
                </c:pt>
                <c:pt idx="50128">
                  <c:v>0.894025325485999</c:v>
                </c:pt>
                <c:pt idx="50129">
                  <c:v>0.89404316033529496</c:v>
                </c:pt>
                <c:pt idx="50130">
                  <c:v>0.89406099518459003</c:v>
                </c:pt>
                <c:pt idx="50131">
                  <c:v>0.894078830033886</c:v>
                </c:pt>
                <c:pt idx="50132">
                  <c:v>0.89409666488318096</c:v>
                </c:pt>
                <c:pt idx="50133">
                  <c:v>0.89411449973247703</c:v>
                </c:pt>
                <c:pt idx="50134">
                  <c:v>0.89413233458177199</c:v>
                </c:pt>
                <c:pt idx="50135">
                  <c:v>0.89415016943106795</c:v>
                </c:pt>
                <c:pt idx="50136">
                  <c:v>0.89416800428036303</c:v>
                </c:pt>
                <c:pt idx="50137">
                  <c:v>0.89418583912965899</c:v>
                </c:pt>
                <c:pt idx="50138">
                  <c:v>0.89420367397895395</c:v>
                </c:pt>
                <c:pt idx="50139">
                  <c:v>0.89422150882825002</c:v>
                </c:pt>
                <c:pt idx="50140">
                  <c:v>0.89423934367754498</c:v>
                </c:pt>
                <c:pt idx="50141">
                  <c:v>0.89425717852684095</c:v>
                </c:pt>
                <c:pt idx="50142">
                  <c:v>0.89427501337613702</c:v>
                </c:pt>
                <c:pt idx="50143">
                  <c:v>0.89429284822543198</c:v>
                </c:pt>
                <c:pt idx="50144">
                  <c:v>0.89431068307472805</c:v>
                </c:pt>
                <c:pt idx="50145">
                  <c:v>0.89432851792402301</c:v>
                </c:pt>
                <c:pt idx="50146">
                  <c:v>0.89434635277331898</c:v>
                </c:pt>
                <c:pt idx="50147">
                  <c:v>0.89436418762261405</c:v>
                </c:pt>
                <c:pt idx="50148">
                  <c:v>0.89438202247191001</c:v>
                </c:pt>
                <c:pt idx="50149">
                  <c:v>0.89439985732120497</c:v>
                </c:pt>
                <c:pt idx="50150">
                  <c:v>0.89441769217050104</c:v>
                </c:pt>
                <c:pt idx="50151">
                  <c:v>0.89443552701979601</c:v>
                </c:pt>
                <c:pt idx="50152">
                  <c:v>0.89445336186909197</c:v>
                </c:pt>
                <c:pt idx="50153">
                  <c:v>0.89447119671838704</c:v>
                </c:pt>
                <c:pt idx="50154">
                  <c:v>0.894489031567683</c:v>
                </c:pt>
                <c:pt idx="50155">
                  <c:v>0.89450686641697796</c:v>
                </c:pt>
                <c:pt idx="50156">
                  <c:v>0.89452470126627404</c:v>
                </c:pt>
                <c:pt idx="50157">
                  <c:v>0.894542536115569</c:v>
                </c:pt>
                <c:pt idx="50158">
                  <c:v>0.89456037096486496</c:v>
                </c:pt>
                <c:pt idx="50159">
                  <c:v>0.89457820581416003</c:v>
                </c:pt>
                <c:pt idx="50160">
                  <c:v>0.89459604066345599</c:v>
                </c:pt>
                <c:pt idx="50161">
                  <c:v>0.89461387551275195</c:v>
                </c:pt>
                <c:pt idx="50162">
                  <c:v>0.89463171036204703</c:v>
                </c:pt>
                <c:pt idx="50163">
                  <c:v>0.89464954521134299</c:v>
                </c:pt>
                <c:pt idx="50164">
                  <c:v>0.89466738006063795</c:v>
                </c:pt>
                <c:pt idx="50165">
                  <c:v>0.89468521490993402</c:v>
                </c:pt>
                <c:pt idx="50166">
                  <c:v>0.89470304975922899</c:v>
                </c:pt>
                <c:pt idx="50167">
                  <c:v>0.89472088460852495</c:v>
                </c:pt>
                <c:pt idx="50168">
                  <c:v>0.89473871945782002</c:v>
                </c:pt>
                <c:pt idx="50169">
                  <c:v>0.89475655430711598</c:v>
                </c:pt>
                <c:pt idx="50170">
                  <c:v>0.89477438915641105</c:v>
                </c:pt>
                <c:pt idx="50171">
                  <c:v>0.89479222400570702</c:v>
                </c:pt>
                <c:pt idx="50172">
                  <c:v>0.89481005885500198</c:v>
                </c:pt>
                <c:pt idx="50173">
                  <c:v>0.89482789370429805</c:v>
                </c:pt>
                <c:pt idx="50174">
                  <c:v>0.89484572855359301</c:v>
                </c:pt>
                <c:pt idx="50175">
                  <c:v>0.89486356340288897</c:v>
                </c:pt>
                <c:pt idx="50176">
                  <c:v>0.89488139825218405</c:v>
                </c:pt>
                <c:pt idx="50177">
                  <c:v>0.89489923310148001</c:v>
                </c:pt>
                <c:pt idx="50178">
                  <c:v>0.89491706795077497</c:v>
                </c:pt>
                <c:pt idx="50179">
                  <c:v>0.89493490280007104</c:v>
                </c:pt>
                <c:pt idx="50180">
                  <c:v>0.894952737649366</c:v>
                </c:pt>
                <c:pt idx="50181">
                  <c:v>0.89497057249866196</c:v>
                </c:pt>
                <c:pt idx="50182">
                  <c:v>0.89498840734795704</c:v>
                </c:pt>
                <c:pt idx="50183">
                  <c:v>0.895006242197253</c:v>
                </c:pt>
                <c:pt idx="50184">
                  <c:v>0.89502407704654896</c:v>
                </c:pt>
                <c:pt idx="50185">
                  <c:v>0.89504191189584403</c:v>
                </c:pt>
                <c:pt idx="50186">
                  <c:v>0.89505974674513999</c:v>
                </c:pt>
                <c:pt idx="50187">
                  <c:v>0.89507758159443496</c:v>
                </c:pt>
                <c:pt idx="50188">
                  <c:v>0.89509541644373103</c:v>
                </c:pt>
                <c:pt idx="50189">
                  <c:v>0.89511325129302599</c:v>
                </c:pt>
                <c:pt idx="50190">
                  <c:v>0.89513108614232195</c:v>
                </c:pt>
                <c:pt idx="50191">
                  <c:v>0.89514892099161703</c:v>
                </c:pt>
                <c:pt idx="50192">
                  <c:v>0.89516675584091299</c:v>
                </c:pt>
                <c:pt idx="50193">
                  <c:v>0.89518459069020795</c:v>
                </c:pt>
                <c:pt idx="50194">
                  <c:v>0.89520242553950402</c:v>
                </c:pt>
                <c:pt idx="50195">
                  <c:v>0.89522026038879898</c:v>
                </c:pt>
                <c:pt idx="50196">
                  <c:v>0.89523809523809506</c:v>
                </c:pt>
                <c:pt idx="50197">
                  <c:v>0.89525593008739002</c:v>
                </c:pt>
                <c:pt idx="50198">
                  <c:v>0.89527376493668598</c:v>
                </c:pt>
                <c:pt idx="50199">
                  <c:v>0.89529159978598105</c:v>
                </c:pt>
                <c:pt idx="50200">
                  <c:v>0.89530943463527701</c:v>
                </c:pt>
                <c:pt idx="50201">
                  <c:v>0.89532726948457197</c:v>
                </c:pt>
                <c:pt idx="50202">
                  <c:v>0.89534510433386805</c:v>
                </c:pt>
                <c:pt idx="50203">
                  <c:v>0.89536293918316301</c:v>
                </c:pt>
                <c:pt idx="50204">
                  <c:v>0.89538077403245897</c:v>
                </c:pt>
                <c:pt idx="50205">
                  <c:v>0.89539860888175404</c:v>
                </c:pt>
                <c:pt idx="50206">
                  <c:v>0.89541644373105</c:v>
                </c:pt>
                <c:pt idx="50207">
                  <c:v>0.89543427858034597</c:v>
                </c:pt>
                <c:pt idx="50208">
                  <c:v>0.89545211342964104</c:v>
                </c:pt>
                <c:pt idx="50209">
                  <c:v>0.895469948278937</c:v>
                </c:pt>
                <c:pt idx="50210">
                  <c:v>0.89548778312823196</c:v>
                </c:pt>
                <c:pt idx="50211">
                  <c:v>0.89550561797752803</c:v>
                </c:pt>
                <c:pt idx="50212">
                  <c:v>0.895523452826823</c:v>
                </c:pt>
                <c:pt idx="50213">
                  <c:v>0.89554128767611896</c:v>
                </c:pt>
                <c:pt idx="50214">
                  <c:v>0.89555912252541403</c:v>
                </c:pt>
                <c:pt idx="50215">
                  <c:v>0.89557695737470999</c:v>
                </c:pt>
                <c:pt idx="50216">
                  <c:v>0.89559479222400495</c:v>
                </c:pt>
                <c:pt idx="50217">
                  <c:v>0.89561262707330103</c:v>
                </c:pt>
                <c:pt idx="50218">
                  <c:v>0.89563046192259599</c:v>
                </c:pt>
                <c:pt idx="50219">
                  <c:v>0.89564829677189195</c:v>
                </c:pt>
                <c:pt idx="50220">
                  <c:v>0.89566613162118702</c:v>
                </c:pt>
                <c:pt idx="50221">
                  <c:v>0.89568396647048298</c:v>
                </c:pt>
                <c:pt idx="50222">
                  <c:v>0.89570180131977795</c:v>
                </c:pt>
                <c:pt idx="50223">
                  <c:v>0.89571963616907402</c:v>
                </c:pt>
                <c:pt idx="50224">
                  <c:v>0.89573747101836898</c:v>
                </c:pt>
                <c:pt idx="50225">
                  <c:v>0.89575530586766505</c:v>
                </c:pt>
                <c:pt idx="50226">
                  <c:v>0.89577314071696001</c:v>
                </c:pt>
                <c:pt idx="50227">
                  <c:v>0.89579097556625598</c:v>
                </c:pt>
                <c:pt idx="50228">
                  <c:v>0.89580881041555105</c:v>
                </c:pt>
                <c:pt idx="50229">
                  <c:v>0.89582664526484701</c:v>
                </c:pt>
                <c:pt idx="50230">
                  <c:v>0.89584448011414297</c:v>
                </c:pt>
                <c:pt idx="50231">
                  <c:v>0.89586231496343804</c:v>
                </c:pt>
                <c:pt idx="50232">
                  <c:v>0.89588014981273401</c:v>
                </c:pt>
                <c:pt idx="50233">
                  <c:v>0.89589798466202897</c:v>
                </c:pt>
                <c:pt idx="50234">
                  <c:v>0.89591581951132504</c:v>
                </c:pt>
                <c:pt idx="50235">
                  <c:v>0.89593365436062</c:v>
                </c:pt>
                <c:pt idx="50236">
                  <c:v>0.89595148920991596</c:v>
                </c:pt>
                <c:pt idx="50237">
                  <c:v>0.89596932405921104</c:v>
                </c:pt>
                <c:pt idx="50238">
                  <c:v>0.895987158908507</c:v>
                </c:pt>
                <c:pt idx="50239">
                  <c:v>0.89600499375780196</c:v>
                </c:pt>
                <c:pt idx="50240">
                  <c:v>0.89602282860709803</c:v>
                </c:pt>
                <c:pt idx="50241">
                  <c:v>0.89604066345639299</c:v>
                </c:pt>
                <c:pt idx="50242">
                  <c:v>0.89605849830568896</c:v>
                </c:pt>
                <c:pt idx="50243">
                  <c:v>0.89607633315498403</c:v>
                </c:pt>
                <c:pt idx="50244">
                  <c:v>0.89609416800427999</c:v>
                </c:pt>
                <c:pt idx="50245">
                  <c:v>0.89611200285357495</c:v>
                </c:pt>
                <c:pt idx="50246">
                  <c:v>0.89612983770287102</c:v>
                </c:pt>
                <c:pt idx="50247">
                  <c:v>0.89614767255216699</c:v>
                </c:pt>
                <c:pt idx="50248">
                  <c:v>0.89616550740146195</c:v>
                </c:pt>
                <c:pt idx="50249">
                  <c:v>0.89618334225075802</c:v>
                </c:pt>
                <c:pt idx="50250">
                  <c:v>0.89620117710005298</c:v>
                </c:pt>
                <c:pt idx="50251">
                  <c:v>0.89621901194934905</c:v>
                </c:pt>
                <c:pt idx="50252">
                  <c:v>0.89623684679864402</c:v>
                </c:pt>
                <c:pt idx="50253">
                  <c:v>0.89625468164793998</c:v>
                </c:pt>
                <c:pt idx="50254">
                  <c:v>0.89627251649723505</c:v>
                </c:pt>
                <c:pt idx="50255">
                  <c:v>0.89629035134653101</c:v>
                </c:pt>
                <c:pt idx="50256">
                  <c:v>0.89630818619582597</c:v>
                </c:pt>
                <c:pt idx="50257">
                  <c:v>0.89632602104512205</c:v>
                </c:pt>
                <c:pt idx="50258">
                  <c:v>0.89634385589441701</c:v>
                </c:pt>
                <c:pt idx="50259">
                  <c:v>0.89636169074371297</c:v>
                </c:pt>
                <c:pt idx="50260">
                  <c:v>0.89637952559300804</c:v>
                </c:pt>
                <c:pt idx="50261">
                  <c:v>0.896397360442304</c:v>
                </c:pt>
                <c:pt idx="50262">
                  <c:v>0.89641519529159897</c:v>
                </c:pt>
                <c:pt idx="50263">
                  <c:v>0.89643303014089504</c:v>
                </c:pt>
                <c:pt idx="50264">
                  <c:v>0.89645086499019</c:v>
                </c:pt>
                <c:pt idx="50265">
                  <c:v>0.89646869983948596</c:v>
                </c:pt>
                <c:pt idx="50266">
                  <c:v>0.89648653468878103</c:v>
                </c:pt>
                <c:pt idx="50267">
                  <c:v>0.896504369538077</c:v>
                </c:pt>
                <c:pt idx="50268">
                  <c:v>0.89652220438737296</c:v>
                </c:pt>
                <c:pt idx="50269">
                  <c:v>0.89654003923666803</c:v>
                </c:pt>
                <c:pt idx="50270">
                  <c:v>0.89655787408596399</c:v>
                </c:pt>
                <c:pt idx="50271">
                  <c:v>0.89657570893525895</c:v>
                </c:pt>
                <c:pt idx="50272">
                  <c:v>0.89659354378455502</c:v>
                </c:pt>
                <c:pt idx="50273">
                  <c:v>0.89661137863384999</c:v>
                </c:pt>
                <c:pt idx="50274">
                  <c:v>0.89662921348314595</c:v>
                </c:pt>
                <c:pt idx="50275">
                  <c:v>0.89664704833244102</c:v>
                </c:pt>
                <c:pt idx="50276">
                  <c:v>0.89666488318173698</c:v>
                </c:pt>
                <c:pt idx="50277">
                  <c:v>0.89668271803103194</c:v>
                </c:pt>
                <c:pt idx="50278">
                  <c:v>0.89670055288032802</c:v>
                </c:pt>
                <c:pt idx="50279">
                  <c:v>0.89671838772962298</c:v>
                </c:pt>
                <c:pt idx="50280">
                  <c:v>0.89673622257891905</c:v>
                </c:pt>
                <c:pt idx="50281">
                  <c:v>0.89675405742821401</c:v>
                </c:pt>
                <c:pt idx="50282">
                  <c:v>0.89677189227750997</c:v>
                </c:pt>
                <c:pt idx="50283">
                  <c:v>0.89678972712680505</c:v>
                </c:pt>
                <c:pt idx="50284">
                  <c:v>0.89680756197610101</c:v>
                </c:pt>
                <c:pt idx="50285">
                  <c:v>0.89682539682539597</c:v>
                </c:pt>
                <c:pt idx="50286">
                  <c:v>0.89684323167469204</c:v>
                </c:pt>
                <c:pt idx="50287">
                  <c:v>0.89686106652398701</c:v>
                </c:pt>
                <c:pt idx="50288">
                  <c:v>0.89687890137328297</c:v>
                </c:pt>
                <c:pt idx="50289">
                  <c:v>0.89689673622257804</c:v>
                </c:pt>
                <c:pt idx="50290">
                  <c:v>0.896914571071874</c:v>
                </c:pt>
                <c:pt idx="50291">
                  <c:v>0.89693240592116996</c:v>
                </c:pt>
                <c:pt idx="50292">
                  <c:v>0.89695024077046503</c:v>
                </c:pt>
                <c:pt idx="50293">
                  <c:v>0.896968075619761</c:v>
                </c:pt>
                <c:pt idx="50294">
                  <c:v>0.89698591046905596</c:v>
                </c:pt>
                <c:pt idx="50295">
                  <c:v>0.89700374531835203</c:v>
                </c:pt>
                <c:pt idx="50296">
                  <c:v>0.89702158016764699</c:v>
                </c:pt>
                <c:pt idx="50297">
                  <c:v>0.89703941501694295</c:v>
                </c:pt>
                <c:pt idx="50298">
                  <c:v>0.89705724986623803</c:v>
                </c:pt>
                <c:pt idx="50299">
                  <c:v>0.89707508471553399</c:v>
                </c:pt>
                <c:pt idx="50300">
                  <c:v>0.89709291956482895</c:v>
                </c:pt>
                <c:pt idx="50301">
                  <c:v>0.89711075441412502</c:v>
                </c:pt>
                <c:pt idx="50302">
                  <c:v>0.89712858926341998</c:v>
                </c:pt>
                <c:pt idx="50303">
                  <c:v>0.89714642411271595</c:v>
                </c:pt>
                <c:pt idx="50304">
                  <c:v>0.89716425896201102</c:v>
                </c:pt>
                <c:pt idx="50305">
                  <c:v>0.89718209381130698</c:v>
                </c:pt>
                <c:pt idx="50306">
                  <c:v>0.89719992866060205</c:v>
                </c:pt>
                <c:pt idx="50307">
                  <c:v>0.89721776350989801</c:v>
                </c:pt>
                <c:pt idx="50308">
                  <c:v>0.89723559835919298</c:v>
                </c:pt>
                <c:pt idx="50309">
                  <c:v>0.89725343320848905</c:v>
                </c:pt>
                <c:pt idx="50310">
                  <c:v>0.89727126805778401</c:v>
                </c:pt>
                <c:pt idx="50311">
                  <c:v>0.89728910290707997</c:v>
                </c:pt>
                <c:pt idx="50312">
                  <c:v>0.89730693775637504</c:v>
                </c:pt>
                <c:pt idx="50313">
                  <c:v>0.89732477260567101</c:v>
                </c:pt>
                <c:pt idx="50314">
                  <c:v>0.89734260745496697</c:v>
                </c:pt>
                <c:pt idx="50315">
                  <c:v>0.89736044230426204</c:v>
                </c:pt>
                <c:pt idx="50316">
                  <c:v>0.897378277153558</c:v>
                </c:pt>
                <c:pt idx="50317">
                  <c:v>0.89739611200285296</c:v>
                </c:pt>
                <c:pt idx="50318">
                  <c:v>0.89741394685214904</c:v>
                </c:pt>
                <c:pt idx="50319">
                  <c:v>0.897431781701444</c:v>
                </c:pt>
                <c:pt idx="50320">
                  <c:v>0.89744961655073996</c:v>
                </c:pt>
                <c:pt idx="50321">
                  <c:v>0.89746745140003503</c:v>
                </c:pt>
                <c:pt idx="50322">
                  <c:v>0.89748528624933099</c:v>
                </c:pt>
                <c:pt idx="50323">
                  <c:v>0.89750312109862596</c:v>
                </c:pt>
                <c:pt idx="50324">
                  <c:v>0.89752095594792203</c:v>
                </c:pt>
                <c:pt idx="50325">
                  <c:v>0.89753879079721699</c:v>
                </c:pt>
                <c:pt idx="50326">
                  <c:v>0.89755662564651295</c:v>
                </c:pt>
                <c:pt idx="50327">
                  <c:v>0.89757446049580802</c:v>
                </c:pt>
                <c:pt idx="50328">
                  <c:v>0.89759229534510399</c:v>
                </c:pt>
                <c:pt idx="50329">
                  <c:v>0.89761013019439895</c:v>
                </c:pt>
                <c:pt idx="50330">
                  <c:v>0.89762796504369502</c:v>
                </c:pt>
                <c:pt idx="50331">
                  <c:v>0.89764579989298998</c:v>
                </c:pt>
                <c:pt idx="50332">
                  <c:v>0.89766363474228605</c:v>
                </c:pt>
                <c:pt idx="50333">
                  <c:v>0.89768146959158102</c:v>
                </c:pt>
                <c:pt idx="50334">
                  <c:v>0.89769930444087698</c:v>
                </c:pt>
                <c:pt idx="50335">
                  <c:v>0.89771713929017305</c:v>
                </c:pt>
                <c:pt idx="50336">
                  <c:v>0.89773497413946801</c:v>
                </c:pt>
                <c:pt idx="50337">
                  <c:v>0.89775280898876397</c:v>
                </c:pt>
                <c:pt idx="50338">
                  <c:v>0.89777064383805905</c:v>
                </c:pt>
                <c:pt idx="50339">
                  <c:v>0.89778847868735501</c:v>
                </c:pt>
                <c:pt idx="50340">
                  <c:v>0.89780631353664997</c:v>
                </c:pt>
                <c:pt idx="50341">
                  <c:v>0.89782414838594604</c:v>
                </c:pt>
                <c:pt idx="50342">
                  <c:v>0.897841983235241</c:v>
                </c:pt>
                <c:pt idx="50343">
                  <c:v>0.89785981808453696</c:v>
                </c:pt>
                <c:pt idx="50344">
                  <c:v>0.89787765293383204</c:v>
                </c:pt>
                <c:pt idx="50345">
                  <c:v>0.897895487783128</c:v>
                </c:pt>
                <c:pt idx="50346">
                  <c:v>0.89791332263242296</c:v>
                </c:pt>
                <c:pt idx="50347">
                  <c:v>0.89793115748171903</c:v>
                </c:pt>
                <c:pt idx="50348">
                  <c:v>0.897948992331014</c:v>
                </c:pt>
                <c:pt idx="50349">
                  <c:v>0.89796682718030996</c:v>
                </c:pt>
                <c:pt idx="50350">
                  <c:v>0.89798466202960503</c:v>
                </c:pt>
                <c:pt idx="50351">
                  <c:v>0.89800249687890099</c:v>
                </c:pt>
                <c:pt idx="50352">
                  <c:v>0.89802033172819695</c:v>
                </c:pt>
                <c:pt idx="50353">
                  <c:v>0.89803816657749203</c:v>
                </c:pt>
                <c:pt idx="50354">
                  <c:v>0.89805600142678799</c:v>
                </c:pt>
                <c:pt idx="50355">
                  <c:v>0.89807383627608295</c:v>
                </c:pt>
                <c:pt idx="50356">
                  <c:v>0.89809167112537902</c:v>
                </c:pt>
                <c:pt idx="50357">
                  <c:v>0.89810950597467398</c:v>
                </c:pt>
                <c:pt idx="50358">
                  <c:v>0.89812734082397006</c:v>
                </c:pt>
                <c:pt idx="50359">
                  <c:v>0.89814517567326502</c:v>
                </c:pt>
                <c:pt idx="50360">
                  <c:v>0.89816301052256098</c:v>
                </c:pt>
                <c:pt idx="50361">
                  <c:v>0.89818084537185605</c:v>
                </c:pt>
                <c:pt idx="50362">
                  <c:v>0.89819868022115201</c:v>
                </c:pt>
                <c:pt idx="50363">
                  <c:v>0.89821651507044697</c:v>
                </c:pt>
                <c:pt idx="50364">
                  <c:v>0.89823434991974305</c:v>
                </c:pt>
                <c:pt idx="50365">
                  <c:v>0.89825218476903801</c:v>
                </c:pt>
                <c:pt idx="50366">
                  <c:v>0.89827001961833397</c:v>
                </c:pt>
                <c:pt idx="50367">
                  <c:v>0.89828785446762904</c:v>
                </c:pt>
                <c:pt idx="50368">
                  <c:v>0.898305689316925</c:v>
                </c:pt>
                <c:pt idx="50369">
                  <c:v>0.89832352416621997</c:v>
                </c:pt>
                <c:pt idx="50370">
                  <c:v>0.89834135901551604</c:v>
                </c:pt>
                <c:pt idx="50371">
                  <c:v>0.898359193864811</c:v>
                </c:pt>
                <c:pt idx="50372">
                  <c:v>0.89837702871410696</c:v>
                </c:pt>
                <c:pt idx="50373">
                  <c:v>0.89839486356340204</c:v>
                </c:pt>
                <c:pt idx="50374">
                  <c:v>0.898412698412698</c:v>
                </c:pt>
                <c:pt idx="50375">
                  <c:v>0.89843053326199396</c:v>
                </c:pt>
                <c:pt idx="50376">
                  <c:v>0.89844836811128903</c:v>
                </c:pt>
                <c:pt idx="50377">
                  <c:v>0.89846620296058499</c:v>
                </c:pt>
                <c:pt idx="50378">
                  <c:v>0.89848403780987995</c:v>
                </c:pt>
                <c:pt idx="50379">
                  <c:v>0.89850187265917603</c:v>
                </c:pt>
                <c:pt idx="50380">
                  <c:v>0.89851970750847099</c:v>
                </c:pt>
                <c:pt idx="50381">
                  <c:v>0.89853754235776695</c:v>
                </c:pt>
                <c:pt idx="50382">
                  <c:v>0.89855537720706202</c:v>
                </c:pt>
                <c:pt idx="50383">
                  <c:v>0.89857321205635798</c:v>
                </c:pt>
                <c:pt idx="50384">
                  <c:v>0.89859104690565295</c:v>
                </c:pt>
                <c:pt idx="50385">
                  <c:v>0.89860888175494902</c:v>
                </c:pt>
                <c:pt idx="50386">
                  <c:v>0.89862671660424398</c:v>
                </c:pt>
                <c:pt idx="50387">
                  <c:v>0.89864455145354005</c:v>
                </c:pt>
                <c:pt idx="50388">
                  <c:v>0.89866238630283501</c:v>
                </c:pt>
                <c:pt idx="50389">
                  <c:v>0.89868022115213098</c:v>
                </c:pt>
                <c:pt idx="50390">
                  <c:v>0.89869805600142605</c:v>
                </c:pt>
                <c:pt idx="50391">
                  <c:v>0.89871589085072201</c:v>
                </c:pt>
                <c:pt idx="50392">
                  <c:v>0.89873372570001697</c:v>
                </c:pt>
                <c:pt idx="50393">
                  <c:v>0.89875156054931304</c:v>
                </c:pt>
                <c:pt idx="50394">
                  <c:v>0.89876939539860801</c:v>
                </c:pt>
                <c:pt idx="50395">
                  <c:v>0.89878723024790397</c:v>
                </c:pt>
                <c:pt idx="50396">
                  <c:v>0.89880506509719904</c:v>
                </c:pt>
                <c:pt idx="50397">
                  <c:v>0.898822899946495</c:v>
                </c:pt>
                <c:pt idx="50398">
                  <c:v>0.89884073479579096</c:v>
                </c:pt>
                <c:pt idx="50399">
                  <c:v>0.89885856964508604</c:v>
                </c:pt>
                <c:pt idx="50400">
                  <c:v>0.898876404494382</c:v>
                </c:pt>
                <c:pt idx="50401">
                  <c:v>0.89889423934367696</c:v>
                </c:pt>
                <c:pt idx="50402">
                  <c:v>0.89891207419297303</c:v>
                </c:pt>
                <c:pt idx="50403">
                  <c:v>0.89892990904226799</c:v>
                </c:pt>
                <c:pt idx="50404">
                  <c:v>0.89894774389156396</c:v>
                </c:pt>
                <c:pt idx="50405">
                  <c:v>0.89896557874085903</c:v>
                </c:pt>
                <c:pt idx="50406">
                  <c:v>0.89898341359015499</c:v>
                </c:pt>
                <c:pt idx="50407">
                  <c:v>0.89900124843944995</c:v>
                </c:pt>
                <c:pt idx="50408">
                  <c:v>0.89901908328874602</c:v>
                </c:pt>
                <c:pt idx="50409">
                  <c:v>0.89903691813804099</c:v>
                </c:pt>
                <c:pt idx="50410">
                  <c:v>0.89905475298733695</c:v>
                </c:pt>
                <c:pt idx="50411">
                  <c:v>0.89907258783663202</c:v>
                </c:pt>
                <c:pt idx="50412">
                  <c:v>0.89909042268592798</c:v>
                </c:pt>
                <c:pt idx="50413">
                  <c:v>0.89910825753522305</c:v>
                </c:pt>
                <c:pt idx="50414">
                  <c:v>0.89912609238451902</c:v>
                </c:pt>
                <c:pt idx="50415">
                  <c:v>0.89914392723381398</c:v>
                </c:pt>
                <c:pt idx="50416">
                  <c:v>0.89916176208311005</c:v>
                </c:pt>
                <c:pt idx="50417">
                  <c:v>0.89917959693240501</c:v>
                </c:pt>
                <c:pt idx="50418">
                  <c:v>0.89919743178170097</c:v>
                </c:pt>
                <c:pt idx="50419">
                  <c:v>0.89921526663099605</c:v>
                </c:pt>
                <c:pt idx="50420">
                  <c:v>0.89923310148029201</c:v>
                </c:pt>
                <c:pt idx="50421">
                  <c:v>0.89925093632958797</c:v>
                </c:pt>
                <c:pt idx="50422">
                  <c:v>0.89926877117888304</c:v>
                </c:pt>
                <c:pt idx="50423">
                  <c:v>0.899286606028179</c:v>
                </c:pt>
                <c:pt idx="50424">
                  <c:v>0.89930444087747397</c:v>
                </c:pt>
                <c:pt idx="50425">
                  <c:v>0.89932227572677004</c:v>
                </c:pt>
                <c:pt idx="50426">
                  <c:v>0.899340110576065</c:v>
                </c:pt>
                <c:pt idx="50427">
                  <c:v>0.89935794542536096</c:v>
                </c:pt>
                <c:pt idx="50428">
                  <c:v>0.89937578027465603</c:v>
                </c:pt>
                <c:pt idx="50429">
                  <c:v>0.89939361512395199</c:v>
                </c:pt>
                <c:pt idx="50430">
                  <c:v>0.89941144997324696</c:v>
                </c:pt>
                <c:pt idx="50431">
                  <c:v>0.89942928482254303</c:v>
                </c:pt>
                <c:pt idx="50432">
                  <c:v>0.89944711967183799</c:v>
                </c:pt>
                <c:pt idx="50433">
                  <c:v>0.89946495452113395</c:v>
                </c:pt>
                <c:pt idx="50434">
                  <c:v>0.89948278937042903</c:v>
                </c:pt>
                <c:pt idx="50435">
                  <c:v>0.89950062421972499</c:v>
                </c:pt>
                <c:pt idx="50436">
                  <c:v>0.89951845906901995</c:v>
                </c:pt>
                <c:pt idx="50437">
                  <c:v>0.89953629391831602</c:v>
                </c:pt>
                <c:pt idx="50438">
                  <c:v>0.89955412876761098</c:v>
                </c:pt>
                <c:pt idx="50439">
                  <c:v>0.89957196361690706</c:v>
                </c:pt>
                <c:pt idx="50440">
                  <c:v>0.89958979846620202</c:v>
                </c:pt>
                <c:pt idx="50441">
                  <c:v>0.89960763331549798</c:v>
                </c:pt>
                <c:pt idx="50442">
                  <c:v>0.89962546816479405</c:v>
                </c:pt>
                <c:pt idx="50443">
                  <c:v>0.89964330301408901</c:v>
                </c:pt>
                <c:pt idx="50444">
                  <c:v>0.89966113786338497</c:v>
                </c:pt>
                <c:pt idx="50445">
                  <c:v>0.89967897271268005</c:v>
                </c:pt>
                <c:pt idx="50446">
                  <c:v>0.89969680756197601</c:v>
                </c:pt>
                <c:pt idx="50447">
                  <c:v>0.89971464241127097</c:v>
                </c:pt>
                <c:pt idx="50448">
                  <c:v>0.89973247726056704</c:v>
                </c:pt>
                <c:pt idx="50449">
                  <c:v>0.899750312109862</c:v>
                </c:pt>
                <c:pt idx="50450">
                  <c:v>0.89976814695915797</c:v>
                </c:pt>
                <c:pt idx="50451">
                  <c:v>0.89978598180845304</c:v>
                </c:pt>
                <c:pt idx="50452">
                  <c:v>0.899803816657749</c:v>
                </c:pt>
                <c:pt idx="50453">
                  <c:v>0.89982165150704396</c:v>
                </c:pt>
                <c:pt idx="50454">
                  <c:v>0.89983948635634003</c:v>
                </c:pt>
                <c:pt idx="50455">
                  <c:v>0.899857321205635</c:v>
                </c:pt>
                <c:pt idx="50456">
                  <c:v>0.89987515605493096</c:v>
                </c:pt>
                <c:pt idx="50457">
                  <c:v>0.89989299090422603</c:v>
                </c:pt>
                <c:pt idx="50458">
                  <c:v>0.89991082575352199</c:v>
                </c:pt>
                <c:pt idx="50459">
                  <c:v>0.89992866060281795</c:v>
                </c:pt>
                <c:pt idx="50460">
                  <c:v>0.89994649545211303</c:v>
                </c:pt>
                <c:pt idx="50461">
                  <c:v>0.89996433030140899</c:v>
                </c:pt>
                <c:pt idx="50462">
                  <c:v>0.89998216515070395</c:v>
                </c:pt>
                <c:pt idx="50463">
                  <c:v>0.9</c:v>
                </c:pt>
                <c:pt idx="50464">
                  <c:v>0.90001783484929498</c:v>
                </c:pt>
                <c:pt idx="50465">
                  <c:v>0.90003566969859095</c:v>
                </c:pt>
                <c:pt idx="50466">
                  <c:v>0.90005350454788602</c:v>
                </c:pt>
                <c:pt idx="50467">
                  <c:v>0.90007133939718198</c:v>
                </c:pt>
                <c:pt idx="50468">
                  <c:v>0.90008917424647705</c:v>
                </c:pt>
                <c:pt idx="50469">
                  <c:v>0.90010700909577301</c:v>
                </c:pt>
                <c:pt idx="50470">
                  <c:v>0.90012484394506798</c:v>
                </c:pt>
                <c:pt idx="50471">
                  <c:v>0.90014267879436405</c:v>
                </c:pt>
                <c:pt idx="50472">
                  <c:v>0.90016051364365901</c:v>
                </c:pt>
                <c:pt idx="50473">
                  <c:v>0.90017834849295497</c:v>
                </c:pt>
                <c:pt idx="50474">
                  <c:v>0.90019618334225004</c:v>
                </c:pt>
                <c:pt idx="50475">
                  <c:v>0.90021401819154601</c:v>
                </c:pt>
                <c:pt idx="50476">
                  <c:v>0.90023185304084097</c:v>
                </c:pt>
                <c:pt idx="50477">
                  <c:v>0.90024968789013704</c:v>
                </c:pt>
                <c:pt idx="50478">
                  <c:v>0.900267522739432</c:v>
                </c:pt>
                <c:pt idx="50479">
                  <c:v>0.90028535758872796</c:v>
                </c:pt>
                <c:pt idx="50480">
                  <c:v>0.90030319243802304</c:v>
                </c:pt>
                <c:pt idx="50481">
                  <c:v>0.900321027287319</c:v>
                </c:pt>
                <c:pt idx="50482">
                  <c:v>0.90033886213661496</c:v>
                </c:pt>
                <c:pt idx="50483">
                  <c:v>0.90035669698591003</c:v>
                </c:pt>
                <c:pt idx="50484">
                  <c:v>0.90037453183520599</c:v>
                </c:pt>
                <c:pt idx="50485">
                  <c:v>0.90039236668450096</c:v>
                </c:pt>
                <c:pt idx="50486">
                  <c:v>0.90041020153379703</c:v>
                </c:pt>
                <c:pt idx="50487">
                  <c:v>0.90042803638309199</c:v>
                </c:pt>
                <c:pt idx="50488">
                  <c:v>0.90044587123238795</c:v>
                </c:pt>
                <c:pt idx="50489">
                  <c:v>0.90046370608168302</c:v>
                </c:pt>
                <c:pt idx="50490">
                  <c:v>0.90048154093097899</c:v>
                </c:pt>
                <c:pt idx="50491">
                  <c:v>0.90049937578027395</c:v>
                </c:pt>
                <c:pt idx="50492">
                  <c:v>0.90051721062957002</c:v>
                </c:pt>
                <c:pt idx="50493">
                  <c:v>0.90053504547886498</c:v>
                </c:pt>
                <c:pt idx="50494">
                  <c:v>0.90055288032816105</c:v>
                </c:pt>
                <c:pt idx="50495">
                  <c:v>0.90057071517745602</c:v>
                </c:pt>
                <c:pt idx="50496">
                  <c:v>0.90058855002675198</c:v>
                </c:pt>
                <c:pt idx="50497">
                  <c:v>0.90060638487604705</c:v>
                </c:pt>
                <c:pt idx="50498">
                  <c:v>0.90062421972534301</c:v>
                </c:pt>
                <c:pt idx="50499">
                  <c:v>0.90064205457463797</c:v>
                </c:pt>
                <c:pt idx="50500">
                  <c:v>0.90065988942393405</c:v>
                </c:pt>
                <c:pt idx="50501">
                  <c:v>0.90067772427322901</c:v>
                </c:pt>
                <c:pt idx="50502">
                  <c:v>0.90069555912252497</c:v>
                </c:pt>
                <c:pt idx="50503">
                  <c:v>0.90071339397182004</c:v>
                </c:pt>
                <c:pt idx="50504">
                  <c:v>0.900731228821116</c:v>
                </c:pt>
                <c:pt idx="50505">
                  <c:v>0.90074906367041196</c:v>
                </c:pt>
                <c:pt idx="50506">
                  <c:v>0.90076689851970704</c:v>
                </c:pt>
                <c:pt idx="50507">
                  <c:v>0.900784733369003</c:v>
                </c:pt>
                <c:pt idx="50508">
                  <c:v>0.90080256821829796</c:v>
                </c:pt>
                <c:pt idx="50509">
                  <c:v>0.90082040306759403</c:v>
                </c:pt>
                <c:pt idx="50510">
                  <c:v>0.900838237916889</c:v>
                </c:pt>
                <c:pt idx="50511">
                  <c:v>0.90085607276618496</c:v>
                </c:pt>
                <c:pt idx="50512">
                  <c:v>0.90087390761548003</c:v>
                </c:pt>
                <c:pt idx="50513">
                  <c:v>0.90089174246477599</c:v>
                </c:pt>
                <c:pt idx="50514">
                  <c:v>0.90090957731407095</c:v>
                </c:pt>
                <c:pt idx="50515">
                  <c:v>0.90092741216336703</c:v>
                </c:pt>
                <c:pt idx="50516">
                  <c:v>0.90094524701266199</c:v>
                </c:pt>
                <c:pt idx="50517">
                  <c:v>0.90096308186195795</c:v>
                </c:pt>
                <c:pt idx="50518">
                  <c:v>0.90098091671125302</c:v>
                </c:pt>
                <c:pt idx="50519">
                  <c:v>0.90099875156054898</c:v>
                </c:pt>
                <c:pt idx="50520">
                  <c:v>0.90101658640984394</c:v>
                </c:pt>
                <c:pt idx="50521">
                  <c:v>0.90103442125914002</c:v>
                </c:pt>
                <c:pt idx="50522">
                  <c:v>0.90105225610843498</c:v>
                </c:pt>
                <c:pt idx="50523">
                  <c:v>0.90107009095773105</c:v>
                </c:pt>
                <c:pt idx="50524">
                  <c:v>0.90108792580702601</c:v>
                </c:pt>
                <c:pt idx="50525">
                  <c:v>0.90110576065632197</c:v>
                </c:pt>
                <c:pt idx="50526">
                  <c:v>0.90112359550561705</c:v>
                </c:pt>
                <c:pt idx="50527">
                  <c:v>0.90114143035491301</c:v>
                </c:pt>
                <c:pt idx="50528">
                  <c:v>0.90115926520420897</c:v>
                </c:pt>
                <c:pt idx="50529">
                  <c:v>0.90117710005350404</c:v>
                </c:pt>
                <c:pt idx="50530">
                  <c:v>0.9011949349028</c:v>
                </c:pt>
                <c:pt idx="50531">
                  <c:v>0.90121276975209497</c:v>
                </c:pt>
                <c:pt idx="50532">
                  <c:v>0.90123060460139104</c:v>
                </c:pt>
                <c:pt idx="50533">
                  <c:v>0.901248439450686</c:v>
                </c:pt>
                <c:pt idx="50534">
                  <c:v>0.90126627429998196</c:v>
                </c:pt>
                <c:pt idx="50535">
                  <c:v>0.90128410914927704</c:v>
                </c:pt>
                <c:pt idx="50536">
                  <c:v>0.901301943998573</c:v>
                </c:pt>
                <c:pt idx="50537">
                  <c:v>0.90131977884786796</c:v>
                </c:pt>
                <c:pt idx="50538">
                  <c:v>0.90133761369716403</c:v>
                </c:pt>
                <c:pt idx="50539">
                  <c:v>0.90135544854645899</c:v>
                </c:pt>
                <c:pt idx="50540">
                  <c:v>0.90137328339575495</c:v>
                </c:pt>
                <c:pt idx="50541">
                  <c:v>0.90139111824505003</c:v>
                </c:pt>
                <c:pt idx="50542">
                  <c:v>0.90140895309434599</c:v>
                </c:pt>
                <c:pt idx="50543">
                  <c:v>0.90142678794364095</c:v>
                </c:pt>
                <c:pt idx="50544">
                  <c:v>0.90144462279293702</c:v>
                </c:pt>
                <c:pt idx="50545">
                  <c:v>0.90146245764223198</c:v>
                </c:pt>
                <c:pt idx="50546">
                  <c:v>0.90148029249152795</c:v>
                </c:pt>
                <c:pt idx="50547">
                  <c:v>0.90149812734082402</c:v>
                </c:pt>
                <c:pt idx="50548">
                  <c:v>0.90151596219011898</c:v>
                </c:pt>
                <c:pt idx="50549">
                  <c:v>0.90153379703941505</c:v>
                </c:pt>
                <c:pt idx="50550">
                  <c:v>0.90155163188871001</c:v>
                </c:pt>
                <c:pt idx="50551">
                  <c:v>0.90156946673800598</c:v>
                </c:pt>
                <c:pt idx="50552">
                  <c:v>0.90158730158730105</c:v>
                </c:pt>
                <c:pt idx="50553">
                  <c:v>0.90160513643659701</c:v>
                </c:pt>
                <c:pt idx="50554">
                  <c:v>0.90162297128589197</c:v>
                </c:pt>
                <c:pt idx="50555">
                  <c:v>0.90164080613518804</c:v>
                </c:pt>
                <c:pt idx="50556">
                  <c:v>0.90165864098448301</c:v>
                </c:pt>
                <c:pt idx="50557">
                  <c:v>0.90167647583377897</c:v>
                </c:pt>
                <c:pt idx="50558">
                  <c:v>0.90169431068307404</c:v>
                </c:pt>
                <c:pt idx="50559">
                  <c:v>0.90171214553237</c:v>
                </c:pt>
                <c:pt idx="50560">
                  <c:v>0.90172998038166496</c:v>
                </c:pt>
                <c:pt idx="50561">
                  <c:v>0.90174781523096104</c:v>
                </c:pt>
                <c:pt idx="50562">
                  <c:v>0.901765650080256</c:v>
                </c:pt>
                <c:pt idx="50563">
                  <c:v>0.90178348492955196</c:v>
                </c:pt>
                <c:pt idx="50564">
                  <c:v>0.90180131977884703</c:v>
                </c:pt>
                <c:pt idx="50565">
                  <c:v>0.90181915462814299</c:v>
                </c:pt>
                <c:pt idx="50566">
                  <c:v>0.90183698947743896</c:v>
                </c:pt>
                <c:pt idx="50567">
                  <c:v>0.90185482432673403</c:v>
                </c:pt>
                <c:pt idx="50568">
                  <c:v>0.90187265917602999</c:v>
                </c:pt>
                <c:pt idx="50569">
                  <c:v>0.90189049402532495</c:v>
                </c:pt>
                <c:pt idx="50570">
                  <c:v>0.90190832887462102</c:v>
                </c:pt>
                <c:pt idx="50571">
                  <c:v>0.90192616372391599</c:v>
                </c:pt>
                <c:pt idx="50572">
                  <c:v>0.90194399857321195</c:v>
                </c:pt>
                <c:pt idx="50573">
                  <c:v>0.90196183342250702</c:v>
                </c:pt>
                <c:pt idx="50574">
                  <c:v>0.90197966827180298</c:v>
                </c:pt>
                <c:pt idx="50575">
                  <c:v>0.90199750312109805</c:v>
                </c:pt>
                <c:pt idx="50576">
                  <c:v>0.90201533797039402</c:v>
                </c:pt>
                <c:pt idx="50577">
                  <c:v>0.90203317281968898</c:v>
                </c:pt>
                <c:pt idx="50578">
                  <c:v>0.90205100766898505</c:v>
                </c:pt>
                <c:pt idx="50579">
                  <c:v>0.90206884251828001</c:v>
                </c:pt>
                <c:pt idx="50580">
                  <c:v>0.90208667736757597</c:v>
                </c:pt>
                <c:pt idx="50581">
                  <c:v>0.90210451221687105</c:v>
                </c:pt>
                <c:pt idx="50582">
                  <c:v>0.90212234706616701</c:v>
                </c:pt>
                <c:pt idx="50583">
                  <c:v>0.90214018191546197</c:v>
                </c:pt>
                <c:pt idx="50584">
                  <c:v>0.90215801676475804</c:v>
                </c:pt>
                <c:pt idx="50585">
                  <c:v>0.902175851614053</c:v>
                </c:pt>
                <c:pt idx="50586">
                  <c:v>0.90219368646334896</c:v>
                </c:pt>
                <c:pt idx="50587">
                  <c:v>0.90221152131264404</c:v>
                </c:pt>
                <c:pt idx="50588">
                  <c:v>0.90222935616194</c:v>
                </c:pt>
                <c:pt idx="50589">
                  <c:v>0.90224719101123596</c:v>
                </c:pt>
                <c:pt idx="50590">
                  <c:v>0.90226502586053103</c:v>
                </c:pt>
                <c:pt idx="50591">
                  <c:v>0.90228286070982699</c:v>
                </c:pt>
                <c:pt idx="50592">
                  <c:v>0.90230069555912196</c:v>
                </c:pt>
                <c:pt idx="50593">
                  <c:v>0.90231853040841803</c:v>
                </c:pt>
                <c:pt idx="50594">
                  <c:v>0.90233636525771299</c:v>
                </c:pt>
                <c:pt idx="50595">
                  <c:v>0.90235420010700895</c:v>
                </c:pt>
                <c:pt idx="50596">
                  <c:v>0.90237203495630403</c:v>
                </c:pt>
                <c:pt idx="50597">
                  <c:v>0.90238986980559999</c:v>
                </c:pt>
                <c:pt idx="50598">
                  <c:v>0.90240770465489495</c:v>
                </c:pt>
                <c:pt idx="50599">
                  <c:v>0.90242553950419102</c:v>
                </c:pt>
                <c:pt idx="50600">
                  <c:v>0.90244337435348598</c:v>
                </c:pt>
                <c:pt idx="50601">
                  <c:v>0.90246120920278206</c:v>
                </c:pt>
                <c:pt idx="50602">
                  <c:v>0.90247904405207702</c:v>
                </c:pt>
                <c:pt idx="50603">
                  <c:v>0.90249687890137298</c:v>
                </c:pt>
                <c:pt idx="50604">
                  <c:v>0.90251471375066805</c:v>
                </c:pt>
                <c:pt idx="50605">
                  <c:v>0.90253254859996401</c:v>
                </c:pt>
                <c:pt idx="50606">
                  <c:v>0.90255038344925897</c:v>
                </c:pt>
                <c:pt idx="50607">
                  <c:v>0.90256821829855505</c:v>
                </c:pt>
                <c:pt idx="50608">
                  <c:v>0.90258605314785001</c:v>
                </c:pt>
                <c:pt idx="50609">
                  <c:v>0.90260388799714597</c:v>
                </c:pt>
                <c:pt idx="50610">
                  <c:v>0.90262172284644104</c:v>
                </c:pt>
                <c:pt idx="50611">
                  <c:v>0.902639557695737</c:v>
                </c:pt>
                <c:pt idx="50612">
                  <c:v>0.90265739254503297</c:v>
                </c:pt>
                <c:pt idx="50613">
                  <c:v>0.90267522739432804</c:v>
                </c:pt>
                <c:pt idx="50614">
                  <c:v>0.902693062243624</c:v>
                </c:pt>
                <c:pt idx="50615">
                  <c:v>0.90271089709291896</c:v>
                </c:pt>
                <c:pt idx="50616">
                  <c:v>0.90272873194221503</c:v>
                </c:pt>
                <c:pt idx="50617">
                  <c:v>0.90274656679151</c:v>
                </c:pt>
                <c:pt idx="50618">
                  <c:v>0.90276440164080596</c:v>
                </c:pt>
                <c:pt idx="50619">
                  <c:v>0.90278223649010103</c:v>
                </c:pt>
                <c:pt idx="50620">
                  <c:v>0.90280007133939699</c:v>
                </c:pt>
                <c:pt idx="50621">
                  <c:v>0.90281790618869195</c:v>
                </c:pt>
                <c:pt idx="50622">
                  <c:v>0.90283574103798803</c:v>
                </c:pt>
                <c:pt idx="50623">
                  <c:v>0.90285357588728299</c:v>
                </c:pt>
                <c:pt idx="50624">
                  <c:v>0.90287141073657895</c:v>
                </c:pt>
                <c:pt idx="50625">
                  <c:v>0.90288924558587402</c:v>
                </c:pt>
                <c:pt idx="50626">
                  <c:v>0.90290708043516998</c:v>
                </c:pt>
                <c:pt idx="50627">
                  <c:v>0.90292491528446495</c:v>
                </c:pt>
                <c:pt idx="50628">
                  <c:v>0.90294275013376102</c:v>
                </c:pt>
                <c:pt idx="50629">
                  <c:v>0.90296058498305598</c:v>
                </c:pt>
                <c:pt idx="50630">
                  <c:v>0.90297841983235205</c:v>
                </c:pt>
                <c:pt idx="50631">
                  <c:v>0.90299625468164701</c:v>
                </c:pt>
                <c:pt idx="50632">
                  <c:v>0.90301408953094298</c:v>
                </c:pt>
                <c:pt idx="50633">
                  <c:v>0.90303192438023805</c:v>
                </c:pt>
                <c:pt idx="50634">
                  <c:v>0.90304975922953401</c:v>
                </c:pt>
                <c:pt idx="50635">
                  <c:v>0.90306759407882997</c:v>
                </c:pt>
                <c:pt idx="50636">
                  <c:v>0.90308542892812504</c:v>
                </c:pt>
                <c:pt idx="50637">
                  <c:v>0.90310326377742101</c:v>
                </c:pt>
                <c:pt idx="50638">
                  <c:v>0.90312109862671597</c:v>
                </c:pt>
                <c:pt idx="50639">
                  <c:v>0.90313893347601204</c:v>
                </c:pt>
                <c:pt idx="50640">
                  <c:v>0.903156768325307</c:v>
                </c:pt>
                <c:pt idx="50641">
                  <c:v>0.90317460317460296</c:v>
                </c:pt>
                <c:pt idx="50642">
                  <c:v>0.90319243802389804</c:v>
                </c:pt>
                <c:pt idx="50643">
                  <c:v>0.903210272873194</c:v>
                </c:pt>
                <c:pt idx="50644">
                  <c:v>0.90322810772248896</c:v>
                </c:pt>
                <c:pt idx="50645">
                  <c:v>0.90324594257178503</c:v>
                </c:pt>
                <c:pt idx="50646">
                  <c:v>0.90326377742107999</c:v>
                </c:pt>
                <c:pt idx="50647">
                  <c:v>0.90328161227037596</c:v>
                </c:pt>
                <c:pt idx="50648">
                  <c:v>0.90329944711967103</c:v>
                </c:pt>
                <c:pt idx="50649">
                  <c:v>0.90331728196896699</c:v>
                </c:pt>
                <c:pt idx="50650">
                  <c:v>0.90333511681826195</c:v>
                </c:pt>
                <c:pt idx="50651">
                  <c:v>0.90335295166755802</c:v>
                </c:pt>
                <c:pt idx="50652">
                  <c:v>0.90337078651685399</c:v>
                </c:pt>
                <c:pt idx="50653">
                  <c:v>0.90338862136614895</c:v>
                </c:pt>
                <c:pt idx="50654">
                  <c:v>0.90340645621544502</c:v>
                </c:pt>
                <c:pt idx="50655">
                  <c:v>0.90342429106473998</c:v>
                </c:pt>
                <c:pt idx="50656">
                  <c:v>0.90344212591403605</c:v>
                </c:pt>
                <c:pt idx="50657">
                  <c:v>0.90345996076333102</c:v>
                </c:pt>
                <c:pt idx="50658">
                  <c:v>0.90347779561262698</c:v>
                </c:pt>
                <c:pt idx="50659">
                  <c:v>0.90349563046192205</c:v>
                </c:pt>
                <c:pt idx="50660">
                  <c:v>0.90351346531121801</c:v>
                </c:pt>
                <c:pt idx="50661">
                  <c:v>0.90353130016051297</c:v>
                </c:pt>
                <c:pt idx="50662">
                  <c:v>0.90354913500980905</c:v>
                </c:pt>
                <c:pt idx="50663">
                  <c:v>0.90356696985910401</c:v>
                </c:pt>
                <c:pt idx="50664">
                  <c:v>0.90358480470839997</c:v>
                </c:pt>
                <c:pt idx="50665">
                  <c:v>0.90360263955769504</c:v>
                </c:pt>
                <c:pt idx="50666">
                  <c:v>0.903620474406991</c:v>
                </c:pt>
                <c:pt idx="50667">
                  <c:v>0.90363830925628597</c:v>
                </c:pt>
                <c:pt idx="50668">
                  <c:v>0.90365614410558204</c:v>
                </c:pt>
                <c:pt idx="50669">
                  <c:v>0.903673978954877</c:v>
                </c:pt>
                <c:pt idx="50670">
                  <c:v>0.90369181380417296</c:v>
                </c:pt>
                <c:pt idx="50671">
                  <c:v>0.90370964865346803</c:v>
                </c:pt>
                <c:pt idx="50672">
                  <c:v>0.903727483502764</c:v>
                </c:pt>
                <c:pt idx="50673">
                  <c:v>0.90374531835205996</c:v>
                </c:pt>
                <c:pt idx="50674">
                  <c:v>0.90376315320135503</c:v>
                </c:pt>
                <c:pt idx="50675">
                  <c:v>0.90378098805065099</c:v>
                </c:pt>
                <c:pt idx="50676">
                  <c:v>0.90379882289994595</c:v>
                </c:pt>
                <c:pt idx="50677">
                  <c:v>0.90381665774924203</c:v>
                </c:pt>
                <c:pt idx="50678">
                  <c:v>0.90383449259853699</c:v>
                </c:pt>
                <c:pt idx="50679">
                  <c:v>0.90385232744783295</c:v>
                </c:pt>
                <c:pt idx="50680">
                  <c:v>0.90387016229712802</c:v>
                </c:pt>
                <c:pt idx="50681">
                  <c:v>0.90388799714642398</c:v>
                </c:pt>
                <c:pt idx="50682">
                  <c:v>0.90390583199571894</c:v>
                </c:pt>
                <c:pt idx="50683">
                  <c:v>0.90392366684501502</c:v>
                </c:pt>
                <c:pt idx="50684">
                  <c:v>0.90394150169430998</c:v>
                </c:pt>
                <c:pt idx="50685">
                  <c:v>0.90395933654360605</c:v>
                </c:pt>
                <c:pt idx="50686">
                  <c:v>0.90397717139290101</c:v>
                </c:pt>
                <c:pt idx="50687">
                  <c:v>0.90399500624219697</c:v>
                </c:pt>
                <c:pt idx="50688">
                  <c:v>0.90401284109149205</c:v>
                </c:pt>
                <c:pt idx="50689">
                  <c:v>0.90403067594078801</c:v>
                </c:pt>
                <c:pt idx="50690">
                  <c:v>0.90404851079008297</c:v>
                </c:pt>
                <c:pt idx="50691">
                  <c:v>0.90406634563937904</c:v>
                </c:pt>
                <c:pt idx="50692">
                  <c:v>0.90408418048867401</c:v>
                </c:pt>
                <c:pt idx="50693">
                  <c:v>0.90410201533796997</c:v>
                </c:pt>
                <c:pt idx="50694">
                  <c:v>0.90411985018726504</c:v>
                </c:pt>
                <c:pt idx="50695">
                  <c:v>0.904137685036561</c:v>
                </c:pt>
                <c:pt idx="50696">
                  <c:v>0.90415551988585696</c:v>
                </c:pt>
                <c:pt idx="50697">
                  <c:v>0.90417335473515204</c:v>
                </c:pt>
                <c:pt idx="50698">
                  <c:v>0.904191189584448</c:v>
                </c:pt>
                <c:pt idx="50699">
                  <c:v>0.90420902443374296</c:v>
                </c:pt>
                <c:pt idx="50700">
                  <c:v>0.90422685928303903</c:v>
                </c:pt>
                <c:pt idx="50701">
                  <c:v>0.90424469413233399</c:v>
                </c:pt>
                <c:pt idx="50702">
                  <c:v>0.90426252898162995</c:v>
                </c:pt>
                <c:pt idx="50703">
                  <c:v>0.90428036383092503</c:v>
                </c:pt>
                <c:pt idx="50704">
                  <c:v>0.90429819868022099</c:v>
                </c:pt>
                <c:pt idx="50705">
                  <c:v>0.90431603352951595</c:v>
                </c:pt>
                <c:pt idx="50706">
                  <c:v>0.90433386837881202</c:v>
                </c:pt>
                <c:pt idx="50707">
                  <c:v>0.90435170322810698</c:v>
                </c:pt>
                <c:pt idx="50708">
                  <c:v>0.90436953807740295</c:v>
                </c:pt>
                <c:pt idx="50709">
                  <c:v>0.90438737292669802</c:v>
                </c:pt>
                <c:pt idx="50710">
                  <c:v>0.90440520777599398</c:v>
                </c:pt>
                <c:pt idx="50711">
                  <c:v>0.90442304262528905</c:v>
                </c:pt>
                <c:pt idx="50712">
                  <c:v>0.90444087747458501</c:v>
                </c:pt>
                <c:pt idx="50713">
                  <c:v>0.90445871232387998</c:v>
                </c:pt>
                <c:pt idx="50714">
                  <c:v>0.90447654717317605</c:v>
                </c:pt>
                <c:pt idx="50715">
                  <c:v>0.90449438202247101</c:v>
                </c:pt>
                <c:pt idx="50716">
                  <c:v>0.90451221687176697</c:v>
                </c:pt>
                <c:pt idx="50717">
                  <c:v>0.90453005172106205</c:v>
                </c:pt>
                <c:pt idx="50718">
                  <c:v>0.90454788657035801</c:v>
                </c:pt>
                <c:pt idx="50719">
                  <c:v>0.90456572141965397</c:v>
                </c:pt>
                <c:pt idx="50720">
                  <c:v>0.90458355626894904</c:v>
                </c:pt>
                <c:pt idx="50721">
                  <c:v>0.904601391118245</c:v>
                </c:pt>
                <c:pt idx="50722">
                  <c:v>0.90461922596753996</c:v>
                </c:pt>
                <c:pt idx="50723">
                  <c:v>0.90463706081683604</c:v>
                </c:pt>
                <c:pt idx="50724">
                  <c:v>0.904654895666131</c:v>
                </c:pt>
                <c:pt idx="50725">
                  <c:v>0.90467273051542696</c:v>
                </c:pt>
                <c:pt idx="50726">
                  <c:v>0.90469056536472203</c:v>
                </c:pt>
                <c:pt idx="50727">
                  <c:v>0.90470840021401799</c:v>
                </c:pt>
                <c:pt idx="50728">
                  <c:v>0.90472623506331296</c:v>
                </c:pt>
                <c:pt idx="50729">
                  <c:v>0.90474406991260903</c:v>
                </c:pt>
                <c:pt idx="50730">
                  <c:v>0.90476190476190399</c:v>
                </c:pt>
                <c:pt idx="50731">
                  <c:v>0.90477973961119995</c:v>
                </c:pt>
                <c:pt idx="50732">
                  <c:v>0.90479757446049502</c:v>
                </c:pt>
                <c:pt idx="50733">
                  <c:v>0.90481540930979099</c:v>
                </c:pt>
                <c:pt idx="50734">
                  <c:v>0.90483324415908595</c:v>
                </c:pt>
                <c:pt idx="50735">
                  <c:v>0.90485107900838202</c:v>
                </c:pt>
                <c:pt idx="50736">
                  <c:v>0.90486891385767698</c:v>
                </c:pt>
                <c:pt idx="50737">
                  <c:v>0.90488674870697305</c:v>
                </c:pt>
                <c:pt idx="50738">
                  <c:v>0.90490458355626802</c:v>
                </c:pt>
                <c:pt idx="50739">
                  <c:v>0.90492241840556398</c:v>
                </c:pt>
                <c:pt idx="50740">
                  <c:v>0.90494025325486005</c:v>
                </c:pt>
                <c:pt idx="50741">
                  <c:v>0.90495808810415501</c:v>
                </c:pt>
                <c:pt idx="50742">
                  <c:v>0.90497592295345097</c:v>
                </c:pt>
                <c:pt idx="50743">
                  <c:v>0.90499375780274605</c:v>
                </c:pt>
                <c:pt idx="50744">
                  <c:v>0.90501159265204201</c:v>
                </c:pt>
                <c:pt idx="50745">
                  <c:v>0.90502942750133697</c:v>
                </c:pt>
                <c:pt idx="50746">
                  <c:v>0.90504726235063304</c:v>
                </c:pt>
                <c:pt idx="50747">
                  <c:v>0.905065097199928</c:v>
                </c:pt>
                <c:pt idx="50748">
                  <c:v>0.90508293204922396</c:v>
                </c:pt>
                <c:pt idx="50749">
                  <c:v>0.90510076689851904</c:v>
                </c:pt>
                <c:pt idx="50750">
                  <c:v>0.905118601747815</c:v>
                </c:pt>
                <c:pt idx="50751">
                  <c:v>0.90513643659710996</c:v>
                </c:pt>
                <c:pt idx="50752">
                  <c:v>0.90515427144640603</c:v>
                </c:pt>
                <c:pt idx="50753">
                  <c:v>0.905172106295701</c:v>
                </c:pt>
                <c:pt idx="50754">
                  <c:v>0.90518994114499696</c:v>
                </c:pt>
                <c:pt idx="50755">
                  <c:v>0.90520777599429203</c:v>
                </c:pt>
                <c:pt idx="50756">
                  <c:v>0.90522561084358799</c:v>
                </c:pt>
                <c:pt idx="50757">
                  <c:v>0.90524344569288295</c:v>
                </c:pt>
                <c:pt idx="50758">
                  <c:v>0.90526128054217903</c:v>
                </c:pt>
                <c:pt idx="50759">
                  <c:v>0.90527911539147499</c:v>
                </c:pt>
                <c:pt idx="50760">
                  <c:v>0.90529695024076995</c:v>
                </c:pt>
                <c:pt idx="50761">
                  <c:v>0.90531478509006602</c:v>
                </c:pt>
                <c:pt idx="50762">
                  <c:v>0.90533261993936098</c:v>
                </c:pt>
                <c:pt idx="50763">
                  <c:v>0.90535045478865706</c:v>
                </c:pt>
                <c:pt idx="50764">
                  <c:v>0.90536828963795202</c:v>
                </c:pt>
                <c:pt idx="50765">
                  <c:v>0.90538612448724798</c:v>
                </c:pt>
                <c:pt idx="50766">
                  <c:v>0.90540395933654305</c:v>
                </c:pt>
                <c:pt idx="50767">
                  <c:v>0.90542179418583901</c:v>
                </c:pt>
                <c:pt idx="50768">
                  <c:v>0.90543962903513397</c:v>
                </c:pt>
                <c:pt idx="50769">
                  <c:v>0.90545746388443005</c:v>
                </c:pt>
                <c:pt idx="50770">
                  <c:v>0.90547529873372501</c:v>
                </c:pt>
                <c:pt idx="50771">
                  <c:v>0.90549313358302097</c:v>
                </c:pt>
                <c:pt idx="50772">
                  <c:v>0.90551096843231604</c:v>
                </c:pt>
                <c:pt idx="50773">
                  <c:v>0.905528803281612</c:v>
                </c:pt>
                <c:pt idx="50774">
                  <c:v>0.90554663813090697</c:v>
                </c:pt>
                <c:pt idx="50775">
                  <c:v>0.90556447298020304</c:v>
                </c:pt>
                <c:pt idx="50776">
                  <c:v>0.905582307829498</c:v>
                </c:pt>
                <c:pt idx="50777">
                  <c:v>0.90560014267879396</c:v>
                </c:pt>
                <c:pt idx="50778">
                  <c:v>0.90561797752808904</c:v>
                </c:pt>
                <c:pt idx="50779">
                  <c:v>0.905635812377385</c:v>
                </c:pt>
                <c:pt idx="50780">
                  <c:v>0.90565364722668096</c:v>
                </c:pt>
                <c:pt idx="50781">
                  <c:v>0.90567148207597603</c:v>
                </c:pt>
                <c:pt idx="50782">
                  <c:v>0.90568931692527199</c:v>
                </c:pt>
                <c:pt idx="50783">
                  <c:v>0.90570715177456695</c:v>
                </c:pt>
                <c:pt idx="50784">
                  <c:v>0.90572498662386303</c:v>
                </c:pt>
                <c:pt idx="50785">
                  <c:v>0.90574282147315799</c:v>
                </c:pt>
                <c:pt idx="50786">
                  <c:v>0.90576065632245395</c:v>
                </c:pt>
                <c:pt idx="50787">
                  <c:v>0.90577849117174902</c:v>
                </c:pt>
                <c:pt idx="50788">
                  <c:v>0.90579632602104498</c:v>
                </c:pt>
                <c:pt idx="50789">
                  <c:v>0.90581416087033995</c:v>
                </c:pt>
                <c:pt idx="50790">
                  <c:v>0.90583199571963602</c:v>
                </c:pt>
                <c:pt idx="50791">
                  <c:v>0.90584983056893098</c:v>
                </c:pt>
                <c:pt idx="50792">
                  <c:v>0.90586766541822705</c:v>
                </c:pt>
                <c:pt idx="50793">
                  <c:v>0.90588550026752201</c:v>
                </c:pt>
                <c:pt idx="50794">
                  <c:v>0.90590333511681798</c:v>
                </c:pt>
                <c:pt idx="50795">
                  <c:v>0.90592116996611305</c:v>
                </c:pt>
                <c:pt idx="50796">
                  <c:v>0.90593900481540901</c:v>
                </c:pt>
                <c:pt idx="50797">
                  <c:v>0.90595683966470397</c:v>
                </c:pt>
                <c:pt idx="50798">
                  <c:v>0.90597467451400004</c:v>
                </c:pt>
                <c:pt idx="50799">
                  <c:v>0.90599250936329501</c:v>
                </c:pt>
                <c:pt idx="50800">
                  <c:v>0.90601034421259097</c:v>
                </c:pt>
                <c:pt idx="50801">
                  <c:v>0.90602817906188604</c:v>
                </c:pt>
                <c:pt idx="50802">
                  <c:v>0.906046013911182</c:v>
                </c:pt>
                <c:pt idx="50803">
                  <c:v>0.90606384876047796</c:v>
                </c:pt>
                <c:pt idx="50804">
                  <c:v>0.90608168360977304</c:v>
                </c:pt>
                <c:pt idx="50805">
                  <c:v>0.906099518459069</c:v>
                </c:pt>
                <c:pt idx="50806">
                  <c:v>0.90611735330836396</c:v>
                </c:pt>
                <c:pt idx="50807">
                  <c:v>0.90613518815766003</c:v>
                </c:pt>
                <c:pt idx="50808">
                  <c:v>0.90615302300695499</c:v>
                </c:pt>
                <c:pt idx="50809">
                  <c:v>0.90617085785625096</c:v>
                </c:pt>
                <c:pt idx="50810">
                  <c:v>0.90618869270554603</c:v>
                </c:pt>
                <c:pt idx="50811">
                  <c:v>0.90620652755484199</c:v>
                </c:pt>
                <c:pt idx="50812">
                  <c:v>0.90622436240413695</c:v>
                </c:pt>
                <c:pt idx="50813">
                  <c:v>0.90624219725343302</c:v>
                </c:pt>
                <c:pt idx="50814">
                  <c:v>0.90626003210272799</c:v>
                </c:pt>
                <c:pt idx="50815">
                  <c:v>0.90627786695202395</c:v>
                </c:pt>
                <c:pt idx="50816">
                  <c:v>0.90629570180131902</c:v>
                </c:pt>
                <c:pt idx="50817">
                  <c:v>0.90631353665061498</c:v>
                </c:pt>
                <c:pt idx="50818">
                  <c:v>0.90633137149991005</c:v>
                </c:pt>
                <c:pt idx="50819">
                  <c:v>0.90634920634920602</c:v>
                </c:pt>
                <c:pt idx="50820">
                  <c:v>0.90636704119850098</c:v>
                </c:pt>
                <c:pt idx="50821">
                  <c:v>0.90638487604779705</c:v>
                </c:pt>
                <c:pt idx="50822">
                  <c:v>0.90640271089709201</c:v>
                </c:pt>
                <c:pt idx="50823">
                  <c:v>0.90642054574638797</c:v>
                </c:pt>
                <c:pt idx="50824">
                  <c:v>0.90643838059568305</c:v>
                </c:pt>
                <c:pt idx="50825">
                  <c:v>0.90645621544497901</c:v>
                </c:pt>
                <c:pt idx="50826">
                  <c:v>0.90647405029427497</c:v>
                </c:pt>
                <c:pt idx="50827">
                  <c:v>0.90649188514357004</c:v>
                </c:pt>
                <c:pt idx="50828">
                  <c:v>0.906509719992866</c:v>
                </c:pt>
                <c:pt idx="50829">
                  <c:v>0.90652755484216097</c:v>
                </c:pt>
                <c:pt idx="50830">
                  <c:v>0.90654538969145704</c:v>
                </c:pt>
                <c:pt idx="50831">
                  <c:v>0.906563224540752</c:v>
                </c:pt>
                <c:pt idx="50832">
                  <c:v>0.90658105939004796</c:v>
                </c:pt>
                <c:pt idx="50833">
                  <c:v>0.90659889423934303</c:v>
                </c:pt>
                <c:pt idx="50834">
                  <c:v>0.906616729088639</c:v>
                </c:pt>
                <c:pt idx="50835">
                  <c:v>0.90663456393793396</c:v>
                </c:pt>
                <c:pt idx="50836">
                  <c:v>0.90665239878723003</c:v>
                </c:pt>
                <c:pt idx="50837">
                  <c:v>0.90667023363652499</c:v>
                </c:pt>
                <c:pt idx="50838">
                  <c:v>0.90668806848582095</c:v>
                </c:pt>
                <c:pt idx="50839">
                  <c:v>0.90670590333511603</c:v>
                </c:pt>
                <c:pt idx="50840">
                  <c:v>0.90672373818441199</c:v>
                </c:pt>
                <c:pt idx="50841">
                  <c:v>0.90674157303370695</c:v>
                </c:pt>
                <c:pt idx="50842">
                  <c:v>0.90675940788300302</c:v>
                </c:pt>
                <c:pt idx="50843">
                  <c:v>0.90677724273229798</c:v>
                </c:pt>
                <c:pt idx="50844">
                  <c:v>0.90679507758159394</c:v>
                </c:pt>
                <c:pt idx="50845">
                  <c:v>0.90681291243088902</c:v>
                </c:pt>
                <c:pt idx="50846">
                  <c:v>0.90683074728018498</c:v>
                </c:pt>
                <c:pt idx="50847">
                  <c:v>0.90684858212948105</c:v>
                </c:pt>
                <c:pt idx="50848">
                  <c:v>0.90686641697877601</c:v>
                </c:pt>
                <c:pt idx="50849">
                  <c:v>0.90688425182807197</c:v>
                </c:pt>
                <c:pt idx="50850">
                  <c:v>0.90690208667736705</c:v>
                </c:pt>
                <c:pt idx="50851">
                  <c:v>0.90691992152666301</c:v>
                </c:pt>
                <c:pt idx="50852">
                  <c:v>0.90693775637595797</c:v>
                </c:pt>
                <c:pt idx="50853">
                  <c:v>0.90695559122525404</c:v>
                </c:pt>
                <c:pt idx="50854">
                  <c:v>0.90697342607454901</c:v>
                </c:pt>
                <c:pt idx="50855">
                  <c:v>0.90699126092384497</c:v>
                </c:pt>
                <c:pt idx="50856">
                  <c:v>0.90700909577314004</c:v>
                </c:pt>
                <c:pt idx="50857">
                  <c:v>0.907026930622436</c:v>
                </c:pt>
                <c:pt idx="50858">
                  <c:v>0.90704476547173096</c:v>
                </c:pt>
                <c:pt idx="50859">
                  <c:v>0.90706260032102703</c:v>
                </c:pt>
                <c:pt idx="50860">
                  <c:v>0.907080435170322</c:v>
                </c:pt>
                <c:pt idx="50861">
                  <c:v>0.90709827001961796</c:v>
                </c:pt>
                <c:pt idx="50862">
                  <c:v>0.90711610486891303</c:v>
                </c:pt>
                <c:pt idx="50863">
                  <c:v>0.90713393971820899</c:v>
                </c:pt>
                <c:pt idx="50864">
                  <c:v>0.90715177456750495</c:v>
                </c:pt>
                <c:pt idx="50865">
                  <c:v>0.90716960941680003</c:v>
                </c:pt>
                <c:pt idx="50866">
                  <c:v>0.90718744426609599</c:v>
                </c:pt>
                <c:pt idx="50867">
                  <c:v>0.90720527911539095</c:v>
                </c:pt>
                <c:pt idx="50868">
                  <c:v>0.90722311396468702</c:v>
                </c:pt>
                <c:pt idx="50869">
                  <c:v>0.90724094881398198</c:v>
                </c:pt>
                <c:pt idx="50870">
                  <c:v>0.90725878366327795</c:v>
                </c:pt>
                <c:pt idx="50871">
                  <c:v>0.90727661851257302</c:v>
                </c:pt>
                <c:pt idx="50872">
                  <c:v>0.90729445336186898</c:v>
                </c:pt>
                <c:pt idx="50873">
                  <c:v>0.90731228821116405</c:v>
                </c:pt>
                <c:pt idx="50874">
                  <c:v>0.90733012306046001</c:v>
                </c:pt>
                <c:pt idx="50875">
                  <c:v>0.90734795790975498</c:v>
                </c:pt>
                <c:pt idx="50876">
                  <c:v>0.90736579275905105</c:v>
                </c:pt>
                <c:pt idx="50877">
                  <c:v>0.90738362760834601</c:v>
                </c:pt>
                <c:pt idx="50878">
                  <c:v>0.90740146245764197</c:v>
                </c:pt>
                <c:pt idx="50879">
                  <c:v>0.90741929730693704</c:v>
                </c:pt>
                <c:pt idx="50880">
                  <c:v>0.90743713215623301</c:v>
                </c:pt>
                <c:pt idx="50881">
                  <c:v>0.90745496700552797</c:v>
                </c:pt>
                <c:pt idx="50882">
                  <c:v>0.90747280185482404</c:v>
                </c:pt>
                <c:pt idx="50883">
                  <c:v>0.907490636704119</c:v>
                </c:pt>
                <c:pt idx="50884">
                  <c:v>0.90750847155341496</c:v>
                </c:pt>
                <c:pt idx="50885">
                  <c:v>0.90752630640271004</c:v>
                </c:pt>
                <c:pt idx="50886">
                  <c:v>0.907544141252006</c:v>
                </c:pt>
                <c:pt idx="50887">
                  <c:v>0.90756197610130196</c:v>
                </c:pt>
                <c:pt idx="50888">
                  <c:v>0.90757981095059703</c:v>
                </c:pt>
                <c:pt idx="50889">
                  <c:v>0.90759764579989299</c:v>
                </c:pt>
                <c:pt idx="50890">
                  <c:v>0.90761548064918796</c:v>
                </c:pt>
                <c:pt idx="50891">
                  <c:v>0.90763331549848403</c:v>
                </c:pt>
                <c:pt idx="50892">
                  <c:v>0.90765115034777899</c:v>
                </c:pt>
                <c:pt idx="50893">
                  <c:v>0.90766898519707495</c:v>
                </c:pt>
                <c:pt idx="50894">
                  <c:v>0.90768682004637002</c:v>
                </c:pt>
                <c:pt idx="50895">
                  <c:v>0.90770465489566599</c:v>
                </c:pt>
                <c:pt idx="50896">
                  <c:v>0.90772248974496095</c:v>
                </c:pt>
                <c:pt idx="50897">
                  <c:v>0.90774032459425702</c:v>
                </c:pt>
                <c:pt idx="50898">
                  <c:v>0.90775815944355198</c:v>
                </c:pt>
                <c:pt idx="50899">
                  <c:v>0.90777599429284805</c:v>
                </c:pt>
                <c:pt idx="50900">
                  <c:v>0.90779382914214302</c:v>
                </c:pt>
                <c:pt idx="50901">
                  <c:v>0.90781166399143898</c:v>
                </c:pt>
                <c:pt idx="50902">
                  <c:v>0.90782949884073405</c:v>
                </c:pt>
                <c:pt idx="50903">
                  <c:v>0.90784733369003001</c:v>
                </c:pt>
                <c:pt idx="50904">
                  <c:v>0.90786516853932497</c:v>
                </c:pt>
                <c:pt idx="50905">
                  <c:v>0.90788300338862105</c:v>
                </c:pt>
                <c:pt idx="50906">
                  <c:v>0.90790083823791601</c:v>
                </c:pt>
                <c:pt idx="50907">
                  <c:v>0.90791867308721197</c:v>
                </c:pt>
                <c:pt idx="50908">
                  <c:v>0.90793650793650704</c:v>
                </c:pt>
                <c:pt idx="50909">
                  <c:v>0.907954342785803</c:v>
                </c:pt>
                <c:pt idx="50910">
                  <c:v>0.90797217763509896</c:v>
                </c:pt>
                <c:pt idx="50911">
                  <c:v>0.90799001248439404</c:v>
                </c:pt>
                <c:pt idx="50912">
                  <c:v>0.90800784733369</c:v>
                </c:pt>
                <c:pt idx="50913">
                  <c:v>0.90802568218298496</c:v>
                </c:pt>
                <c:pt idx="50914">
                  <c:v>0.90804351703228103</c:v>
                </c:pt>
                <c:pt idx="50915">
                  <c:v>0.908061351881576</c:v>
                </c:pt>
                <c:pt idx="50916">
                  <c:v>0.90807918673087196</c:v>
                </c:pt>
                <c:pt idx="50917">
                  <c:v>0.90809702158016703</c:v>
                </c:pt>
                <c:pt idx="50918">
                  <c:v>0.90811485642946299</c:v>
                </c:pt>
                <c:pt idx="50919">
                  <c:v>0.90813269127875795</c:v>
                </c:pt>
                <c:pt idx="50920">
                  <c:v>0.90815052612805403</c:v>
                </c:pt>
                <c:pt idx="50921">
                  <c:v>0.90816836097734899</c:v>
                </c:pt>
                <c:pt idx="50922">
                  <c:v>0.90818619582664495</c:v>
                </c:pt>
                <c:pt idx="50923">
                  <c:v>0.90820403067594002</c:v>
                </c:pt>
                <c:pt idx="50924">
                  <c:v>0.90822186552523598</c:v>
                </c:pt>
                <c:pt idx="50925">
                  <c:v>0.90823970037453094</c:v>
                </c:pt>
                <c:pt idx="50926">
                  <c:v>0.90825753522382702</c:v>
                </c:pt>
                <c:pt idx="50927">
                  <c:v>0.90827537007312198</c:v>
                </c:pt>
                <c:pt idx="50928">
                  <c:v>0.90829320492241805</c:v>
                </c:pt>
                <c:pt idx="50929">
                  <c:v>0.90831103977171301</c:v>
                </c:pt>
                <c:pt idx="50930">
                  <c:v>0.90832887462100897</c:v>
                </c:pt>
                <c:pt idx="50931">
                  <c:v>0.90834670947030405</c:v>
                </c:pt>
                <c:pt idx="50932">
                  <c:v>0.90836454431960001</c:v>
                </c:pt>
                <c:pt idx="50933">
                  <c:v>0.90838237916889597</c:v>
                </c:pt>
                <c:pt idx="50934">
                  <c:v>0.90840021401819104</c:v>
                </c:pt>
                <c:pt idx="50935">
                  <c:v>0.908418048867487</c:v>
                </c:pt>
                <c:pt idx="50936">
                  <c:v>0.90843588371678197</c:v>
                </c:pt>
                <c:pt idx="50937">
                  <c:v>0.90845371856607804</c:v>
                </c:pt>
                <c:pt idx="50938">
                  <c:v>0.908471553415373</c:v>
                </c:pt>
                <c:pt idx="50939">
                  <c:v>0.90848938826466896</c:v>
                </c:pt>
                <c:pt idx="50940">
                  <c:v>0.90850722311396404</c:v>
                </c:pt>
                <c:pt idx="50941">
                  <c:v>0.90852505796326</c:v>
                </c:pt>
                <c:pt idx="50942">
                  <c:v>0.90854289281255496</c:v>
                </c:pt>
                <c:pt idx="50943">
                  <c:v>0.90856072766185103</c:v>
                </c:pt>
                <c:pt idx="50944">
                  <c:v>0.90857856251114599</c:v>
                </c:pt>
                <c:pt idx="50945">
                  <c:v>0.90859639736044195</c:v>
                </c:pt>
                <c:pt idx="50946">
                  <c:v>0.90861423220973703</c:v>
                </c:pt>
                <c:pt idx="50947">
                  <c:v>0.90863206705903299</c:v>
                </c:pt>
                <c:pt idx="50948">
                  <c:v>0.90864990190832795</c:v>
                </c:pt>
                <c:pt idx="50949">
                  <c:v>0.90866773675762402</c:v>
                </c:pt>
                <c:pt idx="50950">
                  <c:v>0.90868557160691898</c:v>
                </c:pt>
                <c:pt idx="50951">
                  <c:v>0.90870340645621495</c:v>
                </c:pt>
                <c:pt idx="50952">
                  <c:v>0.90872124130551102</c:v>
                </c:pt>
                <c:pt idx="50953">
                  <c:v>0.90873907615480598</c:v>
                </c:pt>
                <c:pt idx="50954">
                  <c:v>0.90875691100410205</c:v>
                </c:pt>
                <c:pt idx="50955">
                  <c:v>0.90877474585339701</c:v>
                </c:pt>
                <c:pt idx="50956">
                  <c:v>0.90879258070269298</c:v>
                </c:pt>
                <c:pt idx="50957">
                  <c:v>0.90881041555198805</c:v>
                </c:pt>
                <c:pt idx="50958">
                  <c:v>0.90882825040128401</c:v>
                </c:pt>
                <c:pt idx="50959">
                  <c:v>0.90884608525057897</c:v>
                </c:pt>
                <c:pt idx="50960">
                  <c:v>0.90886392009987504</c:v>
                </c:pt>
                <c:pt idx="50961">
                  <c:v>0.90888175494917001</c:v>
                </c:pt>
                <c:pt idx="50962">
                  <c:v>0.90889958979846597</c:v>
                </c:pt>
                <c:pt idx="50963">
                  <c:v>0.90891742464776104</c:v>
                </c:pt>
                <c:pt idx="50964">
                  <c:v>0.908935259497057</c:v>
                </c:pt>
                <c:pt idx="50965">
                  <c:v>0.90895309434635196</c:v>
                </c:pt>
                <c:pt idx="50966">
                  <c:v>0.90897092919564804</c:v>
                </c:pt>
                <c:pt idx="50967">
                  <c:v>0.908988764044943</c:v>
                </c:pt>
                <c:pt idx="50968">
                  <c:v>0.90900659889423896</c:v>
                </c:pt>
                <c:pt idx="50969">
                  <c:v>0.90902443374353403</c:v>
                </c:pt>
                <c:pt idx="50970">
                  <c:v>0.90904226859282999</c:v>
                </c:pt>
                <c:pt idx="50971">
                  <c:v>0.90906010344212596</c:v>
                </c:pt>
                <c:pt idx="50972">
                  <c:v>0.90907793829142103</c:v>
                </c:pt>
                <c:pt idx="50973">
                  <c:v>0.90909577314071699</c:v>
                </c:pt>
                <c:pt idx="50974">
                  <c:v>0.90911360799001195</c:v>
                </c:pt>
                <c:pt idx="50975">
                  <c:v>0.90913144283930802</c:v>
                </c:pt>
                <c:pt idx="50976">
                  <c:v>0.90914927768860299</c:v>
                </c:pt>
                <c:pt idx="50977">
                  <c:v>0.90916711253789895</c:v>
                </c:pt>
                <c:pt idx="50978">
                  <c:v>0.90918494738719402</c:v>
                </c:pt>
                <c:pt idx="50979">
                  <c:v>0.90920278223648998</c:v>
                </c:pt>
                <c:pt idx="50980">
                  <c:v>0.90922061708578505</c:v>
                </c:pt>
                <c:pt idx="50981">
                  <c:v>0.90923845193508102</c:v>
                </c:pt>
                <c:pt idx="50982">
                  <c:v>0.90925628678437598</c:v>
                </c:pt>
                <c:pt idx="50983">
                  <c:v>0.90927412163367205</c:v>
                </c:pt>
                <c:pt idx="50984">
                  <c:v>0.90929195648296701</c:v>
                </c:pt>
                <c:pt idx="50985">
                  <c:v>0.90930979133226297</c:v>
                </c:pt>
                <c:pt idx="50986">
                  <c:v>0.90932762618155805</c:v>
                </c:pt>
                <c:pt idx="50987">
                  <c:v>0.90934546103085401</c:v>
                </c:pt>
                <c:pt idx="50988">
                  <c:v>0.90936329588014897</c:v>
                </c:pt>
                <c:pt idx="50989">
                  <c:v>0.90938113072944504</c:v>
                </c:pt>
                <c:pt idx="50990">
                  <c:v>0.90939896557874</c:v>
                </c:pt>
                <c:pt idx="50991">
                  <c:v>0.90941680042803597</c:v>
                </c:pt>
                <c:pt idx="50992">
                  <c:v>0.90943463527733104</c:v>
                </c:pt>
                <c:pt idx="50993">
                  <c:v>0.909452470126627</c:v>
                </c:pt>
                <c:pt idx="50994">
                  <c:v>0.90947030497592296</c:v>
                </c:pt>
                <c:pt idx="50995">
                  <c:v>0.90948813982521803</c:v>
                </c:pt>
                <c:pt idx="50996">
                  <c:v>0.909505974674514</c:v>
                </c:pt>
                <c:pt idx="50997">
                  <c:v>0.90952380952380896</c:v>
                </c:pt>
                <c:pt idx="50998">
                  <c:v>0.90954164437310503</c:v>
                </c:pt>
                <c:pt idx="50999">
                  <c:v>0.90955947922239999</c:v>
                </c:pt>
                <c:pt idx="51000">
                  <c:v>0.90957731407169595</c:v>
                </c:pt>
                <c:pt idx="51001">
                  <c:v>0.90959514892099103</c:v>
                </c:pt>
                <c:pt idx="51002">
                  <c:v>0.90961298377028699</c:v>
                </c:pt>
                <c:pt idx="51003">
                  <c:v>0.90963081861958195</c:v>
                </c:pt>
                <c:pt idx="51004">
                  <c:v>0.90964865346887802</c:v>
                </c:pt>
                <c:pt idx="51005">
                  <c:v>0.90966648831817298</c:v>
                </c:pt>
                <c:pt idx="51006">
                  <c:v>0.90968432316746894</c:v>
                </c:pt>
                <c:pt idx="51007">
                  <c:v>0.90970215801676402</c:v>
                </c:pt>
                <c:pt idx="51008">
                  <c:v>0.90971999286605998</c:v>
                </c:pt>
                <c:pt idx="51009">
                  <c:v>0.90973782771535505</c:v>
                </c:pt>
                <c:pt idx="51010">
                  <c:v>0.90975566256465101</c:v>
                </c:pt>
                <c:pt idx="51011">
                  <c:v>0.90977349741394598</c:v>
                </c:pt>
                <c:pt idx="51012">
                  <c:v>0.90979133226324205</c:v>
                </c:pt>
                <c:pt idx="51013">
                  <c:v>0.90980916711253701</c:v>
                </c:pt>
                <c:pt idx="51014">
                  <c:v>0.90982700196183297</c:v>
                </c:pt>
                <c:pt idx="51015">
                  <c:v>0.90984483681112804</c:v>
                </c:pt>
                <c:pt idx="51016">
                  <c:v>0.90986267166042401</c:v>
                </c:pt>
                <c:pt idx="51017">
                  <c:v>0.90988050650971997</c:v>
                </c:pt>
                <c:pt idx="51018">
                  <c:v>0.90989834135901504</c:v>
                </c:pt>
                <c:pt idx="51019">
                  <c:v>0.909916176208311</c:v>
                </c:pt>
                <c:pt idx="51020">
                  <c:v>0.90993401105760596</c:v>
                </c:pt>
                <c:pt idx="51021">
                  <c:v>0.90995184590690203</c:v>
                </c:pt>
                <c:pt idx="51022">
                  <c:v>0.909969680756197</c:v>
                </c:pt>
                <c:pt idx="51023">
                  <c:v>0.90998751560549296</c:v>
                </c:pt>
                <c:pt idx="51024">
                  <c:v>0.91000535045478803</c:v>
                </c:pt>
                <c:pt idx="51025">
                  <c:v>0.91002318530408399</c:v>
                </c:pt>
                <c:pt idx="51026">
                  <c:v>0.91004102015337895</c:v>
                </c:pt>
                <c:pt idx="51027">
                  <c:v>0.91005885500267503</c:v>
                </c:pt>
                <c:pt idx="51028">
                  <c:v>0.91007668985196999</c:v>
                </c:pt>
                <c:pt idx="51029">
                  <c:v>0.91009452470126595</c:v>
                </c:pt>
                <c:pt idx="51030">
                  <c:v>0.91011235955056102</c:v>
                </c:pt>
                <c:pt idx="51031">
                  <c:v>0.91013019439985698</c:v>
                </c:pt>
                <c:pt idx="51032">
                  <c:v>0.91014802924915195</c:v>
                </c:pt>
                <c:pt idx="51033">
                  <c:v>0.91016586409844802</c:v>
                </c:pt>
                <c:pt idx="51034">
                  <c:v>0.91018369894774298</c:v>
                </c:pt>
                <c:pt idx="51035">
                  <c:v>0.91020153379703905</c:v>
                </c:pt>
                <c:pt idx="51036">
                  <c:v>0.91021936864633401</c:v>
                </c:pt>
                <c:pt idx="51037">
                  <c:v>0.91023720349562998</c:v>
                </c:pt>
                <c:pt idx="51038">
                  <c:v>0.91025503834492505</c:v>
                </c:pt>
                <c:pt idx="51039">
                  <c:v>0.91027287319422101</c:v>
                </c:pt>
                <c:pt idx="51040">
                  <c:v>0.91029070804351697</c:v>
                </c:pt>
                <c:pt idx="51041">
                  <c:v>0.91030854289281204</c:v>
                </c:pt>
                <c:pt idx="51042">
                  <c:v>0.91032637774210801</c:v>
                </c:pt>
                <c:pt idx="51043">
                  <c:v>0.91034421259140297</c:v>
                </c:pt>
                <c:pt idx="51044">
                  <c:v>0.91036204744069904</c:v>
                </c:pt>
                <c:pt idx="51045">
                  <c:v>0.910379882289994</c:v>
                </c:pt>
                <c:pt idx="51046">
                  <c:v>0.91039771713928996</c:v>
                </c:pt>
                <c:pt idx="51047">
                  <c:v>0.91041555198858504</c:v>
                </c:pt>
                <c:pt idx="51048">
                  <c:v>0.910433386837881</c:v>
                </c:pt>
                <c:pt idx="51049">
                  <c:v>0.91045122168717596</c:v>
                </c:pt>
                <c:pt idx="51050">
                  <c:v>0.91046905653647203</c:v>
                </c:pt>
                <c:pt idx="51051">
                  <c:v>0.91048689138576699</c:v>
                </c:pt>
                <c:pt idx="51052">
                  <c:v>0.91050472623506296</c:v>
                </c:pt>
                <c:pt idx="51053">
                  <c:v>0.91052256108435803</c:v>
                </c:pt>
                <c:pt idx="51054">
                  <c:v>0.91054039593365399</c:v>
                </c:pt>
                <c:pt idx="51055">
                  <c:v>0.91055823078294895</c:v>
                </c:pt>
                <c:pt idx="51056">
                  <c:v>0.91057606563224502</c:v>
                </c:pt>
                <c:pt idx="51057">
                  <c:v>0.91059390048154099</c:v>
                </c:pt>
                <c:pt idx="51058">
                  <c:v>0.91061173533083595</c:v>
                </c:pt>
                <c:pt idx="51059">
                  <c:v>0.91062957018013202</c:v>
                </c:pt>
                <c:pt idx="51060">
                  <c:v>0.91064740502942698</c:v>
                </c:pt>
                <c:pt idx="51061">
                  <c:v>0.91066523987872305</c:v>
                </c:pt>
                <c:pt idx="51062">
                  <c:v>0.91068307472801802</c:v>
                </c:pt>
                <c:pt idx="51063">
                  <c:v>0.91070090957731398</c:v>
                </c:pt>
                <c:pt idx="51064">
                  <c:v>0.91071874442660905</c:v>
                </c:pt>
                <c:pt idx="51065">
                  <c:v>0.91073657927590501</c:v>
                </c:pt>
                <c:pt idx="51066">
                  <c:v>0.91075441412519997</c:v>
                </c:pt>
                <c:pt idx="51067">
                  <c:v>0.91077224897449605</c:v>
                </c:pt>
                <c:pt idx="51068">
                  <c:v>0.91079008382379101</c:v>
                </c:pt>
                <c:pt idx="51069">
                  <c:v>0.91080791867308697</c:v>
                </c:pt>
                <c:pt idx="51070">
                  <c:v>0.91082575352238204</c:v>
                </c:pt>
                <c:pt idx="51071">
                  <c:v>0.910843588371678</c:v>
                </c:pt>
                <c:pt idx="51072">
                  <c:v>0.91086142322097297</c:v>
                </c:pt>
                <c:pt idx="51073">
                  <c:v>0.91087925807026904</c:v>
                </c:pt>
                <c:pt idx="51074">
                  <c:v>0.910897092919564</c:v>
                </c:pt>
                <c:pt idx="51075">
                  <c:v>0.91091492776885996</c:v>
                </c:pt>
                <c:pt idx="51076">
                  <c:v>0.91093276261815503</c:v>
                </c:pt>
                <c:pt idx="51077">
                  <c:v>0.910950597467451</c:v>
                </c:pt>
                <c:pt idx="51078">
                  <c:v>0.91096843231674696</c:v>
                </c:pt>
                <c:pt idx="51079">
                  <c:v>0.91098626716604203</c:v>
                </c:pt>
                <c:pt idx="51080">
                  <c:v>0.91100410201533799</c:v>
                </c:pt>
                <c:pt idx="51081">
                  <c:v>0.91102193686463295</c:v>
                </c:pt>
                <c:pt idx="51082">
                  <c:v>0.91103977171392903</c:v>
                </c:pt>
                <c:pt idx="51083">
                  <c:v>0.91105760656322399</c:v>
                </c:pt>
                <c:pt idx="51084">
                  <c:v>0.91107544141251995</c:v>
                </c:pt>
                <c:pt idx="51085">
                  <c:v>0.91109327626181502</c:v>
                </c:pt>
                <c:pt idx="51086">
                  <c:v>0.91111111111111098</c:v>
                </c:pt>
                <c:pt idx="51087">
                  <c:v>0.91112894596040594</c:v>
                </c:pt>
                <c:pt idx="51088">
                  <c:v>0.91114678080970202</c:v>
                </c:pt>
                <c:pt idx="51089">
                  <c:v>0.91116461565899698</c:v>
                </c:pt>
                <c:pt idx="51090">
                  <c:v>0.91118245050829305</c:v>
                </c:pt>
                <c:pt idx="51091">
                  <c:v>0.91120028535758801</c:v>
                </c:pt>
                <c:pt idx="51092">
                  <c:v>0.91121812020688397</c:v>
                </c:pt>
                <c:pt idx="51093">
                  <c:v>0.91123595505617905</c:v>
                </c:pt>
                <c:pt idx="51094">
                  <c:v>0.91125378990547501</c:v>
                </c:pt>
                <c:pt idx="51095">
                  <c:v>0.91127162475476997</c:v>
                </c:pt>
                <c:pt idx="51096">
                  <c:v>0.91128945960406604</c:v>
                </c:pt>
                <c:pt idx="51097">
                  <c:v>0.91130729445336101</c:v>
                </c:pt>
                <c:pt idx="51098">
                  <c:v>0.91132512930265697</c:v>
                </c:pt>
                <c:pt idx="51099">
                  <c:v>0.91134296415195204</c:v>
                </c:pt>
                <c:pt idx="51100">
                  <c:v>0.911360799001248</c:v>
                </c:pt>
                <c:pt idx="51101">
                  <c:v>0.91137863385054396</c:v>
                </c:pt>
                <c:pt idx="51102">
                  <c:v>0.91139646869983904</c:v>
                </c:pt>
                <c:pt idx="51103">
                  <c:v>0.911414303549135</c:v>
                </c:pt>
                <c:pt idx="51104">
                  <c:v>0.91143213839842996</c:v>
                </c:pt>
                <c:pt idx="51105">
                  <c:v>0.91144997324772603</c:v>
                </c:pt>
                <c:pt idx="51106">
                  <c:v>0.91146780809702099</c:v>
                </c:pt>
                <c:pt idx="51107">
                  <c:v>0.91148564294631695</c:v>
                </c:pt>
                <c:pt idx="51108">
                  <c:v>0.91150347779561203</c:v>
                </c:pt>
                <c:pt idx="51109">
                  <c:v>0.91152131264490799</c:v>
                </c:pt>
                <c:pt idx="51110">
                  <c:v>0.91153914749420295</c:v>
                </c:pt>
                <c:pt idx="51111">
                  <c:v>0.91155698234349902</c:v>
                </c:pt>
                <c:pt idx="51112">
                  <c:v>0.91157481719279398</c:v>
                </c:pt>
                <c:pt idx="51113">
                  <c:v>0.91159265204208995</c:v>
                </c:pt>
                <c:pt idx="51114">
                  <c:v>0.91161048689138502</c:v>
                </c:pt>
                <c:pt idx="51115">
                  <c:v>0.91162832174068098</c:v>
                </c:pt>
                <c:pt idx="51116">
                  <c:v>0.91164615658997605</c:v>
                </c:pt>
                <c:pt idx="51117">
                  <c:v>0.91166399143927201</c:v>
                </c:pt>
                <c:pt idx="51118">
                  <c:v>0.91168182628856698</c:v>
                </c:pt>
                <c:pt idx="51119">
                  <c:v>0.91169966113786305</c:v>
                </c:pt>
                <c:pt idx="51120">
                  <c:v>0.91171749598715801</c:v>
                </c:pt>
                <c:pt idx="51121">
                  <c:v>0.91173533083645397</c:v>
                </c:pt>
                <c:pt idx="51122">
                  <c:v>0.91175316568574905</c:v>
                </c:pt>
                <c:pt idx="51123">
                  <c:v>0.91177100053504501</c:v>
                </c:pt>
                <c:pt idx="51124">
                  <c:v>0.91178883538434097</c:v>
                </c:pt>
                <c:pt idx="51125">
                  <c:v>0.91180667023363604</c:v>
                </c:pt>
                <c:pt idx="51126">
                  <c:v>0.911824505082932</c:v>
                </c:pt>
                <c:pt idx="51127">
                  <c:v>0.91184233993222696</c:v>
                </c:pt>
                <c:pt idx="51128">
                  <c:v>0.91186017478152304</c:v>
                </c:pt>
                <c:pt idx="51129">
                  <c:v>0.911878009630818</c:v>
                </c:pt>
                <c:pt idx="51130">
                  <c:v>0.91189584448011396</c:v>
                </c:pt>
                <c:pt idx="51131">
                  <c:v>0.91191367932940903</c:v>
                </c:pt>
                <c:pt idx="51132">
                  <c:v>0.91193151417870499</c:v>
                </c:pt>
                <c:pt idx="51133">
                  <c:v>0.91194934902799996</c:v>
                </c:pt>
                <c:pt idx="51134">
                  <c:v>0.91196718387729603</c:v>
                </c:pt>
                <c:pt idx="51135">
                  <c:v>0.91198501872659099</c:v>
                </c:pt>
                <c:pt idx="51136">
                  <c:v>0.91200285357588695</c:v>
                </c:pt>
                <c:pt idx="51137">
                  <c:v>0.91202068842518202</c:v>
                </c:pt>
                <c:pt idx="51138">
                  <c:v>0.91203852327447799</c:v>
                </c:pt>
                <c:pt idx="51139">
                  <c:v>0.91205635812377295</c:v>
                </c:pt>
                <c:pt idx="51140">
                  <c:v>0.91207419297306902</c:v>
                </c:pt>
                <c:pt idx="51141">
                  <c:v>0.91209202782236398</c:v>
                </c:pt>
                <c:pt idx="51142">
                  <c:v>0.91210986267166005</c:v>
                </c:pt>
                <c:pt idx="51143">
                  <c:v>0.91212769752095502</c:v>
                </c:pt>
                <c:pt idx="51144">
                  <c:v>0.91214553237025098</c:v>
                </c:pt>
                <c:pt idx="51145">
                  <c:v>0.91216336721954705</c:v>
                </c:pt>
                <c:pt idx="51146">
                  <c:v>0.91218120206884201</c:v>
                </c:pt>
                <c:pt idx="51147">
                  <c:v>0.91219903691813797</c:v>
                </c:pt>
                <c:pt idx="51148">
                  <c:v>0.91221687176743305</c:v>
                </c:pt>
                <c:pt idx="51149">
                  <c:v>0.91223470661672901</c:v>
                </c:pt>
                <c:pt idx="51150">
                  <c:v>0.91225254146602397</c:v>
                </c:pt>
                <c:pt idx="51151">
                  <c:v>0.91227037631532004</c:v>
                </c:pt>
                <c:pt idx="51152">
                  <c:v>0.912288211164615</c:v>
                </c:pt>
                <c:pt idx="51153">
                  <c:v>0.91230604601391097</c:v>
                </c:pt>
                <c:pt idx="51154">
                  <c:v>0.91232388086320604</c:v>
                </c:pt>
                <c:pt idx="51155">
                  <c:v>0.912341715712502</c:v>
                </c:pt>
                <c:pt idx="51156">
                  <c:v>0.91235955056179696</c:v>
                </c:pt>
                <c:pt idx="51157">
                  <c:v>0.91237738541109303</c:v>
                </c:pt>
                <c:pt idx="51158">
                  <c:v>0.912395220260388</c:v>
                </c:pt>
                <c:pt idx="51159">
                  <c:v>0.91241305510968396</c:v>
                </c:pt>
                <c:pt idx="51160">
                  <c:v>0.91243088995897903</c:v>
                </c:pt>
                <c:pt idx="51161">
                  <c:v>0.91244872480827499</c:v>
                </c:pt>
                <c:pt idx="51162">
                  <c:v>0.91246655965756995</c:v>
                </c:pt>
                <c:pt idx="51163">
                  <c:v>0.91248439450686603</c:v>
                </c:pt>
                <c:pt idx="51164">
                  <c:v>0.91250222935616199</c:v>
                </c:pt>
                <c:pt idx="51165">
                  <c:v>0.91252006420545695</c:v>
                </c:pt>
                <c:pt idx="51166">
                  <c:v>0.91253789905475302</c:v>
                </c:pt>
                <c:pt idx="51167">
                  <c:v>0.91255573390404798</c:v>
                </c:pt>
                <c:pt idx="51168">
                  <c:v>0.91257356875334406</c:v>
                </c:pt>
                <c:pt idx="51169">
                  <c:v>0.91259140360263902</c:v>
                </c:pt>
                <c:pt idx="51170">
                  <c:v>0.91260923845193498</c:v>
                </c:pt>
                <c:pt idx="51171">
                  <c:v>0.91262707330123005</c:v>
                </c:pt>
                <c:pt idx="51172">
                  <c:v>0.91264490815052601</c:v>
                </c:pt>
                <c:pt idx="51173">
                  <c:v>0.91266274299982098</c:v>
                </c:pt>
                <c:pt idx="51174">
                  <c:v>0.91268057784911705</c:v>
                </c:pt>
                <c:pt idx="51175">
                  <c:v>0.91269841269841201</c:v>
                </c:pt>
                <c:pt idx="51176">
                  <c:v>0.91271624754770797</c:v>
                </c:pt>
                <c:pt idx="51177">
                  <c:v>0.91273408239700304</c:v>
                </c:pt>
                <c:pt idx="51178">
                  <c:v>0.912751917246299</c:v>
                </c:pt>
                <c:pt idx="51179">
                  <c:v>0.91276975209559397</c:v>
                </c:pt>
                <c:pt idx="51180">
                  <c:v>0.91278758694489004</c:v>
                </c:pt>
                <c:pt idx="51181">
                  <c:v>0.912805421794185</c:v>
                </c:pt>
                <c:pt idx="51182">
                  <c:v>0.91282325664348096</c:v>
                </c:pt>
                <c:pt idx="51183">
                  <c:v>0.91284109149277604</c:v>
                </c:pt>
                <c:pt idx="51184">
                  <c:v>0.912858926342072</c:v>
                </c:pt>
                <c:pt idx="51185">
                  <c:v>0.91287676119136796</c:v>
                </c:pt>
                <c:pt idx="51186">
                  <c:v>0.91289459604066303</c:v>
                </c:pt>
                <c:pt idx="51187">
                  <c:v>0.91291243088995899</c:v>
                </c:pt>
                <c:pt idx="51188">
                  <c:v>0.91293026573925395</c:v>
                </c:pt>
                <c:pt idx="51189">
                  <c:v>0.91294810058855003</c:v>
                </c:pt>
                <c:pt idx="51190">
                  <c:v>0.91296593543784499</c:v>
                </c:pt>
                <c:pt idx="51191">
                  <c:v>0.91298377028714095</c:v>
                </c:pt>
                <c:pt idx="51192">
                  <c:v>0.91300160513643602</c:v>
                </c:pt>
                <c:pt idx="51193">
                  <c:v>0.91301943998573198</c:v>
                </c:pt>
                <c:pt idx="51194">
                  <c:v>0.91303727483502695</c:v>
                </c:pt>
                <c:pt idx="51195">
                  <c:v>0.91305510968432302</c:v>
                </c:pt>
                <c:pt idx="51196">
                  <c:v>0.91307294453361798</c:v>
                </c:pt>
                <c:pt idx="51197">
                  <c:v>0.91309077938291405</c:v>
                </c:pt>
                <c:pt idx="51198">
                  <c:v>0.91310861423220901</c:v>
                </c:pt>
                <c:pt idx="51199">
                  <c:v>0.91312644908150498</c:v>
                </c:pt>
                <c:pt idx="51200">
                  <c:v>0.91314428393080005</c:v>
                </c:pt>
                <c:pt idx="51201">
                  <c:v>0.91316211878009601</c:v>
                </c:pt>
                <c:pt idx="51202">
                  <c:v>0.91317995362939097</c:v>
                </c:pt>
                <c:pt idx="51203">
                  <c:v>0.91319778847868704</c:v>
                </c:pt>
                <c:pt idx="51204">
                  <c:v>0.91321562332798201</c:v>
                </c:pt>
                <c:pt idx="51205">
                  <c:v>0.91323345817727797</c:v>
                </c:pt>
                <c:pt idx="51206">
                  <c:v>0.91325129302657304</c:v>
                </c:pt>
                <c:pt idx="51207">
                  <c:v>0.913269127875869</c:v>
                </c:pt>
                <c:pt idx="51208">
                  <c:v>0.91328696272516496</c:v>
                </c:pt>
                <c:pt idx="51209">
                  <c:v>0.91330479757446004</c:v>
                </c:pt>
                <c:pt idx="51210">
                  <c:v>0.913322632423756</c:v>
                </c:pt>
                <c:pt idx="51211">
                  <c:v>0.91334046727305096</c:v>
                </c:pt>
                <c:pt idx="51212">
                  <c:v>0.91335830212234703</c:v>
                </c:pt>
                <c:pt idx="51213">
                  <c:v>0.91337613697164199</c:v>
                </c:pt>
                <c:pt idx="51214">
                  <c:v>0.91339397182093796</c:v>
                </c:pt>
                <c:pt idx="51215">
                  <c:v>0.91341180667023303</c:v>
                </c:pt>
                <c:pt idx="51216">
                  <c:v>0.91342964151952899</c:v>
                </c:pt>
                <c:pt idx="51217">
                  <c:v>0.91344747636882395</c:v>
                </c:pt>
                <c:pt idx="51218">
                  <c:v>0.91346531121812002</c:v>
                </c:pt>
                <c:pt idx="51219">
                  <c:v>0.91348314606741499</c:v>
                </c:pt>
                <c:pt idx="51220">
                  <c:v>0.91350098091671095</c:v>
                </c:pt>
                <c:pt idx="51221">
                  <c:v>0.91351881576600602</c:v>
                </c:pt>
                <c:pt idx="51222">
                  <c:v>0.91353665061530198</c:v>
                </c:pt>
                <c:pt idx="51223">
                  <c:v>0.91355448546459705</c:v>
                </c:pt>
                <c:pt idx="51224">
                  <c:v>0.91357232031389302</c:v>
                </c:pt>
                <c:pt idx="51225">
                  <c:v>0.91359015516318798</c:v>
                </c:pt>
                <c:pt idx="51226">
                  <c:v>0.91360799001248405</c:v>
                </c:pt>
                <c:pt idx="51227">
                  <c:v>0.91362582486177901</c:v>
                </c:pt>
                <c:pt idx="51228">
                  <c:v>0.91364365971107497</c:v>
                </c:pt>
                <c:pt idx="51229">
                  <c:v>0.91366149456037005</c:v>
                </c:pt>
                <c:pt idx="51230">
                  <c:v>0.91367932940966601</c:v>
                </c:pt>
                <c:pt idx="51231">
                  <c:v>0.91369716425896197</c:v>
                </c:pt>
                <c:pt idx="51232">
                  <c:v>0.91371499910825704</c:v>
                </c:pt>
                <c:pt idx="51233">
                  <c:v>0.913732833957553</c:v>
                </c:pt>
                <c:pt idx="51234">
                  <c:v>0.91375066880684797</c:v>
                </c:pt>
                <c:pt idx="51235">
                  <c:v>0.91376850365614404</c:v>
                </c:pt>
                <c:pt idx="51236">
                  <c:v>0.913786338505439</c:v>
                </c:pt>
                <c:pt idx="51237">
                  <c:v>0.91380417335473496</c:v>
                </c:pt>
                <c:pt idx="51238">
                  <c:v>0.91382200820403003</c:v>
                </c:pt>
                <c:pt idx="51239">
                  <c:v>0.913839843053326</c:v>
                </c:pt>
                <c:pt idx="51240">
                  <c:v>0.91385767790262096</c:v>
                </c:pt>
                <c:pt idx="51241">
                  <c:v>0.91387551275191703</c:v>
                </c:pt>
                <c:pt idx="51242">
                  <c:v>0.91389334760121199</c:v>
                </c:pt>
                <c:pt idx="51243">
                  <c:v>0.91391118245050795</c:v>
                </c:pt>
                <c:pt idx="51244">
                  <c:v>0.91392901729980303</c:v>
                </c:pt>
                <c:pt idx="51245">
                  <c:v>0.91394685214909899</c:v>
                </c:pt>
                <c:pt idx="51246">
                  <c:v>0.91396468699839395</c:v>
                </c:pt>
                <c:pt idx="51247">
                  <c:v>0.91398252184769002</c:v>
                </c:pt>
                <c:pt idx="51248">
                  <c:v>0.91400035669698498</c:v>
                </c:pt>
                <c:pt idx="51249">
                  <c:v>0.91401819154628094</c:v>
                </c:pt>
                <c:pt idx="51250">
                  <c:v>0.91403602639557602</c:v>
                </c:pt>
                <c:pt idx="51251">
                  <c:v>0.91405386124487198</c:v>
                </c:pt>
                <c:pt idx="51252">
                  <c:v>0.91407169609416805</c:v>
                </c:pt>
                <c:pt idx="51253">
                  <c:v>0.91408953094346301</c:v>
                </c:pt>
                <c:pt idx="51254">
                  <c:v>0.91410736579275897</c:v>
                </c:pt>
                <c:pt idx="51255">
                  <c:v>0.91412520064205405</c:v>
                </c:pt>
                <c:pt idx="51256">
                  <c:v>0.91414303549135001</c:v>
                </c:pt>
                <c:pt idx="51257">
                  <c:v>0.91416087034064497</c:v>
                </c:pt>
                <c:pt idx="51258">
                  <c:v>0.91417870518994104</c:v>
                </c:pt>
                <c:pt idx="51259">
                  <c:v>0.91419654003923601</c:v>
                </c:pt>
                <c:pt idx="51260">
                  <c:v>0.91421437488853197</c:v>
                </c:pt>
                <c:pt idx="51261">
                  <c:v>0.91423220973782704</c:v>
                </c:pt>
                <c:pt idx="51262">
                  <c:v>0.914250044587123</c:v>
                </c:pt>
                <c:pt idx="51263">
                  <c:v>0.91426787943641796</c:v>
                </c:pt>
                <c:pt idx="51264">
                  <c:v>0.91428571428571404</c:v>
                </c:pt>
                <c:pt idx="51265">
                  <c:v>0.914303549135009</c:v>
                </c:pt>
                <c:pt idx="51266">
                  <c:v>0.91432138398430496</c:v>
                </c:pt>
                <c:pt idx="51267">
                  <c:v>0.91433921883360003</c:v>
                </c:pt>
                <c:pt idx="51268">
                  <c:v>0.91435705368289599</c:v>
                </c:pt>
                <c:pt idx="51269">
                  <c:v>0.91437488853219195</c:v>
                </c:pt>
                <c:pt idx="51270">
                  <c:v>0.91439272338148703</c:v>
                </c:pt>
                <c:pt idx="51271">
                  <c:v>0.91441055823078299</c:v>
                </c:pt>
                <c:pt idx="51272">
                  <c:v>0.91442839308007795</c:v>
                </c:pt>
                <c:pt idx="51273">
                  <c:v>0.91444622792937402</c:v>
                </c:pt>
                <c:pt idx="51274">
                  <c:v>0.91446406277866898</c:v>
                </c:pt>
                <c:pt idx="51275">
                  <c:v>0.91448189762796495</c:v>
                </c:pt>
                <c:pt idx="51276">
                  <c:v>0.91449973247726002</c:v>
                </c:pt>
                <c:pt idx="51277">
                  <c:v>0.91451756732655598</c:v>
                </c:pt>
                <c:pt idx="51278">
                  <c:v>0.91453540217585105</c:v>
                </c:pt>
                <c:pt idx="51279">
                  <c:v>0.91455323702514701</c:v>
                </c:pt>
                <c:pt idx="51280">
                  <c:v>0.91457107187444198</c:v>
                </c:pt>
                <c:pt idx="51281">
                  <c:v>0.91458890672373805</c:v>
                </c:pt>
                <c:pt idx="51282">
                  <c:v>0.91460674157303301</c:v>
                </c:pt>
                <c:pt idx="51283">
                  <c:v>0.91462457642232897</c:v>
                </c:pt>
                <c:pt idx="51284">
                  <c:v>0.91464241127162405</c:v>
                </c:pt>
                <c:pt idx="51285">
                  <c:v>0.91466024612092001</c:v>
                </c:pt>
                <c:pt idx="51286">
                  <c:v>0.91467808097021497</c:v>
                </c:pt>
                <c:pt idx="51287">
                  <c:v>0.91469591581951104</c:v>
                </c:pt>
                <c:pt idx="51288">
                  <c:v>0.914713750668806</c:v>
                </c:pt>
                <c:pt idx="51289">
                  <c:v>0.91473158551810196</c:v>
                </c:pt>
                <c:pt idx="51290">
                  <c:v>0.91474942036739704</c:v>
                </c:pt>
                <c:pt idx="51291">
                  <c:v>0.914767255216693</c:v>
                </c:pt>
                <c:pt idx="51292">
                  <c:v>0.91478509006598896</c:v>
                </c:pt>
                <c:pt idx="51293">
                  <c:v>0.91480292491528403</c:v>
                </c:pt>
                <c:pt idx="51294">
                  <c:v>0.91482075976457999</c:v>
                </c:pt>
                <c:pt idx="51295">
                  <c:v>0.91483859461387496</c:v>
                </c:pt>
                <c:pt idx="51296">
                  <c:v>0.91485642946317103</c:v>
                </c:pt>
                <c:pt idx="51297">
                  <c:v>0.91487426431246599</c:v>
                </c:pt>
                <c:pt idx="51298">
                  <c:v>0.91489209916176195</c:v>
                </c:pt>
                <c:pt idx="51299">
                  <c:v>0.91490993401105702</c:v>
                </c:pt>
                <c:pt idx="51300">
                  <c:v>0.91492776886035299</c:v>
                </c:pt>
                <c:pt idx="51301">
                  <c:v>0.91494560370964795</c:v>
                </c:pt>
                <c:pt idx="51302">
                  <c:v>0.91496343855894402</c:v>
                </c:pt>
                <c:pt idx="51303">
                  <c:v>0.91498127340823898</c:v>
                </c:pt>
                <c:pt idx="51304">
                  <c:v>0.91499910825753505</c:v>
                </c:pt>
                <c:pt idx="51305">
                  <c:v>0.91501694310683002</c:v>
                </c:pt>
                <c:pt idx="51306">
                  <c:v>0.91503477795612598</c:v>
                </c:pt>
                <c:pt idx="51307">
                  <c:v>0.91505261280542105</c:v>
                </c:pt>
                <c:pt idx="51308">
                  <c:v>0.91507044765471701</c:v>
                </c:pt>
                <c:pt idx="51309">
                  <c:v>0.91508828250401197</c:v>
                </c:pt>
                <c:pt idx="51310">
                  <c:v>0.91510611735330805</c:v>
                </c:pt>
                <c:pt idx="51311">
                  <c:v>0.91512395220260301</c:v>
                </c:pt>
                <c:pt idx="51312">
                  <c:v>0.91514178705189897</c:v>
                </c:pt>
                <c:pt idx="51313">
                  <c:v>0.91515962190119404</c:v>
                </c:pt>
                <c:pt idx="51314">
                  <c:v>0.91517745675049</c:v>
                </c:pt>
                <c:pt idx="51315">
                  <c:v>0.91519529159978596</c:v>
                </c:pt>
                <c:pt idx="51316">
                  <c:v>0.91521312644908104</c:v>
                </c:pt>
                <c:pt idx="51317">
                  <c:v>0.915230961298377</c:v>
                </c:pt>
                <c:pt idx="51318">
                  <c:v>0.91524879614767196</c:v>
                </c:pt>
                <c:pt idx="51319">
                  <c:v>0.91526663099696803</c:v>
                </c:pt>
                <c:pt idx="51320">
                  <c:v>0.915284465846263</c:v>
                </c:pt>
                <c:pt idx="51321">
                  <c:v>0.91530230069555896</c:v>
                </c:pt>
                <c:pt idx="51322">
                  <c:v>0.91532013554485403</c:v>
                </c:pt>
                <c:pt idx="51323">
                  <c:v>0.91533797039414999</c:v>
                </c:pt>
                <c:pt idx="51324">
                  <c:v>0.91535580524344495</c:v>
                </c:pt>
                <c:pt idx="51325">
                  <c:v>0.91537364009274103</c:v>
                </c:pt>
                <c:pt idx="51326">
                  <c:v>0.91539147494203599</c:v>
                </c:pt>
                <c:pt idx="51327">
                  <c:v>0.91540930979133195</c:v>
                </c:pt>
                <c:pt idx="51328">
                  <c:v>0.91542714464062702</c:v>
                </c:pt>
                <c:pt idx="51329">
                  <c:v>0.91544497948992298</c:v>
                </c:pt>
                <c:pt idx="51330">
                  <c:v>0.91546281433921795</c:v>
                </c:pt>
                <c:pt idx="51331">
                  <c:v>0.91548064918851402</c:v>
                </c:pt>
                <c:pt idx="51332">
                  <c:v>0.91549848403780898</c:v>
                </c:pt>
                <c:pt idx="51333">
                  <c:v>0.91551631888710505</c:v>
                </c:pt>
                <c:pt idx="51334">
                  <c:v>0.91553415373640001</c:v>
                </c:pt>
                <c:pt idx="51335">
                  <c:v>0.91555198858569597</c:v>
                </c:pt>
                <c:pt idx="51336">
                  <c:v>0.91556982343499105</c:v>
                </c:pt>
                <c:pt idx="51337">
                  <c:v>0.91558765828428701</c:v>
                </c:pt>
                <c:pt idx="51338">
                  <c:v>0.91560549313358297</c:v>
                </c:pt>
                <c:pt idx="51339">
                  <c:v>0.91562332798287804</c:v>
                </c:pt>
                <c:pt idx="51340">
                  <c:v>0.915641162832174</c:v>
                </c:pt>
                <c:pt idx="51341">
                  <c:v>0.91565899768146897</c:v>
                </c:pt>
                <c:pt idx="51342">
                  <c:v>0.91567683253076504</c:v>
                </c:pt>
                <c:pt idx="51343">
                  <c:v>0.91569466738006</c:v>
                </c:pt>
                <c:pt idx="51344">
                  <c:v>0.91571250222935596</c:v>
                </c:pt>
                <c:pt idx="51345">
                  <c:v>0.91573033707865104</c:v>
                </c:pt>
                <c:pt idx="51346">
                  <c:v>0.915748171927947</c:v>
                </c:pt>
                <c:pt idx="51347">
                  <c:v>0.91576600677724196</c:v>
                </c:pt>
                <c:pt idx="51348">
                  <c:v>0.91578384162653803</c:v>
                </c:pt>
                <c:pt idx="51349">
                  <c:v>0.91580167647583299</c:v>
                </c:pt>
                <c:pt idx="51350">
                  <c:v>0.91581951132512895</c:v>
                </c:pt>
                <c:pt idx="51351">
                  <c:v>0.91583734617442403</c:v>
                </c:pt>
                <c:pt idx="51352">
                  <c:v>0.91585518102371999</c:v>
                </c:pt>
                <c:pt idx="51353">
                  <c:v>0.91587301587301495</c:v>
                </c:pt>
                <c:pt idx="51354">
                  <c:v>0.91589085072231102</c:v>
                </c:pt>
                <c:pt idx="51355">
                  <c:v>0.91590868557160598</c:v>
                </c:pt>
                <c:pt idx="51356">
                  <c:v>0.91592652042090195</c:v>
                </c:pt>
                <c:pt idx="51357">
                  <c:v>0.91594435527019802</c:v>
                </c:pt>
                <c:pt idx="51358">
                  <c:v>0.91596219011949298</c:v>
                </c:pt>
                <c:pt idx="51359">
                  <c:v>0.91598002496878905</c:v>
                </c:pt>
                <c:pt idx="51360">
                  <c:v>0.91599785981808401</c:v>
                </c:pt>
                <c:pt idx="51361">
                  <c:v>0.91601569466737998</c:v>
                </c:pt>
                <c:pt idx="51362">
                  <c:v>0.91603352951667505</c:v>
                </c:pt>
                <c:pt idx="51363">
                  <c:v>0.91605136436597101</c:v>
                </c:pt>
                <c:pt idx="51364">
                  <c:v>0.91606919921526597</c:v>
                </c:pt>
                <c:pt idx="51365">
                  <c:v>0.91608703406456204</c:v>
                </c:pt>
                <c:pt idx="51366">
                  <c:v>0.91610486891385701</c:v>
                </c:pt>
                <c:pt idx="51367">
                  <c:v>0.91612270376315297</c:v>
                </c:pt>
                <c:pt idx="51368">
                  <c:v>0.91614053861244804</c:v>
                </c:pt>
                <c:pt idx="51369">
                  <c:v>0.916158373461744</c:v>
                </c:pt>
                <c:pt idx="51370">
                  <c:v>0.91617620831103896</c:v>
                </c:pt>
                <c:pt idx="51371">
                  <c:v>0.91619404316033504</c:v>
                </c:pt>
                <c:pt idx="51372">
                  <c:v>0.91621187800963</c:v>
                </c:pt>
                <c:pt idx="51373">
                  <c:v>0.91622971285892596</c:v>
                </c:pt>
                <c:pt idx="51374">
                  <c:v>0.91624754770822103</c:v>
                </c:pt>
                <c:pt idx="51375">
                  <c:v>0.91626538255751699</c:v>
                </c:pt>
                <c:pt idx="51376">
                  <c:v>0.91628321740681296</c:v>
                </c:pt>
                <c:pt idx="51377">
                  <c:v>0.91630105225610803</c:v>
                </c:pt>
                <c:pt idx="51378">
                  <c:v>0.91631888710540399</c:v>
                </c:pt>
                <c:pt idx="51379">
                  <c:v>0.91633672195469895</c:v>
                </c:pt>
                <c:pt idx="51380">
                  <c:v>0.91635455680399502</c:v>
                </c:pt>
                <c:pt idx="51381">
                  <c:v>0.91637239165328999</c:v>
                </c:pt>
                <c:pt idx="51382">
                  <c:v>0.91639022650258595</c:v>
                </c:pt>
                <c:pt idx="51383">
                  <c:v>0.91640806135188102</c:v>
                </c:pt>
                <c:pt idx="51384">
                  <c:v>0.91642589620117698</c:v>
                </c:pt>
                <c:pt idx="51385">
                  <c:v>0.91644373105047205</c:v>
                </c:pt>
                <c:pt idx="51386">
                  <c:v>0.91646156589976802</c:v>
                </c:pt>
                <c:pt idx="51387">
                  <c:v>0.91647940074906298</c:v>
                </c:pt>
                <c:pt idx="51388">
                  <c:v>0.91649723559835905</c:v>
                </c:pt>
                <c:pt idx="51389">
                  <c:v>0.91651507044765401</c:v>
                </c:pt>
                <c:pt idx="51390">
                  <c:v>0.91653290529694997</c:v>
                </c:pt>
                <c:pt idx="51391">
                  <c:v>0.91655074014624505</c:v>
                </c:pt>
                <c:pt idx="51392">
                  <c:v>0.91656857499554101</c:v>
                </c:pt>
                <c:pt idx="51393">
                  <c:v>0.91658640984483597</c:v>
                </c:pt>
                <c:pt idx="51394">
                  <c:v>0.91660424469413204</c:v>
                </c:pt>
                <c:pt idx="51395">
                  <c:v>0.916622079543427</c:v>
                </c:pt>
                <c:pt idx="51396">
                  <c:v>0.91663991439272297</c:v>
                </c:pt>
                <c:pt idx="51397">
                  <c:v>0.91665774924201804</c:v>
                </c:pt>
                <c:pt idx="51398">
                  <c:v>0.916675584091314</c:v>
                </c:pt>
                <c:pt idx="51399">
                  <c:v>0.91669341894060996</c:v>
                </c:pt>
                <c:pt idx="51400">
                  <c:v>0.91671125378990503</c:v>
                </c:pt>
                <c:pt idx="51401">
                  <c:v>0.916729088639201</c:v>
                </c:pt>
                <c:pt idx="51402">
                  <c:v>0.91674692348849596</c:v>
                </c:pt>
                <c:pt idx="51403">
                  <c:v>0.91676475833779203</c:v>
                </c:pt>
                <c:pt idx="51404">
                  <c:v>0.91678259318708699</c:v>
                </c:pt>
                <c:pt idx="51405">
                  <c:v>0.91680042803638295</c:v>
                </c:pt>
                <c:pt idx="51406">
                  <c:v>0.91681826288567803</c:v>
                </c:pt>
                <c:pt idx="51407">
                  <c:v>0.91683609773497399</c:v>
                </c:pt>
                <c:pt idx="51408">
                  <c:v>0.91685393258426895</c:v>
                </c:pt>
                <c:pt idx="51409">
                  <c:v>0.91687176743356502</c:v>
                </c:pt>
                <c:pt idx="51410">
                  <c:v>0.91688960228285998</c:v>
                </c:pt>
                <c:pt idx="51411">
                  <c:v>0.91690743713215594</c:v>
                </c:pt>
                <c:pt idx="51412">
                  <c:v>0.91692527198145102</c:v>
                </c:pt>
                <c:pt idx="51413">
                  <c:v>0.91694310683074698</c:v>
                </c:pt>
                <c:pt idx="51414">
                  <c:v>0.91696094168004205</c:v>
                </c:pt>
                <c:pt idx="51415">
                  <c:v>0.91697877652933801</c:v>
                </c:pt>
                <c:pt idx="51416">
                  <c:v>0.91699661137863298</c:v>
                </c:pt>
                <c:pt idx="51417">
                  <c:v>0.91701444622792905</c:v>
                </c:pt>
                <c:pt idx="51418">
                  <c:v>0.91703228107722401</c:v>
                </c:pt>
                <c:pt idx="51419">
                  <c:v>0.91705011592651997</c:v>
                </c:pt>
                <c:pt idx="51420">
                  <c:v>0.91706795077581504</c:v>
                </c:pt>
                <c:pt idx="51421">
                  <c:v>0.91708578562511101</c:v>
                </c:pt>
                <c:pt idx="51422">
                  <c:v>0.91710362047440697</c:v>
                </c:pt>
                <c:pt idx="51423">
                  <c:v>0.91712145532370204</c:v>
                </c:pt>
                <c:pt idx="51424">
                  <c:v>0.917139290172998</c:v>
                </c:pt>
                <c:pt idx="51425">
                  <c:v>0.91715712502229296</c:v>
                </c:pt>
                <c:pt idx="51426">
                  <c:v>0.91717495987158904</c:v>
                </c:pt>
                <c:pt idx="51427">
                  <c:v>0.917192794720884</c:v>
                </c:pt>
                <c:pt idx="51428">
                  <c:v>0.91721062957017996</c:v>
                </c:pt>
                <c:pt idx="51429">
                  <c:v>0.91722846441947503</c:v>
                </c:pt>
                <c:pt idx="51430">
                  <c:v>0.91724629926877099</c:v>
                </c:pt>
                <c:pt idx="51431">
                  <c:v>0.91726413411806595</c:v>
                </c:pt>
                <c:pt idx="51432">
                  <c:v>0.91728196896736203</c:v>
                </c:pt>
                <c:pt idx="51433">
                  <c:v>0.91729980381665699</c:v>
                </c:pt>
                <c:pt idx="51434">
                  <c:v>0.91731763866595295</c:v>
                </c:pt>
                <c:pt idx="51435">
                  <c:v>0.91733547351524802</c:v>
                </c:pt>
                <c:pt idx="51436">
                  <c:v>0.91735330836454398</c:v>
                </c:pt>
                <c:pt idx="51437">
                  <c:v>0.91737114321383895</c:v>
                </c:pt>
                <c:pt idx="51438">
                  <c:v>0.91738897806313502</c:v>
                </c:pt>
                <c:pt idx="51439">
                  <c:v>0.91740681291242998</c:v>
                </c:pt>
                <c:pt idx="51440">
                  <c:v>0.91742464776172605</c:v>
                </c:pt>
                <c:pt idx="51441">
                  <c:v>0.91744248261102102</c:v>
                </c:pt>
                <c:pt idx="51442">
                  <c:v>0.91746031746031698</c:v>
                </c:pt>
                <c:pt idx="51443">
                  <c:v>0.91747815230961205</c:v>
                </c:pt>
                <c:pt idx="51444">
                  <c:v>0.91749598715890801</c:v>
                </c:pt>
                <c:pt idx="51445">
                  <c:v>0.91751382200820397</c:v>
                </c:pt>
                <c:pt idx="51446">
                  <c:v>0.91753165685749905</c:v>
                </c:pt>
                <c:pt idx="51447">
                  <c:v>0.91754949170679501</c:v>
                </c:pt>
                <c:pt idx="51448">
                  <c:v>0.91756732655608997</c:v>
                </c:pt>
                <c:pt idx="51449">
                  <c:v>0.91758516140538604</c:v>
                </c:pt>
                <c:pt idx="51450">
                  <c:v>0.917602996254681</c:v>
                </c:pt>
                <c:pt idx="51451">
                  <c:v>0.91762083110397696</c:v>
                </c:pt>
                <c:pt idx="51452">
                  <c:v>0.91763866595327204</c:v>
                </c:pt>
                <c:pt idx="51453">
                  <c:v>0.917656500802568</c:v>
                </c:pt>
                <c:pt idx="51454">
                  <c:v>0.91767433565186296</c:v>
                </c:pt>
                <c:pt idx="51455">
                  <c:v>0.91769217050115903</c:v>
                </c:pt>
                <c:pt idx="51456">
                  <c:v>0.91771000535045399</c:v>
                </c:pt>
                <c:pt idx="51457">
                  <c:v>0.91772784019974996</c:v>
                </c:pt>
                <c:pt idx="51458">
                  <c:v>0.91774567504904503</c:v>
                </c:pt>
                <c:pt idx="51459">
                  <c:v>0.91776350989834099</c:v>
                </c:pt>
                <c:pt idx="51460">
                  <c:v>0.91778134474763595</c:v>
                </c:pt>
                <c:pt idx="51461">
                  <c:v>0.91779917959693202</c:v>
                </c:pt>
                <c:pt idx="51462">
                  <c:v>0.91781701444622699</c:v>
                </c:pt>
                <c:pt idx="51463">
                  <c:v>0.91783484929552295</c:v>
                </c:pt>
                <c:pt idx="51464">
                  <c:v>0.91785268414481902</c:v>
                </c:pt>
                <c:pt idx="51465">
                  <c:v>0.91787051899411398</c:v>
                </c:pt>
                <c:pt idx="51466">
                  <c:v>0.91788835384341005</c:v>
                </c:pt>
                <c:pt idx="51467">
                  <c:v>0.91790618869270502</c:v>
                </c:pt>
                <c:pt idx="51468">
                  <c:v>0.91792402354200098</c:v>
                </c:pt>
                <c:pt idx="51469">
                  <c:v>0.91794185839129605</c:v>
                </c:pt>
                <c:pt idx="51470">
                  <c:v>0.91795969324059201</c:v>
                </c:pt>
                <c:pt idx="51471">
                  <c:v>0.91797752808988697</c:v>
                </c:pt>
                <c:pt idx="51472">
                  <c:v>0.91799536293918305</c:v>
                </c:pt>
                <c:pt idx="51473">
                  <c:v>0.91801319778847801</c:v>
                </c:pt>
                <c:pt idx="51474">
                  <c:v>0.91803103263777397</c:v>
                </c:pt>
                <c:pt idx="51475">
                  <c:v>0.91804886748706904</c:v>
                </c:pt>
                <c:pt idx="51476">
                  <c:v>0.918066702336365</c:v>
                </c:pt>
                <c:pt idx="51477">
                  <c:v>0.91808453718565997</c:v>
                </c:pt>
                <c:pt idx="51478">
                  <c:v>0.91810237203495604</c:v>
                </c:pt>
                <c:pt idx="51479">
                  <c:v>0.918120206884251</c:v>
                </c:pt>
                <c:pt idx="51480">
                  <c:v>0.91813804173354696</c:v>
                </c:pt>
                <c:pt idx="51481">
                  <c:v>0.91815587658284203</c:v>
                </c:pt>
                <c:pt idx="51482">
                  <c:v>0.918173711432138</c:v>
                </c:pt>
                <c:pt idx="51483">
                  <c:v>0.91819154628143396</c:v>
                </c:pt>
                <c:pt idx="51484">
                  <c:v>0.91820938113072903</c:v>
                </c:pt>
                <c:pt idx="51485">
                  <c:v>0.91822721598002499</c:v>
                </c:pt>
                <c:pt idx="51486">
                  <c:v>0.91824505082931995</c:v>
                </c:pt>
                <c:pt idx="51487">
                  <c:v>0.91826288567861603</c:v>
                </c:pt>
                <c:pt idx="51488">
                  <c:v>0.91828072052791099</c:v>
                </c:pt>
                <c:pt idx="51489">
                  <c:v>0.91829855537720695</c:v>
                </c:pt>
                <c:pt idx="51490">
                  <c:v>0.91831639022650202</c:v>
                </c:pt>
                <c:pt idx="51491">
                  <c:v>0.91833422507579798</c:v>
                </c:pt>
                <c:pt idx="51492">
                  <c:v>0.91835205992509295</c:v>
                </c:pt>
                <c:pt idx="51493">
                  <c:v>0.91836989477438902</c:v>
                </c:pt>
                <c:pt idx="51494">
                  <c:v>0.91838772962368398</c:v>
                </c:pt>
                <c:pt idx="51495">
                  <c:v>0.91840556447298005</c:v>
                </c:pt>
                <c:pt idx="51496">
                  <c:v>0.91842339932227501</c:v>
                </c:pt>
                <c:pt idx="51497">
                  <c:v>0.91844123417157097</c:v>
                </c:pt>
                <c:pt idx="51498">
                  <c:v>0.91845906902086605</c:v>
                </c:pt>
                <c:pt idx="51499">
                  <c:v>0.91847690387016201</c:v>
                </c:pt>
                <c:pt idx="51500">
                  <c:v>0.91849473871945697</c:v>
                </c:pt>
                <c:pt idx="51501">
                  <c:v>0.91851257356875304</c:v>
                </c:pt>
                <c:pt idx="51502">
                  <c:v>0.91853040841804801</c:v>
                </c:pt>
                <c:pt idx="51503">
                  <c:v>0.91854824326734397</c:v>
                </c:pt>
                <c:pt idx="51504">
                  <c:v>0.91856607811663904</c:v>
                </c:pt>
                <c:pt idx="51505">
                  <c:v>0.918583912965935</c:v>
                </c:pt>
                <c:pt idx="51506">
                  <c:v>0.91860174781523096</c:v>
                </c:pt>
                <c:pt idx="51507">
                  <c:v>0.91861958266452604</c:v>
                </c:pt>
                <c:pt idx="51508">
                  <c:v>0.918637417513822</c:v>
                </c:pt>
                <c:pt idx="51509">
                  <c:v>0.91865525236311696</c:v>
                </c:pt>
                <c:pt idx="51510">
                  <c:v>0.91867308721241303</c:v>
                </c:pt>
                <c:pt idx="51511">
                  <c:v>0.91869092206170799</c:v>
                </c:pt>
                <c:pt idx="51512">
                  <c:v>0.91870875691100395</c:v>
                </c:pt>
                <c:pt idx="51513">
                  <c:v>0.91872659176029903</c:v>
                </c:pt>
                <c:pt idx="51514">
                  <c:v>0.91874442660959499</c:v>
                </c:pt>
                <c:pt idx="51515">
                  <c:v>0.91876226145888995</c:v>
                </c:pt>
                <c:pt idx="51516">
                  <c:v>0.91878009630818602</c:v>
                </c:pt>
                <c:pt idx="51517">
                  <c:v>0.91879793115748098</c:v>
                </c:pt>
                <c:pt idx="51518">
                  <c:v>0.91881576600677695</c:v>
                </c:pt>
                <c:pt idx="51519">
                  <c:v>0.91883360085607202</c:v>
                </c:pt>
                <c:pt idx="51520">
                  <c:v>0.91885143570536798</c:v>
                </c:pt>
                <c:pt idx="51521">
                  <c:v>0.91886927055466305</c:v>
                </c:pt>
                <c:pt idx="51522">
                  <c:v>0.91888710540395901</c:v>
                </c:pt>
                <c:pt idx="51523">
                  <c:v>0.91890494025325398</c:v>
                </c:pt>
                <c:pt idx="51524">
                  <c:v>0.91892277510255005</c:v>
                </c:pt>
                <c:pt idx="51525">
                  <c:v>0.91894060995184501</c:v>
                </c:pt>
                <c:pt idx="51526">
                  <c:v>0.91895844480114097</c:v>
                </c:pt>
                <c:pt idx="51527">
                  <c:v>0.91897627965043605</c:v>
                </c:pt>
                <c:pt idx="51528">
                  <c:v>0.91899411449973201</c:v>
                </c:pt>
                <c:pt idx="51529">
                  <c:v>0.91901194934902797</c:v>
                </c:pt>
                <c:pt idx="51530">
                  <c:v>0.91902978419832304</c:v>
                </c:pt>
                <c:pt idx="51531">
                  <c:v>0.919047619047619</c:v>
                </c:pt>
                <c:pt idx="51532">
                  <c:v>0.91906545389691396</c:v>
                </c:pt>
                <c:pt idx="51533">
                  <c:v>0.91908328874621004</c:v>
                </c:pt>
                <c:pt idx="51534">
                  <c:v>0.919101123595505</c:v>
                </c:pt>
                <c:pt idx="51535">
                  <c:v>0.91911895844480096</c:v>
                </c:pt>
                <c:pt idx="51536">
                  <c:v>0.91913679329409603</c:v>
                </c:pt>
                <c:pt idx="51537">
                  <c:v>0.91915462814339199</c:v>
                </c:pt>
                <c:pt idx="51538">
                  <c:v>0.91917246299268696</c:v>
                </c:pt>
                <c:pt idx="51539">
                  <c:v>0.91919029784198303</c:v>
                </c:pt>
                <c:pt idx="51540">
                  <c:v>0.91920813269127799</c:v>
                </c:pt>
                <c:pt idx="51541">
                  <c:v>0.91922596754057395</c:v>
                </c:pt>
                <c:pt idx="51542">
                  <c:v>0.91924380238986902</c:v>
                </c:pt>
                <c:pt idx="51543">
                  <c:v>0.91926163723916499</c:v>
                </c:pt>
                <c:pt idx="51544">
                  <c:v>0.91927947208845995</c:v>
                </c:pt>
                <c:pt idx="51545">
                  <c:v>0.91929730693775602</c:v>
                </c:pt>
                <c:pt idx="51546">
                  <c:v>0.91931514178705098</c:v>
                </c:pt>
                <c:pt idx="51547">
                  <c:v>0.91933297663634705</c:v>
                </c:pt>
                <c:pt idx="51548">
                  <c:v>0.91935081148564202</c:v>
                </c:pt>
                <c:pt idx="51549">
                  <c:v>0.91936864633493798</c:v>
                </c:pt>
                <c:pt idx="51550">
                  <c:v>0.91938648118423305</c:v>
                </c:pt>
                <c:pt idx="51551">
                  <c:v>0.91940431603352901</c:v>
                </c:pt>
                <c:pt idx="51552">
                  <c:v>0.91942215088282497</c:v>
                </c:pt>
                <c:pt idx="51553">
                  <c:v>0.91943998573212005</c:v>
                </c:pt>
                <c:pt idx="51554">
                  <c:v>0.91945782058141601</c:v>
                </c:pt>
                <c:pt idx="51555">
                  <c:v>0.91947565543071097</c:v>
                </c:pt>
                <c:pt idx="51556">
                  <c:v>0.91949349028000704</c:v>
                </c:pt>
                <c:pt idx="51557">
                  <c:v>0.919511325129302</c:v>
                </c:pt>
                <c:pt idx="51558">
                  <c:v>0.91952915997859797</c:v>
                </c:pt>
                <c:pt idx="51559">
                  <c:v>0.91954699482789304</c:v>
                </c:pt>
                <c:pt idx="51560">
                  <c:v>0.919564829677189</c:v>
                </c:pt>
                <c:pt idx="51561">
                  <c:v>0.91958266452648396</c:v>
                </c:pt>
                <c:pt idx="51562">
                  <c:v>0.91960049937578003</c:v>
                </c:pt>
                <c:pt idx="51563">
                  <c:v>0.919618334225075</c:v>
                </c:pt>
                <c:pt idx="51564">
                  <c:v>0.91963616907437096</c:v>
                </c:pt>
                <c:pt idx="51565">
                  <c:v>0.91965400392366603</c:v>
                </c:pt>
                <c:pt idx="51566">
                  <c:v>0.91967183877296199</c:v>
                </c:pt>
                <c:pt idx="51567">
                  <c:v>0.91968967362225695</c:v>
                </c:pt>
                <c:pt idx="51568">
                  <c:v>0.91970750847155303</c:v>
                </c:pt>
                <c:pt idx="51569">
                  <c:v>0.91972534332084899</c:v>
                </c:pt>
                <c:pt idx="51570">
                  <c:v>0.91974317817014395</c:v>
                </c:pt>
                <c:pt idx="51571">
                  <c:v>0.91976101301944002</c:v>
                </c:pt>
                <c:pt idx="51572">
                  <c:v>0.91977884786873498</c:v>
                </c:pt>
                <c:pt idx="51573">
                  <c:v>0.91979668271803094</c:v>
                </c:pt>
                <c:pt idx="51574">
                  <c:v>0.91981451756732602</c:v>
                </c:pt>
                <c:pt idx="51575">
                  <c:v>0.91983235241662198</c:v>
                </c:pt>
                <c:pt idx="51576">
                  <c:v>0.91985018726591705</c:v>
                </c:pt>
                <c:pt idx="51577">
                  <c:v>0.91986802211521301</c:v>
                </c:pt>
                <c:pt idx="51578">
                  <c:v>0.91988585696450798</c:v>
                </c:pt>
                <c:pt idx="51579">
                  <c:v>0.91990369181380405</c:v>
                </c:pt>
                <c:pt idx="51580">
                  <c:v>0.91992152666309901</c:v>
                </c:pt>
                <c:pt idx="51581">
                  <c:v>0.91993936151239497</c:v>
                </c:pt>
                <c:pt idx="51582">
                  <c:v>0.91995719636169004</c:v>
                </c:pt>
                <c:pt idx="51583">
                  <c:v>0.91997503121098601</c:v>
                </c:pt>
                <c:pt idx="51584">
                  <c:v>0.91999286606028097</c:v>
                </c:pt>
                <c:pt idx="51585">
                  <c:v>0.92001070090957704</c:v>
                </c:pt>
                <c:pt idx="51586">
                  <c:v>0.920028535758872</c:v>
                </c:pt>
                <c:pt idx="51587">
                  <c:v>0.92004637060816796</c:v>
                </c:pt>
                <c:pt idx="51588">
                  <c:v>0.92006420545746304</c:v>
                </c:pt>
                <c:pt idx="51589">
                  <c:v>0.920082040306759</c:v>
                </c:pt>
                <c:pt idx="51590">
                  <c:v>0.92009987515605496</c:v>
                </c:pt>
                <c:pt idx="51591">
                  <c:v>0.92011771000535003</c:v>
                </c:pt>
                <c:pt idx="51592">
                  <c:v>0.92013554485464599</c:v>
                </c:pt>
                <c:pt idx="51593">
                  <c:v>0.92015337970394095</c:v>
                </c:pt>
                <c:pt idx="51594">
                  <c:v>0.92017121455323703</c:v>
                </c:pt>
                <c:pt idx="51595">
                  <c:v>0.92018904940253199</c:v>
                </c:pt>
                <c:pt idx="51596">
                  <c:v>0.92020688425182795</c:v>
                </c:pt>
                <c:pt idx="51597">
                  <c:v>0.92022471910112302</c:v>
                </c:pt>
                <c:pt idx="51598">
                  <c:v>0.92024255395041898</c:v>
                </c:pt>
                <c:pt idx="51599">
                  <c:v>0.92026038879971395</c:v>
                </c:pt>
                <c:pt idx="51600">
                  <c:v>0.92027822364901002</c:v>
                </c:pt>
                <c:pt idx="51601">
                  <c:v>0.92029605849830498</c:v>
                </c:pt>
                <c:pt idx="51602">
                  <c:v>0.92031389334760105</c:v>
                </c:pt>
                <c:pt idx="51603">
                  <c:v>0.92033172819689602</c:v>
                </c:pt>
                <c:pt idx="51604">
                  <c:v>0.92034956304619198</c:v>
                </c:pt>
                <c:pt idx="51605">
                  <c:v>0.92036739789548705</c:v>
                </c:pt>
                <c:pt idx="51606">
                  <c:v>0.92038523274478301</c:v>
                </c:pt>
                <c:pt idx="51607">
                  <c:v>0.92040306759407797</c:v>
                </c:pt>
                <c:pt idx="51608">
                  <c:v>0.92042090244337404</c:v>
                </c:pt>
                <c:pt idx="51609">
                  <c:v>0.92043873729266901</c:v>
                </c:pt>
                <c:pt idx="51610">
                  <c:v>0.92045657214196497</c:v>
                </c:pt>
                <c:pt idx="51611">
                  <c:v>0.92047440699126004</c:v>
                </c:pt>
                <c:pt idx="51612">
                  <c:v>0.920492241840556</c:v>
                </c:pt>
                <c:pt idx="51613">
                  <c:v>0.92051007668985196</c:v>
                </c:pt>
                <c:pt idx="51614">
                  <c:v>0.92052791153914704</c:v>
                </c:pt>
                <c:pt idx="51615">
                  <c:v>0.920545746388443</c:v>
                </c:pt>
                <c:pt idx="51616">
                  <c:v>0.92056358123773796</c:v>
                </c:pt>
                <c:pt idx="51617">
                  <c:v>0.92058141608703403</c:v>
                </c:pt>
                <c:pt idx="51618">
                  <c:v>0.92059925093632899</c:v>
                </c:pt>
                <c:pt idx="51619">
                  <c:v>0.92061708578562496</c:v>
                </c:pt>
                <c:pt idx="51620">
                  <c:v>0.92063492063492003</c:v>
                </c:pt>
                <c:pt idx="51621">
                  <c:v>0.92065275548421599</c:v>
                </c:pt>
                <c:pt idx="51622">
                  <c:v>0.92067059033351095</c:v>
                </c:pt>
                <c:pt idx="51623">
                  <c:v>0.92068842518280702</c:v>
                </c:pt>
                <c:pt idx="51624">
                  <c:v>0.92070626003210199</c:v>
                </c:pt>
                <c:pt idx="51625">
                  <c:v>0.92072409488139795</c:v>
                </c:pt>
                <c:pt idx="51626">
                  <c:v>0.92074192973069302</c:v>
                </c:pt>
                <c:pt idx="51627">
                  <c:v>0.92075976457998898</c:v>
                </c:pt>
                <c:pt idx="51628">
                  <c:v>0.92077759942928405</c:v>
                </c:pt>
                <c:pt idx="51629">
                  <c:v>0.92079543427858002</c:v>
                </c:pt>
                <c:pt idx="51630">
                  <c:v>0.92081326912787498</c:v>
                </c:pt>
                <c:pt idx="51631">
                  <c:v>0.92083110397717105</c:v>
                </c:pt>
                <c:pt idx="51632">
                  <c:v>0.92084893882646601</c:v>
                </c:pt>
                <c:pt idx="51633">
                  <c:v>0.92086677367576197</c:v>
                </c:pt>
                <c:pt idx="51634">
                  <c:v>0.92088460852505705</c:v>
                </c:pt>
                <c:pt idx="51635">
                  <c:v>0.92090244337435301</c:v>
                </c:pt>
                <c:pt idx="51636">
                  <c:v>0.92092027822364897</c:v>
                </c:pt>
                <c:pt idx="51637">
                  <c:v>0.92093811307294404</c:v>
                </c:pt>
                <c:pt idx="51638">
                  <c:v>0.92095594792224</c:v>
                </c:pt>
                <c:pt idx="51639">
                  <c:v>0.92097378277153497</c:v>
                </c:pt>
                <c:pt idx="51640">
                  <c:v>0.92099161762083104</c:v>
                </c:pt>
                <c:pt idx="51641">
                  <c:v>0.921009452470126</c:v>
                </c:pt>
                <c:pt idx="51642">
                  <c:v>0.92102728731942196</c:v>
                </c:pt>
                <c:pt idx="51643">
                  <c:v>0.92104512216871703</c:v>
                </c:pt>
                <c:pt idx="51644">
                  <c:v>0.921062957018013</c:v>
                </c:pt>
                <c:pt idx="51645">
                  <c:v>0.92108079186730796</c:v>
                </c:pt>
                <c:pt idx="51646">
                  <c:v>0.92109862671660403</c:v>
                </c:pt>
                <c:pt idx="51647">
                  <c:v>0.92111646156589899</c:v>
                </c:pt>
                <c:pt idx="51648">
                  <c:v>0.92113429641519495</c:v>
                </c:pt>
                <c:pt idx="51649">
                  <c:v>0.92115213126449003</c:v>
                </c:pt>
                <c:pt idx="51650">
                  <c:v>0.92116996611378599</c:v>
                </c:pt>
                <c:pt idx="51651">
                  <c:v>0.92118780096308095</c:v>
                </c:pt>
                <c:pt idx="51652">
                  <c:v>0.92120563581237702</c:v>
                </c:pt>
                <c:pt idx="51653">
                  <c:v>0.92122347066167198</c:v>
                </c:pt>
                <c:pt idx="51654">
                  <c:v>0.92124130551096794</c:v>
                </c:pt>
                <c:pt idx="51655">
                  <c:v>0.92125914036026302</c:v>
                </c:pt>
                <c:pt idx="51656">
                  <c:v>0.92127697520955898</c:v>
                </c:pt>
                <c:pt idx="51657">
                  <c:v>0.92129481005885505</c:v>
                </c:pt>
                <c:pt idx="51658">
                  <c:v>0.92131264490815001</c:v>
                </c:pt>
                <c:pt idx="51659">
                  <c:v>0.92133047975744597</c:v>
                </c:pt>
                <c:pt idx="51660">
                  <c:v>0.92134831460674105</c:v>
                </c:pt>
                <c:pt idx="51661">
                  <c:v>0.92136614945603701</c:v>
                </c:pt>
                <c:pt idx="51662">
                  <c:v>0.92138398430533197</c:v>
                </c:pt>
                <c:pt idx="51663">
                  <c:v>0.92140181915462804</c:v>
                </c:pt>
                <c:pt idx="51664">
                  <c:v>0.92141965400392301</c:v>
                </c:pt>
                <c:pt idx="51665">
                  <c:v>0.92143748885321897</c:v>
                </c:pt>
                <c:pt idx="51666">
                  <c:v>0.92145532370251404</c:v>
                </c:pt>
                <c:pt idx="51667">
                  <c:v>0.92147315855181</c:v>
                </c:pt>
                <c:pt idx="51668">
                  <c:v>0.92149099340110496</c:v>
                </c:pt>
                <c:pt idx="51669">
                  <c:v>0.92150882825040104</c:v>
                </c:pt>
                <c:pt idx="51670">
                  <c:v>0.921526663099696</c:v>
                </c:pt>
                <c:pt idx="51671">
                  <c:v>0.92154449794899196</c:v>
                </c:pt>
                <c:pt idx="51672">
                  <c:v>0.92156233279828703</c:v>
                </c:pt>
                <c:pt idx="51673">
                  <c:v>0.92158016764758299</c:v>
                </c:pt>
                <c:pt idx="51674">
                  <c:v>0.92159800249687895</c:v>
                </c:pt>
                <c:pt idx="51675">
                  <c:v>0.92161583734617403</c:v>
                </c:pt>
                <c:pt idx="51676">
                  <c:v>0.92163367219546999</c:v>
                </c:pt>
                <c:pt idx="51677">
                  <c:v>0.92165150704476495</c:v>
                </c:pt>
                <c:pt idx="51678">
                  <c:v>0.92166934189406102</c:v>
                </c:pt>
                <c:pt idx="51679">
                  <c:v>0.92168717674335598</c:v>
                </c:pt>
                <c:pt idx="51680">
                  <c:v>0.92170501159265195</c:v>
                </c:pt>
                <c:pt idx="51681">
                  <c:v>0.92172284644194702</c:v>
                </c:pt>
                <c:pt idx="51682">
                  <c:v>0.92174068129124298</c:v>
                </c:pt>
                <c:pt idx="51683">
                  <c:v>0.92175851614053805</c:v>
                </c:pt>
                <c:pt idx="51684">
                  <c:v>0.92177635098983401</c:v>
                </c:pt>
                <c:pt idx="51685">
                  <c:v>0.92179418583912898</c:v>
                </c:pt>
                <c:pt idx="51686">
                  <c:v>0.92181202068842505</c:v>
                </c:pt>
                <c:pt idx="51687">
                  <c:v>0.92182985553772001</c:v>
                </c:pt>
                <c:pt idx="51688">
                  <c:v>0.92184769038701597</c:v>
                </c:pt>
                <c:pt idx="51689">
                  <c:v>0.92186552523631105</c:v>
                </c:pt>
                <c:pt idx="51690">
                  <c:v>0.92188336008560701</c:v>
                </c:pt>
                <c:pt idx="51691">
                  <c:v>0.92190119493490197</c:v>
                </c:pt>
                <c:pt idx="51692">
                  <c:v>0.92191902978419804</c:v>
                </c:pt>
                <c:pt idx="51693">
                  <c:v>0.921936864633493</c:v>
                </c:pt>
                <c:pt idx="51694">
                  <c:v>0.92195469948278896</c:v>
                </c:pt>
                <c:pt idx="51695">
                  <c:v>0.92197253433208404</c:v>
                </c:pt>
                <c:pt idx="51696">
                  <c:v>0.92199036918138</c:v>
                </c:pt>
                <c:pt idx="51697">
                  <c:v>0.92200820403067596</c:v>
                </c:pt>
                <c:pt idx="51698">
                  <c:v>0.92202603887997103</c:v>
                </c:pt>
                <c:pt idx="51699">
                  <c:v>0.92204387372926699</c:v>
                </c:pt>
                <c:pt idx="51700">
                  <c:v>0.92206170857856196</c:v>
                </c:pt>
                <c:pt idx="51701">
                  <c:v>0.92207954342785803</c:v>
                </c:pt>
                <c:pt idx="51702">
                  <c:v>0.92209737827715299</c:v>
                </c:pt>
                <c:pt idx="51703">
                  <c:v>0.92211521312644895</c:v>
                </c:pt>
                <c:pt idx="51704">
                  <c:v>0.92213304797574402</c:v>
                </c:pt>
                <c:pt idx="51705">
                  <c:v>0.92215088282503999</c:v>
                </c:pt>
                <c:pt idx="51706">
                  <c:v>0.92216871767433495</c:v>
                </c:pt>
                <c:pt idx="51707">
                  <c:v>0.92218655252363102</c:v>
                </c:pt>
                <c:pt idx="51708">
                  <c:v>0.92220438737292598</c:v>
                </c:pt>
                <c:pt idx="51709">
                  <c:v>0.92222222222222205</c:v>
                </c:pt>
                <c:pt idx="51710">
                  <c:v>0.92224005707151702</c:v>
                </c:pt>
                <c:pt idx="51711">
                  <c:v>0.92225789192081298</c:v>
                </c:pt>
                <c:pt idx="51712">
                  <c:v>0.92227572677010805</c:v>
                </c:pt>
                <c:pt idx="51713">
                  <c:v>0.92229356161940401</c:v>
                </c:pt>
                <c:pt idx="51714">
                  <c:v>0.92231139646869897</c:v>
                </c:pt>
                <c:pt idx="51715">
                  <c:v>0.92232923131799505</c:v>
                </c:pt>
                <c:pt idx="51716">
                  <c:v>0.92234706616729001</c:v>
                </c:pt>
                <c:pt idx="51717">
                  <c:v>0.92236490101658597</c:v>
                </c:pt>
                <c:pt idx="51718">
                  <c:v>0.92238273586588104</c:v>
                </c:pt>
                <c:pt idx="51719">
                  <c:v>0.922400570715177</c:v>
                </c:pt>
                <c:pt idx="51720">
                  <c:v>0.92241840556447297</c:v>
                </c:pt>
                <c:pt idx="51721">
                  <c:v>0.92243624041376804</c:v>
                </c:pt>
                <c:pt idx="51722">
                  <c:v>0.922454075263064</c:v>
                </c:pt>
                <c:pt idx="51723">
                  <c:v>0.92247191011235896</c:v>
                </c:pt>
                <c:pt idx="51724">
                  <c:v>0.92248974496165503</c:v>
                </c:pt>
                <c:pt idx="51725">
                  <c:v>0.92250757981095</c:v>
                </c:pt>
                <c:pt idx="51726">
                  <c:v>0.92252541466024596</c:v>
                </c:pt>
                <c:pt idx="51727">
                  <c:v>0.92254324950954103</c:v>
                </c:pt>
                <c:pt idx="51728">
                  <c:v>0.92256108435883699</c:v>
                </c:pt>
                <c:pt idx="51729">
                  <c:v>0.92257891920813195</c:v>
                </c:pt>
                <c:pt idx="51730">
                  <c:v>0.92259675405742803</c:v>
                </c:pt>
                <c:pt idx="51731">
                  <c:v>0.92261458890672299</c:v>
                </c:pt>
                <c:pt idx="51732">
                  <c:v>0.92263242375601895</c:v>
                </c:pt>
                <c:pt idx="51733">
                  <c:v>0.92265025860531402</c:v>
                </c:pt>
                <c:pt idx="51734">
                  <c:v>0.92266809345460998</c:v>
                </c:pt>
                <c:pt idx="51735">
                  <c:v>0.92268592830390495</c:v>
                </c:pt>
                <c:pt idx="51736">
                  <c:v>0.92270376315320102</c:v>
                </c:pt>
                <c:pt idx="51737">
                  <c:v>0.92272159800249598</c:v>
                </c:pt>
                <c:pt idx="51738">
                  <c:v>0.92273943285179205</c:v>
                </c:pt>
                <c:pt idx="51739">
                  <c:v>0.92275726770108701</c:v>
                </c:pt>
                <c:pt idx="51740">
                  <c:v>0.92277510255038298</c:v>
                </c:pt>
                <c:pt idx="51741">
                  <c:v>0.92279293739967805</c:v>
                </c:pt>
                <c:pt idx="51742">
                  <c:v>0.92281077224897401</c:v>
                </c:pt>
                <c:pt idx="51743">
                  <c:v>0.92282860709826997</c:v>
                </c:pt>
                <c:pt idx="51744">
                  <c:v>0.92284644194756504</c:v>
                </c:pt>
                <c:pt idx="51745">
                  <c:v>0.92286427679686101</c:v>
                </c:pt>
                <c:pt idx="51746">
                  <c:v>0.92288211164615597</c:v>
                </c:pt>
                <c:pt idx="51747">
                  <c:v>0.92289994649545204</c:v>
                </c:pt>
                <c:pt idx="51748">
                  <c:v>0.922917781344747</c:v>
                </c:pt>
                <c:pt idx="51749">
                  <c:v>0.92293561619404296</c:v>
                </c:pt>
                <c:pt idx="51750">
                  <c:v>0.92295345104333804</c:v>
                </c:pt>
                <c:pt idx="51751">
                  <c:v>0.922971285892634</c:v>
                </c:pt>
                <c:pt idx="51752">
                  <c:v>0.92298912074192896</c:v>
                </c:pt>
                <c:pt idx="51753">
                  <c:v>0.92300695559122503</c:v>
                </c:pt>
                <c:pt idx="51754">
                  <c:v>0.92302479044051999</c:v>
                </c:pt>
                <c:pt idx="51755">
                  <c:v>0.92304262528981595</c:v>
                </c:pt>
                <c:pt idx="51756">
                  <c:v>0.92306046013911103</c:v>
                </c:pt>
                <c:pt idx="51757">
                  <c:v>0.92307829498840699</c:v>
                </c:pt>
                <c:pt idx="51758">
                  <c:v>0.92309612983770195</c:v>
                </c:pt>
                <c:pt idx="51759">
                  <c:v>0.92311396468699802</c:v>
                </c:pt>
                <c:pt idx="51760">
                  <c:v>0.92313179953629299</c:v>
                </c:pt>
                <c:pt idx="51761">
                  <c:v>0.92314963438558895</c:v>
                </c:pt>
                <c:pt idx="51762">
                  <c:v>0.92316746923488502</c:v>
                </c:pt>
                <c:pt idx="51763">
                  <c:v>0.92318530408417998</c:v>
                </c:pt>
                <c:pt idx="51764">
                  <c:v>0.92320313893347605</c:v>
                </c:pt>
                <c:pt idx="51765">
                  <c:v>0.92322097378277101</c:v>
                </c:pt>
                <c:pt idx="51766">
                  <c:v>0.92323880863206698</c:v>
                </c:pt>
                <c:pt idx="51767">
                  <c:v>0.92325664348136205</c:v>
                </c:pt>
                <c:pt idx="51768">
                  <c:v>0.92327447833065801</c:v>
                </c:pt>
                <c:pt idx="51769">
                  <c:v>0.92329231317995297</c:v>
                </c:pt>
                <c:pt idx="51770">
                  <c:v>0.92331014802924904</c:v>
                </c:pt>
                <c:pt idx="51771">
                  <c:v>0.92332798287854401</c:v>
                </c:pt>
                <c:pt idx="51772">
                  <c:v>0.92334581772783997</c:v>
                </c:pt>
                <c:pt idx="51773">
                  <c:v>0.92336365257713504</c:v>
                </c:pt>
                <c:pt idx="51774">
                  <c:v>0.923381487426431</c:v>
                </c:pt>
                <c:pt idx="51775">
                  <c:v>0.92339932227572596</c:v>
                </c:pt>
                <c:pt idx="51776">
                  <c:v>0.92341715712502204</c:v>
                </c:pt>
                <c:pt idx="51777">
                  <c:v>0.923434991974317</c:v>
                </c:pt>
                <c:pt idx="51778">
                  <c:v>0.92345282682361296</c:v>
                </c:pt>
                <c:pt idx="51779">
                  <c:v>0.92347066167290803</c:v>
                </c:pt>
                <c:pt idx="51780">
                  <c:v>0.92348849652220399</c:v>
                </c:pt>
                <c:pt idx="51781">
                  <c:v>0.92350633137149996</c:v>
                </c:pt>
                <c:pt idx="51782">
                  <c:v>0.92352416622079503</c:v>
                </c:pt>
                <c:pt idx="51783">
                  <c:v>0.92354200107009099</c:v>
                </c:pt>
                <c:pt idx="51784">
                  <c:v>0.92355983591938595</c:v>
                </c:pt>
                <c:pt idx="51785">
                  <c:v>0.92357767076868202</c:v>
                </c:pt>
                <c:pt idx="51786">
                  <c:v>0.92359550561797699</c:v>
                </c:pt>
                <c:pt idx="51787">
                  <c:v>0.92361334046727295</c:v>
                </c:pt>
                <c:pt idx="51788">
                  <c:v>0.92363117531656802</c:v>
                </c:pt>
                <c:pt idx="51789">
                  <c:v>0.92364901016586398</c:v>
                </c:pt>
                <c:pt idx="51790">
                  <c:v>0.92366684501515905</c:v>
                </c:pt>
                <c:pt idx="51791">
                  <c:v>0.92368467986445502</c:v>
                </c:pt>
                <c:pt idx="51792">
                  <c:v>0.92370251471374998</c:v>
                </c:pt>
                <c:pt idx="51793">
                  <c:v>0.92372034956304605</c:v>
                </c:pt>
                <c:pt idx="51794">
                  <c:v>0.92373818441234101</c:v>
                </c:pt>
                <c:pt idx="51795">
                  <c:v>0.92375601926163697</c:v>
                </c:pt>
                <c:pt idx="51796">
                  <c:v>0.92377385411093205</c:v>
                </c:pt>
                <c:pt idx="51797">
                  <c:v>0.92379168896022801</c:v>
                </c:pt>
                <c:pt idx="51798">
                  <c:v>0.92380952380952297</c:v>
                </c:pt>
                <c:pt idx="51799">
                  <c:v>0.92382735865881904</c:v>
                </c:pt>
                <c:pt idx="51800">
                  <c:v>0.923845193508114</c:v>
                </c:pt>
                <c:pt idx="51801">
                  <c:v>0.92386302835740997</c:v>
                </c:pt>
                <c:pt idx="51802">
                  <c:v>0.92388086320670504</c:v>
                </c:pt>
                <c:pt idx="51803">
                  <c:v>0.923898698056001</c:v>
                </c:pt>
                <c:pt idx="51804">
                  <c:v>0.92391653290529696</c:v>
                </c:pt>
                <c:pt idx="51805">
                  <c:v>0.92393436775459203</c:v>
                </c:pt>
                <c:pt idx="51806">
                  <c:v>0.923952202603888</c:v>
                </c:pt>
                <c:pt idx="51807">
                  <c:v>0.92397003745318296</c:v>
                </c:pt>
                <c:pt idx="51808">
                  <c:v>0.92398787230247903</c:v>
                </c:pt>
                <c:pt idx="51809">
                  <c:v>0.92400570715177399</c:v>
                </c:pt>
                <c:pt idx="51810">
                  <c:v>0.92402354200106995</c:v>
                </c:pt>
                <c:pt idx="51811">
                  <c:v>0.92404137685036503</c:v>
                </c:pt>
                <c:pt idx="51812">
                  <c:v>0.92405921169966099</c:v>
                </c:pt>
                <c:pt idx="51813">
                  <c:v>0.92407704654895595</c:v>
                </c:pt>
                <c:pt idx="51814">
                  <c:v>0.92409488139825202</c:v>
                </c:pt>
                <c:pt idx="51815">
                  <c:v>0.92411271624754698</c:v>
                </c:pt>
                <c:pt idx="51816">
                  <c:v>0.92413055109684294</c:v>
                </c:pt>
                <c:pt idx="51817">
                  <c:v>0.92414838594613802</c:v>
                </c:pt>
                <c:pt idx="51818">
                  <c:v>0.92416622079543398</c:v>
                </c:pt>
                <c:pt idx="51819">
                  <c:v>0.92418405564472905</c:v>
                </c:pt>
                <c:pt idx="51820">
                  <c:v>0.92420189049402501</c:v>
                </c:pt>
                <c:pt idx="51821">
                  <c:v>0.92421972534331998</c:v>
                </c:pt>
                <c:pt idx="51822">
                  <c:v>0.92423756019261605</c:v>
                </c:pt>
                <c:pt idx="51823">
                  <c:v>0.92425539504191101</c:v>
                </c:pt>
                <c:pt idx="51824">
                  <c:v>0.92427322989120697</c:v>
                </c:pt>
                <c:pt idx="51825">
                  <c:v>0.92429106474050204</c:v>
                </c:pt>
                <c:pt idx="51826">
                  <c:v>0.92430889958979801</c:v>
                </c:pt>
                <c:pt idx="51827">
                  <c:v>0.92432673443909397</c:v>
                </c:pt>
                <c:pt idx="51828">
                  <c:v>0.92434456928838904</c:v>
                </c:pt>
                <c:pt idx="51829">
                  <c:v>0.924362404137685</c:v>
                </c:pt>
                <c:pt idx="51830">
                  <c:v>0.92438023898697996</c:v>
                </c:pt>
                <c:pt idx="51831">
                  <c:v>0.92439807383627604</c:v>
                </c:pt>
                <c:pt idx="51832">
                  <c:v>0.924415908685571</c:v>
                </c:pt>
                <c:pt idx="51833">
                  <c:v>0.92443374353486696</c:v>
                </c:pt>
                <c:pt idx="51834">
                  <c:v>0.92445157838416203</c:v>
                </c:pt>
                <c:pt idx="51835">
                  <c:v>0.92446941323345799</c:v>
                </c:pt>
                <c:pt idx="51836">
                  <c:v>0.92448724808275295</c:v>
                </c:pt>
                <c:pt idx="51837">
                  <c:v>0.92450508293204903</c:v>
                </c:pt>
                <c:pt idx="51838">
                  <c:v>0.92452291778134399</c:v>
                </c:pt>
                <c:pt idx="51839">
                  <c:v>0.92454075263063995</c:v>
                </c:pt>
                <c:pt idx="51840">
                  <c:v>0.92455858747993502</c:v>
                </c:pt>
                <c:pt idx="51841">
                  <c:v>0.92457642232923098</c:v>
                </c:pt>
                <c:pt idx="51842">
                  <c:v>0.92459425717852595</c:v>
                </c:pt>
                <c:pt idx="51843">
                  <c:v>0.92461209202782202</c:v>
                </c:pt>
                <c:pt idx="51844">
                  <c:v>0.92462992687711698</c:v>
                </c:pt>
                <c:pt idx="51845">
                  <c:v>0.92464776172641305</c:v>
                </c:pt>
                <c:pt idx="51846">
                  <c:v>0.92466559657570802</c:v>
                </c:pt>
                <c:pt idx="51847">
                  <c:v>0.92468343142500398</c:v>
                </c:pt>
                <c:pt idx="51848">
                  <c:v>0.92470126627429905</c:v>
                </c:pt>
                <c:pt idx="51849">
                  <c:v>0.92471910112359501</c:v>
                </c:pt>
                <c:pt idx="51850">
                  <c:v>0.92473693597289097</c:v>
                </c:pt>
                <c:pt idx="51851">
                  <c:v>0.92475477082218605</c:v>
                </c:pt>
                <c:pt idx="51852">
                  <c:v>0.92477260567148201</c:v>
                </c:pt>
                <c:pt idx="51853">
                  <c:v>0.92479044052077697</c:v>
                </c:pt>
                <c:pt idx="51854">
                  <c:v>0.92480827537007304</c:v>
                </c:pt>
                <c:pt idx="51855">
                  <c:v>0.924826110219368</c:v>
                </c:pt>
                <c:pt idx="51856">
                  <c:v>0.92484394506866396</c:v>
                </c:pt>
                <c:pt idx="51857">
                  <c:v>0.92486177991795904</c:v>
                </c:pt>
                <c:pt idx="51858">
                  <c:v>0.924879614767255</c:v>
                </c:pt>
                <c:pt idx="51859">
                  <c:v>0.92489744961654996</c:v>
                </c:pt>
                <c:pt idx="51860">
                  <c:v>0.92491528446584603</c:v>
                </c:pt>
                <c:pt idx="51861">
                  <c:v>0.92493311931514099</c:v>
                </c:pt>
                <c:pt idx="51862">
                  <c:v>0.92495095416443696</c:v>
                </c:pt>
                <c:pt idx="51863">
                  <c:v>0.92496878901373203</c:v>
                </c:pt>
                <c:pt idx="51864">
                  <c:v>0.92498662386302799</c:v>
                </c:pt>
                <c:pt idx="51865">
                  <c:v>0.92500445871232295</c:v>
                </c:pt>
                <c:pt idx="51866">
                  <c:v>0.92502229356161902</c:v>
                </c:pt>
                <c:pt idx="51867">
                  <c:v>0.92504012841091399</c:v>
                </c:pt>
                <c:pt idx="51868">
                  <c:v>0.92505796326020995</c:v>
                </c:pt>
                <c:pt idx="51869">
                  <c:v>0.92507579810950602</c:v>
                </c:pt>
                <c:pt idx="51870">
                  <c:v>0.92509363295880098</c:v>
                </c:pt>
                <c:pt idx="51871">
                  <c:v>0.92511146780809705</c:v>
                </c:pt>
                <c:pt idx="51872">
                  <c:v>0.92512930265739202</c:v>
                </c:pt>
                <c:pt idx="51873">
                  <c:v>0.92514713750668798</c:v>
                </c:pt>
                <c:pt idx="51874">
                  <c:v>0.92516497235598305</c:v>
                </c:pt>
                <c:pt idx="51875">
                  <c:v>0.92518280720527901</c:v>
                </c:pt>
                <c:pt idx="51876">
                  <c:v>0.92520064205457397</c:v>
                </c:pt>
                <c:pt idx="51877">
                  <c:v>0.92521847690387005</c:v>
                </c:pt>
                <c:pt idx="51878">
                  <c:v>0.92523631175316501</c:v>
                </c:pt>
                <c:pt idx="51879">
                  <c:v>0.92525414660246097</c:v>
                </c:pt>
                <c:pt idx="51880">
                  <c:v>0.92527198145175604</c:v>
                </c:pt>
                <c:pt idx="51881">
                  <c:v>0.925289816301052</c:v>
                </c:pt>
                <c:pt idx="51882">
                  <c:v>0.92530765115034697</c:v>
                </c:pt>
                <c:pt idx="51883">
                  <c:v>0.92532548599964304</c:v>
                </c:pt>
                <c:pt idx="51884">
                  <c:v>0.925343320848938</c:v>
                </c:pt>
                <c:pt idx="51885">
                  <c:v>0.92536115569823396</c:v>
                </c:pt>
                <c:pt idx="51886">
                  <c:v>0.92537899054752903</c:v>
                </c:pt>
                <c:pt idx="51887">
                  <c:v>0.925396825396825</c:v>
                </c:pt>
                <c:pt idx="51888">
                  <c:v>0.92541466024612096</c:v>
                </c:pt>
                <c:pt idx="51889">
                  <c:v>0.92543249509541603</c:v>
                </c:pt>
                <c:pt idx="51890">
                  <c:v>0.92545032994471199</c:v>
                </c:pt>
                <c:pt idx="51891">
                  <c:v>0.92546816479400695</c:v>
                </c:pt>
                <c:pt idx="51892">
                  <c:v>0.92548599964330303</c:v>
                </c:pt>
                <c:pt idx="51893">
                  <c:v>0.92550383449259799</c:v>
                </c:pt>
                <c:pt idx="51894">
                  <c:v>0.92552166934189395</c:v>
                </c:pt>
                <c:pt idx="51895">
                  <c:v>0.92553950419118902</c:v>
                </c:pt>
                <c:pt idx="51896">
                  <c:v>0.92555733904048498</c:v>
                </c:pt>
                <c:pt idx="51897">
                  <c:v>0.92557517388977995</c:v>
                </c:pt>
                <c:pt idx="51898">
                  <c:v>0.92559300873907602</c:v>
                </c:pt>
                <c:pt idx="51899">
                  <c:v>0.92561084358837098</c:v>
                </c:pt>
                <c:pt idx="51900">
                  <c:v>0.92562867843766705</c:v>
                </c:pt>
                <c:pt idx="51901">
                  <c:v>0.92564651328696201</c:v>
                </c:pt>
                <c:pt idx="51902">
                  <c:v>0.92566434813625798</c:v>
                </c:pt>
                <c:pt idx="51903">
                  <c:v>0.92568218298555305</c:v>
                </c:pt>
                <c:pt idx="51904">
                  <c:v>0.92570001783484901</c:v>
                </c:pt>
                <c:pt idx="51905">
                  <c:v>0.92571785268414397</c:v>
                </c:pt>
                <c:pt idx="51906">
                  <c:v>0.92573568753344004</c:v>
                </c:pt>
                <c:pt idx="51907">
                  <c:v>0.92575352238273501</c:v>
                </c:pt>
                <c:pt idx="51908">
                  <c:v>0.92577135723203097</c:v>
                </c:pt>
                <c:pt idx="51909">
                  <c:v>0.92578919208132604</c:v>
                </c:pt>
                <c:pt idx="51910">
                  <c:v>0.925807026930622</c:v>
                </c:pt>
                <c:pt idx="51911">
                  <c:v>0.92582486177991796</c:v>
                </c:pt>
                <c:pt idx="51912">
                  <c:v>0.92584269662921304</c:v>
                </c:pt>
                <c:pt idx="51913">
                  <c:v>0.925860531478509</c:v>
                </c:pt>
                <c:pt idx="51914">
                  <c:v>0.92587836632780396</c:v>
                </c:pt>
                <c:pt idx="51915">
                  <c:v>0.92589620117710003</c:v>
                </c:pt>
                <c:pt idx="51916">
                  <c:v>0.92591403602639499</c:v>
                </c:pt>
                <c:pt idx="51917">
                  <c:v>0.92593187087569095</c:v>
                </c:pt>
                <c:pt idx="51918">
                  <c:v>0.92594970572498603</c:v>
                </c:pt>
                <c:pt idx="51919">
                  <c:v>0.92596754057428199</c:v>
                </c:pt>
                <c:pt idx="51920">
                  <c:v>0.92598537542357695</c:v>
                </c:pt>
                <c:pt idx="51921">
                  <c:v>0.92600321027287302</c:v>
                </c:pt>
                <c:pt idx="51922">
                  <c:v>0.92602104512216799</c:v>
                </c:pt>
                <c:pt idx="51923">
                  <c:v>0.92603887997146395</c:v>
                </c:pt>
                <c:pt idx="51924">
                  <c:v>0.92605671482075902</c:v>
                </c:pt>
                <c:pt idx="51925">
                  <c:v>0.92607454967005498</c:v>
                </c:pt>
                <c:pt idx="51926">
                  <c:v>0.92609238451935005</c:v>
                </c:pt>
                <c:pt idx="51927">
                  <c:v>0.92611021936864601</c:v>
                </c:pt>
                <c:pt idx="51928">
                  <c:v>0.92612805421794098</c:v>
                </c:pt>
                <c:pt idx="51929">
                  <c:v>0.92614588906723705</c:v>
                </c:pt>
                <c:pt idx="51930">
                  <c:v>0.92616372391653201</c:v>
                </c:pt>
                <c:pt idx="51931">
                  <c:v>0.92618155876582797</c:v>
                </c:pt>
                <c:pt idx="51932">
                  <c:v>0.92619939361512305</c:v>
                </c:pt>
                <c:pt idx="51933">
                  <c:v>0.92621722846441901</c:v>
                </c:pt>
                <c:pt idx="51934">
                  <c:v>0.92623506331371497</c:v>
                </c:pt>
                <c:pt idx="51935">
                  <c:v>0.92625289816301004</c:v>
                </c:pt>
                <c:pt idx="51936">
                  <c:v>0.926270733012306</c:v>
                </c:pt>
                <c:pt idx="51937">
                  <c:v>0.92628856786160096</c:v>
                </c:pt>
                <c:pt idx="51938">
                  <c:v>0.92630640271089704</c:v>
                </c:pt>
                <c:pt idx="51939">
                  <c:v>0.926324237560192</c:v>
                </c:pt>
                <c:pt idx="51940">
                  <c:v>0.92634207240948796</c:v>
                </c:pt>
                <c:pt idx="51941">
                  <c:v>0.92635990725878303</c:v>
                </c:pt>
                <c:pt idx="51942">
                  <c:v>0.92637774210807899</c:v>
                </c:pt>
                <c:pt idx="51943">
                  <c:v>0.92639557695737396</c:v>
                </c:pt>
                <c:pt idx="51944">
                  <c:v>0.92641341180667003</c:v>
                </c:pt>
                <c:pt idx="51945">
                  <c:v>0.92643124665596499</c:v>
                </c:pt>
                <c:pt idx="51946">
                  <c:v>0.92644908150526095</c:v>
                </c:pt>
                <c:pt idx="51947">
                  <c:v>0.92646691635455602</c:v>
                </c:pt>
                <c:pt idx="51948">
                  <c:v>0.92648475120385199</c:v>
                </c:pt>
                <c:pt idx="51949">
                  <c:v>0.92650258605314695</c:v>
                </c:pt>
                <c:pt idx="51950">
                  <c:v>0.92652042090244302</c:v>
                </c:pt>
                <c:pt idx="51951">
                  <c:v>0.92653825575173798</c:v>
                </c:pt>
                <c:pt idx="51952">
                  <c:v>0.92655609060103405</c:v>
                </c:pt>
                <c:pt idx="51953">
                  <c:v>0.92657392545032902</c:v>
                </c:pt>
                <c:pt idx="51954">
                  <c:v>0.92659176029962498</c:v>
                </c:pt>
                <c:pt idx="51955">
                  <c:v>0.92660959514892005</c:v>
                </c:pt>
                <c:pt idx="51956">
                  <c:v>0.92662742999821601</c:v>
                </c:pt>
                <c:pt idx="51957">
                  <c:v>0.92664526484751197</c:v>
                </c:pt>
                <c:pt idx="51958">
                  <c:v>0.92666309969680705</c:v>
                </c:pt>
                <c:pt idx="51959">
                  <c:v>0.92668093454610301</c:v>
                </c:pt>
                <c:pt idx="51960">
                  <c:v>0.92669876939539797</c:v>
                </c:pt>
                <c:pt idx="51961">
                  <c:v>0.92671660424469404</c:v>
                </c:pt>
                <c:pt idx="51962">
                  <c:v>0.926734439093989</c:v>
                </c:pt>
                <c:pt idx="51963">
                  <c:v>0.92675227394328497</c:v>
                </c:pt>
                <c:pt idx="51964">
                  <c:v>0.92677010879258004</c:v>
                </c:pt>
                <c:pt idx="51965">
                  <c:v>0.926787943641876</c:v>
                </c:pt>
                <c:pt idx="51966">
                  <c:v>0.92680577849117096</c:v>
                </c:pt>
                <c:pt idx="51967">
                  <c:v>0.92682361334046703</c:v>
                </c:pt>
                <c:pt idx="51968">
                  <c:v>0.926841448189762</c:v>
                </c:pt>
                <c:pt idx="51969">
                  <c:v>0.92685928303905796</c:v>
                </c:pt>
                <c:pt idx="51970">
                  <c:v>0.92687711788835303</c:v>
                </c:pt>
                <c:pt idx="51971">
                  <c:v>0.92689495273764899</c:v>
                </c:pt>
                <c:pt idx="51972">
                  <c:v>0.92691278758694395</c:v>
                </c:pt>
                <c:pt idx="51973">
                  <c:v>0.92693062243624003</c:v>
                </c:pt>
                <c:pt idx="51974">
                  <c:v>0.92694845728553599</c:v>
                </c:pt>
                <c:pt idx="51975">
                  <c:v>0.92696629213483095</c:v>
                </c:pt>
                <c:pt idx="51976">
                  <c:v>0.92698412698412702</c:v>
                </c:pt>
                <c:pt idx="51977">
                  <c:v>0.92700196183342198</c:v>
                </c:pt>
                <c:pt idx="51978">
                  <c:v>0.92701979668271794</c:v>
                </c:pt>
                <c:pt idx="51979">
                  <c:v>0.92703763153201302</c:v>
                </c:pt>
                <c:pt idx="51980">
                  <c:v>0.92705546638130898</c:v>
                </c:pt>
                <c:pt idx="51981">
                  <c:v>0.92707330123060405</c:v>
                </c:pt>
                <c:pt idx="51982">
                  <c:v>0.92709113607990001</c:v>
                </c:pt>
                <c:pt idx="51983">
                  <c:v>0.92710897092919498</c:v>
                </c:pt>
                <c:pt idx="51984">
                  <c:v>0.92712680577849105</c:v>
                </c:pt>
                <c:pt idx="51985">
                  <c:v>0.92714464062778601</c:v>
                </c:pt>
                <c:pt idx="51986">
                  <c:v>0.92716247547708197</c:v>
                </c:pt>
                <c:pt idx="51987">
                  <c:v>0.92718031032637704</c:v>
                </c:pt>
                <c:pt idx="51988">
                  <c:v>0.92719814517567301</c:v>
                </c:pt>
                <c:pt idx="51989">
                  <c:v>0.92721598002496797</c:v>
                </c:pt>
                <c:pt idx="51990">
                  <c:v>0.92723381487426404</c:v>
                </c:pt>
                <c:pt idx="51991">
                  <c:v>0.927251649723559</c:v>
                </c:pt>
                <c:pt idx="51992">
                  <c:v>0.92726948457285496</c:v>
                </c:pt>
                <c:pt idx="51993">
                  <c:v>0.92728731942215004</c:v>
                </c:pt>
                <c:pt idx="51994">
                  <c:v>0.927305154271446</c:v>
                </c:pt>
                <c:pt idx="51995">
                  <c:v>0.92732298912074196</c:v>
                </c:pt>
                <c:pt idx="51996">
                  <c:v>0.92734082397003703</c:v>
                </c:pt>
                <c:pt idx="51997">
                  <c:v>0.92735865881933299</c:v>
                </c:pt>
                <c:pt idx="51998">
                  <c:v>0.92737649366862795</c:v>
                </c:pt>
                <c:pt idx="51999">
                  <c:v>0.92739432851792403</c:v>
                </c:pt>
                <c:pt idx="52000">
                  <c:v>0.92741216336721899</c:v>
                </c:pt>
                <c:pt idx="52001">
                  <c:v>0.92742999821651495</c:v>
                </c:pt>
                <c:pt idx="52002">
                  <c:v>0.92744783306581002</c:v>
                </c:pt>
                <c:pt idx="52003">
                  <c:v>0.92746566791510598</c:v>
                </c:pt>
                <c:pt idx="52004">
                  <c:v>0.92748350276440095</c:v>
                </c:pt>
                <c:pt idx="52005">
                  <c:v>0.92750133761369702</c:v>
                </c:pt>
                <c:pt idx="52006">
                  <c:v>0.92751917246299198</c:v>
                </c:pt>
                <c:pt idx="52007">
                  <c:v>0.92753700731228805</c:v>
                </c:pt>
                <c:pt idx="52008">
                  <c:v>0.92755484216158302</c:v>
                </c:pt>
                <c:pt idx="52009">
                  <c:v>0.92757267701087898</c:v>
                </c:pt>
                <c:pt idx="52010">
                  <c:v>0.92759051186017405</c:v>
                </c:pt>
                <c:pt idx="52011">
                  <c:v>0.92760834670947001</c:v>
                </c:pt>
                <c:pt idx="52012">
                  <c:v>0.92762618155876497</c:v>
                </c:pt>
                <c:pt idx="52013">
                  <c:v>0.92764401640806105</c:v>
                </c:pt>
                <c:pt idx="52014">
                  <c:v>0.92766185125735601</c:v>
                </c:pt>
                <c:pt idx="52015">
                  <c:v>0.92767968610665197</c:v>
                </c:pt>
                <c:pt idx="52016">
                  <c:v>0.92769752095594704</c:v>
                </c:pt>
                <c:pt idx="52017">
                  <c:v>0.927715355805243</c:v>
                </c:pt>
                <c:pt idx="52018">
                  <c:v>0.92773319065453896</c:v>
                </c:pt>
                <c:pt idx="52019">
                  <c:v>0.92775102550383404</c:v>
                </c:pt>
                <c:pt idx="52020">
                  <c:v>0.92776886035313</c:v>
                </c:pt>
                <c:pt idx="52021">
                  <c:v>0.92778669520242496</c:v>
                </c:pt>
                <c:pt idx="52022">
                  <c:v>0.92780453005172103</c:v>
                </c:pt>
                <c:pt idx="52023">
                  <c:v>0.92782236490101599</c:v>
                </c:pt>
                <c:pt idx="52024">
                  <c:v>0.92784019975031196</c:v>
                </c:pt>
                <c:pt idx="52025">
                  <c:v>0.92785803459960703</c:v>
                </c:pt>
                <c:pt idx="52026">
                  <c:v>0.92787586944890299</c:v>
                </c:pt>
                <c:pt idx="52027">
                  <c:v>0.92789370429819795</c:v>
                </c:pt>
                <c:pt idx="52028">
                  <c:v>0.92791153914749402</c:v>
                </c:pt>
                <c:pt idx="52029">
                  <c:v>0.92792937399678899</c:v>
                </c:pt>
                <c:pt idx="52030">
                  <c:v>0.92794720884608495</c:v>
                </c:pt>
                <c:pt idx="52031">
                  <c:v>0.92796504369538002</c:v>
                </c:pt>
                <c:pt idx="52032">
                  <c:v>0.92798287854467598</c:v>
                </c:pt>
                <c:pt idx="52033">
                  <c:v>0.92800071339397106</c:v>
                </c:pt>
                <c:pt idx="52034">
                  <c:v>0.92801854824326702</c:v>
                </c:pt>
                <c:pt idx="52035">
                  <c:v>0.92803638309256198</c:v>
                </c:pt>
                <c:pt idx="52036">
                  <c:v>0.92805421794185805</c:v>
                </c:pt>
                <c:pt idx="52037">
                  <c:v>0.92807205279115301</c:v>
                </c:pt>
                <c:pt idx="52038">
                  <c:v>0.92808988764044897</c:v>
                </c:pt>
                <c:pt idx="52039">
                  <c:v>0.92810772248974405</c:v>
                </c:pt>
                <c:pt idx="52040">
                  <c:v>0.92812555733904001</c:v>
                </c:pt>
                <c:pt idx="52041">
                  <c:v>0.92814339218833597</c:v>
                </c:pt>
                <c:pt idx="52042">
                  <c:v>0.92816122703763104</c:v>
                </c:pt>
                <c:pt idx="52043">
                  <c:v>0.928179061886927</c:v>
                </c:pt>
                <c:pt idx="52044">
                  <c:v>0.92819689673622197</c:v>
                </c:pt>
                <c:pt idx="52045">
                  <c:v>0.92821473158551804</c:v>
                </c:pt>
                <c:pt idx="52046">
                  <c:v>0.928232566434813</c:v>
                </c:pt>
                <c:pt idx="52047">
                  <c:v>0.92825040128410896</c:v>
                </c:pt>
                <c:pt idx="52048">
                  <c:v>0.92826823613340403</c:v>
                </c:pt>
                <c:pt idx="52049">
                  <c:v>0.9282860709827</c:v>
                </c:pt>
                <c:pt idx="52050">
                  <c:v>0.92830390583199496</c:v>
                </c:pt>
                <c:pt idx="52051">
                  <c:v>0.92832174068129103</c:v>
                </c:pt>
                <c:pt idx="52052">
                  <c:v>0.92833957553058599</c:v>
                </c:pt>
                <c:pt idx="52053">
                  <c:v>0.92835741037988195</c:v>
                </c:pt>
                <c:pt idx="52054">
                  <c:v>0.92837524522917703</c:v>
                </c:pt>
                <c:pt idx="52055">
                  <c:v>0.92839308007847299</c:v>
                </c:pt>
                <c:pt idx="52056">
                  <c:v>0.92841091492776795</c:v>
                </c:pt>
                <c:pt idx="52057">
                  <c:v>0.92842874977706402</c:v>
                </c:pt>
                <c:pt idx="52058">
                  <c:v>0.92844658462635898</c:v>
                </c:pt>
                <c:pt idx="52059">
                  <c:v>0.92846441947565495</c:v>
                </c:pt>
                <c:pt idx="52060">
                  <c:v>0.92848225432495002</c:v>
                </c:pt>
                <c:pt idx="52061">
                  <c:v>0.92850008917424598</c:v>
                </c:pt>
                <c:pt idx="52062">
                  <c:v>0.92851792402354205</c:v>
                </c:pt>
                <c:pt idx="52063">
                  <c:v>0.92853575887283701</c:v>
                </c:pt>
                <c:pt idx="52064">
                  <c:v>0.92855359372213297</c:v>
                </c:pt>
                <c:pt idx="52065">
                  <c:v>0.92857142857142805</c:v>
                </c:pt>
                <c:pt idx="52066">
                  <c:v>0.92858926342072401</c:v>
                </c:pt>
                <c:pt idx="52067">
                  <c:v>0.92860709827001897</c:v>
                </c:pt>
                <c:pt idx="52068">
                  <c:v>0.92862493311931504</c:v>
                </c:pt>
                <c:pt idx="52069">
                  <c:v>0.92864276796861001</c:v>
                </c:pt>
                <c:pt idx="52070">
                  <c:v>0.92866060281790597</c:v>
                </c:pt>
                <c:pt idx="52071">
                  <c:v>0.92867843766720104</c:v>
                </c:pt>
                <c:pt idx="52072">
                  <c:v>0.928696272516497</c:v>
                </c:pt>
                <c:pt idx="52073">
                  <c:v>0.92871410736579196</c:v>
                </c:pt>
                <c:pt idx="52074">
                  <c:v>0.92873194221508804</c:v>
                </c:pt>
                <c:pt idx="52075">
                  <c:v>0.928749777064383</c:v>
                </c:pt>
                <c:pt idx="52076">
                  <c:v>0.92876761191367896</c:v>
                </c:pt>
                <c:pt idx="52077">
                  <c:v>0.92878544676297403</c:v>
                </c:pt>
                <c:pt idx="52078">
                  <c:v>0.92880328161226999</c:v>
                </c:pt>
                <c:pt idx="52079">
                  <c:v>0.92882111646156595</c:v>
                </c:pt>
                <c:pt idx="52080">
                  <c:v>0.92883895131086103</c:v>
                </c:pt>
                <c:pt idx="52081">
                  <c:v>0.92885678616015699</c:v>
                </c:pt>
                <c:pt idx="52082">
                  <c:v>0.92887462100945195</c:v>
                </c:pt>
                <c:pt idx="52083">
                  <c:v>0.92889245585874802</c:v>
                </c:pt>
                <c:pt idx="52084">
                  <c:v>0.92891029070804298</c:v>
                </c:pt>
                <c:pt idx="52085">
                  <c:v>0.92892812555733895</c:v>
                </c:pt>
                <c:pt idx="52086">
                  <c:v>0.92894596040663402</c:v>
                </c:pt>
                <c:pt idx="52087">
                  <c:v>0.92896379525592998</c:v>
                </c:pt>
                <c:pt idx="52088">
                  <c:v>0.92898163010522505</c:v>
                </c:pt>
                <c:pt idx="52089">
                  <c:v>0.92899946495452101</c:v>
                </c:pt>
                <c:pt idx="52090">
                  <c:v>0.92901729980381598</c:v>
                </c:pt>
                <c:pt idx="52091">
                  <c:v>0.92903513465311205</c:v>
                </c:pt>
                <c:pt idx="52092">
                  <c:v>0.92905296950240701</c:v>
                </c:pt>
                <c:pt idx="52093">
                  <c:v>0.92907080435170297</c:v>
                </c:pt>
                <c:pt idx="52094">
                  <c:v>0.92908863920099805</c:v>
                </c:pt>
                <c:pt idx="52095">
                  <c:v>0.92910647405029401</c:v>
                </c:pt>
                <c:pt idx="52096">
                  <c:v>0.92912430889958897</c:v>
                </c:pt>
                <c:pt idx="52097">
                  <c:v>0.92914214374888504</c:v>
                </c:pt>
                <c:pt idx="52098">
                  <c:v>0.92915997859818</c:v>
                </c:pt>
                <c:pt idx="52099">
                  <c:v>0.92917781344747596</c:v>
                </c:pt>
                <c:pt idx="52100">
                  <c:v>0.92919564829677104</c:v>
                </c:pt>
                <c:pt idx="52101">
                  <c:v>0.929213483146067</c:v>
                </c:pt>
                <c:pt idx="52102">
                  <c:v>0.92923131799536296</c:v>
                </c:pt>
                <c:pt idx="52103">
                  <c:v>0.92924915284465803</c:v>
                </c:pt>
                <c:pt idx="52104">
                  <c:v>0.92926698769395399</c:v>
                </c:pt>
                <c:pt idx="52105">
                  <c:v>0.92928482254324896</c:v>
                </c:pt>
                <c:pt idx="52106">
                  <c:v>0.92930265739254503</c:v>
                </c:pt>
                <c:pt idx="52107">
                  <c:v>0.92932049224183999</c:v>
                </c:pt>
                <c:pt idx="52108">
                  <c:v>0.92933832709113595</c:v>
                </c:pt>
                <c:pt idx="52109">
                  <c:v>0.92935616194043102</c:v>
                </c:pt>
                <c:pt idx="52110">
                  <c:v>0.92937399678972699</c:v>
                </c:pt>
                <c:pt idx="52111">
                  <c:v>0.92939183163902195</c:v>
                </c:pt>
                <c:pt idx="52112">
                  <c:v>0.92940966648831802</c:v>
                </c:pt>
                <c:pt idx="52113">
                  <c:v>0.92942750133761298</c:v>
                </c:pt>
                <c:pt idx="52114">
                  <c:v>0.92944533618690905</c:v>
                </c:pt>
                <c:pt idx="52115">
                  <c:v>0.92946317103620402</c:v>
                </c:pt>
                <c:pt idx="52116">
                  <c:v>0.92948100588549998</c:v>
                </c:pt>
                <c:pt idx="52117">
                  <c:v>0.92949884073479505</c:v>
                </c:pt>
                <c:pt idx="52118">
                  <c:v>0.92951667558409101</c:v>
                </c:pt>
                <c:pt idx="52119">
                  <c:v>0.92953451043338597</c:v>
                </c:pt>
                <c:pt idx="52120">
                  <c:v>0.92955234528268205</c:v>
                </c:pt>
                <c:pt idx="52121">
                  <c:v>0.92957018013197701</c:v>
                </c:pt>
                <c:pt idx="52122">
                  <c:v>0.92958801498127297</c:v>
                </c:pt>
                <c:pt idx="52123">
                  <c:v>0.92960584983056804</c:v>
                </c:pt>
                <c:pt idx="52124">
                  <c:v>0.929623684679864</c:v>
                </c:pt>
                <c:pt idx="52125">
                  <c:v>0.92964151952915997</c:v>
                </c:pt>
                <c:pt idx="52126">
                  <c:v>0.92965935437845504</c:v>
                </c:pt>
                <c:pt idx="52127">
                  <c:v>0.929677189227751</c:v>
                </c:pt>
                <c:pt idx="52128">
                  <c:v>0.92969502407704596</c:v>
                </c:pt>
                <c:pt idx="52129">
                  <c:v>0.92971285892634203</c:v>
                </c:pt>
                <c:pt idx="52130">
                  <c:v>0.929730693775637</c:v>
                </c:pt>
                <c:pt idx="52131">
                  <c:v>0.92974852862493296</c:v>
                </c:pt>
                <c:pt idx="52132">
                  <c:v>0.92976636347422803</c:v>
                </c:pt>
                <c:pt idx="52133">
                  <c:v>0.92978419832352399</c:v>
                </c:pt>
                <c:pt idx="52134">
                  <c:v>0.92980203317281895</c:v>
                </c:pt>
                <c:pt idx="52135">
                  <c:v>0.92981986802211503</c:v>
                </c:pt>
                <c:pt idx="52136">
                  <c:v>0.92983770287140999</c:v>
                </c:pt>
                <c:pt idx="52137">
                  <c:v>0.92985553772070595</c:v>
                </c:pt>
                <c:pt idx="52138">
                  <c:v>0.92987337257000102</c:v>
                </c:pt>
                <c:pt idx="52139">
                  <c:v>0.92989120741929698</c:v>
                </c:pt>
                <c:pt idx="52140">
                  <c:v>0.92990904226859195</c:v>
                </c:pt>
                <c:pt idx="52141">
                  <c:v>0.92992687711788802</c:v>
                </c:pt>
                <c:pt idx="52142">
                  <c:v>0.92994471196718298</c:v>
                </c:pt>
                <c:pt idx="52143">
                  <c:v>0.92996254681647905</c:v>
                </c:pt>
                <c:pt idx="52144">
                  <c:v>0.92998038166577401</c:v>
                </c:pt>
                <c:pt idx="52145">
                  <c:v>0.92999821651506998</c:v>
                </c:pt>
                <c:pt idx="52146">
                  <c:v>0.93001605136436505</c:v>
                </c:pt>
                <c:pt idx="52147">
                  <c:v>0.93003388621366101</c:v>
                </c:pt>
                <c:pt idx="52148">
                  <c:v>0.93005172106295697</c:v>
                </c:pt>
                <c:pt idx="52149">
                  <c:v>0.93006955591225204</c:v>
                </c:pt>
                <c:pt idx="52150">
                  <c:v>0.93008739076154801</c:v>
                </c:pt>
                <c:pt idx="52151">
                  <c:v>0.93010522561084297</c:v>
                </c:pt>
                <c:pt idx="52152">
                  <c:v>0.93012306046013904</c:v>
                </c:pt>
                <c:pt idx="52153">
                  <c:v>0.930140895309434</c:v>
                </c:pt>
                <c:pt idx="52154">
                  <c:v>0.93015873015872996</c:v>
                </c:pt>
                <c:pt idx="52155">
                  <c:v>0.93017656500802504</c:v>
                </c:pt>
                <c:pt idx="52156">
                  <c:v>0.930194399857321</c:v>
                </c:pt>
                <c:pt idx="52157">
                  <c:v>0.93021223470661596</c:v>
                </c:pt>
                <c:pt idx="52158">
                  <c:v>0.93023006955591203</c:v>
                </c:pt>
                <c:pt idx="52159">
                  <c:v>0.93024790440520699</c:v>
                </c:pt>
                <c:pt idx="52160">
                  <c:v>0.93026573925450295</c:v>
                </c:pt>
                <c:pt idx="52161">
                  <c:v>0.93028357410379803</c:v>
                </c:pt>
                <c:pt idx="52162">
                  <c:v>0.93030140895309399</c:v>
                </c:pt>
                <c:pt idx="52163">
                  <c:v>0.93031924380238895</c:v>
                </c:pt>
                <c:pt idx="52164">
                  <c:v>0.93033707865168502</c:v>
                </c:pt>
                <c:pt idx="52165">
                  <c:v>0.93035491350097999</c:v>
                </c:pt>
                <c:pt idx="52166">
                  <c:v>0.93037274835027595</c:v>
                </c:pt>
                <c:pt idx="52167">
                  <c:v>0.93039058319957202</c:v>
                </c:pt>
                <c:pt idx="52168">
                  <c:v>0.93040841804886698</c:v>
                </c:pt>
                <c:pt idx="52169">
                  <c:v>0.93042625289816305</c:v>
                </c:pt>
                <c:pt idx="52170">
                  <c:v>0.93044408774745802</c:v>
                </c:pt>
                <c:pt idx="52171">
                  <c:v>0.93046192259675398</c:v>
                </c:pt>
                <c:pt idx="52172">
                  <c:v>0.93047975744604905</c:v>
                </c:pt>
                <c:pt idx="52173">
                  <c:v>0.93049759229534501</c:v>
                </c:pt>
                <c:pt idx="52174">
                  <c:v>0.93051542714463997</c:v>
                </c:pt>
                <c:pt idx="52175">
                  <c:v>0.93053326199393605</c:v>
                </c:pt>
                <c:pt idx="52176">
                  <c:v>0.93055109684323101</c:v>
                </c:pt>
                <c:pt idx="52177">
                  <c:v>0.93056893169252697</c:v>
                </c:pt>
                <c:pt idx="52178">
                  <c:v>0.93058676654182204</c:v>
                </c:pt>
                <c:pt idx="52179">
                  <c:v>0.930604601391118</c:v>
                </c:pt>
                <c:pt idx="52180">
                  <c:v>0.93062243624041296</c:v>
                </c:pt>
                <c:pt idx="52181">
                  <c:v>0.93064027108970904</c:v>
                </c:pt>
                <c:pt idx="52182">
                  <c:v>0.930658105939004</c:v>
                </c:pt>
                <c:pt idx="52183">
                  <c:v>0.93067594078829996</c:v>
                </c:pt>
                <c:pt idx="52184">
                  <c:v>0.93069377563759503</c:v>
                </c:pt>
                <c:pt idx="52185">
                  <c:v>0.93071161048689099</c:v>
                </c:pt>
                <c:pt idx="52186">
                  <c:v>0.93072944533618696</c:v>
                </c:pt>
                <c:pt idx="52187">
                  <c:v>0.93074728018548203</c:v>
                </c:pt>
                <c:pt idx="52188">
                  <c:v>0.93076511503477799</c:v>
                </c:pt>
                <c:pt idx="52189">
                  <c:v>0.93078294988407295</c:v>
                </c:pt>
                <c:pt idx="52190">
                  <c:v>0.93080078473336902</c:v>
                </c:pt>
                <c:pt idx="52191">
                  <c:v>0.93081861958266399</c:v>
                </c:pt>
                <c:pt idx="52192">
                  <c:v>0.93083645443195995</c:v>
                </c:pt>
                <c:pt idx="52193">
                  <c:v>0.93085428928125502</c:v>
                </c:pt>
                <c:pt idx="52194">
                  <c:v>0.93087212413055098</c:v>
                </c:pt>
                <c:pt idx="52195">
                  <c:v>0.93088995897984605</c:v>
                </c:pt>
                <c:pt idx="52196">
                  <c:v>0.93090779382914202</c:v>
                </c:pt>
                <c:pt idx="52197">
                  <c:v>0.93092562867843698</c:v>
                </c:pt>
                <c:pt idx="52198">
                  <c:v>0.93094346352773305</c:v>
                </c:pt>
                <c:pt idx="52199">
                  <c:v>0.93096129837702801</c:v>
                </c:pt>
                <c:pt idx="52200">
                  <c:v>0.93097913322632397</c:v>
                </c:pt>
                <c:pt idx="52201">
                  <c:v>0.93099696807561905</c:v>
                </c:pt>
                <c:pt idx="52202">
                  <c:v>0.93101480292491501</c:v>
                </c:pt>
                <c:pt idx="52203">
                  <c:v>0.93103263777420997</c:v>
                </c:pt>
                <c:pt idx="52204">
                  <c:v>0.93105047262350604</c:v>
                </c:pt>
                <c:pt idx="52205">
                  <c:v>0.931068307472801</c:v>
                </c:pt>
                <c:pt idx="52206">
                  <c:v>0.93108614232209697</c:v>
                </c:pt>
                <c:pt idx="52207">
                  <c:v>0.93110397717139204</c:v>
                </c:pt>
                <c:pt idx="52208">
                  <c:v>0.931121812020688</c:v>
                </c:pt>
                <c:pt idx="52209">
                  <c:v>0.93113964686998396</c:v>
                </c:pt>
                <c:pt idx="52210">
                  <c:v>0.93115748171927903</c:v>
                </c:pt>
                <c:pt idx="52211">
                  <c:v>0.931175316568575</c:v>
                </c:pt>
                <c:pt idx="52212">
                  <c:v>0.93119315141786996</c:v>
                </c:pt>
                <c:pt idx="52213">
                  <c:v>0.93121098626716603</c:v>
                </c:pt>
                <c:pt idx="52214">
                  <c:v>0.93122882111646099</c:v>
                </c:pt>
                <c:pt idx="52215">
                  <c:v>0.93124665596575695</c:v>
                </c:pt>
                <c:pt idx="52216">
                  <c:v>0.93126449081505203</c:v>
                </c:pt>
                <c:pt idx="52217">
                  <c:v>0.93128232566434799</c:v>
                </c:pt>
                <c:pt idx="52218">
                  <c:v>0.93130016051364295</c:v>
                </c:pt>
                <c:pt idx="52219">
                  <c:v>0.93131799536293902</c:v>
                </c:pt>
                <c:pt idx="52220">
                  <c:v>0.93133583021223398</c:v>
                </c:pt>
                <c:pt idx="52221">
                  <c:v>0.93135366506152995</c:v>
                </c:pt>
                <c:pt idx="52222">
                  <c:v>0.93137149991082502</c:v>
                </c:pt>
                <c:pt idx="52223">
                  <c:v>0.93138933476012098</c:v>
                </c:pt>
                <c:pt idx="52224">
                  <c:v>0.93140716960941605</c:v>
                </c:pt>
                <c:pt idx="52225">
                  <c:v>0.93142500445871201</c:v>
                </c:pt>
                <c:pt idx="52226">
                  <c:v>0.93144283930800698</c:v>
                </c:pt>
                <c:pt idx="52227">
                  <c:v>0.93146067415730305</c:v>
                </c:pt>
                <c:pt idx="52228">
                  <c:v>0.93147850900659801</c:v>
                </c:pt>
                <c:pt idx="52229">
                  <c:v>0.93149634385589397</c:v>
                </c:pt>
                <c:pt idx="52230">
                  <c:v>0.93151417870518904</c:v>
                </c:pt>
                <c:pt idx="52231">
                  <c:v>0.93153201355448501</c:v>
                </c:pt>
                <c:pt idx="52232">
                  <c:v>0.93154984840378097</c:v>
                </c:pt>
                <c:pt idx="52233">
                  <c:v>0.93156768325307604</c:v>
                </c:pt>
                <c:pt idx="52234">
                  <c:v>0.931585518102372</c:v>
                </c:pt>
                <c:pt idx="52235">
                  <c:v>0.93160335295166696</c:v>
                </c:pt>
                <c:pt idx="52236">
                  <c:v>0.93162118780096304</c:v>
                </c:pt>
                <c:pt idx="52237">
                  <c:v>0.931639022650258</c:v>
                </c:pt>
                <c:pt idx="52238">
                  <c:v>0.93165685749955396</c:v>
                </c:pt>
                <c:pt idx="52239">
                  <c:v>0.93167469234884903</c:v>
                </c:pt>
                <c:pt idx="52240">
                  <c:v>0.93169252719814499</c:v>
                </c:pt>
                <c:pt idx="52241">
                  <c:v>0.93171036204743996</c:v>
                </c:pt>
                <c:pt idx="52242">
                  <c:v>0.93172819689673603</c:v>
                </c:pt>
                <c:pt idx="52243">
                  <c:v>0.93174603174603099</c:v>
                </c:pt>
                <c:pt idx="52244">
                  <c:v>0.93176386659532695</c:v>
                </c:pt>
                <c:pt idx="52245">
                  <c:v>0.93178170144462202</c:v>
                </c:pt>
                <c:pt idx="52246">
                  <c:v>0.93179953629391798</c:v>
                </c:pt>
                <c:pt idx="52247">
                  <c:v>0.93181737114321295</c:v>
                </c:pt>
                <c:pt idx="52248">
                  <c:v>0.93183520599250902</c:v>
                </c:pt>
                <c:pt idx="52249">
                  <c:v>0.93185304084180398</c:v>
                </c:pt>
                <c:pt idx="52250">
                  <c:v>0.93187087569110005</c:v>
                </c:pt>
                <c:pt idx="52251">
                  <c:v>0.93188871054039502</c:v>
                </c:pt>
                <c:pt idx="52252">
                  <c:v>0.93190654538969098</c:v>
                </c:pt>
                <c:pt idx="52253">
                  <c:v>0.93192438023898605</c:v>
                </c:pt>
                <c:pt idx="52254">
                  <c:v>0.93194221508828201</c:v>
                </c:pt>
                <c:pt idx="52255">
                  <c:v>0.93196004993757797</c:v>
                </c:pt>
                <c:pt idx="52256">
                  <c:v>0.93197788478687305</c:v>
                </c:pt>
                <c:pt idx="52257">
                  <c:v>0.93199571963616901</c:v>
                </c:pt>
                <c:pt idx="52258">
                  <c:v>0.93201355448546397</c:v>
                </c:pt>
                <c:pt idx="52259">
                  <c:v>0.93203138933476004</c:v>
                </c:pt>
                <c:pt idx="52260">
                  <c:v>0.932049224184055</c:v>
                </c:pt>
                <c:pt idx="52261">
                  <c:v>0.93206705903335096</c:v>
                </c:pt>
                <c:pt idx="52262">
                  <c:v>0.93208489388264604</c:v>
                </c:pt>
                <c:pt idx="52263">
                  <c:v>0.932102728731942</c:v>
                </c:pt>
                <c:pt idx="52264">
                  <c:v>0.93212056358123696</c:v>
                </c:pt>
                <c:pt idx="52265">
                  <c:v>0.93213839843053303</c:v>
                </c:pt>
                <c:pt idx="52266">
                  <c:v>0.93215623327982799</c:v>
                </c:pt>
                <c:pt idx="52267">
                  <c:v>0.93217406812912396</c:v>
                </c:pt>
                <c:pt idx="52268">
                  <c:v>0.93219190297841903</c:v>
                </c:pt>
                <c:pt idx="52269">
                  <c:v>0.93220973782771499</c:v>
                </c:pt>
                <c:pt idx="52270">
                  <c:v>0.93222757267700995</c:v>
                </c:pt>
                <c:pt idx="52271">
                  <c:v>0.93224540752630602</c:v>
                </c:pt>
                <c:pt idx="52272">
                  <c:v>0.93226324237560099</c:v>
                </c:pt>
                <c:pt idx="52273">
                  <c:v>0.93228107722489695</c:v>
                </c:pt>
                <c:pt idx="52274">
                  <c:v>0.93229891207419302</c:v>
                </c:pt>
                <c:pt idx="52275">
                  <c:v>0.93231674692348798</c:v>
                </c:pt>
                <c:pt idx="52276">
                  <c:v>0.93233458177278405</c:v>
                </c:pt>
                <c:pt idx="52277">
                  <c:v>0.93235241662207902</c:v>
                </c:pt>
                <c:pt idx="52278">
                  <c:v>0.93237025147137498</c:v>
                </c:pt>
                <c:pt idx="52279">
                  <c:v>0.93238808632067005</c:v>
                </c:pt>
                <c:pt idx="52280">
                  <c:v>0.93240592116996601</c:v>
                </c:pt>
                <c:pt idx="52281">
                  <c:v>0.93242375601926097</c:v>
                </c:pt>
                <c:pt idx="52282">
                  <c:v>0.93244159086855705</c:v>
                </c:pt>
                <c:pt idx="52283">
                  <c:v>0.93245942571785201</c:v>
                </c:pt>
                <c:pt idx="52284">
                  <c:v>0.93247726056714797</c:v>
                </c:pt>
                <c:pt idx="52285">
                  <c:v>0.93249509541644304</c:v>
                </c:pt>
                <c:pt idx="52286">
                  <c:v>0.932512930265739</c:v>
                </c:pt>
                <c:pt idx="52287">
                  <c:v>0.93253076511503397</c:v>
                </c:pt>
                <c:pt idx="52288">
                  <c:v>0.93254859996433004</c:v>
                </c:pt>
                <c:pt idx="52289">
                  <c:v>0.932566434813625</c:v>
                </c:pt>
                <c:pt idx="52290">
                  <c:v>0.93258426966292096</c:v>
                </c:pt>
                <c:pt idx="52291">
                  <c:v>0.93260210451221603</c:v>
                </c:pt>
                <c:pt idx="52292">
                  <c:v>0.932619939361512</c:v>
                </c:pt>
                <c:pt idx="52293">
                  <c:v>0.93263777421080796</c:v>
                </c:pt>
                <c:pt idx="52294">
                  <c:v>0.93265560906010303</c:v>
                </c:pt>
                <c:pt idx="52295">
                  <c:v>0.93267344390939899</c:v>
                </c:pt>
                <c:pt idx="52296">
                  <c:v>0.93269127875869395</c:v>
                </c:pt>
                <c:pt idx="52297">
                  <c:v>0.93270911360799003</c:v>
                </c:pt>
                <c:pt idx="52298">
                  <c:v>0.93272694845728499</c:v>
                </c:pt>
                <c:pt idx="52299">
                  <c:v>0.93274478330658095</c:v>
                </c:pt>
                <c:pt idx="52300">
                  <c:v>0.93276261815587602</c:v>
                </c:pt>
                <c:pt idx="52301">
                  <c:v>0.93278045300517198</c:v>
                </c:pt>
                <c:pt idx="52302">
                  <c:v>0.93279828785446695</c:v>
                </c:pt>
                <c:pt idx="52303">
                  <c:v>0.93281612270376302</c:v>
                </c:pt>
                <c:pt idx="52304">
                  <c:v>0.93283395755305798</c:v>
                </c:pt>
                <c:pt idx="52305">
                  <c:v>0.93285179240235405</c:v>
                </c:pt>
                <c:pt idx="52306">
                  <c:v>0.93286962725164901</c:v>
                </c:pt>
                <c:pt idx="52307">
                  <c:v>0.93288746210094498</c:v>
                </c:pt>
                <c:pt idx="52308">
                  <c:v>0.93290529695024005</c:v>
                </c:pt>
                <c:pt idx="52309">
                  <c:v>0.93292313179953601</c:v>
                </c:pt>
                <c:pt idx="52310">
                  <c:v>0.93294096664883097</c:v>
                </c:pt>
                <c:pt idx="52311">
                  <c:v>0.93295880149812704</c:v>
                </c:pt>
                <c:pt idx="52312">
                  <c:v>0.93297663634742201</c:v>
                </c:pt>
                <c:pt idx="52313">
                  <c:v>0.93299447119671797</c:v>
                </c:pt>
                <c:pt idx="52314">
                  <c:v>0.93301230604601304</c:v>
                </c:pt>
                <c:pt idx="52315">
                  <c:v>0.933030140895309</c:v>
                </c:pt>
                <c:pt idx="52316">
                  <c:v>0.93304797574460496</c:v>
                </c:pt>
                <c:pt idx="52317">
                  <c:v>0.93306581059390004</c:v>
                </c:pt>
                <c:pt idx="52318">
                  <c:v>0.933083645443196</c:v>
                </c:pt>
                <c:pt idx="52319">
                  <c:v>0.93310148029249096</c:v>
                </c:pt>
                <c:pt idx="52320">
                  <c:v>0.93311931514178703</c:v>
                </c:pt>
                <c:pt idx="52321">
                  <c:v>0.93313714999108199</c:v>
                </c:pt>
                <c:pt idx="52322">
                  <c:v>0.93315498484037795</c:v>
                </c:pt>
                <c:pt idx="52323">
                  <c:v>0.93317281968967303</c:v>
                </c:pt>
                <c:pt idx="52324">
                  <c:v>0.93319065453896899</c:v>
                </c:pt>
                <c:pt idx="52325">
                  <c:v>0.93320848938826395</c:v>
                </c:pt>
                <c:pt idx="52326">
                  <c:v>0.93322632423756002</c:v>
                </c:pt>
                <c:pt idx="52327">
                  <c:v>0.93324415908685499</c:v>
                </c:pt>
                <c:pt idx="52328">
                  <c:v>0.93326199393615095</c:v>
                </c:pt>
                <c:pt idx="52329">
                  <c:v>0.93327982878544602</c:v>
                </c:pt>
                <c:pt idx="52330">
                  <c:v>0.93329766363474198</c:v>
                </c:pt>
                <c:pt idx="52331">
                  <c:v>0.93331549848403705</c:v>
                </c:pt>
                <c:pt idx="52332">
                  <c:v>0.93333333333333302</c:v>
                </c:pt>
                <c:pt idx="52333">
                  <c:v>0.93335116818262798</c:v>
                </c:pt>
                <c:pt idx="52334">
                  <c:v>0.93336900303192405</c:v>
                </c:pt>
                <c:pt idx="52335">
                  <c:v>0.93338683788121901</c:v>
                </c:pt>
                <c:pt idx="52336">
                  <c:v>0.93340467273051497</c:v>
                </c:pt>
                <c:pt idx="52337">
                  <c:v>0.93342250757981005</c:v>
                </c:pt>
                <c:pt idx="52338">
                  <c:v>0.93344034242910601</c:v>
                </c:pt>
                <c:pt idx="52339">
                  <c:v>0.93345817727840197</c:v>
                </c:pt>
                <c:pt idx="52340">
                  <c:v>0.93347601212769704</c:v>
                </c:pt>
                <c:pt idx="52341">
                  <c:v>0.933493846976993</c:v>
                </c:pt>
                <c:pt idx="52342">
                  <c:v>0.93351168182628796</c:v>
                </c:pt>
                <c:pt idx="52343">
                  <c:v>0.93352951667558404</c:v>
                </c:pt>
                <c:pt idx="52344">
                  <c:v>0.933547351524879</c:v>
                </c:pt>
                <c:pt idx="52345">
                  <c:v>0.93356518637417496</c:v>
                </c:pt>
                <c:pt idx="52346">
                  <c:v>0.93358302122347003</c:v>
                </c:pt>
                <c:pt idx="52347">
                  <c:v>0.93360085607276599</c:v>
                </c:pt>
                <c:pt idx="52348">
                  <c:v>0.93361869092206096</c:v>
                </c:pt>
                <c:pt idx="52349">
                  <c:v>0.93363652577135703</c:v>
                </c:pt>
                <c:pt idx="52350">
                  <c:v>0.93365436062065199</c:v>
                </c:pt>
                <c:pt idx="52351">
                  <c:v>0.93367219546994795</c:v>
                </c:pt>
                <c:pt idx="52352">
                  <c:v>0.93369003031924303</c:v>
                </c:pt>
                <c:pt idx="52353">
                  <c:v>0.93370786516853899</c:v>
                </c:pt>
                <c:pt idx="52354">
                  <c:v>0.93372570001783395</c:v>
                </c:pt>
                <c:pt idx="52355">
                  <c:v>0.93374353486713002</c:v>
                </c:pt>
                <c:pt idx="52356">
                  <c:v>0.93376136971642498</c:v>
                </c:pt>
                <c:pt idx="52357">
                  <c:v>0.93377920456572105</c:v>
                </c:pt>
                <c:pt idx="52358">
                  <c:v>0.93379703941501602</c:v>
                </c:pt>
                <c:pt idx="52359">
                  <c:v>0.93381487426431198</c:v>
                </c:pt>
                <c:pt idx="52360">
                  <c:v>0.93383270911360705</c:v>
                </c:pt>
                <c:pt idx="52361">
                  <c:v>0.93385054396290301</c:v>
                </c:pt>
                <c:pt idx="52362">
                  <c:v>0.93386837881219897</c:v>
                </c:pt>
                <c:pt idx="52363">
                  <c:v>0.93388621366149405</c:v>
                </c:pt>
                <c:pt idx="52364">
                  <c:v>0.93390404851079001</c:v>
                </c:pt>
                <c:pt idx="52365">
                  <c:v>0.93392188336008497</c:v>
                </c:pt>
                <c:pt idx="52366">
                  <c:v>0.93393971820938104</c:v>
                </c:pt>
                <c:pt idx="52367">
                  <c:v>0.933957553058676</c:v>
                </c:pt>
                <c:pt idx="52368">
                  <c:v>0.93397538790797197</c:v>
                </c:pt>
                <c:pt idx="52369">
                  <c:v>0.93399322275726704</c:v>
                </c:pt>
                <c:pt idx="52370">
                  <c:v>0.934011057606563</c:v>
                </c:pt>
                <c:pt idx="52371">
                  <c:v>0.93402889245585796</c:v>
                </c:pt>
                <c:pt idx="52372">
                  <c:v>0.93404672730515403</c:v>
                </c:pt>
                <c:pt idx="52373">
                  <c:v>0.934064562154449</c:v>
                </c:pt>
                <c:pt idx="52374">
                  <c:v>0.93408239700374496</c:v>
                </c:pt>
                <c:pt idx="52375">
                  <c:v>0.93410023185304003</c:v>
                </c:pt>
                <c:pt idx="52376">
                  <c:v>0.93411806670233599</c:v>
                </c:pt>
                <c:pt idx="52377">
                  <c:v>0.93413590155163095</c:v>
                </c:pt>
                <c:pt idx="52378">
                  <c:v>0.93415373640092703</c:v>
                </c:pt>
                <c:pt idx="52379">
                  <c:v>0.93417157125022299</c:v>
                </c:pt>
                <c:pt idx="52380">
                  <c:v>0.93418940609951795</c:v>
                </c:pt>
                <c:pt idx="52381">
                  <c:v>0.93420724094881402</c:v>
                </c:pt>
                <c:pt idx="52382">
                  <c:v>0.93422507579810898</c:v>
                </c:pt>
                <c:pt idx="52383">
                  <c:v>0.93424291064740494</c:v>
                </c:pt>
                <c:pt idx="52384">
                  <c:v>0.93426074549670002</c:v>
                </c:pt>
                <c:pt idx="52385">
                  <c:v>0.93427858034599598</c:v>
                </c:pt>
                <c:pt idx="52386">
                  <c:v>0.93429641519529105</c:v>
                </c:pt>
                <c:pt idx="52387">
                  <c:v>0.93431425004458701</c:v>
                </c:pt>
                <c:pt idx="52388">
                  <c:v>0.93433208489388198</c:v>
                </c:pt>
                <c:pt idx="52389">
                  <c:v>0.93434991974317805</c:v>
                </c:pt>
                <c:pt idx="52390">
                  <c:v>0.93436775459247301</c:v>
                </c:pt>
                <c:pt idx="52391">
                  <c:v>0.93438558944176897</c:v>
                </c:pt>
                <c:pt idx="52392">
                  <c:v>0.93440342429106404</c:v>
                </c:pt>
                <c:pt idx="52393">
                  <c:v>0.93442125914036001</c:v>
                </c:pt>
                <c:pt idx="52394">
                  <c:v>0.93443909398965497</c:v>
                </c:pt>
                <c:pt idx="52395">
                  <c:v>0.93445692883895104</c:v>
                </c:pt>
                <c:pt idx="52396">
                  <c:v>0.934474763688246</c:v>
                </c:pt>
                <c:pt idx="52397">
                  <c:v>0.93449259853754196</c:v>
                </c:pt>
                <c:pt idx="52398">
                  <c:v>0.93451043338683704</c:v>
                </c:pt>
                <c:pt idx="52399">
                  <c:v>0.934528268236133</c:v>
                </c:pt>
                <c:pt idx="52400">
                  <c:v>0.93454610308542896</c:v>
                </c:pt>
                <c:pt idx="52401">
                  <c:v>0.93456393793472403</c:v>
                </c:pt>
                <c:pt idx="52402">
                  <c:v>0.93458177278401999</c:v>
                </c:pt>
                <c:pt idx="52403">
                  <c:v>0.93459960763331495</c:v>
                </c:pt>
                <c:pt idx="52404">
                  <c:v>0.93461744248261103</c:v>
                </c:pt>
                <c:pt idx="52405">
                  <c:v>0.93463527733190599</c:v>
                </c:pt>
                <c:pt idx="52406">
                  <c:v>0.93465311218120195</c:v>
                </c:pt>
                <c:pt idx="52407">
                  <c:v>0.93467094703049702</c:v>
                </c:pt>
                <c:pt idx="52408">
                  <c:v>0.93468878187979298</c:v>
                </c:pt>
                <c:pt idx="52409">
                  <c:v>0.93470661672908795</c:v>
                </c:pt>
                <c:pt idx="52410">
                  <c:v>0.93472445157838402</c:v>
                </c:pt>
                <c:pt idx="52411">
                  <c:v>0.93474228642767898</c:v>
                </c:pt>
                <c:pt idx="52412">
                  <c:v>0.93476012127697505</c:v>
                </c:pt>
                <c:pt idx="52413">
                  <c:v>0.93477795612627002</c:v>
                </c:pt>
                <c:pt idx="52414">
                  <c:v>0.93479579097556598</c:v>
                </c:pt>
                <c:pt idx="52415">
                  <c:v>0.93481362582486105</c:v>
                </c:pt>
                <c:pt idx="52416">
                  <c:v>0.93483146067415701</c:v>
                </c:pt>
                <c:pt idx="52417">
                  <c:v>0.93484929552345197</c:v>
                </c:pt>
                <c:pt idx="52418">
                  <c:v>0.93486713037274805</c:v>
                </c:pt>
                <c:pt idx="52419">
                  <c:v>0.93488496522204301</c:v>
                </c:pt>
                <c:pt idx="52420">
                  <c:v>0.93490280007133897</c:v>
                </c:pt>
                <c:pt idx="52421">
                  <c:v>0.93492063492063404</c:v>
                </c:pt>
                <c:pt idx="52422">
                  <c:v>0.93493846976993</c:v>
                </c:pt>
                <c:pt idx="52423">
                  <c:v>0.93495630461922596</c:v>
                </c:pt>
                <c:pt idx="52424">
                  <c:v>0.93497413946852104</c:v>
                </c:pt>
                <c:pt idx="52425">
                  <c:v>0.934991974317817</c:v>
                </c:pt>
                <c:pt idx="52426">
                  <c:v>0.93500980916711196</c:v>
                </c:pt>
                <c:pt idx="52427">
                  <c:v>0.93502764401640803</c:v>
                </c:pt>
                <c:pt idx="52428">
                  <c:v>0.93504547886570299</c:v>
                </c:pt>
                <c:pt idx="52429">
                  <c:v>0.93506331371499896</c:v>
                </c:pt>
                <c:pt idx="52430">
                  <c:v>0.93508114856429403</c:v>
                </c:pt>
                <c:pt idx="52431">
                  <c:v>0.93509898341358999</c:v>
                </c:pt>
                <c:pt idx="52432">
                  <c:v>0.93511681826288495</c:v>
                </c:pt>
                <c:pt idx="52433">
                  <c:v>0.93513465311218102</c:v>
                </c:pt>
                <c:pt idx="52434">
                  <c:v>0.93515248796147599</c:v>
                </c:pt>
                <c:pt idx="52435">
                  <c:v>0.93517032281077195</c:v>
                </c:pt>
                <c:pt idx="52436">
                  <c:v>0.93518815766006702</c:v>
                </c:pt>
                <c:pt idx="52437">
                  <c:v>0.93520599250936298</c:v>
                </c:pt>
                <c:pt idx="52438">
                  <c:v>0.93522382735865806</c:v>
                </c:pt>
                <c:pt idx="52439">
                  <c:v>0.93524166220795402</c:v>
                </c:pt>
                <c:pt idx="52440">
                  <c:v>0.93525949705724898</c:v>
                </c:pt>
                <c:pt idx="52441">
                  <c:v>0.93527733190654505</c:v>
                </c:pt>
                <c:pt idx="52442">
                  <c:v>0.93529516675584001</c:v>
                </c:pt>
                <c:pt idx="52443">
                  <c:v>0.93531300160513597</c:v>
                </c:pt>
                <c:pt idx="52444">
                  <c:v>0.93533083645443105</c:v>
                </c:pt>
                <c:pt idx="52445">
                  <c:v>0.93534867130372701</c:v>
                </c:pt>
                <c:pt idx="52446">
                  <c:v>0.93536650615302297</c:v>
                </c:pt>
                <c:pt idx="52447">
                  <c:v>0.93538434100231804</c:v>
                </c:pt>
                <c:pt idx="52448">
                  <c:v>0.935402175851614</c:v>
                </c:pt>
                <c:pt idx="52449">
                  <c:v>0.93542001070090897</c:v>
                </c:pt>
                <c:pt idx="52450">
                  <c:v>0.93543784555020504</c:v>
                </c:pt>
                <c:pt idx="52451">
                  <c:v>0.9354556803995</c:v>
                </c:pt>
                <c:pt idx="52452">
                  <c:v>0.93547351524879596</c:v>
                </c:pt>
                <c:pt idx="52453">
                  <c:v>0.93549135009809103</c:v>
                </c:pt>
                <c:pt idx="52454">
                  <c:v>0.935509184947387</c:v>
                </c:pt>
                <c:pt idx="52455">
                  <c:v>0.93552701979668196</c:v>
                </c:pt>
                <c:pt idx="52456">
                  <c:v>0.93554485464597803</c:v>
                </c:pt>
                <c:pt idx="52457">
                  <c:v>0.93556268949527299</c:v>
                </c:pt>
                <c:pt idx="52458">
                  <c:v>0.93558052434456895</c:v>
                </c:pt>
                <c:pt idx="52459">
                  <c:v>0.93559835919386403</c:v>
                </c:pt>
                <c:pt idx="52460">
                  <c:v>0.93561619404315999</c:v>
                </c:pt>
                <c:pt idx="52461">
                  <c:v>0.93563402889245495</c:v>
                </c:pt>
                <c:pt idx="52462">
                  <c:v>0.93565186374175102</c:v>
                </c:pt>
                <c:pt idx="52463">
                  <c:v>0.93566969859104598</c:v>
                </c:pt>
                <c:pt idx="52464">
                  <c:v>0.93568753344034195</c:v>
                </c:pt>
                <c:pt idx="52465">
                  <c:v>0.93570536828963702</c:v>
                </c:pt>
                <c:pt idx="52466">
                  <c:v>0.93572320313893298</c:v>
                </c:pt>
                <c:pt idx="52467">
                  <c:v>0.93574103798822905</c:v>
                </c:pt>
                <c:pt idx="52468">
                  <c:v>0.93575887283752401</c:v>
                </c:pt>
                <c:pt idx="52469">
                  <c:v>0.93577670768681998</c:v>
                </c:pt>
                <c:pt idx="52470">
                  <c:v>0.93579454253611505</c:v>
                </c:pt>
                <c:pt idx="52471">
                  <c:v>0.93581237738541101</c:v>
                </c:pt>
                <c:pt idx="52472">
                  <c:v>0.93583021223470597</c:v>
                </c:pt>
                <c:pt idx="52473">
                  <c:v>0.93584804708400204</c:v>
                </c:pt>
                <c:pt idx="52474">
                  <c:v>0.93586588193329701</c:v>
                </c:pt>
                <c:pt idx="52475">
                  <c:v>0.93588371678259297</c:v>
                </c:pt>
                <c:pt idx="52476">
                  <c:v>0.93590155163188804</c:v>
                </c:pt>
                <c:pt idx="52477">
                  <c:v>0.935919386481184</c:v>
                </c:pt>
                <c:pt idx="52478">
                  <c:v>0.93593722133047896</c:v>
                </c:pt>
                <c:pt idx="52479">
                  <c:v>0.93595505617977504</c:v>
                </c:pt>
                <c:pt idx="52480">
                  <c:v>0.93597289102907</c:v>
                </c:pt>
                <c:pt idx="52481">
                  <c:v>0.93599072587836596</c:v>
                </c:pt>
                <c:pt idx="52482">
                  <c:v>0.93600856072766103</c:v>
                </c:pt>
                <c:pt idx="52483">
                  <c:v>0.93602639557695699</c:v>
                </c:pt>
                <c:pt idx="52484">
                  <c:v>0.93604423042625196</c:v>
                </c:pt>
                <c:pt idx="52485">
                  <c:v>0.93606206527554803</c:v>
                </c:pt>
                <c:pt idx="52486">
                  <c:v>0.93607990012484399</c:v>
                </c:pt>
                <c:pt idx="52487">
                  <c:v>0.93609773497413895</c:v>
                </c:pt>
                <c:pt idx="52488">
                  <c:v>0.93611556982343502</c:v>
                </c:pt>
                <c:pt idx="52489">
                  <c:v>0.93613340467272999</c:v>
                </c:pt>
                <c:pt idx="52490">
                  <c:v>0.93615123952202595</c:v>
                </c:pt>
                <c:pt idx="52491">
                  <c:v>0.93616907437132102</c:v>
                </c:pt>
                <c:pt idx="52492">
                  <c:v>0.93618690922061698</c:v>
                </c:pt>
                <c:pt idx="52493">
                  <c:v>0.93620474406991205</c:v>
                </c:pt>
                <c:pt idx="52494">
                  <c:v>0.93622257891920801</c:v>
                </c:pt>
                <c:pt idx="52495">
                  <c:v>0.93624041376850298</c:v>
                </c:pt>
                <c:pt idx="52496">
                  <c:v>0.93625824861779905</c:v>
                </c:pt>
                <c:pt idx="52497">
                  <c:v>0.93627608346709401</c:v>
                </c:pt>
                <c:pt idx="52498">
                  <c:v>0.93629391831638997</c:v>
                </c:pt>
                <c:pt idx="52499">
                  <c:v>0.93631175316568505</c:v>
                </c:pt>
                <c:pt idx="52500">
                  <c:v>0.93632958801498101</c:v>
                </c:pt>
                <c:pt idx="52501">
                  <c:v>0.93634742286427597</c:v>
                </c:pt>
                <c:pt idx="52502">
                  <c:v>0.93636525771357204</c:v>
                </c:pt>
                <c:pt idx="52503">
                  <c:v>0.936383092562867</c:v>
                </c:pt>
                <c:pt idx="52504">
                  <c:v>0.93640092741216296</c:v>
                </c:pt>
                <c:pt idx="52505">
                  <c:v>0.93641876226145804</c:v>
                </c:pt>
                <c:pt idx="52506">
                  <c:v>0.936436597110754</c:v>
                </c:pt>
                <c:pt idx="52507">
                  <c:v>0.93645443196004996</c:v>
                </c:pt>
                <c:pt idx="52508">
                  <c:v>0.93647226680934503</c:v>
                </c:pt>
                <c:pt idx="52509">
                  <c:v>0.93649010165864099</c:v>
                </c:pt>
                <c:pt idx="52510">
                  <c:v>0.93650793650793596</c:v>
                </c:pt>
                <c:pt idx="52511">
                  <c:v>0.93652577135723203</c:v>
                </c:pt>
                <c:pt idx="52512">
                  <c:v>0.93654360620652699</c:v>
                </c:pt>
                <c:pt idx="52513">
                  <c:v>0.93656144105582295</c:v>
                </c:pt>
                <c:pt idx="52514">
                  <c:v>0.93657927590511802</c:v>
                </c:pt>
                <c:pt idx="52515">
                  <c:v>0.93659711075441399</c:v>
                </c:pt>
                <c:pt idx="52516">
                  <c:v>0.93661494560370895</c:v>
                </c:pt>
                <c:pt idx="52517">
                  <c:v>0.93663278045300502</c:v>
                </c:pt>
                <c:pt idx="52518">
                  <c:v>0.93665061530229998</c:v>
                </c:pt>
                <c:pt idx="52519">
                  <c:v>0.93666845015159605</c:v>
                </c:pt>
                <c:pt idx="52520">
                  <c:v>0.93668628500089102</c:v>
                </c:pt>
                <c:pt idx="52521">
                  <c:v>0.93670411985018698</c:v>
                </c:pt>
                <c:pt idx="52522">
                  <c:v>0.93672195469948205</c:v>
                </c:pt>
                <c:pt idx="52523">
                  <c:v>0.93673978954877801</c:v>
                </c:pt>
                <c:pt idx="52524">
                  <c:v>0.93675762439807297</c:v>
                </c:pt>
                <c:pt idx="52525">
                  <c:v>0.93677545924736905</c:v>
                </c:pt>
                <c:pt idx="52526">
                  <c:v>0.93679329409666401</c:v>
                </c:pt>
                <c:pt idx="52527">
                  <c:v>0.93681112894595997</c:v>
                </c:pt>
                <c:pt idx="52528">
                  <c:v>0.93682896379525504</c:v>
                </c:pt>
                <c:pt idx="52529">
                  <c:v>0.936846798644551</c:v>
                </c:pt>
                <c:pt idx="52530">
                  <c:v>0.93686463349384697</c:v>
                </c:pt>
                <c:pt idx="52531">
                  <c:v>0.93688246834314204</c:v>
                </c:pt>
                <c:pt idx="52532">
                  <c:v>0.936900303192438</c:v>
                </c:pt>
                <c:pt idx="52533">
                  <c:v>0.93691813804173296</c:v>
                </c:pt>
                <c:pt idx="52534">
                  <c:v>0.93693597289102903</c:v>
                </c:pt>
                <c:pt idx="52535">
                  <c:v>0.936953807740324</c:v>
                </c:pt>
                <c:pt idx="52536">
                  <c:v>0.93697164258961996</c:v>
                </c:pt>
                <c:pt idx="52537">
                  <c:v>0.93698947743891503</c:v>
                </c:pt>
                <c:pt idx="52538">
                  <c:v>0.93700731228821099</c:v>
                </c:pt>
                <c:pt idx="52539">
                  <c:v>0.93702514713750595</c:v>
                </c:pt>
                <c:pt idx="52540">
                  <c:v>0.93704298198680203</c:v>
                </c:pt>
                <c:pt idx="52541">
                  <c:v>0.93706081683609699</c:v>
                </c:pt>
                <c:pt idx="52542">
                  <c:v>0.93707865168539295</c:v>
                </c:pt>
                <c:pt idx="52543">
                  <c:v>0.93709648653468802</c:v>
                </c:pt>
                <c:pt idx="52544">
                  <c:v>0.93711432138398398</c:v>
                </c:pt>
                <c:pt idx="52545">
                  <c:v>0.93713215623327895</c:v>
                </c:pt>
                <c:pt idx="52546">
                  <c:v>0.93714999108257502</c:v>
                </c:pt>
                <c:pt idx="52547">
                  <c:v>0.93716782593186998</c:v>
                </c:pt>
                <c:pt idx="52548">
                  <c:v>0.93718566078116605</c:v>
                </c:pt>
                <c:pt idx="52549">
                  <c:v>0.93720349563046101</c:v>
                </c:pt>
                <c:pt idx="52550">
                  <c:v>0.93722133047975698</c:v>
                </c:pt>
                <c:pt idx="52551">
                  <c:v>0.93723916532905205</c:v>
                </c:pt>
                <c:pt idx="52552">
                  <c:v>0.93725700017834801</c:v>
                </c:pt>
                <c:pt idx="52553">
                  <c:v>0.93727483502764397</c:v>
                </c:pt>
                <c:pt idx="52554">
                  <c:v>0.93729266987693904</c:v>
                </c:pt>
                <c:pt idx="52555">
                  <c:v>0.93731050472623501</c:v>
                </c:pt>
                <c:pt idx="52556">
                  <c:v>0.93732833957552997</c:v>
                </c:pt>
                <c:pt idx="52557">
                  <c:v>0.93734617442482604</c:v>
                </c:pt>
                <c:pt idx="52558">
                  <c:v>0.937364009274121</c:v>
                </c:pt>
                <c:pt idx="52559">
                  <c:v>0.93738184412341696</c:v>
                </c:pt>
                <c:pt idx="52560">
                  <c:v>0.93739967897271204</c:v>
                </c:pt>
                <c:pt idx="52561">
                  <c:v>0.937417513822008</c:v>
                </c:pt>
                <c:pt idx="52562">
                  <c:v>0.93743534867130296</c:v>
                </c:pt>
                <c:pt idx="52563">
                  <c:v>0.93745318352059903</c:v>
                </c:pt>
                <c:pt idx="52564">
                  <c:v>0.93747101836989399</c:v>
                </c:pt>
                <c:pt idx="52565">
                  <c:v>0.93748885321918995</c:v>
                </c:pt>
                <c:pt idx="52566">
                  <c:v>0.93750668806848503</c:v>
                </c:pt>
                <c:pt idx="52567">
                  <c:v>0.93752452291778099</c:v>
                </c:pt>
                <c:pt idx="52568">
                  <c:v>0.93754235776707595</c:v>
                </c:pt>
                <c:pt idx="52569">
                  <c:v>0.93756019261637202</c:v>
                </c:pt>
                <c:pt idx="52570">
                  <c:v>0.93757802746566699</c:v>
                </c:pt>
                <c:pt idx="52571">
                  <c:v>0.93759586231496295</c:v>
                </c:pt>
                <c:pt idx="52572">
                  <c:v>0.93761369716425802</c:v>
                </c:pt>
                <c:pt idx="52573">
                  <c:v>0.93763153201355398</c:v>
                </c:pt>
                <c:pt idx="52574">
                  <c:v>0.93764936686285005</c:v>
                </c:pt>
                <c:pt idx="52575">
                  <c:v>0.93766720171214502</c:v>
                </c:pt>
                <c:pt idx="52576">
                  <c:v>0.93768503656144098</c:v>
                </c:pt>
                <c:pt idx="52577">
                  <c:v>0.93770287141073605</c:v>
                </c:pt>
                <c:pt idx="52578">
                  <c:v>0.93772070626003201</c:v>
                </c:pt>
                <c:pt idx="52579">
                  <c:v>0.93773854110932697</c:v>
                </c:pt>
                <c:pt idx="52580">
                  <c:v>0.93775637595862305</c:v>
                </c:pt>
                <c:pt idx="52581">
                  <c:v>0.93777421080791801</c:v>
                </c:pt>
                <c:pt idx="52582">
                  <c:v>0.93779204565721397</c:v>
                </c:pt>
                <c:pt idx="52583">
                  <c:v>0.93780988050650904</c:v>
                </c:pt>
                <c:pt idx="52584">
                  <c:v>0.937827715355805</c:v>
                </c:pt>
                <c:pt idx="52585">
                  <c:v>0.93784555020509996</c:v>
                </c:pt>
                <c:pt idx="52586">
                  <c:v>0.93786338505439604</c:v>
                </c:pt>
                <c:pt idx="52587">
                  <c:v>0.937881219903691</c:v>
                </c:pt>
                <c:pt idx="52588">
                  <c:v>0.93789905475298696</c:v>
                </c:pt>
                <c:pt idx="52589">
                  <c:v>0.93791688960228203</c:v>
                </c:pt>
                <c:pt idx="52590">
                  <c:v>0.93793472445157799</c:v>
                </c:pt>
                <c:pt idx="52591">
                  <c:v>0.93795255930087396</c:v>
                </c:pt>
                <c:pt idx="52592">
                  <c:v>0.93797039415016903</c:v>
                </c:pt>
                <c:pt idx="52593">
                  <c:v>0.93798822899946499</c:v>
                </c:pt>
                <c:pt idx="52594">
                  <c:v>0.93800606384875995</c:v>
                </c:pt>
                <c:pt idx="52595">
                  <c:v>0.93802389869805602</c:v>
                </c:pt>
                <c:pt idx="52596">
                  <c:v>0.93804173354735099</c:v>
                </c:pt>
                <c:pt idx="52597">
                  <c:v>0.93805956839664695</c:v>
                </c:pt>
                <c:pt idx="52598">
                  <c:v>0.93807740324594202</c:v>
                </c:pt>
                <c:pt idx="52599">
                  <c:v>0.93809523809523798</c:v>
                </c:pt>
                <c:pt idx="52600">
                  <c:v>0.93811307294453306</c:v>
                </c:pt>
                <c:pt idx="52601">
                  <c:v>0.93813090779382902</c:v>
                </c:pt>
                <c:pt idx="52602">
                  <c:v>0.93814874264312398</c:v>
                </c:pt>
                <c:pt idx="52603">
                  <c:v>0.93816657749242005</c:v>
                </c:pt>
                <c:pt idx="52604">
                  <c:v>0.93818441234171501</c:v>
                </c:pt>
                <c:pt idx="52605">
                  <c:v>0.93820224719101097</c:v>
                </c:pt>
                <c:pt idx="52606">
                  <c:v>0.93822008204030605</c:v>
                </c:pt>
                <c:pt idx="52607">
                  <c:v>0.93823791688960201</c:v>
                </c:pt>
                <c:pt idx="52608">
                  <c:v>0.93825575173889697</c:v>
                </c:pt>
                <c:pt idx="52609">
                  <c:v>0.93827358658819304</c:v>
                </c:pt>
                <c:pt idx="52610">
                  <c:v>0.938291421437488</c:v>
                </c:pt>
                <c:pt idx="52611">
                  <c:v>0.93830925628678397</c:v>
                </c:pt>
                <c:pt idx="52612">
                  <c:v>0.93832709113607904</c:v>
                </c:pt>
                <c:pt idx="52613">
                  <c:v>0.938344925985375</c:v>
                </c:pt>
                <c:pt idx="52614">
                  <c:v>0.93836276083467096</c:v>
                </c:pt>
                <c:pt idx="52615">
                  <c:v>0.93838059568396603</c:v>
                </c:pt>
                <c:pt idx="52616">
                  <c:v>0.938398430533262</c:v>
                </c:pt>
                <c:pt idx="52617">
                  <c:v>0.93841626538255696</c:v>
                </c:pt>
                <c:pt idx="52618">
                  <c:v>0.93843410023185303</c:v>
                </c:pt>
                <c:pt idx="52619">
                  <c:v>0.93845193508114799</c:v>
                </c:pt>
                <c:pt idx="52620">
                  <c:v>0.93846976993044395</c:v>
                </c:pt>
                <c:pt idx="52621">
                  <c:v>0.93848760477973903</c:v>
                </c:pt>
                <c:pt idx="52622">
                  <c:v>0.93850543962903499</c:v>
                </c:pt>
                <c:pt idx="52623">
                  <c:v>0.93852327447832995</c:v>
                </c:pt>
                <c:pt idx="52624">
                  <c:v>0.93854110932762602</c:v>
                </c:pt>
                <c:pt idx="52625">
                  <c:v>0.93855894417692098</c:v>
                </c:pt>
                <c:pt idx="52626">
                  <c:v>0.93857677902621695</c:v>
                </c:pt>
                <c:pt idx="52627">
                  <c:v>0.93859461387551202</c:v>
                </c:pt>
                <c:pt idx="52628">
                  <c:v>0.93861244872480798</c:v>
                </c:pt>
                <c:pt idx="52629">
                  <c:v>0.93863028357410305</c:v>
                </c:pt>
                <c:pt idx="52630">
                  <c:v>0.93864811842339901</c:v>
                </c:pt>
                <c:pt idx="52631">
                  <c:v>0.93866595327269398</c:v>
                </c:pt>
                <c:pt idx="52632">
                  <c:v>0.93868378812199005</c:v>
                </c:pt>
                <c:pt idx="52633">
                  <c:v>0.93870162297128501</c:v>
                </c:pt>
                <c:pt idx="52634">
                  <c:v>0.93871945782058097</c:v>
                </c:pt>
                <c:pt idx="52635">
                  <c:v>0.93873729266987604</c:v>
                </c:pt>
                <c:pt idx="52636">
                  <c:v>0.93875512751917201</c:v>
                </c:pt>
                <c:pt idx="52637">
                  <c:v>0.93877296236846797</c:v>
                </c:pt>
                <c:pt idx="52638">
                  <c:v>0.93879079721776304</c:v>
                </c:pt>
                <c:pt idx="52639">
                  <c:v>0.938808632067059</c:v>
                </c:pt>
                <c:pt idx="52640">
                  <c:v>0.93882646691635396</c:v>
                </c:pt>
                <c:pt idx="52641">
                  <c:v>0.93884430176565004</c:v>
                </c:pt>
                <c:pt idx="52642">
                  <c:v>0.938862136614945</c:v>
                </c:pt>
                <c:pt idx="52643">
                  <c:v>0.93887997146424096</c:v>
                </c:pt>
                <c:pt idx="52644">
                  <c:v>0.93889780631353603</c:v>
                </c:pt>
                <c:pt idx="52645">
                  <c:v>0.93891564116283199</c:v>
                </c:pt>
                <c:pt idx="52646">
                  <c:v>0.93893347601212696</c:v>
                </c:pt>
                <c:pt idx="52647">
                  <c:v>0.93895131086142303</c:v>
                </c:pt>
                <c:pt idx="52648">
                  <c:v>0.93896914571071799</c:v>
                </c:pt>
                <c:pt idx="52649">
                  <c:v>0.93898698056001395</c:v>
                </c:pt>
                <c:pt idx="52650">
                  <c:v>0.93900481540930902</c:v>
                </c:pt>
                <c:pt idx="52651">
                  <c:v>0.93902265025860499</c:v>
                </c:pt>
                <c:pt idx="52652">
                  <c:v>0.93904048510789995</c:v>
                </c:pt>
                <c:pt idx="52653">
                  <c:v>0.93905831995719602</c:v>
                </c:pt>
                <c:pt idx="52654">
                  <c:v>0.93907615480649098</c:v>
                </c:pt>
                <c:pt idx="52655">
                  <c:v>0.93909398965578705</c:v>
                </c:pt>
                <c:pt idx="52656">
                  <c:v>0.93911182450508202</c:v>
                </c:pt>
                <c:pt idx="52657">
                  <c:v>0.93912965935437798</c:v>
                </c:pt>
                <c:pt idx="52658">
                  <c:v>0.93914749420367305</c:v>
                </c:pt>
                <c:pt idx="52659">
                  <c:v>0.93916532905296901</c:v>
                </c:pt>
                <c:pt idx="52660">
                  <c:v>0.93918316390226497</c:v>
                </c:pt>
                <c:pt idx="52661">
                  <c:v>0.93920099875156005</c:v>
                </c:pt>
                <c:pt idx="52662">
                  <c:v>0.93921883360085601</c:v>
                </c:pt>
                <c:pt idx="52663">
                  <c:v>0.93923666845015097</c:v>
                </c:pt>
                <c:pt idx="52664">
                  <c:v>0.93925450329944704</c:v>
                </c:pt>
                <c:pt idx="52665">
                  <c:v>0.939272338148742</c:v>
                </c:pt>
                <c:pt idx="52666">
                  <c:v>0.93929017299803796</c:v>
                </c:pt>
                <c:pt idx="52667">
                  <c:v>0.93930800784733304</c:v>
                </c:pt>
                <c:pt idx="52668">
                  <c:v>0.939325842696629</c:v>
                </c:pt>
                <c:pt idx="52669">
                  <c:v>0.93934367754592396</c:v>
                </c:pt>
                <c:pt idx="52670">
                  <c:v>0.93936151239522003</c:v>
                </c:pt>
                <c:pt idx="52671">
                  <c:v>0.939379347244515</c:v>
                </c:pt>
                <c:pt idx="52672">
                  <c:v>0.93939718209381096</c:v>
                </c:pt>
                <c:pt idx="52673">
                  <c:v>0.93941501694310603</c:v>
                </c:pt>
                <c:pt idx="52674">
                  <c:v>0.93943285179240199</c:v>
                </c:pt>
                <c:pt idx="52675">
                  <c:v>0.93945068664169695</c:v>
                </c:pt>
                <c:pt idx="52676">
                  <c:v>0.93946852149099302</c:v>
                </c:pt>
                <c:pt idx="52677">
                  <c:v>0.93948635634028799</c:v>
                </c:pt>
                <c:pt idx="52678">
                  <c:v>0.93950419118958395</c:v>
                </c:pt>
                <c:pt idx="52679">
                  <c:v>0.93952202603888002</c:v>
                </c:pt>
                <c:pt idx="52680">
                  <c:v>0.93953986088817498</c:v>
                </c:pt>
                <c:pt idx="52681">
                  <c:v>0.93955769573747105</c:v>
                </c:pt>
                <c:pt idx="52682">
                  <c:v>0.93957553058676602</c:v>
                </c:pt>
                <c:pt idx="52683">
                  <c:v>0.93959336543606198</c:v>
                </c:pt>
                <c:pt idx="52684">
                  <c:v>0.93961120028535705</c:v>
                </c:pt>
                <c:pt idx="52685">
                  <c:v>0.93962903513465301</c:v>
                </c:pt>
                <c:pt idx="52686">
                  <c:v>0.93964686998394797</c:v>
                </c:pt>
                <c:pt idx="52687">
                  <c:v>0.93966470483324405</c:v>
                </c:pt>
                <c:pt idx="52688">
                  <c:v>0.93968253968253901</c:v>
                </c:pt>
                <c:pt idx="52689">
                  <c:v>0.93970037453183497</c:v>
                </c:pt>
                <c:pt idx="52690">
                  <c:v>0.93971820938113004</c:v>
                </c:pt>
                <c:pt idx="52691">
                  <c:v>0.939736044230426</c:v>
                </c:pt>
                <c:pt idx="52692">
                  <c:v>0.93975387907972097</c:v>
                </c:pt>
                <c:pt idx="52693">
                  <c:v>0.93977171392901704</c:v>
                </c:pt>
                <c:pt idx="52694">
                  <c:v>0.939789548778312</c:v>
                </c:pt>
                <c:pt idx="52695">
                  <c:v>0.93980738362760796</c:v>
                </c:pt>
                <c:pt idx="52696">
                  <c:v>0.93982521847690303</c:v>
                </c:pt>
                <c:pt idx="52697">
                  <c:v>0.939843053326199</c:v>
                </c:pt>
                <c:pt idx="52698">
                  <c:v>0.93986088817549496</c:v>
                </c:pt>
                <c:pt idx="52699">
                  <c:v>0.93987872302479003</c:v>
                </c:pt>
                <c:pt idx="52700">
                  <c:v>0.93989655787408599</c:v>
                </c:pt>
                <c:pt idx="52701">
                  <c:v>0.93991439272338095</c:v>
                </c:pt>
                <c:pt idx="52702">
                  <c:v>0.93993222757267703</c:v>
                </c:pt>
                <c:pt idx="52703">
                  <c:v>0.93995006242197199</c:v>
                </c:pt>
                <c:pt idx="52704">
                  <c:v>0.93996789727126795</c:v>
                </c:pt>
                <c:pt idx="52705">
                  <c:v>0.93998573212056302</c:v>
                </c:pt>
                <c:pt idx="52706">
                  <c:v>0.94000356696985898</c:v>
                </c:pt>
                <c:pt idx="52707">
                  <c:v>0.94002140181915395</c:v>
                </c:pt>
                <c:pt idx="52708">
                  <c:v>0.94003923666845002</c:v>
                </c:pt>
                <c:pt idx="52709">
                  <c:v>0.94005707151774498</c:v>
                </c:pt>
                <c:pt idx="52710">
                  <c:v>0.94007490636704105</c:v>
                </c:pt>
                <c:pt idx="52711">
                  <c:v>0.94009274121633601</c:v>
                </c:pt>
                <c:pt idx="52712">
                  <c:v>0.94011057606563198</c:v>
                </c:pt>
                <c:pt idx="52713">
                  <c:v>0.94012841091492705</c:v>
                </c:pt>
                <c:pt idx="52714">
                  <c:v>0.94014624576422301</c:v>
                </c:pt>
                <c:pt idx="52715">
                  <c:v>0.94016408061351797</c:v>
                </c:pt>
                <c:pt idx="52716">
                  <c:v>0.94018191546281404</c:v>
                </c:pt>
                <c:pt idx="52717">
                  <c:v>0.94019975031210901</c:v>
                </c:pt>
                <c:pt idx="52718">
                  <c:v>0.94021758516140497</c:v>
                </c:pt>
                <c:pt idx="52719">
                  <c:v>0.94023542001070004</c:v>
                </c:pt>
                <c:pt idx="52720">
                  <c:v>0.940253254859996</c:v>
                </c:pt>
                <c:pt idx="52721">
                  <c:v>0.94027108970929196</c:v>
                </c:pt>
                <c:pt idx="52722">
                  <c:v>0.94028892455858704</c:v>
                </c:pt>
                <c:pt idx="52723">
                  <c:v>0.940306759407883</c:v>
                </c:pt>
                <c:pt idx="52724">
                  <c:v>0.94032459425717796</c:v>
                </c:pt>
                <c:pt idx="52725">
                  <c:v>0.94034242910647403</c:v>
                </c:pt>
                <c:pt idx="52726">
                  <c:v>0.94036026395576899</c:v>
                </c:pt>
                <c:pt idx="52727">
                  <c:v>0.94037809880506495</c:v>
                </c:pt>
                <c:pt idx="52728">
                  <c:v>0.94039593365436003</c:v>
                </c:pt>
                <c:pt idx="52729">
                  <c:v>0.94041376850365599</c:v>
                </c:pt>
                <c:pt idx="52730">
                  <c:v>0.94043160335295095</c:v>
                </c:pt>
                <c:pt idx="52731">
                  <c:v>0.94044943820224702</c:v>
                </c:pt>
                <c:pt idx="52732">
                  <c:v>0.94046727305154199</c:v>
                </c:pt>
                <c:pt idx="52733">
                  <c:v>0.94048510790083795</c:v>
                </c:pt>
                <c:pt idx="52734">
                  <c:v>0.94050294275013302</c:v>
                </c:pt>
                <c:pt idx="52735">
                  <c:v>0.94052077759942898</c:v>
                </c:pt>
                <c:pt idx="52736">
                  <c:v>0.94053861244872405</c:v>
                </c:pt>
                <c:pt idx="52737">
                  <c:v>0.94055644729802002</c:v>
                </c:pt>
                <c:pt idx="52738">
                  <c:v>0.94057428214731498</c:v>
                </c:pt>
                <c:pt idx="52739">
                  <c:v>0.94059211699661105</c:v>
                </c:pt>
                <c:pt idx="52740">
                  <c:v>0.94060995184590601</c:v>
                </c:pt>
                <c:pt idx="52741">
                  <c:v>0.94062778669520197</c:v>
                </c:pt>
                <c:pt idx="52742">
                  <c:v>0.94064562154449705</c:v>
                </c:pt>
                <c:pt idx="52743">
                  <c:v>0.94066345639379301</c:v>
                </c:pt>
                <c:pt idx="52744">
                  <c:v>0.94068129124308897</c:v>
                </c:pt>
                <c:pt idx="52745">
                  <c:v>0.94069912609238404</c:v>
                </c:pt>
                <c:pt idx="52746">
                  <c:v>0.94071696094168</c:v>
                </c:pt>
                <c:pt idx="52747">
                  <c:v>0.94073479579097496</c:v>
                </c:pt>
                <c:pt idx="52748">
                  <c:v>0.94075263064027104</c:v>
                </c:pt>
                <c:pt idx="52749">
                  <c:v>0.940770465489566</c:v>
                </c:pt>
                <c:pt idx="52750">
                  <c:v>0.94078830033886196</c:v>
                </c:pt>
                <c:pt idx="52751">
                  <c:v>0.94080613518815703</c:v>
                </c:pt>
                <c:pt idx="52752">
                  <c:v>0.94082397003745299</c:v>
                </c:pt>
                <c:pt idx="52753">
                  <c:v>0.94084180488674796</c:v>
                </c:pt>
                <c:pt idx="52754">
                  <c:v>0.94085963973604403</c:v>
                </c:pt>
                <c:pt idx="52755">
                  <c:v>0.94087747458533899</c:v>
                </c:pt>
                <c:pt idx="52756">
                  <c:v>0.94089530943463495</c:v>
                </c:pt>
                <c:pt idx="52757">
                  <c:v>0.94091314428393003</c:v>
                </c:pt>
                <c:pt idx="52758">
                  <c:v>0.94093097913322599</c:v>
                </c:pt>
                <c:pt idx="52759">
                  <c:v>0.94094881398252095</c:v>
                </c:pt>
                <c:pt idx="52760">
                  <c:v>0.94096664883181702</c:v>
                </c:pt>
                <c:pt idx="52761">
                  <c:v>0.94098448368111198</c:v>
                </c:pt>
                <c:pt idx="52762">
                  <c:v>0.94100231853040806</c:v>
                </c:pt>
                <c:pt idx="52763">
                  <c:v>0.94102015337970302</c:v>
                </c:pt>
                <c:pt idx="52764">
                  <c:v>0.94103798822899898</c:v>
                </c:pt>
                <c:pt idx="52765">
                  <c:v>0.94105582307829405</c:v>
                </c:pt>
                <c:pt idx="52766">
                  <c:v>0.94107365792759001</c:v>
                </c:pt>
                <c:pt idx="52767">
                  <c:v>0.94109149277688597</c:v>
                </c:pt>
                <c:pt idx="52768">
                  <c:v>0.94110932762618105</c:v>
                </c:pt>
                <c:pt idx="52769">
                  <c:v>0.94112716247547701</c:v>
                </c:pt>
                <c:pt idx="52770">
                  <c:v>0.94114499732477197</c:v>
                </c:pt>
                <c:pt idx="52771">
                  <c:v>0.94116283217406804</c:v>
                </c:pt>
                <c:pt idx="52772">
                  <c:v>0.941180667023363</c:v>
                </c:pt>
                <c:pt idx="52773">
                  <c:v>0.94119850187265897</c:v>
                </c:pt>
                <c:pt idx="52774">
                  <c:v>0.94121633672195404</c:v>
                </c:pt>
                <c:pt idx="52775">
                  <c:v>0.94123417157125</c:v>
                </c:pt>
                <c:pt idx="52776">
                  <c:v>0.94125200642054496</c:v>
                </c:pt>
                <c:pt idx="52777">
                  <c:v>0.94126984126984103</c:v>
                </c:pt>
                <c:pt idx="52778">
                  <c:v>0.941287676119136</c:v>
                </c:pt>
                <c:pt idx="52779">
                  <c:v>0.94130551096843196</c:v>
                </c:pt>
                <c:pt idx="52780">
                  <c:v>0.94132334581772703</c:v>
                </c:pt>
                <c:pt idx="52781">
                  <c:v>0.94134118066702299</c:v>
                </c:pt>
                <c:pt idx="52782">
                  <c:v>0.94135901551631795</c:v>
                </c:pt>
                <c:pt idx="52783">
                  <c:v>0.94137685036561403</c:v>
                </c:pt>
                <c:pt idx="52784">
                  <c:v>0.94139468521490999</c:v>
                </c:pt>
                <c:pt idx="52785">
                  <c:v>0.94141252006420495</c:v>
                </c:pt>
                <c:pt idx="52786">
                  <c:v>0.94143035491350102</c:v>
                </c:pt>
                <c:pt idx="52787">
                  <c:v>0.94144818976279598</c:v>
                </c:pt>
                <c:pt idx="52788">
                  <c:v>0.94146602461209195</c:v>
                </c:pt>
                <c:pt idx="52789">
                  <c:v>0.94148385946138702</c:v>
                </c:pt>
                <c:pt idx="52790">
                  <c:v>0.94150169431068298</c:v>
                </c:pt>
                <c:pt idx="52791">
                  <c:v>0.94151952915997805</c:v>
                </c:pt>
                <c:pt idx="52792">
                  <c:v>0.94153736400927401</c:v>
                </c:pt>
                <c:pt idx="52793">
                  <c:v>0.94155519885856898</c:v>
                </c:pt>
                <c:pt idx="52794">
                  <c:v>0.94157303370786505</c:v>
                </c:pt>
                <c:pt idx="52795">
                  <c:v>0.94159086855716001</c:v>
                </c:pt>
                <c:pt idx="52796">
                  <c:v>0.94160870340645597</c:v>
                </c:pt>
                <c:pt idx="52797">
                  <c:v>0.94162653825575104</c:v>
                </c:pt>
                <c:pt idx="52798">
                  <c:v>0.94164437310504701</c:v>
                </c:pt>
                <c:pt idx="52799">
                  <c:v>0.94166220795434197</c:v>
                </c:pt>
                <c:pt idx="52800">
                  <c:v>0.94168004280363804</c:v>
                </c:pt>
                <c:pt idx="52801">
                  <c:v>0.941697877652933</c:v>
                </c:pt>
                <c:pt idx="52802">
                  <c:v>0.94171571250222896</c:v>
                </c:pt>
                <c:pt idx="52803">
                  <c:v>0.94173354735152404</c:v>
                </c:pt>
                <c:pt idx="52804">
                  <c:v>0.94175138220082</c:v>
                </c:pt>
                <c:pt idx="52805">
                  <c:v>0.94176921705011596</c:v>
                </c:pt>
                <c:pt idx="52806">
                  <c:v>0.94178705189941103</c:v>
                </c:pt>
                <c:pt idx="52807">
                  <c:v>0.94180488674870699</c:v>
                </c:pt>
                <c:pt idx="52808">
                  <c:v>0.94182272159800196</c:v>
                </c:pt>
                <c:pt idx="52809">
                  <c:v>0.94184055644729803</c:v>
                </c:pt>
                <c:pt idx="52810">
                  <c:v>0.94185839129659299</c:v>
                </c:pt>
                <c:pt idx="52811">
                  <c:v>0.94187622614588895</c:v>
                </c:pt>
                <c:pt idx="52812">
                  <c:v>0.94189406099518402</c:v>
                </c:pt>
                <c:pt idx="52813">
                  <c:v>0.94191189584447998</c:v>
                </c:pt>
                <c:pt idx="52814">
                  <c:v>0.94192973069377495</c:v>
                </c:pt>
                <c:pt idx="52815">
                  <c:v>0.94194756554307102</c:v>
                </c:pt>
                <c:pt idx="52816">
                  <c:v>0.94196540039236598</c:v>
                </c:pt>
                <c:pt idx="52817">
                  <c:v>0.94198323524166205</c:v>
                </c:pt>
                <c:pt idx="52818">
                  <c:v>0.94200107009095702</c:v>
                </c:pt>
                <c:pt idx="52819">
                  <c:v>0.94201890494025298</c:v>
                </c:pt>
                <c:pt idx="52820">
                  <c:v>0.94203673978954805</c:v>
                </c:pt>
                <c:pt idx="52821">
                  <c:v>0.94205457463884401</c:v>
                </c:pt>
                <c:pt idx="52822">
                  <c:v>0.94207240948813897</c:v>
                </c:pt>
                <c:pt idx="52823">
                  <c:v>0.94209024433743505</c:v>
                </c:pt>
                <c:pt idx="52824">
                  <c:v>0.94210807918673001</c:v>
                </c:pt>
                <c:pt idx="52825">
                  <c:v>0.94212591403602597</c:v>
                </c:pt>
                <c:pt idx="52826">
                  <c:v>0.94214374888532104</c:v>
                </c:pt>
                <c:pt idx="52827">
                  <c:v>0.942161583734617</c:v>
                </c:pt>
                <c:pt idx="52828">
                  <c:v>0.94217941858391296</c:v>
                </c:pt>
                <c:pt idx="52829">
                  <c:v>0.94219725343320804</c:v>
                </c:pt>
                <c:pt idx="52830">
                  <c:v>0.942215088282504</c:v>
                </c:pt>
                <c:pt idx="52831">
                  <c:v>0.94223292313179896</c:v>
                </c:pt>
                <c:pt idx="52832">
                  <c:v>0.94225075798109503</c:v>
                </c:pt>
                <c:pt idx="52833">
                  <c:v>0.94226859283038999</c:v>
                </c:pt>
                <c:pt idx="52834">
                  <c:v>0.94228642767968596</c:v>
                </c:pt>
                <c:pt idx="52835">
                  <c:v>0.94230426252898103</c:v>
                </c:pt>
                <c:pt idx="52836">
                  <c:v>0.94232209737827699</c:v>
                </c:pt>
                <c:pt idx="52837">
                  <c:v>0.94233993222757195</c:v>
                </c:pt>
                <c:pt idx="52838">
                  <c:v>0.94235776707686802</c:v>
                </c:pt>
                <c:pt idx="52839">
                  <c:v>0.94237560192616299</c:v>
                </c:pt>
                <c:pt idx="52840">
                  <c:v>0.94239343677545895</c:v>
                </c:pt>
                <c:pt idx="52841">
                  <c:v>0.94241127162475402</c:v>
                </c:pt>
                <c:pt idx="52842">
                  <c:v>0.94242910647404998</c:v>
                </c:pt>
                <c:pt idx="52843">
                  <c:v>0.94244694132334506</c:v>
                </c:pt>
                <c:pt idx="52844">
                  <c:v>0.94246477617264102</c:v>
                </c:pt>
                <c:pt idx="52845">
                  <c:v>0.94248261102193598</c:v>
                </c:pt>
                <c:pt idx="52846">
                  <c:v>0.94250044587123205</c:v>
                </c:pt>
                <c:pt idx="52847">
                  <c:v>0.94251828072052701</c:v>
                </c:pt>
                <c:pt idx="52848">
                  <c:v>0.94253611556982297</c:v>
                </c:pt>
                <c:pt idx="52849">
                  <c:v>0.94255395041911805</c:v>
                </c:pt>
                <c:pt idx="52850">
                  <c:v>0.94257178526841401</c:v>
                </c:pt>
                <c:pt idx="52851">
                  <c:v>0.94258962011770997</c:v>
                </c:pt>
                <c:pt idx="52852">
                  <c:v>0.94260745496700504</c:v>
                </c:pt>
                <c:pt idx="52853">
                  <c:v>0.942625289816301</c:v>
                </c:pt>
                <c:pt idx="52854">
                  <c:v>0.94264312466559597</c:v>
                </c:pt>
                <c:pt idx="52855">
                  <c:v>0.94266095951489204</c:v>
                </c:pt>
                <c:pt idx="52856">
                  <c:v>0.942678794364187</c:v>
                </c:pt>
                <c:pt idx="52857">
                  <c:v>0.94269662921348296</c:v>
                </c:pt>
                <c:pt idx="52858">
                  <c:v>0.94271446406277803</c:v>
                </c:pt>
                <c:pt idx="52859">
                  <c:v>0.942732298912074</c:v>
                </c:pt>
                <c:pt idx="52860">
                  <c:v>0.94275013376136896</c:v>
                </c:pt>
                <c:pt idx="52861">
                  <c:v>0.94276796861066503</c:v>
                </c:pt>
                <c:pt idx="52862">
                  <c:v>0.94278580345995999</c:v>
                </c:pt>
                <c:pt idx="52863">
                  <c:v>0.94280363830925595</c:v>
                </c:pt>
                <c:pt idx="52864">
                  <c:v>0.94282147315855103</c:v>
                </c:pt>
                <c:pt idx="52865">
                  <c:v>0.94283930800784699</c:v>
                </c:pt>
                <c:pt idx="52866">
                  <c:v>0.94285714285714195</c:v>
                </c:pt>
                <c:pt idx="52867">
                  <c:v>0.94287497770643802</c:v>
                </c:pt>
                <c:pt idx="52868">
                  <c:v>0.94289281255573298</c:v>
                </c:pt>
                <c:pt idx="52869">
                  <c:v>0.94291064740502895</c:v>
                </c:pt>
                <c:pt idx="52870">
                  <c:v>0.94292848225432402</c:v>
                </c:pt>
                <c:pt idx="52871">
                  <c:v>0.94294631710361998</c:v>
                </c:pt>
                <c:pt idx="52872">
                  <c:v>0.94296415195291605</c:v>
                </c:pt>
                <c:pt idx="52873">
                  <c:v>0.94298198680221101</c:v>
                </c:pt>
                <c:pt idx="52874">
                  <c:v>0.94299982165150698</c:v>
                </c:pt>
                <c:pt idx="52875">
                  <c:v>0.94301765650080205</c:v>
                </c:pt>
                <c:pt idx="52876">
                  <c:v>0.94303549135009801</c:v>
                </c:pt>
                <c:pt idx="52877">
                  <c:v>0.94305332619939297</c:v>
                </c:pt>
                <c:pt idx="52878">
                  <c:v>0.94307116104868904</c:v>
                </c:pt>
                <c:pt idx="52879">
                  <c:v>0.94308899589798401</c:v>
                </c:pt>
                <c:pt idx="52880">
                  <c:v>0.94310683074727997</c:v>
                </c:pt>
                <c:pt idx="52881">
                  <c:v>0.94312466559657504</c:v>
                </c:pt>
                <c:pt idx="52882">
                  <c:v>0.943142500445871</c:v>
                </c:pt>
                <c:pt idx="52883">
                  <c:v>0.94316033529516596</c:v>
                </c:pt>
                <c:pt idx="52884">
                  <c:v>0.94317817014446204</c:v>
                </c:pt>
                <c:pt idx="52885">
                  <c:v>0.943196004993757</c:v>
                </c:pt>
                <c:pt idx="52886">
                  <c:v>0.94321383984305296</c:v>
                </c:pt>
                <c:pt idx="52887">
                  <c:v>0.94323167469234803</c:v>
                </c:pt>
                <c:pt idx="52888">
                  <c:v>0.94324950954164399</c:v>
                </c:pt>
                <c:pt idx="52889">
                  <c:v>0.94326734439093896</c:v>
                </c:pt>
                <c:pt idx="52890">
                  <c:v>0.94328517924023503</c:v>
                </c:pt>
                <c:pt idx="52891">
                  <c:v>0.94330301408953099</c:v>
                </c:pt>
                <c:pt idx="52892">
                  <c:v>0.94332084893882595</c:v>
                </c:pt>
                <c:pt idx="52893">
                  <c:v>0.94333868378812202</c:v>
                </c:pt>
                <c:pt idx="52894">
                  <c:v>0.94335651863741699</c:v>
                </c:pt>
                <c:pt idx="52895">
                  <c:v>0.94337435348671295</c:v>
                </c:pt>
                <c:pt idx="52896">
                  <c:v>0.94339218833600802</c:v>
                </c:pt>
                <c:pt idx="52897">
                  <c:v>0.94341002318530398</c:v>
                </c:pt>
                <c:pt idx="52898">
                  <c:v>0.94342785803459905</c:v>
                </c:pt>
                <c:pt idx="52899">
                  <c:v>0.94344569288389502</c:v>
                </c:pt>
                <c:pt idx="52900">
                  <c:v>0.94346352773318998</c:v>
                </c:pt>
                <c:pt idx="52901">
                  <c:v>0.94348136258248605</c:v>
                </c:pt>
                <c:pt idx="52902">
                  <c:v>0.94349919743178101</c:v>
                </c:pt>
                <c:pt idx="52903">
                  <c:v>0.94351703228107697</c:v>
                </c:pt>
                <c:pt idx="52904">
                  <c:v>0.94353486713037205</c:v>
                </c:pt>
                <c:pt idx="52905">
                  <c:v>0.94355270197966801</c:v>
                </c:pt>
                <c:pt idx="52906">
                  <c:v>0.94357053682896297</c:v>
                </c:pt>
                <c:pt idx="52907">
                  <c:v>0.94358837167825904</c:v>
                </c:pt>
                <c:pt idx="52908">
                  <c:v>0.943606206527554</c:v>
                </c:pt>
                <c:pt idx="52909">
                  <c:v>0.94362404137684996</c:v>
                </c:pt>
                <c:pt idx="52910">
                  <c:v>0.94364187622614504</c:v>
                </c:pt>
                <c:pt idx="52911">
                  <c:v>0.943659711075441</c:v>
                </c:pt>
                <c:pt idx="52912">
                  <c:v>0.94367754592473696</c:v>
                </c:pt>
                <c:pt idx="52913">
                  <c:v>0.94369538077403203</c:v>
                </c:pt>
                <c:pt idx="52914">
                  <c:v>0.94371321562332799</c:v>
                </c:pt>
                <c:pt idx="52915">
                  <c:v>0.94373105047262296</c:v>
                </c:pt>
                <c:pt idx="52916">
                  <c:v>0.94374888532191903</c:v>
                </c:pt>
                <c:pt idx="52917">
                  <c:v>0.94376672017121399</c:v>
                </c:pt>
                <c:pt idx="52918">
                  <c:v>0.94378455502050995</c:v>
                </c:pt>
                <c:pt idx="52919">
                  <c:v>0.94380238986980503</c:v>
                </c:pt>
                <c:pt idx="52920">
                  <c:v>0.94382022471910099</c:v>
                </c:pt>
                <c:pt idx="52921">
                  <c:v>0.94383805956839595</c:v>
                </c:pt>
                <c:pt idx="52922">
                  <c:v>0.94385589441769202</c:v>
                </c:pt>
                <c:pt idx="52923">
                  <c:v>0.94387372926698698</c:v>
                </c:pt>
                <c:pt idx="52924">
                  <c:v>0.94389156411628305</c:v>
                </c:pt>
                <c:pt idx="52925">
                  <c:v>0.94390939896557802</c:v>
                </c:pt>
                <c:pt idx="52926">
                  <c:v>0.94392723381487398</c:v>
                </c:pt>
                <c:pt idx="52927">
                  <c:v>0.94394506866416905</c:v>
                </c:pt>
                <c:pt idx="52928">
                  <c:v>0.94396290351346501</c:v>
                </c:pt>
                <c:pt idx="52929">
                  <c:v>0.94398073836275997</c:v>
                </c:pt>
                <c:pt idx="52930">
                  <c:v>0.94399857321205605</c:v>
                </c:pt>
                <c:pt idx="52931">
                  <c:v>0.94401640806135101</c:v>
                </c:pt>
                <c:pt idx="52932">
                  <c:v>0.94403424291064697</c:v>
                </c:pt>
                <c:pt idx="52933">
                  <c:v>0.94405207775994204</c:v>
                </c:pt>
                <c:pt idx="52934">
                  <c:v>0.944069912609238</c:v>
                </c:pt>
                <c:pt idx="52935">
                  <c:v>0.94408774745853397</c:v>
                </c:pt>
                <c:pt idx="52936">
                  <c:v>0.94410558230782904</c:v>
                </c:pt>
                <c:pt idx="52937">
                  <c:v>0.944123417157125</c:v>
                </c:pt>
                <c:pt idx="52938">
                  <c:v>0.94414125200641996</c:v>
                </c:pt>
                <c:pt idx="52939">
                  <c:v>0.94415908685571603</c:v>
                </c:pt>
                <c:pt idx="52940">
                  <c:v>0.944176921705011</c:v>
                </c:pt>
                <c:pt idx="52941">
                  <c:v>0.94419475655430696</c:v>
                </c:pt>
                <c:pt idx="52942">
                  <c:v>0.94421259140360203</c:v>
                </c:pt>
                <c:pt idx="52943">
                  <c:v>0.94423042625289799</c:v>
                </c:pt>
                <c:pt idx="52944">
                  <c:v>0.94424826110219295</c:v>
                </c:pt>
                <c:pt idx="52945">
                  <c:v>0.94426609595148903</c:v>
                </c:pt>
                <c:pt idx="52946">
                  <c:v>0.94428393080078399</c:v>
                </c:pt>
                <c:pt idx="52947">
                  <c:v>0.94430176565007995</c:v>
                </c:pt>
                <c:pt idx="52948">
                  <c:v>0.94431960049937502</c:v>
                </c:pt>
                <c:pt idx="52949">
                  <c:v>0.94433743534867098</c:v>
                </c:pt>
                <c:pt idx="52950">
                  <c:v>0.94435527019796595</c:v>
                </c:pt>
                <c:pt idx="52951">
                  <c:v>0.94437310504726202</c:v>
                </c:pt>
                <c:pt idx="52952">
                  <c:v>0.94439093989655698</c:v>
                </c:pt>
                <c:pt idx="52953">
                  <c:v>0.94440877474585305</c:v>
                </c:pt>
                <c:pt idx="52954">
                  <c:v>0.94442660959514801</c:v>
                </c:pt>
                <c:pt idx="52955">
                  <c:v>0.94444444444444398</c:v>
                </c:pt>
                <c:pt idx="52956">
                  <c:v>0.94446227929373905</c:v>
                </c:pt>
                <c:pt idx="52957">
                  <c:v>0.94448011414303501</c:v>
                </c:pt>
                <c:pt idx="52958">
                  <c:v>0.94449794899233097</c:v>
                </c:pt>
                <c:pt idx="52959">
                  <c:v>0.94451578384162604</c:v>
                </c:pt>
                <c:pt idx="52960">
                  <c:v>0.94453361869092201</c:v>
                </c:pt>
                <c:pt idx="52961">
                  <c:v>0.94455145354021697</c:v>
                </c:pt>
                <c:pt idx="52962">
                  <c:v>0.94456928838951304</c:v>
                </c:pt>
                <c:pt idx="52963">
                  <c:v>0.944587123238808</c:v>
                </c:pt>
                <c:pt idx="52964">
                  <c:v>0.94460495808810396</c:v>
                </c:pt>
                <c:pt idx="52965">
                  <c:v>0.94462279293739904</c:v>
                </c:pt>
                <c:pt idx="52966">
                  <c:v>0.944640627786695</c:v>
                </c:pt>
                <c:pt idx="52967">
                  <c:v>0.94465846263598996</c:v>
                </c:pt>
                <c:pt idx="52968">
                  <c:v>0.94467629748528603</c:v>
                </c:pt>
                <c:pt idx="52969">
                  <c:v>0.94469413233458099</c:v>
                </c:pt>
                <c:pt idx="52970">
                  <c:v>0.94471196718387696</c:v>
                </c:pt>
                <c:pt idx="52971">
                  <c:v>0.94472980203317203</c:v>
                </c:pt>
                <c:pt idx="52972">
                  <c:v>0.94474763688246799</c:v>
                </c:pt>
                <c:pt idx="52973">
                  <c:v>0.94476547173176295</c:v>
                </c:pt>
                <c:pt idx="52974">
                  <c:v>0.94478330658105902</c:v>
                </c:pt>
                <c:pt idx="52975">
                  <c:v>0.94480114143035399</c:v>
                </c:pt>
                <c:pt idx="52976">
                  <c:v>0.94481897627964995</c:v>
                </c:pt>
                <c:pt idx="52977">
                  <c:v>0.94483681112894502</c:v>
                </c:pt>
                <c:pt idx="52978">
                  <c:v>0.94485464597824098</c:v>
                </c:pt>
                <c:pt idx="52979">
                  <c:v>0.94487248082753705</c:v>
                </c:pt>
                <c:pt idx="52980">
                  <c:v>0.94489031567683202</c:v>
                </c:pt>
                <c:pt idx="52981">
                  <c:v>0.94490815052612798</c:v>
                </c:pt>
                <c:pt idx="52982">
                  <c:v>0.94492598537542305</c:v>
                </c:pt>
                <c:pt idx="52983">
                  <c:v>0.94494382022471901</c:v>
                </c:pt>
                <c:pt idx="52984">
                  <c:v>0.94496165507401397</c:v>
                </c:pt>
                <c:pt idx="52985">
                  <c:v>0.94497948992331005</c:v>
                </c:pt>
                <c:pt idx="52986">
                  <c:v>0.94499732477260501</c:v>
                </c:pt>
                <c:pt idx="52987">
                  <c:v>0.94501515962190097</c:v>
                </c:pt>
                <c:pt idx="52988">
                  <c:v>0.94503299447119604</c:v>
                </c:pt>
                <c:pt idx="52989">
                  <c:v>0.945050829320492</c:v>
                </c:pt>
                <c:pt idx="52990">
                  <c:v>0.94506866416978696</c:v>
                </c:pt>
                <c:pt idx="52991">
                  <c:v>0.94508649901908304</c:v>
                </c:pt>
                <c:pt idx="52992">
                  <c:v>0.945104333868378</c:v>
                </c:pt>
                <c:pt idx="52993">
                  <c:v>0.94512216871767396</c:v>
                </c:pt>
                <c:pt idx="52994">
                  <c:v>0.94514000356696903</c:v>
                </c:pt>
                <c:pt idx="52995">
                  <c:v>0.94515783841626499</c:v>
                </c:pt>
                <c:pt idx="52996">
                  <c:v>0.94517567326556096</c:v>
                </c:pt>
                <c:pt idx="52997">
                  <c:v>0.94519350811485603</c:v>
                </c:pt>
                <c:pt idx="52998">
                  <c:v>0.94521134296415199</c:v>
                </c:pt>
                <c:pt idx="52999">
                  <c:v>0.94522917781344695</c:v>
                </c:pt>
                <c:pt idx="53000">
                  <c:v>0.94524701266274302</c:v>
                </c:pt>
                <c:pt idx="53001">
                  <c:v>0.94526484751203799</c:v>
                </c:pt>
                <c:pt idx="53002">
                  <c:v>0.94528268236133395</c:v>
                </c:pt>
                <c:pt idx="53003">
                  <c:v>0.94530051721062902</c:v>
                </c:pt>
                <c:pt idx="53004">
                  <c:v>0.94531835205992498</c:v>
                </c:pt>
                <c:pt idx="53005">
                  <c:v>0.94533618690922006</c:v>
                </c:pt>
                <c:pt idx="53006">
                  <c:v>0.94535402175851602</c:v>
                </c:pt>
                <c:pt idx="53007">
                  <c:v>0.94537185660781098</c:v>
                </c:pt>
                <c:pt idx="53008">
                  <c:v>0.94538969145710705</c:v>
                </c:pt>
                <c:pt idx="53009">
                  <c:v>0.94540752630640201</c:v>
                </c:pt>
                <c:pt idx="53010">
                  <c:v>0.94542536115569797</c:v>
                </c:pt>
                <c:pt idx="53011">
                  <c:v>0.94544319600499305</c:v>
                </c:pt>
                <c:pt idx="53012">
                  <c:v>0.94546103085428901</c:v>
                </c:pt>
                <c:pt idx="53013">
                  <c:v>0.94547886570358397</c:v>
                </c:pt>
                <c:pt idx="53014">
                  <c:v>0.94549670055288004</c:v>
                </c:pt>
                <c:pt idx="53015">
                  <c:v>0.945514535402175</c:v>
                </c:pt>
                <c:pt idx="53016">
                  <c:v>0.94553237025147097</c:v>
                </c:pt>
                <c:pt idx="53017">
                  <c:v>0.94555020510076604</c:v>
                </c:pt>
                <c:pt idx="53018">
                  <c:v>0.945568039950062</c:v>
                </c:pt>
                <c:pt idx="53019">
                  <c:v>0.94558587479935796</c:v>
                </c:pt>
                <c:pt idx="53020">
                  <c:v>0.94560370964865303</c:v>
                </c:pt>
                <c:pt idx="53021">
                  <c:v>0.945621544497949</c:v>
                </c:pt>
                <c:pt idx="53022">
                  <c:v>0.94563937934724396</c:v>
                </c:pt>
                <c:pt idx="53023">
                  <c:v>0.94565721419654003</c:v>
                </c:pt>
                <c:pt idx="53024">
                  <c:v>0.94567504904583499</c:v>
                </c:pt>
                <c:pt idx="53025">
                  <c:v>0.94569288389513095</c:v>
                </c:pt>
                <c:pt idx="53026">
                  <c:v>0.94571071874442603</c:v>
                </c:pt>
                <c:pt idx="53027">
                  <c:v>0.94572855359372199</c:v>
                </c:pt>
                <c:pt idx="53028">
                  <c:v>0.94574638844301695</c:v>
                </c:pt>
                <c:pt idx="53029">
                  <c:v>0.94576422329231302</c:v>
                </c:pt>
                <c:pt idx="53030">
                  <c:v>0.94578205814160798</c:v>
                </c:pt>
                <c:pt idx="53031">
                  <c:v>0.94579989299090395</c:v>
                </c:pt>
                <c:pt idx="53032">
                  <c:v>0.94581772784019902</c:v>
                </c:pt>
                <c:pt idx="53033">
                  <c:v>0.94583556268949498</c:v>
                </c:pt>
                <c:pt idx="53034">
                  <c:v>0.94585339753879005</c:v>
                </c:pt>
                <c:pt idx="53035">
                  <c:v>0.94587123238808601</c:v>
                </c:pt>
                <c:pt idx="53036">
                  <c:v>0.94588906723738098</c:v>
                </c:pt>
                <c:pt idx="53037">
                  <c:v>0.94590690208667705</c:v>
                </c:pt>
                <c:pt idx="53038">
                  <c:v>0.94592473693597201</c:v>
                </c:pt>
                <c:pt idx="53039">
                  <c:v>0.94594257178526797</c:v>
                </c:pt>
                <c:pt idx="53040">
                  <c:v>0.94596040663456304</c:v>
                </c:pt>
                <c:pt idx="53041">
                  <c:v>0.94597824148385901</c:v>
                </c:pt>
                <c:pt idx="53042">
                  <c:v>0.94599607633315497</c:v>
                </c:pt>
                <c:pt idx="53043">
                  <c:v>0.94601391118245004</c:v>
                </c:pt>
                <c:pt idx="53044">
                  <c:v>0.946031746031746</c:v>
                </c:pt>
                <c:pt idx="53045">
                  <c:v>0.94604958088104096</c:v>
                </c:pt>
                <c:pt idx="53046">
                  <c:v>0.94606741573033704</c:v>
                </c:pt>
                <c:pt idx="53047">
                  <c:v>0.946085250579632</c:v>
                </c:pt>
                <c:pt idx="53048">
                  <c:v>0.94610308542892796</c:v>
                </c:pt>
                <c:pt idx="53049">
                  <c:v>0.94612092027822303</c:v>
                </c:pt>
                <c:pt idx="53050">
                  <c:v>0.94613875512751899</c:v>
                </c:pt>
                <c:pt idx="53051">
                  <c:v>0.94615658997681396</c:v>
                </c:pt>
                <c:pt idx="53052">
                  <c:v>0.94617442482611003</c:v>
                </c:pt>
                <c:pt idx="53053">
                  <c:v>0.94619225967540499</c:v>
                </c:pt>
                <c:pt idx="53054">
                  <c:v>0.94621009452470095</c:v>
                </c:pt>
                <c:pt idx="53055">
                  <c:v>0.94622792937399602</c:v>
                </c:pt>
                <c:pt idx="53056">
                  <c:v>0.94624576422329199</c:v>
                </c:pt>
                <c:pt idx="53057">
                  <c:v>0.94626359907258695</c:v>
                </c:pt>
                <c:pt idx="53058">
                  <c:v>0.94628143392188302</c:v>
                </c:pt>
                <c:pt idx="53059">
                  <c:v>0.94629926877117798</c:v>
                </c:pt>
                <c:pt idx="53060">
                  <c:v>0.94631710362047405</c:v>
                </c:pt>
                <c:pt idx="53061">
                  <c:v>0.94633493846976902</c:v>
                </c:pt>
                <c:pt idx="53062">
                  <c:v>0.94635277331906498</c:v>
                </c:pt>
                <c:pt idx="53063">
                  <c:v>0.94637060816836005</c:v>
                </c:pt>
                <c:pt idx="53064">
                  <c:v>0.94638844301765601</c:v>
                </c:pt>
                <c:pt idx="53065">
                  <c:v>0.94640627786695197</c:v>
                </c:pt>
                <c:pt idx="53066">
                  <c:v>0.94642411271624705</c:v>
                </c:pt>
                <c:pt idx="53067">
                  <c:v>0.94644194756554301</c:v>
                </c:pt>
                <c:pt idx="53068">
                  <c:v>0.94645978241483797</c:v>
                </c:pt>
                <c:pt idx="53069">
                  <c:v>0.94647761726413404</c:v>
                </c:pt>
                <c:pt idx="53070">
                  <c:v>0.946495452113429</c:v>
                </c:pt>
                <c:pt idx="53071">
                  <c:v>0.94651328696272496</c:v>
                </c:pt>
                <c:pt idx="53072">
                  <c:v>0.94653112181202004</c:v>
                </c:pt>
                <c:pt idx="53073">
                  <c:v>0.946548956661316</c:v>
                </c:pt>
                <c:pt idx="53074">
                  <c:v>0.94656679151061096</c:v>
                </c:pt>
                <c:pt idx="53075">
                  <c:v>0.94658462635990703</c:v>
                </c:pt>
                <c:pt idx="53076">
                  <c:v>0.946602461209202</c:v>
                </c:pt>
                <c:pt idx="53077">
                  <c:v>0.94662029605849796</c:v>
                </c:pt>
                <c:pt idx="53078">
                  <c:v>0.94663813090779303</c:v>
                </c:pt>
                <c:pt idx="53079">
                  <c:v>0.94665596575708899</c:v>
                </c:pt>
                <c:pt idx="53080">
                  <c:v>0.94667380060638395</c:v>
                </c:pt>
                <c:pt idx="53081">
                  <c:v>0.94669163545568003</c:v>
                </c:pt>
                <c:pt idx="53082">
                  <c:v>0.94670947030497499</c:v>
                </c:pt>
                <c:pt idx="53083">
                  <c:v>0.94672730515427095</c:v>
                </c:pt>
                <c:pt idx="53084">
                  <c:v>0.94674514000356702</c:v>
                </c:pt>
                <c:pt idx="53085">
                  <c:v>0.94676297485286198</c:v>
                </c:pt>
                <c:pt idx="53086">
                  <c:v>0.94678080970215805</c:v>
                </c:pt>
                <c:pt idx="53087">
                  <c:v>0.94679864455145302</c:v>
                </c:pt>
                <c:pt idx="53088">
                  <c:v>0.94681647940074898</c:v>
                </c:pt>
                <c:pt idx="53089">
                  <c:v>0.94683431425004405</c:v>
                </c:pt>
                <c:pt idx="53090">
                  <c:v>0.94685214909934001</c:v>
                </c:pt>
                <c:pt idx="53091">
                  <c:v>0.94686998394863497</c:v>
                </c:pt>
                <c:pt idx="53092">
                  <c:v>0.94688781879793105</c:v>
                </c:pt>
                <c:pt idx="53093">
                  <c:v>0.94690565364722601</c:v>
                </c:pt>
                <c:pt idx="53094">
                  <c:v>0.94692348849652197</c:v>
                </c:pt>
                <c:pt idx="53095">
                  <c:v>0.94694132334581704</c:v>
                </c:pt>
                <c:pt idx="53096">
                  <c:v>0.946959158195113</c:v>
                </c:pt>
                <c:pt idx="53097">
                  <c:v>0.94697699304440797</c:v>
                </c:pt>
                <c:pt idx="53098">
                  <c:v>0.94699482789370404</c:v>
                </c:pt>
                <c:pt idx="53099">
                  <c:v>0.947012662742999</c:v>
                </c:pt>
                <c:pt idx="53100">
                  <c:v>0.94703049759229496</c:v>
                </c:pt>
                <c:pt idx="53101">
                  <c:v>0.94704833244159004</c:v>
                </c:pt>
                <c:pt idx="53102">
                  <c:v>0.947066167290886</c:v>
                </c:pt>
                <c:pt idx="53103">
                  <c:v>0.94708400214018196</c:v>
                </c:pt>
                <c:pt idx="53104">
                  <c:v>0.94710183698947703</c:v>
                </c:pt>
                <c:pt idx="53105">
                  <c:v>0.94711967183877299</c:v>
                </c:pt>
                <c:pt idx="53106">
                  <c:v>0.94713750668806795</c:v>
                </c:pt>
                <c:pt idx="53107">
                  <c:v>0.94715534153736403</c:v>
                </c:pt>
                <c:pt idx="53108">
                  <c:v>0.94717317638665899</c:v>
                </c:pt>
                <c:pt idx="53109">
                  <c:v>0.94719101123595495</c:v>
                </c:pt>
                <c:pt idx="53110">
                  <c:v>0.94720884608525002</c:v>
                </c:pt>
                <c:pt idx="53111">
                  <c:v>0.94722668093454598</c:v>
                </c:pt>
                <c:pt idx="53112">
                  <c:v>0.94724451578384095</c:v>
                </c:pt>
                <c:pt idx="53113">
                  <c:v>0.94726235063313702</c:v>
                </c:pt>
                <c:pt idx="53114">
                  <c:v>0.94728018548243198</c:v>
                </c:pt>
                <c:pt idx="53115">
                  <c:v>0.94729802033172805</c:v>
                </c:pt>
                <c:pt idx="53116">
                  <c:v>0.94731585518102301</c:v>
                </c:pt>
                <c:pt idx="53117">
                  <c:v>0.94733369003031898</c:v>
                </c:pt>
                <c:pt idx="53118">
                  <c:v>0.94735152487961405</c:v>
                </c:pt>
                <c:pt idx="53119">
                  <c:v>0.94736935972891001</c:v>
                </c:pt>
                <c:pt idx="53120">
                  <c:v>0.94738719457820497</c:v>
                </c:pt>
                <c:pt idx="53121">
                  <c:v>0.94740502942750104</c:v>
                </c:pt>
                <c:pt idx="53122">
                  <c:v>0.94742286427679601</c:v>
                </c:pt>
                <c:pt idx="53123">
                  <c:v>0.94744069912609197</c:v>
                </c:pt>
                <c:pt idx="53124">
                  <c:v>0.94745853397538704</c:v>
                </c:pt>
                <c:pt idx="53125">
                  <c:v>0.947476368824683</c:v>
                </c:pt>
                <c:pt idx="53126">
                  <c:v>0.94749420367397896</c:v>
                </c:pt>
                <c:pt idx="53127">
                  <c:v>0.94751203852327404</c:v>
                </c:pt>
                <c:pt idx="53128">
                  <c:v>0.94752987337257</c:v>
                </c:pt>
                <c:pt idx="53129">
                  <c:v>0.94754770822186496</c:v>
                </c:pt>
                <c:pt idx="53130">
                  <c:v>0.94756554307116103</c:v>
                </c:pt>
                <c:pt idx="53131">
                  <c:v>0.94758337792045599</c:v>
                </c:pt>
                <c:pt idx="53132">
                  <c:v>0.94760121276975195</c:v>
                </c:pt>
                <c:pt idx="53133">
                  <c:v>0.94761904761904703</c:v>
                </c:pt>
                <c:pt idx="53134">
                  <c:v>0.94763688246834299</c:v>
                </c:pt>
                <c:pt idx="53135">
                  <c:v>0.94765471731763795</c:v>
                </c:pt>
                <c:pt idx="53136">
                  <c:v>0.94767255216693402</c:v>
                </c:pt>
                <c:pt idx="53137">
                  <c:v>0.94769038701622899</c:v>
                </c:pt>
                <c:pt idx="53138">
                  <c:v>0.94770822186552495</c:v>
                </c:pt>
                <c:pt idx="53139">
                  <c:v>0.94772605671482002</c:v>
                </c:pt>
                <c:pt idx="53140">
                  <c:v>0.94774389156411598</c:v>
                </c:pt>
                <c:pt idx="53141">
                  <c:v>0.94776172641341105</c:v>
                </c:pt>
                <c:pt idx="53142">
                  <c:v>0.94777956126270702</c:v>
                </c:pt>
                <c:pt idx="53143">
                  <c:v>0.94779739611200198</c:v>
                </c:pt>
                <c:pt idx="53144">
                  <c:v>0.94781523096129805</c:v>
                </c:pt>
                <c:pt idx="53145">
                  <c:v>0.94783306581059301</c:v>
                </c:pt>
                <c:pt idx="53146">
                  <c:v>0.94785090065988897</c:v>
                </c:pt>
                <c:pt idx="53147">
                  <c:v>0.94786873550918405</c:v>
                </c:pt>
                <c:pt idx="53148">
                  <c:v>0.94788657035848001</c:v>
                </c:pt>
                <c:pt idx="53149">
                  <c:v>0.94790440520777597</c:v>
                </c:pt>
                <c:pt idx="53150">
                  <c:v>0.94792224005707104</c:v>
                </c:pt>
                <c:pt idx="53151">
                  <c:v>0.947940074906367</c:v>
                </c:pt>
                <c:pt idx="53152">
                  <c:v>0.94795790975566196</c:v>
                </c:pt>
                <c:pt idx="53153">
                  <c:v>0.94797574460495804</c:v>
                </c:pt>
                <c:pt idx="53154">
                  <c:v>0.947993579454253</c:v>
                </c:pt>
                <c:pt idx="53155">
                  <c:v>0.94801141430354896</c:v>
                </c:pt>
                <c:pt idx="53156">
                  <c:v>0.94802924915284403</c:v>
                </c:pt>
                <c:pt idx="53157">
                  <c:v>0.94804708400213999</c:v>
                </c:pt>
                <c:pt idx="53158">
                  <c:v>0.94806491885143496</c:v>
                </c:pt>
                <c:pt idx="53159">
                  <c:v>0.94808275370073103</c:v>
                </c:pt>
                <c:pt idx="53160">
                  <c:v>0.94810058855002599</c:v>
                </c:pt>
                <c:pt idx="53161">
                  <c:v>0.94811842339932195</c:v>
                </c:pt>
                <c:pt idx="53162">
                  <c:v>0.94813625824861703</c:v>
                </c:pt>
                <c:pt idx="53163">
                  <c:v>0.94815409309791299</c:v>
                </c:pt>
                <c:pt idx="53164">
                  <c:v>0.94817192794720795</c:v>
                </c:pt>
                <c:pt idx="53165">
                  <c:v>0.94818976279650402</c:v>
                </c:pt>
                <c:pt idx="53166">
                  <c:v>0.94820759764579898</c:v>
                </c:pt>
                <c:pt idx="53167">
                  <c:v>0.94822543249509506</c:v>
                </c:pt>
                <c:pt idx="53168">
                  <c:v>0.94824326734439002</c:v>
                </c:pt>
                <c:pt idx="53169">
                  <c:v>0.94826110219368598</c:v>
                </c:pt>
                <c:pt idx="53170">
                  <c:v>0.94827893704298105</c:v>
                </c:pt>
                <c:pt idx="53171">
                  <c:v>0.94829677189227701</c:v>
                </c:pt>
                <c:pt idx="53172">
                  <c:v>0.94831460674157297</c:v>
                </c:pt>
                <c:pt idx="53173">
                  <c:v>0.94833244159086805</c:v>
                </c:pt>
                <c:pt idx="53174">
                  <c:v>0.94835027644016401</c:v>
                </c:pt>
                <c:pt idx="53175">
                  <c:v>0.94836811128945897</c:v>
                </c:pt>
                <c:pt idx="53176">
                  <c:v>0.94838594613875504</c:v>
                </c:pt>
                <c:pt idx="53177">
                  <c:v>0.94840378098805</c:v>
                </c:pt>
                <c:pt idx="53178">
                  <c:v>0.94842161583734597</c:v>
                </c:pt>
                <c:pt idx="53179">
                  <c:v>0.94843945068664104</c:v>
                </c:pt>
                <c:pt idx="53180">
                  <c:v>0.948457285535937</c:v>
                </c:pt>
                <c:pt idx="53181">
                  <c:v>0.94847512038523196</c:v>
                </c:pt>
                <c:pt idx="53182">
                  <c:v>0.94849295523452803</c:v>
                </c:pt>
                <c:pt idx="53183">
                  <c:v>0.948510790083823</c:v>
                </c:pt>
                <c:pt idx="53184">
                  <c:v>0.94852862493311896</c:v>
                </c:pt>
                <c:pt idx="53185">
                  <c:v>0.94854645978241403</c:v>
                </c:pt>
                <c:pt idx="53186">
                  <c:v>0.94856429463170999</c:v>
                </c:pt>
                <c:pt idx="53187">
                  <c:v>0.94858212948100495</c:v>
                </c:pt>
                <c:pt idx="53188">
                  <c:v>0.94859996433030103</c:v>
                </c:pt>
                <c:pt idx="53189">
                  <c:v>0.94861779917959699</c:v>
                </c:pt>
                <c:pt idx="53190">
                  <c:v>0.94863563402889195</c:v>
                </c:pt>
                <c:pt idx="53191">
                  <c:v>0.94865346887818802</c:v>
                </c:pt>
                <c:pt idx="53192">
                  <c:v>0.94867130372748298</c:v>
                </c:pt>
                <c:pt idx="53193">
                  <c:v>0.94868913857677895</c:v>
                </c:pt>
                <c:pt idx="53194">
                  <c:v>0.94870697342607402</c:v>
                </c:pt>
                <c:pt idx="53195">
                  <c:v>0.94872480827536998</c:v>
                </c:pt>
                <c:pt idx="53196">
                  <c:v>0.94874264312466505</c:v>
                </c:pt>
                <c:pt idx="53197">
                  <c:v>0.94876047797396101</c:v>
                </c:pt>
                <c:pt idx="53198">
                  <c:v>0.94877831282325598</c:v>
                </c:pt>
                <c:pt idx="53199">
                  <c:v>0.94879614767255205</c:v>
                </c:pt>
                <c:pt idx="53200">
                  <c:v>0.94881398252184701</c:v>
                </c:pt>
                <c:pt idx="53201">
                  <c:v>0.94883181737114297</c:v>
                </c:pt>
                <c:pt idx="53202">
                  <c:v>0.94884965222043804</c:v>
                </c:pt>
                <c:pt idx="53203">
                  <c:v>0.94886748706973401</c:v>
                </c:pt>
                <c:pt idx="53204">
                  <c:v>0.94888532191902897</c:v>
                </c:pt>
                <c:pt idx="53205">
                  <c:v>0.94890315676832504</c:v>
                </c:pt>
                <c:pt idx="53206">
                  <c:v>0.94892099161762</c:v>
                </c:pt>
                <c:pt idx="53207">
                  <c:v>0.94893882646691596</c:v>
                </c:pt>
                <c:pt idx="53208">
                  <c:v>0.94895666131621104</c:v>
                </c:pt>
                <c:pt idx="53209">
                  <c:v>0.948974496165507</c:v>
                </c:pt>
                <c:pt idx="53210">
                  <c:v>0.94899233101480296</c:v>
                </c:pt>
                <c:pt idx="53211">
                  <c:v>0.94901016586409803</c:v>
                </c:pt>
                <c:pt idx="53212">
                  <c:v>0.94902800071339399</c:v>
                </c:pt>
                <c:pt idx="53213">
                  <c:v>0.94904583556268896</c:v>
                </c:pt>
                <c:pt idx="53214">
                  <c:v>0.94906367041198503</c:v>
                </c:pt>
                <c:pt idx="53215">
                  <c:v>0.94908150526127999</c:v>
                </c:pt>
                <c:pt idx="53216">
                  <c:v>0.94909934011057595</c:v>
                </c:pt>
                <c:pt idx="53217">
                  <c:v>0.94911717495987102</c:v>
                </c:pt>
                <c:pt idx="53218">
                  <c:v>0.94913500980916699</c:v>
                </c:pt>
                <c:pt idx="53219">
                  <c:v>0.94915284465846195</c:v>
                </c:pt>
                <c:pt idx="53220">
                  <c:v>0.94917067950775802</c:v>
                </c:pt>
                <c:pt idx="53221">
                  <c:v>0.94918851435705298</c:v>
                </c:pt>
                <c:pt idx="53222">
                  <c:v>0.94920634920634905</c:v>
                </c:pt>
                <c:pt idx="53223">
                  <c:v>0.94922418405564402</c:v>
                </c:pt>
                <c:pt idx="53224">
                  <c:v>0.94924201890493998</c:v>
                </c:pt>
                <c:pt idx="53225">
                  <c:v>0.94925985375423505</c:v>
                </c:pt>
                <c:pt idx="53226">
                  <c:v>0.94927768860353101</c:v>
                </c:pt>
                <c:pt idx="53227">
                  <c:v>0.94929552345282597</c:v>
                </c:pt>
                <c:pt idx="53228">
                  <c:v>0.94931335830212205</c:v>
                </c:pt>
                <c:pt idx="53229">
                  <c:v>0.94933119315141701</c:v>
                </c:pt>
                <c:pt idx="53230">
                  <c:v>0.94934902800071297</c:v>
                </c:pt>
                <c:pt idx="53231">
                  <c:v>0.94936686285000804</c:v>
                </c:pt>
                <c:pt idx="53232">
                  <c:v>0.949384697699304</c:v>
                </c:pt>
                <c:pt idx="53233">
                  <c:v>0.94940253254859996</c:v>
                </c:pt>
                <c:pt idx="53234">
                  <c:v>0.94942036739789504</c:v>
                </c:pt>
                <c:pt idx="53235">
                  <c:v>0.949438202247191</c:v>
                </c:pt>
                <c:pt idx="53236">
                  <c:v>0.94945603709648596</c:v>
                </c:pt>
                <c:pt idx="53237">
                  <c:v>0.94947387194578203</c:v>
                </c:pt>
                <c:pt idx="53238">
                  <c:v>0.949491706795077</c:v>
                </c:pt>
                <c:pt idx="53239">
                  <c:v>0.94950954164437296</c:v>
                </c:pt>
                <c:pt idx="53240">
                  <c:v>0.94952737649366803</c:v>
                </c:pt>
                <c:pt idx="53241">
                  <c:v>0.94954521134296399</c:v>
                </c:pt>
                <c:pt idx="53242">
                  <c:v>0.94956304619225895</c:v>
                </c:pt>
                <c:pt idx="53243">
                  <c:v>0.94958088104155502</c:v>
                </c:pt>
                <c:pt idx="53244">
                  <c:v>0.94959871589084999</c:v>
                </c:pt>
                <c:pt idx="53245">
                  <c:v>0.94961655074014595</c:v>
                </c:pt>
                <c:pt idx="53246">
                  <c:v>0.94963438558944102</c:v>
                </c:pt>
                <c:pt idx="53247">
                  <c:v>0.94965222043873698</c:v>
                </c:pt>
                <c:pt idx="53248">
                  <c:v>0.94967005528803194</c:v>
                </c:pt>
                <c:pt idx="53249">
                  <c:v>0.94968789013732802</c:v>
                </c:pt>
                <c:pt idx="53250">
                  <c:v>0.94970572498662298</c:v>
                </c:pt>
                <c:pt idx="53251">
                  <c:v>0.94972355983591905</c:v>
                </c:pt>
                <c:pt idx="53252">
                  <c:v>0.94974139468521401</c:v>
                </c:pt>
                <c:pt idx="53253">
                  <c:v>0.94975922953450997</c:v>
                </c:pt>
                <c:pt idx="53254">
                  <c:v>0.94977706438380505</c:v>
                </c:pt>
                <c:pt idx="53255">
                  <c:v>0.94979489923310101</c:v>
                </c:pt>
                <c:pt idx="53256">
                  <c:v>0.94981273408239697</c:v>
                </c:pt>
                <c:pt idx="53257">
                  <c:v>0.94983056893169204</c:v>
                </c:pt>
                <c:pt idx="53258">
                  <c:v>0.949848403780988</c:v>
                </c:pt>
                <c:pt idx="53259">
                  <c:v>0.94986623863028297</c:v>
                </c:pt>
                <c:pt idx="53260">
                  <c:v>0.94988407347957904</c:v>
                </c:pt>
                <c:pt idx="53261">
                  <c:v>0.949901908328874</c:v>
                </c:pt>
                <c:pt idx="53262">
                  <c:v>0.94991974317816996</c:v>
                </c:pt>
                <c:pt idx="53263">
                  <c:v>0.94993757802746503</c:v>
                </c:pt>
                <c:pt idx="53264">
                  <c:v>0.949955412876761</c:v>
                </c:pt>
                <c:pt idx="53265">
                  <c:v>0.94997324772605596</c:v>
                </c:pt>
                <c:pt idx="53266">
                  <c:v>0.94999108257535203</c:v>
                </c:pt>
                <c:pt idx="53267">
                  <c:v>0.95000891742464699</c:v>
                </c:pt>
                <c:pt idx="53268">
                  <c:v>0.95002675227394295</c:v>
                </c:pt>
                <c:pt idx="53269">
                  <c:v>0.95004458712323803</c:v>
                </c:pt>
                <c:pt idx="53270">
                  <c:v>0.95006242197253399</c:v>
                </c:pt>
                <c:pt idx="53271">
                  <c:v>0.95008025682182895</c:v>
                </c:pt>
                <c:pt idx="53272">
                  <c:v>0.95009809167112502</c:v>
                </c:pt>
                <c:pt idx="53273">
                  <c:v>0.95011592652041998</c:v>
                </c:pt>
                <c:pt idx="53274">
                  <c:v>0.95013376136971595</c:v>
                </c:pt>
                <c:pt idx="53275">
                  <c:v>0.95015159621901102</c:v>
                </c:pt>
                <c:pt idx="53276">
                  <c:v>0.95016943106830698</c:v>
                </c:pt>
                <c:pt idx="53277">
                  <c:v>0.95018726591760205</c:v>
                </c:pt>
                <c:pt idx="53278">
                  <c:v>0.95020510076689801</c:v>
                </c:pt>
                <c:pt idx="53279">
                  <c:v>0.95022293561619398</c:v>
                </c:pt>
                <c:pt idx="53280">
                  <c:v>0.95024077046548905</c:v>
                </c:pt>
                <c:pt idx="53281">
                  <c:v>0.95025860531478501</c:v>
                </c:pt>
                <c:pt idx="53282">
                  <c:v>0.95027644016407997</c:v>
                </c:pt>
                <c:pt idx="53283">
                  <c:v>0.95029427501337604</c:v>
                </c:pt>
                <c:pt idx="53284">
                  <c:v>0.95031210986267101</c:v>
                </c:pt>
                <c:pt idx="53285">
                  <c:v>0.95032994471196697</c:v>
                </c:pt>
                <c:pt idx="53286">
                  <c:v>0.95034777956126204</c:v>
                </c:pt>
                <c:pt idx="53287">
                  <c:v>0.950365614410558</c:v>
                </c:pt>
                <c:pt idx="53288">
                  <c:v>0.95038344925985296</c:v>
                </c:pt>
                <c:pt idx="53289">
                  <c:v>0.95040128410914904</c:v>
                </c:pt>
                <c:pt idx="53290">
                  <c:v>0.950419118958444</c:v>
                </c:pt>
                <c:pt idx="53291">
                  <c:v>0.95043695380773996</c:v>
                </c:pt>
                <c:pt idx="53292">
                  <c:v>0.95045478865703503</c:v>
                </c:pt>
                <c:pt idx="53293">
                  <c:v>0.95047262350633099</c:v>
                </c:pt>
                <c:pt idx="53294">
                  <c:v>0.95049045835562596</c:v>
                </c:pt>
                <c:pt idx="53295">
                  <c:v>0.95050829320492203</c:v>
                </c:pt>
                <c:pt idx="53296">
                  <c:v>0.95052612805421799</c:v>
                </c:pt>
                <c:pt idx="53297">
                  <c:v>0.95054396290351295</c:v>
                </c:pt>
                <c:pt idx="53298">
                  <c:v>0.95056179775280902</c:v>
                </c:pt>
                <c:pt idx="53299">
                  <c:v>0.95057963260210399</c:v>
                </c:pt>
                <c:pt idx="53300">
                  <c:v>0.95059746745139995</c:v>
                </c:pt>
                <c:pt idx="53301">
                  <c:v>0.95061530230069502</c:v>
                </c:pt>
                <c:pt idx="53302">
                  <c:v>0.95063313714999098</c:v>
                </c:pt>
                <c:pt idx="53303">
                  <c:v>0.95065097199928605</c:v>
                </c:pt>
                <c:pt idx="53304">
                  <c:v>0.95066880684858202</c:v>
                </c:pt>
                <c:pt idx="53305">
                  <c:v>0.95068664169787698</c:v>
                </c:pt>
                <c:pt idx="53306">
                  <c:v>0.95070447654717305</c:v>
                </c:pt>
                <c:pt idx="53307">
                  <c:v>0.95072231139646801</c:v>
                </c:pt>
                <c:pt idx="53308">
                  <c:v>0.95074014624576397</c:v>
                </c:pt>
                <c:pt idx="53309">
                  <c:v>0.95075798109505905</c:v>
                </c:pt>
                <c:pt idx="53310">
                  <c:v>0.95077581594435501</c:v>
                </c:pt>
                <c:pt idx="53311">
                  <c:v>0.95079365079364997</c:v>
                </c:pt>
                <c:pt idx="53312">
                  <c:v>0.95081148564294604</c:v>
                </c:pt>
                <c:pt idx="53313">
                  <c:v>0.950829320492241</c:v>
                </c:pt>
                <c:pt idx="53314">
                  <c:v>0.95084715534153696</c:v>
                </c:pt>
                <c:pt idx="53315">
                  <c:v>0.95086499019083204</c:v>
                </c:pt>
                <c:pt idx="53316">
                  <c:v>0.950882825040128</c:v>
                </c:pt>
                <c:pt idx="53317">
                  <c:v>0.95090065988942396</c:v>
                </c:pt>
                <c:pt idx="53318">
                  <c:v>0.95091849473871903</c:v>
                </c:pt>
                <c:pt idx="53319">
                  <c:v>0.95093632958801499</c:v>
                </c:pt>
                <c:pt idx="53320">
                  <c:v>0.95095416443730996</c:v>
                </c:pt>
                <c:pt idx="53321">
                  <c:v>0.95097199928660603</c:v>
                </c:pt>
                <c:pt idx="53322">
                  <c:v>0.95098983413590099</c:v>
                </c:pt>
                <c:pt idx="53323">
                  <c:v>0.95100766898519695</c:v>
                </c:pt>
                <c:pt idx="53324">
                  <c:v>0.95102550383449203</c:v>
                </c:pt>
                <c:pt idx="53325">
                  <c:v>0.95104333868378799</c:v>
                </c:pt>
                <c:pt idx="53326">
                  <c:v>0.95106117353308295</c:v>
                </c:pt>
                <c:pt idx="53327">
                  <c:v>0.95107900838237902</c:v>
                </c:pt>
                <c:pt idx="53328">
                  <c:v>0.95109684323167398</c:v>
                </c:pt>
                <c:pt idx="53329">
                  <c:v>0.95111467808097006</c:v>
                </c:pt>
                <c:pt idx="53330">
                  <c:v>0.95113251293026502</c:v>
                </c:pt>
                <c:pt idx="53331">
                  <c:v>0.95115034777956098</c:v>
                </c:pt>
                <c:pt idx="53332">
                  <c:v>0.95116818262885605</c:v>
                </c:pt>
                <c:pt idx="53333">
                  <c:v>0.95118601747815201</c:v>
                </c:pt>
                <c:pt idx="53334">
                  <c:v>0.95120385232744697</c:v>
                </c:pt>
                <c:pt idx="53335">
                  <c:v>0.95122168717674305</c:v>
                </c:pt>
                <c:pt idx="53336">
                  <c:v>0.95123952202603801</c:v>
                </c:pt>
                <c:pt idx="53337">
                  <c:v>0.95125735687533397</c:v>
                </c:pt>
                <c:pt idx="53338">
                  <c:v>0.95127519172462904</c:v>
                </c:pt>
                <c:pt idx="53339">
                  <c:v>0.951293026573925</c:v>
                </c:pt>
                <c:pt idx="53340">
                  <c:v>0.95131086142322097</c:v>
                </c:pt>
                <c:pt idx="53341">
                  <c:v>0.95132869627251604</c:v>
                </c:pt>
                <c:pt idx="53342">
                  <c:v>0.951346531121812</c:v>
                </c:pt>
                <c:pt idx="53343">
                  <c:v>0.95136436597110696</c:v>
                </c:pt>
                <c:pt idx="53344">
                  <c:v>0.95138220082040303</c:v>
                </c:pt>
                <c:pt idx="53345">
                  <c:v>0.951400035669698</c:v>
                </c:pt>
                <c:pt idx="53346">
                  <c:v>0.95141787051899396</c:v>
                </c:pt>
                <c:pt idx="53347">
                  <c:v>0.95143570536828903</c:v>
                </c:pt>
                <c:pt idx="53348">
                  <c:v>0.95145354021758499</c:v>
                </c:pt>
                <c:pt idx="53349">
                  <c:v>0.95147137506687995</c:v>
                </c:pt>
                <c:pt idx="53350">
                  <c:v>0.95148920991617603</c:v>
                </c:pt>
                <c:pt idx="53351">
                  <c:v>0.95150704476547099</c:v>
                </c:pt>
                <c:pt idx="53352">
                  <c:v>0.95152487961476695</c:v>
                </c:pt>
                <c:pt idx="53353">
                  <c:v>0.95154271446406202</c:v>
                </c:pt>
                <c:pt idx="53354">
                  <c:v>0.95156054931335798</c:v>
                </c:pt>
                <c:pt idx="53355">
                  <c:v>0.95157838416265295</c:v>
                </c:pt>
                <c:pt idx="53356">
                  <c:v>0.95159621901194902</c:v>
                </c:pt>
                <c:pt idx="53357">
                  <c:v>0.95161405386124398</c:v>
                </c:pt>
                <c:pt idx="53358">
                  <c:v>0.95163188871054005</c:v>
                </c:pt>
                <c:pt idx="53359">
                  <c:v>0.95164972355983501</c:v>
                </c:pt>
                <c:pt idx="53360">
                  <c:v>0.95166755840913098</c:v>
                </c:pt>
                <c:pt idx="53361">
                  <c:v>0.95168539325842605</c:v>
                </c:pt>
                <c:pt idx="53362">
                  <c:v>0.95170322810772201</c:v>
                </c:pt>
                <c:pt idx="53363">
                  <c:v>0.95172106295701797</c:v>
                </c:pt>
                <c:pt idx="53364">
                  <c:v>0.95173889780631304</c:v>
                </c:pt>
                <c:pt idx="53365">
                  <c:v>0.95175673265560901</c:v>
                </c:pt>
                <c:pt idx="53366">
                  <c:v>0.95177456750490397</c:v>
                </c:pt>
                <c:pt idx="53367">
                  <c:v>0.95179240235420004</c:v>
                </c:pt>
                <c:pt idx="53368">
                  <c:v>0.951810237203495</c:v>
                </c:pt>
                <c:pt idx="53369">
                  <c:v>0.95182807205279096</c:v>
                </c:pt>
                <c:pt idx="53370">
                  <c:v>0.95184590690208604</c:v>
                </c:pt>
                <c:pt idx="53371">
                  <c:v>0.951863741751382</c:v>
                </c:pt>
                <c:pt idx="53372">
                  <c:v>0.95188157660067696</c:v>
                </c:pt>
                <c:pt idx="53373">
                  <c:v>0.95189941144997303</c:v>
                </c:pt>
                <c:pt idx="53374">
                  <c:v>0.95191724629926799</c:v>
                </c:pt>
                <c:pt idx="53375">
                  <c:v>0.95193508114856396</c:v>
                </c:pt>
                <c:pt idx="53376">
                  <c:v>0.95195291599785903</c:v>
                </c:pt>
                <c:pt idx="53377">
                  <c:v>0.95197075084715499</c:v>
                </c:pt>
                <c:pt idx="53378">
                  <c:v>0.95198858569644995</c:v>
                </c:pt>
                <c:pt idx="53379">
                  <c:v>0.95200642054574602</c:v>
                </c:pt>
                <c:pt idx="53380">
                  <c:v>0.95202425539504099</c:v>
                </c:pt>
                <c:pt idx="53381">
                  <c:v>0.95204209024433695</c:v>
                </c:pt>
                <c:pt idx="53382">
                  <c:v>0.95205992509363202</c:v>
                </c:pt>
                <c:pt idx="53383">
                  <c:v>0.95207775994292798</c:v>
                </c:pt>
                <c:pt idx="53384">
                  <c:v>0.95209559479222405</c:v>
                </c:pt>
                <c:pt idx="53385">
                  <c:v>0.95211342964151902</c:v>
                </c:pt>
                <c:pt idx="53386">
                  <c:v>0.95213126449081498</c:v>
                </c:pt>
                <c:pt idx="53387">
                  <c:v>0.95214909934011005</c:v>
                </c:pt>
                <c:pt idx="53388">
                  <c:v>0.95216693418940601</c:v>
                </c:pt>
                <c:pt idx="53389">
                  <c:v>0.95218476903870097</c:v>
                </c:pt>
                <c:pt idx="53390">
                  <c:v>0.95220260388799705</c:v>
                </c:pt>
                <c:pt idx="53391">
                  <c:v>0.95222043873729201</c:v>
                </c:pt>
                <c:pt idx="53392">
                  <c:v>0.95223827358658797</c:v>
                </c:pt>
                <c:pt idx="53393">
                  <c:v>0.95225610843588304</c:v>
                </c:pt>
                <c:pt idx="53394">
                  <c:v>0.952273943285179</c:v>
                </c:pt>
                <c:pt idx="53395">
                  <c:v>0.95229177813447397</c:v>
                </c:pt>
                <c:pt idx="53396">
                  <c:v>0.95230961298377004</c:v>
                </c:pt>
                <c:pt idx="53397">
                  <c:v>0.952327447833065</c:v>
                </c:pt>
                <c:pt idx="53398">
                  <c:v>0.95234528268236096</c:v>
                </c:pt>
                <c:pt idx="53399">
                  <c:v>0.95236311753165603</c:v>
                </c:pt>
                <c:pt idx="53400">
                  <c:v>0.952380952380952</c:v>
                </c:pt>
                <c:pt idx="53401">
                  <c:v>0.95239878723024796</c:v>
                </c:pt>
                <c:pt idx="53402">
                  <c:v>0.95241662207954303</c:v>
                </c:pt>
                <c:pt idx="53403">
                  <c:v>0.95243445692883899</c:v>
                </c:pt>
                <c:pt idx="53404">
                  <c:v>0.95245229177813395</c:v>
                </c:pt>
                <c:pt idx="53405">
                  <c:v>0.95247012662743002</c:v>
                </c:pt>
                <c:pt idx="53406">
                  <c:v>0.95248796147672499</c:v>
                </c:pt>
                <c:pt idx="53407">
                  <c:v>0.95250579632602095</c:v>
                </c:pt>
                <c:pt idx="53408">
                  <c:v>0.95252363117531602</c:v>
                </c:pt>
                <c:pt idx="53409">
                  <c:v>0.95254146602461198</c:v>
                </c:pt>
                <c:pt idx="53410">
                  <c:v>0.95255930087390706</c:v>
                </c:pt>
                <c:pt idx="53411">
                  <c:v>0.95257713572320302</c:v>
                </c:pt>
                <c:pt idx="53412">
                  <c:v>0.95259497057249798</c:v>
                </c:pt>
                <c:pt idx="53413">
                  <c:v>0.95261280542179405</c:v>
                </c:pt>
                <c:pt idx="53414">
                  <c:v>0.95263064027108901</c:v>
                </c:pt>
                <c:pt idx="53415">
                  <c:v>0.95264847512038497</c:v>
                </c:pt>
                <c:pt idx="53416">
                  <c:v>0.95266630996968005</c:v>
                </c:pt>
                <c:pt idx="53417">
                  <c:v>0.95268414481897601</c:v>
                </c:pt>
                <c:pt idx="53418">
                  <c:v>0.95270197966827097</c:v>
                </c:pt>
                <c:pt idx="53419">
                  <c:v>0.95271981451756704</c:v>
                </c:pt>
                <c:pt idx="53420">
                  <c:v>0.952737649366862</c:v>
                </c:pt>
                <c:pt idx="53421">
                  <c:v>0.95275548421615797</c:v>
                </c:pt>
                <c:pt idx="53422">
                  <c:v>0.95277331906545304</c:v>
                </c:pt>
                <c:pt idx="53423">
                  <c:v>0.952791153914749</c:v>
                </c:pt>
                <c:pt idx="53424">
                  <c:v>0.95280898876404496</c:v>
                </c:pt>
                <c:pt idx="53425">
                  <c:v>0.95282682361334003</c:v>
                </c:pt>
                <c:pt idx="53426">
                  <c:v>0.952844658462636</c:v>
                </c:pt>
                <c:pt idx="53427">
                  <c:v>0.95286249331193096</c:v>
                </c:pt>
                <c:pt idx="53428">
                  <c:v>0.95288032816122703</c:v>
                </c:pt>
                <c:pt idx="53429">
                  <c:v>0.95289816301052199</c:v>
                </c:pt>
                <c:pt idx="53430">
                  <c:v>0.95291599785981795</c:v>
                </c:pt>
                <c:pt idx="53431">
                  <c:v>0.95293383270911303</c:v>
                </c:pt>
                <c:pt idx="53432">
                  <c:v>0.95295166755840899</c:v>
                </c:pt>
                <c:pt idx="53433">
                  <c:v>0.95296950240770395</c:v>
                </c:pt>
                <c:pt idx="53434">
                  <c:v>0.95298733725700002</c:v>
                </c:pt>
                <c:pt idx="53435">
                  <c:v>0.95300517210629498</c:v>
                </c:pt>
                <c:pt idx="53436">
                  <c:v>0.95302300695559095</c:v>
                </c:pt>
                <c:pt idx="53437">
                  <c:v>0.95304084180488602</c:v>
                </c:pt>
                <c:pt idx="53438">
                  <c:v>0.95305867665418198</c:v>
                </c:pt>
                <c:pt idx="53439">
                  <c:v>0.95307651150347705</c:v>
                </c:pt>
                <c:pt idx="53440">
                  <c:v>0.95309434635277301</c:v>
                </c:pt>
                <c:pt idx="53441">
                  <c:v>0.95311218120206798</c:v>
                </c:pt>
                <c:pt idx="53442">
                  <c:v>0.95313001605136405</c:v>
                </c:pt>
                <c:pt idx="53443">
                  <c:v>0.95314785090065901</c:v>
                </c:pt>
                <c:pt idx="53444">
                  <c:v>0.95316568574995497</c:v>
                </c:pt>
                <c:pt idx="53445">
                  <c:v>0.95318352059925004</c:v>
                </c:pt>
                <c:pt idx="53446">
                  <c:v>0.95320135544854601</c:v>
                </c:pt>
                <c:pt idx="53447">
                  <c:v>0.95321919029784197</c:v>
                </c:pt>
                <c:pt idx="53448">
                  <c:v>0.95323702514713704</c:v>
                </c:pt>
                <c:pt idx="53449">
                  <c:v>0.953254859996433</c:v>
                </c:pt>
                <c:pt idx="53450">
                  <c:v>0.95327269484572796</c:v>
                </c:pt>
                <c:pt idx="53451">
                  <c:v>0.95329052969502404</c:v>
                </c:pt>
                <c:pt idx="53452">
                  <c:v>0.953308364544319</c:v>
                </c:pt>
                <c:pt idx="53453">
                  <c:v>0.95332619939361496</c:v>
                </c:pt>
                <c:pt idx="53454">
                  <c:v>0.95334403424291003</c:v>
                </c:pt>
                <c:pt idx="53455">
                  <c:v>0.95336186909220599</c:v>
                </c:pt>
                <c:pt idx="53456">
                  <c:v>0.95337970394150096</c:v>
                </c:pt>
                <c:pt idx="53457">
                  <c:v>0.95339753879079703</c:v>
                </c:pt>
                <c:pt idx="53458">
                  <c:v>0.95341537364009199</c:v>
                </c:pt>
                <c:pt idx="53459">
                  <c:v>0.95343320848938795</c:v>
                </c:pt>
                <c:pt idx="53460">
                  <c:v>0.95345104333868302</c:v>
                </c:pt>
                <c:pt idx="53461">
                  <c:v>0.95346887818797899</c:v>
                </c:pt>
                <c:pt idx="53462">
                  <c:v>0.95348671303727395</c:v>
                </c:pt>
                <c:pt idx="53463">
                  <c:v>0.95350454788657002</c:v>
                </c:pt>
                <c:pt idx="53464">
                  <c:v>0.95352238273586498</c:v>
                </c:pt>
                <c:pt idx="53465">
                  <c:v>0.95354021758516105</c:v>
                </c:pt>
                <c:pt idx="53466">
                  <c:v>0.95355805243445602</c:v>
                </c:pt>
                <c:pt idx="53467">
                  <c:v>0.95357588728375198</c:v>
                </c:pt>
                <c:pt idx="53468">
                  <c:v>0.95359372213304705</c:v>
                </c:pt>
                <c:pt idx="53469">
                  <c:v>0.95361155698234301</c:v>
                </c:pt>
                <c:pt idx="53470">
                  <c:v>0.95362939183163897</c:v>
                </c:pt>
                <c:pt idx="53471">
                  <c:v>0.95364722668093405</c:v>
                </c:pt>
                <c:pt idx="53472">
                  <c:v>0.95366506153023001</c:v>
                </c:pt>
                <c:pt idx="53473">
                  <c:v>0.95368289637952497</c:v>
                </c:pt>
                <c:pt idx="53474">
                  <c:v>0.95370073122882104</c:v>
                </c:pt>
                <c:pt idx="53475">
                  <c:v>0.953718566078116</c:v>
                </c:pt>
                <c:pt idx="53476">
                  <c:v>0.95373640092741196</c:v>
                </c:pt>
                <c:pt idx="53477">
                  <c:v>0.95375423577670704</c:v>
                </c:pt>
                <c:pt idx="53478">
                  <c:v>0.953772070626003</c:v>
                </c:pt>
                <c:pt idx="53479">
                  <c:v>0.95378990547529796</c:v>
                </c:pt>
                <c:pt idx="53480">
                  <c:v>0.95380774032459403</c:v>
                </c:pt>
                <c:pt idx="53481">
                  <c:v>0.953825575173889</c:v>
                </c:pt>
                <c:pt idx="53482">
                  <c:v>0.95384341002318496</c:v>
                </c:pt>
                <c:pt idx="53483">
                  <c:v>0.95386124487248003</c:v>
                </c:pt>
                <c:pt idx="53484">
                  <c:v>0.95387907972177599</c:v>
                </c:pt>
                <c:pt idx="53485">
                  <c:v>0.95389691457107095</c:v>
                </c:pt>
                <c:pt idx="53486">
                  <c:v>0.95391474942036703</c:v>
                </c:pt>
                <c:pt idx="53487">
                  <c:v>0.95393258426966199</c:v>
                </c:pt>
                <c:pt idx="53488">
                  <c:v>0.95395041911895795</c:v>
                </c:pt>
                <c:pt idx="53489">
                  <c:v>0.95396825396825402</c:v>
                </c:pt>
                <c:pt idx="53490">
                  <c:v>0.95398608881754898</c:v>
                </c:pt>
                <c:pt idx="53491">
                  <c:v>0.95400392366684506</c:v>
                </c:pt>
                <c:pt idx="53492">
                  <c:v>0.95402175851614002</c:v>
                </c:pt>
                <c:pt idx="53493">
                  <c:v>0.95403959336543598</c:v>
                </c:pt>
                <c:pt idx="53494">
                  <c:v>0.95405742821473105</c:v>
                </c:pt>
                <c:pt idx="53495">
                  <c:v>0.95407526306402701</c:v>
                </c:pt>
                <c:pt idx="53496">
                  <c:v>0.95409309791332197</c:v>
                </c:pt>
                <c:pt idx="53497">
                  <c:v>0.95411093276261805</c:v>
                </c:pt>
                <c:pt idx="53498">
                  <c:v>0.95412876761191301</c:v>
                </c:pt>
                <c:pt idx="53499">
                  <c:v>0.95414660246120897</c:v>
                </c:pt>
                <c:pt idx="53500">
                  <c:v>0.95416443731050404</c:v>
                </c:pt>
                <c:pt idx="53501">
                  <c:v>0.9541822721598</c:v>
                </c:pt>
                <c:pt idx="53502">
                  <c:v>0.95420010700909497</c:v>
                </c:pt>
                <c:pt idx="53503">
                  <c:v>0.95421794185839104</c:v>
                </c:pt>
                <c:pt idx="53504">
                  <c:v>0.954235776707686</c:v>
                </c:pt>
                <c:pt idx="53505">
                  <c:v>0.95425361155698196</c:v>
                </c:pt>
                <c:pt idx="53506">
                  <c:v>0.95427144640627704</c:v>
                </c:pt>
                <c:pt idx="53507">
                  <c:v>0.954289281255573</c:v>
                </c:pt>
                <c:pt idx="53508">
                  <c:v>0.95430711610486896</c:v>
                </c:pt>
                <c:pt idx="53509">
                  <c:v>0.95432495095416403</c:v>
                </c:pt>
                <c:pt idx="53510">
                  <c:v>0.95434278580345999</c:v>
                </c:pt>
                <c:pt idx="53511">
                  <c:v>0.95436062065275495</c:v>
                </c:pt>
                <c:pt idx="53512">
                  <c:v>0.95437845550205103</c:v>
                </c:pt>
                <c:pt idx="53513">
                  <c:v>0.95439629035134599</c:v>
                </c:pt>
                <c:pt idx="53514">
                  <c:v>0.95441412520064195</c:v>
                </c:pt>
                <c:pt idx="53515">
                  <c:v>0.95443196004993702</c:v>
                </c:pt>
                <c:pt idx="53516">
                  <c:v>0.95444979489923298</c:v>
                </c:pt>
                <c:pt idx="53517">
                  <c:v>0.95446762974852795</c:v>
                </c:pt>
                <c:pt idx="53518">
                  <c:v>0.95448546459782402</c:v>
                </c:pt>
                <c:pt idx="53519">
                  <c:v>0.95450329944711898</c:v>
                </c:pt>
                <c:pt idx="53520">
                  <c:v>0.95452113429641505</c:v>
                </c:pt>
                <c:pt idx="53521">
                  <c:v>0.95453896914571001</c:v>
                </c:pt>
                <c:pt idx="53522">
                  <c:v>0.95455680399500598</c:v>
                </c:pt>
                <c:pt idx="53523">
                  <c:v>0.95457463884430105</c:v>
                </c:pt>
                <c:pt idx="53524">
                  <c:v>0.95459247369359701</c:v>
                </c:pt>
                <c:pt idx="53525">
                  <c:v>0.95461030854289197</c:v>
                </c:pt>
                <c:pt idx="53526">
                  <c:v>0.95462814339218804</c:v>
                </c:pt>
                <c:pt idx="53527">
                  <c:v>0.95464597824148301</c:v>
                </c:pt>
                <c:pt idx="53528">
                  <c:v>0.95466381309077897</c:v>
                </c:pt>
                <c:pt idx="53529">
                  <c:v>0.95468164794007404</c:v>
                </c:pt>
                <c:pt idx="53530">
                  <c:v>0.95469948278937</c:v>
                </c:pt>
                <c:pt idx="53531">
                  <c:v>0.95471731763866596</c:v>
                </c:pt>
                <c:pt idx="53532">
                  <c:v>0.95473515248796104</c:v>
                </c:pt>
                <c:pt idx="53533">
                  <c:v>0.954752987337257</c:v>
                </c:pt>
                <c:pt idx="53534">
                  <c:v>0.95477082218655196</c:v>
                </c:pt>
                <c:pt idx="53535">
                  <c:v>0.95478865703584803</c:v>
                </c:pt>
                <c:pt idx="53536">
                  <c:v>0.95480649188514299</c:v>
                </c:pt>
                <c:pt idx="53537">
                  <c:v>0.95482432673443896</c:v>
                </c:pt>
                <c:pt idx="53538">
                  <c:v>0.95484216158373403</c:v>
                </c:pt>
                <c:pt idx="53539">
                  <c:v>0.95485999643302999</c:v>
                </c:pt>
                <c:pt idx="53540">
                  <c:v>0.95487783128232495</c:v>
                </c:pt>
                <c:pt idx="53541">
                  <c:v>0.95489566613162102</c:v>
                </c:pt>
                <c:pt idx="53542">
                  <c:v>0.95491350098091599</c:v>
                </c:pt>
                <c:pt idx="53543">
                  <c:v>0.95493133583021195</c:v>
                </c:pt>
                <c:pt idx="53544">
                  <c:v>0.95494917067950702</c:v>
                </c:pt>
                <c:pt idx="53545">
                  <c:v>0.95496700552880298</c:v>
                </c:pt>
                <c:pt idx="53546">
                  <c:v>0.95498484037809805</c:v>
                </c:pt>
                <c:pt idx="53547">
                  <c:v>0.95500267522739402</c:v>
                </c:pt>
                <c:pt idx="53548">
                  <c:v>0.95502051007668898</c:v>
                </c:pt>
                <c:pt idx="53549">
                  <c:v>0.95503834492598505</c:v>
                </c:pt>
                <c:pt idx="53550">
                  <c:v>0.95505617977528001</c:v>
                </c:pt>
                <c:pt idx="53551">
                  <c:v>0.95507401462457597</c:v>
                </c:pt>
                <c:pt idx="53552">
                  <c:v>0.95509184947387105</c:v>
                </c:pt>
                <c:pt idx="53553">
                  <c:v>0.95510968432316701</c:v>
                </c:pt>
                <c:pt idx="53554">
                  <c:v>0.95512751917246297</c:v>
                </c:pt>
                <c:pt idx="53555">
                  <c:v>0.95514535402175804</c:v>
                </c:pt>
                <c:pt idx="53556">
                  <c:v>0.955163188871054</c:v>
                </c:pt>
                <c:pt idx="53557">
                  <c:v>0.95518102372034897</c:v>
                </c:pt>
                <c:pt idx="53558">
                  <c:v>0.95519885856964504</c:v>
                </c:pt>
                <c:pt idx="53559">
                  <c:v>0.95521669341894</c:v>
                </c:pt>
                <c:pt idx="53560">
                  <c:v>0.95523452826823596</c:v>
                </c:pt>
                <c:pt idx="53561">
                  <c:v>0.95525236311753103</c:v>
                </c:pt>
                <c:pt idx="53562">
                  <c:v>0.95527019796682699</c:v>
                </c:pt>
                <c:pt idx="53563">
                  <c:v>0.95528803281612196</c:v>
                </c:pt>
                <c:pt idx="53564">
                  <c:v>0.95530586766541803</c:v>
                </c:pt>
                <c:pt idx="53565">
                  <c:v>0.95532370251471299</c:v>
                </c:pt>
                <c:pt idx="53566">
                  <c:v>0.95534153736400895</c:v>
                </c:pt>
                <c:pt idx="53567">
                  <c:v>0.95535937221330403</c:v>
                </c:pt>
                <c:pt idx="53568">
                  <c:v>0.95537720706259999</c:v>
                </c:pt>
                <c:pt idx="53569">
                  <c:v>0.95539504191189495</c:v>
                </c:pt>
                <c:pt idx="53570">
                  <c:v>0.95541287676119102</c:v>
                </c:pt>
                <c:pt idx="53571">
                  <c:v>0.95543071161048598</c:v>
                </c:pt>
                <c:pt idx="53572">
                  <c:v>0.95544854645978206</c:v>
                </c:pt>
                <c:pt idx="53573">
                  <c:v>0.95546638130907702</c:v>
                </c:pt>
                <c:pt idx="53574">
                  <c:v>0.95548421615837298</c:v>
                </c:pt>
                <c:pt idx="53575">
                  <c:v>0.95550205100766805</c:v>
                </c:pt>
                <c:pt idx="53576">
                  <c:v>0.95551988585696401</c:v>
                </c:pt>
                <c:pt idx="53577">
                  <c:v>0.95553772070625997</c:v>
                </c:pt>
                <c:pt idx="53578">
                  <c:v>0.95555555555555505</c:v>
                </c:pt>
                <c:pt idx="53579">
                  <c:v>0.95557339040485101</c:v>
                </c:pt>
                <c:pt idx="53580">
                  <c:v>0.95559122525414597</c:v>
                </c:pt>
                <c:pt idx="53581">
                  <c:v>0.95560906010344204</c:v>
                </c:pt>
                <c:pt idx="53582">
                  <c:v>0.955626894952737</c:v>
                </c:pt>
                <c:pt idx="53583">
                  <c:v>0.95564472980203297</c:v>
                </c:pt>
                <c:pt idx="53584">
                  <c:v>0.95566256465132804</c:v>
                </c:pt>
                <c:pt idx="53585">
                  <c:v>0.955680399500624</c:v>
                </c:pt>
                <c:pt idx="53586">
                  <c:v>0.95569823434991896</c:v>
                </c:pt>
                <c:pt idx="53587">
                  <c:v>0.95571606919921503</c:v>
                </c:pt>
                <c:pt idx="53588">
                  <c:v>0.95573390404851</c:v>
                </c:pt>
                <c:pt idx="53589">
                  <c:v>0.95575173889780596</c:v>
                </c:pt>
                <c:pt idx="53590">
                  <c:v>0.95576957374710103</c:v>
                </c:pt>
                <c:pt idx="53591">
                  <c:v>0.95578740859639699</c:v>
                </c:pt>
                <c:pt idx="53592">
                  <c:v>0.95580524344569195</c:v>
                </c:pt>
                <c:pt idx="53593">
                  <c:v>0.95582307829498803</c:v>
                </c:pt>
                <c:pt idx="53594">
                  <c:v>0.95584091314428299</c:v>
                </c:pt>
                <c:pt idx="53595">
                  <c:v>0.95585874799357895</c:v>
                </c:pt>
                <c:pt idx="53596">
                  <c:v>0.95587658284287502</c:v>
                </c:pt>
                <c:pt idx="53597">
                  <c:v>0.95589441769216998</c:v>
                </c:pt>
                <c:pt idx="53598">
                  <c:v>0.95591225254146595</c:v>
                </c:pt>
                <c:pt idx="53599">
                  <c:v>0.95593008739076102</c:v>
                </c:pt>
                <c:pt idx="53600">
                  <c:v>0.95594792224005698</c:v>
                </c:pt>
                <c:pt idx="53601">
                  <c:v>0.95596575708935205</c:v>
                </c:pt>
                <c:pt idx="53602">
                  <c:v>0.95598359193864801</c:v>
                </c:pt>
                <c:pt idx="53603">
                  <c:v>0.95600142678794298</c:v>
                </c:pt>
                <c:pt idx="53604">
                  <c:v>0.95601926163723905</c:v>
                </c:pt>
                <c:pt idx="53605">
                  <c:v>0.95603709648653401</c:v>
                </c:pt>
                <c:pt idx="53606">
                  <c:v>0.95605493133582997</c:v>
                </c:pt>
                <c:pt idx="53607">
                  <c:v>0.95607276618512504</c:v>
                </c:pt>
                <c:pt idx="53608">
                  <c:v>0.95609060103442101</c:v>
                </c:pt>
                <c:pt idx="53609">
                  <c:v>0.95610843588371597</c:v>
                </c:pt>
                <c:pt idx="53610">
                  <c:v>0.95612627073301204</c:v>
                </c:pt>
                <c:pt idx="53611">
                  <c:v>0.956144105582307</c:v>
                </c:pt>
                <c:pt idx="53612">
                  <c:v>0.95616194043160296</c:v>
                </c:pt>
                <c:pt idx="53613">
                  <c:v>0.95617977528089804</c:v>
                </c:pt>
                <c:pt idx="53614">
                  <c:v>0.956197610130194</c:v>
                </c:pt>
                <c:pt idx="53615">
                  <c:v>0.95621544497948996</c:v>
                </c:pt>
                <c:pt idx="53616">
                  <c:v>0.95623327982878503</c:v>
                </c:pt>
                <c:pt idx="53617">
                  <c:v>0.95625111467808099</c:v>
                </c:pt>
                <c:pt idx="53618">
                  <c:v>0.95626894952737596</c:v>
                </c:pt>
                <c:pt idx="53619">
                  <c:v>0.95628678437667203</c:v>
                </c:pt>
                <c:pt idx="53620">
                  <c:v>0.95630461922596699</c:v>
                </c:pt>
                <c:pt idx="53621">
                  <c:v>0.95632245407526295</c:v>
                </c:pt>
                <c:pt idx="53622">
                  <c:v>0.95634028892455802</c:v>
                </c:pt>
                <c:pt idx="53623">
                  <c:v>0.95635812377385399</c:v>
                </c:pt>
                <c:pt idx="53624">
                  <c:v>0.95637595862314895</c:v>
                </c:pt>
                <c:pt idx="53625">
                  <c:v>0.95639379347244502</c:v>
                </c:pt>
                <c:pt idx="53626">
                  <c:v>0.95641162832173998</c:v>
                </c:pt>
                <c:pt idx="53627">
                  <c:v>0.95642946317103605</c:v>
                </c:pt>
                <c:pt idx="53628">
                  <c:v>0.95644729802033102</c:v>
                </c:pt>
                <c:pt idx="53629">
                  <c:v>0.95646513286962698</c:v>
                </c:pt>
                <c:pt idx="53630">
                  <c:v>0.95648296771892205</c:v>
                </c:pt>
                <c:pt idx="53631">
                  <c:v>0.95650080256821801</c:v>
                </c:pt>
                <c:pt idx="53632">
                  <c:v>0.95651863741751297</c:v>
                </c:pt>
                <c:pt idx="53633">
                  <c:v>0.95653647226680905</c:v>
                </c:pt>
                <c:pt idx="53634">
                  <c:v>0.95655430711610401</c:v>
                </c:pt>
                <c:pt idx="53635">
                  <c:v>0.95657214196539997</c:v>
                </c:pt>
                <c:pt idx="53636">
                  <c:v>0.95658997681469504</c:v>
                </c:pt>
                <c:pt idx="53637">
                  <c:v>0.956607811663991</c:v>
                </c:pt>
                <c:pt idx="53638">
                  <c:v>0.95662564651328696</c:v>
                </c:pt>
                <c:pt idx="53639">
                  <c:v>0.95664348136258204</c:v>
                </c:pt>
                <c:pt idx="53640">
                  <c:v>0.956661316211878</c:v>
                </c:pt>
                <c:pt idx="53641">
                  <c:v>0.95667915106117296</c:v>
                </c:pt>
                <c:pt idx="53642">
                  <c:v>0.95669698591046903</c:v>
                </c:pt>
                <c:pt idx="53643">
                  <c:v>0.956714820759764</c:v>
                </c:pt>
                <c:pt idx="53644">
                  <c:v>0.95673265560905996</c:v>
                </c:pt>
                <c:pt idx="53645">
                  <c:v>0.95675049045835503</c:v>
                </c:pt>
                <c:pt idx="53646">
                  <c:v>0.95676832530765099</c:v>
                </c:pt>
                <c:pt idx="53647">
                  <c:v>0.95678616015694595</c:v>
                </c:pt>
                <c:pt idx="53648">
                  <c:v>0.95680399500624203</c:v>
                </c:pt>
                <c:pt idx="53649">
                  <c:v>0.95682182985553699</c:v>
                </c:pt>
                <c:pt idx="53650">
                  <c:v>0.95683966470483295</c:v>
                </c:pt>
                <c:pt idx="53651">
                  <c:v>0.95685749955412802</c:v>
                </c:pt>
                <c:pt idx="53652">
                  <c:v>0.95687533440342398</c:v>
                </c:pt>
                <c:pt idx="53653">
                  <c:v>0.95689316925271894</c:v>
                </c:pt>
                <c:pt idx="53654">
                  <c:v>0.95691100410201502</c:v>
                </c:pt>
                <c:pt idx="53655">
                  <c:v>0.95692883895130998</c:v>
                </c:pt>
                <c:pt idx="53656">
                  <c:v>0.95694667380060605</c:v>
                </c:pt>
                <c:pt idx="53657">
                  <c:v>0.95696450864990101</c:v>
                </c:pt>
                <c:pt idx="53658">
                  <c:v>0.95698234349919697</c:v>
                </c:pt>
                <c:pt idx="53659">
                  <c:v>0.95700017834849205</c:v>
                </c:pt>
                <c:pt idx="53660">
                  <c:v>0.95701801319778801</c:v>
                </c:pt>
                <c:pt idx="53661">
                  <c:v>0.95703584804708397</c:v>
                </c:pt>
                <c:pt idx="53662">
                  <c:v>0.95705368289637904</c:v>
                </c:pt>
                <c:pt idx="53663">
                  <c:v>0.957071517745675</c:v>
                </c:pt>
                <c:pt idx="53664">
                  <c:v>0.95708935259496997</c:v>
                </c:pt>
                <c:pt idx="53665">
                  <c:v>0.95710718744426604</c:v>
                </c:pt>
                <c:pt idx="53666">
                  <c:v>0.957125022293561</c:v>
                </c:pt>
                <c:pt idx="53667">
                  <c:v>0.95714285714285696</c:v>
                </c:pt>
                <c:pt idx="53668">
                  <c:v>0.95716069199215204</c:v>
                </c:pt>
                <c:pt idx="53669">
                  <c:v>0.957178526841448</c:v>
                </c:pt>
                <c:pt idx="53670">
                  <c:v>0.95719636169074296</c:v>
                </c:pt>
                <c:pt idx="53671">
                  <c:v>0.95721419654003903</c:v>
                </c:pt>
                <c:pt idx="53672">
                  <c:v>0.95723203138933399</c:v>
                </c:pt>
                <c:pt idx="53673">
                  <c:v>0.95724986623862995</c:v>
                </c:pt>
                <c:pt idx="53674">
                  <c:v>0.95726770108792503</c:v>
                </c:pt>
                <c:pt idx="53675">
                  <c:v>0.95728553593722099</c:v>
                </c:pt>
                <c:pt idx="53676">
                  <c:v>0.95730337078651595</c:v>
                </c:pt>
                <c:pt idx="53677">
                  <c:v>0.95732120563581202</c:v>
                </c:pt>
                <c:pt idx="53678">
                  <c:v>0.95733904048510698</c:v>
                </c:pt>
                <c:pt idx="53679">
                  <c:v>0.95735687533440295</c:v>
                </c:pt>
                <c:pt idx="53680">
                  <c:v>0.95737471018369802</c:v>
                </c:pt>
                <c:pt idx="53681">
                  <c:v>0.95739254503299398</c:v>
                </c:pt>
                <c:pt idx="53682">
                  <c:v>0.95741037988228905</c:v>
                </c:pt>
                <c:pt idx="53683">
                  <c:v>0.95742821473158501</c:v>
                </c:pt>
                <c:pt idx="53684">
                  <c:v>0.95744604958088098</c:v>
                </c:pt>
                <c:pt idx="53685">
                  <c:v>0.95746388443017605</c:v>
                </c:pt>
                <c:pt idx="53686">
                  <c:v>0.95748171927947201</c:v>
                </c:pt>
                <c:pt idx="53687">
                  <c:v>0.95749955412876697</c:v>
                </c:pt>
                <c:pt idx="53688">
                  <c:v>0.95751738897806304</c:v>
                </c:pt>
                <c:pt idx="53689">
                  <c:v>0.95753522382735801</c:v>
                </c:pt>
                <c:pt idx="53690">
                  <c:v>0.95755305867665397</c:v>
                </c:pt>
                <c:pt idx="53691">
                  <c:v>0.95757089352594904</c:v>
                </c:pt>
                <c:pt idx="53692">
                  <c:v>0.957588728375245</c:v>
                </c:pt>
                <c:pt idx="53693">
                  <c:v>0.95760656322453996</c:v>
                </c:pt>
                <c:pt idx="53694">
                  <c:v>0.95762439807383604</c:v>
                </c:pt>
                <c:pt idx="53695">
                  <c:v>0.957642232923131</c:v>
                </c:pt>
                <c:pt idx="53696">
                  <c:v>0.95766006777242696</c:v>
                </c:pt>
                <c:pt idx="53697">
                  <c:v>0.95767790262172203</c:v>
                </c:pt>
                <c:pt idx="53698">
                  <c:v>0.95769573747101799</c:v>
                </c:pt>
                <c:pt idx="53699">
                  <c:v>0.95771357232031296</c:v>
                </c:pt>
                <c:pt idx="53700">
                  <c:v>0.95773140716960903</c:v>
                </c:pt>
                <c:pt idx="53701">
                  <c:v>0.95774924201890499</c:v>
                </c:pt>
                <c:pt idx="53702">
                  <c:v>0.95776707686819995</c:v>
                </c:pt>
                <c:pt idx="53703">
                  <c:v>0.95778491171749602</c:v>
                </c:pt>
                <c:pt idx="53704">
                  <c:v>0.95780274656679099</c:v>
                </c:pt>
                <c:pt idx="53705">
                  <c:v>0.95782058141608695</c:v>
                </c:pt>
                <c:pt idx="53706">
                  <c:v>0.95783841626538202</c:v>
                </c:pt>
                <c:pt idx="53707">
                  <c:v>0.95785625111467798</c:v>
                </c:pt>
                <c:pt idx="53708">
                  <c:v>0.95787408596397305</c:v>
                </c:pt>
                <c:pt idx="53709">
                  <c:v>0.95789192081326902</c:v>
                </c:pt>
                <c:pt idx="53710">
                  <c:v>0.95790975566256398</c:v>
                </c:pt>
                <c:pt idx="53711">
                  <c:v>0.95792759051186005</c:v>
                </c:pt>
                <c:pt idx="53712">
                  <c:v>0.95794542536115501</c:v>
                </c:pt>
                <c:pt idx="53713">
                  <c:v>0.95796326021045097</c:v>
                </c:pt>
                <c:pt idx="53714">
                  <c:v>0.95798109505974605</c:v>
                </c:pt>
                <c:pt idx="53715">
                  <c:v>0.95799892990904201</c:v>
                </c:pt>
                <c:pt idx="53716">
                  <c:v>0.95801676475833697</c:v>
                </c:pt>
                <c:pt idx="53717">
                  <c:v>0.95803459960763304</c:v>
                </c:pt>
                <c:pt idx="53718">
                  <c:v>0.958052434456928</c:v>
                </c:pt>
                <c:pt idx="53719">
                  <c:v>0.95807026930622396</c:v>
                </c:pt>
                <c:pt idx="53720">
                  <c:v>0.95808810415551904</c:v>
                </c:pt>
                <c:pt idx="53721">
                  <c:v>0.958105939004815</c:v>
                </c:pt>
                <c:pt idx="53722">
                  <c:v>0.95812377385411096</c:v>
                </c:pt>
                <c:pt idx="53723">
                  <c:v>0.95814160870340603</c:v>
                </c:pt>
                <c:pt idx="53724">
                  <c:v>0.95815944355270199</c:v>
                </c:pt>
                <c:pt idx="53725">
                  <c:v>0.95817727840199696</c:v>
                </c:pt>
                <c:pt idx="53726">
                  <c:v>0.95819511325129303</c:v>
                </c:pt>
                <c:pt idx="53727">
                  <c:v>0.95821294810058799</c:v>
                </c:pt>
                <c:pt idx="53728">
                  <c:v>0.95823078294988395</c:v>
                </c:pt>
                <c:pt idx="53729">
                  <c:v>0.95824861779917903</c:v>
                </c:pt>
                <c:pt idx="53730">
                  <c:v>0.95826645264847499</c:v>
                </c:pt>
                <c:pt idx="53731">
                  <c:v>0.95828428749776995</c:v>
                </c:pt>
                <c:pt idx="53732">
                  <c:v>0.95830212234706602</c:v>
                </c:pt>
                <c:pt idx="53733">
                  <c:v>0.95831995719636098</c:v>
                </c:pt>
                <c:pt idx="53734">
                  <c:v>0.95833779204565706</c:v>
                </c:pt>
                <c:pt idx="53735">
                  <c:v>0.95835562689495202</c:v>
                </c:pt>
                <c:pt idx="53736">
                  <c:v>0.95837346174424798</c:v>
                </c:pt>
                <c:pt idx="53737">
                  <c:v>0.95839129659354305</c:v>
                </c:pt>
                <c:pt idx="53738">
                  <c:v>0.95840913144283901</c:v>
                </c:pt>
                <c:pt idx="53739">
                  <c:v>0.95842696629213397</c:v>
                </c:pt>
                <c:pt idx="53740">
                  <c:v>0.95844480114143005</c:v>
                </c:pt>
                <c:pt idx="53741">
                  <c:v>0.95846263599072501</c:v>
                </c:pt>
                <c:pt idx="53742">
                  <c:v>0.95848047084002097</c:v>
                </c:pt>
                <c:pt idx="53743">
                  <c:v>0.95849830568931604</c:v>
                </c:pt>
                <c:pt idx="53744">
                  <c:v>0.958516140538612</c:v>
                </c:pt>
                <c:pt idx="53745">
                  <c:v>0.95853397538790797</c:v>
                </c:pt>
                <c:pt idx="53746">
                  <c:v>0.95855181023720304</c:v>
                </c:pt>
                <c:pt idx="53747">
                  <c:v>0.958569645086499</c:v>
                </c:pt>
                <c:pt idx="53748">
                  <c:v>0.95858747993579396</c:v>
                </c:pt>
                <c:pt idx="53749">
                  <c:v>0.95860531478509003</c:v>
                </c:pt>
                <c:pt idx="53750">
                  <c:v>0.958623149634385</c:v>
                </c:pt>
                <c:pt idx="53751">
                  <c:v>0.95864098448368096</c:v>
                </c:pt>
                <c:pt idx="53752">
                  <c:v>0.95865881933297603</c:v>
                </c:pt>
                <c:pt idx="53753">
                  <c:v>0.95867665418227199</c:v>
                </c:pt>
                <c:pt idx="53754">
                  <c:v>0.95869448903156695</c:v>
                </c:pt>
                <c:pt idx="53755">
                  <c:v>0.95871232388086303</c:v>
                </c:pt>
                <c:pt idx="53756">
                  <c:v>0.95873015873015799</c:v>
                </c:pt>
                <c:pt idx="53757">
                  <c:v>0.95874799357945395</c:v>
                </c:pt>
                <c:pt idx="53758">
                  <c:v>0.95876582842874902</c:v>
                </c:pt>
                <c:pt idx="53759">
                  <c:v>0.95878366327804498</c:v>
                </c:pt>
                <c:pt idx="53760">
                  <c:v>0.95880149812733995</c:v>
                </c:pt>
                <c:pt idx="53761">
                  <c:v>0.95881933297663602</c:v>
                </c:pt>
                <c:pt idx="53762">
                  <c:v>0.95883716782593098</c:v>
                </c:pt>
                <c:pt idx="53763">
                  <c:v>0.95885500267522705</c:v>
                </c:pt>
                <c:pt idx="53764">
                  <c:v>0.95887283752452201</c:v>
                </c:pt>
                <c:pt idx="53765">
                  <c:v>0.95889067237381798</c:v>
                </c:pt>
                <c:pt idx="53766">
                  <c:v>0.95890850722311305</c:v>
                </c:pt>
                <c:pt idx="53767">
                  <c:v>0.95892634207240901</c:v>
                </c:pt>
                <c:pt idx="53768">
                  <c:v>0.95894417692170497</c:v>
                </c:pt>
                <c:pt idx="53769">
                  <c:v>0.95896201177100004</c:v>
                </c:pt>
                <c:pt idx="53770">
                  <c:v>0.95897984662029601</c:v>
                </c:pt>
                <c:pt idx="53771">
                  <c:v>0.95899768146959097</c:v>
                </c:pt>
                <c:pt idx="53772">
                  <c:v>0.95901551631888704</c:v>
                </c:pt>
                <c:pt idx="53773">
                  <c:v>0.959033351168182</c:v>
                </c:pt>
                <c:pt idx="53774">
                  <c:v>0.95905118601747796</c:v>
                </c:pt>
                <c:pt idx="53775">
                  <c:v>0.95906902086677304</c:v>
                </c:pt>
                <c:pt idx="53776">
                  <c:v>0.959086855716069</c:v>
                </c:pt>
                <c:pt idx="53777">
                  <c:v>0.95910469056536396</c:v>
                </c:pt>
                <c:pt idx="53778">
                  <c:v>0.95912252541466003</c:v>
                </c:pt>
                <c:pt idx="53779">
                  <c:v>0.95914036026395499</c:v>
                </c:pt>
                <c:pt idx="53780">
                  <c:v>0.95915819511325096</c:v>
                </c:pt>
                <c:pt idx="53781">
                  <c:v>0.95917602996254603</c:v>
                </c:pt>
                <c:pt idx="53782">
                  <c:v>0.95919386481184199</c:v>
                </c:pt>
                <c:pt idx="53783">
                  <c:v>0.95921169966113695</c:v>
                </c:pt>
                <c:pt idx="53784">
                  <c:v>0.95922953451043302</c:v>
                </c:pt>
                <c:pt idx="53785">
                  <c:v>0.95924736935972799</c:v>
                </c:pt>
                <c:pt idx="53786">
                  <c:v>0.95926520420902395</c:v>
                </c:pt>
                <c:pt idx="53787">
                  <c:v>0.95928303905831902</c:v>
                </c:pt>
                <c:pt idx="53788">
                  <c:v>0.95930087390761498</c:v>
                </c:pt>
                <c:pt idx="53789">
                  <c:v>0.95931870875691105</c:v>
                </c:pt>
                <c:pt idx="53790">
                  <c:v>0.95933654360620602</c:v>
                </c:pt>
                <c:pt idx="53791">
                  <c:v>0.95935437845550198</c:v>
                </c:pt>
                <c:pt idx="53792">
                  <c:v>0.95937221330479705</c:v>
                </c:pt>
                <c:pt idx="53793">
                  <c:v>0.95939004815409301</c:v>
                </c:pt>
                <c:pt idx="53794">
                  <c:v>0.95940788300338797</c:v>
                </c:pt>
                <c:pt idx="53795">
                  <c:v>0.95942571785268405</c:v>
                </c:pt>
                <c:pt idx="53796">
                  <c:v>0.95944355270197901</c:v>
                </c:pt>
                <c:pt idx="53797">
                  <c:v>0.95946138755127497</c:v>
                </c:pt>
                <c:pt idx="53798">
                  <c:v>0.95947922240057004</c:v>
                </c:pt>
                <c:pt idx="53799">
                  <c:v>0.959497057249866</c:v>
                </c:pt>
                <c:pt idx="53800">
                  <c:v>0.95951489209916097</c:v>
                </c:pt>
                <c:pt idx="53801">
                  <c:v>0.95953272694845704</c:v>
                </c:pt>
                <c:pt idx="53802">
                  <c:v>0.959550561797752</c:v>
                </c:pt>
                <c:pt idx="53803">
                  <c:v>0.95956839664704796</c:v>
                </c:pt>
                <c:pt idx="53804">
                  <c:v>0.95958623149634303</c:v>
                </c:pt>
                <c:pt idx="53805">
                  <c:v>0.959604066345639</c:v>
                </c:pt>
                <c:pt idx="53806">
                  <c:v>0.95962190119493496</c:v>
                </c:pt>
                <c:pt idx="53807">
                  <c:v>0.95963973604423003</c:v>
                </c:pt>
                <c:pt idx="53808">
                  <c:v>0.95965757089352599</c:v>
                </c:pt>
                <c:pt idx="53809">
                  <c:v>0.95967540574282095</c:v>
                </c:pt>
                <c:pt idx="53810">
                  <c:v>0.95969324059211703</c:v>
                </c:pt>
                <c:pt idx="53811">
                  <c:v>0.95971107544141199</c:v>
                </c:pt>
                <c:pt idx="53812">
                  <c:v>0.95972891029070795</c:v>
                </c:pt>
                <c:pt idx="53813">
                  <c:v>0.95974674514000302</c:v>
                </c:pt>
                <c:pt idx="53814">
                  <c:v>0.95976457998929898</c:v>
                </c:pt>
                <c:pt idx="53815">
                  <c:v>0.95978241483859394</c:v>
                </c:pt>
                <c:pt idx="53816">
                  <c:v>0.95980024968789002</c:v>
                </c:pt>
                <c:pt idx="53817">
                  <c:v>0.95981808453718498</c:v>
                </c:pt>
                <c:pt idx="53818">
                  <c:v>0.95983591938648105</c:v>
                </c:pt>
                <c:pt idx="53819">
                  <c:v>0.95985375423577601</c:v>
                </c:pt>
                <c:pt idx="53820">
                  <c:v>0.95987158908507197</c:v>
                </c:pt>
                <c:pt idx="53821">
                  <c:v>0.95988942393436705</c:v>
                </c:pt>
                <c:pt idx="53822">
                  <c:v>0.95990725878366301</c:v>
                </c:pt>
                <c:pt idx="53823">
                  <c:v>0.95992509363295797</c:v>
                </c:pt>
                <c:pt idx="53824">
                  <c:v>0.95994292848225404</c:v>
                </c:pt>
                <c:pt idx="53825">
                  <c:v>0.95996076333154901</c:v>
                </c:pt>
                <c:pt idx="53826">
                  <c:v>0.95997859818084497</c:v>
                </c:pt>
                <c:pt idx="53827">
                  <c:v>0.95999643303014004</c:v>
                </c:pt>
                <c:pt idx="53828">
                  <c:v>0.960014267879436</c:v>
                </c:pt>
                <c:pt idx="53829">
                  <c:v>0.96003210272873196</c:v>
                </c:pt>
                <c:pt idx="53830">
                  <c:v>0.96004993757802704</c:v>
                </c:pt>
                <c:pt idx="53831">
                  <c:v>0.960067772427323</c:v>
                </c:pt>
                <c:pt idx="53832">
                  <c:v>0.96008560727661796</c:v>
                </c:pt>
                <c:pt idx="53833">
                  <c:v>0.96010344212591403</c:v>
                </c:pt>
                <c:pt idx="53834">
                  <c:v>0.96012127697520899</c:v>
                </c:pt>
                <c:pt idx="53835">
                  <c:v>0.96013911182450495</c:v>
                </c:pt>
                <c:pt idx="53836">
                  <c:v>0.96015694667380003</c:v>
                </c:pt>
                <c:pt idx="53837">
                  <c:v>0.96017478152309599</c:v>
                </c:pt>
                <c:pt idx="53838">
                  <c:v>0.96019261637239095</c:v>
                </c:pt>
                <c:pt idx="53839">
                  <c:v>0.96021045122168702</c:v>
                </c:pt>
                <c:pt idx="53840">
                  <c:v>0.96022828607098198</c:v>
                </c:pt>
                <c:pt idx="53841">
                  <c:v>0.96024612092027795</c:v>
                </c:pt>
                <c:pt idx="53842">
                  <c:v>0.96026395576957302</c:v>
                </c:pt>
                <c:pt idx="53843">
                  <c:v>0.96028179061886898</c:v>
                </c:pt>
                <c:pt idx="53844">
                  <c:v>0.96029962546816405</c:v>
                </c:pt>
                <c:pt idx="53845">
                  <c:v>0.96031746031746001</c:v>
                </c:pt>
                <c:pt idx="53846">
                  <c:v>0.96033529516675498</c:v>
                </c:pt>
                <c:pt idx="53847">
                  <c:v>0.96035313001605105</c:v>
                </c:pt>
                <c:pt idx="53848">
                  <c:v>0.96037096486534601</c:v>
                </c:pt>
                <c:pt idx="53849">
                  <c:v>0.96038879971464197</c:v>
                </c:pt>
                <c:pt idx="53850">
                  <c:v>0.96040663456393705</c:v>
                </c:pt>
                <c:pt idx="53851">
                  <c:v>0.96042446941323301</c:v>
                </c:pt>
                <c:pt idx="53852">
                  <c:v>0.96044230426252897</c:v>
                </c:pt>
                <c:pt idx="53853">
                  <c:v>0.96046013911182404</c:v>
                </c:pt>
                <c:pt idx="53854">
                  <c:v>0.96047797396112</c:v>
                </c:pt>
                <c:pt idx="53855">
                  <c:v>0.96049580881041496</c:v>
                </c:pt>
                <c:pt idx="53856">
                  <c:v>0.96051364365971104</c:v>
                </c:pt>
                <c:pt idx="53857">
                  <c:v>0.960531478509006</c:v>
                </c:pt>
                <c:pt idx="53858">
                  <c:v>0.96054931335830196</c:v>
                </c:pt>
                <c:pt idx="53859">
                  <c:v>0.96056714820759703</c:v>
                </c:pt>
                <c:pt idx="53860">
                  <c:v>0.96058498305689299</c:v>
                </c:pt>
                <c:pt idx="53861">
                  <c:v>0.96060281790618796</c:v>
                </c:pt>
                <c:pt idx="53862">
                  <c:v>0.96062065275548403</c:v>
                </c:pt>
                <c:pt idx="53863">
                  <c:v>0.96063848760477899</c:v>
                </c:pt>
                <c:pt idx="53864">
                  <c:v>0.96065632245407495</c:v>
                </c:pt>
                <c:pt idx="53865">
                  <c:v>0.96067415730337002</c:v>
                </c:pt>
                <c:pt idx="53866">
                  <c:v>0.96069199215266599</c:v>
                </c:pt>
                <c:pt idx="53867">
                  <c:v>0.96070982700196095</c:v>
                </c:pt>
                <c:pt idx="53868">
                  <c:v>0.96072766185125702</c:v>
                </c:pt>
                <c:pt idx="53869">
                  <c:v>0.96074549670055198</c:v>
                </c:pt>
                <c:pt idx="53870">
                  <c:v>0.96076333154984805</c:v>
                </c:pt>
                <c:pt idx="53871">
                  <c:v>0.96078116639914302</c:v>
                </c:pt>
                <c:pt idx="53872">
                  <c:v>0.96079900124843898</c:v>
                </c:pt>
                <c:pt idx="53873">
                  <c:v>0.96081683609773405</c:v>
                </c:pt>
                <c:pt idx="53874">
                  <c:v>0.96083467094703001</c:v>
                </c:pt>
                <c:pt idx="53875">
                  <c:v>0.96085250579632597</c:v>
                </c:pt>
                <c:pt idx="53876">
                  <c:v>0.96087034064562105</c:v>
                </c:pt>
                <c:pt idx="53877">
                  <c:v>0.96088817549491701</c:v>
                </c:pt>
                <c:pt idx="53878">
                  <c:v>0.96090601034421197</c:v>
                </c:pt>
                <c:pt idx="53879">
                  <c:v>0.96092384519350804</c:v>
                </c:pt>
                <c:pt idx="53880">
                  <c:v>0.960941680042803</c:v>
                </c:pt>
                <c:pt idx="53881">
                  <c:v>0.96095951489209896</c:v>
                </c:pt>
                <c:pt idx="53882">
                  <c:v>0.96097734974139404</c:v>
                </c:pt>
                <c:pt idx="53883">
                  <c:v>0.96099518459069</c:v>
                </c:pt>
                <c:pt idx="53884">
                  <c:v>0.96101301943998496</c:v>
                </c:pt>
                <c:pt idx="53885">
                  <c:v>0.96103085428928103</c:v>
                </c:pt>
                <c:pt idx="53886">
                  <c:v>0.961048689138576</c:v>
                </c:pt>
                <c:pt idx="53887">
                  <c:v>0.96106652398787196</c:v>
                </c:pt>
                <c:pt idx="53888">
                  <c:v>0.96108435883716703</c:v>
                </c:pt>
                <c:pt idx="53889">
                  <c:v>0.96110219368646299</c:v>
                </c:pt>
                <c:pt idx="53890">
                  <c:v>0.96112002853575795</c:v>
                </c:pt>
                <c:pt idx="53891">
                  <c:v>0.96113786338505403</c:v>
                </c:pt>
                <c:pt idx="53892">
                  <c:v>0.96115569823434899</c:v>
                </c:pt>
                <c:pt idx="53893">
                  <c:v>0.96117353308364495</c:v>
                </c:pt>
                <c:pt idx="53894">
                  <c:v>0.96119136793294102</c:v>
                </c:pt>
                <c:pt idx="53895">
                  <c:v>0.96120920278223598</c:v>
                </c:pt>
                <c:pt idx="53896">
                  <c:v>0.96122703763153206</c:v>
                </c:pt>
                <c:pt idx="53897">
                  <c:v>0.96124487248082702</c:v>
                </c:pt>
                <c:pt idx="53898">
                  <c:v>0.96126270733012298</c:v>
                </c:pt>
                <c:pt idx="53899">
                  <c:v>0.96128054217941805</c:v>
                </c:pt>
                <c:pt idx="53900">
                  <c:v>0.96129837702871401</c:v>
                </c:pt>
                <c:pt idx="53901">
                  <c:v>0.96131621187800897</c:v>
                </c:pt>
                <c:pt idx="53902">
                  <c:v>0.96133404672730505</c:v>
                </c:pt>
                <c:pt idx="53903">
                  <c:v>0.96135188157660001</c:v>
                </c:pt>
                <c:pt idx="53904">
                  <c:v>0.96136971642589597</c:v>
                </c:pt>
                <c:pt idx="53905">
                  <c:v>0.96138755127519104</c:v>
                </c:pt>
                <c:pt idx="53906">
                  <c:v>0.961405386124487</c:v>
                </c:pt>
                <c:pt idx="53907">
                  <c:v>0.96142322097378197</c:v>
                </c:pt>
                <c:pt idx="53908">
                  <c:v>0.96144105582307804</c:v>
                </c:pt>
                <c:pt idx="53909">
                  <c:v>0.961458890672373</c:v>
                </c:pt>
                <c:pt idx="53910">
                  <c:v>0.96147672552166896</c:v>
                </c:pt>
                <c:pt idx="53911">
                  <c:v>0.96149456037096404</c:v>
                </c:pt>
                <c:pt idx="53912">
                  <c:v>0.96151239522026</c:v>
                </c:pt>
                <c:pt idx="53913">
                  <c:v>0.96153023006955596</c:v>
                </c:pt>
                <c:pt idx="53914">
                  <c:v>0.96154806491885103</c:v>
                </c:pt>
                <c:pt idx="53915">
                  <c:v>0.96156589976814699</c:v>
                </c:pt>
                <c:pt idx="53916">
                  <c:v>0.96158373461744195</c:v>
                </c:pt>
                <c:pt idx="53917">
                  <c:v>0.96160156946673803</c:v>
                </c:pt>
                <c:pt idx="53918">
                  <c:v>0.96161940431603299</c:v>
                </c:pt>
                <c:pt idx="53919">
                  <c:v>0.96163723916532895</c:v>
                </c:pt>
                <c:pt idx="53920">
                  <c:v>0.96165507401462402</c:v>
                </c:pt>
                <c:pt idx="53921">
                  <c:v>0.96167290886391998</c:v>
                </c:pt>
                <c:pt idx="53922">
                  <c:v>0.96169074371321495</c:v>
                </c:pt>
                <c:pt idx="53923">
                  <c:v>0.96170857856251102</c:v>
                </c:pt>
                <c:pt idx="53924">
                  <c:v>0.96172641341180598</c:v>
                </c:pt>
                <c:pt idx="53925">
                  <c:v>0.96174424826110205</c:v>
                </c:pt>
                <c:pt idx="53926">
                  <c:v>0.96176208311039701</c:v>
                </c:pt>
                <c:pt idx="53927">
                  <c:v>0.96177991795969298</c:v>
                </c:pt>
                <c:pt idx="53928">
                  <c:v>0.96179775280898805</c:v>
                </c:pt>
                <c:pt idx="53929">
                  <c:v>0.96181558765828401</c:v>
                </c:pt>
                <c:pt idx="53930">
                  <c:v>0.96183342250757897</c:v>
                </c:pt>
                <c:pt idx="53931">
                  <c:v>0.96185125735687504</c:v>
                </c:pt>
                <c:pt idx="53932">
                  <c:v>0.96186909220617001</c:v>
                </c:pt>
                <c:pt idx="53933">
                  <c:v>0.96188692705546597</c:v>
                </c:pt>
                <c:pt idx="53934">
                  <c:v>0.96190476190476104</c:v>
                </c:pt>
                <c:pt idx="53935">
                  <c:v>0.961922596754057</c:v>
                </c:pt>
                <c:pt idx="53936">
                  <c:v>0.96194043160335296</c:v>
                </c:pt>
                <c:pt idx="53937">
                  <c:v>0.96195826645264804</c:v>
                </c:pt>
                <c:pt idx="53938">
                  <c:v>0.961976101301944</c:v>
                </c:pt>
                <c:pt idx="53939">
                  <c:v>0.96199393615123896</c:v>
                </c:pt>
                <c:pt idx="53940">
                  <c:v>0.96201177100053503</c:v>
                </c:pt>
                <c:pt idx="53941">
                  <c:v>0.96202960584982999</c:v>
                </c:pt>
                <c:pt idx="53942">
                  <c:v>0.96204744069912596</c:v>
                </c:pt>
                <c:pt idx="53943">
                  <c:v>0.96206527554842103</c:v>
                </c:pt>
                <c:pt idx="53944">
                  <c:v>0.96208311039771699</c:v>
                </c:pt>
                <c:pt idx="53945">
                  <c:v>0.96210094524701195</c:v>
                </c:pt>
                <c:pt idx="53946">
                  <c:v>0.96211878009630802</c:v>
                </c:pt>
                <c:pt idx="53947">
                  <c:v>0.96213661494560299</c:v>
                </c:pt>
                <c:pt idx="53948">
                  <c:v>0.96215444979489895</c:v>
                </c:pt>
                <c:pt idx="53949">
                  <c:v>0.96217228464419402</c:v>
                </c:pt>
                <c:pt idx="53950">
                  <c:v>0.96219011949348998</c:v>
                </c:pt>
                <c:pt idx="53951">
                  <c:v>0.96220795434278505</c:v>
                </c:pt>
                <c:pt idx="53952">
                  <c:v>0.96222578919208102</c:v>
                </c:pt>
                <c:pt idx="53953">
                  <c:v>0.96224362404137598</c:v>
                </c:pt>
                <c:pt idx="53954">
                  <c:v>0.96226145889067205</c:v>
                </c:pt>
                <c:pt idx="53955">
                  <c:v>0.96227929373996701</c:v>
                </c:pt>
                <c:pt idx="53956">
                  <c:v>0.96229712858926297</c:v>
                </c:pt>
                <c:pt idx="53957">
                  <c:v>0.96231496343855805</c:v>
                </c:pt>
                <c:pt idx="53958">
                  <c:v>0.96233279828785401</c:v>
                </c:pt>
                <c:pt idx="53959">
                  <c:v>0.96235063313714997</c:v>
                </c:pt>
                <c:pt idx="53960">
                  <c:v>0.96236846798644504</c:v>
                </c:pt>
                <c:pt idx="53961">
                  <c:v>0.962386302835741</c:v>
                </c:pt>
                <c:pt idx="53962">
                  <c:v>0.96240413768503597</c:v>
                </c:pt>
                <c:pt idx="53963">
                  <c:v>0.96242197253433204</c:v>
                </c:pt>
                <c:pt idx="53964">
                  <c:v>0.962439807383627</c:v>
                </c:pt>
                <c:pt idx="53965">
                  <c:v>0.96245764223292296</c:v>
                </c:pt>
                <c:pt idx="53966">
                  <c:v>0.96247547708221803</c:v>
                </c:pt>
                <c:pt idx="53967">
                  <c:v>0.962493311931514</c:v>
                </c:pt>
                <c:pt idx="53968">
                  <c:v>0.96251114678080896</c:v>
                </c:pt>
                <c:pt idx="53969">
                  <c:v>0.96252898163010503</c:v>
                </c:pt>
                <c:pt idx="53970">
                  <c:v>0.96254681647939999</c:v>
                </c:pt>
                <c:pt idx="53971">
                  <c:v>0.96256465132869595</c:v>
                </c:pt>
                <c:pt idx="53972">
                  <c:v>0.96258248617799103</c:v>
                </c:pt>
                <c:pt idx="53973">
                  <c:v>0.96260032102728699</c:v>
                </c:pt>
                <c:pt idx="53974">
                  <c:v>0.96261815587658195</c:v>
                </c:pt>
                <c:pt idx="53975">
                  <c:v>0.96263599072587802</c:v>
                </c:pt>
                <c:pt idx="53976">
                  <c:v>0.96265382557517298</c:v>
                </c:pt>
                <c:pt idx="53977">
                  <c:v>0.96267166042446894</c:v>
                </c:pt>
                <c:pt idx="53978">
                  <c:v>0.96268949527376402</c:v>
                </c:pt>
                <c:pt idx="53979">
                  <c:v>0.96270733012305998</c:v>
                </c:pt>
                <c:pt idx="53980">
                  <c:v>0.96272516497235505</c:v>
                </c:pt>
                <c:pt idx="53981">
                  <c:v>0.96274299982165101</c:v>
                </c:pt>
                <c:pt idx="53982">
                  <c:v>0.96276083467094697</c:v>
                </c:pt>
                <c:pt idx="53983">
                  <c:v>0.96277866952024205</c:v>
                </c:pt>
                <c:pt idx="53984">
                  <c:v>0.96279650436953801</c:v>
                </c:pt>
                <c:pt idx="53985">
                  <c:v>0.96281433921883297</c:v>
                </c:pt>
                <c:pt idx="53986">
                  <c:v>0.96283217406812904</c:v>
                </c:pt>
                <c:pt idx="53987">
                  <c:v>0.96285000891742401</c:v>
                </c:pt>
                <c:pt idx="53988">
                  <c:v>0.96286784376671997</c:v>
                </c:pt>
                <c:pt idx="53989">
                  <c:v>0.96288567861601504</c:v>
                </c:pt>
                <c:pt idx="53990">
                  <c:v>0.962903513465311</c:v>
                </c:pt>
                <c:pt idx="53991">
                  <c:v>0.96292134831460596</c:v>
                </c:pt>
                <c:pt idx="53992">
                  <c:v>0.96293918316390203</c:v>
                </c:pt>
                <c:pt idx="53993">
                  <c:v>0.962957018013197</c:v>
                </c:pt>
                <c:pt idx="53994">
                  <c:v>0.96297485286249296</c:v>
                </c:pt>
                <c:pt idx="53995">
                  <c:v>0.96299268771178803</c:v>
                </c:pt>
                <c:pt idx="53996">
                  <c:v>0.96301052256108399</c:v>
                </c:pt>
                <c:pt idx="53997">
                  <c:v>0.96302835741037895</c:v>
                </c:pt>
                <c:pt idx="53998">
                  <c:v>0.96304619225967503</c:v>
                </c:pt>
                <c:pt idx="53999">
                  <c:v>0.96306402710896999</c:v>
                </c:pt>
                <c:pt idx="54000">
                  <c:v>0.96308186195826595</c:v>
                </c:pt>
                <c:pt idx="54001">
                  <c:v>0.96309969680756202</c:v>
                </c:pt>
                <c:pt idx="54002">
                  <c:v>0.96311753165685698</c:v>
                </c:pt>
                <c:pt idx="54003">
                  <c:v>0.96313536650615295</c:v>
                </c:pt>
                <c:pt idx="54004">
                  <c:v>0.96315320135544802</c:v>
                </c:pt>
                <c:pt idx="54005">
                  <c:v>0.96317103620474398</c:v>
                </c:pt>
                <c:pt idx="54006">
                  <c:v>0.96318887105403905</c:v>
                </c:pt>
                <c:pt idx="54007">
                  <c:v>0.96320670590333501</c:v>
                </c:pt>
                <c:pt idx="54008">
                  <c:v>0.96322454075262998</c:v>
                </c:pt>
                <c:pt idx="54009">
                  <c:v>0.96324237560192605</c:v>
                </c:pt>
                <c:pt idx="54010">
                  <c:v>0.96326021045122101</c:v>
                </c:pt>
                <c:pt idx="54011">
                  <c:v>0.96327804530051697</c:v>
                </c:pt>
                <c:pt idx="54012">
                  <c:v>0.96329588014981204</c:v>
                </c:pt>
                <c:pt idx="54013">
                  <c:v>0.96331371499910801</c:v>
                </c:pt>
                <c:pt idx="54014">
                  <c:v>0.96333154984840297</c:v>
                </c:pt>
                <c:pt idx="54015">
                  <c:v>0.96334938469769904</c:v>
                </c:pt>
                <c:pt idx="54016">
                  <c:v>0.963367219546994</c:v>
                </c:pt>
                <c:pt idx="54017">
                  <c:v>0.96338505439628996</c:v>
                </c:pt>
                <c:pt idx="54018">
                  <c:v>0.96340288924558504</c:v>
                </c:pt>
                <c:pt idx="54019">
                  <c:v>0.963420724094881</c:v>
                </c:pt>
                <c:pt idx="54020">
                  <c:v>0.96343855894417696</c:v>
                </c:pt>
                <c:pt idx="54021">
                  <c:v>0.96345639379347203</c:v>
                </c:pt>
                <c:pt idx="54022">
                  <c:v>0.96347422864276799</c:v>
                </c:pt>
                <c:pt idx="54023">
                  <c:v>0.96349206349206296</c:v>
                </c:pt>
                <c:pt idx="54024">
                  <c:v>0.96350989834135903</c:v>
                </c:pt>
                <c:pt idx="54025">
                  <c:v>0.96352773319065399</c:v>
                </c:pt>
                <c:pt idx="54026">
                  <c:v>0.96354556803994995</c:v>
                </c:pt>
                <c:pt idx="54027">
                  <c:v>0.96356340288924502</c:v>
                </c:pt>
                <c:pt idx="54028">
                  <c:v>0.96358123773854099</c:v>
                </c:pt>
                <c:pt idx="54029">
                  <c:v>0.96359907258783595</c:v>
                </c:pt>
                <c:pt idx="54030">
                  <c:v>0.96361690743713202</c:v>
                </c:pt>
                <c:pt idx="54031">
                  <c:v>0.96363474228642698</c:v>
                </c:pt>
                <c:pt idx="54032">
                  <c:v>0.96365257713572305</c:v>
                </c:pt>
                <c:pt idx="54033">
                  <c:v>0.96367041198501802</c:v>
                </c:pt>
                <c:pt idx="54034">
                  <c:v>0.96368824683431398</c:v>
                </c:pt>
                <c:pt idx="54035">
                  <c:v>0.96370608168360905</c:v>
                </c:pt>
                <c:pt idx="54036">
                  <c:v>0.96372391653290501</c:v>
                </c:pt>
                <c:pt idx="54037">
                  <c:v>0.96374175138219997</c:v>
                </c:pt>
                <c:pt idx="54038">
                  <c:v>0.96375958623149605</c:v>
                </c:pt>
                <c:pt idx="54039">
                  <c:v>0.96377742108079101</c:v>
                </c:pt>
                <c:pt idx="54040">
                  <c:v>0.96379525593008697</c:v>
                </c:pt>
                <c:pt idx="54041">
                  <c:v>0.96381309077938204</c:v>
                </c:pt>
                <c:pt idx="54042">
                  <c:v>0.963830925628678</c:v>
                </c:pt>
                <c:pt idx="54043">
                  <c:v>0.96384876047797396</c:v>
                </c:pt>
                <c:pt idx="54044">
                  <c:v>0.96386659532726904</c:v>
                </c:pt>
                <c:pt idx="54045">
                  <c:v>0.963884430176565</c:v>
                </c:pt>
                <c:pt idx="54046">
                  <c:v>0.96390226502585996</c:v>
                </c:pt>
                <c:pt idx="54047">
                  <c:v>0.96392009987515603</c:v>
                </c:pt>
                <c:pt idx="54048">
                  <c:v>0.963937934724451</c:v>
                </c:pt>
                <c:pt idx="54049">
                  <c:v>0.96395576957374696</c:v>
                </c:pt>
                <c:pt idx="54050">
                  <c:v>0.96397360442304203</c:v>
                </c:pt>
                <c:pt idx="54051">
                  <c:v>0.96399143927233799</c:v>
                </c:pt>
                <c:pt idx="54052">
                  <c:v>0.96400927412163295</c:v>
                </c:pt>
                <c:pt idx="54053">
                  <c:v>0.96402710897092903</c:v>
                </c:pt>
                <c:pt idx="54054">
                  <c:v>0.96404494382022399</c:v>
                </c:pt>
                <c:pt idx="54055">
                  <c:v>0.96406277866951995</c:v>
                </c:pt>
                <c:pt idx="54056">
                  <c:v>0.96408061351881502</c:v>
                </c:pt>
                <c:pt idx="54057">
                  <c:v>0.96409844836811098</c:v>
                </c:pt>
                <c:pt idx="54058">
                  <c:v>0.96411628321740594</c:v>
                </c:pt>
                <c:pt idx="54059">
                  <c:v>0.96413411806670202</c:v>
                </c:pt>
                <c:pt idx="54060">
                  <c:v>0.96415195291599698</c:v>
                </c:pt>
                <c:pt idx="54061">
                  <c:v>0.96416978776529305</c:v>
                </c:pt>
                <c:pt idx="54062">
                  <c:v>0.96418762261458801</c:v>
                </c:pt>
                <c:pt idx="54063">
                  <c:v>0.96420545746388397</c:v>
                </c:pt>
                <c:pt idx="54064">
                  <c:v>0.96422329231317905</c:v>
                </c:pt>
                <c:pt idx="54065">
                  <c:v>0.96424112716247501</c:v>
                </c:pt>
                <c:pt idx="54066">
                  <c:v>0.96425896201177097</c:v>
                </c:pt>
                <c:pt idx="54067">
                  <c:v>0.96427679686106604</c:v>
                </c:pt>
                <c:pt idx="54068">
                  <c:v>0.964294631710362</c:v>
                </c:pt>
                <c:pt idx="54069">
                  <c:v>0.96431246655965697</c:v>
                </c:pt>
                <c:pt idx="54070">
                  <c:v>0.96433030140895304</c:v>
                </c:pt>
                <c:pt idx="54071">
                  <c:v>0.964348136258248</c:v>
                </c:pt>
                <c:pt idx="54072">
                  <c:v>0.96436597110754396</c:v>
                </c:pt>
                <c:pt idx="54073">
                  <c:v>0.96438380595683904</c:v>
                </c:pt>
                <c:pt idx="54074">
                  <c:v>0.964401640806135</c:v>
                </c:pt>
                <c:pt idx="54075">
                  <c:v>0.96441947565542996</c:v>
                </c:pt>
                <c:pt idx="54076">
                  <c:v>0.96443731050472603</c:v>
                </c:pt>
                <c:pt idx="54077">
                  <c:v>0.96445514535402099</c:v>
                </c:pt>
                <c:pt idx="54078">
                  <c:v>0.96447298020331695</c:v>
                </c:pt>
                <c:pt idx="54079">
                  <c:v>0.96449081505261203</c:v>
                </c:pt>
                <c:pt idx="54080">
                  <c:v>0.96450864990190799</c:v>
                </c:pt>
                <c:pt idx="54081">
                  <c:v>0.96452648475120295</c:v>
                </c:pt>
                <c:pt idx="54082">
                  <c:v>0.96454431960049902</c:v>
                </c:pt>
                <c:pt idx="54083">
                  <c:v>0.96456215444979398</c:v>
                </c:pt>
                <c:pt idx="54084">
                  <c:v>0.96457998929908995</c:v>
                </c:pt>
                <c:pt idx="54085">
                  <c:v>0.96459782414838502</c:v>
                </c:pt>
                <c:pt idx="54086">
                  <c:v>0.96461565899768098</c:v>
                </c:pt>
                <c:pt idx="54087">
                  <c:v>0.96463349384697605</c:v>
                </c:pt>
                <c:pt idx="54088">
                  <c:v>0.96465132869627201</c:v>
                </c:pt>
                <c:pt idx="54089">
                  <c:v>0.96466916354556798</c:v>
                </c:pt>
                <c:pt idx="54090">
                  <c:v>0.96468699839486305</c:v>
                </c:pt>
                <c:pt idx="54091">
                  <c:v>0.96470483324415901</c:v>
                </c:pt>
                <c:pt idx="54092">
                  <c:v>0.96472266809345397</c:v>
                </c:pt>
                <c:pt idx="54093">
                  <c:v>0.96474050294275004</c:v>
                </c:pt>
                <c:pt idx="54094">
                  <c:v>0.96475833779204501</c:v>
                </c:pt>
                <c:pt idx="54095">
                  <c:v>0.96477617264134097</c:v>
                </c:pt>
                <c:pt idx="54096">
                  <c:v>0.96479400749063604</c:v>
                </c:pt>
                <c:pt idx="54097">
                  <c:v>0.964811842339932</c:v>
                </c:pt>
                <c:pt idx="54098">
                  <c:v>0.96482967718922696</c:v>
                </c:pt>
                <c:pt idx="54099">
                  <c:v>0.96484751203852304</c:v>
                </c:pt>
                <c:pt idx="54100">
                  <c:v>0.964865346887818</c:v>
                </c:pt>
                <c:pt idx="54101">
                  <c:v>0.96488318173711396</c:v>
                </c:pt>
                <c:pt idx="54102">
                  <c:v>0.96490101658640903</c:v>
                </c:pt>
                <c:pt idx="54103">
                  <c:v>0.96491885143570499</c:v>
                </c:pt>
                <c:pt idx="54104">
                  <c:v>0.96493668628499996</c:v>
                </c:pt>
                <c:pt idx="54105">
                  <c:v>0.96495452113429603</c:v>
                </c:pt>
                <c:pt idx="54106">
                  <c:v>0.96497235598359199</c:v>
                </c:pt>
                <c:pt idx="54107">
                  <c:v>0.96499019083288695</c:v>
                </c:pt>
                <c:pt idx="54108">
                  <c:v>0.96500802568218302</c:v>
                </c:pt>
                <c:pt idx="54109">
                  <c:v>0.96502586053147799</c:v>
                </c:pt>
                <c:pt idx="54110">
                  <c:v>0.96504369538077395</c:v>
                </c:pt>
                <c:pt idx="54111">
                  <c:v>0.96506153023006902</c:v>
                </c:pt>
                <c:pt idx="54112">
                  <c:v>0.96507936507936498</c:v>
                </c:pt>
                <c:pt idx="54113">
                  <c:v>0.96509719992866005</c:v>
                </c:pt>
                <c:pt idx="54114">
                  <c:v>0.96511503477795602</c:v>
                </c:pt>
                <c:pt idx="54115">
                  <c:v>0.96513286962725098</c:v>
                </c:pt>
                <c:pt idx="54116">
                  <c:v>0.96515070447654705</c:v>
                </c:pt>
                <c:pt idx="54117">
                  <c:v>0.96516853932584201</c:v>
                </c:pt>
                <c:pt idx="54118">
                  <c:v>0.96518637417513797</c:v>
                </c:pt>
                <c:pt idx="54119">
                  <c:v>0.96520420902443305</c:v>
                </c:pt>
                <c:pt idx="54120">
                  <c:v>0.96522204387372901</c:v>
                </c:pt>
                <c:pt idx="54121">
                  <c:v>0.96523987872302397</c:v>
                </c:pt>
                <c:pt idx="54122">
                  <c:v>0.96525771357232004</c:v>
                </c:pt>
                <c:pt idx="54123">
                  <c:v>0.965275548421615</c:v>
                </c:pt>
                <c:pt idx="54124">
                  <c:v>0.96529338327091097</c:v>
                </c:pt>
                <c:pt idx="54125">
                  <c:v>0.96531121812020604</c:v>
                </c:pt>
                <c:pt idx="54126">
                  <c:v>0.965329052969502</c:v>
                </c:pt>
                <c:pt idx="54127">
                  <c:v>0.96534688781879796</c:v>
                </c:pt>
                <c:pt idx="54128">
                  <c:v>0.96536472266809303</c:v>
                </c:pt>
                <c:pt idx="54129">
                  <c:v>0.965382557517389</c:v>
                </c:pt>
                <c:pt idx="54130">
                  <c:v>0.96540039236668396</c:v>
                </c:pt>
                <c:pt idx="54131">
                  <c:v>0.96541822721598003</c:v>
                </c:pt>
                <c:pt idx="54132">
                  <c:v>0.96543606206527499</c:v>
                </c:pt>
                <c:pt idx="54133">
                  <c:v>0.96545389691457095</c:v>
                </c:pt>
                <c:pt idx="54134">
                  <c:v>0.96547173176386603</c:v>
                </c:pt>
                <c:pt idx="54135">
                  <c:v>0.96548956661316199</c:v>
                </c:pt>
                <c:pt idx="54136">
                  <c:v>0.96550740146245695</c:v>
                </c:pt>
                <c:pt idx="54137">
                  <c:v>0.96552523631175302</c:v>
                </c:pt>
                <c:pt idx="54138">
                  <c:v>0.96554307116104798</c:v>
                </c:pt>
                <c:pt idx="54139">
                  <c:v>0.96556090601034406</c:v>
                </c:pt>
                <c:pt idx="54140">
                  <c:v>0.96557874085963902</c:v>
                </c:pt>
                <c:pt idx="54141">
                  <c:v>0.96559657570893498</c:v>
                </c:pt>
                <c:pt idx="54142">
                  <c:v>0.96561441055823005</c:v>
                </c:pt>
                <c:pt idx="54143">
                  <c:v>0.96563224540752601</c:v>
                </c:pt>
                <c:pt idx="54144">
                  <c:v>0.96565008025682098</c:v>
                </c:pt>
                <c:pt idx="54145">
                  <c:v>0.96566791510611705</c:v>
                </c:pt>
                <c:pt idx="54146">
                  <c:v>0.96568574995541201</c:v>
                </c:pt>
                <c:pt idx="54147">
                  <c:v>0.96570358480470797</c:v>
                </c:pt>
                <c:pt idx="54148">
                  <c:v>0.96572141965400304</c:v>
                </c:pt>
                <c:pt idx="54149">
                  <c:v>0.965739254503299</c:v>
                </c:pt>
                <c:pt idx="54150">
                  <c:v>0.96575708935259497</c:v>
                </c:pt>
                <c:pt idx="54151">
                  <c:v>0.96577492420189004</c:v>
                </c:pt>
                <c:pt idx="54152">
                  <c:v>0.965792759051186</c:v>
                </c:pt>
                <c:pt idx="54153">
                  <c:v>0.96581059390048096</c:v>
                </c:pt>
                <c:pt idx="54154">
                  <c:v>0.96582842874977703</c:v>
                </c:pt>
                <c:pt idx="54155">
                  <c:v>0.965846263599072</c:v>
                </c:pt>
                <c:pt idx="54156">
                  <c:v>0.96586409844836796</c:v>
                </c:pt>
                <c:pt idx="54157">
                  <c:v>0.96588193329766303</c:v>
                </c:pt>
                <c:pt idx="54158">
                  <c:v>0.96589976814695899</c:v>
                </c:pt>
                <c:pt idx="54159">
                  <c:v>0.96591760299625395</c:v>
                </c:pt>
                <c:pt idx="54160">
                  <c:v>0.96593543784555003</c:v>
                </c:pt>
                <c:pt idx="54161">
                  <c:v>0.96595327269484499</c:v>
                </c:pt>
                <c:pt idx="54162">
                  <c:v>0.96597110754414095</c:v>
                </c:pt>
                <c:pt idx="54163">
                  <c:v>0.96598894239343602</c:v>
                </c:pt>
                <c:pt idx="54164">
                  <c:v>0.96600677724273198</c:v>
                </c:pt>
                <c:pt idx="54165">
                  <c:v>0.96602461209202695</c:v>
                </c:pt>
                <c:pt idx="54166">
                  <c:v>0.96604244694132302</c:v>
                </c:pt>
                <c:pt idx="54167">
                  <c:v>0.96606028179061798</c:v>
                </c:pt>
                <c:pt idx="54168">
                  <c:v>0.96607811663991405</c:v>
                </c:pt>
                <c:pt idx="54169">
                  <c:v>0.96609595148920901</c:v>
                </c:pt>
                <c:pt idx="54170">
                  <c:v>0.96611378633850498</c:v>
                </c:pt>
                <c:pt idx="54171">
                  <c:v>0.96613162118780005</c:v>
                </c:pt>
                <c:pt idx="54172">
                  <c:v>0.96614945603709601</c:v>
                </c:pt>
                <c:pt idx="54173">
                  <c:v>0.96616729088639197</c:v>
                </c:pt>
                <c:pt idx="54174">
                  <c:v>0.96618512573568704</c:v>
                </c:pt>
                <c:pt idx="54175">
                  <c:v>0.96620296058498301</c:v>
                </c:pt>
                <c:pt idx="54176">
                  <c:v>0.96622079543427797</c:v>
                </c:pt>
                <c:pt idx="54177">
                  <c:v>0.96623863028357404</c:v>
                </c:pt>
                <c:pt idx="54178">
                  <c:v>0.966256465132869</c:v>
                </c:pt>
                <c:pt idx="54179">
                  <c:v>0.96627429998216496</c:v>
                </c:pt>
                <c:pt idx="54180">
                  <c:v>0.96629213483146004</c:v>
                </c:pt>
                <c:pt idx="54181">
                  <c:v>0.966309969680756</c:v>
                </c:pt>
                <c:pt idx="54182">
                  <c:v>0.96632780453005096</c:v>
                </c:pt>
                <c:pt idx="54183">
                  <c:v>0.96634563937934703</c:v>
                </c:pt>
                <c:pt idx="54184">
                  <c:v>0.96636347422864199</c:v>
                </c:pt>
                <c:pt idx="54185">
                  <c:v>0.96638130907793796</c:v>
                </c:pt>
                <c:pt idx="54186">
                  <c:v>0.96639914392723303</c:v>
                </c:pt>
                <c:pt idx="54187">
                  <c:v>0.96641697877652899</c:v>
                </c:pt>
                <c:pt idx="54188">
                  <c:v>0.96643481362582395</c:v>
                </c:pt>
                <c:pt idx="54189">
                  <c:v>0.96645264847512002</c:v>
                </c:pt>
                <c:pt idx="54190">
                  <c:v>0.96647048332441499</c:v>
                </c:pt>
                <c:pt idx="54191">
                  <c:v>0.96648831817371095</c:v>
                </c:pt>
                <c:pt idx="54192">
                  <c:v>0.96650615302300602</c:v>
                </c:pt>
                <c:pt idx="54193">
                  <c:v>0.96652398787230198</c:v>
                </c:pt>
                <c:pt idx="54194">
                  <c:v>0.96654182272159805</c:v>
                </c:pt>
                <c:pt idx="54195">
                  <c:v>0.96655965757089302</c:v>
                </c:pt>
                <c:pt idx="54196">
                  <c:v>0.96657749242018898</c:v>
                </c:pt>
                <c:pt idx="54197">
                  <c:v>0.96659532726948405</c:v>
                </c:pt>
                <c:pt idx="54198">
                  <c:v>0.96661316211878001</c:v>
                </c:pt>
                <c:pt idx="54199">
                  <c:v>0.96663099696807497</c:v>
                </c:pt>
                <c:pt idx="54200">
                  <c:v>0.96664883181737105</c:v>
                </c:pt>
                <c:pt idx="54201">
                  <c:v>0.96666666666666601</c:v>
                </c:pt>
                <c:pt idx="54202">
                  <c:v>0.96668450151596197</c:v>
                </c:pt>
                <c:pt idx="54203">
                  <c:v>0.96670233636525704</c:v>
                </c:pt>
                <c:pt idx="54204">
                  <c:v>0.966720171214553</c:v>
                </c:pt>
                <c:pt idx="54205">
                  <c:v>0.96673800606384797</c:v>
                </c:pt>
                <c:pt idx="54206">
                  <c:v>0.96675584091314404</c:v>
                </c:pt>
                <c:pt idx="54207">
                  <c:v>0.966773675762439</c:v>
                </c:pt>
                <c:pt idx="54208">
                  <c:v>0.96679151061173496</c:v>
                </c:pt>
                <c:pt idx="54209">
                  <c:v>0.96680934546103003</c:v>
                </c:pt>
                <c:pt idx="54210">
                  <c:v>0.966827180310326</c:v>
                </c:pt>
                <c:pt idx="54211">
                  <c:v>0.96684501515962196</c:v>
                </c:pt>
                <c:pt idx="54212">
                  <c:v>0.96686285000891703</c:v>
                </c:pt>
                <c:pt idx="54213">
                  <c:v>0.96688068485821299</c:v>
                </c:pt>
                <c:pt idx="54214">
                  <c:v>0.96689851970750795</c:v>
                </c:pt>
                <c:pt idx="54215">
                  <c:v>0.96691635455680403</c:v>
                </c:pt>
                <c:pt idx="54216">
                  <c:v>0.96693418940609899</c:v>
                </c:pt>
                <c:pt idx="54217">
                  <c:v>0.96695202425539495</c:v>
                </c:pt>
                <c:pt idx="54218">
                  <c:v>0.96696985910469002</c:v>
                </c:pt>
                <c:pt idx="54219">
                  <c:v>0.96698769395398598</c:v>
                </c:pt>
                <c:pt idx="54220">
                  <c:v>0.96700552880328094</c:v>
                </c:pt>
                <c:pt idx="54221">
                  <c:v>0.96702336365257702</c:v>
                </c:pt>
                <c:pt idx="54222">
                  <c:v>0.96704119850187198</c:v>
                </c:pt>
                <c:pt idx="54223">
                  <c:v>0.96705903335116805</c:v>
                </c:pt>
                <c:pt idx="54224">
                  <c:v>0.96707686820046301</c:v>
                </c:pt>
                <c:pt idx="54225">
                  <c:v>0.96709470304975897</c:v>
                </c:pt>
                <c:pt idx="54226">
                  <c:v>0.96711253789905405</c:v>
                </c:pt>
                <c:pt idx="54227">
                  <c:v>0.96713037274835001</c:v>
                </c:pt>
                <c:pt idx="54228">
                  <c:v>0.96714820759764497</c:v>
                </c:pt>
                <c:pt idx="54229">
                  <c:v>0.96716604244694104</c:v>
                </c:pt>
                <c:pt idx="54230">
                  <c:v>0.96718387729623601</c:v>
                </c:pt>
                <c:pt idx="54231">
                  <c:v>0.96720171214553197</c:v>
                </c:pt>
                <c:pt idx="54232">
                  <c:v>0.96721954699482704</c:v>
                </c:pt>
                <c:pt idx="54233">
                  <c:v>0.967237381844123</c:v>
                </c:pt>
                <c:pt idx="54234">
                  <c:v>0.96725521669341896</c:v>
                </c:pt>
                <c:pt idx="54235">
                  <c:v>0.96727305154271404</c:v>
                </c:pt>
                <c:pt idx="54236">
                  <c:v>0.96729088639201</c:v>
                </c:pt>
                <c:pt idx="54237">
                  <c:v>0.96730872124130496</c:v>
                </c:pt>
                <c:pt idx="54238">
                  <c:v>0.96732655609060103</c:v>
                </c:pt>
                <c:pt idx="54239">
                  <c:v>0.96734439093989599</c:v>
                </c:pt>
                <c:pt idx="54240">
                  <c:v>0.96736222578919195</c:v>
                </c:pt>
                <c:pt idx="54241">
                  <c:v>0.96738006063848703</c:v>
                </c:pt>
                <c:pt idx="54242">
                  <c:v>0.96739789548778299</c:v>
                </c:pt>
                <c:pt idx="54243">
                  <c:v>0.96741573033707795</c:v>
                </c:pt>
                <c:pt idx="54244">
                  <c:v>0.96743356518637402</c:v>
                </c:pt>
                <c:pt idx="54245">
                  <c:v>0.96745140003566898</c:v>
                </c:pt>
                <c:pt idx="54246">
                  <c:v>0.96746923488496495</c:v>
                </c:pt>
                <c:pt idx="54247">
                  <c:v>0.96748706973426002</c:v>
                </c:pt>
                <c:pt idx="54248">
                  <c:v>0.96750490458355598</c:v>
                </c:pt>
                <c:pt idx="54249">
                  <c:v>0.96752273943285105</c:v>
                </c:pt>
                <c:pt idx="54250">
                  <c:v>0.96754057428214701</c:v>
                </c:pt>
                <c:pt idx="54251">
                  <c:v>0.96755840913144198</c:v>
                </c:pt>
                <c:pt idx="54252">
                  <c:v>0.96757624398073805</c:v>
                </c:pt>
                <c:pt idx="54253">
                  <c:v>0.96759407883003301</c:v>
                </c:pt>
                <c:pt idx="54254">
                  <c:v>0.96761191367932897</c:v>
                </c:pt>
                <c:pt idx="54255">
                  <c:v>0.96762974852862405</c:v>
                </c:pt>
                <c:pt idx="54256">
                  <c:v>0.96764758337792001</c:v>
                </c:pt>
                <c:pt idx="54257">
                  <c:v>0.96766541822721597</c:v>
                </c:pt>
                <c:pt idx="54258">
                  <c:v>0.96768325307651104</c:v>
                </c:pt>
                <c:pt idx="54259">
                  <c:v>0.967701087925807</c:v>
                </c:pt>
                <c:pt idx="54260">
                  <c:v>0.96771892277510196</c:v>
                </c:pt>
                <c:pt idx="54261">
                  <c:v>0.96773675762439804</c:v>
                </c:pt>
                <c:pt idx="54262">
                  <c:v>0.967754592473693</c:v>
                </c:pt>
                <c:pt idx="54263">
                  <c:v>0.96777242732298896</c:v>
                </c:pt>
                <c:pt idx="54264">
                  <c:v>0.96779026217228403</c:v>
                </c:pt>
                <c:pt idx="54265">
                  <c:v>0.96780809702157999</c:v>
                </c:pt>
                <c:pt idx="54266">
                  <c:v>0.96782593187087496</c:v>
                </c:pt>
                <c:pt idx="54267">
                  <c:v>0.96784376672017103</c:v>
                </c:pt>
                <c:pt idx="54268">
                  <c:v>0.96786160156946599</c:v>
                </c:pt>
                <c:pt idx="54269">
                  <c:v>0.96787943641876195</c:v>
                </c:pt>
                <c:pt idx="54270">
                  <c:v>0.96789727126805702</c:v>
                </c:pt>
                <c:pt idx="54271">
                  <c:v>0.96791510611735299</c:v>
                </c:pt>
                <c:pt idx="54272">
                  <c:v>0.96793294096664795</c:v>
                </c:pt>
                <c:pt idx="54273">
                  <c:v>0.96795077581594402</c:v>
                </c:pt>
                <c:pt idx="54274">
                  <c:v>0.96796861066523898</c:v>
                </c:pt>
                <c:pt idx="54275">
                  <c:v>0.96798644551453505</c:v>
                </c:pt>
                <c:pt idx="54276">
                  <c:v>0.96800428036383002</c:v>
                </c:pt>
                <c:pt idx="54277">
                  <c:v>0.96802211521312598</c:v>
                </c:pt>
                <c:pt idx="54278">
                  <c:v>0.96803995006242105</c:v>
                </c:pt>
                <c:pt idx="54279">
                  <c:v>0.96805778491171701</c:v>
                </c:pt>
                <c:pt idx="54280">
                  <c:v>0.96807561976101297</c:v>
                </c:pt>
                <c:pt idx="54281">
                  <c:v>0.96809345461030805</c:v>
                </c:pt>
                <c:pt idx="54282">
                  <c:v>0.96811128945960401</c:v>
                </c:pt>
                <c:pt idx="54283">
                  <c:v>0.96812912430889897</c:v>
                </c:pt>
                <c:pt idx="54284">
                  <c:v>0.96814695915819504</c:v>
                </c:pt>
                <c:pt idx="54285">
                  <c:v>0.96816479400749</c:v>
                </c:pt>
                <c:pt idx="54286">
                  <c:v>0.96818262885678597</c:v>
                </c:pt>
                <c:pt idx="54287">
                  <c:v>0.96820046370608104</c:v>
                </c:pt>
                <c:pt idx="54288">
                  <c:v>0.968218298555377</c:v>
                </c:pt>
                <c:pt idx="54289">
                  <c:v>0.96823613340467196</c:v>
                </c:pt>
                <c:pt idx="54290">
                  <c:v>0.96825396825396803</c:v>
                </c:pt>
                <c:pt idx="54291">
                  <c:v>0.968271803103263</c:v>
                </c:pt>
                <c:pt idx="54292">
                  <c:v>0.96828963795255896</c:v>
                </c:pt>
                <c:pt idx="54293">
                  <c:v>0.96830747280185403</c:v>
                </c:pt>
                <c:pt idx="54294">
                  <c:v>0.96832530765114999</c:v>
                </c:pt>
                <c:pt idx="54295">
                  <c:v>0.96834314250044495</c:v>
                </c:pt>
                <c:pt idx="54296">
                  <c:v>0.96836097734974103</c:v>
                </c:pt>
                <c:pt idx="54297">
                  <c:v>0.96837881219903599</c:v>
                </c:pt>
                <c:pt idx="54298">
                  <c:v>0.96839664704833195</c:v>
                </c:pt>
                <c:pt idx="54299">
                  <c:v>0.96841448189762702</c:v>
                </c:pt>
                <c:pt idx="54300">
                  <c:v>0.96843231674692298</c:v>
                </c:pt>
                <c:pt idx="54301">
                  <c:v>0.96845015159621906</c:v>
                </c:pt>
                <c:pt idx="54302">
                  <c:v>0.96846798644551402</c:v>
                </c:pt>
                <c:pt idx="54303">
                  <c:v>0.96848582129480998</c:v>
                </c:pt>
                <c:pt idx="54304">
                  <c:v>0.96850365614410505</c:v>
                </c:pt>
                <c:pt idx="54305">
                  <c:v>0.96852149099340101</c:v>
                </c:pt>
                <c:pt idx="54306">
                  <c:v>0.96853932584269598</c:v>
                </c:pt>
                <c:pt idx="54307">
                  <c:v>0.96855716069199205</c:v>
                </c:pt>
                <c:pt idx="54308">
                  <c:v>0.96857499554128701</c:v>
                </c:pt>
                <c:pt idx="54309">
                  <c:v>0.96859283039058297</c:v>
                </c:pt>
                <c:pt idx="54310">
                  <c:v>0.96861066523987804</c:v>
                </c:pt>
                <c:pt idx="54311">
                  <c:v>0.968628500089174</c:v>
                </c:pt>
                <c:pt idx="54312">
                  <c:v>0.96864633493846897</c:v>
                </c:pt>
                <c:pt idx="54313">
                  <c:v>0.96866416978776504</c:v>
                </c:pt>
                <c:pt idx="54314">
                  <c:v>0.96868200463706</c:v>
                </c:pt>
                <c:pt idx="54315">
                  <c:v>0.96869983948635596</c:v>
                </c:pt>
                <c:pt idx="54316">
                  <c:v>0.96871767433565104</c:v>
                </c:pt>
                <c:pt idx="54317">
                  <c:v>0.968735509184947</c:v>
                </c:pt>
                <c:pt idx="54318">
                  <c:v>0.96875334403424296</c:v>
                </c:pt>
                <c:pt idx="54319">
                  <c:v>0.96877117888353803</c:v>
                </c:pt>
                <c:pt idx="54320">
                  <c:v>0.96878901373283399</c:v>
                </c:pt>
                <c:pt idx="54321">
                  <c:v>0.96880684858212895</c:v>
                </c:pt>
                <c:pt idx="54322">
                  <c:v>0.96882468343142503</c:v>
                </c:pt>
                <c:pt idx="54323">
                  <c:v>0.96884251828071999</c:v>
                </c:pt>
                <c:pt idx="54324">
                  <c:v>0.96886035313001595</c:v>
                </c:pt>
                <c:pt idx="54325">
                  <c:v>0.96887818797931102</c:v>
                </c:pt>
                <c:pt idx="54326">
                  <c:v>0.96889602282860698</c:v>
                </c:pt>
                <c:pt idx="54327">
                  <c:v>0.96891385767790195</c:v>
                </c:pt>
                <c:pt idx="54328">
                  <c:v>0.96893169252719802</c:v>
                </c:pt>
                <c:pt idx="54329">
                  <c:v>0.96894952737649298</c:v>
                </c:pt>
                <c:pt idx="54330">
                  <c:v>0.96896736222578905</c:v>
                </c:pt>
                <c:pt idx="54331">
                  <c:v>0.96898519707508401</c:v>
                </c:pt>
                <c:pt idx="54332">
                  <c:v>0.96900303192437998</c:v>
                </c:pt>
                <c:pt idx="54333">
                  <c:v>0.96902086677367505</c:v>
                </c:pt>
                <c:pt idx="54334">
                  <c:v>0.96903870162297101</c:v>
                </c:pt>
                <c:pt idx="54335">
                  <c:v>0.96905653647226597</c:v>
                </c:pt>
                <c:pt idx="54336">
                  <c:v>0.96907437132156204</c:v>
                </c:pt>
                <c:pt idx="54337">
                  <c:v>0.96909220617085701</c:v>
                </c:pt>
                <c:pt idx="54338">
                  <c:v>0.96911004102015297</c:v>
                </c:pt>
                <c:pt idx="54339">
                  <c:v>0.96912787586944804</c:v>
                </c:pt>
                <c:pt idx="54340">
                  <c:v>0.969145710718744</c:v>
                </c:pt>
                <c:pt idx="54341">
                  <c:v>0.96916354556803996</c:v>
                </c:pt>
                <c:pt idx="54342">
                  <c:v>0.96918138041733504</c:v>
                </c:pt>
                <c:pt idx="54343">
                  <c:v>0.969199215266631</c:v>
                </c:pt>
                <c:pt idx="54344">
                  <c:v>0.96921705011592596</c:v>
                </c:pt>
                <c:pt idx="54345">
                  <c:v>0.96923488496522203</c:v>
                </c:pt>
                <c:pt idx="54346">
                  <c:v>0.96925271981451699</c:v>
                </c:pt>
                <c:pt idx="54347">
                  <c:v>0.96927055466381296</c:v>
                </c:pt>
                <c:pt idx="54348">
                  <c:v>0.96928838951310803</c:v>
                </c:pt>
                <c:pt idx="54349">
                  <c:v>0.96930622436240399</c:v>
                </c:pt>
                <c:pt idx="54350">
                  <c:v>0.96932405921169895</c:v>
                </c:pt>
                <c:pt idx="54351">
                  <c:v>0.96934189406099502</c:v>
                </c:pt>
                <c:pt idx="54352">
                  <c:v>0.96935972891028999</c:v>
                </c:pt>
                <c:pt idx="54353">
                  <c:v>0.96937756375958595</c:v>
                </c:pt>
                <c:pt idx="54354">
                  <c:v>0.96939539860888102</c:v>
                </c:pt>
                <c:pt idx="54355">
                  <c:v>0.96941323345817698</c:v>
                </c:pt>
                <c:pt idx="54356">
                  <c:v>0.96943106830747205</c:v>
                </c:pt>
                <c:pt idx="54357">
                  <c:v>0.96944890315676802</c:v>
                </c:pt>
                <c:pt idx="54358">
                  <c:v>0.96946673800606298</c:v>
                </c:pt>
                <c:pt idx="54359">
                  <c:v>0.96948457285535905</c:v>
                </c:pt>
                <c:pt idx="54360">
                  <c:v>0.96950240770465401</c:v>
                </c:pt>
                <c:pt idx="54361">
                  <c:v>0.96952024255394997</c:v>
                </c:pt>
                <c:pt idx="54362">
                  <c:v>0.96953807740324505</c:v>
                </c:pt>
                <c:pt idx="54363">
                  <c:v>0.96955591225254101</c:v>
                </c:pt>
                <c:pt idx="54364">
                  <c:v>0.96957374710183697</c:v>
                </c:pt>
                <c:pt idx="54365">
                  <c:v>0.96959158195113204</c:v>
                </c:pt>
                <c:pt idx="54366">
                  <c:v>0.969609416800428</c:v>
                </c:pt>
                <c:pt idx="54367">
                  <c:v>0.96962725164972297</c:v>
                </c:pt>
                <c:pt idx="54368">
                  <c:v>0.96964508649901904</c:v>
                </c:pt>
                <c:pt idx="54369">
                  <c:v>0.969662921348314</c:v>
                </c:pt>
                <c:pt idx="54370">
                  <c:v>0.96968075619760996</c:v>
                </c:pt>
                <c:pt idx="54371">
                  <c:v>0.96969859104690503</c:v>
                </c:pt>
                <c:pt idx="54372">
                  <c:v>0.969716425896201</c:v>
                </c:pt>
                <c:pt idx="54373">
                  <c:v>0.96973426074549596</c:v>
                </c:pt>
                <c:pt idx="54374">
                  <c:v>0.96975209559479203</c:v>
                </c:pt>
                <c:pt idx="54375">
                  <c:v>0.96976993044408699</c:v>
                </c:pt>
                <c:pt idx="54376">
                  <c:v>0.96978776529338295</c:v>
                </c:pt>
                <c:pt idx="54377">
                  <c:v>0.96980560014267803</c:v>
                </c:pt>
                <c:pt idx="54378">
                  <c:v>0.96982343499197399</c:v>
                </c:pt>
                <c:pt idx="54379">
                  <c:v>0.96984126984126895</c:v>
                </c:pt>
                <c:pt idx="54380">
                  <c:v>0.96985910469056502</c:v>
                </c:pt>
                <c:pt idx="54381">
                  <c:v>0.96987693953985998</c:v>
                </c:pt>
                <c:pt idx="54382">
                  <c:v>0.96989477438915594</c:v>
                </c:pt>
                <c:pt idx="54383">
                  <c:v>0.96991260923845102</c:v>
                </c:pt>
                <c:pt idx="54384">
                  <c:v>0.96993044408774698</c:v>
                </c:pt>
                <c:pt idx="54385">
                  <c:v>0.96994827893704205</c:v>
                </c:pt>
                <c:pt idx="54386">
                  <c:v>0.96996611378633801</c:v>
                </c:pt>
                <c:pt idx="54387">
                  <c:v>0.96998394863563397</c:v>
                </c:pt>
                <c:pt idx="54388">
                  <c:v>0.97000178348492905</c:v>
                </c:pt>
                <c:pt idx="54389">
                  <c:v>0.97001961833422501</c:v>
                </c:pt>
                <c:pt idx="54390">
                  <c:v>0.97003745318351997</c:v>
                </c:pt>
                <c:pt idx="54391">
                  <c:v>0.97005528803281604</c:v>
                </c:pt>
                <c:pt idx="54392">
                  <c:v>0.97007312288211101</c:v>
                </c:pt>
                <c:pt idx="54393">
                  <c:v>0.97009095773140697</c:v>
                </c:pt>
                <c:pt idx="54394">
                  <c:v>0.97010879258070204</c:v>
                </c:pt>
                <c:pt idx="54395">
                  <c:v>0.970126627429998</c:v>
                </c:pt>
                <c:pt idx="54396">
                  <c:v>0.97014446227929296</c:v>
                </c:pt>
                <c:pt idx="54397">
                  <c:v>0.97016229712858904</c:v>
                </c:pt>
                <c:pt idx="54398">
                  <c:v>0.970180131977884</c:v>
                </c:pt>
                <c:pt idx="54399">
                  <c:v>0.97019796682717996</c:v>
                </c:pt>
                <c:pt idx="54400">
                  <c:v>0.97021580167647503</c:v>
                </c:pt>
                <c:pt idx="54401">
                  <c:v>0.97023363652577099</c:v>
                </c:pt>
                <c:pt idx="54402">
                  <c:v>0.97025147137506595</c:v>
                </c:pt>
                <c:pt idx="54403">
                  <c:v>0.97026930622436203</c:v>
                </c:pt>
                <c:pt idx="54404">
                  <c:v>0.97028714107365699</c:v>
                </c:pt>
                <c:pt idx="54405">
                  <c:v>0.97030497592295295</c:v>
                </c:pt>
                <c:pt idx="54406">
                  <c:v>0.97032281077224902</c:v>
                </c:pt>
                <c:pt idx="54407">
                  <c:v>0.97034064562154398</c:v>
                </c:pt>
                <c:pt idx="54408">
                  <c:v>0.97035848047083995</c:v>
                </c:pt>
                <c:pt idx="54409">
                  <c:v>0.97037631532013502</c:v>
                </c:pt>
                <c:pt idx="54410">
                  <c:v>0.97039415016943098</c:v>
                </c:pt>
                <c:pt idx="54411">
                  <c:v>0.97041198501872605</c:v>
                </c:pt>
                <c:pt idx="54412">
                  <c:v>0.97042981986802201</c:v>
                </c:pt>
                <c:pt idx="54413">
                  <c:v>0.97044765471731698</c:v>
                </c:pt>
                <c:pt idx="54414">
                  <c:v>0.97046548956661305</c:v>
                </c:pt>
                <c:pt idx="54415">
                  <c:v>0.97048332441590801</c:v>
                </c:pt>
                <c:pt idx="54416">
                  <c:v>0.97050115926520397</c:v>
                </c:pt>
                <c:pt idx="54417">
                  <c:v>0.97051899411449905</c:v>
                </c:pt>
                <c:pt idx="54418">
                  <c:v>0.97053682896379501</c:v>
                </c:pt>
                <c:pt idx="54419">
                  <c:v>0.97055466381308997</c:v>
                </c:pt>
                <c:pt idx="54420">
                  <c:v>0.97057249866238604</c:v>
                </c:pt>
                <c:pt idx="54421">
                  <c:v>0.970590333511681</c:v>
                </c:pt>
                <c:pt idx="54422">
                  <c:v>0.97060816836097696</c:v>
                </c:pt>
                <c:pt idx="54423">
                  <c:v>0.97062600321027204</c:v>
                </c:pt>
                <c:pt idx="54424">
                  <c:v>0.970643838059568</c:v>
                </c:pt>
                <c:pt idx="54425">
                  <c:v>0.97066167290886396</c:v>
                </c:pt>
                <c:pt idx="54426">
                  <c:v>0.97067950775815903</c:v>
                </c:pt>
                <c:pt idx="54427">
                  <c:v>0.97069734260745499</c:v>
                </c:pt>
                <c:pt idx="54428">
                  <c:v>0.97071517745674996</c:v>
                </c:pt>
                <c:pt idx="54429">
                  <c:v>0.97073301230604603</c:v>
                </c:pt>
                <c:pt idx="54430">
                  <c:v>0.97075084715534099</c:v>
                </c:pt>
                <c:pt idx="54431">
                  <c:v>0.97076868200463695</c:v>
                </c:pt>
                <c:pt idx="54432">
                  <c:v>0.97078651685393202</c:v>
                </c:pt>
                <c:pt idx="54433">
                  <c:v>0.97080435170322799</c:v>
                </c:pt>
                <c:pt idx="54434">
                  <c:v>0.97082218655252295</c:v>
                </c:pt>
                <c:pt idx="54435">
                  <c:v>0.97084002140181902</c:v>
                </c:pt>
                <c:pt idx="54436">
                  <c:v>0.97085785625111398</c:v>
                </c:pt>
                <c:pt idx="54437">
                  <c:v>0.97087569110041005</c:v>
                </c:pt>
                <c:pt idx="54438">
                  <c:v>0.97089352594970502</c:v>
                </c:pt>
                <c:pt idx="54439">
                  <c:v>0.97091136079900098</c:v>
                </c:pt>
                <c:pt idx="54440">
                  <c:v>0.97092919564829605</c:v>
                </c:pt>
                <c:pt idx="54441">
                  <c:v>0.97094703049759201</c:v>
                </c:pt>
                <c:pt idx="54442">
                  <c:v>0.97096486534688697</c:v>
                </c:pt>
                <c:pt idx="54443">
                  <c:v>0.97098270019618305</c:v>
                </c:pt>
                <c:pt idx="54444">
                  <c:v>0.97100053504547801</c:v>
                </c:pt>
                <c:pt idx="54445">
                  <c:v>0.97101836989477397</c:v>
                </c:pt>
                <c:pt idx="54446">
                  <c:v>0.97103620474406904</c:v>
                </c:pt>
                <c:pt idx="54447">
                  <c:v>0.971054039593365</c:v>
                </c:pt>
                <c:pt idx="54448">
                  <c:v>0.97107187444266096</c:v>
                </c:pt>
                <c:pt idx="54449">
                  <c:v>0.97108970929195604</c:v>
                </c:pt>
                <c:pt idx="54450">
                  <c:v>0.971107544141252</c:v>
                </c:pt>
                <c:pt idx="54451">
                  <c:v>0.97112537899054696</c:v>
                </c:pt>
                <c:pt idx="54452">
                  <c:v>0.97114321383984303</c:v>
                </c:pt>
                <c:pt idx="54453">
                  <c:v>0.971161048689138</c:v>
                </c:pt>
                <c:pt idx="54454">
                  <c:v>0.97117888353843396</c:v>
                </c:pt>
                <c:pt idx="54455">
                  <c:v>0.97119671838772903</c:v>
                </c:pt>
                <c:pt idx="54456">
                  <c:v>0.97121455323702499</c:v>
                </c:pt>
                <c:pt idx="54457">
                  <c:v>0.97123238808631995</c:v>
                </c:pt>
                <c:pt idx="54458">
                  <c:v>0.97125022293561603</c:v>
                </c:pt>
                <c:pt idx="54459">
                  <c:v>0.97126805778491099</c:v>
                </c:pt>
                <c:pt idx="54460">
                  <c:v>0.97128589263420695</c:v>
                </c:pt>
                <c:pt idx="54461">
                  <c:v>0.97130372748350202</c:v>
                </c:pt>
                <c:pt idx="54462">
                  <c:v>0.97132156233279798</c:v>
                </c:pt>
                <c:pt idx="54463">
                  <c:v>0.97133939718209295</c:v>
                </c:pt>
                <c:pt idx="54464">
                  <c:v>0.97135723203138902</c:v>
                </c:pt>
                <c:pt idx="54465">
                  <c:v>0.97137506688068398</c:v>
                </c:pt>
                <c:pt idx="54466">
                  <c:v>0.97139290172998005</c:v>
                </c:pt>
                <c:pt idx="54467">
                  <c:v>0.97141073657927501</c:v>
                </c:pt>
                <c:pt idx="54468">
                  <c:v>0.97142857142857097</c:v>
                </c:pt>
                <c:pt idx="54469">
                  <c:v>0.97144640627786605</c:v>
                </c:pt>
                <c:pt idx="54470">
                  <c:v>0.97146424112716201</c:v>
                </c:pt>
                <c:pt idx="54471">
                  <c:v>0.97148207597645797</c:v>
                </c:pt>
                <c:pt idx="54472">
                  <c:v>0.97149991082575304</c:v>
                </c:pt>
                <c:pt idx="54473">
                  <c:v>0.971517745675049</c:v>
                </c:pt>
                <c:pt idx="54474">
                  <c:v>0.97153558052434397</c:v>
                </c:pt>
                <c:pt idx="54475">
                  <c:v>0.97155341537364004</c:v>
                </c:pt>
                <c:pt idx="54476">
                  <c:v>0.971571250222935</c:v>
                </c:pt>
                <c:pt idx="54477">
                  <c:v>0.97158908507223096</c:v>
                </c:pt>
                <c:pt idx="54478">
                  <c:v>0.97160691992152604</c:v>
                </c:pt>
                <c:pt idx="54479">
                  <c:v>0.971624754770822</c:v>
                </c:pt>
                <c:pt idx="54480">
                  <c:v>0.97164258962011696</c:v>
                </c:pt>
                <c:pt idx="54481">
                  <c:v>0.97166042446941303</c:v>
                </c:pt>
                <c:pt idx="54482">
                  <c:v>0.97167825931870799</c:v>
                </c:pt>
                <c:pt idx="54483">
                  <c:v>0.97169609416800395</c:v>
                </c:pt>
                <c:pt idx="54484">
                  <c:v>0.97171392901729903</c:v>
                </c:pt>
                <c:pt idx="54485">
                  <c:v>0.97173176386659499</c:v>
                </c:pt>
                <c:pt idx="54486">
                  <c:v>0.97174959871588995</c:v>
                </c:pt>
                <c:pt idx="54487">
                  <c:v>0.97176743356518602</c:v>
                </c:pt>
                <c:pt idx="54488">
                  <c:v>0.97178526841448098</c:v>
                </c:pt>
                <c:pt idx="54489">
                  <c:v>0.97180310326377695</c:v>
                </c:pt>
                <c:pt idx="54490">
                  <c:v>0.97182093811307202</c:v>
                </c:pt>
                <c:pt idx="54491">
                  <c:v>0.97183877296236798</c:v>
                </c:pt>
                <c:pt idx="54492">
                  <c:v>0.97185660781166305</c:v>
                </c:pt>
                <c:pt idx="54493">
                  <c:v>0.97187444266095901</c:v>
                </c:pt>
                <c:pt idx="54494">
                  <c:v>0.97189227751025498</c:v>
                </c:pt>
                <c:pt idx="54495">
                  <c:v>0.97191011235955005</c:v>
                </c:pt>
                <c:pt idx="54496">
                  <c:v>0.97192794720884601</c:v>
                </c:pt>
                <c:pt idx="54497">
                  <c:v>0.97194578205814097</c:v>
                </c:pt>
                <c:pt idx="54498">
                  <c:v>0.97196361690743704</c:v>
                </c:pt>
                <c:pt idx="54499">
                  <c:v>0.97198145175673201</c:v>
                </c:pt>
                <c:pt idx="54500">
                  <c:v>0.97199928660602797</c:v>
                </c:pt>
                <c:pt idx="54501">
                  <c:v>0.97201712145532304</c:v>
                </c:pt>
                <c:pt idx="54502">
                  <c:v>0.972034956304619</c:v>
                </c:pt>
                <c:pt idx="54503">
                  <c:v>0.97205279115391396</c:v>
                </c:pt>
                <c:pt idx="54504">
                  <c:v>0.97207062600321004</c:v>
                </c:pt>
                <c:pt idx="54505">
                  <c:v>0.972088460852505</c:v>
                </c:pt>
                <c:pt idx="54506">
                  <c:v>0.97210629570180096</c:v>
                </c:pt>
                <c:pt idx="54507">
                  <c:v>0.97212413055109603</c:v>
                </c:pt>
                <c:pt idx="54508">
                  <c:v>0.97214196540039199</c:v>
                </c:pt>
                <c:pt idx="54509">
                  <c:v>0.97215980024968696</c:v>
                </c:pt>
                <c:pt idx="54510">
                  <c:v>0.97217763509898303</c:v>
                </c:pt>
                <c:pt idx="54511">
                  <c:v>0.97219546994827899</c:v>
                </c:pt>
                <c:pt idx="54512">
                  <c:v>0.97221330479757395</c:v>
                </c:pt>
                <c:pt idx="54513">
                  <c:v>0.97223113964687002</c:v>
                </c:pt>
                <c:pt idx="54514">
                  <c:v>0.97224897449616499</c:v>
                </c:pt>
                <c:pt idx="54515">
                  <c:v>0.97226680934546095</c:v>
                </c:pt>
                <c:pt idx="54516">
                  <c:v>0.97228464419475602</c:v>
                </c:pt>
                <c:pt idx="54517">
                  <c:v>0.97230247904405198</c:v>
                </c:pt>
                <c:pt idx="54518">
                  <c:v>0.97232031389334705</c:v>
                </c:pt>
                <c:pt idx="54519">
                  <c:v>0.97233814874264302</c:v>
                </c:pt>
                <c:pt idx="54520">
                  <c:v>0.97235598359193798</c:v>
                </c:pt>
                <c:pt idx="54521">
                  <c:v>0.97237381844123405</c:v>
                </c:pt>
                <c:pt idx="54522">
                  <c:v>0.97239165329052901</c:v>
                </c:pt>
                <c:pt idx="54523">
                  <c:v>0.97240948813982497</c:v>
                </c:pt>
                <c:pt idx="54524">
                  <c:v>0.97242732298912005</c:v>
                </c:pt>
                <c:pt idx="54525">
                  <c:v>0.97244515783841601</c:v>
                </c:pt>
                <c:pt idx="54526">
                  <c:v>0.97246299268771097</c:v>
                </c:pt>
                <c:pt idx="54527">
                  <c:v>0.97248082753700704</c:v>
                </c:pt>
                <c:pt idx="54528">
                  <c:v>0.972498662386302</c:v>
                </c:pt>
                <c:pt idx="54529">
                  <c:v>0.97251649723559797</c:v>
                </c:pt>
                <c:pt idx="54530">
                  <c:v>0.97253433208489304</c:v>
                </c:pt>
                <c:pt idx="54531">
                  <c:v>0.972552166934189</c:v>
                </c:pt>
                <c:pt idx="54532">
                  <c:v>0.97257000178348496</c:v>
                </c:pt>
                <c:pt idx="54533">
                  <c:v>0.97258783663278003</c:v>
                </c:pt>
                <c:pt idx="54534">
                  <c:v>0.972605671482076</c:v>
                </c:pt>
                <c:pt idx="54535">
                  <c:v>0.97262350633137096</c:v>
                </c:pt>
                <c:pt idx="54536">
                  <c:v>0.97264134118066703</c:v>
                </c:pt>
                <c:pt idx="54537">
                  <c:v>0.97265917602996199</c:v>
                </c:pt>
                <c:pt idx="54538">
                  <c:v>0.97267701087925795</c:v>
                </c:pt>
                <c:pt idx="54539">
                  <c:v>0.97269484572855303</c:v>
                </c:pt>
                <c:pt idx="54540">
                  <c:v>0.97271268057784899</c:v>
                </c:pt>
                <c:pt idx="54541">
                  <c:v>0.97273051542714395</c:v>
                </c:pt>
                <c:pt idx="54542">
                  <c:v>0.97274835027644002</c:v>
                </c:pt>
                <c:pt idx="54543">
                  <c:v>0.97276618512573498</c:v>
                </c:pt>
                <c:pt idx="54544">
                  <c:v>0.97278401997503094</c:v>
                </c:pt>
                <c:pt idx="54545">
                  <c:v>0.97280185482432602</c:v>
                </c:pt>
                <c:pt idx="54546">
                  <c:v>0.97281968967362198</c:v>
                </c:pt>
                <c:pt idx="54547">
                  <c:v>0.97283752452291705</c:v>
                </c:pt>
                <c:pt idx="54548">
                  <c:v>0.97285535937221301</c:v>
                </c:pt>
                <c:pt idx="54549">
                  <c:v>0.97287319422150798</c:v>
                </c:pt>
                <c:pt idx="54550">
                  <c:v>0.97289102907080405</c:v>
                </c:pt>
                <c:pt idx="54551">
                  <c:v>0.97290886392009901</c:v>
                </c:pt>
                <c:pt idx="54552">
                  <c:v>0.97292669876939497</c:v>
                </c:pt>
                <c:pt idx="54553">
                  <c:v>0.97294453361869004</c:v>
                </c:pt>
                <c:pt idx="54554">
                  <c:v>0.97296236846798601</c:v>
                </c:pt>
                <c:pt idx="54555">
                  <c:v>0.97298020331728197</c:v>
                </c:pt>
                <c:pt idx="54556">
                  <c:v>0.97299803816657704</c:v>
                </c:pt>
                <c:pt idx="54557">
                  <c:v>0.973015873015873</c:v>
                </c:pt>
                <c:pt idx="54558">
                  <c:v>0.97303370786516796</c:v>
                </c:pt>
                <c:pt idx="54559">
                  <c:v>0.97305154271446404</c:v>
                </c:pt>
                <c:pt idx="54560">
                  <c:v>0.973069377563759</c:v>
                </c:pt>
                <c:pt idx="54561">
                  <c:v>0.97308721241305496</c:v>
                </c:pt>
                <c:pt idx="54562">
                  <c:v>0.97310504726235003</c:v>
                </c:pt>
                <c:pt idx="54563">
                  <c:v>0.97312288211164599</c:v>
                </c:pt>
                <c:pt idx="54564">
                  <c:v>0.97314071696094095</c:v>
                </c:pt>
                <c:pt idx="54565">
                  <c:v>0.97315855181023703</c:v>
                </c:pt>
                <c:pt idx="54566">
                  <c:v>0.97317638665953199</c:v>
                </c:pt>
                <c:pt idx="54567">
                  <c:v>0.97319422150882795</c:v>
                </c:pt>
                <c:pt idx="54568">
                  <c:v>0.97321205635812302</c:v>
                </c:pt>
                <c:pt idx="54569">
                  <c:v>0.97322989120741898</c:v>
                </c:pt>
                <c:pt idx="54570">
                  <c:v>0.97324772605671395</c:v>
                </c:pt>
                <c:pt idx="54571">
                  <c:v>0.97326556090601002</c:v>
                </c:pt>
                <c:pt idx="54572">
                  <c:v>0.97328339575530498</c:v>
                </c:pt>
                <c:pt idx="54573">
                  <c:v>0.97330123060460105</c:v>
                </c:pt>
                <c:pt idx="54574">
                  <c:v>0.97331906545389602</c:v>
                </c:pt>
                <c:pt idx="54575">
                  <c:v>0.97333690030319198</c:v>
                </c:pt>
                <c:pt idx="54576">
                  <c:v>0.97335473515248705</c:v>
                </c:pt>
                <c:pt idx="54577">
                  <c:v>0.97337257000178301</c:v>
                </c:pt>
                <c:pt idx="54578">
                  <c:v>0.97339040485107897</c:v>
                </c:pt>
                <c:pt idx="54579">
                  <c:v>0.97340823970037405</c:v>
                </c:pt>
                <c:pt idx="54580">
                  <c:v>0.97342607454967001</c:v>
                </c:pt>
                <c:pt idx="54581">
                  <c:v>0.97344390939896497</c:v>
                </c:pt>
                <c:pt idx="54582">
                  <c:v>0.97346174424826104</c:v>
                </c:pt>
                <c:pt idx="54583">
                  <c:v>0.973479579097556</c:v>
                </c:pt>
                <c:pt idx="54584">
                  <c:v>0.97349741394685196</c:v>
                </c:pt>
                <c:pt idx="54585">
                  <c:v>0.97351524879614704</c:v>
                </c:pt>
                <c:pt idx="54586">
                  <c:v>0.973533083645443</c:v>
                </c:pt>
                <c:pt idx="54587">
                  <c:v>0.97355091849473796</c:v>
                </c:pt>
                <c:pt idx="54588">
                  <c:v>0.97356875334403403</c:v>
                </c:pt>
                <c:pt idx="54589">
                  <c:v>0.97358658819332899</c:v>
                </c:pt>
                <c:pt idx="54590">
                  <c:v>0.97360442304262496</c:v>
                </c:pt>
                <c:pt idx="54591">
                  <c:v>0.97362225789192003</c:v>
                </c:pt>
                <c:pt idx="54592">
                  <c:v>0.97364009274121599</c:v>
                </c:pt>
                <c:pt idx="54593">
                  <c:v>0.97365792759051095</c:v>
                </c:pt>
                <c:pt idx="54594">
                  <c:v>0.97367576243980702</c:v>
                </c:pt>
                <c:pt idx="54595">
                  <c:v>0.97369359728910199</c:v>
                </c:pt>
                <c:pt idx="54596">
                  <c:v>0.97371143213839795</c:v>
                </c:pt>
                <c:pt idx="54597">
                  <c:v>0.97372926698769302</c:v>
                </c:pt>
                <c:pt idx="54598">
                  <c:v>0.97374710183698898</c:v>
                </c:pt>
                <c:pt idx="54599">
                  <c:v>0.97376493668628505</c:v>
                </c:pt>
                <c:pt idx="54600">
                  <c:v>0.97378277153558002</c:v>
                </c:pt>
                <c:pt idx="54601">
                  <c:v>0.97380060638487598</c:v>
                </c:pt>
                <c:pt idx="54602">
                  <c:v>0.97381844123417105</c:v>
                </c:pt>
                <c:pt idx="54603">
                  <c:v>0.97383627608346701</c:v>
                </c:pt>
                <c:pt idx="54604">
                  <c:v>0.97385411093276197</c:v>
                </c:pt>
                <c:pt idx="54605">
                  <c:v>0.97387194578205805</c:v>
                </c:pt>
                <c:pt idx="54606">
                  <c:v>0.97388978063135301</c:v>
                </c:pt>
                <c:pt idx="54607">
                  <c:v>0.97390761548064897</c:v>
                </c:pt>
                <c:pt idx="54608">
                  <c:v>0.97392545032994404</c:v>
                </c:pt>
                <c:pt idx="54609">
                  <c:v>0.97394328517924</c:v>
                </c:pt>
                <c:pt idx="54610">
                  <c:v>0.97396112002853497</c:v>
                </c:pt>
                <c:pt idx="54611">
                  <c:v>0.97397895487783104</c:v>
                </c:pt>
                <c:pt idx="54612">
                  <c:v>0.973996789727126</c:v>
                </c:pt>
                <c:pt idx="54613">
                  <c:v>0.97401462457642196</c:v>
                </c:pt>
                <c:pt idx="54614">
                  <c:v>0.97403245942571703</c:v>
                </c:pt>
                <c:pt idx="54615">
                  <c:v>0.974050294275013</c:v>
                </c:pt>
                <c:pt idx="54616">
                  <c:v>0.97406812912430796</c:v>
                </c:pt>
                <c:pt idx="54617">
                  <c:v>0.97408596397360403</c:v>
                </c:pt>
                <c:pt idx="54618">
                  <c:v>0.97410379882289999</c:v>
                </c:pt>
                <c:pt idx="54619">
                  <c:v>0.97412163367219495</c:v>
                </c:pt>
                <c:pt idx="54620">
                  <c:v>0.97413946852149103</c:v>
                </c:pt>
                <c:pt idx="54621">
                  <c:v>0.97415730337078599</c:v>
                </c:pt>
                <c:pt idx="54622">
                  <c:v>0.97417513822008195</c:v>
                </c:pt>
                <c:pt idx="54623">
                  <c:v>0.97419297306937702</c:v>
                </c:pt>
                <c:pt idx="54624">
                  <c:v>0.97421080791867298</c:v>
                </c:pt>
                <c:pt idx="54625">
                  <c:v>0.97422864276796795</c:v>
                </c:pt>
                <c:pt idx="54626">
                  <c:v>0.97424647761726402</c:v>
                </c:pt>
                <c:pt idx="54627">
                  <c:v>0.97426431246655898</c:v>
                </c:pt>
                <c:pt idx="54628">
                  <c:v>0.97428214731585505</c:v>
                </c:pt>
                <c:pt idx="54629">
                  <c:v>0.97429998216515001</c:v>
                </c:pt>
                <c:pt idx="54630">
                  <c:v>0.97431781701444597</c:v>
                </c:pt>
                <c:pt idx="54631">
                  <c:v>0.97433565186374105</c:v>
                </c:pt>
                <c:pt idx="54632">
                  <c:v>0.97435348671303701</c:v>
                </c:pt>
                <c:pt idx="54633">
                  <c:v>0.97437132156233197</c:v>
                </c:pt>
                <c:pt idx="54634">
                  <c:v>0.97438915641162804</c:v>
                </c:pt>
                <c:pt idx="54635">
                  <c:v>0.97440699126092301</c:v>
                </c:pt>
                <c:pt idx="54636">
                  <c:v>0.97442482611021897</c:v>
                </c:pt>
                <c:pt idx="54637">
                  <c:v>0.97444266095951404</c:v>
                </c:pt>
                <c:pt idx="54638">
                  <c:v>0.97446049580881</c:v>
                </c:pt>
                <c:pt idx="54639">
                  <c:v>0.97447833065810596</c:v>
                </c:pt>
                <c:pt idx="54640">
                  <c:v>0.97449616550740104</c:v>
                </c:pt>
                <c:pt idx="54641">
                  <c:v>0.974514000356697</c:v>
                </c:pt>
                <c:pt idx="54642">
                  <c:v>0.97453183520599196</c:v>
                </c:pt>
                <c:pt idx="54643">
                  <c:v>0.97454967005528803</c:v>
                </c:pt>
                <c:pt idx="54644">
                  <c:v>0.97456750490458299</c:v>
                </c:pt>
                <c:pt idx="54645">
                  <c:v>0.97458533975387895</c:v>
                </c:pt>
                <c:pt idx="54646">
                  <c:v>0.97460317460317403</c:v>
                </c:pt>
                <c:pt idx="54647">
                  <c:v>0.97462100945246999</c:v>
                </c:pt>
                <c:pt idx="54648">
                  <c:v>0.97463884430176495</c:v>
                </c:pt>
                <c:pt idx="54649">
                  <c:v>0.97465667915106102</c:v>
                </c:pt>
                <c:pt idx="54650">
                  <c:v>0.97467451400035598</c:v>
                </c:pt>
                <c:pt idx="54651">
                  <c:v>0.97469234884965195</c:v>
                </c:pt>
                <c:pt idx="54652">
                  <c:v>0.97471018369894702</c:v>
                </c:pt>
                <c:pt idx="54653">
                  <c:v>0.97472801854824298</c:v>
                </c:pt>
                <c:pt idx="54654">
                  <c:v>0.97474585339753805</c:v>
                </c:pt>
                <c:pt idx="54655">
                  <c:v>0.97476368824683401</c:v>
                </c:pt>
                <c:pt idx="54656">
                  <c:v>0.97478152309612898</c:v>
                </c:pt>
                <c:pt idx="54657">
                  <c:v>0.97479935794542505</c:v>
                </c:pt>
                <c:pt idx="54658">
                  <c:v>0.97481719279472001</c:v>
                </c:pt>
                <c:pt idx="54659">
                  <c:v>0.97483502764401597</c:v>
                </c:pt>
                <c:pt idx="54660">
                  <c:v>0.97485286249331105</c:v>
                </c:pt>
                <c:pt idx="54661">
                  <c:v>0.97487069734260701</c:v>
                </c:pt>
                <c:pt idx="54662">
                  <c:v>0.97488853219190297</c:v>
                </c:pt>
                <c:pt idx="54663">
                  <c:v>0.97490636704119804</c:v>
                </c:pt>
                <c:pt idx="54664">
                  <c:v>0.974924201890494</c:v>
                </c:pt>
                <c:pt idx="54665">
                  <c:v>0.97494203673978896</c:v>
                </c:pt>
                <c:pt idx="54666">
                  <c:v>0.97495987158908504</c:v>
                </c:pt>
                <c:pt idx="54667">
                  <c:v>0.97497770643838</c:v>
                </c:pt>
                <c:pt idx="54668">
                  <c:v>0.97499554128767596</c:v>
                </c:pt>
                <c:pt idx="54669">
                  <c:v>0.97501337613697103</c:v>
                </c:pt>
                <c:pt idx="54670">
                  <c:v>0.97503121098626699</c:v>
                </c:pt>
                <c:pt idx="54671">
                  <c:v>0.97504904583556196</c:v>
                </c:pt>
                <c:pt idx="54672">
                  <c:v>0.97506688068485803</c:v>
                </c:pt>
                <c:pt idx="54673">
                  <c:v>0.97508471553415299</c:v>
                </c:pt>
                <c:pt idx="54674">
                  <c:v>0.97510255038344895</c:v>
                </c:pt>
                <c:pt idx="54675">
                  <c:v>0.97512038523274402</c:v>
                </c:pt>
                <c:pt idx="54676">
                  <c:v>0.97513822008203999</c:v>
                </c:pt>
                <c:pt idx="54677">
                  <c:v>0.97515605493133495</c:v>
                </c:pt>
                <c:pt idx="54678">
                  <c:v>0.97517388978063102</c:v>
                </c:pt>
                <c:pt idx="54679">
                  <c:v>0.97519172462992598</c:v>
                </c:pt>
                <c:pt idx="54680">
                  <c:v>0.97520955947922205</c:v>
                </c:pt>
                <c:pt idx="54681">
                  <c:v>0.97522739432851702</c:v>
                </c:pt>
                <c:pt idx="54682">
                  <c:v>0.97524522917781298</c:v>
                </c:pt>
                <c:pt idx="54683">
                  <c:v>0.97526306402710805</c:v>
                </c:pt>
                <c:pt idx="54684">
                  <c:v>0.97528089887640401</c:v>
                </c:pt>
                <c:pt idx="54685">
                  <c:v>0.97529873372569997</c:v>
                </c:pt>
                <c:pt idx="54686">
                  <c:v>0.97531656857499505</c:v>
                </c:pt>
                <c:pt idx="54687">
                  <c:v>0.97533440342429101</c:v>
                </c:pt>
                <c:pt idx="54688">
                  <c:v>0.97535223827358597</c:v>
                </c:pt>
                <c:pt idx="54689">
                  <c:v>0.97537007312288204</c:v>
                </c:pt>
                <c:pt idx="54690">
                  <c:v>0.975387907972177</c:v>
                </c:pt>
                <c:pt idx="54691">
                  <c:v>0.97540574282147297</c:v>
                </c:pt>
                <c:pt idx="54692">
                  <c:v>0.97542357767076804</c:v>
                </c:pt>
                <c:pt idx="54693">
                  <c:v>0.975441412520064</c:v>
                </c:pt>
                <c:pt idx="54694">
                  <c:v>0.97545924736935896</c:v>
                </c:pt>
                <c:pt idx="54695">
                  <c:v>0.97547708221865503</c:v>
                </c:pt>
                <c:pt idx="54696">
                  <c:v>0.97549491706795</c:v>
                </c:pt>
                <c:pt idx="54697">
                  <c:v>0.97551275191724596</c:v>
                </c:pt>
                <c:pt idx="54698">
                  <c:v>0.97553058676654103</c:v>
                </c:pt>
                <c:pt idx="54699">
                  <c:v>0.97554842161583699</c:v>
                </c:pt>
                <c:pt idx="54700">
                  <c:v>0.97556625646513195</c:v>
                </c:pt>
                <c:pt idx="54701">
                  <c:v>0.97558409131442803</c:v>
                </c:pt>
                <c:pt idx="54702">
                  <c:v>0.97560192616372299</c:v>
                </c:pt>
                <c:pt idx="54703">
                  <c:v>0.97561976101301895</c:v>
                </c:pt>
                <c:pt idx="54704">
                  <c:v>0.97563759586231402</c:v>
                </c:pt>
                <c:pt idx="54705">
                  <c:v>0.97565543071160998</c:v>
                </c:pt>
                <c:pt idx="54706">
                  <c:v>0.97567326556090594</c:v>
                </c:pt>
                <c:pt idx="54707">
                  <c:v>0.97569110041020102</c:v>
                </c:pt>
                <c:pt idx="54708">
                  <c:v>0.97570893525949698</c:v>
                </c:pt>
                <c:pt idx="54709">
                  <c:v>0.97572677010879205</c:v>
                </c:pt>
                <c:pt idx="54710">
                  <c:v>0.97574460495808801</c:v>
                </c:pt>
                <c:pt idx="54711">
                  <c:v>0.97576243980738298</c:v>
                </c:pt>
                <c:pt idx="54712">
                  <c:v>0.97578027465667905</c:v>
                </c:pt>
                <c:pt idx="54713">
                  <c:v>0.97579810950597401</c:v>
                </c:pt>
                <c:pt idx="54714">
                  <c:v>0.97581594435526997</c:v>
                </c:pt>
                <c:pt idx="54715">
                  <c:v>0.97583377920456504</c:v>
                </c:pt>
                <c:pt idx="54716">
                  <c:v>0.97585161405386101</c:v>
                </c:pt>
                <c:pt idx="54717">
                  <c:v>0.97586944890315597</c:v>
                </c:pt>
                <c:pt idx="54718">
                  <c:v>0.97588728375245204</c:v>
                </c:pt>
                <c:pt idx="54719">
                  <c:v>0.975905118601747</c:v>
                </c:pt>
                <c:pt idx="54720">
                  <c:v>0.97592295345104296</c:v>
                </c:pt>
                <c:pt idx="54721">
                  <c:v>0.97594078830033804</c:v>
                </c:pt>
                <c:pt idx="54722">
                  <c:v>0.975958623149634</c:v>
                </c:pt>
                <c:pt idx="54723">
                  <c:v>0.97597645799892996</c:v>
                </c:pt>
                <c:pt idx="54724">
                  <c:v>0.97599429284822503</c:v>
                </c:pt>
                <c:pt idx="54725">
                  <c:v>0.97601212769752099</c:v>
                </c:pt>
                <c:pt idx="54726">
                  <c:v>0.97602996254681595</c:v>
                </c:pt>
                <c:pt idx="54727">
                  <c:v>0.97604779739611203</c:v>
                </c:pt>
                <c:pt idx="54728">
                  <c:v>0.97606563224540699</c:v>
                </c:pt>
                <c:pt idx="54729">
                  <c:v>0.97608346709470295</c:v>
                </c:pt>
                <c:pt idx="54730">
                  <c:v>0.97610130194399802</c:v>
                </c:pt>
                <c:pt idx="54731">
                  <c:v>0.97611913679329398</c:v>
                </c:pt>
                <c:pt idx="54732">
                  <c:v>0.97613697164258895</c:v>
                </c:pt>
                <c:pt idx="54733">
                  <c:v>0.97615480649188502</c:v>
                </c:pt>
                <c:pt idx="54734">
                  <c:v>0.97617264134117998</c:v>
                </c:pt>
                <c:pt idx="54735">
                  <c:v>0.97619047619047605</c:v>
                </c:pt>
                <c:pt idx="54736">
                  <c:v>0.97620831103977102</c:v>
                </c:pt>
                <c:pt idx="54737">
                  <c:v>0.97622614588906698</c:v>
                </c:pt>
                <c:pt idx="54738">
                  <c:v>0.97624398073836205</c:v>
                </c:pt>
                <c:pt idx="54739">
                  <c:v>0.97626181558765801</c:v>
                </c:pt>
                <c:pt idx="54740">
                  <c:v>0.97627965043695297</c:v>
                </c:pt>
                <c:pt idx="54741">
                  <c:v>0.97629748528624904</c:v>
                </c:pt>
                <c:pt idx="54742">
                  <c:v>0.97631532013554401</c:v>
                </c:pt>
                <c:pt idx="54743">
                  <c:v>0.97633315498483997</c:v>
                </c:pt>
                <c:pt idx="54744">
                  <c:v>0.97635098983413504</c:v>
                </c:pt>
                <c:pt idx="54745">
                  <c:v>0.976368824683431</c:v>
                </c:pt>
                <c:pt idx="54746">
                  <c:v>0.97638665953272696</c:v>
                </c:pt>
                <c:pt idx="54747">
                  <c:v>0.97640449438202204</c:v>
                </c:pt>
                <c:pt idx="54748">
                  <c:v>0.976422329231318</c:v>
                </c:pt>
                <c:pt idx="54749">
                  <c:v>0.97644016408061296</c:v>
                </c:pt>
                <c:pt idx="54750">
                  <c:v>0.97645799892990903</c:v>
                </c:pt>
                <c:pt idx="54751">
                  <c:v>0.97647583377920399</c:v>
                </c:pt>
                <c:pt idx="54752">
                  <c:v>0.97649366862849996</c:v>
                </c:pt>
                <c:pt idx="54753">
                  <c:v>0.97651150347779503</c:v>
                </c:pt>
                <c:pt idx="54754">
                  <c:v>0.97652933832709099</c:v>
                </c:pt>
                <c:pt idx="54755">
                  <c:v>0.97654717317638595</c:v>
                </c:pt>
                <c:pt idx="54756">
                  <c:v>0.97656500802568202</c:v>
                </c:pt>
                <c:pt idx="54757">
                  <c:v>0.97658284287497699</c:v>
                </c:pt>
                <c:pt idx="54758">
                  <c:v>0.97660067772427295</c:v>
                </c:pt>
                <c:pt idx="54759">
                  <c:v>0.97661851257356802</c:v>
                </c:pt>
                <c:pt idx="54760">
                  <c:v>0.97663634742286398</c:v>
                </c:pt>
                <c:pt idx="54761">
                  <c:v>0.97665418227215905</c:v>
                </c:pt>
                <c:pt idx="54762">
                  <c:v>0.97667201712145502</c:v>
                </c:pt>
                <c:pt idx="54763">
                  <c:v>0.97668985197074998</c:v>
                </c:pt>
                <c:pt idx="54764">
                  <c:v>0.97670768682004605</c:v>
                </c:pt>
                <c:pt idx="54765">
                  <c:v>0.97672552166934101</c:v>
                </c:pt>
                <c:pt idx="54766">
                  <c:v>0.97674335651863697</c:v>
                </c:pt>
                <c:pt idx="54767">
                  <c:v>0.97676119136793205</c:v>
                </c:pt>
                <c:pt idx="54768">
                  <c:v>0.97677902621722801</c:v>
                </c:pt>
                <c:pt idx="54769">
                  <c:v>0.97679686106652397</c:v>
                </c:pt>
                <c:pt idx="54770">
                  <c:v>0.97681469591581904</c:v>
                </c:pt>
                <c:pt idx="54771">
                  <c:v>0.976832530765115</c:v>
                </c:pt>
                <c:pt idx="54772">
                  <c:v>0.97685036561440997</c:v>
                </c:pt>
                <c:pt idx="54773">
                  <c:v>0.97686820046370604</c:v>
                </c:pt>
                <c:pt idx="54774">
                  <c:v>0.976886035313001</c:v>
                </c:pt>
                <c:pt idx="54775">
                  <c:v>0.97690387016229696</c:v>
                </c:pt>
                <c:pt idx="54776">
                  <c:v>0.97692170501159203</c:v>
                </c:pt>
                <c:pt idx="54777">
                  <c:v>0.976939539860888</c:v>
                </c:pt>
                <c:pt idx="54778">
                  <c:v>0.97695737471018296</c:v>
                </c:pt>
                <c:pt idx="54779">
                  <c:v>0.97697520955947903</c:v>
                </c:pt>
                <c:pt idx="54780">
                  <c:v>0.97699304440877399</c:v>
                </c:pt>
                <c:pt idx="54781">
                  <c:v>0.97701087925806995</c:v>
                </c:pt>
                <c:pt idx="54782">
                  <c:v>0.97702871410736503</c:v>
                </c:pt>
                <c:pt idx="54783">
                  <c:v>0.97704654895666099</c:v>
                </c:pt>
                <c:pt idx="54784">
                  <c:v>0.97706438380595595</c:v>
                </c:pt>
                <c:pt idx="54785">
                  <c:v>0.97708221865525202</c:v>
                </c:pt>
                <c:pt idx="54786">
                  <c:v>0.97710005350454698</c:v>
                </c:pt>
                <c:pt idx="54787">
                  <c:v>0.97711788835384294</c:v>
                </c:pt>
                <c:pt idx="54788">
                  <c:v>0.97713572320313802</c:v>
                </c:pt>
                <c:pt idx="54789">
                  <c:v>0.97715355805243398</c:v>
                </c:pt>
                <c:pt idx="54790">
                  <c:v>0.97717139290172905</c:v>
                </c:pt>
                <c:pt idx="54791">
                  <c:v>0.97718922775102501</c:v>
                </c:pt>
                <c:pt idx="54792">
                  <c:v>0.97720706260032097</c:v>
                </c:pt>
                <c:pt idx="54793">
                  <c:v>0.97722489744961605</c:v>
                </c:pt>
                <c:pt idx="54794">
                  <c:v>0.97724273229891201</c:v>
                </c:pt>
                <c:pt idx="54795">
                  <c:v>0.97726056714820697</c:v>
                </c:pt>
                <c:pt idx="54796">
                  <c:v>0.97727840199750304</c:v>
                </c:pt>
                <c:pt idx="54797">
                  <c:v>0.97729623684679801</c:v>
                </c:pt>
                <c:pt idx="54798">
                  <c:v>0.97731407169609397</c:v>
                </c:pt>
                <c:pt idx="54799">
                  <c:v>0.97733190654538904</c:v>
                </c:pt>
                <c:pt idx="54800">
                  <c:v>0.977349741394685</c:v>
                </c:pt>
                <c:pt idx="54801">
                  <c:v>0.97736757624397996</c:v>
                </c:pt>
                <c:pt idx="54802">
                  <c:v>0.97738541109327604</c:v>
                </c:pt>
                <c:pt idx="54803">
                  <c:v>0.977403245942571</c:v>
                </c:pt>
                <c:pt idx="54804">
                  <c:v>0.97742108079186696</c:v>
                </c:pt>
                <c:pt idx="54805">
                  <c:v>0.97743891564116203</c:v>
                </c:pt>
                <c:pt idx="54806">
                  <c:v>0.97745675049045799</c:v>
                </c:pt>
                <c:pt idx="54807">
                  <c:v>0.97747458533975295</c:v>
                </c:pt>
                <c:pt idx="54808">
                  <c:v>0.97749242018904903</c:v>
                </c:pt>
                <c:pt idx="54809">
                  <c:v>0.97751025503834399</c:v>
                </c:pt>
                <c:pt idx="54810">
                  <c:v>0.97752808988763995</c:v>
                </c:pt>
                <c:pt idx="54811">
                  <c:v>0.97754592473693602</c:v>
                </c:pt>
                <c:pt idx="54812">
                  <c:v>0.97756375958623098</c:v>
                </c:pt>
                <c:pt idx="54813">
                  <c:v>0.97758159443552695</c:v>
                </c:pt>
                <c:pt idx="54814">
                  <c:v>0.97759942928482202</c:v>
                </c:pt>
                <c:pt idx="54815">
                  <c:v>0.97761726413411798</c:v>
                </c:pt>
                <c:pt idx="54816">
                  <c:v>0.97763509898341305</c:v>
                </c:pt>
                <c:pt idx="54817">
                  <c:v>0.97765293383270901</c:v>
                </c:pt>
                <c:pt idx="54818">
                  <c:v>0.97767076868200398</c:v>
                </c:pt>
                <c:pt idx="54819">
                  <c:v>0.97768860353130005</c:v>
                </c:pt>
                <c:pt idx="54820">
                  <c:v>0.97770643838059501</c:v>
                </c:pt>
                <c:pt idx="54821">
                  <c:v>0.97772427322989097</c:v>
                </c:pt>
                <c:pt idx="54822">
                  <c:v>0.97774210807918605</c:v>
                </c:pt>
                <c:pt idx="54823">
                  <c:v>0.97775994292848201</c:v>
                </c:pt>
                <c:pt idx="54824">
                  <c:v>0.97777777777777697</c:v>
                </c:pt>
                <c:pt idx="54825">
                  <c:v>0.97779561262707304</c:v>
                </c:pt>
                <c:pt idx="54826">
                  <c:v>0.977813447476368</c:v>
                </c:pt>
                <c:pt idx="54827">
                  <c:v>0.97783128232566396</c:v>
                </c:pt>
                <c:pt idx="54828">
                  <c:v>0.97784911717495904</c:v>
                </c:pt>
                <c:pt idx="54829">
                  <c:v>0.977866952024255</c:v>
                </c:pt>
                <c:pt idx="54830">
                  <c:v>0.97788478687355096</c:v>
                </c:pt>
                <c:pt idx="54831">
                  <c:v>0.97790262172284603</c:v>
                </c:pt>
                <c:pt idx="54832">
                  <c:v>0.97792045657214199</c:v>
                </c:pt>
                <c:pt idx="54833">
                  <c:v>0.97793829142143696</c:v>
                </c:pt>
                <c:pt idx="54834">
                  <c:v>0.97795612627073303</c:v>
                </c:pt>
                <c:pt idx="54835">
                  <c:v>0.97797396112002799</c:v>
                </c:pt>
                <c:pt idx="54836">
                  <c:v>0.97799179596932395</c:v>
                </c:pt>
                <c:pt idx="54837">
                  <c:v>0.97800963081861902</c:v>
                </c:pt>
                <c:pt idx="54838">
                  <c:v>0.97802746566791499</c:v>
                </c:pt>
                <c:pt idx="54839">
                  <c:v>0.97804530051720995</c:v>
                </c:pt>
                <c:pt idx="54840">
                  <c:v>0.97806313536650602</c:v>
                </c:pt>
                <c:pt idx="54841">
                  <c:v>0.97808097021580098</c:v>
                </c:pt>
                <c:pt idx="54842">
                  <c:v>0.97809880506509705</c:v>
                </c:pt>
                <c:pt idx="54843">
                  <c:v>0.97811663991439202</c:v>
                </c:pt>
                <c:pt idx="54844">
                  <c:v>0.97813447476368798</c:v>
                </c:pt>
                <c:pt idx="54845">
                  <c:v>0.97815230961298305</c:v>
                </c:pt>
                <c:pt idx="54846">
                  <c:v>0.97817014446227901</c:v>
                </c:pt>
                <c:pt idx="54847">
                  <c:v>0.97818797931157397</c:v>
                </c:pt>
                <c:pt idx="54848">
                  <c:v>0.97820581416087005</c:v>
                </c:pt>
                <c:pt idx="54849">
                  <c:v>0.97822364901016501</c:v>
                </c:pt>
                <c:pt idx="54850">
                  <c:v>0.97824148385946097</c:v>
                </c:pt>
                <c:pt idx="54851">
                  <c:v>0.97825931870875604</c:v>
                </c:pt>
                <c:pt idx="54852">
                  <c:v>0.978277153558052</c:v>
                </c:pt>
                <c:pt idx="54853">
                  <c:v>0.97829498840734797</c:v>
                </c:pt>
                <c:pt idx="54854">
                  <c:v>0.97831282325664304</c:v>
                </c:pt>
                <c:pt idx="54855">
                  <c:v>0.978330658105939</c:v>
                </c:pt>
                <c:pt idx="54856">
                  <c:v>0.97834849295523396</c:v>
                </c:pt>
                <c:pt idx="54857">
                  <c:v>0.97836632780453003</c:v>
                </c:pt>
                <c:pt idx="54858">
                  <c:v>0.978384162653825</c:v>
                </c:pt>
                <c:pt idx="54859">
                  <c:v>0.97840199750312096</c:v>
                </c:pt>
                <c:pt idx="54860">
                  <c:v>0.97841983235241603</c:v>
                </c:pt>
                <c:pt idx="54861">
                  <c:v>0.97843766720171199</c:v>
                </c:pt>
                <c:pt idx="54862">
                  <c:v>0.97845550205100695</c:v>
                </c:pt>
                <c:pt idx="54863">
                  <c:v>0.97847333690030303</c:v>
                </c:pt>
                <c:pt idx="54864">
                  <c:v>0.97849117174959799</c:v>
                </c:pt>
                <c:pt idx="54865">
                  <c:v>0.97850900659889395</c:v>
                </c:pt>
                <c:pt idx="54866">
                  <c:v>0.97852684144818902</c:v>
                </c:pt>
                <c:pt idx="54867">
                  <c:v>0.97854467629748498</c:v>
                </c:pt>
                <c:pt idx="54868">
                  <c:v>0.97856251114677995</c:v>
                </c:pt>
                <c:pt idx="54869">
                  <c:v>0.97858034599607602</c:v>
                </c:pt>
                <c:pt idx="54870">
                  <c:v>0.97859818084537098</c:v>
                </c:pt>
                <c:pt idx="54871">
                  <c:v>0.97861601569466705</c:v>
                </c:pt>
                <c:pt idx="54872">
                  <c:v>0.97863385054396201</c:v>
                </c:pt>
                <c:pt idx="54873">
                  <c:v>0.97865168539325798</c:v>
                </c:pt>
                <c:pt idx="54874">
                  <c:v>0.97866952024255305</c:v>
                </c:pt>
                <c:pt idx="54875">
                  <c:v>0.97868735509184901</c:v>
                </c:pt>
                <c:pt idx="54876">
                  <c:v>0.97870518994114497</c:v>
                </c:pt>
                <c:pt idx="54877">
                  <c:v>0.97872302479044004</c:v>
                </c:pt>
                <c:pt idx="54878">
                  <c:v>0.978740859639736</c:v>
                </c:pt>
                <c:pt idx="54879">
                  <c:v>0.97875869448903097</c:v>
                </c:pt>
                <c:pt idx="54880">
                  <c:v>0.97877652933832704</c:v>
                </c:pt>
                <c:pt idx="54881">
                  <c:v>0.978794364187622</c:v>
                </c:pt>
                <c:pt idx="54882">
                  <c:v>0.97881219903691796</c:v>
                </c:pt>
                <c:pt idx="54883">
                  <c:v>0.97883003388621304</c:v>
                </c:pt>
                <c:pt idx="54884">
                  <c:v>0.978847868735509</c:v>
                </c:pt>
                <c:pt idx="54885">
                  <c:v>0.97886570358480396</c:v>
                </c:pt>
                <c:pt idx="54886">
                  <c:v>0.97888353843410003</c:v>
                </c:pt>
                <c:pt idx="54887">
                  <c:v>0.97890137328339499</c:v>
                </c:pt>
                <c:pt idx="54888">
                  <c:v>0.97891920813269095</c:v>
                </c:pt>
                <c:pt idx="54889">
                  <c:v>0.97893704298198603</c:v>
                </c:pt>
                <c:pt idx="54890">
                  <c:v>0.97895487783128199</c:v>
                </c:pt>
                <c:pt idx="54891">
                  <c:v>0.97897271268057695</c:v>
                </c:pt>
                <c:pt idx="54892">
                  <c:v>0.97899054752987302</c:v>
                </c:pt>
                <c:pt idx="54893">
                  <c:v>0.97900838237916799</c:v>
                </c:pt>
                <c:pt idx="54894">
                  <c:v>0.97902621722846395</c:v>
                </c:pt>
                <c:pt idx="54895">
                  <c:v>0.97904405207775902</c:v>
                </c:pt>
                <c:pt idx="54896">
                  <c:v>0.97906188692705498</c:v>
                </c:pt>
                <c:pt idx="54897">
                  <c:v>0.97907972177635005</c:v>
                </c:pt>
                <c:pt idx="54898">
                  <c:v>0.97909755662564601</c:v>
                </c:pt>
                <c:pt idx="54899">
                  <c:v>0.97911539147494198</c:v>
                </c:pt>
                <c:pt idx="54900">
                  <c:v>0.97913322632423705</c:v>
                </c:pt>
                <c:pt idx="54901">
                  <c:v>0.97915106117353301</c:v>
                </c:pt>
                <c:pt idx="54902">
                  <c:v>0.97916889602282797</c:v>
                </c:pt>
                <c:pt idx="54903">
                  <c:v>0.97918673087212404</c:v>
                </c:pt>
                <c:pt idx="54904">
                  <c:v>0.97920456572141901</c:v>
                </c:pt>
                <c:pt idx="54905">
                  <c:v>0.97922240057071497</c:v>
                </c:pt>
                <c:pt idx="54906">
                  <c:v>0.97924023542001004</c:v>
                </c:pt>
                <c:pt idx="54907">
                  <c:v>0.979258070269306</c:v>
                </c:pt>
                <c:pt idx="54908">
                  <c:v>0.97927590511860096</c:v>
                </c:pt>
                <c:pt idx="54909">
                  <c:v>0.97929373996789704</c:v>
                </c:pt>
                <c:pt idx="54910">
                  <c:v>0.979311574817192</c:v>
                </c:pt>
                <c:pt idx="54911">
                  <c:v>0.97932940966648796</c:v>
                </c:pt>
                <c:pt idx="54912">
                  <c:v>0.97934724451578303</c:v>
                </c:pt>
                <c:pt idx="54913">
                  <c:v>0.97936507936507899</c:v>
                </c:pt>
                <c:pt idx="54914">
                  <c:v>0.97938291421437396</c:v>
                </c:pt>
                <c:pt idx="54915">
                  <c:v>0.97940074906367003</c:v>
                </c:pt>
                <c:pt idx="54916">
                  <c:v>0.97941858391296599</c:v>
                </c:pt>
                <c:pt idx="54917">
                  <c:v>0.97943641876226095</c:v>
                </c:pt>
                <c:pt idx="54918">
                  <c:v>0.97945425361155702</c:v>
                </c:pt>
                <c:pt idx="54919">
                  <c:v>0.97947208846085199</c:v>
                </c:pt>
                <c:pt idx="54920">
                  <c:v>0.97948992331014795</c:v>
                </c:pt>
                <c:pt idx="54921">
                  <c:v>0.97950775815944302</c:v>
                </c:pt>
                <c:pt idx="54922">
                  <c:v>0.97952559300873898</c:v>
                </c:pt>
                <c:pt idx="54923">
                  <c:v>0.97954342785803405</c:v>
                </c:pt>
                <c:pt idx="54924">
                  <c:v>0.97956126270733002</c:v>
                </c:pt>
                <c:pt idx="54925">
                  <c:v>0.97957909755662498</c:v>
                </c:pt>
                <c:pt idx="54926">
                  <c:v>0.97959693240592105</c:v>
                </c:pt>
                <c:pt idx="54927">
                  <c:v>0.97961476725521601</c:v>
                </c:pt>
                <c:pt idx="54928">
                  <c:v>0.97963260210451197</c:v>
                </c:pt>
                <c:pt idx="54929">
                  <c:v>0.97965043695380705</c:v>
                </c:pt>
                <c:pt idx="54930">
                  <c:v>0.97966827180310301</c:v>
                </c:pt>
                <c:pt idx="54931">
                  <c:v>0.97968610665239797</c:v>
                </c:pt>
                <c:pt idx="54932">
                  <c:v>0.97970394150169404</c:v>
                </c:pt>
                <c:pt idx="54933">
                  <c:v>0.979721776350989</c:v>
                </c:pt>
                <c:pt idx="54934">
                  <c:v>0.97973961120028497</c:v>
                </c:pt>
                <c:pt idx="54935">
                  <c:v>0.97975744604958004</c:v>
                </c:pt>
                <c:pt idx="54936">
                  <c:v>0.979775280898876</c:v>
                </c:pt>
                <c:pt idx="54937">
                  <c:v>0.97979311574817196</c:v>
                </c:pt>
                <c:pt idx="54938">
                  <c:v>0.97981095059746703</c:v>
                </c:pt>
                <c:pt idx="54939">
                  <c:v>0.979828785446763</c:v>
                </c:pt>
                <c:pt idx="54940">
                  <c:v>0.97984662029605796</c:v>
                </c:pt>
                <c:pt idx="54941">
                  <c:v>0.97986445514535403</c:v>
                </c:pt>
                <c:pt idx="54942">
                  <c:v>0.97988228999464899</c:v>
                </c:pt>
                <c:pt idx="54943">
                  <c:v>0.97990012484394495</c:v>
                </c:pt>
                <c:pt idx="54944">
                  <c:v>0.97991795969324003</c:v>
                </c:pt>
                <c:pt idx="54945">
                  <c:v>0.97993579454253599</c:v>
                </c:pt>
                <c:pt idx="54946">
                  <c:v>0.97995362939183095</c:v>
                </c:pt>
                <c:pt idx="54947">
                  <c:v>0.97997146424112702</c:v>
                </c:pt>
                <c:pt idx="54948">
                  <c:v>0.97998929909042198</c:v>
                </c:pt>
                <c:pt idx="54949">
                  <c:v>0.98000713393971794</c:v>
                </c:pt>
                <c:pt idx="54950">
                  <c:v>0.98002496878901302</c:v>
                </c:pt>
                <c:pt idx="54951">
                  <c:v>0.98004280363830898</c:v>
                </c:pt>
                <c:pt idx="54952">
                  <c:v>0.98006063848760405</c:v>
                </c:pt>
                <c:pt idx="54953">
                  <c:v>0.98007847333690001</c:v>
                </c:pt>
                <c:pt idx="54954">
                  <c:v>0.98009630818619498</c:v>
                </c:pt>
                <c:pt idx="54955">
                  <c:v>0.98011414303549105</c:v>
                </c:pt>
                <c:pt idx="54956">
                  <c:v>0.98013197788478601</c:v>
                </c:pt>
                <c:pt idx="54957">
                  <c:v>0.98014981273408197</c:v>
                </c:pt>
                <c:pt idx="54958">
                  <c:v>0.98016764758337704</c:v>
                </c:pt>
                <c:pt idx="54959">
                  <c:v>0.98018548243267301</c:v>
                </c:pt>
                <c:pt idx="54960">
                  <c:v>0.98020331728196897</c:v>
                </c:pt>
                <c:pt idx="54961">
                  <c:v>0.98022115213126404</c:v>
                </c:pt>
                <c:pt idx="54962">
                  <c:v>0.98023898698056</c:v>
                </c:pt>
                <c:pt idx="54963">
                  <c:v>0.98025682182985496</c:v>
                </c:pt>
                <c:pt idx="54964">
                  <c:v>0.98027465667915104</c:v>
                </c:pt>
                <c:pt idx="54965">
                  <c:v>0.980292491528446</c:v>
                </c:pt>
                <c:pt idx="54966">
                  <c:v>0.98031032637774196</c:v>
                </c:pt>
                <c:pt idx="54967">
                  <c:v>0.98032816122703703</c:v>
                </c:pt>
                <c:pt idx="54968">
                  <c:v>0.98034599607633299</c:v>
                </c:pt>
                <c:pt idx="54969">
                  <c:v>0.98036383092562795</c:v>
                </c:pt>
                <c:pt idx="54970">
                  <c:v>0.98038166577492403</c:v>
                </c:pt>
                <c:pt idx="54971">
                  <c:v>0.98039950062421899</c:v>
                </c:pt>
                <c:pt idx="54972">
                  <c:v>0.98041733547351495</c:v>
                </c:pt>
                <c:pt idx="54973">
                  <c:v>0.98043517032281002</c:v>
                </c:pt>
                <c:pt idx="54974">
                  <c:v>0.98045300517210598</c:v>
                </c:pt>
                <c:pt idx="54975">
                  <c:v>0.98047084002140095</c:v>
                </c:pt>
                <c:pt idx="54976">
                  <c:v>0.98048867487069702</c:v>
                </c:pt>
                <c:pt idx="54977">
                  <c:v>0.98050650971999198</c:v>
                </c:pt>
                <c:pt idx="54978">
                  <c:v>0.98052434456928805</c:v>
                </c:pt>
                <c:pt idx="54979">
                  <c:v>0.98054217941858302</c:v>
                </c:pt>
                <c:pt idx="54980">
                  <c:v>0.98056001426787898</c:v>
                </c:pt>
                <c:pt idx="54981">
                  <c:v>0.98057784911717405</c:v>
                </c:pt>
                <c:pt idx="54982">
                  <c:v>0.98059568396647001</c:v>
                </c:pt>
                <c:pt idx="54983">
                  <c:v>0.98061351881576597</c:v>
                </c:pt>
                <c:pt idx="54984">
                  <c:v>0.98063135366506105</c:v>
                </c:pt>
                <c:pt idx="54985">
                  <c:v>0.98064918851435701</c:v>
                </c:pt>
                <c:pt idx="54986">
                  <c:v>0.98066702336365197</c:v>
                </c:pt>
                <c:pt idx="54987">
                  <c:v>0.98068485821294804</c:v>
                </c:pt>
                <c:pt idx="54988">
                  <c:v>0.980702693062243</c:v>
                </c:pt>
                <c:pt idx="54989">
                  <c:v>0.98072052791153896</c:v>
                </c:pt>
                <c:pt idx="54990">
                  <c:v>0.98073836276083404</c:v>
                </c:pt>
                <c:pt idx="54991">
                  <c:v>0.98075619761013</c:v>
                </c:pt>
                <c:pt idx="54992">
                  <c:v>0.98077403245942496</c:v>
                </c:pt>
                <c:pt idx="54993">
                  <c:v>0.98079186730872103</c:v>
                </c:pt>
                <c:pt idx="54994">
                  <c:v>0.98080970215801599</c:v>
                </c:pt>
                <c:pt idx="54995">
                  <c:v>0.98082753700731196</c:v>
                </c:pt>
                <c:pt idx="54996">
                  <c:v>0.98084537185660703</c:v>
                </c:pt>
                <c:pt idx="54997">
                  <c:v>0.98086320670590299</c:v>
                </c:pt>
                <c:pt idx="54998">
                  <c:v>0.98088104155519795</c:v>
                </c:pt>
                <c:pt idx="54999">
                  <c:v>0.98089887640449402</c:v>
                </c:pt>
                <c:pt idx="55000">
                  <c:v>0.98091671125378899</c:v>
                </c:pt>
                <c:pt idx="55001">
                  <c:v>0.98093454610308495</c:v>
                </c:pt>
                <c:pt idx="55002">
                  <c:v>0.98095238095238002</c:v>
                </c:pt>
                <c:pt idx="55003">
                  <c:v>0.98097021580167598</c:v>
                </c:pt>
                <c:pt idx="55004">
                  <c:v>0.98098805065097205</c:v>
                </c:pt>
                <c:pt idx="55005">
                  <c:v>0.98100588550026702</c:v>
                </c:pt>
                <c:pt idx="55006">
                  <c:v>0.98102372034956298</c:v>
                </c:pt>
                <c:pt idx="55007">
                  <c:v>0.98104155519885805</c:v>
                </c:pt>
                <c:pt idx="55008">
                  <c:v>0.98105939004815401</c:v>
                </c:pt>
                <c:pt idx="55009">
                  <c:v>0.98107722489744897</c:v>
                </c:pt>
                <c:pt idx="55010">
                  <c:v>0.98109505974674505</c:v>
                </c:pt>
                <c:pt idx="55011">
                  <c:v>0.98111289459604001</c:v>
                </c:pt>
                <c:pt idx="55012">
                  <c:v>0.98113072944533597</c:v>
                </c:pt>
                <c:pt idx="55013">
                  <c:v>0.98114856429463104</c:v>
                </c:pt>
                <c:pt idx="55014">
                  <c:v>0.981166399143927</c:v>
                </c:pt>
                <c:pt idx="55015">
                  <c:v>0.98118423399322197</c:v>
                </c:pt>
                <c:pt idx="55016">
                  <c:v>0.98120206884251804</c:v>
                </c:pt>
                <c:pt idx="55017">
                  <c:v>0.981219903691813</c:v>
                </c:pt>
                <c:pt idx="55018">
                  <c:v>0.98123773854110896</c:v>
                </c:pt>
                <c:pt idx="55019">
                  <c:v>0.98125557339040403</c:v>
                </c:pt>
                <c:pt idx="55020">
                  <c:v>0.9812734082397</c:v>
                </c:pt>
                <c:pt idx="55021">
                  <c:v>0.98129124308899496</c:v>
                </c:pt>
                <c:pt idx="55022">
                  <c:v>0.98130907793829103</c:v>
                </c:pt>
                <c:pt idx="55023">
                  <c:v>0.98132691278758699</c:v>
                </c:pt>
                <c:pt idx="55024">
                  <c:v>0.98134474763688195</c:v>
                </c:pt>
                <c:pt idx="55025">
                  <c:v>0.98136258248617803</c:v>
                </c:pt>
                <c:pt idx="55026">
                  <c:v>0.98138041733547299</c:v>
                </c:pt>
                <c:pt idx="55027">
                  <c:v>0.98139825218476895</c:v>
                </c:pt>
                <c:pt idx="55028">
                  <c:v>0.98141608703406402</c:v>
                </c:pt>
                <c:pt idx="55029">
                  <c:v>0.98143392188335998</c:v>
                </c:pt>
                <c:pt idx="55030">
                  <c:v>0.98145175673265495</c:v>
                </c:pt>
                <c:pt idx="55031">
                  <c:v>0.98146959158195102</c:v>
                </c:pt>
                <c:pt idx="55032">
                  <c:v>0.98148742643124598</c:v>
                </c:pt>
                <c:pt idx="55033">
                  <c:v>0.98150526128054205</c:v>
                </c:pt>
                <c:pt idx="55034">
                  <c:v>0.98152309612983701</c:v>
                </c:pt>
                <c:pt idx="55035">
                  <c:v>0.98154093097913298</c:v>
                </c:pt>
                <c:pt idx="55036">
                  <c:v>0.98155876582842805</c:v>
                </c:pt>
                <c:pt idx="55037">
                  <c:v>0.98157660067772401</c:v>
                </c:pt>
                <c:pt idx="55038">
                  <c:v>0.98159443552701897</c:v>
                </c:pt>
                <c:pt idx="55039">
                  <c:v>0.98161227037631504</c:v>
                </c:pt>
                <c:pt idx="55040">
                  <c:v>0.98163010522561001</c:v>
                </c:pt>
                <c:pt idx="55041">
                  <c:v>0.98164794007490597</c:v>
                </c:pt>
                <c:pt idx="55042">
                  <c:v>0.98166577492420104</c:v>
                </c:pt>
                <c:pt idx="55043">
                  <c:v>0.981683609773497</c:v>
                </c:pt>
                <c:pt idx="55044">
                  <c:v>0.98170144462279296</c:v>
                </c:pt>
                <c:pt idx="55045">
                  <c:v>0.98171927947208804</c:v>
                </c:pt>
                <c:pt idx="55046">
                  <c:v>0.981737114321384</c:v>
                </c:pt>
                <c:pt idx="55047">
                  <c:v>0.98175494917067896</c:v>
                </c:pt>
                <c:pt idx="55048">
                  <c:v>0.98177278401997503</c:v>
                </c:pt>
                <c:pt idx="55049">
                  <c:v>0.98179061886926999</c:v>
                </c:pt>
                <c:pt idx="55050">
                  <c:v>0.98180845371856595</c:v>
                </c:pt>
                <c:pt idx="55051">
                  <c:v>0.98182628856786103</c:v>
                </c:pt>
                <c:pt idx="55052">
                  <c:v>0.98184412341715699</c:v>
                </c:pt>
                <c:pt idx="55053">
                  <c:v>0.98186195826645195</c:v>
                </c:pt>
                <c:pt idx="55054">
                  <c:v>0.98187979311574802</c:v>
                </c:pt>
                <c:pt idx="55055">
                  <c:v>0.98189762796504299</c:v>
                </c:pt>
                <c:pt idx="55056">
                  <c:v>0.98191546281433895</c:v>
                </c:pt>
                <c:pt idx="55057">
                  <c:v>0.98193329766363402</c:v>
                </c:pt>
                <c:pt idx="55058">
                  <c:v>0.98195113251292998</c:v>
                </c:pt>
                <c:pt idx="55059">
                  <c:v>0.98196896736222505</c:v>
                </c:pt>
                <c:pt idx="55060">
                  <c:v>0.98198680221152101</c:v>
                </c:pt>
                <c:pt idx="55061">
                  <c:v>0.98200463706081598</c:v>
                </c:pt>
                <c:pt idx="55062">
                  <c:v>0.98202247191011205</c:v>
                </c:pt>
                <c:pt idx="55063">
                  <c:v>0.98204030675940701</c:v>
                </c:pt>
                <c:pt idx="55064">
                  <c:v>0.98205814160870297</c:v>
                </c:pt>
                <c:pt idx="55065">
                  <c:v>0.98207597645799805</c:v>
                </c:pt>
                <c:pt idx="55066">
                  <c:v>0.98209381130729401</c:v>
                </c:pt>
                <c:pt idx="55067">
                  <c:v>0.98211164615658997</c:v>
                </c:pt>
                <c:pt idx="55068">
                  <c:v>0.98212948100588504</c:v>
                </c:pt>
                <c:pt idx="55069">
                  <c:v>0.982147315855181</c:v>
                </c:pt>
                <c:pt idx="55070">
                  <c:v>0.98216515070447596</c:v>
                </c:pt>
                <c:pt idx="55071">
                  <c:v>0.98218298555377204</c:v>
                </c:pt>
                <c:pt idx="55072">
                  <c:v>0.982200820403067</c:v>
                </c:pt>
                <c:pt idx="55073">
                  <c:v>0.98221865525236296</c:v>
                </c:pt>
                <c:pt idx="55074">
                  <c:v>0.98223649010165803</c:v>
                </c:pt>
                <c:pt idx="55075">
                  <c:v>0.98225432495095399</c:v>
                </c:pt>
                <c:pt idx="55076">
                  <c:v>0.98227215980024896</c:v>
                </c:pt>
                <c:pt idx="55077">
                  <c:v>0.98228999464954503</c:v>
                </c:pt>
                <c:pt idx="55078">
                  <c:v>0.98230782949883999</c:v>
                </c:pt>
                <c:pt idx="55079">
                  <c:v>0.98232566434813595</c:v>
                </c:pt>
                <c:pt idx="55080">
                  <c:v>0.98234349919743102</c:v>
                </c:pt>
                <c:pt idx="55081">
                  <c:v>0.98236133404672699</c:v>
                </c:pt>
                <c:pt idx="55082">
                  <c:v>0.98237916889602195</c:v>
                </c:pt>
                <c:pt idx="55083">
                  <c:v>0.98239700374531802</c:v>
                </c:pt>
                <c:pt idx="55084">
                  <c:v>0.98241483859461298</c:v>
                </c:pt>
                <c:pt idx="55085">
                  <c:v>0.98243267344390905</c:v>
                </c:pt>
                <c:pt idx="55086">
                  <c:v>0.98245050829320402</c:v>
                </c:pt>
                <c:pt idx="55087">
                  <c:v>0.98246834314249998</c:v>
                </c:pt>
                <c:pt idx="55088">
                  <c:v>0.98248617799179505</c:v>
                </c:pt>
                <c:pt idx="55089">
                  <c:v>0.98250401284109101</c:v>
                </c:pt>
                <c:pt idx="55090">
                  <c:v>0.98252184769038697</c:v>
                </c:pt>
                <c:pt idx="55091">
                  <c:v>0.98253968253968205</c:v>
                </c:pt>
                <c:pt idx="55092">
                  <c:v>0.98255751738897801</c:v>
                </c:pt>
                <c:pt idx="55093">
                  <c:v>0.98257535223827297</c:v>
                </c:pt>
                <c:pt idx="55094">
                  <c:v>0.98259318708756904</c:v>
                </c:pt>
                <c:pt idx="55095">
                  <c:v>0.982611021936864</c:v>
                </c:pt>
                <c:pt idx="55096">
                  <c:v>0.98262885678615997</c:v>
                </c:pt>
                <c:pt idx="55097">
                  <c:v>0.98264669163545504</c:v>
                </c:pt>
                <c:pt idx="55098">
                  <c:v>0.982664526484751</c:v>
                </c:pt>
                <c:pt idx="55099">
                  <c:v>0.98268236133404596</c:v>
                </c:pt>
                <c:pt idx="55100">
                  <c:v>0.98270019618334203</c:v>
                </c:pt>
                <c:pt idx="55101">
                  <c:v>0.982718031032637</c:v>
                </c:pt>
                <c:pt idx="55102">
                  <c:v>0.98273586588193296</c:v>
                </c:pt>
                <c:pt idx="55103">
                  <c:v>0.98275370073122803</c:v>
                </c:pt>
                <c:pt idx="55104">
                  <c:v>0.98277153558052399</c:v>
                </c:pt>
                <c:pt idx="55105">
                  <c:v>0.98278937042981895</c:v>
                </c:pt>
                <c:pt idx="55106">
                  <c:v>0.98280720527911503</c:v>
                </c:pt>
                <c:pt idx="55107">
                  <c:v>0.98282504012840999</c:v>
                </c:pt>
                <c:pt idx="55108">
                  <c:v>0.98284287497770595</c:v>
                </c:pt>
                <c:pt idx="55109">
                  <c:v>0.98286070982700102</c:v>
                </c:pt>
                <c:pt idx="55110">
                  <c:v>0.98287854467629698</c:v>
                </c:pt>
                <c:pt idx="55111">
                  <c:v>0.98289637952559294</c:v>
                </c:pt>
                <c:pt idx="55112">
                  <c:v>0.98291421437488802</c:v>
                </c:pt>
                <c:pt idx="55113">
                  <c:v>0.98293204922418398</c:v>
                </c:pt>
                <c:pt idx="55114">
                  <c:v>0.98294988407347905</c:v>
                </c:pt>
                <c:pt idx="55115">
                  <c:v>0.98296771892277501</c:v>
                </c:pt>
                <c:pt idx="55116">
                  <c:v>0.98298555377206998</c:v>
                </c:pt>
                <c:pt idx="55117">
                  <c:v>0.98300338862136605</c:v>
                </c:pt>
                <c:pt idx="55118">
                  <c:v>0.98302122347066101</c:v>
                </c:pt>
                <c:pt idx="55119">
                  <c:v>0.98303905831995697</c:v>
                </c:pt>
                <c:pt idx="55120">
                  <c:v>0.98305689316925204</c:v>
                </c:pt>
                <c:pt idx="55121">
                  <c:v>0.98307472801854801</c:v>
                </c:pt>
                <c:pt idx="55122">
                  <c:v>0.98309256286784297</c:v>
                </c:pt>
                <c:pt idx="55123">
                  <c:v>0.98311039771713904</c:v>
                </c:pt>
                <c:pt idx="55124">
                  <c:v>0.983128232566434</c:v>
                </c:pt>
                <c:pt idx="55125">
                  <c:v>0.98314606741572996</c:v>
                </c:pt>
                <c:pt idx="55126">
                  <c:v>0.98316390226502504</c:v>
                </c:pt>
                <c:pt idx="55127">
                  <c:v>0.983181737114321</c:v>
                </c:pt>
                <c:pt idx="55128">
                  <c:v>0.98319957196361696</c:v>
                </c:pt>
                <c:pt idx="55129">
                  <c:v>0.98321740681291203</c:v>
                </c:pt>
                <c:pt idx="55130">
                  <c:v>0.98323524166220799</c:v>
                </c:pt>
                <c:pt idx="55131">
                  <c:v>0.98325307651150295</c:v>
                </c:pt>
                <c:pt idx="55132">
                  <c:v>0.98327091136079903</c:v>
                </c:pt>
                <c:pt idx="55133">
                  <c:v>0.98328874621009399</c:v>
                </c:pt>
                <c:pt idx="55134">
                  <c:v>0.98330658105938995</c:v>
                </c:pt>
                <c:pt idx="55135">
                  <c:v>0.98332441590868502</c:v>
                </c:pt>
                <c:pt idx="55136">
                  <c:v>0.98334225075798098</c:v>
                </c:pt>
                <c:pt idx="55137">
                  <c:v>0.98336008560727595</c:v>
                </c:pt>
                <c:pt idx="55138">
                  <c:v>0.98337792045657202</c:v>
                </c:pt>
                <c:pt idx="55139">
                  <c:v>0.98339575530586698</c:v>
                </c:pt>
                <c:pt idx="55140">
                  <c:v>0.98341359015516305</c:v>
                </c:pt>
                <c:pt idx="55141">
                  <c:v>0.98343142500445802</c:v>
                </c:pt>
                <c:pt idx="55142">
                  <c:v>0.98344925985375398</c:v>
                </c:pt>
                <c:pt idx="55143">
                  <c:v>0.98346709470304905</c:v>
                </c:pt>
                <c:pt idx="55144">
                  <c:v>0.98348492955234501</c:v>
                </c:pt>
                <c:pt idx="55145">
                  <c:v>0.98350276440163997</c:v>
                </c:pt>
                <c:pt idx="55146">
                  <c:v>0.98352059925093605</c:v>
                </c:pt>
                <c:pt idx="55147">
                  <c:v>0.98353843410023101</c:v>
                </c:pt>
                <c:pt idx="55148">
                  <c:v>0.98355626894952697</c:v>
                </c:pt>
                <c:pt idx="55149">
                  <c:v>0.98357410379882204</c:v>
                </c:pt>
                <c:pt idx="55150">
                  <c:v>0.983591938648118</c:v>
                </c:pt>
                <c:pt idx="55151">
                  <c:v>0.98360977349741396</c:v>
                </c:pt>
                <c:pt idx="55152">
                  <c:v>0.98362760834670904</c:v>
                </c:pt>
                <c:pt idx="55153">
                  <c:v>0.983645443196005</c:v>
                </c:pt>
                <c:pt idx="55154">
                  <c:v>0.98366327804529996</c:v>
                </c:pt>
                <c:pt idx="55155">
                  <c:v>0.98368111289459603</c:v>
                </c:pt>
                <c:pt idx="55156">
                  <c:v>0.98369894774389099</c:v>
                </c:pt>
                <c:pt idx="55157">
                  <c:v>0.98371678259318696</c:v>
                </c:pt>
                <c:pt idx="55158">
                  <c:v>0.98373461744248203</c:v>
                </c:pt>
                <c:pt idx="55159">
                  <c:v>0.98375245229177799</c:v>
                </c:pt>
                <c:pt idx="55160">
                  <c:v>0.98377028714107295</c:v>
                </c:pt>
                <c:pt idx="55161">
                  <c:v>0.98378812199036902</c:v>
                </c:pt>
                <c:pt idx="55162">
                  <c:v>0.98380595683966399</c:v>
                </c:pt>
                <c:pt idx="55163">
                  <c:v>0.98382379168895995</c:v>
                </c:pt>
                <c:pt idx="55164">
                  <c:v>0.98384162653825502</c:v>
                </c:pt>
                <c:pt idx="55165">
                  <c:v>0.98385946138755098</c:v>
                </c:pt>
                <c:pt idx="55166">
                  <c:v>0.98387729623684606</c:v>
                </c:pt>
                <c:pt idx="55167">
                  <c:v>0.98389513108614202</c:v>
                </c:pt>
                <c:pt idx="55168">
                  <c:v>0.98391296593543698</c:v>
                </c:pt>
                <c:pt idx="55169">
                  <c:v>0.98393080078473305</c:v>
                </c:pt>
                <c:pt idx="55170">
                  <c:v>0.98394863563402801</c:v>
                </c:pt>
                <c:pt idx="55171">
                  <c:v>0.98396647048332397</c:v>
                </c:pt>
                <c:pt idx="55172">
                  <c:v>0.98398430533261905</c:v>
                </c:pt>
                <c:pt idx="55173">
                  <c:v>0.98400214018191501</c:v>
                </c:pt>
                <c:pt idx="55174">
                  <c:v>0.98401997503121097</c:v>
                </c:pt>
                <c:pt idx="55175">
                  <c:v>0.98403780988050604</c:v>
                </c:pt>
                <c:pt idx="55176">
                  <c:v>0.984055644729802</c:v>
                </c:pt>
                <c:pt idx="55177">
                  <c:v>0.98407347957909697</c:v>
                </c:pt>
                <c:pt idx="55178">
                  <c:v>0.98409131442839304</c:v>
                </c:pt>
                <c:pt idx="55179">
                  <c:v>0.984109149277688</c:v>
                </c:pt>
                <c:pt idx="55180">
                  <c:v>0.98412698412698396</c:v>
                </c:pt>
                <c:pt idx="55181">
                  <c:v>0.98414481897627903</c:v>
                </c:pt>
                <c:pt idx="55182">
                  <c:v>0.984162653825575</c:v>
                </c:pt>
                <c:pt idx="55183">
                  <c:v>0.98418048867486996</c:v>
                </c:pt>
                <c:pt idx="55184">
                  <c:v>0.98419832352416603</c:v>
                </c:pt>
                <c:pt idx="55185">
                  <c:v>0.98421615837346099</c:v>
                </c:pt>
                <c:pt idx="55186">
                  <c:v>0.98423399322275695</c:v>
                </c:pt>
                <c:pt idx="55187">
                  <c:v>0.98425182807205203</c:v>
                </c:pt>
                <c:pt idx="55188">
                  <c:v>0.98426966292134799</c:v>
                </c:pt>
                <c:pt idx="55189">
                  <c:v>0.98428749777064295</c:v>
                </c:pt>
                <c:pt idx="55190">
                  <c:v>0.98430533261993902</c:v>
                </c:pt>
                <c:pt idx="55191">
                  <c:v>0.98432316746923398</c:v>
                </c:pt>
                <c:pt idx="55192">
                  <c:v>0.98434100231852995</c:v>
                </c:pt>
                <c:pt idx="55193">
                  <c:v>0.98435883716782502</c:v>
                </c:pt>
                <c:pt idx="55194">
                  <c:v>0.98437667201712098</c:v>
                </c:pt>
                <c:pt idx="55195">
                  <c:v>0.98439450686641605</c:v>
                </c:pt>
                <c:pt idx="55196">
                  <c:v>0.98441234171571201</c:v>
                </c:pt>
                <c:pt idx="55197">
                  <c:v>0.98443017656500797</c:v>
                </c:pt>
                <c:pt idx="55198">
                  <c:v>0.98444801141430305</c:v>
                </c:pt>
                <c:pt idx="55199">
                  <c:v>0.98446584626359901</c:v>
                </c:pt>
                <c:pt idx="55200">
                  <c:v>0.98448368111289397</c:v>
                </c:pt>
                <c:pt idx="55201">
                  <c:v>0.98450151596219004</c:v>
                </c:pt>
                <c:pt idx="55202">
                  <c:v>0.98451935081148501</c:v>
                </c:pt>
                <c:pt idx="55203">
                  <c:v>0.98453718566078097</c:v>
                </c:pt>
                <c:pt idx="55204">
                  <c:v>0.98455502051007604</c:v>
                </c:pt>
                <c:pt idx="55205">
                  <c:v>0.984572855359372</c:v>
                </c:pt>
                <c:pt idx="55206">
                  <c:v>0.98459069020866696</c:v>
                </c:pt>
                <c:pt idx="55207">
                  <c:v>0.98460852505796304</c:v>
                </c:pt>
                <c:pt idx="55208">
                  <c:v>0.984626359907258</c:v>
                </c:pt>
                <c:pt idx="55209">
                  <c:v>0.98464419475655396</c:v>
                </c:pt>
                <c:pt idx="55210">
                  <c:v>0.98466202960584903</c:v>
                </c:pt>
                <c:pt idx="55211">
                  <c:v>0.98467986445514499</c:v>
                </c:pt>
                <c:pt idx="55212">
                  <c:v>0.98469769930443996</c:v>
                </c:pt>
                <c:pt idx="55213">
                  <c:v>0.98471553415373603</c:v>
                </c:pt>
                <c:pt idx="55214">
                  <c:v>0.98473336900303099</c:v>
                </c:pt>
                <c:pt idx="55215">
                  <c:v>0.98475120385232695</c:v>
                </c:pt>
                <c:pt idx="55216">
                  <c:v>0.98476903870162302</c:v>
                </c:pt>
                <c:pt idx="55217">
                  <c:v>0.98478687355091798</c:v>
                </c:pt>
                <c:pt idx="55218">
                  <c:v>0.98480470840021395</c:v>
                </c:pt>
                <c:pt idx="55219">
                  <c:v>0.98482254324950902</c:v>
                </c:pt>
                <c:pt idx="55220">
                  <c:v>0.98484037809880498</c:v>
                </c:pt>
                <c:pt idx="55221">
                  <c:v>0.98485821294810005</c:v>
                </c:pt>
                <c:pt idx="55222">
                  <c:v>0.98487604779739601</c:v>
                </c:pt>
                <c:pt idx="55223">
                  <c:v>0.98489388264669098</c:v>
                </c:pt>
                <c:pt idx="55224">
                  <c:v>0.98491171749598705</c:v>
                </c:pt>
                <c:pt idx="55225">
                  <c:v>0.98492955234528201</c:v>
                </c:pt>
                <c:pt idx="55226">
                  <c:v>0.98494738719457797</c:v>
                </c:pt>
                <c:pt idx="55227">
                  <c:v>0.98496522204387305</c:v>
                </c:pt>
                <c:pt idx="55228">
                  <c:v>0.98498305689316901</c:v>
                </c:pt>
                <c:pt idx="55229">
                  <c:v>0.98500089174246397</c:v>
                </c:pt>
                <c:pt idx="55230">
                  <c:v>0.98501872659176004</c:v>
                </c:pt>
                <c:pt idx="55231">
                  <c:v>0.985036561441055</c:v>
                </c:pt>
                <c:pt idx="55232">
                  <c:v>0.98505439629035096</c:v>
                </c:pt>
                <c:pt idx="55233">
                  <c:v>0.98507223113964604</c:v>
                </c:pt>
                <c:pt idx="55234">
                  <c:v>0.985090065988942</c:v>
                </c:pt>
                <c:pt idx="55235">
                  <c:v>0.98510790083823796</c:v>
                </c:pt>
                <c:pt idx="55236">
                  <c:v>0.98512573568753303</c:v>
                </c:pt>
                <c:pt idx="55237">
                  <c:v>0.98514357053682899</c:v>
                </c:pt>
                <c:pt idx="55238">
                  <c:v>0.98516140538612396</c:v>
                </c:pt>
                <c:pt idx="55239">
                  <c:v>0.98517924023542003</c:v>
                </c:pt>
                <c:pt idx="55240">
                  <c:v>0.98519707508471499</c:v>
                </c:pt>
                <c:pt idx="55241">
                  <c:v>0.98521490993401095</c:v>
                </c:pt>
                <c:pt idx="55242">
                  <c:v>0.98523274478330602</c:v>
                </c:pt>
                <c:pt idx="55243">
                  <c:v>0.98525057963260199</c:v>
                </c:pt>
                <c:pt idx="55244">
                  <c:v>0.98526841448189695</c:v>
                </c:pt>
                <c:pt idx="55245">
                  <c:v>0.98528624933119302</c:v>
                </c:pt>
                <c:pt idx="55246">
                  <c:v>0.98530408418048798</c:v>
                </c:pt>
                <c:pt idx="55247">
                  <c:v>0.98532191902978405</c:v>
                </c:pt>
                <c:pt idx="55248">
                  <c:v>0.98533975387907902</c:v>
                </c:pt>
                <c:pt idx="55249">
                  <c:v>0.98535758872837498</c:v>
                </c:pt>
                <c:pt idx="55250">
                  <c:v>0.98537542357767005</c:v>
                </c:pt>
                <c:pt idx="55251">
                  <c:v>0.98539325842696601</c:v>
                </c:pt>
                <c:pt idx="55252">
                  <c:v>0.98541109327626097</c:v>
                </c:pt>
                <c:pt idx="55253">
                  <c:v>0.98542892812555705</c:v>
                </c:pt>
                <c:pt idx="55254">
                  <c:v>0.98544676297485201</c:v>
                </c:pt>
                <c:pt idx="55255">
                  <c:v>0.98546459782414797</c:v>
                </c:pt>
                <c:pt idx="55256">
                  <c:v>0.98548243267344304</c:v>
                </c:pt>
                <c:pt idx="55257">
                  <c:v>0.985500267522739</c:v>
                </c:pt>
                <c:pt idx="55258">
                  <c:v>0.98551810237203497</c:v>
                </c:pt>
                <c:pt idx="55259">
                  <c:v>0.98553593722133004</c:v>
                </c:pt>
                <c:pt idx="55260">
                  <c:v>0.985553772070626</c:v>
                </c:pt>
                <c:pt idx="55261">
                  <c:v>0.98557160691992096</c:v>
                </c:pt>
                <c:pt idx="55262">
                  <c:v>0.98558944176921703</c:v>
                </c:pt>
                <c:pt idx="55263">
                  <c:v>0.985607276618512</c:v>
                </c:pt>
                <c:pt idx="55264">
                  <c:v>0.98562511146780796</c:v>
                </c:pt>
                <c:pt idx="55265">
                  <c:v>0.98564294631710303</c:v>
                </c:pt>
                <c:pt idx="55266">
                  <c:v>0.98566078116639899</c:v>
                </c:pt>
                <c:pt idx="55267">
                  <c:v>0.98567861601569395</c:v>
                </c:pt>
                <c:pt idx="55268">
                  <c:v>0.98569645086499003</c:v>
                </c:pt>
                <c:pt idx="55269">
                  <c:v>0.98571428571428499</c:v>
                </c:pt>
                <c:pt idx="55270">
                  <c:v>0.98573212056358095</c:v>
                </c:pt>
                <c:pt idx="55271">
                  <c:v>0.98574995541287602</c:v>
                </c:pt>
                <c:pt idx="55272">
                  <c:v>0.98576779026217198</c:v>
                </c:pt>
                <c:pt idx="55273">
                  <c:v>0.98578562511146695</c:v>
                </c:pt>
                <c:pt idx="55274">
                  <c:v>0.98580345996076302</c:v>
                </c:pt>
                <c:pt idx="55275">
                  <c:v>0.98582129481005798</c:v>
                </c:pt>
                <c:pt idx="55276">
                  <c:v>0.98583912965935405</c:v>
                </c:pt>
                <c:pt idx="55277">
                  <c:v>0.98585696450864901</c:v>
                </c:pt>
                <c:pt idx="55278">
                  <c:v>0.98587479935794498</c:v>
                </c:pt>
                <c:pt idx="55279">
                  <c:v>0.98589263420724005</c:v>
                </c:pt>
                <c:pt idx="55280">
                  <c:v>0.98591046905653601</c:v>
                </c:pt>
                <c:pt idx="55281">
                  <c:v>0.98592830390583197</c:v>
                </c:pt>
                <c:pt idx="55282">
                  <c:v>0.98594613875512704</c:v>
                </c:pt>
                <c:pt idx="55283">
                  <c:v>0.98596397360442301</c:v>
                </c:pt>
                <c:pt idx="55284">
                  <c:v>0.98598180845371797</c:v>
                </c:pt>
                <c:pt idx="55285">
                  <c:v>0.98599964330301404</c:v>
                </c:pt>
                <c:pt idx="55286">
                  <c:v>0.986017478152309</c:v>
                </c:pt>
                <c:pt idx="55287">
                  <c:v>0.98603531300160496</c:v>
                </c:pt>
                <c:pt idx="55288">
                  <c:v>0.98605314785090004</c:v>
                </c:pt>
                <c:pt idx="55289">
                  <c:v>0.986070982700196</c:v>
                </c:pt>
                <c:pt idx="55290">
                  <c:v>0.98608881754949096</c:v>
                </c:pt>
                <c:pt idx="55291">
                  <c:v>0.98610665239878703</c:v>
                </c:pt>
                <c:pt idx="55292">
                  <c:v>0.98612448724808199</c:v>
                </c:pt>
                <c:pt idx="55293">
                  <c:v>0.98614232209737795</c:v>
                </c:pt>
                <c:pt idx="55294">
                  <c:v>0.98616015694667303</c:v>
                </c:pt>
                <c:pt idx="55295">
                  <c:v>0.98617799179596899</c:v>
                </c:pt>
                <c:pt idx="55296">
                  <c:v>0.98619582664526395</c:v>
                </c:pt>
                <c:pt idx="55297">
                  <c:v>0.98621366149456002</c:v>
                </c:pt>
                <c:pt idx="55298">
                  <c:v>0.98623149634385499</c:v>
                </c:pt>
                <c:pt idx="55299">
                  <c:v>0.98624933119315095</c:v>
                </c:pt>
                <c:pt idx="55300">
                  <c:v>0.98626716604244602</c:v>
                </c:pt>
                <c:pt idx="55301">
                  <c:v>0.98628500089174198</c:v>
                </c:pt>
                <c:pt idx="55302">
                  <c:v>0.98630283574103705</c:v>
                </c:pt>
                <c:pt idx="55303">
                  <c:v>0.98632067059033302</c:v>
                </c:pt>
                <c:pt idx="55304">
                  <c:v>0.98633850543962898</c:v>
                </c:pt>
                <c:pt idx="55305">
                  <c:v>0.98635634028892405</c:v>
                </c:pt>
                <c:pt idx="55306">
                  <c:v>0.98637417513822001</c:v>
                </c:pt>
                <c:pt idx="55307">
                  <c:v>0.98639200998751497</c:v>
                </c:pt>
                <c:pt idx="55308">
                  <c:v>0.98640984483681104</c:v>
                </c:pt>
                <c:pt idx="55309">
                  <c:v>0.98642767968610601</c:v>
                </c:pt>
                <c:pt idx="55310">
                  <c:v>0.98644551453540197</c:v>
                </c:pt>
                <c:pt idx="55311">
                  <c:v>0.98646334938469704</c:v>
                </c:pt>
                <c:pt idx="55312">
                  <c:v>0.986481184233993</c:v>
                </c:pt>
                <c:pt idx="55313">
                  <c:v>0.98649901908328796</c:v>
                </c:pt>
                <c:pt idx="55314">
                  <c:v>0.98651685393258404</c:v>
                </c:pt>
                <c:pt idx="55315">
                  <c:v>0.986534688781879</c:v>
                </c:pt>
                <c:pt idx="55316">
                  <c:v>0.98655252363117496</c:v>
                </c:pt>
                <c:pt idx="55317">
                  <c:v>0.98657035848047003</c:v>
                </c:pt>
                <c:pt idx="55318">
                  <c:v>0.98658819332976599</c:v>
                </c:pt>
                <c:pt idx="55319">
                  <c:v>0.98660602817906096</c:v>
                </c:pt>
                <c:pt idx="55320">
                  <c:v>0.98662386302835703</c:v>
                </c:pt>
                <c:pt idx="55321">
                  <c:v>0.98664169787765199</c:v>
                </c:pt>
                <c:pt idx="55322">
                  <c:v>0.98665953272694795</c:v>
                </c:pt>
                <c:pt idx="55323">
                  <c:v>0.98667736757624402</c:v>
                </c:pt>
                <c:pt idx="55324">
                  <c:v>0.98669520242553899</c:v>
                </c:pt>
                <c:pt idx="55325">
                  <c:v>0.98671303727483495</c:v>
                </c:pt>
                <c:pt idx="55326">
                  <c:v>0.98673087212413002</c:v>
                </c:pt>
                <c:pt idx="55327">
                  <c:v>0.98674870697342598</c:v>
                </c:pt>
                <c:pt idx="55328">
                  <c:v>0.98676654182272105</c:v>
                </c:pt>
                <c:pt idx="55329">
                  <c:v>0.98678437667201702</c:v>
                </c:pt>
                <c:pt idx="55330">
                  <c:v>0.98680221152131198</c:v>
                </c:pt>
                <c:pt idx="55331">
                  <c:v>0.98682004637060805</c:v>
                </c:pt>
                <c:pt idx="55332">
                  <c:v>0.98683788121990301</c:v>
                </c:pt>
                <c:pt idx="55333">
                  <c:v>0.98685571606919897</c:v>
                </c:pt>
                <c:pt idx="55334">
                  <c:v>0.98687355091849405</c:v>
                </c:pt>
                <c:pt idx="55335">
                  <c:v>0.98689138576779001</c:v>
                </c:pt>
                <c:pt idx="55336">
                  <c:v>0.98690922061708497</c:v>
                </c:pt>
                <c:pt idx="55337">
                  <c:v>0.98692705546638104</c:v>
                </c:pt>
                <c:pt idx="55338">
                  <c:v>0.986944890315676</c:v>
                </c:pt>
                <c:pt idx="55339">
                  <c:v>0.98696272516497197</c:v>
                </c:pt>
                <c:pt idx="55340">
                  <c:v>0.98698056001426704</c:v>
                </c:pt>
                <c:pt idx="55341">
                  <c:v>0.986998394863563</c:v>
                </c:pt>
                <c:pt idx="55342">
                  <c:v>0.98701622971285896</c:v>
                </c:pt>
                <c:pt idx="55343">
                  <c:v>0.98703406456215403</c:v>
                </c:pt>
                <c:pt idx="55344">
                  <c:v>0.98705189941145</c:v>
                </c:pt>
                <c:pt idx="55345">
                  <c:v>0.98706973426074496</c:v>
                </c:pt>
                <c:pt idx="55346">
                  <c:v>0.98708756911004103</c:v>
                </c:pt>
                <c:pt idx="55347">
                  <c:v>0.98710540395933599</c:v>
                </c:pt>
                <c:pt idx="55348">
                  <c:v>0.98712323880863195</c:v>
                </c:pt>
                <c:pt idx="55349">
                  <c:v>0.98714107365792703</c:v>
                </c:pt>
                <c:pt idx="55350">
                  <c:v>0.98715890850722299</c:v>
                </c:pt>
                <c:pt idx="55351">
                  <c:v>0.98717674335651795</c:v>
                </c:pt>
                <c:pt idx="55352">
                  <c:v>0.98719457820581402</c:v>
                </c:pt>
                <c:pt idx="55353">
                  <c:v>0.98721241305510898</c:v>
                </c:pt>
                <c:pt idx="55354">
                  <c:v>0.98723024790440495</c:v>
                </c:pt>
                <c:pt idx="55355">
                  <c:v>0.98724808275370002</c:v>
                </c:pt>
                <c:pt idx="55356">
                  <c:v>0.98726591760299598</c:v>
                </c:pt>
                <c:pt idx="55357">
                  <c:v>0.98728375245229105</c:v>
                </c:pt>
                <c:pt idx="55358">
                  <c:v>0.98730158730158701</c:v>
                </c:pt>
                <c:pt idx="55359">
                  <c:v>0.98731942215088198</c:v>
                </c:pt>
                <c:pt idx="55360">
                  <c:v>0.98733725700017805</c:v>
                </c:pt>
                <c:pt idx="55361">
                  <c:v>0.98735509184947301</c:v>
                </c:pt>
                <c:pt idx="55362">
                  <c:v>0.98737292669876897</c:v>
                </c:pt>
                <c:pt idx="55363">
                  <c:v>0.98739076154806404</c:v>
                </c:pt>
                <c:pt idx="55364">
                  <c:v>0.98740859639736001</c:v>
                </c:pt>
                <c:pt idx="55365">
                  <c:v>0.98742643124665597</c:v>
                </c:pt>
                <c:pt idx="55366">
                  <c:v>0.98744426609595104</c:v>
                </c:pt>
                <c:pt idx="55367">
                  <c:v>0.987462100945247</c:v>
                </c:pt>
                <c:pt idx="55368">
                  <c:v>0.98747993579454196</c:v>
                </c:pt>
                <c:pt idx="55369">
                  <c:v>0.98749777064383804</c:v>
                </c:pt>
                <c:pt idx="55370">
                  <c:v>0.987515605493133</c:v>
                </c:pt>
                <c:pt idx="55371">
                  <c:v>0.98753344034242896</c:v>
                </c:pt>
                <c:pt idx="55372">
                  <c:v>0.98755127519172403</c:v>
                </c:pt>
                <c:pt idx="55373">
                  <c:v>0.98756911004101999</c:v>
                </c:pt>
                <c:pt idx="55374">
                  <c:v>0.98758694489031496</c:v>
                </c:pt>
                <c:pt idx="55375">
                  <c:v>0.98760477973961103</c:v>
                </c:pt>
                <c:pt idx="55376">
                  <c:v>0.98762261458890599</c:v>
                </c:pt>
                <c:pt idx="55377">
                  <c:v>0.98764044943820195</c:v>
                </c:pt>
                <c:pt idx="55378">
                  <c:v>0.98765828428749702</c:v>
                </c:pt>
                <c:pt idx="55379">
                  <c:v>0.98767611913679298</c:v>
                </c:pt>
                <c:pt idx="55380">
                  <c:v>0.98769395398608795</c:v>
                </c:pt>
                <c:pt idx="55381">
                  <c:v>0.98771178883538402</c:v>
                </c:pt>
                <c:pt idx="55382">
                  <c:v>0.98772962368467898</c:v>
                </c:pt>
                <c:pt idx="55383">
                  <c:v>0.98774745853397505</c:v>
                </c:pt>
                <c:pt idx="55384">
                  <c:v>0.98776529338327002</c:v>
                </c:pt>
                <c:pt idx="55385">
                  <c:v>0.98778312823256598</c:v>
                </c:pt>
                <c:pt idx="55386">
                  <c:v>0.98780096308186105</c:v>
                </c:pt>
                <c:pt idx="55387">
                  <c:v>0.98781879793115701</c:v>
                </c:pt>
                <c:pt idx="55388">
                  <c:v>0.98783663278045297</c:v>
                </c:pt>
                <c:pt idx="55389">
                  <c:v>0.98785446762974805</c:v>
                </c:pt>
                <c:pt idx="55390">
                  <c:v>0.98787230247904401</c:v>
                </c:pt>
                <c:pt idx="55391">
                  <c:v>0.98789013732833897</c:v>
                </c:pt>
                <c:pt idx="55392">
                  <c:v>0.98790797217763504</c:v>
                </c:pt>
                <c:pt idx="55393">
                  <c:v>0.98792580702693</c:v>
                </c:pt>
                <c:pt idx="55394">
                  <c:v>0.98794364187622596</c:v>
                </c:pt>
                <c:pt idx="55395">
                  <c:v>0.98796147672552104</c:v>
                </c:pt>
                <c:pt idx="55396">
                  <c:v>0.987979311574817</c:v>
                </c:pt>
                <c:pt idx="55397">
                  <c:v>0.98799714642411196</c:v>
                </c:pt>
                <c:pt idx="55398">
                  <c:v>0.98801498127340803</c:v>
                </c:pt>
                <c:pt idx="55399">
                  <c:v>0.98803281612270299</c:v>
                </c:pt>
                <c:pt idx="55400">
                  <c:v>0.98805065097199896</c:v>
                </c:pt>
                <c:pt idx="55401">
                  <c:v>0.98806848582129403</c:v>
                </c:pt>
                <c:pt idx="55402">
                  <c:v>0.98808632067058999</c:v>
                </c:pt>
                <c:pt idx="55403">
                  <c:v>0.98810415551988495</c:v>
                </c:pt>
                <c:pt idx="55404">
                  <c:v>0.98812199036918102</c:v>
                </c:pt>
                <c:pt idx="55405">
                  <c:v>0.98813982521847599</c:v>
                </c:pt>
                <c:pt idx="55406">
                  <c:v>0.98815766006777195</c:v>
                </c:pt>
                <c:pt idx="55407">
                  <c:v>0.98817549491706702</c:v>
                </c:pt>
                <c:pt idx="55408">
                  <c:v>0.98819332976636298</c:v>
                </c:pt>
                <c:pt idx="55409">
                  <c:v>0.98821116461565806</c:v>
                </c:pt>
                <c:pt idx="55410">
                  <c:v>0.98822899946495402</c:v>
                </c:pt>
                <c:pt idx="55411">
                  <c:v>0.98824683431424998</c:v>
                </c:pt>
                <c:pt idx="55412">
                  <c:v>0.98826466916354505</c:v>
                </c:pt>
                <c:pt idx="55413">
                  <c:v>0.98828250401284101</c:v>
                </c:pt>
                <c:pt idx="55414">
                  <c:v>0.98830033886213597</c:v>
                </c:pt>
                <c:pt idx="55415">
                  <c:v>0.98831817371143205</c:v>
                </c:pt>
                <c:pt idx="55416">
                  <c:v>0.98833600856072701</c:v>
                </c:pt>
                <c:pt idx="55417">
                  <c:v>0.98835384341002297</c:v>
                </c:pt>
                <c:pt idx="55418">
                  <c:v>0.98837167825931804</c:v>
                </c:pt>
                <c:pt idx="55419">
                  <c:v>0.988389513108614</c:v>
                </c:pt>
                <c:pt idx="55420">
                  <c:v>0.98840734795790897</c:v>
                </c:pt>
                <c:pt idx="55421">
                  <c:v>0.98842518280720504</c:v>
                </c:pt>
                <c:pt idx="55422">
                  <c:v>0.9884430176565</c:v>
                </c:pt>
                <c:pt idx="55423">
                  <c:v>0.98846085250579596</c:v>
                </c:pt>
                <c:pt idx="55424">
                  <c:v>0.98847868735509103</c:v>
                </c:pt>
                <c:pt idx="55425">
                  <c:v>0.988496522204387</c:v>
                </c:pt>
                <c:pt idx="55426">
                  <c:v>0.98851435705368196</c:v>
                </c:pt>
                <c:pt idx="55427">
                  <c:v>0.98853219190297803</c:v>
                </c:pt>
                <c:pt idx="55428">
                  <c:v>0.98855002675227399</c:v>
                </c:pt>
                <c:pt idx="55429">
                  <c:v>0.98856786160156895</c:v>
                </c:pt>
                <c:pt idx="55430">
                  <c:v>0.98858569645086503</c:v>
                </c:pt>
                <c:pt idx="55431">
                  <c:v>0.98860353130015999</c:v>
                </c:pt>
                <c:pt idx="55432">
                  <c:v>0.98862136614945595</c:v>
                </c:pt>
                <c:pt idx="55433">
                  <c:v>0.98863920099875102</c:v>
                </c:pt>
                <c:pt idx="55434">
                  <c:v>0.98865703584804698</c:v>
                </c:pt>
                <c:pt idx="55435">
                  <c:v>0.98867487069734195</c:v>
                </c:pt>
                <c:pt idx="55436">
                  <c:v>0.98869270554663802</c:v>
                </c:pt>
                <c:pt idx="55437">
                  <c:v>0.98871054039593298</c:v>
                </c:pt>
                <c:pt idx="55438">
                  <c:v>0.98872837524522905</c:v>
                </c:pt>
                <c:pt idx="55439">
                  <c:v>0.98874621009452401</c:v>
                </c:pt>
                <c:pt idx="55440">
                  <c:v>0.98876404494381998</c:v>
                </c:pt>
                <c:pt idx="55441">
                  <c:v>0.98878187979311505</c:v>
                </c:pt>
                <c:pt idx="55442">
                  <c:v>0.98879971464241101</c:v>
                </c:pt>
                <c:pt idx="55443">
                  <c:v>0.98881754949170597</c:v>
                </c:pt>
                <c:pt idx="55444">
                  <c:v>0.98883538434100204</c:v>
                </c:pt>
                <c:pt idx="55445">
                  <c:v>0.98885321919029701</c:v>
                </c:pt>
                <c:pt idx="55446">
                  <c:v>0.98887105403959297</c:v>
                </c:pt>
                <c:pt idx="55447">
                  <c:v>0.98888888888888804</c:v>
                </c:pt>
                <c:pt idx="55448">
                  <c:v>0.988906723738184</c:v>
                </c:pt>
                <c:pt idx="55449">
                  <c:v>0.98892455858747996</c:v>
                </c:pt>
                <c:pt idx="55450">
                  <c:v>0.98894239343677504</c:v>
                </c:pt>
                <c:pt idx="55451">
                  <c:v>0.988960228286071</c:v>
                </c:pt>
                <c:pt idx="55452">
                  <c:v>0.98897806313536596</c:v>
                </c:pt>
                <c:pt idx="55453">
                  <c:v>0.98899589798466203</c:v>
                </c:pt>
                <c:pt idx="55454">
                  <c:v>0.98901373283395699</c:v>
                </c:pt>
                <c:pt idx="55455">
                  <c:v>0.98903156768325295</c:v>
                </c:pt>
                <c:pt idx="55456">
                  <c:v>0.98904940253254803</c:v>
                </c:pt>
                <c:pt idx="55457">
                  <c:v>0.98906723738184399</c:v>
                </c:pt>
                <c:pt idx="55458">
                  <c:v>0.98908507223113895</c:v>
                </c:pt>
                <c:pt idx="55459">
                  <c:v>0.98910290708043502</c:v>
                </c:pt>
                <c:pt idx="55460">
                  <c:v>0.98912074192972999</c:v>
                </c:pt>
                <c:pt idx="55461">
                  <c:v>0.98913857677902595</c:v>
                </c:pt>
                <c:pt idx="55462">
                  <c:v>0.98915641162832102</c:v>
                </c:pt>
                <c:pt idx="55463">
                  <c:v>0.98917424647761698</c:v>
                </c:pt>
                <c:pt idx="55464">
                  <c:v>0.98919208132691205</c:v>
                </c:pt>
                <c:pt idx="55465">
                  <c:v>0.98920991617620802</c:v>
                </c:pt>
                <c:pt idx="55466">
                  <c:v>0.98922775102550298</c:v>
                </c:pt>
                <c:pt idx="55467">
                  <c:v>0.98924558587479905</c:v>
                </c:pt>
                <c:pt idx="55468">
                  <c:v>0.98926342072409401</c:v>
                </c:pt>
                <c:pt idx="55469">
                  <c:v>0.98928125557338997</c:v>
                </c:pt>
                <c:pt idx="55470">
                  <c:v>0.98929909042268505</c:v>
                </c:pt>
                <c:pt idx="55471">
                  <c:v>0.98931692527198101</c:v>
                </c:pt>
                <c:pt idx="55472">
                  <c:v>0.98933476012127697</c:v>
                </c:pt>
                <c:pt idx="55473">
                  <c:v>0.98935259497057204</c:v>
                </c:pt>
                <c:pt idx="55474">
                  <c:v>0.989370429819868</c:v>
                </c:pt>
                <c:pt idx="55475">
                  <c:v>0.98938826466916296</c:v>
                </c:pt>
                <c:pt idx="55476">
                  <c:v>0.98940609951845904</c:v>
                </c:pt>
                <c:pt idx="55477">
                  <c:v>0.989423934367754</c:v>
                </c:pt>
                <c:pt idx="55478">
                  <c:v>0.98944176921704996</c:v>
                </c:pt>
                <c:pt idx="55479">
                  <c:v>0.98945960406634503</c:v>
                </c:pt>
                <c:pt idx="55480">
                  <c:v>0.98947743891564099</c:v>
                </c:pt>
                <c:pt idx="55481">
                  <c:v>0.98949527376493596</c:v>
                </c:pt>
                <c:pt idx="55482">
                  <c:v>0.98951310861423203</c:v>
                </c:pt>
                <c:pt idx="55483">
                  <c:v>0.98953094346352699</c:v>
                </c:pt>
                <c:pt idx="55484">
                  <c:v>0.98954877831282295</c:v>
                </c:pt>
                <c:pt idx="55485">
                  <c:v>0.98956661316211803</c:v>
                </c:pt>
                <c:pt idx="55486">
                  <c:v>0.98958444801141399</c:v>
                </c:pt>
                <c:pt idx="55487">
                  <c:v>0.98960228286070895</c:v>
                </c:pt>
                <c:pt idx="55488">
                  <c:v>0.98962011771000502</c:v>
                </c:pt>
                <c:pt idx="55489">
                  <c:v>0.98963795255929998</c:v>
                </c:pt>
                <c:pt idx="55490">
                  <c:v>0.98965578740859605</c:v>
                </c:pt>
                <c:pt idx="55491">
                  <c:v>0.98967362225789102</c:v>
                </c:pt>
                <c:pt idx="55492">
                  <c:v>0.98969145710718698</c:v>
                </c:pt>
                <c:pt idx="55493">
                  <c:v>0.98970929195648205</c:v>
                </c:pt>
                <c:pt idx="55494">
                  <c:v>0.98972712680577801</c:v>
                </c:pt>
                <c:pt idx="55495">
                  <c:v>0.98974496165507397</c:v>
                </c:pt>
                <c:pt idx="55496">
                  <c:v>0.98976279650436905</c:v>
                </c:pt>
                <c:pt idx="55497">
                  <c:v>0.98978063135366501</c:v>
                </c:pt>
                <c:pt idx="55498">
                  <c:v>0.98979846620295997</c:v>
                </c:pt>
                <c:pt idx="55499">
                  <c:v>0.98981630105225604</c:v>
                </c:pt>
                <c:pt idx="55500">
                  <c:v>0.989834135901551</c:v>
                </c:pt>
                <c:pt idx="55501">
                  <c:v>0.98985197075084697</c:v>
                </c:pt>
                <c:pt idx="55502">
                  <c:v>0.98986980560014204</c:v>
                </c:pt>
                <c:pt idx="55503">
                  <c:v>0.989887640449438</c:v>
                </c:pt>
                <c:pt idx="55504">
                  <c:v>0.98990547529873296</c:v>
                </c:pt>
                <c:pt idx="55505">
                  <c:v>0.98992331014802903</c:v>
                </c:pt>
                <c:pt idx="55506">
                  <c:v>0.989941144997324</c:v>
                </c:pt>
                <c:pt idx="55507">
                  <c:v>0.98995897984661996</c:v>
                </c:pt>
                <c:pt idx="55508">
                  <c:v>0.98997681469591503</c:v>
                </c:pt>
                <c:pt idx="55509">
                  <c:v>0.98999464954521099</c:v>
                </c:pt>
                <c:pt idx="55510">
                  <c:v>0.99001248439450595</c:v>
                </c:pt>
                <c:pt idx="55511">
                  <c:v>0.99003031924380203</c:v>
                </c:pt>
                <c:pt idx="55512">
                  <c:v>0.99004815409309699</c:v>
                </c:pt>
                <c:pt idx="55513">
                  <c:v>0.99006598894239295</c:v>
                </c:pt>
                <c:pt idx="55514">
                  <c:v>0.99008382379168802</c:v>
                </c:pt>
                <c:pt idx="55515">
                  <c:v>0.99010165864098398</c:v>
                </c:pt>
                <c:pt idx="55516">
                  <c:v>0.99011949349027994</c:v>
                </c:pt>
                <c:pt idx="55517">
                  <c:v>0.99013732833957502</c:v>
                </c:pt>
                <c:pt idx="55518">
                  <c:v>0.99015516318887098</c:v>
                </c:pt>
                <c:pt idx="55519">
                  <c:v>0.99017299803816605</c:v>
                </c:pt>
                <c:pt idx="55520">
                  <c:v>0.99019083288746201</c:v>
                </c:pt>
                <c:pt idx="55521">
                  <c:v>0.99020866773675698</c:v>
                </c:pt>
                <c:pt idx="55522">
                  <c:v>0.99022650258605305</c:v>
                </c:pt>
                <c:pt idx="55523">
                  <c:v>0.99024433743534801</c:v>
                </c:pt>
                <c:pt idx="55524">
                  <c:v>0.99026217228464397</c:v>
                </c:pt>
                <c:pt idx="55525">
                  <c:v>0.99028000713393904</c:v>
                </c:pt>
                <c:pt idx="55526">
                  <c:v>0.99029784198323501</c:v>
                </c:pt>
                <c:pt idx="55527">
                  <c:v>0.99031567683252997</c:v>
                </c:pt>
                <c:pt idx="55528">
                  <c:v>0.99033351168182604</c:v>
                </c:pt>
                <c:pt idx="55529">
                  <c:v>0.990351346531121</c:v>
                </c:pt>
                <c:pt idx="55530">
                  <c:v>0.99036918138041696</c:v>
                </c:pt>
                <c:pt idx="55531">
                  <c:v>0.99038701622971204</c:v>
                </c:pt>
                <c:pt idx="55532">
                  <c:v>0.990404851079008</c:v>
                </c:pt>
                <c:pt idx="55533">
                  <c:v>0.99042268592830396</c:v>
                </c:pt>
                <c:pt idx="55534">
                  <c:v>0.99044052077759903</c:v>
                </c:pt>
                <c:pt idx="55535">
                  <c:v>0.99045835562689499</c:v>
                </c:pt>
                <c:pt idx="55536">
                  <c:v>0.99047619047618995</c:v>
                </c:pt>
                <c:pt idx="55537">
                  <c:v>0.99049402532548603</c:v>
                </c:pt>
                <c:pt idx="55538">
                  <c:v>0.99051186017478099</c:v>
                </c:pt>
                <c:pt idx="55539">
                  <c:v>0.99052969502407695</c:v>
                </c:pt>
                <c:pt idx="55540">
                  <c:v>0.99054752987337202</c:v>
                </c:pt>
                <c:pt idx="55541">
                  <c:v>0.99056536472266798</c:v>
                </c:pt>
                <c:pt idx="55542">
                  <c:v>0.99058319957196295</c:v>
                </c:pt>
                <c:pt idx="55543">
                  <c:v>0.99060103442125902</c:v>
                </c:pt>
                <c:pt idx="55544">
                  <c:v>0.99061886927055398</c:v>
                </c:pt>
                <c:pt idx="55545">
                  <c:v>0.99063670411985005</c:v>
                </c:pt>
                <c:pt idx="55546">
                  <c:v>0.99065453896914502</c:v>
                </c:pt>
                <c:pt idx="55547">
                  <c:v>0.99067237381844098</c:v>
                </c:pt>
                <c:pt idx="55548">
                  <c:v>0.99069020866773605</c:v>
                </c:pt>
                <c:pt idx="55549">
                  <c:v>0.99070804351703201</c:v>
                </c:pt>
                <c:pt idx="55550">
                  <c:v>0.99072587836632697</c:v>
                </c:pt>
                <c:pt idx="55551">
                  <c:v>0.99074371321562305</c:v>
                </c:pt>
                <c:pt idx="55552">
                  <c:v>0.99076154806491801</c:v>
                </c:pt>
                <c:pt idx="55553">
                  <c:v>0.99077938291421397</c:v>
                </c:pt>
                <c:pt idx="55554">
                  <c:v>0.99079721776350904</c:v>
                </c:pt>
                <c:pt idx="55555">
                  <c:v>0.990815052612805</c:v>
                </c:pt>
                <c:pt idx="55556">
                  <c:v>0.99083288746210096</c:v>
                </c:pt>
                <c:pt idx="55557">
                  <c:v>0.99085072231139604</c:v>
                </c:pt>
                <c:pt idx="55558">
                  <c:v>0.990868557160692</c:v>
                </c:pt>
                <c:pt idx="55559">
                  <c:v>0.99088639200998696</c:v>
                </c:pt>
                <c:pt idx="55560">
                  <c:v>0.99090422685928303</c:v>
                </c:pt>
                <c:pt idx="55561">
                  <c:v>0.99092206170857799</c:v>
                </c:pt>
                <c:pt idx="55562">
                  <c:v>0.99093989655787396</c:v>
                </c:pt>
                <c:pt idx="55563">
                  <c:v>0.99095773140716903</c:v>
                </c:pt>
                <c:pt idx="55564">
                  <c:v>0.99097556625646499</c:v>
                </c:pt>
                <c:pt idx="55565">
                  <c:v>0.99099340110575995</c:v>
                </c:pt>
                <c:pt idx="55566">
                  <c:v>0.99101123595505602</c:v>
                </c:pt>
                <c:pt idx="55567">
                  <c:v>0.99102907080435099</c:v>
                </c:pt>
                <c:pt idx="55568">
                  <c:v>0.99104690565364695</c:v>
                </c:pt>
                <c:pt idx="55569">
                  <c:v>0.99106474050294202</c:v>
                </c:pt>
                <c:pt idx="55570">
                  <c:v>0.99108257535223798</c:v>
                </c:pt>
                <c:pt idx="55571">
                  <c:v>0.99110041020153306</c:v>
                </c:pt>
                <c:pt idx="55572">
                  <c:v>0.99111824505082902</c:v>
                </c:pt>
                <c:pt idx="55573">
                  <c:v>0.99113607990012398</c:v>
                </c:pt>
                <c:pt idx="55574">
                  <c:v>0.99115391474942005</c:v>
                </c:pt>
                <c:pt idx="55575">
                  <c:v>0.99117174959871501</c:v>
                </c:pt>
                <c:pt idx="55576">
                  <c:v>0.99118958444801097</c:v>
                </c:pt>
                <c:pt idx="55577">
                  <c:v>0.99120741929730605</c:v>
                </c:pt>
                <c:pt idx="55578">
                  <c:v>0.99122525414660201</c:v>
                </c:pt>
                <c:pt idx="55579">
                  <c:v>0.99124308899589797</c:v>
                </c:pt>
                <c:pt idx="55580">
                  <c:v>0.99126092384519304</c:v>
                </c:pt>
                <c:pt idx="55581">
                  <c:v>0.991278758694489</c:v>
                </c:pt>
                <c:pt idx="55582">
                  <c:v>0.99129659354378397</c:v>
                </c:pt>
                <c:pt idx="55583">
                  <c:v>0.99131442839308004</c:v>
                </c:pt>
                <c:pt idx="55584">
                  <c:v>0.991332263242375</c:v>
                </c:pt>
                <c:pt idx="55585">
                  <c:v>0.99135009809167096</c:v>
                </c:pt>
                <c:pt idx="55586">
                  <c:v>0.99136793294096603</c:v>
                </c:pt>
                <c:pt idx="55587">
                  <c:v>0.991385767790262</c:v>
                </c:pt>
                <c:pt idx="55588">
                  <c:v>0.99140360263955696</c:v>
                </c:pt>
                <c:pt idx="55589">
                  <c:v>0.99142143748885303</c:v>
                </c:pt>
                <c:pt idx="55590">
                  <c:v>0.99143927233814799</c:v>
                </c:pt>
                <c:pt idx="55591">
                  <c:v>0.99145710718744395</c:v>
                </c:pt>
                <c:pt idx="55592">
                  <c:v>0.99147494203673903</c:v>
                </c:pt>
                <c:pt idx="55593">
                  <c:v>0.99149277688603499</c:v>
                </c:pt>
                <c:pt idx="55594">
                  <c:v>0.99151061173532995</c:v>
                </c:pt>
                <c:pt idx="55595">
                  <c:v>0.99152844658462602</c:v>
                </c:pt>
                <c:pt idx="55596">
                  <c:v>0.99154628143392098</c:v>
                </c:pt>
                <c:pt idx="55597">
                  <c:v>0.99156411628321695</c:v>
                </c:pt>
                <c:pt idx="55598">
                  <c:v>0.99158195113251202</c:v>
                </c:pt>
                <c:pt idx="55599">
                  <c:v>0.99159978598180798</c:v>
                </c:pt>
                <c:pt idx="55600">
                  <c:v>0.99161762083110305</c:v>
                </c:pt>
                <c:pt idx="55601">
                  <c:v>0.99163545568039901</c:v>
                </c:pt>
                <c:pt idx="55602">
                  <c:v>0.99165329052969498</c:v>
                </c:pt>
                <c:pt idx="55603">
                  <c:v>0.99167112537899005</c:v>
                </c:pt>
                <c:pt idx="55604">
                  <c:v>0.99168896022828601</c:v>
                </c:pt>
                <c:pt idx="55605">
                  <c:v>0.99170679507758097</c:v>
                </c:pt>
                <c:pt idx="55606">
                  <c:v>0.99172462992687704</c:v>
                </c:pt>
                <c:pt idx="55607">
                  <c:v>0.99174246477617201</c:v>
                </c:pt>
                <c:pt idx="55608">
                  <c:v>0.99176029962546797</c:v>
                </c:pt>
                <c:pt idx="55609">
                  <c:v>0.99177813447476304</c:v>
                </c:pt>
                <c:pt idx="55610">
                  <c:v>0.991795969324059</c:v>
                </c:pt>
                <c:pt idx="55611">
                  <c:v>0.99181380417335396</c:v>
                </c:pt>
                <c:pt idx="55612">
                  <c:v>0.99183163902265004</c:v>
                </c:pt>
                <c:pt idx="55613">
                  <c:v>0.991849473871945</c:v>
                </c:pt>
                <c:pt idx="55614">
                  <c:v>0.99186730872124096</c:v>
                </c:pt>
                <c:pt idx="55615">
                  <c:v>0.99188514357053603</c:v>
                </c:pt>
                <c:pt idx="55616">
                  <c:v>0.99190297841983199</c:v>
                </c:pt>
                <c:pt idx="55617">
                  <c:v>0.99192081326912696</c:v>
                </c:pt>
                <c:pt idx="55618">
                  <c:v>0.99193864811842303</c:v>
                </c:pt>
                <c:pt idx="55619">
                  <c:v>0.99195648296771799</c:v>
                </c:pt>
                <c:pt idx="55620">
                  <c:v>0.99197431781701395</c:v>
                </c:pt>
                <c:pt idx="55621">
                  <c:v>0.99199215266631002</c:v>
                </c:pt>
                <c:pt idx="55622">
                  <c:v>0.99200998751560499</c:v>
                </c:pt>
                <c:pt idx="55623">
                  <c:v>0.99202782236490095</c:v>
                </c:pt>
                <c:pt idx="55624">
                  <c:v>0.99204565721419602</c:v>
                </c:pt>
                <c:pt idx="55625">
                  <c:v>0.99206349206349198</c:v>
                </c:pt>
                <c:pt idx="55626">
                  <c:v>0.99208132691278705</c:v>
                </c:pt>
                <c:pt idx="55627">
                  <c:v>0.99209916176208301</c:v>
                </c:pt>
                <c:pt idx="55628">
                  <c:v>0.99211699661137798</c:v>
                </c:pt>
                <c:pt idx="55629">
                  <c:v>0.99213483146067405</c:v>
                </c:pt>
                <c:pt idx="55630">
                  <c:v>0.99215266630996901</c:v>
                </c:pt>
                <c:pt idx="55631">
                  <c:v>0.99217050115926497</c:v>
                </c:pt>
                <c:pt idx="55632">
                  <c:v>0.99218833600856005</c:v>
                </c:pt>
                <c:pt idx="55633">
                  <c:v>0.99220617085785601</c:v>
                </c:pt>
                <c:pt idx="55634">
                  <c:v>0.99222400570715097</c:v>
                </c:pt>
                <c:pt idx="55635">
                  <c:v>0.99224184055644704</c:v>
                </c:pt>
                <c:pt idx="55636">
                  <c:v>0.992259675405742</c:v>
                </c:pt>
                <c:pt idx="55637">
                  <c:v>0.99227751025503796</c:v>
                </c:pt>
                <c:pt idx="55638">
                  <c:v>0.99229534510433304</c:v>
                </c:pt>
                <c:pt idx="55639">
                  <c:v>0.992313179953629</c:v>
                </c:pt>
                <c:pt idx="55640">
                  <c:v>0.99233101480292496</c:v>
                </c:pt>
                <c:pt idx="55641">
                  <c:v>0.99234884965222003</c:v>
                </c:pt>
                <c:pt idx="55642">
                  <c:v>0.99236668450151599</c:v>
                </c:pt>
                <c:pt idx="55643">
                  <c:v>0.99238451935081096</c:v>
                </c:pt>
                <c:pt idx="55644">
                  <c:v>0.99240235420010703</c:v>
                </c:pt>
                <c:pt idx="55645">
                  <c:v>0.99242018904940199</c:v>
                </c:pt>
                <c:pt idx="55646">
                  <c:v>0.99243802389869795</c:v>
                </c:pt>
                <c:pt idx="55647">
                  <c:v>0.99245585874799302</c:v>
                </c:pt>
                <c:pt idx="55648">
                  <c:v>0.99247369359728899</c:v>
                </c:pt>
                <c:pt idx="55649">
                  <c:v>0.99249152844658395</c:v>
                </c:pt>
                <c:pt idx="55650">
                  <c:v>0.99250936329588002</c:v>
                </c:pt>
                <c:pt idx="55651">
                  <c:v>0.99252719814517498</c:v>
                </c:pt>
                <c:pt idx="55652">
                  <c:v>0.99254503299447105</c:v>
                </c:pt>
                <c:pt idx="55653">
                  <c:v>0.99256286784376602</c:v>
                </c:pt>
                <c:pt idx="55654">
                  <c:v>0.99258070269306198</c:v>
                </c:pt>
                <c:pt idx="55655">
                  <c:v>0.99259853754235705</c:v>
                </c:pt>
                <c:pt idx="55656">
                  <c:v>0.99261637239165301</c:v>
                </c:pt>
                <c:pt idx="55657">
                  <c:v>0.99263420724094797</c:v>
                </c:pt>
                <c:pt idx="55658">
                  <c:v>0.99265204209024405</c:v>
                </c:pt>
                <c:pt idx="55659">
                  <c:v>0.99266987693953901</c:v>
                </c:pt>
                <c:pt idx="55660">
                  <c:v>0.99268771178883497</c:v>
                </c:pt>
                <c:pt idx="55661">
                  <c:v>0.99270554663813004</c:v>
                </c:pt>
                <c:pt idx="55662">
                  <c:v>0.992723381487426</c:v>
                </c:pt>
                <c:pt idx="55663">
                  <c:v>0.99274121633672197</c:v>
                </c:pt>
                <c:pt idx="55664">
                  <c:v>0.99275905118601704</c:v>
                </c:pt>
                <c:pt idx="55665">
                  <c:v>0.992776886035313</c:v>
                </c:pt>
                <c:pt idx="55666">
                  <c:v>0.99279472088460796</c:v>
                </c:pt>
                <c:pt idx="55667">
                  <c:v>0.99281255573390403</c:v>
                </c:pt>
                <c:pt idx="55668">
                  <c:v>0.992830390583199</c:v>
                </c:pt>
                <c:pt idx="55669">
                  <c:v>0.99284822543249496</c:v>
                </c:pt>
                <c:pt idx="55670">
                  <c:v>0.99286606028179003</c:v>
                </c:pt>
                <c:pt idx="55671">
                  <c:v>0.99288389513108599</c:v>
                </c:pt>
                <c:pt idx="55672">
                  <c:v>0.99290172998038095</c:v>
                </c:pt>
                <c:pt idx="55673">
                  <c:v>0.99291956482967703</c:v>
                </c:pt>
                <c:pt idx="55674">
                  <c:v>0.99293739967897199</c:v>
                </c:pt>
                <c:pt idx="55675">
                  <c:v>0.99295523452826795</c:v>
                </c:pt>
                <c:pt idx="55676">
                  <c:v>0.99297306937756302</c:v>
                </c:pt>
                <c:pt idx="55677">
                  <c:v>0.99299090422685898</c:v>
                </c:pt>
                <c:pt idx="55678">
                  <c:v>0.99300873907615395</c:v>
                </c:pt>
                <c:pt idx="55679">
                  <c:v>0.99302657392545002</c:v>
                </c:pt>
                <c:pt idx="55680">
                  <c:v>0.99304440877474498</c:v>
                </c:pt>
                <c:pt idx="55681">
                  <c:v>0.99306224362404105</c:v>
                </c:pt>
                <c:pt idx="55682">
                  <c:v>0.99308007847333601</c:v>
                </c:pt>
                <c:pt idx="55683">
                  <c:v>0.99309791332263198</c:v>
                </c:pt>
                <c:pt idx="55684">
                  <c:v>0.99311574817192705</c:v>
                </c:pt>
                <c:pt idx="55685">
                  <c:v>0.99313358302122301</c:v>
                </c:pt>
                <c:pt idx="55686">
                  <c:v>0.99315141787051897</c:v>
                </c:pt>
                <c:pt idx="55687">
                  <c:v>0.99316925271981404</c:v>
                </c:pt>
                <c:pt idx="55688">
                  <c:v>0.99318708756911001</c:v>
                </c:pt>
                <c:pt idx="55689">
                  <c:v>0.99320492241840497</c:v>
                </c:pt>
                <c:pt idx="55690">
                  <c:v>0.99322275726770104</c:v>
                </c:pt>
                <c:pt idx="55691">
                  <c:v>0.993240592116996</c:v>
                </c:pt>
                <c:pt idx="55692">
                  <c:v>0.99325842696629196</c:v>
                </c:pt>
                <c:pt idx="55693">
                  <c:v>0.99327626181558704</c:v>
                </c:pt>
                <c:pt idx="55694">
                  <c:v>0.993294096664883</c:v>
                </c:pt>
                <c:pt idx="55695">
                  <c:v>0.99331193151417796</c:v>
                </c:pt>
                <c:pt idx="55696">
                  <c:v>0.99332976636347403</c:v>
                </c:pt>
                <c:pt idx="55697">
                  <c:v>0.99334760121276899</c:v>
                </c:pt>
                <c:pt idx="55698">
                  <c:v>0.99336543606206495</c:v>
                </c:pt>
                <c:pt idx="55699">
                  <c:v>0.99338327091136003</c:v>
                </c:pt>
                <c:pt idx="55700">
                  <c:v>0.99340110576065599</c:v>
                </c:pt>
                <c:pt idx="55701">
                  <c:v>0.99341894060995095</c:v>
                </c:pt>
                <c:pt idx="55702">
                  <c:v>0.99343677545924702</c:v>
                </c:pt>
                <c:pt idx="55703">
                  <c:v>0.99345461030854199</c:v>
                </c:pt>
                <c:pt idx="55704">
                  <c:v>0.99347244515783795</c:v>
                </c:pt>
                <c:pt idx="55705">
                  <c:v>0.99349028000713302</c:v>
                </c:pt>
                <c:pt idx="55706">
                  <c:v>0.99350811485642898</c:v>
                </c:pt>
                <c:pt idx="55707">
                  <c:v>0.99352594970572405</c:v>
                </c:pt>
                <c:pt idx="55708">
                  <c:v>0.99354378455502002</c:v>
                </c:pt>
                <c:pt idx="55709">
                  <c:v>0.99356161940431598</c:v>
                </c:pt>
                <c:pt idx="55710">
                  <c:v>0.99357945425361105</c:v>
                </c:pt>
                <c:pt idx="55711">
                  <c:v>0.99359728910290701</c:v>
                </c:pt>
                <c:pt idx="55712">
                  <c:v>0.99361512395220197</c:v>
                </c:pt>
                <c:pt idx="55713">
                  <c:v>0.99363295880149805</c:v>
                </c:pt>
                <c:pt idx="55714">
                  <c:v>0.99365079365079301</c:v>
                </c:pt>
                <c:pt idx="55715">
                  <c:v>0.99366862850008897</c:v>
                </c:pt>
                <c:pt idx="55716">
                  <c:v>0.99368646334938404</c:v>
                </c:pt>
                <c:pt idx="55717">
                  <c:v>0.99370429819868</c:v>
                </c:pt>
                <c:pt idx="55718">
                  <c:v>0.99372213304797496</c:v>
                </c:pt>
                <c:pt idx="55719">
                  <c:v>0.99373996789727104</c:v>
                </c:pt>
                <c:pt idx="55720">
                  <c:v>0.993757802746566</c:v>
                </c:pt>
                <c:pt idx="55721">
                  <c:v>0.99377563759586196</c:v>
                </c:pt>
                <c:pt idx="55722">
                  <c:v>0.99379347244515703</c:v>
                </c:pt>
                <c:pt idx="55723">
                  <c:v>0.99381130729445299</c:v>
                </c:pt>
                <c:pt idx="55724">
                  <c:v>0.99382914214374796</c:v>
                </c:pt>
                <c:pt idx="55725">
                  <c:v>0.99384697699304403</c:v>
                </c:pt>
                <c:pt idx="55726">
                  <c:v>0.99386481184233899</c:v>
                </c:pt>
                <c:pt idx="55727">
                  <c:v>0.99388264669163495</c:v>
                </c:pt>
                <c:pt idx="55728">
                  <c:v>0.99390048154093102</c:v>
                </c:pt>
                <c:pt idx="55729">
                  <c:v>0.99391831639022599</c:v>
                </c:pt>
                <c:pt idx="55730">
                  <c:v>0.99393615123952195</c:v>
                </c:pt>
                <c:pt idx="55731">
                  <c:v>0.99395398608881702</c:v>
                </c:pt>
                <c:pt idx="55732">
                  <c:v>0.99397182093811298</c:v>
                </c:pt>
                <c:pt idx="55733">
                  <c:v>0.99398965578740806</c:v>
                </c:pt>
                <c:pt idx="55734">
                  <c:v>0.99400749063670402</c:v>
                </c:pt>
                <c:pt idx="55735">
                  <c:v>0.99402532548599898</c:v>
                </c:pt>
                <c:pt idx="55736">
                  <c:v>0.99404316033529505</c:v>
                </c:pt>
                <c:pt idx="55737">
                  <c:v>0.99406099518459001</c:v>
                </c:pt>
                <c:pt idx="55738">
                  <c:v>0.99407883003388597</c:v>
                </c:pt>
                <c:pt idx="55739">
                  <c:v>0.99409666488318105</c:v>
                </c:pt>
                <c:pt idx="55740">
                  <c:v>0.99411449973247701</c:v>
                </c:pt>
                <c:pt idx="55741">
                  <c:v>0.99413233458177197</c:v>
                </c:pt>
                <c:pt idx="55742">
                  <c:v>0.99415016943106804</c:v>
                </c:pt>
                <c:pt idx="55743">
                  <c:v>0.994168004280363</c:v>
                </c:pt>
                <c:pt idx="55744">
                  <c:v>0.99418583912965897</c:v>
                </c:pt>
                <c:pt idx="55745">
                  <c:v>0.99420367397895404</c:v>
                </c:pt>
                <c:pt idx="55746">
                  <c:v>0.99422150882825</c:v>
                </c:pt>
                <c:pt idx="55747">
                  <c:v>0.99423934367754596</c:v>
                </c:pt>
                <c:pt idx="55748">
                  <c:v>0.99425717852684103</c:v>
                </c:pt>
                <c:pt idx="55749">
                  <c:v>0.994275013376137</c:v>
                </c:pt>
                <c:pt idx="55750">
                  <c:v>0.99429284822543196</c:v>
                </c:pt>
                <c:pt idx="55751">
                  <c:v>0.99431068307472803</c:v>
                </c:pt>
                <c:pt idx="55752">
                  <c:v>0.99432851792402299</c:v>
                </c:pt>
                <c:pt idx="55753">
                  <c:v>0.99434635277331895</c:v>
                </c:pt>
                <c:pt idx="55754">
                  <c:v>0.99436418762261403</c:v>
                </c:pt>
                <c:pt idx="55755">
                  <c:v>0.99438202247190999</c:v>
                </c:pt>
                <c:pt idx="55756">
                  <c:v>0.99439985732120495</c:v>
                </c:pt>
                <c:pt idx="55757">
                  <c:v>0.99441769217050102</c:v>
                </c:pt>
                <c:pt idx="55758">
                  <c:v>0.99443552701979598</c:v>
                </c:pt>
                <c:pt idx="55759">
                  <c:v>0.99445336186909195</c:v>
                </c:pt>
                <c:pt idx="55760">
                  <c:v>0.99447119671838702</c:v>
                </c:pt>
                <c:pt idx="55761">
                  <c:v>0.99448903156768298</c:v>
                </c:pt>
                <c:pt idx="55762">
                  <c:v>0.99450686641697805</c:v>
                </c:pt>
                <c:pt idx="55763">
                  <c:v>0.99452470126627401</c:v>
                </c:pt>
                <c:pt idx="55764">
                  <c:v>0.99454253611556898</c:v>
                </c:pt>
                <c:pt idx="55765">
                  <c:v>0.99456037096486505</c:v>
                </c:pt>
                <c:pt idx="55766">
                  <c:v>0.99457820581416001</c:v>
                </c:pt>
                <c:pt idx="55767">
                  <c:v>0.99459604066345597</c:v>
                </c:pt>
                <c:pt idx="55768">
                  <c:v>0.99461387551275104</c:v>
                </c:pt>
                <c:pt idx="55769">
                  <c:v>0.99463171036204701</c:v>
                </c:pt>
                <c:pt idx="55770">
                  <c:v>0.99464954521134297</c:v>
                </c:pt>
                <c:pt idx="55771">
                  <c:v>0.99466738006063804</c:v>
                </c:pt>
                <c:pt idx="55772">
                  <c:v>0.994685214909934</c:v>
                </c:pt>
                <c:pt idx="55773">
                  <c:v>0.99470304975922896</c:v>
                </c:pt>
                <c:pt idx="55774">
                  <c:v>0.99472088460852504</c:v>
                </c:pt>
                <c:pt idx="55775">
                  <c:v>0.99473871945782</c:v>
                </c:pt>
                <c:pt idx="55776">
                  <c:v>0.99475655430711596</c:v>
                </c:pt>
                <c:pt idx="55777">
                  <c:v>0.99477438915641103</c:v>
                </c:pt>
                <c:pt idx="55778">
                  <c:v>0.99479222400570699</c:v>
                </c:pt>
                <c:pt idx="55779">
                  <c:v>0.99481005885500196</c:v>
                </c:pt>
                <c:pt idx="55780">
                  <c:v>0.99482789370429803</c:v>
                </c:pt>
                <c:pt idx="55781">
                  <c:v>0.99484572855359299</c:v>
                </c:pt>
                <c:pt idx="55782">
                  <c:v>0.99486356340288895</c:v>
                </c:pt>
                <c:pt idx="55783">
                  <c:v>0.99488139825218402</c:v>
                </c:pt>
                <c:pt idx="55784">
                  <c:v>0.99489923310147999</c:v>
                </c:pt>
                <c:pt idx="55785">
                  <c:v>0.99491706795077495</c:v>
                </c:pt>
                <c:pt idx="55786">
                  <c:v>0.99493490280007102</c:v>
                </c:pt>
                <c:pt idx="55787">
                  <c:v>0.99495273764936598</c:v>
                </c:pt>
                <c:pt idx="55788">
                  <c:v>0.99497057249866205</c:v>
                </c:pt>
                <c:pt idx="55789">
                  <c:v>0.99498840734795702</c:v>
                </c:pt>
                <c:pt idx="55790">
                  <c:v>0.99500624219725298</c:v>
                </c:pt>
                <c:pt idx="55791">
                  <c:v>0.99502407704654805</c:v>
                </c:pt>
                <c:pt idx="55792">
                  <c:v>0.99504191189584401</c:v>
                </c:pt>
                <c:pt idx="55793">
                  <c:v>0.99505974674513997</c:v>
                </c:pt>
                <c:pt idx="55794">
                  <c:v>0.99507758159443505</c:v>
                </c:pt>
                <c:pt idx="55795">
                  <c:v>0.99509541644373101</c:v>
                </c:pt>
                <c:pt idx="55796">
                  <c:v>0.99511325129302597</c:v>
                </c:pt>
                <c:pt idx="55797">
                  <c:v>0.99513108614232204</c:v>
                </c:pt>
                <c:pt idx="55798">
                  <c:v>0.995148920991617</c:v>
                </c:pt>
                <c:pt idx="55799">
                  <c:v>0.99516675584091296</c:v>
                </c:pt>
                <c:pt idx="55800">
                  <c:v>0.99518459069020804</c:v>
                </c:pt>
                <c:pt idx="55801">
                  <c:v>0.995202425539504</c:v>
                </c:pt>
                <c:pt idx="55802">
                  <c:v>0.99522026038879896</c:v>
                </c:pt>
                <c:pt idx="55803">
                  <c:v>0.99523809523809503</c:v>
                </c:pt>
                <c:pt idx="55804">
                  <c:v>0.99525593008739</c:v>
                </c:pt>
                <c:pt idx="55805">
                  <c:v>0.99527376493668596</c:v>
                </c:pt>
                <c:pt idx="55806">
                  <c:v>0.99529159978598103</c:v>
                </c:pt>
                <c:pt idx="55807">
                  <c:v>0.99530943463527699</c:v>
                </c:pt>
                <c:pt idx="55808">
                  <c:v>0.99532726948457195</c:v>
                </c:pt>
                <c:pt idx="55809">
                  <c:v>0.99534510433386802</c:v>
                </c:pt>
                <c:pt idx="55810">
                  <c:v>0.99536293918316299</c:v>
                </c:pt>
                <c:pt idx="55811">
                  <c:v>0.99538077403245895</c:v>
                </c:pt>
                <c:pt idx="55812">
                  <c:v>0.99539860888175402</c:v>
                </c:pt>
                <c:pt idx="55813">
                  <c:v>0.99541644373104998</c:v>
                </c:pt>
                <c:pt idx="55814">
                  <c:v>0.99543427858034494</c:v>
                </c:pt>
                <c:pt idx="55815">
                  <c:v>0.99545211342964102</c:v>
                </c:pt>
                <c:pt idx="55816">
                  <c:v>0.99546994827893698</c:v>
                </c:pt>
                <c:pt idx="55817">
                  <c:v>0.99548778312823205</c:v>
                </c:pt>
                <c:pt idx="55818">
                  <c:v>0.99550561797752801</c:v>
                </c:pt>
                <c:pt idx="55819">
                  <c:v>0.99552345282682297</c:v>
                </c:pt>
                <c:pt idx="55820">
                  <c:v>0.99554128767611905</c:v>
                </c:pt>
                <c:pt idx="55821">
                  <c:v>0.99555912252541401</c:v>
                </c:pt>
                <c:pt idx="55822">
                  <c:v>0.99557695737470997</c:v>
                </c:pt>
                <c:pt idx="55823">
                  <c:v>0.99559479222400504</c:v>
                </c:pt>
                <c:pt idx="55824">
                  <c:v>0.995612627073301</c:v>
                </c:pt>
                <c:pt idx="55825">
                  <c:v>0.99563046192259597</c:v>
                </c:pt>
                <c:pt idx="55826">
                  <c:v>0.99564829677189204</c:v>
                </c:pt>
                <c:pt idx="55827">
                  <c:v>0.995666131621187</c:v>
                </c:pt>
                <c:pt idx="55828">
                  <c:v>0.99568396647048296</c:v>
                </c:pt>
                <c:pt idx="55829">
                  <c:v>0.99570180131977803</c:v>
                </c:pt>
                <c:pt idx="55830">
                  <c:v>0.995719636169074</c:v>
                </c:pt>
                <c:pt idx="55831">
                  <c:v>0.99573747101836896</c:v>
                </c:pt>
                <c:pt idx="55832">
                  <c:v>0.99575530586766503</c:v>
                </c:pt>
                <c:pt idx="55833">
                  <c:v>0.99577314071696099</c:v>
                </c:pt>
                <c:pt idx="55834">
                  <c:v>0.99579097556625595</c:v>
                </c:pt>
                <c:pt idx="55835">
                  <c:v>0.99580881041555203</c:v>
                </c:pt>
                <c:pt idx="55836">
                  <c:v>0.99582664526484699</c:v>
                </c:pt>
                <c:pt idx="55837">
                  <c:v>0.99584448011414295</c:v>
                </c:pt>
                <c:pt idx="55838">
                  <c:v>0.99586231496343802</c:v>
                </c:pt>
                <c:pt idx="55839">
                  <c:v>0.99588014981273398</c:v>
                </c:pt>
                <c:pt idx="55840">
                  <c:v>0.99589798466202895</c:v>
                </c:pt>
                <c:pt idx="55841">
                  <c:v>0.99591581951132502</c:v>
                </c:pt>
                <c:pt idx="55842">
                  <c:v>0.99593365436061998</c:v>
                </c:pt>
                <c:pt idx="55843">
                  <c:v>0.99595148920991605</c:v>
                </c:pt>
                <c:pt idx="55844">
                  <c:v>0.99596932405921101</c:v>
                </c:pt>
                <c:pt idx="55845">
                  <c:v>0.99598715890850698</c:v>
                </c:pt>
                <c:pt idx="55846">
                  <c:v>0.99600499375780205</c:v>
                </c:pt>
                <c:pt idx="55847">
                  <c:v>0.99602282860709801</c:v>
                </c:pt>
                <c:pt idx="55848">
                  <c:v>0.99604066345639297</c:v>
                </c:pt>
                <c:pt idx="55849">
                  <c:v>0.99605849830568904</c:v>
                </c:pt>
                <c:pt idx="55850">
                  <c:v>0.99607633315498401</c:v>
                </c:pt>
                <c:pt idx="55851">
                  <c:v>0.99609416800427997</c:v>
                </c:pt>
                <c:pt idx="55852">
                  <c:v>0.99611200285357504</c:v>
                </c:pt>
                <c:pt idx="55853">
                  <c:v>0.996129837702871</c:v>
                </c:pt>
                <c:pt idx="55854">
                  <c:v>0.99614767255216696</c:v>
                </c:pt>
                <c:pt idx="55855">
                  <c:v>0.99616550740146204</c:v>
                </c:pt>
                <c:pt idx="55856">
                  <c:v>0.996183342250758</c:v>
                </c:pt>
                <c:pt idx="55857">
                  <c:v>0.99620117710005296</c:v>
                </c:pt>
                <c:pt idx="55858">
                  <c:v>0.99621901194934903</c:v>
                </c:pt>
                <c:pt idx="55859">
                  <c:v>0.99623684679864399</c:v>
                </c:pt>
                <c:pt idx="55860">
                  <c:v>0.99625468164793995</c:v>
                </c:pt>
                <c:pt idx="55861">
                  <c:v>0.99627251649723503</c:v>
                </c:pt>
                <c:pt idx="55862">
                  <c:v>0.99629035134653099</c:v>
                </c:pt>
                <c:pt idx="55863">
                  <c:v>0.99630818619582595</c:v>
                </c:pt>
                <c:pt idx="55864">
                  <c:v>0.99632602104512202</c:v>
                </c:pt>
                <c:pt idx="55865">
                  <c:v>0.99634385589441699</c:v>
                </c:pt>
                <c:pt idx="55866">
                  <c:v>0.99636169074371295</c:v>
                </c:pt>
                <c:pt idx="55867">
                  <c:v>0.99637952559300802</c:v>
                </c:pt>
                <c:pt idx="55868">
                  <c:v>0.99639736044230398</c:v>
                </c:pt>
                <c:pt idx="55869">
                  <c:v>0.99641519529159905</c:v>
                </c:pt>
                <c:pt idx="55870">
                  <c:v>0.99643303014089502</c:v>
                </c:pt>
                <c:pt idx="55871">
                  <c:v>0.99645086499018998</c:v>
                </c:pt>
                <c:pt idx="55872">
                  <c:v>0.99646869983948605</c:v>
                </c:pt>
                <c:pt idx="55873">
                  <c:v>0.99648653468878101</c:v>
                </c:pt>
                <c:pt idx="55874">
                  <c:v>0.99650436953807697</c:v>
                </c:pt>
                <c:pt idx="55875">
                  <c:v>0.99652220438737205</c:v>
                </c:pt>
                <c:pt idx="55876">
                  <c:v>0.99654003923666801</c:v>
                </c:pt>
                <c:pt idx="55877">
                  <c:v>0.99655787408596397</c:v>
                </c:pt>
                <c:pt idx="55878">
                  <c:v>0.99657570893525904</c:v>
                </c:pt>
                <c:pt idx="55879">
                  <c:v>0.996593543784555</c:v>
                </c:pt>
                <c:pt idx="55880">
                  <c:v>0.99661137863384996</c:v>
                </c:pt>
                <c:pt idx="55881">
                  <c:v>0.99662921348314604</c:v>
                </c:pt>
                <c:pt idx="55882">
                  <c:v>0.996647048332441</c:v>
                </c:pt>
                <c:pt idx="55883">
                  <c:v>0.99666488318173696</c:v>
                </c:pt>
                <c:pt idx="55884">
                  <c:v>0.99668271803103203</c:v>
                </c:pt>
                <c:pt idx="55885">
                  <c:v>0.99670055288032799</c:v>
                </c:pt>
                <c:pt idx="55886">
                  <c:v>0.99671838772962296</c:v>
                </c:pt>
                <c:pt idx="55887">
                  <c:v>0.99673622257891903</c:v>
                </c:pt>
                <c:pt idx="55888">
                  <c:v>0.99675405742821399</c:v>
                </c:pt>
                <c:pt idx="55889">
                  <c:v>0.99677189227750995</c:v>
                </c:pt>
                <c:pt idx="55890">
                  <c:v>0.99678972712680503</c:v>
                </c:pt>
                <c:pt idx="55891">
                  <c:v>0.99680756197610099</c:v>
                </c:pt>
                <c:pt idx="55892">
                  <c:v>0.99682539682539595</c:v>
                </c:pt>
                <c:pt idx="55893">
                  <c:v>0.99684323167469202</c:v>
                </c:pt>
                <c:pt idx="55894">
                  <c:v>0.99686106652398698</c:v>
                </c:pt>
                <c:pt idx="55895">
                  <c:v>0.99687890137328306</c:v>
                </c:pt>
                <c:pt idx="55896">
                  <c:v>0.99689673622257802</c:v>
                </c:pt>
                <c:pt idx="55897">
                  <c:v>0.99691457107187398</c:v>
                </c:pt>
                <c:pt idx="55898">
                  <c:v>0.99693240592116905</c:v>
                </c:pt>
                <c:pt idx="55899">
                  <c:v>0.99695024077046501</c:v>
                </c:pt>
                <c:pt idx="55900">
                  <c:v>0.99696807561976097</c:v>
                </c:pt>
                <c:pt idx="55901">
                  <c:v>0.99698591046905605</c:v>
                </c:pt>
                <c:pt idx="55902">
                  <c:v>0.99700374531835201</c:v>
                </c:pt>
                <c:pt idx="55903">
                  <c:v>0.99702158016764697</c:v>
                </c:pt>
                <c:pt idx="55904">
                  <c:v>0.99703941501694304</c:v>
                </c:pt>
                <c:pt idx="55905">
                  <c:v>0.997057249866238</c:v>
                </c:pt>
                <c:pt idx="55906">
                  <c:v>0.99707508471553397</c:v>
                </c:pt>
                <c:pt idx="55907">
                  <c:v>0.99709291956482904</c:v>
                </c:pt>
                <c:pt idx="55908">
                  <c:v>0.997110754414125</c:v>
                </c:pt>
                <c:pt idx="55909">
                  <c:v>0.99712858926341996</c:v>
                </c:pt>
                <c:pt idx="55910">
                  <c:v>0.99714642411271603</c:v>
                </c:pt>
                <c:pt idx="55911">
                  <c:v>0.997164258962011</c:v>
                </c:pt>
                <c:pt idx="55912">
                  <c:v>0.99718209381130696</c:v>
                </c:pt>
                <c:pt idx="55913">
                  <c:v>0.99719992866060203</c:v>
                </c:pt>
                <c:pt idx="55914">
                  <c:v>0.99721776350989799</c:v>
                </c:pt>
                <c:pt idx="55915">
                  <c:v>0.99723559835919295</c:v>
                </c:pt>
                <c:pt idx="55916">
                  <c:v>0.99725343320848903</c:v>
                </c:pt>
                <c:pt idx="55917">
                  <c:v>0.99727126805778399</c:v>
                </c:pt>
                <c:pt idx="55918">
                  <c:v>0.99728910290707995</c:v>
                </c:pt>
                <c:pt idx="55919">
                  <c:v>0.99730693775637502</c:v>
                </c:pt>
                <c:pt idx="55920">
                  <c:v>0.99732477260567098</c:v>
                </c:pt>
                <c:pt idx="55921">
                  <c:v>0.99734260745496695</c:v>
                </c:pt>
                <c:pt idx="55922">
                  <c:v>0.99736044230426202</c:v>
                </c:pt>
                <c:pt idx="55923">
                  <c:v>0.99737827715355798</c:v>
                </c:pt>
                <c:pt idx="55924">
                  <c:v>0.99739611200285305</c:v>
                </c:pt>
                <c:pt idx="55925">
                  <c:v>0.99741394685214901</c:v>
                </c:pt>
                <c:pt idx="55926">
                  <c:v>0.99743178170144398</c:v>
                </c:pt>
                <c:pt idx="55927">
                  <c:v>0.99744961655074005</c:v>
                </c:pt>
                <c:pt idx="55928">
                  <c:v>0.99746745140003501</c:v>
                </c:pt>
                <c:pt idx="55929">
                  <c:v>0.99748528624933097</c:v>
                </c:pt>
                <c:pt idx="55930">
                  <c:v>0.99750312109862604</c:v>
                </c:pt>
                <c:pt idx="55931">
                  <c:v>0.99752095594792201</c:v>
                </c:pt>
                <c:pt idx="55932">
                  <c:v>0.99753879079721697</c:v>
                </c:pt>
                <c:pt idx="55933">
                  <c:v>0.99755662564651304</c:v>
                </c:pt>
                <c:pt idx="55934">
                  <c:v>0.997574460495808</c:v>
                </c:pt>
                <c:pt idx="55935">
                  <c:v>0.99759229534510396</c:v>
                </c:pt>
                <c:pt idx="55936">
                  <c:v>0.99761013019439904</c:v>
                </c:pt>
                <c:pt idx="55937">
                  <c:v>0.997627965043695</c:v>
                </c:pt>
                <c:pt idx="55938">
                  <c:v>0.99764579989299096</c:v>
                </c:pt>
                <c:pt idx="55939">
                  <c:v>0.99766363474228603</c:v>
                </c:pt>
                <c:pt idx="55940">
                  <c:v>0.99768146959158199</c:v>
                </c:pt>
                <c:pt idx="55941">
                  <c:v>0.99769930444087696</c:v>
                </c:pt>
                <c:pt idx="55942">
                  <c:v>0.99771713929017303</c:v>
                </c:pt>
                <c:pt idx="55943">
                  <c:v>0.99773497413946799</c:v>
                </c:pt>
                <c:pt idx="55944">
                  <c:v>0.99775280898876395</c:v>
                </c:pt>
                <c:pt idx="55945">
                  <c:v>0.99777064383805902</c:v>
                </c:pt>
                <c:pt idx="55946">
                  <c:v>0.99778847868735498</c:v>
                </c:pt>
                <c:pt idx="55947">
                  <c:v>0.99780631353664995</c:v>
                </c:pt>
                <c:pt idx="55948">
                  <c:v>0.99782414838594602</c:v>
                </c:pt>
                <c:pt idx="55949">
                  <c:v>0.99784198323524098</c:v>
                </c:pt>
                <c:pt idx="55950">
                  <c:v>0.99785981808453705</c:v>
                </c:pt>
                <c:pt idx="55951">
                  <c:v>0.99787765293383202</c:v>
                </c:pt>
                <c:pt idx="55952">
                  <c:v>0.99789548778312798</c:v>
                </c:pt>
                <c:pt idx="55953">
                  <c:v>0.99791332263242305</c:v>
                </c:pt>
                <c:pt idx="55954">
                  <c:v>0.99793115748171901</c:v>
                </c:pt>
                <c:pt idx="55955">
                  <c:v>0.99794899233101397</c:v>
                </c:pt>
                <c:pt idx="55956">
                  <c:v>0.99796682718031005</c:v>
                </c:pt>
                <c:pt idx="55957">
                  <c:v>0.99798466202960501</c:v>
                </c:pt>
                <c:pt idx="55958">
                  <c:v>0.99800249687890097</c:v>
                </c:pt>
                <c:pt idx="55959">
                  <c:v>0.99802033172819604</c:v>
                </c:pt>
                <c:pt idx="55960">
                  <c:v>0.998038166577492</c:v>
                </c:pt>
                <c:pt idx="55961">
                  <c:v>0.99805600142678796</c:v>
                </c:pt>
                <c:pt idx="55962">
                  <c:v>0.99807383627608304</c:v>
                </c:pt>
                <c:pt idx="55963">
                  <c:v>0.998091671125379</c:v>
                </c:pt>
                <c:pt idx="55964">
                  <c:v>0.99810950597467396</c:v>
                </c:pt>
                <c:pt idx="55965">
                  <c:v>0.99812734082397003</c:v>
                </c:pt>
                <c:pt idx="55966">
                  <c:v>0.99814517567326499</c:v>
                </c:pt>
                <c:pt idx="55967">
                  <c:v>0.99816301052256096</c:v>
                </c:pt>
                <c:pt idx="55968">
                  <c:v>0.99818084537185603</c:v>
                </c:pt>
                <c:pt idx="55969">
                  <c:v>0.99819868022115199</c:v>
                </c:pt>
                <c:pt idx="55970">
                  <c:v>0.99821651507044695</c:v>
                </c:pt>
                <c:pt idx="55971">
                  <c:v>0.99823434991974302</c:v>
                </c:pt>
                <c:pt idx="55972">
                  <c:v>0.99825218476903799</c:v>
                </c:pt>
                <c:pt idx="55973">
                  <c:v>0.99827001961833395</c:v>
                </c:pt>
                <c:pt idx="55974">
                  <c:v>0.99828785446762902</c:v>
                </c:pt>
                <c:pt idx="55975">
                  <c:v>0.99830568931692498</c:v>
                </c:pt>
                <c:pt idx="55976">
                  <c:v>0.99832352416622006</c:v>
                </c:pt>
                <c:pt idx="55977">
                  <c:v>0.99834135901551602</c:v>
                </c:pt>
                <c:pt idx="55978">
                  <c:v>0.99835919386481098</c:v>
                </c:pt>
                <c:pt idx="55979">
                  <c:v>0.99837702871410705</c:v>
                </c:pt>
                <c:pt idx="55980">
                  <c:v>0.99839486356340201</c:v>
                </c:pt>
                <c:pt idx="55981">
                  <c:v>0.99841269841269797</c:v>
                </c:pt>
                <c:pt idx="55982">
                  <c:v>0.99843053326199305</c:v>
                </c:pt>
                <c:pt idx="55983">
                  <c:v>0.99844836811128901</c:v>
                </c:pt>
                <c:pt idx="55984">
                  <c:v>0.99846620296058497</c:v>
                </c:pt>
                <c:pt idx="55985">
                  <c:v>0.99848403780988004</c:v>
                </c:pt>
                <c:pt idx="55986">
                  <c:v>0.998501872659176</c:v>
                </c:pt>
                <c:pt idx="55987">
                  <c:v>0.99851970750847097</c:v>
                </c:pt>
                <c:pt idx="55988">
                  <c:v>0.99853754235776704</c:v>
                </c:pt>
                <c:pt idx="55989">
                  <c:v>0.998555377207062</c:v>
                </c:pt>
                <c:pt idx="55990">
                  <c:v>0.99857321205635796</c:v>
                </c:pt>
                <c:pt idx="55991">
                  <c:v>0.99859104690565303</c:v>
                </c:pt>
                <c:pt idx="55992">
                  <c:v>0.998608881754949</c:v>
                </c:pt>
                <c:pt idx="55993">
                  <c:v>0.99862671660424396</c:v>
                </c:pt>
                <c:pt idx="55994">
                  <c:v>0.99864455145354003</c:v>
                </c:pt>
                <c:pt idx="55995">
                  <c:v>0.99866238630283499</c:v>
                </c:pt>
                <c:pt idx="55996">
                  <c:v>0.99868022115213095</c:v>
                </c:pt>
                <c:pt idx="55997">
                  <c:v>0.99869805600142603</c:v>
                </c:pt>
                <c:pt idx="55998">
                  <c:v>0.99871589085072199</c:v>
                </c:pt>
                <c:pt idx="55999">
                  <c:v>0.99873372570001695</c:v>
                </c:pt>
                <c:pt idx="56000">
                  <c:v>0.99875156054931302</c:v>
                </c:pt>
                <c:pt idx="56001">
                  <c:v>0.99876939539860798</c:v>
                </c:pt>
                <c:pt idx="56002">
                  <c:v>0.99878723024790395</c:v>
                </c:pt>
                <c:pt idx="56003">
                  <c:v>0.99880506509719902</c:v>
                </c:pt>
                <c:pt idx="56004">
                  <c:v>0.99882289994649498</c:v>
                </c:pt>
                <c:pt idx="56005">
                  <c:v>0.99884073479579005</c:v>
                </c:pt>
                <c:pt idx="56006">
                  <c:v>0.99885856964508601</c:v>
                </c:pt>
                <c:pt idx="56007">
                  <c:v>0.99887640449438198</c:v>
                </c:pt>
                <c:pt idx="56008">
                  <c:v>0.99889423934367705</c:v>
                </c:pt>
                <c:pt idx="56009">
                  <c:v>0.99891207419297301</c:v>
                </c:pt>
                <c:pt idx="56010">
                  <c:v>0.99892990904226797</c:v>
                </c:pt>
                <c:pt idx="56011">
                  <c:v>0.99894774389156404</c:v>
                </c:pt>
                <c:pt idx="56012">
                  <c:v>0.99896557874085901</c:v>
                </c:pt>
                <c:pt idx="56013">
                  <c:v>0.99898341359015497</c:v>
                </c:pt>
                <c:pt idx="56014">
                  <c:v>0.99900124843945004</c:v>
                </c:pt>
                <c:pt idx="56015">
                  <c:v>0.999019083288746</c:v>
                </c:pt>
                <c:pt idx="56016">
                  <c:v>0.99903691813804096</c:v>
                </c:pt>
                <c:pt idx="56017">
                  <c:v>0.99905475298733704</c:v>
                </c:pt>
                <c:pt idx="56018">
                  <c:v>0.999072587836632</c:v>
                </c:pt>
                <c:pt idx="56019">
                  <c:v>0.99909042268592796</c:v>
                </c:pt>
                <c:pt idx="56020">
                  <c:v>0.99910825753522303</c:v>
                </c:pt>
                <c:pt idx="56021">
                  <c:v>0.99912609238451899</c:v>
                </c:pt>
                <c:pt idx="56022">
                  <c:v>0.99914392723381396</c:v>
                </c:pt>
                <c:pt idx="56023">
                  <c:v>0.99916176208311003</c:v>
                </c:pt>
                <c:pt idx="56024">
                  <c:v>0.99917959693240499</c:v>
                </c:pt>
                <c:pt idx="56025">
                  <c:v>0.99919743178170095</c:v>
                </c:pt>
                <c:pt idx="56026">
                  <c:v>0.99921526663099702</c:v>
                </c:pt>
                <c:pt idx="56027">
                  <c:v>0.99923310148029199</c:v>
                </c:pt>
                <c:pt idx="56028">
                  <c:v>0.99925093632958795</c:v>
                </c:pt>
                <c:pt idx="56029">
                  <c:v>0.99926877117888302</c:v>
                </c:pt>
                <c:pt idx="56030">
                  <c:v>0.99928660602817898</c:v>
                </c:pt>
                <c:pt idx="56031">
                  <c:v>0.99930444087747405</c:v>
                </c:pt>
                <c:pt idx="56032">
                  <c:v>0.99932227572677002</c:v>
                </c:pt>
                <c:pt idx="56033">
                  <c:v>0.99934011057606498</c:v>
                </c:pt>
                <c:pt idx="56034">
                  <c:v>0.99935794542536105</c:v>
                </c:pt>
                <c:pt idx="56035">
                  <c:v>0.99937578027465601</c:v>
                </c:pt>
                <c:pt idx="56036">
                  <c:v>0.99939361512395197</c:v>
                </c:pt>
                <c:pt idx="56037">
                  <c:v>0.99941144997324705</c:v>
                </c:pt>
                <c:pt idx="56038">
                  <c:v>0.99942928482254301</c:v>
                </c:pt>
                <c:pt idx="56039">
                  <c:v>0.99944711967183797</c:v>
                </c:pt>
                <c:pt idx="56040">
                  <c:v>0.99946495452113404</c:v>
                </c:pt>
                <c:pt idx="56041">
                  <c:v>0.999482789370429</c:v>
                </c:pt>
                <c:pt idx="56042">
                  <c:v>0.99950062421972496</c:v>
                </c:pt>
                <c:pt idx="56043">
                  <c:v>0.99951845906902004</c:v>
                </c:pt>
                <c:pt idx="56044">
                  <c:v>0.999536293918316</c:v>
                </c:pt>
                <c:pt idx="56045">
                  <c:v>0.99955412876761196</c:v>
                </c:pt>
                <c:pt idx="56046">
                  <c:v>0.99957196361690703</c:v>
                </c:pt>
                <c:pt idx="56047">
                  <c:v>0.99958979846620299</c:v>
                </c:pt>
                <c:pt idx="56048">
                  <c:v>0.99960763331549796</c:v>
                </c:pt>
                <c:pt idx="56049">
                  <c:v>0.99962546816479403</c:v>
                </c:pt>
                <c:pt idx="56050">
                  <c:v>0.99964330301408899</c:v>
                </c:pt>
                <c:pt idx="56051">
                  <c:v>0.99966113786338495</c:v>
                </c:pt>
                <c:pt idx="56052">
                  <c:v>0.99967897271268003</c:v>
                </c:pt>
                <c:pt idx="56053">
                  <c:v>0.99969680756197599</c:v>
                </c:pt>
                <c:pt idx="56054">
                  <c:v>0.99971464241127095</c:v>
                </c:pt>
                <c:pt idx="56055">
                  <c:v>0.99973247726056702</c:v>
                </c:pt>
                <c:pt idx="56056">
                  <c:v>0.99975031210986198</c:v>
                </c:pt>
                <c:pt idx="56057">
                  <c:v>0.99976814695915805</c:v>
                </c:pt>
                <c:pt idx="56058">
                  <c:v>0.99978598180845302</c:v>
                </c:pt>
                <c:pt idx="56059">
                  <c:v>0.99980381665774898</c:v>
                </c:pt>
                <c:pt idx="56060">
                  <c:v>0.99982165150704405</c:v>
                </c:pt>
                <c:pt idx="56061">
                  <c:v>0.99983948635634001</c:v>
                </c:pt>
                <c:pt idx="56062">
                  <c:v>0.99985732120563497</c:v>
                </c:pt>
                <c:pt idx="56063">
                  <c:v>0.99987515605493105</c:v>
                </c:pt>
                <c:pt idx="56064">
                  <c:v>0.99989299090422601</c:v>
                </c:pt>
                <c:pt idx="56065">
                  <c:v>0.99991082575352197</c:v>
                </c:pt>
                <c:pt idx="56066">
                  <c:v>0.99992866060281704</c:v>
                </c:pt>
                <c:pt idx="56067">
                  <c:v>0.999946495452113</c:v>
                </c:pt>
                <c:pt idx="56068">
                  <c:v>0.99996433030140897</c:v>
                </c:pt>
                <c:pt idx="56069">
                  <c:v>0.99998216515070404</c:v>
                </c:pt>
              </c:numCache>
            </c:numRef>
          </c:cat>
          <c:val>
            <c:numRef>
              <c:f>Sheet1!$D$2:$D$56071</c:f>
              <c:numCache>
                <c:formatCode>0%</c:formatCode>
                <c:ptCount val="56070"/>
                <c:pt idx="0">
                  <c:v>0</c:v>
                </c:pt>
                <c:pt idx="1">
                  <c:v>-8.4033613445378102E-4</c:v>
                </c:pt>
                <c:pt idx="2">
                  <c:v>0</c:v>
                </c:pt>
                <c:pt idx="3">
                  <c:v>-8.4033613445378102E-4</c:v>
                </c:pt>
                <c:pt idx="4">
                  <c:v>-8.4033613445378102E-4</c:v>
                </c:pt>
                <c:pt idx="5">
                  <c:v>-8.4033613445378102E-4</c:v>
                </c:pt>
                <c:pt idx="6">
                  <c:v>-1.6806722689075601E-3</c:v>
                </c:pt>
                <c:pt idx="7">
                  <c:v>-1.6806722689075601E-3</c:v>
                </c:pt>
                <c:pt idx="8">
                  <c:v>-1.6806722689075601E-3</c:v>
                </c:pt>
                <c:pt idx="9">
                  <c:v>-2.5210084033613399E-3</c:v>
                </c:pt>
                <c:pt idx="10">
                  <c:v>-1.6806722689075601E-3</c:v>
                </c:pt>
                <c:pt idx="11">
                  <c:v>-1.6806722689075601E-3</c:v>
                </c:pt>
                <c:pt idx="12">
                  <c:v>-2.5210084033613399E-3</c:v>
                </c:pt>
                <c:pt idx="13">
                  <c:v>-1.6806722689075601E-3</c:v>
                </c:pt>
                <c:pt idx="14">
                  <c:v>-1.6806722689075601E-3</c:v>
                </c:pt>
                <c:pt idx="15">
                  <c:v>-1.6806722689075601E-3</c:v>
                </c:pt>
                <c:pt idx="16">
                  <c:v>-1.6806722689075601E-3</c:v>
                </c:pt>
                <c:pt idx="17">
                  <c:v>-1.6806722689075601E-3</c:v>
                </c:pt>
                <c:pt idx="18">
                  <c:v>-1.6806722689075601E-3</c:v>
                </c:pt>
                <c:pt idx="19">
                  <c:v>-1.6806722689075601E-3</c:v>
                </c:pt>
                <c:pt idx="20">
                  <c:v>-2.5210084033613399E-3</c:v>
                </c:pt>
                <c:pt idx="21">
                  <c:v>-3.3613445378151202E-3</c:v>
                </c:pt>
                <c:pt idx="22">
                  <c:v>-3.3613445378151202E-3</c:v>
                </c:pt>
                <c:pt idx="23">
                  <c:v>-3.3613445378151202E-3</c:v>
                </c:pt>
                <c:pt idx="24">
                  <c:v>-3.3613445378151202E-3</c:v>
                </c:pt>
                <c:pt idx="25">
                  <c:v>-3.3613445378151202E-3</c:v>
                </c:pt>
                <c:pt idx="26">
                  <c:v>-3.3613445378151202E-3</c:v>
                </c:pt>
                <c:pt idx="27">
                  <c:v>-4.2016806722688996E-3</c:v>
                </c:pt>
                <c:pt idx="28">
                  <c:v>-5.0420168067226798E-3</c:v>
                </c:pt>
                <c:pt idx="29">
                  <c:v>-4.2016806722688996E-3</c:v>
                </c:pt>
                <c:pt idx="30">
                  <c:v>-5.0420168067226798E-3</c:v>
                </c:pt>
                <c:pt idx="31">
                  <c:v>-5.8823529411764696E-3</c:v>
                </c:pt>
                <c:pt idx="32">
                  <c:v>-5.8823529411764696E-3</c:v>
                </c:pt>
                <c:pt idx="33">
                  <c:v>-5.8823529411764696E-3</c:v>
                </c:pt>
                <c:pt idx="34">
                  <c:v>-5.8823529411764696E-3</c:v>
                </c:pt>
                <c:pt idx="35">
                  <c:v>-5.8823529411764696E-3</c:v>
                </c:pt>
                <c:pt idx="36">
                  <c:v>-5.8823529411764696E-3</c:v>
                </c:pt>
                <c:pt idx="37">
                  <c:v>-5.8823529411764696E-3</c:v>
                </c:pt>
                <c:pt idx="38">
                  <c:v>-6.7226890756302499E-3</c:v>
                </c:pt>
                <c:pt idx="39">
                  <c:v>-6.7226890756302499E-3</c:v>
                </c:pt>
                <c:pt idx="40">
                  <c:v>-7.5630252100840302E-3</c:v>
                </c:pt>
                <c:pt idx="41">
                  <c:v>-7.5630252100840302E-3</c:v>
                </c:pt>
                <c:pt idx="42">
                  <c:v>-7.5630252100840302E-3</c:v>
                </c:pt>
                <c:pt idx="43">
                  <c:v>-7.5630252100840302E-3</c:v>
                </c:pt>
                <c:pt idx="44">
                  <c:v>-7.5630252100840302E-3</c:v>
                </c:pt>
                <c:pt idx="45">
                  <c:v>-8.4033613445378096E-3</c:v>
                </c:pt>
                <c:pt idx="46">
                  <c:v>-8.4033613445378096E-3</c:v>
                </c:pt>
                <c:pt idx="47">
                  <c:v>-8.4033613445378096E-3</c:v>
                </c:pt>
                <c:pt idx="48">
                  <c:v>-9.2436974789915898E-3</c:v>
                </c:pt>
                <c:pt idx="49">
                  <c:v>-9.2436974789915898E-3</c:v>
                </c:pt>
                <c:pt idx="50">
                  <c:v>-9.2436974789915898E-3</c:v>
                </c:pt>
                <c:pt idx="51">
                  <c:v>-9.2436974789915898E-3</c:v>
                </c:pt>
                <c:pt idx="52">
                  <c:v>-1.0084033613445301E-2</c:v>
                </c:pt>
                <c:pt idx="53">
                  <c:v>-9.2436974789915898E-3</c:v>
                </c:pt>
                <c:pt idx="54">
                  <c:v>-1.0084033613445301E-2</c:v>
                </c:pt>
                <c:pt idx="55">
                  <c:v>-1.0084033613445301E-2</c:v>
                </c:pt>
                <c:pt idx="56">
                  <c:v>-1.0084033613445301E-2</c:v>
                </c:pt>
                <c:pt idx="57">
                  <c:v>-1.0084033613445301E-2</c:v>
                </c:pt>
                <c:pt idx="58">
                  <c:v>-1.0084033613445301E-2</c:v>
                </c:pt>
                <c:pt idx="59">
                  <c:v>-1.0084033613445301E-2</c:v>
                </c:pt>
                <c:pt idx="60">
                  <c:v>-1.09243697478991E-2</c:v>
                </c:pt>
                <c:pt idx="61">
                  <c:v>-1.09243697478991E-2</c:v>
                </c:pt>
                <c:pt idx="62">
                  <c:v>-1.09243697478991E-2</c:v>
                </c:pt>
                <c:pt idx="63">
                  <c:v>-1.09243697478991E-2</c:v>
                </c:pt>
                <c:pt idx="64">
                  <c:v>-1.09243697478991E-2</c:v>
                </c:pt>
                <c:pt idx="65">
                  <c:v>-1.09243697478991E-2</c:v>
                </c:pt>
                <c:pt idx="66">
                  <c:v>-1.1764705882352899E-2</c:v>
                </c:pt>
                <c:pt idx="67">
                  <c:v>-1.26050420168067E-2</c:v>
                </c:pt>
                <c:pt idx="68">
                  <c:v>-1.26050420168067E-2</c:v>
                </c:pt>
                <c:pt idx="69">
                  <c:v>-1.26050420168067E-2</c:v>
                </c:pt>
                <c:pt idx="70">
                  <c:v>-1.34453781512605E-2</c:v>
                </c:pt>
                <c:pt idx="71">
                  <c:v>-1.34453781512605E-2</c:v>
                </c:pt>
                <c:pt idx="72">
                  <c:v>-1.42857142857142E-2</c:v>
                </c:pt>
                <c:pt idx="73">
                  <c:v>-1.34453781512605E-2</c:v>
                </c:pt>
                <c:pt idx="74">
                  <c:v>-1.34453781512605E-2</c:v>
                </c:pt>
                <c:pt idx="75">
                  <c:v>-1.34453781512605E-2</c:v>
                </c:pt>
                <c:pt idx="76">
                  <c:v>-1.34453781512605E-2</c:v>
                </c:pt>
                <c:pt idx="77">
                  <c:v>-1.34453781512605E-2</c:v>
                </c:pt>
                <c:pt idx="78">
                  <c:v>-1.34453781512605E-2</c:v>
                </c:pt>
                <c:pt idx="79">
                  <c:v>-1.42857142857142E-2</c:v>
                </c:pt>
                <c:pt idx="80">
                  <c:v>-1.42857142857142E-2</c:v>
                </c:pt>
                <c:pt idx="81">
                  <c:v>-1.5126050420168E-2</c:v>
                </c:pt>
                <c:pt idx="82">
                  <c:v>-1.5126050420168E-2</c:v>
                </c:pt>
                <c:pt idx="83">
                  <c:v>-1.5126050420168E-2</c:v>
                </c:pt>
                <c:pt idx="84">
                  <c:v>-1.5126050420168E-2</c:v>
                </c:pt>
                <c:pt idx="85">
                  <c:v>-1.5126050420168E-2</c:v>
                </c:pt>
                <c:pt idx="86">
                  <c:v>-1.5966386554621799E-2</c:v>
                </c:pt>
                <c:pt idx="87">
                  <c:v>-1.5966386554621799E-2</c:v>
                </c:pt>
                <c:pt idx="88">
                  <c:v>-1.5966386554621799E-2</c:v>
                </c:pt>
                <c:pt idx="89">
                  <c:v>-1.5966386554621799E-2</c:v>
                </c:pt>
                <c:pt idx="90">
                  <c:v>-1.5966386554621799E-2</c:v>
                </c:pt>
                <c:pt idx="91">
                  <c:v>-1.6806722689075598E-2</c:v>
                </c:pt>
                <c:pt idx="92">
                  <c:v>-1.6806722689075598E-2</c:v>
                </c:pt>
                <c:pt idx="93">
                  <c:v>-1.6806722689075598E-2</c:v>
                </c:pt>
                <c:pt idx="94">
                  <c:v>-1.6806722689075598E-2</c:v>
                </c:pt>
                <c:pt idx="95">
                  <c:v>-1.7647058823529401E-2</c:v>
                </c:pt>
                <c:pt idx="96">
                  <c:v>-1.7647058823529401E-2</c:v>
                </c:pt>
                <c:pt idx="97">
                  <c:v>-1.7647058823529401E-2</c:v>
                </c:pt>
                <c:pt idx="98">
                  <c:v>-1.7647058823529401E-2</c:v>
                </c:pt>
                <c:pt idx="99">
                  <c:v>-1.84873949579831E-2</c:v>
                </c:pt>
                <c:pt idx="100">
                  <c:v>-1.84873949579831E-2</c:v>
                </c:pt>
                <c:pt idx="101">
                  <c:v>-1.84873949579831E-2</c:v>
                </c:pt>
                <c:pt idx="102">
                  <c:v>-1.84873949579831E-2</c:v>
                </c:pt>
                <c:pt idx="103">
                  <c:v>-1.7647058823529401E-2</c:v>
                </c:pt>
                <c:pt idx="104">
                  <c:v>-1.7647058823529401E-2</c:v>
                </c:pt>
                <c:pt idx="105">
                  <c:v>-1.7647058823529401E-2</c:v>
                </c:pt>
                <c:pt idx="106">
                  <c:v>-1.7647058823529401E-2</c:v>
                </c:pt>
                <c:pt idx="107">
                  <c:v>-1.7647058823529401E-2</c:v>
                </c:pt>
                <c:pt idx="108">
                  <c:v>-1.7647058823529401E-2</c:v>
                </c:pt>
                <c:pt idx="109">
                  <c:v>-1.7647058823529401E-2</c:v>
                </c:pt>
                <c:pt idx="110">
                  <c:v>-1.7647058823529401E-2</c:v>
                </c:pt>
                <c:pt idx="111">
                  <c:v>-1.7647058823529401E-2</c:v>
                </c:pt>
                <c:pt idx="112">
                  <c:v>-1.84873949579831E-2</c:v>
                </c:pt>
                <c:pt idx="113">
                  <c:v>-1.84873949579831E-2</c:v>
                </c:pt>
                <c:pt idx="114">
                  <c:v>-1.84873949579831E-2</c:v>
                </c:pt>
                <c:pt idx="115">
                  <c:v>-1.84873949579831E-2</c:v>
                </c:pt>
                <c:pt idx="116">
                  <c:v>-1.7647058823529401E-2</c:v>
                </c:pt>
                <c:pt idx="117">
                  <c:v>-1.84873949579831E-2</c:v>
                </c:pt>
                <c:pt idx="118">
                  <c:v>-1.84873949579831E-2</c:v>
                </c:pt>
                <c:pt idx="119">
                  <c:v>-1.84873949579831E-2</c:v>
                </c:pt>
                <c:pt idx="120">
                  <c:v>-1.84873949579831E-2</c:v>
                </c:pt>
                <c:pt idx="121">
                  <c:v>-1.9327731092436899E-2</c:v>
                </c:pt>
                <c:pt idx="122">
                  <c:v>-1.9327731092436899E-2</c:v>
                </c:pt>
                <c:pt idx="123">
                  <c:v>-1.9327731092436899E-2</c:v>
                </c:pt>
                <c:pt idx="124">
                  <c:v>-2.0168067226890699E-2</c:v>
                </c:pt>
                <c:pt idx="125">
                  <c:v>-2.1008403361344501E-2</c:v>
                </c:pt>
                <c:pt idx="126">
                  <c:v>-2.1008403361344501E-2</c:v>
                </c:pt>
                <c:pt idx="127">
                  <c:v>-2.1008403361344501E-2</c:v>
                </c:pt>
                <c:pt idx="128">
                  <c:v>-2.1848739495798301E-2</c:v>
                </c:pt>
                <c:pt idx="129">
                  <c:v>-2.1848739495798301E-2</c:v>
                </c:pt>
                <c:pt idx="130">
                  <c:v>-2.2689075630251999E-2</c:v>
                </c:pt>
                <c:pt idx="131">
                  <c:v>-2.3529411764705799E-2</c:v>
                </c:pt>
                <c:pt idx="132">
                  <c:v>-2.3529411764705799E-2</c:v>
                </c:pt>
                <c:pt idx="133">
                  <c:v>-2.3529411764705799E-2</c:v>
                </c:pt>
                <c:pt idx="134">
                  <c:v>-2.3529411764705799E-2</c:v>
                </c:pt>
                <c:pt idx="135">
                  <c:v>-2.3529411764705799E-2</c:v>
                </c:pt>
                <c:pt idx="136">
                  <c:v>-2.3529411764705799E-2</c:v>
                </c:pt>
                <c:pt idx="137">
                  <c:v>-2.3529411764705799E-2</c:v>
                </c:pt>
                <c:pt idx="138">
                  <c:v>-2.3529411764705799E-2</c:v>
                </c:pt>
                <c:pt idx="139">
                  <c:v>-2.3529411764705799E-2</c:v>
                </c:pt>
                <c:pt idx="140">
                  <c:v>-2.3529411764705799E-2</c:v>
                </c:pt>
                <c:pt idx="141">
                  <c:v>-2.3529411764705799E-2</c:v>
                </c:pt>
                <c:pt idx="142">
                  <c:v>-2.3529411764705799E-2</c:v>
                </c:pt>
                <c:pt idx="143">
                  <c:v>-2.4369747899159602E-2</c:v>
                </c:pt>
                <c:pt idx="144">
                  <c:v>-2.4369747899159602E-2</c:v>
                </c:pt>
                <c:pt idx="145">
                  <c:v>-2.4369747899159602E-2</c:v>
                </c:pt>
                <c:pt idx="146">
                  <c:v>-2.4369747899159602E-2</c:v>
                </c:pt>
                <c:pt idx="147">
                  <c:v>-2.4369747899159602E-2</c:v>
                </c:pt>
                <c:pt idx="148">
                  <c:v>-2.4369747899159602E-2</c:v>
                </c:pt>
                <c:pt idx="149">
                  <c:v>-2.4369747899159602E-2</c:v>
                </c:pt>
                <c:pt idx="150">
                  <c:v>-2.5210084033613401E-2</c:v>
                </c:pt>
                <c:pt idx="151">
                  <c:v>-2.4369747899159602E-2</c:v>
                </c:pt>
                <c:pt idx="152">
                  <c:v>-2.5210084033613401E-2</c:v>
                </c:pt>
                <c:pt idx="153">
                  <c:v>-2.60504201680672E-2</c:v>
                </c:pt>
                <c:pt idx="154">
                  <c:v>-2.6890756302521E-2</c:v>
                </c:pt>
                <c:pt idx="155">
                  <c:v>-2.7731092436974698E-2</c:v>
                </c:pt>
                <c:pt idx="156">
                  <c:v>-2.7731092436974698E-2</c:v>
                </c:pt>
                <c:pt idx="157">
                  <c:v>-2.7731092436974698E-2</c:v>
                </c:pt>
                <c:pt idx="158">
                  <c:v>-2.8571428571428501E-2</c:v>
                </c:pt>
                <c:pt idx="159">
                  <c:v>-2.94117647058823E-2</c:v>
                </c:pt>
                <c:pt idx="160">
                  <c:v>-2.94117647058823E-2</c:v>
                </c:pt>
                <c:pt idx="161">
                  <c:v>-2.94117647058823E-2</c:v>
                </c:pt>
                <c:pt idx="162">
                  <c:v>-2.94117647058823E-2</c:v>
                </c:pt>
                <c:pt idx="163">
                  <c:v>-2.94117647058823E-2</c:v>
                </c:pt>
                <c:pt idx="164">
                  <c:v>-2.94117647058823E-2</c:v>
                </c:pt>
                <c:pt idx="165">
                  <c:v>-3.02521008403361E-2</c:v>
                </c:pt>
                <c:pt idx="166">
                  <c:v>-3.1092436974789899E-2</c:v>
                </c:pt>
                <c:pt idx="167">
                  <c:v>-3.1932773109243702E-2</c:v>
                </c:pt>
                <c:pt idx="168">
                  <c:v>-3.1932773109243702E-2</c:v>
                </c:pt>
                <c:pt idx="169">
                  <c:v>-3.2773109243697397E-2</c:v>
                </c:pt>
                <c:pt idx="170">
                  <c:v>-3.2773109243697397E-2</c:v>
                </c:pt>
                <c:pt idx="171">
                  <c:v>-3.2773109243697397E-2</c:v>
                </c:pt>
                <c:pt idx="172">
                  <c:v>-3.1932773109243598E-2</c:v>
                </c:pt>
                <c:pt idx="173">
                  <c:v>-3.1932773109243598E-2</c:v>
                </c:pt>
                <c:pt idx="174">
                  <c:v>-3.1932773109243598E-2</c:v>
                </c:pt>
                <c:pt idx="175">
                  <c:v>-3.1932773109243598E-2</c:v>
                </c:pt>
                <c:pt idx="176">
                  <c:v>-3.1932773109243598E-2</c:v>
                </c:pt>
                <c:pt idx="177">
                  <c:v>-3.1932773109243598E-2</c:v>
                </c:pt>
                <c:pt idx="178">
                  <c:v>-3.1932773109243598E-2</c:v>
                </c:pt>
                <c:pt idx="179">
                  <c:v>-3.1932773109243598E-2</c:v>
                </c:pt>
                <c:pt idx="180">
                  <c:v>-3.1932773109243598E-2</c:v>
                </c:pt>
                <c:pt idx="181">
                  <c:v>-3.1932773109243598E-2</c:v>
                </c:pt>
                <c:pt idx="182">
                  <c:v>-3.1932773109243598E-2</c:v>
                </c:pt>
                <c:pt idx="183">
                  <c:v>-3.1932773109243598E-2</c:v>
                </c:pt>
                <c:pt idx="184">
                  <c:v>-3.1932773109243598E-2</c:v>
                </c:pt>
                <c:pt idx="185">
                  <c:v>-3.2773109243697397E-2</c:v>
                </c:pt>
                <c:pt idx="186">
                  <c:v>-3.3613445378151197E-2</c:v>
                </c:pt>
                <c:pt idx="187">
                  <c:v>-3.4453781512605003E-2</c:v>
                </c:pt>
                <c:pt idx="188">
                  <c:v>-3.4453781512605003E-2</c:v>
                </c:pt>
                <c:pt idx="189">
                  <c:v>-3.5294117647058802E-2</c:v>
                </c:pt>
                <c:pt idx="190">
                  <c:v>-3.6134453781512602E-2</c:v>
                </c:pt>
                <c:pt idx="191">
                  <c:v>-3.6134453781512602E-2</c:v>
                </c:pt>
                <c:pt idx="192">
                  <c:v>-3.6134453781512602E-2</c:v>
                </c:pt>
                <c:pt idx="193">
                  <c:v>-3.6134453781512602E-2</c:v>
                </c:pt>
                <c:pt idx="194">
                  <c:v>-3.6134453781512602E-2</c:v>
                </c:pt>
                <c:pt idx="195">
                  <c:v>-3.6134453781512602E-2</c:v>
                </c:pt>
                <c:pt idx="196">
                  <c:v>-3.6974789915966297E-2</c:v>
                </c:pt>
                <c:pt idx="197">
                  <c:v>-3.6974789915966297E-2</c:v>
                </c:pt>
                <c:pt idx="198">
                  <c:v>-3.6974789915966297E-2</c:v>
                </c:pt>
                <c:pt idx="199">
                  <c:v>-3.6974789915966297E-2</c:v>
                </c:pt>
                <c:pt idx="200">
                  <c:v>-3.6974789915966297E-2</c:v>
                </c:pt>
                <c:pt idx="201">
                  <c:v>-3.6974789915966297E-2</c:v>
                </c:pt>
                <c:pt idx="202">
                  <c:v>-3.6974789915966297E-2</c:v>
                </c:pt>
                <c:pt idx="203">
                  <c:v>-3.6974789915966297E-2</c:v>
                </c:pt>
                <c:pt idx="204">
                  <c:v>-3.6974789915966297E-2</c:v>
                </c:pt>
                <c:pt idx="205">
                  <c:v>-3.6974789915966297E-2</c:v>
                </c:pt>
                <c:pt idx="206">
                  <c:v>-3.6974789915966297E-2</c:v>
                </c:pt>
                <c:pt idx="207">
                  <c:v>-3.7815126050420103E-2</c:v>
                </c:pt>
                <c:pt idx="208">
                  <c:v>-3.7815126050420103E-2</c:v>
                </c:pt>
                <c:pt idx="209">
                  <c:v>-3.7815126050420103E-2</c:v>
                </c:pt>
                <c:pt idx="210">
                  <c:v>-3.7815126050420103E-2</c:v>
                </c:pt>
                <c:pt idx="211">
                  <c:v>-3.7815126050420103E-2</c:v>
                </c:pt>
                <c:pt idx="212">
                  <c:v>-3.7815126050420103E-2</c:v>
                </c:pt>
                <c:pt idx="213">
                  <c:v>-3.7815126050420103E-2</c:v>
                </c:pt>
                <c:pt idx="214">
                  <c:v>-3.7815126050420103E-2</c:v>
                </c:pt>
                <c:pt idx="215">
                  <c:v>-3.7815126050420103E-2</c:v>
                </c:pt>
                <c:pt idx="216">
                  <c:v>-3.7815126050420103E-2</c:v>
                </c:pt>
                <c:pt idx="217">
                  <c:v>-3.8655462184873902E-2</c:v>
                </c:pt>
                <c:pt idx="218">
                  <c:v>-3.8655462184873902E-2</c:v>
                </c:pt>
                <c:pt idx="219">
                  <c:v>-3.8655462184873902E-2</c:v>
                </c:pt>
                <c:pt idx="220">
                  <c:v>-3.8655462184873902E-2</c:v>
                </c:pt>
                <c:pt idx="221">
                  <c:v>-3.8655462184873902E-2</c:v>
                </c:pt>
                <c:pt idx="222">
                  <c:v>-3.8655462184873902E-2</c:v>
                </c:pt>
                <c:pt idx="223">
                  <c:v>-3.8655462184873902E-2</c:v>
                </c:pt>
                <c:pt idx="224">
                  <c:v>-3.8655462184873902E-2</c:v>
                </c:pt>
                <c:pt idx="225">
                  <c:v>-3.8655462184873902E-2</c:v>
                </c:pt>
                <c:pt idx="226">
                  <c:v>-3.9495798319327702E-2</c:v>
                </c:pt>
                <c:pt idx="227">
                  <c:v>-3.9495798319327702E-2</c:v>
                </c:pt>
                <c:pt idx="228">
                  <c:v>-3.9495798319327702E-2</c:v>
                </c:pt>
                <c:pt idx="229">
                  <c:v>-3.9495798319327702E-2</c:v>
                </c:pt>
                <c:pt idx="230">
                  <c:v>-3.9495798319327702E-2</c:v>
                </c:pt>
                <c:pt idx="231">
                  <c:v>-4.0336134453781501E-2</c:v>
                </c:pt>
                <c:pt idx="232">
                  <c:v>-4.0336134453781501E-2</c:v>
                </c:pt>
                <c:pt idx="233">
                  <c:v>-4.0336134453781501E-2</c:v>
                </c:pt>
                <c:pt idx="234">
                  <c:v>-3.9495798319327702E-2</c:v>
                </c:pt>
                <c:pt idx="235">
                  <c:v>-3.9495798319327702E-2</c:v>
                </c:pt>
                <c:pt idx="236">
                  <c:v>-3.8655462184873902E-2</c:v>
                </c:pt>
                <c:pt idx="237">
                  <c:v>-3.8655462184873902E-2</c:v>
                </c:pt>
                <c:pt idx="238">
                  <c:v>-3.9495798319327702E-2</c:v>
                </c:pt>
                <c:pt idx="239">
                  <c:v>-3.9495798319327702E-2</c:v>
                </c:pt>
                <c:pt idx="240">
                  <c:v>-3.9495798319327702E-2</c:v>
                </c:pt>
                <c:pt idx="241">
                  <c:v>-4.0336134453781501E-2</c:v>
                </c:pt>
                <c:pt idx="242">
                  <c:v>-4.1176470588235203E-2</c:v>
                </c:pt>
                <c:pt idx="243">
                  <c:v>-4.1176470588235203E-2</c:v>
                </c:pt>
                <c:pt idx="244">
                  <c:v>-4.1176470588235203E-2</c:v>
                </c:pt>
                <c:pt idx="245">
                  <c:v>-4.2016806722689003E-2</c:v>
                </c:pt>
                <c:pt idx="246">
                  <c:v>-4.2016806722689003E-2</c:v>
                </c:pt>
                <c:pt idx="247">
                  <c:v>-4.2016806722689003E-2</c:v>
                </c:pt>
                <c:pt idx="248">
                  <c:v>-4.2016806722689003E-2</c:v>
                </c:pt>
                <c:pt idx="249">
                  <c:v>-4.2016806722689003E-2</c:v>
                </c:pt>
                <c:pt idx="250">
                  <c:v>-4.2857142857142802E-2</c:v>
                </c:pt>
                <c:pt idx="251">
                  <c:v>-4.3697478991596601E-2</c:v>
                </c:pt>
                <c:pt idx="252">
                  <c:v>-4.3697478991596601E-2</c:v>
                </c:pt>
                <c:pt idx="253">
                  <c:v>-4.3697478991596601E-2</c:v>
                </c:pt>
                <c:pt idx="254">
                  <c:v>-4.3697478991596601E-2</c:v>
                </c:pt>
                <c:pt idx="255">
                  <c:v>-4.3697478991596601E-2</c:v>
                </c:pt>
                <c:pt idx="256">
                  <c:v>-4.3697478991596601E-2</c:v>
                </c:pt>
                <c:pt idx="257">
                  <c:v>-4.4537815126050401E-2</c:v>
                </c:pt>
                <c:pt idx="258">
                  <c:v>-4.53781512605042E-2</c:v>
                </c:pt>
                <c:pt idx="259">
                  <c:v>-4.53781512605042E-2</c:v>
                </c:pt>
                <c:pt idx="260">
                  <c:v>-4.53781512605042E-2</c:v>
                </c:pt>
                <c:pt idx="261">
                  <c:v>-4.53781512605042E-2</c:v>
                </c:pt>
                <c:pt idx="262">
                  <c:v>-4.53781512605042E-2</c:v>
                </c:pt>
                <c:pt idx="263">
                  <c:v>-4.53781512605042E-2</c:v>
                </c:pt>
                <c:pt idx="264">
                  <c:v>-4.53781512605042E-2</c:v>
                </c:pt>
                <c:pt idx="265">
                  <c:v>-4.6218487394957902E-2</c:v>
                </c:pt>
                <c:pt idx="266">
                  <c:v>-4.6218487394957902E-2</c:v>
                </c:pt>
                <c:pt idx="267">
                  <c:v>-4.7058823529411702E-2</c:v>
                </c:pt>
                <c:pt idx="268">
                  <c:v>-4.7058823529411702E-2</c:v>
                </c:pt>
                <c:pt idx="269">
                  <c:v>-4.7899159663865501E-2</c:v>
                </c:pt>
                <c:pt idx="270">
                  <c:v>-4.7899159663865501E-2</c:v>
                </c:pt>
                <c:pt idx="271">
                  <c:v>-4.7899159663865501E-2</c:v>
                </c:pt>
                <c:pt idx="272">
                  <c:v>-4.7899159663865501E-2</c:v>
                </c:pt>
                <c:pt idx="273">
                  <c:v>-4.7899159663865501E-2</c:v>
                </c:pt>
                <c:pt idx="274">
                  <c:v>-4.7058823529411702E-2</c:v>
                </c:pt>
                <c:pt idx="275">
                  <c:v>-4.7899159663865501E-2</c:v>
                </c:pt>
                <c:pt idx="276">
                  <c:v>-4.7899159663865501E-2</c:v>
                </c:pt>
                <c:pt idx="277">
                  <c:v>-4.87394957983193E-2</c:v>
                </c:pt>
                <c:pt idx="278">
                  <c:v>-4.87394957983193E-2</c:v>
                </c:pt>
                <c:pt idx="279">
                  <c:v>-4.87394957983193E-2</c:v>
                </c:pt>
                <c:pt idx="280">
                  <c:v>-4.87394957983193E-2</c:v>
                </c:pt>
                <c:pt idx="281">
                  <c:v>-4.95798319327731E-2</c:v>
                </c:pt>
                <c:pt idx="282">
                  <c:v>-4.95798319327731E-2</c:v>
                </c:pt>
                <c:pt idx="283">
                  <c:v>-5.0420168067226899E-2</c:v>
                </c:pt>
                <c:pt idx="284">
                  <c:v>-5.0420168067226899E-2</c:v>
                </c:pt>
                <c:pt idx="285">
                  <c:v>-5.0420168067226899E-2</c:v>
                </c:pt>
                <c:pt idx="286">
                  <c:v>-5.0420168067226899E-2</c:v>
                </c:pt>
                <c:pt idx="287">
                  <c:v>-5.0420168067226899E-2</c:v>
                </c:pt>
                <c:pt idx="288">
                  <c:v>-5.1260504201680601E-2</c:v>
                </c:pt>
                <c:pt idx="289">
                  <c:v>-5.1260504201680601E-2</c:v>
                </c:pt>
                <c:pt idx="290">
                  <c:v>-5.1260504201680601E-2</c:v>
                </c:pt>
                <c:pt idx="291">
                  <c:v>-5.1260504201680601E-2</c:v>
                </c:pt>
                <c:pt idx="292">
                  <c:v>-5.1260504201680601E-2</c:v>
                </c:pt>
                <c:pt idx="293">
                  <c:v>-5.1260504201680601E-2</c:v>
                </c:pt>
                <c:pt idx="294">
                  <c:v>-5.1260504201680601E-2</c:v>
                </c:pt>
                <c:pt idx="295">
                  <c:v>-5.1260504201680601E-2</c:v>
                </c:pt>
                <c:pt idx="296">
                  <c:v>-5.2100840336134401E-2</c:v>
                </c:pt>
                <c:pt idx="297">
                  <c:v>-5.2100840336134401E-2</c:v>
                </c:pt>
                <c:pt idx="298">
                  <c:v>-5.1260504201680601E-2</c:v>
                </c:pt>
                <c:pt idx="299">
                  <c:v>-5.1260504201680601E-2</c:v>
                </c:pt>
                <c:pt idx="300">
                  <c:v>-5.1260504201680601E-2</c:v>
                </c:pt>
                <c:pt idx="301">
                  <c:v>-5.1260504201680601E-2</c:v>
                </c:pt>
                <c:pt idx="302">
                  <c:v>-5.1260504201680601E-2</c:v>
                </c:pt>
                <c:pt idx="303">
                  <c:v>-5.1260504201680601E-2</c:v>
                </c:pt>
                <c:pt idx="304">
                  <c:v>-5.1260504201680601E-2</c:v>
                </c:pt>
                <c:pt idx="305">
                  <c:v>-5.0420168067226802E-2</c:v>
                </c:pt>
                <c:pt idx="306">
                  <c:v>-5.0420168067226802E-2</c:v>
                </c:pt>
                <c:pt idx="307">
                  <c:v>-5.1260504201680601E-2</c:v>
                </c:pt>
                <c:pt idx="308">
                  <c:v>-5.1260504201680601E-2</c:v>
                </c:pt>
                <c:pt idx="309">
                  <c:v>-5.1260504201680601E-2</c:v>
                </c:pt>
                <c:pt idx="310">
                  <c:v>-5.1260504201680601E-2</c:v>
                </c:pt>
                <c:pt idx="311">
                  <c:v>-5.0420168067226802E-2</c:v>
                </c:pt>
                <c:pt idx="312">
                  <c:v>-5.1260504201680601E-2</c:v>
                </c:pt>
                <c:pt idx="313">
                  <c:v>-5.1260504201680601E-2</c:v>
                </c:pt>
                <c:pt idx="314">
                  <c:v>-5.2100840336134401E-2</c:v>
                </c:pt>
                <c:pt idx="315">
                  <c:v>-5.2100840336134401E-2</c:v>
                </c:pt>
                <c:pt idx="316">
                  <c:v>-5.29411764705882E-2</c:v>
                </c:pt>
                <c:pt idx="317">
                  <c:v>-5.29411764705882E-2</c:v>
                </c:pt>
                <c:pt idx="318">
                  <c:v>-5.29411764705882E-2</c:v>
                </c:pt>
                <c:pt idx="319">
                  <c:v>-5.29411764705882E-2</c:v>
                </c:pt>
                <c:pt idx="320">
                  <c:v>-5.29411764705882E-2</c:v>
                </c:pt>
                <c:pt idx="321">
                  <c:v>-5.3781512605041999E-2</c:v>
                </c:pt>
                <c:pt idx="322">
                  <c:v>-5.4621848739495799E-2</c:v>
                </c:pt>
                <c:pt idx="323">
                  <c:v>-5.4621848739495799E-2</c:v>
                </c:pt>
                <c:pt idx="324">
                  <c:v>-5.4621848739495799E-2</c:v>
                </c:pt>
                <c:pt idx="325">
                  <c:v>-5.4621848739495799E-2</c:v>
                </c:pt>
                <c:pt idx="326">
                  <c:v>-5.4621848739495799E-2</c:v>
                </c:pt>
                <c:pt idx="327">
                  <c:v>-5.4621848739495799E-2</c:v>
                </c:pt>
                <c:pt idx="328">
                  <c:v>-5.4621848739495799E-2</c:v>
                </c:pt>
                <c:pt idx="329">
                  <c:v>-5.4621848739495799E-2</c:v>
                </c:pt>
                <c:pt idx="330">
                  <c:v>-5.5462184873949501E-2</c:v>
                </c:pt>
                <c:pt idx="331">
                  <c:v>-5.5462184873949501E-2</c:v>
                </c:pt>
                <c:pt idx="332">
                  <c:v>-5.63025210084033E-2</c:v>
                </c:pt>
                <c:pt idx="333">
                  <c:v>-5.63025210084033E-2</c:v>
                </c:pt>
                <c:pt idx="334">
                  <c:v>-5.63025210084033E-2</c:v>
                </c:pt>
                <c:pt idx="335">
                  <c:v>-5.63025210084033E-2</c:v>
                </c:pt>
                <c:pt idx="336">
                  <c:v>-5.63025210084033E-2</c:v>
                </c:pt>
                <c:pt idx="337">
                  <c:v>-5.63025210084033E-2</c:v>
                </c:pt>
                <c:pt idx="338">
                  <c:v>-5.63025210084033E-2</c:v>
                </c:pt>
                <c:pt idx="339">
                  <c:v>-5.63025210084033E-2</c:v>
                </c:pt>
                <c:pt idx="340">
                  <c:v>-5.63025210084033E-2</c:v>
                </c:pt>
                <c:pt idx="341">
                  <c:v>-5.63025210084033E-2</c:v>
                </c:pt>
                <c:pt idx="342">
                  <c:v>-5.5462184873949501E-2</c:v>
                </c:pt>
                <c:pt idx="343">
                  <c:v>-5.5462184873949501E-2</c:v>
                </c:pt>
                <c:pt idx="344">
                  <c:v>-5.5462184873949501E-2</c:v>
                </c:pt>
                <c:pt idx="345">
                  <c:v>-5.5462184873949501E-2</c:v>
                </c:pt>
                <c:pt idx="346">
                  <c:v>-5.5462184873949501E-2</c:v>
                </c:pt>
                <c:pt idx="347">
                  <c:v>-5.63025210084033E-2</c:v>
                </c:pt>
                <c:pt idx="348">
                  <c:v>-5.7142857142857099E-2</c:v>
                </c:pt>
                <c:pt idx="349">
                  <c:v>-5.7142857142857099E-2</c:v>
                </c:pt>
                <c:pt idx="350">
                  <c:v>-5.7142857142857099E-2</c:v>
                </c:pt>
                <c:pt idx="351">
                  <c:v>-5.7142857142857099E-2</c:v>
                </c:pt>
                <c:pt idx="352">
                  <c:v>-5.7142857142857099E-2</c:v>
                </c:pt>
                <c:pt idx="353">
                  <c:v>-5.7983193277310899E-2</c:v>
                </c:pt>
                <c:pt idx="354">
                  <c:v>-5.8823529411764698E-2</c:v>
                </c:pt>
                <c:pt idx="355">
                  <c:v>-5.8823529411764698E-2</c:v>
                </c:pt>
                <c:pt idx="356">
                  <c:v>-5.8823529411764698E-2</c:v>
                </c:pt>
                <c:pt idx="357">
                  <c:v>-5.8823529411764698E-2</c:v>
                </c:pt>
                <c:pt idx="358">
                  <c:v>-5.8823529411764698E-2</c:v>
                </c:pt>
                <c:pt idx="359">
                  <c:v>-5.8823529411764698E-2</c:v>
                </c:pt>
                <c:pt idx="360">
                  <c:v>-5.8823529411764698E-2</c:v>
                </c:pt>
                <c:pt idx="361">
                  <c:v>-5.96638655462184E-2</c:v>
                </c:pt>
                <c:pt idx="362">
                  <c:v>-5.96638655462184E-2</c:v>
                </c:pt>
                <c:pt idx="363">
                  <c:v>-5.96638655462184E-2</c:v>
                </c:pt>
                <c:pt idx="364">
                  <c:v>-5.96638655462184E-2</c:v>
                </c:pt>
                <c:pt idx="365">
                  <c:v>-6.05042016806722E-2</c:v>
                </c:pt>
                <c:pt idx="366">
                  <c:v>-6.05042016806722E-2</c:v>
                </c:pt>
                <c:pt idx="367">
                  <c:v>-6.05042016806722E-2</c:v>
                </c:pt>
                <c:pt idx="368">
                  <c:v>-6.1344537815125999E-2</c:v>
                </c:pt>
                <c:pt idx="369">
                  <c:v>-6.1344537815125999E-2</c:v>
                </c:pt>
                <c:pt idx="370">
                  <c:v>-6.1344537815125999E-2</c:v>
                </c:pt>
                <c:pt idx="371">
                  <c:v>-6.1344537815125999E-2</c:v>
                </c:pt>
                <c:pt idx="372">
                  <c:v>-6.2184873949579798E-2</c:v>
                </c:pt>
                <c:pt idx="373">
                  <c:v>-6.2184873949579798E-2</c:v>
                </c:pt>
                <c:pt idx="374">
                  <c:v>-6.2184873949579798E-2</c:v>
                </c:pt>
                <c:pt idx="375">
                  <c:v>-6.2184873949579798E-2</c:v>
                </c:pt>
                <c:pt idx="376">
                  <c:v>-6.2184873949579798E-2</c:v>
                </c:pt>
                <c:pt idx="377">
                  <c:v>-6.3025210084033598E-2</c:v>
                </c:pt>
                <c:pt idx="378">
                  <c:v>-6.3025210084033598E-2</c:v>
                </c:pt>
                <c:pt idx="379">
                  <c:v>-6.3865546218487307E-2</c:v>
                </c:pt>
                <c:pt idx="380">
                  <c:v>-6.3865546218487307E-2</c:v>
                </c:pt>
                <c:pt idx="381">
                  <c:v>-6.3865546218487307E-2</c:v>
                </c:pt>
                <c:pt idx="382">
                  <c:v>-6.3865546218487307E-2</c:v>
                </c:pt>
                <c:pt idx="383">
                  <c:v>-6.3865546218487307E-2</c:v>
                </c:pt>
                <c:pt idx="384">
                  <c:v>-6.3865546218487307E-2</c:v>
                </c:pt>
                <c:pt idx="385">
                  <c:v>-6.3865546218487307E-2</c:v>
                </c:pt>
                <c:pt idx="386">
                  <c:v>-6.3865546218487307E-2</c:v>
                </c:pt>
                <c:pt idx="387">
                  <c:v>-6.3865546218487307E-2</c:v>
                </c:pt>
                <c:pt idx="388">
                  <c:v>-6.3865546218487307E-2</c:v>
                </c:pt>
                <c:pt idx="389">
                  <c:v>-6.3865546218487307E-2</c:v>
                </c:pt>
                <c:pt idx="390">
                  <c:v>-6.3865546218487307E-2</c:v>
                </c:pt>
                <c:pt idx="391">
                  <c:v>-6.3025210084033598E-2</c:v>
                </c:pt>
                <c:pt idx="392">
                  <c:v>-6.2184873949579798E-2</c:v>
                </c:pt>
                <c:pt idx="393">
                  <c:v>-6.2184873949579798E-2</c:v>
                </c:pt>
                <c:pt idx="394">
                  <c:v>-6.2184873949579798E-2</c:v>
                </c:pt>
                <c:pt idx="395">
                  <c:v>-6.2184873949579798E-2</c:v>
                </c:pt>
                <c:pt idx="396">
                  <c:v>-6.1344537815125999E-2</c:v>
                </c:pt>
                <c:pt idx="397">
                  <c:v>-6.1344537815125999E-2</c:v>
                </c:pt>
                <c:pt idx="398">
                  <c:v>-6.1344537815125999E-2</c:v>
                </c:pt>
                <c:pt idx="399">
                  <c:v>-6.05042016806722E-2</c:v>
                </c:pt>
                <c:pt idx="400">
                  <c:v>-6.05042016806722E-2</c:v>
                </c:pt>
                <c:pt idx="401">
                  <c:v>-6.1344537815125999E-2</c:v>
                </c:pt>
                <c:pt idx="402">
                  <c:v>-6.1344537815125999E-2</c:v>
                </c:pt>
                <c:pt idx="403">
                  <c:v>-6.1344537815125999E-2</c:v>
                </c:pt>
                <c:pt idx="404">
                  <c:v>-6.1344537815125999E-2</c:v>
                </c:pt>
                <c:pt idx="405">
                  <c:v>-6.05042016806722E-2</c:v>
                </c:pt>
                <c:pt idx="406">
                  <c:v>-6.05042016806722E-2</c:v>
                </c:pt>
                <c:pt idx="407">
                  <c:v>-6.05042016806722E-2</c:v>
                </c:pt>
                <c:pt idx="408">
                  <c:v>-6.05042016806722E-2</c:v>
                </c:pt>
                <c:pt idx="409">
                  <c:v>-6.05042016806722E-2</c:v>
                </c:pt>
                <c:pt idx="410">
                  <c:v>-5.96638655462184E-2</c:v>
                </c:pt>
                <c:pt idx="411">
                  <c:v>-5.96638655462184E-2</c:v>
                </c:pt>
                <c:pt idx="412">
                  <c:v>-6.05042016806722E-2</c:v>
                </c:pt>
                <c:pt idx="413">
                  <c:v>-6.05042016806722E-2</c:v>
                </c:pt>
                <c:pt idx="414">
                  <c:v>-6.05042016806722E-2</c:v>
                </c:pt>
                <c:pt idx="415">
                  <c:v>-6.05042016806722E-2</c:v>
                </c:pt>
                <c:pt idx="416">
                  <c:v>-6.05042016806722E-2</c:v>
                </c:pt>
                <c:pt idx="417">
                  <c:v>-6.05042016806722E-2</c:v>
                </c:pt>
                <c:pt idx="418">
                  <c:v>-5.9663865546218497E-2</c:v>
                </c:pt>
                <c:pt idx="419">
                  <c:v>-5.9663865546218497E-2</c:v>
                </c:pt>
                <c:pt idx="420">
                  <c:v>-5.9663865546218497E-2</c:v>
                </c:pt>
                <c:pt idx="421">
                  <c:v>-5.9663865546218497E-2</c:v>
                </c:pt>
                <c:pt idx="422">
                  <c:v>-6.05042016806722E-2</c:v>
                </c:pt>
                <c:pt idx="423">
                  <c:v>-6.05042016806722E-2</c:v>
                </c:pt>
                <c:pt idx="424">
                  <c:v>-6.1344537815125999E-2</c:v>
                </c:pt>
                <c:pt idx="425">
                  <c:v>-6.1344537815125999E-2</c:v>
                </c:pt>
                <c:pt idx="426">
                  <c:v>-6.1344537815125999E-2</c:v>
                </c:pt>
                <c:pt idx="427">
                  <c:v>-6.2184873949579798E-2</c:v>
                </c:pt>
                <c:pt idx="428">
                  <c:v>-6.2184873949579798E-2</c:v>
                </c:pt>
                <c:pt idx="429">
                  <c:v>-6.2184873949579798E-2</c:v>
                </c:pt>
                <c:pt idx="430">
                  <c:v>-6.2184873949579798E-2</c:v>
                </c:pt>
                <c:pt idx="431">
                  <c:v>-6.1344537815125999E-2</c:v>
                </c:pt>
                <c:pt idx="432">
                  <c:v>-6.2184873949579798E-2</c:v>
                </c:pt>
                <c:pt idx="433">
                  <c:v>-6.2184873949579798E-2</c:v>
                </c:pt>
                <c:pt idx="434">
                  <c:v>-6.2184873949579798E-2</c:v>
                </c:pt>
                <c:pt idx="435">
                  <c:v>-6.2184873949579798E-2</c:v>
                </c:pt>
                <c:pt idx="436">
                  <c:v>-6.2184873949579798E-2</c:v>
                </c:pt>
                <c:pt idx="437">
                  <c:v>-6.2184873949579798E-2</c:v>
                </c:pt>
                <c:pt idx="438">
                  <c:v>-6.2184873949579798E-2</c:v>
                </c:pt>
                <c:pt idx="439">
                  <c:v>-6.2184873949579798E-2</c:v>
                </c:pt>
                <c:pt idx="440">
                  <c:v>-6.1344537815125999E-2</c:v>
                </c:pt>
                <c:pt idx="441">
                  <c:v>-6.1344537815125999E-2</c:v>
                </c:pt>
                <c:pt idx="442">
                  <c:v>-6.1344537815125999E-2</c:v>
                </c:pt>
                <c:pt idx="443">
                  <c:v>-6.1344537815125999E-2</c:v>
                </c:pt>
                <c:pt idx="444">
                  <c:v>-6.1344537815125999E-2</c:v>
                </c:pt>
                <c:pt idx="445">
                  <c:v>-6.2184873949579798E-2</c:v>
                </c:pt>
                <c:pt idx="446">
                  <c:v>-6.2184873949579798E-2</c:v>
                </c:pt>
                <c:pt idx="447">
                  <c:v>-6.2184873949579798E-2</c:v>
                </c:pt>
                <c:pt idx="448">
                  <c:v>-6.2184873949579798E-2</c:v>
                </c:pt>
                <c:pt idx="449">
                  <c:v>-6.1344537815125999E-2</c:v>
                </c:pt>
                <c:pt idx="450">
                  <c:v>-6.1344537815125999E-2</c:v>
                </c:pt>
                <c:pt idx="451">
                  <c:v>-6.1344537815125999E-2</c:v>
                </c:pt>
                <c:pt idx="452">
                  <c:v>-6.1344537815125999E-2</c:v>
                </c:pt>
                <c:pt idx="453">
                  <c:v>-6.1344537815125999E-2</c:v>
                </c:pt>
                <c:pt idx="454">
                  <c:v>-6.1344537815125999E-2</c:v>
                </c:pt>
                <c:pt idx="455">
                  <c:v>-6.1344537815125999E-2</c:v>
                </c:pt>
                <c:pt idx="456">
                  <c:v>-6.1344537815125999E-2</c:v>
                </c:pt>
                <c:pt idx="457">
                  <c:v>-6.1344537815125999E-2</c:v>
                </c:pt>
                <c:pt idx="458">
                  <c:v>-6.2184873949579798E-2</c:v>
                </c:pt>
                <c:pt idx="459">
                  <c:v>-6.2184873949579798E-2</c:v>
                </c:pt>
                <c:pt idx="460">
                  <c:v>-6.3025210084033598E-2</c:v>
                </c:pt>
                <c:pt idx="461">
                  <c:v>-6.3025210084033598E-2</c:v>
                </c:pt>
                <c:pt idx="462">
                  <c:v>-6.3025210084033598E-2</c:v>
                </c:pt>
                <c:pt idx="463">
                  <c:v>-6.3025210084033598E-2</c:v>
                </c:pt>
                <c:pt idx="464">
                  <c:v>-6.3025210084033598E-2</c:v>
                </c:pt>
                <c:pt idx="465">
                  <c:v>-6.3025210084033598E-2</c:v>
                </c:pt>
                <c:pt idx="466">
                  <c:v>-6.3025210084033598E-2</c:v>
                </c:pt>
                <c:pt idx="467">
                  <c:v>-6.3865546218487307E-2</c:v>
                </c:pt>
                <c:pt idx="468">
                  <c:v>-6.3865546218487307E-2</c:v>
                </c:pt>
                <c:pt idx="469">
                  <c:v>-6.3865546218487307E-2</c:v>
                </c:pt>
                <c:pt idx="470">
                  <c:v>-6.3865546218487307E-2</c:v>
                </c:pt>
                <c:pt idx="471">
                  <c:v>-6.3865546218487307E-2</c:v>
                </c:pt>
                <c:pt idx="472">
                  <c:v>-6.3865546218487307E-2</c:v>
                </c:pt>
                <c:pt idx="473">
                  <c:v>-6.3865546218487307E-2</c:v>
                </c:pt>
                <c:pt idx="474">
                  <c:v>-6.3865546218487307E-2</c:v>
                </c:pt>
                <c:pt idx="475">
                  <c:v>-6.3865546218487307E-2</c:v>
                </c:pt>
                <c:pt idx="476">
                  <c:v>-6.4705882352941099E-2</c:v>
                </c:pt>
                <c:pt idx="477">
                  <c:v>-6.4705882352941099E-2</c:v>
                </c:pt>
                <c:pt idx="478">
                  <c:v>-6.4705882352941099E-2</c:v>
                </c:pt>
                <c:pt idx="479">
                  <c:v>-6.4705882352941099E-2</c:v>
                </c:pt>
                <c:pt idx="480">
                  <c:v>-6.4705882352941099E-2</c:v>
                </c:pt>
                <c:pt idx="481">
                  <c:v>-6.5546218487394906E-2</c:v>
                </c:pt>
                <c:pt idx="482">
                  <c:v>-6.5546218487394906E-2</c:v>
                </c:pt>
                <c:pt idx="483">
                  <c:v>-6.4705882352941099E-2</c:v>
                </c:pt>
                <c:pt idx="484">
                  <c:v>-6.4705882352941099E-2</c:v>
                </c:pt>
                <c:pt idx="485">
                  <c:v>-6.4705882352941099E-2</c:v>
                </c:pt>
                <c:pt idx="486">
                  <c:v>-6.4705882352941099E-2</c:v>
                </c:pt>
                <c:pt idx="487">
                  <c:v>-6.4705882352941099E-2</c:v>
                </c:pt>
                <c:pt idx="488">
                  <c:v>-6.5546218487394906E-2</c:v>
                </c:pt>
                <c:pt idx="489">
                  <c:v>-6.5546218487394906E-2</c:v>
                </c:pt>
                <c:pt idx="490">
                  <c:v>-6.5546218487394906E-2</c:v>
                </c:pt>
                <c:pt idx="491">
                  <c:v>-6.5546218487394906E-2</c:v>
                </c:pt>
                <c:pt idx="492">
                  <c:v>-6.5546218487394906E-2</c:v>
                </c:pt>
                <c:pt idx="493">
                  <c:v>-6.5546218487394906E-2</c:v>
                </c:pt>
                <c:pt idx="494">
                  <c:v>-6.5546218487394906E-2</c:v>
                </c:pt>
                <c:pt idx="495">
                  <c:v>-6.5546218487394906E-2</c:v>
                </c:pt>
                <c:pt idx="496">
                  <c:v>-6.5546218487394906E-2</c:v>
                </c:pt>
                <c:pt idx="497">
                  <c:v>-6.6386554621848698E-2</c:v>
                </c:pt>
                <c:pt idx="498">
                  <c:v>-6.6386554621848698E-2</c:v>
                </c:pt>
                <c:pt idx="499">
                  <c:v>-6.6386554621848698E-2</c:v>
                </c:pt>
                <c:pt idx="500">
                  <c:v>-6.6386554621848698E-2</c:v>
                </c:pt>
                <c:pt idx="501">
                  <c:v>-6.7226890756302504E-2</c:v>
                </c:pt>
                <c:pt idx="502">
                  <c:v>-6.7226890756302504E-2</c:v>
                </c:pt>
                <c:pt idx="503">
                  <c:v>-6.7226890756302504E-2</c:v>
                </c:pt>
                <c:pt idx="504">
                  <c:v>-6.7226890756302504E-2</c:v>
                </c:pt>
                <c:pt idx="505">
                  <c:v>-6.6386554621848698E-2</c:v>
                </c:pt>
                <c:pt idx="506">
                  <c:v>-6.6386554621848698E-2</c:v>
                </c:pt>
                <c:pt idx="507">
                  <c:v>-6.6386554621848698E-2</c:v>
                </c:pt>
                <c:pt idx="508">
                  <c:v>-6.6386554621848698E-2</c:v>
                </c:pt>
                <c:pt idx="509">
                  <c:v>-6.6386554621848698E-2</c:v>
                </c:pt>
                <c:pt idx="510">
                  <c:v>-6.5546218487394906E-2</c:v>
                </c:pt>
                <c:pt idx="511">
                  <c:v>-6.5546218487394906E-2</c:v>
                </c:pt>
                <c:pt idx="512">
                  <c:v>-6.5546218487394906E-2</c:v>
                </c:pt>
                <c:pt idx="513">
                  <c:v>-6.5546218487394906E-2</c:v>
                </c:pt>
                <c:pt idx="514">
                  <c:v>-6.5546218487394906E-2</c:v>
                </c:pt>
                <c:pt idx="515">
                  <c:v>-6.5546218487394906E-2</c:v>
                </c:pt>
                <c:pt idx="516">
                  <c:v>-6.5546218487394906E-2</c:v>
                </c:pt>
                <c:pt idx="517">
                  <c:v>-6.5546218487394906E-2</c:v>
                </c:pt>
                <c:pt idx="518">
                  <c:v>-6.4705882352941099E-2</c:v>
                </c:pt>
                <c:pt idx="519">
                  <c:v>-6.4705882352941099E-2</c:v>
                </c:pt>
                <c:pt idx="520">
                  <c:v>-6.4705882352941099E-2</c:v>
                </c:pt>
                <c:pt idx="521">
                  <c:v>-6.4705882352941099E-2</c:v>
                </c:pt>
                <c:pt idx="522">
                  <c:v>-6.4705882352941099E-2</c:v>
                </c:pt>
                <c:pt idx="523">
                  <c:v>-6.4705882352941099E-2</c:v>
                </c:pt>
                <c:pt idx="524">
                  <c:v>-6.4705882352941099E-2</c:v>
                </c:pt>
                <c:pt idx="525">
                  <c:v>-6.3865546218487404E-2</c:v>
                </c:pt>
                <c:pt idx="526">
                  <c:v>-6.3865546218487404E-2</c:v>
                </c:pt>
                <c:pt idx="527">
                  <c:v>-6.3865546218487404E-2</c:v>
                </c:pt>
                <c:pt idx="528">
                  <c:v>-6.3865546218487404E-2</c:v>
                </c:pt>
                <c:pt idx="529">
                  <c:v>-6.3865546218487404E-2</c:v>
                </c:pt>
                <c:pt idx="530">
                  <c:v>-6.3865546218487404E-2</c:v>
                </c:pt>
                <c:pt idx="531">
                  <c:v>-6.3865546218487404E-2</c:v>
                </c:pt>
                <c:pt idx="532">
                  <c:v>-6.3865546218487404E-2</c:v>
                </c:pt>
                <c:pt idx="533">
                  <c:v>-6.3865546218487404E-2</c:v>
                </c:pt>
                <c:pt idx="534">
                  <c:v>-6.3865546218487404E-2</c:v>
                </c:pt>
                <c:pt idx="535">
                  <c:v>-6.3865546218487404E-2</c:v>
                </c:pt>
                <c:pt idx="536">
                  <c:v>-6.3865546218487404E-2</c:v>
                </c:pt>
                <c:pt idx="537">
                  <c:v>-6.3865546218487404E-2</c:v>
                </c:pt>
                <c:pt idx="538">
                  <c:v>-6.3865546218487404E-2</c:v>
                </c:pt>
                <c:pt idx="539">
                  <c:v>-6.3865546218487404E-2</c:v>
                </c:pt>
                <c:pt idx="540">
                  <c:v>-6.3865546218487404E-2</c:v>
                </c:pt>
                <c:pt idx="541">
                  <c:v>-6.3865546218487404E-2</c:v>
                </c:pt>
                <c:pt idx="542">
                  <c:v>-6.3865546218487404E-2</c:v>
                </c:pt>
                <c:pt idx="543">
                  <c:v>-6.3865546218487404E-2</c:v>
                </c:pt>
                <c:pt idx="544">
                  <c:v>-6.3865546218487404E-2</c:v>
                </c:pt>
                <c:pt idx="545">
                  <c:v>-6.3025210084033598E-2</c:v>
                </c:pt>
                <c:pt idx="546">
                  <c:v>-6.3025210084033598E-2</c:v>
                </c:pt>
                <c:pt idx="547">
                  <c:v>-6.3025210084033598E-2</c:v>
                </c:pt>
                <c:pt idx="548">
                  <c:v>-6.3025210084033598E-2</c:v>
                </c:pt>
                <c:pt idx="549">
                  <c:v>-6.3025210084033598E-2</c:v>
                </c:pt>
                <c:pt idx="550">
                  <c:v>-6.3025210084033598E-2</c:v>
                </c:pt>
                <c:pt idx="551">
                  <c:v>-6.3025210084033598E-2</c:v>
                </c:pt>
                <c:pt idx="552">
                  <c:v>-6.3025210084033598E-2</c:v>
                </c:pt>
                <c:pt idx="553">
                  <c:v>-6.3025210084033598E-2</c:v>
                </c:pt>
                <c:pt idx="554">
                  <c:v>-6.3025210084033598E-2</c:v>
                </c:pt>
                <c:pt idx="555">
                  <c:v>-6.3025210084033598E-2</c:v>
                </c:pt>
                <c:pt idx="556">
                  <c:v>-6.3865546218487307E-2</c:v>
                </c:pt>
                <c:pt idx="557">
                  <c:v>-6.3865546218487307E-2</c:v>
                </c:pt>
                <c:pt idx="558">
                  <c:v>-6.3865546218487307E-2</c:v>
                </c:pt>
                <c:pt idx="559">
                  <c:v>-6.3865546218487307E-2</c:v>
                </c:pt>
                <c:pt idx="560">
                  <c:v>-6.3865546218487307E-2</c:v>
                </c:pt>
                <c:pt idx="561">
                  <c:v>-6.3865546218487307E-2</c:v>
                </c:pt>
                <c:pt idx="562">
                  <c:v>-6.3865546218487307E-2</c:v>
                </c:pt>
                <c:pt idx="563">
                  <c:v>-6.3865546218487307E-2</c:v>
                </c:pt>
                <c:pt idx="564">
                  <c:v>-6.3865546218487307E-2</c:v>
                </c:pt>
                <c:pt idx="565">
                  <c:v>-6.3865546218487307E-2</c:v>
                </c:pt>
                <c:pt idx="566">
                  <c:v>-6.3865546218487307E-2</c:v>
                </c:pt>
                <c:pt idx="567">
                  <c:v>-6.3865546218487307E-2</c:v>
                </c:pt>
                <c:pt idx="568">
                  <c:v>-6.3865546218487307E-2</c:v>
                </c:pt>
                <c:pt idx="569">
                  <c:v>-6.3865546218487307E-2</c:v>
                </c:pt>
                <c:pt idx="570">
                  <c:v>-6.3865546218487307E-2</c:v>
                </c:pt>
                <c:pt idx="571">
                  <c:v>-6.3865546218487307E-2</c:v>
                </c:pt>
                <c:pt idx="572">
                  <c:v>-6.4705882352941099E-2</c:v>
                </c:pt>
                <c:pt idx="573">
                  <c:v>-6.5546218487394906E-2</c:v>
                </c:pt>
                <c:pt idx="574">
                  <c:v>-6.5546218487394906E-2</c:v>
                </c:pt>
                <c:pt idx="575">
                  <c:v>-6.5546218487394906E-2</c:v>
                </c:pt>
                <c:pt idx="576">
                  <c:v>-6.4705882352941099E-2</c:v>
                </c:pt>
                <c:pt idx="577">
                  <c:v>-6.4705882352941099E-2</c:v>
                </c:pt>
                <c:pt idx="578">
                  <c:v>-6.4705882352941099E-2</c:v>
                </c:pt>
                <c:pt idx="579">
                  <c:v>-6.4705882352941099E-2</c:v>
                </c:pt>
                <c:pt idx="580">
                  <c:v>-6.4705882352941099E-2</c:v>
                </c:pt>
                <c:pt idx="581">
                  <c:v>-6.4705882352941099E-2</c:v>
                </c:pt>
                <c:pt idx="582">
                  <c:v>-6.4705882352941099E-2</c:v>
                </c:pt>
                <c:pt idx="583">
                  <c:v>-6.3865546218487307E-2</c:v>
                </c:pt>
                <c:pt idx="584">
                  <c:v>-6.3865546218487307E-2</c:v>
                </c:pt>
                <c:pt idx="585">
                  <c:v>-6.3865546218487307E-2</c:v>
                </c:pt>
                <c:pt idx="586">
                  <c:v>-6.3865546218487307E-2</c:v>
                </c:pt>
                <c:pt idx="587">
                  <c:v>-6.3865546218487307E-2</c:v>
                </c:pt>
                <c:pt idx="588">
                  <c:v>-6.3865546218487307E-2</c:v>
                </c:pt>
                <c:pt idx="589">
                  <c:v>-6.3865546218487307E-2</c:v>
                </c:pt>
                <c:pt idx="590">
                  <c:v>-6.3865546218487307E-2</c:v>
                </c:pt>
                <c:pt idx="591">
                  <c:v>-6.3865546218487307E-2</c:v>
                </c:pt>
                <c:pt idx="592">
                  <c:v>-6.3865546218487307E-2</c:v>
                </c:pt>
                <c:pt idx="593">
                  <c:v>-6.3865546218487307E-2</c:v>
                </c:pt>
                <c:pt idx="594">
                  <c:v>-6.3865546218487307E-2</c:v>
                </c:pt>
                <c:pt idx="595">
                  <c:v>-6.3865546218487307E-2</c:v>
                </c:pt>
                <c:pt idx="596">
                  <c:v>-6.3865546218487307E-2</c:v>
                </c:pt>
                <c:pt idx="597">
                  <c:v>-6.3865546218487307E-2</c:v>
                </c:pt>
                <c:pt idx="598">
                  <c:v>-6.3865546218487307E-2</c:v>
                </c:pt>
                <c:pt idx="599">
                  <c:v>-6.3865546218487307E-2</c:v>
                </c:pt>
                <c:pt idx="600">
                  <c:v>-6.3865546218487307E-2</c:v>
                </c:pt>
                <c:pt idx="601">
                  <c:v>-6.3865546218487307E-2</c:v>
                </c:pt>
                <c:pt idx="602">
                  <c:v>-6.3865546218487307E-2</c:v>
                </c:pt>
                <c:pt idx="603">
                  <c:v>-6.3865546218487307E-2</c:v>
                </c:pt>
                <c:pt idx="604">
                  <c:v>-6.3865546218487307E-2</c:v>
                </c:pt>
                <c:pt idx="605">
                  <c:v>-6.3865546218487307E-2</c:v>
                </c:pt>
                <c:pt idx="606">
                  <c:v>-6.3865546218487307E-2</c:v>
                </c:pt>
                <c:pt idx="607">
                  <c:v>-6.3865546218487307E-2</c:v>
                </c:pt>
                <c:pt idx="608">
                  <c:v>-6.3865546218487307E-2</c:v>
                </c:pt>
                <c:pt idx="609">
                  <c:v>-6.3025210084033598E-2</c:v>
                </c:pt>
                <c:pt idx="610">
                  <c:v>-6.3025210084033598E-2</c:v>
                </c:pt>
                <c:pt idx="611">
                  <c:v>-6.3025210084033598E-2</c:v>
                </c:pt>
                <c:pt idx="612">
                  <c:v>-6.3025210084033598E-2</c:v>
                </c:pt>
                <c:pt idx="613">
                  <c:v>-6.3025210084033598E-2</c:v>
                </c:pt>
                <c:pt idx="614">
                  <c:v>-6.3025210084033598E-2</c:v>
                </c:pt>
                <c:pt idx="615">
                  <c:v>-6.3025210084033598E-2</c:v>
                </c:pt>
                <c:pt idx="616">
                  <c:v>-6.3025210084033598E-2</c:v>
                </c:pt>
                <c:pt idx="617">
                  <c:v>-6.3025210084033598E-2</c:v>
                </c:pt>
                <c:pt idx="618">
                  <c:v>-6.3025210084033598E-2</c:v>
                </c:pt>
                <c:pt idx="619">
                  <c:v>-6.3025210084033598E-2</c:v>
                </c:pt>
                <c:pt idx="620">
                  <c:v>-6.3025210084033598E-2</c:v>
                </c:pt>
                <c:pt idx="621">
                  <c:v>-6.3025210084033598E-2</c:v>
                </c:pt>
                <c:pt idx="622">
                  <c:v>-6.3025210084033598E-2</c:v>
                </c:pt>
                <c:pt idx="623">
                  <c:v>-6.3025210084033598E-2</c:v>
                </c:pt>
                <c:pt idx="624">
                  <c:v>-6.3025210084033598E-2</c:v>
                </c:pt>
                <c:pt idx="625">
                  <c:v>-6.3025210084033598E-2</c:v>
                </c:pt>
                <c:pt idx="626">
                  <c:v>-6.3865546218487307E-2</c:v>
                </c:pt>
                <c:pt idx="627">
                  <c:v>-6.3865546218487307E-2</c:v>
                </c:pt>
                <c:pt idx="628">
                  <c:v>-6.3865546218487307E-2</c:v>
                </c:pt>
                <c:pt idx="629">
                  <c:v>-6.3865546218487307E-2</c:v>
                </c:pt>
                <c:pt idx="630">
                  <c:v>-6.3865546218487307E-2</c:v>
                </c:pt>
                <c:pt idx="631">
                  <c:v>-6.3865546218487307E-2</c:v>
                </c:pt>
                <c:pt idx="632">
                  <c:v>-6.4705882352941099E-2</c:v>
                </c:pt>
                <c:pt idx="633">
                  <c:v>-6.4705882352941099E-2</c:v>
                </c:pt>
                <c:pt idx="634">
                  <c:v>-6.5546218487394906E-2</c:v>
                </c:pt>
                <c:pt idx="635">
                  <c:v>-6.5546218487394906E-2</c:v>
                </c:pt>
                <c:pt idx="636">
                  <c:v>-6.5546218487394906E-2</c:v>
                </c:pt>
                <c:pt idx="637">
                  <c:v>-6.5546218487394906E-2</c:v>
                </c:pt>
                <c:pt idx="638">
                  <c:v>-6.5546218487394906E-2</c:v>
                </c:pt>
                <c:pt idx="639">
                  <c:v>-6.5546218487394906E-2</c:v>
                </c:pt>
                <c:pt idx="640">
                  <c:v>-6.5546218487394906E-2</c:v>
                </c:pt>
                <c:pt idx="641">
                  <c:v>-6.5546218487394906E-2</c:v>
                </c:pt>
                <c:pt idx="642">
                  <c:v>-6.5546218487394906E-2</c:v>
                </c:pt>
                <c:pt idx="643">
                  <c:v>-6.5546218487394906E-2</c:v>
                </c:pt>
                <c:pt idx="644">
                  <c:v>-6.5546218487394906E-2</c:v>
                </c:pt>
                <c:pt idx="645">
                  <c:v>-6.5546218487394906E-2</c:v>
                </c:pt>
                <c:pt idx="646">
                  <c:v>-6.5546218487394906E-2</c:v>
                </c:pt>
                <c:pt idx="647">
                  <c:v>-6.5546218487394906E-2</c:v>
                </c:pt>
                <c:pt idx="648">
                  <c:v>-6.5546218487394906E-2</c:v>
                </c:pt>
                <c:pt idx="649">
                  <c:v>-6.5546218487394906E-2</c:v>
                </c:pt>
                <c:pt idx="650">
                  <c:v>-6.5546218487394906E-2</c:v>
                </c:pt>
                <c:pt idx="651">
                  <c:v>-6.5546218487394906E-2</c:v>
                </c:pt>
                <c:pt idx="652">
                  <c:v>-6.5546218487394906E-2</c:v>
                </c:pt>
                <c:pt idx="653">
                  <c:v>-6.5546218487394906E-2</c:v>
                </c:pt>
                <c:pt idx="654">
                  <c:v>-6.5546218487394906E-2</c:v>
                </c:pt>
                <c:pt idx="655">
                  <c:v>-6.5546218487394906E-2</c:v>
                </c:pt>
                <c:pt idx="656">
                  <c:v>-6.5546218487394906E-2</c:v>
                </c:pt>
                <c:pt idx="657">
                  <c:v>-6.5546218487394906E-2</c:v>
                </c:pt>
                <c:pt idx="658">
                  <c:v>-6.4705882352941099E-2</c:v>
                </c:pt>
                <c:pt idx="659">
                  <c:v>-6.5546218487394906E-2</c:v>
                </c:pt>
                <c:pt idx="660">
                  <c:v>-6.5546218487394906E-2</c:v>
                </c:pt>
                <c:pt idx="661">
                  <c:v>-6.5546218487394906E-2</c:v>
                </c:pt>
                <c:pt idx="662">
                  <c:v>-6.5546218487394906E-2</c:v>
                </c:pt>
                <c:pt idx="663">
                  <c:v>-6.5546218487394906E-2</c:v>
                </c:pt>
                <c:pt idx="664">
                  <c:v>-6.5546218487394906E-2</c:v>
                </c:pt>
                <c:pt idx="665">
                  <c:v>-6.4705882352941099E-2</c:v>
                </c:pt>
                <c:pt idx="666">
                  <c:v>-6.4705882352941099E-2</c:v>
                </c:pt>
                <c:pt idx="667">
                  <c:v>-6.4705882352941099E-2</c:v>
                </c:pt>
                <c:pt idx="668">
                  <c:v>-6.4705882352941099E-2</c:v>
                </c:pt>
                <c:pt idx="669">
                  <c:v>-6.4705882352941099E-2</c:v>
                </c:pt>
                <c:pt idx="670">
                  <c:v>-6.4705882352941099E-2</c:v>
                </c:pt>
                <c:pt idx="671">
                  <c:v>-6.4705882352941099E-2</c:v>
                </c:pt>
                <c:pt idx="672">
                  <c:v>-6.4705882352941099E-2</c:v>
                </c:pt>
                <c:pt idx="673">
                  <c:v>-6.4705882352941099E-2</c:v>
                </c:pt>
                <c:pt idx="674">
                  <c:v>-6.4705882352941099E-2</c:v>
                </c:pt>
                <c:pt idx="675">
                  <c:v>-6.4705882352941099E-2</c:v>
                </c:pt>
                <c:pt idx="676">
                  <c:v>-6.4705882352941099E-2</c:v>
                </c:pt>
                <c:pt idx="677">
                  <c:v>-6.4705882352941099E-2</c:v>
                </c:pt>
                <c:pt idx="678">
                  <c:v>-6.4705882352941099E-2</c:v>
                </c:pt>
                <c:pt idx="679">
                  <c:v>-6.4705882352941099E-2</c:v>
                </c:pt>
                <c:pt idx="680">
                  <c:v>-6.4705882352941099E-2</c:v>
                </c:pt>
                <c:pt idx="681">
                  <c:v>-6.4705882352941099E-2</c:v>
                </c:pt>
                <c:pt idx="682">
                  <c:v>-6.4705882352941099E-2</c:v>
                </c:pt>
                <c:pt idx="683">
                  <c:v>-6.4705882352941099E-2</c:v>
                </c:pt>
                <c:pt idx="684">
                  <c:v>-6.5546218487394906E-2</c:v>
                </c:pt>
                <c:pt idx="685">
                  <c:v>-6.5546218487394906E-2</c:v>
                </c:pt>
                <c:pt idx="686">
                  <c:v>-6.5546218487394906E-2</c:v>
                </c:pt>
                <c:pt idx="687">
                  <c:v>-6.5546218487394906E-2</c:v>
                </c:pt>
                <c:pt idx="688">
                  <c:v>-6.5546218487394906E-2</c:v>
                </c:pt>
                <c:pt idx="689">
                  <c:v>-6.5546218487394906E-2</c:v>
                </c:pt>
                <c:pt idx="690">
                  <c:v>-6.5546218487394906E-2</c:v>
                </c:pt>
                <c:pt idx="691">
                  <c:v>-6.5546218487394906E-2</c:v>
                </c:pt>
                <c:pt idx="692">
                  <c:v>-6.5546218487394906E-2</c:v>
                </c:pt>
                <c:pt idx="693">
                  <c:v>-6.5546218487394906E-2</c:v>
                </c:pt>
                <c:pt idx="694">
                  <c:v>-6.5546218487394906E-2</c:v>
                </c:pt>
                <c:pt idx="695">
                  <c:v>-6.5546218487394906E-2</c:v>
                </c:pt>
                <c:pt idx="696">
                  <c:v>-6.5546218487394906E-2</c:v>
                </c:pt>
                <c:pt idx="697">
                  <c:v>-6.5546218487394906E-2</c:v>
                </c:pt>
                <c:pt idx="698">
                  <c:v>-6.5546218487394906E-2</c:v>
                </c:pt>
                <c:pt idx="699">
                  <c:v>-6.5546218487394906E-2</c:v>
                </c:pt>
                <c:pt idx="700">
                  <c:v>-6.5546218487394906E-2</c:v>
                </c:pt>
                <c:pt idx="701">
                  <c:v>-6.5546218487394906E-2</c:v>
                </c:pt>
                <c:pt idx="702">
                  <c:v>-6.5546218487394906E-2</c:v>
                </c:pt>
                <c:pt idx="703">
                  <c:v>-6.5546218487394906E-2</c:v>
                </c:pt>
                <c:pt idx="704">
                  <c:v>-6.5546218487394906E-2</c:v>
                </c:pt>
                <c:pt idx="705">
                  <c:v>-6.5546218487394906E-2</c:v>
                </c:pt>
                <c:pt idx="706">
                  <c:v>-6.5546218487394906E-2</c:v>
                </c:pt>
                <c:pt idx="707">
                  <c:v>-6.5546218487394906E-2</c:v>
                </c:pt>
                <c:pt idx="708">
                  <c:v>-6.5546218487394906E-2</c:v>
                </c:pt>
                <c:pt idx="709">
                  <c:v>-6.5546218487394906E-2</c:v>
                </c:pt>
                <c:pt idx="710">
                  <c:v>-6.5546218487394906E-2</c:v>
                </c:pt>
                <c:pt idx="711">
                  <c:v>-6.5546218487394906E-2</c:v>
                </c:pt>
                <c:pt idx="712">
                  <c:v>-6.4705882352941099E-2</c:v>
                </c:pt>
                <c:pt idx="713">
                  <c:v>-6.3865546218487307E-2</c:v>
                </c:pt>
                <c:pt idx="714">
                  <c:v>-6.3865546218487307E-2</c:v>
                </c:pt>
                <c:pt idx="715">
                  <c:v>-6.3865546218487307E-2</c:v>
                </c:pt>
                <c:pt idx="716">
                  <c:v>-6.3865546218487307E-2</c:v>
                </c:pt>
                <c:pt idx="717">
                  <c:v>-6.3865546218487307E-2</c:v>
                </c:pt>
                <c:pt idx="718">
                  <c:v>-6.3865546218487307E-2</c:v>
                </c:pt>
                <c:pt idx="719">
                  <c:v>-6.3865546218487307E-2</c:v>
                </c:pt>
                <c:pt idx="720">
                  <c:v>-6.3865546218487307E-2</c:v>
                </c:pt>
                <c:pt idx="721">
                  <c:v>-6.3865546218487307E-2</c:v>
                </c:pt>
                <c:pt idx="722">
                  <c:v>-6.4705882352941099E-2</c:v>
                </c:pt>
                <c:pt idx="723">
                  <c:v>-6.4705882352941099E-2</c:v>
                </c:pt>
                <c:pt idx="724">
                  <c:v>-6.4705882352941099E-2</c:v>
                </c:pt>
                <c:pt idx="725">
                  <c:v>-6.4705882352941099E-2</c:v>
                </c:pt>
                <c:pt idx="726">
                  <c:v>-6.4705882352941099E-2</c:v>
                </c:pt>
                <c:pt idx="727">
                  <c:v>-6.4705882352941099E-2</c:v>
                </c:pt>
                <c:pt idx="728">
                  <c:v>-6.4705882352941099E-2</c:v>
                </c:pt>
                <c:pt idx="729">
                  <c:v>-6.4705882352941099E-2</c:v>
                </c:pt>
                <c:pt idx="730">
                  <c:v>-6.4705882352941099E-2</c:v>
                </c:pt>
                <c:pt idx="731">
                  <c:v>-6.4705882352941099E-2</c:v>
                </c:pt>
                <c:pt idx="732">
                  <c:v>-6.4705882352941099E-2</c:v>
                </c:pt>
                <c:pt idx="733">
                  <c:v>-6.4705882352941099E-2</c:v>
                </c:pt>
                <c:pt idx="734">
                  <c:v>-6.3865546218487307E-2</c:v>
                </c:pt>
                <c:pt idx="735">
                  <c:v>-6.3865546218487307E-2</c:v>
                </c:pt>
                <c:pt idx="736">
                  <c:v>-6.3865546218487307E-2</c:v>
                </c:pt>
                <c:pt idx="737">
                  <c:v>-6.3865546218487307E-2</c:v>
                </c:pt>
                <c:pt idx="738">
                  <c:v>-6.3865546218487307E-2</c:v>
                </c:pt>
                <c:pt idx="739">
                  <c:v>-6.3865546218487307E-2</c:v>
                </c:pt>
                <c:pt idx="740">
                  <c:v>-6.4705882352941099E-2</c:v>
                </c:pt>
                <c:pt idx="741">
                  <c:v>-6.4705882352941099E-2</c:v>
                </c:pt>
                <c:pt idx="742">
                  <c:v>-6.4705882352941099E-2</c:v>
                </c:pt>
                <c:pt idx="743">
                  <c:v>-6.4705882352941099E-2</c:v>
                </c:pt>
                <c:pt idx="744">
                  <c:v>-6.4705882352941099E-2</c:v>
                </c:pt>
                <c:pt idx="745">
                  <c:v>-6.4705882352941099E-2</c:v>
                </c:pt>
                <c:pt idx="746">
                  <c:v>-6.4705882352941099E-2</c:v>
                </c:pt>
                <c:pt idx="747">
                  <c:v>-6.4705882352941099E-2</c:v>
                </c:pt>
                <c:pt idx="748">
                  <c:v>-6.4705882352941099E-2</c:v>
                </c:pt>
                <c:pt idx="749">
                  <c:v>-6.5546218487394906E-2</c:v>
                </c:pt>
                <c:pt idx="750">
                  <c:v>-6.5546218487394906E-2</c:v>
                </c:pt>
                <c:pt idx="751">
                  <c:v>-6.5546218487394906E-2</c:v>
                </c:pt>
                <c:pt idx="752">
                  <c:v>-6.4705882352941099E-2</c:v>
                </c:pt>
                <c:pt idx="753">
                  <c:v>-6.4705882352941099E-2</c:v>
                </c:pt>
                <c:pt idx="754">
                  <c:v>-6.4705882352941099E-2</c:v>
                </c:pt>
                <c:pt idx="755">
                  <c:v>-6.4705882352941099E-2</c:v>
                </c:pt>
                <c:pt idx="756">
                  <c:v>-6.4705882352941099E-2</c:v>
                </c:pt>
                <c:pt idx="757">
                  <c:v>-6.3865546218487307E-2</c:v>
                </c:pt>
                <c:pt idx="758">
                  <c:v>-6.4705882352941099E-2</c:v>
                </c:pt>
                <c:pt idx="759">
                  <c:v>-6.4705882352941099E-2</c:v>
                </c:pt>
                <c:pt idx="760">
                  <c:v>-6.4705882352941099E-2</c:v>
                </c:pt>
                <c:pt idx="761">
                  <c:v>-6.4705882352941099E-2</c:v>
                </c:pt>
                <c:pt idx="762">
                  <c:v>-6.4705882352941099E-2</c:v>
                </c:pt>
                <c:pt idx="763">
                  <c:v>-6.4705882352941099E-2</c:v>
                </c:pt>
                <c:pt idx="764">
                  <c:v>-6.3865546218487307E-2</c:v>
                </c:pt>
                <c:pt idx="765">
                  <c:v>-6.3865546218487307E-2</c:v>
                </c:pt>
                <c:pt idx="766">
                  <c:v>-6.3865546218487307E-2</c:v>
                </c:pt>
                <c:pt idx="767">
                  <c:v>-6.3865546218487307E-2</c:v>
                </c:pt>
                <c:pt idx="768">
                  <c:v>-6.3865546218487307E-2</c:v>
                </c:pt>
                <c:pt idx="769">
                  <c:v>-6.3865546218487307E-2</c:v>
                </c:pt>
                <c:pt idx="770">
                  <c:v>-6.3865546218487307E-2</c:v>
                </c:pt>
                <c:pt idx="771">
                  <c:v>-6.3865546218487307E-2</c:v>
                </c:pt>
                <c:pt idx="772">
                  <c:v>-6.3865546218487307E-2</c:v>
                </c:pt>
                <c:pt idx="773">
                  <c:v>-6.3865546218487307E-2</c:v>
                </c:pt>
                <c:pt idx="774">
                  <c:v>-6.4705882352941099E-2</c:v>
                </c:pt>
                <c:pt idx="775">
                  <c:v>-6.4705882352941099E-2</c:v>
                </c:pt>
                <c:pt idx="776">
                  <c:v>-6.4705882352941099E-2</c:v>
                </c:pt>
                <c:pt idx="777">
                  <c:v>-6.4705882352941099E-2</c:v>
                </c:pt>
                <c:pt idx="778">
                  <c:v>-6.4705882352941099E-2</c:v>
                </c:pt>
                <c:pt idx="779">
                  <c:v>-6.3865546218487307E-2</c:v>
                </c:pt>
                <c:pt idx="780">
                  <c:v>-6.3865546218487307E-2</c:v>
                </c:pt>
                <c:pt idx="781">
                  <c:v>-6.3865546218487307E-2</c:v>
                </c:pt>
                <c:pt idx="782">
                  <c:v>-6.3865546218487307E-2</c:v>
                </c:pt>
                <c:pt idx="783">
                  <c:v>-6.3865546218487307E-2</c:v>
                </c:pt>
                <c:pt idx="784">
                  <c:v>-6.3865546218487307E-2</c:v>
                </c:pt>
                <c:pt idx="785">
                  <c:v>-6.3865546218487307E-2</c:v>
                </c:pt>
                <c:pt idx="786">
                  <c:v>-6.3865546218487307E-2</c:v>
                </c:pt>
                <c:pt idx="787">
                  <c:v>-6.3865546218487307E-2</c:v>
                </c:pt>
                <c:pt idx="788">
                  <c:v>-6.3865546218487307E-2</c:v>
                </c:pt>
                <c:pt idx="789">
                  <c:v>-6.3025210084033598E-2</c:v>
                </c:pt>
                <c:pt idx="790">
                  <c:v>-6.3025210084033598E-2</c:v>
                </c:pt>
                <c:pt idx="791">
                  <c:v>-6.3025210084033598E-2</c:v>
                </c:pt>
                <c:pt idx="792">
                  <c:v>-6.3025210084033598E-2</c:v>
                </c:pt>
                <c:pt idx="793">
                  <c:v>-6.3025210084033598E-2</c:v>
                </c:pt>
                <c:pt idx="794">
                  <c:v>-6.3025210084033598E-2</c:v>
                </c:pt>
                <c:pt idx="795">
                  <c:v>-6.3025210084033598E-2</c:v>
                </c:pt>
                <c:pt idx="796">
                  <c:v>-6.3025210084033598E-2</c:v>
                </c:pt>
                <c:pt idx="797">
                  <c:v>-6.3025210084033598E-2</c:v>
                </c:pt>
                <c:pt idx="798">
                  <c:v>-6.3025210084033598E-2</c:v>
                </c:pt>
                <c:pt idx="799">
                  <c:v>-6.3025210084033598E-2</c:v>
                </c:pt>
                <c:pt idx="800">
                  <c:v>-6.3025210084033598E-2</c:v>
                </c:pt>
                <c:pt idx="801">
                  <c:v>-6.3025210084033598E-2</c:v>
                </c:pt>
                <c:pt idx="802">
                  <c:v>-6.3025210084033598E-2</c:v>
                </c:pt>
                <c:pt idx="803">
                  <c:v>-6.3025210084033598E-2</c:v>
                </c:pt>
                <c:pt idx="804">
                  <c:v>-6.3025210084033598E-2</c:v>
                </c:pt>
                <c:pt idx="805">
                  <c:v>-6.3025210084033598E-2</c:v>
                </c:pt>
                <c:pt idx="806">
                  <c:v>-6.3025210084033598E-2</c:v>
                </c:pt>
                <c:pt idx="807">
                  <c:v>-6.3025210084033598E-2</c:v>
                </c:pt>
                <c:pt idx="808">
                  <c:v>-6.3025210084033598E-2</c:v>
                </c:pt>
                <c:pt idx="809">
                  <c:v>-6.3025210084033598E-2</c:v>
                </c:pt>
                <c:pt idx="810">
                  <c:v>-6.3025210084033598E-2</c:v>
                </c:pt>
                <c:pt idx="811">
                  <c:v>-6.3025210084033598E-2</c:v>
                </c:pt>
                <c:pt idx="812">
                  <c:v>-6.3025210084033598E-2</c:v>
                </c:pt>
                <c:pt idx="813">
                  <c:v>-6.3025210084033598E-2</c:v>
                </c:pt>
                <c:pt idx="814">
                  <c:v>-6.3025210084033598E-2</c:v>
                </c:pt>
                <c:pt idx="815">
                  <c:v>-6.3025210084033598E-2</c:v>
                </c:pt>
                <c:pt idx="816">
                  <c:v>-6.3025210084033598E-2</c:v>
                </c:pt>
                <c:pt idx="817">
                  <c:v>-6.2184873949579798E-2</c:v>
                </c:pt>
                <c:pt idx="818">
                  <c:v>-6.2184873949579798E-2</c:v>
                </c:pt>
                <c:pt idx="819">
                  <c:v>-6.2184873949579798E-2</c:v>
                </c:pt>
                <c:pt idx="820">
                  <c:v>-6.2184873949579798E-2</c:v>
                </c:pt>
                <c:pt idx="821">
                  <c:v>-6.2184873949579798E-2</c:v>
                </c:pt>
                <c:pt idx="822">
                  <c:v>-6.2184873949579798E-2</c:v>
                </c:pt>
                <c:pt idx="823">
                  <c:v>-6.2184873949579798E-2</c:v>
                </c:pt>
                <c:pt idx="824">
                  <c:v>-6.2184873949579798E-2</c:v>
                </c:pt>
                <c:pt idx="825">
                  <c:v>-6.2184873949579798E-2</c:v>
                </c:pt>
                <c:pt idx="826">
                  <c:v>-6.2184873949579798E-2</c:v>
                </c:pt>
                <c:pt idx="827">
                  <c:v>-6.2184873949579798E-2</c:v>
                </c:pt>
                <c:pt idx="828">
                  <c:v>-6.2184873949579798E-2</c:v>
                </c:pt>
                <c:pt idx="829">
                  <c:v>-6.2184873949579798E-2</c:v>
                </c:pt>
                <c:pt idx="830">
                  <c:v>-6.2184873949579798E-2</c:v>
                </c:pt>
                <c:pt idx="831">
                  <c:v>-6.2184873949579798E-2</c:v>
                </c:pt>
                <c:pt idx="832">
                  <c:v>-6.2184873949579798E-2</c:v>
                </c:pt>
                <c:pt idx="833">
                  <c:v>-6.2184873949579798E-2</c:v>
                </c:pt>
                <c:pt idx="834">
                  <c:v>-6.2184873949579798E-2</c:v>
                </c:pt>
                <c:pt idx="835">
                  <c:v>-6.2184873949579798E-2</c:v>
                </c:pt>
                <c:pt idx="836">
                  <c:v>-6.2184873949579798E-2</c:v>
                </c:pt>
                <c:pt idx="837">
                  <c:v>-6.2184873949579798E-2</c:v>
                </c:pt>
                <c:pt idx="838">
                  <c:v>-6.2184873949579798E-2</c:v>
                </c:pt>
                <c:pt idx="839">
                  <c:v>-6.2184873949579798E-2</c:v>
                </c:pt>
                <c:pt idx="840">
                  <c:v>-6.2184873949579798E-2</c:v>
                </c:pt>
                <c:pt idx="841">
                  <c:v>-6.2184873949579798E-2</c:v>
                </c:pt>
                <c:pt idx="842">
                  <c:v>-6.2184873949579798E-2</c:v>
                </c:pt>
                <c:pt idx="843">
                  <c:v>-6.2184873949579798E-2</c:v>
                </c:pt>
                <c:pt idx="844">
                  <c:v>-6.2184873949579798E-2</c:v>
                </c:pt>
                <c:pt idx="845">
                  <c:v>-6.2184873949579798E-2</c:v>
                </c:pt>
                <c:pt idx="846">
                  <c:v>-6.2184873949579798E-2</c:v>
                </c:pt>
                <c:pt idx="847">
                  <c:v>-6.2184873949579798E-2</c:v>
                </c:pt>
                <c:pt idx="848">
                  <c:v>-6.2184873949579798E-2</c:v>
                </c:pt>
                <c:pt idx="849">
                  <c:v>-6.2184873949579798E-2</c:v>
                </c:pt>
                <c:pt idx="850">
                  <c:v>-6.2184873949579798E-2</c:v>
                </c:pt>
                <c:pt idx="851">
                  <c:v>-6.2184873949579798E-2</c:v>
                </c:pt>
                <c:pt idx="852">
                  <c:v>-6.2184873949579798E-2</c:v>
                </c:pt>
                <c:pt idx="853">
                  <c:v>-6.2184873949579798E-2</c:v>
                </c:pt>
                <c:pt idx="854">
                  <c:v>-6.2184873949579798E-2</c:v>
                </c:pt>
                <c:pt idx="855">
                  <c:v>-6.3025210084033598E-2</c:v>
                </c:pt>
                <c:pt idx="856">
                  <c:v>-6.3025210084033598E-2</c:v>
                </c:pt>
                <c:pt idx="857">
                  <c:v>-6.3025210084033598E-2</c:v>
                </c:pt>
                <c:pt idx="858">
                  <c:v>-6.3025210084033598E-2</c:v>
                </c:pt>
                <c:pt idx="859">
                  <c:v>-6.3025210084033598E-2</c:v>
                </c:pt>
                <c:pt idx="860">
                  <c:v>-6.2184873949579798E-2</c:v>
                </c:pt>
                <c:pt idx="861">
                  <c:v>-6.2184873949579798E-2</c:v>
                </c:pt>
                <c:pt idx="862">
                  <c:v>-6.2184873949579798E-2</c:v>
                </c:pt>
                <c:pt idx="863">
                  <c:v>-6.2184873949579798E-2</c:v>
                </c:pt>
                <c:pt idx="864">
                  <c:v>-6.2184873949579798E-2</c:v>
                </c:pt>
                <c:pt idx="865">
                  <c:v>-6.2184873949579798E-2</c:v>
                </c:pt>
                <c:pt idx="866">
                  <c:v>-6.2184873949579798E-2</c:v>
                </c:pt>
                <c:pt idx="867">
                  <c:v>-6.2184873949579798E-2</c:v>
                </c:pt>
                <c:pt idx="868">
                  <c:v>-6.2184873949579798E-2</c:v>
                </c:pt>
                <c:pt idx="869">
                  <c:v>-6.2184873949579798E-2</c:v>
                </c:pt>
                <c:pt idx="870">
                  <c:v>-6.2184873949579798E-2</c:v>
                </c:pt>
                <c:pt idx="871">
                  <c:v>-6.2184873949579798E-2</c:v>
                </c:pt>
                <c:pt idx="872">
                  <c:v>-6.2184873949579798E-2</c:v>
                </c:pt>
                <c:pt idx="873">
                  <c:v>-6.2184873949579798E-2</c:v>
                </c:pt>
                <c:pt idx="874">
                  <c:v>-6.2184873949579798E-2</c:v>
                </c:pt>
                <c:pt idx="875">
                  <c:v>-6.1344537815125999E-2</c:v>
                </c:pt>
                <c:pt idx="876">
                  <c:v>-6.1344537815125999E-2</c:v>
                </c:pt>
                <c:pt idx="877">
                  <c:v>-6.1344537815125999E-2</c:v>
                </c:pt>
                <c:pt idx="878">
                  <c:v>-6.1344537815125999E-2</c:v>
                </c:pt>
                <c:pt idx="879">
                  <c:v>-6.05042016806722E-2</c:v>
                </c:pt>
                <c:pt idx="880">
                  <c:v>-6.05042016806722E-2</c:v>
                </c:pt>
                <c:pt idx="881">
                  <c:v>-6.05042016806722E-2</c:v>
                </c:pt>
                <c:pt idx="882">
                  <c:v>-6.05042016806722E-2</c:v>
                </c:pt>
                <c:pt idx="883">
                  <c:v>-5.96638655462184E-2</c:v>
                </c:pt>
                <c:pt idx="884">
                  <c:v>-5.96638655462184E-2</c:v>
                </c:pt>
                <c:pt idx="885">
                  <c:v>-5.96638655462184E-2</c:v>
                </c:pt>
                <c:pt idx="886">
                  <c:v>-5.96638655462184E-2</c:v>
                </c:pt>
                <c:pt idx="887">
                  <c:v>-6.05042016806722E-2</c:v>
                </c:pt>
                <c:pt idx="888">
                  <c:v>-6.05042016806722E-2</c:v>
                </c:pt>
                <c:pt idx="889">
                  <c:v>-6.05042016806722E-2</c:v>
                </c:pt>
                <c:pt idx="890">
                  <c:v>-6.05042016806722E-2</c:v>
                </c:pt>
                <c:pt idx="891">
                  <c:v>-6.05042016806722E-2</c:v>
                </c:pt>
                <c:pt idx="892">
                  <c:v>-6.1344537815125999E-2</c:v>
                </c:pt>
                <c:pt idx="893">
                  <c:v>-6.1344537815125999E-2</c:v>
                </c:pt>
                <c:pt idx="894">
                  <c:v>-6.1344537815125999E-2</c:v>
                </c:pt>
                <c:pt idx="895">
                  <c:v>-6.1344537815125999E-2</c:v>
                </c:pt>
                <c:pt idx="896">
                  <c:v>-6.1344537815125999E-2</c:v>
                </c:pt>
                <c:pt idx="897">
                  <c:v>-6.1344537815125999E-2</c:v>
                </c:pt>
                <c:pt idx="898">
                  <c:v>-6.1344537815125999E-2</c:v>
                </c:pt>
                <c:pt idx="899">
                  <c:v>-6.1344537815125999E-2</c:v>
                </c:pt>
                <c:pt idx="900">
                  <c:v>-6.1344537815125999E-2</c:v>
                </c:pt>
                <c:pt idx="901">
                  <c:v>-6.2184873949579798E-2</c:v>
                </c:pt>
                <c:pt idx="902">
                  <c:v>-6.2184873949579798E-2</c:v>
                </c:pt>
                <c:pt idx="903">
                  <c:v>-6.2184873949579798E-2</c:v>
                </c:pt>
                <c:pt idx="904">
                  <c:v>-6.1344537815125999E-2</c:v>
                </c:pt>
                <c:pt idx="905">
                  <c:v>-6.05042016806722E-2</c:v>
                </c:pt>
                <c:pt idx="906">
                  <c:v>-6.05042016806722E-2</c:v>
                </c:pt>
                <c:pt idx="907">
                  <c:v>-6.1344537815125999E-2</c:v>
                </c:pt>
                <c:pt idx="908">
                  <c:v>-6.1344537815125999E-2</c:v>
                </c:pt>
                <c:pt idx="909">
                  <c:v>-6.1344537815125999E-2</c:v>
                </c:pt>
                <c:pt idx="910">
                  <c:v>-6.1344537815125999E-2</c:v>
                </c:pt>
                <c:pt idx="911">
                  <c:v>-6.1344537815125999E-2</c:v>
                </c:pt>
                <c:pt idx="912">
                  <c:v>-6.1344537815125999E-2</c:v>
                </c:pt>
                <c:pt idx="913">
                  <c:v>-6.1344537815125999E-2</c:v>
                </c:pt>
                <c:pt idx="914">
                  <c:v>-6.1344537815125999E-2</c:v>
                </c:pt>
                <c:pt idx="915">
                  <c:v>-6.1344537815125999E-2</c:v>
                </c:pt>
                <c:pt idx="916">
                  <c:v>-6.1344537815125999E-2</c:v>
                </c:pt>
                <c:pt idx="917">
                  <c:v>-6.1344537815125999E-2</c:v>
                </c:pt>
                <c:pt idx="918">
                  <c:v>-6.1344537815125999E-2</c:v>
                </c:pt>
                <c:pt idx="919">
                  <c:v>-6.1344537815125999E-2</c:v>
                </c:pt>
                <c:pt idx="920">
                  <c:v>-6.1344537815125999E-2</c:v>
                </c:pt>
                <c:pt idx="921">
                  <c:v>-6.1344537815125999E-2</c:v>
                </c:pt>
                <c:pt idx="922">
                  <c:v>-6.1344537815125999E-2</c:v>
                </c:pt>
                <c:pt idx="923">
                  <c:v>-6.05042016806722E-2</c:v>
                </c:pt>
                <c:pt idx="924">
                  <c:v>-6.05042016806722E-2</c:v>
                </c:pt>
                <c:pt idx="925">
                  <c:v>-6.05042016806722E-2</c:v>
                </c:pt>
                <c:pt idx="926">
                  <c:v>-6.1344537815125999E-2</c:v>
                </c:pt>
                <c:pt idx="927">
                  <c:v>-6.1344537815125999E-2</c:v>
                </c:pt>
                <c:pt idx="928">
                  <c:v>-6.1344537815125999E-2</c:v>
                </c:pt>
                <c:pt idx="929">
                  <c:v>-6.1344537815125999E-2</c:v>
                </c:pt>
                <c:pt idx="930">
                  <c:v>-6.1344537815125999E-2</c:v>
                </c:pt>
                <c:pt idx="931">
                  <c:v>-6.1344537815125999E-2</c:v>
                </c:pt>
                <c:pt idx="932">
                  <c:v>-6.2184873949579798E-2</c:v>
                </c:pt>
                <c:pt idx="933">
                  <c:v>-6.2184873949579798E-2</c:v>
                </c:pt>
                <c:pt idx="934">
                  <c:v>-6.1344537815125999E-2</c:v>
                </c:pt>
                <c:pt idx="935">
                  <c:v>-6.1344537815125999E-2</c:v>
                </c:pt>
                <c:pt idx="936">
                  <c:v>-6.1344537815125999E-2</c:v>
                </c:pt>
                <c:pt idx="937">
                  <c:v>-6.1344537815125999E-2</c:v>
                </c:pt>
                <c:pt idx="938">
                  <c:v>-6.1344537815125999E-2</c:v>
                </c:pt>
                <c:pt idx="939">
                  <c:v>-6.05042016806722E-2</c:v>
                </c:pt>
                <c:pt idx="940">
                  <c:v>-6.05042016806722E-2</c:v>
                </c:pt>
                <c:pt idx="941">
                  <c:v>-6.05042016806722E-2</c:v>
                </c:pt>
                <c:pt idx="942">
                  <c:v>-6.05042016806722E-2</c:v>
                </c:pt>
                <c:pt idx="943">
                  <c:v>-6.05042016806722E-2</c:v>
                </c:pt>
                <c:pt idx="944">
                  <c:v>-6.05042016806722E-2</c:v>
                </c:pt>
                <c:pt idx="945">
                  <c:v>-6.05042016806722E-2</c:v>
                </c:pt>
                <c:pt idx="946">
                  <c:v>-6.05042016806722E-2</c:v>
                </c:pt>
                <c:pt idx="947">
                  <c:v>-6.05042016806722E-2</c:v>
                </c:pt>
                <c:pt idx="948">
                  <c:v>-6.05042016806722E-2</c:v>
                </c:pt>
                <c:pt idx="949">
                  <c:v>-6.05042016806722E-2</c:v>
                </c:pt>
                <c:pt idx="950">
                  <c:v>-6.05042016806722E-2</c:v>
                </c:pt>
                <c:pt idx="951">
                  <c:v>-6.1344537815125999E-2</c:v>
                </c:pt>
                <c:pt idx="952">
                  <c:v>-6.2184873949579798E-2</c:v>
                </c:pt>
                <c:pt idx="953">
                  <c:v>-6.2184873949579798E-2</c:v>
                </c:pt>
                <c:pt idx="954">
                  <c:v>-6.2184873949579798E-2</c:v>
                </c:pt>
                <c:pt idx="955">
                  <c:v>-6.2184873949579798E-2</c:v>
                </c:pt>
                <c:pt idx="956">
                  <c:v>-6.2184873949579798E-2</c:v>
                </c:pt>
                <c:pt idx="957">
                  <c:v>-6.2184873949579798E-2</c:v>
                </c:pt>
                <c:pt idx="958">
                  <c:v>-6.2184873949579798E-2</c:v>
                </c:pt>
                <c:pt idx="959">
                  <c:v>-6.2184873949579798E-2</c:v>
                </c:pt>
                <c:pt idx="960">
                  <c:v>-6.2184873949579798E-2</c:v>
                </c:pt>
                <c:pt idx="961">
                  <c:v>-6.2184873949579798E-2</c:v>
                </c:pt>
                <c:pt idx="962">
                  <c:v>-6.2184873949579798E-2</c:v>
                </c:pt>
                <c:pt idx="963">
                  <c:v>-6.2184873949579798E-2</c:v>
                </c:pt>
                <c:pt idx="964">
                  <c:v>-6.2184873949579798E-2</c:v>
                </c:pt>
                <c:pt idx="965">
                  <c:v>-6.2184873949579798E-2</c:v>
                </c:pt>
                <c:pt idx="966">
                  <c:v>-6.2184873949579798E-2</c:v>
                </c:pt>
                <c:pt idx="967">
                  <c:v>-6.2184873949579798E-2</c:v>
                </c:pt>
                <c:pt idx="968">
                  <c:v>-6.2184873949579798E-2</c:v>
                </c:pt>
                <c:pt idx="969">
                  <c:v>-6.2184873949579798E-2</c:v>
                </c:pt>
                <c:pt idx="970">
                  <c:v>-6.2184873949579798E-2</c:v>
                </c:pt>
                <c:pt idx="971">
                  <c:v>-6.2184873949579798E-2</c:v>
                </c:pt>
                <c:pt idx="972">
                  <c:v>-6.2184873949579798E-2</c:v>
                </c:pt>
                <c:pt idx="973">
                  <c:v>-6.2184873949579798E-2</c:v>
                </c:pt>
                <c:pt idx="974">
                  <c:v>-6.2184873949579798E-2</c:v>
                </c:pt>
                <c:pt idx="975">
                  <c:v>-6.2184873949579798E-2</c:v>
                </c:pt>
                <c:pt idx="976">
                  <c:v>-6.2184873949579798E-2</c:v>
                </c:pt>
                <c:pt idx="977">
                  <c:v>-6.2184873949579798E-2</c:v>
                </c:pt>
                <c:pt idx="978">
                  <c:v>-6.2184873949579798E-2</c:v>
                </c:pt>
                <c:pt idx="979">
                  <c:v>-6.2184873949579798E-2</c:v>
                </c:pt>
                <c:pt idx="980">
                  <c:v>-6.2184873949579798E-2</c:v>
                </c:pt>
                <c:pt idx="981">
                  <c:v>-6.2184873949579798E-2</c:v>
                </c:pt>
                <c:pt idx="982">
                  <c:v>-6.2184873949579798E-2</c:v>
                </c:pt>
                <c:pt idx="983">
                  <c:v>-6.2184873949579798E-2</c:v>
                </c:pt>
                <c:pt idx="984">
                  <c:v>-6.2184873949579798E-2</c:v>
                </c:pt>
                <c:pt idx="985">
                  <c:v>-6.2184873949579798E-2</c:v>
                </c:pt>
                <c:pt idx="986">
                  <c:v>-6.2184873949579798E-2</c:v>
                </c:pt>
                <c:pt idx="987">
                  <c:v>-6.2184873949579798E-2</c:v>
                </c:pt>
                <c:pt idx="988">
                  <c:v>-6.2184873949579798E-2</c:v>
                </c:pt>
                <c:pt idx="989">
                  <c:v>-6.2184873949579798E-2</c:v>
                </c:pt>
                <c:pt idx="990">
                  <c:v>-6.2184873949579798E-2</c:v>
                </c:pt>
                <c:pt idx="991">
                  <c:v>-6.2184873949579798E-2</c:v>
                </c:pt>
                <c:pt idx="992">
                  <c:v>-6.2184873949579798E-2</c:v>
                </c:pt>
                <c:pt idx="993">
                  <c:v>-6.2184873949579798E-2</c:v>
                </c:pt>
                <c:pt idx="994">
                  <c:v>-6.2184873949579798E-2</c:v>
                </c:pt>
                <c:pt idx="995">
                  <c:v>-6.2184873949579798E-2</c:v>
                </c:pt>
                <c:pt idx="996">
                  <c:v>-6.2184873949579798E-2</c:v>
                </c:pt>
                <c:pt idx="997">
                  <c:v>-6.2184873949579798E-2</c:v>
                </c:pt>
                <c:pt idx="998">
                  <c:v>-6.2184873949579798E-2</c:v>
                </c:pt>
                <c:pt idx="999">
                  <c:v>-6.2184873949579798E-2</c:v>
                </c:pt>
                <c:pt idx="1000">
                  <c:v>-6.2184873949579798E-2</c:v>
                </c:pt>
                <c:pt idx="1001">
                  <c:v>-6.3025210084033598E-2</c:v>
                </c:pt>
                <c:pt idx="1002">
                  <c:v>-6.3025210084033598E-2</c:v>
                </c:pt>
                <c:pt idx="1003">
                  <c:v>-6.3865546218487307E-2</c:v>
                </c:pt>
                <c:pt idx="1004">
                  <c:v>-6.3865546218487307E-2</c:v>
                </c:pt>
                <c:pt idx="1005">
                  <c:v>-6.3865546218487307E-2</c:v>
                </c:pt>
                <c:pt idx="1006">
                  <c:v>-6.3865546218487307E-2</c:v>
                </c:pt>
                <c:pt idx="1007">
                  <c:v>-6.3865546218487307E-2</c:v>
                </c:pt>
                <c:pt idx="1008">
                  <c:v>-6.3865546218487307E-2</c:v>
                </c:pt>
                <c:pt idx="1009">
                  <c:v>-6.3865546218487307E-2</c:v>
                </c:pt>
                <c:pt idx="1010">
                  <c:v>-6.3865546218487307E-2</c:v>
                </c:pt>
                <c:pt idx="1011">
                  <c:v>-6.3865546218487307E-2</c:v>
                </c:pt>
                <c:pt idx="1012">
                  <c:v>-6.3865546218487307E-2</c:v>
                </c:pt>
                <c:pt idx="1013">
                  <c:v>-6.3865546218487307E-2</c:v>
                </c:pt>
                <c:pt idx="1014">
                  <c:v>-6.3865546218487307E-2</c:v>
                </c:pt>
                <c:pt idx="1015">
                  <c:v>-6.3865546218487307E-2</c:v>
                </c:pt>
                <c:pt idx="1016">
                  <c:v>-6.3865546218487307E-2</c:v>
                </c:pt>
                <c:pt idx="1017">
                  <c:v>-6.3865546218487307E-2</c:v>
                </c:pt>
                <c:pt idx="1018">
                  <c:v>-6.3865546218487307E-2</c:v>
                </c:pt>
                <c:pt idx="1019">
                  <c:v>-6.3865546218487307E-2</c:v>
                </c:pt>
                <c:pt idx="1020">
                  <c:v>-6.3865546218487307E-2</c:v>
                </c:pt>
                <c:pt idx="1021">
                  <c:v>-6.3865546218487307E-2</c:v>
                </c:pt>
                <c:pt idx="1022">
                  <c:v>-6.3865546218487307E-2</c:v>
                </c:pt>
                <c:pt idx="1023">
                  <c:v>-6.3865546218487307E-2</c:v>
                </c:pt>
                <c:pt idx="1024">
                  <c:v>-6.3865546218487307E-2</c:v>
                </c:pt>
                <c:pt idx="1025">
                  <c:v>-6.4705882352941099E-2</c:v>
                </c:pt>
                <c:pt idx="1026">
                  <c:v>-6.4705882352941099E-2</c:v>
                </c:pt>
                <c:pt idx="1027">
                  <c:v>-6.4705882352941099E-2</c:v>
                </c:pt>
                <c:pt idx="1028">
                  <c:v>-6.4705882352941099E-2</c:v>
                </c:pt>
                <c:pt idx="1029">
                  <c:v>-6.4705882352941099E-2</c:v>
                </c:pt>
                <c:pt idx="1030">
                  <c:v>-6.4705882352941099E-2</c:v>
                </c:pt>
                <c:pt idx="1031">
                  <c:v>-6.4705882352941099E-2</c:v>
                </c:pt>
                <c:pt idx="1032">
                  <c:v>-6.4705882352941099E-2</c:v>
                </c:pt>
                <c:pt idx="1033">
                  <c:v>-6.4705882352941099E-2</c:v>
                </c:pt>
                <c:pt idx="1034">
                  <c:v>-6.4705882352941099E-2</c:v>
                </c:pt>
                <c:pt idx="1035">
                  <c:v>-6.4705882352941099E-2</c:v>
                </c:pt>
                <c:pt idx="1036">
                  <c:v>-6.4705882352941099E-2</c:v>
                </c:pt>
                <c:pt idx="1037">
                  <c:v>-6.4705882352941099E-2</c:v>
                </c:pt>
                <c:pt idx="1038">
                  <c:v>-6.4705882352941099E-2</c:v>
                </c:pt>
                <c:pt idx="1039">
                  <c:v>-6.4705882352941099E-2</c:v>
                </c:pt>
                <c:pt idx="1040">
                  <c:v>-6.4705882352941099E-2</c:v>
                </c:pt>
                <c:pt idx="1041">
                  <c:v>-6.5546218487394906E-2</c:v>
                </c:pt>
                <c:pt idx="1042">
                  <c:v>-6.5546218487394906E-2</c:v>
                </c:pt>
                <c:pt idx="1043">
                  <c:v>-6.5546218487394906E-2</c:v>
                </c:pt>
                <c:pt idx="1044">
                  <c:v>-6.5546218487394906E-2</c:v>
                </c:pt>
                <c:pt idx="1045">
                  <c:v>-6.5546218487394906E-2</c:v>
                </c:pt>
                <c:pt idx="1046">
                  <c:v>-6.5546218487394906E-2</c:v>
                </c:pt>
                <c:pt idx="1047">
                  <c:v>-6.5546218487394906E-2</c:v>
                </c:pt>
                <c:pt idx="1048">
                  <c:v>-6.5546218487394906E-2</c:v>
                </c:pt>
                <c:pt idx="1049">
                  <c:v>-6.5546218487394906E-2</c:v>
                </c:pt>
                <c:pt idx="1050">
                  <c:v>-6.5546218487394906E-2</c:v>
                </c:pt>
                <c:pt idx="1051">
                  <c:v>-6.5546218487394906E-2</c:v>
                </c:pt>
                <c:pt idx="1052">
                  <c:v>-6.5546218487394906E-2</c:v>
                </c:pt>
                <c:pt idx="1053">
                  <c:v>-6.6386554621848698E-2</c:v>
                </c:pt>
                <c:pt idx="1054">
                  <c:v>-6.6386554621848698E-2</c:v>
                </c:pt>
                <c:pt idx="1055">
                  <c:v>-6.6386554621848698E-2</c:v>
                </c:pt>
                <c:pt idx="1056">
                  <c:v>-6.6386554621848698E-2</c:v>
                </c:pt>
                <c:pt idx="1057">
                  <c:v>-6.6386554621848698E-2</c:v>
                </c:pt>
                <c:pt idx="1058">
                  <c:v>-6.7226890756302504E-2</c:v>
                </c:pt>
                <c:pt idx="1059">
                  <c:v>-6.7226890756302504E-2</c:v>
                </c:pt>
                <c:pt idx="1060">
                  <c:v>-6.7226890756302504E-2</c:v>
                </c:pt>
                <c:pt idx="1061">
                  <c:v>-6.7226890756302504E-2</c:v>
                </c:pt>
                <c:pt idx="1062">
                  <c:v>-6.6386554621848698E-2</c:v>
                </c:pt>
                <c:pt idx="1063">
                  <c:v>-6.7226890756302504E-2</c:v>
                </c:pt>
                <c:pt idx="1064">
                  <c:v>-6.8067226890756297E-2</c:v>
                </c:pt>
                <c:pt idx="1065">
                  <c:v>-6.8067226890756297E-2</c:v>
                </c:pt>
                <c:pt idx="1066">
                  <c:v>-6.8067226890756297E-2</c:v>
                </c:pt>
                <c:pt idx="1067">
                  <c:v>-6.8067226890756297E-2</c:v>
                </c:pt>
                <c:pt idx="1068">
                  <c:v>-6.8067226890756297E-2</c:v>
                </c:pt>
                <c:pt idx="1069">
                  <c:v>-6.8067226890756297E-2</c:v>
                </c:pt>
                <c:pt idx="1070">
                  <c:v>-6.8067226890756297E-2</c:v>
                </c:pt>
                <c:pt idx="1071">
                  <c:v>-6.8067226890756297E-2</c:v>
                </c:pt>
                <c:pt idx="1072">
                  <c:v>-6.8067226890756297E-2</c:v>
                </c:pt>
                <c:pt idx="1073">
                  <c:v>-6.8067226890756297E-2</c:v>
                </c:pt>
                <c:pt idx="1074">
                  <c:v>-6.8067226890756297E-2</c:v>
                </c:pt>
                <c:pt idx="1075">
                  <c:v>-6.8907563025210006E-2</c:v>
                </c:pt>
                <c:pt idx="1076">
                  <c:v>-6.8907563025210006E-2</c:v>
                </c:pt>
                <c:pt idx="1077">
                  <c:v>-6.8907563025210006E-2</c:v>
                </c:pt>
                <c:pt idx="1078">
                  <c:v>-6.9747899159663798E-2</c:v>
                </c:pt>
                <c:pt idx="1079">
                  <c:v>-6.9747899159663798E-2</c:v>
                </c:pt>
                <c:pt idx="1080">
                  <c:v>-6.9747899159663798E-2</c:v>
                </c:pt>
                <c:pt idx="1081">
                  <c:v>-6.8907563025210006E-2</c:v>
                </c:pt>
                <c:pt idx="1082">
                  <c:v>-6.8907563025210006E-2</c:v>
                </c:pt>
                <c:pt idx="1083">
                  <c:v>-6.8907563025210006E-2</c:v>
                </c:pt>
                <c:pt idx="1084">
                  <c:v>-6.8907563025210006E-2</c:v>
                </c:pt>
                <c:pt idx="1085">
                  <c:v>-6.8907563025210006E-2</c:v>
                </c:pt>
                <c:pt idx="1086">
                  <c:v>-6.8907563025210006E-2</c:v>
                </c:pt>
                <c:pt idx="1087">
                  <c:v>-6.8907563025210006E-2</c:v>
                </c:pt>
                <c:pt idx="1088">
                  <c:v>-6.8907563025210006E-2</c:v>
                </c:pt>
                <c:pt idx="1089">
                  <c:v>-6.8907563025210006E-2</c:v>
                </c:pt>
                <c:pt idx="1090">
                  <c:v>-6.8907563025210006E-2</c:v>
                </c:pt>
                <c:pt idx="1091">
                  <c:v>-6.8907563025210006E-2</c:v>
                </c:pt>
                <c:pt idx="1092">
                  <c:v>-6.9747899159663798E-2</c:v>
                </c:pt>
                <c:pt idx="1093">
                  <c:v>-6.9747899159663798E-2</c:v>
                </c:pt>
                <c:pt idx="1094">
                  <c:v>-6.9747899159663798E-2</c:v>
                </c:pt>
                <c:pt idx="1095">
                  <c:v>-6.9747899159663798E-2</c:v>
                </c:pt>
                <c:pt idx="1096">
                  <c:v>-6.9747899159663798E-2</c:v>
                </c:pt>
                <c:pt idx="1097">
                  <c:v>-6.9747899159663798E-2</c:v>
                </c:pt>
                <c:pt idx="1098">
                  <c:v>-6.9747899159663798E-2</c:v>
                </c:pt>
                <c:pt idx="1099">
                  <c:v>-6.9747899159663798E-2</c:v>
                </c:pt>
                <c:pt idx="1100">
                  <c:v>-6.9747899159663798E-2</c:v>
                </c:pt>
                <c:pt idx="1101">
                  <c:v>-6.9747899159663798E-2</c:v>
                </c:pt>
                <c:pt idx="1102">
                  <c:v>-6.9747899159663798E-2</c:v>
                </c:pt>
                <c:pt idx="1103">
                  <c:v>-6.9747899159663798E-2</c:v>
                </c:pt>
                <c:pt idx="1104">
                  <c:v>-6.9747899159663798E-2</c:v>
                </c:pt>
                <c:pt idx="1105">
                  <c:v>-6.9747899159663798E-2</c:v>
                </c:pt>
                <c:pt idx="1106">
                  <c:v>-6.9747899159663798E-2</c:v>
                </c:pt>
                <c:pt idx="1107">
                  <c:v>-6.9747899159663798E-2</c:v>
                </c:pt>
                <c:pt idx="1108">
                  <c:v>-6.9747899159663798E-2</c:v>
                </c:pt>
                <c:pt idx="1109">
                  <c:v>-6.9747899159663798E-2</c:v>
                </c:pt>
                <c:pt idx="1110">
                  <c:v>-6.9747899159663798E-2</c:v>
                </c:pt>
                <c:pt idx="1111">
                  <c:v>-6.9747899159663798E-2</c:v>
                </c:pt>
                <c:pt idx="1112">
                  <c:v>-6.9747899159663798E-2</c:v>
                </c:pt>
                <c:pt idx="1113">
                  <c:v>-6.9747899159663798E-2</c:v>
                </c:pt>
                <c:pt idx="1114">
                  <c:v>-6.9747899159663798E-2</c:v>
                </c:pt>
                <c:pt idx="1115">
                  <c:v>-7.0588235294117604E-2</c:v>
                </c:pt>
                <c:pt idx="1116">
                  <c:v>-7.1428571428571397E-2</c:v>
                </c:pt>
                <c:pt idx="1117">
                  <c:v>-7.1428571428571397E-2</c:v>
                </c:pt>
                <c:pt idx="1118">
                  <c:v>-7.1428571428571397E-2</c:v>
                </c:pt>
                <c:pt idx="1119">
                  <c:v>-7.1428571428571397E-2</c:v>
                </c:pt>
                <c:pt idx="1120">
                  <c:v>-7.1428571428571397E-2</c:v>
                </c:pt>
                <c:pt idx="1121">
                  <c:v>-7.1428571428571397E-2</c:v>
                </c:pt>
                <c:pt idx="1122">
                  <c:v>-7.1428571428571397E-2</c:v>
                </c:pt>
                <c:pt idx="1123">
                  <c:v>-7.1428571428571397E-2</c:v>
                </c:pt>
                <c:pt idx="1124">
                  <c:v>-7.1428571428571397E-2</c:v>
                </c:pt>
                <c:pt idx="1125">
                  <c:v>-7.1428571428571397E-2</c:v>
                </c:pt>
                <c:pt idx="1126">
                  <c:v>-7.1428571428571397E-2</c:v>
                </c:pt>
                <c:pt idx="1127">
                  <c:v>-7.1428571428571397E-2</c:v>
                </c:pt>
                <c:pt idx="1128">
                  <c:v>-7.1428571428571397E-2</c:v>
                </c:pt>
                <c:pt idx="1129">
                  <c:v>-7.1428571428571397E-2</c:v>
                </c:pt>
                <c:pt idx="1130">
                  <c:v>-7.1428571428571397E-2</c:v>
                </c:pt>
                <c:pt idx="1131">
                  <c:v>-7.1428571428571397E-2</c:v>
                </c:pt>
                <c:pt idx="1132">
                  <c:v>-7.1428571428571397E-2</c:v>
                </c:pt>
                <c:pt idx="1133">
                  <c:v>-7.2268907563025203E-2</c:v>
                </c:pt>
                <c:pt idx="1134">
                  <c:v>-7.2268907563025203E-2</c:v>
                </c:pt>
                <c:pt idx="1135">
                  <c:v>-7.2268907563025203E-2</c:v>
                </c:pt>
                <c:pt idx="1136">
                  <c:v>-7.2268907563025203E-2</c:v>
                </c:pt>
                <c:pt idx="1137">
                  <c:v>-7.1428571428571397E-2</c:v>
                </c:pt>
                <c:pt idx="1138">
                  <c:v>-7.1428571428571397E-2</c:v>
                </c:pt>
                <c:pt idx="1139">
                  <c:v>-7.1428571428571397E-2</c:v>
                </c:pt>
                <c:pt idx="1140">
                  <c:v>-7.1428571428571397E-2</c:v>
                </c:pt>
                <c:pt idx="1141">
                  <c:v>-7.1428571428571397E-2</c:v>
                </c:pt>
                <c:pt idx="1142">
                  <c:v>-7.1428571428571397E-2</c:v>
                </c:pt>
                <c:pt idx="1143">
                  <c:v>-7.1428571428571397E-2</c:v>
                </c:pt>
                <c:pt idx="1144">
                  <c:v>-7.1428571428571397E-2</c:v>
                </c:pt>
                <c:pt idx="1145">
                  <c:v>-7.1428571428571397E-2</c:v>
                </c:pt>
                <c:pt idx="1146">
                  <c:v>-7.1428571428571397E-2</c:v>
                </c:pt>
                <c:pt idx="1147">
                  <c:v>-7.1428571428571397E-2</c:v>
                </c:pt>
                <c:pt idx="1148">
                  <c:v>-7.0588235294117604E-2</c:v>
                </c:pt>
                <c:pt idx="1149">
                  <c:v>-7.0588235294117604E-2</c:v>
                </c:pt>
                <c:pt idx="1150">
                  <c:v>-7.0588235294117604E-2</c:v>
                </c:pt>
                <c:pt idx="1151">
                  <c:v>-7.0588235294117604E-2</c:v>
                </c:pt>
                <c:pt idx="1152">
                  <c:v>-7.0588235294117604E-2</c:v>
                </c:pt>
                <c:pt idx="1153">
                  <c:v>-7.0588235294117604E-2</c:v>
                </c:pt>
                <c:pt idx="1154">
                  <c:v>-7.0588235294117604E-2</c:v>
                </c:pt>
                <c:pt idx="1155">
                  <c:v>-7.0588235294117604E-2</c:v>
                </c:pt>
                <c:pt idx="1156">
                  <c:v>-7.0588235294117604E-2</c:v>
                </c:pt>
                <c:pt idx="1157">
                  <c:v>-7.0588235294117604E-2</c:v>
                </c:pt>
                <c:pt idx="1158">
                  <c:v>-7.0588235294117604E-2</c:v>
                </c:pt>
                <c:pt idx="1159">
                  <c:v>-7.0588235294117604E-2</c:v>
                </c:pt>
                <c:pt idx="1160">
                  <c:v>-7.0588235294117604E-2</c:v>
                </c:pt>
                <c:pt idx="1161">
                  <c:v>-7.0588235294117604E-2</c:v>
                </c:pt>
                <c:pt idx="1162">
                  <c:v>-7.0588235294117604E-2</c:v>
                </c:pt>
                <c:pt idx="1163">
                  <c:v>-7.0588235294117604E-2</c:v>
                </c:pt>
                <c:pt idx="1164">
                  <c:v>-7.0588235294117604E-2</c:v>
                </c:pt>
                <c:pt idx="1165">
                  <c:v>-7.0588235294117604E-2</c:v>
                </c:pt>
                <c:pt idx="1166">
                  <c:v>-6.9747899159663798E-2</c:v>
                </c:pt>
                <c:pt idx="1167">
                  <c:v>-6.9747899159663798E-2</c:v>
                </c:pt>
                <c:pt idx="1168">
                  <c:v>-6.9747899159663798E-2</c:v>
                </c:pt>
                <c:pt idx="1169">
                  <c:v>-6.9747899159663798E-2</c:v>
                </c:pt>
                <c:pt idx="1170">
                  <c:v>-6.9747899159663798E-2</c:v>
                </c:pt>
                <c:pt idx="1171">
                  <c:v>-6.9747899159663798E-2</c:v>
                </c:pt>
                <c:pt idx="1172">
                  <c:v>-6.9747899159663798E-2</c:v>
                </c:pt>
                <c:pt idx="1173">
                  <c:v>-6.9747899159663798E-2</c:v>
                </c:pt>
                <c:pt idx="1174">
                  <c:v>-6.9747899159663798E-2</c:v>
                </c:pt>
                <c:pt idx="1175">
                  <c:v>-6.9747899159663798E-2</c:v>
                </c:pt>
                <c:pt idx="1176">
                  <c:v>-6.9747899159663798E-2</c:v>
                </c:pt>
                <c:pt idx="1177">
                  <c:v>-6.9747899159663798E-2</c:v>
                </c:pt>
                <c:pt idx="1178">
                  <c:v>-6.9747899159663798E-2</c:v>
                </c:pt>
                <c:pt idx="1179">
                  <c:v>-6.9747899159663798E-2</c:v>
                </c:pt>
                <c:pt idx="1180">
                  <c:v>-6.9747899159663798E-2</c:v>
                </c:pt>
                <c:pt idx="1181">
                  <c:v>-6.9747899159663798E-2</c:v>
                </c:pt>
                <c:pt idx="1182">
                  <c:v>-6.9747899159663798E-2</c:v>
                </c:pt>
                <c:pt idx="1183">
                  <c:v>-6.9747899159663798E-2</c:v>
                </c:pt>
                <c:pt idx="1184">
                  <c:v>-6.9747899159663798E-2</c:v>
                </c:pt>
                <c:pt idx="1185">
                  <c:v>-6.9747899159663798E-2</c:v>
                </c:pt>
                <c:pt idx="1186">
                  <c:v>-6.9747899159663798E-2</c:v>
                </c:pt>
                <c:pt idx="1187">
                  <c:v>-6.9747899159663798E-2</c:v>
                </c:pt>
                <c:pt idx="1188">
                  <c:v>-7.0588235294117604E-2</c:v>
                </c:pt>
                <c:pt idx="1189">
                  <c:v>-7.0588235294117604E-2</c:v>
                </c:pt>
                <c:pt idx="1190">
                  <c:v>-6.9747899159663798E-2</c:v>
                </c:pt>
                <c:pt idx="1191">
                  <c:v>-6.9747899159663798E-2</c:v>
                </c:pt>
                <c:pt idx="1192">
                  <c:v>-6.9747899159663798E-2</c:v>
                </c:pt>
                <c:pt idx="1193">
                  <c:v>-6.9747899159663798E-2</c:v>
                </c:pt>
                <c:pt idx="1194">
                  <c:v>-6.9747899159663798E-2</c:v>
                </c:pt>
                <c:pt idx="1195">
                  <c:v>-6.9747899159663798E-2</c:v>
                </c:pt>
                <c:pt idx="1196">
                  <c:v>-6.8907563025210006E-2</c:v>
                </c:pt>
                <c:pt idx="1197">
                  <c:v>-6.8907563025210006E-2</c:v>
                </c:pt>
                <c:pt idx="1198">
                  <c:v>-6.8907563025210006E-2</c:v>
                </c:pt>
                <c:pt idx="1199">
                  <c:v>-6.8907563025210006E-2</c:v>
                </c:pt>
                <c:pt idx="1200">
                  <c:v>-6.8907563025210006E-2</c:v>
                </c:pt>
                <c:pt idx="1201">
                  <c:v>-6.8907563025210006E-2</c:v>
                </c:pt>
                <c:pt idx="1202">
                  <c:v>-6.8907563025210006E-2</c:v>
                </c:pt>
                <c:pt idx="1203">
                  <c:v>-6.8907563025210006E-2</c:v>
                </c:pt>
                <c:pt idx="1204">
                  <c:v>-6.8907563025210006E-2</c:v>
                </c:pt>
                <c:pt idx="1205">
                  <c:v>-6.8907563025210006E-2</c:v>
                </c:pt>
                <c:pt idx="1206">
                  <c:v>-6.8907563025210006E-2</c:v>
                </c:pt>
                <c:pt idx="1207">
                  <c:v>-6.8907563025210006E-2</c:v>
                </c:pt>
                <c:pt idx="1208">
                  <c:v>-6.8907563025210006E-2</c:v>
                </c:pt>
                <c:pt idx="1209">
                  <c:v>-6.8907563025210006E-2</c:v>
                </c:pt>
                <c:pt idx="1210">
                  <c:v>-6.8907563025210006E-2</c:v>
                </c:pt>
                <c:pt idx="1211">
                  <c:v>-6.8907563025210006E-2</c:v>
                </c:pt>
                <c:pt idx="1212">
                  <c:v>-6.8907563025210006E-2</c:v>
                </c:pt>
                <c:pt idx="1213">
                  <c:v>-6.8907563025210006E-2</c:v>
                </c:pt>
                <c:pt idx="1214">
                  <c:v>-6.8907563025210006E-2</c:v>
                </c:pt>
                <c:pt idx="1215">
                  <c:v>-6.8907563025210006E-2</c:v>
                </c:pt>
                <c:pt idx="1216">
                  <c:v>-6.8907563025210006E-2</c:v>
                </c:pt>
                <c:pt idx="1217">
                  <c:v>-6.8907563025210006E-2</c:v>
                </c:pt>
                <c:pt idx="1218">
                  <c:v>-6.8907563025210006E-2</c:v>
                </c:pt>
                <c:pt idx="1219">
                  <c:v>-6.8907563025210006E-2</c:v>
                </c:pt>
                <c:pt idx="1220">
                  <c:v>-6.8907563025210006E-2</c:v>
                </c:pt>
                <c:pt idx="1221">
                  <c:v>-6.8907563025210006E-2</c:v>
                </c:pt>
                <c:pt idx="1222">
                  <c:v>-6.8907563025210006E-2</c:v>
                </c:pt>
                <c:pt idx="1223">
                  <c:v>-6.8907563025210006E-2</c:v>
                </c:pt>
                <c:pt idx="1224">
                  <c:v>-6.8907563025210006E-2</c:v>
                </c:pt>
                <c:pt idx="1225">
                  <c:v>-6.8907563025210006E-2</c:v>
                </c:pt>
                <c:pt idx="1226">
                  <c:v>-6.8907563025210006E-2</c:v>
                </c:pt>
                <c:pt idx="1227">
                  <c:v>-6.8907563025210006E-2</c:v>
                </c:pt>
                <c:pt idx="1228">
                  <c:v>-6.8907563025210006E-2</c:v>
                </c:pt>
                <c:pt idx="1229">
                  <c:v>-6.8907563025210006E-2</c:v>
                </c:pt>
                <c:pt idx="1230">
                  <c:v>-6.8907563025210006E-2</c:v>
                </c:pt>
                <c:pt idx="1231">
                  <c:v>-6.8907563025210006E-2</c:v>
                </c:pt>
                <c:pt idx="1232">
                  <c:v>-6.8907563025210006E-2</c:v>
                </c:pt>
                <c:pt idx="1233">
                  <c:v>-6.8067226890756199E-2</c:v>
                </c:pt>
                <c:pt idx="1234">
                  <c:v>-6.8067226890756199E-2</c:v>
                </c:pt>
                <c:pt idx="1235">
                  <c:v>-6.8067226890756199E-2</c:v>
                </c:pt>
                <c:pt idx="1236">
                  <c:v>-6.8067226890756199E-2</c:v>
                </c:pt>
                <c:pt idx="1237">
                  <c:v>-6.8067226890756199E-2</c:v>
                </c:pt>
                <c:pt idx="1238">
                  <c:v>-6.8067226890756199E-2</c:v>
                </c:pt>
                <c:pt idx="1239">
                  <c:v>-6.8067226890756199E-2</c:v>
                </c:pt>
                <c:pt idx="1240">
                  <c:v>-6.8067226890756199E-2</c:v>
                </c:pt>
                <c:pt idx="1241">
                  <c:v>-6.8067226890756199E-2</c:v>
                </c:pt>
                <c:pt idx="1242">
                  <c:v>-6.8067226890756199E-2</c:v>
                </c:pt>
                <c:pt idx="1243">
                  <c:v>-6.8067226890756199E-2</c:v>
                </c:pt>
                <c:pt idx="1244">
                  <c:v>-6.7226890756302504E-2</c:v>
                </c:pt>
                <c:pt idx="1245">
                  <c:v>-6.7226890756302504E-2</c:v>
                </c:pt>
                <c:pt idx="1246">
                  <c:v>-6.7226890756302504E-2</c:v>
                </c:pt>
                <c:pt idx="1247">
                  <c:v>-6.7226890756302504E-2</c:v>
                </c:pt>
                <c:pt idx="1248">
                  <c:v>-6.7226890756302504E-2</c:v>
                </c:pt>
                <c:pt idx="1249">
                  <c:v>-6.7226890756302504E-2</c:v>
                </c:pt>
                <c:pt idx="1250">
                  <c:v>-6.7226890756302504E-2</c:v>
                </c:pt>
                <c:pt idx="1251">
                  <c:v>-6.7226890756302504E-2</c:v>
                </c:pt>
                <c:pt idx="1252">
                  <c:v>-6.7226890756302504E-2</c:v>
                </c:pt>
                <c:pt idx="1253">
                  <c:v>-6.7226890756302504E-2</c:v>
                </c:pt>
                <c:pt idx="1254">
                  <c:v>-6.7226890756302504E-2</c:v>
                </c:pt>
                <c:pt idx="1255">
                  <c:v>-6.6386554621848698E-2</c:v>
                </c:pt>
                <c:pt idx="1256">
                  <c:v>-6.6386554621848698E-2</c:v>
                </c:pt>
                <c:pt idx="1257">
                  <c:v>-6.6386554621848698E-2</c:v>
                </c:pt>
                <c:pt idx="1258">
                  <c:v>-6.6386554621848698E-2</c:v>
                </c:pt>
                <c:pt idx="1259">
                  <c:v>-6.6386554621848698E-2</c:v>
                </c:pt>
                <c:pt idx="1260">
                  <c:v>-6.6386554621848698E-2</c:v>
                </c:pt>
                <c:pt idx="1261">
                  <c:v>-6.6386554621848698E-2</c:v>
                </c:pt>
                <c:pt idx="1262">
                  <c:v>-6.6386554621848698E-2</c:v>
                </c:pt>
                <c:pt idx="1263">
                  <c:v>-6.6386554621848698E-2</c:v>
                </c:pt>
                <c:pt idx="1264">
                  <c:v>-6.6386554621848698E-2</c:v>
                </c:pt>
                <c:pt idx="1265">
                  <c:v>-6.6386554621848698E-2</c:v>
                </c:pt>
                <c:pt idx="1266">
                  <c:v>-6.6386554621848698E-2</c:v>
                </c:pt>
                <c:pt idx="1267">
                  <c:v>-6.6386554621848698E-2</c:v>
                </c:pt>
                <c:pt idx="1268">
                  <c:v>-6.6386554621848698E-2</c:v>
                </c:pt>
                <c:pt idx="1269">
                  <c:v>-6.7226890756302504E-2</c:v>
                </c:pt>
                <c:pt idx="1270">
                  <c:v>-6.7226890756302504E-2</c:v>
                </c:pt>
                <c:pt idx="1271">
                  <c:v>-6.7226890756302504E-2</c:v>
                </c:pt>
                <c:pt idx="1272">
                  <c:v>-6.7226890756302504E-2</c:v>
                </c:pt>
                <c:pt idx="1273">
                  <c:v>-6.7226890756302504E-2</c:v>
                </c:pt>
                <c:pt idx="1274">
                  <c:v>-6.7226890756302504E-2</c:v>
                </c:pt>
                <c:pt idx="1275">
                  <c:v>-6.7226890756302504E-2</c:v>
                </c:pt>
                <c:pt idx="1276">
                  <c:v>-6.7226890756302504E-2</c:v>
                </c:pt>
                <c:pt idx="1277">
                  <c:v>-6.7226890756302504E-2</c:v>
                </c:pt>
                <c:pt idx="1278">
                  <c:v>-6.7226890756302504E-2</c:v>
                </c:pt>
                <c:pt idx="1279">
                  <c:v>-6.7226890756302504E-2</c:v>
                </c:pt>
                <c:pt idx="1280">
                  <c:v>-6.7226890756302504E-2</c:v>
                </c:pt>
                <c:pt idx="1281">
                  <c:v>-6.7226890756302504E-2</c:v>
                </c:pt>
                <c:pt idx="1282">
                  <c:v>-6.7226890756302504E-2</c:v>
                </c:pt>
                <c:pt idx="1283">
                  <c:v>-6.7226890756302504E-2</c:v>
                </c:pt>
                <c:pt idx="1284">
                  <c:v>-6.7226890756302504E-2</c:v>
                </c:pt>
                <c:pt idx="1285">
                  <c:v>-6.7226890756302504E-2</c:v>
                </c:pt>
                <c:pt idx="1286">
                  <c:v>-6.7226890756302504E-2</c:v>
                </c:pt>
                <c:pt idx="1287">
                  <c:v>-6.7226890756302504E-2</c:v>
                </c:pt>
                <c:pt idx="1288">
                  <c:v>-6.7226890756302504E-2</c:v>
                </c:pt>
                <c:pt idx="1289">
                  <c:v>-6.7226890756302504E-2</c:v>
                </c:pt>
                <c:pt idx="1290">
                  <c:v>-6.7226890756302504E-2</c:v>
                </c:pt>
                <c:pt idx="1291">
                  <c:v>-6.7226890756302504E-2</c:v>
                </c:pt>
                <c:pt idx="1292">
                  <c:v>-6.7226890756302504E-2</c:v>
                </c:pt>
                <c:pt idx="1293">
                  <c:v>-6.7226890756302504E-2</c:v>
                </c:pt>
                <c:pt idx="1294">
                  <c:v>-6.7226890756302504E-2</c:v>
                </c:pt>
                <c:pt idx="1295">
                  <c:v>-6.7226890756302504E-2</c:v>
                </c:pt>
                <c:pt idx="1296">
                  <c:v>-6.7226890756302504E-2</c:v>
                </c:pt>
                <c:pt idx="1297">
                  <c:v>-6.7226890756302504E-2</c:v>
                </c:pt>
                <c:pt idx="1298">
                  <c:v>-6.7226890756302504E-2</c:v>
                </c:pt>
                <c:pt idx="1299">
                  <c:v>-6.7226890756302504E-2</c:v>
                </c:pt>
                <c:pt idx="1300">
                  <c:v>-6.7226890756302504E-2</c:v>
                </c:pt>
                <c:pt idx="1301">
                  <c:v>-6.6386554621848698E-2</c:v>
                </c:pt>
                <c:pt idx="1302">
                  <c:v>-6.6386554621848698E-2</c:v>
                </c:pt>
                <c:pt idx="1303">
                  <c:v>-6.6386554621848698E-2</c:v>
                </c:pt>
                <c:pt idx="1304">
                  <c:v>-6.6386554621848698E-2</c:v>
                </c:pt>
                <c:pt idx="1305">
                  <c:v>-6.6386554621848698E-2</c:v>
                </c:pt>
                <c:pt idx="1306">
                  <c:v>-6.6386554621848698E-2</c:v>
                </c:pt>
                <c:pt idx="1307">
                  <c:v>-6.6386554621848698E-2</c:v>
                </c:pt>
                <c:pt idx="1308">
                  <c:v>-6.7226890756302504E-2</c:v>
                </c:pt>
                <c:pt idx="1309">
                  <c:v>-6.7226890756302504E-2</c:v>
                </c:pt>
                <c:pt idx="1310">
                  <c:v>-6.7226890756302504E-2</c:v>
                </c:pt>
                <c:pt idx="1311">
                  <c:v>-6.7226890756302504E-2</c:v>
                </c:pt>
                <c:pt idx="1312">
                  <c:v>-6.7226890756302504E-2</c:v>
                </c:pt>
                <c:pt idx="1313">
                  <c:v>-6.7226890756302504E-2</c:v>
                </c:pt>
                <c:pt idx="1314">
                  <c:v>-6.7226890756302504E-2</c:v>
                </c:pt>
                <c:pt idx="1315">
                  <c:v>-6.7226890756302504E-2</c:v>
                </c:pt>
                <c:pt idx="1316">
                  <c:v>-6.7226890756302504E-2</c:v>
                </c:pt>
                <c:pt idx="1317">
                  <c:v>-6.7226890756302504E-2</c:v>
                </c:pt>
                <c:pt idx="1318">
                  <c:v>-6.7226890756302504E-2</c:v>
                </c:pt>
                <c:pt idx="1319">
                  <c:v>-6.7226890756302504E-2</c:v>
                </c:pt>
                <c:pt idx="1320">
                  <c:v>-6.6386554621848698E-2</c:v>
                </c:pt>
                <c:pt idx="1321">
                  <c:v>-6.6386554621848698E-2</c:v>
                </c:pt>
                <c:pt idx="1322">
                  <c:v>-6.6386554621848698E-2</c:v>
                </c:pt>
                <c:pt idx="1323">
                  <c:v>-6.6386554621848698E-2</c:v>
                </c:pt>
                <c:pt idx="1324">
                  <c:v>-6.6386554621848698E-2</c:v>
                </c:pt>
                <c:pt idx="1325">
                  <c:v>-6.7226890756302504E-2</c:v>
                </c:pt>
                <c:pt idx="1326">
                  <c:v>-6.7226890756302504E-2</c:v>
                </c:pt>
                <c:pt idx="1327">
                  <c:v>-6.7226890756302504E-2</c:v>
                </c:pt>
                <c:pt idx="1328">
                  <c:v>-6.7226890756302504E-2</c:v>
                </c:pt>
                <c:pt idx="1329">
                  <c:v>-6.8067226890756297E-2</c:v>
                </c:pt>
                <c:pt idx="1330">
                  <c:v>-6.8067226890756297E-2</c:v>
                </c:pt>
                <c:pt idx="1331">
                  <c:v>-6.8067226890756297E-2</c:v>
                </c:pt>
                <c:pt idx="1332">
                  <c:v>-6.8067226890756297E-2</c:v>
                </c:pt>
                <c:pt idx="1333">
                  <c:v>-6.8067226890756297E-2</c:v>
                </c:pt>
                <c:pt idx="1334">
                  <c:v>-6.8067226890756297E-2</c:v>
                </c:pt>
                <c:pt idx="1335">
                  <c:v>-6.8067226890756297E-2</c:v>
                </c:pt>
                <c:pt idx="1336">
                  <c:v>-6.8067226890756297E-2</c:v>
                </c:pt>
                <c:pt idx="1337">
                  <c:v>-6.8067226890756297E-2</c:v>
                </c:pt>
                <c:pt idx="1338">
                  <c:v>-6.8067226890756297E-2</c:v>
                </c:pt>
                <c:pt idx="1339">
                  <c:v>-6.8067226890756297E-2</c:v>
                </c:pt>
                <c:pt idx="1340">
                  <c:v>-6.8907563025210006E-2</c:v>
                </c:pt>
                <c:pt idx="1341">
                  <c:v>-6.8907563025210006E-2</c:v>
                </c:pt>
                <c:pt idx="1342">
                  <c:v>-6.8907563025210006E-2</c:v>
                </c:pt>
                <c:pt idx="1343">
                  <c:v>-6.8907563025210006E-2</c:v>
                </c:pt>
                <c:pt idx="1344">
                  <c:v>-6.8907563025210006E-2</c:v>
                </c:pt>
                <c:pt idx="1345">
                  <c:v>-6.8907563025210006E-2</c:v>
                </c:pt>
                <c:pt idx="1346">
                  <c:v>-6.9747899159663798E-2</c:v>
                </c:pt>
                <c:pt idx="1347">
                  <c:v>-6.9747899159663798E-2</c:v>
                </c:pt>
                <c:pt idx="1348">
                  <c:v>-6.8907563025210006E-2</c:v>
                </c:pt>
                <c:pt idx="1349">
                  <c:v>-6.8907563025210006E-2</c:v>
                </c:pt>
                <c:pt idx="1350">
                  <c:v>-6.8907563025210006E-2</c:v>
                </c:pt>
                <c:pt idx="1351">
                  <c:v>-6.8907563025210006E-2</c:v>
                </c:pt>
                <c:pt idx="1352">
                  <c:v>-6.8907563025210006E-2</c:v>
                </c:pt>
                <c:pt idx="1353">
                  <c:v>-6.9747899159663798E-2</c:v>
                </c:pt>
                <c:pt idx="1354">
                  <c:v>-6.9747899159663798E-2</c:v>
                </c:pt>
                <c:pt idx="1355">
                  <c:v>-6.9747899159663798E-2</c:v>
                </c:pt>
                <c:pt idx="1356">
                  <c:v>-6.9747899159663798E-2</c:v>
                </c:pt>
                <c:pt idx="1357">
                  <c:v>-6.9747899159663798E-2</c:v>
                </c:pt>
                <c:pt idx="1358">
                  <c:v>-6.9747899159663798E-2</c:v>
                </c:pt>
                <c:pt idx="1359">
                  <c:v>-6.9747899159663798E-2</c:v>
                </c:pt>
                <c:pt idx="1360">
                  <c:v>-6.9747899159663798E-2</c:v>
                </c:pt>
                <c:pt idx="1361">
                  <c:v>-6.9747899159663798E-2</c:v>
                </c:pt>
                <c:pt idx="1362">
                  <c:v>-6.9747899159663798E-2</c:v>
                </c:pt>
                <c:pt idx="1363">
                  <c:v>-6.9747899159663798E-2</c:v>
                </c:pt>
                <c:pt idx="1364">
                  <c:v>-6.9747899159663798E-2</c:v>
                </c:pt>
                <c:pt idx="1365">
                  <c:v>-6.9747899159663798E-2</c:v>
                </c:pt>
                <c:pt idx="1366">
                  <c:v>-6.9747899159663798E-2</c:v>
                </c:pt>
                <c:pt idx="1367">
                  <c:v>-6.9747899159663798E-2</c:v>
                </c:pt>
                <c:pt idx="1368">
                  <c:v>-6.9747899159663798E-2</c:v>
                </c:pt>
                <c:pt idx="1369">
                  <c:v>-6.9747899159663798E-2</c:v>
                </c:pt>
                <c:pt idx="1370">
                  <c:v>-6.9747899159663798E-2</c:v>
                </c:pt>
                <c:pt idx="1371">
                  <c:v>-6.9747899159663798E-2</c:v>
                </c:pt>
                <c:pt idx="1372">
                  <c:v>-6.9747899159663798E-2</c:v>
                </c:pt>
                <c:pt idx="1373">
                  <c:v>-6.9747899159663798E-2</c:v>
                </c:pt>
                <c:pt idx="1374">
                  <c:v>-6.9747899159663798E-2</c:v>
                </c:pt>
                <c:pt idx="1375">
                  <c:v>-6.9747899159663798E-2</c:v>
                </c:pt>
                <c:pt idx="1376">
                  <c:v>-6.9747899159663798E-2</c:v>
                </c:pt>
                <c:pt idx="1377">
                  <c:v>-6.9747899159663798E-2</c:v>
                </c:pt>
                <c:pt idx="1378">
                  <c:v>-6.9747899159663798E-2</c:v>
                </c:pt>
                <c:pt idx="1379">
                  <c:v>-6.9747899159663798E-2</c:v>
                </c:pt>
                <c:pt idx="1380">
                  <c:v>-6.9747899159663798E-2</c:v>
                </c:pt>
                <c:pt idx="1381">
                  <c:v>-6.9747899159663798E-2</c:v>
                </c:pt>
                <c:pt idx="1382">
                  <c:v>-6.9747899159663798E-2</c:v>
                </c:pt>
                <c:pt idx="1383">
                  <c:v>-6.9747899159663798E-2</c:v>
                </c:pt>
                <c:pt idx="1384">
                  <c:v>-6.9747899159663798E-2</c:v>
                </c:pt>
                <c:pt idx="1385">
                  <c:v>-6.9747899159663798E-2</c:v>
                </c:pt>
                <c:pt idx="1386">
                  <c:v>-6.9747899159663798E-2</c:v>
                </c:pt>
                <c:pt idx="1387">
                  <c:v>-6.9747899159663798E-2</c:v>
                </c:pt>
                <c:pt idx="1388">
                  <c:v>-6.9747899159663798E-2</c:v>
                </c:pt>
                <c:pt idx="1389">
                  <c:v>-6.8907563025210006E-2</c:v>
                </c:pt>
                <c:pt idx="1390">
                  <c:v>-6.8907563025210006E-2</c:v>
                </c:pt>
                <c:pt idx="1391">
                  <c:v>-6.8907563025210006E-2</c:v>
                </c:pt>
                <c:pt idx="1392">
                  <c:v>-6.8907563025210006E-2</c:v>
                </c:pt>
                <c:pt idx="1393">
                  <c:v>-6.8907563025210006E-2</c:v>
                </c:pt>
                <c:pt idx="1394">
                  <c:v>-6.8907563025210006E-2</c:v>
                </c:pt>
                <c:pt idx="1395">
                  <c:v>-6.8907563025210006E-2</c:v>
                </c:pt>
                <c:pt idx="1396">
                  <c:v>-6.8907563025210006E-2</c:v>
                </c:pt>
                <c:pt idx="1397">
                  <c:v>-6.8907563025210006E-2</c:v>
                </c:pt>
                <c:pt idx="1398">
                  <c:v>-6.8907563025210006E-2</c:v>
                </c:pt>
                <c:pt idx="1399">
                  <c:v>-6.8907563025210006E-2</c:v>
                </c:pt>
                <c:pt idx="1400">
                  <c:v>-6.8907563025210006E-2</c:v>
                </c:pt>
                <c:pt idx="1401">
                  <c:v>-6.8907563025210006E-2</c:v>
                </c:pt>
                <c:pt idx="1402">
                  <c:v>-6.9747899159663798E-2</c:v>
                </c:pt>
                <c:pt idx="1403">
                  <c:v>-6.9747899159663798E-2</c:v>
                </c:pt>
                <c:pt idx="1404">
                  <c:v>-6.8907563025210006E-2</c:v>
                </c:pt>
                <c:pt idx="1405">
                  <c:v>-6.8907563025210006E-2</c:v>
                </c:pt>
                <c:pt idx="1406">
                  <c:v>-6.8907563025210006E-2</c:v>
                </c:pt>
                <c:pt idx="1407">
                  <c:v>-6.8907563025210006E-2</c:v>
                </c:pt>
                <c:pt idx="1408">
                  <c:v>-6.8907563025210006E-2</c:v>
                </c:pt>
                <c:pt idx="1409">
                  <c:v>-6.8907563025210006E-2</c:v>
                </c:pt>
                <c:pt idx="1410">
                  <c:v>-6.8907563025210006E-2</c:v>
                </c:pt>
                <c:pt idx="1411">
                  <c:v>-6.8907563025210006E-2</c:v>
                </c:pt>
                <c:pt idx="1412">
                  <c:v>-6.8907563025210006E-2</c:v>
                </c:pt>
                <c:pt idx="1413">
                  <c:v>-6.8907563025210006E-2</c:v>
                </c:pt>
                <c:pt idx="1414">
                  <c:v>-6.8907563025210006E-2</c:v>
                </c:pt>
                <c:pt idx="1415">
                  <c:v>-6.8907563025210006E-2</c:v>
                </c:pt>
                <c:pt idx="1416">
                  <c:v>-6.8907563025210006E-2</c:v>
                </c:pt>
                <c:pt idx="1417">
                  <c:v>-6.8907563025210006E-2</c:v>
                </c:pt>
                <c:pt idx="1418">
                  <c:v>-6.8907563025210006E-2</c:v>
                </c:pt>
                <c:pt idx="1419">
                  <c:v>-6.8907563025210006E-2</c:v>
                </c:pt>
                <c:pt idx="1420">
                  <c:v>-6.8907563025210006E-2</c:v>
                </c:pt>
                <c:pt idx="1421">
                  <c:v>-6.8907563025210006E-2</c:v>
                </c:pt>
                <c:pt idx="1422">
                  <c:v>-6.8907563025210006E-2</c:v>
                </c:pt>
                <c:pt idx="1423">
                  <c:v>-6.8907563025210006E-2</c:v>
                </c:pt>
                <c:pt idx="1424">
                  <c:v>-6.8907563025210006E-2</c:v>
                </c:pt>
                <c:pt idx="1425">
                  <c:v>-6.8907563025210006E-2</c:v>
                </c:pt>
                <c:pt idx="1426">
                  <c:v>-6.8907563025210006E-2</c:v>
                </c:pt>
                <c:pt idx="1427">
                  <c:v>-6.8907563025210006E-2</c:v>
                </c:pt>
                <c:pt idx="1428">
                  <c:v>-6.8907563025210006E-2</c:v>
                </c:pt>
                <c:pt idx="1429">
                  <c:v>-6.8907563025210006E-2</c:v>
                </c:pt>
                <c:pt idx="1430">
                  <c:v>-6.8907563025210006E-2</c:v>
                </c:pt>
                <c:pt idx="1431">
                  <c:v>-6.8907563025210006E-2</c:v>
                </c:pt>
                <c:pt idx="1432">
                  <c:v>-6.8907563025210006E-2</c:v>
                </c:pt>
                <c:pt idx="1433">
                  <c:v>-6.8907563025210006E-2</c:v>
                </c:pt>
                <c:pt idx="1434">
                  <c:v>-6.8907563025210006E-2</c:v>
                </c:pt>
                <c:pt idx="1435">
                  <c:v>-6.8907563025210006E-2</c:v>
                </c:pt>
                <c:pt idx="1436">
                  <c:v>-6.8907563025210006E-2</c:v>
                </c:pt>
                <c:pt idx="1437">
                  <c:v>-6.8067226890756297E-2</c:v>
                </c:pt>
                <c:pt idx="1438">
                  <c:v>-6.8067226890756297E-2</c:v>
                </c:pt>
                <c:pt idx="1439">
                  <c:v>-6.8067226890756297E-2</c:v>
                </c:pt>
                <c:pt idx="1440">
                  <c:v>-6.8067226890756297E-2</c:v>
                </c:pt>
                <c:pt idx="1441">
                  <c:v>-6.8067226890756297E-2</c:v>
                </c:pt>
                <c:pt idx="1442">
                  <c:v>-6.8067226890756297E-2</c:v>
                </c:pt>
                <c:pt idx="1443">
                  <c:v>-6.8067226890756297E-2</c:v>
                </c:pt>
                <c:pt idx="1444">
                  <c:v>-6.8067226890756297E-2</c:v>
                </c:pt>
                <c:pt idx="1445">
                  <c:v>-6.8067226890756297E-2</c:v>
                </c:pt>
                <c:pt idx="1446">
                  <c:v>-6.8067226890756297E-2</c:v>
                </c:pt>
                <c:pt idx="1447">
                  <c:v>-6.8067226890756297E-2</c:v>
                </c:pt>
                <c:pt idx="1448">
                  <c:v>-6.8067226890756297E-2</c:v>
                </c:pt>
                <c:pt idx="1449">
                  <c:v>-6.8067226890756297E-2</c:v>
                </c:pt>
                <c:pt idx="1450">
                  <c:v>-6.8067226890756297E-2</c:v>
                </c:pt>
                <c:pt idx="1451">
                  <c:v>-6.8067226890756297E-2</c:v>
                </c:pt>
                <c:pt idx="1452">
                  <c:v>-6.8067226890756297E-2</c:v>
                </c:pt>
                <c:pt idx="1453">
                  <c:v>-6.8067226890756297E-2</c:v>
                </c:pt>
                <c:pt idx="1454">
                  <c:v>-6.8067226890756297E-2</c:v>
                </c:pt>
                <c:pt idx="1455">
                  <c:v>-6.8067226890756297E-2</c:v>
                </c:pt>
                <c:pt idx="1456">
                  <c:v>-6.8067226890756297E-2</c:v>
                </c:pt>
                <c:pt idx="1457">
                  <c:v>-6.8067226890756297E-2</c:v>
                </c:pt>
                <c:pt idx="1458">
                  <c:v>-6.8067226890756297E-2</c:v>
                </c:pt>
                <c:pt idx="1459">
                  <c:v>-6.8067226890756297E-2</c:v>
                </c:pt>
                <c:pt idx="1460">
                  <c:v>-6.8067226890756297E-2</c:v>
                </c:pt>
                <c:pt idx="1461">
                  <c:v>-6.8067226890756297E-2</c:v>
                </c:pt>
                <c:pt idx="1462">
                  <c:v>-6.8907563025210006E-2</c:v>
                </c:pt>
                <c:pt idx="1463">
                  <c:v>-6.8907563025210006E-2</c:v>
                </c:pt>
                <c:pt idx="1464">
                  <c:v>-6.8907563025210006E-2</c:v>
                </c:pt>
                <c:pt idx="1465">
                  <c:v>-6.8907563025210006E-2</c:v>
                </c:pt>
                <c:pt idx="1466">
                  <c:v>-6.8907563025210006E-2</c:v>
                </c:pt>
                <c:pt idx="1467">
                  <c:v>-6.8907563025210006E-2</c:v>
                </c:pt>
                <c:pt idx="1468">
                  <c:v>-6.8907563025210006E-2</c:v>
                </c:pt>
                <c:pt idx="1469">
                  <c:v>-6.8907563025210006E-2</c:v>
                </c:pt>
                <c:pt idx="1470">
                  <c:v>-6.8907563025210006E-2</c:v>
                </c:pt>
                <c:pt idx="1471">
                  <c:v>-6.8907563025210006E-2</c:v>
                </c:pt>
                <c:pt idx="1472">
                  <c:v>-6.8907563025210006E-2</c:v>
                </c:pt>
                <c:pt idx="1473">
                  <c:v>-6.8907563025210006E-2</c:v>
                </c:pt>
                <c:pt idx="1474">
                  <c:v>-6.8907563025210006E-2</c:v>
                </c:pt>
                <c:pt idx="1475">
                  <c:v>-6.8907563025210006E-2</c:v>
                </c:pt>
                <c:pt idx="1476">
                  <c:v>-6.8907563025210006E-2</c:v>
                </c:pt>
                <c:pt idx="1477">
                  <c:v>-6.9747899159663798E-2</c:v>
                </c:pt>
                <c:pt idx="1478">
                  <c:v>-6.9747899159663798E-2</c:v>
                </c:pt>
                <c:pt idx="1479">
                  <c:v>-6.9747899159663798E-2</c:v>
                </c:pt>
                <c:pt idx="1480">
                  <c:v>-6.9747899159663798E-2</c:v>
                </c:pt>
                <c:pt idx="1481">
                  <c:v>-6.9747899159663798E-2</c:v>
                </c:pt>
                <c:pt idx="1482">
                  <c:v>-6.9747899159663798E-2</c:v>
                </c:pt>
                <c:pt idx="1483">
                  <c:v>-6.9747899159663798E-2</c:v>
                </c:pt>
                <c:pt idx="1484">
                  <c:v>-6.9747899159663798E-2</c:v>
                </c:pt>
                <c:pt idx="1485">
                  <c:v>-7.0588235294117604E-2</c:v>
                </c:pt>
                <c:pt idx="1486">
                  <c:v>-7.0588235294117604E-2</c:v>
                </c:pt>
                <c:pt idx="1487">
                  <c:v>-7.0588235294117604E-2</c:v>
                </c:pt>
                <c:pt idx="1488">
                  <c:v>-7.1428571428571397E-2</c:v>
                </c:pt>
                <c:pt idx="1489">
                  <c:v>-7.1428571428571397E-2</c:v>
                </c:pt>
                <c:pt idx="1490">
                  <c:v>-7.1428571428571397E-2</c:v>
                </c:pt>
                <c:pt idx="1491">
                  <c:v>-7.1428571428571397E-2</c:v>
                </c:pt>
                <c:pt idx="1492">
                  <c:v>-7.1428571428571397E-2</c:v>
                </c:pt>
                <c:pt idx="1493">
                  <c:v>-7.1428571428571397E-2</c:v>
                </c:pt>
                <c:pt idx="1494">
                  <c:v>-7.1428571428571397E-2</c:v>
                </c:pt>
                <c:pt idx="1495">
                  <c:v>-7.1428571428571397E-2</c:v>
                </c:pt>
                <c:pt idx="1496">
                  <c:v>-7.1428571428571397E-2</c:v>
                </c:pt>
                <c:pt idx="1497">
                  <c:v>-7.1428571428571397E-2</c:v>
                </c:pt>
                <c:pt idx="1498">
                  <c:v>-7.0588235294117604E-2</c:v>
                </c:pt>
                <c:pt idx="1499">
                  <c:v>-7.0588235294117604E-2</c:v>
                </c:pt>
                <c:pt idx="1500">
                  <c:v>-7.0588235294117604E-2</c:v>
                </c:pt>
                <c:pt idx="1501">
                  <c:v>-7.0588235294117604E-2</c:v>
                </c:pt>
                <c:pt idx="1502">
                  <c:v>-7.0588235294117604E-2</c:v>
                </c:pt>
                <c:pt idx="1503">
                  <c:v>-7.0588235294117604E-2</c:v>
                </c:pt>
                <c:pt idx="1504">
                  <c:v>-7.0588235294117604E-2</c:v>
                </c:pt>
                <c:pt idx="1505">
                  <c:v>-7.0588235294117604E-2</c:v>
                </c:pt>
                <c:pt idx="1506">
                  <c:v>-7.0588235294117604E-2</c:v>
                </c:pt>
                <c:pt idx="1507">
                  <c:v>-7.0588235294117604E-2</c:v>
                </c:pt>
                <c:pt idx="1508">
                  <c:v>-7.0588235294117604E-2</c:v>
                </c:pt>
                <c:pt idx="1509">
                  <c:v>-7.0588235294117604E-2</c:v>
                </c:pt>
                <c:pt idx="1510">
                  <c:v>-7.0588235294117604E-2</c:v>
                </c:pt>
                <c:pt idx="1511">
                  <c:v>-7.0588235294117604E-2</c:v>
                </c:pt>
                <c:pt idx="1512">
                  <c:v>-7.0588235294117604E-2</c:v>
                </c:pt>
                <c:pt idx="1513">
                  <c:v>-7.0588235294117604E-2</c:v>
                </c:pt>
                <c:pt idx="1514">
                  <c:v>-7.0588235294117604E-2</c:v>
                </c:pt>
                <c:pt idx="1515">
                  <c:v>-7.0588235294117604E-2</c:v>
                </c:pt>
                <c:pt idx="1516">
                  <c:v>-7.0588235294117604E-2</c:v>
                </c:pt>
                <c:pt idx="1517">
                  <c:v>-7.0588235294117604E-2</c:v>
                </c:pt>
                <c:pt idx="1518">
                  <c:v>-7.0588235294117604E-2</c:v>
                </c:pt>
                <c:pt idx="1519">
                  <c:v>-7.0588235294117604E-2</c:v>
                </c:pt>
                <c:pt idx="1520">
                  <c:v>-7.0588235294117604E-2</c:v>
                </c:pt>
                <c:pt idx="1521">
                  <c:v>-7.0588235294117604E-2</c:v>
                </c:pt>
                <c:pt idx="1522">
                  <c:v>-7.0588235294117604E-2</c:v>
                </c:pt>
                <c:pt idx="1523">
                  <c:v>-7.0588235294117604E-2</c:v>
                </c:pt>
                <c:pt idx="1524">
                  <c:v>-7.0588235294117604E-2</c:v>
                </c:pt>
                <c:pt idx="1525">
                  <c:v>-7.0588235294117604E-2</c:v>
                </c:pt>
                <c:pt idx="1526">
                  <c:v>-7.0588235294117604E-2</c:v>
                </c:pt>
                <c:pt idx="1527">
                  <c:v>-7.0588235294117604E-2</c:v>
                </c:pt>
                <c:pt idx="1528">
                  <c:v>-7.0588235294117604E-2</c:v>
                </c:pt>
                <c:pt idx="1529">
                  <c:v>-7.0588235294117604E-2</c:v>
                </c:pt>
                <c:pt idx="1530">
                  <c:v>-7.0588235294117604E-2</c:v>
                </c:pt>
                <c:pt idx="1531">
                  <c:v>-7.0588235294117604E-2</c:v>
                </c:pt>
                <c:pt idx="1532">
                  <c:v>-7.0588235294117604E-2</c:v>
                </c:pt>
                <c:pt idx="1533">
                  <c:v>-7.0588235294117604E-2</c:v>
                </c:pt>
                <c:pt idx="1534">
                  <c:v>-7.0588235294117604E-2</c:v>
                </c:pt>
                <c:pt idx="1535">
                  <c:v>-7.0588235294117604E-2</c:v>
                </c:pt>
                <c:pt idx="1536">
                  <c:v>-7.0588235294117604E-2</c:v>
                </c:pt>
                <c:pt idx="1537">
                  <c:v>-7.0588235294117604E-2</c:v>
                </c:pt>
                <c:pt idx="1538">
                  <c:v>-7.0588235294117604E-2</c:v>
                </c:pt>
                <c:pt idx="1539">
                  <c:v>-7.0588235294117604E-2</c:v>
                </c:pt>
                <c:pt idx="1540">
                  <c:v>-7.0588235294117604E-2</c:v>
                </c:pt>
                <c:pt idx="1541">
                  <c:v>-7.0588235294117604E-2</c:v>
                </c:pt>
                <c:pt idx="1542">
                  <c:v>-7.0588235294117604E-2</c:v>
                </c:pt>
                <c:pt idx="1543">
                  <c:v>-7.0588235294117604E-2</c:v>
                </c:pt>
                <c:pt idx="1544">
                  <c:v>-7.0588235294117604E-2</c:v>
                </c:pt>
                <c:pt idx="1545">
                  <c:v>-7.0588235294117604E-2</c:v>
                </c:pt>
                <c:pt idx="1546">
                  <c:v>-7.0588235294117604E-2</c:v>
                </c:pt>
                <c:pt idx="1547">
                  <c:v>-7.0588235294117604E-2</c:v>
                </c:pt>
                <c:pt idx="1548">
                  <c:v>-7.0588235294117604E-2</c:v>
                </c:pt>
                <c:pt idx="1549">
                  <c:v>-7.0588235294117604E-2</c:v>
                </c:pt>
                <c:pt idx="1550">
                  <c:v>-7.0588235294117604E-2</c:v>
                </c:pt>
                <c:pt idx="1551">
                  <c:v>-7.0588235294117604E-2</c:v>
                </c:pt>
                <c:pt idx="1552">
                  <c:v>-7.0588235294117604E-2</c:v>
                </c:pt>
                <c:pt idx="1553">
                  <c:v>-7.0588235294117604E-2</c:v>
                </c:pt>
                <c:pt idx="1554">
                  <c:v>-7.0588235294117604E-2</c:v>
                </c:pt>
                <c:pt idx="1555">
                  <c:v>-7.0588235294117604E-2</c:v>
                </c:pt>
                <c:pt idx="1556">
                  <c:v>-7.0588235294117604E-2</c:v>
                </c:pt>
                <c:pt idx="1557">
                  <c:v>-7.0588235294117604E-2</c:v>
                </c:pt>
                <c:pt idx="1558">
                  <c:v>-7.0588235294117604E-2</c:v>
                </c:pt>
                <c:pt idx="1559">
                  <c:v>-7.0588235294117604E-2</c:v>
                </c:pt>
                <c:pt idx="1560">
                  <c:v>-7.0588235294117604E-2</c:v>
                </c:pt>
                <c:pt idx="1561">
                  <c:v>-7.0588235294117604E-2</c:v>
                </c:pt>
                <c:pt idx="1562">
                  <c:v>-7.0588235294117604E-2</c:v>
                </c:pt>
                <c:pt idx="1563">
                  <c:v>-7.0588235294117604E-2</c:v>
                </c:pt>
                <c:pt idx="1564">
                  <c:v>-7.0588235294117604E-2</c:v>
                </c:pt>
                <c:pt idx="1565">
                  <c:v>-7.0588235294117604E-2</c:v>
                </c:pt>
                <c:pt idx="1566">
                  <c:v>-7.0588235294117604E-2</c:v>
                </c:pt>
                <c:pt idx="1567">
                  <c:v>-7.0588235294117604E-2</c:v>
                </c:pt>
                <c:pt idx="1568">
                  <c:v>-7.0588235294117604E-2</c:v>
                </c:pt>
                <c:pt idx="1569">
                  <c:v>-7.0588235294117604E-2</c:v>
                </c:pt>
                <c:pt idx="1570">
                  <c:v>-7.0588235294117604E-2</c:v>
                </c:pt>
                <c:pt idx="1571">
                  <c:v>-7.0588235294117604E-2</c:v>
                </c:pt>
                <c:pt idx="1572">
                  <c:v>-7.0588235294117604E-2</c:v>
                </c:pt>
                <c:pt idx="1573">
                  <c:v>-7.0588235294117604E-2</c:v>
                </c:pt>
                <c:pt idx="1574">
                  <c:v>-7.0588235294117604E-2</c:v>
                </c:pt>
                <c:pt idx="1575">
                  <c:v>-7.0588235294117604E-2</c:v>
                </c:pt>
                <c:pt idx="1576">
                  <c:v>-7.0588235294117604E-2</c:v>
                </c:pt>
                <c:pt idx="1577">
                  <c:v>-7.0588235294117604E-2</c:v>
                </c:pt>
                <c:pt idx="1578">
                  <c:v>-7.0588235294117604E-2</c:v>
                </c:pt>
                <c:pt idx="1579">
                  <c:v>-7.1428571428571397E-2</c:v>
                </c:pt>
                <c:pt idx="1580">
                  <c:v>-7.1428571428571397E-2</c:v>
                </c:pt>
                <c:pt idx="1581">
                  <c:v>-7.2268907563025203E-2</c:v>
                </c:pt>
                <c:pt idx="1582">
                  <c:v>-7.2268907563025203E-2</c:v>
                </c:pt>
                <c:pt idx="1583">
                  <c:v>-7.2268907563025203E-2</c:v>
                </c:pt>
                <c:pt idx="1584">
                  <c:v>-7.2268907563025203E-2</c:v>
                </c:pt>
                <c:pt idx="1585">
                  <c:v>-7.2268907563025203E-2</c:v>
                </c:pt>
                <c:pt idx="1586">
                  <c:v>-7.3109243697478996E-2</c:v>
                </c:pt>
                <c:pt idx="1587">
                  <c:v>-7.3109243697478996E-2</c:v>
                </c:pt>
                <c:pt idx="1588">
                  <c:v>-7.3109243697478996E-2</c:v>
                </c:pt>
                <c:pt idx="1589">
                  <c:v>-7.3109243697478996E-2</c:v>
                </c:pt>
                <c:pt idx="1590">
                  <c:v>-7.3109243697478996E-2</c:v>
                </c:pt>
                <c:pt idx="1591">
                  <c:v>-7.3109243697478996E-2</c:v>
                </c:pt>
                <c:pt idx="1592">
                  <c:v>-7.3109243697478996E-2</c:v>
                </c:pt>
                <c:pt idx="1593">
                  <c:v>-7.3109243697478996E-2</c:v>
                </c:pt>
                <c:pt idx="1594">
                  <c:v>-7.3109243697478996E-2</c:v>
                </c:pt>
                <c:pt idx="1595">
                  <c:v>-7.3109243697478996E-2</c:v>
                </c:pt>
                <c:pt idx="1596">
                  <c:v>-7.3109243697478996E-2</c:v>
                </c:pt>
                <c:pt idx="1597">
                  <c:v>-7.3109243697478996E-2</c:v>
                </c:pt>
                <c:pt idx="1598">
                  <c:v>-7.3109243697478996E-2</c:v>
                </c:pt>
                <c:pt idx="1599">
                  <c:v>-7.3109243697478996E-2</c:v>
                </c:pt>
                <c:pt idx="1600">
                  <c:v>-7.3109243697478996E-2</c:v>
                </c:pt>
                <c:pt idx="1601">
                  <c:v>-7.3109243697478996E-2</c:v>
                </c:pt>
                <c:pt idx="1602">
                  <c:v>-7.3109243697478996E-2</c:v>
                </c:pt>
                <c:pt idx="1603">
                  <c:v>-7.3109243697478996E-2</c:v>
                </c:pt>
                <c:pt idx="1604">
                  <c:v>-7.3109243697478996E-2</c:v>
                </c:pt>
                <c:pt idx="1605">
                  <c:v>-7.3109243697478996E-2</c:v>
                </c:pt>
                <c:pt idx="1606">
                  <c:v>-7.3109243697478996E-2</c:v>
                </c:pt>
                <c:pt idx="1607">
                  <c:v>-7.3109243697478996E-2</c:v>
                </c:pt>
                <c:pt idx="1608">
                  <c:v>-7.3109243697478996E-2</c:v>
                </c:pt>
                <c:pt idx="1609">
                  <c:v>-7.3109243697478996E-2</c:v>
                </c:pt>
                <c:pt idx="1610">
                  <c:v>-7.3109243697478996E-2</c:v>
                </c:pt>
                <c:pt idx="1611">
                  <c:v>-7.3109243697478996E-2</c:v>
                </c:pt>
                <c:pt idx="1612">
                  <c:v>-7.3109243697478996E-2</c:v>
                </c:pt>
                <c:pt idx="1613">
                  <c:v>-7.3109243697478996E-2</c:v>
                </c:pt>
                <c:pt idx="1614">
                  <c:v>-7.3109243697478996E-2</c:v>
                </c:pt>
                <c:pt idx="1615">
                  <c:v>-7.3109243697478996E-2</c:v>
                </c:pt>
                <c:pt idx="1616">
                  <c:v>-7.3109243697478996E-2</c:v>
                </c:pt>
                <c:pt idx="1617">
                  <c:v>-7.3949579831932705E-2</c:v>
                </c:pt>
                <c:pt idx="1618">
                  <c:v>-7.3949579831932705E-2</c:v>
                </c:pt>
                <c:pt idx="1619">
                  <c:v>-7.3949579831932705E-2</c:v>
                </c:pt>
                <c:pt idx="1620">
                  <c:v>-7.3949579831932705E-2</c:v>
                </c:pt>
                <c:pt idx="1621">
                  <c:v>-7.3949579831932705E-2</c:v>
                </c:pt>
                <c:pt idx="1622">
                  <c:v>-7.3949579831932705E-2</c:v>
                </c:pt>
                <c:pt idx="1623">
                  <c:v>-7.3949579831932705E-2</c:v>
                </c:pt>
                <c:pt idx="1624">
                  <c:v>-7.3949579831932705E-2</c:v>
                </c:pt>
                <c:pt idx="1625">
                  <c:v>-7.3949579831932705E-2</c:v>
                </c:pt>
                <c:pt idx="1626">
                  <c:v>-7.3949579831932705E-2</c:v>
                </c:pt>
                <c:pt idx="1627">
                  <c:v>-7.3949579831932705E-2</c:v>
                </c:pt>
                <c:pt idx="1628">
                  <c:v>-7.4789915966386497E-2</c:v>
                </c:pt>
                <c:pt idx="1629">
                  <c:v>-7.4789915966386497E-2</c:v>
                </c:pt>
                <c:pt idx="1630">
                  <c:v>-7.5630252100840303E-2</c:v>
                </c:pt>
                <c:pt idx="1631">
                  <c:v>-7.5630252100840303E-2</c:v>
                </c:pt>
                <c:pt idx="1632">
                  <c:v>-7.5630252100840303E-2</c:v>
                </c:pt>
                <c:pt idx="1633">
                  <c:v>-7.5630252100840303E-2</c:v>
                </c:pt>
                <c:pt idx="1634">
                  <c:v>-7.5630252100840303E-2</c:v>
                </c:pt>
                <c:pt idx="1635">
                  <c:v>-7.5630252100840303E-2</c:v>
                </c:pt>
                <c:pt idx="1636">
                  <c:v>-7.4789915966386497E-2</c:v>
                </c:pt>
                <c:pt idx="1637">
                  <c:v>-7.4789915966386497E-2</c:v>
                </c:pt>
                <c:pt idx="1638">
                  <c:v>-7.4789915966386497E-2</c:v>
                </c:pt>
                <c:pt idx="1639">
                  <c:v>-7.4789915966386497E-2</c:v>
                </c:pt>
                <c:pt idx="1640">
                  <c:v>-7.4789915966386497E-2</c:v>
                </c:pt>
                <c:pt idx="1641">
                  <c:v>-7.4789915966386497E-2</c:v>
                </c:pt>
                <c:pt idx="1642">
                  <c:v>-7.4789915966386497E-2</c:v>
                </c:pt>
                <c:pt idx="1643">
                  <c:v>-7.4789915966386497E-2</c:v>
                </c:pt>
                <c:pt idx="1644">
                  <c:v>-7.4789915966386497E-2</c:v>
                </c:pt>
                <c:pt idx="1645">
                  <c:v>-7.4789915966386497E-2</c:v>
                </c:pt>
                <c:pt idx="1646">
                  <c:v>-7.4789915966386497E-2</c:v>
                </c:pt>
                <c:pt idx="1647">
                  <c:v>-7.4789915966386497E-2</c:v>
                </c:pt>
                <c:pt idx="1648">
                  <c:v>-7.4789915966386497E-2</c:v>
                </c:pt>
                <c:pt idx="1649">
                  <c:v>-7.4789915966386497E-2</c:v>
                </c:pt>
                <c:pt idx="1650">
                  <c:v>-7.4789915966386497E-2</c:v>
                </c:pt>
                <c:pt idx="1651">
                  <c:v>-7.4789915966386497E-2</c:v>
                </c:pt>
                <c:pt idx="1652">
                  <c:v>-7.4789915966386497E-2</c:v>
                </c:pt>
                <c:pt idx="1653">
                  <c:v>-7.4789915966386497E-2</c:v>
                </c:pt>
                <c:pt idx="1654">
                  <c:v>-7.4789915966386497E-2</c:v>
                </c:pt>
                <c:pt idx="1655">
                  <c:v>-7.4789915966386497E-2</c:v>
                </c:pt>
                <c:pt idx="1656">
                  <c:v>-7.4789915966386497E-2</c:v>
                </c:pt>
                <c:pt idx="1657">
                  <c:v>-7.4789915966386497E-2</c:v>
                </c:pt>
                <c:pt idx="1658">
                  <c:v>-7.4789915966386497E-2</c:v>
                </c:pt>
                <c:pt idx="1659">
                  <c:v>-7.4789915966386497E-2</c:v>
                </c:pt>
                <c:pt idx="1660">
                  <c:v>-7.4789915966386497E-2</c:v>
                </c:pt>
                <c:pt idx="1661">
                  <c:v>-7.4789915966386497E-2</c:v>
                </c:pt>
                <c:pt idx="1662">
                  <c:v>-7.4789915966386497E-2</c:v>
                </c:pt>
                <c:pt idx="1663">
                  <c:v>-7.4789915966386497E-2</c:v>
                </c:pt>
                <c:pt idx="1664">
                  <c:v>-7.4789915966386497E-2</c:v>
                </c:pt>
                <c:pt idx="1665">
                  <c:v>-7.4789915966386497E-2</c:v>
                </c:pt>
                <c:pt idx="1666">
                  <c:v>-7.5630252100840303E-2</c:v>
                </c:pt>
                <c:pt idx="1667">
                  <c:v>-7.5630252100840303E-2</c:v>
                </c:pt>
                <c:pt idx="1668">
                  <c:v>-7.5630252100840303E-2</c:v>
                </c:pt>
                <c:pt idx="1669">
                  <c:v>-7.5630252100840303E-2</c:v>
                </c:pt>
                <c:pt idx="1670">
                  <c:v>-7.5630252100840303E-2</c:v>
                </c:pt>
                <c:pt idx="1671">
                  <c:v>-7.5630252100840303E-2</c:v>
                </c:pt>
                <c:pt idx="1672">
                  <c:v>-7.5630252100840303E-2</c:v>
                </c:pt>
                <c:pt idx="1673">
                  <c:v>-7.5630252100840303E-2</c:v>
                </c:pt>
                <c:pt idx="1674">
                  <c:v>-7.5630252100840303E-2</c:v>
                </c:pt>
                <c:pt idx="1675">
                  <c:v>-7.5630252100840303E-2</c:v>
                </c:pt>
                <c:pt idx="1676">
                  <c:v>-7.5630252100840303E-2</c:v>
                </c:pt>
                <c:pt idx="1677">
                  <c:v>-7.5630252100840303E-2</c:v>
                </c:pt>
                <c:pt idx="1678">
                  <c:v>-7.5630252100840303E-2</c:v>
                </c:pt>
                <c:pt idx="1679">
                  <c:v>-7.5630252100840303E-2</c:v>
                </c:pt>
                <c:pt idx="1680">
                  <c:v>-7.5630252100840303E-2</c:v>
                </c:pt>
                <c:pt idx="1681">
                  <c:v>-7.5630252100840303E-2</c:v>
                </c:pt>
                <c:pt idx="1682">
                  <c:v>-7.6470588235294096E-2</c:v>
                </c:pt>
                <c:pt idx="1683">
                  <c:v>-7.5630252100840303E-2</c:v>
                </c:pt>
                <c:pt idx="1684">
                  <c:v>-7.6470588235294096E-2</c:v>
                </c:pt>
                <c:pt idx="1685">
                  <c:v>-7.6470588235294096E-2</c:v>
                </c:pt>
                <c:pt idx="1686">
                  <c:v>-7.6470588235294096E-2</c:v>
                </c:pt>
                <c:pt idx="1687">
                  <c:v>-7.6470588235294096E-2</c:v>
                </c:pt>
                <c:pt idx="1688">
                  <c:v>-7.6470588235294096E-2</c:v>
                </c:pt>
                <c:pt idx="1689">
                  <c:v>-7.6470588235294096E-2</c:v>
                </c:pt>
                <c:pt idx="1690">
                  <c:v>-7.6470588235294096E-2</c:v>
                </c:pt>
                <c:pt idx="1691">
                  <c:v>-7.6470588235294096E-2</c:v>
                </c:pt>
                <c:pt idx="1692">
                  <c:v>-7.6470588235294096E-2</c:v>
                </c:pt>
                <c:pt idx="1693">
                  <c:v>-7.6470588235294096E-2</c:v>
                </c:pt>
                <c:pt idx="1694">
                  <c:v>-7.5630252100840303E-2</c:v>
                </c:pt>
                <c:pt idx="1695">
                  <c:v>-7.5630252100840303E-2</c:v>
                </c:pt>
                <c:pt idx="1696">
                  <c:v>-7.5630252100840303E-2</c:v>
                </c:pt>
                <c:pt idx="1697">
                  <c:v>-7.5630252100840303E-2</c:v>
                </c:pt>
                <c:pt idx="1698">
                  <c:v>-7.5630252100840303E-2</c:v>
                </c:pt>
                <c:pt idx="1699">
                  <c:v>-7.5630252100840303E-2</c:v>
                </c:pt>
                <c:pt idx="1700">
                  <c:v>-7.5630252100840303E-2</c:v>
                </c:pt>
                <c:pt idx="1701">
                  <c:v>-7.5630252100840303E-2</c:v>
                </c:pt>
                <c:pt idx="1702">
                  <c:v>-7.5630252100840303E-2</c:v>
                </c:pt>
                <c:pt idx="1703">
                  <c:v>-7.5630252100840303E-2</c:v>
                </c:pt>
                <c:pt idx="1704">
                  <c:v>-7.5630252100840303E-2</c:v>
                </c:pt>
                <c:pt idx="1705">
                  <c:v>-7.5630252100840303E-2</c:v>
                </c:pt>
                <c:pt idx="1706">
                  <c:v>-7.5630252100840303E-2</c:v>
                </c:pt>
                <c:pt idx="1707">
                  <c:v>-7.5630252100840303E-2</c:v>
                </c:pt>
                <c:pt idx="1708">
                  <c:v>-7.5630252100840303E-2</c:v>
                </c:pt>
                <c:pt idx="1709">
                  <c:v>-7.5630252100840303E-2</c:v>
                </c:pt>
                <c:pt idx="1710">
                  <c:v>-7.5630252100840303E-2</c:v>
                </c:pt>
                <c:pt idx="1711">
                  <c:v>-7.5630252100840303E-2</c:v>
                </c:pt>
                <c:pt idx="1712">
                  <c:v>-7.5630252100840303E-2</c:v>
                </c:pt>
                <c:pt idx="1713">
                  <c:v>-7.5630252100840303E-2</c:v>
                </c:pt>
                <c:pt idx="1714">
                  <c:v>-7.5630252100840303E-2</c:v>
                </c:pt>
                <c:pt idx="1715">
                  <c:v>-7.5630252100840303E-2</c:v>
                </c:pt>
                <c:pt idx="1716">
                  <c:v>-7.5630252100840303E-2</c:v>
                </c:pt>
                <c:pt idx="1717">
                  <c:v>-7.5630252100840303E-2</c:v>
                </c:pt>
                <c:pt idx="1718">
                  <c:v>-7.5630252100840303E-2</c:v>
                </c:pt>
                <c:pt idx="1719">
                  <c:v>-7.5630252100840303E-2</c:v>
                </c:pt>
                <c:pt idx="1720">
                  <c:v>-7.5630252100840303E-2</c:v>
                </c:pt>
                <c:pt idx="1721">
                  <c:v>-7.5630252100840303E-2</c:v>
                </c:pt>
                <c:pt idx="1722">
                  <c:v>-7.5630252100840303E-2</c:v>
                </c:pt>
                <c:pt idx="1723">
                  <c:v>-7.5630252100840303E-2</c:v>
                </c:pt>
                <c:pt idx="1724">
                  <c:v>-7.5630252100840303E-2</c:v>
                </c:pt>
                <c:pt idx="1725">
                  <c:v>-7.6470588235294096E-2</c:v>
                </c:pt>
                <c:pt idx="1726">
                  <c:v>-7.6470588235294096E-2</c:v>
                </c:pt>
                <c:pt idx="1727">
                  <c:v>-7.6470588235294096E-2</c:v>
                </c:pt>
                <c:pt idx="1728">
                  <c:v>-7.6470588235294096E-2</c:v>
                </c:pt>
                <c:pt idx="1729">
                  <c:v>-7.6470588235294096E-2</c:v>
                </c:pt>
                <c:pt idx="1730">
                  <c:v>-7.6470588235294096E-2</c:v>
                </c:pt>
                <c:pt idx="1731">
                  <c:v>-7.6470588235294096E-2</c:v>
                </c:pt>
                <c:pt idx="1732">
                  <c:v>-7.6470588235294096E-2</c:v>
                </c:pt>
                <c:pt idx="1733">
                  <c:v>-7.6470588235294096E-2</c:v>
                </c:pt>
                <c:pt idx="1734">
                  <c:v>-7.6470588235294096E-2</c:v>
                </c:pt>
                <c:pt idx="1735">
                  <c:v>-7.6470588235294096E-2</c:v>
                </c:pt>
                <c:pt idx="1736">
                  <c:v>-7.6470588235294096E-2</c:v>
                </c:pt>
                <c:pt idx="1737">
                  <c:v>-7.6470588235294096E-2</c:v>
                </c:pt>
                <c:pt idx="1738">
                  <c:v>-7.6470588235294096E-2</c:v>
                </c:pt>
                <c:pt idx="1739">
                  <c:v>-7.6470588235294096E-2</c:v>
                </c:pt>
                <c:pt idx="1740">
                  <c:v>-7.6470588235294096E-2</c:v>
                </c:pt>
                <c:pt idx="1741">
                  <c:v>-7.6470588235294096E-2</c:v>
                </c:pt>
                <c:pt idx="1742">
                  <c:v>-7.6470588235294096E-2</c:v>
                </c:pt>
                <c:pt idx="1743">
                  <c:v>-7.6470588235294096E-2</c:v>
                </c:pt>
                <c:pt idx="1744">
                  <c:v>-7.6470588235294096E-2</c:v>
                </c:pt>
                <c:pt idx="1745">
                  <c:v>-7.6470588235294096E-2</c:v>
                </c:pt>
                <c:pt idx="1746">
                  <c:v>-7.6470588235294096E-2</c:v>
                </c:pt>
                <c:pt idx="1747">
                  <c:v>-7.5630252100840303E-2</c:v>
                </c:pt>
                <c:pt idx="1748">
                  <c:v>-7.5630252100840303E-2</c:v>
                </c:pt>
                <c:pt idx="1749">
                  <c:v>-7.5630252100840303E-2</c:v>
                </c:pt>
                <c:pt idx="1750">
                  <c:v>-7.5630252100840303E-2</c:v>
                </c:pt>
                <c:pt idx="1751">
                  <c:v>-7.5630252100840303E-2</c:v>
                </c:pt>
                <c:pt idx="1752">
                  <c:v>-7.5630252100840303E-2</c:v>
                </c:pt>
                <c:pt idx="1753">
                  <c:v>-7.5630252100840303E-2</c:v>
                </c:pt>
                <c:pt idx="1754">
                  <c:v>-7.5630252100840303E-2</c:v>
                </c:pt>
                <c:pt idx="1755">
                  <c:v>-7.5630252100840303E-2</c:v>
                </c:pt>
                <c:pt idx="1756">
                  <c:v>-7.6470588235294096E-2</c:v>
                </c:pt>
                <c:pt idx="1757">
                  <c:v>-7.7310924369747902E-2</c:v>
                </c:pt>
                <c:pt idx="1758">
                  <c:v>-7.7310924369747902E-2</c:v>
                </c:pt>
                <c:pt idx="1759">
                  <c:v>-7.7310924369747902E-2</c:v>
                </c:pt>
                <c:pt idx="1760">
                  <c:v>-7.7310924369747902E-2</c:v>
                </c:pt>
                <c:pt idx="1761">
                  <c:v>-7.7310924369747902E-2</c:v>
                </c:pt>
                <c:pt idx="1762">
                  <c:v>-7.8151260504201597E-2</c:v>
                </c:pt>
                <c:pt idx="1763">
                  <c:v>-7.8151260504201597E-2</c:v>
                </c:pt>
                <c:pt idx="1764">
                  <c:v>-7.8151260504201597E-2</c:v>
                </c:pt>
                <c:pt idx="1765">
                  <c:v>-7.8151260504201597E-2</c:v>
                </c:pt>
                <c:pt idx="1766">
                  <c:v>-7.8151260504201597E-2</c:v>
                </c:pt>
                <c:pt idx="1767">
                  <c:v>-7.8151260504201597E-2</c:v>
                </c:pt>
                <c:pt idx="1768">
                  <c:v>-7.8151260504201597E-2</c:v>
                </c:pt>
                <c:pt idx="1769">
                  <c:v>-7.8151260504201597E-2</c:v>
                </c:pt>
                <c:pt idx="1770">
                  <c:v>-7.8151260504201597E-2</c:v>
                </c:pt>
                <c:pt idx="1771">
                  <c:v>-7.8991596638655404E-2</c:v>
                </c:pt>
                <c:pt idx="1772">
                  <c:v>-7.8991596638655404E-2</c:v>
                </c:pt>
                <c:pt idx="1773">
                  <c:v>-7.8991596638655404E-2</c:v>
                </c:pt>
                <c:pt idx="1774">
                  <c:v>-7.9831932773109196E-2</c:v>
                </c:pt>
                <c:pt idx="1775">
                  <c:v>-7.9831932773109196E-2</c:v>
                </c:pt>
                <c:pt idx="1776">
                  <c:v>-7.9831932773109196E-2</c:v>
                </c:pt>
                <c:pt idx="1777">
                  <c:v>-7.9831932773109196E-2</c:v>
                </c:pt>
                <c:pt idx="1778">
                  <c:v>-7.9831932773109196E-2</c:v>
                </c:pt>
                <c:pt idx="1779">
                  <c:v>-7.8991596638655404E-2</c:v>
                </c:pt>
                <c:pt idx="1780">
                  <c:v>-7.8991596638655404E-2</c:v>
                </c:pt>
                <c:pt idx="1781">
                  <c:v>-7.8991596638655404E-2</c:v>
                </c:pt>
                <c:pt idx="1782">
                  <c:v>-7.8991596638655404E-2</c:v>
                </c:pt>
                <c:pt idx="1783">
                  <c:v>-7.8991596638655404E-2</c:v>
                </c:pt>
                <c:pt idx="1784">
                  <c:v>-7.8991596638655404E-2</c:v>
                </c:pt>
                <c:pt idx="1785">
                  <c:v>-7.8991596638655404E-2</c:v>
                </c:pt>
                <c:pt idx="1786">
                  <c:v>-7.9831932773109196E-2</c:v>
                </c:pt>
                <c:pt idx="1787">
                  <c:v>-7.9831932773109196E-2</c:v>
                </c:pt>
                <c:pt idx="1788">
                  <c:v>-7.9831932773109196E-2</c:v>
                </c:pt>
                <c:pt idx="1789">
                  <c:v>-7.9831932773109196E-2</c:v>
                </c:pt>
                <c:pt idx="1790">
                  <c:v>-7.9831932773109196E-2</c:v>
                </c:pt>
                <c:pt idx="1791">
                  <c:v>-7.9831932773109196E-2</c:v>
                </c:pt>
                <c:pt idx="1792">
                  <c:v>-7.9831932773109196E-2</c:v>
                </c:pt>
                <c:pt idx="1793">
                  <c:v>-7.9831932773109196E-2</c:v>
                </c:pt>
                <c:pt idx="1794">
                  <c:v>-7.9831932773109196E-2</c:v>
                </c:pt>
                <c:pt idx="1795">
                  <c:v>-7.9831932773109196E-2</c:v>
                </c:pt>
                <c:pt idx="1796">
                  <c:v>-7.9831932773109196E-2</c:v>
                </c:pt>
                <c:pt idx="1797">
                  <c:v>-7.9831932773109196E-2</c:v>
                </c:pt>
                <c:pt idx="1798">
                  <c:v>-7.9831932773109196E-2</c:v>
                </c:pt>
                <c:pt idx="1799">
                  <c:v>-7.9831932773109196E-2</c:v>
                </c:pt>
                <c:pt idx="1800">
                  <c:v>-7.9831932773109196E-2</c:v>
                </c:pt>
                <c:pt idx="1801">
                  <c:v>-8.0672268907563002E-2</c:v>
                </c:pt>
                <c:pt idx="1802">
                  <c:v>-8.0672268907563002E-2</c:v>
                </c:pt>
                <c:pt idx="1803">
                  <c:v>-8.0672268907563002E-2</c:v>
                </c:pt>
                <c:pt idx="1804">
                  <c:v>-8.0672268907563002E-2</c:v>
                </c:pt>
                <c:pt idx="1805">
                  <c:v>-8.0672268907563002E-2</c:v>
                </c:pt>
                <c:pt idx="1806">
                  <c:v>-8.1512605042016795E-2</c:v>
                </c:pt>
                <c:pt idx="1807">
                  <c:v>-8.1512605042016795E-2</c:v>
                </c:pt>
                <c:pt idx="1808">
                  <c:v>-8.1512605042016795E-2</c:v>
                </c:pt>
                <c:pt idx="1809">
                  <c:v>-8.2352941176470504E-2</c:v>
                </c:pt>
                <c:pt idx="1810">
                  <c:v>-8.1512605042016795E-2</c:v>
                </c:pt>
                <c:pt idx="1811">
                  <c:v>-8.1512605042016795E-2</c:v>
                </c:pt>
                <c:pt idx="1812">
                  <c:v>-8.1512605042016795E-2</c:v>
                </c:pt>
                <c:pt idx="1813">
                  <c:v>-8.1512605042016795E-2</c:v>
                </c:pt>
                <c:pt idx="1814">
                  <c:v>-8.1512605042016795E-2</c:v>
                </c:pt>
                <c:pt idx="1815">
                  <c:v>-8.1512605042016795E-2</c:v>
                </c:pt>
                <c:pt idx="1816">
                  <c:v>-8.1512605042016795E-2</c:v>
                </c:pt>
                <c:pt idx="1817">
                  <c:v>-8.1512605042016795E-2</c:v>
                </c:pt>
                <c:pt idx="1818">
                  <c:v>-8.1512605042016795E-2</c:v>
                </c:pt>
                <c:pt idx="1819">
                  <c:v>-8.1512605042016795E-2</c:v>
                </c:pt>
                <c:pt idx="1820">
                  <c:v>-8.2352941176470504E-2</c:v>
                </c:pt>
                <c:pt idx="1821">
                  <c:v>-8.2352941176470504E-2</c:v>
                </c:pt>
                <c:pt idx="1822">
                  <c:v>-8.2352941176470504E-2</c:v>
                </c:pt>
                <c:pt idx="1823">
                  <c:v>-8.3193277310924296E-2</c:v>
                </c:pt>
                <c:pt idx="1824">
                  <c:v>-8.3193277310924296E-2</c:v>
                </c:pt>
                <c:pt idx="1825">
                  <c:v>-8.4033613445378103E-2</c:v>
                </c:pt>
                <c:pt idx="1826">
                  <c:v>-8.4033613445378103E-2</c:v>
                </c:pt>
                <c:pt idx="1827">
                  <c:v>-8.4033613445378103E-2</c:v>
                </c:pt>
                <c:pt idx="1828">
                  <c:v>-8.4033613445378103E-2</c:v>
                </c:pt>
                <c:pt idx="1829">
                  <c:v>-8.4033613445378103E-2</c:v>
                </c:pt>
                <c:pt idx="1830">
                  <c:v>-8.4033613445378103E-2</c:v>
                </c:pt>
                <c:pt idx="1831">
                  <c:v>-8.4033613445378103E-2</c:v>
                </c:pt>
                <c:pt idx="1832">
                  <c:v>-8.4033613445378103E-2</c:v>
                </c:pt>
                <c:pt idx="1833">
                  <c:v>-8.4033613445378103E-2</c:v>
                </c:pt>
                <c:pt idx="1834">
                  <c:v>-8.4033613445378103E-2</c:v>
                </c:pt>
                <c:pt idx="1835">
                  <c:v>-8.4033613445378103E-2</c:v>
                </c:pt>
                <c:pt idx="1836">
                  <c:v>-8.4033613445378103E-2</c:v>
                </c:pt>
                <c:pt idx="1837">
                  <c:v>-8.4033613445378103E-2</c:v>
                </c:pt>
                <c:pt idx="1838">
                  <c:v>-8.4033613445378103E-2</c:v>
                </c:pt>
                <c:pt idx="1839">
                  <c:v>-8.4033613445378103E-2</c:v>
                </c:pt>
                <c:pt idx="1840">
                  <c:v>-8.4033613445378103E-2</c:v>
                </c:pt>
                <c:pt idx="1841">
                  <c:v>-8.4033613445378103E-2</c:v>
                </c:pt>
                <c:pt idx="1842">
                  <c:v>-8.4033613445378103E-2</c:v>
                </c:pt>
                <c:pt idx="1843">
                  <c:v>-8.4873949579831895E-2</c:v>
                </c:pt>
                <c:pt idx="1844">
                  <c:v>-8.5714285714285701E-2</c:v>
                </c:pt>
                <c:pt idx="1845">
                  <c:v>-8.5714285714285701E-2</c:v>
                </c:pt>
                <c:pt idx="1846">
                  <c:v>-8.6554621848739396E-2</c:v>
                </c:pt>
                <c:pt idx="1847">
                  <c:v>-8.6554621848739396E-2</c:v>
                </c:pt>
                <c:pt idx="1848">
                  <c:v>-8.6554621848739396E-2</c:v>
                </c:pt>
                <c:pt idx="1849">
                  <c:v>-8.6554621848739396E-2</c:v>
                </c:pt>
                <c:pt idx="1850">
                  <c:v>-8.6554621848739396E-2</c:v>
                </c:pt>
                <c:pt idx="1851">
                  <c:v>-8.6554621848739396E-2</c:v>
                </c:pt>
                <c:pt idx="1852">
                  <c:v>-8.6554621848739396E-2</c:v>
                </c:pt>
                <c:pt idx="1853">
                  <c:v>-8.6554621848739396E-2</c:v>
                </c:pt>
                <c:pt idx="1854">
                  <c:v>-8.6554621848739396E-2</c:v>
                </c:pt>
                <c:pt idx="1855">
                  <c:v>-8.6554621848739396E-2</c:v>
                </c:pt>
                <c:pt idx="1856">
                  <c:v>-8.6554621848739396E-2</c:v>
                </c:pt>
                <c:pt idx="1857">
                  <c:v>-8.6554621848739396E-2</c:v>
                </c:pt>
                <c:pt idx="1858">
                  <c:v>-8.6554621848739396E-2</c:v>
                </c:pt>
                <c:pt idx="1859">
                  <c:v>-8.7394957983193203E-2</c:v>
                </c:pt>
                <c:pt idx="1860">
                  <c:v>-8.7394957983193203E-2</c:v>
                </c:pt>
                <c:pt idx="1861">
                  <c:v>-8.7394957983193203E-2</c:v>
                </c:pt>
                <c:pt idx="1862">
                  <c:v>-8.7394957983193203E-2</c:v>
                </c:pt>
                <c:pt idx="1863">
                  <c:v>-8.7394957983193203E-2</c:v>
                </c:pt>
                <c:pt idx="1864">
                  <c:v>-8.7394957983193203E-2</c:v>
                </c:pt>
                <c:pt idx="1865">
                  <c:v>-8.7394957983193203E-2</c:v>
                </c:pt>
                <c:pt idx="1866">
                  <c:v>-8.7394957983193203E-2</c:v>
                </c:pt>
                <c:pt idx="1867">
                  <c:v>-8.7394957983193203E-2</c:v>
                </c:pt>
                <c:pt idx="1868">
                  <c:v>-8.7394957983193203E-2</c:v>
                </c:pt>
                <c:pt idx="1869">
                  <c:v>-8.7394957983193203E-2</c:v>
                </c:pt>
                <c:pt idx="1870">
                  <c:v>-8.7394957983193203E-2</c:v>
                </c:pt>
                <c:pt idx="1871">
                  <c:v>-8.7394957983193203E-2</c:v>
                </c:pt>
                <c:pt idx="1872">
                  <c:v>-8.6554621848739494E-2</c:v>
                </c:pt>
                <c:pt idx="1873">
                  <c:v>-8.6554621848739494E-2</c:v>
                </c:pt>
                <c:pt idx="1874">
                  <c:v>-8.6554621848739494E-2</c:v>
                </c:pt>
                <c:pt idx="1875">
                  <c:v>-8.6554621848739494E-2</c:v>
                </c:pt>
                <c:pt idx="1876">
                  <c:v>-8.6554621848739494E-2</c:v>
                </c:pt>
                <c:pt idx="1877">
                  <c:v>-8.6554621848739494E-2</c:v>
                </c:pt>
                <c:pt idx="1878">
                  <c:v>-8.6554621848739494E-2</c:v>
                </c:pt>
                <c:pt idx="1879">
                  <c:v>-8.6554621848739494E-2</c:v>
                </c:pt>
                <c:pt idx="1880">
                  <c:v>-8.6554621848739494E-2</c:v>
                </c:pt>
                <c:pt idx="1881">
                  <c:v>-8.6554621848739494E-2</c:v>
                </c:pt>
                <c:pt idx="1882">
                  <c:v>-8.7394957983193203E-2</c:v>
                </c:pt>
                <c:pt idx="1883">
                  <c:v>-8.7394957983193203E-2</c:v>
                </c:pt>
                <c:pt idx="1884">
                  <c:v>-8.7394957983193203E-2</c:v>
                </c:pt>
                <c:pt idx="1885">
                  <c:v>-8.7394957983193203E-2</c:v>
                </c:pt>
                <c:pt idx="1886">
                  <c:v>-8.7394957983193203E-2</c:v>
                </c:pt>
                <c:pt idx="1887">
                  <c:v>-8.7394957983193203E-2</c:v>
                </c:pt>
                <c:pt idx="1888">
                  <c:v>-8.7394957983193203E-2</c:v>
                </c:pt>
                <c:pt idx="1889">
                  <c:v>-8.7394957983193203E-2</c:v>
                </c:pt>
                <c:pt idx="1890">
                  <c:v>-8.8235294117646995E-2</c:v>
                </c:pt>
                <c:pt idx="1891">
                  <c:v>-8.9075630252100801E-2</c:v>
                </c:pt>
                <c:pt idx="1892">
                  <c:v>-8.9915966386554594E-2</c:v>
                </c:pt>
                <c:pt idx="1893">
                  <c:v>-8.9915966386554594E-2</c:v>
                </c:pt>
                <c:pt idx="1894">
                  <c:v>-8.9915966386554594E-2</c:v>
                </c:pt>
                <c:pt idx="1895">
                  <c:v>-8.9915966386554594E-2</c:v>
                </c:pt>
                <c:pt idx="1896">
                  <c:v>-8.9915966386554594E-2</c:v>
                </c:pt>
                <c:pt idx="1897">
                  <c:v>-8.9915966386554594E-2</c:v>
                </c:pt>
                <c:pt idx="1898">
                  <c:v>-8.9915966386554594E-2</c:v>
                </c:pt>
                <c:pt idx="1899">
                  <c:v>-8.9915966386554594E-2</c:v>
                </c:pt>
                <c:pt idx="1900">
                  <c:v>-8.9915966386554594E-2</c:v>
                </c:pt>
                <c:pt idx="1901">
                  <c:v>-8.9915966386554594E-2</c:v>
                </c:pt>
                <c:pt idx="1902">
                  <c:v>-8.9075630252100801E-2</c:v>
                </c:pt>
                <c:pt idx="1903">
                  <c:v>-8.9075630252100801E-2</c:v>
                </c:pt>
                <c:pt idx="1904">
                  <c:v>-8.9075630252100801E-2</c:v>
                </c:pt>
                <c:pt idx="1905">
                  <c:v>-8.8235294117646995E-2</c:v>
                </c:pt>
                <c:pt idx="1906">
                  <c:v>-8.8235294117646995E-2</c:v>
                </c:pt>
                <c:pt idx="1907">
                  <c:v>-8.8235294117646995E-2</c:v>
                </c:pt>
                <c:pt idx="1908">
                  <c:v>-8.8235294117646995E-2</c:v>
                </c:pt>
                <c:pt idx="1909">
                  <c:v>-8.7394957983193203E-2</c:v>
                </c:pt>
                <c:pt idx="1910">
                  <c:v>-8.7394957983193203E-2</c:v>
                </c:pt>
                <c:pt idx="1911">
                  <c:v>-8.7394957983193203E-2</c:v>
                </c:pt>
                <c:pt idx="1912">
                  <c:v>-8.7394957983193203E-2</c:v>
                </c:pt>
                <c:pt idx="1913">
                  <c:v>-8.7394957983193203E-2</c:v>
                </c:pt>
                <c:pt idx="1914">
                  <c:v>-8.7394957983193203E-2</c:v>
                </c:pt>
                <c:pt idx="1915">
                  <c:v>-8.7394957983193203E-2</c:v>
                </c:pt>
                <c:pt idx="1916">
                  <c:v>-8.7394957983193203E-2</c:v>
                </c:pt>
                <c:pt idx="1917">
                  <c:v>-8.7394957983193203E-2</c:v>
                </c:pt>
                <c:pt idx="1918">
                  <c:v>-8.7394957983193203E-2</c:v>
                </c:pt>
                <c:pt idx="1919">
                  <c:v>-8.7394957983193203E-2</c:v>
                </c:pt>
                <c:pt idx="1920">
                  <c:v>-8.7394957983193203E-2</c:v>
                </c:pt>
                <c:pt idx="1921">
                  <c:v>-8.7394957983193203E-2</c:v>
                </c:pt>
                <c:pt idx="1922">
                  <c:v>-8.8235294117646995E-2</c:v>
                </c:pt>
                <c:pt idx="1923">
                  <c:v>-8.8235294117646995E-2</c:v>
                </c:pt>
                <c:pt idx="1924">
                  <c:v>-8.8235294117646995E-2</c:v>
                </c:pt>
                <c:pt idx="1925">
                  <c:v>-8.8235294117646995E-2</c:v>
                </c:pt>
                <c:pt idx="1926">
                  <c:v>-8.8235294117646995E-2</c:v>
                </c:pt>
                <c:pt idx="1927">
                  <c:v>-8.9075630252100801E-2</c:v>
                </c:pt>
                <c:pt idx="1928">
                  <c:v>-8.9075630252100801E-2</c:v>
                </c:pt>
                <c:pt idx="1929">
                  <c:v>-8.9075630252100801E-2</c:v>
                </c:pt>
                <c:pt idx="1930">
                  <c:v>-8.9075630252100801E-2</c:v>
                </c:pt>
                <c:pt idx="1931">
                  <c:v>-8.9075630252100801E-2</c:v>
                </c:pt>
                <c:pt idx="1932">
                  <c:v>-8.9075630252100801E-2</c:v>
                </c:pt>
                <c:pt idx="1933">
                  <c:v>-8.9075630252100801E-2</c:v>
                </c:pt>
                <c:pt idx="1934">
                  <c:v>-8.9075630252100801E-2</c:v>
                </c:pt>
                <c:pt idx="1935">
                  <c:v>-8.9075630252100801E-2</c:v>
                </c:pt>
                <c:pt idx="1936">
                  <c:v>-8.9075630252100801E-2</c:v>
                </c:pt>
                <c:pt idx="1937">
                  <c:v>-8.9075630252100801E-2</c:v>
                </c:pt>
                <c:pt idx="1938">
                  <c:v>-8.9075630252100801E-2</c:v>
                </c:pt>
                <c:pt idx="1939">
                  <c:v>-8.9075630252100801E-2</c:v>
                </c:pt>
                <c:pt idx="1940">
                  <c:v>-8.9075630252100801E-2</c:v>
                </c:pt>
                <c:pt idx="1941">
                  <c:v>-8.8235294117646995E-2</c:v>
                </c:pt>
                <c:pt idx="1942">
                  <c:v>-8.8235294117646995E-2</c:v>
                </c:pt>
                <c:pt idx="1943">
                  <c:v>-8.7394957983193203E-2</c:v>
                </c:pt>
                <c:pt idx="1944">
                  <c:v>-8.7394957983193203E-2</c:v>
                </c:pt>
                <c:pt idx="1945">
                  <c:v>-8.7394957983193203E-2</c:v>
                </c:pt>
                <c:pt idx="1946">
                  <c:v>-8.7394957983193203E-2</c:v>
                </c:pt>
                <c:pt idx="1947">
                  <c:v>-8.7394957983193203E-2</c:v>
                </c:pt>
                <c:pt idx="1948">
                  <c:v>-8.7394957983193203E-2</c:v>
                </c:pt>
                <c:pt idx="1949">
                  <c:v>-8.7394957983193203E-2</c:v>
                </c:pt>
                <c:pt idx="1950">
                  <c:v>-8.7394957983193203E-2</c:v>
                </c:pt>
                <c:pt idx="1951">
                  <c:v>-8.7394957983193203E-2</c:v>
                </c:pt>
                <c:pt idx="1952">
                  <c:v>-8.7394957983193203E-2</c:v>
                </c:pt>
                <c:pt idx="1953">
                  <c:v>-8.7394957983193203E-2</c:v>
                </c:pt>
                <c:pt idx="1954">
                  <c:v>-8.7394957983193203E-2</c:v>
                </c:pt>
                <c:pt idx="1955">
                  <c:v>-8.7394957983193203E-2</c:v>
                </c:pt>
                <c:pt idx="1956">
                  <c:v>-8.8235294117646995E-2</c:v>
                </c:pt>
                <c:pt idx="1957">
                  <c:v>-8.8235294117646995E-2</c:v>
                </c:pt>
                <c:pt idx="1958">
                  <c:v>-8.8235294117646995E-2</c:v>
                </c:pt>
                <c:pt idx="1959">
                  <c:v>-8.8235294117646995E-2</c:v>
                </c:pt>
                <c:pt idx="1960">
                  <c:v>-8.8235294117646995E-2</c:v>
                </c:pt>
                <c:pt idx="1961">
                  <c:v>-8.8235294117646995E-2</c:v>
                </c:pt>
                <c:pt idx="1962">
                  <c:v>-8.8235294117646995E-2</c:v>
                </c:pt>
                <c:pt idx="1963">
                  <c:v>-8.7394957983193203E-2</c:v>
                </c:pt>
                <c:pt idx="1964">
                  <c:v>-8.7394957983193203E-2</c:v>
                </c:pt>
                <c:pt idx="1965">
                  <c:v>-8.7394957983193203E-2</c:v>
                </c:pt>
                <c:pt idx="1966">
                  <c:v>-8.6554621848739494E-2</c:v>
                </c:pt>
                <c:pt idx="1967">
                  <c:v>-8.6554621848739494E-2</c:v>
                </c:pt>
                <c:pt idx="1968">
                  <c:v>-8.6554621848739494E-2</c:v>
                </c:pt>
                <c:pt idx="1969">
                  <c:v>-8.6554621848739494E-2</c:v>
                </c:pt>
                <c:pt idx="1970">
                  <c:v>-8.7394957983193203E-2</c:v>
                </c:pt>
                <c:pt idx="1971">
                  <c:v>-8.7394957983193203E-2</c:v>
                </c:pt>
                <c:pt idx="1972">
                  <c:v>-8.7394957983193203E-2</c:v>
                </c:pt>
                <c:pt idx="1973">
                  <c:v>-8.7394957983193203E-2</c:v>
                </c:pt>
                <c:pt idx="1974">
                  <c:v>-8.7394957983193203E-2</c:v>
                </c:pt>
                <c:pt idx="1975">
                  <c:v>-8.7394957983193203E-2</c:v>
                </c:pt>
                <c:pt idx="1976">
                  <c:v>-8.7394957983193203E-2</c:v>
                </c:pt>
                <c:pt idx="1977">
                  <c:v>-8.7394957983193203E-2</c:v>
                </c:pt>
                <c:pt idx="1978">
                  <c:v>-8.7394957983193203E-2</c:v>
                </c:pt>
                <c:pt idx="1979">
                  <c:v>-8.7394957983193203E-2</c:v>
                </c:pt>
                <c:pt idx="1980">
                  <c:v>-8.8235294117646995E-2</c:v>
                </c:pt>
                <c:pt idx="1981">
                  <c:v>-8.8235294117646995E-2</c:v>
                </c:pt>
                <c:pt idx="1982">
                  <c:v>-8.8235294117646995E-2</c:v>
                </c:pt>
                <c:pt idx="1983">
                  <c:v>-8.8235294117646995E-2</c:v>
                </c:pt>
                <c:pt idx="1984">
                  <c:v>-8.8235294117646995E-2</c:v>
                </c:pt>
                <c:pt idx="1985">
                  <c:v>-8.8235294117646995E-2</c:v>
                </c:pt>
                <c:pt idx="1986">
                  <c:v>-8.8235294117646995E-2</c:v>
                </c:pt>
                <c:pt idx="1987">
                  <c:v>-8.8235294117646995E-2</c:v>
                </c:pt>
                <c:pt idx="1988">
                  <c:v>-8.8235294117646995E-2</c:v>
                </c:pt>
                <c:pt idx="1989">
                  <c:v>-8.8235294117646995E-2</c:v>
                </c:pt>
                <c:pt idx="1990">
                  <c:v>-8.8235294117646995E-2</c:v>
                </c:pt>
                <c:pt idx="1991">
                  <c:v>-8.8235294117646995E-2</c:v>
                </c:pt>
                <c:pt idx="1992">
                  <c:v>-8.8235294117646995E-2</c:v>
                </c:pt>
                <c:pt idx="1993">
                  <c:v>-8.8235294117646995E-2</c:v>
                </c:pt>
                <c:pt idx="1994">
                  <c:v>-8.8235294117646995E-2</c:v>
                </c:pt>
                <c:pt idx="1995">
                  <c:v>-8.8235294117646995E-2</c:v>
                </c:pt>
                <c:pt idx="1996">
                  <c:v>-8.8235294117646995E-2</c:v>
                </c:pt>
                <c:pt idx="1997">
                  <c:v>-8.8235294117646995E-2</c:v>
                </c:pt>
                <c:pt idx="1998">
                  <c:v>-8.8235294117646995E-2</c:v>
                </c:pt>
                <c:pt idx="1999">
                  <c:v>-8.8235294117646995E-2</c:v>
                </c:pt>
                <c:pt idx="2000">
                  <c:v>-8.8235294117646995E-2</c:v>
                </c:pt>
                <c:pt idx="2001">
                  <c:v>-8.8235294117646995E-2</c:v>
                </c:pt>
                <c:pt idx="2002">
                  <c:v>-8.8235294117646995E-2</c:v>
                </c:pt>
                <c:pt idx="2003">
                  <c:v>-8.8235294117646995E-2</c:v>
                </c:pt>
                <c:pt idx="2004">
                  <c:v>-8.8235294117646995E-2</c:v>
                </c:pt>
                <c:pt idx="2005">
                  <c:v>-8.8235294117646995E-2</c:v>
                </c:pt>
                <c:pt idx="2006">
                  <c:v>-8.9075630252100801E-2</c:v>
                </c:pt>
                <c:pt idx="2007">
                  <c:v>-8.9075630252100801E-2</c:v>
                </c:pt>
                <c:pt idx="2008">
                  <c:v>-8.9075630252100801E-2</c:v>
                </c:pt>
                <c:pt idx="2009">
                  <c:v>-8.9075630252100801E-2</c:v>
                </c:pt>
                <c:pt idx="2010">
                  <c:v>-8.9075630252100801E-2</c:v>
                </c:pt>
                <c:pt idx="2011">
                  <c:v>-8.9915966386554594E-2</c:v>
                </c:pt>
                <c:pt idx="2012">
                  <c:v>-8.9915966386554594E-2</c:v>
                </c:pt>
                <c:pt idx="2013">
                  <c:v>-8.9915966386554594E-2</c:v>
                </c:pt>
                <c:pt idx="2014">
                  <c:v>-8.9915966386554594E-2</c:v>
                </c:pt>
                <c:pt idx="2015">
                  <c:v>-8.9075630252100801E-2</c:v>
                </c:pt>
                <c:pt idx="2016">
                  <c:v>-8.9075630252100801E-2</c:v>
                </c:pt>
                <c:pt idx="2017">
                  <c:v>-8.9075630252100801E-2</c:v>
                </c:pt>
                <c:pt idx="2018">
                  <c:v>-8.9075630252100801E-2</c:v>
                </c:pt>
                <c:pt idx="2019">
                  <c:v>-8.9075630252100801E-2</c:v>
                </c:pt>
                <c:pt idx="2020">
                  <c:v>-8.9075630252100801E-2</c:v>
                </c:pt>
                <c:pt idx="2021">
                  <c:v>-8.9075630252100801E-2</c:v>
                </c:pt>
                <c:pt idx="2022">
                  <c:v>-8.9075630252100801E-2</c:v>
                </c:pt>
                <c:pt idx="2023">
                  <c:v>-8.9075630252100801E-2</c:v>
                </c:pt>
                <c:pt idx="2024">
                  <c:v>-8.9075630252100801E-2</c:v>
                </c:pt>
                <c:pt idx="2025">
                  <c:v>-8.9075630252100801E-2</c:v>
                </c:pt>
                <c:pt idx="2026">
                  <c:v>-8.9075630252100801E-2</c:v>
                </c:pt>
                <c:pt idx="2027">
                  <c:v>-8.9075630252100801E-2</c:v>
                </c:pt>
                <c:pt idx="2028">
                  <c:v>-8.9915966386554594E-2</c:v>
                </c:pt>
                <c:pt idx="2029">
                  <c:v>-8.9915966386554594E-2</c:v>
                </c:pt>
                <c:pt idx="2030">
                  <c:v>-8.9915966386554594E-2</c:v>
                </c:pt>
                <c:pt idx="2031">
                  <c:v>-8.9915966386554594E-2</c:v>
                </c:pt>
                <c:pt idx="2032">
                  <c:v>-8.9075630252100801E-2</c:v>
                </c:pt>
                <c:pt idx="2033">
                  <c:v>-8.9075630252100801E-2</c:v>
                </c:pt>
                <c:pt idx="2034">
                  <c:v>-8.9075630252100801E-2</c:v>
                </c:pt>
                <c:pt idx="2035">
                  <c:v>-8.9075630252100801E-2</c:v>
                </c:pt>
                <c:pt idx="2036">
                  <c:v>-8.9075630252100801E-2</c:v>
                </c:pt>
                <c:pt idx="2037">
                  <c:v>-8.9075630252100801E-2</c:v>
                </c:pt>
                <c:pt idx="2038">
                  <c:v>-8.9075630252100801E-2</c:v>
                </c:pt>
                <c:pt idx="2039">
                  <c:v>-8.9075630252100801E-2</c:v>
                </c:pt>
                <c:pt idx="2040">
                  <c:v>-8.9075630252100801E-2</c:v>
                </c:pt>
                <c:pt idx="2041">
                  <c:v>-8.9075630252100801E-2</c:v>
                </c:pt>
                <c:pt idx="2042">
                  <c:v>-8.9075630252100801E-2</c:v>
                </c:pt>
                <c:pt idx="2043">
                  <c:v>-8.9075630252100801E-2</c:v>
                </c:pt>
                <c:pt idx="2044">
                  <c:v>-8.9075630252100801E-2</c:v>
                </c:pt>
                <c:pt idx="2045">
                  <c:v>-8.9075630252100801E-2</c:v>
                </c:pt>
                <c:pt idx="2046">
                  <c:v>-8.9075630252100801E-2</c:v>
                </c:pt>
                <c:pt idx="2047">
                  <c:v>-8.9075630252100801E-2</c:v>
                </c:pt>
                <c:pt idx="2048">
                  <c:v>-8.9075630252100801E-2</c:v>
                </c:pt>
                <c:pt idx="2049">
                  <c:v>-8.9075630252100801E-2</c:v>
                </c:pt>
                <c:pt idx="2050">
                  <c:v>-8.9075630252100801E-2</c:v>
                </c:pt>
                <c:pt idx="2051">
                  <c:v>-8.9075630252100801E-2</c:v>
                </c:pt>
                <c:pt idx="2052">
                  <c:v>-8.9075630252100801E-2</c:v>
                </c:pt>
                <c:pt idx="2053">
                  <c:v>-8.9075630252100801E-2</c:v>
                </c:pt>
                <c:pt idx="2054">
                  <c:v>-8.9075630252100801E-2</c:v>
                </c:pt>
                <c:pt idx="2055">
                  <c:v>-8.9915966386554594E-2</c:v>
                </c:pt>
                <c:pt idx="2056">
                  <c:v>-8.9915966386554594E-2</c:v>
                </c:pt>
                <c:pt idx="2057">
                  <c:v>-8.9915966386554594E-2</c:v>
                </c:pt>
                <c:pt idx="2058">
                  <c:v>-8.9915966386554594E-2</c:v>
                </c:pt>
                <c:pt idx="2059">
                  <c:v>-8.9915966386554594E-2</c:v>
                </c:pt>
                <c:pt idx="2060">
                  <c:v>-8.9915966386554594E-2</c:v>
                </c:pt>
                <c:pt idx="2061">
                  <c:v>-8.9915966386554594E-2</c:v>
                </c:pt>
                <c:pt idx="2062">
                  <c:v>-8.9915966386554594E-2</c:v>
                </c:pt>
                <c:pt idx="2063">
                  <c:v>-8.9915966386554594E-2</c:v>
                </c:pt>
                <c:pt idx="2064">
                  <c:v>-9.07563025210084E-2</c:v>
                </c:pt>
                <c:pt idx="2065">
                  <c:v>-9.07563025210084E-2</c:v>
                </c:pt>
                <c:pt idx="2066">
                  <c:v>-9.07563025210084E-2</c:v>
                </c:pt>
                <c:pt idx="2067">
                  <c:v>-9.1596638655462095E-2</c:v>
                </c:pt>
                <c:pt idx="2068">
                  <c:v>-9.1596638655462095E-2</c:v>
                </c:pt>
                <c:pt idx="2069">
                  <c:v>-9.1596638655462095E-2</c:v>
                </c:pt>
                <c:pt idx="2070">
                  <c:v>-9.1596638655462095E-2</c:v>
                </c:pt>
                <c:pt idx="2071">
                  <c:v>-9.1596638655462095E-2</c:v>
                </c:pt>
                <c:pt idx="2072">
                  <c:v>-9.1596638655462095E-2</c:v>
                </c:pt>
                <c:pt idx="2073">
                  <c:v>-9.1596638655462095E-2</c:v>
                </c:pt>
                <c:pt idx="2074">
                  <c:v>-9.1596638655462095E-2</c:v>
                </c:pt>
                <c:pt idx="2075">
                  <c:v>-9.1596638655462095E-2</c:v>
                </c:pt>
                <c:pt idx="2076">
                  <c:v>-9.1596638655462095E-2</c:v>
                </c:pt>
                <c:pt idx="2077">
                  <c:v>-9.1596638655462095E-2</c:v>
                </c:pt>
                <c:pt idx="2078">
                  <c:v>-9.1596638655462095E-2</c:v>
                </c:pt>
                <c:pt idx="2079">
                  <c:v>-9.1596638655462095E-2</c:v>
                </c:pt>
                <c:pt idx="2080">
                  <c:v>-9.07563025210084E-2</c:v>
                </c:pt>
                <c:pt idx="2081">
                  <c:v>-9.07563025210084E-2</c:v>
                </c:pt>
                <c:pt idx="2082">
                  <c:v>-9.07563025210084E-2</c:v>
                </c:pt>
                <c:pt idx="2083">
                  <c:v>-9.07563025210084E-2</c:v>
                </c:pt>
                <c:pt idx="2084">
                  <c:v>-9.07563025210084E-2</c:v>
                </c:pt>
                <c:pt idx="2085">
                  <c:v>-9.07563025210084E-2</c:v>
                </c:pt>
                <c:pt idx="2086">
                  <c:v>-9.07563025210084E-2</c:v>
                </c:pt>
                <c:pt idx="2087">
                  <c:v>-9.07563025210084E-2</c:v>
                </c:pt>
                <c:pt idx="2088">
                  <c:v>-9.07563025210084E-2</c:v>
                </c:pt>
                <c:pt idx="2089">
                  <c:v>-9.07563025210084E-2</c:v>
                </c:pt>
                <c:pt idx="2090">
                  <c:v>-9.1596638655462095E-2</c:v>
                </c:pt>
                <c:pt idx="2091">
                  <c:v>-9.1596638655462095E-2</c:v>
                </c:pt>
                <c:pt idx="2092">
                  <c:v>-9.1596638655462095E-2</c:v>
                </c:pt>
                <c:pt idx="2093">
                  <c:v>-9.1596638655462095E-2</c:v>
                </c:pt>
                <c:pt idx="2094">
                  <c:v>-9.1596638655462095E-2</c:v>
                </c:pt>
                <c:pt idx="2095">
                  <c:v>-9.1596638655462095E-2</c:v>
                </c:pt>
                <c:pt idx="2096">
                  <c:v>-9.1596638655462095E-2</c:v>
                </c:pt>
                <c:pt idx="2097">
                  <c:v>-9.1596638655462095E-2</c:v>
                </c:pt>
                <c:pt idx="2098">
                  <c:v>-9.1596638655462095E-2</c:v>
                </c:pt>
                <c:pt idx="2099">
                  <c:v>-9.1596638655462095E-2</c:v>
                </c:pt>
                <c:pt idx="2100">
                  <c:v>-9.1596638655462095E-2</c:v>
                </c:pt>
                <c:pt idx="2101">
                  <c:v>-9.1596638655462095E-2</c:v>
                </c:pt>
                <c:pt idx="2102">
                  <c:v>-9.1596638655462095E-2</c:v>
                </c:pt>
                <c:pt idx="2103">
                  <c:v>-9.1596638655462095E-2</c:v>
                </c:pt>
                <c:pt idx="2104">
                  <c:v>-9.1596638655462095E-2</c:v>
                </c:pt>
                <c:pt idx="2105">
                  <c:v>-9.1596638655462095E-2</c:v>
                </c:pt>
                <c:pt idx="2106">
                  <c:v>-9.1596638655462095E-2</c:v>
                </c:pt>
                <c:pt idx="2107">
                  <c:v>-9.1596638655462095E-2</c:v>
                </c:pt>
                <c:pt idx="2108">
                  <c:v>-9.1596638655462095E-2</c:v>
                </c:pt>
                <c:pt idx="2109">
                  <c:v>-9.1596638655462095E-2</c:v>
                </c:pt>
                <c:pt idx="2110">
                  <c:v>-9.1596638655462095E-2</c:v>
                </c:pt>
                <c:pt idx="2111">
                  <c:v>-9.1596638655462095E-2</c:v>
                </c:pt>
                <c:pt idx="2112">
                  <c:v>-9.1596638655462095E-2</c:v>
                </c:pt>
                <c:pt idx="2113">
                  <c:v>-9.1596638655462095E-2</c:v>
                </c:pt>
                <c:pt idx="2114">
                  <c:v>-9.1596638655462095E-2</c:v>
                </c:pt>
                <c:pt idx="2115">
                  <c:v>-9.1596638655462095E-2</c:v>
                </c:pt>
                <c:pt idx="2116">
                  <c:v>-9.1596638655462095E-2</c:v>
                </c:pt>
                <c:pt idx="2117">
                  <c:v>-9.1596638655462095E-2</c:v>
                </c:pt>
                <c:pt idx="2118">
                  <c:v>-9.1596638655462095E-2</c:v>
                </c:pt>
                <c:pt idx="2119">
                  <c:v>-9.2436974789915902E-2</c:v>
                </c:pt>
                <c:pt idx="2120">
                  <c:v>-9.2436974789915902E-2</c:v>
                </c:pt>
                <c:pt idx="2121">
                  <c:v>-9.2436974789915902E-2</c:v>
                </c:pt>
                <c:pt idx="2122">
                  <c:v>-9.2436974789915902E-2</c:v>
                </c:pt>
                <c:pt idx="2123">
                  <c:v>-9.2436974789915902E-2</c:v>
                </c:pt>
                <c:pt idx="2124">
                  <c:v>-9.2436974789915902E-2</c:v>
                </c:pt>
                <c:pt idx="2125">
                  <c:v>-9.2436974789915902E-2</c:v>
                </c:pt>
                <c:pt idx="2126">
                  <c:v>-9.2436974789915902E-2</c:v>
                </c:pt>
                <c:pt idx="2127">
                  <c:v>-9.1596638655462095E-2</c:v>
                </c:pt>
                <c:pt idx="2128">
                  <c:v>-9.0756302521008303E-2</c:v>
                </c:pt>
                <c:pt idx="2129">
                  <c:v>-9.0756302521008303E-2</c:v>
                </c:pt>
                <c:pt idx="2130">
                  <c:v>-9.0756302521008303E-2</c:v>
                </c:pt>
                <c:pt idx="2131">
                  <c:v>-9.0756302521008303E-2</c:v>
                </c:pt>
                <c:pt idx="2132">
                  <c:v>-9.0756302521008303E-2</c:v>
                </c:pt>
                <c:pt idx="2133">
                  <c:v>-9.0756302521008303E-2</c:v>
                </c:pt>
                <c:pt idx="2134">
                  <c:v>-9.0756302521008303E-2</c:v>
                </c:pt>
                <c:pt idx="2135">
                  <c:v>-9.0756302521008303E-2</c:v>
                </c:pt>
                <c:pt idx="2136">
                  <c:v>-9.0756302521008303E-2</c:v>
                </c:pt>
                <c:pt idx="2137">
                  <c:v>-9.0756302521008303E-2</c:v>
                </c:pt>
                <c:pt idx="2138">
                  <c:v>-9.0756302521008303E-2</c:v>
                </c:pt>
                <c:pt idx="2139">
                  <c:v>-9.0756302521008303E-2</c:v>
                </c:pt>
                <c:pt idx="2140">
                  <c:v>-9.0756302521008303E-2</c:v>
                </c:pt>
                <c:pt idx="2141">
                  <c:v>-9.0756302521008303E-2</c:v>
                </c:pt>
                <c:pt idx="2142">
                  <c:v>-9.0756302521008303E-2</c:v>
                </c:pt>
                <c:pt idx="2143">
                  <c:v>-9.0756302521008303E-2</c:v>
                </c:pt>
                <c:pt idx="2144">
                  <c:v>-9.0756302521008303E-2</c:v>
                </c:pt>
                <c:pt idx="2145">
                  <c:v>-9.0756302521008303E-2</c:v>
                </c:pt>
                <c:pt idx="2146">
                  <c:v>-9.0756302521008303E-2</c:v>
                </c:pt>
                <c:pt idx="2147">
                  <c:v>-9.0756302521008303E-2</c:v>
                </c:pt>
                <c:pt idx="2148">
                  <c:v>-9.1596638655462095E-2</c:v>
                </c:pt>
                <c:pt idx="2149">
                  <c:v>-9.1596638655462095E-2</c:v>
                </c:pt>
                <c:pt idx="2150">
                  <c:v>-9.1596638655462095E-2</c:v>
                </c:pt>
                <c:pt idx="2151">
                  <c:v>-9.1596638655462095E-2</c:v>
                </c:pt>
                <c:pt idx="2152">
                  <c:v>-9.1596638655462095E-2</c:v>
                </c:pt>
                <c:pt idx="2153">
                  <c:v>-9.1596638655462095E-2</c:v>
                </c:pt>
                <c:pt idx="2154">
                  <c:v>-9.1596638655462095E-2</c:v>
                </c:pt>
                <c:pt idx="2155">
                  <c:v>-9.1596638655462095E-2</c:v>
                </c:pt>
                <c:pt idx="2156">
                  <c:v>-9.1596638655462095E-2</c:v>
                </c:pt>
                <c:pt idx="2157">
                  <c:v>-9.1596638655462095E-2</c:v>
                </c:pt>
                <c:pt idx="2158">
                  <c:v>-9.1596638655462095E-2</c:v>
                </c:pt>
                <c:pt idx="2159">
                  <c:v>-9.1596638655462095E-2</c:v>
                </c:pt>
                <c:pt idx="2160">
                  <c:v>-9.1596638655462095E-2</c:v>
                </c:pt>
                <c:pt idx="2161">
                  <c:v>-9.1596638655462095E-2</c:v>
                </c:pt>
                <c:pt idx="2162">
                  <c:v>-9.1596638655462095E-2</c:v>
                </c:pt>
                <c:pt idx="2163">
                  <c:v>-9.1596638655462095E-2</c:v>
                </c:pt>
                <c:pt idx="2164">
                  <c:v>-9.1596638655462095E-2</c:v>
                </c:pt>
                <c:pt idx="2165">
                  <c:v>-9.1596638655462095E-2</c:v>
                </c:pt>
                <c:pt idx="2166">
                  <c:v>-9.1596638655462095E-2</c:v>
                </c:pt>
                <c:pt idx="2167">
                  <c:v>-9.1596638655462095E-2</c:v>
                </c:pt>
                <c:pt idx="2168">
                  <c:v>-9.1596638655462095E-2</c:v>
                </c:pt>
                <c:pt idx="2169">
                  <c:v>-9.1596638655462095E-2</c:v>
                </c:pt>
                <c:pt idx="2170">
                  <c:v>-9.1596638655462095E-2</c:v>
                </c:pt>
                <c:pt idx="2171">
                  <c:v>-9.1596638655462095E-2</c:v>
                </c:pt>
                <c:pt idx="2172">
                  <c:v>-9.1596638655462095E-2</c:v>
                </c:pt>
                <c:pt idx="2173">
                  <c:v>-9.1596638655462095E-2</c:v>
                </c:pt>
                <c:pt idx="2174">
                  <c:v>-9.2436974789915902E-2</c:v>
                </c:pt>
                <c:pt idx="2175">
                  <c:v>-9.2436974789915902E-2</c:v>
                </c:pt>
                <c:pt idx="2176">
                  <c:v>-9.3277310924369694E-2</c:v>
                </c:pt>
                <c:pt idx="2177">
                  <c:v>-9.3277310924369694E-2</c:v>
                </c:pt>
                <c:pt idx="2178">
                  <c:v>-9.3277310924369694E-2</c:v>
                </c:pt>
                <c:pt idx="2179">
                  <c:v>-9.3277310924369694E-2</c:v>
                </c:pt>
                <c:pt idx="2180">
                  <c:v>-9.3277310924369694E-2</c:v>
                </c:pt>
                <c:pt idx="2181">
                  <c:v>-9.3277310924369694E-2</c:v>
                </c:pt>
                <c:pt idx="2182">
                  <c:v>-9.3277310924369694E-2</c:v>
                </c:pt>
                <c:pt idx="2183">
                  <c:v>-9.3277310924369694E-2</c:v>
                </c:pt>
                <c:pt idx="2184">
                  <c:v>-9.3277310924369694E-2</c:v>
                </c:pt>
                <c:pt idx="2185">
                  <c:v>-9.3277310924369694E-2</c:v>
                </c:pt>
                <c:pt idx="2186">
                  <c:v>-9.3277310924369694E-2</c:v>
                </c:pt>
                <c:pt idx="2187">
                  <c:v>-9.3277310924369694E-2</c:v>
                </c:pt>
                <c:pt idx="2188">
                  <c:v>-9.2436974789915902E-2</c:v>
                </c:pt>
                <c:pt idx="2189">
                  <c:v>-9.2436974789915902E-2</c:v>
                </c:pt>
                <c:pt idx="2190">
                  <c:v>-9.2436974789915902E-2</c:v>
                </c:pt>
                <c:pt idx="2191">
                  <c:v>-9.2436974789915902E-2</c:v>
                </c:pt>
                <c:pt idx="2192">
                  <c:v>-9.2436974789915902E-2</c:v>
                </c:pt>
                <c:pt idx="2193">
                  <c:v>-9.2436974789915902E-2</c:v>
                </c:pt>
                <c:pt idx="2194">
                  <c:v>-9.1596638655462095E-2</c:v>
                </c:pt>
                <c:pt idx="2195">
                  <c:v>-9.1596638655462095E-2</c:v>
                </c:pt>
                <c:pt idx="2196">
                  <c:v>-9.1596638655462095E-2</c:v>
                </c:pt>
                <c:pt idx="2197">
                  <c:v>-9.1596638655462095E-2</c:v>
                </c:pt>
                <c:pt idx="2198">
                  <c:v>-9.1596638655462095E-2</c:v>
                </c:pt>
                <c:pt idx="2199">
                  <c:v>-9.1596638655462095E-2</c:v>
                </c:pt>
                <c:pt idx="2200">
                  <c:v>-9.1596638655462095E-2</c:v>
                </c:pt>
                <c:pt idx="2201">
                  <c:v>-9.1596638655462095E-2</c:v>
                </c:pt>
                <c:pt idx="2202">
                  <c:v>-9.1596638655462095E-2</c:v>
                </c:pt>
                <c:pt idx="2203">
                  <c:v>-9.1596638655462095E-2</c:v>
                </c:pt>
                <c:pt idx="2204">
                  <c:v>-9.1596638655462095E-2</c:v>
                </c:pt>
                <c:pt idx="2205">
                  <c:v>-9.1596638655462095E-2</c:v>
                </c:pt>
                <c:pt idx="2206">
                  <c:v>-9.1596638655462095E-2</c:v>
                </c:pt>
                <c:pt idx="2207">
                  <c:v>-9.1596638655462095E-2</c:v>
                </c:pt>
                <c:pt idx="2208">
                  <c:v>-9.07563025210084E-2</c:v>
                </c:pt>
                <c:pt idx="2209">
                  <c:v>-9.07563025210084E-2</c:v>
                </c:pt>
                <c:pt idx="2210">
                  <c:v>-9.07563025210084E-2</c:v>
                </c:pt>
                <c:pt idx="2211">
                  <c:v>-8.9915966386554594E-2</c:v>
                </c:pt>
                <c:pt idx="2212">
                  <c:v>-8.9915966386554594E-2</c:v>
                </c:pt>
                <c:pt idx="2213">
                  <c:v>-8.9915966386554594E-2</c:v>
                </c:pt>
                <c:pt idx="2214">
                  <c:v>-8.9915966386554594E-2</c:v>
                </c:pt>
                <c:pt idx="2215">
                  <c:v>-8.9915966386554594E-2</c:v>
                </c:pt>
                <c:pt idx="2216">
                  <c:v>-8.9915966386554594E-2</c:v>
                </c:pt>
                <c:pt idx="2217">
                  <c:v>-8.9915966386554594E-2</c:v>
                </c:pt>
                <c:pt idx="2218">
                  <c:v>-8.9915966386554594E-2</c:v>
                </c:pt>
                <c:pt idx="2219">
                  <c:v>-8.9915966386554594E-2</c:v>
                </c:pt>
                <c:pt idx="2220">
                  <c:v>-8.9075630252100801E-2</c:v>
                </c:pt>
                <c:pt idx="2221">
                  <c:v>-8.9075630252100801E-2</c:v>
                </c:pt>
                <c:pt idx="2222">
                  <c:v>-8.9075630252100801E-2</c:v>
                </c:pt>
                <c:pt idx="2223">
                  <c:v>-8.9075630252100801E-2</c:v>
                </c:pt>
                <c:pt idx="2224">
                  <c:v>-8.9075630252100801E-2</c:v>
                </c:pt>
                <c:pt idx="2225">
                  <c:v>-8.9075630252100801E-2</c:v>
                </c:pt>
                <c:pt idx="2226">
                  <c:v>-8.9075630252100801E-2</c:v>
                </c:pt>
                <c:pt idx="2227">
                  <c:v>-8.9075630252100801E-2</c:v>
                </c:pt>
                <c:pt idx="2228">
                  <c:v>-8.9075630252100801E-2</c:v>
                </c:pt>
                <c:pt idx="2229">
                  <c:v>-8.9075630252100801E-2</c:v>
                </c:pt>
                <c:pt idx="2230">
                  <c:v>-8.9075630252100801E-2</c:v>
                </c:pt>
                <c:pt idx="2231">
                  <c:v>-8.9075630252100801E-2</c:v>
                </c:pt>
                <c:pt idx="2232">
                  <c:v>-8.9075630252100801E-2</c:v>
                </c:pt>
                <c:pt idx="2233">
                  <c:v>-8.9075630252100801E-2</c:v>
                </c:pt>
                <c:pt idx="2234">
                  <c:v>-8.9075630252100801E-2</c:v>
                </c:pt>
                <c:pt idx="2235">
                  <c:v>-8.9075630252100801E-2</c:v>
                </c:pt>
                <c:pt idx="2236">
                  <c:v>-8.9075630252100801E-2</c:v>
                </c:pt>
                <c:pt idx="2237">
                  <c:v>-8.9075630252100801E-2</c:v>
                </c:pt>
                <c:pt idx="2238">
                  <c:v>-8.9075630252100801E-2</c:v>
                </c:pt>
                <c:pt idx="2239">
                  <c:v>-8.9075630252100801E-2</c:v>
                </c:pt>
                <c:pt idx="2240">
                  <c:v>-8.9075630252100801E-2</c:v>
                </c:pt>
                <c:pt idx="2241">
                  <c:v>-8.9075630252100801E-2</c:v>
                </c:pt>
                <c:pt idx="2242">
                  <c:v>-8.9075630252100801E-2</c:v>
                </c:pt>
                <c:pt idx="2243">
                  <c:v>-8.9075630252100801E-2</c:v>
                </c:pt>
                <c:pt idx="2244">
                  <c:v>-8.9075630252100801E-2</c:v>
                </c:pt>
                <c:pt idx="2245">
                  <c:v>-8.9075630252100801E-2</c:v>
                </c:pt>
                <c:pt idx="2246">
                  <c:v>-8.9915966386554594E-2</c:v>
                </c:pt>
                <c:pt idx="2247">
                  <c:v>-8.9915966386554594E-2</c:v>
                </c:pt>
                <c:pt idx="2248">
                  <c:v>-8.9915966386554594E-2</c:v>
                </c:pt>
                <c:pt idx="2249">
                  <c:v>-8.9915966386554594E-2</c:v>
                </c:pt>
                <c:pt idx="2250">
                  <c:v>-8.9915966386554594E-2</c:v>
                </c:pt>
                <c:pt idx="2251">
                  <c:v>-8.9915966386554594E-2</c:v>
                </c:pt>
                <c:pt idx="2252">
                  <c:v>-8.9915966386554594E-2</c:v>
                </c:pt>
                <c:pt idx="2253">
                  <c:v>-9.07563025210084E-2</c:v>
                </c:pt>
                <c:pt idx="2254">
                  <c:v>-9.07563025210084E-2</c:v>
                </c:pt>
                <c:pt idx="2255">
                  <c:v>-9.07563025210084E-2</c:v>
                </c:pt>
                <c:pt idx="2256">
                  <c:v>-9.07563025210084E-2</c:v>
                </c:pt>
                <c:pt idx="2257">
                  <c:v>-9.07563025210084E-2</c:v>
                </c:pt>
                <c:pt idx="2258">
                  <c:v>-9.07563025210084E-2</c:v>
                </c:pt>
                <c:pt idx="2259">
                  <c:v>-9.07563025210084E-2</c:v>
                </c:pt>
                <c:pt idx="2260">
                  <c:v>-9.1596638655462095E-2</c:v>
                </c:pt>
                <c:pt idx="2261">
                  <c:v>-9.1596638655462095E-2</c:v>
                </c:pt>
                <c:pt idx="2262">
                  <c:v>-9.1596638655462095E-2</c:v>
                </c:pt>
                <c:pt idx="2263">
                  <c:v>-9.1596638655462095E-2</c:v>
                </c:pt>
                <c:pt idx="2264">
                  <c:v>-9.1596638655462095E-2</c:v>
                </c:pt>
                <c:pt idx="2265">
                  <c:v>-9.1596638655462095E-2</c:v>
                </c:pt>
                <c:pt idx="2266">
                  <c:v>-9.1596638655462095E-2</c:v>
                </c:pt>
                <c:pt idx="2267">
                  <c:v>-9.1596638655462095E-2</c:v>
                </c:pt>
                <c:pt idx="2268">
                  <c:v>-9.1596638655462095E-2</c:v>
                </c:pt>
                <c:pt idx="2269">
                  <c:v>-9.1596638655462095E-2</c:v>
                </c:pt>
                <c:pt idx="2270">
                  <c:v>-9.1596638655462095E-2</c:v>
                </c:pt>
                <c:pt idx="2271">
                  <c:v>-9.1596638655462095E-2</c:v>
                </c:pt>
                <c:pt idx="2272">
                  <c:v>-9.1596638655462095E-2</c:v>
                </c:pt>
                <c:pt idx="2273">
                  <c:v>-9.1596638655462095E-2</c:v>
                </c:pt>
                <c:pt idx="2274">
                  <c:v>-9.1596638655462095E-2</c:v>
                </c:pt>
                <c:pt idx="2275">
                  <c:v>-9.1596638655462095E-2</c:v>
                </c:pt>
                <c:pt idx="2276">
                  <c:v>-9.1596638655462095E-2</c:v>
                </c:pt>
                <c:pt idx="2277">
                  <c:v>-9.1596638655462095E-2</c:v>
                </c:pt>
                <c:pt idx="2278">
                  <c:v>-9.1596638655462095E-2</c:v>
                </c:pt>
                <c:pt idx="2279">
                  <c:v>-9.1596638655462095E-2</c:v>
                </c:pt>
                <c:pt idx="2280">
                  <c:v>-9.1596638655462095E-2</c:v>
                </c:pt>
                <c:pt idx="2281">
                  <c:v>-9.1596638655462095E-2</c:v>
                </c:pt>
                <c:pt idx="2282">
                  <c:v>-9.1596638655462095E-2</c:v>
                </c:pt>
                <c:pt idx="2283">
                  <c:v>-9.1596638655462095E-2</c:v>
                </c:pt>
                <c:pt idx="2284">
                  <c:v>-9.1596638655462095E-2</c:v>
                </c:pt>
                <c:pt idx="2285">
                  <c:v>-9.1596638655462095E-2</c:v>
                </c:pt>
                <c:pt idx="2286">
                  <c:v>-9.2436974789915902E-2</c:v>
                </c:pt>
                <c:pt idx="2287">
                  <c:v>-9.2436974789915902E-2</c:v>
                </c:pt>
                <c:pt idx="2288">
                  <c:v>-9.2436974789915902E-2</c:v>
                </c:pt>
                <c:pt idx="2289">
                  <c:v>-9.2436974789915902E-2</c:v>
                </c:pt>
                <c:pt idx="2290">
                  <c:v>-9.2436974789915902E-2</c:v>
                </c:pt>
                <c:pt idx="2291">
                  <c:v>-9.2436974789915902E-2</c:v>
                </c:pt>
                <c:pt idx="2292">
                  <c:v>-9.2436974789915902E-2</c:v>
                </c:pt>
                <c:pt idx="2293">
                  <c:v>-9.2436974789915902E-2</c:v>
                </c:pt>
                <c:pt idx="2294">
                  <c:v>-9.2436974789915902E-2</c:v>
                </c:pt>
                <c:pt idx="2295">
                  <c:v>-9.2436974789915902E-2</c:v>
                </c:pt>
                <c:pt idx="2296">
                  <c:v>-9.2436974789915902E-2</c:v>
                </c:pt>
                <c:pt idx="2297">
                  <c:v>-9.2436974789915902E-2</c:v>
                </c:pt>
                <c:pt idx="2298">
                  <c:v>-9.2436974789915902E-2</c:v>
                </c:pt>
                <c:pt idx="2299">
                  <c:v>-9.2436974789915902E-2</c:v>
                </c:pt>
                <c:pt idx="2300">
                  <c:v>-9.2436974789915902E-2</c:v>
                </c:pt>
                <c:pt idx="2301">
                  <c:v>-9.2436974789915902E-2</c:v>
                </c:pt>
                <c:pt idx="2302">
                  <c:v>-9.2436974789915902E-2</c:v>
                </c:pt>
                <c:pt idx="2303">
                  <c:v>-9.2436974789915902E-2</c:v>
                </c:pt>
                <c:pt idx="2304">
                  <c:v>-9.2436974789915902E-2</c:v>
                </c:pt>
                <c:pt idx="2305">
                  <c:v>-9.2436974789915902E-2</c:v>
                </c:pt>
                <c:pt idx="2306">
                  <c:v>-9.2436974789915902E-2</c:v>
                </c:pt>
                <c:pt idx="2307">
                  <c:v>-9.2436974789915902E-2</c:v>
                </c:pt>
                <c:pt idx="2308">
                  <c:v>-9.2436974789915902E-2</c:v>
                </c:pt>
                <c:pt idx="2309">
                  <c:v>-9.2436974789915902E-2</c:v>
                </c:pt>
                <c:pt idx="2310">
                  <c:v>-9.2436974789915902E-2</c:v>
                </c:pt>
                <c:pt idx="2311">
                  <c:v>-9.2436974789915902E-2</c:v>
                </c:pt>
                <c:pt idx="2312">
                  <c:v>-9.2436974789915902E-2</c:v>
                </c:pt>
                <c:pt idx="2313">
                  <c:v>-9.2436974789915902E-2</c:v>
                </c:pt>
                <c:pt idx="2314">
                  <c:v>-9.2436974789915902E-2</c:v>
                </c:pt>
                <c:pt idx="2315">
                  <c:v>-9.2436974789915902E-2</c:v>
                </c:pt>
                <c:pt idx="2316">
                  <c:v>-9.2436974789915902E-2</c:v>
                </c:pt>
                <c:pt idx="2317">
                  <c:v>-9.2436974789915902E-2</c:v>
                </c:pt>
                <c:pt idx="2318">
                  <c:v>-9.2436974789915902E-2</c:v>
                </c:pt>
                <c:pt idx="2319">
                  <c:v>-9.2436974789915902E-2</c:v>
                </c:pt>
                <c:pt idx="2320">
                  <c:v>-9.2436974789915902E-2</c:v>
                </c:pt>
                <c:pt idx="2321">
                  <c:v>-9.2436974789915902E-2</c:v>
                </c:pt>
                <c:pt idx="2322">
                  <c:v>-9.2436974789915902E-2</c:v>
                </c:pt>
                <c:pt idx="2323">
                  <c:v>-9.2436974789915902E-2</c:v>
                </c:pt>
                <c:pt idx="2324">
                  <c:v>-9.2436974789915902E-2</c:v>
                </c:pt>
                <c:pt idx="2325">
                  <c:v>-9.2436974789915902E-2</c:v>
                </c:pt>
                <c:pt idx="2326">
                  <c:v>-9.2436974789915902E-2</c:v>
                </c:pt>
                <c:pt idx="2327">
                  <c:v>-9.2436974789915902E-2</c:v>
                </c:pt>
                <c:pt idx="2328">
                  <c:v>-9.2436974789915902E-2</c:v>
                </c:pt>
                <c:pt idx="2329">
                  <c:v>-9.2436974789915902E-2</c:v>
                </c:pt>
                <c:pt idx="2330">
                  <c:v>-9.2436974789915902E-2</c:v>
                </c:pt>
                <c:pt idx="2331">
                  <c:v>-9.2436974789915902E-2</c:v>
                </c:pt>
                <c:pt idx="2332">
                  <c:v>-9.2436974789915902E-2</c:v>
                </c:pt>
                <c:pt idx="2333">
                  <c:v>-9.2436974789915902E-2</c:v>
                </c:pt>
                <c:pt idx="2334">
                  <c:v>-9.2436974789915902E-2</c:v>
                </c:pt>
                <c:pt idx="2335">
                  <c:v>-9.3277310924369694E-2</c:v>
                </c:pt>
                <c:pt idx="2336">
                  <c:v>-9.3277310924369694E-2</c:v>
                </c:pt>
                <c:pt idx="2337">
                  <c:v>-9.3277310924369694E-2</c:v>
                </c:pt>
                <c:pt idx="2338">
                  <c:v>-9.3277310924369694E-2</c:v>
                </c:pt>
                <c:pt idx="2339">
                  <c:v>-9.3277310924369694E-2</c:v>
                </c:pt>
                <c:pt idx="2340">
                  <c:v>-9.3277310924369694E-2</c:v>
                </c:pt>
                <c:pt idx="2341">
                  <c:v>-9.3277310924369694E-2</c:v>
                </c:pt>
                <c:pt idx="2342">
                  <c:v>-9.2436974789915902E-2</c:v>
                </c:pt>
                <c:pt idx="2343">
                  <c:v>-9.2436974789915902E-2</c:v>
                </c:pt>
                <c:pt idx="2344">
                  <c:v>-9.2436974789915902E-2</c:v>
                </c:pt>
                <c:pt idx="2345">
                  <c:v>-9.2436974789915902E-2</c:v>
                </c:pt>
                <c:pt idx="2346">
                  <c:v>-9.2436974789915902E-2</c:v>
                </c:pt>
                <c:pt idx="2347">
                  <c:v>-9.2436974789915902E-2</c:v>
                </c:pt>
                <c:pt idx="2348">
                  <c:v>-9.2436974789915902E-2</c:v>
                </c:pt>
                <c:pt idx="2349">
                  <c:v>-9.2436974789915902E-2</c:v>
                </c:pt>
                <c:pt idx="2350">
                  <c:v>-9.2436974789915902E-2</c:v>
                </c:pt>
                <c:pt idx="2351">
                  <c:v>-9.2436974789915902E-2</c:v>
                </c:pt>
                <c:pt idx="2352">
                  <c:v>-9.2436974789915902E-2</c:v>
                </c:pt>
                <c:pt idx="2353">
                  <c:v>-9.2436974789915902E-2</c:v>
                </c:pt>
                <c:pt idx="2354">
                  <c:v>-9.2436974789915902E-2</c:v>
                </c:pt>
                <c:pt idx="2355">
                  <c:v>-9.1596638655462095E-2</c:v>
                </c:pt>
                <c:pt idx="2356">
                  <c:v>-9.1596638655462095E-2</c:v>
                </c:pt>
                <c:pt idx="2357">
                  <c:v>-9.1596638655462095E-2</c:v>
                </c:pt>
                <c:pt idx="2358">
                  <c:v>-9.1596638655462095E-2</c:v>
                </c:pt>
                <c:pt idx="2359">
                  <c:v>-9.1596638655462095E-2</c:v>
                </c:pt>
                <c:pt idx="2360">
                  <c:v>-9.1596638655462095E-2</c:v>
                </c:pt>
                <c:pt idx="2361">
                  <c:v>-9.1596638655462095E-2</c:v>
                </c:pt>
                <c:pt idx="2362">
                  <c:v>-9.1596638655462095E-2</c:v>
                </c:pt>
                <c:pt idx="2363">
                  <c:v>-9.07563025210084E-2</c:v>
                </c:pt>
                <c:pt idx="2364">
                  <c:v>-9.07563025210084E-2</c:v>
                </c:pt>
                <c:pt idx="2365">
                  <c:v>-9.07563025210084E-2</c:v>
                </c:pt>
                <c:pt idx="2366">
                  <c:v>-9.07563025210084E-2</c:v>
                </c:pt>
                <c:pt idx="2367">
                  <c:v>-9.07563025210084E-2</c:v>
                </c:pt>
                <c:pt idx="2368">
                  <c:v>-9.07563025210084E-2</c:v>
                </c:pt>
                <c:pt idx="2369">
                  <c:v>-9.07563025210084E-2</c:v>
                </c:pt>
                <c:pt idx="2370">
                  <c:v>-9.07563025210084E-2</c:v>
                </c:pt>
                <c:pt idx="2371">
                  <c:v>-9.07563025210084E-2</c:v>
                </c:pt>
                <c:pt idx="2372">
                  <c:v>-9.07563025210084E-2</c:v>
                </c:pt>
                <c:pt idx="2373">
                  <c:v>-9.07563025210084E-2</c:v>
                </c:pt>
                <c:pt idx="2374">
                  <c:v>-9.07563025210084E-2</c:v>
                </c:pt>
                <c:pt idx="2375">
                  <c:v>-9.07563025210084E-2</c:v>
                </c:pt>
                <c:pt idx="2376">
                  <c:v>-9.07563025210084E-2</c:v>
                </c:pt>
                <c:pt idx="2377">
                  <c:v>-9.07563025210084E-2</c:v>
                </c:pt>
                <c:pt idx="2378">
                  <c:v>-9.07563025210084E-2</c:v>
                </c:pt>
                <c:pt idx="2379">
                  <c:v>-9.1596638655462095E-2</c:v>
                </c:pt>
                <c:pt idx="2380">
                  <c:v>-9.1596638655462095E-2</c:v>
                </c:pt>
                <c:pt idx="2381">
                  <c:v>-9.1596638655462095E-2</c:v>
                </c:pt>
                <c:pt idx="2382">
                  <c:v>-9.1596638655462095E-2</c:v>
                </c:pt>
                <c:pt idx="2383">
                  <c:v>-9.1596638655462095E-2</c:v>
                </c:pt>
                <c:pt idx="2384">
                  <c:v>-9.1596638655462095E-2</c:v>
                </c:pt>
                <c:pt idx="2385">
                  <c:v>-9.1596638655462095E-2</c:v>
                </c:pt>
                <c:pt idx="2386">
                  <c:v>-9.1596638655462095E-2</c:v>
                </c:pt>
                <c:pt idx="2387">
                  <c:v>-9.1596638655462095E-2</c:v>
                </c:pt>
                <c:pt idx="2388">
                  <c:v>-9.1596638655462095E-2</c:v>
                </c:pt>
                <c:pt idx="2389">
                  <c:v>-9.1596638655462095E-2</c:v>
                </c:pt>
                <c:pt idx="2390">
                  <c:v>-9.1596638655462095E-2</c:v>
                </c:pt>
                <c:pt idx="2391">
                  <c:v>-9.1596638655462095E-2</c:v>
                </c:pt>
                <c:pt idx="2392">
                  <c:v>-9.07563025210084E-2</c:v>
                </c:pt>
                <c:pt idx="2393">
                  <c:v>-9.07563025210084E-2</c:v>
                </c:pt>
                <c:pt idx="2394">
                  <c:v>-9.07563025210084E-2</c:v>
                </c:pt>
                <c:pt idx="2395">
                  <c:v>-9.07563025210084E-2</c:v>
                </c:pt>
                <c:pt idx="2396">
                  <c:v>-8.9915966386554594E-2</c:v>
                </c:pt>
                <c:pt idx="2397">
                  <c:v>-8.9915966386554594E-2</c:v>
                </c:pt>
                <c:pt idx="2398">
                  <c:v>-8.9915966386554594E-2</c:v>
                </c:pt>
                <c:pt idx="2399">
                  <c:v>-8.9915966386554594E-2</c:v>
                </c:pt>
                <c:pt idx="2400">
                  <c:v>-8.9915966386554594E-2</c:v>
                </c:pt>
                <c:pt idx="2401">
                  <c:v>-8.9915966386554594E-2</c:v>
                </c:pt>
                <c:pt idx="2402">
                  <c:v>-8.9915966386554594E-2</c:v>
                </c:pt>
                <c:pt idx="2403">
                  <c:v>-8.9915966386554594E-2</c:v>
                </c:pt>
                <c:pt idx="2404">
                  <c:v>-8.9915966386554594E-2</c:v>
                </c:pt>
                <c:pt idx="2405">
                  <c:v>-8.9915966386554594E-2</c:v>
                </c:pt>
                <c:pt idx="2406">
                  <c:v>-8.9915966386554594E-2</c:v>
                </c:pt>
                <c:pt idx="2407">
                  <c:v>-8.9915966386554594E-2</c:v>
                </c:pt>
                <c:pt idx="2408">
                  <c:v>-8.9915966386554594E-2</c:v>
                </c:pt>
                <c:pt idx="2409">
                  <c:v>-8.9915966386554594E-2</c:v>
                </c:pt>
                <c:pt idx="2410">
                  <c:v>-8.9915966386554594E-2</c:v>
                </c:pt>
                <c:pt idx="2411">
                  <c:v>-9.0756302521008303E-2</c:v>
                </c:pt>
                <c:pt idx="2412">
                  <c:v>-9.0756302521008303E-2</c:v>
                </c:pt>
                <c:pt idx="2413">
                  <c:v>-8.9915966386554594E-2</c:v>
                </c:pt>
                <c:pt idx="2414">
                  <c:v>-8.9915966386554594E-2</c:v>
                </c:pt>
                <c:pt idx="2415">
                  <c:v>-8.9915966386554594E-2</c:v>
                </c:pt>
                <c:pt idx="2416">
                  <c:v>-8.9915966386554594E-2</c:v>
                </c:pt>
                <c:pt idx="2417">
                  <c:v>-8.9915966386554594E-2</c:v>
                </c:pt>
                <c:pt idx="2418">
                  <c:v>-8.9915966386554594E-2</c:v>
                </c:pt>
                <c:pt idx="2419">
                  <c:v>-8.9915966386554594E-2</c:v>
                </c:pt>
                <c:pt idx="2420">
                  <c:v>-8.9915966386554594E-2</c:v>
                </c:pt>
                <c:pt idx="2421">
                  <c:v>-8.9915966386554594E-2</c:v>
                </c:pt>
                <c:pt idx="2422">
                  <c:v>-9.07563025210084E-2</c:v>
                </c:pt>
                <c:pt idx="2423">
                  <c:v>-9.07563025210084E-2</c:v>
                </c:pt>
                <c:pt idx="2424">
                  <c:v>-9.07563025210084E-2</c:v>
                </c:pt>
                <c:pt idx="2425">
                  <c:v>-9.07563025210084E-2</c:v>
                </c:pt>
                <c:pt idx="2426">
                  <c:v>-9.07563025210084E-2</c:v>
                </c:pt>
                <c:pt idx="2427">
                  <c:v>-9.07563025210084E-2</c:v>
                </c:pt>
                <c:pt idx="2428">
                  <c:v>-9.07563025210084E-2</c:v>
                </c:pt>
                <c:pt idx="2429">
                  <c:v>-9.07563025210084E-2</c:v>
                </c:pt>
                <c:pt idx="2430">
                  <c:v>-9.07563025210084E-2</c:v>
                </c:pt>
                <c:pt idx="2431">
                  <c:v>-9.07563025210084E-2</c:v>
                </c:pt>
                <c:pt idx="2432">
                  <c:v>-9.07563025210084E-2</c:v>
                </c:pt>
                <c:pt idx="2433">
                  <c:v>-9.07563025210084E-2</c:v>
                </c:pt>
                <c:pt idx="2434">
                  <c:v>-9.07563025210084E-2</c:v>
                </c:pt>
                <c:pt idx="2435">
                  <c:v>-8.9915966386554594E-2</c:v>
                </c:pt>
                <c:pt idx="2436">
                  <c:v>-9.07563025210084E-2</c:v>
                </c:pt>
                <c:pt idx="2437">
                  <c:v>-9.07563025210084E-2</c:v>
                </c:pt>
                <c:pt idx="2438">
                  <c:v>-9.07563025210084E-2</c:v>
                </c:pt>
                <c:pt idx="2439">
                  <c:v>-9.07563025210084E-2</c:v>
                </c:pt>
                <c:pt idx="2440">
                  <c:v>-9.07563025210084E-2</c:v>
                </c:pt>
                <c:pt idx="2441">
                  <c:v>-9.07563025210084E-2</c:v>
                </c:pt>
                <c:pt idx="2442">
                  <c:v>-9.07563025210084E-2</c:v>
                </c:pt>
                <c:pt idx="2443">
                  <c:v>-9.07563025210084E-2</c:v>
                </c:pt>
                <c:pt idx="2444">
                  <c:v>-9.07563025210084E-2</c:v>
                </c:pt>
                <c:pt idx="2445">
                  <c:v>-9.07563025210084E-2</c:v>
                </c:pt>
                <c:pt idx="2446">
                  <c:v>-9.07563025210084E-2</c:v>
                </c:pt>
                <c:pt idx="2447">
                  <c:v>-9.07563025210084E-2</c:v>
                </c:pt>
                <c:pt idx="2448">
                  <c:v>-9.07563025210084E-2</c:v>
                </c:pt>
                <c:pt idx="2449">
                  <c:v>-9.07563025210084E-2</c:v>
                </c:pt>
                <c:pt idx="2450">
                  <c:v>-9.07563025210084E-2</c:v>
                </c:pt>
                <c:pt idx="2451">
                  <c:v>-9.1596638655462095E-2</c:v>
                </c:pt>
                <c:pt idx="2452">
                  <c:v>-9.1596638655462095E-2</c:v>
                </c:pt>
                <c:pt idx="2453">
                  <c:v>-9.2436974789915902E-2</c:v>
                </c:pt>
                <c:pt idx="2454">
                  <c:v>-9.2436974789915902E-2</c:v>
                </c:pt>
                <c:pt idx="2455">
                  <c:v>-9.2436974789915902E-2</c:v>
                </c:pt>
                <c:pt idx="2456">
                  <c:v>-9.2436974789915902E-2</c:v>
                </c:pt>
                <c:pt idx="2457">
                  <c:v>-9.2436974789915902E-2</c:v>
                </c:pt>
                <c:pt idx="2458">
                  <c:v>-9.2436974789915902E-2</c:v>
                </c:pt>
                <c:pt idx="2459">
                  <c:v>-9.2436974789915902E-2</c:v>
                </c:pt>
                <c:pt idx="2460">
                  <c:v>-9.2436974789915902E-2</c:v>
                </c:pt>
                <c:pt idx="2461">
                  <c:v>-9.2436974789915902E-2</c:v>
                </c:pt>
                <c:pt idx="2462">
                  <c:v>-9.2436974789915902E-2</c:v>
                </c:pt>
                <c:pt idx="2463">
                  <c:v>-9.2436974789915902E-2</c:v>
                </c:pt>
                <c:pt idx="2464">
                  <c:v>-9.3277310924369694E-2</c:v>
                </c:pt>
                <c:pt idx="2465">
                  <c:v>-9.41176470588235E-2</c:v>
                </c:pt>
                <c:pt idx="2466">
                  <c:v>-9.41176470588235E-2</c:v>
                </c:pt>
                <c:pt idx="2467">
                  <c:v>-9.41176470588235E-2</c:v>
                </c:pt>
                <c:pt idx="2468">
                  <c:v>-9.41176470588235E-2</c:v>
                </c:pt>
                <c:pt idx="2469">
                  <c:v>-9.41176470588235E-2</c:v>
                </c:pt>
                <c:pt idx="2470">
                  <c:v>-9.41176470588235E-2</c:v>
                </c:pt>
                <c:pt idx="2471">
                  <c:v>-9.41176470588235E-2</c:v>
                </c:pt>
                <c:pt idx="2472">
                  <c:v>-9.41176470588235E-2</c:v>
                </c:pt>
                <c:pt idx="2473">
                  <c:v>-9.41176470588235E-2</c:v>
                </c:pt>
                <c:pt idx="2474">
                  <c:v>-9.41176470588235E-2</c:v>
                </c:pt>
                <c:pt idx="2475">
                  <c:v>-9.4957983193277307E-2</c:v>
                </c:pt>
                <c:pt idx="2476">
                  <c:v>-9.4957983193277307E-2</c:v>
                </c:pt>
                <c:pt idx="2477">
                  <c:v>-9.4957983193277307E-2</c:v>
                </c:pt>
                <c:pt idx="2478">
                  <c:v>-9.4957983193277307E-2</c:v>
                </c:pt>
                <c:pt idx="2479">
                  <c:v>-9.4957983193277307E-2</c:v>
                </c:pt>
                <c:pt idx="2480">
                  <c:v>-9.4957983193277307E-2</c:v>
                </c:pt>
                <c:pt idx="2481">
                  <c:v>-9.4957983193277307E-2</c:v>
                </c:pt>
                <c:pt idx="2482">
                  <c:v>-9.4957983193277307E-2</c:v>
                </c:pt>
                <c:pt idx="2483">
                  <c:v>-9.4957983193277307E-2</c:v>
                </c:pt>
                <c:pt idx="2484">
                  <c:v>-9.4957983193277307E-2</c:v>
                </c:pt>
                <c:pt idx="2485">
                  <c:v>-9.5798319327731002E-2</c:v>
                </c:pt>
                <c:pt idx="2486">
                  <c:v>-9.5798319327731002E-2</c:v>
                </c:pt>
                <c:pt idx="2487">
                  <c:v>-9.5798319327731002E-2</c:v>
                </c:pt>
                <c:pt idx="2488">
                  <c:v>-9.5798319327731002E-2</c:v>
                </c:pt>
                <c:pt idx="2489">
                  <c:v>-9.5798319327731002E-2</c:v>
                </c:pt>
                <c:pt idx="2490">
                  <c:v>-9.5798319327731002E-2</c:v>
                </c:pt>
                <c:pt idx="2491">
                  <c:v>-9.5798319327731002E-2</c:v>
                </c:pt>
                <c:pt idx="2492">
                  <c:v>-9.5798319327731002E-2</c:v>
                </c:pt>
                <c:pt idx="2493">
                  <c:v>-9.5798319327731002E-2</c:v>
                </c:pt>
                <c:pt idx="2494">
                  <c:v>-9.6638655462184794E-2</c:v>
                </c:pt>
                <c:pt idx="2495">
                  <c:v>-9.6638655462184794E-2</c:v>
                </c:pt>
                <c:pt idx="2496">
                  <c:v>-9.6638655462184794E-2</c:v>
                </c:pt>
                <c:pt idx="2497">
                  <c:v>-9.6638655462184794E-2</c:v>
                </c:pt>
                <c:pt idx="2498">
                  <c:v>-9.6638655462184794E-2</c:v>
                </c:pt>
                <c:pt idx="2499">
                  <c:v>-9.6638655462184794E-2</c:v>
                </c:pt>
                <c:pt idx="2500">
                  <c:v>-9.6638655462184794E-2</c:v>
                </c:pt>
                <c:pt idx="2501">
                  <c:v>-9.6638655462184794E-2</c:v>
                </c:pt>
                <c:pt idx="2502">
                  <c:v>-9.6638655462184794E-2</c:v>
                </c:pt>
                <c:pt idx="2503">
                  <c:v>-9.6638655462184794E-2</c:v>
                </c:pt>
                <c:pt idx="2504">
                  <c:v>-9.6638655462184794E-2</c:v>
                </c:pt>
                <c:pt idx="2505">
                  <c:v>-9.6638655462184794E-2</c:v>
                </c:pt>
                <c:pt idx="2506">
                  <c:v>-9.6638655462184794E-2</c:v>
                </c:pt>
                <c:pt idx="2507">
                  <c:v>-9.6638655462184794E-2</c:v>
                </c:pt>
                <c:pt idx="2508">
                  <c:v>-9.6638655462184794E-2</c:v>
                </c:pt>
                <c:pt idx="2509">
                  <c:v>-9.6638655462184794E-2</c:v>
                </c:pt>
                <c:pt idx="2510">
                  <c:v>-9.6638655462184794E-2</c:v>
                </c:pt>
                <c:pt idx="2511">
                  <c:v>-9.7478991596638601E-2</c:v>
                </c:pt>
                <c:pt idx="2512">
                  <c:v>-9.7478991596638601E-2</c:v>
                </c:pt>
                <c:pt idx="2513">
                  <c:v>-9.7478991596638601E-2</c:v>
                </c:pt>
                <c:pt idx="2514">
                  <c:v>-9.7478991596638601E-2</c:v>
                </c:pt>
                <c:pt idx="2515">
                  <c:v>-9.7478991596638601E-2</c:v>
                </c:pt>
                <c:pt idx="2516">
                  <c:v>-9.6638655462184794E-2</c:v>
                </c:pt>
                <c:pt idx="2517">
                  <c:v>-9.6638655462184794E-2</c:v>
                </c:pt>
                <c:pt idx="2518">
                  <c:v>-9.6638655462184794E-2</c:v>
                </c:pt>
                <c:pt idx="2519">
                  <c:v>-9.6638655462184794E-2</c:v>
                </c:pt>
                <c:pt idx="2520">
                  <c:v>-9.6638655462184794E-2</c:v>
                </c:pt>
                <c:pt idx="2521">
                  <c:v>-9.6638655462184794E-2</c:v>
                </c:pt>
                <c:pt idx="2522">
                  <c:v>-9.6638655462184794E-2</c:v>
                </c:pt>
                <c:pt idx="2523">
                  <c:v>-9.6638655462184794E-2</c:v>
                </c:pt>
                <c:pt idx="2524">
                  <c:v>-9.6638655462184794E-2</c:v>
                </c:pt>
                <c:pt idx="2525">
                  <c:v>-9.6638655462184794E-2</c:v>
                </c:pt>
                <c:pt idx="2526">
                  <c:v>-9.6638655462184794E-2</c:v>
                </c:pt>
                <c:pt idx="2527">
                  <c:v>-9.5798319327731099E-2</c:v>
                </c:pt>
                <c:pt idx="2528">
                  <c:v>-9.5798319327731099E-2</c:v>
                </c:pt>
                <c:pt idx="2529">
                  <c:v>-9.5798319327731099E-2</c:v>
                </c:pt>
                <c:pt idx="2530">
                  <c:v>-9.4957983193277307E-2</c:v>
                </c:pt>
                <c:pt idx="2531">
                  <c:v>-9.4957983193277307E-2</c:v>
                </c:pt>
                <c:pt idx="2532">
                  <c:v>-9.4957983193277307E-2</c:v>
                </c:pt>
                <c:pt idx="2533">
                  <c:v>-9.4957983193277307E-2</c:v>
                </c:pt>
                <c:pt idx="2534">
                  <c:v>-9.4957983193277307E-2</c:v>
                </c:pt>
                <c:pt idx="2535">
                  <c:v>-9.4957983193277307E-2</c:v>
                </c:pt>
                <c:pt idx="2536">
                  <c:v>-9.4957983193277307E-2</c:v>
                </c:pt>
                <c:pt idx="2537">
                  <c:v>-9.4957983193277307E-2</c:v>
                </c:pt>
                <c:pt idx="2538">
                  <c:v>-9.4957983193277307E-2</c:v>
                </c:pt>
                <c:pt idx="2539">
                  <c:v>-9.5798319327731099E-2</c:v>
                </c:pt>
                <c:pt idx="2540">
                  <c:v>-9.5798319327731099E-2</c:v>
                </c:pt>
                <c:pt idx="2541">
                  <c:v>-9.5798319327731099E-2</c:v>
                </c:pt>
                <c:pt idx="2542">
                  <c:v>-9.5798319327731099E-2</c:v>
                </c:pt>
                <c:pt idx="2543">
                  <c:v>-9.5798319327731099E-2</c:v>
                </c:pt>
                <c:pt idx="2544">
                  <c:v>-9.5798319327731099E-2</c:v>
                </c:pt>
                <c:pt idx="2545">
                  <c:v>-9.5798319327731099E-2</c:v>
                </c:pt>
                <c:pt idx="2546">
                  <c:v>-9.5798319327731099E-2</c:v>
                </c:pt>
                <c:pt idx="2547">
                  <c:v>-9.5798319327731099E-2</c:v>
                </c:pt>
                <c:pt idx="2548">
                  <c:v>-9.5798319327731099E-2</c:v>
                </c:pt>
                <c:pt idx="2549">
                  <c:v>-9.5798319327731099E-2</c:v>
                </c:pt>
                <c:pt idx="2550">
                  <c:v>-9.5798319327731099E-2</c:v>
                </c:pt>
                <c:pt idx="2551">
                  <c:v>-9.5798319327731099E-2</c:v>
                </c:pt>
                <c:pt idx="2552">
                  <c:v>-9.5798319327731099E-2</c:v>
                </c:pt>
                <c:pt idx="2553">
                  <c:v>-9.5798319327731099E-2</c:v>
                </c:pt>
                <c:pt idx="2554">
                  <c:v>-9.5798319327731099E-2</c:v>
                </c:pt>
                <c:pt idx="2555">
                  <c:v>-9.5798319327731099E-2</c:v>
                </c:pt>
                <c:pt idx="2556">
                  <c:v>-9.5798319327731099E-2</c:v>
                </c:pt>
                <c:pt idx="2557">
                  <c:v>-9.5798319327731099E-2</c:v>
                </c:pt>
                <c:pt idx="2558">
                  <c:v>-9.5798319327731099E-2</c:v>
                </c:pt>
                <c:pt idx="2559">
                  <c:v>-9.5798319327731099E-2</c:v>
                </c:pt>
                <c:pt idx="2560">
                  <c:v>-9.5798319327731099E-2</c:v>
                </c:pt>
                <c:pt idx="2561">
                  <c:v>-9.4957983193277307E-2</c:v>
                </c:pt>
                <c:pt idx="2562">
                  <c:v>-9.4957983193277307E-2</c:v>
                </c:pt>
                <c:pt idx="2563">
                  <c:v>-9.4957983193277307E-2</c:v>
                </c:pt>
                <c:pt idx="2564">
                  <c:v>-9.4957983193277307E-2</c:v>
                </c:pt>
                <c:pt idx="2565">
                  <c:v>-9.4957983193277307E-2</c:v>
                </c:pt>
                <c:pt idx="2566">
                  <c:v>-9.4957983193277307E-2</c:v>
                </c:pt>
                <c:pt idx="2567">
                  <c:v>-9.4957983193277307E-2</c:v>
                </c:pt>
                <c:pt idx="2568">
                  <c:v>-9.4957983193277307E-2</c:v>
                </c:pt>
                <c:pt idx="2569">
                  <c:v>-9.4957983193277307E-2</c:v>
                </c:pt>
                <c:pt idx="2570">
                  <c:v>-9.4957983193277307E-2</c:v>
                </c:pt>
                <c:pt idx="2571">
                  <c:v>-9.4957983193277307E-2</c:v>
                </c:pt>
                <c:pt idx="2572">
                  <c:v>-9.4957983193277307E-2</c:v>
                </c:pt>
                <c:pt idx="2573">
                  <c:v>-9.4957983193277307E-2</c:v>
                </c:pt>
                <c:pt idx="2574">
                  <c:v>-9.4957983193277307E-2</c:v>
                </c:pt>
                <c:pt idx="2575">
                  <c:v>-9.4957983193277307E-2</c:v>
                </c:pt>
                <c:pt idx="2576">
                  <c:v>-9.4957983193277307E-2</c:v>
                </c:pt>
                <c:pt idx="2577">
                  <c:v>-9.4957983193277307E-2</c:v>
                </c:pt>
                <c:pt idx="2578">
                  <c:v>-9.4957983193277307E-2</c:v>
                </c:pt>
                <c:pt idx="2579">
                  <c:v>-9.4957983193277307E-2</c:v>
                </c:pt>
                <c:pt idx="2580">
                  <c:v>-9.4957983193277307E-2</c:v>
                </c:pt>
                <c:pt idx="2581">
                  <c:v>-9.41176470588235E-2</c:v>
                </c:pt>
                <c:pt idx="2582">
                  <c:v>-9.41176470588235E-2</c:v>
                </c:pt>
                <c:pt idx="2583">
                  <c:v>-9.41176470588235E-2</c:v>
                </c:pt>
                <c:pt idx="2584">
                  <c:v>-9.41176470588235E-2</c:v>
                </c:pt>
                <c:pt idx="2585">
                  <c:v>-9.41176470588235E-2</c:v>
                </c:pt>
                <c:pt idx="2586">
                  <c:v>-9.41176470588235E-2</c:v>
                </c:pt>
                <c:pt idx="2587">
                  <c:v>-9.41176470588235E-2</c:v>
                </c:pt>
                <c:pt idx="2588">
                  <c:v>-9.41176470588235E-2</c:v>
                </c:pt>
                <c:pt idx="2589">
                  <c:v>-9.41176470588235E-2</c:v>
                </c:pt>
                <c:pt idx="2590">
                  <c:v>-9.41176470588235E-2</c:v>
                </c:pt>
                <c:pt idx="2591">
                  <c:v>-9.41176470588235E-2</c:v>
                </c:pt>
                <c:pt idx="2592">
                  <c:v>-9.41176470588235E-2</c:v>
                </c:pt>
                <c:pt idx="2593">
                  <c:v>-9.3277310924369694E-2</c:v>
                </c:pt>
                <c:pt idx="2594">
                  <c:v>-9.3277310924369694E-2</c:v>
                </c:pt>
                <c:pt idx="2595">
                  <c:v>-9.41176470588235E-2</c:v>
                </c:pt>
                <c:pt idx="2596">
                  <c:v>-9.41176470588235E-2</c:v>
                </c:pt>
                <c:pt idx="2597">
                  <c:v>-9.41176470588235E-2</c:v>
                </c:pt>
                <c:pt idx="2598">
                  <c:v>-9.41176470588235E-2</c:v>
                </c:pt>
                <c:pt idx="2599">
                  <c:v>-9.41176470588235E-2</c:v>
                </c:pt>
                <c:pt idx="2600">
                  <c:v>-9.41176470588235E-2</c:v>
                </c:pt>
                <c:pt idx="2601">
                  <c:v>-9.41176470588235E-2</c:v>
                </c:pt>
                <c:pt idx="2602">
                  <c:v>-9.41176470588235E-2</c:v>
                </c:pt>
                <c:pt idx="2603">
                  <c:v>-9.3277310924369694E-2</c:v>
                </c:pt>
                <c:pt idx="2604">
                  <c:v>-9.3277310924369694E-2</c:v>
                </c:pt>
                <c:pt idx="2605">
                  <c:v>-9.3277310924369694E-2</c:v>
                </c:pt>
                <c:pt idx="2606">
                  <c:v>-9.3277310924369694E-2</c:v>
                </c:pt>
                <c:pt idx="2607">
                  <c:v>-9.3277310924369694E-2</c:v>
                </c:pt>
                <c:pt idx="2608">
                  <c:v>-9.3277310924369694E-2</c:v>
                </c:pt>
                <c:pt idx="2609">
                  <c:v>-9.3277310924369694E-2</c:v>
                </c:pt>
                <c:pt idx="2610">
                  <c:v>-9.3277310924369694E-2</c:v>
                </c:pt>
                <c:pt idx="2611">
                  <c:v>-9.3277310924369694E-2</c:v>
                </c:pt>
                <c:pt idx="2612">
                  <c:v>-9.3277310924369694E-2</c:v>
                </c:pt>
                <c:pt idx="2613">
                  <c:v>-9.3277310924369694E-2</c:v>
                </c:pt>
                <c:pt idx="2614">
                  <c:v>-9.3277310924369694E-2</c:v>
                </c:pt>
                <c:pt idx="2615">
                  <c:v>-9.3277310924369694E-2</c:v>
                </c:pt>
                <c:pt idx="2616">
                  <c:v>-9.3277310924369694E-2</c:v>
                </c:pt>
                <c:pt idx="2617">
                  <c:v>-9.3277310924369694E-2</c:v>
                </c:pt>
                <c:pt idx="2618">
                  <c:v>-9.41176470588235E-2</c:v>
                </c:pt>
                <c:pt idx="2619">
                  <c:v>-9.41176470588235E-2</c:v>
                </c:pt>
                <c:pt idx="2620">
                  <c:v>-9.3277310924369694E-2</c:v>
                </c:pt>
                <c:pt idx="2621">
                  <c:v>-9.3277310924369694E-2</c:v>
                </c:pt>
                <c:pt idx="2622">
                  <c:v>-9.3277310924369694E-2</c:v>
                </c:pt>
                <c:pt idx="2623">
                  <c:v>-9.3277310924369694E-2</c:v>
                </c:pt>
                <c:pt idx="2624">
                  <c:v>-9.3277310924369694E-2</c:v>
                </c:pt>
                <c:pt idx="2625">
                  <c:v>-9.3277310924369694E-2</c:v>
                </c:pt>
                <c:pt idx="2626">
                  <c:v>-9.3277310924369694E-2</c:v>
                </c:pt>
                <c:pt idx="2627">
                  <c:v>-9.3277310924369694E-2</c:v>
                </c:pt>
                <c:pt idx="2628">
                  <c:v>-9.2436974789915902E-2</c:v>
                </c:pt>
                <c:pt idx="2629">
                  <c:v>-9.2436974789915902E-2</c:v>
                </c:pt>
                <c:pt idx="2630">
                  <c:v>-9.2436974789915902E-2</c:v>
                </c:pt>
                <c:pt idx="2631">
                  <c:v>-9.2436974789915902E-2</c:v>
                </c:pt>
                <c:pt idx="2632">
                  <c:v>-9.2436974789915902E-2</c:v>
                </c:pt>
                <c:pt idx="2633">
                  <c:v>-9.2436974789915902E-2</c:v>
                </c:pt>
                <c:pt idx="2634">
                  <c:v>-9.2436974789915902E-2</c:v>
                </c:pt>
                <c:pt idx="2635">
                  <c:v>-9.2436974789915902E-2</c:v>
                </c:pt>
                <c:pt idx="2636">
                  <c:v>-9.2436974789915902E-2</c:v>
                </c:pt>
                <c:pt idx="2637">
                  <c:v>-9.2436974789915902E-2</c:v>
                </c:pt>
                <c:pt idx="2638">
                  <c:v>-9.2436974789915902E-2</c:v>
                </c:pt>
                <c:pt idx="2639">
                  <c:v>-9.2436974789915902E-2</c:v>
                </c:pt>
                <c:pt idx="2640">
                  <c:v>-9.2436974789915902E-2</c:v>
                </c:pt>
                <c:pt idx="2641">
                  <c:v>-9.1596638655462095E-2</c:v>
                </c:pt>
                <c:pt idx="2642">
                  <c:v>-9.1596638655462095E-2</c:v>
                </c:pt>
                <c:pt idx="2643">
                  <c:v>-9.1596638655462095E-2</c:v>
                </c:pt>
                <c:pt idx="2644">
                  <c:v>-9.1596638655462095E-2</c:v>
                </c:pt>
                <c:pt idx="2645">
                  <c:v>-9.1596638655462095E-2</c:v>
                </c:pt>
                <c:pt idx="2646">
                  <c:v>-9.1596638655462095E-2</c:v>
                </c:pt>
                <c:pt idx="2647">
                  <c:v>-9.1596638655462095E-2</c:v>
                </c:pt>
                <c:pt idx="2648">
                  <c:v>-9.1596638655462095E-2</c:v>
                </c:pt>
                <c:pt idx="2649">
                  <c:v>-9.1596638655462095E-2</c:v>
                </c:pt>
                <c:pt idx="2650">
                  <c:v>-9.1596638655462095E-2</c:v>
                </c:pt>
                <c:pt idx="2651">
                  <c:v>-9.1596638655462095E-2</c:v>
                </c:pt>
                <c:pt idx="2652">
                  <c:v>-9.1596638655462095E-2</c:v>
                </c:pt>
                <c:pt idx="2653">
                  <c:v>-9.1596638655462095E-2</c:v>
                </c:pt>
                <c:pt idx="2654">
                  <c:v>-9.1596638655462095E-2</c:v>
                </c:pt>
                <c:pt idx="2655">
                  <c:v>-9.1596638655462095E-2</c:v>
                </c:pt>
                <c:pt idx="2656">
                  <c:v>-9.1596638655462095E-2</c:v>
                </c:pt>
                <c:pt idx="2657">
                  <c:v>-9.1596638655462095E-2</c:v>
                </c:pt>
                <c:pt idx="2658">
                  <c:v>-9.1596638655462095E-2</c:v>
                </c:pt>
                <c:pt idx="2659">
                  <c:v>-9.1596638655462095E-2</c:v>
                </c:pt>
                <c:pt idx="2660">
                  <c:v>-9.1596638655462095E-2</c:v>
                </c:pt>
                <c:pt idx="2661">
                  <c:v>-9.1596638655462095E-2</c:v>
                </c:pt>
                <c:pt idx="2662">
                  <c:v>-9.1596638655462095E-2</c:v>
                </c:pt>
                <c:pt idx="2663">
                  <c:v>-9.1596638655462095E-2</c:v>
                </c:pt>
                <c:pt idx="2664">
                  <c:v>-9.1596638655462095E-2</c:v>
                </c:pt>
                <c:pt idx="2665">
                  <c:v>-9.1596638655462095E-2</c:v>
                </c:pt>
                <c:pt idx="2666">
                  <c:v>-9.1596638655462095E-2</c:v>
                </c:pt>
                <c:pt idx="2667">
                  <c:v>-9.07563025210084E-2</c:v>
                </c:pt>
                <c:pt idx="2668">
                  <c:v>-9.07563025210084E-2</c:v>
                </c:pt>
                <c:pt idx="2669">
                  <c:v>-9.07563025210084E-2</c:v>
                </c:pt>
                <c:pt idx="2670">
                  <c:v>-9.07563025210084E-2</c:v>
                </c:pt>
                <c:pt idx="2671">
                  <c:v>-9.07563025210084E-2</c:v>
                </c:pt>
                <c:pt idx="2672">
                  <c:v>-9.07563025210084E-2</c:v>
                </c:pt>
                <c:pt idx="2673">
                  <c:v>-9.07563025210084E-2</c:v>
                </c:pt>
                <c:pt idx="2674">
                  <c:v>-9.07563025210084E-2</c:v>
                </c:pt>
                <c:pt idx="2675">
                  <c:v>-9.1596638655462095E-2</c:v>
                </c:pt>
                <c:pt idx="2676">
                  <c:v>-9.1596638655462095E-2</c:v>
                </c:pt>
                <c:pt idx="2677">
                  <c:v>-9.1596638655462095E-2</c:v>
                </c:pt>
                <c:pt idx="2678">
                  <c:v>-9.2436974789915902E-2</c:v>
                </c:pt>
                <c:pt idx="2679">
                  <c:v>-9.2436974789915902E-2</c:v>
                </c:pt>
                <c:pt idx="2680">
                  <c:v>-9.2436974789915902E-2</c:v>
                </c:pt>
                <c:pt idx="2681">
                  <c:v>-9.2436974789915902E-2</c:v>
                </c:pt>
                <c:pt idx="2682">
                  <c:v>-9.2436974789915902E-2</c:v>
                </c:pt>
                <c:pt idx="2683">
                  <c:v>-9.2436974789915902E-2</c:v>
                </c:pt>
                <c:pt idx="2684">
                  <c:v>-9.2436974789915902E-2</c:v>
                </c:pt>
                <c:pt idx="2685">
                  <c:v>-9.2436974789915902E-2</c:v>
                </c:pt>
                <c:pt idx="2686">
                  <c:v>-9.2436974789915902E-2</c:v>
                </c:pt>
                <c:pt idx="2687">
                  <c:v>-9.2436974789915902E-2</c:v>
                </c:pt>
                <c:pt idx="2688">
                  <c:v>-9.2436974789915902E-2</c:v>
                </c:pt>
                <c:pt idx="2689">
                  <c:v>-9.2436974789915902E-2</c:v>
                </c:pt>
                <c:pt idx="2690">
                  <c:v>-9.2436974789915902E-2</c:v>
                </c:pt>
                <c:pt idx="2691">
                  <c:v>-9.2436974789915902E-2</c:v>
                </c:pt>
                <c:pt idx="2692">
                  <c:v>-9.2436974789915902E-2</c:v>
                </c:pt>
                <c:pt idx="2693">
                  <c:v>-9.2436974789915902E-2</c:v>
                </c:pt>
                <c:pt idx="2694">
                  <c:v>-9.3277310924369694E-2</c:v>
                </c:pt>
                <c:pt idx="2695">
                  <c:v>-9.3277310924369694E-2</c:v>
                </c:pt>
                <c:pt idx="2696">
                  <c:v>-9.3277310924369694E-2</c:v>
                </c:pt>
                <c:pt idx="2697">
                  <c:v>-9.3277310924369694E-2</c:v>
                </c:pt>
                <c:pt idx="2698">
                  <c:v>-9.2436974789915902E-2</c:v>
                </c:pt>
                <c:pt idx="2699">
                  <c:v>-9.2436974789915902E-2</c:v>
                </c:pt>
                <c:pt idx="2700">
                  <c:v>-9.2436974789915902E-2</c:v>
                </c:pt>
                <c:pt idx="2701">
                  <c:v>-9.2436974789915902E-2</c:v>
                </c:pt>
                <c:pt idx="2702">
                  <c:v>-9.2436974789915902E-2</c:v>
                </c:pt>
                <c:pt idx="2703">
                  <c:v>-9.2436974789915902E-2</c:v>
                </c:pt>
                <c:pt idx="2704">
                  <c:v>-9.2436974789915902E-2</c:v>
                </c:pt>
                <c:pt idx="2705">
                  <c:v>-9.2436974789915902E-2</c:v>
                </c:pt>
                <c:pt idx="2706">
                  <c:v>-9.2436974789915902E-2</c:v>
                </c:pt>
                <c:pt idx="2707">
                  <c:v>-9.2436974789915902E-2</c:v>
                </c:pt>
                <c:pt idx="2708">
                  <c:v>-9.2436974789915902E-2</c:v>
                </c:pt>
                <c:pt idx="2709">
                  <c:v>-9.2436974789915902E-2</c:v>
                </c:pt>
                <c:pt idx="2710">
                  <c:v>-9.2436974789915902E-2</c:v>
                </c:pt>
                <c:pt idx="2711">
                  <c:v>-9.2436974789915902E-2</c:v>
                </c:pt>
                <c:pt idx="2712">
                  <c:v>-9.2436974789915902E-2</c:v>
                </c:pt>
                <c:pt idx="2713">
                  <c:v>-9.2436974789915902E-2</c:v>
                </c:pt>
                <c:pt idx="2714">
                  <c:v>-9.2436974789915902E-2</c:v>
                </c:pt>
                <c:pt idx="2715">
                  <c:v>-9.2436974789915902E-2</c:v>
                </c:pt>
                <c:pt idx="2716">
                  <c:v>-9.2436974789915902E-2</c:v>
                </c:pt>
                <c:pt idx="2717">
                  <c:v>-9.2436974789915902E-2</c:v>
                </c:pt>
                <c:pt idx="2718">
                  <c:v>-9.2436974789915902E-2</c:v>
                </c:pt>
                <c:pt idx="2719">
                  <c:v>-9.2436974789915902E-2</c:v>
                </c:pt>
                <c:pt idx="2720">
                  <c:v>-9.2436974789915902E-2</c:v>
                </c:pt>
                <c:pt idx="2721">
                  <c:v>-9.2436974789915902E-2</c:v>
                </c:pt>
                <c:pt idx="2722">
                  <c:v>-9.2436974789915902E-2</c:v>
                </c:pt>
                <c:pt idx="2723">
                  <c:v>-9.2436974789915902E-2</c:v>
                </c:pt>
                <c:pt idx="2724">
                  <c:v>-9.2436974789915902E-2</c:v>
                </c:pt>
                <c:pt idx="2725">
                  <c:v>-9.2436974789915902E-2</c:v>
                </c:pt>
                <c:pt idx="2726">
                  <c:v>-9.2436974789915902E-2</c:v>
                </c:pt>
                <c:pt idx="2727">
                  <c:v>-9.2436974789915902E-2</c:v>
                </c:pt>
                <c:pt idx="2728">
                  <c:v>-9.2436974789915902E-2</c:v>
                </c:pt>
                <c:pt idx="2729">
                  <c:v>-9.2436974789915902E-2</c:v>
                </c:pt>
                <c:pt idx="2730">
                  <c:v>-9.1596638655462095E-2</c:v>
                </c:pt>
                <c:pt idx="2731">
                  <c:v>-9.1596638655462095E-2</c:v>
                </c:pt>
                <c:pt idx="2732">
                  <c:v>-9.2436974789915902E-2</c:v>
                </c:pt>
                <c:pt idx="2733">
                  <c:v>-9.2436974789915902E-2</c:v>
                </c:pt>
                <c:pt idx="2734">
                  <c:v>-9.2436974789915902E-2</c:v>
                </c:pt>
                <c:pt idx="2735">
                  <c:v>-9.3277310924369694E-2</c:v>
                </c:pt>
                <c:pt idx="2736">
                  <c:v>-9.3277310924369694E-2</c:v>
                </c:pt>
                <c:pt idx="2737">
                  <c:v>-9.3277310924369694E-2</c:v>
                </c:pt>
                <c:pt idx="2738">
                  <c:v>-9.3277310924369694E-2</c:v>
                </c:pt>
                <c:pt idx="2739">
                  <c:v>-9.3277310924369694E-2</c:v>
                </c:pt>
                <c:pt idx="2740">
                  <c:v>-9.3277310924369694E-2</c:v>
                </c:pt>
                <c:pt idx="2741">
                  <c:v>-9.3277310924369694E-2</c:v>
                </c:pt>
                <c:pt idx="2742">
                  <c:v>-9.3277310924369694E-2</c:v>
                </c:pt>
                <c:pt idx="2743">
                  <c:v>-9.3277310924369694E-2</c:v>
                </c:pt>
                <c:pt idx="2744">
                  <c:v>-9.41176470588235E-2</c:v>
                </c:pt>
                <c:pt idx="2745">
                  <c:v>-9.41176470588235E-2</c:v>
                </c:pt>
                <c:pt idx="2746">
                  <c:v>-9.41176470588235E-2</c:v>
                </c:pt>
                <c:pt idx="2747">
                  <c:v>-9.41176470588235E-2</c:v>
                </c:pt>
                <c:pt idx="2748">
                  <c:v>-9.41176470588235E-2</c:v>
                </c:pt>
                <c:pt idx="2749">
                  <c:v>-9.41176470588235E-2</c:v>
                </c:pt>
                <c:pt idx="2750">
                  <c:v>-9.41176470588235E-2</c:v>
                </c:pt>
                <c:pt idx="2751">
                  <c:v>-9.41176470588235E-2</c:v>
                </c:pt>
                <c:pt idx="2752">
                  <c:v>-9.41176470588235E-2</c:v>
                </c:pt>
                <c:pt idx="2753">
                  <c:v>-9.41176470588235E-2</c:v>
                </c:pt>
                <c:pt idx="2754">
                  <c:v>-9.41176470588235E-2</c:v>
                </c:pt>
                <c:pt idx="2755">
                  <c:v>-9.41176470588235E-2</c:v>
                </c:pt>
                <c:pt idx="2756">
                  <c:v>-9.41176470588235E-2</c:v>
                </c:pt>
                <c:pt idx="2757">
                  <c:v>-9.41176470588235E-2</c:v>
                </c:pt>
                <c:pt idx="2758">
                  <c:v>-9.41176470588235E-2</c:v>
                </c:pt>
                <c:pt idx="2759">
                  <c:v>-9.41176470588235E-2</c:v>
                </c:pt>
                <c:pt idx="2760">
                  <c:v>-9.41176470588235E-2</c:v>
                </c:pt>
                <c:pt idx="2761">
                  <c:v>-9.41176470588235E-2</c:v>
                </c:pt>
                <c:pt idx="2762">
                  <c:v>-9.41176470588235E-2</c:v>
                </c:pt>
                <c:pt idx="2763">
                  <c:v>-9.41176470588235E-2</c:v>
                </c:pt>
                <c:pt idx="2764">
                  <c:v>-9.41176470588235E-2</c:v>
                </c:pt>
                <c:pt idx="2765">
                  <c:v>-9.41176470588235E-2</c:v>
                </c:pt>
                <c:pt idx="2766">
                  <c:v>-9.41176470588235E-2</c:v>
                </c:pt>
                <c:pt idx="2767">
                  <c:v>-9.41176470588235E-2</c:v>
                </c:pt>
                <c:pt idx="2768">
                  <c:v>-9.41176470588235E-2</c:v>
                </c:pt>
                <c:pt idx="2769">
                  <c:v>-9.41176470588235E-2</c:v>
                </c:pt>
                <c:pt idx="2770">
                  <c:v>-9.41176470588235E-2</c:v>
                </c:pt>
                <c:pt idx="2771">
                  <c:v>-9.41176470588235E-2</c:v>
                </c:pt>
                <c:pt idx="2772">
                  <c:v>-9.4957983193277307E-2</c:v>
                </c:pt>
                <c:pt idx="2773">
                  <c:v>-9.4957983193277307E-2</c:v>
                </c:pt>
                <c:pt idx="2774">
                  <c:v>-9.5798319327731099E-2</c:v>
                </c:pt>
                <c:pt idx="2775">
                  <c:v>-9.5798319327731099E-2</c:v>
                </c:pt>
                <c:pt idx="2776">
                  <c:v>-9.5798319327731099E-2</c:v>
                </c:pt>
                <c:pt idx="2777">
                  <c:v>-9.5798319327731099E-2</c:v>
                </c:pt>
                <c:pt idx="2778">
                  <c:v>-9.5798319327731099E-2</c:v>
                </c:pt>
                <c:pt idx="2779">
                  <c:v>-9.5798319327731099E-2</c:v>
                </c:pt>
                <c:pt idx="2780">
                  <c:v>-9.5798319327731099E-2</c:v>
                </c:pt>
                <c:pt idx="2781">
                  <c:v>-9.5798319327731099E-2</c:v>
                </c:pt>
                <c:pt idx="2782">
                  <c:v>-9.6638655462184794E-2</c:v>
                </c:pt>
                <c:pt idx="2783">
                  <c:v>-9.6638655462184794E-2</c:v>
                </c:pt>
                <c:pt idx="2784">
                  <c:v>-9.6638655462184794E-2</c:v>
                </c:pt>
                <c:pt idx="2785">
                  <c:v>-9.6638655462184794E-2</c:v>
                </c:pt>
                <c:pt idx="2786">
                  <c:v>-9.6638655462184794E-2</c:v>
                </c:pt>
                <c:pt idx="2787">
                  <c:v>-9.6638655462184794E-2</c:v>
                </c:pt>
                <c:pt idx="2788">
                  <c:v>-9.6638655462184794E-2</c:v>
                </c:pt>
                <c:pt idx="2789">
                  <c:v>-9.6638655462184794E-2</c:v>
                </c:pt>
                <c:pt idx="2790">
                  <c:v>-9.6638655462184794E-2</c:v>
                </c:pt>
                <c:pt idx="2791">
                  <c:v>-9.6638655462184794E-2</c:v>
                </c:pt>
                <c:pt idx="2792">
                  <c:v>-9.6638655462184794E-2</c:v>
                </c:pt>
                <c:pt idx="2793">
                  <c:v>-9.6638655462184794E-2</c:v>
                </c:pt>
                <c:pt idx="2794">
                  <c:v>-9.5798319327731002E-2</c:v>
                </c:pt>
                <c:pt idx="2795">
                  <c:v>-9.5798319327731002E-2</c:v>
                </c:pt>
                <c:pt idx="2796">
                  <c:v>-9.5798319327731002E-2</c:v>
                </c:pt>
                <c:pt idx="2797">
                  <c:v>-9.4957983193277307E-2</c:v>
                </c:pt>
                <c:pt idx="2798">
                  <c:v>-9.4957983193277307E-2</c:v>
                </c:pt>
                <c:pt idx="2799">
                  <c:v>-9.4957983193277307E-2</c:v>
                </c:pt>
                <c:pt idx="2800">
                  <c:v>-9.4957983193277307E-2</c:v>
                </c:pt>
                <c:pt idx="2801">
                  <c:v>-9.4957983193277307E-2</c:v>
                </c:pt>
                <c:pt idx="2802">
                  <c:v>-9.4957983193277307E-2</c:v>
                </c:pt>
                <c:pt idx="2803">
                  <c:v>-9.4957983193277307E-2</c:v>
                </c:pt>
                <c:pt idx="2804">
                  <c:v>-9.41176470588235E-2</c:v>
                </c:pt>
                <c:pt idx="2805">
                  <c:v>-9.3277310924369694E-2</c:v>
                </c:pt>
                <c:pt idx="2806">
                  <c:v>-9.41176470588235E-2</c:v>
                </c:pt>
                <c:pt idx="2807">
                  <c:v>-9.41176470588235E-2</c:v>
                </c:pt>
                <c:pt idx="2808">
                  <c:v>-9.41176470588235E-2</c:v>
                </c:pt>
                <c:pt idx="2809">
                  <c:v>-9.41176470588235E-2</c:v>
                </c:pt>
                <c:pt idx="2810">
                  <c:v>-9.41176470588235E-2</c:v>
                </c:pt>
                <c:pt idx="2811">
                  <c:v>-9.41176470588235E-2</c:v>
                </c:pt>
                <c:pt idx="2812">
                  <c:v>-9.41176470588235E-2</c:v>
                </c:pt>
                <c:pt idx="2813">
                  <c:v>-9.41176470588235E-2</c:v>
                </c:pt>
                <c:pt idx="2814">
                  <c:v>-9.41176470588235E-2</c:v>
                </c:pt>
                <c:pt idx="2815">
                  <c:v>-9.41176470588235E-2</c:v>
                </c:pt>
                <c:pt idx="2816">
                  <c:v>-9.41176470588235E-2</c:v>
                </c:pt>
                <c:pt idx="2817">
                  <c:v>-9.3277310924369694E-2</c:v>
                </c:pt>
                <c:pt idx="2818">
                  <c:v>-9.3277310924369694E-2</c:v>
                </c:pt>
                <c:pt idx="2819">
                  <c:v>-9.3277310924369694E-2</c:v>
                </c:pt>
                <c:pt idx="2820">
                  <c:v>-9.3277310924369694E-2</c:v>
                </c:pt>
                <c:pt idx="2821">
                  <c:v>-9.3277310924369694E-2</c:v>
                </c:pt>
                <c:pt idx="2822">
                  <c:v>-9.3277310924369694E-2</c:v>
                </c:pt>
                <c:pt idx="2823">
                  <c:v>-9.3277310924369694E-2</c:v>
                </c:pt>
                <c:pt idx="2824">
                  <c:v>-9.3277310924369694E-2</c:v>
                </c:pt>
                <c:pt idx="2825">
                  <c:v>-9.2436974789915902E-2</c:v>
                </c:pt>
                <c:pt idx="2826">
                  <c:v>-9.3277310924369694E-2</c:v>
                </c:pt>
                <c:pt idx="2827">
                  <c:v>-9.3277310924369694E-2</c:v>
                </c:pt>
                <c:pt idx="2828">
                  <c:v>-9.3277310924369694E-2</c:v>
                </c:pt>
                <c:pt idx="2829">
                  <c:v>-9.3277310924369694E-2</c:v>
                </c:pt>
                <c:pt idx="2830">
                  <c:v>-9.3277310924369694E-2</c:v>
                </c:pt>
                <c:pt idx="2831">
                  <c:v>-9.3277310924369694E-2</c:v>
                </c:pt>
                <c:pt idx="2832">
                  <c:v>-9.41176470588235E-2</c:v>
                </c:pt>
                <c:pt idx="2833">
                  <c:v>-9.41176470588235E-2</c:v>
                </c:pt>
                <c:pt idx="2834">
                  <c:v>-9.41176470588235E-2</c:v>
                </c:pt>
                <c:pt idx="2835">
                  <c:v>-9.41176470588235E-2</c:v>
                </c:pt>
                <c:pt idx="2836">
                  <c:v>-9.41176470588235E-2</c:v>
                </c:pt>
                <c:pt idx="2837">
                  <c:v>-9.41176470588235E-2</c:v>
                </c:pt>
                <c:pt idx="2838">
                  <c:v>-9.41176470588235E-2</c:v>
                </c:pt>
                <c:pt idx="2839">
                  <c:v>-9.41176470588235E-2</c:v>
                </c:pt>
                <c:pt idx="2840">
                  <c:v>-9.41176470588235E-2</c:v>
                </c:pt>
                <c:pt idx="2841">
                  <c:v>-9.41176470588235E-2</c:v>
                </c:pt>
                <c:pt idx="2842">
                  <c:v>-9.41176470588235E-2</c:v>
                </c:pt>
                <c:pt idx="2843">
                  <c:v>-9.41176470588235E-2</c:v>
                </c:pt>
                <c:pt idx="2844">
                  <c:v>-9.41176470588235E-2</c:v>
                </c:pt>
                <c:pt idx="2845">
                  <c:v>-9.41176470588235E-2</c:v>
                </c:pt>
                <c:pt idx="2846">
                  <c:v>-9.41176470588235E-2</c:v>
                </c:pt>
                <c:pt idx="2847">
                  <c:v>-9.41176470588235E-2</c:v>
                </c:pt>
                <c:pt idx="2848">
                  <c:v>-9.41176470588235E-2</c:v>
                </c:pt>
                <c:pt idx="2849">
                  <c:v>-9.41176470588235E-2</c:v>
                </c:pt>
                <c:pt idx="2850">
                  <c:v>-9.41176470588235E-2</c:v>
                </c:pt>
                <c:pt idx="2851">
                  <c:v>-9.41176470588235E-2</c:v>
                </c:pt>
                <c:pt idx="2852">
                  <c:v>-9.41176470588235E-2</c:v>
                </c:pt>
                <c:pt idx="2853">
                  <c:v>-9.41176470588235E-2</c:v>
                </c:pt>
                <c:pt idx="2854">
                  <c:v>-9.41176470588235E-2</c:v>
                </c:pt>
                <c:pt idx="2855">
                  <c:v>-9.41176470588235E-2</c:v>
                </c:pt>
                <c:pt idx="2856">
                  <c:v>-9.4957983193277196E-2</c:v>
                </c:pt>
                <c:pt idx="2857">
                  <c:v>-9.4957983193277196E-2</c:v>
                </c:pt>
                <c:pt idx="2858">
                  <c:v>-9.4957983193277196E-2</c:v>
                </c:pt>
                <c:pt idx="2859">
                  <c:v>-9.4957983193277196E-2</c:v>
                </c:pt>
                <c:pt idx="2860">
                  <c:v>-9.5798319327731099E-2</c:v>
                </c:pt>
                <c:pt idx="2861">
                  <c:v>-9.5798319327731099E-2</c:v>
                </c:pt>
                <c:pt idx="2862">
                  <c:v>-9.4957983193277307E-2</c:v>
                </c:pt>
                <c:pt idx="2863">
                  <c:v>-9.4957983193277307E-2</c:v>
                </c:pt>
                <c:pt idx="2864">
                  <c:v>-9.4957983193277307E-2</c:v>
                </c:pt>
                <c:pt idx="2865">
                  <c:v>-9.4957983193277307E-2</c:v>
                </c:pt>
                <c:pt idx="2866">
                  <c:v>-9.4957983193277307E-2</c:v>
                </c:pt>
                <c:pt idx="2867">
                  <c:v>-9.4957983193277307E-2</c:v>
                </c:pt>
                <c:pt idx="2868">
                  <c:v>-9.4957983193277307E-2</c:v>
                </c:pt>
                <c:pt idx="2869">
                  <c:v>-9.5798319327731099E-2</c:v>
                </c:pt>
                <c:pt idx="2870">
                  <c:v>-9.5798319327731099E-2</c:v>
                </c:pt>
                <c:pt idx="2871">
                  <c:v>-9.5798319327731099E-2</c:v>
                </c:pt>
                <c:pt idx="2872">
                  <c:v>-9.4957983193277307E-2</c:v>
                </c:pt>
                <c:pt idx="2873">
                  <c:v>-9.4957983193277307E-2</c:v>
                </c:pt>
                <c:pt idx="2874">
                  <c:v>-9.5798319327731099E-2</c:v>
                </c:pt>
                <c:pt idx="2875">
                  <c:v>-9.5798319327731099E-2</c:v>
                </c:pt>
                <c:pt idx="2876">
                  <c:v>-9.5798319327731099E-2</c:v>
                </c:pt>
                <c:pt idx="2877">
                  <c:v>-9.5798319327731099E-2</c:v>
                </c:pt>
                <c:pt idx="2878">
                  <c:v>-9.5798319327731099E-2</c:v>
                </c:pt>
                <c:pt idx="2879">
                  <c:v>-9.5798319327731099E-2</c:v>
                </c:pt>
                <c:pt idx="2880">
                  <c:v>-9.5798319327731099E-2</c:v>
                </c:pt>
                <c:pt idx="2881">
                  <c:v>-9.5798319327731099E-2</c:v>
                </c:pt>
                <c:pt idx="2882">
                  <c:v>-9.5798319327731099E-2</c:v>
                </c:pt>
                <c:pt idx="2883">
                  <c:v>-9.5798319327731099E-2</c:v>
                </c:pt>
                <c:pt idx="2884">
                  <c:v>-9.5798319327731099E-2</c:v>
                </c:pt>
                <c:pt idx="2885">
                  <c:v>-9.5798319327731099E-2</c:v>
                </c:pt>
                <c:pt idx="2886">
                  <c:v>-9.5798319327731099E-2</c:v>
                </c:pt>
                <c:pt idx="2887">
                  <c:v>-9.5798319327731099E-2</c:v>
                </c:pt>
                <c:pt idx="2888">
                  <c:v>-9.5798319327731099E-2</c:v>
                </c:pt>
                <c:pt idx="2889">
                  <c:v>-9.5798319327731099E-2</c:v>
                </c:pt>
                <c:pt idx="2890">
                  <c:v>-9.6638655462184794E-2</c:v>
                </c:pt>
                <c:pt idx="2891">
                  <c:v>-9.6638655462184794E-2</c:v>
                </c:pt>
                <c:pt idx="2892">
                  <c:v>-9.6638655462184794E-2</c:v>
                </c:pt>
                <c:pt idx="2893">
                  <c:v>-9.6638655462184794E-2</c:v>
                </c:pt>
                <c:pt idx="2894">
                  <c:v>-9.6638655462184794E-2</c:v>
                </c:pt>
                <c:pt idx="2895">
                  <c:v>-9.6638655462184794E-2</c:v>
                </c:pt>
                <c:pt idx="2896">
                  <c:v>-9.6638655462184794E-2</c:v>
                </c:pt>
                <c:pt idx="2897">
                  <c:v>-9.6638655462184794E-2</c:v>
                </c:pt>
                <c:pt idx="2898">
                  <c:v>-9.6638655462184794E-2</c:v>
                </c:pt>
                <c:pt idx="2899">
                  <c:v>-9.6638655462184794E-2</c:v>
                </c:pt>
                <c:pt idx="2900">
                  <c:v>-9.6638655462184794E-2</c:v>
                </c:pt>
                <c:pt idx="2901">
                  <c:v>-9.6638655462184794E-2</c:v>
                </c:pt>
                <c:pt idx="2902">
                  <c:v>-9.6638655462184794E-2</c:v>
                </c:pt>
                <c:pt idx="2903">
                  <c:v>-9.6638655462184794E-2</c:v>
                </c:pt>
                <c:pt idx="2904">
                  <c:v>-9.6638655462184794E-2</c:v>
                </c:pt>
                <c:pt idx="2905">
                  <c:v>-9.6638655462184794E-2</c:v>
                </c:pt>
                <c:pt idx="2906">
                  <c:v>-9.6638655462184794E-2</c:v>
                </c:pt>
                <c:pt idx="2907">
                  <c:v>-9.6638655462184794E-2</c:v>
                </c:pt>
                <c:pt idx="2908">
                  <c:v>-9.6638655462184794E-2</c:v>
                </c:pt>
                <c:pt idx="2909">
                  <c:v>-9.6638655462184794E-2</c:v>
                </c:pt>
                <c:pt idx="2910">
                  <c:v>-9.6638655462184794E-2</c:v>
                </c:pt>
                <c:pt idx="2911">
                  <c:v>-9.5798319327731099E-2</c:v>
                </c:pt>
                <c:pt idx="2912">
                  <c:v>-9.5798319327731099E-2</c:v>
                </c:pt>
                <c:pt idx="2913">
                  <c:v>-9.5798319327731099E-2</c:v>
                </c:pt>
                <c:pt idx="2914">
                  <c:v>-9.5798319327731099E-2</c:v>
                </c:pt>
                <c:pt idx="2915">
                  <c:v>-9.5798319327731099E-2</c:v>
                </c:pt>
                <c:pt idx="2916">
                  <c:v>-9.5798319327731099E-2</c:v>
                </c:pt>
                <c:pt idx="2917">
                  <c:v>-9.5798319327731099E-2</c:v>
                </c:pt>
                <c:pt idx="2918">
                  <c:v>-9.5798319327731099E-2</c:v>
                </c:pt>
                <c:pt idx="2919">
                  <c:v>-9.5798319327731099E-2</c:v>
                </c:pt>
                <c:pt idx="2920">
                  <c:v>-9.5798319327731099E-2</c:v>
                </c:pt>
                <c:pt idx="2921">
                  <c:v>-9.5798319327731099E-2</c:v>
                </c:pt>
                <c:pt idx="2922">
                  <c:v>-9.5798319327731099E-2</c:v>
                </c:pt>
                <c:pt idx="2923">
                  <c:v>-9.5798319327731099E-2</c:v>
                </c:pt>
                <c:pt idx="2924">
                  <c:v>-9.5798319327731099E-2</c:v>
                </c:pt>
                <c:pt idx="2925">
                  <c:v>-9.5798319327731099E-2</c:v>
                </c:pt>
                <c:pt idx="2926">
                  <c:v>-9.5798319327731099E-2</c:v>
                </c:pt>
                <c:pt idx="2927">
                  <c:v>-9.5798319327731099E-2</c:v>
                </c:pt>
                <c:pt idx="2928">
                  <c:v>-9.5798319327731099E-2</c:v>
                </c:pt>
                <c:pt idx="2929">
                  <c:v>-9.5798319327731099E-2</c:v>
                </c:pt>
                <c:pt idx="2930">
                  <c:v>-9.5798319327731099E-2</c:v>
                </c:pt>
                <c:pt idx="2931">
                  <c:v>-9.5798319327731099E-2</c:v>
                </c:pt>
                <c:pt idx="2932">
                  <c:v>-9.5798319327731099E-2</c:v>
                </c:pt>
                <c:pt idx="2933">
                  <c:v>-9.6638655462184794E-2</c:v>
                </c:pt>
                <c:pt idx="2934">
                  <c:v>-9.6638655462184794E-2</c:v>
                </c:pt>
                <c:pt idx="2935">
                  <c:v>-9.6638655462184794E-2</c:v>
                </c:pt>
                <c:pt idx="2936">
                  <c:v>-9.6638655462184794E-2</c:v>
                </c:pt>
                <c:pt idx="2937">
                  <c:v>-9.6638655462184794E-2</c:v>
                </c:pt>
                <c:pt idx="2938">
                  <c:v>-9.6638655462184794E-2</c:v>
                </c:pt>
                <c:pt idx="2939">
                  <c:v>-9.6638655462184794E-2</c:v>
                </c:pt>
                <c:pt idx="2940">
                  <c:v>-9.6638655462184794E-2</c:v>
                </c:pt>
                <c:pt idx="2941">
                  <c:v>-9.6638655462184794E-2</c:v>
                </c:pt>
                <c:pt idx="2942">
                  <c:v>-9.6638655462184794E-2</c:v>
                </c:pt>
                <c:pt idx="2943">
                  <c:v>-9.6638655462184794E-2</c:v>
                </c:pt>
                <c:pt idx="2944">
                  <c:v>-9.6638655462184794E-2</c:v>
                </c:pt>
                <c:pt idx="2945">
                  <c:v>-9.6638655462184794E-2</c:v>
                </c:pt>
                <c:pt idx="2946">
                  <c:v>-9.6638655462184794E-2</c:v>
                </c:pt>
                <c:pt idx="2947">
                  <c:v>-9.6638655462184794E-2</c:v>
                </c:pt>
                <c:pt idx="2948">
                  <c:v>-9.6638655462184794E-2</c:v>
                </c:pt>
                <c:pt idx="2949">
                  <c:v>-9.6638655462184794E-2</c:v>
                </c:pt>
                <c:pt idx="2950">
                  <c:v>-9.6638655462184794E-2</c:v>
                </c:pt>
                <c:pt idx="2951">
                  <c:v>-9.6638655462184794E-2</c:v>
                </c:pt>
                <c:pt idx="2952">
                  <c:v>-9.6638655462184794E-2</c:v>
                </c:pt>
                <c:pt idx="2953">
                  <c:v>-9.6638655462184794E-2</c:v>
                </c:pt>
                <c:pt idx="2954">
                  <c:v>-9.6638655462184794E-2</c:v>
                </c:pt>
                <c:pt idx="2955">
                  <c:v>-9.6638655462184794E-2</c:v>
                </c:pt>
                <c:pt idx="2956">
                  <c:v>-9.6638655462184794E-2</c:v>
                </c:pt>
                <c:pt idx="2957">
                  <c:v>-9.6638655462184794E-2</c:v>
                </c:pt>
                <c:pt idx="2958">
                  <c:v>-9.6638655462184794E-2</c:v>
                </c:pt>
                <c:pt idx="2959">
                  <c:v>-9.6638655462184794E-2</c:v>
                </c:pt>
                <c:pt idx="2960">
                  <c:v>-9.6638655462184794E-2</c:v>
                </c:pt>
                <c:pt idx="2961">
                  <c:v>-9.6638655462184794E-2</c:v>
                </c:pt>
                <c:pt idx="2962">
                  <c:v>-9.6638655462184794E-2</c:v>
                </c:pt>
                <c:pt idx="2963">
                  <c:v>-9.6638655462184794E-2</c:v>
                </c:pt>
                <c:pt idx="2964">
                  <c:v>-9.6638655462184794E-2</c:v>
                </c:pt>
                <c:pt idx="2965">
                  <c:v>-9.6638655462184794E-2</c:v>
                </c:pt>
                <c:pt idx="2966">
                  <c:v>-9.6638655462184794E-2</c:v>
                </c:pt>
                <c:pt idx="2967">
                  <c:v>-9.6638655462184794E-2</c:v>
                </c:pt>
                <c:pt idx="2968">
                  <c:v>-9.6638655462184794E-2</c:v>
                </c:pt>
                <c:pt idx="2969">
                  <c:v>-9.6638655462184794E-2</c:v>
                </c:pt>
                <c:pt idx="2970">
                  <c:v>-9.7478991596638601E-2</c:v>
                </c:pt>
                <c:pt idx="2971">
                  <c:v>-9.7478991596638601E-2</c:v>
                </c:pt>
                <c:pt idx="2972">
                  <c:v>-9.7478991596638601E-2</c:v>
                </c:pt>
                <c:pt idx="2973">
                  <c:v>-9.8319327731092407E-2</c:v>
                </c:pt>
                <c:pt idx="2974">
                  <c:v>-9.8319327731092407E-2</c:v>
                </c:pt>
                <c:pt idx="2975">
                  <c:v>-9.8319327731092407E-2</c:v>
                </c:pt>
                <c:pt idx="2976">
                  <c:v>-9.8319327731092407E-2</c:v>
                </c:pt>
                <c:pt idx="2977">
                  <c:v>-9.8319327731092407E-2</c:v>
                </c:pt>
                <c:pt idx="2978">
                  <c:v>-9.8319327731092407E-2</c:v>
                </c:pt>
                <c:pt idx="2979">
                  <c:v>-9.8319327731092407E-2</c:v>
                </c:pt>
                <c:pt idx="2980">
                  <c:v>-9.8319327731092407E-2</c:v>
                </c:pt>
                <c:pt idx="2981">
                  <c:v>-9.8319327731092407E-2</c:v>
                </c:pt>
                <c:pt idx="2982">
                  <c:v>-9.8319327731092407E-2</c:v>
                </c:pt>
                <c:pt idx="2983">
                  <c:v>-9.8319327731092407E-2</c:v>
                </c:pt>
                <c:pt idx="2984">
                  <c:v>-9.8319327731092407E-2</c:v>
                </c:pt>
                <c:pt idx="2985">
                  <c:v>-9.8319327731092407E-2</c:v>
                </c:pt>
                <c:pt idx="2986">
                  <c:v>-9.8319327731092407E-2</c:v>
                </c:pt>
                <c:pt idx="2987">
                  <c:v>-9.8319327731092407E-2</c:v>
                </c:pt>
                <c:pt idx="2988">
                  <c:v>-9.9159663865546199E-2</c:v>
                </c:pt>
                <c:pt idx="2989">
                  <c:v>-9.9159663865546199E-2</c:v>
                </c:pt>
                <c:pt idx="2990">
                  <c:v>-9.9159663865546199E-2</c:v>
                </c:pt>
                <c:pt idx="2991">
                  <c:v>-9.9159663865546199E-2</c:v>
                </c:pt>
                <c:pt idx="2992">
                  <c:v>-9.9159663865546199E-2</c:v>
                </c:pt>
                <c:pt idx="2993">
                  <c:v>-9.9159663865546199E-2</c:v>
                </c:pt>
                <c:pt idx="2994">
                  <c:v>-9.9159663865546199E-2</c:v>
                </c:pt>
                <c:pt idx="2995">
                  <c:v>-9.9159663865546199E-2</c:v>
                </c:pt>
                <c:pt idx="2996">
                  <c:v>-9.9159663865546199E-2</c:v>
                </c:pt>
                <c:pt idx="2997">
                  <c:v>-9.9159663865546199E-2</c:v>
                </c:pt>
                <c:pt idx="2998">
                  <c:v>-9.9159663865546199E-2</c:v>
                </c:pt>
                <c:pt idx="2999">
                  <c:v>-9.9159663865546199E-2</c:v>
                </c:pt>
                <c:pt idx="3000">
                  <c:v>-9.9159663865546199E-2</c:v>
                </c:pt>
                <c:pt idx="3001">
                  <c:v>-9.9159663865546199E-2</c:v>
                </c:pt>
                <c:pt idx="3002">
                  <c:v>-9.9159663865546199E-2</c:v>
                </c:pt>
                <c:pt idx="3003">
                  <c:v>-9.9159663865546199E-2</c:v>
                </c:pt>
                <c:pt idx="3004">
                  <c:v>-9.9159663865546199E-2</c:v>
                </c:pt>
                <c:pt idx="3005">
                  <c:v>-9.9159663865546199E-2</c:v>
                </c:pt>
                <c:pt idx="3006">
                  <c:v>-9.9159663865546199E-2</c:v>
                </c:pt>
                <c:pt idx="3007">
                  <c:v>-9.9159663865546199E-2</c:v>
                </c:pt>
                <c:pt idx="3008">
                  <c:v>-9.9159663865546199E-2</c:v>
                </c:pt>
                <c:pt idx="3009">
                  <c:v>-9.9159663865546199E-2</c:v>
                </c:pt>
                <c:pt idx="3010">
                  <c:v>-9.9999999999999895E-2</c:v>
                </c:pt>
                <c:pt idx="3011">
                  <c:v>-9.9159663865546199E-2</c:v>
                </c:pt>
                <c:pt idx="3012">
                  <c:v>-9.9159663865546199E-2</c:v>
                </c:pt>
                <c:pt idx="3013">
                  <c:v>-9.9159663865546199E-2</c:v>
                </c:pt>
                <c:pt idx="3014">
                  <c:v>-9.9159663865546199E-2</c:v>
                </c:pt>
                <c:pt idx="3015">
                  <c:v>-9.9159663865546199E-2</c:v>
                </c:pt>
                <c:pt idx="3016">
                  <c:v>-9.9159663865546199E-2</c:v>
                </c:pt>
                <c:pt idx="3017">
                  <c:v>-9.9159663865546199E-2</c:v>
                </c:pt>
                <c:pt idx="3018">
                  <c:v>-9.9159663865546199E-2</c:v>
                </c:pt>
                <c:pt idx="3019">
                  <c:v>-9.9159663865546199E-2</c:v>
                </c:pt>
                <c:pt idx="3020">
                  <c:v>-9.9159663865546199E-2</c:v>
                </c:pt>
                <c:pt idx="3021">
                  <c:v>-9.8319327731092407E-2</c:v>
                </c:pt>
                <c:pt idx="3022">
                  <c:v>-9.8319327731092407E-2</c:v>
                </c:pt>
                <c:pt idx="3023">
                  <c:v>-9.8319327731092407E-2</c:v>
                </c:pt>
                <c:pt idx="3024">
                  <c:v>-9.8319327731092407E-2</c:v>
                </c:pt>
                <c:pt idx="3025">
                  <c:v>-9.8319327731092407E-2</c:v>
                </c:pt>
                <c:pt idx="3026">
                  <c:v>-9.8319327731092407E-2</c:v>
                </c:pt>
                <c:pt idx="3027">
                  <c:v>-9.8319327731092407E-2</c:v>
                </c:pt>
                <c:pt idx="3028">
                  <c:v>-9.8319327731092407E-2</c:v>
                </c:pt>
                <c:pt idx="3029">
                  <c:v>-9.8319327731092407E-2</c:v>
                </c:pt>
                <c:pt idx="3030">
                  <c:v>-9.8319327731092407E-2</c:v>
                </c:pt>
                <c:pt idx="3031">
                  <c:v>-9.8319327731092407E-2</c:v>
                </c:pt>
                <c:pt idx="3032">
                  <c:v>-9.8319327731092407E-2</c:v>
                </c:pt>
                <c:pt idx="3033">
                  <c:v>-9.8319327731092407E-2</c:v>
                </c:pt>
                <c:pt idx="3034">
                  <c:v>-9.8319327731092407E-2</c:v>
                </c:pt>
                <c:pt idx="3035">
                  <c:v>-9.8319327731092407E-2</c:v>
                </c:pt>
                <c:pt idx="3036">
                  <c:v>-9.8319327731092407E-2</c:v>
                </c:pt>
                <c:pt idx="3037">
                  <c:v>-9.8319327731092407E-2</c:v>
                </c:pt>
                <c:pt idx="3038">
                  <c:v>-9.8319327731092407E-2</c:v>
                </c:pt>
                <c:pt idx="3039">
                  <c:v>-9.8319327731092407E-2</c:v>
                </c:pt>
                <c:pt idx="3040">
                  <c:v>-9.8319327731092407E-2</c:v>
                </c:pt>
                <c:pt idx="3041">
                  <c:v>-9.8319327731092407E-2</c:v>
                </c:pt>
                <c:pt idx="3042">
                  <c:v>-9.8319327731092407E-2</c:v>
                </c:pt>
                <c:pt idx="3043">
                  <c:v>-9.7478991596638601E-2</c:v>
                </c:pt>
                <c:pt idx="3044">
                  <c:v>-9.7478991596638601E-2</c:v>
                </c:pt>
                <c:pt idx="3045">
                  <c:v>-9.7478991596638601E-2</c:v>
                </c:pt>
                <c:pt idx="3046">
                  <c:v>-9.7478991596638601E-2</c:v>
                </c:pt>
                <c:pt idx="3047">
                  <c:v>-9.7478991596638601E-2</c:v>
                </c:pt>
                <c:pt idx="3048">
                  <c:v>-9.8319327731092407E-2</c:v>
                </c:pt>
                <c:pt idx="3049">
                  <c:v>-9.8319327731092407E-2</c:v>
                </c:pt>
                <c:pt idx="3050">
                  <c:v>-9.8319327731092407E-2</c:v>
                </c:pt>
                <c:pt idx="3051">
                  <c:v>-9.8319327731092407E-2</c:v>
                </c:pt>
                <c:pt idx="3052">
                  <c:v>-9.8319327731092407E-2</c:v>
                </c:pt>
                <c:pt idx="3053">
                  <c:v>-9.8319327731092407E-2</c:v>
                </c:pt>
                <c:pt idx="3054">
                  <c:v>-9.8319327731092407E-2</c:v>
                </c:pt>
                <c:pt idx="3055">
                  <c:v>-9.8319327731092407E-2</c:v>
                </c:pt>
                <c:pt idx="3056">
                  <c:v>-9.8319327731092407E-2</c:v>
                </c:pt>
                <c:pt idx="3057">
                  <c:v>-9.8319327731092407E-2</c:v>
                </c:pt>
                <c:pt idx="3058">
                  <c:v>-9.9159663865546199E-2</c:v>
                </c:pt>
                <c:pt idx="3059">
                  <c:v>-9.9159663865546199E-2</c:v>
                </c:pt>
                <c:pt idx="3060">
                  <c:v>-9.9159663865546199E-2</c:v>
                </c:pt>
                <c:pt idx="3061">
                  <c:v>-0.1</c:v>
                </c:pt>
                <c:pt idx="3062">
                  <c:v>-0.1</c:v>
                </c:pt>
                <c:pt idx="3063">
                  <c:v>-0.1</c:v>
                </c:pt>
                <c:pt idx="3064">
                  <c:v>-0.1</c:v>
                </c:pt>
                <c:pt idx="3065">
                  <c:v>-0.1</c:v>
                </c:pt>
                <c:pt idx="3066">
                  <c:v>-0.1</c:v>
                </c:pt>
                <c:pt idx="3067">
                  <c:v>-0.1</c:v>
                </c:pt>
                <c:pt idx="3068">
                  <c:v>-0.1</c:v>
                </c:pt>
                <c:pt idx="3069">
                  <c:v>-0.1</c:v>
                </c:pt>
                <c:pt idx="3070">
                  <c:v>-0.1</c:v>
                </c:pt>
                <c:pt idx="3071">
                  <c:v>-0.1</c:v>
                </c:pt>
                <c:pt idx="3072">
                  <c:v>-0.1</c:v>
                </c:pt>
                <c:pt idx="3073">
                  <c:v>-0.1</c:v>
                </c:pt>
                <c:pt idx="3074">
                  <c:v>-9.9159663865546199E-2</c:v>
                </c:pt>
                <c:pt idx="3075">
                  <c:v>-9.9159663865546199E-2</c:v>
                </c:pt>
                <c:pt idx="3076">
                  <c:v>-9.9159663865546199E-2</c:v>
                </c:pt>
                <c:pt idx="3077">
                  <c:v>-9.9159663865546199E-2</c:v>
                </c:pt>
                <c:pt idx="3078">
                  <c:v>-9.9159663865546199E-2</c:v>
                </c:pt>
                <c:pt idx="3079">
                  <c:v>-9.9159663865546199E-2</c:v>
                </c:pt>
                <c:pt idx="3080">
                  <c:v>-9.9159663865546199E-2</c:v>
                </c:pt>
                <c:pt idx="3081">
                  <c:v>-9.9159663865546199E-2</c:v>
                </c:pt>
                <c:pt idx="3082">
                  <c:v>-9.9159663865546199E-2</c:v>
                </c:pt>
                <c:pt idx="3083">
                  <c:v>-9.8319327731092407E-2</c:v>
                </c:pt>
                <c:pt idx="3084">
                  <c:v>-9.8319327731092407E-2</c:v>
                </c:pt>
                <c:pt idx="3085">
                  <c:v>-9.8319327731092407E-2</c:v>
                </c:pt>
                <c:pt idx="3086">
                  <c:v>-9.8319327731092407E-2</c:v>
                </c:pt>
                <c:pt idx="3087">
                  <c:v>-9.8319327731092407E-2</c:v>
                </c:pt>
                <c:pt idx="3088">
                  <c:v>-9.8319327731092407E-2</c:v>
                </c:pt>
                <c:pt idx="3089">
                  <c:v>-9.8319327731092407E-2</c:v>
                </c:pt>
                <c:pt idx="3090">
                  <c:v>-9.8319327731092407E-2</c:v>
                </c:pt>
                <c:pt idx="3091">
                  <c:v>-9.8319327731092407E-2</c:v>
                </c:pt>
                <c:pt idx="3092">
                  <c:v>-9.8319327731092407E-2</c:v>
                </c:pt>
                <c:pt idx="3093">
                  <c:v>-9.8319327731092407E-2</c:v>
                </c:pt>
                <c:pt idx="3094">
                  <c:v>-9.8319327731092407E-2</c:v>
                </c:pt>
                <c:pt idx="3095">
                  <c:v>-9.8319327731092407E-2</c:v>
                </c:pt>
                <c:pt idx="3096">
                  <c:v>-9.8319327731092407E-2</c:v>
                </c:pt>
                <c:pt idx="3097">
                  <c:v>-9.8319327731092407E-2</c:v>
                </c:pt>
                <c:pt idx="3098">
                  <c:v>-9.8319327731092407E-2</c:v>
                </c:pt>
                <c:pt idx="3099">
                  <c:v>-9.8319327731092407E-2</c:v>
                </c:pt>
                <c:pt idx="3100">
                  <c:v>-9.8319327731092407E-2</c:v>
                </c:pt>
                <c:pt idx="3101">
                  <c:v>-9.8319327731092407E-2</c:v>
                </c:pt>
                <c:pt idx="3102">
                  <c:v>-9.8319327731092407E-2</c:v>
                </c:pt>
                <c:pt idx="3103">
                  <c:v>-9.9159663865546199E-2</c:v>
                </c:pt>
                <c:pt idx="3104">
                  <c:v>-9.9159663865546199E-2</c:v>
                </c:pt>
                <c:pt idx="3105">
                  <c:v>-0.1</c:v>
                </c:pt>
                <c:pt idx="3106">
                  <c:v>-0.1</c:v>
                </c:pt>
                <c:pt idx="3107">
                  <c:v>-0.1</c:v>
                </c:pt>
                <c:pt idx="3108">
                  <c:v>-0.1</c:v>
                </c:pt>
                <c:pt idx="3109">
                  <c:v>-0.1</c:v>
                </c:pt>
                <c:pt idx="3110">
                  <c:v>-0.1</c:v>
                </c:pt>
                <c:pt idx="3111">
                  <c:v>-0.1</c:v>
                </c:pt>
                <c:pt idx="3112">
                  <c:v>-0.1</c:v>
                </c:pt>
                <c:pt idx="3113">
                  <c:v>-0.1</c:v>
                </c:pt>
                <c:pt idx="3114">
                  <c:v>-0.10084033613445301</c:v>
                </c:pt>
                <c:pt idx="3115">
                  <c:v>-0.10084033613445301</c:v>
                </c:pt>
                <c:pt idx="3116">
                  <c:v>-0.10084033613445301</c:v>
                </c:pt>
                <c:pt idx="3117">
                  <c:v>-0.10084033613445301</c:v>
                </c:pt>
                <c:pt idx="3118">
                  <c:v>-0.10084033613445301</c:v>
                </c:pt>
                <c:pt idx="3119">
                  <c:v>-0.10084033613445301</c:v>
                </c:pt>
                <c:pt idx="3120">
                  <c:v>-0.10084033613445301</c:v>
                </c:pt>
                <c:pt idx="3121">
                  <c:v>-0.10084033613445301</c:v>
                </c:pt>
                <c:pt idx="3122">
                  <c:v>-0.10084033613445301</c:v>
                </c:pt>
                <c:pt idx="3123">
                  <c:v>-0.10168067226890699</c:v>
                </c:pt>
                <c:pt idx="3124">
                  <c:v>-0.10168067226890699</c:v>
                </c:pt>
                <c:pt idx="3125">
                  <c:v>-0.10168067226890699</c:v>
                </c:pt>
                <c:pt idx="3126">
                  <c:v>-0.10168067226890699</c:v>
                </c:pt>
                <c:pt idx="3127">
                  <c:v>-0.10168067226890699</c:v>
                </c:pt>
                <c:pt idx="3128">
                  <c:v>-0.10168067226890699</c:v>
                </c:pt>
                <c:pt idx="3129">
                  <c:v>-0.10168067226890699</c:v>
                </c:pt>
                <c:pt idx="3130">
                  <c:v>-0.10168067226890699</c:v>
                </c:pt>
                <c:pt idx="3131">
                  <c:v>-0.10168067226890699</c:v>
                </c:pt>
                <c:pt idx="3132">
                  <c:v>-0.10168067226890699</c:v>
                </c:pt>
                <c:pt idx="3133">
                  <c:v>-0.10168067226890699</c:v>
                </c:pt>
                <c:pt idx="3134">
                  <c:v>-0.10168067226890699</c:v>
                </c:pt>
                <c:pt idx="3135">
                  <c:v>-0.10168067226890699</c:v>
                </c:pt>
                <c:pt idx="3136">
                  <c:v>-0.10168067226890699</c:v>
                </c:pt>
                <c:pt idx="3137">
                  <c:v>-0.10168067226890699</c:v>
                </c:pt>
                <c:pt idx="3138">
                  <c:v>-0.10168067226890699</c:v>
                </c:pt>
                <c:pt idx="3139">
                  <c:v>-0.10168067226890699</c:v>
                </c:pt>
                <c:pt idx="3140">
                  <c:v>-0.10168067226890699</c:v>
                </c:pt>
                <c:pt idx="3141">
                  <c:v>-0.10168067226890699</c:v>
                </c:pt>
                <c:pt idx="3142">
                  <c:v>-0.10168067226890699</c:v>
                </c:pt>
                <c:pt idx="3143">
                  <c:v>-0.10168067226890699</c:v>
                </c:pt>
                <c:pt idx="3144">
                  <c:v>-0.10168067226890699</c:v>
                </c:pt>
                <c:pt idx="3145">
                  <c:v>-0.10168067226890699</c:v>
                </c:pt>
                <c:pt idx="3146">
                  <c:v>-0.10168067226890699</c:v>
                </c:pt>
                <c:pt idx="3147">
                  <c:v>-0.10168067226890699</c:v>
                </c:pt>
                <c:pt idx="3148">
                  <c:v>-0.10168067226890699</c:v>
                </c:pt>
                <c:pt idx="3149">
                  <c:v>-0.10084033613445301</c:v>
                </c:pt>
                <c:pt idx="3150">
                  <c:v>-0.10084033613445301</c:v>
                </c:pt>
                <c:pt idx="3151">
                  <c:v>-0.10084033613445301</c:v>
                </c:pt>
                <c:pt idx="3152">
                  <c:v>-0.10168067226890699</c:v>
                </c:pt>
                <c:pt idx="3153">
                  <c:v>-0.10168067226890699</c:v>
                </c:pt>
                <c:pt idx="3154">
                  <c:v>-0.10168067226890699</c:v>
                </c:pt>
                <c:pt idx="3155">
                  <c:v>-0.10168067226890699</c:v>
                </c:pt>
                <c:pt idx="3156">
                  <c:v>-0.10168067226890699</c:v>
                </c:pt>
                <c:pt idx="3157">
                  <c:v>-0.10168067226890699</c:v>
                </c:pt>
                <c:pt idx="3158">
                  <c:v>-0.10168067226890699</c:v>
                </c:pt>
                <c:pt idx="3159">
                  <c:v>-0.10168067226890699</c:v>
                </c:pt>
                <c:pt idx="3160">
                  <c:v>-0.10168067226890699</c:v>
                </c:pt>
                <c:pt idx="3161">
                  <c:v>-0.10168067226890699</c:v>
                </c:pt>
                <c:pt idx="3162">
                  <c:v>-0.10168067226890699</c:v>
                </c:pt>
                <c:pt idx="3163">
                  <c:v>-0.10168067226890699</c:v>
                </c:pt>
                <c:pt idx="3164">
                  <c:v>-0.10168067226890699</c:v>
                </c:pt>
                <c:pt idx="3165">
                  <c:v>-0.10084033613445301</c:v>
                </c:pt>
                <c:pt idx="3166">
                  <c:v>-0.10084033613445301</c:v>
                </c:pt>
                <c:pt idx="3167">
                  <c:v>-0.10084033613445301</c:v>
                </c:pt>
                <c:pt idx="3168">
                  <c:v>-0.10084033613445301</c:v>
                </c:pt>
                <c:pt idx="3169">
                  <c:v>-0.10084033613445301</c:v>
                </c:pt>
                <c:pt idx="3170">
                  <c:v>-0.10084033613445301</c:v>
                </c:pt>
                <c:pt idx="3171">
                  <c:v>-0.10084033613445301</c:v>
                </c:pt>
                <c:pt idx="3172">
                  <c:v>-0.10084033613445301</c:v>
                </c:pt>
                <c:pt idx="3173">
                  <c:v>-0.10168067226890699</c:v>
                </c:pt>
                <c:pt idx="3174">
                  <c:v>-0.10168067226890699</c:v>
                </c:pt>
                <c:pt idx="3175">
                  <c:v>-0.10168067226890699</c:v>
                </c:pt>
                <c:pt idx="3176">
                  <c:v>-0.10168067226890699</c:v>
                </c:pt>
                <c:pt idx="3177">
                  <c:v>-0.10168067226890699</c:v>
                </c:pt>
                <c:pt idx="3178">
                  <c:v>-0.10168067226890699</c:v>
                </c:pt>
                <c:pt idx="3179">
                  <c:v>-0.10168067226890699</c:v>
                </c:pt>
                <c:pt idx="3180">
                  <c:v>-0.10252100840336099</c:v>
                </c:pt>
                <c:pt idx="3181">
                  <c:v>-0.10252100840336099</c:v>
                </c:pt>
                <c:pt idx="3182">
                  <c:v>-0.10252100840336099</c:v>
                </c:pt>
                <c:pt idx="3183">
                  <c:v>-0.10168067226890699</c:v>
                </c:pt>
                <c:pt idx="3184">
                  <c:v>-0.10168067226890699</c:v>
                </c:pt>
                <c:pt idx="3185">
                  <c:v>-0.10168067226890699</c:v>
                </c:pt>
                <c:pt idx="3186">
                  <c:v>-0.10084033613445301</c:v>
                </c:pt>
                <c:pt idx="3187">
                  <c:v>-0.10084033613445301</c:v>
                </c:pt>
                <c:pt idx="3188">
                  <c:v>-0.10084033613445301</c:v>
                </c:pt>
                <c:pt idx="3189">
                  <c:v>-0.10084033613445301</c:v>
                </c:pt>
                <c:pt idx="3190">
                  <c:v>-0.10084033613445301</c:v>
                </c:pt>
                <c:pt idx="3191">
                  <c:v>-0.10084033613445301</c:v>
                </c:pt>
                <c:pt idx="3192">
                  <c:v>-0.10084033613445301</c:v>
                </c:pt>
                <c:pt idx="3193">
                  <c:v>-0.10084033613445301</c:v>
                </c:pt>
                <c:pt idx="3194">
                  <c:v>-0.10084033613445301</c:v>
                </c:pt>
                <c:pt idx="3195">
                  <c:v>-0.10084033613445301</c:v>
                </c:pt>
                <c:pt idx="3196">
                  <c:v>-0.10084033613445301</c:v>
                </c:pt>
                <c:pt idx="3197">
                  <c:v>-0.10084033613445301</c:v>
                </c:pt>
                <c:pt idx="3198">
                  <c:v>-0.10084033613445301</c:v>
                </c:pt>
                <c:pt idx="3199">
                  <c:v>-0.10168067226890699</c:v>
                </c:pt>
                <c:pt idx="3200">
                  <c:v>-0.10168067226890699</c:v>
                </c:pt>
                <c:pt idx="3201">
                  <c:v>-0.10168067226890699</c:v>
                </c:pt>
                <c:pt idx="3202">
                  <c:v>-0.10168067226890699</c:v>
                </c:pt>
                <c:pt idx="3203">
                  <c:v>-0.10168067226890699</c:v>
                </c:pt>
                <c:pt idx="3204">
                  <c:v>-0.10168067226890699</c:v>
                </c:pt>
                <c:pt idx="3205">
                  <c:v>-0.10168067226890699</c:v>
                </c:pt>
                <c:pt idx="3206">
                  <c:v>-0.10168067226890699</c:v>
                </c:pt>
                <c:pt idx="3207">
                  <c:v>-0.10168067226890699</c:v>
                </c:pt>
                <c:pt idx="3208">
                  <c:v>-0.10168067226890699</c:v>
                </c:pt>
                <c:pt idx="3209">
                  <c:v>-0.10168067226890699</c:v>
                </c:pt>
                <c:pt idx="3210">
                  <c:v>-0.10084033613445301</c:v>
                </c:pt>
                <c:pt idx="3211">
                  <c:v>-0.10084033613445301</c:v>
                </c:pt>
                <c:pt idx="3212">
                  <c:v>-0.10084033613445301</c:v>
                </c:pt>
                <c:pt idx="3213">
                  <c:v>-0.10084033613445301</c:v>
                </c:pt>
                <c:pt idx="3214">
                  <c:v>-0.10084033613445301</c:v>
                </c:pt>
                <c:pt idx="3215">
                  <c:v>-0.10084033613445301</c:v>
                </c:pt>
                <c:pt idx="3216">
                  <c:v>-0.10084033613445301</c:v>
                </c:pt>
                <c:pt idx="3217">
                  <c:v>-0.10084033613445301</c:v>
                </c:pt>
                <c:pt idx="3218">
                  <c:v>-0.10168067226890699</c:v>
                </c:pt>
                <c:pt idx="3219">
                  <c:v>-0.10168067226890699</c:v>
                </c:pt>
                <c:pt idx="3220">
                  <c:v>-0.10168067226890699</c:v>
                </c:pt>
                <c:pt idx="3221">
                  <c:v>-0.10168067226890699</c:v>
                </c:pt>
                <c:pt idx="3222">
                  <c:v>-0.10168067226890699</c:v>
                </c:pt>
                <c:pt idx="3223">
                  <c:v>-0.10168067226890699</c:v>
                </c:pt>
                <c:pt idx="3224">
                  <c:v>-0.10168067226890699</c:v>
                </c:pt>
                <c:pt idx="3225">
                  <c:v>-0.10168067226890699</c:v>
                </c:pt>
                <c:pt idx="3226">
                  <c:v>-0.10168067226890699</c:v>
                </c:pt>
                <c:pt idx="3227">
                  <c:v>-0.10168067226890699</c:v>
                </c:pt>
                <c:pt idx="3228">
                  <c:v>-0.10168067226890699</c:v>
                </c:pt>
                <c:pt idx="3229">
                  <c:v>-0.10168067226890699</c:v>
                </c:pt>
                <c:pt idx="3230">
                  <c:v>-0.10168067226890699</c:v>
                </c:pt>
                <c:pt idx="3231">
                  <c:v>-0.10168067226890699</c:v>
                </c:pt>
                <c:pt idx="3232">
                  <c:v>-0.10168067226890699</c:v>
                </c:pt>
                <c:pt idx="3233">
                  <c:v>-0.10168067226890699</c:v>
                </c:pt>
                <c:pt idx="3234">
                  <c:v>-0.10168067226890699</c:v>
                </c:pt>
                <c:pt idx="3235">
                  <c:v>-0.10168067226890699</c:v>
                </c:pt>
                <c:pt idx="3236">
                  <c:v>-0.10168067226890699</c:v>
                </c:pt>
                <c:pt idx="3237">
                  <c:v>-0.10168067226890699</c:v>
                </c:pt>
                <c:pt idx="3238">
                  <c:v>-0.10168067226890699</c:v>
                </c:pt>
                <c:pt idx="3239">
                  <c:v>-0.10168067226890699</c:v>
                </c:pt>
                <c:pt idx="3240">
                  <c:v>-0.10168067226890699</c:v>
                </c:pt>
                <c:pt idx="3241">
                  <c:v>-0.10168067226890699</c:v>
                </c:pt>
                <c:pt idx="3242">
                  <c:v>-0.10168067226890699</c:v>
                </c:pt>
                <c:pt idx="3243">
                  <c:v>-0.10168067226890699</c:v>
                </c:pt>
                <c:pt idx="3244">
                  <c:v>-0.10168067226890699</c:v>
                </c:pt>
                <c:pt idx="3245">
                  <c:v>-0.10168067226890699</c:v>
                </c:pt>
                <c:pt idx="3246">
                  <c:v>-0.10168067226890699</c:v>
                </c:pt>
                <c:pt idx="3247">
                  <c:v>-0.10168067226890699</c:v>
                </c:pt>
                <c:pt idx="3248">
                  <c:v>-0.10168067226890699</c:v>
                </c:pt>
                <c:pt idx="3249">
                  <c:v>-0.10168067226890699</c:v>
                </c:pt>
                <c:pt idx="3250">
                  <c:v>-0.10168067226890699</c:v>
                </c:pt>
                <c:pt idx="3251">
                  <c:v>-0.10168067226890699</c:v>
                </c:pt>
                <c:pt idx="3252">
                  <c:v>-0.10168067226890699</c:v>
                </c:pt>
                <c:pt idx="3253">
                  <c:v>-0.10168067226890699</c:v>
                </c:pt>
                <c:pt idx="3254">
                  <c:v>-0.10168067226890699</c:v>
                </c:pt>
                <c:pt idx="3255">
                  <c:v>-0.10168067226890699</c:v>
                </c:pt>
                <c:pt idx="3256">
                  <c:v>-0.10168067226890699</c:v>
                </c:pt>
                <c:pt idx="3257">
                  <c:v>-0.10168067226890699</c:v>
                </c:pt>
                <c:pt idx="3258">
                  <c:v>-0.10168067226890699</c:v>
                </c:pt>
                <c:pt idx="3259">
                  <c:v>-0.10168067226890699</c:v>
                </c:pt>
                <c:pt idx="3260">
                  <c:v>-0.10168067226890699</c:v>
                </c:pt>
                <c:pt idx="3261">
                  <c:v>-0.10168067226890699</c:v>
                </c:pt>
                <c:pt idx="3262">
                  <c:v>-0.10168067226890699</c:v>
                </c:pt>
                <c:pt idx="3263">
                  <c:v>-0.10168067226890699</c:v>
                </c:pt>
                <c:pt idx="3264">
                  <c:v>-0.10168067226890699</c:v>
                </c:pt>
                <c:pt idx="3265">
                  <c:v>-0.10168067226890699</c:v>
                </c:pt>
                <c:pt idx="3266">
                  <c:v>-0.10252100840336099</c:v>
                </c:pt>
                <c:pt idx="3267">
                  <c:v>-0.10252100840336099</c:v>
                </c:pt>
                <c:pt idx="3268">
                  <c:v>-0.10252100840336099</c:v>
                </c:pt>
                <c:pt idx="3269">
                  <c:v>-0.10252100840336099</c:v>
                </c:pt>
                <c:pt idx="3270">
                  <c:v>-0.10252100840336099</c:v>
                </c:pt>
                <c:pt idx="3271">
                  <c:v>-0.10252100840336099</c:v>
                </c:pt>
                <c:pt idx="3272">
                  <c:v>-0.10252100840336099</c:v>
                </c:pt>
                <c:pt idx="3273">
                  <c:v>-0.10252100840336099</c:v>
                </c:pt>
                <c:pt idx="3274">
                  <c:v>-0.10252100840336099</c:v>
                </c:pt>
                <c:pt idx="3275">
                  <c:v>-0.10252100840336099</c:v>
                </c:pt>
                <c:pt idx="3276">
                  <c:v>-0.10252100840336099</c:v>
                </c:pt>
                <c:pt idx="3277">
                  <c:v>-0.10252100840336099</c:v>
                </c:pt>
                <c:pt idx="3278">
                  <c:v>-0.10252100840336099</c:v>
                </c:pt>
                <c:pt idx="3279">
                  <c:v>-0.10252100840336099</c:v>
                </c:pt>
                <c:pt idx="3280">
                  <c:v>-0.10252100840336099</c:v>
                </c:pt>
                <c:pt idx="3281">
                  <c:v>-0.10252100840336099</c:v>
                </c:pt>
                <c:pt idx="3282">
                  <c:v>-0.10252100840336099</c:v>
                </c:pt>
                <c:pt idx="3283">
                  <c:v>-0.10252100840336099</c:v>
                </c:pt>
                <c:pt idx="3284">
                  <c:v>-0.10252100840336099</c:v>
                </c:pt>
                <c:pt idx="3285">
                  <c:v>-0.10252100840336099</c:v>
                </c:pt>
                <c:pt idx="3286">
                  <c:v>-0.10252100840336099</c:v>
                </c:pt>
                <c:pt idx="3287">
                  <c:v>-0.10252100840336099</c:v>
                </c:pt>
                <c:pt idx="3288">
                  <c:v>-0.10252100840336099</c:v>
                </c:pt>
                <c:pt idx="3289">
                  <c:v>-0.10252100840336099</c:v>
                </c:pt>
                <c:pt idx="3290">
                  <c:v>-0.10252100840336099</c:v>
                </c:pt>
                <c:pt idx="3291">
                  <c:v>-0.10252100840336099</c:v>
                </c:pt>
                <c:pt idx="3292">
                  <c:v>-0.10252100840336099</c:v>
                </c:pt>
                <c:pt idx="3293">
                  <c:v>-0.10252100840336099</c:v>
                </c:pt>
                <c:pt idx="3294">
                  <c:v>-0.10252100840336099</c:v>
                </c:pt>
                <c:pt idx="3295">
                  <c:v>-0.10252100840336099</c:v>
                </c:pt>
                <c:pt idx="3296">
                  <c:v>-0.10252100840336099</c:v>
                </c:pt>
                <c:pt idx="3297">
                  <c:v>-0.10252100840336099</c:v>
                </c:pt>
                <c:pt idx="3298">
                  <c:v>-0.10252100840336099</c:v>
                </c:pt>
                <c:pt idx="3299">
                  <c:v>-0.10252100840336099</c:v>
                </c:pt>
                <c:pt idx="3300">
                  <c:v>-0.10252100840336099</c:v>
                </c:pt>
                <c:pt idx="3301">
                  <c:v>-0.10252100840336099</c:v>
                </c:pt>
                <c:pt idx="3302">
                  <c:v>-0.10252100840336099</c:v>
                </c:pt>
                <c:pt idx="3303">
                  <c:v>-0.10252100840336099</c:v>
                </c:pt>
                <c:pt idx="3304">
                  <c:v>-0.10252100840336099</c:v>
                </c:pt>
                <c:pt idx="3305">
                  <c:v>-0.10252100840336099</c:v>
                </c:pt>
                <c:pt idx="3306">
                  <c:v>-0.10252100840336099</c:v>
                </c:pt>
                <c:pt idx="3307">
                  <c:v>-0.10252100840336099</c:v>
                </c:pt>
                <c:pt idx="3308">
                  <c:v>-0.10252100840336099</c:v>
                </c:pt>
                <c:pt idx="3309">
                  <c:v>-0.10252100840336099</c:v>
                </c:pt>
                <c:pt idx="3310">
                  <c:v>-0.10252100840336099</c:v>
                </c:pt>
                <c:pt idx="3311">
                  <c:v>-0.10252100840336099</c:v>
                </c:pt>
                <c:pt idx="3312">
                  <c:v>-0.10252100840336099</c:v>
                </c:pt>
                <c:pt idx="3313">
                  <c:v>-0.10252100840336099</c:v>
                </c:pt>
                <c:pt idx="3314">
                  <c:v>-0.10252100840336099</c:v>
                </c:pt>
                <c:pt idx="3315">
                  <c:v>-0.10252100840336099</c:v>
                </c:pt>
                <c:pt idx="3316">
                  <c:v>-0.10252100840336099</c:v>
                </c:pt>
                <c:pt idx="3317">
                  <c:v>-0.10252100840336099</c:v>
                </c:pt>
                <c:pt idx="3318">
                  <c:v>-0.10252100840336099</c:v>
                </c:pt>
                <c:pt idx="3319">
                  <c:v>-0.10252100840336099</c:v>
                </c:pt>
                <c:pt idx="3320">
                  <c:v>-0.10252100840336099</c:v>
                </c:pt>
                <c:pt idx="3321">
                  <c:v>-0.10252100840336099</c:v>
                </c:pt>
                <c:pt idx="3322">
                  <c:v>-0.10252100840336099</c:v>
                </c:pt>
                <c:pt idx="3323">
                  <c:v>-0.10168067226890699</c:v>
                </c:pt>
                <c:pt idx="3324">
                  <c:v>-0.10168067226890699</c:v>
                </c:pt>
                <c:pt idx="3325">
                  <c:v>-0.10168067226890699</c:v>
                </c:pt>
                <c:pt idx="3326">
                  <c:v>-0.10168067226890699</c:v>
                </c:pt>
                <c:pt idx="3327">
                  <c:v>-0.10168067226890699</c:v>
                </c:pt>
                <c:pt idx="3328">
                  <c:v>-0.10168067226890699</c:v>
                </c:pt>
                <c:pt idx="3329">
                  <c:v>-0.10168067226890699</c:v>
                </c:pt>
                <c:pt idx="3330">
                  <c:v>-0.10168067226890699</c:v>
                </c:pt>
                <c:pt idx="3331">
                  <c:v>-0.10168067226890699</c:v>
                </c:pt>
                <c:pt idx="3332">
                  <c:v>-0.10168067226890699</c:v>
                </c:pt>
                <c:pt idx="3333">
                  <c:v>-0.10168067226890699</c:v>
                </c:pt>
                <c:pt idx="3334">
                  <c:v>-0.10168067226890699</c:v>
                </c:pt>
                <c:pt idx="3335">
                  <c:v>-0.10168067226890699</c:v>
                </c:pt>
                <c:pt idx="3336">
                  <c:v>-0.10168067226890699</c:v>
                </c:pt>
                <c:pt idx="3337">
                  <c:v>-0.10168067226890699</c:v>
                </c:pt>
                <c:pt idx="3338">
                  <c:v>-0.10168067226890699</c:v>
                </c:pt>
                <c:pt idx="3339">
                  <c:v>-0.10168067226890699</c:v>
                </c:pt>
                <c:pt idx="3340">
                  <c:v>-0.10084033613445301</c:v>
                </c:pt>
                <c:pt idx="3341">
                  <c:v>-0.10084033613445301</c:v>
                </c:pt>
                <c:pt idx="3342">
                  <c:v>-0.10084033613445301</c:v>
                </c:pt>
                <c:pt idx="3343">
                  <c:v>-0.10084033613445301</c:v>
                </c:pt>
                <c:pt idx="3344">
                  <c:v>-0.10084033613445301</c:v>
                </c:pt>
                <c:pt idx="3345">
                  <c:v>-0.10084033613445301</c:v>
                </c:pt>
                <c:pt idx="3346">
                  <c:v>-0.10084033613445301</c:v>
                </c:pt>
                <c:pt idx="3347">
                  <c:v>-0.10084033613445301</c:v>
                </c:pt>
                <c:pt idx="3348">
                  <c:v>-0.10084033613445301</c:v>
                </c:pt>
                <c:pt idx="3349">
                  <c:v>-0.10084033613445301</c:v>
                </c:pt>
                <c:pt idx="3350">
                  <c:v>-0.10084033613445301</c:v>
                </c:pt>
                <c:pt idx="3351">
                  <c:v>-0.10084033613445301</c:v>
                </c:pt>
                <c:pt idx="3352">
                  <c:v>-0.10084033613445301</c:v>
                </c:pt>
                <c:pt idx="3353">
                  <c:v>-0.10084033613445301</c:v>
                </c:pt>
                <c:pt idx="3354">
                  <c:v>-0.10084033613445301</c:v>
                </c:pt>
                <c:pt idx="3355">
                  <c:v>-0.1</c:v>
                </c:pt>
                <c:pt idx="3356">
                  <c:v>-0.1</c:v>
                </c:pt>
                <c:pt idx="3357">
                  <c:v>-0.1</c:v>
                </c:pt>
                <c:pt idx="3358">
                  <c:v>-0.1</c:v>
                </c:pt>
                <c:pt idx="3359">
                  <c:v>-0.1</c:v>
                </c:pt>
                <c:pt idx="3360">
                  <c:v>-0.1</c:v>
                </c:pt>
                <c:pt idx="3361">
                  <c:v>-0.1</c:v>
                </c:pt>
                <c:pt idx="3362">
                  <c:v>-0.10084033613445301</c:v>
                </c:pt>
                <c:pt idx="3363">
                  <c:v>-0.10084033613445301</c:v>
                </c:pt>
                <c:pt idx="3364">
                  <c:v>-0.10084033613445301</c:v>
                </c:pt>
                <c:pt idx="3365">
                  <c:v>-0.10084033613445301</c:v>
                </c:pt>
                <c:pt idx="3366">
                  <c:v>-0.10168067226890699</c:v>
                </c:pt>
                <c:pt idx="3367">
                  <c:v>-0.10168067226890699</c:v>
                </c:pt>
                <c:pt idx="3368">
                  <c:v>-0.10252100840336099</c:v>
                </c:pt>
                <c:pt idx="3369">
                  <c:v>-0.10252100840336099</c:v>
                </c:pt>
                <c:pt idx="3370">
                  <c:v>-0.10252100840336099</c:v>
                </c:pt>
                <c:pt idx="3371">
                  <c:v>-0.10252100840336099</c:v>
                </c:pt>
                <c:pt idx="3372">
                  <c:v>-0.10252100840336099</c:v>
                </c:pt>
                <c:pt idx="3373">
                  <c:v>-0.10252100840336099</c:v>
                </c:pt>
                <c:pt idx="3374">
                  <c:v>-0.10252100840336099</c:v>
                </c:pt>
                <c:pt idx="3375">
                  <c:v>-0.10252100840336099</c:v>
                </c:pt>
                <c:pt idx="3376">
                  <c:v>-0.10252100840336099</c:v>
                </c:pt>
                <c:pt idx="3377">
                  <c:v>-0.10252100840336099</c:v>
                </c:pt>
                <c:pt idx="3378">
                  <c:v>-0.10252100840336099</c:v>
                </c:pt>
                <c:pt idx="3379">
                  <c:v>-0.10252100840336099</c:v>
                </c:pt>
                <c:pt idx="3380">
                  <c:v>-0.10252100840336099</c:v>
                </c:pt>
                <c:pt idx="3381">
                  <c:v>-0.10252100840336099</c:v>
                </c:pt>
                <c:pt idx="3382">
                  <c:v>-0.10252100840336099</c:v>
                </c:pt>
                <c:pt idx="3383">
                  <c:v>-0.10252100840336099</c:v>
                </c:pt>
                <c:pt idx="3384">
                  <c:v>-0.10252100840336099</c:v>
                </c:pt>
                <c:pt idx="3385">
                  <c:v>-0.10252100840336099</c:v>
                </c:pt>
                <c:pt idx="3386">
                  <c:v>-0.10252100840336099</c:v>
                </c:pt>
                <c:pt idx="3387">
                  <c:v>-0.10252100840336099</c:v>
                </c:pt>
                <c:pt idx="3388">
                  <c:v>-0.10252100840336099</c:v>
                </c:pt>
                <c:pt idx="3389">
                  <c:v>-0.10168067226890699</c:v>
                </c:pt>
                <c:pt idx="3390">
                  <c:v>-0.10168067226890699</c:v>
                </c:pt>
                <c:pt idx="3391">
                  <c:v>-0.10252100840336099</c:v>
                </c:pt>
                <c:pt idx="3392">
                  <c:v>-0.10252100840336099</c:v>
                </c:pt>
                <c:pt idx="3393">
                  <c:v>-0.10252100840336099</c:v>
                </c:pt>
                <c:pt idx="3394">
                  <c:v>-0.10252100840336099</c:v>
                </c:pt>
                <c:pt idx="3395">
                  <c:v>-0.10252100840336099</c:v>
                </c:pt>
                <c:pt idx="3396">
                  <c:v>-0.10336134453781499</c:v>
                </c:pt>
                <c:pt idx="3397">
                  <c:v>-0.10336134453781499</c:v>
                </c:pt>
                <c:pt idx="3398">
                  <c:v>-0.10336134453781499</c:v>
                </c:pt>
                <c:pt idx="3399">
                  <c:v>-0.10336134453781499</c:v>
                </c:pt>
                <c:pt idx="3400">
                  <c:v>-0.10336134453781499</c:v>
                </c:pt>
                <c:pt idx="3401">
                  <c:v>-0.10336134453781499</c:v>
                </c:pt>
                <c:pt idx="3402">
                  <c:v>-0.10336134453781499</c:v>
                </c:pt>
                <c:pt idx="3403">
                  <c:v>-0.10336134453781499</c:v>
                </c:pt>
                <c:pt idx="3404">
                  <c:v>-0.10336134453781499</c:v>
                </c:pt>
                <c:pt idx="3405">
                  <c:v>-0.10336134453781499</c:v>
                </c:pt>
                <c:pt idx="3406">
                  <c:v>-0.10336134453781499</c:v>
                </c:pt>
                <c:pt idx="3407">
                  <c:v>-0.10336134453781499</c:v>
                </c:pt>
                <c:pt idx="3408">
                  <c:v>-0.10336134453781499</c:v>
                </c:pt>
                <c:pt idx="3409">
                  <c:v>-0.10336134453781499</c:v>
                </c:pt>
                <c:pt idx="3410">
                  <c:v>-0.10336134453781499</c:v>
                </c:pt>
                <c:pt idx="3411">
                  <c:v>-0.10336134453781499</c:v>
                </c:pt>
                <c:pt idx="3412">
                  <c:v>-0.10336134453781499</c:v>
                </c:pt>
                <c:pt idx="3413">
                  <c:v>-0.10252100840336099</c:v>
                </c:pt>
                <c:pt idx="3414">
                  <c:v>-0.10252100840336099</c:v>
                </c:pt>
                <c:pt idx="3415">
                  <c:v>-0.10252100840336099</c:v>
                </c:pt>
                <c:pt idx="3416">
                  <c:v>-0.10252100840336099</c:v>
                </c:pt>
                <c:pt idx="3417">
                  <c:v>-0.10252100840336099</c:v>
                </c:pt>
                <c:pt idx="3418">
                  <c:v>-0.10252100840336099</c:v>
                </c:pt>
                <c:pt idx="3419">
                  <c:v>-0.10252100840336099</c:v>
                </c:pt>
                <c:pt idx="3420">
                  <c:v>-0.10252100840336099</c:v>
                </c:pt>
                <c:pt idx="3421">
                  <c:v>-0.10252100840336099</c:v>
                </c:pt>
                <c:pt idx="3422">
                  <c:v>-0.10252100840336099</c:v>
                </c:pt>
                <c:pt idx="3423">
                  <c:v>-0.10252100840336099</c:v>
                </c:pt>
                <c:pt idx="3424">
                  <c:v>-0.10252100840336099</c:v>
                </c:pt>
                <c:pt idx="3425">
                  <c:v>-0.10252100840336099</c:v>
                </c:pt>
                <c:pt idx="3426">
                  <c:v>-0.10168067226890699</c:v>
                </c:pt>
                <c:pt idx="3427">
                  <c:v>-0.10168067226890699</c:v>
                </c:pt>
                <c:pt idx="3428">
                  <c:v>-0.10168067226890699</c:v>
                </c:pt>
                <c:pt idx="3429">
                  <c:v>-0.10084033613445301</c:v>
                </c:pt>
                <c:pt idx="3430">
                  <c:v>-0.10168067226890699</c:v>
                </c:pt>
                <c:pt idx="3431">
                  <c:v>-0.10168067226890699</c:v>
                </c:pt>
                <c:pt idx="3432">
                  <c:v>-0.10168067226890699</c:v>
                </c:pt>
                <c:pt idx="3433">
                  <c:v>-0.10168067226890699</c:v>
                </c:pt>
                <c:pt idx="3434">
                  <c:v>-0.10168067226890699</c:v>
                </c:pt>
                <c:pt idx="3435">
                  <c:v>-0.10252100840336099</c:v>
                </c:pt>
                <c:pt idx="3436">
                  <c:v>-0.10252100840336099</c:v>
                </c:pt>
                <c:pt idx="3437">
                  <c:v>-0.10252100840336099</c:v>
                </c:pt>
                <c:pt idx="3438">
                  <c:v>-0.10252100840336099</c:v>
                </c:pt>
                <c:pt idx="3439">
                  <c:v>-0.10252100840336099</c:v>
                </c:pt>
                <c:pt idx="3440">
                  <c:v>-0.10252100840336099</c:v>
                </c:pt>
                <c:pt idx="3441">
                  <c:v>-0.10252100840336099</c:v>
                </c:pt>
                <c:pt idx="3442">
                  <c:v>-0.10252100840336099</c:v>
                </c:pt>
                <c:pt idx="3443">
                  <c:v>-0.10168067226890699</c:v>
                </c:pt>
                <c:pt idx="3444">
                  <c:v>-0.10168067226890699</c:v>
                </c:pt>
                <c:pt idx="3445">
                  <c:v>-0.10168067226890699</c:v>
                </c:pt>
                <c:pt idx="3446">
                  <c:v>-0.10168067226890699</c:v>
                </c:pt>
                <c:pt idx="3447">
                  <c:v>-0.10168067226890699</c:v>
                </c:pt>
                <c:pt idx="3448">
                  <c:v>-0.10168067226890699</c:v>
                </c:pt>
                <c:pt idx="3449">
                  <c:v>-0.10168067226890699</c:v>
                </c:pt>
                <c:pt idx="3450">
                  <c:v>-0.10168067226890699</c:v>
                </c:pt>
                <c:pt idx="3451">
                  <c:v>-0.10168067226890699</c:v>
                </c:pt>
                <c:pt idx="3452">
                  <c:v>-0.10168067226890699</c:v>
                </c:pt>
                <c:pt idx="3453">
                  <c:v>-0.10168067226890699</c:v>
                </c:pt>
                <c:pt idx="3454">
                  <c:v>-0.10084033613445301</c:v>
                </c:pt>
                <c:pt idx="3455">
                  <c:v>-0.10084033613445301</c:v>
                </c:pt>
                <c:pt idx="3456">
                  <c:v>-0.10084033613445301</c:v>
                </c:pt>
                <c:pt idx="3457">
                  <c:v>-0.10084033613445301</c:v>
                </c:pt>
                <c:pt idx="3458">
                  <c:v>-0.10084033613445301</c:v>
                </c:pt>
                <c:pt idx="3459">
                  <c:v>-0.10084033613445301</c:v>
                </c:pt>
                <c:pt idx="3460">
                  <c:v>-0.1</c:v>
                </c:pt>
                <c:pt idx="3461">
                  <c:v>-0.1</c:v>
                </c:pt>
                <c:pt idx="3462">
                  <c:v>-0.1</c:v>
                </c:pt>
                <c:pt idx="3463">
                  <c:v>-0.1</c:v>
                </c:pt>
                <c:pt idx="3464">
                  <c:v>-0.1</c:v>
                </c:pt>
                <c:pt idx="3465">
                  <c:v>-0.1</c:v>
                </c:pt>
                <c:pt idx="3466">
                  <c:v>-0.1</c:v>
                </c:pt>
                <c:pt idx="3467">
                  <c:v>-0.1</c:v>
                </c:pt>
                <c:pt idx="3468">
                  <c:v>-0.1</c:v>
                </c:pt>
                <c:pt idx="3469">
                  <c:v>-0.1</c:v>
                </c:pt>
                <c:pt idx="3470">
                  <c:v>-0.1</c:v>
                </c:pt>
                <c:pt idx="3471">
                  <c:v>-0.1</c:v>
                </c:pt>
                <c:pt idx="3472">
                  <c:v>-0.1</c:v>
                </c:pt>
                <c:pt idx="3473">
                  <c:v>-0.10084033613445301</c:v>
                </c:pt>
                <c:pt idx="3474">
                  <c:v>-0.10084033613445301</c:v>
                </c:pt>
                <c:pt idx="3475">
                  <c:v>-0.10084033613445301</c:v>
                </c:pt>
                <c:pt idx="3476">
                  <c:v>-0.10084033613445301</c:v>
                </c:pt>
                <c:pt idx="3477">
                  <c:v>-0.10084033613445301</c:v>
                </c:pt>
                <c:pt idx="3478">
                  <c:v>-0.1</c:v>
                </c:pt>
                <c:pt idx="3479">
                  <c:v>-0.1</c:v>
                </c:pt>
                <c:pt idx="3480">
                  <c:v>-0.1</c:v>
                </c:pt>
                <c:pt idx="3481">
                  <c:v>-0.1</c:v>
                </c:pt>
                <c:pt idx="3482">
                  <c:v>-0.1</c:v>
                </c:pt>
                <c:pt idx="3483">
                  <c:v>-9.9159663865546199E-2</c:v>
                </c:pt>
                <c:pt idx="3484">
                  <c:v>-9.9159663865546199E-2</c:v>
                </c:pt>
                <c:pt idx="3485">
                  <c:v>-9.9159663865546199E-2</c:v>
                </c:pt>
                <c:pt idx="3486">
                  <c:v>-9.9159663865546199E-2</c:v>
                </c:pt>
                <c:pt idx="3487">
                  <c:v>-9.9159663865546199E-2</c:v>
                </c:pt>
                <c:pt idx="3488">
                  <c:v>-9.9159663865546199E-2</c:v>
                </c:pt>
                <c:pt idx="3489">
                  <c:v>-9.9159663865546199E-2</c:v>
                </c:pt>
                <c:pt idx="3490">
                  <c:v>-0.1</c:v>
                </c:pt>
                <c:pt idx="3491">
                  <c:v>-0.1</c:v>
                </c:pt>
                <c:pt idx="3492">
                  <c:v>-0.1</c:v>
                </c:pt>
                <c:pt idx="3493">
                  <c:v>-0.1</c:v>
                </c:pt>
                <c:pt idx="3494">
                  <c:v>-0.1</c:v>
                </c:pt>
                <c:pt idx="3495">
                  <c:v>-0.1</c:v>
                </c:pt>
                <c:pt idx="3496">
                  <c:v>-0.1</c:v>
                </c:pt>
                <c:pt idx="3497">
                  <c:v>-0.1</c:v>
                </c:pt>
                <c:pt idx="3498">
                  <c:v>-0.1</c:v>
                </c:pt>
                <c:pt idx="3499">
                  <c:v>-0.1</c:v>
                </c:pt>
                <c:pt idx="3500">
                  <c:v>-0.1</c:v>
                </c:pt>
                <c:pt idx="3501">
                  <c:v>-0.1</c:v>
                </c:pt>
                <c:pt idx="3502">
                  <c:v>-0.1</c:v>
                </c:pt>
                <c:pt idx="3503">
                  <c:v>-0.1</c:v>
                </c:pt>
                <c:pt idx="3504">
                  <c:v>-9.9159663865546199E-2</c:v>
                </c:pt>
                <c:pt idx="3505">
                  <c:v>-0.1</c:v>
                </c:pt>
                <c:pt idx="3506">
                  <c:v>-0.1</c:v>
                </c:pt>
                <c:pt idx="3507">
                  <c:v>-0.1</c:v>
                </c:pt>
                <c:pt idx="3508">
                  <c:v>-0.1</c:v>
                </c:pt>
                <c:pt idx="3509">
                  <c:v>-0.1</c:v>
                </c:pt>
                <c:pt idx="3510">
                  <c:v>-0.1</c:v>
                </c:pt>
                <c:pt idx="3511">
                  <c:v>-0.1</c:v>
                </c:pt>
                <c:pt idx="3512">
                  <c:v>-0.1</c:v>
                </c:pt>
                <c:pt idx="3513">
                  <c:v>-0.1</c:v>
                </c:pt>
                <c:pt idx="3514">
                  <c:v>-0.1</c:v>
                </c:pt>
                <c:pt idx="3515">
                  <c:v>-0.1</c:v>
                </c:pt>
                <c:pt idx="3516">
                  <c:v>-0.1</c:v>
                </c:pt>
                <c:pt idx="3517">
                  <c:v>-0.1</c:v>
                </c:pt>
                <c:pt idx="3518">
                  <c:v>-0.1</c:v>
                </c:pt>
                <c:pt idx="3519">
                  <c:v>-9.9159663865546199E-2</c:v>
                </c:pt>
                <c:pt idx="3520">
                  <c:v>-9.9159663865546199E-2</c:v>
                </c:pt>
                <c:pt idx="3521">
                  <c:v>-9.9159663865546199E-2</c:v>
                </c:pt>
                <c:pt idx="3522">
                  <c:v>-9.9159663865546199E-2</c:v>
                </c:pt>
                <c:pt idx="3523">
                  <c:v>-9.9159663865546199E-2</c:v>
                </c:pt>
                <c:pt idx="3524">
                  <c:v>-9.9159663865546199E-2</c:v>
                </c:pt>
                <c:pt idx="3525">
                  <c:v>-9.9159663865546199E-2</c:v>
                </c:pt>
                <c:pt idx="3526">
                  <c:v>-9.9159663865546199E-2</c:v>
                </c:pt>
                <c:pt idx="3527">
                  <c:v>-9.9159663865546199E-2</c:v>
                </c:pt>
                <c:pt idx="3528">
                  <c:v>-9.9159663865546199E-2</c:v>
                </c:pt>
                <c:pt idx="3529">
                  <c:v>-9.9159663865546199E-2</c:v>
                </c:pt>
                <c:pt idx="3530">
                  <c:v>-9.9159663865546199E-2</c:v>
                </c:pt>
                <c:pt idx="3531">
                  <c:v>-9.9159663865546199E-2</c:v>
                </c:pt>
                <c:pt idx="3532">
                  <c:v>-9.9159663865546199E-2</c:v>
                </c:pt>
                <c:pt idx="3533">
                  <c:v>-9.9159663865546199E-2</c:v>
                </c:pt>
                <c:pt idx="3534">
                  <c:v>-9.9159663865546199E-2</c:v>
                </c:pt>
                <c:pt idx="3535">
                  <c:v>-9.8319327731092407E-2</c:v>
                </c:pt>
                <c:pt idx="3536">
                  <c:v>-9.8319327731092407E-2</c:v>
                </c:pt>
                <c:pt idx="3537">
                  <c:v>-9.9159663865546199E-2</c:v>
                </c:pt>
                <c:pt idx="3538">
                  <c:v>-9.9159663865546199E-2</c:v>
                </c:pt>
                <c:pt idx="3539">
                  <c:v>-9.9159663865546199E-2</c:v>
                </c:pt>
                <c:pt idx="3540">
                  <c:v>-9.9159663865546199E-2</c:v>
                </c:pt>
                <c:pt idx="3541">
                  <c:v>-9.9159663865546199E-2</c:v>
                </c:pt>
                <c:pt idx="3542">
                  <c:v>-9.9159663865546199E-2</c:v>
                </c:pt>
                <c:pt idx="3543">
                  <c:v>-9.9159663865546199E-2</c:v>
                </c:pt>
                <c:pt idx="3544">
                  <c:v>-9.9159663865546199E-2</c:v>
                </c:pt>
                <c:pt idx="3545">
                  <c:v>-9.9159663865546199E-2</c:v>
                </c:pt>
                <c:pt idx="3546">
                  <c:v>-9.9159663865546199E-2</c:v>
                </c:pt>
                <c:pt idx="3547">
                  <c:v>-9.9159663865546199E-2</c:v>
                </c:pt>
                <c:pt idx="3548">
                  <c:v>-9.9159663865546199E-2</c:v>
                </c:pt>
                <c:pt idx="3549">
                  <c:v>-9.9159663865546199E-2</c:v>
                </c:pt>
                <c:pt idx="3550">
                  <c:v>-9.8319327731092407E-2</c:v>
                </c:pt>
                <c:pt idx="3551">
                  <c:v>-9.8319327731092407E-2</c:v>
                </c:pt>
                <c:pt idx="3552">
                  <c:v>-9.8319327731092407E-2</c:v>
                </c:pt>
                <c:pt idx="3553">
                  <c:v>-9.8319327731092407E-2</c:v>
                </c:pt>
                <c:pt idx="3554">
                  <c:v>-9.8319327731092407E-2</c:v>
                </c:pt>
                <c:pt idx="3555">
                  <c:v>-9.8319327731092407E-2</c:v>
                </c:pt>
                <c:pt idx="3556">
                  <c:v>-9.8319327731092407E-2</c:v>
                </c:pt>
                <c:pt idx="3557">
                  <c:v>-9.8319327731092407E-2</c:v>
                </c:pt>
                <c:pt idx="3558">
                  <c:v>-9.8319327731092407E-2</c:v>
                </c:pt>
                <c:pt idx="3559">
                  <c:v>-9.8319327731092407E-2</c:v>
                </c:pt>
                <c:pt idx="3560">
                  <c:v>-9.8319327731092407E-2</c:v>
                </c:pt>
                <c:pt idx="3561">
                  <c:v>-9.8319327731092407E-2</c:v>
                </c:pt>
                <c:pt idx="3562">
                  <c:v>-9.9159663865546199E-2</c:v>
                </c:pt>
                <c:pt idx="3563">
                  <c:v>-9.9159663865546199E-2</c:v>
                </c:pt>
                <c:pt idx="3564">
                  <c:v>-9.9159663865546199E-2</c:v>
                </c:pt>
                <c:pt idx="3565">
                  <c:v>-9.9159663865546199E-2</c:v>
                </c:pt>
                <c:pt idx="3566">
                  <c:v>-9.9159663865546199E-2</c:v>
                </c:pt>
                <c:pt idx="3567">
                  <c:v>-9.9159663865546199E-2</c:v>
                </c:pt>
                <c:pt idx="3568">
                  <c:v>-9.9159663865546199E-2</c:v>
                </c:pt>
                <c:pt idx="3569">
                  <c:v>-9.9159663865546199E-2</c:v>
                </c:pt>
                <c:pt idx="3570">
                  <c:v>-9.9159663865546199E-2</c:v>
                </c:pt>
                <c:pt idx="3571">
                  <c:v>-9.9159663865546199E-2</c:v>
                </c:pt>
                <c:pt idx="3572">
                  <c:v>-9.9159663865546199E-2</c:v>
                </c:pt>
                <c:pt idx="3573">
                  <c:v>-9.9159663865546199E-2</c:v>
                </c:pt>
                <c:pt idx="3574">
                  <c:v>-9.9159663865546199E-2</c:v>
                </c:pt>
                <c:pt idx="3575">
                  <c:v>-9.9159663865546199E-2</c:v>
                </c:pt>
                <c:pt idx="3576">
                  <c:v>-9.9159663865546199E-2</c:v>
                </c:pt>
                <c:pt idx="3577">
                  <c:v>-9.9159663865546199E-2</c:v>
                </c:pt>
                <c:pt idx="3578">
                  <c:v>-9.8319327731092407E-2</c:v>
                </c:pt>
                <c:pt idx="3579">
                  <c:v>-9.8319327731092407E-2</c:v>
                </c:pt>
                <c:pt idx="3580">
                  <c:v>-9.8319327731092407E-2</c:v>
                </c:pt>
                <c:pt idx="3581">
                  <c:v>-9.8319327731092407E-2</c:v>
                </c:pt>
                <c:pt idx="3582">
                  <c:v>-9.8319327731092407E-2</c:v>
                </c:pt>
                <c:pt idx="3583">
                  <c:v>-9.8319327731092407E-2</c:v>
                </c:pt>
                <c:pt idx="3584">
                  <c:v>-9.8319327731092407E-2</c:v>
                </c:pt>
                <c:pt idx="3585">
                  <c:v>-9.8319327731092407E-2</c:v>
                </c:pt>
                <c:pt idx="3586">
                  <c:v>-9.8319327731092407E-2</c:v>
                </c:pt>
                <c:pt idx="3587">
                  <c:v>-9.8319327731092407E-2</c:v>
                </c:pt>
                <c:pt idx="3588">
                  <c:v>-9.8319327731092407E-2</c:v>
                </c:pt>
                <c:pt idx="3589">
                  <c:v>-9.8319327731092407E-2</c:v>
                </c:pt>
                <c:pt idx="3590">
                  <c:v>-9.8319327731092407E-2</c:v>
                </c:pt>
                <c:pt idx="3591">
                  <c:v>-9.8319327731092407E-2</c:v>
                </c:pt>
                <c:pt idx="3592">
                  <c:v>-9.8319327731092407E-2</c:v>
                </c:pt>
                <c:pt idx="3593">
                  <c:v>-9.8319327731092407E-2</c:v>
                </c:pt>
                <c:pt idx="3594">
                  <c:v>-9.8319327731092407E-2</c:v>
                </c:pt>
                <c:pt idx="3595">
                  <c:v>-9.8319327731092407E-2</c:v>
                </c:pt>
                <c:pt idx="3596">
                  <c:v>-9.8319327731092407E-2</c:v>
                </c:pt>
                <c:pt idx="3597">
                  <c:v>-9.8319327731092407E-2</c:v>
                </c:pt>
                <c:pt idx="3598">
                  <c:v>-9.8319327731092407E-2</c:v>
                </c:pt>
                <c:pt idx="3599">
                  <c:v>-9.8319327731092407E-2</c:v>
                </c:pt>
                <c:pt idx="3600">
                  <c:v>-9.8319327731092407E-2</c:v>
                </c:pt>
                <c:pt idx="3601">
                  <c:v>-9.8319327731092407E-2</c:v>
                </c:pt>
                <c:pt idx="3602">
                  <c:v>-9.8319327731092407E-2</c:v>
                </c:pt>
                <c:pt idx="3603">
                  <c:v>-9.8319327731092407E-2</c:v>
                </c:pt>
                <c:pt idx="3604">
                  <c:v>-9.7478991596638601E-2</c:v>
                </c:pt>
                <c:pt idx="3605">
                  <c:v>-9.7478991596638601E-2</c:v>
                </c:pt>
                <c:pt idx="3606">
                  <c:v>-9.7478991596638601E-2</c:v>
                </c:pt>
                <c:pt idx="3607">
                  <c:v>-9.7478991596638601E-2</c:v>
                </c:pt>
                <c:pt idx="3608">
                  <c:v>-9.7478991596638601E-2</c:v>
                </c:pt>
                <c:pt idx="3609">
                  <c:v>-9.7478991596638601E-2</c:v>
                </c:pt>
                <c:pt idx="3610">
                  <c:v>-9.7478991596638601E-2</c:v>
                </c:pt>
                <c:pt idx="3611">
                  <c:v>-9.7478991596638601E-2</c:v>
                </c:pt>
                <c:pt idx="3612">
                  <c:v>-9.7478991596638601E-2</c:v>
                </c:pt>
                <c:pt idx="3613">
                  <c:v>-9.7478991596638601E-2</c:v>
                </c:pt>
                <c:pt idx="3614">
                  <c:v>-9.7478991596638601E-2</c:v>
                </c:pt>
                <c:pt idx="3615">
                  <c:v>-9.7478991596638601E-2</c:v>
                </c:pt>
                <c:pt idx="3616">
                  <c:v>-9.7478991596638601E-2</c:v>
                </c:pt>
                <c:pt idx="3617">
                  <c:v>-9.7478991596638601E-2</c:v>
                </c:pt>
                <c:pt idx="3618">
                  <c:v>-9.7478991596638601E-2</c:v>
                </c:pt>
                <c:pt idx="3619">
                  <c:v>-9.7478991596638601E-2</c:v>
                </c:pt>
                <c:pt idx="3620">
                  <c:v>-9.7478991596638601E-2</c:v>
                </c:pt>
                <c:pt idx="3621">
                  <c:v>-9.7478991596638601E-2</c:v>
                </c:pt>
                <c:pt idx="3622">
                  <c:v>-9.7478991596638601E-2</c:v>
                </c:pt>
                <c:pt idx="3623">
                  <c:v>-9.7478991596638601E-2</c:v>
                </c:pt>
                <c:pt idx="3624">
                  <c:v>-9.7478991596638601E-2</c:v>
                </c:pt>
                <c:pt idx="3625">
                  <c:v>-9.6638655462184794E-2</c:v>
                </c:pt>
                <c:pt idx="3626">
                  <c:v>-9.6638655462184794E-2</c:v>
                </c:pt>
                <c:pt idx="3627">
                  <c:v>-9.6638655462184794E-2</c:v>
                </c:pt>
                <c:pt idx="3628">
                  <c:v>-9.6638655462184794E-2</c:v>
                </c:pt>
                <c:pt idx="3629">
                  <c:v>-9.6638655462184794E-2</c:v>
                </c:pt>
                <c:pt idx="3630">
                  <c:v>-9.6638655462184794E-2</c:v>
                </c:pt>
                <c:pt idx="3631">
                  <c:v>-9.6638655462184794E-2</c:v>
                </c:pt>
                <c:pt idx="3632">
                  <c:v>-9.6638655462184794E-2</c:v>
                </c:pt>
                <c:pt idx="3633">
                  <c:v>-9.6638655462184794E-2</c:v>
                </c:pt>
                <c:pt idx="3634">
                  <c:v>-9.6638655462184794E-2</c:v>
                </c:pt>
                <c:pt idx="3635">
                  <c:v>-9.6638655462184794E-2</c:v>
                </c:pt>
                <c:pt idx="3636">
                  <c:v>-9.6638655462184794E-2</c:v>
                </c:pt>
                <c:pt idx="3637">
                  <c:v>-9.6638655462184794E-2</c:v>
                </c:pt>
                <c:pt idx="3638">
                  <c:v>-9.6638655462184794E-2</c:v>
                </c:pt>
                <c:pt idx="3639">
                  <c:v>-9.6638655462184794E-2</c:v>
                </c:pt>
                <c:pt idx="3640">
                  <c:v>-9.5798319327731002E-2</c:v>
                </c:pt>
                <c:pt idx="3641">
                  <c:v>-9.5798319327731002E-2</c:v>
                </c:pt>
                <c:pt idx="3642">
                  <c:v>-9.5798319327731002E-2</c:v>
                </c:pt>
                <c:pt idx="3643">
                  <c:v>-9.5798319327731002E-2</c:v>
                </c:pt>
                <c:pt idx="3644">
                  <c:v>-9.5798319327731002E-2</c:v>
                </c:pt>
                <c:pt idx="3645">
                  <c:v>-9.5798319327731002E-2</c:v>
                </c:pt>
                <c:pt idx="3646">
                  <c:v>-9.5798319327731002E-2</c:v>
                </c:pt>
                <c:pt idx="3647">
                  <c:v>-9.5798319327731002E-2</c:v>
                </c:pt>
                <c:pt idx="3648">
                  <c:v>-9.5798319327731002E-2</c:v>
                </c:pt>
                <c:pt idx="3649">
                  <c:v>-9.5798319327731002E-2</c:v>
                </c:pt>
                <c:pt idx="3650">
                  <c:v>-9.5798319327731002E-2</c:v>
                </c:pt>
                <c:pt idx="3651">
                  <c:v>-9.5798319327731002E-2</c:v>
                </c:pt>
                <c:pt idx="3652">
                  <c:v>-9.5798319327731002E-2</c:v>
                </c:pt>
                <c:pt idx="3653">
                  <c:v>-9.5798319327731002E-2</c:v>
                </c:pt>
                <c:pt idx="3654">
                  <c:v>-9.5798319327731002E-2</c:v>
                </c:pt>
                <c:pt idx="3655">
                  <c:v>-9.5798319327731002E-2</c:v>
                </c:pt>
                <c:pt idx="3656">
                  <c:v>-9.5798319327731002E-2</c:v>
                </c:pt>
                <c:pt idx="3657">
                  <c:v>-9.5798319327731002E-2</c:v>
                </c:pt>
                <c:pt idx="3658">
                  <c:v>-9.5798319327731002E-2</c:v>
                </c:pt>
                <c:pt idx="3659">
                  <c:v>-9.5798319327731002E-2</c:v>
                </c:pt>
                <c:pt idx="3660">
                  <c:v>-9.5798319327731002E-2</c:v>
                </c:pt>
                <c:pt idx="3661">
                  <c:v>-9.5798319327731002E-2</c:v>
                </c:pt>
                <c:pt idx="3662">
                  <c:v>-9.5798319327731002E-2</c:v>
                </c:pt>
                <c:pt idx="3663">
                  <c:v>-9.5798319327731002E-2</c:v>
                </c:pt>
                <c:pt idx="3664">
                  <c:v>-9.5798319327731002E-2</c:v>
                </c:pt>
                <c:pt idx="3665">
                  <c:v>-9.5798319327731002E-2</c:v>
                </c:pt>
                <c:pt idx="3666">
                  <c:v>-9.5798319327731002E-2</c:v>
                </c:pt>
                <c:pt idx="3667">
                  <c:v>-9.5798319327731002E-2</c:v>
                </c:pt>
                <c:pt idx="3668">
                  <c:v>-9.5798319327731002E-2</c:v>
                </c:pt>
                <c:pt idx="3669">
                  <c:v>-9.5798319327731002E-2</c:v>
                </c:pt>
                <c:pt idx="3670">
                  <c:v>-9.5798319327731002E-2</c:v>
                </c:pt>
                <c:pt idx="3671">
                  <c:v>-9.5798319327731002E-2</c:v>
                </c:pt>
                <c:pt idx="3672">
                  <c:v>-9.5798319327731002E-2</c:v>
                </c:pt>
                <c:pt idx="3673">
                  <c:v>-9.5798319327731002E-2</c:v>
                </c:pt>
                <c:pt idx="3674">
                  <c:v>-9.5798319327731002E-2</c:v>
                </c:pt>
                <c:pt idx="3675">
                  <c:v>-9.5798319327731002E-2</c:v>
                </c:pt>
                <c:pt idx="3676">
                  <c:v>-9.5798319327731002E-2</c:v>
                </c:pt>
                <c:pt idx="3677">
                  <c:v>-9.4957983193277307E-2</c:v>
                </c:pt>
                <c:pt idx="3678">
                  <c:v>-9.4957983193277307E-2</c:v>
                </c:pt>
                <c:pt idx="3679">
                  <c:v>-9.4957983193277307E-2</c:v>
                </c:pt>
                <c:pt idx="3680">
                  <c:v>-9.4957983193277307E-2</c:v>
                </c:pt>
                <c:pt idx="3681">
                  <c:v>-9.4957983193277307E-2</c:v>
                </c:pt>
                <c:pt idx="3682">
                  <c:v>-9.5798319327731002E-2</c:v>
                </c:pt>
                <c:pt idx="3683">
                  <c:v>-9.5798319327731002E-2</c:v>
                </c:pt>
                <c:pt idx="3684">
                  <c:v>-9.5798319327731002E-2</c:v>
                </c:pt>
                <c:pt idx="3685">
                  <c:v>-9.5798319327731002E-2</c:v>
                </c:pt>
                <c:pt idx="3686">
                  <c:v>-9.5798319327731002E-2</c:v>
                </c:pt>
                <c:pt idx="3687">
                  <c:v>-9.5798319327731002E-2</c:v>
                </c:pt>
                <c:pt idx="3688">
                  <c:v>-9.5798319327731002E-2</c:v>
                </c:pt>
                <c:pt idx="3689">
                  <c:v>-9.5798319327731002E-2</c:v>
                </c:pt>
                <c:pt idx="3690">
                  <c:v>-9.5798319327731002E-2</c:v>
                </c:pt>
                <c:pt idx="3691">
                  <c:v>-9.5798319327731002E-2</c:v>
                </c:pt>
                <c:pt idx="3692">
                  <c:v>-9.5798319327731002E-2</c:v>
                </c:pt>
                <c:pt idx="3693">
                  <c:v>-9.5798319327731002E-2</c:v>
                </c:pt>
                <c:pt idx="3694">
                  <c:v>-9.5798319327731002E-2</c:v>
                </c:pt>
                <c:pt idx="3695">
                  <c:v>-9.5798319327731002E-2</c:v>
                </c:pt>
                <c:pt idx="3696">
                  <c:v>-9.5798319327731002E-2</c:v>
                </c:pt>
                <c:pt idx="3697">
                  <c:v>-9.5798319327731002E-2</c:v>
                </c:pt>
                <c:pt idx="3698">
                  <c:v>-9.5798319327731002E-2</c:v>
                </c:pt>
                <c:pt idx="3699">
                  <c:v>-9.5798319327731002E-2</c:v>
                </c:pt>
                <c:pt idx="3700">
                  <c:v>-9.5798319327731002E-2</c:v>
                </c:pt>
                <c:pt idx="3701">
                  <c:v>-9.5798319327731002E-2</c:v>
                </c:pt>
                <c:pt idx="3702">
                  <c:v>-9.6638655462184794E-2</c:v>
                </c:pt>
                <c:pt idx="3703">
                  <c:v>-9.6638655462184794E-2</c:v>
                </c:pt>
                <c:pt idx="3704">
                  <c:v>-9.6638655462184794E-2</c:v>
                </c:pt>
                <c:pt idx="3705">
                  <c:v>-9.7478991596638601E-2</c:v>
                </c:pt>
                <c:pt idx="3706">
                  <c:v>-9.7478991596638601E-2</c:v>
                </c:pt>
                <c:pt idx="3707">
                  <c:v>-9.7478991596638601E-2</c:v>
                </c:pt>
                <c:pt idx="3708">
                  <c:v>-9.7478991596638601E-2</c:v>
                </c:pt>
                <c:pt idx="3709">
                  <c:v>-9.7478991596638601E-2</c:v>
                </c:pt>
                <c:pt idx="3710">
                  <c:v>-9.7478991596638601E-2</c:v>
                </c:pt>
                <c:pt idx="3711">
                  <c:v>-9.7478991596638601E-2</c:v>
                </c:pt>
                <c:pt idx="3712">
                  <c:v>-9.7478991596638601E-2</c:v>
                </c:pt>
                <c:pt idx="3713">
                  <c:v>-9.8319327731092407E-2</c:v>
                </c:pt>
                <c:pt idx="3714">
                  <c:v>-9.8319327731092407E-2</c:v>
                </c:pt>
                <c:pt idx="3715">
                  <c:v>-9.8319327731092407E-2</c:v>
                </c:pt>
                <c:pt idx="3716">
                  <c:v>-9.7478991596638601E-2</c:v>
                </c:pt>
                <c:pt idx="3717">
                  <c:v>-9.7478991596638601E-2</c:v>
                </c:pt>
                <c:pt idx="3718">
                  <c:v>-9.7478991596638601E-2</c:v>
                </c:pt>
                <c:pt idx="3719">
                  <c:v>-9.7478991596638601E-2</c:v>
                </c:pt>
                <c:pt idx="3720">
                  <c:v>-9.6638655462184794E-2</c:v>
                </c:pt>
                <c:pt idx="3721">
                  <c:v>-9.6638655462184794E-2</c:v>
                </c:pt>
                <c:pt idx="3722">
                  <c:v>-9.6638655462184794E-2</c:v>
                </c:pt>
                <c:pt idx="3723">
                  <c:v>-9.6638655462184794E-2</c:v>
                </c:pt>
                <c:pt idx="3724">
                  <c:v>-9.6638655462184794E-2</c:v>
                </c:pt>
                <c:pt idx="3725">
                  <c:v>-9.6638655462184794E-2</c:v>
                </c:pt>
                <c:pt idx="3726">
                  <c:v>-9.6638655462184794E-2</c:v>
                </c:pt>
                <c:pt idx="3727">
                  <c:v>-9.6638655462184794E-2</c:v>
                </c:pt>
                <c:pt idx="3728">
                  <c:v>-9.6638655462184794E-2</c:v>
                </c:pt>
                <c:pt idx="3729">
                  <c:v>-9.6638655462184794E-2</c:v>
                </c:pt>
                <c:pt idx="3730">
                  <c:v>-9.6638655462184794E-2</c:v>
                </c:pt>
                <c:pt idx="3731">
                  <c:v>-9.6638655462184794E-2</c:v>
                </c:pt>
                <c:pt idx="3732">
                  <c:v>-9.6638655462184794E-2</c:v>
                </c:pt>
                <c:pt idx="3733">
                  <c:v>-9.6638655462184794E-2</c:v>
                </c:pt>
                <c:pt idx="3734">
                  <c:v>-9.6638655462184794E-2</c:v>
                </c:pt>
                <c:pt idx="3735">
                  <c:v>-9.7478991596638601E-2</c:v>
                </c:pt>
                <c:pt idx="3736">
                  <c:v>-9.7478991596638601E-2</c:v>
                </c:pt>
                <c:pt idx="3737">
                  <c:v>-9.7478991596638601E-2</c:v>
                </c:pt>
                <c:pt idx="3738">
                  <c:v>-9.7478991596638601E-2</c:v>
                </c:pt>
                <c:pt idx="3739">
                  <c:v>-9.7478991596638601E-2</c:v>
                </c:pt>
                <c:pt idx="3740">
                  <c:v>-9.7478991596638601E-2</c:v>
                </c:pt>
                <c:pt idx="3741">
                  <c:v>-9.7478991596638601E-2</c:v>
                </c:pt>
                <c:pt idx="3742">
                  <c:v>-9.7478991596638601E-2</c:v>
                </c:pt>
                <c:pt idx="3743">
                  <c:v>-9.7478991596638601E-2</c:v>
                </c:pt>
                <c:pt idx="3744">
                  <c:v>-9.7478991596638601E-2</c:v>
                </c:pt>
                <c:pt idx="3745">
                  <c:v>-9.6638655462184794E-2</c:v>
                </c:pt>
                <c:pt idx="3746">
                  <c:v>-9.6638655462184794E-2</c:v>
                </c:pt>
                <c:pt idx="3747">
                  <c:v>-9.6638655462184794E-2</c:v>
                </c:pt>
                <c:pt idx="3748">
                  <c:v>-9.6638655462184794E-2</c:v>
                </c:pt>
                <c:pt idx="3749">
                  <c:v>-9.6638655462184794E-2</c:v>
                </c:pt>
                <c:pt idx="3750">
                  <c:v>-9.6638655462184794E-2</c:v>
                </c:pt>
                <c:pt idx="3751">
                  <c:v>-9.5798319327731099E-2</c:v>
                </c:pt>
                <c:pt idx="3752">
                  <c:v>-9.5798319327731099E-2</c:v>
                </c:pt>
                <c:pt idx="3753">
                  <c:v>-9.5798319327731099E-2</c:v>
                </c:pt>
                <c:pt idx="3754">
                  <c:v>-9.5798319327731099E-2</c:v>
                </c:pt>
                <c:pt idx="3755">
                  <c:v>-9.5798319327731099E-2</c:v>
                </c:pt>
                <c:pt idx="3756">
                  <c:v>-9.5798319327731099E-2</c:v>
                </c:pt>
                <c:pt idx="3757">
                  <c:v>-9.5798319327731099E-2</c:v>
                </c:pt>
                <c:pt idx="3758">
                  <c:v>-9.5798319327731099E-2</c:v>
                </c:pt>
                <c:pt idx="3759">
                  <c:v>-9.6638655462184794E-2</c:v>
                </c:pt>
                <c:pt idx="3760">
                  <c:v>-9.7478991596638601E-2</c:v>
                </c:pt>
                <c:pt idx="3761">
                  <c:v>-9.7478991596638601E-2</c:v>
                </c:pt>
                <c:pt idx="3762">
                  <c:v>-9.7478991596638601E-2</c:v>
                </c:pt>
                <c:pt idx="3763">
                  <c:v>-9.7478991596638601E-2</c:v>
                </c:pt>
                <c:pt idx="3764">
                  <c:v>-9.7478991596638601E-2</c:v>
                </c:pt>
                <c:pt idx="3765">
                  <c:v>-9.7478991596638601E-2</c:v>
                </c:pt>
                <c:pt idx="3766">
                  <c:v>-9.7478991596638601E-2</c:v>
                </c:pt>
                <c:pt idx="3767">
                  <c:v>-9.7478991596638601E-2</c:v>
                </c:pt>
                <c:pt idx="3768">
                  <c:v>-9.7478991596638601E-2</c:v>
                </c:pt>
                <c:pt idx="3769">
                  <c:v>-9.7478991596638601E-2</c:v>
                </c:pt>
                <c:pt idx="3770">
                  <c:v>-9.7478991596638601E-2</c:v>
                </c:pt>
                <c:pt idx="3771">
                  <c:v>-9.7478991596638601E-2</c:v>
                </c:pt>
                <c:pt idx="3772">
                  <c:v>-9.7478991596638601E-2</c:v>
                </c:pt>
                <c:pt idx="3773">
                  <c:v>-9.7478991596638601E-2</c:v>
                </c:pt>
                <c:pt idx="3774">
                  <c:v>-9.7478991596638601E-2</c:v>
                </c:pt>
                <c:pt idx="3775">
                  <c:v>-9.7478991596638601E-2</c:v>
                </c:pt>
                <c:pt idx="3776">
                  <c:v>-9.7478991596638601E-2</c:v>
                </c:pt>
                <c:pt idx="3777">
                  <c:v>-9.7478991596638601E-2</c:v>
                </c:pt>
                <c:pt idx="3778">
                  <c:v>-9.7478991596638601E-2</c:v>
                </c:pt>
                <c:pt idx="3779">
                  <c:v>-9.7478991596638601E-2</c:v>
                </c:pt>
                <c:pt idx="3780">
                  <c:v>-9.7478991596638601E-2</c:v>
                </c:pt>
                <c:pt idx="3781">
                  <c:v>-9.7478991596638601E-2</c:v>
                </c:pt>
                <c:pt idx="3782">
                  <c:v>-9.7478991596638601E-2</c:v>
                </c:pt>
                <c:pt idx="3783">
                  <c:v>-9.7478991596638601E-2</c:v>
                </c:pt>
                <c:pt idx="3784">
                  <c:v>-9.7478991596638601E-2</c:v>
                </c:pt>
                <c:pt idx="3785">
                  <c:v>-9.7478991596638601E-2</c:v>
                </c:pt>
                <c:pt idx="3786">
                  <c:v>-9.7478991596638601E-2</c:v>
                </c:pt>
                <c:pt idx="3787">
                  <c:v>-9.7478991596638601E-2</c:v>
                </c:pt>
                <c:pt idx="3788">
                  <c:v>-9.7478991596638601E-2</c:v>
                </c:pt>
                <c:pt idx="3789">
                  <c:v>-9.7478991596638601E-2</c:v>
                </c:pt>
                <c:pt idx="3790">
                  <c:v>-9.7478991596638601E-2</c:v>
                </c:pt>
                <c:pt idx="3791">
                  <c:v>-9.6638655462184794E-2</c:v>
                </c:pt>
                <c:pt idx="3792">
                  <c:v>-9.6638655462184794E-2</c:v>
                </c:pt>
                <c:pt idx="3793">
                  <c:v>-9.6638655462184794E-2</c:v>
                </c:pt>
                <c:pt idx="3794">
                  <c:v>-9.6638655462184794E-2</c:v>
                </c:pt>
                <c:pt idx="3795">
                  <c:v>-9.6638655462184794E-2</c:v>
                </c:pt>
                <c:pt idx="3796">
                  <c:v>-9.6638655462184794E-2</c:v>
                </c:pt>
                <c:pt idx="3797">
                  <c:v>-9.6638655462184794E-2</c:v>
                </c:pt>
                <c:pt idx="3798">
                  <c:v>-9.6638655462184794E-2</c:v>
                </c:pt>
                <c:pt idx="3799">
                  <c:v>-9.6638655462184794E-2</c:v>
                </c:pt>
                <c:pt idx="3800">
                  <c:v>-9.6638655462184794E-2</c:v>
                </c:pt>
                <c:pt idx="3801">
                  <c:v>-9.6638655462184794E-2</c:v>
                </c:pt>
                <c:pt idx="3802">
                  <c:v>-9.6638655462184794E-2</c:v>
                </c:pt>
                <c:pt idx="3803">
                  <c:v>-9.6638655462184794E-2</c:v>
                </c:pt>
                <c:pt idx="3804">
                  <c:v>-9.6638655462184794E-2</c:v>
                </c:pt>
                <c:pt idx="3805">
                  <c:v>-9.6638655462184794E-2</c:v>
                </c:pt>
                <c:pt idx="3806">
                  <c:v>-9.6638655462184794E-2</c:v>
                </c:pt>
                <c:pt idx="3807">
                  <c:v>-9.5798319327731002E-2</c:v>
                </c:pt>
                <c:pt idx="3808">
                  <c:v>-9.5798319327731002E-2</c:v>
                </c:pt>
                <c:pt idx="3809">
                  <c:v>-9.5798319327731002E-2</c:v>
                </c:pt>
                <c:pt idx="3810">
                  <c:v>-9.5798319327731002E-2</c:v>
                </c:pt>
                <c:pt idx="3811">
                  <c:v>-9.5798319327731002E-2</c:v>
                </c:pt>
                <c:pt idx="3812">
                  <c:v>-9.5798319327731002E-2</c:v>
                </c:pt>
                <c:pt idx="3813">
                  <c:v>-9.5798319327731002E-2</c:v>
                </c:pt>
                <c:pt idx="3814">
                  <c:v>-9.5798319327731002E-2</c:v>
                </c:pt>
                <c:pt idx="3815">
                  <c:v>-9.6638655462184794E-2</c:v>
                </c:pt>
                <c:pt idx="3816">
                  <c:v>-9.6638655462184794E-2</c:v>
                </c:pt>
                <c:pt idx="3817">
                  <c:v>-9.6638655462184794E-2</c:v>
                </c:pt>
                <c:pt idx="3818">
                  <c:v>-9.6638655462184794E-2</c:v>
                </c:pt>
                <c:pt idx="3819">
                  <c:v>-9.6638655462184794E-2</c:v>
                </c:pt>
                <c:pt idx="3820">
                  <c:v>-9.6638655462184794E-2</c:v>
                </c:pt>
                <c:pt idx="3821">
                  <c:v>-9.6638655462184794E-2</c:v>
                </c:pt>
                <c:pt idx="3822">
                  <c:v>-9.6638655462184794E-2</c:v>
                </c:pt>
                <c:pt idx="3823">
                  <c:v>-9.6638655462184794E-2</c:v>
                </c:pt>
                <c:pt idx="3824">
                  <c:v>-9.6638655462184794E-2</c:v>
                </c:pt>
                <c:pt idx="3825">
                  <c:v>-9.6638655462184794E-2</c:v>
                </c:pt>
                <c:pt idx="3826">
                  <c:v>-9.6638655462184794E-2</c:v>
                </c:pt>
                <c:pt idx="3827">
                  <c:v>-9.6638655462184794E-2</c:v>
                </c:pt>
                <c:pt idx="3828">
                  <c:v>-9.6638655462184794E-2</c:v>
                </c:pt>
                <c:pt idx="3829">
                  <c:v>-9.6638655462184794E-2</c:v>
                </c:pt>
                <c:pt idx="3830">
                  <c:v>-9.6638655462184794E-2</c:v>
                </c:pt>
                <c:pt idx="3831">
                  <c:v>-9.6638655462184794E-2</c:v>
                </c:pt>
                <c:pt idx="3832">
                  <c:v>-9.6638655462184794E-2</c:v>
                </c:pt>
                <c:pt idx="3833">
                  <c:v>-9.6638655462184794E-2</c:v>
                </c:pt>
                <c:pt idx="3834">
                  <c:v>-9.6638655462184794E-2</c:v>
                </c:pt>
                <c:pt idx="3835">
                  <c:v>-9.6638655462184794E-2</c:v>
                </c:pt>
                <c:pt idx="3836">
                  <c:v>-9.6638655462184794E-2</c:v>
                </c:pt>
                <c:pt idx="3837">
                  <c:v>-9.6638655462184794E-2</c:v>
                </c:pt>
                <c:pt idx="3838">
                  <c:v>-9.6638655462184794E-2</c:v>
                </c:pt>
                <c:pt idx="3839">
                  <c:v>-9.6638655462184794E-2</c:v>
                </c:pt>
                <c:pt idx="3840">
                  <c:v>-9.6638655462184794E-2</c:v>
                </c:pt>
                <c:pt idx="3841">
                  <c:v>-9.6638655462184794E-2</c:v>
                </c:pt>
                <c:pt idx="3842">
                  <c:v>-9.6638655462184794E-2</c:v>
                </c:pt>
                <c:pt idx="3843">
                  <c:v>-9.6638655462184794E-2</c:v>
                </c:pt>
                <c:pt idx="3844">
                  <c:v>-9.6638655462184794E-2</c:v>
                </c:pt>
                <c:pt idx="3845">
                  <c:v>-9.6638655462184794E-2</c:v>
                </c:pt>
                <c:pt idx="3846">
                  <c:v>-9.6638655462184794E-2</c:v>
                </c:pt>
                <c:pt idx="3847">
                  <c:v>-9.6638655462184794E-2</c:v>
                </c:pt>
                <c:pt idx="3848">
                  <c:v>-9.6638655462184794E-2</c:v>
                </c:pt>
                <c:pt idx="3849">
                  <c:v>-9.7478991596638601E-2</c:v>
                </c:pt>
                <c:pt idx="3850">
                  <c:v>-9.7478991596638601E-2</c:v>
                </c:pt>
                <c:pt idx="3851">
                  <c:v>-9.7478991596638601E-2</c:v>
                </c:pt>
                <c:pt idx="3852">
                  <c:v>-9.8319327731092407E-2</c:v>
                </c:pt>
                <c:pt idx="3853">
                  <c:v>-9.8319327731092407E-2</c:v>
                </c:pt>
                <c:pt idx="3854">
                  <c:v>-9.8319327731092407E-2</c:v>
                </c:pt>
                <c:pt idx="3855">
                  <c:v>-9.8319327731092407E-2</c:v>
                </c:pt>
                <c:pt idx="3856">
                  <c:v>-9.8319327731092407E-2</c:v>
                </c:pt>
                <c:pt idx="3857">
                  <c:v>-9.8319327731092407E-2</c:v>
                </c:pt>
                <c:pt idx="3858">
                  <c:v>-9.8319327731092407E-2</c:v>
                </c:pt>
                <c:pt idx="3859">
                  <c:v>-9.9159663865546199E-2</c:v>
                </c:pt>
                <c:pt idx="3860">
                  <c:v>-9.9159663865546199E-2</c:v>
                </c:pt>
                <c:pt idx="3861">
                  <c:v>-9.9159663865546199E-2</c:v>
                </c:pt>
                <c:pt idx="3862">
                  <c:v>-9.9159663865546199E-2</c:v>
                </c:pt>
                <c:pt idx="3863">
                  <c:v>-9.9159663865546199E-2</c:v>
                </c:pt>
                <c:pt idx="3864">
                  <c:v>-9.9159663865546199E-2</c:v>
                </c:pt>
                <c:pt idx="3865">
                  <c:v>-9.9159663865546199E-2</c:v>
                </c:pt>
                <c:pt idx="3866">
                  <c:v>-9.9159663865546199E-2</c:v>
                </c:pt>
                <c:pt idx="3867">
                  <c:v>-9.9159663865546199E-2</c:v>
                </c:pt>
                <c:pt idx="3868">
                  <c:v>-9.9159663865546199E-2</c:v>
                </c:pt>
                <c:pt idx="3869">
                  <c:v>-9.9159663865546199E-2</c:v>
                </c:pt>
                <c:pt idx="3870">
                  <c:v>-9.9159663865546199E-2</c:v>
                </c:pt>
                <c:pt idx="3871">
                  <c:v>-9.9159663865546199E-2</c:v>
                </c:pt>
                <c:pt idx="3872">
                  <c:v>-9.9159663865546199E-2</c:v>
                </c:pt>
                <c:pt idx="3873">
                  <c:v>-9.9159663865546199E-2</c:v>
                </c:pt>
                <c:pt idx="3874">
                  <c:v>-9.9159663865546199E-2</c:v>
                </c:pt>
                <c:pt idx="3875">
                  <c:v>-9.9159663865546199E-2</c:v>
                </c:pt>
                <c:pt idx="3876">
                  <c:v>-9.9159663865546199E-2</c:v>
                </c:pt>
                <c:pt idx="3877">
                  <c:v>-9.9159663865546199E-2</c:v>
                </c:pt>
                <c:pt idx="3878">
                  <c:v>-9.9159663865546199E-2</c:v>
                </c:pt>
                <c:pt idx="3879">
                  <c:v>-9.8319327731092407E-2</c:v>
                </c:pt>
                <c:pt idx="3880">
                  <c:v>-9.8319327731092407E-2</c:v>
                </c:pt>
                <c:pt idx="3881">
                  <c:v>-9.8319327731092407E-2</c:v>
                </c:pt>
                <c:pt idx="3882">
                  <c:v>-9.8319327731092407E-2</c:v>
                </c:pt>
                <c:pt idx="3883">
                  <c:v>-9.8319327731092407E-2</c:v>
                </c:pt>
                <c:pt idx="3884">
                  <c:v>-9.8319327731092407E-2</c:v>
                </c:pt>
                <c:pt idx="3885">
                  <c:v>-9.8319327731092407E-2</c:v>
                </c:pt>
                <c:pt idx="3886">
                  <c:v>-9.8319327731092407E-2</c:v>
                </c:pt>
                <c:pt idx="3887">
                  <c:v>-9.8319327731092407E-2</c:v>
                </c:pt>
                <c:pt idx="3888">
                  <c:v>-9.8319327731092407E-2</c:v>
                </c:pt>
                <c:pt idx="3889">
                  <c:v>-9.8319327731092407E-2</c:v>
                </c:pt>
                <c:pt idx="3890">
                  <c:v>-9.8319327731092407E-2</c:v>
                </c:pt>
                <c:pt idx="3891">
                  <c:v>-9.8319327731092407E-2</c:v>
                </c:pt>
                <c:pt idx="3892">
                  <c:v>-9.8319327731092407E-2</c:v>
                </c:pt>
                <c:pt idx="3893">
                  <c:v>-9.9159663865546199E-2</c:v>
                </c:pt>
                <c:pt idx="3894">
                  <c:v>-9.9159663865546199E-2</c:v>
                </c:pt>
                <c:pt idx="3895">
                  <c:v>-9.9159663865546199E-2</c:v>
                </c:pt>
                <c:pt idx="3896">
                  <c:v>-9.9159663865546199E-2</c:v>
                </c:pt>
                <c:pt idx="3897">
                  <c:v>-9.9159663865546199E-2</c:v>
                </c:pt>
                <c:pt idx="3898">
                  <c:v>-9.9159663865546199E-2</c:v>
                </c:pt>
                <c:pt idx="3899">
                  <c:v>-9.9159663865546199E-2</c:v>
                </c:pt>
                <c:pt idx="3900">
                  <c:v>-9.9159663865546199E-2</c:v>
                </c:pt>
                <c:pt idx="3901">
                  <c:v>-9.9159663865546199E-2</c:v>
                </c:pt>
                <c:pt idx="3902">
                  <c:v>-9.9159663865546199E-2</c:v>
                </c:pt>
                <c:pt idx="3903">
                  <c:v>-9.9159663865546199E-2</c:v>
                </c:pt>
                <c:pt idx="3904">
                  <c:v>-9.8319327731092407E-2</c:v>
                </c:pt>
                <c:pt idx="3905">
                  <c:v>-9.8319327731092407E-2</c:v>
                </c:pt>
                <c:pt idx="3906">
                  <c:v>-9.8319327731092407E-2</c:v>
                </c:pt>
                <c:pt idx="3907">
                  <c:v>-9.8319327731092407E-2</c:v>
                </c:pt>
                <c:pt idx="3908">
                  <c:v>-9.8319327731092407E-2</c:v>
                </c:pt>
                <c:pt idx="3909">
                  <c:v>-9.8319327731092407E-2</c:v>
                </c:pt>
                <c:pt idx="3910">
                  <c:v>-9.8319327731092407E-2</c:v>
                </c:pt>
                <c:pt idx="3911">
                  <c:v>-9.8319327731092407E-2</c:v>
                </c:pt>
                <c:pt idx="3912">
                  <c:v>-9.8319327731092407E-2</c:v>
                </c:pt>
                <c:pt idx="3913">
                  <c:v>-9.7478991596638601E-2</c:v>
                </c:pt>
                <c:pt idx="3914">
                  <c:v>-9.7478991596638601E-2</c:v>
                </c:pt>
                <c:pt idx="3915">
                  <c:v>-9.7478991596638601E-2</c:v>
                </c:pt>
                <c:pt idx="3916">
                  <c:v>-9.6638655462184794E-2</c:v>
                </c:pt>
                <c:pt idx="3917">
                  <c:v>-9.6638655462184794E-2</c:v>
                </c:pt>
                <c:pt idx="3918">
                  <c:v>-9.6638655462184794E-2</c:v>
                </c:pt>
                <c:pt idx="3919">
                  <c:v>-9.6638655462184794E-2</c:v>
                </c:pt>
                <c:pt idx="3920">
                  <c:v>-9.6638655462184794E-2</c:v>
                </c:pt>
                <c:pt idx="3921">
                  <c:v>-9.6638655462184794E-2</c:v>
                </c:pt>
                <c:pt idx="3922">
                  <c:v>-9.7478991596638601E-2</c:v>
                </c:pt>
                <c:pt idx="3923">
                  <c:v>-9.7478991596638601E-2</c:v>
                </c:pt>
                <c:pt idx="3924">
                  <c:v>-9.7478991596638601E-2</c:v>
                </c:pt>
                <c:pt idx="3925">
                  <c:v>-9.7478991596638601E-2</c:v>
                </c:pt>
                <c:pt idx="3926">
                  <c:v>-9.7478991596638601E-2</c:v>
                </c:pt>
                <c:pt idx="3927">
                  <c:v>-9.7478991596638601E-2</c:v>
                </c:pt>
                <c:pt idx="3928">
                  <c:v>-9.7478991596638601E-2</c:v>
                </c:pt>
                <c:pt idx="3929">
                  <c:v>-9.8319327731092407E-2</c:v>
                </c:pt>
                <c:pt idx="3930">
                  <c:v>-9.9159663865546199E-2</c:v>
                </c:pt>
                <c:pt idx="3931">
                  <c:v>-9.9159663865546199E-2</c:v>
                </c:pt>
                <c:pt idx="3932">
                  <c:v>-9.9159663865546199E-2</c:v>
                </c:pt>
                <c:pt idx="3933">
                  <c:v>-9.8319327731092407E-2</c:v>
                </c:pt>
                <c:pt idx="3934">
                  <c:v>-9.8319327731092407E-2</c:v>
                </c:pt>
                <c:pt idx="3935">
                  <c:v>-9.8319327731092407E-2</c:v>
                </c:pt>
                <c:pt idx="3936">
                  <c:v>-9.8319327731092407E-2</c:v>
                </c:pt>
                <c:pt idx="3937">
                  <c:v>-9.8319327731092407E-2</c:v>
                </c:pt>
                <c:pt idx="3938">
                  <c:v>-9.8319327731092407E-2</c:v>
                </c:pt>
                <c:pt idx="3939">
                  <c:v>-9.7478991596638601E-2</c:v>
                </c:pt>
                <c:pt idx="3940">
                  <c:v>-9.7478991596638601E-2</c:v>
                </c:pt>
                <c:pt idx="3941">
                  <c:v>-9.7478991596638601E-2</c:v>
                </c:pt>
                <c:pt idx="3942">
                  <c:v>-9.7478991596638601E-2</c:v>
                </c:pt>
                <c:pt idx="3943">
                  <c:v>-9.7478991596638601E-2</c:v>
                </c:pt>
                <c:pt idx="3944">
                  <c:v>-9.7478991596638601E-2</c:v>
                </c:pt>
                <c:pt idx="3945">
                  <c:v>-9.7478991596638601E-2</c:v>
                </c:pt>
                <c:pt idx="3946">
                  <c:v>-9.7478991596638601E-2</c:v>
                </c:pt>
                <c:pt idx="3947">
                  <c:v>-9.8319327731092407E-2</c:v>
                </c:pt>
                <c:pt idx="3948">
                  <c:v>-9.8319327731092407E-2</c:v>
                </c:pt>
                <c:pt idx="3949">
                  <c:v>-9.8319327731092407E-2</c:v>
                </c:pt>
                <c:pt idx="3950">
                  <c:v>-9.8319327731092407E-2</c:v>
                </c:pt>
                <c:pt idx="3951">
                  <c:v>-9.8319327731092407E-2</c:v>
                </c:pt>
                <c:pt idx="3952">
                  <c:v>-9.8319327731092407E-2</c:v>
                </c:pt>
                <c:pt idx="3953">
                  <c:v>-9.8319327731092407E-2</c:v>
                </c:pt>
                <c:pt idx="3954">
                  <c:v>-9.8319327731092407E-2</c:v>
                </c:pt>
                <c:pt idx="3955">
                  <c:v>-9.8319327731092407E-2</c:v>
                </c:pt>
                <c:pt idx="3956">
                  <c:v>-9.8319327731092407E-2</c:v>
                </c:pt>
                <c:pt idx="3957">
                  <c:v>-9.8319327731092407E-2</c:v>
                </c:pt>
                <c:pt idx="3958">
                  <c:v>-9.8319327731092407E-2</c:v>
                </c:pt>
                <c:pt idx="3959">
                  <c:v>-9.8319327731092407E-2</c:v>
                </c:pt>
                <c:pt idx="3960">
                  <c:v>-9.7478991596638601E-2</c:v>
                </c:pt>
                <c:pt idx="3961">
                  <c:v>-9.7478991596638601E-2</c:v>
                </c:pt>
                <c:pt idx="3962">
                  <c:v>-9.7478991596638601E-2</c:v>
                </c:pt>
                <c:pt idx="3963">
                  <c:v>-9.7478991596638601E-2</c:v>
                </c:pt>
                <c:pt idx="3964">
                  <c:v>-9.7478991596638601E-2</c:v>
                </c:pt>
                <c:pt idx="3965">
                  <c:v>-9.7478991596638601E-2</c:v>
                </c:pt>
                <c:pt idx="3966">
                  <c:v>-9.6638655462184794E-2</c:v>
                </c:pt>
                <c:pt idx="3967">
                  <c:v>-9.6638655462184794E-2</c:v>
                </c:pt>
                <c:pt idx="3968">
                  <c:v>-9.6638655462184794E-2</c:v>
                </c:pt>
                <c:pt idx="3969">
                  <c:v>-9.5798319327731002E-2</c:v>
                </c:pt>
                <c:pt idx="3970">
                  <c:v>-9.5798319327731002E-2</c:v>
                </c:pt>
                <c:pt idx="3971">
                  <c:v>-9.5798319327731002E-2</c:v>
                </c:pt>
                <c:pt idx="3972">
                  <c:v>-9.5798319327731002E-2</c:v>
                </c:pt>
                <c:pt idx="3973">
                  <c:v>-9.5798319327731002E-2</c:v>
                </c:pt>
                <c:pt idx="3974">
                  <c:v>-9.5798319327731002E-2</c:v>
                </c:pt>
                <c:pt idx="3975">
                  <c:v>-9.5798319327731002E-2</c:v>
                </c:pt>
                <c:pt idx="3976">
                  <c:v>-9.5798319327731002E-2</c:v>
                </c:pt>
                <c:pt idx="3977">
                  <c:v>-9.5798319327731002E-2</c:v>
                </c:pt>
                <c:pt idx="3978">
                  <c:v>-9.5798319327731002E-2</c:v>
                </c:pt>
                <c:pt idx="3979">
                  <c:v>-9.5798319327731002E-2</c:v>
                </c:pt>
                <c:pt idx="3980">
                  <c:v>-9.5798319327731002E-2</c:v>
                </c:pt>
                <c:pt idx="3981">
                  <c:v>-9.5798319327731002E-2</c:v>
                </c:pt>
                <c:pt idx="3982">
                  <c:v>-9.5798319327731002E-2</c:v>
                </c:pt>
                <c:pt idx="3983">
                  <c:v>-9.5798319327731002E-2</c:v>
                </c:pt>
                <c:pt idx="3984">
                  <c:v>-9.5798319327731002E-2</c:v>
                </c:pt>
                <c:pt idx="3985">
                  <c:v>-9.6638655462184794E-2</c:v>
                </c:pt>
                <c:pt idx="3986">
                  <c:v>-9.6638655462184794E-2</c:v>
                </c:pt>
                <c:pt idx="3987">
                  <c:v>-9.6638655462184794E-2</c:v>
                </c:pt>
                <c:pt idx="3988">
                  <c:v>-9.6638655462184794E-2</c:v>
                </c:pt>
                <c:pt idx="3989">
                  <c:v>-9.6638655462184794E-2</c:v>
                </c:pt>
                <c:pt idx="3990">
                  <c:v>-9.6638655462184794E-2</c:v>
                </c:pt>
                <c:pt idx="3991">
                  <c:v>-9.6638655462184794E-2</c:v>
                </c:pt>
                <c:pt idx="3992">
                  <c:v>-9.6638655462184794E-2</c:v>
                </c:pt>
                <c:pt idx="3993">
                  <c:v>-9.6638655462184794E-2</c:v>
                </c:pt>
                <c:pt idx="3994">
                  <c:v>-9.6638655462184794E-2</c:v>
                </c:pt>
                <c:pt idx="3995">
                  <c:v>-9.5798319327731002E-2</c:v>
                </c:pt>
                <c:pt idx="3996">
                  <c:v>-9.5798319327731002E-2</c:v>
                </c:pt>
                <c:pt idx="3997">
                  <c:v>-9.5798319327731002E-2</c:v>
                </c:pt>
                <c:pt idx="3998">
                  <c:v>-9.5798319327731002E-2</c:v>
                </c:pt>
                <c:pt idx="3999">
                  <c:v>-9.5798319327731002E-2</c:v>
                </c:pt>
                <c:pt idx="4000">
                  <c:v>-9.5798319327731002E-2</c:v>
                </c:pt>
                <c:pt idx="4001">
                  <c:v>-9.5798319327731002E-2</c:v>
                </c:pt>
                <c:pt idx="4002">
                  <c:v>-9.5798319327731002E-2</c:v>
                </c:pt>
                <c:pt idx="4003">
                  <c:v>-9.4957983193277307E-2</c:v>
                </c:pt>
                <c:pt idx="4004">
                  <c:v>-9.4957983193277307E-2</c:v>
                </c:pt>
                <c:pt idx="4005">
                  <c:v>-9.4957983193277307E-2</c:v>
                </c:pt>
                <c:pt idx="4006">
                  <c:v>-9.4957983193277307E-2</c:v>
                </c:pt>
                <c:pt idx="4007">
                  <c:v>-9.4957983193277307E-2</c:v>
                </c:pt>
                <c:pt idx="4008">
                  <c:v>-9.4957983193277307E-2</c:v>
                </c:pt>
                <c:pt idx="4009">
                  <c:v>-9.4957983193277307E-2</c:v>
                </c:pt>
                <c:pt idx="4010">
                  <c:v>-9.4957983193277307E-2</c:v>
                </c:pt>
                <c:pt idx="4011">
                  <c:v>-9.4957983193277307E-2</c:v>
                </c:pt>
                <c:pt idx="4012">
                  <c:v>-9.4957983193277307E-2</c:v>
                </c:pt>
                <c:pt idx="4013">
                  <c:v>-9.4957983193277307E-2</c:v>
                </c:pt>
                <c:pt idx="4014">
                  <c:v>-9.4957983193277307E-2</c:v>
                </c:pt>
                <c:pt idx="4015">
                  <c:v>-9.4957983193277307E-2</c:v>
                </c:pt>
                <c:pt idx="4016">
                  <c:v>-9.4957983193277307E-2</c:v>
                </c:pt>
                <c:pt idx="4017">
                  <c:v>-9.4957983193277307E-2</c:v>
                </c:pt>
                <c:pt idx="4018">
                  <c:v>-9.4957983193277307E-2</c:v>
                </c:pt>
                <c:pt idx="4019">
                  <c:v>-9.41176470588235E-2</c:v>
                </c:pt>
                <c:pt idx="4020">
                  <c:v>-9.41176470588235E-2</c:v>
                </c:pt>
                <c:pt idx="4021">
                  <c:v>-9.4957983193277307E-2</c:v>
                </c:pt>
                <c:pt idx="4022">
                  <c:v>-9.4957983193277307E-2</c:v>
                </c:pt>
                <c:pt idx="4023">
                  <c:v>-9.4957983193277307E-2</c:v>
                </c:pt>
                <c:pt idx="4024">
                  <c:v>-9.4957983193277307E-2</c:v>
                </c:pt>
                <c:pt idx="4025">
                  <c:v>-9.5798319327731002E-2</c:v>
                </c:pt>
                <c:pt idx="4026">
                  <c:v>-9.5798319327731002E-2</c:v>
                </c:pt>
                <c:pt idx="4027">
                  <c:v>-9.5798319327731002E-2</c:v>
                </c:pt>
                <c:pt idx="4028">
                  <c:v>-9.5798319327731002E-2</c:v>
                </c:pt>
                <c:pt idx="4029">
                  <c:v>-9.5798319327731002E-2</c:v>
                </c:pt>
                <c:pt idx="4030">
                  <c:v>-9.5798319327731002E-2</c:v>
                </c:pt>
                <c:pt idx="4031">
                  <c:v>-9.5798319327731002E-2</c:v>
                </c:pt>
                <c:pt idx="4032">
                  <c:v>-9.5798319327731002E-2</c:v>
                </c:pt>
                <c:pt idx="4033">
                  <c:v>-9.5798319327731002E-2</c:v>
                </c:pt>
                <c:pt idx="4034">
                  <c:v>-9.5798319327731002E-2</c:v>
                </c:pt>
                <c:pt idx="4035">
                  <c:v>-9.5798319327731002E-2</c:v>
                </c:pt>
                <c:pt idx="4036">
                  <c:v>-9.5798319327731002E-2</c:v>
                </c:pt>
                <c:pt idx="4037">
                  <c:v>-9.5798319327731002E-2</c:v>
                </c:pt>
                <c:pt idx="4038">
                  <c:v>-9.5798319327731002E-2</c:v>
                </c:pt>
                <c:pt idx="4039">
                  <c:v>-9.5798319327731002E-2</c:v>
                </c:pt>
                <c:pt idx="4040">
                  <c:v>-9.5798319327731002E-2</c:v>
                </c:pt>
                <c:pt idx="4041">
                  <c:v>-9.5798319327731002E-2</c:v>
                </c:pt>
                <c:pt idx="4042">
                  <c:v>-9.5798319327731002E-2</c:v>
                </c:pt>
                <c:pt idx="4043">
                  <c:v>-9.5798319327731002E-2</c:v>
                </c:pt>
                <c:pt idx="4044">
                  <c:v>-9.5798319327731002E-2</c:v>
                </c:pt>
                <c:pt idx="4045">
                  <c:v>-9.5798319327731002E-2</c:v>
                </c:pt>
                <c:pt idx="4046">
                  <c:v>-9.5798319327731002E-2</c:v>
                </c:pt>
                <c:pt idx="4047">
                  <c:v>-9.5798319327731002E-2</c:v>
                </c:pt>
                <c:pt idx="4048">
                  <c:v>-9.5798319327731002E-2</c:v>
                </c:pt>
                <c:pt idx="4049">
                  <c:v>-9.4957983193277307E-2</c:v>
                </c:pt>
                <c:pt idx="4050">
                  <c:v>-9.4957983193277307E-2</c:v>
                </c:pt>
                <c:pt idx="4051">
                  <c:v>-9.4957983193277307E-2</c:v>
                </c:pt>
                <c:pt idx="4052">
                  <c:v>-9.4957983193277307E-2</c:v>
                </c:pt>
                <c:pt idx="4053">
                  <c:v>-9.4957983193277307E-2</c:v>
                </c:pt>
                <c:pt idx="4054">
                  <c:v>-9.4957983193277307E-2</c:v>
                </c:pt>
                <c:pt idx="4055">
                  <c:v>-9.4957983193277307E-2</c:v>
                </c:pt>
                <c:pt idx="4056">
                  <c:v>-9.4957983193277307E-2</c:v>
                </c:pt>
                <c:pt idx="4057">
                  <c:v>-9.4957983193277307E-2</c:v>
                </c:pt>
                <c:pt idx="4058">
                  <c:v>-9.4957983193277307E-2</c:v>
                </c:pt>
                <c:pt idx="4059">
                  <c:v>-9.4957983193277307E-2</c:v>
                </c:pt>
                <c:pt idx="4060">
                  <c:v>-9.4957983193277307E-2</c:v>
                </c:pt>
                <c:pt idx="4061">
                  <c:v>-9.4957983193277307E-2</c:v>
                </c:pt>
                <c:pt idx="4062">
                  <c:v>-9.4957983193277307E-2</c:v>
                </c:pt>
                <c:pt idx="4063">
                  <c:v>-9.4957983193277307E-2</c:v>
                </c:pt>
                <c:pt idx="4064">
                  <c:v>-9.4957983193277307E-2</c:v>
                </c:pt>
                <c:pt idx="4065">
                  <c:v>-9.4957983193277307E-2</c:v>
                </c:pt>
                <c:pt idx="4066">
                  <c:v>-9.5798319327731002E-2</c:v>
                </c:pt>
                <c:pt idx="4067">
                  <c:v>-9.5798319327731002E-2</c:v>
                </c:pt>
                <c:pt idx="4068">
                  <c:v>-9.5798319327731002E-2</c:v>
                </c:pt>
                <c:pt idx="4069">
                  <c:v>-9.5798319327731002E-2</c:v>
                </c:pt>
                <c:pt idx="4070">
                  <c:v>-9.5798319327731002E-2</c:v>
                </c:pt>
                <c:pt idx="4071">
                  <c:v>-9.5798319327731002E-2</c:v>
                </c:pt>
                <c:pt idx="4072">
                  <c:v>-9.5798319327731002E-2</c:v>
                </c:pt>
                <c:pt idx="4073">
                  <c:v>-9.5798319327731002E-2</c:v>
                </c:pt>
                <c:pt idx="4074">
                  <c:v>-9.5798319327731002E-2</c:v>
                </c:pt>
                <c:pt idx="4075">
                  <c:v>-9.5798319327731002E-2</c:v>
                </c:pt>
                <c:pt idx="4076">
                  <c:v>-9.5798319327731002E-2</c:v>
                </c:pt>
                <c:pt idx="4077">
                  <c:v>-9.5798319327731002E-2</c:v>
                </c:pt>
                <c:pt idx="4078">
                  <c:v>-9.5798319327731002E-2</c:v>
                </c:pt>
                <c:pt idx="4079">
                  <c:v>-9.5798319327731002E-2</c:v>
                </c:pt>
                <c:pt idx="4080">
                  <c:v>-9.5798319327731002E-2</c:v>
                </c:pt>
                <c:pt idx="4081">
                  <c:v>-9.5798319327731002E-2</c:v>
                </c:pt>
                <c:pt idx="4082">
                  <c:v>-9.5798319327731002E-2</c:v>
                </c:pt>
                <c:pt idx="4083">
                  <c:v>-9.5798319327731002E-2</c:v>
                </c:pt>
                <c:pt idx="4084">
                  <c:v>-9.5798319327731002E-2</c:v>
                </c:pt>
                <c:pt idx="4085">
                  <c:v>-9.5798319327731002E-2</c:v>
                </c:pt>
                <c:pt idx="4086">
                  <c:v>-9.5798319327731002E-2</c:v>
                </c:pt>
                <c:pt idx="4087">
                  <c:v>-9.5798319327731002E-2</c:v>
                </c:pt>
                <c:pt idx="4088">
                  <c:v>-9.5798319327731002E-2</c:v>
                </c:pt>
                <c:pt idx="4089">
                  <c:v>-9.6638655462184794E-2</c:v>
                </c:pt>
                <c:pt idx="4090">
                  <c:v>-9.6638655462184794E-2</c:v>
                </c:pt>
                <c:pt idx="4091">
                  <c:v>-9.6638655462184794E-2</c:v>
                </c:pt>
                <c:pt idx="4092">
                  <c:v>-9.7478991596638601E-2</c:v>
                </c:pt>
                <c:pt idx="4093">
                  <c:v>-9.7478991596638601E-2</c:v>
                </c:pt>
                <c:pt idx="4094">
                  <c:v>-9.7478991596638601E-2</c:v>
                </c:pt>
                <c:pt idx="4095">
                  <c:v>-9.7478991596638601E-2</c:v>
                </c:pt>
                <c:pt idx="4096">
                  <c:v>-9.6638655462184794E-2</c:v>
                </c:pt>
                <c:pt idx="4097">
                  <c:v>-9.6638655462184794E-2</c:v>
                </c:pt>
                <c:pt idx="4098">
                  <c:v>-9.6638655462184794E-2</c:v>
                </c:pt>
                <c:pt idx="4099">
                  <c:v>-9.6638655462184794E-2</c:v>
                </c:pt>
                <c:pt idx="4100">
                  <c:v>-9.6638655462184794E-2</c:v>
                </c:pt>
                <c:pt idx="4101">
                  <c:v>-9.6638655462184794E-2</c:v>
                </c:pt>
                <c:pt idx="4102">
                  <c:v>-9.6638655462184794E-2</c:v>
                </c:pt>
                <c:pt idx="4103">
                  <c:v>-9.7478991596638601E-2</c:v>
                </c:pt>
                <c:pt idx="4104">
                  <c:v>-9.7478991596638601E-2</c:v>
                </c:pt>
                <c:pt idx="4105">
                  <c:v>-9.7478991596638601E-2</c:v>
                </c:pt>
                <c:pt idx="4106">
                  <c:v>-9.7478991596638601E-2</c:v>
                </c:pt>
                <c:pt idx="4107">
                  <c:v>-9.7478991596638601E-2</c:v>
                </c:pt>
                <c:pt idx="4108">
                  <c:v>-9.7478991596638601E-2</c:v>
                </c:pt>
                <c:pt idx="4109">
                  <c:v>-9.7478991596638601E-2</c:v>
                </c:pt>
                <c:pt idx="4110">
                  <c:v>-9.7478991596638601E-2</c:v>
                </c:pt>
                <c:pt idx="4111">
                  <c:v>-9.7478991596638601E-2</c:v>
                </c:pt>
                <c:pt idx="4112">
                  <c:v>-9.7478991596638601E-2</c:v>
                </c:pt>
                <c:pt idx="4113">
                  <c:v>-9.7478991596638601E-2</c:v>
                </c:pt>
                <c:pt idx="4114">
                  <c:v>-9.7478991596638601E-2</c:v>
                </c:pt>
                <c:pt idx="4115">
                  <c:v>-9.7478991596638601E-2</c:v>
                </c:pt>
                <c:pt idx="4116">
                  <c:v>-9.7478991596638601E-2</c:v>
                </c:pt>
                <c:pt idx="4117">
                  <c:v>-9.8319327731092407E-2</c:v>
                </c:pt>
                <c:pt idx="4118">
                  <c:v>-9.8319327731092407E-2</c:v>
                </c:pt>
                <c:pt idx="4119">
                  <c:v>-9.8319327731092407E-2</c:v>
                </c:pt>
                <c:pt idx="4120">
                  <c:v>-9.8319327731092407E-2</c:v>
                </c:pt>
                <c:pt idx="4121">
                  <c:v>-9.8319327731092407E-2</c:v>
                </c:pt>
                <c:pt idx="4122">
                  <c:v>-9.8319327731092407E-2</c:v>
                </c:pt>
                <c:pt idx="4123">
                  <c:v>-9.8319327731092407E-2</c:v>
                </c:pt>
                <c:pt idx="4124">
                  <c:v>-9.8319327731092407E-2</c:v>
                </c:pt>
                <c:pt idx="4125">
                  <c:v>-9.8319327731092407E-2</c:v>
                </c:pt>
                <c:pt idx="4126">
                  <c:v>-9.8319327731092407E-2</c:v>
                </c:pt>
                <c:pt idx="4127">
                  <c:v>-9.9159663865546199E-2</c:v>
                </c:pt>
                <c:pt idx="4128">
                  <c:v>-9.9159663865546199E-2</c:v>
                </c:pt>
                <c:pt idx="4129">
                  <c:v>-9.8319327731092407E-2</c:v>
                </c:pt>
                <c:pt idx="4130">
                  <c:v>-9.8319327731092407E-2</c:v>
                </c:pt>
                <c:pt idx="4131">
                  <c:v>-9.8319327731092407E-2</c:v>
                </c:pt>
                <c:pt idx="4132">
                  <c:v>-9.8319327731092407E-2</c:v>
                </c:pt>
                <c:pt idx="4133">
                  <c:v>-9.8319327731092407E-2</c:v>
                </c:pt>
                <c:pt idx="4134">
                  <c:v>-9.8319327731092407E-2</c:v>
                </c:pt>
                <c:pt idx="4135">
                  <c:v>-9.8319327731092407E-2</c:v>
                </c:pt>
                <c:pt idx="4136">
                  <c:v>-9.8319327731092407E-2</c:v>
                </c:pt>
                <c:pt idx="4137">
                  <c:v>-9.8319327731092407E-2</c:v>
                </c:pt>
                <c:pt idx="4138">
                  <c:v>-9.8319327731092407E-2</c:v>
                </c:pt>
                <c:pt idx="4139">
                  <c:v>-9.8319327731092407E-2</c:v>
                </c:pt>
                <c:pt idx="4140">
                  <c:v>-9.8319327731092407E-2</c:v>
                </c:pt>
                <c:pt idx="4141">
                  <c:v>-9.7478991596638601E-2</c:v>
                </c:pt>
                <c:pt idx="4142">
                  <c:v>-9.6638655462184794E-2</c:v>
                </c:pt>
                <c:pt idx="4143">
                  <c:v>-9.6638655462184794E-2</c:v>
                </c:pt>
                <c:pt idx="4144">
                  <c:v>-9.6638655462184794E-2</c:v>
                </c:pt>
                <c:pt idx="4145">
                  <c:v>-9.6638655462184794E-2</c:v>
                </c:pt>
                <c:pt idx="4146">
                  <c:v>-9.6638655462184794E-2</c:v>
                </c:pt>
                <c:pt idx="4147">
                  <c:v>-9.6638655462184794E-2</c:v>
                </c:pt>
                <c:pt idx="4148">
                  <c:v>-9.6638655462184794E-2</c:v>
                </c:pt>
                <c:pt idx="4149">
                  <c:v>-9.6638655462184794E-2</c:v>
                </c:pt>
                <c:pt idx="4150">
                  <c:v>-9.5798319327731002E-2</c:v>
                </c:pt>
                <c:pt idx="4151">
                  <c:v>-9.5798319327731002E-2</c:v>
                </c:pt>
                <c:pt idx="4152">
                  <c:v>-9.5798319327731002E-2</c:v>
                </c:pt>
                <c:pt idx="4153">
                  <c:v>-9.5798319327731002E-2</c:v>
                </c:pt>
                <c:pt idx="4154">
                  <c:v>-9.5798319327731002E-2</c:v>
                </c:pt>
                <c:pt idx="4155">
                  <c:v>-9.5798319327731002E-2</c:v>
                </c:pt>
                <c:pt idx="4156">
                  <c:v>-9.5798319327731002E-2</c:v>
                </c:pt>
                <c:pt idx="4157">
                  <c:v>-9.5798319327731002E-2</c:v>
                </c:pt>
                <c:pt idx="4158">
                  <c:v>-9.5798319327731002E-2</c:v>
                </c:pt>
                <c:pt idx="4159">
                  <c:v>-9.5798319327731002E-2</c:v>
                </c:pt>
                <c:pt idx="4160">
                  <c:v>-9.5798319327731002E-2</c:v>
                </c:pt>
                <c:pt idx="4161">
                  <c:v>-9.4957983193277196E-2</c:v>
                </c:pt>
                <c:pt idx="4162">
                  <c:v>-9.4957983193277196E-2</c:v>
                </c:pt>
                <c:pt idx="4163">
                  <c:v>-9.4957983193277196E-2</c:v>
                </c:pt>
                <c:pt idx="4164">
                  <c:v>-9.4957983193277196E-2</c:v>
                </c:pt>
                <c:pt idx="4165">
                  <c:v>-9.4957983193277196E-2</c:v>
                </c:pt>
                <c:pt idx="4166">
                  <c:v>-9.4957983193277196E-2</c:v>
                </c:pt>
                <c:pt idx="4167">
                  <c:v>-9.4957983193277196E-2</c:v>
                </c:pt>
                <c:pt idx="4168">
                  <c:v>-9.4957983193277196E-2</c:v>
                </c:pt>
                <c:pt idx="4169">
                  <c:v>-9.4957983193277196E-2</c:v>
                </c:pt>
                <c:pt idx="4170">
                  <c:v>-9.4957983193277196E-2</c:v>
                </c:pt>
                <c:pt idx="4171">
                  <c:v>-9.4957983193277196E-2</c:v>
                </c:pt>
                <c:pt idx="4172">
                  <c:v>-9.4957983193277196E-2</c:v>
                </c:pt>
                <c:pt idx="4173">
                  <c:v>-9.4957983193277196E-2</c:v>
                </c:pt>
                <c:pt idx="4174">
                  <c:v>-9.4957983193277196E-2</c:v>
                </c:pt>
                <c:pt idx="4175">
                  <c:v>-9.4957983193277196E-2</c:v>
                </c:pt>
                <c:pt idx="4176">
                  <c:v>-9.4957983193277196E-2</c:v>
                </c:pt>
                <c:pt idx="4177">
                  <c:v>-9.4957983193277196E-2</c:v>
                </c:pt>
                <c:pt idx="4178">
                  <c:v>-9.4957983193277196E-2</c:v>
                </c:pt>
                <c:pt idx="4179">
                  <c:v>-9.4957983193277196E-2</c:v>
                </c:pt>
                <c:pt idx="4180">
                  <c:v>-9.4957983193277196E-2</c:v>
                </c:pt>
                <c:pt idx="4181">
                  <c:v>-9.4957983193277196E-2</c:v>
                </c:pt>
                <c:pt idx="4182">
                  <c:v>-9.4957983193277196E-2</c:v>
                </c:pt>
                <c:pt idx="4183">
                  <c:v>-9.4957983193277196E-2</c:v>
                </c:pt>
                <c:pt idx="4184">
                  <c:v>-9.4957983193277196E-2</c:v>
                </c:pt>
                <c:pt idx="4185">
                  <c:v>-9.4957983193277196E-2</c:v>
                </c:pt>
                <c:pt idx="4186">
                  <c:v>-9.4957983193277196E-2</c:v>
                </c:pt>
                <c:pt idx="4187">
                  <c:v>-9.4957983193277196E-2</c:v>
                </c:pt>
                <c:pt idx="4188">
                  <c:v>-9.4957983193277196E-2</c:v>
                </c:pt>
                <c:pt idx="4189">
                  <c:v>-9.4957983193277196E-2</c:v>
                </c:pt>
                <c:pt idx="4190">
                  <c:v>-9.4957983193277196E-2</c:v>
                </c:pt>
                <c:pt idx="4191">
                  <c:v>-9.4957983193277196E-2</c:v>
                </c:pt>
                <c:pt idx="4192">
                  <c:v>-9.4957983193277196E-2</c:v>
                </c:pt>
                <c:pt idx="4193">
                  <c:v>-9.5798319327731099E-2</c:v>
                </c:pt>
                <c:pt idx="4194">
                  <c:v>-9.5798319327731099E-2</c:v>
                </c:pt>
                <c:pt idx="4195">
                  <c:v>-9.5798319327731099E-2</c:v>
                </c:pt>
                <c:pt idx="4196">
                  <c:v>-9.5798319327731099E-2</c:v>
                </c:pt>
                <c:pt idx="4197">
                  <c:v>-9.5798319327731099E-2</c:v>
                </c:pt>
                <c:pt idx="4198">
                  <c:v>-9.5798319327731099E-2</c:v>
                </c:pt>
                <c:pt idx="4199">
                  <c:v>-9.5798319327731099E-2</c:v>
                </c:pt>
                <c:pt idx="4200">
                  <c:v>-9.5798319327731099E-2</c:v>
                </c:pt>
                <c:pt idx="4201">
                  <c:v>-9.5798319327731099E-2</c:v>
                </c:pt>
                <c:pt idx="4202">
                  <c:v>-9.5798319327731099E-2</c:v>
                </c:pt>
                <c:pt idx="4203">
                  <c:v>-9.6638655462184794E-2</c:v>
                </c:pt>
                <c:pt idx="4204">
                  <c:v>-9.6638655462184794E-2</c:v>
                </c:pt>
                <c:pt idx="4205">
                  <c:v>-9.6638655462184794E-2</c:v>
                </c:pt>
                <c:pt idx="4206">
                  <c:v>-9.6638655462184794E-2</c:v>
                </c:pt>
                <c:pt idx="4207">
                  <c:v>-9.5798319327731099E-2</c:v>
                </c:pt>
                <c:pt idx="4208">
                  <c:v>-9.5798319327731099E-2</c:v>
                </c:pt>
                <c:pt idx="4209">
                  <c:v>-9.5798319327731099E-2</c:v>
                </c:pt>
                <c:pt idx="4210">
                  <c:v>-9.5798319327731099E-2</c:v>
                </c:pt>
                <c:pt idx="4211">
                  <c:v>-9.5798319327731099E-2</c:v>
                </c:pt>
                <c:pt idx="4212">
                  <c:v>-9.5798319327731099E-2</c:v>
                </c:pt>
                <c:pt idx="4213">
                  <c:v>-9.5798319327731099E-2</c:v>
                </c:pt>
                <c:pt idx="4214">
                  <c:v>-9.5798319327731099E-2</c:v>
                </c:pt>
                <c:pt idx="4215">
                  <c:v>-9.5798319327731099E-2</c:v>
                </c:pt>
                <c:pt idx="4216">
                  <c:v>-9.5798319327731099E-2</c:v>
                </c:pt>
                <c:pt idx="4217">
                  <c:v>-9.5798319327731099E-2</c:v>
                </c:pt>
                <c:pt idx="4218">
                  <c:v>-9.5798319327731099E-2</c:v>
                </c:pt>
                <c:pt idx="4219">
                  <c:v>-9.5798319327731099E-2</c:v>
                </c:pt>
                <c:pt idx="4220">
                  <c:v>-9.5798319327731099E-2</c:v>
                </c:pt>
                <c:pt idx="4221">
                  <c:v>-9.4957983193277307E-2</c:v>
                </c:pt>
                <c:pt idx="4222">
                  <c:v>-9.4957983193277307E-2</c:v>
                </c:pt>
                <c:pt idx="4223">
                  <c:v>-9.4957983193277307E-2</c:v>
                </c:pt>
                <c:pt idx="4224">
                  <c:v>-9.4957983193277307E-2</c:v>
                </c:pt>
                <c:pt idx="4225">
                  <c:v>-9.4957983193277307E-2</c:v>
                </c:pt>
                <c:pt idx="4226">
                  <c:v>-9.4957983193277307E-2</c:v>
                </c:pt>
                <c:pt idx="4227">
                  <c:v>-9.4957983193277307E-2</c:v>
                </c:pt>
                <c:pt idx="4228">
                  <c:v>-9.4957983193277307E-2</c:v>
                </c:pt>
                <c:pt idx="4229">
                  <c:v>-9.5798319327731099E-2</c:v>
                </c:pt>
                <c:pt idx="4230">
                  <c:v>-9.5798319327731099E-2</c:v>
                </c:pt>
                <c:pt idx="4231">
                  <c:v>-9.5798319327731099E-2</c:v>
                </c:pt>
                <c:pt idx="4232">
                  <c:v>-9.5798319327731099E-2</c:v>
                </c:pt>
                <c:pt idx="4233">
                  <c:v>-9.5798319327731099E-2</c:v>
                </c:pt>
                <c:pt idx="4234">
                  <c:v>-9.5798319327731099E-2</c:v>
                </c:pt>
                <c:pt idx="4235">
                  <c:v>-9.5798319327731099E-2</c:v>
                </c:pt>
                <c:pt idx="4236">
                  <c:v>-9.5798319327731099E-2</c:v>
                </c:pt>
                <c:pt idx="4237">
                  <c:v>-9.5798319327731099E-2</c:v>
                </c:pt>
                <c:pt idx="4238">
                  <c:v>-9.5798319327731099E-2</c:v>
                </c:pt>
                <c:pt idx="4239">
                  <c:v>-9.5798319327731099E-2</c:v>
                </c:pt>
                <c:pt idx="4240">
                  <c:v>-9.5798319327731099E-2</c:v>
                </c:pt>
                <c:pt idx="4241">
                  <c:v>-9.5798319327731099E-2</c:v>
                </c:pt>
                <c:pt idx="4242">
                  <c:v>-9.5798319327731099E-2</c:v>
                </c:pt>
                <c:pt idx="4243">
                  <c:v>-9.5798319327731099E-2</c:v>
                </c:pt>
                <c:pt idx="4244">
                  <c:v>-9.5798319327731099E-2</c:v>
                </c:pt>
                <c:pt idx="4245">
                  <c:v>-9.5798319327731099E-2</c:v>
                </c:pt>
                <c:pt idx="4246">
                  <c:v>-9.5798319327731099E-2</c:v>
                </c:pt>
                <c:pt idx="4247">
                  <c:v>-9.5798319327731099E-2</c:v>
                </c:pt>
                <c:pt idx="4248">
                  <c:v>-9.5798319327731099E-2</c:v>
                </c:pt>
                <c:pt idx="4249">
                  <c:v>-9.5798319327731099E-2</c:v>
                </c:pt>
                <c:pt idx="4250">
                  <c:v>-9.5798319327731099E-2</c:v>
                </c:pt>
                <c:pt idx="4251">
                  <c:v>-9.5798319327731099E-2</c:v>
                </c:pt>
                <c:pt idx="4252">
                  <c:v>-9.5798319327731099E-2</c:v>
                </c:pt>
                <c:pt idx="4253">
                  <c:v>-9.5798319327731099E-2</c:v>
                </c:pt>
                <c:pt idx="4254">
                  <c:v>-9.5798319327731099E-2</c:v>
                </c:pt>
                <c:pt idx="4255">
                  <c:v>-9.5798319327731099E-2</c:v>
                </c:pt>
                <c:pt idx="4256">
                  <c:v>-9.5798319327731099E-2</c:v>
                </c:pt>
                <c:pt idx="4257">
                  <c:v>-9.5798319327731099E-2</c:v>
                </c:pt>
                <c:pt idx="4258">
                  <c:v>-9.5798319327731099E-2</c:v>
                </c:pt>
                <c:pt idx="4259">
                  <c:v>-9.5798319327731099E-2</c:v>
                </c:pt>
                <c:pt idx="4260">
                  <c:v>-9.5798319327731099E-2</c:v>
                </c:pt>
                <c:pt idx="4261">
                  <c:v>-9.5798319327731099E-2</c:v>
                </c:pt>
                <c:pt idx="4262">
                  <c:v>-9.5798319327731099E-2</c:v>
                </c:pt>
                <c:pt idx="4263">
                  <c:v>-9.4957983193277307E-2</c:v>
                </c:pt>
                <c:pt idx="4264">
                  <c:v>-9.4957983193277307E-2</c:v>
                </c:pt>
                <c:pt idx="4265">
                  <c:v>-9.4957983193277307E-2</c:v>
                </c:pt>
                <c:pt idx="4266">
                  <c:v>-9.4957983193277307E-2</c:v>
                </c:pt>
                <c:pt idx="4267">
                  <c:v>-9.4957983193277307E-2</c:v>
                </c:pt>
                <c:pt idx="4268">
                  <c:v>-9.4957983193277307E-2</c:v>
                </c:pt>
                <c:pt idx="4269">
                  <c:v>-9.4957983193277307E-2</c:v>
                </c:pt>
                <c:pt idx="4270">
                  <c:v>-9.4957983193277307E-2</c:v>
                </c:pt>
                <c:pt idx="4271">
                  <c:v>-9.4957983193277307E-2</c:v>
                </c:pt>
                <c:pt idx="4272">
                  <c:v>-9.4957983193277307E-2</c:v>
                </c:pt>
                <c:pt idx="4273">
                  <c:v>-9.4957983193277307E-2</c:v>
                </c:pt>
                <c:pt idx="4274">
                  <c:v>-9.4957983193277307E-2</c:v>
                </c:pt>
                <c:pt idx="4275">
                  <c:v>-9.4957983193277307E-2</c:v>
                </c:pt>
                <c:pt idx="4276">
                  <c:v>-9.41176470588235E-2</c:v>
                </c:pt>
                <c:pt idx="4277">
                  <c:v>-9.41176470588235E-2</c:v>
                </c:pt>
                <c:pt idx="4278">
                  <c:v>-9.41176470588235E-2</c:v>
                </c:pt>
                <c:pt idx="4279">
                  <c:v>-9.41176470588235E-2</c:v>
                </c:pt>
                <c:pt idx="4280">
                  <c:v>-9.41176470588235E-2</c:v>
                </c:pt>
                <c:pt idx="4281">
                  <c:v>-9.41176470588235E-2</c:v>
                </c:pt>
                <c:pt idx="4282">
                  <c:v>-9.41176470588235E-2</c:v>
                </c:pt>
                <c:pt idx="4283">
                  <c:v>-9.3277310924369694E-2</c:v>
                </c:pt>
                <c:pt idx="4284">
                  <c:v>-9.3277310924369694E-2</c:v>
                </c:pt>
                <c:pt idx="4285">
                  <c:v>-9.3277310924369694E-2</c:v>
                </c:pt>
                <c:pt idx="4286">
                  <c:v>-9.3277310924369694E-2</c:v>
                </c:pt>
                <c:pt idx="4287">
                  <c:v>-9.3277310924369694E-2</c:v>
                </c:pt>
                <c:pt idx="4288">
                  <c:v>-9.3277310924369694E-2</c:v>
                </c:pt>
                <c:pt idx="4289">
                  <c:v>-9.41176470588235E-2</c:v>
                </c:pt>
                <c:pt idx="4290">
                  <c:v>-9.41176470588235E-2</c:v>
                </c:pt>
                <c:pt idx="4291">
                  <c:v>-9.41176470588235E-2</c:v>
                </c:pt>
                <c:pt idx="4292">
                  <c:v>-9.41176470588235E-2</c:v>
                </c:pt>
                <c:pt idx="4293">
                  <c:v>-9.41176470588235E-2</c:v>
                </c:pt>
                <c:pt idx="4294">
                  <c:v>-9.41176470588235E-2</c:v>
                </c:pt>
                <c:pt idx="4295">
                  <c:v>-9.41176470588235E-2</c:v>
                </c:pt>
                <c:pt idx="4296">
                  <c:v>-9.41176470588235E-2</c:v>
                </c:pt>
                <c:pt idx="4297">
                  <c:v>-9.41176470588235E-2</c:v>
                </c:pt>
                <c:pt idx="4298">
                  <c:v>-9.41176470588235E-2</c:v>
                </c:pt>
                <c:pt idx="4299">
                  <c:v>-9.41176470588235E-2</c:v>
                </c:pt>
                <c:pt idx="4300">
                  <c:v>-9.4957983193277307E-2</c:v>
                </c:pt>
                <c:pt idx="4301">
                  <c:v>-9.4957983193277307E-2</c:v>
                </c:pt>
                <c:pt idx="4302">
                  <c:v>-9.4957983193277307E-2</c:v>
                </c:pt>
                <c:pt idx="4303">
                  <c:v>-9.5798319327731099E-2</c:v>
                </c:pt>
                <c:pt idx="4304">
                  <c:v>-9.4957983193277307E-2</c:v>
                </c:pt>
                <c:pt idx="4305">
                  <c:v>-9.4957983193277307E-2</c:v>
                </c:pt>
                <c:pt idx="4306">
                  <c:v>-9.4957983193277307E-2</c:v>
                </c:pt>
                <c:pt idx="4307">
                  <c:v>-9.4957983193277307E-2</c:v>
                </c:pt>
                <c:pt idx="4308">
                  <c:v>-9.4957983193277307E-2</c:v>
                </c:pt>
                <c:pt idx="4309">
                  <c:v>-9.4957983193277307E-2</c:v>
                </c:pt>
                <c:pt idx="4310">
                  <c:v>-9.4957983193277307E-2</c:v>
                </c:pt>
                <c:pt idx="4311">
                  <c:v>-9.4957983193277307E-2</c:v>
                </c:pt>
                <c:pt idx="4312">
                  <c:v>-9.4957983193277307E-2</c:v>
                </c:pt>
                <c:pt idx="4313">
                  <c:v>-9.41176470588235E-2</c:v>
                </c:pt>
                <c:pt idx="4314">
                  <c:v>-9.41176470588235E-2</c:v>
                </c:pt>
                <c:pt idx="4315">
                  <c:v>-9.41176470588235E-2</c:v>
                </c:pt>
                <c:pt idx="4316">
                  <c:v>-9.41176470588235E-2</c:v>
                </c:pt>
                <c:pt idx="4317">
                  <c:v>-9.4957983193277307E-2</c:v>
                </c:pt>
                <c:pt idx="4318">
                  <c:v>-9.4957983193277307E-2</c:v>
                </c:pt>
                <c:pt idx="4319">
                  <c:v>-9.4957983193277307E-2</c:v>
                </c:pt>
                <c:pt idx="4320">
                  <c:v>-9.4957983193277307E-2</c:v>
                </c:pt>
                <c:pt idx="4321">
                  <c:v>-9.4957983193277307E-2</c:v>
                </c:pt>
                <c:pt idx="4322">
                  <c:v>-9.4957983193277307E-2</c:v>
                </c:pt>
                <c:pt idx="4323">
                  <c:v>-9.4957983193277307E-2</c:v>
                </c:pt>
                <c:pt idx="4324">
                  <c:v>-9.4957983193277307E-2</c:v>
                </c:pt>
                <c:pt idx="4325">
                  <c:v>-9.4957983193277307E-2</c:v>
                </c:pt>
                <c:pt idx="4326">
                  <c:v>-9.4957983193277307E-2</c:v>
                </c:pt>
                <c:pt idx="4327">
                  <c:v>-9.4957983193277307E-2</c:v>
                </c:pt>
                <c:pt idx="4328">
                  <c:v>-9.4957983193277307E-2</c:v>
                </c:pt>
                <c:pt idx="4329">
                  <c:v>-9.4957983193277307E-2</c:v>
                </c:pt>
                <c:pt idx="4330">
                  <c:v>-9.4957983193277307E-2</c:v>
                </c:pt>
                <c:pt idx="4331">
                  <c:v>-9.4957983193277307E-2</c:v>
                </c:pt>
                <c:pt idx="4332">
                  <c:v>-9.4957983193277307E-2</c:v>
                </c:pt>
                <c:pt idx="4333">
                  <c:v>-9.4957983193277307E-2</c:v>
                </c:pt>
                <c:pt idx="4334">
                  <c:v>-9.4957983193277307E-2</c:v>
                </c:pt>
                <c:pt idx="4335">
                  <c:v>-9.4957983193277307E-2</c:v>
                </c:pt>
                <c:pt idx="4336">
                  <c:v>-9.4957983193277307E-2</c:v>
                </c:pt>
                <c:pt idx="4337">
                  <c:v>-9.4957983193277307E-2</c:v>
                </c:pt>
                <c:pt idx="4338">
                  <c:v>-9.4957983193277307E-2</c:v>
                </c:pt>
                <c:pt idx="4339">
                  <c:v>-9.4957983193277307E-2</c:v>
                </c:pt>
                <c:pt idx="4340">
                  <c:v>-9.4957983193277307E-2</c:v>
                </c:pt>
                <c:pt idx="4341">
                  <c:v>-9.4957983193277307E-2</c:v>
                </c:pt>
                <c:pt idx="4342">
                  <c:v>-9.4957983193277307E-2</c:v>
                </c:pt>
                <c:pt idx="4343">
                  <c:v>-9.4957983193277307E-2</c:v>
                </c:pt>
                <c:pt idx="4344">
                  <c:v>-9.41176470588235E-2</c:v>
                </c:pt>
                <c:pt idx="4345">
                  <c:v>-9.41176470588235E-2</c:v>
                </c:pt>
                <c:pt idx="4346">
                  <c:v>-9.41176470588235E-2</c:v>
                </c:pt>
                <c:pt idx="4347">
                  <c:v>-9.41176470588235E-2</c:v>
                </c:pt>
                <c:pt idx="4348">
                  <c:v>-9.41176470588235E-2</c:v>
                </c:pt>
                <c:pt idx="4349">
                  <c:v>-9.4957983193277307E-2</c:v>
                </c:pt>
                <c:pt idx="4350">
                  <c:v>-9.4957983193277307E-2</c:v>
                </c:pt>
                <c:pt idx="4351">
                  <c:v>-9.5798319327731002E-2</c:v>
                </c:pt>
                <c:pt idx="4352">
                  <c:v>-9.5798319327731002E-2</c:v>
                </c:pt>
                <c:pt idx="4353">
                  <c:v>-9.5798319327731002E-2</c:v>
                </c:pt>
                <c:pt idx="4354">
                  <c:v>-9.5798319327731002E-2</c:v>
                </c:pt>
                <c:pt idx="4355">
                  <c:v>-9.5798319327731002E-2</c:v>
                </c:pt>
                <c:pt idx="4356">
                  <c:v>-9.5798319327731002E-2</c:v>
                </c:pt>
                <c:pt idx="4357">
                  <c:v>-9.5798319327731002E-2</c:v>
                </c:pt>
                <c:pt idx="4358">
                  <c:v>-9.5798319327731002E-2</c:v>
                </c:pt>
                <c:pt idx="4359">
                  <c:v>-9.5798319327731002E-2</c:v>
                </c:pt>
                <c:pt idx="4360">
                  <c:v>-9.5798319327731002E-2</c:v>
                </c:pt>
                <c:pt idx="4361">
                  <c:v>-9.5798319327731002E-2</c:v>
                </c:pt>
                <c:pt idx="4362">
                  <c:v>-9.5798319327731002E-2</c:v>
                </c:pt>
                <c:pt idx="4363">
                  <c:v>-9.5798319327731002E-2</c:v>
                </c:pt>
                <c:pt idx="4364">
                  <c:v>-9.5798319327731002E-2</c:v>
                </c:pt>
                <c:pt idx="4365">
                  <c:v>-9.5798319327731002E-2</c:v>
                </c:pt>
                <c:pt idx="4366">
                  <c:v>-9.5798319327731002E-2</c:v>
                </c:pt>
                <c:pt idx="4367">
                  <c:v>-9.5798319327731002E-2</c:v>
                </c:pt>
                <c:pt idx="4368">
                  <c:v>-9.5798319327731002E-2</c:v>
                </c:pt>
                <c:pt idx="4369">
                  <c:v>-9.5798319327731002E-2</c:v>
                </c:pt>
                <c:pt idx="4370">
                  <c:v>-9.5798319327731002E-2</c:v>
                </c:pt>
                <c:pt idx="4371">
                  <c:v>-9.5798319327731002E-2</c:v>
                </c:pt>
                <c:pt idx="4372">
                  <c:v>-9.5798319327731002E-2</c:v>
                </c:pt>
                <c:pt idx="4373">
                  <c:v>-9.5798319327731002E-2</c:v>
                </c:pt>
                <c:pt idx="4374">
                  <c:v>-9.5798319327731002E-2</c:v>
                </c:pt>
                <c:pt idx="4375">
                  <c:v>-9.5798319327731002E-2</c:v>
                </c:pt>
                <c:pt idx="4376">
                  <c:v>-9.5798319327731002E-2</c:v>
                </c:pt>
                <c:pt idx="4377">
                  <c:v>-9.5798319327731002E-2</c:v>
                </c:pt>
                <c:pt idx="4378">
                  <c:v>-9.5798319327731002E-2</c:v>
                </c:pt>
                <c:pt idx="4379">
                  <c:v>-9.5798319327731002E-2</c:v>
                </c:pt>
                <c:pt idx="4380">
                  <c:v>-9.5798319327731002E-2</c:v>
                </c:pt>
                <c:pt idx="4381">
                  <c:v>-9.5798319327731002E-2</c:v>
                </c:pt>
                <c:pt idx="4382">
                  <c:v>-9.5798319327731002E-2</c:v>
                </c:pt>
                <c:pt idx="4383">
                  <c:v>-9.5798319327731002E-2</c:v>
                </c:pt>
                <c:pt idx="4384">
                  <c:v>-9.6638655462184794E-2</c:v>
                </c:pt>
                <c:pt idx="4385">
                  <c:v>-9.6638655462184794E-2</c:v>
                </c:pt>
                <c:pt idx="4386">
                  <c:v>-9.6638655462184794E-2</c:v>
                </c:pt>
                <c:pt idx="4387">
                  <c:v>-9.6638655462184794E-2</c:v>
                </c:pt>
                <c:pt idx="4388">
                  <c:v>-9.6638655462184794E-2</c:v>
                </c:pt>
                <c:pt idx="4389">
                  <c:v>-9.6638655462184794E-2</c:v>
                </c:pt>
                <c:pt idx="4390">
                  <c:v>-9.6638655462184794E-2</c:v>
                </c:pt>
                <c:pt idx="4391">
                  <c:v>-9.6638655462184794E-2</c:v>
                </c:pt>
                <c:pt idx="4392">
                  <c:v>-9.6638655462184794E-2</c:v>
                </c:pt>
                <c:pt idx="4393">
                  <c:v>-9.6638655462184794E-2</c:v>
                </c:pt>
                <c:pt idx="4394">
                  <c:v>-9.6638655462184794E-2</c:v>
                </c:pt>
                <c:pt idx="4395">
                  <c:v>-9.6638655462184794E-2</c:v>
                </c:pt>
                <c:pt idx="4396">
                  <c:v>-9.6638655462184794E-2</c:v>
                </c:pt>
                <c:pt idx="4397">
                  <c:v>-9.6638655462184794E-2</c:v>
                </c:pt>
                <c:pt idx="4398">
                  <c:v>-9.6638655462184794E-2</c:v>
                </c:pt>
                <c:pt idx="4399">
                  <c:v>-9.6638655462184794E-2</c:v>
                </c:pt>
                <c:pt idx="4400">
                  <c:v>-9.6638655462184794E-2</c:v>
                </c:pt>
                <c:pt idx="4401">
                  <c:v>-9.6638655462184794E-2</c:v>
                </c:pt>
                <c:pt idx="4402">
                  <c:v>-9.6638655462184794E-2</c:v>
                </c:pt>
                <c:pt idx="4403">
                  <c:v>-9.6638655462184794E-2</c:v>
                </c:pt>
                <c:pt idx="4404">
                  <c:v>-9.6638655462184794E-2</c:v>
                </c:pt>
                <c:pt idx="4405">
                  <c:v>-9.6638655462184794E-2</c:v>
                </c:pt>
                <c:pt idx="4406">
                  <c:v>-9.6638655462184794E-2</c:v>
                </c:pt>
                <c:pt idx="4407">
                  <c:v>-9.6638655462184794E-2</c:v>
                </c:pt>
                <c:pt idx="4408">
                  <c:v>-9.6638655462184794E-2</c:v>
                </c:pt>
                <c:pt idx="4409">
                  <c:v>-9.6638655462184794E-2</c:v>
                </c:pt>
                <c:pt idx="4410">
                  <c:v>-9.6638655462184794E-2</c:v>
                </c:pt>
                <c:pt idx="4411">
                  <c:v>-9.6638655462184794E-2</c:v>
                </c:pt>
                <c:pt idx="4412">
                  <c:v>-9.6638655462184794E-2</c:v>
                </c:pt>
                <c:pt idx="4413">
                  <c:v>-9.6638655462184794E-2</c:v>
                </c:pt>
                <c:pt idx="4414">
                  <c:v>-9.6638655462184794E-2</c:v>
                </c:pt>
                <c:pt idx="4415">
                  <c:v>-9.6638655462184794E-2</c:v>
                </c:pt>
                <c:pt idx="4416">
                  <c:v>-9.6638655462184794E-2</c:v>
                </c:pt>
                <c:pt idx="4417">
                  <c:v>-9.6638655462184794E-2</c:v>
                </c:pt>
                <c:pt idx="4418">
                  <c:v>-9.6638655462184794E-2</c:v>
                </c:pt>
                <c:pt idx="4419">
                  <c:v>-9.6638655462184794E-2</c:v>
                </c:pt>
                <c:pt idx="4420">
                  <c:v>-9.6638655462184794E-2</c:v>
                </c:pt>
                <c:pt idx="4421">
                  <c:v>-9.6638655462184794E-2</c:v>
                </c:pt>
                <c:pt idx="4422">
                  <c:v>-9.6638655462184794E-2</c:v>
                </c:pt>
                <c:pt idx="4423">
                  <c:v>-9.6638655462184794E-2</c:v>
                </c:pt>
                <c:pt idx="4424">
                  <c:v>-9.6638655462184794E-2</c:v>
                </c:pt>
                <c:pt idx="4425">
                  <c:v>-9.7478991596638601E-2</c:v>
                </c:pt>
                <c:pt idx="4426">
                  <c:v>-9.7478991596638601E-2</c:v>
                </c:pt>
                <c:pt idx="4427">
                  <c:v>-9.7478991596638601E-2</c:v>
                </c:pt>
                <c:pt idx="4428">
                  <c:v>-9.7478991596638601E-2</c:v>
                </c:pt>
                <c:pt idx="4429">
                  <c:v>-9.7478991596638601E-2</c:v>
                </c:pt>
                <c:pt idx="4430">
                  <c:v>-9.7478991596638601E-2</c:v>
                </c:pt>
                <c:pt idx="4431">
                  <c:v>-9.7478991596638601E-2</c:v>
                </c:pt>
                <c:pt idx="4432">
                  <c:v>-9.7478991596638601E-2</c:v>
                </c:pt>
                <c:pt idx="4433">
                  <c:v>-9.7478991596638601E-2</c:v>
                </c:pt>
                <c:pt idx="4434">
                  <c:v>-9.7478991596638601E-2</c:v>
                </c:pt>
                <c:pt idx="4435">
                  <c:v>-9.7478991596638601E-2</c:v>
                </c:pt>
                <c:pt idx="4436">
                  <c:v>-9.7478991596638601E-2</c:v>
                </c:pt>
                <c:pt idx="4437">
                  <c:v>-9.7478991596638601E-2</c:v>
                </c:pt>
                <c:pt idx="4438">
                  <c:v>-9.7478991596638601E-2</c:v>
                </c:pt>
                <c:pt idx="4439">
                  <c:v>-9.7478991596638601E-2</c:v>
                </c:pt>
                <c:pt idx="4440">
                  <c:v>-9.7478991596638601E-2</c:v>
                </c:pt>
                <c:pt idx="4441">
                  <c:v>-9.7478991596638601E-2</c:v>
                </c:pt>
                <c:pt idx="4442">
                  <c:v>-9.7478991596638601E-2</c:v>
                </c:pt>
                <c:pt idx="4443">
                  <c:v>-9.7478991596638601E-2</c:v>
                </c:pt>
                <c:pt idx="4444">
                  <c:v>-9.7478991596638601E-2</c:v>
                </c:pt>
                <c:pt idx="4445">
                  <c:v>-9.6638655462184794E-2</c:v>
                </c:pt>
                <c:pt idx="4446">
                  <c:v>-9.5798319327731002E-2</c:v>
                </c:pt>
                <c:pt idx="4447">
                  <c:v>-9.5798319327731002E-2</c:v>
                </c:pt>
                <c:pt idx="4448">
                  <c:v>-9.5798319327731002E-2</c:v>
                </c:pt>
                <c:pt idx="4449">
                  <c:v>-9.5798319327731002E-2</c:v>
                </c:pt>
                <c:pt idx="4450">
                  <c:v>-9.5798319327731002E-2</c:v>
                </c:pt>
                <c:pt idx="4451">
                  <c:v>-9.5798319327731002E-2</c:v>
                </c:pt>
                <c:pt idx="4452">
                  <c:v>-9.5798319327731002E-2</c:v>
                </c:pt>
                <c:pt idx="4453">
                  <c:v>-9.5798319327731002E-2</c:v>
                </c:pt>
                <c:pt idx="4454">
                  <c:v>-9.5798319327731002E-2</c:v>
                </c:pt>
                <c:pt idx="4455">
                  <c:v>-9.5798319327731002E-2</c:v>
                </c:pt>
                <c:pt idx="4456">
                  <c:v>-9.5798319327731002E-2</c:v>
                </c:pt>
                <c:pt idx="4457">
                  <c:v>-9.5798319327731002E-2</c:v>
                </c:pt>
                <c:pt idx="4458">
                  <c:v>-9.5798319327731002E-2</c:v>
                </c:pt>
                <c:pt idx="4459">
                  <c:v>-9.5798319327731002E-2</c:v>
                </c:pt>
                <c:pt idx="4460">
                  <c:v>-9.5798319327731002E-2</c:v>
                </c:pt>
                <c:pt idx="4461">
                  <c:v>-9.5798319327731002E-2</c:v>
                </c:pt>
                <c:pt idx="4462">
                  <c:v>-9.5798319327731002E-2</c:v>
                </c:pt>
                <c:pt idx="4463">
                  <c:v>-9.4957983193277307E-2</c:v>
                </c:pt>
                <c:pt idx="4464">
                  <c:v>-9.4957983193277307E-2</c:v>
                </c:pt>
                <c:pt idx="4465">
                  <c:v>-9.4957983193277307E-2</c:v>
                </c:pt>
                <c:pt idx="4466">
                  <c:v>-9.4957983193277307E-2</c:v>
                </c:pt>
                <c:pt idx="4467">
                  <c:v>-9.4957983193277307E-2</c:v>
                </c:pt>
                <c:pt idx="4468">
                  <c:v>-9.4957983193277307E-2</c:v>
                </c:pt>
                <c:pt idx="4469">
                  <c:v>-9.4957983193277307E-2</c:v>
                </c:pt>
                <c:pt idx="4470">
                  <c:v>-9.4957983193277307E-2</c:v>
                </c:pt>
                <c:pt idx="4471">
                  <c:v>-9.4957983193277307E-2</c:v>
                </c:pt>
                <c:pt idx="4472">
                  <c:v>-9.4957983193277307E-2</c:v>
                </c:pt>
                <c:pt idx="4473">
                  <c:v>-9.4957983193277307E-2</c:v>
                </c:pt>
                <c:pt idx="4474">
                  <c:v>-9.4957983193277307E-2</c:v>
                </c:pt>
                <c:pt idx="4475">
                  <c:v>-9.4957983193277307E-2</c:v>
                </c:pt>
                <c:pt idx="4476">
                  <c:v>-9.4957983193277307E-2</c:v>
                </c:pt>
                <c:pt idx="4477">
                  <c:v>-9.4957983193277307E-2</c:v>
                </c:pt>
                <c:pt idx="4478">
                  <c:v>-9.4957983193277307E-2</c:v>
                </c:pt>
                <c:pt idx="4479">
                  <c:v>-9.4957983193277307E-2</c:v>
                </c:pt>
                <c:pt idx="4480">
                  <c:v>-9.4957983193277307E-2</c:v>
                </c:pt>
                <c:pt idx="4481">
                  <c:v>-9.4957983193277307E-2</c:v>
                </c:pt>
                <c:pt idx="4482">
                  <c:v>-9.5798319327731002E-2</c:v>
                </c:pt>
                <c:pt idx="4483">
                  <c:v>-9.5798319327731002E-2</c:v>
                </c:pt>
                <c:pt idx="4484">
                  <c:v>-9.5798319327731002E-2</c:v>
                </c:pt>
                <c:pt idx="4485">
                  <c:v>-9.5798319327731002E-2</c:v>
                </c:pt>
                <c:pt idx="4486">
                  <c:v>-9.5798319327731002E-2</c:v>
                </c:pt>
                <c:pt idx="4487">
                  <c:v>-9.5798319327731002E-2</c:v>
                </c:pt>
                <c:pt idx="4488">
                  <c:v>-9.5798319327731002E-2</c:v>
                </c:pt>
                <c:pt idx="4489">
                  <c:v>-9.5798319327731002E-2</c:v>
                </c:pt>
                <c:pt idx="4490">
                  <c:v>-9.5798319327731002E-2</c:v>
                </c:pt>
                <c:pt idx="4491">
                  <c:v>-9.5798319327731002E-2</c:v>
                </c:pt>
                <c:pt idx="4492">
                  <c:v>-9.5798319327731002E-2</c:v>
                </c:pt>
                <c:pt idx="4493">
                  <c:v>-9.5798319327731002E-2</c:v>
                </c:pt>
                <c:pt idx="4494">
                  <c:v>-9.5798319327731002E-2</c:v>
                </c:pt>
                <c:pt idx="4495">
                  <c:v>-9.5798319327731002E-2</c:v>
                </c:pt>
                <c:pt idx="4496">
                  <c:v>-9.5798319327731002E-2</c:v>
                </c:pt>
                <c:pt idx="4497">
                  <c:v>-9.5798319327731002E-2</c:v>
                </c:pt>
                <c:pt idx="4498">
                  <c:v>-9.5798319327731002E-2</c:v>
                </c:pt>
                <c:pt idx="4499">
                  <c:v>-9.5798319327731002E-2</c:v>
                </c:pt>
                <c:pt idx="4500">
                  <c:v>-9.6638655462184794E-2</c:v>
                </c:pt>
                <c:pt idx="4501">
                  <c:v>-9.6638655462184794E-2</c:v>
                </c:pt>
                <c:pt idx="4502">
                  <c:v>-9.6638655462184794E-2</c:v>
                </c:pt>
                <c:pt idx="4503">
                  <c:v>-9.6638655462184794E-2</c:v>
                </c:pt>
                <c:pt idx="4504">
                  <c:v>-9.6638655462184794E-2</c:v>
                </c:pt>
                <c:pt idx="4505">
                  <c:v>-9.6638655462184794E-2</c:v>
                </c:pt>
                <c:pt idx="4506">
                  <c:v>-9.6638655462184794E-2</c:v>
                </c:pt>
                <c:pt idx="4507">
                  <c:v>-9.6638655462184794E-2</c:v>
                </c:pt>
                <c:pt idx="4508">
                  <c:v>-9.6638655462184794E-2</c:v>
                </c:pt>
                <c:pt idx="4509">
                  <c:v>-9.6638655462184794E-2</c:v>
                </c:pt>
                <c:pt idx="4510">
                  <c:v>-9.6638655462184794E-2</c:v>
                </c:pt>
                <c:pt idx="4511">
                  <c:v>-9.6638655462184794E-2</c:v>
                </c:pt>
                <c:pt idx="4512">
                  <c:v>-9.6638655462184794E-2</c:v>
                </c:pt>
                <c:pt idx="4513">
                  <c:v>-9.6638655462184794E-2</c:v>
                </c:pt>
                <c:pt idx="4514">
                  <c:v>-9.6638655462184794E-2</c:v>
                </c:pt>
                <c:pt idx="4515">
                  <c:v>-9.6638655462184794E-2</c:v>
                </c:pt>
                <c:pt idx="4516">
                  <c:v>-9.6638655462184794E-2</c:v>
                </c:pt>
                <c:pt idx="4517">
                  <c:v>-9.6638655462184794E-2</c:v>
                </c:pt>
                <c:pt idx="4518">
                  <c:v>-9.6638655462184794E-2</c:v>
                </c:pt>
                <c:pt idx="4519">
                  <c:v>-9.6638655462184794E-2</c:v>
                </c:pt>
                <c:pt idx="4520">
                  <c:v>-9.6638655462184794E-2</c:v>
                </c:pt>
                <c:pt idx="4521">
                  <c:v>-9.6638655462184794E-2</c:v>
                </c:pt>
                <c:pt idx="4522">
                  <c:v>-9.6638655462184794E-2</c:v>
                </c:pt>
                <c:pt idx="4523">
                  <c:v>-9.6638655462184794E-2</c:v>
                </c:pt>
                <c:pt idx="4524">
                  <c:v>-9.6638655462184794E-2</c:v>
                </c:pt>
                <c:pt idx="4525">
                  <c:v>-9.6638655462184794E-2</c:v>
                </c:pt>
                <c:pt idx="4526">
                  <c:v>-9.6638655462184794E-2</c:v>
                </c:pt>
                <c:pt idx="4527">
                  <c:v>-9.6638655462184794E-2</c:v>
                </c:pt>
                <c:pt idx="4528">
                  <c:v>-9.6638655462184794E-2</c:v>
                </c:pt>
                <c:pt idx="4529">
                  <c:v>-9.6638655462184794E-2</c:v>
                </c:pt>
                <c:pt idx="4530">
                  <c:v>-9.6638655462184794E-2</c:v>
                </c:pt>
                <c:pt idx="4531">
                  <c:v>-9.6638655462184794E-2</c:v>
                </c:pt>
                <c:pt idx="4532">
                  <c:v>-9.6638655462184794E-2</c:v>
                </c:pt>
                <c:pt idx="4533">
                  <c:v>-9.6638655462184794E-2</c:v>
                </c:pt>
                <c:pt idx="4534">
                  <c:v>-9.6638655462184794E-2</c:v>
                </c:pt>
                <c:pt idx="4535">
                  <c:v>-9.6638655462184794E-2</c:v>
                </c:pt>
                <c:pt idx="4536">
                  <c:v>-9.6638655462184794E-2</c:v>
                </c:pt>
                <c:pt idx="4537">
                  <c:v>-9.5798319327731002E-2</c:v>
                </c:pt>
                <c:pt idx="4538">
                  <c:v>-9.5798319327731002E-2</c:v>
                </c:pt>
                <c:pt idx="4539">
                  <c:v>-9.5798319327731002E-2</c:v>
                </c:pt>
                <c:pt idx="4540">
                  <c:v>-9.5798319327731002E-2</c:v>
                </c:pt>
                <c:pt idx="4541">
                  <c:v>-9.5798319327731002E-2</c:v>
                </c:pt>
                <c:pt idx="4542">
                  <c:v>-9.5798319327731002E-2</c:v>
                </c:pt>
                <c:pt idx="4543">
                  <c:v>-9.5798319327731002E-2</c:v>
                </c:pt>
                <c:pt idx="4544">
                  <c:v>-9.5798319327731002E-2</c:v>
                </c:pt>
                <c:pt idx="4545">
                  <c:v>-9.5798319327731002E-2</c:v>
                </c:pt>
                <c:pt idx="4546">
                  <c:v>-9.6638655462184794E-2</c:v>
                </c:pt>
                <c:pt idx="4547">
                  <c:v>-9.6638655462184794E-2</c:v>
                </c:pt>
                <c:pt idx="4548">
                  <c:v>-9.6638655462184794E-2</c:v>
                </c:pt>
                <c:pt idx="4549">
                  <c:v>-9.6638655462184794E-2</c:v>
                </c:pt>
                <c:pt idx="4550">
                  <c:v>-9.6638655462184794E-2</c:v>
                </c:pt>
                <c:pt idx="4551">
                  <c:v>-9.6638655462184794E-2</c:v>
                </c:pt>
                <c:pt idx="4552">
                  <c:v>-9.6638655462184794E-2</c:v>
                </c:pt>
                <c:pt idx="4553">
                  <c:v>-9.6638655462184794E-2</c:v>
                </c:pt>
                <c:pt idx="4554">
                  <c:v>-9.6638655462184794E-2</c:v>
                </c:pt>
                <c:pt idx="4555">
                  <c:v>-9.6638655462184794E-2</c:v>
                </c:pt>
                <c:pt idx="4556">
                  <c:v>-9.6638655462184794E-2</c:v>
                </c:pt>
                <c:pt idx="4557">
                  <c:v>-9.6638655462184794E-2</c:v>
                </c:pt>
                <c:pt idx="4558">
                  <c:v>-9.6638655462184794E-2</c:v>
                </c:pt>
                <c:pt idx="4559">
                  <c:v>-9.6638655462184794E-2</c:v>
                </c:pt>
                <c:pt idx="4560">
                  <c:v>-9.6638655462184794E-2</c:v>
                </c:pt>
                <c:pt idx="4561">
                  <c:v>-9.6638655462184794E-2</c:v>
                </c:pt>
                <c:pt idx="4562">
                  <c:v>-9.6638655462184794E-2</c:v>
                </c:pt>
                <c:pt idx="4563">
                  <c:v>-9.6638655462184794E-2</c:v>
                </c:pt>
                <c:pt idx="4564">
                  <c:v>-9.6638655462184794E-2</c:v>
                </c:pt>
                <c:pt idx="4565">
                  <c:v>-9.6638655462184794E-2</c:v>
                </c:pt>
                <c:pt idx="4566">
                  <c:v>-9.6638655462184794E-2</c:v>
                </c:pt>
                <c:pt idx="4567">
                  <c:v>-9.6638655462184794E-2</c:v>
                </c:pt>
                <c:pt idx="4568">
                  <c:v>-9.6638655462184794E-2</c:v>
                </c:pt>
                <c:pt idx="4569">
                  <c:v>-9.6638655462184794E-2</c:v>
                </c:pt>
                <c:pt idx="4570">
                  <c:v>-9.6638655462184794E-2</c:v>
                </c:pt>
                <c:pt idx="4571">
                  <c:v>-9.6638655462184794E-2</c:v>
                </c:pt>
                <c:pt idx="4572">
                  <c:v>-9.6638655462184794E-2</c:v>
                </c:pt>
                <c:pt idx="4573">
                  <c:v>-9.6638655462184794E-2</c:v>
                </c:pt>
                <c:pt idx="4574">
                  <c:v>-9.6638655462184794E-2</c:v>
                </c:pt>
                <c:pt idx="4575">
                  <c:v>-9.6638655462184794E-2</c:v>
                </c:pt>
                <c:pt idx="4576">
                  <c:v>-9.6638655462184794E-2</c:v>
                </c:pt>
                <c:pt idx="4577">
                  <c:v>-9.6638655462184794E-2</c:v>
                </c:pt>
                <c:pt idx="4578">
                  <c:v>-9.6638655462184794E-2</c:v>
                </c:pt>
                <c:pt idx="4579">
                  <c:v>-9.6638655462184794E-2</c:v>
                </c:pt>
                <c:pt idx="4580">
                  <c:v>-9.6638655462184794E-2</c:v>
                </c:pt>
                <c:pt idx="4581">
                  <c:v>-9.6638655462184794E-2</c:v>
                </c:pt>
                <c:pt idx="4582">
                  <c:v>-9.6638655462184794E-2</c:v>
                </c:pt>
                <c:pt idx="4583">
                  <c:v>-9.6638655462184794E-2</c:v>
                </c:pt>
                <c:pt idx="4584">
                  <c:v>-9.6638655462184794E-2</c:v>
                </c:pt>
                <c:pt idx="4585">
                  <c:v>-9.6638655462184794E-2</c:v>
                </c:pt>
                <c:pt idx="4586">
                  <c:v>-9.6638655462184794E-2</c:v>
                </c:pt>
                <c:pt idx="4587">
                  <c:v>-9.6638655462184794E-2</c:v>
                </c:pt>
                <c:pt idx="4588">
                  <c:v>-9.6638655462184794E-2</c:v>
                </c:pt>
                <c:pt idx="4589">
                  <c:v>-9.6638655462184794E-2</c:v>
                </c:pt>
                <c:pt idx="4590">
                  <c:v>-9.6638655462184794E-2</c:v>
                </c:pt>
                <c:pt idx="4591">
                  <c:v>-9.6638655462184794E-2</c:v>
                </c:pt>
                <c:pt idx="4592">
                  <c:v>-9.6638655462184794E-2</c:v>
                </c:pt>
                <c:pt idx="4593">
                  <c:v>-9.6638655462184794E-2</c:v>
                </c:pt>
                <c:pt idx="4594">
                  <c:v>-9.7478991596638601E-2</c:v>
                </c:pt>
                <c:pt idx="4595">
                  <c:v>-9.7478991596638601E-2</c:v>
                </c:pt>
                <c:pt idx="4596">
                  <c:v>-9.7478991596638601E-2</c:v>
                </c:pt>
                <c:pt idx="4597">
                  <c:v>-9.7478991596638601E-2</c:v>
                </c:pt>
                <c:pt idx="4598">
                  <c:v>-9.7478991596638601E-2</c:v>
                </c:pt>
                <c:pt idx="4599">
                  <c:v>-9.7478991596638601E-2</c:v>
                </c:pt>
                <c:pt idx="4600">
                  <c:v>-9.7478991596638601E-2</c:v>
                </c:pt>
                <c:pt idx="4601">
                  <c:v>-9.7478991596638601E-2</c:v>
                </c:pt>
                <c:pt idx="4602">
                  <c:v>-9.7478991596638601E-2</c:v>
                </c:pt>
                <c:pt idx="4603">
                  <c:v>-9.7478991596638601E-2</c:v>
                </c:pt>
                <c:pt idx="4604">
                  <c:v>-9.7478991596638601E-2</c:v>
                </c:pt>
                <c:pt idx="4605">
                  <c:v>-9.7478991596638601E-2</c:v>
                </c:pt>
                <c:pt idx="4606">
                  <c:v>-9.7478991596638601E-2</c:v>
                </c:pt>
                <c:pt idx="4607">
                  <c:v>-9.7478991596638601E-2</c:v>
                </c:pt>
                <c:pt idx="4608">
                  <c:v>-9.7478991596638601E-2</c:v>
                </c:pt>
                <c:pt idx="4609">
                  <c:v>-9.7478991596638601E-2</c:v>
                </c:pt>
                <c:pt idx="4610">
                  <c:v>-9.7478991596638601E-2</c:v>
                </c:pt>
                <c:pt idx="4611">
                  <c:v>-9.7478991596638601E-2</c:v>
                </c:pt>
                <c:pt idx="4612">
                  <c:v>-9.7478991596638601E-2</c:v>
                </c:pt>
                <c:pt idx="4613">
                  <c:v>-9.7478991596638601E-2</c:v>
                </c:pt>
                <c:pt idx="4614">
                  <c:v>-9.7478991596638601E-2</c:v>
                </c:pt>
                <c:pt idx="4615">
                  <c:v>-9.7478991596638601E-2</c:v>
                </c:pt>
                <c:pt idx="4616">
                  <c:v>-9.7478991596638601E-2</c:v>
                </c:pt>
                <c:pt idx="4617">
                  <c:v>-9.7478991596638601E-2</c:v>
                </c:pt>
                <c:pt idx="4618">
                  <c:v>-9.7478991596638601E-2</c:v>
                </c:pt>
                <c:pt idx="4619">
                  <c:v>-9.7478991596638601E-2</c:v>
                </c:pt>
                <c:pt idx="4620">
                  <c:v>-9.7478991596638601E-2</c:v>
                </c:pt>
                <c:pt idx="4621">
                  <c:v>-9.7478991596638601E-2</c:v>
                </c:pt>
                <c:pt idx="4622">
                  <c:v>-9.7478991596638601E-2</c:v>
                </c:pt>
                <c:pt idx="4623">
                  <c:v>-9.7478991596638601E-2</c:v>
                </c:pt>
                <c:pt idx="4624">
                  <c:v>-9.7478991596638601E-2</c:v>
                </c:pt>
                <c:pt idx="4625">
                  <c:v>-9.6638655462184794E-2</c:v>
                </c:pt>
                <c:pt idx="4626">
                  <c:v>-9.6638655462184794E-2</c:v>
                </c:pt>
                <c:pt idx="4627">
                  <c:v>-9.6638655462184794E-2</c:v>
                </c:pt>
                <c:pt idx="4628">
                  <c:v>-9.6638655462184794E-2</c:v>
                </c:pt>
                <c:pt idx="4629">
                  <c:v>-9.6638655462184794E-2</c:v>
                </c:pt>
                <c:pt idx="4630">
                  <c:v>-9.6638655462184794E-2</c:v>
                </c:pt>
                <c:pt idx="4631">
                  <c:v>-9.6638655462184794E-2</c:v>
                </c:pt>
                <c:pt idx="4632">
                  <c:v>-9.6638655462184794E-2</c:v>
                </c:pt>
                <c:pt idx="4633">
                  <c:v>-9.6638655462184794E-2</c:v>
                </c:pt>
                <c:pt idx="4634">
                  <c:v>-9.6638655462184794E-2</c:v>
                </c:pt>
                <c:pt idx="4635">
                  <c:v>-9.6638655462184794E-2</c:v>
                </c:pt>
                <c:pt idx="4636">
                  <c:v>-9.6638655462184794E-2</c:v>
                </c:pt>
                <c:pt idx="4637">
                  <c:v>-9.6638655462184794E-2</c:v>
                </c:pt>
                <c:pt idx="4638">
                  <c:v>-9.6638655462184794E-2</c:v>
                </c:pt>
                <c:pt idx="4639">
                  <c:v>-9.6638655462184794E-2</c:v>
                </c:pt>
                <c:pt idx="4640">
                  <c:v>-9.7478991596638601E-2</c:v>
                </c:pt>
                <c:pt idx="4641">
                  <c:v>-9.7478991596638601E-2</c:v>
                </c:pt>
                <c:pt idx="4642">
                  <c:v>-9.7478991596638601E-2</c:v>
                </c:pt>
                <c:pt idx="4643">
                  <c:v>-9.7478991596638601E-2</c:v>
                </c:pt>
                <c:pt idx="4644">
                  <c:v>-9.7478991596638601E-2</c:v>
                </c:pt>
                <c:pt idx="4645">
                  <c:v>-9.7478991596638601E-2</c:v>
                </c:pt>
                <c:pt idx="4646">
                  <c:v>-9.7478991596638601E-2</c:v>
                </c:pt>
                <c:pt idx="4647">
                  <c:v>-9.7478991596638601E-2</c:v>
                </c:pt>
                <c:pt idx="4648">
                  <c:v>-9.7478991596638601E-2</c:v>
                </c:pt>
                <c:pt idx="4649">
                  <c:v>-9.7478991596638601E-2</c:v>
                </c:pt>
                <c:pt idx="4650">
                  <c:v>-9.7478991596638601E-2</c:v>
                </c:pt>
                <c:pt idx="4651">
                  <c:v>-9.7478991596638601E-2</c:v>
                </c:pt>
                <c:pt idx="4652">
                  <c:v>-9.7478991596638601E-2</c:v>
                </c:pt>
                <c:pt idx="4653">
                  <c:v>-9.7478991596638601E-2</c:v>
                </c:pt>
                <c:pt idx="4654">
                  <c:v>-9.7478991596638601E-2</c:v>
                </c:pt>
                <c:pt idx="4655">
                  <c:v>-9.7478991596638601E-2</c:v>
                </c:pt>
                <c:pt idx="4656">
                  <c:v>-9.7478991596638601E-2</c:v>
                </c:pt>
                <c:pt idx="4657">
                  <c:v>-9.8319327731092407E-2</c:v>
                </c:pt>
                <c:pt idx="4658">
                  <c:v>-9.8319327731092407E-2</c:v>
                </c:pt>
                <c:pt idx="4659">
                  <c:v>-9.8319327731092407E-2</c:v>
                </c:pt>
                <c:pt idx="4660">
                  <c:v>-9.8319327731092407E-2</c:v>
                </c:pt>
                <c:pt idx="4661">
                  <c:v>-9.8319327731092407E-2</c:v>
                </c:pt>
                <c:pt idx="4662">
                  <c:v>-9.8319327731092407E-2</c:v>
                </c:pt>
                <c:pt idx="4663">
                  <c:v>-9.8319327731092407E-2</c:v>
                </c:pt>
                <c:pt idx="4664">
                  <c:v>-9.8319327731092407E-2</c:v>
                </c:pt>
                <c:pt idx="4665">
                  <c:v>-9.8319327731092407E-2</c:v>
                </c:pt>
                <c:pt idx="4666">
                  <c:v>-9.8319327731092407E-2</c:v>
                </c:pt>
                <c:pt idx="4667">
                  <c:v>-9.8319327731092407E-2</c:v>
                </c:pt>
                <c:pt idx="4668">
                  <c:v>-9.8319327731092407E-2</c:v>
                </c:pt>
                <c:pt idx="4669">
                  <c:v>-9.8319327731092407E-2</c:v>
                </c:pt>
                <c:pt idx="4670">
                  <c:v>-9.8319327731092407E-2</c:v>
                </c:pt>
                <c:pt idx="4671">
                  <c:v>-9.8319327731092407E-2</c:v>
                </c:pt>
                <c:pt idx="4672">
                  <c:v>-9.8319327731092407E-2</c:v>
                </c:pt>
                <c:pt idx="4673">
                  <c:v>-9.8319327731092407E-2</c:v>
                </c:pt>
                <c:pt idx="4674">
                  <c:v>-9.8319327731092407E-2</c:v>
                </c:pt>
                <c:pt idx="4675">
                  <c:v>-9.8319327731092407E-2</c:v>
                </c:pt>
                <c:pt idx="4676">
                  <c:v>-9.8319327731092407E-2</c:v>
                </c:pt>
                <c:pt idx="4677">
                  <c:v>-9.9159663865546199E-2</c:v>
                </c:pt>
                <c:pt idx="4678">
                  <c:v>-9.9159663865546199E-2</c:v>
                </c:pt>
                <c:pt idx="4679">
                  <c:v>-9.9159663865546199E-2</c:v>
                </c:pt>
                <c:pt idx="4680">
                  <c:v>-9.9159663865546199E-2</c:v>
                </c:pt>
                <c:pt idx="4681">
                  <c:v>-9.9159663865546199E-2</c:v>
                </c:pt>
                <c:pt idx="4682">
                  <c:v>-9.9159663865546199E-2</c:v>
                </c:pt>
                <c:pt idx="4683">
                  <c:v>-9.9159663865546199E-2</c:v>
                </c:pt>
                <c:pt idx="4684">
                  <c:v>-9.9159663865546199E-2</c:v>
                </c:pt>
                <c:pt idx="4685">
                  <c:v>-9.9159663865546199E-2</c:v>
                </c:pt>
                <c:pt idx="4686">
                  <c:v>-9.9159663865546199E-2</c:v>
                </c:pt>
                <c:pt idx="4687">
                  <c:v>-9.9159663865546199E-2</c:v>
                </c:pt>
                <c:pt idx="4688">
                  <c:v>-9.9159663865546199E-2</c:v>
                </c:pt>
                <c:pt idx="4689">
                  <c:v>-9.9159663865546199E-2</c:v>
                </c:pt>
                <c:pt idx="4690">
                  <c:v>-9.9159663865546199E-2</c:v>
                </c:pt>
                <c:pt idx="4691">
                  <c:v>-9.9159663865546199E-2</c:v>
                </c:pt>
                <c:pt idx="4692">
                  <c:v>-9.9159663865546199E-2</c:v>
                </c:pt>
                <c:pt idx="4693">
                  <c:v>-9.9159663865546199E-2</c:v>
                </c:pt>
                <c:pt idx="4694">
                  <c:v>-9.9159663865546199E-2</c:v>
                </c:pt>
                <c:pt idx="4695">
                  <c:v>-9.9159663865546199E-2</c:v>
                </c:pt>
                <c:pt idx="4696">
                  <c:v>-9.9159663865546199E-2</c:v>
                </c:pt>
                <c:pt idx="4697">
                  <c:v>-9.9159663865546199E-2</c:v>
                </c:pt>
                <c:pt idx="4698">
                  <c:v>-9.9159663865546199E-2</c:v>
                </c:pt>
                <c:pt idx="4699">
                  <c:v>-9.9159663865546199E-2</c:v>
                </c:pt>
                <c:pt idx="4700">
                  <c:v>-9.9159663865546199E-2</c:v>
                </c:pt>
                <c:pt idx="4701">
                  <c:v>-9.9159663865546199E-2</c:v>
                </c:pt>
                <c:pt idx="4702">
                  <c:v>-9.9159663865546199E-2</c:v>
                </c:pt>
                <c:pt idx="4703">
                  <c:v>-0.1</c:v>
                </c:pt>
                <c:pt idx="4704">
                  <c:v>-0.1</c:v>
                </c:pt>
                <c:pt idx="4705">
                  <c:v>-0.1</c:v>
                </c:pt>
                <c:pt idx="4706">
                  <c:v>-0.1</c:v>
                </c:pt>
                <c:pt idx="4707">
                  <c:v>-0.1</c:v>
                </c:pt>
                <c:pt idx="4708">
                  <c:v>-0.1</c:v>
                </c:pt>
                <c:pt idx="4709">
                  <c:v>-0.1</c:v>
                </c:pt>
                <c:pt idx="4710">
                  <c:v>-0.1</c:v>
                </c:pt>
                <c:pt idx="4711">
                  <c:v>-0.1</c:v>
                </c:pt>
                <c:pt idx="4712">
                  <c:v>-0.1</c:v>
                </c:pt>
                <c:pt idx="4713">
                  <c:v>-0.1</c:v>
                </c:pt>
                <c:pt idx="4714">
                  <c:v>-0.1</c:v>
                </c:pt>
                <c:pt idx="4715">
                  <c:v>-0.1</c:v>
                </c:pt>
                <c:pt idx="4716">
                  <c:v>-0.1</c:v>
                </c:pt>
                <c:pt idx="4717">
                  <c:v>-0.1</c:v>
                </c:pt>
                <c:pt idx="4718">
                  <c:v>-0.1</c:v>
                </c:pt>
                <c:pt idx="4719">
                  <c:v>-0.10084033613445301</c:v>
                </c:pt>
                <c:pt idx="4720">
                  <c:v>-0.10084033613445301</c:v>
                </c:pt>
                <c:pt idx="4721">
                  <c:v>-0.10084033613445301</c:v>
                </c:pt>
                <c:pt idx="4722">
                  <c:v>-0.10084033613445301</c:v>
                </c:pt>
                <c:pt idx="4723">
                  <c:v>-0.10084033613445301</c:v>
                </c:pt>
                <c:pt idx="4724">
                  <c:v>-0.10168067226890699</c:v>
                </c:pt>
                <c:pt idx="4725">
                  <c:v>-0.10168067226890699</c:v>
                </c:pt>
                <c:pt idx="4726">
                  <c:v>-0.10168067226890699</c:v>
                </c:pt>
                <c:pt idx="4727">
                  <c:v>-0.10168067226890699</c:v>
                </c:pt>
                <c:pt idx="4728">
                  <c:v>-0.10252100840336099</c:v>
                </c:pt>
                <c:pt idx="4729">
                  <c:v>-0.10168067226890699</c:v>
                </c:pt>
                <c:pt idx="4730">
                  <c:v>-0.10168067226890699</c:v>
                </c:pt>
                <c:pt idx="4731">
                  <c:v>-0.10168067226890699</c:v>
                </c:pt>
                <c:pt idx="4732">
                  <c:v>-0.10168067226890699</c:v>
                </c:pt>
                <c:pt idx="4733">
                  <c:v>-0.10168067226890699</c:v>
                </c:pt>
                <c:pt idx="4734">
                  <c:v>-0.10168067226890699</c:v>
                </c:pt>
                <c:pt idx="4735">
                  <c:v>-0.10252100840336099</c:v>
                </c:pt>
                <c:pt idx="4736">
                  <c:v>-0.10252100840336099</c:v>
                </c:pt>
                <c:pt idx="4737">
                  <c:v>-0.10252100840336099</c:v>
                </c:pt>
                <c:pt idx="4738">
                  <c:v>-0.10252100840336099</c:v>
                </c:pt>
                <c:pt idx="4739">
                  <c:v>-0.10252100840336099</c:v>
                </c:pt>
                <c:pt idx="4740">
                  <c:v>-0.10252100840336099</c:v>
                </c:pt>
                <c:pt idx="4741">
                  <c:v>-0.10252100840336099</c:v>
                </c:pt>
                <c:pt idx="4742">
                  <c:v>-0.10252100840336099</c:v>
                </c:pt>
                <c:pt idx="4743">
                  <c:v>-0.10252100840336099</c:v>
                </c:pt>
                <c:pt idx="4744">
                  <c:v>-0.10252100840336099</c:v>
                </c:pt>
                <c:pt idx="4745">
                  <c:v>-0.10336134453781499</c:v>
                </c:pt>
                <c:pt idx="4746">
                  <c:v>-0.10336134453781499</c:v>
                </c:pt>
                <c:pt idx="4747">
                  <c:v>-0.10336134453781499</c:v>
                </c:pt>
                <c:pt idx="4748">
                  <c:v>-0.10336134453781499</c:v>
                </c:pt>
                <c:pt idx="4749">
                  <c:v>-0.10336134453781499</c:v>
                </c:pt>
                <c:pt idx="4750">
                  <c:v>-0.10336134453781499</c:v>
                </c:pt>
                <c:pt idx="4751">
                  <c:v>-0.10336134453781499</c:v>
                </c:pt>
                <c:pt idx="4752">
                  <c:v>-0.10336134453781499</c:v>
                </c:pt>
                <c:pt idx="4753">
                  <c:v>-0.10336134453781499</c:v>
                </c:pt>
                <c:pt idx="4754">
                  <c:v>-0.10336134453781499</c:v>
                </c:pt>
                <c:pt idx="4755">
                  <c:v>-0.104201680672268</c:v>
                </c:pt>
                <c:pt idx="4756">
                  <c:v>-0.104201680672268</c:v>
                </c:pt>
                <c:pt idx="4757">
                  <c:v>-0.104201680672268</c:v>
                </c:pt>
                <c:pt idx="4758">
                  <c:v>-0.104201680672268</c:v>
                </c:pt>
                <c:pt idx="4759">
                  <c:v>-0.105042016806722</c:v>
                </c:pt>
                <c:pt idx="4760">
                  <c:v>-0.105042016806722</c:v>
                </c:pt>
                <c:pt idx="4761">
                  <c:v>-0.105042016806722</c:v>
                </c:pt>
                <c:pt idx="4762">
                  <c:v>-0.105042016806722</c:v>
                </c:pt>
                <c:pt idx="4763">
                  <c:v>-0.105042016806722</c:v>
                </c:pt>
                <c:pt idx="4764">
                  <c:v>-0.105042016806722</c:v>
                </c:pt>
                <c:pt idx="4765">
                  <c:v>-0.105042016806722</c:v>
                </c:pt>
                <c:pt idx="4766">
                  <c:v>-0.105042016806722</c:v>
                </c:pt>
                <c:pt idx="4767">
                  <c:v>-0.105042016806722</c:v>
                </c:pt>
                <c:pt idx="4768">
                  <c:v>-0.105042016806722</c:v>
                </c:pt>
                <c:pt idx="4769">
                  <c:v>-0.105042016806722</c:v>
                </c:pt>
                <c:pt idx="4770">
                  <c:v>-0.105042016806722</c:v>
                </c:pt>
                <c:pt idx="4771">
                  <c:v>-0.105042016806722</c:v>
                </c:pt>
                <c:pt idx="4772">
                  <c:v>-0.104201680672268</c:v>
                </c:pt>
                <c:pt idx="4773">
                  <c:v>-0.104201680672268</c:v>
                </c:pt>
                <c:pt idx="4774">
                  <c:v>-0.104201680672268</c:v>
                </c:pt>
                <c:pt idx="4775">
                  <c:v>-0.104201680672268</c:v>
                </c:pt>
                <c:pt idx="4776">
                  <c:v>-0.104201680672268</c:v>
                </c:pt>
                <c:pt idx="4777">
                  <c:v>-0.104201680672268</c:v>
                </c:pt>
                <c:pt idx="4778">
                  <c:v>-0.104201680672268</c:v>
                </c:pt>
                <c:pt idx="4779">
                  <c:v>-0.104201680672268</c:v>
                </c:pt>
                <c:pt idx="4780">
                  <c:v>-0.104201680672268</c:v>
                </c:pt>
                <c:pt idx="4781">
                  <c:v>-0.104201680672268</c:v>
                </c:pt>
                <c:pt idx="4782">
                  <c:v>-0.104201680672268</c:v>
                </c:pt>
                <c:pt idx="4783">
                  <c:v>-0.104201680672268</c:v>
                </c:pt>
                <c:pt idx="4784">
                  <c:v>-0.104201680672268</c:v>
                </c:pt>
                <c:pt idx="4785">
                  <c:v>-0.104201680672268</c:v>
                </c:pt>
                <c:pt idx="4786">
                  <c:v>-0.104201680672268</c:v>
                </c:pt>
                <c:pt idx="4787">
                  <c:v>-0.104201680672268</c:v>
                </c:pt>
                <c:pt idx="4788">
                  <c:v>-0.104201680672268</c:v>
                </c:pt>
                <c:pt idx="4789">
                  <c:v>-0.104201680672268</c:v>
                </c:pt>
                <c:pt idx="4790">
                  <c:v>-0.104201680672268</c:v>
                </c:pt>
                <c:pt idx="4791">
                  <c:v>-0.104201680672268</c:v>
                </c:pt>
                <c:pt idx="4792">
                  <c:v>-0.104201680672268</c:v>
                </c:pt>
                <c:pt idx="4793">
                  <c:v>-0.104201680672268</c:v>
                </c:pt>
                <c:pt idx="4794">
                  <c:v>-0.104201680672268</c:v>
                </c:pt>
                <c:pt idx="4795">
                  <c:v>-0.10336134453781499</c:v>
                </c:pt>
                <c:pt idx="4796">
                  <c:v>-0.10336134453781499</c:v>
                </c:pt>
                <c:pt idx="4797">
                  <c:v>-0.10336134453781499</c:v>
                </c:pt>
                <c:pt idx="4798">
                  <c:v>-0.10336134453781499</c:v>
                </c:pt>
                <c:pt idx="4799">
                  <c:v>-0.10336134453781499</c:v>
                </c:pt>
                <c:pt idx="4800">
                  <c:v>-0.10336134453781499</c:v>
                </c:pt>
                <c:pt idx="4801">
                  <c:v>-0.10336134453781499</c:v>
                </c:pt>
                <c:pt idx="4802">
                  <c:v>-0.10336134453781499</c:v>
                </c:pt>
                <c:pt idx="4803">
                  <c:v>-0.10336134453781499</c:v>
                </c:pt>
                <c:pt idx="4804">
                  <c:v>-0.10336134453781499</c:v>
                </c:pt>
                <c:pt idx="4805">
                  <c:v>-0.10336134453781499</c:v>
                </c:pt>
                <c:pt idx="4806">
                  <c:v>-0.10336134453781499</c:v>
                </c:pt>
                <c:pt idx="4807">
                  <c:v>-0.10336134453781499</c:v>
                </c:pt>
                <c:pt idx="4808">
                  <c:v>-0.10336134453781499</c:v>
                </c:pt>
                <c:pt idx="4809">
                  <c:v>-0.10336134453781499</c:v>
                </c:pt>
                <c:pt idx="4810">
                  <c:v>-0.10336134453781499</c:v>
                </c:pt>
                <c:pt idx="4811">
                  <c:v>-0.10336134453781499</c:v>
                </c:pt>
                <c:pt idx="4812">
                  <c:v>-0.10336134453781499</c:v>
                </c:pt>
                <c:pt idx="4813">
                  <c:v>-0.10336134453781499</c:v>
                </c:pt>
                <c:pt idx="4814">
                  <c:v>-0.10336134453781499</c:v>
                </c:pt>
                <c:pt idx="4815">
                  <c:v>-0.10336134453781499</c:v>
                </c:pt>
                <c:pt idx="4816">
                  <c:v>-0.10336134453781499</c:v>
                </c:pt>
                <c:pt idx="4817">
                  <c:v>-0.10336134453781499</c:v>
                </c:pt>
                <c:pt idx="4818">
                  <c:v>-0.10336134453781499</c:v>
                </c:pt>
                <c:pt idx="4819">
                  <c:v>-0.10336134453781499</c:v>
                </c:pt>
                <c:pt idx="4820">
                  <c:v>-0.10336134453781499</c:v>
                </c:pt>
                <c:pt idx="4821">
                  <c:v>-0.10336134453781499</c:v>
                </c:pt>
                <c:pt idx="4822">
                  <c:v>-0.10336134453781499</c:v>
                </c:pt>
                <c:pt idx="4823">
                  <c:v>-0.10336134453781499</c:v>
                </c:pt>
                <c:pt idx="4824">
                  <c:v>-0.10336134453781499</c:v>
                </c:pt>
                <c:pt idx="4825">
                  <c:v>-0.10336134453781499</c:v>
                </c:pt>
                <c:pt idx="4826">
                  <c:v>-0.10336134453781499</c:v>
                </c:pt>
                <c:pt idx="4827">
                  <c:v>-0.10336134453781499</c:v>
                </c:pt>
                <c:pt idx="4828">
                  <c:v>-0.10336134453781499</c:v>
                </c:pt>
                <c:pt idx="4829">
                  <c:v>-0.10336134453781499</c:v>
                </c:pt>
                <c:pt idx="4830">
                  <c:v>-0.10336134453781499</c:v>
                </c:pt>
                <c:pt idx="4831">
                  <c:v>-0.10336134453781499</c:v>
                </c:pt>
                <c:pt idx="4832">
                  <c:v>-0.10336134453781499</c:v>
                </c:pt>
                <c:pt idx="4833">
                  <c:v>-0.10336134453781499</c:v>
                </c:pt>
                <c:pt idx="4834">
                  <c:v>-0.10336134453781499</c:v>
                </c:pt>
                <c:pt idx="4835">
                  <c:v>-0.10336134453781499</c:v>
                </c:pt>
                <c:pt idx="4836">
                  <c:v>-0.10336134453781499</c:v>
                </c:pt>
                <c:pt idx="4837">
                  <c:v>-0.10336134453781499</c:v>
                </c:pt>
                <c:pt idx="4838">
                  <c:v>-0.10336134453781499</c:v>
                </c:pt>
                <c:pt idx="4839">
                  <c:v>-0.10336134453781499</c:v>
                </c:pt>
                <c:pt idx="4840">
                  <c:v>-0.10336134453781499</c:v>
                </c:pt>
                <c:pt idx="4841">
                  <c:v>-0.10336134453781499</c:v>
                </c:pt>
                <c:pt idx="4842">
                  <c:v>-0.10336134453781499</c:v>
                </c:pt>
                <c:pt idx="4843">
                  <c:v>-0.10336134453781499</c:v>
                </c:pt>
                <c:pt idx="4844">
                  <c:v>-0.10336134453781499</c:v>
                </c:pt>
                <c:pt idx="4845">
                  <c:v>-0.10252100840336099</c:v>
                </c:pt>
                <c:pt idx="4846">
                  <c:v>-0.10252100840336099</c:v>
                </c:pt>
                <c:pt idx="4847">
                  <c:v>-0.10252100840336099</c:v>
                </c:pt>
                <c:pt idx="4848">
                  <c:v>-0.10252100840336099</c:v>
                </c:pt>
                <c:pt idx="4849">
                  <c:v>-0.10252100840336099</c:v>
                </c:pt>
                <c:pt idx="4850">
                  <c:v>-0.10252100840336099</c:v>
                </c:pt>
                <c:pt idx="4851">
                  <c:v>-0.10252100840336099</c:v>
                </c:pt>
                <c:pt idx="4852">
                  <c:v>-0.10252100840336099</c:v>
                </c:pt>
                <c:pt idx="4853">
                  <c:v>-0.10252100840336099</c:v>
                </c:pt>
                <c:pt idx="4854">
                  <c:v>-0.10252100840336099</c:v>
                </c:pt>
                <c:pt idx="4855">
                  <c:v>-0.10252100840336099</c:v>
                </c:pt>
                <c:pt idx="4856">
                  <c:v>-0.10252100840336099</c:v>
                </c:pt>
                <c:pt idx="4857">
                  <c:v>-0.10252100840336099</c:v>
                </c:pt>
                <c:pt idx="4858">
                  <c:v>-0.10252100840336099</c:v>
                </c:pt>
                <c:pt idx="4859">
                  <c:v>-0.10252100840336099</c:v>
                </c:pt>
                <c:pt idx="4860">
                  <c:v>-0.10252100840336099</c:v>
                </c:pt>
                <c:pt idx="4861">
                  <c:v>-0.10252100840336099</c:v>
                </c:pt>
                <c:pt idx="4862">
                  <c:v>-0.10252100840336099</c:v>
                </c:pt>
                <c:pt idx="4863">
                  <c:v>-0.10252100840336099</c:v>
                </c:pt>
                <c:pt idx="4864">
                  <c:v>-0.10252100840336099</c:v>
                </c:pt>
                <c:pt idx="4865">
                  <c:v>-0.10252100840336099</c:v>
                </c:pt>
                <c:pt idx="4866">
                  <c:v>-0.10252100840336099</c:v>
                </c:pt>
                <c:pt idx="4867">
                  <c:v>-0.10252100840336099</c:v>
                </c:pt>
                <c:pt idx="4868">
                  <c:v>-0.10336134453781499</c:v>
                </c:pt>
                <c:pt idx="4869">
                  <c:v>-0.10336134453781499</c:v>
                </c:pt>
                <c:pt idx="4870">
                  <c:v>-0.10336134453781499</c:v>
                </c:pt>
                <c:pt idx="4871">
                  <c:v>-0.10336134453781499</c:v>
                </c:pt>
                <c:pt idx="4872">
                  <c:v>-0.10336134453781499</c:v>
                </c:pt>
                <c:pt idx="4873">
                  <c:v>-0.10336134453781499</c:v>
                </c:pt>
                <c:pt idx="4874">
                  <c:v>-0.10252100840336099</c:v>
                </c:pt>
                <c:pt idx="4875">
                  <c:v>-0.10252100840336099</c:v>
                </c:pt>
                <c:pt idx="4876">
                  <c:v>-0.10252100840336099</c:v>
                </c:pt>
                <c:pt idx="4877">
                  <c:v>-0.10252100840336099</c:v>
                </c:pt>
                <c:pt idx="4878">
                  <c:v>-0.10336134453781499</c:v>
                </c:pt>
                <c:pt idx="4879">
                  <c:v>-0.10336134453781499</c:v>
                </c:pt>
                <c:pt idx="4880">
                  <c:v>-0.10336134453781499</c:v>
                </c:pt>
                <c:pt idx="4881">
                  <c:v>-0.10336134453781499</c:v>
                </c:pt>
                <c:pt idx="4882">
                  <c:v>-0.10336134453781499</c:v>
                </c:pt>
                <c:pt idx="4883">
                  <c:v>-0.10336134453781499</c:v>
                </c:pt>
                <c:pt idx="4884">
                  <c:v>-0.10336134453781499</c:v>
                </c:pt>
                <c:pt idx="4885">
                  <c:v>-0.10336134453781499</c:v>
                </c:pt>
                <c:pt idx="4886">
                  <c:v>-0.10336134453781499</c:v>
                </c:pt>
                <c:pt idx="4887">
                  <c:v>-0.10336134453781499</c:v>
                </c:pt>
                <c:pt idx="4888">
                  <c:v>-0.10336134453781499</c:v>
                </c:pt>
                <c:pt idx="4889">
                  <c:v>-0.10336134453781499</c:v>
                </c:pt>
                <c:pt idx="4890">
                  <c:v>-0.10336134453781499</c:v>
                </c:pt>
                <c:pt idx="4891">
                  <c:v>-0.10336134453781499</c:v>
                </c:pt>
                <c:pt idx="4892">
                  <c:v>-0.10336134453781499</c:v>
                </c:pt>
                <c:pt idx="4893">
                  <c:v>-0.10336134453781499</c:v>
                </c:pt>
                <c:pt idx="4894">
                  <c:v>-0.10336134453781499</c:v>
                </c:pt>
                <c:pt idx="4895">
                  <c:v>-0.10336134453781499</c:v>
                </c:pt>
                <c:pt idx="4896">
                  <c:v>-0.10336134453781499</c:v>
                </c:pt>
                <c:pt idx="4897">
                  <c:v>-0.10336134453781499</c:v>
                </c:pt>
                <c:pt idx="4898">
                  <c:v>-0.10336134453781499</c:v>
                </c:pt>
                <c:pt idx="4899">
                  <c:v>-0.10336134453781499</c:v>
                </c:pt>
                <c:pt idx="4900">
                  <c:v>-0.10336134453781499</c:v>
                </c:pt>
                <c:pt idx="4901">
                  <c:v>-0.10336134453781499</c:v>
                </c:pt>
                <c:pt idx="4902">
                  <c:v>-0.104201680672268</c:v>
                </c:pt>
                <c:pt idx="4903">
                  <c:v>-0.104201680672268</c:v>
                </c:pt>
                <c:pt idx="4904">
                  <c:v>-0.104201680672268</c:v>
                </c:pt>
                <c:pt idx="4905">
                  <c:v>-0.104201680672268</c:v>
                </c:pt>
                <c:pt idx="4906">
                  <c:v>-0.104201680672268</c:v>
                </c:pt>
                <c:pt idx="4907">
                  <c:v>-0.104201680672268</c:v>
                </c:pt>
                <c:pt idx="4908">
                  <c:v>-0.104201680672268</c:v>
                </c:pt>
                <c:pt idx="4909">
                  <c:v>-0.104201680672268</c:v>
                </c:pt>
                <c:pt idx="4910">
                  <c:v>-0.104201680672268</c:v>
                </c:pt>
                <c:pt idx="4911">
                  <c:v>-0.105042016806722</c:v>
                </c:pt>
                <c:pt idx="4912">
                  <c:v>-0.105042016806722</c:v>
                </c:pt>
                <c:pt idx="4913">
                  <c:v>-0.105042016806722</c:v>
                </c:pt>
                <c:pt idx="4914">
                  <c:v>-0.105042016806722</c:v>
                </c:pt>
                <c:pt idx="4915">
                  <c:v>-0.105042016806722</c:v>
                </c:pt>
                <c:pt idx="4916">
                  <c:v>-0.105042016806722</c:v>
                </c:pt>
                <c:pt idx="4917">
                  <c:v>-0.104201680672268</c:v>
                </c:pt>
                <c:pt idx="4918">
                  <c:v>-0.104201680672268</c:v>
                </c:pt>
                <c:pt idx="4919">
                  <c:v>-0.104201680672268</c:v>
                </c:pt>
                <c:pt idx="4920">
                  <c:v>-0.104201680672268</c:v>
                </c:pt>
                <c:pt idx="4921">
                  <c:v>-0.104201680672268</c:v>
                </c:pt>
                <c:pt idx="4922">
                  <c:v>-0.104201680672268</c:v>
                </c:pt>
                <c:pt idx="4923">
                  <c:v>-0.104201680672268</c:v>
                </c:pt>
                <c:pt idx="4924">
                  <c:v>-0.104201680672268</c:v>
                </c:pt>
                <c:pt idx="4925">
                  <c:v>-0.104201680672268</c:v>
                </c:pt>
                <c:pt idx="4926">
                  <c:v>-0.104201680672268</c:v>
                </c:pt>
                <c:pt idx="4927">
                  <c:v>-0.104201680672268</c:v>
                </c:pt>
                <c:pt idx="4928">
                  <c:v>-0.104201680672268</c:v>
                </c:pt>
                <c:pt idx="4929">
                  <c:v>-0.104201680672268</c:v>
                </c:pt>
                <c:pt idx="4930">
                  <c:v>-0.10336134453781499</c:v>
                </c:pt>
                <c:pt idx="4931">
                  <c:v>-0.10336134453781499</c:v>
                </c:pt>
                <c:pt idx="4932">
                  <c:v>-0.10336134453781499</c:v>
                </c:pt>
                <c:pt idx="4933">
                  <c:v>-0.10252100840336099</c:v>
                </c:pt>
                <c:pt idx="4934">
                  <c:v>-0.10252100840336099</c:v>
                </c:pt>
                <c:pt idx="4935">
                  <c:v>-0.10252100840336099</c:v>
                </c:pt>
                <c:pt idx="4936">
                  <c:v>-0.10168067226890699</c:v>
                </c:pt>
                <c:pt idx="4937">
                  <c:v>-0.10168067226890699</c:v>
                </c:pt>
                <c:pt idx="4938">
                  <c:v>-0.10168067226890699</c:v>
                </c:pt>
                <c:pt idx="4939">
                  <c:v>-0.10168067226890699</c:v>
                </c:pt>
                <c:pt idx="4940">
                  <c:v>-0.10252100840336099</c:v>
                </c:pt>
                <c:pt idx="4941">
                  <c:v>-0.10168067226890699</c:v>
                </c:pt>
                <c:pt idx="4942">
                  <c:v>-0.10168067226890699</c:v>
                </c:pt>
                <c:pt idx="4943">
                  <c:v>-0.10168067226890699</c:v>
                </c:pt>
                <c:pt idx="4944">
                  <c:v>-0.10168067226890699</c:v>
                </c:pt>
                <c:pt idx="4945">
                  <c:v>-0.10168067226890699</c:v>
                </c:pt>
                <c:pt idx="4946">
                  <c:v>-0.10168067226890699</c:v>
                </c:pt>
                <c:pt idx="4947">
                  <c:v>-0.10168067226890699</c:v>
                </c:pt>
                <c:pt idx="4948">
                  <c:v>-0.10168067226890699</c:v>
                </c:pt>
                <c:pt idx="4949">
                  <c:v>-0.10168067226890699</c:v>
                </c:pt>
                <c:pt idx="4950">
                  <c:v>-0.10168067226890699</c:v>
                </c:pt>
                <c:pt idx="4951">
                  <c:v>-0.10168067226890699</c:v>
                </c:pt>
                <c:pt idx="4952">
                  <c:v>-0.10168067226890699</c:v>
                </c:pt>
                <c:pt idx="4953">
                  <c:v>-0.10168067226890699</c:v>
                </c:pt>
                <c:pt idx="4954">
                  <c:v>-0.10168067226890699</c:v>
                </c:pt>
                <c:pt idx="4955">
                  <c:v>-0.10168067226890699</c:v>
                </c:pt>
                <c:pt idx="4956">
                  <c:v>-0.10168067226890699</c:v>
                </c:pt>
                <c:pt idx="4957">
                  <c:v>-0.10168067226890699</c:v>
                </c:pt>
                <c:pt idx="4958">
                  <c:v>-0.10168067226890699</c:v>
                </c:pt>
                <c:pt idx="4959">
                  <c:v>-0.10168067226890699</c:v>
                </c:pt>
                <c:pt idx="4960">
                  <c:v>-0.10168067226890699</c:v>
                </c:pt>
                <c:pt idx="4961">
                  <c:v>-0.10168067226890699</c:v>
                </c:pt>
                <c:pt idx="4962">
                  <c:v>-0.10168067226890699</c:v>
                </c:pt>
                <c:pt idx="4963">
                  <c:v>-0.10168067226890699</c:v>
                </c:pt>
                <c:pt idx="4964">
                  <c:v>-0.10168067226890699</c:v>
                </c:pt>
                <c:pt idx="4965">
                  <c:v>-0.10168067226890699</c:v>
                </c:pt>
                <c:pt idx="4966">
                  <c:v>-0.10168067226890699</c:v>
                </c:pt>
                <c:pt idx="4967">
                  <c:v>-0.10168067226890699</c:v>
                </c:pt>
                <c:pt idx="4968">
                  <c:v>-0.10168067226890699</c:v>
                </c:pt>
                <c:pt idx="4969">
                  <c:v>-0.10168067226890699</c:v>
                </c:pt>
                <c:pt idx="4970">
                  <c:v>-0.10168067226890699</c:v>
                </c:pt>
                <c:pt idx="4971">
                  <c:v>-0.10168067226890699</c:v>
                </c:pt>
                <c:pt idx="4972">
                  <c:v>-0.10084033613445301</c:v>
                </c:pt>
                <c:pt idx="4973">
                  <c:v>-0.10084033613445301</c:v>
                </c:pt>
                <c:pt idx="4974">
                  <c:v>-0.10084033613445301</c:v>
                </c:pt>
                <c:pt idx="4975">
                  <c:v>-0.10084033613445301</c:v>
                </c:pt>
                <c:pt idx="4976">
                  <c:v>-0.10084033613445301</c:v>
                </c:pt>
                <c:pt idx="4977">
                  <c:v>-0.10084033613445301</c:v>
                </c:pt>
                <c:pt idx="4978">
                  <c:v>-0.10084033613445301</c:v>
                </c:pt>
                <c:pt idx="4979">
                  <c:v>-0.10084033613445301</c:v>
                </c:pt>
                <c:pt idx="4980">
                  <c:v>-0.10084033613445301</c:v>
                </c:pt>
                <c:pt idx="4981">
                  <c:v>-0.10084033613445301</c:v>
                </c:pt>
                <c:pt idx="4982">
                  <c:v>-9.9999999999999895E-2</c:v>
                </c:pt>
                <c:pt idx="4983">
                  <c:v>-0.10084033613445301</c:v>
                </c:pt>
                <c:pt idx="4984">
                  <c:v>-0.10084033613445301</c:v>
                </c:pt>
                <c:pt idx="4985">
                  <c:v>-0.10084033613445301</c:v>
                </c:pt>
                <c:pt idx="4986">
                  <c:v>-9.9999999999999895E-2</c:v>
                </c:pt>
                <c:pt idx="4987">
                  <c:v>-9.9999999999999895E-2</c:v>
                </c:pt>
                <c:pt idx="4988">
                  <c:v>-9.9999999999999895E-2</c:v>
                </c:pt>
                <c:pt idx="4989">
                  <c:v>-9.9999999999999895E-2</c:v>
                </c:pt>
                <c:pt idx="4990">
                  <c:v>-9.9999999999999895E-2</c:v>
                </c:pt>
                <c:pt idx="4991">
                  <c:v>-9.9999999999999895E-2</c:v>
                </c:pt>
                <c:pt idx="4992">
                  <c:v>-9.9999999999999895E-2</c:v>
                </c:pt>
                <c:pt idx="4993">
                  <c:v>-9.9999999999999895E-2</c:v>
                </c:pt>
                <c:pt idx="4994">
                  <c:v>-9.9999999999999895E-2</c:v>
                </c:pt>
                <c:pt idx="4995">
                  <c:v>-9.9999999999999895E-2</c:v>
                </c:pt>
                <c:pt idx="4996">
                  <c:v>-9.9999999999999895E-2</c:v>
                </c:pt>
                <c:pt idx="4997">
                  <c:v>-9.9999999999999895E-2</c:v>
                </c:pt>
                <c:pt idx="4998">
                  <c:v>-9.9999999999999895E-2</c:v>
                </c:pt>
                <c:pt idx="4999">
                  <c:v>-9.9999999999999895E-2</c:v>
                </c:pt>
                <c:pt idx="5000">
                  <c:v>-9.9999999999999895E-2</c:v>
                </c:pt>
                <c:pt idx="5001">
                  <c:v>-9.9999999999999895E-2</c:v>
                </c:pt>
                <c:pt idx="5002">
                  <c:v>-9.9999999999999895E-2</c:v>
                </c:pt>
                <c:pt idx="5003">
                  <c:v>-9.9999999999999895E-2</c:v>
                </c:pt>
                <c:pt idx="5004">
                  <c:v>-9.9999999999999895E-2</c:v>
                </c:pt>
                <c:pt idx="5005">
                  <c:v>-9.9999999999999895E-2</c:v>
                </c:pt>
                <c:pt idx="5006">
                  <c:v>-9.9999999999999895E-2</c:v>
                </c:pt>
                <c:pt idx="5007">
                  <c:v>-9.9999999999999895E-2</c:v>
                </c:pt>
                <c:pt idx="5008">
                  <c:v>-9.9999999999999895E-2</c:v>
                </c:pt>
                <c:pt idx="5009">
                  <c:v>-9.9999999999999895E-2</c:v>
                </c:pt>
                <c:pt idx="5010">
                  <c:v>-9.9999999999999895E-2</c:v>
                </c:pt>
                <c:pt idx="5011">
                  <c:v>-9.9999999999999895E-2</c:v>
                </c:pt>
                <c:pt idx="5012">
                  <c:v>-9.9999999999999895E-2</c:v>
                </c:pt>
                <c:pt idx="5013">
                  <c:v>-0.10084033613445301</c:v>
                </c:pt>
                <c:pt idx="5014">
                  <c:v>-0.10084033613445301</c:v>
                </c:pt>
                <c:pt idx="5015">
                  <c:v>-0.10084033613445301</c:v>
                </c:pt>
                <c:pt idx="5016">
                  <c:v>-0.10084033613445301</c:v>
                </c:pt>
                <c:pt idx="5017">
                  <c:v>-0.10084033613445301</c:v>
                </c:pt>
                <c:pt idx="5018">
                  <c:v>-0.10084033613445301</c:v>
                </c:pt>
                <c:pt idx="5019">
                  <c:v>-0.10084033613445301</c:v>
                </c:pt>
                <c:pt idx="5020">
                  <c:v>-0.10084033613445301</c:v>
                </c:pt>
                <c:pt idx="5021">
                  <c:v>-0.10084033613445301</c:v>
                </c:pt>
                <c:pt idx="5022">
                  <c:v>-0.10084033613445301</c:v>
                </c:pt>
                <c:pt idx="5023">
                  <c:v>-0.10084033613445301</c:v>
                </c:pt>
                <c:pt idx="5024">
                  <c:v>-0.10084033613445301</c:v>
                </c:pt>
                <c:pt idx="5025">
                  <c:v>-0.10084033613445301</c:v>
                </c:pt>
                <c:pt idx="5026">
                  <c:v>-0.10084033613445301</c:v>
                </c:pt>
                <c:pt idx="5027">
                  <c:v>-0.10084033613445301</c:v>
                </c:pt>
                <c:pt idx="5028">
                  <c:v>-0.10084033613445301</c:v>
                </c:pt>
                <c:pt idx="5029">
                  <c:v>-0.10084033613445301</c:v>
                </c:pt>
                <c:pt idx="5030">
                  <c:v>-0.10084033613445301</c:v>
                </c:pt>
                <c:pt idx="5031">
                  <c:v>-0.10168067226890699</c:v>
                </c:pt>
                <c:pt idx="5032">
                  <c:v>-0.10168067226890699</c:v>
                </c:pt>
                <c:pt idx="5033">
                  <c:v>-0.10168067226890699</c:v>
                </c:pt>
                <c:pt idx="5034">
                  <c:v>-0.10168067226890699</c:v>
                </c:pt>
                <c:pt idx="5035">
                  <c:v>-0.10168067226890699</c:v>
                </c:pt>
                <c:pt idx="5036">
                  <c:v>-0.10168067226890699</c:v>
                </c:pt>
                <c:pt idx="5037">
                  <c:v>-0.10168067226890699</c:v>
                </c:pt>
                <c:pt idx="5038">
                  <c:v>-0.10168067226890699</c:v>
                </c:pt>
                <c:pt idx="5039">
                  <c:v>-0.10168067226890699</c:v>
                </c:pt>
                <c:pt idx="5040">
                  <c:v>-0.10168067226890699</c:v>
                </c:pt>
                <c:pt idx="5041">
                  <c:v>-0.10168067226890699</c:v>
                </c:pt>
                <c:pt idx="5042">
                  <c:v>-0.10168067226890699</c:v>
                </c:pt>
                <c:pt idx="5043">
                  <c:v>-0.10168067226890699</c:v>
                </c:pt>
                <c:pt idx="5044">
                  <c:v>-0.10168067226890699</c:v>
                </c:pt>
                <c:pt idx="5045">
                  <c:v>-0.10168067226890699</c:v>
                </c:pt>
                <c:pt idx="5046">
                  <c:v>-0.10168067226890699</c:v>
                </c:pt>
                <c:pt idx="5047">
                  <c:v>-0.10168067226890699</c:v>
                </c:pt>
                <c:pt idx="5048">
                  <c:v>-0.10168067226890699</c:v>
                </c:pt>
                <c:pt idx="5049">
                  <c:v>-0.10168067226890699</c:v>
                </c:pt>
                <c:pt idx="5050">
                  <c:v>-0.10168067226890699</c:v>
                </c:pt>
                <c:pt idx="5051">
                  <c:v>-0.10168067226890699</c:v>
                </c:pt>
                <c:pt idx="5052">
                  <c:v>-0.10168067226890699</c:v>
                </c:pt>
                <c:pt idx="5053">
                  <c:v>-0.10168067226890699</c:v>
                </c:pt>
                <c:pt idx="5054">
                  <c:v>-0.10168067226890699</c:v>
                </c:pt>
                <c:pt idx="5055">
                  <c:v>-0.10168067226890699</c:v>
                </c:pt>
                <c:pt idx="5056">
                  <c:v>-0.10168067226890699</c:v>
                </c:pt>
                <c:pt idx="5057">
                  <c:v>-0.10168067226890699</c:v>
                </c:pt>
                <c:pt idx="5058">
                  <c:v>-0.10168067226890699</c:v>
                </c:pt>
                <c:pt idx="5059">
                  <c:v>-0.10168067226890699</c:v>
                </c:pt>
                <c:pt idx="5060">
                  <c:v>-0.10168067226890699</c:v>
                </c:pt>
                <c:pt idx="5061">
                  <c:v>-0.10168067226890699</c:v>
                </c:pt>
                <c:pt idx="5062">
                  <c:v>-0.10168067226890699</c:v>
                </c:pt>
                <c:pt idx="5063">
                  <c:v>-0.10168067226890699</c:v>
                </c:pt>
                <c:pt idx="5064">
                  <c:v>-0.10168067226890699</c:v>
                </c:pt>
                <c:pt idx="5065">
                  <c:v>-0.10168067226890699</c:v>
                </c:pt>
                <c:pt idx="5066">
                  <c:v>-0.10168067226890699</c:v>
                </c:pt>
                <c:pt idx="5067">
                  <c:v>-0.10168067226890699</c:v>
                </c:pt>
                <c:pt idx="5068">
                  <c:v>-0.10168067226890699</c:v>
                </c:pt>
                <c:pt idx="5069">
                  <c:v>-0.10168067226890699</c:v>
                </c:pt>
                <c:pt idx="5070">
                  <c:v>-0.10168067226890699</c:v>
                </c:pt>
                <c:pt idx="5071">
                  <c:v>-0.10168067226890699</c:v>
                </c:pt>
                <c:pt idx="5072">
                  <c:v>-0.10252100840336099</c:v>
                </c:pt>
                <c:pt idx="5073">
                  <c:v>-0.10168067226890699</c:v>
                </c:pt>
                <c:pt idx="5074">
                  <c:v>-0.10168067226890699</c:v>
                </c:pt>
                <c:pt idx="5075">
                  <c:v>-0.10168067226890699</c:v>
                </c:pt>
                <c:pt idx="5076">
                  <c:v>-0.10168067226890699</c:v>
                </c:pt>
                <c:pt idx="5077">
                  <c:v>-0.10168067226890699</c:v>
                </c:pt>
                <c:pt idx="5078">
                  <c:v>-0.10168067226890699</c:v>
                </c:pt>
                <c:pt idx="5079">
                  <c:v>-0.10168067226890699</c:v>
                </c:pt>
                <c:pt idx="5080">
                  <c:v>-0.10168067226890699</c:v>
                </c:pt>
                <c:pt idx="5081">
                  <c:v>-0.10168067226890699</c:v>
                </c:pt>
                <c:pt idx="5082">
                  <c:v>-0.10252100840336099</c:v>
                </c:pt>
                <c:pt idx="5083">
                  <c:v>-0.10252100840336099</c:v>
                </c:pt>
                <c:pt idx="5084">
                  <c:v>-0.10168067226890699</c:v>
                </c:pt>
                <c:pt idx="5085">
                  <c:v>-0.10168067226890699</c:v>
                </c:pt>
                <c:pt idx="5086">
                  <c:v>-0.10252100840336099</c:v>
                </c:pt>
                <c:pt idx="5087">
                  <c:v>-0.10252100840336099</c:v>
                </c:pt>
                <c:pt idx="5088">
                  <c:v>-0.10252100840336099</c:v>
                </c:pt>
                <c:pt idx="5089">
                  <c:v>-0.10252100840336099</c:v>
                </c:pt>
                <c:pt idx="5090">
                  <c:v>-0.10252100840336099</c:v>
                </c:pt>
                <c:pt idx="5091">
                  <c:v>-0.10252100840336099</c:v>
                </c:pt>
                <c:pt idx="5092">
                  <c:v>-0.10252100840336099</c:v>
                </c:pt>
                <c:pt idx="5093">
                  <c:v>-0.10252100840336099</c:v>
                </c:pt>
                <c:pt idx="5094">
                  <c:v>-0.10252100840336099</c:v>
                </c:pt>
                <c:pt idx="5095">
                  <c:v>-0.10252100840336099</c:v>
                </c:pt>
                <c:pt idx="5096">
                  <c:v>-0.10252100840336099</c:v>
                </c:pt>
                <c:pt idx="5097">
                  <c:v>-0.10252100840336099</c:v>
                </c:pt>
                <c:pt idx="5098">
                  <c:v>-0.10336134453781499</c:v>
                </c:pt>
                <c:pt idx="5099">
                  <c:v>-0.10336134453781499</c:v>
                </c:pt>
                <c:pt idx="5100">
                  <c:v>-0.10336134453781499</c:v>
                </c:pt>
                <c:pt idx="5101">
                  <c:v>-0.10336134453781499</c:v>
                </c:pt>
                <c:pt idx="5102">
                  <c:v>-0.10336134453781499</c:v>
                </c:pt>
                <c:pt idx="5103">
                  <c:v>-0.10336134453781499</c:v>
                </c:pt>
                <c:pt idx="5104">
                  <c:v>-0.10336134453781499</c:v>
                </c:pt>
                <c:pt idx="5105">
                  <c:v>-0.10336134453781499</c:v>
                </c:pt>
                <c:pt idx="5106">
                  <c:v>-0.10336134453781499</c:v>
                </c:pt>
                <c:pt idx="5107">
                  <c:v>-0.10336134453781499</c:v>
                </c:pt>
                <c:pt idx="5108">
                  <c:v>-0.10336134453781499</c:v>
                </c:pt>
                <c:pt idx="5109">
                  <c:v>-0.10336134453781499</c:v>
                </c:pt>
                <c:pt idx="5110">
                  <c:v>-0.10336134453781499</c:v>
                </c:pt>
                <c:pt idx="5111">
                  <c:v>-0.10336134453781499</c:v>
                </c:pt>
                <c:pt idx="5112">
                  <c:v>-0.10336134453781499</c:v>
                </c:pt>
                <c:pt idx="5113">
                  <c:v>-0.10336134453781499</c:v>
                </c:pt>
                <c:pt idx="5114">
                  <c:v>-0.10336134453781499</c:v>
                </c:pt>
                <c:pt idx="5115">
                  <c:v>-0.10336134453781499</c:v>
                </c:pt>
                <c:pt idx="5116">
                  <c:v>-0.10336134453781499</c:v>
                </c:pt>
                <c:pt idx="5117">
                  <c:v>-0.10336134453781499</c:v>
                </c:pt>
                <c:pt idx="5118">
                  <c:v>-0.10336134453781499</c:v>
                </c:pt>
                <c:pt idx="5119">
                  <c:v>-0.10336134453781499</c:v>
                </c:pt>
                <c:pt idx="5120">
                  <c:v>-0.10336134453781499</c:v>
                </c:pt>
                <c:pt idx="5121">
                  <c:v>-0.10336134453781499</c:v>
                </c:pt>
                <c:pt idx="5122">
                  <c:v>-0.10336134453781499</c:v>
                </c:pt>
                <c:pt idx="5123">
                  <c:v>-0.10336134453781499</c:v>
                </c:pt>
                <c:pt idx="5124">
                  <c:v>-0.10336134453781499</c:v>
                </c:pt>
                <c:pt idx="5125">
                  <c:v>-0.10336134453781499</c:v>
                </c:pt>
                <c:pt idx="5126">
                  <c:v>-0.10336134453781499</c:v>
                </c:pt>
                <c:pt idx="5127">
                  <c:v>-0.10336134453781499</c:v>
                </c:pt>
                <c:pt idx="5128">
                  <c:v>-0.10336134453781499</c:v>
                </c:pt>
                <c:pt idx="5129">
                  <c:v>-0.10336134453781499</c:v>
                </c:pt>
                <c:pt idx="5130">
                  <c:v>-0.10336134453781499</c:v>
                </c:pt>
                <c:pt idx="5131">
                  <c:v>-0.10336134453781499</c:v>
                </c:pt>
                <c:pt idx="5132">
                  <c:v>-0.10336134453781499</c:v>
                </c:pt>
                <c:pt idx="5133">
                  <c:v>-0.10336134453781499</c:v>
                </c:pt>
                <c:pt idx="5134">
                  <c:v>-0.10252100840336099</c:v>
                </c:pt>
                <c:pt idx="5135">
                  <c:v>-0.10252100840336099</c:v>
                </c:pt>
                <c:pt idx="5136">
                  <c:v>-0.10252100840336099</c:v>
                </c:pt>
                <c:pt idx="5137">
                  <c:v>-0.10252100840336099</c:v>
                </c:pt>
                <c:pt idx="5138">
                  <c:v>-0.10252100840336099</c:v>
                </c:pt>
                <c:pt idx="5139">
                  <c:v>-0.10252100840336099</c:v>
                </c:pt>
                <c:pt idx="5140">
                  <c:v>-0.10252100840336099</c:v>
                </c:pt>
                <c:pt idx="5141">
                  <c:v>-0.10252100840336099</c:v>
                </c:pt>
                <c:pt idx="5142">
                  <c:v>-0.10252100840336099</c:v>
                </c:pt>
                <c:pt idx="5143">
                  <c:v>-0.10252100840336099</c:v>
                </c:pt>
                <c:pt idx="5144">
                  <c:v>-0.10252100840336099</c:v>
                </c:pt>
                <c:pt idx="5145">
                  <c:v>-0.10252100840336099</c:v>
                </c:pt>
                <c:pt idx="5146">
                  <c:v>-0.10168067226890699</c:v>
                </c:pt>
                <c:pt idx="5147">
                  <c:v>-0.10168067226890699</c:v>
                </c:pt>
                <c:pt idx="5148">
                  <c:v>-0.10168067226890699</c:v>
                </c:pt>
                <c:pt idx="5149">
                  <c:v>-0.10168067226890699</c:v>
                </c:pt>
                <c:pt idx="5150">
                  <c:v>-0.10168067226890699</c:v>
                </c:pt>
                <c:pt idx="5151">
                  <c:v>-0.10168067226890699</c:v>
                </c:pt>
                <c:pt idx="5152">
                  <c:v>-0.10168067226890699</c:v>
                </c:pt>
                <c:pt idx="5153">
                  <c:v>-0.10168067226890699</c:v>
                </c:pt>
                <c:pt idx="5154">
                  <c:v>-0.10168067226890699</c:v>
                </c:pt>
                <c:pt idx="5155">
                  <c:v>-0.10168067226890699</c:v>
                </c:pt>
                <c:pt idx="5156">
                  <c:v>-0.10168067226890699</c:v>
                </c:pt>
                <c:pt idx="5157">
                  <c:v>-0.10168067226890699</c:v>
                </c:pt>
                <c:pt idx="5158">
                  <c:v>-0.10168067226890699</c:v>
                </c:pt>
                <c:pt idx="5159">
                  <c:v>-0.10168067226890699</c:v>
                </c:pt>
                <c:pt idx="5160">
                  <c:v>-0.10168067226890699</c:v>
                </c:pt>
                <c:pt idx="5161">
                  <c:v>-0.10168067226890699</c:v>
                </c:pt>
                <c:pt idx="5162">
                  <c:v>-0.10168067226890699</c:v>
                </c:pt>
                <c:pt idx="5163">
                  <c:v>-0.10168067226890699</c:v>
                </c:pt>
                <c:pt idx="5164">
                  <c:v>-0.10168067226890699</c:v>
                </c:pt>
                <c:pt idx="5165">
                  <c:v>-0.10168067226890699</c:v>
                </c:pt>
                <c:pt idx="5166">
                  <c:v>-0.10168067226890699</c:v>
                </c:pt>
                <c:pt idx="5167">
                  <c:v>-0.10168067226890699</c:v>
                </c:pt>
                <c:pt idx="5168">
                  <c:v>-0.10168067226890699</c:v>
                </c:pt>
                <c:pt idx="5169">
                  <c:v>-0.10252100840336099</c:v>
                </c:pt>
                <c:pt idx="5170">
                  <c:v>-0.10252100840336099</c:v>
                </c:pt>
                <c:pt idx="5171">
                  <c:v>-0.10252100840336099</c:v>
                </c:pt>
                <c:pt idx="5172">
                  <c:v>-0.10252100840336099</c:v>
                </c:pt>
                <c:pt idx="5173">
                  <c:v>-0.10252100840336099</c:v>
                </c:pt>
                <c:pt idx="5174">
                  <c:v>-0.10252100840336099</c:v>
                </c:pt>
                <c:pt idx="5175">
                  <c:v>-0.10252100840336099</c:v>
                </c:pt>
                <c:pt idx="5176">
                  <c:v>-0.10252100840336099</c:v>
                </c:pt>
                <c:pt idx="5177">
                  <c:v>-0.10252100840336099</c:v>
                </c:pt>
                <c:pt idx="5178">
                  <c:v>-0.10252100840336099</c:v>
                </c:pt>
                <c:pt idx="5179">
                  <c:v>-0.10168067226890699</c:v>
                </c:pt>
                <c:pt idx="5180">
                  <c:v>-0.10168067226890699</c:v>
                </c:pt>
                <c:pt idx="5181">
                  <c:v>-0.10252100840336099</c:v>
                </c:pt>
                <c:pt idx="5182">
                  <c:v>-0.10252100840336099</c:v>
                </c:pt>
                <c:pt idx="5183">
                  <c:v>-0.10252100840336099</c:v>
                </c:pt>
                <c:pt idx="5184">
                  <c:v>-0.10336134453781499</c:v>
                </c:pt>
                <c:pt idx="5185">
                  <c:v>-0.10336134453781499</c:v>
                </c:pt>
                <c:pt idx="5186">
                  <c:v>-0.10336134453781499</c:v>
                </c:pt>
                <c:pt idx="5187">
                  <c:v>-0.10336134453781499</c:v>
                </c:pt>
                <c:pt idx="5188">
                  <c:v>-0.104201680672268</c:v>
                </c:pt>
                <c:pt idx="5189">
                  <c:v>-0.104201680672268</c:v>
                </c:pt>
                <c:pt idx="5190">
                  <c:v>-0.104201680672268</c:v>
                </c:pt>
                <c:pt idx="5191">
                  <c:v>-0.104201680672268</c:v>
                </c:pt>
                <c:pt idx="5192">
                  <c:v>-0.104201680672268</c:v>
                </c:pt>
                <c:pt idx="5193">
                  <c:v>-0.105042016806722</c:v>
                </c:pt>
                <c:pt idx="5194">
                  <c:v>-0.105042016806722</c:v>
                </c:pt>
                <c:pt idx="5195">
                  <c:v>-0.105042016806722</c:v>
                </c:pt>
                <c:pt idx="5196">
                  <c:v>-0.105042016806722</c:v>
                </c:pt>
                <c:pt idx="5197">
                  <c:v>-0.105042016806722</c:v>
                </c:pt>
                <c:pt idx="5198">
                  <c:v>-0.105042016806722</c:v>
                </c:pt>
                <c:pt idx="5199">
                  <c:v>-0.105042016806722</c:v>
                </c:pt>
                <c:pt idx="5200">
                  <c:v>-0.105042016806722</c:v>
                </c:pt>
                <c:pt idx="5201">
                  <c:v>-0.105042016806722</c:v>
                </c:pt>
                <c:pt idx="5202">
                  <c:v>-0.105042016806722</c:v>
                </c:pt>
                <c:pt idx="5203">
                  <c:v>-0.105042016806722</c:v>
                </c:pt>
                <c:pt idx="5204">
                  <c:v>-0.105042016806722</c:v>
                </c:pt>
                <c:pt idx="5205">
                  <c:v>-0.105042016806722</c:v>
                </c:pt>
                <c:pt idx="5206">
                  <c:v>-0.105882352941176</c:v>
                </c:pt>
                <c:pt idx="5207">
                  <c:v>-0.105882352941176</c:v>
                </c:pt>
                <c:pt idx="5208">
                  <c:v>-0.105882352941176</c:v>
                </c:pt>
                <c:pt idx="5209">
                  <c:v>-0.105882352941176</c:v>
                </c:pt>
                <c:pt idx="5210">
                  <c:v>-0.105882352941176</c:v>
                </c:pt>
                <c:pt idx="5211">
                  <c:v>-0.105882352941176</c:v>
                </c:pt>
                <c:pt idx="5212">
                  <c:v>-0.10672268907563</c:v>
                </c:pt>
                <c:pt idx="5213">
                  <c:v>-0.10672268907563</c:v>
                </c:pt>
                <c:pt idx="5214">
                  <c:v>-0.10672268907563</c:v>
                </c:pt>
                <c:pt idx="5215">
                  <c:v>-0.10672268907563</c:v>
                </c:pt>
                <c:pt idx="5216">
                  <c:v>-0.10672268907563</c:v>
                </c:pt>
                <c:pt idx="5217">
                  <c:v>-0.105882352941176</c:v>
                </c:pt>
                <c:pt idx="5218">
                  <c:v>-0.105882352941176</c:v>
                </c:pt>
                <c:pt idx="5219">
                  <c:v>-0.105882352941176</c:v>
                </c:pt>
                <c:pt idx="5220">
                  <c:v>-0.105882352941176</c:v>
                </c:pt>
                <c:pt idx="5221">
                  <c:v>-0.105882352941176</c:v>
                </c:pt>
                <c:pt idx="5222">
                  <c:v>-0.105882352941176</c:v>
                </c:pt>
                <c:pt idx="5223">
                  <c:v>-0.105882352941176</c:v>
                </c:pt>
                <c:pt idx="5224">
                  <c:v>-0.105882352941176</c:v>
                </c:pt>
                <c:pt idx="5225">
                  <c:v>-0.105042016806722</c:v>
                </c:pt>
                <c:pt idx="5226">
                  <c:v>-0.105042016806722</c:v>
                </c:pt>
                <c:pt idx="5227">
                  <c:v>-0.105042016806722</c:v>
                </c:pt>
                <c:pt idx="5228">
                  <c:v>-0.105042016806722</c:v>
                </c:pt>
                <c:pt idx="5229">
                  <c:v>-0.105042016806722</c:v>
                </c:pt>
                <c:pt idx="5230">
                  <c:v>-0.105042016806722</c:v>
                </c:pt>
                <c:pt idx="5231">
                  <c:v>-0.105042016806722</c:v>
                </c:pt>
                <c:pt idx="5232">
                  <c:v>-0.105042016806722</c:v>
                </c:pt>
                <c:pt idx="5233">
                  <c:v>-0.105042016806722</c:v>
                </c:pt>
                <c:pt idx="5234">
                  <c:v>-0.105042016806722</c:v>
                </c:pt>
                <c:pt idx="5235">
                  <c:v>-0.105042016806722</c:v>
                </c:pt>
                <c:pt idx="5236">
                  <c:v>-0.105042016806722</c:v>
                </c:pt>
                <c:pt idx="5237">
                  <c:v>-0.105042016806722</c:v>
                </c:pt>
                <c:pt idx="5238">
                  <c:v>-0.105042016806722</c:v>
                </c:pt>
                <c:pt idx="5239">
                  <c:v>-0.105042016806722</c:v>
                </c:pt>
                <c:pt idx="5240">
                  <c:v>-0.105042016806722</c:v>
                </c:pt>
                <c:pt idx="5241">
                  <c:v>-0.105042016806722</c:v>
                </c:pt>
                <c:pt idx="5242">
                  <c:v>-0.104201680672268</c:v>
                </c:pt>
                <c:pt idx="5243">
                  <c:v>-0.104201680672268</c:v>
                </c:pt>
                <c:pt idx="5244">
                  <c:v>-0.104201680672268</c:v>
                </c:pt>
                <c:pt idx="5245">
                  <c:v>-0.104201680672268</c:v>
                </c:pt>
                <c:pt idx="5246">
                  <c:v>-0.104201680672268</c:v>
                </c:pt>
                <c:pt idx="5247">
                  <c:v>-0.104201680672268</c:v>
                </c:pt>
                <c:pt idx="5248">
                  <c:v>-0.104201680672268</c:v>
                </c:pt>
                <c:pt idx="5249">
                  <c:v>-0.104201680672268</c:v>
                </c:pt>
                <c:pt idx="5250">
                  <c:v>-0.104201680672268</c:v>
                </c:pt>
                <c:pt idx="5251">
                  <c:v>-0.104201680672268</c:v>
                </c:pt>
                <c:pt idx="5252">
                  <c:v>-0.104201680672268</c:v>
                </c:pt>
                <c:pt idx="5253">
                  <c:v>-0.104201680672268</c:v>
                </c:pt>
                <c:pt idx="5254">
                  <c:v>-0.104201680672268</c:v>
                </c:pt>
                <c:pt idx="5255">
                  <c:v>-0.104201680672268</c:v>
                </c:pt>
                <c:pt idx="5256">
                  <c:v>-0.104201680672268</c:v>
                </c:pt>
                <c:pt idx="5257">
                  <c:v>-0.104201680672268</c:v>
                </c:pt>
                <c:pt idx="5258">
                  <c:v>-0.104201680672268</c:v>
                </c:pt>
                <c:pt idx="5259">
                  <c:v>-0.104201680672268</c:v>
                </c:pt>
                <c:pt idx="5260">
                  <c:v>-0.104201680672268</c:v>
                </c:pt>
                <c:pt idx="5261">
                  <c:v>-0.104201680672268</c:v>
                </c:pt>
                <c:pt idx="5262">
                  <c:v>-0.104201680672268</c:v>
                </c:pt>
                <c:pt idx="5263">
                  <c:v>-0.104201680672268</c:v>
                </c:pt>
                <c:pt idx="5264">
                  <c:v>-0.104201680672268</c:v>
                </c:pt>
                <c:pt idx="5265">
                  <c:v>-0.104201680672268</c:v>
                </c:pt>
                <c:pt idx="5266">
                  <c:v>-0.104201680672268</c:v>
                </c:pt>
                <c:pt idx="5267">
                  <c:v>-0.104201680672268</c:v>
                </c:pt>
                <c:pt idx="5268">
                  <c:v>-0.104201680672268</c:v>
                </c:pt>
                <c:pt idx="5269">
                  <c:v>-0.104201680672268</c:v>
                </c:pt>
                <c:pt idx="5270">
                  <c:v>-0.104201680672268</c:v>
                </c:pt>
                <c:pt idx="5271">
                  <c:v>-0.105042016806722</c:v>
                </c:pt>
                <c:pt idx="5272">
                  <c:v>-0.105042016806722</c:v>
                </c:pt>
                <c:pt idx="5273">
                  <c:v>-0.105882352941176</c:v>
                </c:pt>
                <c:pt idx="5274">
                  <c:v>-0.105882352941176</c:v>
                </c:pt>
                <c:pt idx="5275">
                  <c:v>-0.105882352941176</c:v>
                </c:pt>
                <c:pt idx="5276">
                  <c:v>-0.105882352941176</c:v>
                </c:pt>
                <c:pt idx="5277">
                  <c:v>-0.105882352941176</c:v>
                </c:pt>
                <c:pt idx="5278">
                  <c:v>-0.105882352941176</c:v>
                </c:pt>
                <c:pt idx="5279">
                  <c:v>-0.105882352941176</c:v>
                </c:pt>
                <c:pt idx="5280">
                  <c:v>-0.105882352941176</c:v>
                </c:pt>
                <c:pt idx="5281">
                  <c:v>-0.105882352941176</c:v>
                </c:pt>
                <c:pt idx="5282">
                  <c:v>-0.105882352941176</c:v>
                </c:pt>
                <c:pt idx="5283">
                  <c:v>-0.105882352941176</c:v>
                </c:pt>
                <c:pt idx="5284">
                  <c:v>-0.105882352941176</c:v>
                </c:pt>
                <c:pt idx="5285">
                  <c:v>-0.105882352941176</c:v>
                </c:pt>
                <c:pt idx="5286">
                  <c:v>-0.105882352941176</c:v>
                </c:pt>
                <c:pt idx="5287">
                  <c:v>-0.105882352941176</c:v>
                </c:pt>
                <c:pt idx="5288">
                  <c:v>-0.105882352941176</c:v>
                </c:pt>
                <c:pt idx="5289">
                  <c:v>-0.105882352941176</c:v>
                </c:pt>
                <c:pt idx="5290">
                  <c:v>-0.10672268907563</c:v>
                </c:pt>
                <c:pt idx="5291">
                  <c:v>-0.10672268907563</c:v>
                </c:pt>
                <c:pt idx="5292">
                  <c:v>-0.10672268907563</c:v>
                </c:pt>
                <c:pt idx="5293">
                  <c:v>-0.10672268907563</c:v>
                </c:pt>
                <c:pt idx="5294">
                  <c:v>-0.10672268907563</c:v>
                </c:pt>
                <c:pt idx="5295">
                  <c:v>-0.10672268907563</c:v>
                </c:pt>
                <c:pt idx="5296">
                  <c:v>-0.10672268907563</c:v>
                </c:pt>
                <c:pt idx="5297">
                  <c:v>-0.10672268907563</c:v>
                </c:pt>
                <c:pt idx="5298">
                  <c:v>-0.10672268907563</c:v>
                </c:pt>
                <c:pt idx="5299">
                  <c:v>-0.10672268907563</c:v>
                </c:pt>
                <c:pt idx="5300">
                  <c:v>-0.10672268907563</c:v>
                </c:pt>
                <c:pt idx="5301">
                  <c:v>-0.10672268907563</c:v>
                </c:pt>
                <c:pt idx="5302">
                  <c:v>-0.10672268907563</c:v>
                </c:pt>
                <c:pt idx="5303">
                  <c:v>-0.10672268907563</c:v>
                </c:pt>
                <c:pt idx="5304">
                  <c:v>-0.10672268907563</c:v>
                </c:pt>
                <c:pt idx="5305">
                  <c:v>-0.10672268907563</c:v>
                </c:pt>
                <c:pt idx="5306">
                  <c:v>-0.10672268907563</c:v>
                </c:pt>
                <c:pt idx="5307">
                  <c:v>-0.10672268907563</c:v>
                </c:pt>
                <c:pt idx="5308">
                  <c:v>-0.10672268907563</c:v>
                </c:pt>
                <c:pt idx="5309">
                  <c:v>-0.10672268907563</c:v>
                </c:pt>
                <c:pt idx="5310">
                  <c:v>-0.10672268907563</c:v>
                </c:pt>
                <c:pt idx="5311">
                  <c:v>-0.10672268907563</c:v>
                </c:pt>
                <c:pt idx="5312">
                  <c:v>-0.10672268907563</c:v>
                </c:pt>
                <c:pt idx="5313">
                  <c:v>-0.10672268907563</c:v>
                </c:pt>
                <c:pt idx="5314">
                  <c:v>-0.10672268907563</c:v>
                </c:pt>
                <c:pt idx="5315">
                  <c:v>-0.10672268907563</c:v>
                </c:pt>
                <c:pt idx="5316">
                  <c:v>-0.10672268907563</c:v>
                </c:pt>
                <c:pt idx="5317">
                  <c:v>-0.10672268907563</c:v>
                </c:pt>
                <c:pt idx="5318">
                  <c:v>-0.10672268907563</c:v>
                </c:pt>
                <c:pt idx="5319">
                  <c:v>-0.10672268907563</c:v>
                </c:pt>
                <c:pt idx="5320">
                  <c:v>-0.10672268907563</c:v>
                </c:pt>
                <c:pt idx="5321">
                  <c:v>-0.10672268907563</c:v>
                </c:pt>
                <c:pt idx="5322">
                  <c:v>-0.10672268907563</c:v>
                </c:pt>
                <c:pt idx="5323">
                  <c:v>-0.10672268907563</c:v>
                </c:pt>
                <c:pt idx="5324">
                  <c:v>-0.10672268907563</c:v>
                </c:pt>
                <c:pt idx="5325">
                  <c:v>-0.107563025210084</c:v>
                </c:pt>
                <c:pt idx="5326">
                  <c:v>-0.107563025210084</c:v>
                </c:pt>
                <c:pt idx="5327">
                  <c:v>-0.107563025210084</c:v>
                </c:pt>
                <c:pt idx="5328">
                  <c:v>-0.107563025210084</c:v>
                </c:pt>
                <c:pt idx="5329">
                  <c:v>-0.107563025210084</c:v>
                </c:pt>
                <c:pt idx="5330">
                  <c:v>-0.107563025210084</c:v>
                </c:pt>
                <c:pt idx="5331">
                  <c:v>-0.107563025210084</c:v>
                </c:pt>
                <c:pt idx="5332">
                  <c:v>-0.107563025210084</c:v>
                </c:pt>
                <c:pt idx="5333">
                  <c:v>-0.107563025210084</c:v>
                </c:pt>
                <c:pt idx="5334">
                  <c:v>-0.107563025210084</c:v>
                </c:pt>
                <c:pt idx="5335">
                  <c:v>-0.107563025210084</c:v>
                </c:pt>
                <c:pt idx="5336">
                  <c:v>-0.107563025210084</c:v>
                </c:pt>
                <c:pt idx="5337">
                  <c:v>-0.107563025210084</c:v>
                </c:pt>
                <c:pt idx="5338">
                  <c:v>-0.107563025210084</c:v>
                </c:pt>
                <c:pt idx="5339">
                  <c:v>-0.107563025210084</c:v>
                </c:pt>
                <c:pt idx="5340">
                  <c:v>-0.107563025210084</c:v>
                </c:pt>
                <c:pt idx="5341">
                  <c:v>-0.107563025210084</c:v>
                </c:pt>
                <c:pt idx="5342">
                  <c:v>-0.107563025210084</c:v>
                </c:pt>
                <c:pt idx="5343">
                  <c:v>-0.107563025210084</c:v>
                </c:pt>
                <c:pt idx="5344">
                  <c:v>-0.107563025210084</c:v>
                </c:pt>
                <c:pt idx="5345">
                  <c:v>-0.107563025210084</c:v>
                </c:pt>
                <c:pt idx="5346">
                  <c:v>-0.107563025210084</c:v>
                </c:pt>
                <c:pt idx="5347">
                  <c:v>-0.107563025210084</c:v>
                </c:pt>
                <c:pt idx="5348">
                  <c:v>-0.107563025210084</c:v>
                </c:pt>
                <c:pt idx="5349">
                  <c:v>-0.107563025210084</c:v>
                </c:pt>
                <c:pt idx="5350">
                  <c:v>-0.107563025210084</c:v>
                </c:pt>
                <c:pt idx="5351">
                  <c:v>-0.107563025210084</c:v>
                </c:pt>
                <c:pt idx="5352">
                  <c:v>-0.107563025210084</c:v>
                </c:pt>
                <c:pt idx="5353">
                  <c:v>-0.10672268907563</c:v>
                </c:pt>
                <c:pt idx="5354">
                  <c:v>-0.10672268907563</c:v>
                </c:pt>
                <c:pt idx="5355">
                  <c:v>-0.10672268907563</c:v>
                </c:pt>
                <c:pt idx="5356">
                  <c:v>-0.107563025210084</c:v>
                </c:pt>
                <c:pt idx="5357">
                  <c:v>-0.107563025210084</c:v>
                </c:pt>
                <c:pt idx="5358">
                  <c:v>-0.107563025210084</c:v>
                </c:pt>
                <c:pt idx="5359">
                  <c:v>-0.107563025210084</c:v>
                </c:pt>
                <c:pt idx="5360">
                  <c:v>-0.107563025210084</c:v>
                </c:pt>
                <c:pt idx="5361">
                  <c:v>-0.107563025210084</c:v>
                </c:pt>
                <c:pt idx="5362">
                  <c:v>-0.107563025210084</c:v>
                </c:pt>
                <c:pt idx="5363">
                  <c:v>-0.108403361344537</c:v>
                </c:pt>
                <c:pt idx="5364">
                  <c:v>-0.108403361344537</c:v>
                </c:pt>
                <c:pt idx="5365">
                  <c:v>-0.108403361344537</c:v>
                </c:pt>
                <c:pt idx="5366">
                  <c:v>-0.108403361344537</c:v>
                </c:pt>
                <c:pt idx="5367">
                  <c:v>-0.108403361344537</c:v>
                </c:pt>
                <c:pt idx="5368">
                  <c:v>-0.108403361344537</c:v>
                </c:pt>
                <c:pt idx="5369">
                  <c:v>-0.108403361344537</c:v>
                </c:pt>
                <c:pt idx="5370">
                  <c:v>-0.108403361344537</c:v>
                </c:pt>
                <c:pt idx="5371">
                  <c:v>-0.108403361344537</c:v>
                </c:pt>
                <c:pt idx="5372">
                  <c:v>-0.108403361344537</c:v>
                </c:pt>
                <c:pt idx="5373">
                  <c:v>-0.108403361344537</c:v>
                </c:pt>
                <c:pt idx="5374">
                  <c:v>-0.108403361344537</c:v>
                </c:pt>
                <c:pt idx="5375">
                  <c:v>-0.108403361344537</c:v>
                </c:pt>
                <c:pt idx="5376">
                  <c:v>-0.108403361344537</c:v>
                </c:pt>
                <c:pt idx="5377">
                  <c:v>-0.108403361344537</c:v>
                </c:pt>
                <c:pt idx="5378">
                  <c:v>-0.108403361344537</c:v>
                </c:pt>
                <c:pt idx="5379">
                  <c:v>-0.108403361344537</c:v>
                </c:pt>
                <c:pt idx="5380">
                  <c:v>-0.108403361344537</c:v>
                </c:pt>
                <c:pt idx="5381">
                  <c:v>-0.108403361344537</c:v>
                </c:pt>
                <c:pt idx="5382">
                  <c:v>-0.108403361344537</c:v>
                </c:pt>
                <c:pt idx="5383">
                  <c:v>-0.108403361344537</c:v>
                </c:pt>
                <c:pt idx="5384">
                  <c:v>-0.108403361344537</c:v>
                </c:pt>
                <c:pt idx="5385">
                  <c:v>-0.108403361344537</c:v>
                </c:pt>
                <c:pt idx="5386">
                  <c:v>-0.108403361344537</c:v>
                </c:pt>
                <c:pt idx="5387">
                  <c:v>-0.108403361344537</c:v>
                </c:pt>
                <c:pt idx="5388">
                  <c:v>-0.108403361344537</c:v>
                </c:pt>
                <c:pt idx="5389">
                  <c:v>-0.108403361344537</c:v>
                </c:pt>
                <c:pt idx="5390">
                  <c:v>-0.108403361344537</c:v>
                </c:pt>
                <c:pt idx="5391">
                  <c:v>-0.108403361344537</c:v>
                </c:pt>
                <c:pt idx="5392">
                  <c:v>-0.108403361344537</c:v>
                </c:pt>
                <c:pt idx="5393">
                  <c:v>-0.108403361344537</c:v>
                </c:pt>
                <c:pt idx="5394">
                  <c:v>-0.108403361344537</c:v>
                </c:pt>
                <c:pt idx="5395">
                  <c:v>-0.108403361344537</c:v>
                </c:pt>
                <c:pt idx="5396">
                  <c:v>-0.108403361344537</c:v>
                </c:pt>
                <c:pt idx="5397">
                  <c:v>-0.108403361344537</c:v>
                </c:pt>
                <c:pt idx="5398">
                  <c:v>-0.108403361344537</c:v>
                </c:pt>
                <c:pt idx="5399">
                  <c:v>-0.108403361344537</c:v>
                </c:pt>
                <c:pt idx="5400">
                  <c:v>-0.108403361344537</c:v>
                </c:pt>
                <c:pt idx="5401">
                  <c:v>-0.108403361344537</c:v>
                </c:pt>
                <c:pt idx="5402">
                  <c:v>-0.108403361344537</c:v>
                </c:pt>
                <c:pt idx="5403">
                  <c:v>-0.108403361344537</c:v>
                </c:pt>
                <c:pt idx="5404">
                  <c:v>-0.108403361344537</c:v>
                </c:pt>
                <c:pt idx="5405">
                  <c:v>-0.108403361344537</c:v>
                </c:pt>
                <c:pt idx="5406">
                  <c:v>-0.108403361344537</c:v>
                </c:pt>
                <c:pt idx="5407">
                  <c:v>-0.108403361344537</c:v>
                </c:pt>
                <c:pt idx="5408">
                  <c:v>-0.108403361344537</c:v>
                </c:pt>
                <c:pt idx="5409">
                  <c:v>-0.108403361344537</c:v>
                </c:pt>
                <c:pt idx="5410">
                  <c:v>-0.108403361344537</c:v>
                </c:pt>
                <c:pt idx="5411">
                  <c:v>-0.108403361344537</c:v>
                </c:pt>
                <c:pt idx="5412">
                  <c:v>-0.108403361344537</c:v>
                </c:pt>
                <c:pt idx="5413">
                  <c:v>-0.108403361344537</c:v>
                </c:pt>
                <c:pt idx="5414">
                  <c:v>-0.108403361344537</c:v>
                </c:pt>
                <c:pt idx="5415">
                  <c:v>-0.108403361344537</c:v>
                </c:pt>
                <c:pt idx="5416">
                  <c:v>-0.108403361344537</c:v>
                </c:pt>
                <c:pt idx="5417">
                  <c:v>-0.108403361344537</c:v>
                </c:pt>
                <c:pt idx="5418">
                  <c:v>-0.108403361344537</c:v>
                </c:pt>
                <c:pt idx="5419">
                  <c:v>-0.108403361344537</c:v>
                </c:pt>
                <c:pt idx="5420">
                  <c:v>-0.108403361344537</c:v>
                </c:pt>
                <c:pt idx="5421">
                  <c:v>-0.108403361344537</c:v>
                </c:pt>
                <c:pt idx="5422">
                  <c:v>-0.108403361344537</c:v>
                </c:pt>
                <c:pt idx="5423">
                  <c:v>-0.108403361344537</c:v>
                </c:pt>
                <c:pt idx="5424">
                  <c:v>-0.108403361344537</c:v>
                </c:pt>
                <c:pt idx="5425">
                  <c:v>-0.107563025210084</c:v>
                </c:pt>
                <c:pt idx="5426">
                  <c:v>-0.107563025210084</c:v>
                </c:pt>
                <c:pt idx="5427">
                  <c:v>-0.107563025210084</c:v>
                </c:pt>
                <c:pt idx="5428">
                  <c:v>-0.107563025210084</c:v>
                </c:pt>
                <c:pt idx="5429">
                  <c:v>-0.107563025210084</c:v>
                </c:pt>
                <c:pt idx="5430">
                  <c:v>-0.107563025210084</c:v>
                </c:pt>
                <c:pt idx="5431">
                  <c:v>-0.107563025210084</c:v>
                </c:pt>
                <c:pt idx="5432">
                  <c:v>-0.107563025210084</c:v>
                </c:pt>
                <c:pt idx="5433">
                  <c:v>-0.107563025210084</c:v>
                </c:pt>
                <c:pt idx="5434">
                  <c:v>-0.107563025210084</c:v>
                </c:pt>
                <c:pt idx="5435">
                  <c:v>-0.107563025210084</c:v>
                </c:pt>
                <c:pt idx="5436">
                  <c:v>-0.107563025210084</c:v>
                </c:pt>
                <c:pt idx="5437">
                  <c:v>-0.108403361344537</c:v>
                </c:pt>
                <c:pt idx="5438">
                  <c:v>-0.108403361344537</c:v>
                </c:pt>
                <c:pt idx="5439">
                  <c:v>-0.108403361344537</c:v>
                </c:pt>
                <c:pt idx="5440">
                  <c:v>-0.108403361344537</c:v>
                </c:pt>
                <c:pt idx="5441">
                  <c:v>-0.108403361344537</c:v>
                </c:pt>
                <c:pt idx="5442">
                  <c:v>-0.108403361344537</c:v>
                </c:pt>
                <c:pt idx="5443">
                  <c:v>-0.108403361344537</c:v>
                </c:pt>
                <c:pt idx="5444">
                  <c:v>-0.108403361344537</c:v>
                </c:pt>
                <c:pt idx="5445">
                  <c:v>-0.108403361344537</c:v>
                </c:pt>
                <c:pt idx="5446">
                  <c:v>-0.108403361344537</c:v>
                </c:pt>
                <c:pt idx="5447">
                  <c:v>-0.108403361344537</c:v>
                </c:pt>
                <c:pt idx="5448">
                  <c:v>-0.108403361344537</c:v>
                </c:pt>
                <c:pt idx="5449">
                  <c:v>-0.108403361344537</c:v>
                </c:pt>
                <c:pt idx="5450">
                  <c:v>-0.108403361344537</c:v>
                </c:pt>
                <c:pt idx="5451">
                  <c:v>-0.108403361344537</c:v>
                </c:pt>
                <c:pt idx="5452">
                  <c:v>-0.108403361344537</c:v>
                </c:pt>
                <c:pt idx="5453">
                  <c:v>-0.108403361344537</c:v>
                </c:pt>
                <c:pt idx="5454">
                  <c:v>-0.108403361344537</c:v>
                </c:pt>
                <c:pt idx="5455">
                  <c:v>-0.108403361344537</c:v>
                </c:pt>
                <c:pt idx="5456">
                  <c:v>-0.108403361344537</c:v>
                </c:pt>
                <c:pt idx="5457">
                  <c:v>-0.108403361344537</c:v>
                </c:pt>
                <c:pt idx="5458">
                  <c:v>-0.108403361344537</c:v>
                </c:pt>
                <c:pt idx="5459">
                  <c:v>-0.108403361344537</c:v>
                </c:pt>
                <c:pt idx="5460">
                  <c:v>-0.108403361344537</c:v>
                </c:pt>
                <c:pt idx="5461">
                  <c:v>-0.108403361344537</c:v>
                </c:pt>
                <c:pt idx="5462">
                  <c:v>-0.108403361344537</c:v>
                </c:pt>
                <c:pt idx="5463">
                  <c:v>-0.107563025210084</c:v>
                </c:pt>
                <c:pt idx="5464">
                  <c:v>-0.107563025210084</c:v>
                </c:pt>
                <c:pt idx="5465">
                  <c:v>-0.107563025210084</c:v>
                </c:pt>
                <c:pt idx="5466">
                  <c:v>-0.107563025210084</c:v>
                </c:pt>
                <c:pt idx="5467">
                  <c:v>-0.10672268907563</c:v>
                </c:pt>
                <c:pt idx="5468">
                  <c:v>-0.10672268907563</c:v>
                </c:pt>
                <c:pt idx="5469">
                  <c:v>-0.10672268907563</c:v>
                </c:pt>
                <c:pt idx="5470">
                  <c:v>-0.10672268907563</c:v>
                </c:pt>
                <c:pt idx="5471">
                  <c:v>-0.10672268907563</c:v>
                </c:pt>
                <c:pt idx="5472">
                  <c:v>-0.107563025210084</c:v>
                </c:pt>
                <c:pt idx="5473">
                  <c:v>-0.107563025210084</c:v>
                </c:pt>
                <c:pt idx="5474">
                  <c:v>-0.107563025210084</c:v>
                </c:pt>
                <c:pt idx="5475">
                  <c:v>-0.107563025210084</c:v>
                </c:pt>
                <c:pt idx="5476">
                  <c:v>-0.107563025210084</c:v>
                </c:pt>
                <c:pt idx="5477">
                  <c:v>-0.108403361344537</c:v>
                </c:pt>
                <c:pt idx="5478">
                  <c:v>-0.108403361344537</c:v>
                </c:pt>
                <c:pt idx="5479">
                  <c:v>-0.108403361344537</c:v>
                </c:pt>
                <c:pt idx="5480">
                  <c:v>-0.108403361344537</c:v>
                </c:pt>
                <c:pt idx="5481">
                  <c:v>-0.108403361344537</c:v>
                </c:pt>
                <c:pt idx="5482">
                  <c:v>-0.108403361344537</c:v>
                </c:pt>
                <c:pt idx="5483">
                  <c:v>-0.108403361344537</c:v>
                </c:pt>
                <c:pt idx="5484">
                  <c:v>-0.108403361344537</c:v>
                </c:pt>
                <c:pt idx="5485">
                  <c:v>-0.108403361344537</c:v>
                </c:pt>
                <c:pt idx="5486">
                  <c:v>-0.108403361344537</c:v>
                </c:pt>
                <c:pt idx="5487">
                  <c:v>-0.108403361344537</c:v>
                </c:pt>
                <c:pt idx="5488">
                  <c:v>-0.108403361344537</c:v>
                </c:pt>
                <c:pt idx="5489">
                  <c:v>-0.108403361344537</c:v>
                </c:pt>
                <c:pt idx="5490">
                  <c:v>-0.108403361344537</c:v>
                </c:pt>
                <c:pt idx="5491">
                  <c:v>-0.108403361344537</c:v>
                </c:pt>
                <c:pt idx="5492">
                  <c:v>-0.108403361344537</c:v>
                </c:pt>
                <c:pt idx="5493">
                  <c:v>-0.108403361344537</c:v>
                </c:pt>
                <c:pt idx="5494">
                  <c:v>-0.108403361344537</c:v>
                </c:pt>
                <c:pt idx="5495">
                  <c:v>-0.108403361344537</c:v>
                </c:pt>
                <c:pt idx="5496">
                  <c:v>-0.108403361344537</c:v>
                </c:pt>
                <c:pt idx="5497">
                  <c:v>-0.108403361344537</c:v>
                </c:pt>
                <c:pt idx="5498">
                  <c:v>-0.108403361344537</c:v>
                </c:pt>
                <c:pt idx="5499">
                  <c:v>-0.108403361344537</c:v>
                </c:pt>
                <c:pt idx="5500">
                  <c:v>-0.108403361344537</c:v>
                </c:pt>
                <c:pt idx="5501">
                  <c:v>-0.108403361344537</c:v>
                </c:pt>
                <c:pt idx="5502">
                  <c:v>-0.108403361344537</c:v>
                </c:pt>
                <c:pt idx="5503">
                  <c:v>-0.108403361344537</c:v>
                </c:pt>
                <c:pt idx="5504">
                  <c:v>-0.108403361344537</c:v>
                </c:pt>
                <c:pt idx="5505">
                  <c:v>-0.108403361344537</c:v>
                </c:pt>
                <c:pt idx="5506">
                  <c:v>-0.108403361344537</c:v>
                </c:pt>
                <c:pt idx="5507">
                  <c:v>-0.108403361344537</c:v>
                </c:pt>
                <c:pt idx="5508">
                  <c:v>-0.108403361344537</c:v>
                </c:pt>
                <c:pt idx="5509">
                  <c:v>-0.108403361344537</c:v>
                </c:pt>
                <c:pt idx="5510">
                  <c:v>-0.108403361344537</c:v>
                </c:pt>
                <c:pt idx="5511">
                  <c:v>-0.108403361344537</c:v>
                </c:pt>
                <c:pt idx="5512">
                  <c:v>-0.108403361344537</c:v>
                </c:pt>
                <c:pt idx="5513">
                  <c:v>-0.108403361344537</c:v>
                </c:pt>
                <c:pt idx="5514">
                  <c:v>-0.108403361344537</c:v>
                </c:pt>
                <c:pt idx="5515">
                  <c:v>-0.108403361344537</c:v>
                </c:pt>
                <c:pt idx="5516">
                  <c:v>-0.108403361344537</c:v>
                </c:pt>
                <c:pt idx="5517">
                  <c:v>-0.108403361344537</c:v>
                </c:pt>
                <c:pt idx="5518">
                  <c:v>-0.108403361344537</c:v>
                </c:pt>
                <c:pt idx="5519">
                  <c:v>-0.108403361344537</c:v>
                </c:pt>
                <c:pt idx="5520">
                  <c:v>-0.108403361344537</c:v>
                </c:pt>
                <c:pt idx="5521">
                  <c:v>-0.108403361344537</c:v>
                </c:pt>
                <c:pt idx="5522">
                  <c:v>-0.108403361344537</c:v>
                </c:pt>
                <c:pt idx="5523">
                  <c:v>-0.108403361344537</c:v>
                </c:pt>
                <c:pt idx="5524">
                  <c:v>-0.108403361344537</c:v>
                </c:pt>
                <c:pt idx="5525">
                  <c:v>-0.108403361344537</c:v>
                </c:pt>
                <c:pt idx="5526">
                  <c:v>-0.108403361344537</c:v>
                </c:pt>
                <c:pt idx="5527">
                  <c:v>-0.108403361344537</c:v>
                </c:pt>
                <c:pt idx="5528">
                  <c:v>-0.109243697478991</c:v>
                </c:pt>
                <c:pt idx="5529">
                  <c:v>-0.109243697478991</c:v>
                </c:pt>
                <c:pt idx="5530">
                  <c:v>-0.109243697478991</c:v>
                </c:pt>
                <c:pt idx="5531">
                  <c:v>-0.109243697478991</c:v>
                </c:pt>
                <c:pt idx="5532">
                  <c:v>-0.109243697478991</c:v>
                </c:pt>
                <c:pt idx="5533">
                  <c:v>-0.109243697478991</c:v>
                </c:pt>
                <c:pt idx="5534">
                  <c:v>-0.109243697478991</c:v>
                </c:pt>
                <c:pt idx="5535">
                  <c:v>-0.109243697478991</c:v>
                </c:pt>
                <c:pt idx="5536">
                  <c:v>-0.109243697478991</c:v>
                </c:pt>
                <c:pt idx="5537">
                  <c:v>-0.109243697478991</c:v>
                </c:pt>
                <c:pt idx="5538">
                  <c:v>-0.109243697478991</c:v>
                </c:pt>
                <c:pt idx="5539">
                  <c:v>-0.109243697478991</c:v>
                </c:pt>
                <c:pt idx="5540">
                  <c:v>-0.109243697478991</c:v>
                </c:pt>
                <c:pt idx="5541">
                  <c:v>-0.109243697478991</c:v>
                </c:pt>
                <c:pt idx="5542">
                  <c:v>-0.108403361344537</c:v>
                </c:pt>
                <c:pt idx="5543">
                  <c:v>-0.108403361344537</c:v>
                </c:pt>
                <c:pt idx="5544">
                  <c:v>-0.107563025210084</c:v>
                </c:pt>
                <c:pt idx="5545">
                  <c:v>-0.107563025210084</c:v>
                </c:pt>
                <c:pt idx="5546">
                  <c:v>-0.107563025210084</c:v>
                </c:pt>
                <c:pt idx="5547">
                  <c:v>-0.107563025210084</c:v>
                </c:pt>
                <c:pt idx="5548">
                  <c:v>-0.108403361344537</c:v>
                </c:pt>
                <c:pt idx="5549">
                  <c:v>-0.108403361344537</c:v>
                </c:pt>
                <c:pt idx="5550">
                  <c:v>-0.108403361344537</c:v>
                </c:pt>
                <c:pt idx="5551">
                  <c:v>-0.108403361344537</c:v>
                </c:pt>
                <c:pt idx="5552">
                  <c:v>-0.108403361344537</c:v>
                </c:pt>
                <c:pt idx="5553">
                  <c:v>-0.108403361344537</c:v>
                </c:pt>
                <c:pt idx="5554">
                  <c:v>-0.108403361344537</c:v>
                </c:pt>
                <c:pt idx="5555">
                  <c:v>-0.108403361344537</c:v>
                </c:pt>
                <c:pt idx="5556">
                  <c:v>-0.108403361344537</c:v>
                </c:pt>
                <c:pt idx="5557">
                  <c:v>-0.108403361344537</c:v>
                </c:pt>
                <c:pt idx="5558">
                  <c:v>-0.108403361344537</c:v>
                </c:pt>
                <c:pt idx="5559">
                  <c:v>-0.108403361344537</c:v>
                </c:pt>
                <c:pt idx="5560">
                  <c:v>-0.108403361344537</c:v>
                </c:pt>
                <c:pt idx="5561">
                  <c:v>-0.108403361344537</c:v>
                </c:pt>
                <c:pt idx="5562">
                  <c:v>-0.108403361344537</c:v>
                </c:pt>
                <c:pt idx="5563">
                  <c:v>-0.108403361344537</c:v>
                </c:pt>
                <c:pt idx="5564">
                  <c:v>-0.108403361344537</c:v>
                </c:pt>
                <c:pt idx="5565">
                  <c:v>-0.109243697478991</c:v>
                </c:pt>
                <c:pt idx="5566">
                  <c:v>-0.109243697478991</c:v>
                </c:pt>
                <c:pt idx="5567">
                  <c:v>-0.109243697478991</c:v>
                </c:pt>
                <c:pt idx="5568">
                  <c:v>-0.108403361344537</c:v>
                </c:pt>
                <c:pt idx="5569">
                  <c:v>-0.108403361344537</c:v>
                </c:pt>
                <c:pt idx="5570">
                  <c:v>-0.108403361344537</c:v>
                </c:pt>
                <c:pt idx="5571">
                  <c:v>-0.108403361344537</c:v>
                </c:pt>
                <c:pt idx="5572">
                  <c:v>-0.108403361344537</c:v>
                </c:pt>
                <c:pt idx="5573">
                  <c:v>-0.108403361344537</c:v>
                </c:pt>
                <c:pt idx="5574">
                  <c:v>-0.108403361344537</c:v>
                </c:pt>
                <c:pt idx="5575">
                  <c:v>-0.108403361344537</c:v>
                </c:pt>
                <c:pt idx="5576">
                  <c:v>-0.108403361344537</c:v>
                </c:pt>
                <c:pt idx="5577">
                  <c:v>-0.108403361344537</c:v>
                </c:pt>
                <c:pt idx="5578">
                  <c:v>-0.108403361344537</c:v>
                </c:pt>
                <c:pt idx="5579">
                  <c:v>-0.108403361344537</c:v>
                </c:pt>
                <c:pt idx="5580">
                  <c:v>-0.108403361344537</c:v>
                </c:pt>
                <c:pt idx="5581">
                  <c:v>-0.108403361344537</c:v>
                </c:pt>
                <c:pt idx="5582">
                  <c:v>-0.108403361344537</c:v>
                </c:pt>
                <c:pt idx="5583">
                  <c:v>-0.109243697478991</c:v>
                </c:pt>
                <c:pt idx="5584">
                  <c:v>-0.109243697478991</c:v>
                </c:pt>
                <c:pt idx="5585">
                  <c:v>-0.109243697478991</c:v>
                </c:pt>
                <c:pt idx="5586">
                  <c:v>-0.109243697478991</c:v>
                </c:pt>
                <c:pt idx="5587">
                  <c:v>-0.109243697478991</c:v>
                </c:pt>
                <c:pt idx="5588">
                  <c:v>-0.109243697478991</c:v>
                </c:pt>
                <c:pt idx="5589">
                  <c:v>-0.109243697478991</c:v>
                </c:pt>
                <c:pt idx="5590">
                  <c:v>-0.109243697478991</c:v>
                </c:pt>
                <c:pt idx="5591">
                  <c:v>-0.109243697478991</c:v>
                </c:pt>
                <c:pt idx="5592">
                  <c:v>-0.109243697478991</c:v>
                </c:pt>
                <c:pt idx="5593">
                  <c:v>-0.109243697478991</c:v>
                </c:pt>
                <c:pt idx="5594">
                  <c:v>-0.109243697478991</c:v>
                </c:pt>
                <c:pt idx="5595">
                  <c:v>-0.109243697478991</c:v>
                </c:pt>
                <c:pt idx="5596">
                  <c:v>-0.109243697478991</c:v>
                </c:pt>
                <c:pt idx="5597">
                  <c:v>-0.109243697478991</c:v>
                </c:pt>
                <c:pt idx="5598">
                  <c:v>-0.109243697478991</c:v>
                </c:pt>
                <c:pt idx="5599">
                  <c:v>-0.109243697478991</c:v>
                </c:pt>
                <c:pt idx="5600">
                  <c:v>-0.109243697478991</c:v>
                </c:pt>
                <c:pt idx="5601">
                  <c:v>-0.109243697478991</c:v>
                </c:pt>
                <c:pt idx="5602">
                  <c:v>-0.109243697478991</c:v>
                </c:pt>
                <c:pt idx="5603">
                  <c:v>-0.109243697478991</c:v>
                </c:pt>
                <c:pt idx="5604">
                  <c:v>-0.109243697478991</c:v>
                </c:pt>
                <c:pt idx="5605">
                  <c:v>-0.110084033613445</c:v>
                </c:pt>
                <c:pt idx="5606">
                  <c:v>-0.110084033613445</c:v>
                </c:pt>
                <c:pt idx="5607">
                  <c:v>-0.110084033613445</c:v>
                </c:pt>
                <c:pt idx="5608">
                  <c:v>-0.110084033613445</c:v>
                </c:pt>
                <c:pt idx="5609">
                  <c:v>-0.110084033613445</c:v>
                </c:pt>
                <c:pt idx="5610">
                  <c:v>-0.110084033613445</c:v>
                </c:pt>
                <c:pt idx="5611">
                  <c:v>-0.110084033613445</c:v>
                </c:pt>
                <c:pt idx="5612">
                  <c:v>-0.110084033613445</c:v>
                </c:pt>
                <c:pt idx="5613">
                  <c:v>-0.110084033613445</c:v>
                </c:pt>
                <c:pt idx="5614">
                  <c:v>-0.110084033613445</c:v>
                </c:pt>
                <c:pt idx="5615">
                  <c:v>-0.110084033613445</c:v>
                </c:pt>
                <c:pt idx="5616">
                  <c:v>-0.110084033613445</c:v>
                </c:pt>
                <c:pt idx="5617">
                  <c:v>-0.110084033613445</c:v>
                </c:pt>
                <c:pt idx="5618">
                  <c:v>-0.110084033613445</c:v>
                </c:pt>
                <c:pt idx="5619">
                  <c:v>-0.110084033613445</c:v>
                </c:pt>
                <c:pt idx="5620">
                  <c:v>-0.110084033613445</c:v>
                </c:pt>
                <c:pt idx="5621">
                  <c:v>-0.110084033613445</c:v>
                </c:pt>
                <c:pt idx="5622">
                  <c:v>-0.110084033613445</c:v>
                </c:pt>
                <c:pt idx="5623">
                  <c:v>-0.110084033613445</c:v>
                </c:pt>
                <c:pt idx="5624">
                  <c:v>-0.110084033613445</c:v>
                </c:pt>
                <c:pt idx="5625">
                  <c:v>-0.110084033613445</c:v>
                </c:pt>
                <c:pt idx="5626">
                  <c:v>-0.110084033613445</c:v>
                </c:pt>
                <c:pt idx="5627">
                  <c:v>-0.110084033613445</c:v>
                </c:pt>
                <c:pt idx="5628">
                  <c:v>-0.110084033613445</c:v>
                </c:pt>
                <c:pt idx="5629">
                  <c:v>-0.110084033613445</c:v>
                </c:pt>
                <c:pt idx="5630">
                  <c:v>-0.110084033613445</c:v>
                </c:pt>
                <c:pt idx="5631">
                  <c:v>-0.110084033613445</c:v>
                </c:pt>
                <c:pt idx="5632">
                  <c:v>-0.110924369747899</c:v>
                </c:pt>
                <c:pt idx="5633">
                  <c:v>-0.110924369747899</c:v>
                </c:pt>
                <c:pt idx="5634">
                  <c:v>-0.110924369747899</c:v>
                </c:pt>
                <c:pt idx="5635">
                  <c:v>-0.110924369747899</c:v>
                </c:pt>
                <c:pt idx="5636">
                  <c:v>-0.110924369747899</c:v>
                </c:pt>
                <c:pt idx="5637">
                  <c:v>-0.110924369747899</c:v>
                </c:pt>
                <c:pt idx="5638">
                  <c:v>-0.110924369747899</c:v>
                </c:pt>
                <c:pt idx="5639">
                  <c:v>-0.110924369747899</c:v>
                </c:pt>
                <c:pt idx="5640">
                  <c:v>-0.110924369747899</c:v>
                </c:pt>
                <c:pt idx="5641">
                  <c:v>-0.110924369747899</c:v>
                </c:pt>
                <c:pt idx="5642">
                  <c:v>-0.110924369747899</c:v>
                </c:pt>
                <c:pt idx="5643">
                  <c:v>-0.110924369747899</c:v>
                </c:pt>
                <c:pt idx="5644">
                  <c:v>-0.110924369747899</c:v>
                </c:pt>
                <c:pt idx="5645">
                  <c:v>-0.110924369747899</c:v>
                </c:pt>
                <c:pt idx="5646">
                  <c:v>-0.110924369747899</c:v>
                </c:pt>
                <c:pt idx="5647">
                  <c:v>-0.110924369747899</c:v>
                </c:pt>
                <c:pt idx="5648">
                  <c:v>-0.110924369747899</c:v>
                </c:pt>
                <c:pt idx="5649">
                  <c:v>-0.110924369747899</c:v>
                </c:pt>
                <c:pt idx="5650">
                  <c:v>-0.110924369747899</c:v>
                </c:pt>
                <c:pt idx="5651">
                  <c:v>-0.110924369747899</c:v>
                </c:pt>
                <c:pt idx="5652">
                  <c:v>-0.110924369747899</c:v>
                </c:pt>
                <c:pt idx="5653">
                  <c:v>-0.110924369747899</c:v>
                </c:pt>
                <c:pt idx="5654">
                  <c:v>-0.110924369747899</c:v>
                </c:pt>
                <c:pt idx="5655">
                  <c:v>-0.110924369747899</c:v>
                </c:pt>
                <c:pt idx="5656">
                  <c:v>-0.110924369747899</c:v>
                </c:pt>
                <c:pt idx="5657">
                  <c:v>-0.110924369747899</c:v>
                </c:pt>
                <c:pt idx="5658">
                  <c:v>-0.111764705882352</c:v>
                </c:pt>
                <c:pt idx="5659">
                  <c:v>-0.110924369747899</c:v>
                </c:pt>
                <c:pt idx="5660">
                  <c:v>-0.110924369747899</c:v>
                </c:pt>
                <c:pt idx="5661">
                  <c:v>-0.110924369747899</c:v>
                </c:pt>
                <c:pt idx="5662">
                  <c:v>-0.111764705882352</c:v>
                </c:pt>
                <c:pt idx="5663">
                  <c:v>-0.111764705882352</c:v>
                </c:pt>
                <c:pt idx="5664">
                  <c:v>-0.111764705882352</c:v>
                </c:pt>
                <c:pt idx="5665">
                  <c:v>-0.111764705882352</c:v>
                </c:pt>
                <c:pt idx="5666">
                  <c:v>-0.111764705882352</c:v>
                </c:pt>
                <c:pt idx="5667">
                  <c:v>-0.111764705882352</c:v>
                </c:pt>
                <c:pt idx="5668">
                  <c:v>-0.111764705882352</c:v>
                </c:pt>
                <c:pt idx="5669">
                  <c:v>-0.111764705882352</c:v>
                </c:pt>
                <c:pt idx="5670">
                  <c:v>-0.110924369747899</c:v>
                </c:pt>
                <c:pt idx="5671">
                  <c:v>-0.110924369747899</c:v>
                </c:pt>
                <c:pt idx="5672">
                  <c:v>-0.110924369747899</c:v>
                </c:pt>
                <c:pt idx="5673">
                  <c:v>-0.110924369747899</c:v>
                </c:pt>
                <c:pt idx="5674">
                  <c:v>-0.110084033613445</c:v>
                </c:pt>
                <c:pt idx="5675">
                  <c:v>-0.110084033613445</c:v>
                </c:pt>
                <c:pt idx="5676">
                  <c:v>-0.110084033613445</c:v>
                </c:pt>
                <c:pt idx="5677">
                  <c:v>-0.110084033613445</c:v>
                </c:pt>
                <c:pt idx="5678">
                  <c:v>-0.110084033613445</c:v>
                </c:pt>
                <c:pt idx="5679">
                  <c:v>-0.110084033613445</c:v>
                </c:pt>
                <c:pt idx="5680">
                  <c:v>-0.110084033613445</c:v>
                </c:pt>
                <c:pt idx="5681">
                  <c:v>-0.110084033613445</c:v>
                </c:pt>
                <c:pt idx="5682">
                  <c:v>-0.110084033613445</c:v>
                </c:pt>
                <c:pt idx="5683">
                  <c:v>-0.110084033613445</c:v>
                </c:pt>
                <c:pt idx="5684">
                  <c:v>-0.110084033613445</c:v>
                </c:pt>
                <c:pt idx="5685">
                  <c:v>-0.110084033613445</c:v>
                </c:pt>
                <c:pt idx="5686">
                  <c:v>-0.110924369747899</c:v>
                </c:pt>
                <c:pt idx="5687">
                  <c:v>-0.110924369747899</c:v>
                </c:pt>
                <c:pt idx="5688">
                  <c:v>-0.110924369747899</c:v>
                </c:pt>
                <c:pt idx="5689">
                  <c:v>-0.110924369747899</c:v>
                </c:pt>
                <c:pt idx="5690">
                  <c:v>-0.110924369747899</c:v>
                </c:pt>
                <c:pt idx="5691">
                  <c:v>-0.110924369747899</c:v>
                </c:pt>
                <c:pt idx="5692">
                  <c:v>-0.110924369747899</c:v>
                </c:pt>
                <c:pt idx="5693">
                  <c:v>-0.110924369747899</c:v>
                </c:pt>
                <c:pt idx="5694">
                  <c:v>-0.111764705882352</c:v>
                </c:pt>
                <c:pt idx="5695">
                  <c:v>-0.111764705882352</c:v>
                </c:pt>
                <c:pt idx="5696">
                  <c:v>-0.111764705882352</c:v>
                </c:pt>
                <c:pt idx="5697">
                  <c:v>-0.111764705882352</c:v>
                </c:pt>
                <c:pt idx="5698">
                  <c:v>-0.111764705882352</c:v>
                </c:pt>
                <c:pt idx="5699">
                  <c:v>-0.111764705882352</c:v>
                </c:pt>
                <c:pt idx="5700">
                  <c:v>-0.111764705882352</c:v>
                </c:pt>
                <c:pt idx="5701">
                  <c:v>-0.110924369747899</c:v>
                </c:pt>
                <c:pt idx="5702">
                  <c:v>-0.110924369747899</c:v>
                </c:pt>
                <c:pt idx="5703">
                  <c:v>-0.110924369747899</c:v>
                </c:pt>
                <c:pt idx="5704">
                  <c:v>-0.110924369747899</c:v>
                </c:pt>
                <c:pt idx="5705">
                  <c:v>-0.110924369747899</c:v>
                </c:pt>
                <c:pt idx="5706">
                  <c:v>-0.110924369747899</c:v>
                </c:pt>
                <c:pt idx="5707">
                  <c:v>-0.110924369747899</c:v>
                </c:pt>
                <c:pt idx="5708">
                  <c:v>-0.110924369747899</c:v>
                </c:pt>
                <c:pt idx="5709">
                  <c:v>-0.110084033613445</c:v>
                </c:pt>
                <c:pt idx="5710">
                  <c:v>-0.110924369747899</c:v>
                </c:pt>
                <c:pt idx="5711">
                  <c:v>-0.110924369747899</c:v>
                </c:pt>
                <c:pt idx="5712">
                  <c:v>-0.110084033613445</c:v>
                </c:pt>
                <c:pt idx="5713">
                  <c:v>-0.110084033613445</c:v>
                </c:pt>
                <c:pt idx="5714">
                  <c:v>-0.110084033613445</c:v>
                </c:pt>
                <c:pt idx="5715">
                  <c:v>-0.110084033613445</c:v>
                </c:pt>
                <c:pt idx="5716">
                  <c:v>-0.110084033613445</c:v>
                </c:pt>
                <c:pt idx="5717">
                  <c:v>-0.110924369747899</c:v>
                </c:pt>
                <c:pt idx="5718">
                  <c:v>-0.110924369747899</c:v>
                </c:pt>
                <c:pt idx="5719">
                  <c:v>-0.110924369747899</c:v>
                </c:pt>
                <c:pt idx="5720">
                  <c:v>-0.110084033613445</c:v>
                </c:pt>
                <c:pt idx="5721">
                  <c:v>-0.110084033613445</c:v>
                </c:pt>
                <c:pt idx="5722">
                  <c:v>-0.110084033613445</c:v>
                </c:pt>
                <c:pt idx="5723">
                  <c:v>-0.110084033613445</c:v>
                </c:pt>
                <c:pt idx="5724">
                  <c:v>-0.110084033613445</c:v>
                </c:pt>
                <c:pt idx="5725">
                  <c:v>-0.110084033613445</c:v>
                </c:pt>
                <c:pt idx="5726">
                  <c:v>-0.110084033613445</c:v>
                </c:pt>
                <c:pt idx="5727">
                  <c:v>-0.110084033613445</c:v>
                </c:pt>
                <c:pt idx="5728">
                  <c:v>-0.110084033613445</c:v>
                </c:pt>
                <c:pt idx="5729">
                  <c:v>-0.110084033613445</c:v>
                </c:pt>
                <c:pt idx="5730">
                  <c:v>-0.110084033613445</c:v>
                </c:pt>
                <c:pt idx="5731">
                  <c:v>-0.110084033613445</c:v>
                </c:pt>
                <c:pt idx="5732">
                  <c:v>-0.110084033613445</c:v>
                </c:pt>
                <c:pt idx="5733">
                  <c:v>-0.110084033613445</c:v>
                </c:pt>
                <c:pt idx="5734">
                  <c:v>-0.110084033613445</c:v>
                </c:pt>
                <c:pt idx="5735">
                  <c:v>-0.110924369747899</c:v>
                </c:pt>
                <c:pt idx="5736">
                  <c:v>-0.110924369747899</c:v>
                </c:pt>
                <c:pt idx="5737">
                  <c:v>-0.110924369747899</c:v>
                </c:pt>
                <c:pt idx="5738">
                  <c:v>-0.110924369747899</c:v>
                </c:pt>
                <c:pt idx="5739">
                  <c:v>-0.110924369747899</c:v>
                </c:pt>
                <c:pt idx="5740">
                  <c:v>-0.110924369747899</c:v>
                </c:pt>
                <c:pt idx="5741">
                  <c:v>-0.110924369747899</c:v>
                </c:pt>
                <c:pt idx="5742">
                  <c:v>-0.110924369747899</c:v>
                </c:pt>
                <c:pt idx="5743">
                  <c:v>-0.110924369747899</c:v>
                </c:pt>
                <c:pt idx="5744">
                  <c:v>-0.111764705882352</c:v>
                </c:pt>
                <c:pt idx="5745">
                  <c:v>-0.111764705882352</c:v>
                </c:pt>
                <c:pt idx="5746">
                  <c:v>-0.111764705882352</c:v>
                </c:pt>
                <c:pt idx="5747">
                  <c:v>-0.111764705882352</c:v>
                </c:pt>
                <c:pt idx="5748">
                  <c:v>-0.111764705882352</c:v>
                </c:pt>
                <c:pt idx="5749">
                  <c:v>-0.111764705882352</c:v>
                </c:pt>
                <c:pt idx="5750">
                  <c:v>-0.111764705882352</c:v>
                </c:pt>
                <c:pt idx="5751">
                  <c:v>-0.111764705882352</c:v>
                </c:pt>
                <c:pt idx="5752">
                  <c:v>-0.112605042016806</c:v>
                </c:pt>
                <c:pt idx="5753">
                  <c:v>-0.112605042016806</c:v>
                </c:pt>
                <c:pt idx="5754">
                  <c:v>-0.112605042016806</c:v>
                </c:pt>
                <c:pt idx="5755">
                  <c:v>-0.112605042016806</c:v>
                </c:pt>
                <c:pt idx="5756">
                  <c:v>-0.112605042016806</c:v>
                </c:pt>
                <c:pt idx="5757">
                  <c:v>-0.112605042016806</c:v>
                </c:pt>
                <c:pt idx="5758">
                  <c:v>-0.112605042016806</c:v>
                </c:pt>
                <c:pt idx="5759">
                  <c:v>-0.112605042016806</c:v>
                </c:pt>
                <c:pt idx="5760">
                  <c:v>-0.111764705882352</c:v>
                </c:pt>
                <c:pt idx="5761">
                  <c:v>-0.111764705882352</c:v>
                </c:pt>
                <c:pt idx="5762">
                  <c:v>-0.111764705882352</c:v>
                </c:pt>
                <c:pt idx="5763">
                  <c:v>-0.111764705882352</c:v>
                </c:pt>
                <c:pt idx="5764">
                  <c:v>-0.111764705882352</c:v>
                </c:pt>
                <c:pt idx="5765">
                  <c:v>-0.111764705882352</c:v>
                </c:pt>
                <c:pt idx="5766">
                  <c:v>-0.111764705882352</c:v>
                </c:pt>
                <c:pt idx="5767">
                  <c:v>-0.111764705882352</c:v>
                </c:pt>
                <c:pt idx="5768">
                  <c:v>-0.111764705882352</c:v>
                </c:pt>
                <c:pt idx="5769">
                  <c:v>-0.111764705882352</c:v>
                </c:pt>
                <c:pt idx="5770">
                  <c:v>-0.111764705882352</c:v>
                </c:pt>
                <c:pt idx="5771">
                  <c:v>-0.111764705882352</c:v>
                </c:pt>
                <c:pt idx="5772">
                  <c:v>-0.111764705882352</c:v>
                </c:pt>
                <c:pt idx="5773">
                  <c:v>-0.111764705882352</c:v>
                </c:pt>
                <c:pt idx="5774">
                  <c:v>-0.111764705882352</c:v>
                </c:pt>
                <c:pt idx="5775">
                  <c:v>-0.111764705882352</c:v>
                </c:pt>
                <c:pt idx="5776">
                  <c:v>-0.111764705882352</c:v>
                </c:pt>
                <c:pt idx="5777">
                  <c:v>-0.111764705882352</c:v>
                </c:pt>
                <c:pt idx="5778">
                  <c:v>-0.111764705882352</c:v>
                </c:pt>
                <c:pt idx="5779">
                  <c:v>-0.111764705882352</c:v>
                </c:pt>
                <c:pt idx="5780">
                  <c:v>-0.111764705882352</c:v>
                </c:pt>
                <c:pt idx="5781">
                  <c:v>-0.111764705882352</c:v>
                </c:pt>
                <c:pt idx="5782">
                  <c:v>-0.111764705882352</c:v>
                </c:pt>
                <c:pt idx="5783">
                  <c:v>-0.111764705882352</c:v>
                </c:pt>
                <c:pt idx="5784">
                  <c:v>-0.111764705882352</c:v>
                </c:pt>
                <c:pt idx="5785">
                  <c:v>-0.111764705882352</c:v>
                </c:pt>
                <c:pt idx="5786">
                  <c:v>-0.111764705882352</c:v>
                </c:pt>
                <c:pt idx="5787">
                  <c:v>-0.111764705882352</c:v>
                </c:pt>
                <c:pt idx="5788">
                  <c:v>-0.111764705882352</c:v>
                </c:pt>
                <c:pt idx="5789">
                  <c:v>-0.111764705882352</c:v>
                </c:pt>
                <c:pt idx="5790">
                  <c:v>-0.111764705882352</c:v>
                </c:pt>
                <c:pt idx="5791">
                  <c:v>-0.111764705882352</c:v>
                </c:pt>
                <c:pt idx="5792">
                  <c:v>-0.111764705882352</c:v>
                </c:pt>
                <c:pt idx="5793">
                  <c:v>-0.111764705882352</c:v>
                </c:pt>
                <c:pt idx="5794">
                  <c:v>-0.111764705882352</c:v>
                </c:pt>
                <c:pt idx="5795">
                  <c:v>-0.111764705882352</c:v>
                </c:pt>
                <c:pt idx="5796">
                  <c:v>-0.111764705882352</c:v>
                </c:pt>
                <c:pt idx="5797">
                  <c:v>-0.111764705882352</c:v>
                </c:pt>
                <c:pt idx="5798">
                  <c:v>-0.111764705882352</c:v>
                </c:pt>
                <c:pt idx="5799">
                  <c:v>-0.111764705882352</c:v>
                </c:pt>
                <c:pt idx="5800">
                  <c:v>-0.111764705882352</c:v>
                </c:pt>
                <c:pt idx="5801">
                  <c:v>-0.111764705882352</c:v>
                </c:pt>
                <c:pt idx="5802">
                  <c:v>-0.111764705882352</c:v>
                </c:pt>
                <c:pt idx="5803">
                  <c:v>-0.111764705882352</c:v>
                </c:pt>
                <c:pt idx="5804">
                  <c:v>-0.111764705882352</c:v>
                </c:pt>
                <c:pt idx="5805">
                  <c:v>-0.111764705882352</c:v>
                </c:pt>
                <c:pt idx="5806">
                  <c:v>-0.111764705882352</c:v>
                </c:pt>
                <c:pt idx="5807">
                  <c:v>-0.111764705882352</c:v>
                </c:pt>
                <c:pt idx="5808">
                  <c:v>-0.111764705882352</c:v>
                </c:pt>
                <c:pt idx="5809">
                  <c:v>-0.111764705882352</c:v>
                </c:pt>
                <c:pt idx="5810">
                  <c:v>-0.111764705882352</c:v>
                </c:pt>
                <c:pt idx="5811">
                  <c:v>-0.110924369747899</c:v>
                </c:pt>
                <c:pt idx="5812">
                  <c:v>-0.110924369747899</c:v>
                </c:pt>
                <c:pt idx="5813">
                  <c:v>-0.110924369747899</c:v>
                </c:pt>
                <c:pt idx="5814">
                  <c:v>-0.110924369747899</c:v>
                </c:pt>
                <c:pt idx="5815">
                  <c:v>-0.110924369747899</c:v>
                </c:pt>
                <c:pt idx="5816">
                  <c:v>-0.110924369747899</c:v>
                </c:pt>
                <c:pt idx="5817">
                  <c:v>-0.110924369747899</c:v>
                </c:pt>
                <c:pt idx="5818">
                  <c:v>-0.110924369747899</c:v>
                </c:pt>
                <c:pt idx="5819">
                  <c:v>-0.110924369747899</c:v>
                </c:pt>
                <c:pt idx="5820">
                  <c:v>-0.110084033613445</c:v>
                </c:pt>
                <c:pt idx="5821">
                  <c:v>-0.110084033613445</c:v>
                </c:pt>
                <c:pt idx="5822">
                  <c:v>-0.110084033613445</c:v>
                </c:pt>
                <c:pt idx="5823">
                  <c:v>-0.110084033613445</c:v>
                </c:pt>
                <c:pt idx="5824">
                  <c:v>-0.110084033613445</c:v>
                </c:pt>
                <c:pt idx="5825">
                  <c:v>-0.110084033613445</c:v>
                </c:pt>
                <c:pt idx="5826">
                  <c:v>-0.110924369747899</c:v>
                </c:pt>
                <c:pt idx="5827">
                  <c:v>-0.110924369747899</c:v>
                </c:pt>
                <c:pt idx="5828">
                  <c:v>-0.110924369747899</c:v>
                </c:pt>
                <c:pt idx="5829">
                  <c:v>-0.110924369747899</c:v>
                </c:pt>
                <c:pt idx="5830">
                  <c:v>-0.110924369747899</c:v>
                </c:pt>
                <c:pt idx="5831">
                  <c:v>-0.110924369747899</c:v>
                </c:pt>
                <c:pt idx="5832">
                  <c:v>-0.110924369747899</c:v>
                </c:pt>
                <c:pt idx="5833">
                  <c:v>-0.110924369747899</c:v>
                </c:pt>
                <c:pt idx="5834">
                  <c:v>-0.110924369747899</c:v>
                </c:pt>
                <c:pt idx="5835">
                  <c:v>-0.110924369747899</c:v>
                </c:pt>
                <c:pt idx="5836">
                  <c:v>-0.111764705882352</c:v>
                </c:pt>
                <c:pt idx="5837">
                  <c:v>-0.111764705882352</c:v>
                </c:pt>
                <c:pt idx="5838">
                  <c:v>-0.111764705882352</c:v>
                </c:pt>
                <c:pt idx="5839">
                  <c:v>-0.111764705882352</c:v>
                </c:pt>
                <c:pt idx="5840">
                  <c:v>-0.111764705882352</c:v>
                </c:pt>
                <c:pt idx="5841">
                  <c:v>-0.111764705882352</c:v>
                </c:pt>
                <c:pt idx="5842">
                  <c:v>-0.111764705882352</c:v>
                </c:pt>
                <c:pt idx="5843">
                  <c:v>-0.111764705882352</c:v>
                </c:pt>
                <c:pt idx="5844">
                  <c:v>-0.111764705882352</c:v>
                </c:pt>
                <c:pt idx="5845">
                  <c:v>-0.111764705882352</c:v>
                </c:pt>
                <c:pt idx="5846">
                  <c:v>-0.111764705882352</c:v>
                </c:pt>
                <c:pt idx="5847">
                  <c:v>-0.111764705882352</c:v>
                </c:pt>
                <c:pt idx="5848">
                  <c:v>-0.111764705882352</c:v>
                </c:pt>
                <c:pt idx="5849">
                  <c:v>-0.111764705882352</c:v>
                </c:pt>
                <c:pt idx="5850">
                  <c:v>-0.111764705882352</c:v>
                </c:pt>
                <c:pt idx="5851">
                  <c:v>-0.111764705882352</c:v>
                </c:pt>
                <c:pt idx="5852">
                  <c:v>-0.112605042016806</c:v>
                </c:pt>
                <c:pt idx="5853">
                  <c:v>-0.112605042016806</c:v>
                </c:pt>
                <c:pt idx="5854">
                  <c:v>-0.112605042016806</c:v>
                </c:pt>
                <c:pt idx="5855">
                  <c:v>-0.112605042016806</c:v>
                </c:pt>
                <c:pt idx="5856">
                  <c:v>-0.11344537815126</c:v>
                </c:pt>
                <c:pt idx="5857">
                  <c:v>-0.114285714285714</c:v>
                </c:pt>
                <c:pt idx="5858">
                  <c:v>-0.114285714285714</c:v>
                </c:pt>
                <c:pt idx="5859">
                  <c:v>-0.114285714285714</c:v>
                </c:pt>
                <c:pt idx="5860">
                  <c:v>-0.114285714285714</c:v>
                </c:pt>
                <c:pt idx="5861">
                  <c:v>-0.114285714285714</c:v>
                </c:pt>
                <c:pt idx="5862">
                  <c:v>-0.114285714285714</c:v>
                </c:pt>
                <c:pt idx="5863">
                  <c:v>-0.114285714285714</c:v>
                </c:pt>
                <c:pt idx="5864">
                  <c:v>-0.114285714285714</c:v>
                </c:pt>
                <c:pt idx="5865">
                  <c:v>-0.114285714285714</c:v>
                </c:pt>
                <c:pt idx="5866">
                  <c:v>-0.114285714285714</c:v>
                </c:pt>
                <c:pt idx="5867">
                  <c:v>-0.114285714285714</c:v>
                </c:pt>
                <c:pt idx="5868">
                  <c:v>-0.114285714285714</c:v>
                </c:pt>
                <c:pt idx="5869">
                  <c:v>-0.114285714285714</c:v>
                </c:pt>
                <c:pt idx="5870">
                  <c:v>-0.114285714285714</c:v>
                </c:pt>
                <c:pt idx="5871">
                  <c:v>-0.114285714285714</c:v>
                </c:pt>
                <c:pt idx="5872">
                  <c:v>-0.11512605042016801</c:v>
                </c:pt>
                <c:pt idx="5873">
                  <c:v>-0.11512605042016801</c:v>
                </c:pt>
                <c:pt idx="5874">
                  <c:v>-0.11512605042016801</c:v>
                </c:pt>
                <c:pt idx="5875">
                  <c:v>-0.114285714285714</c:v>
                </c:pt>
                <c:pt idx="5876">
                  <c:v>-0.114285714285714</c:v>
                </c:pt>
                <c:pt idx="5877">
                  <c:v>-0.114285714285714</c:v>
                </c:pt>
                <c:pt idx="5878">
                  <c:v>-0.114285714285714</c:v>
                </c:pt>
                <c:pt idx="5879">
                  <c:v>-0.114285714285714</c:v>
                </c:pt>
                <c:pt idx="5880">
                  <c:v>-0.114285714285714</c:v>
                </c:pt>
                <c:pt idx="5881">
                  <c:v>-0.114285714285714</c:v>
                </c:pt>
                <c:pt idx="5882">
                  <c:v>-0.114285714285714</c:v>
                </c:pt>
                <c:pt idx="5883">
                  <c:v>-0.114285714285714</c:v>
                </c:pt>
                <c:pt idx="5884">
                  <c:v>-0.114285714285714</c:v>
                </c:pt>
                <c:pt idx="5885">
                  <c:v>-0.114285714285714</c:v>
                </c:pt>
                <c:pt idx="5886">
                  <c:v>-0.114285714285714</c:v>
                </c:pt>
                <c:pt idx="5887">
                  <c:v>-0.114285714285714</c:v>
                </c:pt>
                <c:pt idx="5888">
                  <c:v>-0.114285714285714</c:v>
                </c:pt>
                <c:pt idx="5889">
                  <c:v>-0.114285714285714</c:v>
                </c:pt>
                <c:pt idx="5890">
                  <c:v>-0.114285714285714</c:v>
                </c:pt>
                <c:pt idx="5891">
                  <c:v>-0.114285714285714</c:v>
                </c:pt>
                <c:pt idx="5892">
                  <c:v>-0.114285714285714</c:v>
                </c:pt>
                <c:pt idx="5893">
                  <c:v>-0.114285714285714</c:v>
                </c:pt>
                <c:pt idx="5894">
                  <c:v>-0.114285714285714</c:v>
                </c:pt>
                <c:pt idx="5895">
                  <c:v>-0.114285714285714</c:v>
                </c:pt>
                <c:pt idx="5896">
                  <c:v>-0.114285714285714</c:v>
                </c:pt>
                <c:pt idx="5897">
                  <c:v>-0.114285714285714</c:v>
                </c:pt>
                <c:pt idx="5898">
                  <c:v>-0.114285714285714</c:v>
                </c:pt>
                <c:pt idx="5899">
                  <c:v>-0.114285714285714</c:v>
                </c:pt>
                <c:pt idx="5900">
                  <c:v>-0.114285714285714</c:v>
                </c:pt>
                <c:pt idx="5901">
                  <c:v>-0.114285714285714</c:v>
                </c:pt>
                <c:pt idx="5902">
                  <c:v>-0.114285714285714</c:v>
                </c:pt>
                <c:pt idx="5903">
                  <c:v>-0.114285714285714</c:v>
                </c:pt>
                <c:pt idx="5904">
                  <c:v>-0.114285714285714</c:v>
                </c:pt>
                <c:pt idx="5905">
                  <c:v>-0.114285714285714</c:v>
                </c:pt>
                <c:pt idx="5906">
                  <c:v>-0.114285714285714</c:v>
                </c:pt>
                <c:pt idx="5907">
                  <c:v>-0.114285714285714</c:v>
                </c:pt>
                <c:pt idx="5908">
                  <c:v>-0.114285714285714</c:v>
                </c:pt>
                <c:pt idx="5909">
                  <c:v>-0.114285714285714</c:v>
                </c:pt>
                <c:pt idx="5910">
                  <c:v>-0.11512605042016801</c:v>
                </c:pt>
                <c:pt idx="5911">
                  <c:v>-0.11512605042016801</c:v>
                </c:pt>
                <c:pt idx="5912">
                  <c:v>-0.11512605042016801</c:v>
                </c:pt>
                <c:pt idx="5913">
                  <c:v>-0.11512605042016801</c:v>
                </c:pt>
                <c:pt idx="5914">
                  <c:v>-0.11512605042016801</c:v>
                </c:pt>
                <c:pt idx="5915">
                  <c:v>-0.11512605042016801</c:v>
                </c:pt>
                <c:pt idx="5916">
                  <c:v>-0.11512605042016801</c:v>
                </c:pt>
                <c:pt idx="5917">
                  <c:v>-0.11512605042016801</c:v>
                </c:pt>
                <c:pt idx="5918">
                  <c:v>-0.11512605042016801</c:v>
                </c:pt>
                <c:pt idx="5919">
                  <c:v>-0.11512605042016801</c:v>
                </c:pt>
                <c:pt idx="5920">
                  <c:v>-0.11512605042016801</c:v>
                </c:pt>
                <c:pt idx="5921">
                  <c:v>-0.11512605042016801</c:v>
                </c:pt>
                <c:pt idx="5922">
                  <c:v>-0.11512605042016801</c:v>
                </c:pt>
                <c:pt idx="5923">
                  <c:v>-0.11596638655462101</c:v>
                </c:pt>
                <c:pt idx="5924">
                  <c:v>-0.11596638655462101</c:v>
                </c:pt>
                <c:pt idx="5925">
                  <c:v>-0.11596638655462101</c:v>
                </c:pt>
                <c:pt idx="5926">
                  <c:v>-0.11596638655462101</c:v>
                </c:pt>
                <c:pt idx="5927">
                  <c:v>-0.11596638655462101</c:v>
                </c:pt>
                <c:pt idx="5928">
                  <c:v>-0.11596638655462101</c:v>
                </c:pt>
                <c:pt idx="5929">
                  <c:v>-0.11596638655462101</c:v>
                </c:pt>
                <c:pt idx="5930">
                  <c:v>-0.11596638655462101</c:v>
                </c:pt>
                <c:pt idx="5931">
                  <c:v>-0.11596638655462101</c:v>
                </c:pt>
                <c:pt idx="5932">
                  <c:v>-0.11596638655462101</c:v>
                </c:pt>
                <c:pt idx="5933">
                  <c:v>-0.11596638655462101</c:v>
                </c:pt>
                <c:pt idx="5934">
                  <c:v>-0.11596638655462101</c:v>
                </c:pt>
                <c:pt idx="5935">
                  <c:v>-0.11596638655462101</c:v>
                </c:pt>
                <c:pt idx="5936">
                  <c:v>-0.11596638655462101</c:v>
                </c:pt>
                <c:pt idx="5937">
                  <c:v>-0.11596638655462101</c:v>
                </c:pt>
                <c:pt idx="5938">
                  <c:v>-0.11596638655462101</c:v>
                </c:pt>
                <c:pt idx="5939">
                  <c:v>-0.11596638655462101</c:v>
                </c:pt>
                <c:pt idx="5940">
                  <c:v>-0.11596638655462101</c:v>
                </c:pt>
                <c:pt idx="5941">
                  <c:v>-0.11596638655462101</c:v>
                </c:pt>
                <c:pt idx="5942">
                  <c:v>-0.11596638655462101</c:v>
                </c:pt>
                <c:pt idx="5943">
                  <c:v>-0.11596638655462101</c:v>
                </c:pt>
                <c:pt idx="5944">
                  <c:v>-0.11596638655462101</c:v>
                </c:pt>
                <c:pt idx="5945">
                  <c:v>-0.11596638655462101</c:v>
                </c:pt>
                <c:pt idx="5946">
                  <c:v>-0.11596638655462101</c:v>
                </c:pt>
                <c:pt idx="5947">
                  <c:v>-0.11596638655462101</c:v>
                </c:pt>
                <c:pt idx="5948">
                  <c:v>-0.11596638655462101</c:v>
                </c:pt>
                <c:pt idx="5949">
                  <c:v>-0.11596638655462101</c:v>
                </c:pt>
                <c:pt idx="5950">
                  <c:v>-0.11596638655462101</c:v>
                </c:pt>
                <c:pt idx="5951">
                  <c:v>-0.11596638655462101</c:v>
                </c:pt>
                <c:pt idx="5952">
                  <c:v>-0.11596638655462101</c:v>
                </c:pt>
                <c:pt idx="5953">
                  <c:v>-0.11596638655462101</c:v>
                </c:pt>
                <c:pt idx="5954">
                  <c:v>-0.11596638655462101</c:v>
                </c:pt>
                <c:pt idx="5955">
                  <c:v>-0.11596638655462101</c:v>
                </c:pt>
                <c:pt idx="5956">
                  <c:v>-0.11596638655462101</c:v>
                </c:pt>
                <c:pt idx="5957">
                  <c:v>-0.11596638655462101</c:v>
                </c:pt>
                <c:pt idx="5958">
                  <c:v>-0.11596638655462101</c:v>
                </c:pt>
                <c:pt idx="5959">
                  <c:v>-0.11596638655462101</c:v>
                </c:pt>
                <c:pt idx="5960">
                  <c:v>-0.11596638655462101</c:v>
                </c:pt>
                <c:pt idx="5961">
                  <c:v>-0.11596638655462101</c:v>
                </c:pt>
                <c:pt idx="5962">
                  <c:v>-0.11596638655462101</c:v>
                </c:pt>
                <c:pt idx="5963">
                  <c:v>-0.11596638655462101</c:v>
                </c:pt>
                <c:pt idx="5964">
                  <c:v>-0.11596638655462101</c:v>
                </c:pt>
                <c:pt idx="5965">
                  <c:v>-0.11596638655462101</c:v>
                </c:pt>
                <c:pt idx="5966">
                  <c:v>-0.11596638655462101</c:v>
                </c:pt>
                <c:pt idx="5967">
                  <c:v>-0.11596638655462101</c:v>
                </c:pt>
                <c:pt idx="5968">
                  <c:v>-0.11596638655462101</c:v>
                </c:pt>
                <c:pt idx="5969">
                  <c:v>-0.11596638655462101</c:v>
                </c:pt>
                <c:pt idx="5970">
                  <c:v>-0.11596638655462101</c:v>
                </c:pt>
                <c:pt idx="5971">
                  <c:v>-0.11596638655462101</c:v>
                </c:pt>
                <c:pt idx="5972">
                  <c:v>-0.11596638655462101</c:v>
                </c:pt>
                <c:pt idx="5973">
                  <c:v>-0.11596638655462101</c:v>
                </c:pt>
                <c:pt idx="5974">
                  <c:v>-0.11596638655462101</c:v>
                </c:pt>
                <c:pt idx="5975">
                  <c:v>-0.11596638655462101</c:v>
                </c:pt>
                <c:pt idx="5976">
                  <c:v>-0.11596638655462101</c:v>
                </c:pt>
                <c:pt idx="5977">
                  <c:v>-0.11596638655462101</c:v>
                </c:pt>
                <c:pt idx="5978">
                  <c:v>-0.11596638655462101</c:v>
                </c:pt>
                <c:pt idx="5979">
                  <c:v>-0.11596638655462101</c:v>
                </c:pt>
                <c:pt idx="5980">
                  <c:v>-0.11596638655462101</c:v>
                </c:pt>
                <c:pt idx="5981">
                  <c:v>-0.11680672268907499</c:v>
                </c:pt>
                <c:pt idx="5982">
                  <c:v>-0.11680672268907499</c:v>
                </c:pt>
                <c:pt idx="5983">
                  <c:v>-0.11596638655462101</c:v>
                </c:pt>
                <c:pt idx="5984">
                  <c:v>-0.11512605042016801</c:v>
                </c:pt>
                <c:pt idx="5985">
                  <c:v>-0.11512605042016801</c:v>
                </c:pt>
                <c:pt idx="5986">
                  <c:v>-0.11596638655462101</c:v>
                </c:pt>
                <c:pt idx="5987">
                  <c:v>-0.11596638655462101</c:v>
                </c:pt>
                <c:pt idx="5988">
                  <c:v>-0.11596638655462101</c:v>
                </c:pt>
                <c:pt idx="5989">
                  <c:v>-0.11596638655462101</c:v>
                </c:pt>
                <c:pt idx="5990">
                  <c:v>-0.11596638655462101</c:v>
                </c:pt>
                <c:pt idx="5991">
                  <c:v>-0.11596638655462101</c:v>
                </c:pt>
                <c:pt idx="5992">
                  <c:v>-0.11596638655462101</c:v>
                </c:pt>
                <c:pt idx="5993">
                  <c:v>-0.11596638655462101</c:v>
                </c:pt>
                <c:pt idx="5994">
                  <c:v>-0.11596638655462101</c:v>
                </c:pt>
                <c:pt idx="5995">
                  <c:v>-0.11596638655462101</c:v>
                </c:pt>
                <c:pt idx="5996">
                  <c:v>-0.11596638655462101</c:v>
                </c:pt>
                <c:pt idx="5997">
                  <c:v>-0.11596638655462101</c:v>
                </c:pt>
                <c:pt idx="5998">
                  <c:v>-0.11596638655462101</c:v>
                </c:pt>
                <c:pt idx="5999">
                  <c:v>-0.11596638655462101</c:v>
                </c:pt>
                <c:pt idx="6000">
                  <c:v>-0.11596638655462101</c:v>
                </c:pt>
                <c:pt idx="6001">
                  <c:v>-0.11596638655462101</c:v>
                </c:pt>
                <c:pt idx="6002">
                  <c:v>-0.11596638655462101</c:v>
                </c:pt>
                <c:pt idx="6003">
                  <c:v>-0.11596638655462101</c:v>
                </c:pt>
                <c:pt idx="6004">
                  <c:v>-0.11596638655462101</c:v>
                </c:pt>
                <c:pt idx="6005">
                  <c:v>-0.11596638655462101</c:v>
                </c:pt>
                <c:pt idx="6006">
                  <c:v>-0.11680672268907499</c:v>
                </c:pt>
                <c:pt idx="6007">
                  <c:v>-0.11680672268907499</c:v>
                </c:pt>
                <c:pt idx="6008">
                  <c:v>-0.11680672268907499</c:v>
                </c:pt>
                <c:pt idx="6009">
                  <c:v>-0.11680672268907499</c:v>
                </c:pt>
                <c:pt idx="6010">
                  <c:v>-0.11764705882352899</c:v>
                </c:pt>
                <c:pt idx="6011">
                  <c:v>-0.11764705882352899</c:v>
                </c:pt>
                <c:pt idx="6012">
                  <c:v>-0.11848739495798299</c:v>
                </c:pt>
                <c:pt idx="6013">
                  <c:v>-0.11848739495798299</c:v>
                </c:pt>
                <c:pt idx="6014">
                  <c:v>-0.11848739495798299</c:v>
                </c:pt>
                <c:pt idx="6015">
                  <c:v>-0.11848739495798299</c:v>
                </c:pt>
                <c:pt idx="6016">
                  <c:v>-0.11848739495798299</c:v>
                </c:pt>
                <c:pt idx="6017">
                  <c:v>-0.11848739495798299</c:v>
                </c:pt>
                <c:pt idx="6018">
                  <c:v>-0.11848739495798299</c:v>
                </c:pt>
                <c:pt idx="6019">
                  <c:v>-0.11848739495798299</c:v>
                </c:pt>
                <c:pt idx="6020">
                  <c:v>-0.11848739495798299</c:v>
                </c:pt>
                <c:pt idx="6021">
                  <c:v>-0.11848739495798299</c:v>
                </c:pt>
                <c:pt idx="6022">
                  <c:v>-0.11848739495798299</c:v>
                </c:pt>
                <c:pt idx="6023">
                  <c:v>-0.11848739495798299</c:v>
                </c:pt>
                <c:pt idx="6024">
                  <c:v>-0.11848739495798299</c:v>
                </c:pt>
                <c:pt idx="6025">
                  <c:v>-0.11848739495798299</c:v>
                </c:pt>
                <c:pt idx="6026">
                  <c:v>-0.11848739495798299</c:v>
                </c:pt>
                <c:pt idx="6027">
                  <c:v>-0.11848739495798299</c:v>
                </c:pt>
                <c:pt idx="6028">
                  <c:v>-0.11848739495798299</c:v>
                </c:pt>
                <c:pt idx="6029">
                  <c:v>-0.11848739495798299</c:v>
                </c:pt>
                <c:pt idx="6030">
                  <c:v>-0.11848739495798299</c:v>
                </c:pt>
                <c:pt idx="6031">
                  <c:v>-0.11848739495798299</c:v>
                </c:pt>
                <c:pt idx="6032">
                  <c:v>-0.11848739495798299</c:v>
                </c:pt>
                <c:pt idx="6033">
                  <c:v>-0.119327731092436</c:v>
                </c:pt>
                <c:pt idx="6034">
                  <c:v>-0.119327731092436</c:v>
                </c:pt>
                <c:pt idx="6035">
                  <c:v>-0.119327731092436</c:v>
                </c:pt>
                <c:pt idx="6036">
                  <c:v>-0.119327731092436</c:v>
                </c:pt>
                <c:pt idx="6037">
                  <c:v>-0.119327731092436</c:v>
                </c:pt>
                <c:pt idx="6038">
                  <c:v>-0.119327731092436</c:v>
                </c:pt>
                <c:pt idx="6039">
                  <c:v>-0.119327731092436</c:v>
                </c:pt>
                <c:pt idx="6040">
                  <c:v>-0.119327731092436</c:v>
                </c:pt>
                <c:pt idx="6041">
                  <c:v>-0.119327731092436</c:v>
                </c:pt>
                <c:pt idx="6042">
                  <c:v>-0.119327731092436</c:v>
                </c:pt>
                <c:pt idx="6043">
                  <c:v>-0.119327731092436</c:v>
                </c:pt>
                <c:pt idx="6044">
                  <c:v>-0.119327731092436</c:v>
                </c:pt>
                <c:pt idx="6045">
                  <c:v>-0.119327731092436</c:v>
                </c:pt>
                <c:pt idx="6046">
                  <c:v>-0.11848739495798299</c:v>
                </c:pt>
                <c:pt idx="6047">
                  <c:v>-0.11848739495798299</c:v>
                </c:pt>
                <c:pt idx="6048">
                  <c:v>-0.11848739495798299</c:v>
                </c:pt>
                <c:pt idx="6049">
                  <c:v>-0.11848739495798299</c:v>
                </c:pt>
                <c:pt idx="6050">
                  <c:v>-0.11848739495798299</c:v>
                </c:pt>
                <c:pt idx="6051">
                  <c:v>-0.11848739495798299</c:v>
                </c:pt>
                <c:pt idx="6052">
                  <c:v>-0.11848739495798299</c:v>
                </c:pt>
                <c:pt idx="6053">
                  <c:v>-0.11848739495798299</c:v>
                </c:pt>
                <c:pt idx="6054">
                  <c:v>-0.11848739495798299</c:v>
                </c:pt>
                <c:pt idx="6055">
                  <c:v>-0.11848739495798299</c:v>
                </c:pt>
                <c:pt idx="6056">
                  <c:v>-0.11848739495798299</c:v>
                </c:pt>
                <c:pt idx="6057">
                  <c:v>-0.11848739495798299</c:v>
                </c:pt>
                <c:pt idx="6058">
                  <c:v>-0.11848739495798299</c:v>
                </c:pt>
                <c:pt idx="6059">
                  <c:v>-0.11848739495798299</c:v>
                </c:pt>
                <c:pt idx="6060">
                  <c:v>-0.11848739495798299</c:v>
                </c:pt>
                <c:pt idx="6061">
                  <c:v>-0.11848739495798299</c:v>
                </c:pt>
                <c:pt idx="6062">
                  <c:v>-0.11848739495798299</c:v>
                </c:pt>
                <c:pt idx="6063">
                  <c:v>-0.11848739495798299</c:v>
                </c:pt>
                <c:pt idx="6064">
                  <c:v>-0.11848739495798299</c:v>
                </c:pt>
                <c:pt idx="6065">
                  <c:v>-0.119327731092436</c:v>
                </c:pt>
                <c:pt idx="6066">
                  <c:v>-0.119327731092436</c:v>
                </c:pt>
                <c:pt idx="6067">
                  <c:v>-0.119327731092436</c:v>
                </c:pt>
                <c:pt idx="6068">
                  <c:v>-0.119327731092436</c:v>
                </c:pt>
                <c:pt idx="6069">
                  <c:v>-0.119327731092436</c:v>
                </c:pt>
                <c:pt idx="6070">
                  <c:v>-0.119327731092436</c:v>
                </c:pt>
                <c:pt idx="6071">
                  <c:v>-0.119327731092436</c:v>
                </c:pt>
                <c:pt idx="6072">
                  <c:v>-0.119327731092436</c:v>
                </c:pt>
                <c:pt idx="6073">
                  <c:v>-0.119327731092436</c:v>
                </c:pt>
                <c:pt idx="6074">
                  <c:v>-0.119327731092436</c:v>
                </c:pt>
                <c:pt idx="6075">
                  <c:v>-0.119327731092436</c:v>
                </c:pt>
                <c:pt idx="6076">
                  <c:v>-0.119327731092436</c:v>
                </c:pt>
                <c:pt idx="6077">
                  <c:v>-0.119327731092436</c:v>
                </c:pt>
                <c:pt idx="6078">
                  <c:v>-0.119327731092436</c:v>
                </c:pt>
                <c:pt idx="6079">
                  <c:v>-0.119327731092436</c:v>
                </c:pt>
                <c:pt idx="6080">
                  <c:v>-0.119327731092436</c:v>
                </c:pt>
                <c:pt idx="6081">
                  <c:v>-0.119327731092436</c:v>
                </c:pt>
                <c:pt idx="6082">
                  <c:v>-0.119327731092436</c:v>
                </c:pt>
                <c:pt idx="6083">
                  <c:v>-0.119327731092436</c:v>
                </c:pt>
                <c:pt idx="6084">
                  <c:v>-0.119327731092436</c:v>
                </c:pt>
                <c:pt idx="6085">
                  <c:v>-0.119327731092436</c:v>
                </c:pt>
                <c:pt idx="6086">
                  <c:v>-0.119327731092436</c:v>
                </c:pt>
                <c:pt idx="6087">
                  <c:v>-0.119327731092436</c:v>
                </c:pt>
                <c:pt idx="6088">
                  <c:v>-0.119327731092436</c:v>
                </c:pt>
                <c:pt idx="6089">
                  <c:v>-0.119327731092436</c:v>
                </c:pt>
                <c:pt idx="6090">
                  <c:v>-0.119327731092436</c:v>
                </c:pt>
                <c:pt idx="6091">
                  <c:v>-0.119327731092436</c:v>
                </c:pt>
                <c:pt idx="6092">
                  <c:v>-0.11848739495798299</c:v>
                </c:pt>
                <c:pt idx="6093">
                  <c:v>-0.11848739495798299</c:v>
                </c:pt>
                <c:pt idx="6094">
                  <c:v>-0.11848739495798299</c:v>
                </c:pt>
                <c:pt idx="6095">
                  <c:v>-0.119327731092436</c:v>
                </c:pt>
                <c:pt idx="6096">
                  <c:v>-0.119327731092436</c:v>
                </c:pt>
                <c:pt idx="6097">
                  <c:v>-0.119327731092436</c:v>
                </c:pt>
                <c:pt idx="6098">
                  <c:v>-0.119327731092436</c:v>
                </c:pt>
                <c:pt idx="6099">
                  <c:v>-0.119327731092436</c:v>
                </c:pt>
                <c:pt idx="6100">
                  <c:v>-0.119327731092436</c:v>
                </c:pt>
                <c:pt idx="6101">
                  <c:v>-0.119327731092436</c:v>
                </c:pt>
                <c:pt idx="6102">
                  <c:v>-0.119327731092436</c:v>
                </c:pt>
                <c:pt idx="6103">
                  <c:v>-0.119327731092436</c:v>
                </c:pt>
                <c:pt idx="6104">
                  <c:v>-0.119327731092436</c:v>
                </c:pt>
                <c:pt idx="6105">
                  <c:v>-0.119327731092436</c:v>
                </c:pt>
                <c:pt idx="6106">
                  <c:v>-0.119327731092436</c:v>
                </c:pt>
                <c:pt idx="6107">
                  <c:v>-0.119327731092436</c:v>
                </c:pt>
                <c:pt idx="6108">
                  <c:v>-0.119327731092436</c:v>
                </c:pt>
                <c:pt idx="6109">
                  <c:v>-0.119327731092436</c:v>
                </c:pt>
                <c:pt idx="6110">
                  <c:v>-0.119327731092436</c:v>
                </c:pt>
                <c:pt idx="6111">
                  <c:v>-0.119327731092436</c:v>
                </c:pt>
                <c:pt idx="6112">
                  <c:v>-0.119327731092436</c:v>
                </c:pt>
                <c:pt idx="6113">
                  <c:v>-0.119327731092436</c:v>
                </c:pt>
                <c:pt idx="6114">
                  <c:v>-0.119327731092436</c:v>
                </c:pt>
                <c:pt idx="6115">
                  <c:v>-0.119327731092436</c:v>
                </c:pt>
                <c:pt idx="6116">
                  <c:v>-0.119327731092436</c:v>
                </c:pt>
                <c:pt idx="6117">
                  <c:v>-0.119327731092436</c:v>
                </c:pt>
                <c:pt idx="6118">
                  <c:v>-0.119327731092436</c:v>
                </c:pt>
                <c:pt idx="6119">
                  <c:v>-0.119327731092436</c:v>
                </c:pt>
                <c:pt idx="6120">
                  <c:v>-0.119327731092436</c:v>
                </c:pt>
                <c:pt idx="6121">
                  <c:v>-0.119327731092436</c:v>
                </c:pt>
                <c:pt idx="6122">
                  <c:v>-0.119327731092436</c:v>
                </c:pt>
                <c:pt idx="6123">
                  <c:v>-0.11848739495798299</c:v>
                </c:pt>
                <c:pt idx="6124">
                  <c:v>-0.11848739495798299</c:v>
                </c:pt>
                <c:pt idx="6125">
                  <c:v>-0.11848739495798299</c:v>
                </c:pt>
                <c:pt idx="6126">
                  <c:v>-0.11848739495798299</c:v>
                </c:pt>
                <c:pt idx="6127">
                  <c:v>-0.11848739495798299</c:v>
                </c:pt>
                <c:pt idx="6128">
                  <c:v>-0.11848739495798299</c:v>
                </c:pt>
                <c:pt idx="6129">
                  <c:v>-0.11848739495798299</c:v>
                </c:pt>
                <c:pt idx="6130">
                  <c:v>-0.11848739495798299</c:v>
                </c:pt>
                <c:pt idx="6131">
                  <c:v>-0.11848739495798299</c:v>
                </c:pt>
                <c:pt idx="6132">
                  <c:v>-0.11848739495798299</c:v>
                </c:pt>
                <c:pt idx="6133">
                  <c:v>-0.11848739495798299</c:v>
                </c:pt>
                <c:pt idx="6134">
                  <c:v>-0.11848739495798299</c:v>
                </c:pt>
                <c:pt idx="6135">
                  <c:v>-0.11848739495798299</c:v>
                </c:pt>
                <c:pt idx="6136">
                  <c:v>-0.11848739495798299</c:v>
                </c:pt>
                <c:pt idx="6137">
                  <c:v>-0.11848739495798299</c:v>
                </c:pt>
                <c:pt idx="6138">
                  <c:v>-0.11848739495798299</c:v>
                </c:pt>
                <c:pt idx="6139">
                  <c:v>-0.11848739495798299</c:v>
                </c:pt>
                <c:pt idx="6140">
                  <c:v>-0.119327731092436</c:v>
                </c:pt>
                <c:pt idx="6141">
                  <c:v>-0.11848739495798299</c:v>
                </c:pt>
                <c:pt idx="6142">
                  <c:v>-0.11848739495798299</c:v>
                </c:pt>
                <c:pt idx="6143">
                  <c:v>-0.11848739495798299</c:v>
                </c:pt>
                <c:pt idx="6144">
                  <c:v>-0.11848739495798299</c:v>
                </c:pt>
                <c:pt idx="6145">
                  <c:v>-0.11848739495798299</c:v>
                </c:pt>
                <c:pt idx="6146">
                  <c:v>-0.11848739495798299</c:v>
                </c:pt>
                <c:pt idx="6147">
                  <c:v>-0.11848739495798299</c:v>
                </c:pt>
                <c:pt idx="6148">
                  <c:v>-0.11848739495798299</c:v>
                </c:pt>
                <c:pt idx="6149">
                  <c:v>-0.11848739495798299</c:v>
                </c:pt>
                <c:pt idx="6150">
                  <c:v>-0.11848739495798299</c:v>
                </c:pt>
                <c:pt idx="6151">
                  <c:v>-0.11848739495798299</c:v>
                </c:pt>
                <c:pt idx="6152">
                  <c:v>-0.11848739495798299</c:v>
                </c:pt>
                <c:pt idx="6153">
                  <c:v>-0.11848739495798299</c:v>
                </c:pt>
                <c:pt idx="6154">
                  <c:v>-0.11848739495798299</c:v>
                </c:pt>
                <c:pt idx="6155">
                  <c:v>-0.11848739495798299</c:v>
                </c:pt>
                <c:pt idx="6156">
                  <c:v>-0.11848739495798299</c:v>
                </c:pt>
                <c:pt idx="6157">
                  <c:v>-0.11848739495798299</c:v>
                </c:pt>
                <c:pt idx="6158">
                  <c:v>-0.11848739495798299</c:v>
                </c:pt>
                <c:pt idx="6159">
                  <c:v>-0.11848739495798299</c:v>
                </c:pt>
                <c:pt idx="6160">
                  <c:v>-0.11848739495798299</c:v>
                </c:pt>
                <c:pt idx="6161">
                  <c:v>-0.11764705882352899</c:v>
                </c:pt>
                <c:pt idx="6162">
                  <c:v>-0.11764705882352899</c:v>
                </c:pt>
                <c:pt idx="6163">
                  <c:v>-0.11764705882352899</c:v>
                </c:pt>
                <c:pt idx="6164">
                  <c:v>-0.11848739495798299</c:v>
                </c:pt>
                <c:pt idx="6165">
                  <c:v>-0.11848739495798299</c:v>
                </c:pt>
                <c:pt idx="6166">
                  <c:v>-0.11848739495798299</c:v>
                </c:pt>
                <c:pt idx="6167">
                  <c:v>-0.11848739495798299</c:v>
                </c:pt>
                <c:pt idx="6168">
                  <c:v>-0.11848739495798299</c:v>
                </c:pt>
                <c:pt idx="6169">
                  <c:v>-0.11848739495798299</c:v>
                </c:pt>
                <c:pt idx="6170">
                  <c:v>-0.11848739495798299</c:v>
                </c:pt>
                <c:pt idx="6171">
                  <c:v>-0.11848739495798299</c:v>
                </c:pt>
                <c:pt idx="6172">
                  <c:v>-0.11848739495798299</c:v>
                </c:pt>
                <c:pt idx="6173">
                  <c:v>-0.11848739495798299</c:v>
                </c:pt>
                <c:pt idx="6174">
                  <c:v>-0.11848739495798299</c:v>
                </c:pt>
                <c:pt idx="6175">
                  <c:v>-0.11764705882352899</c:v>
                </c:pt>
                <c:pt idx="6176">
                  <c:v>-0.11764705882352899</c:v>
                </c:pt>
                <c:pt idx="6177">
                  <c:v>-0.11764705882352899</c:v>
                </c:pt>
                <c:pt idx="6178">
                  <c:v>-0.11764705882352899</c:v>
                </c:pt>
                <c:pt idx="6179">
                  <c:v>-0.11764705882352899</c:v>
                </c:pt>
                <c:pt idx="6180">
                  <c:v>-0.11764705882352899</c:v>
                </c:pt>
                <c:pt idx="6181">
                  <c:v>-0.11764705882352899</c:v>
                </c:pt>
                <c:pt idx="6182">
                  <c:v>-0.11764705882352899</c:v>
                </c:pt>
                <c:pt idx="6183">
                  <c:v>-0.11764705882352899</c:v>
                </c:pt>
                <c:pt idx="6184">
                  <c:v>-0.11764705882352899</c:v>
                </c:pt>
                <c:pt idx="6185">
                  <c:v>-0.11764705882352899</c:v>
                </c:pt>
                <c:pt idx="6186">
                  <c:v>-0.11764705882352899</c:v>
                </c:pt>
                <c:pt idx="6187">
                  <c:v>-0.11764705882352899</c:v>
                </c:pt>
                <c:pt idx="6188">
                  <c:v>-0.11764705882352899</c:v>
                </c:pt>
                <c:pt idx="6189">
                  <c:v>-0.11764705882352899</c:v>
                </c:pt>
                <c:pt idx="6190">
                  <c:v>-0.11764705882352899</c:v>
                </c:pt>
                <c:pt idx="6191">
                  <c:v>-0.11764705882352899</c:v>
                </c:pt>
                <c:pt idx="6192">
                  <c:v>-0.11764705882352899</c:v>
                </c:pt>
                <c:pt idx="6193">
                  <c:v>-0.11764705882352899</c:v>
                </c:pt>
                <c:pt idx="6194">
                  <c:v>-0.11764705882352899</c:v>
                </c:pt>
                <c:pt idx="6195">
                  <c:v>-0.11764705882352899</c:v>
                </c:pt>
                <c:pt idx="6196">
                  <c:v>-0.11764705882352899</c:v>
                </c:pt>
                <c:pt idx="6197">
                  <c:v>-0.11764705882352899</c:v>
                </c:pt>
                <c:pt idx="6198">
                  <c:v>-0.11764705882352899</c:v>
                </c:pt>
                <c:pt idx="6199">
                  <c:v>-0.11764705882352899</c:v>
                </c:pt>
                <c:pt idx="6200">
                  <c:v>-0.11764705882352899</c:v>
                </c:pt>
                <c:pt idx="6201">
                  <c:v>-0.11764705882352899</c:v>
                </c:pt>
                <c:pt idx="6202">
                  <c:v>-0.11764705882352899</c:v>
                </c:pt>
                <c:pt idx="6203">
                  <c:v>-0.11764705882352899</c:v>
                </c:pt>
                <c:pt idx="6204">
                  <c:v>-0.11764705882352899</c:v>
                </c:pt>
                <c:pt idx="6205">
                  <c:v>-0.11764705882352899</c:v>
                </c:pt>
                <c:pt idx="6206">
                  <c:v>-0.11764705882352899</c:v>
                </c:pt>
                <c:pt idx="6207">
                  <c:v>-0.11764705882352899</c:v>
                </c:pt>
                <c:pt idx="6208">
                  <c:v>-0.11764705882352899</c:v>
                </c:pt>
                <c:pt idx="6209">
                  <c:v>-0.11764705882352899</c:v>
                </c:pt>
                <c:pt idx="6210">
                  <c:v>-0.11764705882352899</c:v>
                </c:pt>
                <c:pt idx="6211">
                  <c:v>-0.11764705882352899</c:v>
                </c:pt>
                <c:pt idx="6212">
                  <c:v>-0.11764705882352899</c:v>
                </c:pt>
                <c:pt idx="6213">
                  <c:v>-0.11764705882352899</c:v>
                </c:pt>
                <c:pt idx="6214">
                  <c:v>-0.11764705882352899</c:v>
                </c:pt>
                <c:pt idx="6215">
                  <c:v>-0.11764705882352899</c:v>
                </c:pt>
                <c:pt idx="6216">
                  <c:v>-0.11764705882352899</c:v>
                </c:pt>
                <c:pt idx="6217">
                  <c:v>-0.11764705882352899</c:v>
                </c:pt>
                <c:pt idx="6218">
                  <c:v>-0.11764705882352899</c:v>
                </c:pt>
                <c:pt idx="6219">
                  <c:v>-0.11764705882352899</c:v>
                </c:pt>
                <c:pt idx="6220">
                  <c:v>-0.11764705882352899</c:v>
                </c:pt>
                <c:pt idx="6221">
                  <c:v>-0.11764705882352899</c:v>
                </c:pt>
                <c:pt idx="6222">
                  <c:v>-0.11764705882352899</c:v>
                </c:pt>
                <c:pt idx="6223">
                  <c:v>-0.11764705882352899</c:v>
                </c:pt>
                <c:pt idx="6224">
                  <c:v>-0.11764705882352899</c:v>
                </c:pt>
                <c:pt idx="6225">
                  <c:v>-0.11764705882352899</c:v>
                </c:pt>
                <c:pt idx="6226">
                  <c:v>-0.11764705882352899</c:v>
                </c:pt>
                <c:pt idx="6227">
                  <c:v>-0.11764705882352899</c:v>
                </c:pt>
                <c:pt idx="6228">
                  <c:v>-0.11764705882352899</c:v>
                </c:pt>
                <c:pt idx="6229">
                  <c:v>-0.11764705882352899</c:v>
                </c:pt>
                <c:pt idx="6230">
                  <c:v>-0.11764705882352899</c:v>
                </c:pt>
                <c:pt idx="6231">
                  <c:v>-0.11764705882352899</c:v>
                </c:pt>
                <c:pt idx="6232">
                  <c:v>-0.11764705882352899</c:v>
                </c:pt>
                <c:pt idx="6233">
                  <c:v>-0.11764705882352899</c:v>
                </c:pt>
                <c:pt idx="6234">
                  <c:v>-0.11764705882352899</c:v>
                </c:pt>
                <c:pt idx="6235">
                  <c:v>-0.11764705882352899</c:v>
                </c:pt>
                <c:pt idx="6236">
                  <c:v>-0.11764705882352899</c:v>
                </c:pt>
                <c:pt idx="6237">
                  <c:v>-0.11764705882352899</c:v>
                </c:pt>
                <c:pt idx="6238">
                  <c:v>-0.11764705882352899</c:v>
                </c:pt>
                <c:pt idx="6239">
                  <c:v>-0.11764705882352899</c:v>
                </c:pt>
                <c:pt idx="6240">
                  <c:v>-0.11764705882352899</c:v>
                </c:pt>
                <c:pt idx="6241">
                  <c:v>-0.11764705882352899</c:v>
                </c:pt>
                <c:pt idx="6242">
                  <c:v>-0.11764705882352899</c:v>
                </c:pt>
                <c:pt idx="6243">
                  <c:v>-0.11764705882352899</c:v>
                </c:pt>
                <c:pt idx="6244">
                  <c:v>-0.11764705882352899</c:v>
                </c:pt>
                <c:pt idx="6245">
                  <c:v>-0.11764705882352899</c:v>
                </c:pt>
                <c:pt idx="6246">
                  <c:v>-0.11764705882352899</c:v>
                </c:pt>
                <c:pt idx="6247">
                  <c:v>-0.11764705882352899</c:v>
                </c:pt>
                <c:pt idx="6248">
                  <c:v>-0.11764705882352899</c:v>
                </c:pt>
                <c:pt idx="6249">
                  <c:v>-0.11764705882352899</c:v>
                </c:pt>
                <c:pt idx="6250">
                  <c:v>-0.11680672268907499</c:v>
                </c:pt>
                <c:pt idx="6251">
                  <c:v>-0.11680672268907499</c:v>
                </c:pt>
                <c:pt idx="6252">
                  <c:v>-0.11680672268907499</c:v>
                </c:pt>
                <c:pt idx="6253">
                  <c:v>-0.11680672268907499</c:v>
                </c:pt>
                <c:pt idx="6254">
                  <c:v>-0.11680672268907499</c:v>
                </c:pt>
                <c:pt idx="6255">
                  <c:v>-0.11596638655462101</c:v>
                </c:pt>
                <c:pt idx="6256">
                  <c:v>-0.11596638655462101</c:v>
                </c:pt>
                <c:pt idx="6257">
                  <c:v>-0.11596638655462101</c:v>
                </c:pt>
                <c:pt idx="6258">
                  <c:v>-0.11596638655462101</c:v>
                </c:pt>
                <c:pt idx="6259">
                  <c:v>-0.11596638655462101</c:v>
                </c:pt>
                <c:pt idx="6260">
                  <c:v>-0.11596638655462101</c:v>
                </c:pt>
                <c:pt idx="6261">
                  <c:v>-0.11596638655462101</c:v>
                </c:pt>
                <c:pt idx="6262">
                  <c:v>-0.11596638655462101</c:v>
                </c:pt>
                <c:pt idx="6263">
                  <c:v>-0.11596638655462101</c:v>
                </c:pt>
                <c:pt idx="6264">
                  <c:v>-0.11596638655462101</c:v>
                </c:pt>
                <c:pt idx="6265">
                  <c:v>-0.11596638655462101</c:v>
                </c:pt>
                <c:pt idx="6266">
                  <c:v>-0.11596638655462101</c:v>
                </c:pt>
                <c:pt idx="6267">
                  <c:v>-0.11596638655462101</c:v>
                </c:pt>
                <c:pt idx="6268">
                  <c:v>-0.11596638655462101</c:v>
                </c:pt>
                <c:pt idx="6269">
                  <c:v>-0.11596638655462101</c:v>
                </c:pt>
                <c:pt idx="6270">
                  <c:v>-0.11596638655462101</c:v>
                </c:pt>
                <c:pt idx="6271">
                  <c:v>-0.11596638655462101</c:v>
                </c:pt>
                <c:pt idx="6272">
                  <c:v>-0.11596638655462101</c:v>
                </c:pt>
                <c:pt idx="6273">
                  <c:v>-0.11596638655462101</c:v>
                </c:pt>
                <c:pt idx="6274">
                  <c:v>-0.11596638655462101</c:v>
                </c:pt>
                <c:pt idx="6275">
                  <c:v>-0.11680672268907499</c:v>
                </c:pt>
                <c:pt idx="6276">
                  <c:v>-0.11680672268907499</c:v>
                </c:pt>
                <c:pt idx="6277">
                  <c:v>-0.11680672268907499</c:v>
                </c:pt>
                <c:pt idx="6278">
                  <c:v>-0.11680672268907499</c:v>
                </c:pt>
                <c:pt idx="6279">
                  <c:v>-0.11680672268907499</c:v>
                </c:pt>
                <c:pt idx="6280">
                  <c:v>-0.11680672268907499</c:v>
                </c:pt>
                <c:pt idx="6281">
                  <c:v>-0.11680672268907499</c:v>
                </c:pt>
                <c:pt idx="6282">
                  <c:v>-0.11596638655462101</c:v>
                </c:pt>
                <c:pt idx="6283">
                  <c:v>-0.11596638655462101</c:v>
                </c:pt>
                <c:pt idx="6284">
                  <c:v>-0.11596638655462101</c:v>
                </c:pt>
                <c:pt idx="6285">
                  <c:v>-0.11596638655462101</c:v>
                </c:pt>
                <c:pt idx="6286">
                  <c:v>-0.11596638655462101</c:v>
                </c:pt>
                <c:pt idx="6287">
                  <c:v>-0.11596638655462101</c:v>
                </c:pt>
                <c:pt idx="6288">
                  <c:v>-0.11596638655462101</c:v>
                </c:pt>
                <c:pt idx="6289">
                  <c:v>-0.11596638655462101</c:v>
                </c:pt>
                <c:pt idx="6290">
                  <c:v>-0.11596638655462101</c:v>
                </c:pt>
                <c:pt idx="6291">
                  <c:v>-0.11596638655462101</c:v>
                </c:pt>
                <c:pt idx="6292">
                  <c:v>-0.11596638655462101</c:v>
                </c:pt>
                <c:pt idx="6293">
                  <c:v>-0.11596638655462101</c:v>
                </c:pt>
                <c:pt idx="6294">
                  <c:v>-0.11596638655462101</c:v>
                </c:pt>
                <c:pt idx="6295">
                  <c:v>-0.11596638655462101</c:v>
                </c:pt>
                <c:pt idx="6296">
                  <c:v>-0.11596638655462101</c:v>
                </c:pt>
                <c:pt idx="6297">
                  <c:v>-0.11596638655462101</c:v>
                </c:pt>
                <c:pt idx="6298">
                  <c:v>-0.11596638655462101</c:v>
                </c:pt>
                <c:pt idx="6299">
                  <c:v>-0.11596638655462101</c:v>
                </c:pt>
                <c:pt idx="6300">
                  <c:v>-0.11680672268907499</c:v>
                </c:pt>
                <c:pt idx="6301">
                  <c:v>-0.11680672268907499</c:v>
                </c:pt>
                <c:pt idx="6302">
                  <c:v>-0.11680672268907499</c:v>
                </c:pt>
                <c:pt idx="6303">
                  <c:v>-0.11680672268907499</c:v>
                </c:pt>
                <c:pt idx="6304">
                  <c:v>-0.11680672268907499</c:v>
                </c:pt>
                <c:pt idx="6305">
                  <c:v>-0.11680672268907499</c:v>
                </c:pt>
                <c:pt idx="6306">
                  <c:v>-0.11680672268907499</c:v>
                </c:pt>
                <c:pt idx="6307">
                  <c:v>-0.11680672268907499</c:v>
                </c:pt>
                <c:pt idx="6308">
                  <c:v>-0.11680672268907499</c:v>
                </c:pt>
                <c:pt idx="6309">
                  <c:v>-0.11680672268907499</c:v>
                </c:pt>
                <c:pt idx="6310">
                  <c:v>-0.11680672268907499</c:v>
                </c:pt>
                <c:pt idx="6311">
                  <c:v>-0.11680672268907499</c:v>
                </c:pt>
                <c:pt idx="6312">
                  <c:v>-0.11680672268907499</c:v>
                </c:pt>
                <c:pt idx="6313">
                  <c:v>-0.11680672268907499</c:v>
                </c:pt>
                <c:pt idx="6314">
                  <c:v>-0.11680672268907499</c:v>
                </c:pt>
                <c:pt idx="6315">
                  <c:v>-0.11680672268907499</c:v>
                </c:pt>
                <c:pt idx="6316">
                  <c:v>-0.11764705882352899</c:v>
                </c:pt>
                <c:pt idx="6317">
                  <c:v>-0.11764705882352899</c:v>
                </c:pt>
                <c:pt idx="6318">
                  <c:v>-0.11764705882352899</c:v>
                </c:pt>
                <c:pt idx="6319">
                  <c:v>-0.11764705882352899</c:v>
                </c:pt>
                <c:pt idx="6320">
                  <c:v>-0.11764705882352899</c:v>
                </c:pt>
                <c:pt idx="6321">
                  <c:v>-0.11764705882352899</c:v>
                </c:pt>
                <c:pt idx="6322">
                  <c:v>-0.11764705882352899</c:v>
                </c:pt>
                <c:pt idx="6323">
                  <c:v>-0.11764705882352899</c:v>
                </c:pt>
                <c:pt idx="6324">
                  <c:v>-0.11764705882352899</c:v>
                </c:pt>
                <c:pt idx="6325">
                  <c:v>-0.11764705882352899</c:v>
                </c:pt>
                <c:pt idx="6326">
                  <c:v>-0.11764705882352899</c:v>
                </c:pt>
                <c:pt idx="6327">
                  <c:v>-0.11764705882352899</c:v>
                </c:pt>
                <c:pt idx="6328">
                  <c:v>-0.11764705882352899</c:v>
                </c:pt>
                <c:pt idx="6329">
                  <c:v>-0.11848739495798299</c:v>
                </c:pt>
                <c:pt idx="6330">
                  <c:v>-0.11848739495798299</c:v>
                </c:pt>
                <c:pt idx="6331">
                  <c:v>-0.11848739495798299</c:v>
                </c:pt>
                <c:pt idx="6332">
                  <c:v>-0.11848739495798299</c:v>
                </c:pt>
                <c:pt idx="6333">
                  <c:v>-0.11848739495798299</c:v>
                </c:pt>
                <c:pt idx="6334">
                  <c:v>-0.11848739495798299</c:v>
                </c:pt>
                <c:pt idx="6335">
                  <c:v>-0.11848739495798299</c:v>
                </c:pt>
                <c:pt idx="6336">
                  <c:v>-0.11848739495798299</c:v>
                </c:pt>
                <c:pt idx="6337">
                  <c:v>-0.11848739495798299</c:v>
                </c:pt>
                <c:pt idx="6338">
                  <c:v>-0.11848739495798299</c:v>
                </c:pt>
                <c:pt idx="6339">
                  <c:v>-0.11932773109243699</c:v>
                </c:pt>
                <c:pt idx="6340">
                  <c:v>-0.11932773109243699</c:v>
                </c:pt>
                <c:pt idx="6341">
                  <c:v>-0.11932773109243699</c:v>
                </c:pt>
                <c:pt idx="6342">
                  <c:v>-0.11932773109243699</c:v>
                </c:pt>
                <c:pt idx="6343">
                  <c:v>-0.11932773109243699</c:v>
                </c:pt>
                <c:pt idx="6344">
                  <c:v>-0.11848739495798299</c:v>
                </c:pt>
                <c:pt idx="6345">
                  <c:v>-0.11764705882352899</c:v>
                </c:pt>
                <c:pt idx="6346">
                  <c:v>-0.11764705882352899</c:v>
                </c:pt>
                <c:pt idx="6347">
                  <c:v>-0.11764705882352899</c:v>
                </c:pt>
                <c:pt idx="6348">
                  <c:v>-0.11848739495798299</c:v>
                </c:pt>
                <c:pt idx="6349">
                  <c:v>-0.11848739495798299</c:v>
                </c:pt>
                <c:pt idx="6350">
                  <c:v>-0.11848739495798299</c:v>
                </c:pt>
                <c:pt idx="6351">
                  <c:v>-0.11848739495798299</c:v>
                </c:pt>
                <c:pt idx="6352">
                  <c:v>-0.11848739495798299</c:v>
                </c:pt>
                <c:pt idx="6353">
                  <c:v>-0.11848739495798299</c:v>
                </c:pt>
                <c:pt idx="6354">
                  <c:v>-0.11848739495798299</c:v>
                </c:pt>
                <c:pt idx="6355">
                  <c:v>-0.11848739495798299</c:v>
                </c:pt>
                <c:pt idx="6356">
                  <c:v>-0.11848739495798299</c:v>
                </c:pt>
                <c:pt idx="6357">
                  <c:v>-0.11848739495798299</c:v>
                </c:pt>
                <c:pt idx="6358">
                  <c:v>-0.11764705882352899</c:v>
                </c:pt>
                <c:pt idx="6359">
                  <c:v>-0.11764705882352899</c:v>
                </c:pt>
                <c:pt idx="6360">
                  <c:v>-0.11764705882352899</c:v>
                </c:pt>
                <c:pt idx="6361">
                  <c:v>-0.11764705882352899</c:v>
                </c:pt>
                <c:pt idx="6362">
                  <c:v>-0.11764705882352899</c:v>
                </c:pt>
                <c:pt idx="6363">
                  <c:v>-0.11764705882352899</c:v>
                </c:pt>
                <c:pt idx="6364">
                  <c:v>-0.11764705882352899</c:v>
                </c:pt>
                <c:pt idx="6365">
                  <c:v>-0.11764705882352899</c:v>
                </c:pt>
                <c:pt idx="6366">
                  <c:v>-0.11764705882352899</c:v>
                </c:pt>
                <c:pt idx="6367">
                  <c:v>-0.11764705882352899</c:v>
                </c:pt>
                <c:pt idx="6368">
                  <c:v>-0.11764705882352899</c:v>
                </c:pt>
                <c:pt idx="6369">
                  <c:v>-0.11764705882352899</c:v>
                </c:pt>
                <c:pt idx="6370">
                  <c:v>-0.11764705882352899</c:v>
                </c:pt>
                <c:pt idx="6371">
                  <c:v>-0.11764705882352899</c:v>
                </c:pt>
                <c:pt idx="6372">
                  <c:v>-0.11764705882352899</c:v>
                </c:pt>
                <c:pt idx="6373">
                  <c:v>-0.11764705882352899</c:v>
                </c:pt>
                <c:pt idx="6374">
                  <c:v>-0.11764705882352899</c:v>
                </c:pt>
                <c:pt idx="6375">
                  <c:v>-0.11764705882352899</c:v>
                </c:pt>
                <c:pt idx="6376">
                  <c:v>-0.11764705882352899</c:v>
                </c:pt>
                <c:pt idx="6377">
                  <c:v>-0.11764705882352899</c:v>
                </c:pt>
                <c:pt idx="6378">
                  <c:v>-0.11764705882352899</c:v>
                </c:pt>
                <c:pt idx="6379">
                  <c:v>-0.11680672268907499</c:v>
                </c:pt>
                <c:pt idx="6380">
                  <c:v>-0.11680672268907499</c:v>
                </c:pt>
                <c:pt idx="6381">
                  <c:v>-0.11680672268907499</c:v>
                </c:pt>
                <c:pt idx="6382">
                  <c:v>-0.11680672268907499</c:v>
                </c:pt>
                <c:pt idx="6383">
                  <c:v>-0.11680672268907499</c:v>
                </c:pt>
                <c:pt idx="6384">
                  <c:v>-0.11764705882352899</c:v>
                </c:pt>
                <c:pt idx="6385">
                  <c:v>-0.11764705882352899</c:v>
                </c:pt>
                <c:pt idx="6386">
                  <c:v>-0.11680672268907499</c:v>
                </c:pt>
                <c:pt idx="6387">
                  <c:v>-0.11680672268907499</c:v>
                </c:pt>
                <c:pt idx="6388">
                  <c:v>-0.11596638655462101</c:v>
                </c:pt>
                <c:pt idx="6389">
                  <c:v>-0.11680672268907499</c:v>
                </c:pt>
                <c:pt idx="6390">
                  <c:v>-0.11680672268907499</c:v>
                </c:pt>
                <c:pt idx="6391">
                  <c:v>-0.11680672268907499</c:v>
                </c:pt>
                <c:pt idx="6392">
                  <c:v>-0.11680672268907499</c:v>
                </c:pt>
                <c:pt idx="6393">
                  <c:v>-0.11680672268907499</c:v>
                </c:pt>
                <c:pt idx="6394">
                  <c:v>-0.11680672268907499</c:v>
                </c:pt>
                <c:pt idx="6395">
                  <c:v>-0.11680672268907499</c:v>
                </c:pt>
                <c:pt idx="6396">
                  <c:v>-0.11680672268907499</c:v>
                </c:pt>
                <c:pt idx="6397">
                  <c:v>-0.11680672268907499</c:v>
                </c:pt>
                <c:pt idx="6398">
                  <c:v>-0.11680672268907499</c:v>
                </c:pt>
                <c:pt idx="6399">
                  <c:v>-0.11680672268907499</c:v>
                </c:pt>
                <c:pt idx="6400">
                  <c:v>-0.11680672268907499</c:v>
                </c:pt>
                <c:pt idx="6401">
                  <c:v>-0.11680672268907499</c:v>
                </c:pt>
                <c:pt idx="6402">
                  <c:v>-0.11680672268907499</c:v>
                </c:pt>
                <c:pt idx="6403">
                  <c:v>-0.11680672268907499</c:v>
                </c:pt>
                <c:pt idx="6404">
                  <c:v>-0.11680672268907499</c:v>
                </c:pt>
                <c:pt idx="6405">
                  <c:v>-0.11680672268907499</c:v>
                </c:pt>
                <c:pt idx="6406">
                  <c:v>-0.11680672268907499</c:v>
                </c:pt>
                <c:pt idx="6407">
                  <c:v>-0.11680672268907499</c:v>
                </c:pt>
                <c:pt idx="6408">
                  <c:v>-0.11680672268907499</c:v>
                </c:pt>
                <c:pt idx="6409">
                  <c:v>-0.11680672268907499</c:v>
                </c:pt>
                <c:pt idx="6410">
                  <c:v>-0.11680672268907499</c:v>
                </c:pt>
                <c:pt idx="6411">
                  <c:v>-0.11680672268907499</c:v>
                </c:pt>
                <c:pt idx="6412">
                  <c:v>-0.11680672268907499</c:v>
                </c:pt>
                <c:pt idx="6413">
                  <c:v>-0.11680672268907499</c:v>
                </c:pt>
                <c:pt idx="6414">
                  <c:v>-0.11680672268907499</c:v>
                </c:pt>
                <c:pt idx="6415">
                  <c:v>-0.11680672268907499</c:v>
                </c:pt>
                <c:pt idx="6416">
                  <c:v>-0.11680672268907499</c:v>
                </c:pt>
                <c:pt idx="6417">
                  <c:v>-0.11764705882352899</c:v>
                </c:pt>
                <c:pt idx="6418">
                  <c:v>-0.11764705882352899</c:v>
                </c:pt>
                <c:pt idx="6419">
                  <c:v>-0.11764705882352899</c:v>
                </c:pt>
                <c:pt idx="6420">
                  <c:v>-0.11680672268907499</c:v>
                </c:pt>
                <c:pt idx="6421">
                  <c:v>-0.11680672268907499</c:v>
                </c:pt>
                <c:pt idx="6422">
                  <c:v>-0.11680672268907499</c:v>
                </c:pt>
                <c:pt idx="6423">
                  <c:v>-0.11680672268907499</c:v>
                </c:pt>
                <c:pt idx="6424">
                  <c:v>-0.11680672268907499</c:v>
                </c:pt>
                <c:pt idx="6425">
                  <c:v>-0.11764705882352899</c:v>
                </c:pt>
                <c:pt idx="6426">
                  <c:v>-0.11764705882352899</c:v>
                </c:pt>
                <c:pt idx="6427">
                  <c:v>-0.11764705882352899</c:v>
                </c:pt>
                <c:pt idx="6428">
                  <c:v>-0.11764705882352899</c:v>
                </c:pt>
                <c:pt idx="6429">
                  <c:v>-0.11680672268907499</c:v>
                </c:pt>
                <c:pt idx="6430">
                  <c:v>-0.11680672268907499</c:v>
                </c:pt>
                <c:pt idx="6431">
                  <c:v>-0.11596638655462101</c:v>
                </c:pt>
                <c:pt idx="6432">
                  <c:v>-0.11596638655462101</c:v>
                </c:pt>
                <c:pt idx="6433">
                  <c:v>-0.11596638655462101</c:v>
                </c:pt>
                <c:pt idx="6434">
                  <c:v>-0.11680672268907499</c:v>
                </c:pt>
                <c:pt idx="6435">
                  <c:v>-0.11680672268907499</c:v>
                </c:pt>
                <c:pt idx="6436">
                  <c:v>-0.11680672268907499</c:v>
                </c:pt>
                <c:pt idx="6437">
                  <c:v>-0.11680672268907499</c:v>
                </c:pt>
                <c:pt idx="6438">
                  <c:v>-0.11680672268907499</c:v>
                </c:pt>
                <c:pt idx="6439">
                  <c:v>-0.11680672268907499</c:v>
                </c:pt>
                <c:pt idx="6440">
                  <c:v>-0.11680672268907499</c:v>
                </c:pt>
                <c:pt idx="6441">
                  <c:v>-0.11680672268907499</c:v>
                </c:pt>
                <c:pt idx="6442">
                  <c:v>-0.11680672268907499</c:v>
                </c:pt>
                <c:pt idx="6443">
                  <c:v>-0.11680672268907499</c:v>
                </c:pt>
                <c:pt idx="6444">
                  <c:v>-0.11680672268907499</c:v>
                </c:pt>
                <c:pt idx="6445">
                  <c:v>-0.11680672268907499</c:v>
                </c:pt>
                <c:pt idx="6446">
                  <c:v>-0.11680672268907499</c:v>
                </c:pt>
                <c:pt idx="6447">
                  <c:v>-0.11596638655462101</c:v>
                </c:pt>
                <c:pt idx="6448">
                  <c:v>-0.11512605042016801</c:v>
                </c:pt>
                <c:pt idx="6449">
                  <c:v>-0.11512605042016801</c:v>
                </c:pt>
                <c:pt idx="6450">
                  <c:v>-0.11512605042016801</c:v>
                </c:pt>
                <c:pt idx="6451">
                  <c:v>-0.11512605042016801</c:v>
                </c:pt>
                <c:pt idx="6452">
                  <c:v>-0.11512605042016801</c:v>
                </c:pt>
                <c:pt idx="6453">
                  <c:v>-0.11512605042016801</c:v>
                </c:pt>
                <c:pt idx="6454">
                  <c:v>-0.11512605042016801</c:v>
                </c:pt>
                <c:pt idx="6455">
                  <c:v>-0.11512605042016801</c:v>
                </c:pt>
                <c:pt idx="6456">
                  <c:v>-0.11512605042016801</c:v>
                </c:pt>
                <c:pt idx="6457">
                  <c:v>-0.11512605042016801</c:v>
                </c:pt>
                <c:pt idx="6458">
                  <c:v>-0.11512605042016801</c:v>
                </c:pt>
                <c:pt idx="6459">
                  <c:v>-0.11512605042016801</c:v>
                </c:pt>
                <c:pt idx="6460">
                  <c:v>-0.11512605042016801</c:v>
                </c:pt>
                <c:pt idx="6461">
                  <c:v>-0.11512605042016801</c:v>
                </c:pt>
                <c:pt idx="6462">
                  <c:v>-0.11512605042016801</c:v>
                </c:pt>
                <c:pt idx="6463">
                  <c:v>-0.11512605042016801</c:v>
                </c:pt>
                <c:pt idx="6464">
                  <c:v>-0.11512605042016801</c:v>
                </c:pt>
                <c:pt idx="6465">
                  <c:v>-0.11512605042016801</c:v>
                </c:pt>
                <c:pt idx="6466">
                  <c:v>-0.11512605042016801</c:v>
                </c:pt>
                <c:pt idx="6467">
                  <c:v>-0.11512605042016801</c:v>
                </c:pt>
                <c:pt idx="6468">
                  <c:v>-0.11512605042016801</c:v>
                </c:pt>
                <c:pt idx="6469">
                  <c:v>-0.11512605042016801</c:v>
                </c:pt>
                <c:pt idx="6470">
                  <c:v>-0.11512605042016801</c:v>
                </c:pt>
                <c:pt idx="6471">
                  <c:v>-0.11512605042016801</c:v>
                </c:pt>
                <c:pt idx="6472">
                  <c:v>-0.114285714285714</c:v>
                </c:pt>
                <c:pt idx="6473">
                  <c:v>-0.114285714285714</c:v>
                </c:pt>
                <c:pt idx="6474">
                  <c:v>-0.114285714285714</c:v>
                </c:pt>
                <c:pt idx="6475">
                  <c:v>-0.114285714285714</c:v>
                </c:pt>
                <c:pt idx="6476">
                  <c:v>-0.114285714285714</c:v>
                </c:pt>
                <c:pt idx="6477">
                  <c:v>-0.114285714285714</c:v>
                </c:pt>
                <c:pt idx="6478">
                  <c:v>-0.114285714285714</c:v>
                </c:pt>
                <c:pt idx="6479">
                  <c:v>-0.114285714285714</c:v>
                </c:pt>
                <c:pt idx="6480">
                  <c:v>-0.114285714285714</c:v>
                </c:pt>
                <c:pt idx="6481">
                  <c:v>-0.114285714285714</c:v>
                </c:pt>
                <c:pt idx="6482">
                  <c:v>-0.114285714285714</c:v>
                </c:pt>
                <c:pt idx="6483">
                  <c:v>-0.11344537815126</c:v>
                </c:pt>
                <c:pt idx="6484">
                  <c:v>-0.11344537815126</c:v>
                </c:pt>
                <c:pt idx="6485">
                  <c:v>-0.11344537815126</c:v>
                </c:pt>
                <c:pt idx="6486">
                  <c:v>-0.11344537815126</c:v>
                </c:pt>
                <c:pt idx="6487">
                  <c:v>-0.11344537815126</c:v>
                </c:pt>
                <c:pt idx="6488">
                  <c:v>-0.112605042016806</c:v>
                </c:pt>
                <c:pt idx="6489">
                  <c:v>-0.112605042016806</c:v>
                </c:pt>
                <c:pt idx="6490">
                  <c:v>-0.112605042016806</c:v>
                </c:pt>
                <c:pt idx="6491">
                  <c:v>-0.112605042016806</c:v>
                </c:pt>
                <c:pt idx="6492">
                  <c:v>-0.112605042016806</c:v>
                </c:pt>
                <c:pt idx="6493">
                  <c:v>-0.112605042016806</c:v>
                </c:pt>
                <c:pt idx="6494">
                  <c:v>-0.112605042016806</c:v>
                </c:pt>
                <c:pt idx="6495">
                  <c:v>-0.112605042016806</c:v>
                </c:pt>
                <c:pt idx="6496">
                  <c:v>-0.112605042016806</c:v>
                </c:pt>
                <c:pt idx="6497">
                  <c:v>-0.112605042016806</c:v>
                </c:pt>
                <c:pt idx="6498">
                  <c:v>-0.112605042016806</c:v>
                </c:pt>
                <c:pt idx="6499">
                  <c:v>-0.112605042016806</c:v>
                </c:pt>
                <c:pt idx="6500">
                  <c:v>-0.111764705882352</c:v>
                </c:pt>
                <c:pt idx="6501">
                  <c:v>-0.111764705882352</c:v>
                </c:pt>
                <c:pt idx="6502">
                  <c:v>-0.111764705882352</c:v>
                </c:pt>
                <c:pt idx="6503">
                  <c:v>-0.111764705882352</c:v>
                </c:pt>
                <c:pt idx="6504">
                  <c:v>-0.111764705882352</c:v>
                </c:pt>
                <c:pt idx="6505">
                  <c:v>-0.111764705882352</c:v>
                </c:pt>
                <c:pt idx="6506">
                  <c:v>-0.112605042016806</c:v>
                </c:pt>
                <c:pt idx="6507">
                  <c:v>-0.112605042016806</c:v>
                </c:pt>
                <c:pt idx="6508">
                  <c:v>-0.112605042016806</c:v>
                </c:pt>
                <c:pt idx="6509">
                  <c:v>-0.112605042016806</c:v>
                </c:pt>
                <c:pt idx="6510">
                  <c:v>-0.112605042016806</c:v>
                </c:pt>
                <c:pt idx="6511">
                  <c:v>-0.112605042016806</c:v>
                </c:pt>
                <c:pt idx="6512">
                  <c:v>-0.112605042016806</c:v>
                </c:pt>
                <c:pt idx="6513">
                  <c:v>-0.112605042016806</c:v>
                </c:pt>
                <c:pt idx="6514">
                  <c:v>-0.112605042016806</c:v>
                </c:pt>
                <c:pt idx="6515">
                  <c:v>-0.112605042016806</c:v>
                </c:pt>
                <c:pt idx="6516">
                  <c:v>-0.112605042016806</c:v>
                </c:pt>
                <c:pt idx="6517">
                  <c:v>-0.112605042016806</c:v>
                </c:pt>
                <c:pt idx="6518">
                  <c:v>-0.112605042016806</c:v>
                </c:pt>
                <c:pt idx="6519">
                  <c:v>-0.112605042016806</c:v>
                </c:pt>
                <c:pt idx="6520">
                  <c:v>-0.112605042016806</c:v>
                </c:pt>
                <c:pt idx="6521">
                  <c:v>-0.112605042016806</c:v>
                </c:pt>
                <c:pt idx="6522">
                  <c:v>-0.112605042016806</c:v>
                </c:pt>
                <c:pt idx="6523">
                  <c:v>-0.112605042016806</c:v>
                </c:pt>
                <c:pt idx="6524">
                  <c:v>-0.112605042016806</c:v>
                </c:pt>
                <c:pt idx="6525">
                  <c:v>-0.112605042016806</c:v>
                </c:pt>
                <c:pt idx="6526">
                  <c:v>-0.112605042016806</c:v>
                </c:pt>
                <c:pt idx="6527">
                  <c:v>-0.112605042016806</c:v>
                </c:pt>
                <c:pt idx="6528">
                  <c:v>-0.112605042016806</c:v>
                </c:pt>
                <c:pt idx="6529">
                  <c:v>-0.112605042016806</c:v>
                </c:pt>
                <c:pt idx="6530">
                  <c:v>-0.112605042016806</c:v>
                </c:pt>
                <c:pt idx="6531">
                  <c:v>-0.112605042016806</c:v>
                </c:pt>
                <c:pt idx="6532">
                  <c:v>-0.112605042016806</c:v>
                </c:pt>
                <c:pt idx="6533">
                  <c:v>-0.112605042016806</c:v>
                </c:pt>
                <c:pt idx="6534">
                  <c:v>-0.112605042016806</c:v>
                </c:pt>
                <c:pt idx="6535">
                  <c:v>-0.112605042016806</c:v>
                </c:pt>
                <c:pt idx="6536">
                  <c:v>-0.112605042016806</c:v>
                </c:pt>
                <c:pt idx="6537">
                  <c:v>-0.112605042016806</c:v>
                </c:pt>
                <c:pt idx="6538">
                  <c:v>-0.112605042016806</c:v>
                </c:pt>
                <c:pt idx="6539">
                  <c:v>-0.111764705882352</c:v>
                </c:pt>
                <c:pt idx="6540">
                  <c:v>-0.111764705882352</c:v>
                </c:pt>
                <c:pt idx="6541">
                  <c:v>-0.111764705882352</c:v>
                </c:pt>
                <c:pt idx="6542">
                  <c:v>-0.111764705882352</c:v>
                </c:pt>
                <c:pt idx="6543">
                  <c:v>-0.110924369747899</c:v>
                </c:pt>
                <c:pt idx="6544">
                  <c:v>-0.110924369747899</c:v>
                </c:pt>
                <c:pt idx="6545">
                  <c:v>-0.110924369747899</c:v>
                </c:pt>
                <c:pt idx="6546">
                  <c:v>-0.110924369747899</c:v>
                </c:pt>
                <c:pt idx="6547">
                  <c:v>-0.110924369747899</c:v>
                </c:pt>
                <c:pt idx="6548">
                  <c:v>-0.110924369747899</c:v>
                </c:pt>
                <c:pt idx="6549">
                  <c:v>-0.110924369747899</c:v>
                </c:pt>
                <c:pt idx="6550">
                  <c:v>-0.110924369747899</c:v>
                </c:pt>
                <c:pt idx="6551">
                  <c:v>-0.110924369747899</c:v>
                </c:pt>
                <c:pt idx="6552">
                  <c:v>-0.110924369747899</c:v>
                </c:pt>
                <c:pt idx="6553">
                  <c:v>-0.110924369747899</c:v>
                </c:pt>
                <c:pt idx="6554">
                  <c:v>-0.110084033613445</c:v>
                </c:pt>
                <c:pt idx="6555">
                  <c:v>-0.110084033613445</c:v>
                </c:pt>
                <c:pt idx="6556">
                  <c:v>-0.110084033613445</c:v>
                </c:pt>
                <c:pt idx="6557">
                  <c:v>-0.110084033613445</c:v>
                </c:pt>
                <c:pt idx="6558">
                  <c:v>-0.110084033613445</c:v>
                </c:pt>
                <c:pt idx="6559">
                  <c:v>-0.110084033613445</c:v>
                </c:pt>
                <c:pt idx="6560">
                  <c:v>-0.110084033613445</c:v>
                </c:pt>
                <c:pt idx="6561">
                  <c:v>-0.109243697478991</c:v>
                </c:pt>
                <c:pt idx="6562">
                  <c:v>-0.109243697478991</c:v>
                </c:pt>
                <c:pt idx="6563">
                  <c:v>-0.109243697478991</c:v>
                </c:pt>
                <c:pt idx="6564">
                  <c:v>-0.109243697478991</c:v>
                </c:pt>
                <c:pt idx="6565">
                  <c:v>-0.109243697478991</c:v>
                </c:pt>
                <c:pt idx="6566">
                  <c:v>-0.109243697478991</c:v>
                </c:pt>
                <c:pt idx="6567">
                  <c:v>-0.109243697478991</c:v>
                </c:pt>
                <c:pt idx="6568">
                  <c:v>-0.109243697478991</c:v>
                </c:pt>
                <c:pt idx="6569">
                  <c:v>-0.109243697478991</c:v>
                </c:pt>
                <c:pt idx="6570">
                  <c:v>-0.109243697478991</c:v>
                </c:pt>
                <c:pt idx="6571">
                  <c:v>-0.109243697478991</c:v>
                </c:pt>
                <c:pt idx="6572">
                  <c:v>-0.109243697478991</c:v>
                </c:pt>
                <c:pt idx="6573">
                  <c:v>-0.109243697478991</c:v>
                </c:pt>
                <c:pt idx="6574">
                  <c:v>-0.109243697478991</c:v>
                </c:pt>
                <c:pt idx="6575">
                  <c:v>-0.109243697478991</c:v>
                </c:pt>
                <c:pt idx="6576">
                  <c:v>-0.109243697478991</c:v>
                </c:pt>
                <c:pt idx="6577">
                  <c:v>-0.109243697478991</c:v>
                </c:pt>
                <c:pt idx="6578">
                  <c:v>-0.109243697478991</c:v>
                </c:pt>
                <c:pt idx="6579">
                  <c:v>-0.109243697478991</c:v>
                </c:pt>
                <c:pt idx="6580">
                  <c:v>-0.109243697478991</c:v>
                </c:pt>
                <c:pt idx="6581">
                  <c:v>-0.109243697478991</c:v>
                </c:pt>
                <c:pt idx="6582">
                  <c:v>-0.109243697478991</c:v>
                </c:pt>
                <c:pt idx="6583">
                  <c:v>-0.109243697478991</c:v>
                </c:pt>
                <c:pt idx="6584">
                  <c:v>-0.109243697478991</c:v>
                </c:pt>
                <c:pt idx="6585">
                  <c:v>-0.109243697478991</c:v>
                </c:pt>
                <c:pt idx="6586">
                  <c:v>-0.109243697478991</c:v>
                </c:pt>
                <c:pt idx="6587">
                  <c:v>-0.109243697478991</c:v>
                </c:pt>
                <c:pt idx="6588">
                  <c:v>-0.109243697478991</c:v>
                </c:pt>
                <c:pt idx="6589">
                  <c:v>-0.109243697478991</c:v>
                </c:pt>
                <c:pt idx="6590">
                  <c:v>-0.109243697478991</c:v>
                </c:pt>
                <c:pt idx="6591">
                  <c:v>-0.109243697478991</c:v>
                </c:pt>
                <c:pt idx="6592">
                  <c:v>-0.109243697478991</c:v>
                </c:pt>
                <c:pt idx="6593">
                  <c:v>-0.109243697478991</c:v>
                </c:pt>
                <c:pt idx="6594">
                  <c:v>-0.109243697478991</c:v>
                </c:pt>
                <c:pt idx="6595">
                  <c:v>-0.109243697478991</c:v>
                </c:pt>
                <c:pt idx="6596">
                  <c:v>-0.108403361344537</c:v>
                </c:pt>
                <c:pt idx="6597">
                  <c:v>-0.108403361344537</c:v>
                </c:pt>
                <c:pt idx="6598">
                  <c:v>-0.108403361344537</c:v>
                </c:pt>
                <c:pt idx="6599">
                  <c:v>-0.108403361344537</c:v>
                </c:pt>
                <c:pt idx="6600">
                  <c:v>-0.108403361344537</c:v>
                </c:pt>
                <c:pt idx="6601">
                  <c:v>-0.108403361344537</c:v>
                </c:pt>
                <c:pt idx="6602">
                  <c:v>-0.108403361344537</c:v>
                </c:pt>
                <c:pt idx="6603">
                  <c:v>-0.108403361344537</c:v>
                </c:pt>
                <c:pt idx="6604">
                  <c:v>-0.108403361344537</c:v>
                </c:pt>
                <c:pt idx="6605">
                  <c:v>-0.108403361344537</c:v>
                </c:pt>
                <c:pt idx="6606">
                  <c:v>-0.108403361344537</c:v>
                </c:pt>
                <c:pt idx="6607">
                  <c:v>-0.108403361344537</c:v>
                </c:pt>
                <c:pt idx="6608">
                  <c:v>-0.108403361344537</c:v>
                </c:pt>
                <c:pt idx="6609">
                  <c:v>-0.108403361344537</c:v>
                </c:pt>
                <c:pt idx="6610">
                  <c:v>-0.108403361344537</c:v>
                </c:pt>
                <c:pt idx="6611">
                  <c:v>-0.108403361344537</c:v>
                </c:pt>
                <c:pt idx="6612">
                  <c:v>-0.108403361344537</c:v>
                </c:pt>
                <c:pt idx="6613">
                  <c:v>-0.108403361344537</c:v>
                </c:pt>
                <c:pt idx="6614">
                  <c:v>-0.109243697478991</c:v>
                </c:pt>
                <c:pt idx="6615">
                  <c:v>-0.109243697478991</c:v>
                </c:pt>
                <c:pt idx="6616">
                  <c:v>-0.110084033613445</c:v>
                </c:pt>
                <c:pt idx="6617">
                  <c:v>-0.110084033613445</c:v>
                </c:pt>
                <c:pt idx="6618">
                  <c:v>-0.110084033613445</c:v>
                </c:pt>
                <c:pt idx="6619">
                  <c:v>-0.110084033613445</c:v>
                </c:pt>
                <c:pt idx="6620">
                  <c:v>-0.110084033613445</c:v>
                </c:pt>
                <c:pt idx="6621">
                  <c:v>-0.110084033613445</c:v>
                </c:pt>
                <c:pt idx="6622">
                  <c:v>-0.110084033613445</c:v>
                </c:pt>
                <c:pt idx="6623">
                  <c:v>-0.110084033613445</c:v>
                </c:pt>
                <c:pt idx="6624">
                  <c:v>-0.110084033613445</c:v>
                </c:pt>
                <c:pt idx="6625">
                  <c:v>-0.110084033613445</c:v>
                </c:pt>
                <c:pt idx="6626">
                  <c:v>-0.110084033613445</c:v>
                </c:pt>
                <c:pt idx="6627">
                  <c:v>-0.110084033613445</c:v>
                </c:pt>
                <c:pt idx="6628">
                  <c:v>-0.109243697478991</c:v>
                </c:pt>
                <c:pt idx="6629">
                  <c:v>-0.109243697478991</c:v>
                </c:pt>
                <c:pt idx="6630">
                  <c:v>-0.109243697478991</c:v>
                </c:pt>
                <c:pt idx="6631">
                  <c:v>-0.110084033613445</c:v>
                </c:pt>
                <c:pt idx="6632">
                  <c:v>-0.110084033613445</c:v>
                </c:pt>
                <c:pt idx="6633">
                  <c:v>-0.110084033613445</c:v>
                </c:pt>
                <c:pt idx="6634">
                  <c:v>-0.110084033613445</c:v>
                </c:pt>
                <c:pt idx="6635">
                  <c:v>-0.110084033613445</c:v>
                </c:pt>
                <c:pt idx="6636">
                  <c:v>-0.110084033613445</c:v>
                </c:pt>
                <c:pt idx="6637">
                  <c:v>-0.110084033613445</c:v>
                </c:pt>
                <c:pt idx="6638">
                  <c:v>-0.110084033613445</c:v>
                </c:pt>
                <c:pt idx="6639">
                  <c:v>-0.110084033613445</c:v>
                </c:pt>
                <c:pt idx="6640">
                  <c:v>-0.110084033613445</c:v>
                </c:pt>
                <c:pt idx="6641">
                  <c:v>-0.110084033613445</c:v>
                </c:pt>
                <c:pt idx="6642">
                  <c:v>-0.110084033613445</c:v>
                </c:pt>
                <c:pt idx="6643">
                  <c:v>-0.110084033613445</c:v>
                </c:pt>
                <c:pt idx="6644">
                  <c:v>-0.110084033613445</c:v>
                </c:pt>
                <c:pt idx="6645">
                  <c:v>-0.110084033613445</c:v>
                </c:pt>
                <c:pt idx="6646">
                  <c:v>-0.110084033613445</c:v>
                </c:pt>
                <c:pt idx="6647">
                  <c:v>-0.110084033613445</c:v>
                </c:pt>
                <c:pt idx="6648">
                  <c:v>-0.110924369747899</c:v>
                </c:pt>
                <c:pt idx="6649">
                  <c:v>-0.110924369747899</c:v>
                </c:pt>
                <c:pt idx="6650">
                  <c:v>-0.110084033613445</c:v>
                </c:pt>
                <c:pt idx="6651">
                  <c:v>-0.110084033613445</c:v>
                </c:pt>
                <c:pt idx="6652">
                  <c:v>-0.110084033613445</c:v>
                </c:pt>
                <c:pt idx="6653">
                  <c:v>-0.110084033613445</c:v>
                </c:pt>
                <c:pt idx="6654">
                  <c:v>-0.110084033613445</c:v>
                </c:pt>
                <c:pt idx="6655">
                  <c:v>-0.110084033613445</c:v>
                </c:pt>
                <c:pt idx="6656">
                  <c:v>-0.110084033613445</c:v>
                </c:pt>
                <c:pt idx="6657">
                  <c:v>-0.110084033613445</c:v>
                </c:pt>
                <c:pt idx="6658">
                  <c:v>-0.110084033613445</c:v>
                </c:pt>
                <c:pt idx="6659">
                  <c:v>-0.110084033613445</c:v>
                </c:pt>
                <c:pt idx="6660">
                  <c:v>-0.110084033613445</c:v>
                </c:pt>
                <c:pt idx="6661">
                  <c:v>-0.110084033613445</c:v>
                </c:pt>
                <c:pt idx="6662">
                  <c:v>-0.110084033613445</c:v>
                </c:pt>
                <c:pt idx="6663">
                  <c:v>-0.110084033613445</c:v>
                </c:pt>
                <c:pt idx="6664">
                  <c:v>-0.110084033613445</c:v>
                </c:pt>
                <c:pt idx="6665">
                  <c:v>-0.110084033613445</c:v>
                </c:pt>
                <c:pt idx="6666">
                  <c:v>-0.110084033613445</c:v>
                </c:pt>
                <c:pt idx="6667">
                  <c:v>-0.110084033613445</c:v>
                </c:pt>
                <c:pt idx="6668">
                  <c:v>-0.110084033613445</c:v>
                </c:pt>
                <c:pt idx="6669">
                  <c:v>-0.110084033613445</c:v>
                </c:pt>
                <c:pt idx="6670">
                  <c:v>-0.110084033613445</c:v>
                </c:pt>
                <c:pt idx="6671">
                  <c:v>-0.110084033613445</c:v>
                </c:pt>
                <c:pt idx="6672">
                  <c:v>-0.110084033613445</c:v>
                </c:pt>
                <c:pt idx="6673">
                  <c:v>-0.110084033613445</c:v>
                </c:pt>
                <c:pt idx="6674">
                  <c:v>-0.110084033613445</c:v>
                </c:pt>
                <c:pt idx="6675">
                  <c:v>-0.110084033613445</c:v>
                </c:pt>
                <c:pt idx="6676">
                  <c:v>-0.110084033613445</c:v>
                </c:pt>
                <c:pt idx="6677">
                  <c:v>-0.110084033613445</c:v>
                </c:pt>
                <c:pt idx="6678">
                  <c:v>-0.110084033613445</c:v>
                </c:pt>
                <c:pt idx="6679">
                  <c:v>-0.110084033613445</c:v>
                </c:pt>
                <c:pt idx="6680">
                  <c:v>-0.110084033613445</c:v>
                </c:pt>
                <c:pt idx="6681">
                  <c:v>-0.110084033613445</c:v>
                </c:pt>
                <c:pt idx="6682">
                  <c:v>-0.110084033613445</c:v>
                </c:pt>
                <c:pt idx="6683">
                  <c:v>-0.110084033613445</c:v>
                </c:pt>
                <c:pt idx="6684">
                  <c:v>-0.110084033613445</c:v>
                </c:pt>
                <c:pt idx="6685">
                  <c:v>-0.109243697478991</c:v>
                </c:pt>
                <c:pt idx="6686">
                  <c:v>-0.109243697478991</c:v>
                </c:pt>
                <c:pt idx="6687">
                  <c:v>-0.109243697478991</c:v>
                </c:pt>
                <c:pt idx="6688">
                  <c:v>-0.109243697478991</c:v>
                </c:pt>
                <c:pt idx="6689">
                  <c:v>-0.108403361344537</c:v>
                </c:pt>
                <c:pt idx="6690">
                  <c:v>-0.108403361344537</c:v>
                </c:pt>
                <c:pt idx="6691">
                  <c:v>-0.108403361344537</c:v>
                </c:pt>
                <c:pt idx="6692">
                  <c:v>-0.108403361344537</c:v>
                </c:pt>
                <c:pt idx="6693">
                  <c:v>-0.108403361344537</c:v>
                </c:pt>
                <c:pt idx="6694">
                  <c:v>-0.108403361344537</c:v>
                </c:pt>
                <c:pt idx="6695">
                  <c:v>-0.108403361344537</c:v>
                </c:pt>
                <c:pt idx="6696">
                  <c:v>-0.108403361344537</c:v>
                </c:pt>
                <c:pt idx="6697">
                  <c:v>-0.108403361344537</c:v>
                </c:pt>
                <c:pt idx="6698">
                  <c:v>-0.108403361344537</c:v>
                </c:pt>
                <c:pt idx="6699">
                  <c:v>-0.108403361344537</c:v>
                </c:pt>
                <c:pt idx="6700">
                  <c:v>-0.108403361344537</c:v>
                </c:pt>
                <c:pt idx="6701">
                  <c:v>-0.108403361344537</c:v>
                </c:pt>
                <c:pt idx="6702">
                  <c:v>-0.108403361344537</c:v>
                </c:pt>
                <c:pt idx="6703">
                  <c:v>-0.108403361344537</c:v>
                </c:pt>
                <c:pt idx="6704">
                  <c:v>-0.108403361344537</c:v>
                </c:pt>
                <c:pt idx="6705">
                  <c:v>-0.108403361344537</c:v>
                </c:pt>
                <c:pt idx="6706">
                  <c:v>-0.108403361344537</c:v>
                </c:pt>
                <c:pt idx="6707">
                  <c:v>-0.108403361344537</c:v>
                </c:pt>
                <c:pt idx="6708">
                  <c:v>-0.108403361344537</c:v>
                </c:pt>
                <c:pt idx="6709">
                  <c:v>-0.108403361344537</c:v>
                </c:pt>
                <c:pt idx="6710">
                  <c:v>-0.108403361344537</c:v>
                </c:pt>
                <c:pt idx="6711">
                  <c:v>-0.108403361344537</c:v>
                </c:pt>
                <c:pt idx="6712">
                  <c:v>-0.108403361344537</c:v>
                </c:pt>
                <c:pt idx="6713">
                  <c:v>-0.108403361344537</c:v>
                </c:pt>
                <c:pt idx="6714">
                  <c:v>-0.108403361344537</c:v>
                </c:pt>
                <c:pt idx="6715">
                  <c:v>-0.108403361344537</c:v>
                </c:pt>
                <c:pt idx="6716">
                  <c:v>-0.108403361344537</c:v>
                </c:pt>
                <c:pt idx="6717">
                  <c:v>-0.108403361344537</c:v>
                </c:pt>
                <c:pt idx="6718">
                  <c:v>-0.108403361344537</c:v>
                </c:pt>
                <c:pt idx="6719">
                  <c:v>-0.108403361344537</c:v>
                </c:pt>
                <c:pt idx="6720">
                  <c:v>-0.108403361344537</c:v>
                </c:pt>
                <c:pt idx="6721">
                  <c:v>-0.108403361344537</c:v>
                </c:pt>
                <c:pt idx="6722">
                  <c:v>-0.108403361344537</c:v>
                </c:pt>
                <c:pt idx="6723">
                  <c:v>-0.108403361344537</c:v>
                </c:pt>
                <c:pt idx="6724">
                  <c:v>-0.108403361344537</c:v>
                </c:pt>
                <c:pt idx="6725">
                  <c:v>-0.108403361344537</c:v>
                </c:pt>
                <c:pt idx="6726">
                  <c:v>-0.108403361344537</c:v>
                </c:pt>
                <c:pt idx="6727">
                  <c:v>-0.108403361344537</c:v>
                </c:pt>
                <c:pt idx="6728">
                  <c:v>-0.108403361344537</c:v>
                </c:pt>
                <c:pt idx="6729">
                  <c:v>-0.108403361344537</c:v>
                </c:pt>
                <c:pt idx="6730">
                  <c:v>-0.108403361344537</c:v>
                </c:pt>
                <c:pt idx="6731">
                  <c:v>-0.108403361344537</c:v>
                </c:pt>
                <c:pt idx="6732">
                  <c:v>-0.108403361344537</c:v>
                </c:pt>
                <c:pt idx="6733">
                  <c:v>-0.108403361344537</c:v>
                </c:pt>
                <c:pt idx="6734">
                  <c:v>-0.108403361344537</c:v>
                </c:pt>
                <c:pt idx="6735">
                  <c:v>-0.108403361344537</c:v>
                </c:pt>
                <c:pt idx="6736">
                  <c:v>-0.108403361344537</c:v>
                </c:pt>
                <c:pt idx="6737">
                  <c:v>-0.108403361344537</c:v>
                </c:pt>
                <c:pt idx="6738">
                  <c:v>-0.108403361344537</c:v>
                </c:pt>
                <c:pt idx="6739">
                  <c:v>-0.108403361344537</c:v>
                </c:pt>
                <c:pt idx="6740">
                  <c:v>-0.108403361344537</c:v>
                </c:pt>
                <c:pt idx="6741">
                  <c:v>-0.108403361344537</c:v>
                </c:pt>
                <c:pt idx="6742">
                  <c:v>-0.108403361344537</c:v>
                </c:pt>
                <c:pt idx="6743">
                  <c:v>-0.108403361344537</c:v>
                </c:pt>
                <c:pt idx="6744">
                  <c:v>-0.108403361344537</c:v>
                </c:pt>
                <c:pt idx="6745">
                  <c:v>-0.108403361344537</c:v>
                </c:pt>
                <c:pt idx="6746">
                  <c:v>-0.108403361344537</c:v>
                </c:pt>
                <c:pt idx="6747">
                  <c:v>-0.108403361344537</c:v>
                </c:pt>
                <c:pt idx="6748">
                  <c:v>-0.108403361344537</c:v>
                </c:pt>
                <c:pt idx="6749">
                  <c:v>-0.108403361344537</c:v>
                </c:pt>
                <c:pt idx="6750">
                  <c:v>-0.108403361344537</c:v>
                </c:pt>
                <c:pt idx="6751">
                  <c:v>-0.108403361344537</c:v>
                </c:pt>
                <c:pt idx="6752">
                  <c:v>-0.108403361344537</c:v>
                </c:pt>
                <c:pt idx="6753">
                  <c:v>-0.108403361344537</c:v>
                </c:pt>
                <c:pt idx="6754">
                  <c:v>-0.108403361344537</c:v>
                </c:pt>
                <c:pt idx="6755">
                  <c:v>-0.108403361344537</c:v>
                </c:pt>
                <c:pt idx="6756">
                  <c:v>-0.109243697478991</c:v>
                </c:pt>
                <c:pt idx="6757">
                  <c:v>-0.109243697478991</c:v>
                </c:pt>
                <c:pt idx="6758">
                  <c:v>-0.109243697478991</c:v>
                </c:pt>
                <c:pt idx="6759">
                  <c:v>-0.109243697478991</c:v>
                </c:pt>
                <c:pt idx="6760">
                  <c:v>-0.109243697478991</c:v>
                </c:pt>
                <c:pt idx="6761">
                  <c:v>-0.109243697478991</c:v>
                </c:pt>
                <c:pt idx="6762">
                  <c:v>-0.109243697478991</c:v>
                </c:pt>
                <c:pt idx="6763">
                  <c:v>-0.109243697478991</c:v>
                </c:pt>
                <c:pt idx="6764">
                  <c:v>-0.109243697478991</c:v>
                </c:pt>
                <c:pt idx="6765">
                  <c:v>-0.109243697478991</c:v>
                </c:pt>
                <c:pt idx="6766">
                  <c:v>-0.109243697478991</c:v>
                </c:pt>
                <c:pt idx="6767">
                  <c:v>-0.109243697478991</c:v>
                </c:pt>
                <c:pt idx="6768">
                  <c:v>-0.109243697478991</c:v>
                </c:pt>
                <c:pt idx="6769">
                  <c:v>-0.109243697478991</c:v>
                </c:pt>
                <c:pt idx="6770">
                  <c:v>-0.109243697478991</c:v>
                </c:pt>
                <c:pt idx="6771">
                  <c:v>-0.109243697478991</c:v>
                </c:pt>
                <c:pt idx="6772">
                  <c:v>-0.109243697478991</c:v>
                </c:pt>
                <c:pt idx="6773">
                  <c:v>-0.109243697478991</c:v>
                </c:pt>
                <c:pt idx="6774">
                  <c:v>-0.109243697478991</c:v>
                </c:pt>
                <c:pt idx="6775">
                  <c:v>-0.109243697478991</c:v>
                </c:pt>
                <c:pt idx="6776">
                  <c:v>-0.109243697478991</c:v>
                </c:pt>
                <c:pt idx="6777">
                  <c:v>-0.109243697478991</c:v>
                </c:pt>
                <c:pt idx="6778">
                  <c:v>-0.109243697478991</c:v>
                </c:pt>
                <c:pt idx="6779">
                  <c:v>-0.109243697478991</c:v>
                </c:pt>
                <c:pt idx="6780">
                  <c:v>-0.109243697478991</c:v>
                </c:pt>
                <c:pt idx="6781">
                  <c:v>-0.109243697478991</c:v>
                </c:pt>
                <c:pt idx="6782">
                  <c:v>-0.108403361344537</c:v>
                </c:pt>
                <c:pt idx="6783">
                  <c:v>-0.108403361344537</c:v>
                </c:pt>
                <c:pt idx="6784">
                  <c:v>-0.108403361344537</c:v>
                </c:pt>
                <c:pt idx="6785">
                  <c:v>-0.108403361344537</c:v>
                </c:pt>
                <c:pt idx="6786">
                  <c:v>-0.108403361344537</c:v>
                </c:pt>
                <c:pt idx="6787">
                  <c:v>-0.108403361344537</c:v>
                </c:pt>
                <c:pt idx="6788">
                  <c:v>-0.108403361344537</c:v>
                </c:pt>
                <c:pt idx="6789">
                  <c:v>-0.108403361344537</c:v>
                </c:pt>
                <c:pt idx="6790">
                  <c:v>-0.108403361344537</c:v>
                </c:pt>
                <c:pt idx="6791">
                  <c:v>-0.108403361344537</c:v>
                </c:pt>
                <c:pt idx="6792">
                  <c:v>-0.108403361344537</c:v>
                </c:pt>
                <c:pt idx="6793">
                  <c:v>-0.107563025210084</c:v>
                </c:pt>
                <c:pt idx="6794">
                  <c:v>-0.107563025210084</c:v>
                </c:pt>
                <c:pt idx="6795">
                  <c:v>-0.107563025210084</c:v>
                </c:pt>
                <c:pt idx="6796">
                  <c:v>-0.107563025210084</c:v>
                </c:pt>
                <c:pt idx="6797">
                  <c:v>-0.107563025210084</c:v>
                </c:pt>
                <c:pt idx="6798">
                  <c:v>-0.107563025210084</c:v>
                </c:pt>
                <c:pt idx="6799">
                  <c:v>-0.107563025210084</c:v>
                </c:pt>
                <c:pt idx="6800">
                  <c:v>-0.107563025210084</c:v>
                </c:pt>
                <c:pt idx="6801">
                  <c:v>-0.107563025210084</c:v>
                </c:pt>
                <c:pt idx="6802">
                  <c:v>-0.107563025210084</c:v>
                </c:pt>
                <c:pt idx="6803">
                  <c:v>-0.107563025210084</c:v>
                </c:pt>
                <c:pt idx="6804">
                  <c:v>-0.107563025210084</c:v>
                </c:pt>
                <c:pt idx="6805">
                  <c:v>-0.107563025210084</c:v>
                </c:pt>
                <c:pt idx="6806">
                  <c:v>-0.107563025210084</c:v>
                </c:pt>
                <c:pt idx="6807">
                  <c:v>-0.107563025210084</c:v>
                </c:pt>
                <c:pt idx="6808">
                  <c:v>-0.107563025210084</c:v>
                </c:pt>
                <c:pt idx="6809">
                  <c:v>-0.107563025210084</c:v>
                </c:pt>
                <c:pt idx="6810">
                  <c:v>-0.107563025210084</c:v>
                </c:pt>
                <c:pt idx="6811">
                  <c:v>-0.107563025210084</c:v>
                </c:pt>
                <c:pt idx="6812">
                  <c:v>-0.107563025210084</c:v>
                </c:pt>
                <c:pt idx="6813">
                  <c:v>-0.107563025210084</c:v>
                </c:pt>
                <c:pt idx="6814">
                  <c:v>-0.107563025210084</c:v>
                </c:pt>
                <c:pt idx="6815">
                  <c:v>-0.107563025210084</c:v>
                </c:pt>
                <c:pt idx="6816">
                  <c:v>-0.108403361344537</c:v>
                </c:pt>
                <c:pt idx="6817">
                  <c:v>-0.108403361344537</c:v>
                </c:pt>
                <c:pt idx="6818">
                  <c:v>-0.108403361344537</c:v>
                </c:pt>
                <c:pt idx="6819">
                  <c:v>-0.108403361344537</c:v>
                </c:pt>
                <c:pt idx="6820">
                  <c:v>-0.108403361344537</c:v>
                </c:pt>
                <c:pt idx="6821">
                  <c:v>-0.108403361344537</c:v>
                </c:pt>
                <c:pt idx="6822">
                  <c:v>-0.108403361344537</c:v>
                </c:pt>
                <c:pt idx="6823">
                  <c:v>-0.108403361344537</c:v>
                </c:pt>
                <c:pt idx="6824">
                  <c:v>-0.108403361344537</c:v>
                </c:pt>
                <c:pt idx="6825">
                  <c:v>-0.108403361344537</c:v>
                </c:pt>
                <c:pt idx="6826">
                  <c:v>-0.108403361344537</c:v>
                </c:pt>
                <c:pt idx="6827">
                  <c:v>-0.108403361344537</c:v>
                </c:pt>
                <c:pt idx="6828">
                  <c:v>-0.108403361344537</c:v>
                </c:pt>
                <c:pt idx="6829">
                  <c:v>-0.108403361344537</c:v>
                </c:pt>
                <c:pt idx="6830">
                  <c:v>-0.108403361344537</c:v>
                </c:pt>
                <c:pt idx="6831">
                  <c:v>-0.108403361344537</c:v>
                </c:pt>
                <c:pt idx="6832">
                  <c:v>-0.107563025210084</c:v>
                </c:pt>
                <c:pt idx="6833">
                  <c:v>-0.107563025210084</c:v>
                </c:pt>
                <c:pt idx="6834">
                  <c:v>-0.107563025210084</c:v>
                </c:pt>
                <c:pt idx="6835">
                  <c:v>-0.107563025210084</c:v>
                </c:pt>
                <c:pt idx="6836">
                  <c:v>-0.107563025210084</c:v>
                </c:pt>
                <c:pt idx="6837">
                  <c:v>-0.107563025210084</c:v>
                </c:pt>
                <c:pt idx="6838">
                  <c:v>-0.107563025210084</c:v>
                </c:pt>
                <c:pt idx="6839">
                  <c:v>-0.107563025210084</c:v>
                </c:pt>
                <c:pt idx="6840">
                  <c:v>-0.107563025210084</c:v>
                </c:pt>
                <c:pt idx="6841">
                  <c:v>-0.107563025210084</c:v>
                </c:pt>
                <c:pt idx="6842">
                  <c:v>-0.107563025210084</c:v>
                </c:pt>
                <c:pt idx="6843">
                  <c:v>-0.107563025210084</c:v>
                </c:pt>
                <c:pt idx="6844">
                  <c:v>-0.108403361344537</c:v>
                </c:pt>
                <c:pt idx="6845">
                  <c:v>-0.109243697478991</c:v>
                </c:pt>
                <c:pt idx="6846">
                  <c:v>-0.110084033613445</c:v>
                </c:pt>
                <c:pt idx="6847">
                  <c:v>-0.110084033613445</c:v>
                </c:pt>
                <c:pt idx="6848">
                  <c:v>-0.110084033613445</c:v>
                </c:pt>
                <c:pt idx="6849">
                  <c:v>-0.110084033613445</c:v>
                </c:pt>
                <c:pt idx="6850">
                  <c:v>-0.110084033613445</c:v>
                </c:pt>
                <c:pt idx="6851">
                  <c:v>-0.110084033613445</c:v>
                </c:pt>
                <c:pt idx="6852">
                  <c:v>-0.110084033613445</c:v>
                </c:pt>
                <c:pt idx="6853">
                  <c:v>-0.110084033613445</c:v>
                </c:pt>
                <c:pt idx="6854">
                  <c:v>-0.110084033613445</c:v>
                </c:pt>
                <c:pt idx="6855">
                  <c:v>-0.110084033613445</c:v>
                </c:pt>
                <c:pt idx="6856">
                  <c:v>-0.110084033613445</c:v>
                </c:pt>
                <c:pt idx="6857">
                  <c:v>-0.110084033613445</c:v>
                </c:pt>
                <c:pt idx="6858">
                  <c:v>-0.110084033613445</c:v>
                </c:pt>
                <c:pt idx="6859">
                  <c:v>-0.110084033613445</c:v>
                </c:pt>
                <c:pt idx="6860">
                  <c:v>-0.110084033613445</c:v>
                </c:pt>
                <c:pt idx="6861">
                  <c:v>-0.110084033613445</c:v>
                </c:pt>
                <c:pt idx="6862">
                  <c:v>-0.110084033613445</c:v>
                </c:pt>
                <c:pt idx="6863">
                  <c:v>-0.110084033613445</c:v>
                </c:pt>
                <c:pt idx="6864">
                  <c:v>-0.110084033613445</c:v>
                </c:pt>
                <c:pt idx="6865">
                  <c:v>-0.110084033613445</c:v>
                </c:pt>
                <c:pt idx="6866">
                  <c:v>-0.110084033613445</c:v>
                </c:pt>
                <c:pt idx="6867">
                  <c:v>-0.110084033613445</c:v>
                </c:pt>
                <c:pt idx="6868">
                  <c:v>-0.110084033613445</c:v>
                </c:pt>
                <c:pt idx="6869">
                  <c:v>-0.110084033613445</c:v>
                </c:pt>
                <c:pt idx="6870">
                  <c:v>-0.110084033613445</c:v>
                </c:pt>
                <c:pt idx="6871">
                  <c:v>-0.110084033613445</c:v>
                </c:pt>
                <c:pt idx="6872">
                  <c:v>-0.110084033613445</c:v>
                </c:pt>
                <c:pt idx="6873">
                  <c:v>-0.110084033613445</c:v>
                </c:pt>
                <c:pt idx="6874">
                  <c:v>-0.110084033613445</c:v>
                </c:pt>
                <c:pt idx="6875">
                  <c:v>-0.110084033613445</c:v>
                </c:pt>
                <c:pt idx="6876">
                  <c:v>-0.110084033613445</c:v>
                </c:pt>
                <c:pt idx="6877">
                  <c:v>-0.110084033613445</c:v>
                </c:pt>
                <c:pt idx="6878">
                  <c:v>-0.110084033613445</c:v>
                </c:pt>
                <c:pt idx="6879">
                  <c:v>-0.110084033613445</c:v>
                </c:pt>
                <c:pt idx="6880">
                  <c:v>-0.110924369747899</c:v>
                </c:pt>
                <c:pt idx="6881">
                  <c:v>-0.110924369747899</c:v>
                </c:pt>
                <c:pt idx="6882">
                  <c:v>-0.110924369747899</c:v>
                </c:pt>
                <c:pt idx="6883">
                  <c:v>-0.110924369747899</c:v>
                </c:pt>
                <c:pt idx="6884">
                  <c:v>-0.110924369747899</c:v>
                </c:pt>
                <c:pt idx="6885">
                  <c:v>-0.110924369747899</c:v>
                </c:pt>
                <c:pt idx="6886">
                  <c:v>-0.110924369747899</c:v>
                </c:pt>
                <c:pt idx="6887">
                  <c:v>-0.110924369747899</c:v>
                </c:pt>
                <c:pt idx="6888">
                  <c:v>-0.110924369747899</c:v>
                </c:pt>
                <c:pt idx="6889">
                  <c:v>-0.110924369747899</c:v>
                </c:pt>
                <c:pt idx="6890">
                  <c:v>-0.110924369747899</c:v>
                </c:pt>
                <c:pt idx="6891">
                  <c:v>-0.110924369747899</c:v>
                </c:pt>
                <c:pt idx="6892">
                  <c:v>-0.111764705882352</c:v>
                </c:pt>
                <c:pt idx="6893">
                  <c:v>-0.111764705882352</c:v>
                </c:pt>
                <c:pt idx="6894">
                  <c:v>-0.111764705882352</c:v>
                </c:pt>
                <c:pt idx="6895">
                  <c:v>-0.111764705882352</c:v>
                </c:pt>
                <c:pt idx="6896">
                  <c:v>-0.111764705882352</c:v>
                </c:pt>
                <c:pt idx="6897">
                  <c:v>-0.111764705882352</c:v>
                </c:pt>
                <c:pt idx="6898">
                  <c:v>-0.111764705882352</c:v>
                </c:pt>
                <c:pt idx="6899">
                  <c:v>-0.112605042016806</c:v>
                </c:pt>
                <c:pt idx="6900">
                  <c:v>-0.112605042016806</c:v>
                </c:pt>
                <c:pt idx="6901">
                  <c:v>-0.112605042016806</c:v>
                </c:pt>
                <c:pt idx="6902">
                  <c:v>-0.112605042016806</c:v>
                </c:pt>
                <c:pt idx="6903">
                  <c:v>-0.112605042016806</c:v>
                </c:pt>
                <c:pt idx="6904">
                  <c:v>-0.112605042016806</c:v>
                </c:pt>
                <c:pt idx="6905">
                  <c:v>-0.112605042016806</c:v>
                </c:pt>
                <c:pt idx="6906">
                  <c:v>-0.112605042016806</c:v>
                </c:pt>
                <c:pt idx="6907">
                  <c:v>-0.112605042016806</c:v>
                </c:pt>
                <c:pt idx="6908">
                  <c:v>-0.112605042016806</c:v>
                </c:pt>
                <c:pt idx="6909">
                  <c:v>-0.112605042016806</c:v>
                </c:pt>
                <c:pt idx="6910">
                  <c:v>-0.112605042016806</c:v>
                </c:pt>
                <c:pt idx="6911">
                  <c:v>-0.112605042016806</c:v>
                </c:pt>
                <c:pt idx="6912">
                  <c:v>-0.112605042016806</c:v>
                </c:pt>
                <c:pt idx="6913">
                  <c:v>-0.112605042016806</c:v>
                </c:pt>
                <c:pt idx="6914">
                  <c:v>-0.112605042016806</c:v>
                </c:pt>
                <c:pt idx="6915">
                  <c:v>-0.112605042016806</c:v>
                </c:pt>
                <c:pt idx="6916">
                  <c:v>-0.112605042016806</c:v>
                </c:pt>
                <c:pt idx="6917">
                  <c:v>-0.11344537815126</c:v>
                </c:pt>
                <c:pt idx="6918">
                  <c:v>-0.11344537815126</c:v>
                </c:pt>
                <c:pt idx="6919">
                  <c:v>-0.11344537815126</c:v>
                </c:pt>
                <c:pt idx="6920">
                  <c:v>-0.11344537815126</c:v>
                </c:pt>
                <c:pt idx="6921">
                  <c:v>-0.11344537815126</c:v>
                </c:pt>
                <c:pt idx="6922">
                  <c:v>-0.11344537815126</c:v>
                </c:pt>
                <c:pt idx="6923">
                  <c:v>-0.11344537815126</c:v>
                </c:pt>
                <c:pt idx="6924">
                  <c:v>-0.11344537815126</c:v>
                </c:pt>
                <c:pt idx="6925">
                  <c:v>-0.11344537815126</c:v>
                </c:pt>
                <c:pt idx="6926">
                  <c:v>-0.11344537815126</c:v>
                </c:pt>
                <c:pt idx="6927">
                  <c:v>-0.11344537815126</c:v>
                </c:pt>
                <c:pt idx="6928">
                  <c:v>-0.11344537815126</c:v>
                </c:pt>
                <c:pt idx="6929">
                  <c:v>-0.11344537815126</c:v>
                </c:pt>
                <c:pt idx="6930">
                  <c:v>-0.11344537815126</c:v>
                </c:pt>
                <c:pt idx="6931">
                  <c:v>-0.11344537815126</c:v>
                </c:pt>
                <c:pt idx="6932">
                  <c:v>-0.11344537815126</c:v>
                </c:pt>
                <c:pt idx="6933">
                  <c:v>-0.11344537815126</c:v>
                </c:pt>
                <c:pt idx="6934">
                  <c:v>-0.11344537815126</c:v>
                </c:pt>
                <c:pt idx="6935">
                  <c:v>-0.11344537815126</c:v>
                </c:pt>
                <c:pt idx="6936">
                  <c:v>-0.11344537815126</c:v>
                </c:pt>
                <c:pt idx="6937">
                  <c:v>-0.112605042016806</c:v>
                </c:pt>
                <c:pt idx="6938">
                  <c:v>-0.111764705882352</c:v>
                </c:pt>
                <c:pt idx="6939">
                  <c:v>-0.111764705882352</c:v>
                </c:pt>
                <c:pt idx="6940">
                  <c:v>-0.111764705882352</c:v>
                </c:pt>
                <c:pt idx="6941">
                  <c:v>-0.111764705882352</c:v>
                </c:pt>
                <c:pt idx="6942">
                  <c:v>-0.111764705882352</c:v>
                </c:pt>
                <c:pt idx="6943">
                  <c:v>-0.110924369747899</c:v>
                </c:pt>
                <c:pt idx="6944">
                  <c:v>-0.110924369747899</c:v>
                </c:pt>
                <c:pt idx="6945">
                  <c:v>-0.110924369747899</c:v>
                </c:pt>
                <c:pt idx="6946">
                  <c:v>-0.110924369747899</c:v>
                </c:pt>
                <c:pt idx="6947">
                  <c:v>-0.110924369747899</c:v>
                </c:pt>
                <c:pt idx="6948">
                  <c:v>-0.110924369747899</c:v>
                </c:pt>
                <c:pt idx="6949">
                  <c:v>-0.110924369747899</c:v>
                </c:pt>
                <c:pt idx="6950">
                  <c:v>-0.110924369747899</c:v>
                </c:pt>
                <c:pt idx="6951">
                  <c:v>-0.110924369747899</c:v>
                </c:pt>
                <c:pt idx="6952">
                  <c:v>-0.110924369747899</c:v>
                </c:pt>
                <c:pt idx="6953">
                  <c:v>-0.110924369747899</c:v>
                </c:pt>
                <c:pt idx="6954">
                  <c:v>-0.110924369747899</c:v>
                </c:pt>
                <c:pt idx="6955">
                  <c:v>-0.110924369747899</c:v>
                </c:pt>
                <c:pt idx="6956">
                  <c:v>-0.110924369747899</c:v>
                </c:pt>
                <c:pt idx="6957">
                  <c:v>-0.110924369747899</c:v>
                </c:pt>
                <c:pt idx="6958">
                  <c:v>-0.110924369747899</c:v>
                </c:pt>
                <c:pt idx="6959">
                  <c:v>-0.110924369747899</c:v>
                </c:pt>
                <c:pt idx="6960">
                  <c:v>-0.110924369747899</c:v>
                </c:pt>
                <c:pt idx="6961">
                  <c:v>-0.110924369747899</c:v>
                </c:pt>
                <c:pt idx="6962">
                  <c:v>-0.110924369747899</c:v>
                </c:pt>
                <c:pt idx="6963">
                  <c:v>-0.110924369747899</c:v>
                </c:pt>
                <c:pt idx="6964">
                  <c:v>-0.110924369747899</c:v>
                </c:pt>
                <c:pt idx="6965">
                  <c:v>-0.110924369747899</c:v>
                </c:pt>
                <c:pt idx="6966">
                  <c:v>-0.110924369747899</c:v>
                </c:pt>
                <c:pt idx="6967">
                  <c:v>-0.110924369747899</c:v>
                </c:pt>
                <c:pt idx="6968">
                  <c:v>-0.110084033613445</c:v>
                </c:pt>
                <c:pt idx="6969">
                  <c:v>-0.110084033613445</c:v>
                </c:pt>
                <c:pt idx="6970">
                  <c:v>-0.110084033613445</c:v>
                </c:pt>
                <c:pt idx="6971">
                  <c:v>-0.110084033613445</c:v>
                </c:pt>
                <c:pt idx="6972">
                  <c:v>-0.110084033613445</c:v>
                </c:pt>
                <c:pt idx="6973">
                  <c:v>-0.110924369747899</c:v>
                </c:pt>
                <c:pt idx="6974">
                  <c:v>-0.110924369747899</c:v>
                </c:pt>
                <c:pt idx="6975">
                  <c:v>-0.110924369747899</c:v>
                </c:pt>
                <c:pt idx="6976">
                  <c:v>-0.110924369747899</c:v>
                </c:pt>
                <c:pt idx="6977">
                  <c:v>-0.110924369747899</c:v>
                </c:pt>
                <c:pt idx="6978">
                  <c:v>-0.110924369747899</c:v>
                </c:pt>
                <c:pt idx="6979">
                  <c:v>-0.111764705882352</c:v>
                </c:pt>
                <c:pt idx="6980">
                  <c:v>-0.111764705882352</c:v>
                </c:pt>
                <c:pt idx="6981">
                  <c:v>-0.111764705882352</c:v>
                </c:pt>
                <c:pt idx="6982">
                  <c:v>-0.111764705882352</c:v>
                </c:pt>
                <c:pt idx="6983">
                  <c:v>-0.111764705882352</c:v>
                </c:pt>
                <c:pt idx="6984">
                  <c:v>-0.111764705882352</c:v>
                </c:pt>
                <c:pt idx="6985">
                  <c:v>-0.111764705882352</c:v>
                </c:pt>
                <c:pt idx="6986">
                  <c:v>-0.111764705882352</c:v>
                </c:pt>
                <c:pt idx="6987">
                  <c:v>-0.111764705882352</c:v>
                </c:pt>
                <c:pt idx="6988">
                  <c:v>-0.111764705882352</c:v>
                </c:pt>
                <c:pt idx="6989">
                  <c:v>-0.111764705882352</c:v>
                </c:pt>
                <c:pt idx="6990">
                  <c:v>-0.111764705882352</c:v>
                </c:pt>
                <c:pt idx="6991">
                  <c:v>-0.111764705882352</c:v>
                </c:pt>
                <c:pt idx="6992">
                  <c:v>-0.111764705882352</c:v>
                </c:pt>
                <c:pt idx="6993">
                  <c:v>-0.111764705882352</c:v>
                </c:pt>
                <c:pt idx="6994">
                  <c:v>-0.111764705882352</c:v>
                </c:pt>
                <c:pt idx="6995">
                  <c:v>-0.111764705882352</c:v>
                </c:pt>
                <c:pt idx="6996">
                  <c:v>-0.111764705882352</c:v>
                </c:pt>
                <c:pt idx="6997">
                  <c:v>-0.111764705882352</c:v>
                </c:pt>
                <c:pt idx="6998">
                  <c:v>-0.111764705882352</c:v>
                </c:pt>
                <c:pt idx="6999">
                  <c:v>-0.111764705882352</c:v>
                </c:pt>
                <c:pt idx="7000">
                  <c:v>-0.111764705882352</c:v>
                </c:pt>
                <c:pt idx="7001">
                  <c:v>-0.111764705882352</c:v>
                </c:pt>
                <c:pt idx="7002">
                  <c:v>-0.111764705882352</c:v>
                </c:pt>
                <c:pt idx="7003">
                  <c:v>-0.111764705882352</c:v>
                </c:pt>
                <c:pt idx="7004">
                  <c:v>-0.111764705882352</c:v>
                </c:pt>
                <c:pt idx="7005">
                  <c:v>-0.111764705882352</c:v>
                </c:pt>
                <c:pt idx="7006">
                  <c:v>-0.111764705882352</c:v>
                </c:pt>
                <c:pt idx="7007">
                  <c:v>-0.111764705882352</c:v>
                </c:pt>
                <c:pt idx="7008">
                  <c:v>-0.111764705882352</c:v>
                </c:pt>
                <c:pt idx="7009">
                  <c:v>-0.111764705882352</c:v>
                </c:pt>
                <c:pt idx="7010">
                  <c:v>-0.111764705882352</c:v>
                </c:pt>
                <c:pt idx="7011">
                  <c:v>-0.111764705882352</c:v>
                </c:pt>
                <c:pt idx="7012">
                  <c:v>-0.111764705882352</c:v>
                </c:pt>
                <c:pt idx="7013">
                  <c:v>-0.111764705882352</c:v>
                </c:pt>
                <c:pt idx="7014">
                  <c:v>-0.111764705882352</c:v>
                </c:pt>
                <c:pt idx="7015">
                  <c:v>-0.111764705882352</c:v>
                </c:pt>
                <c:pt idx="7016">
                  <c:v>-0.111764705882352</c:v>
                </c:pt>
                <c:pt idx="7017">
                  <c:v>-0.111764705882352</c:v>
                </c:pt>
                <c:pt idx="7018">
                  <c:v>-0.111764705882352</c:v>
                </c:pt>
                <c:pt idx="7019">
                  <c:v>-0.111764705882352</c:v>
                </c:pt>
                <c:pt idx="7020">
                  <c:v>-0.111764705882352</c:v>
                </c:pt>
                <c:pt idx="7021">
                  <c:v>-0.111764705882352</c:v>
                </c:pt>
                <c:pt idx="7022">
                  <c:v>-0.111764705882352</c:v>
                </c:pt>
                <c:pt idx="7023">
                  <c:v>-0.111764705882352</c:v>
                </c:pt>
                <c:pt idx="7024">
                  <c:v>-0.111764705882352</c:v>
                </c:pt>
                <c:pt idx="7025">
                  <c:v>-0.111764705882352</c:v>
                </c:pt>
                <c:pt idx="7026">
                  <c:v>-0.111764705882352</c:v>
                </c:pt>
                <c:pt idx="7027">
                  <c:v>-0.111764705882352</c:v>
                </c:pt>
                <c:pt idx="7028">
                  <c:v>-0.111764705882352</c:v>
                </c:pt>
                <c:pt idx="7029">
                  <c:v>-0.111764705882352</c:v>
                </c:pt>
                <c:pt idx="7030">
                  <c:v>-0.111764705882352</c:v>
                </c:pt>
                <c:pt idx="7031">
                  <c:v>-0.111764705882352</c:v>
                </c:pt>
                <c:pt idx="7032">
                  <c:v>-0.111764705882352</c:v>
                </c:pt>
                <c:pt idx="7033">
                  <c:v>-0.111764705882352</c:v>
                </c:pt>
                <c:pt idx="7034">
                  <c:v>-0.111764705882352</c:v>
                </c:pt>
                <c:pt idx="7035">
                  <c:v>-0.111764705882352</c:v>
                </c:pt>
                <c:pt idx="7036">
                  <c:v>-0.111764705882352</c:v>
                </c:pt>
                <c:pt idx="7037">
                  <c:v>-0.111764705882352</c:v>
                </c:pt>
                <c:pt idx="7038">
                  <c:v>-0.111764705882352</c:v>
                </c:pt>
                <c:pt idx="7039">
                  <c:v>-0.111764705882352</c:v>
                </c:pt>
                <c:pt idx="7040">
                  <c:v>-0.111764705882352</c:v>
                </c:pt>
                <c:pt idx="7041">
                  <c:v>-0.111764705882352</c:v>
                </c:pt>
                <c:pt idx="7042">
                  <c:v>-0.111764705882352</c:v>
                </c:pt>
                <c:pt idx="7043">
                  <c:v>-0.111764705882352</c:v>
                </c:pt>
                <c:pt idx="7044">
                  <c:v>-0.111764705882352</c:v>
                </c:pt>
                <c:pt idx="7045">
                  <c:v>-0.111764705882352</c:v>
                </c:pt>
                <c:pt idx="7046">
                  <c:v>-0.111764705882352</c:v>
                </c:pt>
                <c:pt idx="7047">
                  <c:v>-0.111764705882352</c:v>
                </c:pt>
                <c:pt idx="7048">
                  <c:v>-0.111764705882352</c:v>
                </c:pt>
                <c:pt idx="7049">
                  <c:v>-0.111764705882352</c:v>
                </c:pt>
                <c:pt idx="7050">
                  <c:v>-0.111764705882352</c:v>
                </c:pt>
                <c:pt idx="7051">
                  <c:v>-0.111764705882352</c:v>
                </c:pt>
                <c:pt idx="7052">
                  <c:v>-0.111764705882352</c:v>
                </c:pt>
                <c:pt idx="7053">
                  <c:v>-0.111764705882352</c:v>
                </c:pt>
                <c:pt idx="7054">
                  <c:v>-0.111764705882352</c:v>
                </c:pt>
                <c:pt idx="7055">
                  <c:v>-0.111764705882352</c:v>
                </c:pt>
                <c:pt idx="7056">
                  <c:v>-0.111764705882352</c:v>
                </c:pt>
                <c:pt idx="7057">
                  <c:v>-0.112605042016806</c:v>
                </c:pt>
                <c:pt idx="7058">
                  <c:v>-0.112605042016806</c:v>
                </c:pt>
                <c:pt idx="7059">
                  <c:v>-0.112605042016806</c:v>
                </c:pt>
                <c:pt idx="7060">
                  <c:v>-0.112605042016806</c:v>
                </c:pt>
                <c:pt idx="7061">
                  <c:v>-0.112605042016806</c:v>
                </c:pt>
                <c:pt idx="7062">
                  <c:v>-0.112605042016806</c:v>
                </c:pt>
                <c:pt idx="7063">
                  <c:v>-0.112605042016806</c:v>
                </c:pt>
                <c:pt idx="7064">
                  <c:v>-0.112605042016806</c:v>
                </c:pt>
                <c:pt idx="7065">
                  <c:v>-0.112605042016806</c:v>
                </c:pt>
                <c:pt idx="7066">
                  <c:v>-0.112605042016806</c:v>
                </c:pt>
                <c:pt idx="7067">
                  <c:v>-0.112605042016806</c:v>
                </c:pt>
                <c:pt idx="7068">
                  <c:v>-0.112605042016806</c:v>
                </c:pt>
                <c:pt idx="7069">
                  <c:v>-0.112605042016806</c:v>
                </c:pt>
                <c:pt idx="7070">
                  <c:v>-0.112605042016806</c:v>
                </c:pt>
                <c:pt idx="7071">
                  <c:v>-0.112605042016806</c:v>
                </c:pt>
                <c:pt idx="7072">
                  <c:v>-0.112605042016806</c:v>
                </c:pt>
                <c:pt idx="7073">
                  <c:v>-0.112605042016806</c:v>
                </c:pt>
                <c:pt idx="7074">
                  <c:v>-0.112605042016806</c:v>
                </c:pt>
                <c:pt idx="7075">
                  <c:v>-0.112605042016806</c:v>
                </c:pt>
                <c:pt idx="7076">
                  <c:v>-0.112605042016806</c:v>
                </c:pt>
                <c:pt idx="7077">
                  <c:v>-0.112605042016806</c:v>
                </c:pt>
                <c:pt idx="7078">
                  <c:v>-0.112605042016806</c:v>
                </c:pt>
                <c:pt idx="7079">
                  <c:v>-0.112605042016806</c:v>
                </c:pt>
                <c:pt idx="7080">
                  <c:v>-0.112605042016806</c:v>
                </c:pt>
                <c:pt idx="7081">
                  <c:v>-0.112605042016806</c:v>
                </c:pt>
                <c:pt idx="7082">
                  <c:v>-0.112605042016806</c:v>
                </c:pt>
                <c:pt idx="7083">
                  <c:v>-0.112605042016806</c:v>
                </c:pt>
                <c:pt idx="7084">
                  <c:v>-0.112605042016806</c:v>
                </c:pt>
                <c:pt idx="7085">
                  <c:v>-0.112605042016806</c:v>
                </c:pt>
                <c:pt idx="7086">
                  <c:v>-0.112605042016806</c:v>
                </c:pt>
                <c:pt idx="7087">
                  <c:v>-0.112605042016806</c:v>
                </c:pt>
                <c:pt idx="7088">
                  <c:v>-0.112605042016806</c:v>
                </c:pt>
                <c:pt idx="7089">
                  <c:v>-0.112605042016806</c:v>
                </c:pt>
                <c:pt idx="7090">
                  <c:v>-0.112605042016806</c:v>
                </c:pt>
                <c:pt idx="7091">
                  <c:v>-0.112605042016806</c:v>
                </c:pt>
                <c:pt idx="7092">
                  <c:v>-0.112605042016806</c:v>
                </c:pt>
                <c:pt idx="7093">
                  <c:v>-0.112605042016806</c:v>
                </c:pt>
                <c:pt idx="7094">
                  <c:v>-0.112605042016806</c:v>
                </c:pt>
                <c:pt idx="7095">
                  <c:v>-0.112605042016806</c:v>
                </c:pt>
                <c:pt idx="7096">
                  <c:v>-0.112605042016806</c:v>
                </c:pt>
                <c:pt idx="7097">
                  <c:v>-0.112605042016806</c:v>
                </c:pt>
                <c:pt idx="7098">
                  <c:v>-0.112605042016806</c:v>
                </c:pt>
                <c:pt idx="7099">
                  <c:v>-0.112605042016806</c:v>
                </c:pt>
                <c:pt idx="7100">
                  <c:v>-0.112605042016806</c:v>
                </c:pt>
                <c:pt idx="7101">
                  <c:v>-0.112605042016806</c:v>
                </c:pt>
                <c:pt idx="7102">
                  <c:v>-0.112605042016806</c:v>
                </c:pt>
                <c:pt idx="7103">
                  <c:v>-0.112605042016806</c:v>
                </c:pt>
                <c:pt idx="7104">
                  <c:v>-0.112605042016806</c:v>
                </c:pt>
                <c:pt idx="7105">
                  <c:v>-0.112605042016806</c:v>
                </c:pt>
                <c:pt idx="7106">
                  <c:v>-0.112605042016806</c:v>
                </c:pt>
                <c:pt idx="7107">
                  <c:v>-0.112605042016806</c:v>
                </c:pt>
                <c:pt idx="7108">
                  <c:v>-0.112605042016806</c:v>
                </c:pt>
                <c:pt idx="7109">
                  <c:v>-0.112605042016806</c:v>
                </c:pt>
                <c:pt idx="7110">
                  <c:v>-0.112605042016806</c:v>
                </c:pt>
                <c:pt idx="7111">
                  <c:v>-0.112605042016806</c:v>
                </c:pt>
                <c:pt idx="7112">
                  <c:v>-0.11344537815126</c:v>
                </c:pt>
                <c:pt idx="7113">
                  <c:v>-0.11344537815126</c:v>
                </c:pt>
                <c:pt idx="7114">
                  <c:v>-0.11344537815126</c:v>
                </c:pt>
                <c:pt idx="7115">
                  <c:v>-0.11344537815126</c:v>
                </c:pt>
                <c:pt idx="7116">
                  <c:v>-0.11344537815126</c:v>
                </c:pt>
                <c:pt idx="7117">
                  <c:v>-0.11344537815126</c:v>
                </c:pt>
                <c:pt idx="7118">
                  <c:v>-0.114285714285714</c:v>
                </c:pt>
                <c:pt idx="7119">
                  <c:v>-0.114285714285714</c:v>
                </c:pt>
                <c:pt idx="7120">
                  <c:v>-0.11344537815126</c:v>
                </c:pt>
                <c:pt idx="7121">
                  <c:v>-0.11344537815126</c:v>
                </c:pt>
                <c:pt idx="7122">
                  <c:v>-0.11344537815126</c:v>
                </c:pt>
                <c:pt idx="7123">
                  <c:v>-0.11344537815126</c:v>
                </c:pt>
                <c:pt idx="7124">
                  <c:v>-0.11344537815126</c:v>
                </c:pt>
                <c:pt idx="7125">
                  <c:v>-0.11344537815126</c:v>
                </c:pt>
                <c:pt idx="7126">
                  <c:v>-0.114285714285714</c:v>
                </c:pt>
                <c:pt idx="7127">
                  <c:v>-0.114285714285714</c:v>
                </c:pt>
                <c:pt idx="7128">
                  <c:v>-0.114285714285714</c:v>
                </c:pt>
                <c:pt idx="7129">
                  <c:v>-0.114285714285714</c:v>
                </c:pt>
                <c:pt idx="7130">
                  <c:v>-0.114285714285714</c:v>
                </c:pt>
                <c:pt idx="7131">
                  <c:v>-0.114285714285714</c:v>
                </c:pt>
                <c:pt idx="7132">
                  <c:v>-0.114285714285714</c:v>
                </c:pt>
                <c:pt idx="7133">
                  <c:v>-0.114285714285714</c:v>
                </c:pt>
                <c:pt idx="7134">
                  <c:v>-0.114285714285714</c:v>
                </c:pt>
                <c:pt idx="7135">
                  <c:v>-0.114285714285714</c:v>
                </c:pt>
                <c:pt idx="7136">
                  <c:v>-0.114285714285714</c:v>
                </c:pt>
                <c:pt idx="7137">
                  <c:v>-0.114285714285714</c:v>
                </c:pt>
                <c:pt idx="7138">
                  <c:v>-0.114285714285714</c:v>
                </c:pt>
                <c:pt idx="7139">
                  <c:v>-0.114285714285714</c:v>
                </c:pt>
                <c:pt idx="7140">
                  <c:v>-0.114285714285714</c:v>
                </c:pt>
                <c:pt idx="7141">
                  <c:v>-0.114285714285714</c:v>
                </c:pt>
                <c:pt idx="7142">
                  <c:v>-0.114285714285714</c:v>
                </c:pt>
                <c:pt idx="7143">
                  <c:v>-0.114285714285714</c:v>
                </c:pt>
                <c:pt idx="7144">
                  <c:v>-0.114285714285714</c:v>
                </c:pt>
                <c:pt idx="7145">
                  <c:v>-0.114285714285714</c:v>
                </c:pt>
                <c:pt idx="7146">
                  <c:v>-0.114285714285714</c:v>
                </c:pt>
                <c:pt idx="7147">
                  <c:v>-0.114285714285714</c:v>
                </c:pt>
                <c:pt idx="7148">
                  <c:v>-0.114285714285714</c:v>
                </c:pt>
                <c:pt idx="7149">
                  <c:v>-0.114285714285714</c:v>
                </c:pt>
                <c:pt idx="7150">
                  <c:v>-0.114285714285714</c:v>
                </c:pt>
                <c:pt idx="7151">
                  <c:v>-0.114285714285714</c:v>
                </c:pt>
                <c:pt idx="7152">
                  <c:v>-0.114285714285714</c:v>
                </c:pt>
                <c:pt idx="7153">
                  <c:v>-0.114285714285714</c:v>
                </c:pt>
                <c:pt idx="7154">
                  <c:v>-0.114285714285714</c:v>
                </c:pt>
                <c:pt idx="7155">
                  <c:v>-0.114285714285714</c:v>
                </c:pt>
                <c:pt idx="7156">
                  <c:v>-0.114285714285714</c:v>
                </c:pt>
                <c:pt idx="7157">
                  <c:v>-0.114285714285714</c:v>
                </c:pt>
                <c:pt idx="7158">
                  <c:v>-0.114285714285714</c:v>
                </c:pt>
                <c:pt idx="7159">
                  <c:v>-0.114285714285714</c:v>
                </c:pt>
                <c:pt idx="7160">
                  <c:v>-0.114285714285714</c:v>
                </c:pt>
                <c:pt idx="7161">
                  <c:v>-0.114285714285714</c:v>
                </c:pt>
                <c:pt idx="7162">
                  <c:v>-0.114285714285714</c:v>
                </c:pt>
                <c:pt idx="7163">
                  <c:v>-0.11512605042016801</c:v>
                </c:pt>
                <c:pt idx="7164">
                  <c:v>-0.11512605042016801</c:v>
                </c:pt>
                <c:pt idx="7165">
                  <c:v>-0.11512605042016801</c:v>
                </c:pt>
                <c:pt idx="7166">
                  <c:v>-0.11512605042016801</c:v>
                </c:pt>
                <c:pt idx="7167">
                  <c:v>-0.11512605042016801</c:v>
                </c:pt>
                <c:pt idx="7168">
                  <c:v>-0.11512605042016801</c:v>
                </c:pt>
                <c:pt idx="7169">
                  <c:v>-0.11512605042016801</c:v>
                </c:pt>
                <c:pt idx="7170">
                  <c:v>-0.11512605042016801</c:v>
                </c:pt>
                <c:pt idx="7171">
                  <c:v>-0.11512605042016801</c:v>
                </c:pt>
                <c:pt idx="7172">
                  <c:v>-0.11512605042016801</c:v>
                </c:pt>
                <c:pt idx="7173">
                  <c:v>-0.11512605042016801</c:v>
                </c:pt>
                <c:pt idx="7174">
                  <c:v>-0.11512605042016801</c:v>
                </c:pt>
                <c:pt idx="7175">
                  <c:v>-0.11512605042016801</c:v>
                </c:pt>
                <c:pt idx="7176">
                  <c:v>-0.11512605042016801</c:v>
                </c:pt>
                <c:pt idx="7177">
                  <c:v>-0.11512605042016801</c:v>
                </c:pt>
                <c:pt idx="7178">
                  <c:v>-0.11512605042016801</c:v>
                </c:pt>
                <c:pt idx="7179">
                  <c:v>-0.114285714285714</c:v>
                </c:pt>
                <c:pt idx="7180">
                  <c:v>-0.114285714285714</c:v>
                </c:pt>
                <c:pt idx="7181">
                  <c:v>-0.114285714285714</c:v>
                </c:pt>
                <c:pt idx="7182">
                  <c:v>-0.114285714285714</c:v>
                </c:pt>
                <c:pt idx="7183">
                  <c:v>-0.114285714285714</c:v>
                </c:pt>
                <c:pt idx="7184">
                  <c:v>-0.114285714285714</c:v>
                </c:pt>
                <c:pt idx="7185">
                  <c:v>-0.114285714285714</c:v>
                </c:pt>
                <c:pt idx="7186">
                  <c:v>-0.114285714285714</c:v>
                </c:pt>
                <c:pt idx="7187">
                  <c:v>-0.114285714285714</c:v>
                </c:pt>
                <c:pt idx="7188">
                  <c:v>-0.11512605042016801</c:v>
                </c:pt>
                <c:pt idx="7189">
                  <c:v>-0.11512605042016801</c:v>
                </c:pt>
                <c:pt idx="7190">
                  <c:v>-0.11512605042016801</c:v>
                </c:pt>
                <c:pt idx="7191">
                  <c:v>-0.11512605042016801</c:v>
                </c:pt>
                <c:pt idx="7192">
                  <c:v>-0.11512605042016801</c:v>
                </c:pt>
                <c:pt idx="7193">
                  <c:v>-0.11512605042016801</c:v>
                </c:pt>
                <c:pt idx="7194">
                  <c:v>-0.11596638655462101</c:v>
                </c:pt>
                <c:pt idx="7195">
                  <c:v>-0.11596638655462101</c:v>
                </c:pt>
                <c:pt idx="7196">
                  <c:v>-0.11596638655462101</c:v>
                </c:pt>
                <c:pt idx="7197">
                  <c:v>-0.11596638655462101</c:v>
                </c:pt>
                <c:pt idx="7198">
                  <c:v>-0.11596638655462101</c:v>
                </c:pt>
                <c:pt idx="7199">
                  <c:v>-0.11596638655462101</c:v>
                </c:pt>
                <c:pt idx="7200">
                  <c:v>-0.11596638655462101</c:v>
                </c:pt>
                <c:pt idx="7201">
                  <c:v>-0.11596638655462101</c:v>
                </c:pt>
                <c:pt idx="7202">
                  <c:v>-0.11512605042016801</c:v>
                </c:pt>
                <c:pt idx="7203">
                  <c:v>-0.11512605042016801</c:v>
                </c:pt>
                <c:pt idx="7204">
                  <c:v>-0.11512605042016801</c:v>
                </c:pt>
                <c:pt idx="7205">
                  <c:v>-0.11512605042016801</c:v>
                </c:pt>
                <c:pt idx="7206">
                  <c:v>-0.11512605042016801</c:v>
                </c:pt>
                <c:pt idx="7207">
                  <c:v>-0.11512605042016801</c:v>
                </c:pt>
                <c:pt idx="7208">
                  <c:v>-0.11512605042016801</c:v>
                </c:pt>
                <c:pt idx="7209">
                  <c:v>-0.11512605042016801</c:v>
                </c:pt>
                <c:pt idx="7210">
                  <c:v>-0.11512605042016801</c:v>
                </c:pt>
                <c:pt idx="7211">
                  <c:v>-0.11512605042016801</c:v>
                </c:pt>
                <c:pt idx="7212">
                  <c:v>-0.11512605042016801</c:v>
                </c:pt>
                <c:pt idx="7213">
                  <c:v>-0.11512605042016801</c:v>
                </c:pt>
                <c:pt idx="7214">
                  <c:v>-0.11512605042016801</c:v>
                </c:pt>
                <c:pt idx="7215">
                  <c:v>-0.11512605042016801</c:v>
                </c:pt>
                <c:pt idx="7216">
                  <c:v>-0.11512605042016801</c:v>
                </c:pt>
                <c:pt idx="7217">
                  <c:v>-0.11512605042016801</c:v>
                </c:pt>
                <c:pt idx="7218">
                  <c:v>-0.11512605042016801</c:v>
                </c:pt>
                <c:pt idx="7219">
                  <c:v>-0.11512605042016801</c:v>
                </c:pt>
                <c:pt idx="7220">
                  <c:v>-0.11512605042016801</c:v>
                </c:pt>
                <c:pt idx="7221">
                  <c:v>-0.11512605042016801</c:v>
                </c:pt>
                <c:pt idx="7222">
                  <c:v>-0.11512605042016801</c:v>
                </c:pt>
                <c:pt idx="7223">
                  <c:v>-0.11512605042016801</c:v>
                </c:pt>
                <c:pt idx="7224">
                  <c:v>-0.11512605042016801</c:v>
                </c:pt>
                <c:pt idx="7225">
                  <c:v>-0.11512605042016801</c:v>
                </c:pt>
                <c:pt idx="7226">
                  <c:v>-0.11512605042016801</c:v>
                </c:pt>
                <c:pt idx="7227">
                  <c:v>-0.11512605042016801</c:v>
                </c:pt>
                <c:pt idx="7228">
                  <c:v>-0.11512605042016801</c:v>
                </c:pt>
                <c:pt idx="7229">
                  <c:v>-0.11512605042016801</c:v>
                </c:pt>
                <c:pt idx="7230">
                  <c:v>-0.114285714285714</c:v>
                </c:pt>
                <c:pt idx="7231">
                  <c:v>-0.114285714285714</c:v>
                </c:pt>
                <c:pt idx="7232">
                  <c:v>-0.114285714285714</c:v>
                </c:pt>
                <c:pt idx="7233">
                  <c:v>-0.114285714285714</c:v>
                </c:pt>
                <c:pt idx="7234">
                  <c:v>-0.114285714285714</c:v>
                </c:pt>
                <c:pt idx="7235">
                  <c:v>-0.114285714285714</c:v>
                </c:pt>
                <c:pt idx="7236">
                  <c:v>-0.114285714285714</c:v>
                </c:pt>
                <c:pt idx="7237">
                  <c:v>-0.114285714285714</c:v>
                </c:pt>
                <c:pt idx="7238">
                  <c:v>-0.11512605042016801</c:v>
                </c:pt>
                <c:pt idx="7239">
                  <c:v>-0.11512605042016801</c:v>
                </c:pt>
                <c:pt idx="7240">
                  <c:v>-0.11512605042016801</c:v>
                </c:pt>
                <c:pt idx="7241">
                  <c:v>-0.11512605042016801</c:v>
                </c:pt>
                <c:pt idx="7242">
                  <c:v>-0.11512605042016801</c:v>
                </c:pt>
                <c:pt idx="7243">
                  <c:v>-0.11596638655462101</c:v>
                </c:pt>
                <c:pt idx="7244">
                  <c:v>-0.11596638655462101</c:v>
                </c:pt>
                <c:pt idx="7245">
                  <c:v>-0.11596638655462101</c:v>
                </c:pt>
                <c:pt idx="7246">
                  <c:v>-0.11596638655462101</c:v>
                </c:pt>
                <c:pt idx="7247">
                  <c:v>-0.11596638655462101</c:v>
                </c:pt>
                <c:pt idx="7248">
                  <c:v>-0.11596638655462101</c:v>
                </c:pt>
                <c:pt idx="7249">
                  <c:v>-0.11596638655462101</c:v>
                </c:pt>
                <c:pt idx="7250">
                  <c:v>-0.11596638655462101</c:v>
                </c:pt>
                <c:pt idx="7251">
                  <c:v>-0.11596638655462101</c:v>
                </c:pt>
                <c:pt idx="7252">
                  <c:v>-0.11596638655462101</c:v>
                </c:pt>
                <c:pt idx="7253">
                  <c:v>-0.11596638655462101</c:v>
                </c:pt>
                <c:pt idx="7254">
                  <c:v>-0.11596638655462101</c:v>
                </c:pt>
                <c:pt idx="7255">
                  <c:v>-0.11596638655462101</c:v>
                </c:pt>
                <c:pt idx="7256">
                  <c:v>-0.11596638655462101</c:v>
                </c:pt>
                <c:pt idx="7257">
                  <c:v>-0.11596638655462101</c:v>
                </c:pt>
                <c:pt idx="7258">
                  <c:v>-0.11596638655462101</c:v>
                </c:pt>
                <c:pt idx="7259">
                  <c:v>-0.11596638655462101</c:v>
                </c:pt>
                <c:pt idx="7260">
                  <c:v>-0.11596638655462101</c:v>
                </c:pt>
                <c:pt idx="7261">
                  <c:v>-0.11596638655462101</c:v>
                </c:pt>
                <c:pt idx="7262">
                  <c:v>-0.11596638655462101</c:v>
                </c:pt>
                <c:pt idx="7263">
                  <c:v>-0.11596638655462101</c:v>
                </c:pt>
                <c:pt idx="7264">
                  <c:v>-0.11596638655462101</c:v>
                </c:pt>
                <c:pt idx="7265">
                  <c:v>-0.11596638655462101</c:v>
                </c:pt>
                <c:pt idx="7266">
                  <c:v>-0.11596638655462101</c:v>
                </c:pt>
                <c:pt idx="7267">
                  <c:v>-0.11596638655462101</c:v>
                </c:pt>
                <c:pt idx="7268">
                  <c:v>-0.11596638655462101</c:v>
                </c:pt>
                <c:pt idx="7269">
                  <c:v>-0.11596638655462101</c:v>
                </c:pt>
                <c:pt idx="7270">
                  <c:v>-0.11596638655462101</c:v>
                </c:pt>
                <c:pt idx="7271">
                  <c:v>-0.11596638655462101</c:v>
                </c:pt>
                <c:pt idx="7272">
                  <c:v>-0.11596638655462101</c:v>
                </c:pt>
                <c:pt idx="7273">
                  <c:v>-0.11596638655462101</c:v>
                </c:pt>
                <c:pt idx="7274">
                  <c:v>-0.11596638655462101</c:v>
                </c:pt>
                <c:pt idx="7275">
                  <c:v>-0.11596638655462101</c:v>
                </c:pt>
                <c:pt idx="7276">
                  <c:v>-0.11596638655462101</c:v>
                </c:pt>
                <c:pt idx="7277">
                  <c:v>-0.11596638655462101</c:v>
                </c:pt>
                <c:pt idx="7278">
                  <c:v>-0.11596638655462101</c:v>
                </c:pt>
                <c:pt idx="7279">
                  <c:v>-0.11596638655462101</c:v>
                </c:pt>
                <c:pt idx="7280">
                  <c:v>-0.11596638655462101</c:v>
                </c:pt>
                <c:pt idx="7281">
                  <c:v>-0.11596638655462101</c:v>
                </c:pt>
                <c:pt idx="7282">
                  <c:v>-0.11596638655462101</c:v>
                </c:pt>
                <c:pt idx="7283">
                  <c:v>-0.11596638655462101</c:v>
                </c:pt>
                <c:pt idx="7284">
                  <c:v>-0.11596638655462101</c:v>
                </c:pt>
                <c:pt idx="7285">
                  <c:v>-0.11596638655462101</c:v>
                </c:pt>
                <c:pt idx="7286">
                  <c:v>-0.11596638655462101</c:v>
                </c:pt>
                <c:pt idx="7287">
                  <c:v>-0.11596638655462101</c:v>
                </c:pt>
                <c:pt idx="7288">
                  <c:v>-0.11596638655462101</c:v>
                </c:pt>
                <c:pt idx="7289">
                  <c:v>-0.11596638655462101</c:v>
                </c:pt>
                <c:pt idx="7290">
                  <c:v>-0.11680672268907499</c:v>
                </c:pt>
                <c:pt idx="7291">
                  <c:v>-0.11680672268907499</c:v>
                </c:pt>
                <c:pt idx="7292">
                  <c:v>-0.11680672268907499</c:v>
                </c:pt>
                <c:pt idx="7293">
                  <c:v>-0.11680672268907499</c:v>
                </c:pt>
                <c:pt idx="7294">
                  <c:v>-0.11680672268907499</c:v>
                </c:pt>
                <c:pt idx="7295">
                  <c:v>-0.11680672268907499</c:v>
                </c:pt>
                <c:pt idx="7296">
                  <c:v>-0.11680672268907499</c:v>
                </c:pt>
                <c:pt idx="7297">
                  <c:v>-0.11680672268907499</c:v>
                </c:pt>
                <c:pt idx="7298">
                  <c:v>-0.11680672268907499</c:v>
                </c:pt>
                <c:pt idx="7299">
                  <c:v>-0.11680672268907499</c:v>
                </c:pt>
                <c:pt idx="7300">
                  <c:v>-0.11680672268907499</c:v>
                </c:pt>
                <c:pt idx="7301">
                  <c:v>-0.11680672268907499</c:v>
                </c:pt>
                <c:pt idx="7302">
                  <c:v>-0.11680672268907499</c:v>
                </c:pt>
                <c:pt idx="7303">
                  <c:v>-0.11680672268907499</c:v>
                </c:pt>
                <c:pt idx="7304">
                  <c:v>-0.11680672268907499</c:v>
                </c:pt>
                <c:pt idx="7305">
                  <c:v>-0.11680672268907499</c:v>
                </c:pt>
                <c:pt idx="7306">
                  <c:v>-0.11680672268907499</c:v>
                </c:pt>
                <c:pt idx="7307">
                  <c:v>-0.11680672268907499</c:v>
                </c:pt>
                <c:pt idx="7308">
                  <c:v>-0.11680672268907499</c:v>
                </c:pt>
                <c:pt idx="7309">
                  <c:v>-0.11680672268907499</c:v>
                </c:pt>
                <c:pt idx="7310">
                  <c:v>-0.11680672268907499</c:v>
                </c:pt>
                <c:pt idx="7311">
                  <c:v>-0.11680672268907499</c:v>
                </c:pt>
                <c:pt idx="7312">
                  <c:v>-0.11680672268907499</c:v>
                </c:pt>
                <c:pt idx="7313">
                  <c:v>-0.11680672268907499</c:v>
                </c:pt>
                <c:pt idx="7314">
                  <c:v>-0.11680672268907499</c:v>
                </c:pt>
                <c:pt idx="7315">
                  <c:v>-0.11680672268907499</c:v>
                </c:pt>
                <c:pt idx="7316">
                  <c:v>-0.11680672268907499</c:v>
                </c:pt>
                <c:pt idx="7317">
                  <c:v>-0.11680672268907499</c:v>
                </c:pt>
                <c:pt idx="7318">
                  <c:v>-0.11680672268907499</c:v>
                </c:pt>
                <c:pt idx="7319">
                  <c:v>-0.11680672268907499</c:v>
                </c:pt>
                <c:pt idx="7320">
                  <c:v>-0.11680672268907499</c:v>
                </c:pt>
                <c:pt idx="7321">
                  <c:v>-0.11680672268907499</c:v>
                </c:pt>
                <c:pt idx="7322">
                  <c:v>-0.11680672268907499</c:v>
                </c:pt>
                <c:pt idx="7323">
                  <c:v>-0.11680672268907499</c:v>
                </c:pt>
                <c:pt idx="7324">
                  <c:v>-0.11680672268907499</c:v>
                </c:pt>
                <c:pt idx="7325">
                  <c:v>-0.11680672268907499</c:v>
                </c:pt>
                <c:pt idx="7326">
                  <c:v>-0.11680672268907499</c:v>
                </c:pt>
                <c:pt idx="7327">
                  <c:v>-0.11680672268907499</c:v>
                </c:pt>
                <c:pt idx="7328">
                  <c:v>-0.11680672268907499</c:v>
                </c:pt>
                <c:pt idx="7329">
                  <c:v>-0.11680672268907499</c:v>
                </c:pt>
                <c:pt idx="7330">
                  <c:v>-0.11680672268907499</c:v>
                </c:pt>
                <c:pt idx="7331">
                  <c:v>-0.11680672268907499</c:v>
                </c:pt>
                <c:pt idx="7332">
                  <c:v>-0.11680672268907499</c:v>
                </c:pt>
                <c:pt idx="7333">
                  <c:v>-0.11680672268907499</c:v>
                </c:pt>
                <c:pt idx="7334">
                  <c:v>-0.11680672268907499</c:v>
                </c:pt>
                <c:pt idx="7335">
                  <c:v>-0.11680672268907499</c:v>
                </c:pt>
                <c:pt idx="7336">
                  <c:v>-0.11680672268907499</c:v>
                </c:pt>
                <c:pt idx="7337">
                  <c:v>-0.11680672268907499</c:v>
                </c:pt>
                <c:pt idx="7338">
                  <c:v>-0.11680672268907499</c:v>
                </c:pt>
                <c:pt idx="7339">
                  <c:v>-0.11680672268907499</c:v>
                </c:pt>
                <c:pt idx="7340">
                  <c:v>-0.11680672268907499</c:v>
                </c:pt>
                <c:pt idx="7341">
                  <c:v>-0.11680672268907499</c:v>
                </c:pt>
                <c:pt idx="7342">
                  <c:v>-0.11764705882352899</c:v>
                </c:pt>
                <c:pt idx="7343">
                  <c:v>-0.11764705882352899</c:v>
                </c:pt>
                <c:pt idx="7344">
                  <c:v>-0.11848739495798299</c:v>
                </c:pt>
                <c:pt idx="7345">
                  <c:v>-0.11848739495798299</c:v>
                </c:pt>
                <c:pt idx="7346">
                  <c:v>-0.11848739495798299</c:v>
                </c:pt>
                <c:pt idx="7347">
                  <c:v>-0.11848739495798299</c:v>
                </c:pt>
                <c:pt idx="7348">
                  <c:v>-0.11848739495798299</c:v>
                </c:pt>
                <c:pt idx="7349">
                  <c:v>-0.11848739495798299</c:v>
                </c:pt>
                <c:pt idx="7350">
                  <c:v>-0.11848739495798299</c:v>
                </c:pt>
                <c:pt idx="7351">
                  <c:v>-0.11848739495798299</c:v>
                </c:pt>
                <c:pt idx="7352">
                  <c:v>-0.11848739495798299</c:v>
                </c:pt>
                <c:pt idx="7353">
                  <c:v>-0.11848739495798299</c:v>
                </c:pt>
                <c:pt idx="7354">
                  <c:v>-0.11848739495798299</c:v>
                </c:pt>
                <c:pt idx="7355">
                  <c:v>-0.11848739495798299</c:v>
                </c:pt>
                <c:pt idx="7356">
                  <c:v>-0.11848739495798299</c:v>
                </c:pt>
                <c:pt idx="7357">
                  <c:v>-0.11848739495798299</c:v>
                </c:pt>
                <c:pt idx="7358">
                  <c:v>-0.11848739495798299</c:v>
                </c:pt>
                <c:pt idx="7359">
                  <c:v>-0.11848739495798299</c:v>
                </c:pt>
                <c:pt idx="7360">
                  <c:v>-0.11848739495798299</c:v>
                </c:pt>
                <c:pt idx="7361">
                  <c:v>-0.11848739495798299</c:v>
                </c:pt>
                <c:pt idx="7362">
                  <c:v>-0.11848739495798299</c:v>
                </c:pt>
                <c:pt idx="7363">
                  <c:v>-0.11848739495798299</c:v>
                </c:pt>
                <c:pt idx="7364">
                  <c:v>-0.11848739495798299</c:v>
                </c:pt>
                <c:pt idx="7365">
                  <c:v>-0.11848739495798299</c:v>
                </c:pt>
                <c:pt idx="7366">
                  <c:v>-0.11848739495798299</c:v>
                </c:pt>
                <c:pt idx="7367">
                  <c:v>-0.11848739495798299</c:v>
                </c:pt>
                <c:pt idx="7368">
                  <c:v>-0.11848739495798299</c:v>
                </c:pt>
                <c:pt idx="7369">
                  <c:v>-0.11848739495798299</c:v>
                </c:pt>
                <c:pt idx="7370">
                  <c:v>-0.11848739495798299</c:v>
                </c:pt>
                <c:pt idx="7371">
                  <c:v>-0.11848739495798299</c:v>
                </c:pt>
                <c:pt idx="7372">
                  <c:v>-0.11848739495798299</c:v>
                </c:pt>
                <c:pt idx="7373">
                  <c:v>-0.11848739495798299</c:v>
                </c:pt>
                <c:pt idx="7374">
                  <c:v>-0.11848739495798299</c:v>
                </c:pt>
                <c:pt idx="7375">
                  <c:v>-0.11848739495798299</c:v>
                </c:pt>
                <c:pt idx="7376">
                  <c:v>-0.11848739495798299</c:v>
                </c:pt>
                <c:pt idx="7377">
                  <c:v>-0.11848739495798299</c:v>
                </c:pt>
                <c:pt idx="7378">
                  <c:v>-0.11848739495798299</c:v>
                </c:pt>
                <c:pt idx="7379">
                  <c:v>-0.11848739495798299</c:v>
                </c:pt>
                <c:pt idx="7380">
                  <c:v>-0.11848739495798299</c:v>
                </c:pt>
                <c:pt idx="7381">
                  <c:v>-0.11848739495798299</c:v>
                </c:pt>
                <c:pt idx="7382">
                  <c:v>-0.11848739495798299</c:v>
                </c:pt>
                <c:pt idx="7383">
                  <c:v>-0.11848739495798299</c:v>
                </c:pt>
                <c:pt idx="7384">
                  <c:v>-0.11848739495798299</c:v>
                </c:pt>
                <c:pt idx="7385">
                  <c:v>-0.11848739495798299</c:v>
                </c:pt>
                <c:pt idx="7386">
                  <c:v>-0.11848739495798299</c:v>
                </c:pt>
                <c:pt idx="7387">
                  <c:v>-0.11848739495798299</c:v>
                </c:pt>
                <c:pt idx="7388">
                  <c:v>-0.11848739495798299</c:v>
                </c:pt>
                <c:pt idx="7389">
                  <c:v>-0.11932773109243699</c:v>
                </c:pt>
                <c:pt idx="7390">
                  <c:v>-0.11932773109243699</c:v>
                </c:pt>
                <c:pt idx="7391">
                  <c:v>-0.11932773109243699</c:v>
                </c:pt>
                <c:pt idx="7392">
                  <c:v>-0.11932773109243699</c:v>
                </c:pt>
                <c:pt idx="7393">
                  <c:v>-0.11932773109243699</c:v>
                </c:pt>
                <c:pt idx="7394">
                  <c:v>-0.11932773109243699</c:v>
                </c:pt>
                <c:pt idx="7395">
                  <c:v>-0.11932773109243699</c:v>
                </c:pt>
                <c:pt idx="7396">
                  <c:v>-0.11932773109243699</c:v>
                </c:pt>
                <c:pt idx="7397">
                  <c:v>-0.11932773109243699</c:v>
                </c:pt>
                <c:pt idx="7398">
                  <c:v>-0.12016806722689</c:v>
                </c:pt>
                <c:pt idx="7399">
                  <c:v>-0.12016806722689</c:v>
                </c:pt>
                <c:pt idx="7400">
                  <c:v>-0.12016806722689</c:v>
                </c:pt>
                <c:pt idx="7401">
                  <c:v>-0.12016806722689</c:v>
                </c:pt>
                <c:pt idx="7402">
                  <c:v>-0.12016806722689</c:v>
                </c:pt>
                <c:pt idx="7403">
                  <c:v>-0.12016806722689</c:v>
                </c:pt>
                <c:pt idx="7404">
                  <c:v>-0.12016806722689</c:v>
                </c:pt>
                <c:pt idx="7405">
                  <c:v>-0.11932773109243699</c:v>
                </c:pt>
                <c:pt idx="7406">
                  <c:v>-0.11932773109243699</c:v>
                </c:pt>
                <c:pt idx="7407">
                  <c:v>-0.11932773109243699</c:v>
                </c:pt>
                <c:pt idx="7408">
                  <c:v>-0.11848739495798299</c:v>
                </c:pt>
                <c:pt idx="7409">
                  <c:v>-0.11848739495798299</c:v>
                </c:pt>
                <c:pt idx="7410">
                  <c:v>-0.11848739495798299</c:v>
                </c:pt>
                <c:pt idx="7411">
                  <c:v>-0.11848739495798299</c:v>
                </c:pt>
                <c:pt idx="7412">
                  <c:v>-0.11848739495798299</c:v>
                </c:pt>
                <c:pt idx="7413">
                  <c:v>-0.11848739495798299</c:v>
                </c:pt>
                <c:pt idx="7414">
                  <c:v>-0.11848739495798299</c:v>
                </c:pt>
                <c:pt idx="7415">
                  <c:v>-0.11848739495798299</c:v>
                </c:pt>
                <c:pt idx="7416">
                  <c:v>-0.11848739495798299</c:v>
                </c:pt>
                <c:pt idx="7417">
                  <c:v>-0.11848739495798299</c:v>
                </c:pt>
                <c:pt idx="7418">
                  <c:v>-0.11848739495798299</c:v>
                </c:pt>
                <c:pt idx="7419">
                  <c:v>-0.11848739495798299</c:v>
                </c:pt>
                <c:pt idx="7420">
                  <c:v>-0.11848739495798299</c:v>
                </c:pt>
                <c:pt idx="7421">
                  <c:v>-0.11848739495798299</c:v>
                </c:pt>
                <c:pt idx="7422">
                  <c:v>-0.11848739495798299</c:v>
                </c:pt>
                <c:pt idx="7423">
                  <c:v>-0.11848739495798299</c:v>
                </c:pt>
                <c:pt idx="7424">
                  <c:v>-0.11848739495798299</c:v>
                </c:pt>
                <c:pt idx="7425">
                  <c:v>-0.11848739495798299</c:v>
                </c:pt>
                <c:pt idx="7426">
                  <c:v>-0.11764705882352899</c:v>
                </c:pt>
                <c:pt idx="7427">
                  <c:v>-0.11764705882352899</c:v>
                </c:pt>
                <c:pt idx="7428">
                  <c:v>-0.11764705882352899</c:v>
                </c:pt>
                <c:pt idx="7429">
                  <c:v>-0.11680672268907499</c:v>
                </c:pt>
                <c:pt idx="7430">
                  <c:v>-0.11764705882352899</c:v>
                </c:pt>
                <c:pt idx="7431">
                  <c:v>-0.11764705882352899</c:v>
                </c:pt>
                <c:pt idx="7432">
                  <c:v>-0.11764705882352899</c:v>
                </c:pt>
                <c:pt idx="7433">
                  <c:v>-0.11680672268907499</c:v>
                </c:pt>
                <c:pt idx="7434">
                  <c:v>-0.11680672268907499</c:v>
                </c:pt>
                <c:pt idx="7435">
                  <c:v>-0.11596638655462101</c:v>
                </c:pt>
                <c:pt idx="7436">
                  <c:v>-0.11596638655462101</c:v>
                </c:pt>
                <c:pt idx="7437">
                  <c:v>-0.11596638655462101</c:v>
                </c:pt>
                <c:pt idx="7438">
                  <c:v>-0.11512605042016801</c:v>
                </c:pt>
                <c:pt idx="7439">
                  <c:v>-0.11512605042016801</c:v>
                </c:pt>
                <c:pt idx="7440">
                  <c:v>-0.11596638655462101</c:v>
                </c:pt>
                <c:pt idx="7441">
                  <c:v>-0.11596638655462101</c:v>
                </c:pt>
                <c:pt idx="7442">
                  <c:v>-0.11596638655462101</c:v>
                </c:pt>
                <c:pt idx="7443">
                  <c:v>-0.11596638655462101</c:v>
                </c:pt>
                <c:pt idx="7444">
                  <c:v>-0.11596638655462101</c:v>
                </c:pt>
                <c:pt idx="7445">
                  <c:v>-0.11596638655462101</c:v>
                </c:pt>
                <c:pt idx="7446">
                  <c:v>-0.11596638655462101</c:v>
                </c:pt>
                <c:pt idx="7447">
                  <c:v>-0.11596638655462101</c:v>
                </c:pt>
                <c:pt idx="7448">
                  <c:v>-0.11596638655462101</c:v>
                </c:pt>
                <c:pt idx="7449">
                  <c:v>-0.11596638655462101</c:v>
                </c:pt>
                <c:pt idx="7450">
                  <c:v>-0.11680672268907499</c:v>
                </c:pt>
                <c:pt idx="7451">
                  <c:v>-0.11680672268907499</c:v>
                </c:pt>
                <c:pt idx="7452">
                  <c:v>-0.11680672268907499</c:v>
                </c:pt>
                <c:pt idx="7453">
                  <c:v>-0.11680672268907499</c:v>
                </c:pt>
                <c:pt idx="7454">
                  <c:v>-0.11680672268907499</c:v>
                </c:pt>
                <c:pt idx="7455">
                  <c:v>-0.11680672268907499</c:v>
                </c:pt>
                <c:pt idx="7456">
                  <c:v>-0.11680672268907499</c:v>
                </c:pt>
                <c:pt idx="7457">
                  <c:v>-0.11680672268907499</c:v>
                </c:pt>
                <c:pt idx="7458">
                  <c:v>-0.11680672268907499</c:v>
                </c:pt>
                <c:pt idx="7459">
                  <c:v>-0.11680672268907499</c:v>
                </c:pt>
                <c:pt idx="7460">
                  <c:v>-0.11680672268907499</c:v>
                </c:pt>
                <c:pt idx="7461">
                  <c:v>-0.11680672268907499</c:v>
                </c:pt>
                <c:pt idx="7462">
                  <c:v>-0.11680672268907499</c:v>
                </c:pt>
                <c:pt idx="7463">
                  <c:v>-0.11680672268907499</c:v>
                </c:pt>
                <c:pt idx="7464">
                  <c:v>-0.11680672268907499</c:v>
                </c:pt>
                <c:pt idx="7465">
                  <c:v>-0.11680672268907499</c:v>
                </c:pt>
                <c:pt idx="7466">
                  <c:v>-0.11680672268907499</c:v>
                </c:pt>
                <c:pt idx="7467">
                  <c:v>-0.11680672268907499</c:v>
                </c:pt>
                <c:pt idx="7468">
                  <c:v>-0.11680672268907499</c:v>
                </c:pt>
                <c:pt idx="7469">
                  <c:v>-0.11680672268907499</c:v>
                </c:pt>
                <c:pt idx="7470">
                  <c:v>-0.11680672268907499</c:v>
                </c:pt>
                <c:pt idx="7471">
                  <c:v>-0.11680672268907499</c:v>
                </c:pt>
                <c:pt idx="7472">
                  <c:v>-0.11680672268907499</c:v>
                </c:pt>
                <c:pt idx="7473">
                  <c:v>-0.11680672268907499</c:v>
                </c:pt>
                <c:pt idx="7474">
                  <c:v>-0.11680672268907499</c:v>
                </c:pt>
                <c:pt idx="7475">
                  <c:v>-0.11680672268907499</c:v>
                </c:pt>
                <c:pt idx="7476">
                  <c:v>-0.11680672268907499</c:v>
                </c:pt>
                <c:pt idx="7477">
                  <c:v>-0.11680672268907499</c:v>
                </c:pt>
                <c:pt idx="7478">
                  <c:v>-0.11680672268907499</c:v>
                </c:pt>
                <c:pt idx="7479">
                  <c:v>-0.11680672268907499</c:v>
                </c:pt>
                <c:pt idx="7480">
                  <c:v>-0.11680672268907499</c:v>
                </c:pt>
                <c:pt idx="7481">
                  <c:v>-0.11680672268907499</c:v>
                </c:pt>
                <c:pt idx="7482">
                  <c:v>-0.11680672268907499</c:v>
                </c:pt>
                <c:pt idx="7483">
                  <c:v>-0.11680672268907499</c:v>
                </c:pt>
                <c:pt idx="7484">
                  <c:v>-0.11680672268907499</c:v>
                </c:pt>
                <c:pt idx="7485">
                  <c:v>-0.11680672268907499</c:v>
                </c:pt>
                <c:pt idx="7486">
                  <c:v>-0.11680672268907499</c:v>
                </c:pt>
                <c:pt idx="7487">
                  <c:v>-0.11680672268907499</c:v>
                </c:pt>
                <c:pt idx="7488">
                  <c:v>-0.11680672268907499</c:v>
                </c:pt>
                <c:pt idx="7489">
                  <c:v>-0.11680672268907499</c:v>
                </c:pt>
                <c:pt idx="7490">
                  <c:v>-0.11680672268907499</c:v>
                </c:pt>
                <c:pt idx="7491">
                  <c:v>-0.11680672268907499</c:v>
                </c:pt>
                <c:pt idx="7492">
                  <c:v>-0.11680672268907499</c:v>
                </c:pt>
                <c:pt idx="7493">
                  <c:v>-0.11680672268907499</c:v>
                </c:pt>
                <c:pt idx="7494">
                  <c:v>-0.11680672268907499</c:v>
                </c:pt>
                <c:pt idx="7495">
                  <c:v>-0.11680672268907499</c:v>
                </c:pt>
                <c:pt idx="7496">
                  <c:v>-0.11680672268907499</c:v>
                </c:pt>
                <c:pt idx="7497">
                  <c:v>-0.11680672268907499</c:v>
                </c:pt>
                <c:pt idx="7498">
                  <c:v>-0.11680672268907499</c:v>
                </c:pt>
                <c:pt idx="7499">
                  <c:v>-0.11680672268907499</c:v>
                </c:pt>
                <c:pt idx="7500">
                  <c:v>-0.11680672268907499</c:v>
                </c:pt>
                <c:pt idx="7501">
                  <c:v>-0.11680672268907499</c:v>
                </c:pt>
                <c:pt idx="7502">
                  <c:v>-0.11680672268907499</c:v>
                </c:pt>
                <c:pt idx="7503">
                  <c:v>-0.11680672268907499</c:v>
                </c:pt>
                <c:pt idx="7504">
                  <c:v>-0.11680672268907499</c:v>
                </c:pt>
                <c:pt idx="7505">
                  <c:v>-0.11680672268907499</c:v>
                </c:pt>
                <c:pt idx="7506">
                  <c:v>-0.11680672268907499</c:v>
                </c:pt>
                <c:pt idx="7507">
                  <c:v>-0.11680672268907499</c:v>
                </c:pt>
                <c:pt idx="7508">
                  <c:v>-0.11680672268907499</c:v>
                </c:pt>
                <c:pt idx="7509">
                  <c:v>-0.11680672268907499</c:v>
                </c:pt>
                <c:pt idx="7510">
                  <c:v>-0.11680672268907499</c:v>
                </c:pt>
                <c:pt idx="7511">
                  <c:v>-0.11680672268907499</c:v>
                </c:pt>
                <c:pt idx="7512">
                  <c:v>-0.11680672268907499</c:v>
                </c:pt>
                <c:pt idx="7513">
                  <c:v>-0.11680672268907499</c:v>
                </c:pt>
                <c:pt idx="7514">
                  <c:v>-0.11680672268907499</c:v>
                </c:pt>
                <c:pt idx="7515">
                  <c:v>-0.11680672268907499</c:v>
                </c:pt>
                <c:pt idx="7516">
                  <c:v>-0.11680672268907499</c:v>
                </c:pt>
                <c:pt idx="7517">
                  <c:v>-0.11680672268907499</c:v>
                </c:pt>
                <c:pt idx="7518">
                  <c:v>-0.11680672268907499</c:v>
                </c:pt>
                <c:pt idx="7519">
                  <c:v>-0.11680672268907499</c:v>
                </c:pt>
                <c:pt idx="7520">
                  <c:v>-0.11680672268907499</c:v>
                </c:pt>
                <c:pt idx="7521">
                  <c:v>-0.11680672268907499</c:v>
                </c:pt>
                <c:pt idx="7522">
                  <c:v>-0.11680672268907499</c:v>
                </c:pt>
                <c:pt idx="7523">
                  <c:v>-0.11680672268907499</c:v>
                </c:pt>
                <c:pt idx="7524">
                  <c:v>-0.11596638655462101</c:v>
                </c:pt>
                <c:pt idx="7525">
                  <c:v>-0.11596638655462101</c:v>
                </c:pt>
                <c:pt idx="7526">
                  <c:v>-0.11596638655462101</c:v>
                </c:pt>
                <c:pt idx="7527">
                  <c:v>-0.11596638655462101</c:v>
                </c:pt>
                <c:pt idx="7528">
                  <c:v>-0.11596638655462101</c:v>
                </c:pt>
                <c:pt idx="7529">
                  <c:v>-0.11596638655462101</c:v>
                </c:pt>
                <c:pt idx="7530">
                  <c:v>-0.11596638655462101</c:v>
                </c:pt>
                <c:pt idx="7531">
                  <c:v>-0.11596638655462101</c:v>
                </c:pt>
                <c:pt idx="7532">
                  <c:v>-0.11596638655462101</c:v>
                </c:pt>
                <c:pt idx="7533">
                  <c:v>-0.11596638655462101</c:v>
                </c:pt>
                <c:pt idx="7534">
                  <c:v>-0.11596638655462101</c:v>
                </c:pt>
                <c:pt idx="7535">
                  <c:v>-0.11596638655462101</c:v>
                </c:pt>
                <c:pt idx="7536">
                  <c:v>-0.11596638655462101</c:v>
                </c:pt>
                <c:pt idx="7537">
                  <c:v>-0.11596638655462101</c:v>
                </c:pt>
                <c:pt idx="7538">
                  <c:v>-0.11596638655462101</c:v>
                </c:pt>
                <c:pt idx="7539">
                  <c:v>-0.11596638655462101</c:v>
                </c:pt>
                <c:pt idx="7540">
                  <c:v>-0.11596638655462101</c:v>
                </c:pt>
                <c:pt idx="7541">
                  <c:v>-0.11596638655462101</c:v>
                </c:pt>
                <c:pt idx="7542">
                  <c:v>-0.11596638655462101</c:v>
                </c:pt>
                <c:pt idx="7543">
                  <c:v>-0.11596638655462101</c:v>
                </c:pt>
                <c:pt idx="7544">
                  <c:v>-0.11596638655462101</c:v>
                </c:pt>
                <c:pt idx="7545">
                  <c:v>-0.11512605042016801</c:v>
                </c:pt>
                <c:pt idx="7546">
                  <c:v>-0.11512605042016801</c:v>
                </c:pt>
                <c:pt idx="7547">
                  <c:v>-0.11596638655462101</c:v>
                </c:pt>
                <c:pt idx="7548">
                  <c:v>-0.11596638655462101</c:v>
                </c:pt>
                <c:pt idx="7549">
                  <c:v>-0.11596638655462101</c:v>
                </c:pt>
                <c:pt idx="7550">
                  <c:v>-0.11596638655462101</c:v>
                </c:pt>
                <c:pt idx="7551">
                  <c:v>-0.11596638655462101</c:v>
                </c:pt>
                <c:pt idx="7552">
                  <c:v>-0.11596638655462101</c:v>
                </c:pt>
                <c:pt idx="7553">
                  <c:v>-0.11596638655462101</c:v>
                </c:pt>
                <c:pt idx="7554">
                  <c:v>-0.11596638655462101</c:v>
                </c:pt>
                <c:pt idx="7555">
                  <c:v>-0.11596638655462101</c:v>
                </c:pt>
                <c:pt idx="7556">
                  <c:v>-0.11596638655462101</c:v>
                </c:pt>
                <c:pt idx="7557">
                  <c:v>-0.11596638655462101</c:v>
                </c:pt>
                <c:pt idx="7558">
                  <c:v>-0.11596638655462101</c:v>
                </c:pt>
                <c:pt idx="7559">
                  <c:v>-0.11596638655462101</c:v>
                </c:pt>
                <c:pt idx="7560">
                  <c:v>-0.11596638655462101</c:v>
                </c:pt>
                <c:pt idx="7561">
                  <c:v>-0.11596638655462101</c:v>
                </c:pt>
                <c:pt idx="7562">
                  <c:v>-0.11596638655462101</c:v>
                </c:pt>
                <c:pt idx="7563">
                  <c:v>-0.11512605042016801</c:v>
                </c:pt>
                <c:pt idx="7564">
                  <c:v>-0.11512605042016801</c:v>
                </c:pt>
                <c:pt idx="7565">
                  <c:v>-0.11512605042016801</c:v>
                </c:pt>
                <c:pt idx="7566">
                  <c:v>-0.11512605042016801</c:v>
                </c:pt>
                <c:pt idx="7567">
                  <c:v>-0.11512605042016801</c:v>
                </c:pt>
                <c:pt idx="7568">
                  <c:v>-0.11512605042016801</c:v>
                </c:pt>
                <c:pt idx="7569">
                  <c:v>-0.11512605042016801</c:v>
                </c:pt>
                <c:pt idx="7570">
                  <c:v>-0.11512605042016801</c:v>
                </c:pt>
                <c:pt idx="7571">
                  <c:v>-0.11512605042016801</c:v>
                </c:pt>
                <c:pt idx="7572">
                  <c:v>-0.11512605042016801</c:v>
                </c:pt>
                <c:pt idx="7573">
                  <c:v>-0.11512605042016801</c:v>
                </c:pt>
                <c:pt idx="7574">
                  <c:v>-0.11512605042016801</c:v>
                </c:pt>
                <c:pt idx="7575">
                  <c:v>-0.11512605042016801</c:v>
                </c:pt>
                <c:pt idx="7576">
                  <c:v>-0.11512605042016801</c:v>
                </c:pt>
                <c:pt idx="7577">
                  <c:v>-0.11596638655462101</c:v>
                </c:pt>
                <c:pt idx="7578">
                  <c:v>-0.11596638655462101</c:v>
                </c:pt>
                <c:pt idx="7579">
                  <c:v>-0.11596638655462101</c:v>
                </c:pt>
                <c:pt idx="7580">
                  <c:v>-0.11596638655462101</c:v>
                </c:pt>
                <c:pt idx="7581">
                  <c:v>-0.11596638655462101</c:v>
                </c:pt>
                <c:pt idx="7582">
                  <c:v>-0.11596638655462101</c:v>
                </c:pt>
                <c:pt idx="7583">
                  <c:v>-0.11596638655462101</c:v>
                </c:pt>
                <c:pt idx="7584">
                  <c:v>-0.11680672268907499</c:v>
                </c:pt>
                <c:pt idx="7585">
                  <c:v>-0.11680672268907499</c:v>
                </c:pt>
                <c:pt idx="7586">
                  <c:v>-0.11680672268907499</c:v>
                </c:pt>
                <c:pt idx="7587">
                  <c:v>-0.11680672268907499</c:v>
                </c:pt>
                <c:pt idx="7588">
                  <c:v>-0.11680672268907499</c:v>
                </c:pt>
                <c:pt idx="7589">
                  <c:v>-0.11680672268907499</c:v>
                </c:pt>
                <c:pt idx="7590">
                  <c:v>-0.11680672268907499</c:v>
                </c:pt>
                <c:pt idx="7591">
                  <c:v>-0.11680672268907499</c:v>
                </c:pt>
                <c:pt idx="7592">
                  <c:v>-0.11680672268907499</c:v>
                </c:pt>
                <c:pt idx="7593">
                  <c:v>-0.11680672268907499</c:v>
                </c:pt>
                <c:pt idx="7594">
                  <c:v>-0.11764705882352899</c:v>
                </c:pt>
                <c:pt idx="7595">
                  <c:v>-0.11764705882352899</c:v>
                </c:pt>
                <c:pt idx="7596">
                  <c:v>-0.11764705882352899</c:v>
                </c:pt>
                <c:pt idx="7597">
                  <c:v>-0.11848739495798299</c:v>
                </c:pt>
                <c:pt idx="7598">
                  <c:v>-0.11848739495798299</c:v>
                </c:pt>
                <c:pt idx="7599">
                  <c:v>-0.11848739495798299</c:v>
                </c:pt>
                <c:pt idx="7600">
                  <c:v>-0.11848739495798299</c:v>
                </c:pt>
                <c:pt idx="7601">
                  <c:v>-0.119327731092436</c:v>
                </c:pt>
                <c:pt idx="7602">
                  <c:v>-0.119327731092436</c:v>
                </c:pt>
                <c:pt idx="7603">
                  <c:v>-0.119327731092436</c:v>
                </c:pt>
                <c:pt idx="7604">
                  <c:v>-0.119327731092436</c:v>
                </c:pt>
                <c:pt idx="7605">
                  <c:v>-0.119327731092436</c:v>
                </c:pt>
                <c:pt idx="7606">
                  <c:v>-0.11848739495798299</c:v>
                </c:pt>
                <c:pt idx="7607">
                  <c:v>-0.11848739495798299</c:v>
                </c:pt>
                <c:pt idx="7608">
                  <c:v>-0.11848739495798299</c:v>
                </c:pt>
                <c:pt idx="7609">
                  <c:v>-0.11848739495798299</c:v>
                </c:pt>
                <c:pt idx="7610">
                  <c:v>-0.11848739495798299</c:v>
                </c:pt>
                <c:pt idx="7611">
                  <c:v>-0.11848739495798299</c:v>
                </c:pt>
                <c:pt idx="7612">
                  <c:v>-0.11848739495798299</c:v>
                </c:pt>
                <c:pt idx="7613">
                  <c:v>-0.11848739495798299</c:v>
                </c:pt>
                <c:pt idx="7614">
                  <c:v>-0.11848739495798299</c:v>
                </c:pt>
                <c:pt idx="7615">
                  <c:v>-0.11848739495798299</c:v>
                </c:pt>
                <c:pt idx="7616">
                  <c:v>-0.11848739495798299</c:v>
                </c:pt>
                <c:pt idx="7617">
                  <c:v>-0.11848739495798299</c:v>
                </c:pt>
                <c:pt idx="7618">
                  <c:v>-0.11848739495798299</c:v>
                </c:pt>
                <c:pt idx="7619">
                  <c:v>-0.11764705882352899</c:v>
                </c:pt>
                <c:pt idx="7620">
                  <c:v>-0.11764705882352899</c:v>
                </c:pt>
                <c:pt idx="7621">
                  <c:v>-0.11764705882352899</c:v>
                </c:pt>
                <c:pt idx="7622">
                  <c:v>-0.11764705882352899</c:v>
                </c:pt>
                <c:pt idx="7623">
                  <c:v>-0.11764705882352899</c:v>
                </c:pt>
                <c:pt idx="7624">
                  <c:v>-0.11764705882352899</c:v>
                </c:pt>
                <c:pt idx="7625">
                  <c:v>-0.11764705882352899</c:v>
                </c:pt>
                <c:pt idx="7626">
                  <c:v>-0.11764705882352899</c:v>
                </c:pt>
                <c:pt idx="7627">
                  <c:v>-0.11764705882352899</c:v>
                </c:pt>
                <c:pt idx="7628">
                  <c:v>-0.11764705882352899</c:v>
                </c:pt>
                <c:pt idx="7629">
                  <c:v>-0.11764705882352899</c:v>
                </c:pt>
                <c:pt idx="7630">
                  <c:v>-0.11764705882352899</c:v>
                </c:pt>
                <c:pt idx="7631">
                  <c:v>-0.11764705882352899</c:v>
                </c:pt>
                <c:pt idx="7632">
                  <c:v>-0.11764705882352899</c:v>
                </c:pt>
                <c:pt idx="7633">
                  <c:v>-0.11764705882352899</c:v>
                </c:pt>
                <c:pt idx="7634">
                  <c:v>-0.11764705882352899</c:v>
                </c:pt>
                <c:pt idx="7635">
                  <c:v>-0.11764705882352899</c:v>
                </c:pt>
                <c:pt idx="7636">
                  <c:v>-0.11764705882352899</c:v>
                </c:pt>
                <c:pt idx="7637">
                  <c:v>-0.11764705882352899</c:v>
                </c:pt>
                <c:pt idx="7638">
                  <c:v>-0.11764705882352899</c:v>
                </c:pt>
                <c:pt idx="7639">
                  <c:v>-0.11764705882352899</c:v>
                </c:pt>
                <c:pt idx="7640">
                  <c:v>-0.11764705882352899</c:v>
                </c:pt>
                <c:pt idx="7641">
                  <c:v>-0.11848739495798299</c:v>
                </c:pt>
                <c:pt idx="7642">
                  <c:v>-0.11848739495798299</c:v>
                </c:pt>
                <c:pt idx="7643">
                  <c:v>-0.11848739495798299</c:v>
                </c:pt>
                <c:pt idx="7644">
                  <c:v>-0.11848739495798299</c:v>
                </c:pt>
                <c:pt idx="7645">
                  <c:v>-0.11764705882352899</c:v>
                </c:pt>
                <c:pt idx="7646">
                  <c:v>-0.11764705882352899</c:v>
                </c:pt>
                <c:pt idx="7647">
                  <c:v>-0.11764705882352899</c:v>
                </c:pt>
                <c:pt idx="7648">
                  <c:v>-0.11764705882352899</c:v>
                </c:pt>
                <c:pt idx="7649">
                  <c:v>-0.11764705882352899</c:v>
                </c:pt>
                <c:pt idx="7650">
                  <c:v>-0.11764705882352899</c:v>
                </c:pt>
                <c:pt idx="7651">
                  <c:v>-0.11764705882352899</c:v>
                </c:pt>
                <c:pt idx="7652">
                  <c:v>-0.11764705882352899</c:v>
                </c:pt>
                <c:pt idx="7653">
                  <c:v>-0.11764705882352899</c:v>
                </c:pt>
                <c:pt idx="7654">
                  <c:v>-0.11764705882352899</c:v>
                </c:pt>
                <c:pt idx="7655">
                  <c:v>-0.11764705882352899</c:v>
                </c:pt>
                <c:pt idx="7656">
                  <c:v>-0.11764705882352899</c:v>
                </c:pt>
                <c:pt idx="7657">
                  <c:v>-0.11764705882352899</c:v>
                </c:pt>
                <c:pt idx="7658">
                  <c:v>-0.11680672268907499</c:v>
                </c:pt>
                <c:pt idx="7659">
                  <c:v>-0.11680672268907499</c:v>
                </c:pt>
                <c:pt idx="7660">
                  <c:v>-0.11680672268907499</c:v>
                </c:pt>
                <c:pt idx="7661">
                  <c:v>-0.11680672268907499</c:v>
                </c:pt>
                <c:pt idx="7662">
                  <c:v>-0.11680672268907499</c:v>
                </c:pt>
                <c:pt idx="7663">
                  <c:v>-0.11680672268907499</c:v>
                </c:pt>
                <c:pt idx="7664">
                  <c:v>-0.11680672268907499</c:v>
                </c:pt>
                <c:pt idx="7665">
                  <c:v>-0.11764705882352899</c:v>
                </c:pt>
                <c:pt idx="7666">
                  <c:v>-0.11764705882352899</c:v>
                </c:pt>
                <c:pt idx="7667">
                  <c:v>-0.11764705882352899</c:v>
                </c:pt>
                <c:pt idx="7668">
                  <c:v>-0.11764705882352899</c:v>
                </c:pt>
                <c:pt idx="7669">
                  <c:v>-0.11764705882352899</c:v>
                </c:pt>
                <c:pt idx="7670">
                  <c:v>-0.11848739495798299</c:v>
                </c:pt>
                <c:pt idx="7671">
                  <c:v>-0.11764705882352899</c:v>
                </c:pt>
                <c:pt idx="7672">
                  <c:v>-0.11764705882352899</c:v>
                </c:pt>
                <c:pt idx="7673">
                  <c:v>-0.11764705882352899</c:v>
                </c:pt>
                <c:pt idx="7674">
                  <c:v>-0.11764705882352899</c:v>
                </c:pt>
                <c:pt idx="7675">
                  <c:v>-0.11764705882352899</c:v>
                </c:pt>
                <c:pt idx="7676">
                  <c:v>-0.11764705882352899</c:v>
                </c:pt>
                <c:pt idx="7677">
                  <c:v>-0.11764705882352899</c:v>
                </c:pt>
                <c:pt idx="7678">
                  <c:v>-0.11764705882352899</c:v>
                </c:pt>
                <c:pt idx="7679">
                  <c:v>-0.11764705882352899</c:v>
                </c:pt>
                <c:pt idx="7680">
                  <c:v>-0.11680672268907499</c:v>
                </c:pt>
                <c:pt idx="7681">
                  <c:v>-0.11680672268907499</c:v>
                </c:pt>
                <c:pt idx="7682">
                  <c:v>-0.11680672268907499</c:v>
                </c:pt>
                <c:pt idx="7683">
                  <c:v>-0.11680672268907499</c:v>
                </c:pt>
                <c:pt idx="7684">
                  <c:v>-0.11680672268907499</c:v>
                </c:pt>
                <c:pt idx="7685">
                  <c:v>-0.11680672268907499</c:v>
                </c:pt>
                <c:pt idx="7686">
                  <c:v>-0.11680672268907499</c:v>
                </c:pt>
                <c:pt idx="7687">
                  <c:v>-0.11680672268907499</c:v>
                </c:pt>
                <c:pt idx="7688">
                  <c:v>-0.11680672268907499</c:v>
                </c:pt>
                <c:pt idx="7689">
                  <c:v>-0.11680672268907499</c:v>
                </c:pt>
                <c:pt idx="7690">
                  <c:v>-0.11680672268907499</c:v>
                </c:pt>
                <c:pt idx="7691">
                  <c:v>-0.11680672268907499</c:v>
                </c:pt>
                <c:pt idx="7692">
                  <c:v>-0.11680672268907499</c:v>
                </c:pt>
                <c:pt idx="7693">
                  <c:v>-0.11680672268907499</c:v>
                </c:pt>
                <c:pt idx="7694">
                  <c:v>-0.11680672268907499</c:v>
                </c:pt>
                <c:pt idx="7695">
                  <c:v>-0.11680672268907499</c:v>
                </c:pt>
                <c:pt idx="7696">
                  <c:v>-0.11680672268907499</c:v>
                </c:pt>
                <c:pt idx="7697">
                  <c:v>-0.11680672268907499</c:v>
                </c:pt>
                <c:pt idx="7698">
                  <c:v>-0.11680672268907499</c:v>
                </c:pt>
                <c:pt idx="7699">
                  <c:v>-0.11680672268907499</c:v>
                </c:pt>
                <c:pt idx="7700">
                  <c:v>-0.11680672268907499</c:v>
                </c:pt>
                <c:pt idx="7701">
                  <c:v>-0.11680672268907499</c:v>
                </c:pt>
                <c:pt idx="7702">
                  <c:v>-0.11680672268907499</c:v>
                </c:pt>
                <c:pt idx="7703">
                  <c:v>-0.11680672268907499</c:v>
                </c:pt>
                <c:pt idx="7704">
                  <c:v>-0.11680672268907499</c:v>
                </c:pt>
                <c:pt idx="7705">
                  <c:v>-0.11680672268907499</c:v>
                </c:pt>
                <c:pt idx="7706">
                  <c:v>-0.11680672268907499</c:v>
                </c:pt>
                <c:pt idx="7707">
                  <c:v>-0.11764705882352899</c:v>
                </c:pt>
                <c:pt idx="7708">
                  <c:v>-0.11764705882352899</c:v>
                </c:pt>
                <c:pt idx="7709">
                  <c:v>-0.11764705882352899</c:v>
                </c:pt>
                <c:pt idx="7710">
                  <c:v>-0.11764705882352899</c:v>
                </c:pt>
                <c:pt idx="7711">
                  <c:v>-0.11764705882352899</c:v>
                </c:pt>
                <c:pt idx="7712">
                  <c:v>-0.11764705882352899</c:v>
                </c:pt>
                <c:pt idx="7713">
                  <c:v>-0.11764705882352899</c:v>
                </c:pt>
                <c:pt idx="7714">
                  <c:v>-0.11764705882352899</c:v>
                </c:pt>
                <c:pt idx="7715">
                  <c:v>-0.11764705882352899</c:v>
                </c:pt>
                <c:pt idx="7716">
                  <c:v>-0.11764705882352899</c:v>
                </c:pt>
                <c:pt idx="7717">
                  <c:v>-0.11764705882352899</c:v>
                </c:pt>
                <c:pt idx="7718">
                  <c:v>-0.11764705882352899</c:v>
                </c:pt>
                <c:pt idx="7719">
                  <c:v>-0.11764705882352899</c:v>
                </c:pt>
                <c:pt idx="7720">
                  <c:v>-0.11764705882352899</c:v>
                </c:pt>
                <c:pt idx="7721">
                  <c:v>-0.11764705882352899</c:v>
                </c:pt>
                <c:pt idx="7722">
                  <c:v>-0.11764705882352899</c:v>
                </c:pt>
                <c:pt idx="7723">
                  <c:v>-0.11764705882352899</c:v>
                </c:pt>
                <c:pt idx="7724">
                  <c:v>-0.11764705882352899</c:v>
                </c:pt>
                <c:pt idx="7725">
                  <c:v>-0.11764705882352899</c:v>
                </c:pt>
                <c:pt idx="7726">
                  <c:v>-0.11764705882352899</c:v>
                </c:pt>
                <c:pt idx="7727">
                  <c:v>-0.11764705882352899</c:v>
                </c:pt>
                <c:pt idx="7728">
                  <c:v>-0.11764705882352899</c:v>
                </c:pt>
                <c:pt idx="7729">
                  <c:v>-0.11764705882352899</c:v>
                </c:pt>
                <c:pt idx="7730">
                  <c:v>-0.11764705882352899</c:v>
                </c:pt>
                <c:pt idx="7731">
                  <c:v>-0.11764705882352899</c:v>
                </c:pt>
                <c:pt idx="7732">
                  <c:v>-0.11764705882352899</c:v>
                </c:pt>
                <c:pt idx="7733">
                  <c:v>-0.11764705882352899</c:v>
                </c:pt>
                <c:pt idx="7734">
                  <c:v>-0.11764705882352899</c:v>
                </c:pt>
                <c:pt idx="7735">
                  <c:v>-0.11764705882352899</c:v>
                </c:pt>
                <c:pt idx="7736">
                  <c:v>-0.11764705882352899</c:v>
                </c:pt>
                <c:pt idx="7737">
                  <c:v>-0.11764705882352899</c:v>
                </c:pt>
                <c:pt idx="7738">
                  <c:v>-0.11764705882352899</c:v>
                </c:pt>
                <c:pt idx="7739">
                  <c:v>-0.11764705882352899</c:v>
                </c:pt>
                <c:pt idx="7740">
                  <c:v>-0.11764705882352899</c:v>
                </c:pt>
                <c:pt idx="7741">
                  <c:v>-0.11764705882352899</c:v>
                </c:pt>
                <c:pt idx="7742">
                  <c:v>-0.11764705882352899</c:v>
                </c:pt>
                <c:pt idx="7743">
                  <c:v>-0.11764705882352899</c:v>
                </c:pt>
                <c:pt idx="7744">
                  <c:v>-0.11764705882352899</c:v>
                </c:pt>
                <c:pt idx="7745">
                  <c:v>-0.11764705882352899</c:v>
                </c:pt>
                <c:pt idx="7746">
                  <c:v>-0.11764705882352899</c:v>
                </c:pt>
                <c:pt idx="7747">
                  <c:v>-0.11764705882352899</c:v>
                </c:pt>
                <c:pt idx="7748">
                  <c:v>-0.11764705882352899</c:v>
                </c:pt>
                <c:pt idx="7749">
                  <c:v>-0.11680672268907499</c:v>
                </c:pt>
                <c:pt idx="7750">
                  <c:v>-0.11680672268907499</c:v>
                </c:pt>
                <c:pt idx="7751">
                  <c:v>-0.11680672268907499</c:v>
                </c:pt>
                <c:pt idx="7752">
                  <c:v>-0.11680672268907499</c:v>
                </c:pt>
                <c:pt idx="7753">
                  <c:v>-0.11680672268907499</c:v>
                </c:pt>
                <c:pt idx="7754">
                  <c:v>-0.11680672268907499</c:v>
                </c:pt>
                <c:pt idx="7755">
                  <c:v>-0.11680672268907499</c:v>
                </c:pt>
                <c:pt idx="7756">
                  <c:v>-0.11680672268907499</c:v>
                </c:pt>
                <c:pt idx="7757">
                  <c:v>-0.11680672268907499</c:v>
                </c:pt>
                <c:pt idx="7758">
                  <c:v>-0.11680672268907499</c:v>
                </c:pt>
                <c:pt idx="7759">
                  <c:v>-0.11680672268907499</c:v>
                </c:pt>
                <c:pt idx="7760">
                  <c:v>-0.11680672268907499</c:v>
                </c:pt>
                <c:pt idx="7761">
                  <c:v>-0.11680672268907499</c:v>
                </c:pt>
                <c:pt idx="7762">
                  <c:v>-0.11680672268907499</c:v>
                </c:pt>
                <c:pt idx="7763">
                  <c:v>-0.11680672268907499</c:v>
                </c:pt>
                <c:pt idx="7764">
                  <c:v>-0.11680672268907499</c:v>
                </c:pt>
                <c:pt idx="7765">
                  <c:v>-0.11680672268907499</c:v>
                </c:pt>
                <c:pt idx="7766">
                  <c:v>-0.11764705882352899</c:v>
                </c:pt>
                <c:pt idx="7767">
                  <c:v>-0.11764705882352899</c:v>
                </c:pt>
                <c:pt idx="7768">
                  <c:v>-0.11764705882352899</c:v>
                </c:pt>
                <c:pt idx="7769">
                  <c:v>-0.11764705882352899</c:v>
                </c:pt>
                <c:pt idx="7770">
                  <c:v>-0.11764705882352899</c:v>
                </c:pt>
                <c:pt idx="7771">
                  <c:v>-0.11764705882352899</c:v>
                </c:pt>
                <c:pt idx="7772">
                  <c:v>-0.11764705882352899</c:v>
                </c:pt>
                <c:pt idx="7773">
                  <c:v>-0.11764705882352899</c:v>
                </c:pt>
                <c:pt idx="7774">
                  <c:v>-0.11764705882352899</c:v>
                </c:pt>
                <c:pt idx="7775">
                  <c:v>-0.11764705882352899</c:v>
                </c:pt>
                <c:pt idx="7776">
                  <c:v>-0.11764705882352899</c:v>
                </c:pt>
                <c:pt idx="7777">
                  <c:v>-0.11764705882352899</c:v>
                </c:pt>
                <c:pt idx="7778">
                  <c:v>-0.11764705882352899</c:v>
                </c:pt>
                <c:pt idx="7779">
                  <c:v>-0.11764705882352899</c:v>
                </c:pt>
                <c:pt idx="7780">
                  <c:v>-0.11848739495798299</c:v>
                </c:pt>
                <c:pt idx="7781">
                  <c:v>-0.11848739495798299</c:v>
                </c:pt>
                <c:pt idx="7782">
                  <c:v>-0.11848739495798299</c:v>
                </c:pt>
                <c:pt idx="7783">
                  <c:v>-0.11848739495798299</c:v>
                </c:pt>
                <c:pt idx="7784">
                  <c:v>-0.11848739495798299</c:v>
                </c:pt>
                <c:pt idx="7785">
                  <c:v>-0.11848739495798299</c:v>
                </c:pt>
                <c:pt idx="7786">
                  <c:v>-0.11848739495798299</c:v>
                </c:pt>
                <c:pt idx="7787">
                  <c:v>-0.11848739495798299</c:v>
                </c:pt>
                <c:pt idx="7788">
                  <c:v>-0.11848739495798299</c:v>
                </c:pt>
                <c:pt idx="7789">
                  <c:v>-0.11848739495798299</c:v>
                </c:pt>
                <c:pt idx="7790">
                  <c:v>-0.11764705882352899</c:v>
                </c:pt>
                <c:pt idx="7791">
                  <c:v>-0.11764705882352899</c:v>
                </c:pt>
                <c:pt idx="7792">
                  <c:v>-0.11764705882352899</c:v>
                </c:pt>
                <c:pt idx="7793">
                  <c:v>-0.11764705882352899</c:v>
                </c:pt>
                <c:pt idx="7794">
                  <c:v>-0.11764705882352899</c:v>
                </c:pt>
                <c:pt idx="7795">
                  <c:v>-0.11764705882352899</c:v>
                </c:pt>
                <c:pt idx="7796">
                  <c:v>-0.11764705882352899</c:v>
                </c:pt>
                <c:pt idx="7797">
                  <c:v>-0.11764705882352899</c:v>
                </c:pt>
                <c:pt idx="7798">
                  <c:v>-0.11848739495798299</c:v>
                </c:pt>
                <c:pt idx="7799">
                  <c:v>-0.11764705882352899</c:v>
                </c:pt>
                <c:pt idx="7800">
                  <c:v>-0.11764705882352899</c:v>
                </c:pt>
                <c:pt idx="7801">
                  <c:v>-0.11764705882352899</c:v>
                </c:pt>
                <c:pt idx="7802">
                  <c:v>-0.11764705882352899</c:v>
                </c:pt>
                <c:pt idx="7803">
                  <c:v>-0.11764705882352899</c:v>
                </c:pt>
                <c:pt idx="7804">
                  <c:v>-0.11764705882352899</c:v>
                </c:pt>
                <c:pt idx="7805">
                  <c:v>-0.11764705882352899</c:v>
                </c:pt>
                <c:pt idx="7806">
                  <c:v>-0.11764705882352899</c:v>
                </c:pt>
                <c:pt idx="7807">
                  <c:v>-0.11680672268907499</c:v>
                </c:pt>
                <c:pt idx="7808">
                  <c:v>-0.11680672268907499</c:v>
                </c:pt>
                <c:pt idx="7809">
                  <c:v>-0.11680672268907499</c:v>
                </c:pt>
                <c:pt idx="7810">
                  <c:v>-0.11680672268907499</c:v>
                </c:pt>
                <c:pt idx="7811">
                  <c:v>-0.11680672268907499</c:v>
                </c:pt>
                <c:pt idx="7812">
                  <c:v>-0.11680672268907499</c:v>
                </c:pt>
                <c:pt idx="7813">
                  <c:v>-0.11680672268907499</c:v>
                </c:pt>
                <c:pt idx="7814">
                  <c:v>-0.11680672268907499</c:v>
                </c:pt>
                <c:pt idx="7815">
                  <c:v>-0.11680672268907499</c:v>
                </c:pt>
                <c:pt idx="7816">
                  <c:v>-0.11680672268907499</c:v>
                </c:pt>
                <c:pt idx="7817">
                  <c:v>-0.11680672268907499</c:v>
                </c:pt>
                <c:pt idx="7818">
                  <c:v>-0.11680672268907499</c:v>
                </c:pt>
                <c:pt idx="7819">
                  <c:v>-0.11680672268907499</c:v>
                </c:pt>
                <c:pt idx="7820">
                  <c:v>-0.11596638655462101</c:v>
                </c:pt>
                <c:pt idx="7821">
                  <c:v>-0.11596638655462101</c:v>
                </c:pt>
                <c:pt idx="7822">
                  <c:v>-0.11596638655462101</c:v>
                </c:pt>
                <c:pt idx="7823">
                  <c:v>-0.11596638655462101</c:v>
                </c:pt>
                <c:pt idx="7824">
                  <c:v>-0.11596638655462101</c:v>
                </c:pt>
                <c:pt idx="7825">
                  <c:v>-0.11596638655462101</c:v>
                </c:pt>
                <c:pt idx="7826">
                  <c:v>-0.11596638655462101</c:v>
                </c:pt>
                <c:pt idx="7827">
                  <c:v>-0.11680672268907499</c:v>
                </c:pt>
                <c:pt idx="7828">
                  <c:v>-0.11680672268907499</c:v>
                </c:pt>
                <c:pt idx="7829">
                  <c:v>-0.11680672268907499</c:v>
                </c:pt>
                <c:pt idx="7830">
                  <c:v>-0.11680672268907499</c:v>
                </c:pt>
                <c:pt idx="7831">
                  <c:v>-0.11680672268907499</c:v>
                </c:pt>
                <c:pt idx="7832">
                  <c:v>-0.11680672268907499</c:v>
                </c:pt>
                <c:pt idx="7833">
                  <c:v>-0.11680672268907499</c:v>
                </c:pt>
                <c:pt idx="7834">
                  <c:v>-0.11680672268907499</c:v>
                </c:pt>
                <c:pt idx="7835">
                  <c:v>-0.11680672268907499</c:v>
                </c:pt>
                <c:pt idx="7836">
                  <c:v>-0.11680672268907499</c:v>
                </c:pt>
                <c:pt idx="7837">
                  <c:v>-0.11680672268907499</c:v>
                </c:pt>
                <c:pt idx="7838">
                  <c:v>-0.11680672268907499</c:v>
                </c:pt>
                <c:pt idx="7839">
                  <c:v>-0.11680672268907499</c:v>
                </c:pt>
                <c:pt idx="7840">
                  <c:v>-0.11680672268907499</c:v>
                </c:pt>
                <c:pt idx="7841">
                  <c:v>-0.11680672268907499</c:v>
                </c:pt>
                <c:pt idx="7842">
                  <c:v>-0.11680672268907499</c:v>
                </c:pt>
                <c:pt idx="7843">
                  <c:v>-0.11680672268907499</c:v>
                </c:pt>
                <c:pt idx="7844">
                  <c:v>-0.11680672268907499</c:v>
                </c:pt>
                <c:pt idx="7845">
                  <c:v>-0.11680672268907499</c:v>
                </c:pt>
                <c:pt idx="7846">
                  <c:v>-0.11680672268907499</c:v>
                </c:pt>
                <c:pt idx="7847">
                  <c:v>-0.11680672268907499</c:v>
                </c:pt>
                <c:pt idx="7848">
                  <c:v>-0.11680672268907499</c:v>
                </c:pt>
                <c:pt idx="7849">
                  <c:v>-0.11680672268907499</c:v>
                </c:pt>
                <c:pt idx="7850">
                  <c:v>-0.11680672268907499</c:v>
                </c:pt>
                <c:pt idx="7851">
                  <c:v>-0.11680672268907499</c:v>
                </c:pt>
                <c:pt idx="7852">
                  <c:v>-0.11680672268907499</c:v>
                </c:pt>
                <c:pt idx="7853">
                  <c:v>-0.11680672268907499</c:v>
                </c:pt>
                <c:pt idx="7854">
                  <c:v>-0.11596638655462101</c:v>
                </c:pt>
                <c:pt idx="7855">
                  <c:v>-0.11596638655462101</c:v>
                </c:pt>
                <c:pt idx="7856">
                  <c:v>-0.11596638655462101</c:v>
                </c:pt>
                <c:pt idx="7857">
                  <c:v>-0.11596638655462101</c:v>
                </c:pt>
                <c:pt idx="7858">
                  <c:v>-0.11596638655462101</c:v>
                </c:pt>
                <c:pt idx="7859">
                  <c:v>-0.11596638655462101</c:v>
                </c:pt>
                <c:pt idx="7860">
                  <c:v>-0.11596638655462101</c:v>
                </c:pt>
                <c:pt idx="7861">
                  <c:v>-0.11596638655462101</c:v>
                </c:pt>
                <c:pt idx="7862">
                  <c:v>-0.11596638655462101</c:v>
                </c:pt>
                <c:pt idx="7863">
                  <c:v>-0.11596638655462101</c:v>
                </c:pt>
                <c:pt idx="7864">
                  <c:v>-0.11680672268907499</c:v>
                </c:pt>
                <c:pt idx="7865">
                  <c:v>-0.11680672268907499</c:v>
                </c:pt>
                <c:pt idx="7866">
                  <c:v>-0.11680672268907499</c:v>
                </c:pt>
                <c:pt idx="7867">
                  <c:v>-0.11680672268907499</c:v>
                </c:pt>
                <c:pt idx="7868">
                  <c:v>-0.11680672268907499</c:v>
                </c:pt>
                <c:pt idx="7869">
                  <c:v>-0.11596638655462101</c:v>
                </c:pt>
                <c:pt idx="7870">
                  <c:v>-0.11680672268907499</c:v>
                </c:pt>
                <c:pt idx="7871">
                  <c:v>-0.11680672268907499</c:v>
                </c:pt>
                <c:pt idx="7872">
                  <c:v>-0.11596638655462101</c:v>
                </c:pt>
                <c:pt idx="7873">
                  <c:v>-0.11596638655462101</c:v>
                </c:pt>
                <c:pt idx="7874">
                  <c:v>-0.11596638655462101</c:v>
                </c:pt>
                <c:pt idx="7875">
                  <c:v>-0.11596638655462101</c:v>
                </c:pt>
                <c:pt idx="7876">
                  <c:v>-0.11596638655462101</c:v>
                </c:pt>
                <c:pt idx="7877">
                  <c:v>-0.11596638655462101</c:v>
                </c:pt>
                <c:pt idx="7878">
                  <c:v>-0.11596638655462101</c:v>
                </c:pt>
                <c:pt idx="7879">
                  <c:v>-0.11596638655462101</c:v>
                </c:pt>
                <c:pt idx="7880">
                  <c:v>-0.11596638655462101</c:v>
                </c:pt>
                <c:pt idx="7881">
                  <c:v>-0.11596638655462101</c:v>
                </c:pt>
                <c:pt idx="7882">
                  <c:v>-0.11596638655462101</c:v>
                </c:pt>
                <c:pt idx="7883">
                  <c:v>-0.11596638655462101</c:v>
                </c:pt>
                <c:pt idx="7884">
                  <c:v>-0.11596638655462101</c:v>
                </c:pt>
                <c:pt idx="7885">
                  <c:v>-0.11596638655462101</c:v>
                </c:pt>
                <c:pt idx="7886">
                  <c:v>-0.11596638655462101</c:v>
                </c:pt>
                <c:pt idx="7887">
                  <c:v>-0.11680672268907499</c:v>
                </c:pt>
                <c:pt idx="7888">
                  <c:v>-0.11680672268907499</c:v>
                </c:pt>
                <c:pt idx="7889">
                  <c:v>-0.11764705882352899</c:v>
                </c:pt>
                <c:pt idx="7890">
                  <c:v>-0.11764705882352899</c:v>
                </c:pt>
                <c:pt idx="7891">
                  <c:v>-0.11764705882352899</c:v>
                </c:pt>
                <c:pt idx="7892">
                  <c:v>-0.11764705882352899</c:v>
                </c:pt>
                <c:pt idx="7893">
                  <c:v>-0.11764705882352899</c:v>
                </c:pt>
                <c:pt idx="7894">
                  <c:v>-0.11764705882352899</c:v>
                </c:pt>
                <c:pt idx="7895">
                  <c:v>-0.11764705882352899</c:v>
                </c:pt>
                <c:pt idx="7896">
                  <c:v>-0.11764705882352899</c:v>
                </c:pt>
                <c:pt idx="7897">
                  <c:v>-0.11764705882352899</c:v>
                </c:pt>
                <c:pt idx="7898">
                  <c:v>-0.11764705882352899</c:v>
                </c:pt>
                <c:pt idx="7899">
                  <c:v>-0.11764705882352899</c:v>
                </c:pt>
                <c:pt idx="7900">
                  <c:v>-0.11764705882352899</c:v>
                </c:pt>
                <c:pt idx="7901">
                  <c:v>-0.11764705882352899</c:v>
                </c:pt>
                <c:pt idx="7902">
                  <c:v>-0.11764705882352899</c:v>
                </c:pt>
                <c:pt idx="7903">
                  <c:v>-0.11764705882352899</c:v>
                </c:pt>
                <c:pt idx="7904">
                  <c:v>-0.11764705882352899</c:v>
                </c:pt>
                <c:pt idx="7905">
                  <c:v>-0.11764705882352899</c:v>
                </c:pt>
                <c:pt idx="7906">
                  <c:v>-0.11764705882352899</c:v>
                </c:pt>
                <c:pt idx="7907">
                  <c:v>-0.11848739495798299</c:v>
                </c:pt>
                <c:pt idx="7908">
                  <c:v>-0.11848739495798299</c:v>
                </c:pt>
                <c:pt idx="7909">
                  <c:v>-0.11848739495798299</c:v>
                </c:pt>
                <c:pt idx="7910">
                  <c:v>-0.11848739495798299</c:v>
                </c:pt>
                <c:pt idx="7911">
                  <c:v>-0.11848739495798299</c:v>
                </c:pt>
                <c:pt idx="7912">
                  <c:v>-0.11848739495798299</c:v>
                </c:pt>
                <c:pt idx="7913">
                  <c:v>-0.11848739495798299</c:v>
                </c:pt>
                <c:pt idx="7914">
                  <c:v>-0.11848739495798299</c:v>
                </c:pt>
                <c:pt idx="7915">
                  <c:v>-0.11848739495798299</c:v>
                </c:pt>
                <c:pt idx="7916">
                  <c:v>-0.11848739495798299</c:v>
                </c:pt>
                <c:pt idx="7917">
                  <c:v>-0.11848739495798299</c:v>
                </c:pt>
                <c:pt idx="7918">
                  <c:v>-0.11848739495798299</c:v>
                </c:pt>
                <c:pt idx="7919">
                  <c:v>-0.11848739495798299</c:v>
                </c:pt>
                <c:pt idx="7920">
                  <c:v>-0.11848739495798299</c:v>
                </c:pt>
                <c:pt idx="7921">
                  <c:v>-0.11848739495798299</c:v>
                </c:pt>
                <c:pt idx="7922">
                  <c:v>-0.11848739495798299</c:v>
                </c:pt>
                <c:pt idx="7923">
                  <c:v>-0.11848739495798299</c:v>
                </c:pt>
                <c:pt idx="7924">
                  <c:v>-0.11764705882352899</c:v>
                </c:pt>
                <c:pt idx="7925">
                  <c:v>-0.11764705882352899</c:v>
                </c:pt>
                <c:pt idx="7926">
                  <c:v>-0.11764705882352899</c:v>
                </c:pt>
                <c:pt idx="7927">
                  <c:v>-0.11764705882352899</c:v>
                </c:pt>
                <c:pt idx="7928">
                  <c:v>-0.11764705882352899</c:v>
                </c:pt>
                <c:pt idx="7929">
                  <c:v>-0.11764705882352899</c:v>
                </c:pt>
                <c:pt idx="7930">
                  <c:v>-0.11764705882352899</c:v>
                </c:pt>
                <c:pt idx="7931">
                  <c:v>-0.11764705882352899</c:v>
                </c:pt>
                <c:pt idx="7932">
                  <c:v>-0.11764705882352899</c:v>
                </c:pt>
                <c:pt idx="7933">
                  <c:v>-0.11764705882352899</c:v>
                </c:pt>
                <c:pt idx="7934">
                  <c:v>-0.11764705882352899</c:v>
                </c:pt>
                <c:pt idx="7935">
                  <c:v>-0.11680672268907499</c:v>
                </c:pt>
                <c:pt idx="7936">
                  <c:v>-0.11680672268907499</c:v>
                </c:pt>
                <c:pt idx="7937">
                  <c:v>-0.11680672268907499</c:v>
                </c:pt>
                <c:pt idx="7938">
                  <c:v>-0.11680672268907499</c:v>
                </c:pt>
                <c:pt idx="7939">
                  <c:v>-0.11680672268907499</c:v>
                </c:pt>
                <c:pt idx="7940">
                  <c:v>-0.11680672268907499</c:v>
                </c:pt>
                <c:pt idx="7941">
                  <c:v>-0.11680672268907499</c:v>
                </c:pt>
                <c:pt idx="7942">
                  <c:v>-0.11680672268907499</c:v>
                </c:pt>
                <c:pt idx="7943">
                  <c:v>-0.11680672268907499</c:v>
                </c:pt>
                <c:pt idx="7944">
                  <c:v>-0.11680672268907499</c:v>
                </c:pt>
                <c:pt idx="7945">
                  <c:v>-0.11680672268907499</c:v>
                </c:pt>
                <c:pt idx="7946">
                  <c:v>-0.11680672268907499</c:v>
                </c:pt>
                <c:pt idx="7947">
                  <c:v>-0.11680672268907499</c:v>
                </c:pt>
                <c:pt idx="7948">
                  <c:v>-0.11680672268907499</c:v>
                </c:pt>
                <c:pt idx="7949">
                  <c:v>-0.11680672268907499</c:v>
                </c:pt>
                <c:pt idx="7950">
                  <c:v>-0.11680672268907499</c:v>
                </c:pt>
                <c:pt idx="7951">
                  <c:v>-0.11680672268907499</c:v>
                </c:pt>
                <c:pt idx="7952">
                  <c:v>-0.11680672268907499</c:v>
                </c:pt>
                <c:pt idx="7953">
                  <c:v>-0.11680672268907499</c:v>
                </c:pt>
                <c:pt idx="7954">
                  <c:v>-0.11680672268907499</c:v>
                </c:pt>
                <c:pt idx="7955">
                  <c:v>-0.11680672268907499</c:v>
                </c:pt>
                <c:pt idx="7956">
                  <c:v>-0.11680672268907499</c:v>
                </c:pt>
                <c:pt idx="7957">
                  <c:v>-0.11680672268907499</c:v>
                </c:pt>
                <c:pt idx="7958">
                  <c:v>-0.11680672268907499</c:v>
                </c:pt>
                <c:pt idx="7959">
                  <c:v>-0.11680672268907499</c:v>
                </c:pt>
                <c:pt idx="7960">
                  <c:v>-0.11680672268907499</c:v>
                </c:pt>
                <c:pt idx="7961">
                  <c:v>-0.11764705882352899</c:v>
                </c:pt>
                <c:pt idx="7962">
                  <c:v>-0.11764705882352899</c:v>
                </c:pt>
                <c:pt idx="7963">
                  <c:v>-0.11764705882352899</c:v>
                </c:pt>
                <c:pt idx="7964">
                  <c:v>-0.11764705882352899</c:v>
                </c:pt>
                <c:pt idx="7965">
                  <c:v>-0.11764705882352899</c:v>
                </c:pt>
                <c:pt idx="7966">
                  <c:v>-0.11764705882352899</c:v>
                </c:pt>
                <c:pt idx="7967">
                  <c:v>-0.11764705882352899</c:v>
                </c:pt>
                <c:pt idx="7968">
                  <c:v>-0.11764705882352899</c:v>
                </c:pt>
                <c:pt idx="7969">
                  <c:v>-0.11764705882352899</c:v>
                </c:pt>
                <c:pt idx="7970">
                  <c:v>-0.11764705882352899</c:v>
                </c:pt>
                <c:pt idx="7971">
                  <c:v>-0.11764705882352899</c:v>
                </c:pt>
                <c:pt idx="7972">
                  <c:v>-0.11764705882352899</c:v>
                </c:pt>
                <c:pt idx="7973">
                  <c:v>-0.11764705882352899</c:v>
                </c:pt>
                <c:pt idx="7974">
                  <c:v>-0.11764705882352899</c:v>
                </c:pt>
                <c:pt idx="7975">
                  <c:v>-0.11764705882352899</c:v>
                </c:pt>
                <c:pt idx="7976">
                  <c:v>-0.11764705882352899</c:v>
                </c:pt>
                <c:pt idx="7977">
                  <c:v>-0.11764705882352899</c:v>
                </c:pt>
                <c:pt idx="7978">
                  <c:v>-0.11764705882352899</c:v>
                </c:pt>
                <c:pt idx="7979">
                  <c:v>-0.11764705882352899</c:v>
                </c:pt>
                <c:pt idx="7980">
                  <c:v>-0.11764705882352899</c:v>
                </c:pt>
                <c:pt idx="7981">
                  <c:v>-0.11764705882352899</c:v>
                </c:pt>
                <c:pt idx="7982">
                  <c:v>-0.11764705882352899</c:v>
                </c:pt>
                <c:pt idx="7983">
                  <c:v>-0.11764705882352899</c:v>
                </c:pt>
                <c:pt idx="7984">
                  <c:v>-0.11764705882352899</c:v>
                </c:pt>
                <c:pt idx="7985">
                  <c:v>-0.11764705882352899</c:v>
                </c:pt>
                <c:pt idx="7986">
                  <c:v>-0.11764705882352899</c:v>
                </c:pt>
                <c:pt idx="7987">
                  <c:v>-0.11764705882352899</c:v>
                </c:pt>
                <c:pt idx="7988">
                  <c:v>-0.11764705882352899</c:v>
                </c:pt>
                <c:pt idx="7989">
                  <c:v>-0.11764705882352899</c:v>
                </c:pt>
                <c:pt idx="7990">
                  <c:v>-0.11764705882352899</c:v>
                </c:pt>
                <c:pt idx="7991">
                  <c:v>-0.11764705882352899</c:v>
                </c:pt>
                <c:pt idx="7992">
                  <c:v>-0.11764705882352899</c:v>
                </c:pt>
                <c:pt idx="7993">
                  <c:v>-0.11764705882352899</c:v>
                </c:pt>
                <c:pt idx="7994">
                  <c:v>-0.11764705882352899</c:v>
                </c:pt>
                <c:pt idx="7995">
                  <c:v>-0.11764705882352899</c:v>
                </c:pt>
                <c:pt idx="7996">
                  <c:v>-0.11764705882352899</c:v>
                </c:pt>
                <c:pt idx="7997">
                  <c:v>-0.11764705882352899</c:v>
                </c:pt>
                <c:pt idx="7998">
                  <c:v>-0.11764705882352899</c:v>
                </c:pt>
                <c:pt idx="7999">
                  <c:v>-0.11764705882352899</c:v>
                </c:pt>
                <c:pt idx="8000">
                  <c:v>-0.11764705882352899</c:v>
                </c:pt>
                <c:pt idx="8001">
                  <c:v>-0.11848739495798299</c:v>
                </c:pt>
                <c:pt idx="8002">
                  <c:v>-0.11848739495798299</c:v>
                </c:pt>
                <c:pt idx="8003">
                  <c:v>-0.11848739495798299</c:v>
                </c:pt>
                <c:pt idx="8004">
                  <c:v>-0.11848739495798299</c:v>
                </c:pt>
                <c:pt idx="8005">
                  <c:v>-0.11848739495798299</c:v>
                </c:pt>
                <c:pt idx="8006">
                  <c:v>-0.11848739495798299</c:v>
                </c:pt>
                <c:pt idx="8007">
                  <c:v>-0.11848739495798299</c:v>
                </c:pt>
                <c:pt idx="8008">
                  <c:v>-0.11848739495798299</c:v>
                </c:pt>
                <c:pt idx="8009">
                  <c:v>-0.11764705882352899</c:v>
                </c:pt>
                <c:pt idx="8010">
                  <c:v>-0.11764705882352899</c:v>
                </c:pt>
                <c:pt idx="8011">
                  <c:v>-0.11764705882352899</c:v>
                </c:pt>
                <c:pt idx="8012">
                  <c:v>-0.11764705882352899</c:v>
                </c:pt>
                <c:pt idx="8013">
                  <c:v>-0.11764705882352899</c:v>
                </c:pt>
                <c:pt idx="8014">
                  <c:v>-0.11764705882352899</c:v>
                </c:pt>
                <c:pt idx="8015">
                  <c:v>-0.11764705882352899</c:v>
                </c:pt>
                <c:pt idx="8016">
                  <c:v>-0.11764705882352899</c:v>
                </c:pt>
                <c:pt idx="8017">
                  <c:v>-0.11764705882352899</c:v>
                </c:pt>
                <c:pt idx="8018">
                  <c:v>-0.11764705882352899</c:v>
                </c:pt>
                <c:pt idx="8019">
                  <c:v>-0.11764705882352899</c:v>
                </c:pt>
                <c:pt idx="8020">
                  <c:v>-0.11764705882352899</c:v>
                </c:pt>
                <c:pt idx="8021">
                  <c:v>-0.11764705882352899</c:v>
                </c:pt>
                <c:pt idx="8022">
                  <c:v>-0.11764705882352899</c:v>
                </c:pt>
                <c:pt idx="8023">
                  <c:v>-0.11764705882352899</c:v>
                </c:pt>
                <c:pt idx="8024">
                  <c:v>-0.11764705882352899</c:v>
                </c:pt>
                <c:pt idx="8025">
                  <c:v>-0.11764705882352899</c:v>
                </c:pt>
                <c:pt idx="8026">
                  <c:v>-0.11764705882352899</c:v>
                </c:pt>
                <c:pt idx="8027">
                  <c:v>-0.11848739495798299</c:v>
                </c:pt>
                <c:pt idx="8028">
                  <c:v>-0.11848739495798299</c:v>
                </c:pt>
                <c:pt idx="8029">
                  <c:v>-0.11848739495798299</c:v>
                </c:pt>
                <c:pt idx="8030">
                  <c:v>-0.11848739495798299</c:v>
                </c:pt>
                <c:pt idx="8031">
                  <c:v>-0.11848739495798299</c:v>
                </c:pt>
                <c:pt idx="8032">
                  <c:v>-0.11848739495798299</c:v>
                </c:pt>
                <c:pt idx="8033">
                  <c:v>-0.11848739495798299</c:v>
                </c:pt>
                <c:pt idx="8034">
                  <c:v>-0.11848739495798299</c:v>
                </c:pt>
                <c:pt idx="8035">
                  <c:v>-0.11848739495798299</c:v>
                </c:pt>
                <c:pt idx="8036">
                  <c:v>-0.11848739495798299</c:v>
                </c:pt>
                <c:pt idx="8037">
                  <c:v>-0.11848739495798299</c:v>
                </c:pt>
                <c:pt idx="8038">
                  <c:v>-0.11848739495798299</c:v>
                </c:pt>
                <c:pt idx="8039">
                  <c:v>-0.11848739495798299</c:v>
                </c:pt>
                <c:pt idx="8040">
                  <c:v>-0.11848739495798299</c:v>
                </c:pt>
                <c:pt idx="8041">
                  <c:v>-0.11848739495798299</c:v>
                </c:pt>
                <c:pt idx="8042">
                  <c:v>-0.11848739495798299</c:v>
                </c:pt>
                <c:pt idx="8043">
                  <c:v>-0.11848739495798299</c:v>
                </c:pt>
                <c:pt idx="8044">
                  <c:v>-0.11848739495798299</c:v>
                </c:pt>
                <c:pt idx="8045">
                  <c:v>-0.11848739495798299</c:v>
                </c:pt>
                <c:pt idx="8046">
                  <c:v>-0.11932773109243699</c:v>
                </c:pt>
                <c:pt idx="8047">
                  <c:v>-0.11932773109243699</c:v>
                </c:pt>
                <c:pt idx="8048">
                  <c:v>-0.11932773109243699</c:v>
                </c:pt>
                <c:pt idx="8049">
                  <c:v>-0.11932773109243699</c:v>
                </c:pt>
                <c:pt idx="8050">
                  <c:v>-0.11932773109243699</c:v>
                </c:pt>
                <c:pt idx="8051">
                  <c:v>-0.11932773109243699</c:v>
                </c:pt>
                <c:pt idx="8052">
                  <c:v>-0.11848739495798299</c:v>
                </c:pt>
                <c:pt idx="8053">
                  <c:v>-0.11848739495798299</c:v>
                </c:pt>
                <c:pt idx="8054">
                  <c:v>-0.11764705882352899</c:v>
                </c:pt>
                <c:pt idx="8055">
                  <c:v>-0.11764705882352899</c:v>
                </c:pt>
                <c:pt idx="8056">
                  <c:v>-0.11764705882352899</c:v>
                </c:pt>
                <c:pt idx="8057">
                  <c:v>-0.11764705882352899</c:v>
                </c:pt>
                <c:pt idx="8058">
                  <c:v>-0.11764705882352899</c:v>
                </c:pt>
                <c:pt idx="8059">
                  <c:v>-0.11764705882352899</c:v>
                </c:pt>
                <c:pt idx="8060">
                  <c:v>-0.11764705882352899</c:v>
                </c:pt>
                <c:pt idx="8061">
                  <c:v>-0.11764705882352899</c:v>
                </c:pt>
                <c:pt idx="8062">
                  <c:v>-0.11764705882352899</c:v>
                </c:pt>
                <c:pt idx="8063">
                  <c:v>-0.11764705882352899</c:v>
                </c:pt>
                <c:pt idx="8064">
                  <c:v>-0.11764705882352899</c:v>
                </c:pt>
                <c:pt idx="8065">
                  <c:v>-0.11764705882352899</c:v>
                </c:pt>
                <c:pt idx="8066">
                  <c:v>-0.11764705882352899</c:v>
                </c:pt>
                <c:pt idx="8067">
                  <c:v>-0.11764705882352899</c:v>
                </c:pt>
                <c:pt idx="8068">
                  <c:v>-0.11764705882352899</c:v>
                </c:pt>
                <c:pt idx="8069">
                  <c:v>-0.11764705882352899</c:v>
                </c:pt>
                <c:pt idx="8070">
                  <c:v>-0.11848739495798299</c:v>
                </c:pt>
                <c:pt idx="8071">
                  <c:v>-0.11848739495798299</c:v>
                </c:pt>
                <c:pt idx="8072">
                  <c:v>-0.11848739495798299</c:v>
                </c:pt>
                <c:pt idx="8073">
                  <c:v>-0.11848739495798299</c:v>
                </c:pt>
                <c:pt idx="8074">
                  <c:v>-0.11848739495798299</c:v>
                </c:pt>
                <c:pt idx="8075">
                  <c:v>-0.11848739495798299</c:v>
                </c:pt>
                <c:pt idx="8076">
                  <c:v>-0.11848739495798299</c:v>
                </c:pt>
                <c:pt idx="8077">
                  <c:v>-0.11848739495798299</c:v>
                </c:pt>
                <c:pt idx="8078">
                  <c:v>-0.11848739495798299</c:v>
                </c:pt>
                <c:pt idx="8079">
                  <c:v>-0.11848739495798299</c:v>
                </c:pt>
                <c:pt idx="8080">
                  <c:v>-0.11848739495798299</c:v>
                </c:pt>
                <c:pt idx="8081">
                  <c:v>-0.11848739495798299</c:v>
                </c:pt>
                <c:pt idx="8082">
                  <c:v>-0.11848739495798299</c:v>
                </c:pt>
                <c:pt idx="8083">
                  <c:v>-0.11848739495798299</c:v>
                </c:pt>
                <c:pt idx="8084">
                  <c:v>-0.11848739495798299</c:v>
                </c:pt>
                <c:pt idx="8085">
                  <c:v>-0.11848739495798299</c:v>
                </c:pt>
                <c:pt idx="8086">
                  <c:v>-0.11848739495798299</c:v>
                </c:pt>
                <c:pt idx="8087">
                  <c:v>-0.11848739495798299</c:v>
                </c:pt>
                <c:pt idx="8088">
                  <c:v>-0.11848739495798299</c:v>
                </c:pt>
                <c:pt idx="8089">
                  <c:v>-0.11848739495798299</c:v>
                </c:pt>
                <c:pt idx="8090">
                  <c:v>-0.11848739495798299</c:v>
                </c:pt>
                <c:pt idx="8091">
                  <c:v>-0.11848739495798299</c:v>
                </c:pt>
                <c:pt idx="8092">
                  <c:v>-0.11848739495798299</c:v>
                </c:pt>
                <c:pt idx="8093">
                  <c:v>-0.11848739495798299</c:v>
                </c:pt>
                <c:pt idx="8094">
                  <c:v>-0.11848739495798299</c:v>
                </c:pt>
                <c:pt idx="8095">
                  <c:v>-0.11848739495798299</c:v>
                </c:pt>
                <c:pt idx="8096">
                  <c:v>-0.11848739495798299</c:v>
                </c:pt>
                <c:pt idx="8097">
                  <c:v>-0.11848739495798299</c:v>
                </c:pt>
                <c:pt idx="8098">
                  <c:v>-0.11848739495798299</c:v>
                </c:pt>
                <c:pt idx="8099">
                  <c:v>-0.11848739495798299</c:v>
                </c:pt>
                <c:pt idx="8100">
                  <c:v>-0.11848739495798299</c:v>
                </c:pt>
                <c:pt idx="8101">
                  <c:v>-0.11848739495798299</c:v>
                </c:pt>
                <c:pt idx="8102">
                  <c:v>-0.11848739495798299</c:v>
                </c:pt>
                <c:pt idx="8103">
                  <c:v>-0.11848739495798299</c:v>
                </c:pt>
                <c:pt idx="8104">
                  <c:v>-0.11848739495798299</c:v>
                </c:pt>
                <c:pt idx="8105">
                  <c:v>-0.11848739495798299</c:v>
                </c:pt>
                <c:pt idx="8106">
                  <c:v>-0.11848739495798299</c:v>
                </c:pt>
                <c:pt idx="8107">
                  <c:v>-0.11848739495798299</c:v>
                </c:pt>
                <c:pt idx="8108">
                  <c:v>-0.11848739495798299</c:v>
                </c:pt>
                <c:pt idx="8109">
                  <c:v>-0.11848739495798299</c:v>
                </c:pt>
                <c:pt idx="8110">
                  <c:v>-0.11848739495798299</c:v>
                </c:pt>
                <c:pt idx="8111">
                  <c:v>-0.11848739495798299</c:v>
                </c:pt>
                <c:pt idx="8112">
                  <c:v>-0.11848739495798299</c:v>
                </c:pt>
                <c:pt idx="8113">
                  <c:v>-0.11848739495798299</c:v>
                </c:pt>
                <c:pt idx="8114">
                  <c:v>-0.11848739495798299</c:v>
                </c:pt>
                <c:pt idx="8115">
                  <c:v>-0.11848739495798299</c:v>
                </c:pt>
                <c:pt idx="8116">
                  <c:v>-0.11848739495798299</c:v>
                </c:pt>
                <c:pt idx="8117">
                  <c:v>-0.11848739495798299</c:v>
                </c:pt>
                <c:pt idx="8118">
                  <c:v>-0.11848739495798299</c:v>
                </c:pt>
                <c:pt idx="8119">
                  <c:v>-0.11848739495798299</c:v>
                </c:pt>
                <c:pt idx="8120">
                  <c:v>-0.11848739495798299</c:v>
                </c:pt>
                <c:pt idx="8121">
                  <c:v>-0.11848739495798299</c:v>
                </c:pt>
                <c:pt idx="8122">
                  <c:v>-0.11848739495798299</c:v>
                </c:pt>
                <c:pt idx="8123">
                  <c:v>-0.11848739495798299</c:v>
                </c:pt>
                <c:pt idx="8124">
                  <c:v>-0.11848739495798299</c:v>
                </c:pt>
                <c:pt idx="8125">
                  <c:v>-0.11848739495798299</c:v>
                </c:pt>
                <c:pt idx="8126">
                  <c:v>-0.11848739495798299</c:v>
                </c:pt>
                <c:pt idx="8127">
                  <c:v>-0.11848739495798299</c:v>
                </c:pt>
                <c:pt idx="8128">
                  <c:v>-0.11848739495798299</c:v>
                </c:pt>
                <c:pt idx="8129">
                  <c:v>-0.11848739495798299</c:v>
                </c:pt>
                <c:pt idx="8130">
                  <c:v>-0.11848739495798299</c:v>
                </c:pt>
                <c:pt idx="8131">
                  <c:v>-0.11848739495798299</c:v>
                </c:pt>
                <c:pt idx="8132">
                  <c:v>-0.11848739495798299</c:v>
                </c:pt>
                <c:pt idx="8133">
                  <c:v>-0.119327731092436</c:v>
                </c:pt>
                <c:pt idx="8134">
                  <c:v>-0.119327731092436</c:v>
                </c:pt>
                <c:pt idx="8135">
                  <c:v>-0.119327731092436</c:v>
                </c:pt>
                <c:pt idx="8136">
                  <c:v>-0.119327731092436</c:v>
                </c:pt>
                <c:pt idx="8137">
                  <c:v>-0.119327731092436</c:v>
                </c:pt>
                <c:pt idx="8138">
                  <c:v>-0.119327731092436</c:v>
                </c:pt>
                <c:pt idx="8139">
                  <c:v>-0.119327731092436</c:v>
                </c:pt>
                <c:pt idx="8140">
                  <c:v>-0.119327731092436</c:v>
                </c:pt>
                <c:pt idx="8141">
                  <c:v>-0.119327731092436</c:v>
                </c:pt>
                <c:pt idx="8142">
                  <c:v>-0.119327731092436</c:v>
                </c:pt>
                <c:pt idx="8143">
                  <c:v>-0.119327731092436</c:v>
                </c:pt>
                <c:pt idx="8144">
                  <c:v>-0.119327731092436</c:v>
                </c:pt>
                <c:pt idx="8145">
                  <c:v>-0.119327731092436</c:v>
                </c:pt>
                <c:pt idx="8146">
                  <c:v>-0.119327731092436</c:v>
                </c:pt>
                <c:pt idx="8147">
                  <c:v>-0.119327731092436</c:v>
                </c:pt>
                <c:pt idx="8148">
                  <c:v>-0.119327731092436</c:v>
                </c:pt>
                <c:pt idx="8149">
                  <c:v>-0.119327731092436</c:v>
                </c:pt>
                <c:pt idx="8150">
                  <c:v>-0.119327731092436</c:v>
                </c:pt>
                <c:pt idx="8151">
                  <c:v>-0.119327731092436</c:v>
                </c:pt>
                <c:pt idx="8152">
                  <c:v>-0.119327731092436</c:v>
                </c:pt>
                <c:pt idx="8153">
                  <c:v>-0.119327731092436</c:v>
                </c:pt>
                <c:pt idx="8154">
                  <c:v>-0.119327731092436</c:v>
                </c:pt>
                <c:pt idx="8155">
                  <c:v>-0.119327731092436</c:v>
                </c:pt>
                <c:pt idx="8156">
                  <c:v>-0.119327731092436</c:v>
                </c:pt>
                <c:pt idx="8157">
                  <c:v>-0.119327731092436</c:v>
                </c:pt>
                <c:pt idx="8158">
                  <c:v>-0.119327731092436</c:v>
                </c:pt>
                <c:pt idx="8159">
                  <c:v>-0.119327731092436</c:v>
                </c:pt>
                <c:pt idx="8160">
                  <c:v>-0.119327731092436</c:v>
                </c:pt>
                <c:pt idx="8161">
                  <c:v>-0.119327731092436</c:v>
                </c:pt>
                <c:pt idx="8162">
                  <c:v>-0.119327731092436</c:v>
                </c:pt>
                <c:pt idx="8163">
                  <c:v>-0.11848739495798299</c:v>
                </c:pt>
                <c:pt idx="8164">
                  <c:v>-0.11848739495798299</c:v>
                </c:pt>
                <c:pt idx="8165">
                  <c:v>-0.11848739495798299</c:v>
                </c:pt>
                <c:pt idx="8166">
                  <c:v>-0.11848739495798299</c:v>
                </c:pt>
                <c:pt idx="8167">
                  <c:v>-0.11848739495798299</c:v>
                </c:pt>
                <c:pt idx="8168">
                  <c:v>-0.11848739495798299</c:v>
                </c:pt>
                <c:pt idx="8169">
                  <c:v>-0.11848739495798299</c:v>
                </c:pt>
                <c:pt idx="8170">
                  <c:v>-0.11848739495798299</c:v>
                </c:pt>
                <c:pt idx="8171">
                  <c:v>-0.11848739495798299</c:v>
                </c:pt>
                <c:pt idx="8172">
                  <c:v>-0.11848739495798299</c:v>
                </c:pt>
                <c:pt idx="8173">
                  <c:v>-0.11848739495798299</c:v>
                </c:pt>
                <c:pt idx="8174">
                  <c:v>-0.11848739495798299</c:v>
                </c:pt>
                <c:pt idx="8175">
                  <c:v>-0.11848739495798299</c:v>
                </c:pt>
                <c:pt idx="8176">
                  <c:v>-0.11848739495798299</c:v>
                </c:pt>
                <c:pt idx="8177">
                  <c:v>-0.11848739495798299</c:v>
                </c:pt>
                <c:pt idx="8178">
                  <c:v>-0.11848739495798299</c:v>
                </c:pt>
                <c:pt idx="8179">
                  <c:v>-0.11848739495798299</c:v>
                </c:pt>
                <c:pt idx="8180">
                  <c:v>-0.11848739495798299</c:v>
                </c:pt>
                <c:pt idx="8181">
                  <c:v>-0.11848739495798299</c:v>
                </c:pt>
                <c:pt idx="8182">
                  <c:v>-0.11848739495798299</c:v>
                </c:pt>
                <c:pt idx="8183">
                  <c:v>-0.11848739495798299</c:v>
                </c:pt>
                <c:pt idx="8184">
                  <c:v>-0.11848739495798299</c:v>
                </c:pt>
                <c:pt idx="8185">
                  <c:v>-0.11848739495798299</c:v>
                </c:pt>
                <c:pt idx="8186">
                  <c:v>-0.11848739495798299</c:v>
                </c:pt>
                <c:pt idx="8187">
                  <c:v>-0.11848739495798299</c:v>
                </c:pt>
                <c:pt idx="8188">
                  <c:v>-0.11848739495798299</c:v>
                </c:pt>
                <c:pt idx="8189">
                  <c:v>-0.11848739495798299</c:v>
                </c:pt>
                <c:pt idx="8190">
                  <c:v>-0.11848739495798299</c:v>
                </c:pt>
                <c:pt idx="8191">
                  <c:v>-0.11764705882352899</c:v>
                </c:pt>
                <c:pt idx="8192">
                  <c:v>-0.11764705882352899</c:v>
                </c:pt>
                <c:pt idx="8193">
                  <c:v>-0.11764705882352899</c:v>
                </c:pt>
                <c:pt idx="8194">
                  <c:v>-0.11764705882352899</c:v>
                </c:pt>
                <c:pt idx="8195">
                  <c:v>-0.11764705882352899</c:v>
                </c:pt>
                <c:pt idx="8196">
                  <c:v>-0.11764705882352899</c:v>
                </c:pt>
                <c:pt idx="8197">
                  <c:v>-0.11764705882352899</c:v>
                </c:pt>
                <c:pt idx="8198">
                  <c:v>-0.11764705882352899</c:v>
                </c:pt>
                <c:pt idx="8199">
                  <c:v>-0.11680672268907499</c:v>
                </c:pt>
                <c:pt idx="8200">
                  <c:v>-0.11680672268907499</c:v>
                </c:pt>
                <c:pt idx="8201">
                  <c:v>-0.11680672268907499</c:v>
                </c:pt>
                <c:pt idx="8202">
                  <c:v>-0.11764705882352899</c:v>
                </c:pt>
                <c:pt idx="8203">
                  <c:v>-0.11764705882352899</c:v>
                </c:pt>
                <c:pt idx="8204">
                  <c:v>-0.11764705882352899</c:v>
                </c:pt>
                <c:pt idx="8205">
                  <c:v>-0.11764705882352899</c:v>
                </c:pt>
                <c:pt idx="8206">
                  <c:v>-0.11764705882352899</c:v>
                </c:pt>
                <c:pt idx="8207">
                  <c:v>-0.11764705882352899</c:v>
                </c:pt>
                <c:pt idx="8208">
                  <c:v>-0.11764705882352899</c:v>
                </c:pt>
                <c:pt idx="8209">
                  <c:v>-0.11764705882352899</c:v>
                </c:pt>
                <c:pt idx="8210">
                  <c:v>-0.11680672268907499</c:v>
                </c:pt>
                <c:pt idx="8211">
                  <c:v>-0.11680672268907499</c:v>
                </c:pt>
                <c:pt idx="8212">
                  <c:v>-0.11680672268907499</c:v>
                </c:pt>
                <c:pt idx="8213">
                  <c:v>-0.11680672268907499</c:v>
                </c:pt>
                <c:pt idx="8214">
                  <c:v>-0.11680672268907499</c:v>
                </c:pt>
                <c:pt idx="8215">
                  <c:v>-0.11680672268907499</c:v>
                </c:pt>
                <c:pt idx="8216">
                  <c:v>-0.11680672268907499</c:v>
                </c:pt>
                <c:pt idx="8217">
                  <c:v>-0.11680672268907499</c:v>
                </c:pt>
                <c:pt idx="8218">
                  <c:v>-0.11680672268907499</c:v>
                </c:pt>
                <c:pt idx="8219">
                  <c:v>-0.11680672268907499</c:v>
                </c:pt>
                <c:pt idx="8220">
                  <c:v>-0.11680672268907499</c:v>
                </c:pt>
                <c:pt idx="8221">
                  <c:v>-0.11680672268907499</c:v>
                </c:pt>
                <c:pt idx="8222">
                  <c:v>-0.11680672268907499</c:v>
                </c:pt>
                <c:pt idx="8223">
                  <c:v>-0.11680672268907499</c:v>
                </c:pt>
                <c:pt idx="8224">
                  <c:v>-0.11680672268907499</c:v>
                </c:pt>
                <c:pt idx="8225">
                  <c:v>-0.11680672268907499</c:v>
                </c:pt>
                <c:pt idx="8226">
                  <c:v>-0.11680672268907499</c:v>
                </c:pt>
                <c:pt idx="8227">
                  <c:v>-0.11680672268907499</c:v>
                </c:pt>
                <c:pt idx="8228">
                  <c:v>-0.11680672268907499</c:v>
                </c:pt>
                <c:pt idx="8229">
                  <c:v>-0.11680672268907499</c:v>
                </c:pt>
                <c:pt idx="8230">
                  <c:v>-0.11680672268907499</c:v>
                </c:pt>
                <c:pt idx="8231">
                  <c:v>-0.11680672268907499</c:v>
                </c:pt>
                <c:pt idx="8232">
                  <c:v>-0.11764705882352899</c:v>
                </c:pt>
                <c:pt idx="8233">
                  <c:v>-0.11764705882352899</c:v>
                </c:pt>
                <c:pt idx="8234">
                  <c:v>-0.11764705882352899</c:v>
                </c:pt>
                <c:pt idx="8235">
                  <c:v>-0.11764705882352899</c:v>
                </c:pt>
                <c:pt idx="8236">
                  <c:v>-0.11764705882352899</c:v>
                </c:pt>
                <c:pt idx="8237">
                  <c:v>-0.11764705882352899</c:v>
                </c:pt>
                <c:pt idx="8238">
                  <c:v>-0.11764705882352899</c:v>
                </c:pt>
                <c:pt idx="8239">
                  <c:v>-0.11764705882352899</c:v>
                </c:pt>
                <c:pt idx="8240">
                  <c:v>-0.11764705882352899</c:v>
                </c:pt>
                <c:pt idx="8241">
                  <c:v>-0.11764705882352899</c:v>
                </c:pt>
                <c:pt idx="8242">
                  <c:v>-0.11764705882352899</c:v>
                </c:pt>
                <c:pt idx="8243">
                  <c:v>-0.11764705882352899</c:v>
                </c:pt>
                <c:pt idx="8244">
                  <c:v>-0.11764705882352899</c:v>
                </c:pt>
                <c:pt idx="8245">
                  <c:v>-0.11764705882352899</c:v>
                </c:pt>
                <c:pt idx="8246">
                  <c:v>-0.11764705882352899</c:v>
                </c:pt>
                <c:pt idx="8247">
                  <c:v>-0.11764705882352899</c:v>
                </c:pt>
                <c:pt idx="8248">
                  <c:v>-0.11764705882352899</c:v>
                </c:pt>
                <c:pt idx="8249">
                  <c:v>-0.11764705882352899</c:v>
                </c:pt>
                <c:pt idx="8250">
                  <c:v>-0.11764705882352899</c:v>
                </c:pt>
                <c:pt idx="8251">
                  <c:v>-0.11764705882352899</c:v>
                </c:pt>
                <c:pt idx="8252">
                  <c:v>-0.11764705882352899</c:v>
                </c:pt>
                <c:pt idx="8253">
                  <c:v>-0.11764705882352899</c:v>
                </c:pt>
                <c:pt idx="8254">
                  <c:v>-0.11764705882352899</c:v>
                </c:pt>
                <c:pt idx="8255">
                  <c:v>-0.11764705882352899</c:v>
                </c:pt>
                <c:pt idx="8256">
                  <c:v>-0.11764705882352899</c:v>
                </c:pt>
                <c:pt idx="8257">
                  <c:v>-0.11764705882352899</c:v>
                </c:pt>
                <c:pt idx="8258">
                  <c:v>-0.11680672268907499</c:v>
                </c:pt>
                <c:pt idx="8259">
                  <c:v>-0.11680672268907499</c:v>
                </c:pt>
                <c:pt idx="8260">
                  <c:v>-0.11680672268907499</c:v>
                </c:pt>
                <c:pt idx="8261">
                  <c:v>-0.11680672268907499</c:v>
                </c:pt>
                <c:pt idx="8262">
                  <c:v>-0.11680672268907499</c:v>
                </c:pt>
                <c:pt idx="8263">
                  <c:v>-0.11680672268907499</c:v>
                </c:pt>
                <c:pt idx="8264">
                  <c:v>-0.11680672268907499</c:v>
                </c:pt>
                <c:pt idx="8265">
                  <c:v>-0.11680672268907499</c:v>
                </c:pt>
                <c:pt idx="8266">
                  <c:v>-0.11680672268907499</c:v>
                </c:pt>
                <c:pt idx="8267">
                  <c:v>-0.11680672268907499</c:v>
                </c:pt>
                <c:pt idx="8268">
                  <c:v>-0.11680672268907499</c:v>
                </c:pt>
                <c:pt idx="8269">
                  <c:v>-0.11680672268907499</c:v>
                </c:pt>
                <c:pt idx="8270">
                  <c:v>-0.11680672268907499</c:v>
                </c:pt>
                <c:pt idx="8271">
                  <c:v>-0.11680672268907499</c:v>
                </c:pt>
                <c:pt idx="8272">
                  <c:v>-0.11680672268907499</c:v>
                </c:pt>
                <c:pt idx="8273">
                  <c:v>-0.11596638655462101</c:v>
                </c:pt>
                <c:pt idx="8274">
                  <c:v>-0.11596638655462101</c:v>
                </c:pt>
                <c:pt idx="8275">
                  <c:v>-0.11596638655462101</c:v>
                </c:pt>
                <c:pt idx="8276">
                  <c:v>-0.11596638655462101</c:v>
                </c:pt>
                <c:pt idx="8277">
                  <c:v>-0.11596638655462101</c:v>
                </c:pt>
                <c:pt idx="8278">
                  <c:v>-0.11596638655462101</c:v>
                </c:pt>
                <c:pt idx="8279">
                  <c:v>-0.11596638655462101</c:v>
                </c:pt>
                <c:pt idx="8280">
                  <c:v>-0.11596638655462101</c:v>
                </c:pt>
                <c:pt idx="8281">
                  <c:v>-0.11596638655462101</c:v>
                </c:pt>
                <c:pt idx="8282">
                  <c:v>-0.11596638655462101</c:v>
                </c:pt>
                <c:pt idx="8283">
                  <c:v>-0.11596638655462101</c:v>
                </c:pt>
                <c:pt idx="8284">
                  <c:v>-0.11596638655462101</c:v>
                </c:pt>
                <c:pt idx="8285">
                  <c:v>-0.11596638655462101</c:v>
                </c:pt>
                <c:pt idx="8286">
                  <c:v>-0.11596638655462101</c:v>
                </c:pt>
                <c:pt idx="8287">
                  <c:v>-0.11596638655462101</c:v>
                </c:pt>
                <c:pt idx="8288">
                  <c:v>-0.11596638655462101</c:v>
                </c:pt>
                <c:pt idx="8289">
                  <c:v>-0.11596638655462101</c:v>
                </c:pt>
                <c:pt idx="8290">
                  <c:v>-0.11596638655462101</c:v>
                </c:pt>
                <c:pt idx="8291">
                  <c:v>-0.11680672268907499</c:v>
                </c:pt>
                <c:pt idx="8292">
                  <c:v>-0.11680672268907499</c:v>
                </c:pt>
                <c:pt idx="8293">
                  <c:v>-0.11680672268907499</c:v>
                </c:pt>
                <c:pt idx="8294">
                  <c:v>-0.11680672268907499</c:v>
                </c:pt>
                <c:pt idx="8295">
                  <c:v>-0.11680672268907499</c:v>
                </c:pt>
                <c:pt idx="8296">
                  <c:v>-0.11680672268907499</c:v>
                </c:pt>
                <c:pt idx="8297">
                  <c:v>-0.11680672268907499</c:v>
                </c:pt>
                <c:pt idx="8298">
                  <c:v>-0.11680672268907499</c:v>
                </c:pt>
                <c:pt idx="8299">
                  <c:v>-0.11764705882352899</c:v>
                </c:pt>
                <c:pt idx="8300">
                  <c:v>-0.11764705882352899</c:v>
                </c:pt>
                <c:pt idx="8301">
                  <c:v>-0.11764705882352899</c:v>
                </c:pt>
                <c:pt idx="8302">
                  <c:v>-0.11764705882352899</c:v>
                </c:pt>
                <c:pt idx="8303">
                  <c:v>-0.11764705882352899</c:v>
                </c:pt>
                <c:pt idx="8304">
                  <c:v>-0.11764705882352899</c:v>
                </c:pt>
                <c:pt idx="8305">
                  <c:v>-0.11764705882352899</c:v>
                </c:pt>
                <c:pt idx="8306">
                  <c:v>-0.11764705882352899</c:v>
                </c:pt>
                <c:pt idx="8307">
                  <c:v>-0.11764705882352899</c:v>
                </c:pt>
                <c:pt idx="8308">
                  <c:v>-0.11764705882352899</c:v>
                </c:pt>
                <c:pt idx="8309">
                  <c:v>-0.11764705882352899</c:v>
                </c:pt>
                <c:pt idx="8310">
                  <c:v>-0.11764705882352899</c:v>
                </c:pt>
                <c:pt idx="8311">
                  <c:v>-0.11764705882352899</c:v>
                </c:pt>
                <c:pt idx="8312">
                  <c:v>-0.11764705882352899</c:v>
                </c:pt>
                <c:pt idx="8313">
                  <c:v>-0.11764705882352899</c:v>
                </c:pt>
                <c:pt idx="8314">
                  <c:v>-0.11764705882352899</c:v>
                </c:pt>
                <c:pt idx="8315">
                  <c:v>-0.11764705882352899</c:v>
                </c:pt>
                <c:pt idx="8316">
                  <c:v>-0.11764705882352899</c:v>
                </c:pt>
                <c:pt idx="8317">
                  <c:v>-0.11764705882352899</c:v>
                </c:pt>
                <c:pt idx="8318">
                  <c:v>-0.11764705882352899</c:v>
                </c:pt>
                <c:pt idx="8319">
                  <c:v>-0.11764705882352899</c:v>
                </c:pt>
                <c:pt idx="8320">
                  <c:v>-0.11764705882352899</c:v>
                </c:pt>
                <c:pt idx="8321">
                  <c:v>-0.11764705882352899</c:v>
                </c:pt>
                <c:pt idx="8322">
                  <c:v>-0.11848739495798299</c:v>
                </c:pt>
                <c:pt idx="8323">
                  <c:v>-0.11848739495798299</c:v>
                </c:pt>
                <c:pt idx="8324">
                  <c:v>-0.11848739495798299</c:v>
                </c:pt>
                <c:pt idx="8325">
                  <c:v>-0.11848739495798299</c:v>
                </c:pt>
                <c:pt idx="8326">
                  <c:v>-0.11764705882352899</c:v>
                </c:pt>
                <c:pt idx="8327">
                  <c:v>-0.11764705882352899</c:v>
                </c:pt>
                <c:pt idx="8328">
                  <c:v>-0.11764705882352899</c:v>
                </c:pt>
                <c:pt idx="8329">
                  <c:v>-0.11764705882352899</c:v>
                </c:pt>
                <c:pt idx="8330">
                  <c:v>-0.11764705882352899</c:v>
                </c:pt>
                <c:pt idx="8331">
                  <c:v>-0.11764705882352899</c:v>
                </c:pt>
                <c:pt idx="8332">
                  <c:v>-0.11764705882352899</c:v>
                </c:pt>
                <c:pt idx="8333">
                  <c:v>-0.11764705882352899</c:v>
                </c:pt>
                <c:pt idx="8334">
                  <c:v>-0.11764705882352899</c:v>
                </c:pt>
                <c:pt idx="8335">
                  <c:v>-0.11680672268907499</c:v>
                </c:pt>
                <c:pt idx="8336">
                  <c:v>-0.11764705882352899</c:v>
                </c:pt>
                <c:pt idx="8337">
                  <c:v>-0.11764705882352899</c:v>
                </c:pt>
                <c:pt idx="8338">
                  <c:v>-0.11764705882352899</c:v>
                </c:pt>
                <c:pt idx="8339">
                  <c:v>-0.11764705882352899</c:v>
                </c:pt>
                <c:pt idx="8340">
                  <c:v>-0.11764705882352899</c:v>
                </c:pt>
                <c:pt idx="8341">
                  <c:v>-0.11764705882352899</c:v>
                </c:pt>
                <c:pt idx="8342">
                  <c:v>-0.11764705882352899</c:v>
                </c:pt>
                <c:pt idx="8343">
                  <c:v>-0.11764705882352899</c:v>
                </c:pt>
                <c:pt idx="8344">
                  <c:v>-0.11680672268907499</c:v>
                </c:pt>
                <c:pt idx="8345">
                  <c:v>-0.11680672268907499</c:v>
                </c:pt>
                <c:pt idx="8346">
                  <c:v>-0.11680672268907499</c:v>
                </c:pt>
                <c:pt idx="8347">
                  <c:v>-0.11680672268907499</c:v>
                </c:pt>
                <c:pt idx="8348">
                  <c:v>-0.11680672268907499</c:v>
                </c:pt>
                <c:pt idx="8349">
                  <c:v>-0.11680672268907499</c:v>
                </c:pt>
                <c:pt idx="8350">
                  <c:v>-0.11680672268907499</c:v>
                </c:pt>
                <c:pt idx="8351">
                  <c:v>-0.11680672268907499</c:v>
                </c:pt>
                <c:pt idx="8352">
                  <c:v>-0.11680672268907499</c:v>
                </c:pt>
                <c:pt idx="8353">
                  <c:v>-0.11680672268907499</c:v>
                </c:pt>
                <c:pt idx="8354">
                  <c:v>-0.11680672268907499</c:v>
                </c:pt>
                <c:pt idx="8355">
                  <c:v>-0.11680672268907499</c:v>
                </c:pt>
                <c:pt idx="8356">
                  <c:v>-0.11680672268907499</c:v>
                </c:pt>
                <c:pt idx="8357">
                  <c:v>-0.11680672268907499</c:v>
                </c:pt>
                <c:pt idx="8358">
                  <c:v>-0.11680672268907499</c:v>
                </c:pt>
                <c:pt idx="8359">
                  <c:v>-0.11680672268907499</c:v>
                </c:pt>
                <c:pt idx="8360">
                  <c:v>-0.11680672268907499</c:v>
                </c:pt>
                <c:pt idx="8361">
                  <c:v>-0.11680672268907499</c:v>
                </c:pt>
                <c:pt idx="8362">
                  <c:v>-0.11680672268907499</c:v>
                </c:pt>
                <c:pt idx="8363">
                  <c:v>-0.11680672268907499</c:v>
                </c:pt>
                <c:pt idx="8364">
                  <c:v>-0.11680672268907499</c:v>
                </c:pt>
                <c:pt idx="8365">
                  <c:v>-0.11764705882352899</c:v>
                </c:pt>
                <c:pt idx="8366">
                  <c:v>-0.11764705882352899</c:v>
                </c:pt>
                <c:pt idx="8367">
                  <c:v>-0.11764705882352899</c:v>
                </c:pt>
                <c:pt idx="8368">
                  <c:v>-0.11764705882352899</c:v>
                </c:pt>
                <c:pt idx="8369">
                  <c:v>-0.11680672268907499</c:v>
                </c:pt>
                <c:pt idx="8370">
                  <c:v>-0.11680672268907499</c:v>
                </c:pt>
                <c:pt idx="8371">
                  <c:v>-0.11680672268907499</c:v>
                </c:pt>
                <c:pt idx="8372">
                  <c:v>-0.11680672268907499</c:v>
                </c:pt>
                <c:pt idx="8373">
                  <c:v>-0.11680672268907499</c:v>
                </c:pt>
                <c:pt idx="8374">
                  <c:v>-0.11680672268907499</c:v>
                </c:pt>
                <c:pt idx="8375">
                  <c:v>-0.11680672268907499</c:v>
                </c:pt>
                <c:pt idx="8376">
                  <c:v>-0.11680672268907499</c:v>
                </c:pt>
                <c:pt idx="8377">
                  <c:v>-0.11680672268907499</c:v>
                </c:pt>
                <c:pt idx="8378">
                  <c:v>-0.11680672268907499</c:v>
                </c:pt>
                <c:pt idx="8379">
                  <c:v>-0.11680672268907499</c:v>
                </c:pt>
                <c:pt idx="8380">
                  <c:v>-0.11680672268907499</c:v>
                </c:pt>
                <c:pt idx="8381">
                  <c:v>-0.11680672268907499</c:v>
                </c:pt>
                <c:pt idx="8382">
                  <c:v>-0.11680672268907499</c:v>
                </c:pt>
                <c:pt idx="8383">
                  <c:v>-0.11680672268907499</c:v>
                </c:pt>
                <c:pt idx="8384">
                  <c:v>-0.11680672268907499</c:v>
                </c:pt>
                <c:pt idx="8385">
                  <c:v>-0.11680672268907499</c:v>
                </c:pt>
                <c:pt idx="8386">
                  <c:v>-0.11680672268907499</c:v>
                </c:pt>
                <c:pt idx="8387">
                  <c:v>-0.11680672268907499</c:v>
                </c:pt>
                <c:pt idx="8388">
                  <c:v>-0.11680672268907499</c:v>
                </c:pt>
                <c:pt idx="8389">
                  <c:v>-0.11680672268907499</c:v>
                </c:pt>
                <c:pt idx="8390">
                  <c:v>-0.11680672268907499</c:v>
                </c:pt>
                <c:pt idx="8391">
                  <c:v>-0.11680672268907499</c:v>
                </c:pt>
                <c:pt idx="8392">
                  <c:v>-0.11680672268907499</c:v>
                </c:pt>
                <c:pt idx="8393">
                  <c:v>-0.11680672268907499</c:v>
                </c:pt>
                <c:pt idx="8394">
                  <c:v>-0.11680672268907499</c:v>
                </c:pt>
                <c:pt idx="8395">
                  <c:v>-0.11680672268907499</c:v>
                </c:pt>
                <c:pt idx="8396">
                  <c:v>-0.11680672268907499</c:v>
                </c:pt>
                <c:pt idx="8397">
                  <c:v>-0.11680672268907499</c:v>
                </c:pt>
                <c:pt idx="8398">
                  <c:v>-0.11680672268907499</c:v>
                </c:pt>
                <c:pt idx="8399">
                  <c:v>-0.11680672268907499</c:v>
                </c:pt>
                <c:pt idx="8400">
                  <c:v>-0.11680672268907499</c:v>
                </c:pt>
                <c:pt idx="8401">
                  <c:v>-0.11680672268907499</c:v>
                </c:pt>
                <c:pt idx="8402">
                  <c:v>-0.11680672268907499</c:v>
                </c:pt>
                <c:pt idx="8403">
                  <c:v>-0.11680672268907499</c:v>
                </c:pt>
                <c:pt idx="8404">
                  <c:v>-0.11680672268907499</c:v>
                </c:pt>
                <c:pt idx="8405">
                  <c:v>-0.11680672268907499</c:v>
                </c:pt>
                <c:pt idx="8406">
                  <c:v>-0.11680672268907499</c:v>
                </c:pt>
                <c:pt idx="8407">
                  <c:v>-0.11680672268907499</c:v>
                </c:pt>
                <c:pt idx="8408">
                  <c:v>-0.11680672268907499</c:v>
                </c:pt>
                <c:pt idx="8409">
                  <c:v>-0.11596638655462101</c:v>
                </c:pt>
                <c:pt idx="8410">
                  <c:v>-0.11596638655462101</c:v>
                </c:pt>
                <c:pt idx="8411">
                  <c:v>-0.11596638655462101</c:v>
                </c:pt>
                <c:pt idx="8412">
                  <c:v>-0.11596638655462101</c:v>
                </c:pt>
                <c:pt idx="8413">
                  <c:v>-0.11596638655462101</c:v>
                </c:pt>
                <c:pt idx="8414">
                  <c:v>-0.11596638655462101</c:v>
                </c:pt>
                <c:pt idx="8415">
                  <c:v>-0.11596638655462101</c:v>
                </c:pt>
                <c:pt idx="8416">
                  <c:v>-0.11596638655462101</c:v>
                </c:pt>
                <c:pt idx="8417">
                  <c:v>-0.11596638655462101</c:v>
                </c:pt>
                <c:pt idx="8418">
                  <c:v>-0.11596638655462101</c:v>
                </c:pt>
                <c:pt idx="8419">
                  <c:v>-0.11596638655462101</c:v>
                </c:pt>
                <c:pt idx="8420">
                  <c:v>-0.11680672268907499</c:v>
                </c:pt>
                <c:pt idx="8421">
                  <c:v>-0.11680672268907499</c:v>
                </c:pt>
                <c:pt idx="8422">
                  <c:v>-0.11764705882352899</c:v>
                </c:pt>
                <c:pt idx="8423">
                  <c:v>-0.11764705882352899</c:v>
                </c:pt>
                <c:pt idx="8424">
                  <c:v>-0.11764705882352899</c:v>
                </c:pt>
                <c:pt idx="8425">
                  <c:v>-0.11764705882352899</c:v>
                </c:pt>
                <c:pt idx="8426">
                  <c:v>-0.11680672268907499</c:v>
                </c:pt>
                <c:pt idx="8427">
                  <c:v>-0.11680672268907499</c:v>
                </c:pt>
                <c:pt idx="8428">
                  <c:v>-0.11680672268907499</c:v>
                </c:pt>
                <c:pt idx="8429">
                  <c:v>-0.11680672268907499</c:v>
                </c:pt>
                <c:pt idx="8430">
                  <c:v>-0.11680672268907499</c:v>
                </c:pt>
                <c:pt idx="8431">
                  <c:v>-0.11680672268907499</c:v>
                </c:pt>
                <c:pt idx="8432">
                  <c:v>-0.11680672268907499</c:v>
                </c:pt>
                <c:pt idx="8433">
                  <c:v>-0.11680672268907499</c:v>
                </c:pt>
                <c:pt idx="8434">
                  <c:v>-0.11680672268907499</c:v>
                </c:pt>
                <c:pt idx="8435">
                  <c:v>-0.11680672268907499</c:v>
                </c:pt>
                <c:pt idx="8436">
                  <c:v>-0.11680672268907499</c:v>
                </c:pt>
                <c:pt idx="8437">
                  <c:v>-0.11680672268907499</c:v>
                </c:pt>
                <c:pt idx="8438">
                  <c:v>-0.11680672268907499</c:v>
                </c:pt>
                <c:pt idx="8439">
                  <c:v>-0.11680672268907499</c:v>
                </c:pt>
                <c:pt idx="8440">
                  <c:v>-0.11680672268907499</c:v>
                </c:pt>
                <c:pt idx="8441">
                  <c:v>-0.11680672268907499</c:v>
                </c:pt>
                <c:pt idx="8442">
                  <c:v>-0.11680672268907499</c:v>
                </c:pt>
                <c:pt idx="8443">
                  <c:v>-0.11680672268907499</c:v>
                </c:pt>
                <c:pt idx="8444">
                  <c:v>-0.11680672268907499</c:v>
                </c:pt>
                <c:pt idx="8445">
                  <c:v>-0.11680672268907499</c:v>
                </c:pt>
                <c:pt idx="8446">
                  <c:v>-0.11680672268907499</c:v>
                </c:pt>
                <c:pt idx="8447">
                  <c:v>-0.11680672268907499</c:v>
                </c:pt>
                <c:pt idx="8448">
                  <c:v>-0.11680672268907499</c:v>
                </c:pt>
                <c:pt idx="8449">
                  <c:v>-0.11680672268907499</c:v>
                </c:pt>
                <c:pt idx="8450">
                  <c:v>-0.11680672268907499</c:v>
                </c:pt>
                <c:pt idx="8451">
                  <c:v>-0.11680672268907499</c:v>
                </c:pt>
                <c:pt idx="8452">
                  <c:v>-0.11680672268907499</c:v>
                </c:pt>
                <c:pt idx="8453">
                  <c:v>-0.11764705882352899</c:v>
                </c:pt>
                <c:pt idx="8454">
                  <c:v>-0.11764705882352899</c:v>
                </c:pt>
                <c:pt idx="8455">
                  <c:v>-0.11764705882352899</c:v>
                </c:pt>
                <c:pt idx="8456">
                  <c:v>-0.11764705882352899</c:v>
                </c:pt>
                <c:pt idx="8457">
                  <c:v>-0.11764705882352899</c:v>
                </c:pt>
                <c:pt idx="8458">
                  <c:v>-0.11764705882352899</c:v>
                </c:pt>
                <c:pt idx="8459">
                  <c:v>-0.11764705882352899</c:v>
                </c:pt>
                <c:pt idx="8460">
                  <c:v>-0.11764705882352899</c:v>
                </c:pt>
                <c:pt idx="8461">
                  <c:v>-0.11764705882352899</c:v>
                </c:pt>
                <c:pt idx="8462">
                  <c:v>-0.11764705882352899</c:v>
                </c:pt>
                <c:pt idx="8463">
                  <c:v>-0.11764705882352899</c:v>
                </c:pt>
                <c:pt idx="8464">
                  <c:v>-0.11764705882352899</c:v>
                </c:pt>
                <c:pt idx="8465">
                  <c:v>-0.11764705882352899</c:v>
                </c:pt>
                <c:pt idx="8466">
                  <c:v>-0.11764705882352899</c:v>
                </c:pt>
                <c:pt idx="8467">
                  <c:v>-0.11764705882352899</c:v>
                </c:pt>
                <c:pt idx="8468">
                  <c:v>-0.11764705882352899</c:v>
                </c:pt>
                <c:pt idx="8469">
                  <c:v>-0.11764705882352899</c:v>
                </c:pt>
                <c:pt idx="8470">
                  <c:v>-0.11764705882352899</c:v>
                </c:pt>
                <c:pt idx="8471">
                  <c:v>-0.11764705882352899</c:v>
                </c:pt>
                <c:pt idx="8472">
                  <c:v>-0.11764705882352899</c:v>
                </c:pt>
                <c:pt idx="8473">
                  <c:v>-0.11764705882352899</c:v>
                </c:pt>
                <c:pt idx="8474">
                  <c:v>-0.11764705882352899</c:v>
                </c:pt>
                <c:pt idx="8475">
                  <c:v>-0.11764705882352899</c:v>
                </c:pt>
                <c:pt idx="8476">
                  <c:v>-0.11764705882352899</c:v>
                </c:pt>
                <c:pt idx="8477">
                  <c:v>-0.11764705882352899</c:v>
                </c:pt>
                <c:pt idx="8478">
                  <c:v>-0.11764705882352899</c:v>
                </c:pt>
                <c:pt idx="8479">
                  <c:v>-0.11764705882352899</c:v>
                </c:pt>
                <c:pt idx="8480">
                  <c:v>-0.11764705882352899</c:v>
                </c:pt>
                <c:pt idx="8481">
                  <c:v>-0.11764705882352899</c:v>
                </c:pt>
                <c:pt idx="8482">
                  <c:v>-0.11848739495798299</c:v>
                </c:pt>
                <c:pt idx="8483">
                  <c:v>-0.11848739495798299</c:v>
                </c:pt>
                <c:pt idx="8484">
                  <c:v>-0.11848739495798299</c:v>
                </c:pt>
                <c:pt idx="8485">
                  <c:v>-0.11848739495798299</c:v>
                </c:pt>
                <c:pt idx="8486">
                  <c:v>-0.11848739495798299</c:v>
                </c:pt>
                <c:pt idx="8487">
                  <c:v>-0.11848739495798299</c:v>
                </c:pt>
                <c:pt idx="8488">
                  <c:v>-0.11848739495798299</c:v>
                </c:pt>
                <c:pt idx="8489">
                  <c:v>-0.11848739495798299</c:v>
                </c:pt>
                <c:pt idx="8490">
                  <c:v>-0.11848739495798299</c:v>
                </c:pt>
                <c:pt idx="8491">
                  <c:v>-0.11848739495798299</c:v>
                </c:pt>
                <c:pt idx="8492">
                  <c:v>-0.11848739495798299</c:v>
                </c:pt>
                <c:pt idx="8493">
                  <c:v>-0.11848739495798299</c:v>
                </c:pt>
                <c:pt idx="8494">
                  <c:v>-0.11848739495798299</c:v>
                </c:pt>
                <c:pt idx="8495">
                  <c:v>-0.11848739495798299</c:v>
                </c:pt>
                <c:pt idx="8496">
                  <c:v>-0.11848739495798299</c:v>
                </c:pt>
                <c:pt idx="8497">
                  <c:v>-0.11848739495798299</c:v>
                </c:pt>
                <c:pt idx="8498">
                  <c:v>-0.11848739495798299</c:v>
                </c:pt>
                <c:pt idx="8499">
                  <c:v>-0.11764705882352899</c:v>
                </c:pt>
                <c:pt idx="8500">
                  <c:v>-0.11764705882352899</c:v>
                </c:pt>
                <c:pt idx="8501">
                  <c:v>-0.11764705882352899</c:v>
                </c:pt>
                <c:pt idx="8502">
                  <c:v>-0.11764705882352899</c:v>
                </c:pt>
                <c:pt idx="8503">
                  <c:v>-0.11764705882352899</c:v>
                </c:pt>
                <c:pt idx="8504">
                  <c:v>-0.11764705882352899</c:v>
                </c:pt>
                <c:pt idx="8505">
                  <c:v>-0.11764705882352899</c:v>
                </c:pt>
                <c:pt idx="8506">
                  <c:v>-0.11680672268907499</c:v>
                </c:pt>
                <c:pt idx="8507">
                  <c:v>-0.11680672268907499</c:v>
                </c:pt>
                <c:pt idx="8508">
                  <c:v>-0.11680672268907499</c:v>
                </c:pt>
                <c:pt idx="8509">
                  <c:v>-0.11680672268907499</c:v>
                </c:pt>
                <c:pt idx="8510">
                  <c:v>-0.11680672268907499</c:v>
                </c:pt>
                <c:pt idx="8511">
                  <c:v>-0.11680672268907499</c:v>
                </c:pt>
                <c:pt idx="8512">
                  <c:v>-0.11596638655462101</c:v>
                </c:pt>
                <c:pt idx="8513">
                  <c:v>-0.11596638655462101</c:v>
                </c:pt>
                <c:pt idx="8514">
                  <c:v>-0.11596638655462101</c:v>
                </c:pt>
                <c:pt idx="8515">
                  <c:v>-0.11596638655462101</c:v>
                </c:pt>
                <c:pt idx="8516">
                  <c:v>-0.11596638655462101</c:v>
                </c:pt>
                <c:pt idx="8517">
                  <c:v>-0.11596638655462101</c:v>
                </c:pt>
                <c:pt idx="8518">
                  <c:v>-0.11596638655462101</c:v>
                </c:pt>
                <c:pt idx="8519">
                  <c:v>-0.11596638655462101</c:v>
                </c:pt>
                <c:pt idx="8520">
                  <c:v>-0.11596638655462101</c:v>
                </c:pt>
                <c:pt idx="8521">
                  <c:v>-0.11596638655462101</c:v>
                </c:pt>
                <c:pt idx="8522">
                  <c:v>-0.11596638655462101</c:v>
                </c:pt>
                <c:pt idx="8523">
                  <c:v>-0.11596638655462101</c:v>
                </c:pt>
                <c:pt idx="8524">
                  <c:v>-0.11596638655462101</c:v>
                </c:pt>
                <c:pt idx="8525">
                  <c:v>-0.11596638655462101</c:v>
                </c:pt>
                <c:pt idx="8526">
                  <c:v>-0.11596638655462101</c:v>
                </c:pt>
                <c:pt idx="8527">
                  <c:v>-0.11596638655462101</c:v>
                </c:pt>
                <c:pt idx="8528">
                  <c:v>-0.11596638655462101</c:v>
                </c:pt>
                <c:pt idx="8529">
                  <c:v>-0.11596638655462101</c:v>
                </c:pt>
                <c:pt idx="8530">
                  <c:v>-0.11596638655462101</c:v>
                </c:pt>
                <c:pt idx="8531">
                  <c:v>-0.11596638655462101</c:v>
                </c:pt>
                <c:pt idx="8532">
                  <c:v>-0.11596638655462101</c:v>
                </c:pt>
                <c:pt idx="8533">
                  <c:v>-0.11596638655462101</c:v>
                </c:pt>
                <c:pt idx="8534">
                  <c:v>-0.11596638655462101</c:v>
                </c:pt>
                <c:pt idx="8535">
                  <c:v>-0.11596638655462101</c:v>
                </c:pt>
                <c:pt idx="8536">
                  <c:v>-0.11596638655462101</c:v>
                </c:pt>
                <c:pt idx="8537">
                  <c:v>-0.11596638655462101</c:v>
                </c:pt>
                <c:pt idx="8538">
                  <c:v>-0.11596638655462101</c:v>
                </c:pt>
                <c:pt idx="8539">
                  <c:v>-0.11680672268907499</c:v>
                </c:pt>
                <c:pt idx="8540">
                  <c:v>-0.11680672268907499</c:v>
                </c:pt>
                <c:pt idx="8541">
                  <c:v>-0.11680672268907499</c:v>
                </c:pt>
                <c:pt idx="8542">
                  <c:v>-0.11680672268907499</c:v>
                </c:pt>
                <c:pt idx="8543">
                  <c:v>-0.11680672268907499</c:v>
                </c:pt>
                <c:pt idx="8544">
                  <c:v>-0.11680672268907499</c:v>
                </c:pt>
                <c:pt idx="8545">
                  <c:v>-0.11680672268907499</c:v>
                </c:pt>
                <c:pt idx="8546">
                  <c:v>-0.11680672268907499</c:v>
                </c:pt>
                <c:pt idx="8547">
                  <c:v>-0.11680672268907499</c:v>
                </c:pt>
                <c:pt idx="8548">
                  <c:v>-0.11680672268907499</c:v>
                </c:pt>
                <c:pt idx="8549">
                  <c:v>-0.11680672268907499</c:v>
                </c:pt>
                <c:pt idx="8550">
                  <c:v>-0.11680672268907499</c:v>
                </c:pt>
                <c:pt idx="8551">
                  <c:v>-0.11680672268907499</c:v>
                </c:pt>
                <c:pt idx="8552">
                  <c:v>-0.11680672268907499</c:v>
                </c:pt>
                <c:pt idx="8553">
                  <c:v>-0.11680672268907499</c:v>
                </c:pt>
                <c:pt idx="8554">
                  <c:v>-0.11680672268907499</c:v>
                </c:pt>
                <c:pt idx="8555">
                  <c:v>-0.11680672268907499</c:v>
                </c:pt>
                <c:pt idx="8556">
                  <c:v>-0.11680672268907499</c:v>
                </c:pt>
                <c:pt idx="8557">
                  <c:v>-0.11680672268907499</c:v>
                </c:pt>
                <c:pt idx="8558">
                  <c:v>-0.11680672268907499</c:v>
                </c:pt>
                <c:pt idx="8559">
                  <c:v>-0.11680672268907499</c:v>
                </c:pt>
                <c:pt idx="8560">
                  <c:v>-0.11680672268907499</c:v>
                </c:pt>
                <c:pt idx="8561">
                  <c:v>-0.11680672268907499</c:v>
                </c:pt>
                <c:pt idx="8562">
                  <c:v>-0.11680672268907499</c:v>
                </c:pt>
                <c:pt idx="8563">
                  <c:v>-0.11680672268907499</c:v>
                </c:pt>
                <c:pt idx="8564">
                  <c:v>-0.11680672268907499</c:v>
                </c:pt>
                <c:pt idx="8565">
                  <c:v>-0.11680672268907499</c:v>
                </c:pt>
                <c:pt idx="8566">
                  <c:v>-0.11680672268907499</c:v>
                </c:pt>
                <c:pt idx="8567">
                  <c:v>-0.11680672268907499</c:v>
                </c:pt>
                <c:pt idx="8568">
                  <c:v>-0.11680672268907499</c:v>
                </c:pt>
                <c:pt idx="8569">
                  <c:v>-0.11680672268907499</c:v>
                </c:pt>
                <c:pt idx="8570">
                  <c:v>-0.11680672268907499</c:v>
                </c:pt>
                <c:pt idx="8571">
                  <c:v>-0.11680672268907499</c:v>
                </c:pt>
                <c:pt idx="8572">
                  <c:v>-0.11680672268907499</c:v>
                </c:pt>
                <c:pt idx="8573">
                  <c:v>-0.11680672268907499</c:v>
                </c:pt>
                <c:pt idx="8574">
                  <c:v>-0.11680672268907499</c:v>
                </c:pt>
                <c:pt idx="8575">
                  <c:v>-0.11680672268907499</c:v>
                </c:pt>
                <c:pt idx="8576">
                  <c:v>-0.11680672268907499</c:v>
                </c:pt>
                <c:pt idx="8577">
                  <c:v>-0.11680672268907499</c:v>
                </c:pt>
                <c:pt idx="8578">
                  <c:v>-0.11680672268907499</c:v>
                </c:pt>
                <c:pt idx="8579">
                  <c:v>-0.11680672268907499</c:v>
                </c:pt>
                <c:pt idx="8580">
                  <c:v>-0.11680672268907499</c:v>
                </c:pt>
                <c:pt idx="8581">
                  <c:v>-0.11680672268907499</c:v>
                </c:pt>
                <c:pt idx="8582">
                  <c:v>-0.11680672268907499</c:v>
                </c:pt>
                <c:pt idx="8583">
                  <c:v>-0.11680672268907499</c:v>
                </c:pt>
                <c:pt idx="8584">
                  <c:v>-0.11680672268907499</c:v>
                </c:pt>
                <c:pt idx="8585">
                  <c:v>-0.11764705882352899</c:v>
                </c:pt>
                <c:pt idx="8586">
                  <c:v>-0.11764705882352899</c:v>
                </c:pt>
                <c:pt idx="8587">
                  <c:v>-0.11764705882352899</c:v>
                </c:pt>
                <c:pt idx="8588">
                  <c:v>-0.11764705882352899</c:v>
                </c:pt>
                <c:pt idx="8589">
                  <c:v>-0.11764705882352899</c:v>
                </c:pt>
                <c:pt idx="8590">
                  <c:v>-0.11764705882352899</c:v>
                </c:pt>
                <c:pt idx="8591">
                  <c:v>-0.11848739495798299</c:v>
                </c:pt>
                <c:pt idx="8592">
                  <c:v>-0.11848739495798299</c:v>
                </c:pt>
                <c:pt idx="8593">
                  <c:v>-0.11848739495798299</c:v>
                </c:pt>
                <c:pt idx="8594">
                  <c:v>-0.11848739495798299</c:v>
                </c:pt>
                <c:pt idx="8595">
                  <c:v>-0.11848739495798299</c:v>
                </c:pt>
                <c:pt idx="8596">
                  <c:v>-0.11848739495798299</c:v>
                </c:pt>
                <c:pt idx="8597">
                  <c:v>-0.11848739495798299</c:v>
                </c:pt>
                <c:pt idx="8598">
                  <c:v>-0.11848739495798299</c:v>
                </c:pt>
                <c:pt idx="8599">
                  <c:v>-0.11848739495798299</c:v>
                </c:pt>
                <c:pt idx="8600">
                  <c:v>-0.11848739495798299</c:v>
                </c:pt>
                <c:pt idx="8601">
                  <c:v>-0.11764705882352899</c:v>
                </c:pt>
                <c:pt idx="8602">
                  <c:v>-0.11764705882352899</c:v>
                </c:pt>
                <c:pt idx="8603">
                  <c:v>-0.11764705882352899</c:v>
                </c:pt>
                <c:pt idx="8604">
                  <c:v>-0.11764705882352899</c:v>
                </c:pt>
                <c:pt idx="8605">
                  <c:v>-0.11764705882352899</c:v>
                </c:pt>
                <c:pt idx="8606">
                  <c:v>-0.11764705882352899</c:v>
                </c:pt>
                <c:pt idx="8607">
                  <c:v>-0.11764705882352899</c:v>
                </c:pt>
                <c:pt idx="8608">
                  <c:v>-0.11764705882352899</c:v>
                </c:pt>
                <c:pt idx="8609">
                  <c:v>-0.11764705882352899</c:v>
                </c:pt>
                <c:pt idx="8610">
                  <c:v>-0.11764705882352899</c:v>
                </c:pt>
                <c:pt idx="8611">
                  <c:v>-0.11764705882352899</c:v>
                </c:pt>
                <c:pt idx="8612">
                  <c:v>-0.11764705882352899</c:v>
                </c:pt>
                <c:pt idx="8613">
                  <c:v>-0.11764705882352899</c:v>
                </c:pt>
                <c:pt idx="8614">
                  <c:v>-0.11680672268907499</c:v>
                </c:pt>
                <c:pt idx="8615">
                  <c:v>-0.11680672268907499</c:v>
                </c:pt>
                <c:pt idx="8616">
                  <c:v>-0.11680672268907499</c:v>
                </c:pt>
                <c:pt idx="8617">
                  <c:v>-0.11680672268907499</c:v>
                </c:pt>
                <c:pt idx="8618">
                  <c:v>-0.11680672268907499</c:v>
                </c:pt>
                <c:pt idx="8619">
                  <c:v>-0.11680672268907499</c:v>
                </c:pt>
                <c:pt idx="8620">
                  <c:v>-0.11680672268907499</c:v>
                </c:pt>
                <c:pt idx="8621">
                  <c:v>-0.11680672268907499</c:v>
                </c:pt>
                <c:pt idx="8622">
                  <c:v>-0.11680672268907499</c:v>
                </c:pt>
                <c:pt idx="8623">
                  <c:v>-0.11680672268907499</c:v>
                </c:pt>
                <c:pt idx="8624">
                  <c:v>-0.11680672268907499</c:v>
                </c:pt>
                <c:pt idx="8625">
                  <c:v>-0.11680672268907499</c:v>
                </c:pt>
                <c:pt idx="8626">
                  <c:v>-0.11680672268907499</c:v>
                </c:pt>
                <c:pt idx="8627">
                  <c:v>-0.11680672268907499</c:v>
                </c:pt>
                <c:pt idx="8628">
                  <c:v>-0.11680672268907499</c:v>
                </c:pt>
                <c:pt idx="8629">
                  <c:v>-0.11680672268907499</c:v>
                </c:pt>
                <c:pt idx="8630">
                  <c:v>-0.11680672268907499</c:v>
                </c:pt>
                <c:pt idx="8631">
                  <c:v>-0.11680672268907499</c:v>
                </c:pt>
                <c:pt idx="8632">
                  <c:v>-0.11680672268907499</c:v>
                </c:pt>
                <c:pt idx="8633">
                  <c:v>-0.11680672268907499</c:v>
                </c:pt>
                <c:pt idx="8634">
                  <c:v>-0.11596638655462101</c:v>
                </c:pt>
                <c:pt idx="8635">
                  <c:v>-0.11596638655462101</c:v>
                </c:pt>
                <c:pt idx="8636">
                  <c:v>-0.11596638655462101</c:v>
                </c:pt>
                <c:pt idx="8637">
                  <c:v>-0.11596638655462101</c:v>
                </c:pt>
                <c:pt idx="8638">
                  <c:v>-0.11596638655462101</c:v>
                </c:pt>
                <c:pt idx="8639">
                  <c:v>-0.11596638655462101</c:v>
                </c:pt>
                <c:pt idx="8640">
                  <c:v>-0.11596638655462101</c:v>
                </c:pt>
                <c:pt idx="8641">
                  <c:v>-0.11596638655462101</c:v>
                </c:pt>
                <c:pt idx="8642">
                  <c:v>-0.11596638655462101</c:v>
                </c:pt>
                <c:pt idx="8643">
                  <c:v>-0.11596638655462101</c:v>
                </c:pt>
                <c:pt idx="8644">
                  <c:v>-0.11596638655462101</c:v>
                </c:pt>
                <c:pt idx="8645">
                  <c:v>-0.11596638655462101</c:v>
                </c:pt>
                <c:pt idx="8646">
                  <c:v>-0.11596638655462101</c:v>
                </c:pt>
                <c:pt idx="8647">
                  <c:v>-0.11596638655462101</c:v>
                </c:pt>
                <c:pt idx="8648">
                  <c:v>-0.11596638655462101</c:v>
                </c:pt>
                <c:pt idx="8649">
                  <c:v>-0.11596638655462101</c:v>
                </c:pt>
                <c:pt idx="8650">
                  <c:v>-0.11596638655462101</c:v>
                </c:pt>
                <c:pt idx="8651">
                  <c:v>-0.11596638655462101</c:v>
                </c:pt>
                <c:pt idx="8652">
                  <c:v>-0.11596638655462101</c:v>
                </c:pt>
                <c:pt idx="8653">
                  <c:v>-0.11596638655462101</c:v>
                </c:pt>
                <c:pt idx="8654">
                  <c:v>-0.11596638655462101</c:v>
                </c:pt>
                <c:pt idx="8655">
                  <c:v>-0.11596638655462101</c:v>
                </c:pt>
                <c:pt idx="8656">
                  <c:v>-0.11596638655462101</c:v>
                </c:pt>
                <c:pt idx="8657">
                  <c:v>-0.11596638655462101</c:v>
                </c:pt>
                <c:pt idx="8658">
                  <c:v>-0.11596638655462101</c:v>
                </c:pt>
                <c:pt idx="8659">
                  <c:v>-0.11596638655462101</c:v>
                </c:pt>
                <c:pt idx="8660">
                  <c:v>-0.11596638655462101</c:v>
                </c:pt>
                <c:pt idx="8661">
                  <c:v>-0.11596638655462101</c:v>
                </c:pt>
                <c:pt idx="8662">
                  <c:v>-0.11596638655462101</c:v>
                </c:pt>
                <c:pt idx="8663">
                  <c:v>-0.11596638655462101</c:v>
                </c:pt>
                <c:pt idx="8664">
                  <c:v>-0.11596638655462101</c:v>
                </c:pt>
                <c:pt idx="8665">
                  <c:v>-0.11596638655462101</c:v>
                </c:pt>
                <c:pt idx="8666">
                  <c:v>-0.11596638655462101</c:v>
                </c:pt>
                <c:pt idx="8667">
                  <c:v>-0.11596638655462101</c:v>
                </c:pt>
                <c:pt idx="8668">
                  <c:v>-0.11596638655462101</c:v>
                </c:pt>
                <c:pt idx="8669">
                  <c:v>-0.11596638655462101</c:v>
                </c:pt>
                <c:pt idx="8670">
                  <c:v>-0.11596638655462101</c:v>
                </c:pt>
                <c:pt idx="8671">
                  <c:v>-0.11596638655462101</c:v>
                </c:pt>
                <c:pt idx="8672">
                  <c:v>-0.11680672268907499</c:v>
                </c:pt>
                <c:pt idx="8673">
                  <c:v>-0.11596638655462101</c:v>
                </c:pt>
                <c:pt idx="8674">
                  <c:v>-0.11596638655462101</c:v>
                </c:pt>
                <c:pt idx="8675">
                  <c:v>-0.11596638655462101</c:v>
                </c:pt>
                <c:pt idx="8676">
                  <c:v>-0.11596638655462101</c:v>
                </c:pt>
                <c:pt idx="8677">
                  <c:v>-0.11596638655462101</c:v>
                </c:pt>
                <c:pt idx="8678">
                  <c:v>-0.11596638655462101</c:v>
                </c:pt>
                <c:pt idx="8679">
                  <c:v>-0.11596638655462101</c:v>
                </c:pt>
                <c:pt idx="8680">
                  <c:v>-0.11596638655462101</c:v>
                </c:pt>
                <c:pt idx="8681">
                  <c:v>-0.11596638655462101</c:v>
                </c:pt>
                <c:pt idx="8682">
                  <c:v>-0.11596638655462101</c:v>
                </c:pt>
                <c:pt idx="8683">
                  <c:v>-0.11596638655462101</c:v>
                </c:pt>
                <c:pt idx="8684">
                  <c:v>-0.11596638655462101</c:v>
                </c:pt>
                <c:pt idx="8685">
                  <c:v>-0.11596638655462101</c:v>
                </c:pt>
                <c:pt idx="8686">
                  <c:v>-0.11596638655462101</c:v>
                </c:pt>
                <c:pt idx="8687">
                  <c:v>-0.11596638655462101</c:v>
                </c:pt>
                <c:pt idx="8688">
                  <c:v>-0.11596638655462101</c:v>
                </c:pt>
                <c:pt idx="8689">
                  <c:v>-0.11596638655462101</c:v>
                </c:pt>
                <c:pt idx="8690">
                  <c:v>-0.11596638655462101</c:v>
                </c:pt>
                <c:pt idx="8691">
                  <c:v>-0.11596638655462101</c:v>
                </c:pt>
                <c:pt idx="8692">
                  <c:v>-0.11596638655462101</c:v>
                </c:pt>
                <c:pt idx="8693">
                  <c:v>-0.11596638655462101</c:v>
                </c:pt>
                <c:pt idx="8694">
                  <c:v>-0.11596638655462101</c:v>
                </c:pt>
                <c:pt idx="8695">
                  <c:v>-0.11596638655462101</c:v>
                </c:pt>
                <c:pt idx="8696">
                  <c:v>-0.11512605042016801</c:v>
                </c:pt>
                <c:pt idx="8697">
                  <c:v>-0.11512605042016801</c:v>
                </c:pt>
                <c:pt idx="8698">
                  <c:v>-0.114285714285714</c:v>
                </c:pt>
                <c:pt idx="8699">
                  <c:v>-0.114285714285714</c:v>
                </c:pt>
                <c:pt idx="8700">
                  <c:v>-0.114285714285714</c:v>
                </c:pt>
                <c:pt idx="8701">
                  <c:v>-0.114285714285714</c:v>
                </c:pt>
                <c:pt idx="8702">
                  <c:v>-0.114285714285714</c:v>
                </c:pt>
                <c:pt idx="8703">
                  <c:v>-0.114285714285714</c:v>
                </c:pt>
                <c:pt idx="8704">
                  <c:v>-0.114285714285714</c:v>
                </c:pt>
                <c:pt idx="8705">
                  <c:v>-0.114285714285714</c:v>
                </c:pt>
                <c:pt idx="8706">
                  <c:v>-0.114285714285714</c:v>
                </c:pt>
                <c:pt idx="8707">
                  <c:v>-0.114285714285714</c:v>
                </c:pt>
                <c:pt idx="8708">
                  <c:v>-0.114285714285714</c:v>
                </c:pt>
                <c:pt idx="8709">
                  <c:v>-0.114285714285714</c:v>
                </c:pt>
                <c:pt idx="8710">
                  <c:v>-0.114285714285714</c:v>
                </c:pt>
                <c:pt idx="8711">
                  <c:v>-0.114285714285714</c:v>
                </c:pt>
                <c:pt idx="8712">
                  <c:v>-0.114285714285714</c:v>
                </c:pt>
                <c:pt idx="8713">
                  <c:v>-0.114285714285714</c:v>
                </c:pt>
                <c:pt idx="8714">
                  <c:v>-0.114285714285714</c:v>
                </c:pt>
                <c:pt idx="8715">
                  <c:v>-0.114285714285714</c:v>
                </c:pt>
                <c:pt idx="8716">
                  <c:v>-0.114285714285714</c:v>
                </c:pt>
                <c:pt idx="8717">
                  <c:v>-0.114285714285714</c:v>
                </c:pt>
                <c:pt idx="8718">
                  <c:v>-0.114285714285714</c:v>
                </c:pt>
                <c:pt idx="8719">
                  <c:v>-0.114285714285714</c:v>
                </c:pt>
                <c:pt idx="8720">
                  <c:v>-0.114285714285714</c:v>
                </c:pt>
                <c:pt idx="8721">
                  <c:v>-0.114285714285714</c:v>
                </c:pt>
                <c:pt idx="8722">
                  <c:v>-0.114285714285714</c:v>
                </c:pt>
                <c:pt idx="8723">
                  <c:v>-0.11344537815126</c:v>
                </c:pt>
                <c:pt idx="8724">
                  <c:v>-0.11344537815126</c:v>
                </c:pt>
                <c:pt idx="8725">
                  <c:v>-0.11344537815126</c:v>
                </c:pt>
                <c:pt idx="8726">
                  <c:v>-0.11344537815126</c:v>
                </c:pt>
                <c:pt idx="8727">
                  <c:v>-0.11344537815126</c:v>
                </c:pt>
                <c:pt idx="8728">
                  <c:v>-0.11344537815126</c:v>
                </c:pt>
                <c:pt idx="8729">
                  <c:v>-0.11344537815126</c:v>
                </c:pt>
                <c:pt idx="8730">
                  <c:v>-0.11344537815126</c:v>
                </c:pt>
                <c:pt idx="8731">
                  <c:v>-0.11344537815126</c:v>
                </c:pt>
                <c:pt idx="8732">
                  <c:v>-0.114285714285714</c:v>
                </c:pt>
                <c:pt idx="8733">
                  <c:v>-0.114285714285714</c:v>
                </c:pt>
                <c:pt idx="8734">
                  <c:v>-0.114285714285714</c:v>
                </c:pt>
                <c:pt idx="8735">
                  <c:v>-0.114285714285714</c:v>
                </c:pt>
                <c:pt idx="8736">
                  <c:v>-0.114285714285714</c:v>
                </c:pt>
                <c:pt idx="8737">
                  <c:v>-0.114285714285714</c:v>
                </c:pt>
                <c:pt idx="8738">
                  <c:v>-0.114285714285714</c:v>
                </c:pt>
                <c:pt idx="8739">
                  <c:v>-0.114285714285714</c:v>
                </c:pt>
                <c:pt idx="8740">
                  <c:v>-0.114285714285714</c:v>
                </c:pt>
                <c:pt idx="8741">
                  <c:v>-0.114285714285714</c:v>
                </c:pt>
                <c:pt idx="8742">
                  <c:v>-0.114285714285714</c:v>
                </c:pt>
                <c:pt idx="8743">
                  <c:v>-0.114285714285714</c:v>
                </c:pt>
                <c:pt idx="8744">
                  <c:v>-0.114285714285714</c:v>
                </c:pt>
                <c:pt idx="8745">
                  <c:v>-0.114285714285714</c:v>
                </c:pt>
                <c:pt idx="8746">
                  <c:v>-0.114285714285714</c:v>
                </c:pt>
                <c:pt idx="8747">
                  <c:v>-0.114285714285714</c:v>
                </c:pt>
                <c:pt idx="8748">
                  <c:v>-0.114285714285714</c:v>
                </c:pt>
                <c:pt idx="8749">
                  <c:v>-0.114285714285714</c:v>
                </c:pt>
                <c:pt idx="8750">
                  <c:v>-0.114285714285714</c:v>
                </c:pt>
                <c:pt idx="8751">
                  <c:v>-0.114285714285714</c:v>
                </c:pt>
                <c:pt idx="8752">
                  <c:v>-0.114285714285714</c:v>
                </c:pt>
                <c:pt idx="8753">
                  <c:v>-0.114285714285714</c:v>
                </c:pt>
                <c:pt idx="8754">
                  <c:v>-0.114285714285714</c:v>
                </c:pt>
                <c:pt idx="8755">
                  <c:v>-0.114285714285714</c:v>
                </c:pt>
                <c:pt idx="8756">
                  <c:v>-0.114285714285714</c:v>
                </c:pt>
                <c:pt idx="8757">
                  <c:v>-0.114285714285714</c:v>
                </c:pt>
                <c:pt idx="8758">
                  <c:v>-0.114285714285714</c:v>
                </c:pt>
                <c:pt idx="8759">
                  <c:v>-0.114285714285714</c:v>
                </c:pt>
                <c:pt idx="8760">
                  <c:v>-0.114285714285714</c:v>
                </c:pt>
                <c:pt idx="8761">
                  <c:v>-0.114285714285714</c:v>
                </c:pt>
                <c:pt idx="8762">
                  <c:v>-0.114285714285714</c:v>
                </c:pt>
                <c:pt idx="8763">
                  <c:v>-0.114285714285714</c:v>
                </c:pt>
                <c:pt idx="8764">
                  <c:v>-0.114285714285714</c:v>
                </c:pt>
                <c:pt idx="8765">
                  <c:v>-0.114285714285714</c:v>
                </c:pt>
                <c:pt idx="8766">
                  <c:v>-0.114285714285714</c:v>
                </c:pt>
                <c:pt idx="8767">
                  <c:v>-0.114285714285714</c:v>
                </c:pt>
                <c:pt idx="8768">
                  <c:v>-0.114285714285714</c:v>
                </c:pt>
                <c:pt idx="8769">
                  <c:v>-0.114285714285714</c:v>
                </c:pt>
                <c:pt idx="8770">
                  <c:v>-0.114285714285714</c:v>
                </c:pt>
                <c:pt idx="8771">
                  <c:v>-0.114285714285714</c:v>
                </c:pt>
                <c:pt idx="8772">
                  <c:v>-0.114285714285714</c:v>
                </c:pt>
                <c:pt idx="8773">
                  <c:v>-0.114285714285714</c:v>
                </c:pt>
                <c:pt idx="8774">
                  <c:v>-0.114285714285714</c:v>
                </c:pt>
                <c:pt idx="8775">
                  <c:v>-0.114285714285714</c:v>
                </c:pt>
                <c:pt idx="8776">
                  <c:v>-0.114285714285714</c:v>
                </c:pt>
                <c:pt idx="8777">
                  <c:v>-0.114285714285714</c:v>
                </c:pt>
                <c:pt idx="8778">
                  <c:v>-0.114285714285714</c:v>
                </c:pt>
                <c:pt idx="8779">
                  <c:v>-0.114285714285714</c:v>
                </c:pt>
                <c:pt idx="8780">
                  <c:v>-0.114285714285714</c:v>
                </c:pt>
                <c:pt idx="8781">
                  <c:v>-0.114285714285714</c:v>
                </c:pt>
                <c:pt idx="8782">
                  <c:v>-0.114285714285714</c:v>
                </c:pt>
                <c:pt idx="8783">
                  <c:v>-0.114285714285714</c:v>
                </c:pt>
                <c:pt idx="8784">
                  <c:v>-0.114285714285714</c:v>
                </c:pt>
                <c:pt idx="8785">
                  <c:v>-0.114285714285714</c:v>
                </c:pt>
                <c:pt idx="8786">
                  <c:v>-0.114285714285714</c:v>
                </c:pt>
                <c:pt idx="8787">
                  <c:v>-0.114285714285714</c:v>
                </c:pt>
                <c:pt idx="8788">
                  <c:v>-0.114285714285714</c:v>
                </c:pt>
                <c:pt idx="8789">
                  <c:v>-0.114285714285714</c:v>
                </c:pt>
                <c:pt idx="8790">
                  <c:v>-0.114285714285714</c:v>
                </c:pt>
                <c:pt idx="8791">
                  <c:v>-0.114285714285714</c:v>
                </c:pt>
                <c:pt idx="8792">
                  <c:v>-0.114285714285714</c:v>
                </c:pt>
                <c:pt idx="8793">
                  <c:v>-0.114285714285714</c:v>
                </c:pt>
                <c:pt idx="8794">
                  <c:v>-0.114285714285714</c:v>
                </c:pt>
                <c:pt idx="8795">
                  <c:v>-0.114285714285714</c:v>
                </c:pt>
                <c:pt idx="8796">
                  <c:v>-0.114285714285714</c:v>
                </c:pt>
                <c:pt idx="8797">
                  <c:v>-0.114285714285714</c:v>
                </c:pt>
                <c:pt idx="8798">
                  <c:v>-0.114285714285714</c:v>
                </c:pt>
                <c:pt idx="8799">
                  <c:v>-0.114285714285714</c:v>
                </c:pt>
                <c:pt idx="8800">
                  <c:v>-0.114285714285714</c:v>
                </c:pt>
                <c:pt idx="8801">
                  <c:v>-0.114285714285714</c:v>
                </c:pt>
                <c:pt idx="8802">
                  <c:v>-0.11512605042016801</c:v>
                </c:pt>
                <c:pt idx="8803">
                  <c:v>-0.11512605042016801</c:v>
                </c:pt>
                <c:pt idx="8804">
                  <c:v>-0.11596638655462101</c:v>
                </c:pt>
                <c:pt idx="8805">
                  <c:v>-0.11596638655462101</c:v>
                </c:pt>
                <c:pt idx="8806">
                  <c:v>-0.11596638655462101</c:v>
                </c:pt>
                <c:pt idx="8807">
                  <c:v>-0.11596638655462101</c:v>
                </c:pt>
                <c:pt idx="8808">
                  <c:v>-0.11596638655462101</c:v>
                </c:pt>
                <c:pt idx="8809">
                  <c:v>-0.11596638655462101</c:v>
                </c:pt>
                <c:pt idx="8810">
                  <c:v>-0.11596638655462101</c:v>
                </c:pt>
                <c:pt idx="8811">
                  <c:v>-0.11596638655462101</c:v>
                </c:pt>
                <c:pt idx="8812">
                  <c:v>-0.11596638655462101</c:v>
                </c:pt>
                <c:pt idx="8813">
                  <c:v>-0.11596638655462101</c:v>
                </c:pt>
                <c:pt idx="8814">
                  <c:v>-0.11596638655462101</c:v>
                </c:pt>
                <c:pt idx="8815">
                  <c:v>-0.11596638655462101</c:v>
                </c:pt>
                <c:pt idx="8816">
                  <c:v>-0.11596638655462101</c:v>
                </c:pt>
                <c:pt idx="8817">
                  <c:v>-0.11596638655462101</c:v>
                </c:pt>
                <c:pt idx="8818">
                  <c:v>-0.11596638655462101</c:v>
                </c:pt>
                <c:pt idx="8819">
                  <c:v>-0.11596638655462101</c:v>
                </c:pt>
                <c:pt idx="8820">
                  <c:v>-0.11596638655462101</c:v>
                </c:pt>
                <c:pt idx="8821">
                  <c:v>-0.11596638655462101</c:v>
                </c:pt>
                <c:pt idx="8822">
                  <c:v>-0.11596638655462101</c:v>
                </c:pt>
                <c:pt idx="8823">
                  <c:v>-0.11596638655462101</c:v>
                </c:pt>
                <c:pt idx="8824">
                  <c:v>-0.11596638655462101</c:v>
                </c:pt>
                <c:pt idx="8825">
                  <c:v>-0.11596638655462101</c:v>
                </c:pt>
                <c:pt idx="8826">
                  <c:v>-0.11596638655462101</c:v>
                </c:pt>
                <c:pt idx="8827">
                  <c:v>-0.11596638655462101</c:v>
                </c:pt>
                <c:pt idx="8828">
                  <c:v>-0.11596638655462101</c:v>
                </c:pt>
                <c:pt idx="8829">
                  <c:v>-0.11596638655462101</c:v>
                </c:pt>
                <c:pt idx="8830">
                  <c:v>-0.11596638655462101</c:v>
                </c:pt>
                <c:pt idx="8831">
                  <c:v>-0.11596638655462101</c:v>
                </c:pt>
                <c:pt idx="8832">
                  <c:v>-0.11512605042016801</c:v>
                </c:pt>
                <c:pt idx="8833">
                  <c:v>-0.11512605042016801</c:v>
                </c:pt>
                <c:pt idx="8834">
                  <c:v>-0.11512605042016801</c:v>
                </c:pt>
                <c:pt idx="8835">
                  <c:v>-0.11512605042016801</c:v>
                </c:pt>
                <c:pt idx="8836">
                  <c:v>-0.11512605042016801</c:v>
                </c:pt>
                <c:pt idx="8837">
                  <c:v>-0.11512605042016801</c:v>
                </c:pt>
                <c:pt idx="8838">
                  <c:v>-0.11512605042016801</c:v>
                </c:pt>
                <c:pt idx="8839">
                  <c:v>-0.11512605042016801</c:v>
                </c:pt>
                <c:pt idx="8840">
                  <c:v>-0.114285714285714</c:v>
                </c:pt>
                <c:pt idx="8841">
                  <c:v>-0.114285714285714</c:v>
                </c:pt>
                <c:pt idx="8842">
                  <c:v>-0.114285714285714</c:v>
                </c:pt>
                <c:pt idx="8843">
                  <c:v>-0.114285714285714</c:v>
                </c:pt>
                <c:pt idx="8844">
                  <c:v>-0.114285714285714</c:v>
                </c:pt>
                <c:pt idx="8845">
                  <c:v>-0.11512605042016801</c:v>
                </c:pt>
                <c:pt idx="8846">
                  <c:v>-0.11512605042016801</c:v>
                </c:pt>
                <c:pt idx="8847">
                  <c:v>-0.11512605042016801</c:v>
                </c:pt>
                <c:pt idx="8848">
                  <c:v>-0.11512605042016801</c:v>
                </c:pt>
                <c:pt idx="8849">
                  <c:v>-0.11512605042016801</c:v>
                </c:pt>
                <c:pt idx="8850">
                  <c:v>-0.11512605042016801</c:v>
                </c:pt>
                <c:pt idx="8851">
                  <c:v>-0.11512605042016801</c:v>
                </c:pt>
                <c:pt idx="8852">
                  <c:v>-0.11512605042016801</c:v>
                </c:pt>
                <c:pt idx="8853">
                  <c:v>-0.11512605042016801</c:v>
                </c:pt>
                <c:pt idx="8854">
                  <c:v>-0.11512605042016801</c:v>
                </c:pt>
                <c:pt idx="8855">
                  <c:v>-0.11512605042016801</c:v>
                </c:pt>
                <c:pt idx="8856">
                  <c:v>-0.11512605042016801</c:v>
                </c:pt>
                <c:pt idx="8857">
                  <c:v>-0.11512605042016801</c:v>
                </c:pt>
                <c:pt idx="8858">
                  <c:v>-0.11512605042016801</c:v>
                </c:pt>
                <c:pt idx="8859">
                  <c:v>-0.11512605042016801</c:v>
                </c:pt>
                <c:pt idx="8860">
                  <c:v>-0.11512605042016801</c:v>
                </c:pt>
                <c:pt idx="8861">
                  <c:v>-0.11512605042016801</c:v>
                </c:pt>
                <c:pt idx="8862">
                  <c:v>-0.11512605042016801</c:v>
                </c:pt>
                <c:pt idx="8863">
                  <c:v>-0.11512605042016801</c:v>
                </c:pt>
                <c:pt idx="8864">
                  <c:v>-0.11512605042016801</c:v>
                </c:pt>
                <c:pt idx="8865">
                  <c:v>-0.11512605042016801</c:v>
                </c:pt>
                <c:pt idx="8866">
                  <c:v>-0.11512605042016801</c:v>
                </c:pt>
                <c:pt idx="8867">
                  <c:v>-0.11512605042016801</c:v>
                </c:pt>
                <c:pt idx="8868">
                  <c:v>-0.11512605042016801</c:v>
                </c:pt>
                <c:pt idx="8869">
                  <c:v>-0.114285714285714</c:v>
                </c:pt>
                <c:pt idx="8870">
                  <c:v>-0.114285714285714</c:v>
                </c:pt>
                <c:pt idx="8871">
                  <c:v>-0.114285714285714</c:v>
                </c:pt>
                <c:pt idx="8872">
                  <c:v>-0.114285714285714</c:v>
                </c:pt>
                <c:pt idx="8873">
                  <c:v>-0.114285714285714</c:v>
                </c:pt>
                <c:pt idx="8874">
                  <c:v>-0.114285714285714</c:v>
                </c:pt>
                <c:pt idx="8875">
                  <c:v>-0.114285714285714</c:v>
                </c:pt>
                <c:pt idx="8876">
                  <c:v>-0.11512605042016801</c:v>
                </c:pt>
                <c:pt idx="8877">
                  <c:v>-0.11512605042016801</c:v>
                </c:pt>
                <c:pt idx="8878">
                  <c:v>-0.11512605042016801</c:v>
                </c:pt>
                <c:pt idx="8879">
                  <c:v>-0.11512605042016801</c:v>
                </c:pt>
                <c:pt idx="8880">
                  <c:v>-0.11596638655462101</c:v>
                </c:pt>
                <c:pt idx="8881">
                  <c:v>-0.11596638655462101</c:v>
                </c:pt>
                <c:pt idx="8882">
                  <c:v>-0.11596638655462101</c:v>
                </c:pt>
                <c:pt idx="8883">
                  <c:v>-0.11596638655462101</c:v>
                </c:pt>
                <c:pt idx="8884">
                  <c:v>-0.11596638655462101</c:v>
                </c:pt>
                <c:pt idx="8885">
                  <c:v>-0.11596638655462101</c:v>
                </c:pt>
                <c:pt idx="8886">
                  <c:v>-0.11596638655462101</c:v>
                </c:pt>
                <c:pt idx="8887">
                  <c:v>-0.11596638655462101</c:v>
                </c:pt>
                <c:pt idx="8888">
                  <c:v>-0.11596638655462101</c:v>
                </c:pt>
                <c:pt idx="8889">
                  <c:v>-0.11680672268907499</c:v>
                </c:pt>
                <c:pt idx="8890">
                  <c:v>-0.11680672268907499</c:v>
                </c:pt>
                <c:pt idx="8891">
                  <c:v>-0.11680672268907499</c:v>
                </c:pt>
                <c:pt idx="8892">
                  <c:v>-0.11680672268907499</c:v>
                </c:pt>
                <c:pt idx="8893">
                  <c:v>-0.11680672268907499</c:v>
                </c:pt>
                <c:pt idx="8894">
                  <c:v>-0.11680672268907499</c:v>
                </c:pt>
                <c:pt idx="8895">
                  <c:v>-0.11680672268907499</c:v>
                </c:pt>
                <c:pt idx="8896">
                  <c:v>-0.11680672268907499</c:v>
                </c:pt>
                <c:pt idx="8897">
                  <c:v>-0.11680672268907499</c:v>
                </c:pt>
                <c:pt idx="8898">
                  <c:v>-0.11680672268907499</c:v>
                </c:pt>
                <c:pt idx="8899">
                  <c:v>-0.11680672268907499</c:v>
                </c:pt>
                <c:pt idx="8900">
                  <c:v>-0.11680672268907499</c:v>
                </c:pt>
                <c:pt idx="8901">
                  <c:v>-0.11680672268907499</c:v>
                </c:pt>
                <c:pt idx="8902">
                  <c:v>-0.11680672268907499</c:v>
                </c:pt>
                <c:pt idx="8903">
                  <c:v>-0.11680672268907499</c:v>
                </c:pt>
                <c:pt idx="8904">
                  <c:v>-0.11680672268907499</c:v>
                </c:pt>
                <c:pt idx="8905">
                  <c:v>-0.11680672268907499</c:v>
                </c:pt>
                <c:pt idx="8906">
                  <c:v>-0.11680672268907499</c:v>
                </c:pt>
                <c:pt idx="8907">
                  <c:v>-0.11680672268907499</c:v>
                </c:pt>
                <c:pt idx="8908">
                  <c:v>-0.11680672268907499</c:v>
                </c:pt>
                <c:pt idx="8909">
                  <c:v>-0.11680672268907499</c:v>
                </c:pt>
                <c:pt idx="8910">
                  <c:v>-0.11680672268907499</c:v>
                </c:pt>
                <c:pt idx="8911">
                  <c:v>-0.11680672268907499</c:v>
                </c:pt>
                <c:pt idx="8912">
                  <c:v>-0.11680672268907499</c:v>
                </c:pt>
                <c:pt idx="8913">
                  <c:v>-0.11680672268907499</c:v>
                </c:pt>
                <c:pt idx="8914">
                  <c:v>-0.11680672268907499</c:v>
                </c:pt>
                <c:pt idx="8915">
                  <c:v>-0.11680672268907499</c:v>
                </c:pt>
                <c:pt idx="8916">
                  <c:v>-0.11680672268907499</c:v>
                </c:pt>
                <c:pt idx="8917">
                  <c:v>-0.11680672268907499</c:v>
                </c:pt>
                <c:pt idx="8918">
                  <c:v>-0.11680672268907499</c:v>
                </c:pt>
                <c:pt idx="8919">
                  <c:v>-0.11680672268907499</c:v>
                </c:pt>
                <c:pt idx="8920">
                  <c:v>-0.11764705882352899</c:v>
                </c:pt>
                <c:pt idx="8921">
                  <c:v>-0.11764705882352899</c:v>
                </c:pt>
                <c:pt idx="8922">
                  <c:v>-0.11764705882352899</c:v>
                </c:pt>
                <c:pt idx="8923">
                  <c:v>-0.11764705882352899</c:v>
                </c:pt>
                <c:pt idx="8924">
                  <c:v>-0.11764705882352899</c:v>
                </c:pt>
                <c:pt idx="8925">
                  <c:v>-0.11764705882352899</c:v>
                </c:pt>
                <c:pt idx="8926">
                  <c:v>-0.11764705882352899</c:v>
                </c:pt>
                <c:pt idx="8927">
                  <c:v>-0.11848739495798299</c:v>
                </c:pt>
                <c:pt idx="8928">
                  <c:v>-0.11848739495798299</c:v>
                </c:pt>
                <c:pt idx="8929">
                  <c:v>-0.11848739495798299</c:v>
                </c:pt>
                <c:pt idx="8930">
                  <c:v>-0.11848739495798299</c:v>
                </c:pt>
                <c:pt idx="8931">
                  <c:v>-0.11848739495798299</c:v>
                </c:pt>
                <c:pt idx="8932">
                  <c:v>-0.11848739495798299</c:v>
                </c:pt>
                <c:pt idx="8933">
                  <c:v>-0.11848739495798299</c:v>
                </c:pt>
                <c:pt idx="8934">
                  <c:v>-0.11848739495798299</c:v>
                </c:pt>
                <c:pt idx="8935">
                  <c:v>-0.11848739495798299</c:v>
                </c:pt>
                <c:pt idx="8936">
                  <c:v>-0.11848739495798299</c:v>
                </c:pt>
                <c:pt idx="8937">
                  <c:v>-0.11848739495798299</c:v>
                </c:pt>
                <c:pt idx="8938">
                  <c:v>-0.11848739495798299</c:v>
                </c:pt>
                <c:pt idx="8939">
                  <c:v>-0.11848739495798299</c:v>
                </c:pt>
                <c:pt idx="8940">
                  <c:v>-0.11932773109243699</c:v>
                </c:pt>
                <c:pt idx="8941">
                  <c:v>-0.11932773109243699</c:v>
                </c:pt>
                <c:pt idx="8942">
                  <c:v>-0.11932773109243699</c:v>
                </c:pt>
                <c:pt idx="8943">
                  <c:v>-0.11932773109243699</c:v>
                </c:pt>
                <c:pt idx="8944">
                  <c:v>-0.11932773109243699</c:v>
                </c:pt>
                <c:pt idx="8945">
                  <c:v>-0.11932773109243699</c:v>
                </c:pt>
                <c:pt idx="8946">
                  <c:v>-0.11932773109243699</c:v>
                </c:pt>
                <c:pt idx="8947">
                  <c:v>-0.11932773109243699</c:v>
                </c:pt>
                <c:pt idx="8948">
                  <c:v>-0.11932773109243699</c:v>
                </c:pt>
                <c:pt idx="8949">
                  <c:v>-0.11932773109243699</c:v>
                </c:pt>
                <c:pt idx="8950">
                  <c:v>-0.11932773109243699</c:v>
                </c:pt>
                <c:pt idx="8951">
                  <c:v>-0.11932773109243699</c:v>
                </c:pt>
                <c:pt idx="8952">
                  <c:v>-0.11932773109243699</c:v>
                </c:pt>
                <c:pt idx="8953">
                  <c:v>-0.11848739495798299</c:v>
                </c:pt>
                <c:pt idx="8954">
                  <c:v>-0.11848739495798299</c:v>
                </c:pt>
                <c:pt idx="8955">
                  <c:v>-0.11848739495798299</c:v>
                </c:pt>
                <c:pt idx="8956">
                  <c:v>-0.11848739495798299</c:v>
                </c:pt>
                <c:pt idx="8957">
                  <c:v>-0.11848739495798299</c:v>
                </c:pt>
                <c:pt idx="8958">
                  <c:v>-0.11848739495798299</c:v>
                </c:pt>
                <c:pt idx="8959">
                  <c:v>-0.11848739495798299</c:v>
                </c:pt>
                <c:pt idx="8960">
                  <c:v>-0.11848739495798299</c:v>
                </c:pt>
                <c:pt idx="8961">
                  <c:v>-0.11848739495798299</c:v>
                </c:pt>
                <c:pt idx="8962">
                  <c:v>-0.11932773109243699</c:v>
                </c:pt>
                <c:pt idx="8963">
                  <c:v>-0.11932773109243699</c:v>
                </c:pt>
                <c:pt idx="8964">
                  <c:v>-0.11932773109243699</c:v>
                </c:pt>
                <c:pt idx="8965">
                  <c:v>-0.11932773109243699</c:v>
                </c:pt>
                <c:pt idx="8966">
                  <c:v>-0.11932773109243699</c:v>
                </c:pt>
                <c:pt idx="8967">
                  <c:v>-0.11932773109243699</c:v>
                </c:pt>
                <c:pt idx="8968">
                  <c:v>-0.11932773109243699</c:v>
                </c:pt>
                <c:pt idx="8969">
                  <c:v>-0.11932773109243699</c:v>
                </c:pt>
                <c:pt idx="8970">
                  <c:v>-0.11932773109243699</c:v>
                </c:pt>
                <c:pt idx="8971">
                  <c:v>-0.11932773109243699</c:v>
                </c:pt>
                <c:pt idx="8972">
                  <c:v>-0.11932773109243699</c:v>
                </c:pt>
                <c:pt idx="8973">
                  <c:v>-0.11932773109243699</c:v>
                </c:pt>
                <c:pt idx="8974">
                  <c:v>-0.11932773109243699</c:v>
                </c:pt>
                <c:pt idx="8975">
                  <c:v>-0.11932773109243699</c:v>
                </c:pt>
                <c:pt idx="8976">
                  <c:v>-0.11932773109243699</c:v>
                </c:pt>
                <c:pt idx="8977">
                  <c:v>-0.11932773109243699</c:v>
                </c:pt>
                <c:pt idx="8978">
                  <c:v>-0.11932773109243699</c:v>
                </c:pt>
                <c:pt idx="8979">
                  <c:v>-0.11932773109243699</c:v>
                </c:pt>
                <c:pt idx="8980">
                  <c:v>-0.11932773109243699</c:v>
                </c:pt>
                <c:pt idx="8981">
                  <c:v>-0.11932773109243699</c:v>
                </c:pt>
                <c:pt idx="8982">
                  <c:v>-0.11932773109243699</c:v>
                </c:pt>
                <c:pt idx="8983">
                  <c:v>-0.11932773109243699</c:v>
                </c:pt>
                <c:pt idx="8984">
                  <c:v>-0.11932773109243699</c:v>
                </c:pt>
                <c:pt idx="8985">
                  <c:v>-0.11932773109243699</c:v>
                </c:pt>
                <c:pt idx="8986">
                  <c:v>-0.11932773109243699</c:v>
                </c:pt>
                <c:pt idx="8987">
                  <c:v>-0.11932773109243699</c:v>
                </c:pt>
                <c:pt idx="8988">
                  <c:v>-0.11932773109243699</c:v>
                </c:pt>
                <c:pt idx="8989">
                  <c:v>-0.11932773109243699</c:v>
                </c:pt>
                <c:pt idx="8990">
                  <c:v>-0.11932773109243699</c:v>
                </c:pt>
                <c:pt idx="8991">
                  <c:v>-0.11932773109243699</c:v>
                </c:pt>
                <c:pt idx="8992">
                  <c:v>-0.11932773109243699</c:v>
                </c:pt>
                <c:pt idx="8993">
                  <c:v>-0.11932773109243699</c:v>
                </c:pt>
                <c:pt idx="8994">
                  <c:v>-0.11932773109243699</c:v>
                </c:pt>
                <c:pt idx="8995">
                  <c:v>-0.11932773109243699</c:v>
                </c:pt>
                <c:pt idx="8996">
                  <c:v>-0.11932773109243699</c:v>
                </c:pt>
                <c:pt idx="8997">
                  <c:v>-0.11932773109243699</c:v>
                </c:pt>
                <c:pt idx="8998">
                  <c:v>-0.11932773109243699</c:v>
                </c:pt>
                <c:pt idx="8999">
                  <c:v>-0.11932773109243699</c:v>
                </c:pt>
                <c:pt idx="9000">
                  <c:v>-0.11932773109243699</c:v>
                </c:pt>
                <c:pt idx="9001">
                  <c:v>-0.11932773109243699</c:v>
                </c:pt>
                <c:pt idx="9002">
                  <c:v>-0.11932773109243699</c:v>
                </c:pt>
                <c:pt idx="9003">
                  <c:v>-0.11932773109243699</c:v>
                </c:pt>
                <c:pt idx="9004">
                  <c:v>-0.11932773109243699</c:v>
                </c:pt>
                <c:pt idx="9005">
                  <c:v>-0.11932773109243699</c:v>
                </c:pt>
                <c:pt idx="9006">
                  <c:v>-0.11932773109243699</c:v>
                </c:pt>
                <c:pt idx="9007">
                  <c:v>-0.11932773109243699</c:v>
                </c:pt>
                <c:pt idx="9008">
                  <c:v>-0.11932773109243699</c:v>
                </c:pt>
                <c:pt idx="9009">
                  <c:v>-0.11932773109243699</c:v>
                </c:pt>
                <c:pt idx="9010">
                  <c:v>-0.11932773109243699</c:v>
                </c:pt>
                <c:pt idx="9011">
                  <c:v>-0.11932773109243699</c:v>
                </c:pt>
                <c:pt idx="9012">
                  <c:v>-0.11932773109243699</c:v>
                </c:pt>
                <c:pt idx="9013">
                  <c:v>-0.11932773109243699</c:v>
                </c:pt>
                <c:pt idx="9014">
                  <c:v>-0.11932773109243699</c:v>
                </c:pt>
                <c:pt idx="9015">
                  <c:v>-0.11932773109243699</c:v>
                </c:pt>
                <c:pt idx="9016">
                  <c:v>-0.11932773109243699</c:v>
                </c:pt>
                <c:pt idx="9017">
                  <c:v>-0.11932773109243699</c:v>
                </c:pt>
                <c:pt idx="9018">
                  <c:v>-0.12016806722689</c:v>
                </c:pt>
                <c:pt idx="9019">
                  <c:v>-0.12016806722689</c:v>
                </c:pt>
                <c:pt idx="9020">
                  <c:v>-0.12016806722689</c:v>
                </c:pt>
                <c:pt idx="9021">
                  <c:v>-0.12016806722689</c:v>
                </c:pt>
                <c:pt idx="9022">
                  <c:v>-0.12016806722689</c:v>
                </c:pt>
                <c:pt idx="9023">
                  <c:v>-0.12016806722689</c:v>
                </c:pt>
                <c:pt idx="9024">
                  <c:v>-0.12016806722689</c:v>
                </c:pt>
                <c:pt idx="9025">
                  <c:v>-0.12016806722689</c:v>
                </c:pt>
                <c:pt idx="9026">
                  <c:v>-0.12016806722689</c:v>
                </c:pt>
                <c:pt idx="9027">
                  <c:v>-0.12016806722689</c:v>
                </c:pt>
                <c:pt idx="9028">
                  <c:v>-0.12016806722689</c:v>
                </c:pt>
                <c:pt idx="9029">
                  <c:v>-0.12016806722689</c:v>
                </c:pt>
                <c:pt idx="9030">
                  <c:v>-0.12016806722689</c:v>
                </c:pt>
                <c:pt idx="9031">
                  <c:v>-0.12016806722689</c:v>
                </c:pt>
                <c:pt idx="9032">
                  <c:v>-0.12016806722689</c:v>
                </c:pt>
                <c:pt idx="9033">
                  <c:v>-0.12016806722689</c:v>
                </c:pt>
                <c:pt idx="9034">
                  <c:v>-0.12016806722689</c:v>
                </c:pt>
                <c:pt idx="9035">
                  <c:v>-0.12016806722689</c:v>
                </c:pt>
                <c:pt idx="9036">
                  <c:v>-0.12016806722689</c:v>
                </c:pt>
                <c:pt idx="9037">
                  <c:v>-0.12016806722689</c:v>
                </c:pt>
                <c:pt idx="9038">
                  <c:v>-0.12016806722689</c:v>
                </c:pt>
                <c:pt idx="9039">
                  <c:v>-0.12016806722689</c:v>
                </c:pt>
                <c:pt idx="9040">
                  <c:v>-0.12016806722689</c:v>
                </c:pt>
                <c:pt idx="9041">
                  <c:v>-0.12016806722689</c:v>
                </c:pt>
                <c:pt idx="9042">
                  <c:v>-0.12016806722689</c:v>
                </c:pt>
                <c:pt idx="9043">
                  <c:v>-0.11932773109243699</c:v>
                </c:pt>
                <c:pt idx="9044">
                  <c:v>-0.11932773109243699</c:v>
                </c:pt>
                <c:pt idx="9045">
                  <c:v>-0.11932773109243699</c:v>
                </c:pt>
                <c:pt idx="9046">
                  <c:v>-0.11932773109243699</c:v>
                </c:pt>
                <c:pt idx="9047">
                  <c:v>-0.11932773109243699</c:v>
                </c:pt>
                <c:pt idx="9048">
                  <c:v>-0.11932773109243699</c:v>
                </c:pt>
                <c:pt idx="9049">
                  <c:v>-0.11932773109243699</c:v>
                </c:pt>
                <c:pt idx="9050">
                  <c:v>-0.11932773109243699</c:v>
                </c:pt>
                <c:pt idx="9051">
                  <c:v>-0.11932773109243699</c:v>
                </c:pt>
                <c:pt idx="9052">
                  <c:v>-0.11932773109243699</c:v>
                </c:pt>
                <c:pt idx="9053">
                  <c:v>-0.11932773109243699</c:v>
                </c:pt>
                <c:pt idx="9054">
                  <c:v>-0.11932773109243699</c:v>
                </c:pt>
                <c:pt idx="9055">
                  <c:v>-0.11932773109243699</c:v>
                </c:pt>
                <c:pt idx="9056">
                  <c:v>-0.11932773109243699</c:v>
                </c:pt>
                <c:pt idx="9057">
                  <c:v>-0.11932773109243699</c:v>
                </c:pt>
                <c:pt idx="9058">
                  <c:v>-0.11932773109243699</c:v>
                </c:pt>
                <c:pt idx="9059">
                  <c:v>-0.11932773109243699</c:v>
                </c:pt>
                <c:pt idx="9060">
                  <c:v>-0.11932773109243699</c:v>
                </c:pt>
                <c:pt idx="9061">
                  <c:v>-0.11932773109243699</c:v>
                </c:pt>
                <c:pt idx="9062">
                  <c:v>-0.11932773109243699</c:v>
                </c:pt>
                <c:pt idx="9063">
                  <c:v>-0.11932773109243699</c:v>
                </c:pt>
                <c:pt idx="9064">
                  <c:v>-0.11932773109243699</c:v>
                </c:pt>
                <c:pt idx="9065">
                  <c:v>-0.11932773109243699</c:v>
                </c:pt>
                <c:pt idx="9066">
                  <c:v>-0.11932773109243699</c:v>
                </c:pt>
                <c:pt idx="9067">
                  <c:v>-0.11932773109243699</c:v>
                </c:pt>
                <c:pt idx="9068">
                  <c:v>-0.11932773109243699</c:v>
                </c:pt>
                <c:pt idx="9069">
                  <c:v>-0.11932773109243699</c:v>
                </c:pt>
                <c:pt idx="9070">
                  <c:v>-0.11932773109243699</c:v>
                </c:pt>
                <c:pt idx="9071">
                  <c:v>-0.11932773109243699</c:v>
                </c:pt>
                <c:pt idx="9072">
                  <c:v>-0.11932773109243699</c:v>
                </c:pt>
                <c:pt idx="9073">
                  <c:v>-0.11932773109243699</c:v>
                </c:pt>
                <c:pt idx="9074">
                  <c:v>-0.11932773109243699</c:v>
                </c:pt>
                <c:pt idx="9075">
                  <c:v>-0.11932773109243699</c:v>
                </c:pt>
                <c:pt idx="9076">
                  <c:v>-0.11932773109243699</c:v>
                </c:pt>
                <c:pt idx="9077">
                  <c:v>-0.11932773109243699</c:v>
                </c:pt>
                <c:pt idx="9078">
                  <c:v>-0.11932773109243699</c:v>
                </c:pt>
                <c:pt idx="9079">
                  <c:v>-0.11932773109243699</c:v>
                </c:pt>
                <c:pt idx="9080">
                  <c:v>-0.11932773109243699</c:v>
                </c:pt>
                <c:pt idx="9081">
                  <c:v>-0.11932773109243699</c:v>
                </c:pt>
                <c:pt idx="9082">
                  <c:v>-0.11932773109243699</c:v>
                </c:pt>
                <c:pt idx="9083">
                  <c:v>-0.11932773109243699</c:v>
                </c:pt>
                <c:pt idx="9084">
                  <c:v>-0.11932773109243699</c:v>
                </c:pt>
                <c:pt idx="9085">
                  <c:v>-0.11932773109243699</c:v>
                </c:pt>
                <c:pt idx="9086">
                  <c:v>-0.11932773109243699</c:v>
                </c:pt>
                <c:pt idx="9087">
                  <c:v>-0.11932773109243699</c:v>
                </c:pt>
                <c:pt idx="9088">
                  <c:v>-0.11932773109243699</c:v>
                </c:pt>
                <c:pt idx="9089">
                  <c:v>-0.11932773109243699</c:v>
                </c:pt>
                <c:pt idx="9090">
                  <c:v>-0.11932773109243699</c:v>
                </c:pt>
                <c:pt idx="9091">
                  <c:v>-0.11932773109243699</c:v>
                </c:pt>
                <c:pt idx="9092">
                  <c:v>-0.11848739495798299</c:v>
                </c:pt>
                <c:pt idx="9093">
                  <c:v>-0.11848739495798299</c:v>
                </c:pt>
                <c:pt idx="9094">
                  <c:v>-0.11848739495798299</c:v>
                </c:pt>
                <c:pt idx="9095">
                  <c:v>-0.11848739495798299</c:v>
                </c:pt>
                <c:pt idx="9096">
                  <c:v>-0.11848739495798299</c:v>
                </c:pt>
                <c:pt idx="9097">
                  <c:v>-0.11848739495798299</c:v>
                </c:pt>
                <c:pt idx="9098">
                  <c:v>-0.11848739495798299</c:v>
                </c:pt>
                <c:pt idx="9099">
                  <c:v>-0.11848739495798299</c:v>
                </c:pt>
                <c:pt idx="9100">
                  <c:v>-0.11764705882352899</c:v>
                </c:pt>
                <c:pt idx="9101">
                  <c:v>-0.11764705882352899</c:v>
                </c:pt>
                <c:pt idx="9102">
                  <c:v>-0.11764705882352899</c:v>
                </c:pt>
                <c:pt idx="9103">
                  <c:v>-0.11764705882352899</c:v>
                </c:pt>
                <c:pt idx="9104">
                  <c:v>-0.11848739495798299</c:v>
                </c:pt>
                <c:pt idx="9105">
                  <c:v>-0.11848739495798299</c:v>
                </c:pt>
                <c:pt idx="9106">
                  <c:v>-0.11848739495798299</c:v>
                </c:pt>
                <c:pt idx="9107">
                  <c:v>-0.11848739495798299</c:v>
                </c:pt>
                <c:pt idx="9108">
                  <c:v>-0.11848739495798299</c:v>
                </c:pt>
                <c:pt idx="9109">
                  <c:v>-0.11848739495798299</c:v>
                </c:pt>
                <c:pt idx="9110">
                  <c:v>-0.11848739495798299</c:v>
                </c:pt>
                <c:pt idx="9111">
                  <c:v>-0.11848739495798299</c:v>
                </c:pt>
                <c:pt idx="9112">
                  <c:v>-0.11848739495798299</c:v>
                </c:pt>
                <c:pt idx="9113">
                  <c:v>-0.11848739495798299</c:v>
                </c:pt>
                <c:pt idx="9114">
                  <c:v>-0.11848739495798299</c:v>
                </c:pt>
                <c:pt idx="9115">
                  <c:v>-0.11848739495798299</c:v>
                </c:pt>
                <c:pt idx="9116">
                  <c:v>-0.11848739495798299</c:v>
                </c:pt>
                <c:pt idx="9117">
                  <c:v>-0.11848739495798299</c:v>
                </c:pt>
                <c:pt idx="9118">
                  <c:v>-0.11848739495798299</c:v>
                </c:pt>
                <c:pt idx="9119">
                  <c:v>-0.11848739495798299</c:v>
                </c:pt>
                <c:pt idx="9120">
                  <c:v>-0.11848739495798299</c:v>
                </c:pt>
                <c:pt idx="9121">
                  <c:v>-0.11848739495798299</c:v>
                </c:pt>
                <c:pt idx="9122">
                  <c:v>-0.11848739495798299</c:v>
                </c:pt>
                <c:pt idx="9123">
                  <c:v>-0.11848739495798299</c:v>
                </c:pt>
                <c:pt idx="9124">
                  <c:v>-0.11848739495798299</c:v>
                </c:pt>
                <c:pt idx="9125">
                  <c:v>-0.11764705882352899</c:v>
                </c:pt>
                <c:pt idx="9126">
                  <c:v>-0.11764705882352899</c:v>
                </c:pt>
                <c:pt idx="9127">
                  <c:v>-0.11764705882352899</c:v>
                </c:pt>
                <c:pt idx="9128">
                  <c:v>-0.11764705882352899</c:v>
                </c:pt>
                <c:pt idx="9129">
                  <c:v>-0.11764705882352899</c:v>
                </c:pt>
                <c:pt idx="9130">
                  <c:v>-0.11680672268907499</c:v>
                </c:pt>
                <c:pt idx="9131">
                  <c:v>-0.11680672268907499</c:v>
                </c:pt>
                <c:pt idx="9132">
                  <c:v>-0.11680672268907499</c:v>
                </c:pt>
                <c:pt idx="9133">
                  <c:v>-0.11680672268907499</c:v>
                </c:pt>
                <c:pt idx="9134">
                  <c:v>-0.11680672268907499</c:v>
                </c:pt>
                <c:pt idx="9135">
                  <c:v>-0.11680672268907499</c:v>
                </c:pt>
                <c:pt idx="9136">
                  <c:v>-0.11680672268907499</c:v>
                </c:pt>
                <c:pt idx="9137">
                  <c:v>-0.11680672268907499</c:v>
                </c:pt>
                <c:pt idx="9138">
                  <c:v>-0.11680672268907499</c:v>
                </c:pt>
                <c:pt idx="9139">
                  <c:v>-0.11680672268907499</c:v>
                </c:pt>
                <c:pt idx="9140">
                  <c:v>-0.11680672268907499</c:v>
                </c:pt>
                <c:pt idx="9141">
                  <c:v>-0.11680672268907499</c:v>
                </c:pt>
                <c:pt idx="9142">
                  <c:v>-0.11680672268907499</c:v>
                </c:pt>
                <c:pt idx="9143">
                  <c:v>-0.11680672268907499</c:v>
                </c:pt>
                <c:pt idx="9144">
                  <c:v>-0.11680672268907499</c:v>
                </c:pt>
                <c:pt idx="9145">
                  <c:v>-0.11596638655462101</c:v>
                </c:pt>
                <c:pt idx="9146">
                  <c:v>-0.11596638655462101</c:v>
                </c:pt>
                <c:pt idx="9147">
                  <c:v>-0.11596638655462101</c:v>
                </c:pt>
                <c:pt idx="9148">
                  <c:v>-0.11596638655462101</c:v>
                </c:pt>
                <c:pt idx="9149">
                  <c:v>-0.11596638655462101</c:v>
                </c:pt>
                <c:pt idx="9150">
                  <c:v>-0.11596638655462101</c:v>
                </c:pt>
                <c:pt idx="9151">
                  <c:v>-0.11596638655462101</c:v>
                </c:pt>
                <c:pt idx="9152">
                  <c:v>-0.11596638655462101</c:v>
                </c:pt>
                <c:pt idx="9153">
                  <c:v>-0.11596638655462101</c:v>
                </c:pt>
                <c:pt idx="9154">
                  <c:v>-0.11596638655462101</c:v>
                </c:pt>
                <c:pt idx="9155">
                  <c:v>-0.11680672268907499</c:v>
                </c:pt>
                <c:pt idx="9156">
                  <c:v>-0.11680672268907499</c:v>
                </c:pt>
                <c:pt idx="9157">
                  <c:v>-0.11680672268907499</c:v>
                </c:pt>
                <c:pt idx="9158">
                  <c:v>-0.11680672268907499</c:v>
                </c:pt>
                <c:pt idx="9159">
                  <c:v>-0.11680672268907499</c:v>
                </c:pt>
                <c:pt idx="9160">
                  <c:v>-0.11680672268907499</c:v>
                </c:pt>
                <c:pt idx="9161">
                  <c:v>-0.11680672268907499</c:v>
                </c:pt>
                <c:pt idx="9162">
                  <c:v>-0.11680672268907499</c:v>
                </c:pt>
                <c:pt idx="9163">
                  <c:v>-0.11680672268907499</c:v>
                </c:pt>
                <c:pt idx="9164">
                  <c:v>-0.11680672268907499</c:v>
                </c:pt>
                <c:pt idx="9165">
                  <c:v>-0.11680672268907499</c:v>
                </c:pt>
                <c:pt idx="9166">
                  <c:v>-0.11680672268907499</c:v>
                </c:pt>
                <c:pt idx="9167">
                  <c:v>-0.11680672268907499</c:v>
                </c:pt>
                <c:pt idx="9168">
                  <c:v>-0.11680672268907499</c:v>
                </c:pt>
                <c:pt idx="9169">
                  <c:v>-0.11680672268907499</c:v>
                </c:pt>
                <c:pt idx="9170">
                  <c:v>-0.11680672268907499</c:v>
                </c:pt>
                <c:pt idx="9171">
                  <c:v>-0.11680672268907499</c:v>
                </c:pt>
                <c:pt idx="9172">
                  <c:v>-0.11680672268907499</c:v>
                </c:pt>
                <c:pt idx="9173">
                  <c:v>-0.11680672268907499</c:v>
                </c:pt>
                <c:pt idx="9174">
                  <c:v>-0.11680672268907499</c:v>
                </c:pt>
                <c:pt idx="9175">
                  <c:v>-0.11680672268907499</c:v>
                </c:pt>
                <c:pt idx="9176">
                  <c:v>-0.11680672268907499</c:v>
                </c:pt>
                <c:pt idx="9177">
                  <c:v>-0.11680672268907499</c:v>
                </c:pt>
                <c:pt idx="9178">
                  <c:v>-0.11680672268907499</c:v>
                </c:pt>
                <c:pt idx="9179">
                  <c:v>-0.11680672268907499</c:v>
                </c:pt>
                <c:pt idx="9180">
                  <c:v>-0.11680672268907499</c:v>
                </c:pt>
                <c:pt idx="9181">
                  <c:v>-0.11680672268907499</c:v>
                </c:pt>
                <c:pt idx="9182">
                  <c:v>-0.11680672268907499</c:v>
                </c:pt>
                <c:pt idx="9183">
                  <c:v>-0.11680672268907499</c:v>
                </c:pt>
                <c:pt idx="9184">
                  <c:v>-0.11680672268907499</c:v>
                </c:pt>
                <c:pt idx="9185">
                  <c:v>-0.11680672268907499</c:v>
                </c:pt>
                <c:pt idx="9186">
                  <c:v>-0.11680672268907499</c:v>
                </c:pt>
                <c:pt idx="9187">
                  <c:v>-0.11680672268907499</c:v>
                </c:pt>
                <c:pt idx="9188">
                  <c:v>-0.11680672268907499</c:v>
                </c:pt>
                <c:pt idx="9189">
                  <c:v>-0.11680672268907499</c:v>
                </c:pt>
                <c:pt idx="9190">
                  <c:v>-0.11680672268907499</c:v>
                </c:pt>
                <c:pt idx="9191">
                  <c:v>-0.11680672268907499</c:v>
                </c:pt>
                <c:pt idx="9192">
                  <c:v>-0.11680672268907499</c:v>
                </c:pt>
                <c:pt idx="9193">
                  <c:v>-0.11596638655462101</c:v>
                </c:pt>
                <c:pt idx="9194">
                  <c:v>-0.11596638655462101</c:v>
                </c:pt>
                <c:pt idx="9195">
                  <c:v>-0.11596638655462101</c:v>
                </c:pt>
                <c:pt idx="9196">
                  <c:v>-0.11596638655462101</c:v>
                </c:pt>
                <c:pt idx="9197">
                  <c:v>-0.11596638655462101</c:v>
                </c:pt>
                <c:pt idx="9198">
                  <c:v>-0.11596638655462101</c:v>
                </c:pt>
                <c:pt idx="9199">
                  <c:v>-0.11596638655462101</c:v>
                </c:pt>
                <c:pt idx="9200">
                  <c:v>-0.11596638655462101</c:v>
                </c:pt>
                <c:pt idx="9201">
                  <c:v>-0.11596638655462101</c:v>
                </c:pt>
                <c:pt idx="9202">
                  <c:v>-0.11596638655462101</c:v>
                </c:pt>
                <c:pt idx="9203">
                  <c:v>-0.11596638655462101</c:v>
                </c:pt>
                <c:pt idx="9204">
                  <c:v>-0.11596638655462101</c:v>
                </c:pt>
                <c:pt idx="9205">
                  <c:v>-0.11596638655462101</c:v>
                </c:pt>
                <c:pt idx="9206">
                  <c:v>-0.11596638655462101</c:v>
                </c:pt>
                <c:pt idx="9207">
                  <c:v>-0.11596638655462101</c:v>
                </c:pt>
                <c:pt idx="9208">
                  <c:v>-0.11596638655462101</c:v>
                </c:pt>
                <c:pt idx="9209">
                  <c:v>-0.11596638655462101</c:v>
                </c:pt>
                <c:pt idx="9210">
                  <c:v>-0.11596638655462101</c:v>
                </c:pt>
                <c:pt idx="9211">
                  <c:v>-0.11596638655462101</c:v>
                </c:pt>
                <c:pt idx="9212">
                  <c:v>-0.11596638655462101</c:v>
                </c:pt>
                <c:pt idx="9213">
                  <c:v>-0.11596638655462101</c:v>
                </c:pt>
                <c:pt idx="9214">
                  <c:v>-0.11596638655462101</c:v>
                </c:pt>
                <c:pt idx="9215">
                  <c:v>-0.11596638655462101</c:v>
                </c:pt>
                <c:pt idx="9216">
                  <c:v>-0.11596638655462101</c:v>
                </c:pt>
                <c:pt idx="9217">
                  <c:v>-0.11596638655462101</c:v>
                </c:pt>
                <c:pt idx="9218">
                  <c:v>-0.11596638655462101</c:v>
                </c:pt>
                <c:pt idx="9219">
                  <c:v>-0.11596638655462101</c:v>
                </c:pt>
                <c:pt idx="9220">
                  <c:v>-0.11596638655462101</c:v>
                </c:pt>
                <c:pt idx="9221">
                  <c:v>-0.11596638655462101</c:v>
                </c:pt>
                <c:pt idx="9222">
                  <c:v>-0.11596638655462101</c:v>
                </c:pt>
                <c:pt idx="9223">
                  <c:v>-0.11596638655462101</c:v>
                </c:pt>
                <c:pt idx="9224">
                  <c:v>-0.11596638655462101</c:v>
                </c:pt>
                <c:pt idx="9225">
                  <c:v>-0.11596638655462101</c:v>
                </c:pt>
                <c:pt idx="9226">
                  <c:v>-0.11596638655462101</c:v>
                </c:pt>
                <c:pt idx="9227">
                  <c:v>-0.11596638655462101</c:v>
                </c:pt>
                <c:pt idx="9228">
                  <c:v>-0.11512605042016801</c:v>
                </c:pt>
                <c:pt idx="9229">
                  <c:v>-0.11512605042016801</c:v>
                </c:pt>
                <c:pt idx="9230">
                  <c:v>-0.11512605042016801</c:v>
                </c:pt>
                <c:pt idx="9231">
                  <c:v>-0.11512605042016801</c:v>
                </c:pt>
                <c:pt idx="9232">
                  <c:v>-0.11512605042016801</c:v>
                </c:pt>
                <c:pt idx="9233">
                  <c:v>-0.11512605042016801</c:v>
                </c:pt>
                <c:pt idx="9234">
                  <c:v>-0.11512605042016801</c:v>
                </c:pt>
                <c:pt idx="9235">
                  <c:v>-0.11512605042016801</c:v>
                </c:pt>
                <c:pt idx="9236">
                  <c:v>-0.11512605042016801</c:v>
                </c:pt>
                <c:pt idx="9237">
                  <c:v>-0.11512605042016801</c:v>
                </c:pt>
                <c:pt idx="9238">
                  <c:v>-0.11512605042016801</c:v>
                </c:pt>
                <c:pt idx="9239">
                  <c:v>-0.11512605042016801</c:v>
                </c:pt>
                <c:pt idx="9240">
                  <c:v>-0.11512605042016801</c:v>
                </c:pt>
                <c:pt idx="9241">
                  <c:v>-0.11512605042016801</c:v>
                </c:pt>
                <c:pt idx="9242">
                  <c:v>-0.11512605042016801</c:v>
                </c:pt>
                <c:pt idx="9243">
                  <c:v>-0.11512605042016801</c:v>
                </c:pt>
                <c:pt idx="9244">
                  <c:v>-0.11512605042016801</c:v>
                </c:pt>
                <c:pt idx="9245">
                  <c:v>-0.11512605042016801</c:v>
                </c:pt>
                <c:pt idx="9246">
                  <c:v>-0.11512605042016801</c:v>
                </c:pt>
                <c:pt idx="9247">
                  <c:v>-0.11512605042016801</c:v>
                </c:pt>
                <c:pt idx="9248">
                  <c:v>-0.11512605042016801</c:v>
                </c:pt>
                <c:pt idx="9249">
                  <c:v>-0.11512605042016801</c:v>
                </c:pt>
                <c:pt idx="9250">
                  <c:v>-0.11512605042016801</c:v>
                </c:pt>
                <c:pt idx="9251">
                  <c:v>-0.11512605042016801</c:v>
                </c:pt>
                <c:pt idx="9252">
                  <c:v>-0.11512605042016801</c:v>
                </c:pt>
                <c:pt idx="9253">
                  <c:v>-0.11512605042016801</c:v>
                </c:pt>
                <c:pt idx="9254">
                  <c:v>-0.114285714285714</c:v>
                </c:pt>
                <c:pt idx="9255">
                  <c:v>-0.114285714285714</c:v>
                </c:pt>
                <c:pt idx="9256">
                  <c:v>-0.114285714285714</c:v>
                </c:pt>
                <c:pt idx="9257">
                  <c:v>-0.114285714285714</c:v>
                </c:pt>
                <c:pt idx="9258">
                  <c:v>-0.114285714285714</c:v>
                </c:pt>
                <c:pt idx="9259">
                  <c:v>-0.114285714285714</c:v>
                </c:pt>
                <c:pt idx="9260">
                  <c:v>-0.114285714285714</c:v>
                </c:pt>
                <c:pt idx="9261">
                  <c:v>-0.114285714285714</c:v>
                </c:pt>
                <c:pt idx="9262">
                  <c:v>-0.114285714285714</c:v>
                </c:pt>
                <c:pt idx="9263">
                  <c:v>-0.11512605042016801</c:v>
                </c:pt>
                <c:pt idx="9264">
                  <c:v>-0.11512605042016801</c:v>
                </c:pt>
                <c:pt idx="9265">
                  <c:v>-0.11512605042016801</c:v>
                </c:pt>
                <c:pt idx="9266">
                  <c:v>-0.11512605042016801</c:v>
                </c:pt>
                <c:pt idx="9267">
                  <c:v>-0.11512605042016801</c:v>
                </c:pt>
                <c:pt idx="9268">
                  <c:v>-0.11512605042016801</c:v>
                </c:pt>
                <c:pt idx="9269">
                  <c:v>-0.11512605042016801</c:v>
                </c:pt>
                <c:pt idx="9270">
                  <c:v>-0.11512605042016801</c:v>
                </c:pt>
                <c:pt idx="9271">
                  <c:v>-0.11512605042016801</c:v>
                </c:pt>
                <c:pt idx="9272">
                  <c:v>-0.11512605042016801</c:v>
                </c:pt>
                <c:pt idx="9273">
                  <c:v>-0.11512605042016801</c:v>
                </c:pt>
                <c:pt idx="9274">
                  <c:v>-0.11512605042016801</c:v>
                </c:pt>
                <c:pt idx="9275">
                  <c:v>-0.11512605042016801</c:v>
                </c:pt>
                <c:pt idx="9276">
                  <c:v>-0.11512605042016801</c:v>
                </c:pt>
                <c:pt idx="9277">
                  <c:v>-0.11512605042016801</c:v>
                </c:pt>
                <c:pt idx="9278">
                  <c:v>-0.11596638655462101</c:v>
                </c:pt>
                <c:pt idx="9279">
                  <c:v>-0.11596638655462101</c:v>
                </c:pt>
                <c:pt idx="9280">
                  <c:v>-0.11596638655462101</c:v>
                </c:pt>
                <c:pt idx="9281">
                  <c:v>-0.11596638655462101</c:v>
                </c:pt>
                <c:pt idx="9282">
                  <c:v>-0.11596638655462101</c:v>
                </c:pt>
                <c:pt idx="9283">
                  <c:v>-0.11596638655462101</c:v>
                </c:pt>
                <c:pt idx="9284">
                  <c:v>-0.11596638655462101</c:v>
                </c:pt>
                <c:pt idx="9285">
                  <c:v>-0.11512605042016801</c:v>
                </c:pt>
                <c:pt idx="9286">
                  <c:v>-0.11512605042016801</c:v>
                </c:pt>
                <c:pt idx="9287">
                  <c:v>-0.11512605042016801</c:v>
                </c:pt>
                <c:pt idx="9288">
                  <c:v>-0.11512605042016801</c:v>
                </c:pt>
                <c:pt idx="9289">
                  <c:v>-0.11512605042016801</c:v>
                </c:pt>
                <c:pt idx="9290">
                  <c:v>-0.11512605042016801</c:v>
                </c:pt>
                <c:pt idx="9291">
                  <c:v>-0.11512605042016801</c:v>
                </c:pt>
                <c:pt idx="9292">
                  <c:v>-0.11512605042016801</c:v>
                </c:pt>
                <c:pt idx="9293">
                  <c:v>-0.11512605042016801</c:v>
                </c:pt>
                <c:pt idx="9294">
                  <c:v>-0.11512605042016801</c:v>
                </c:pt>
                <c:pt idx="9295">
                  <c:v>-0.11512605042016801</c:v>
                </c:pt>
                <c:pt idx="9296">
                  <c:v>-0.11512605042016801</c:v>
                </c:pt>
                <c:pt idx="9297">
                  <c:v>-0.11512605042016801</c:v>
                </c:pt>
                <c:pt idx="9298">
                  <c:v>-0.11512605042016801</c:v>
                </c:pt>
                <c:pt idx="9299">
                  <c:v>-0.11512605042016801</c:v>
                </c:pt>
                <c:pt idx="9300">
                  <c:v>-0.11596638655462101</c:v>
                </c:pt>
                <c:pt idx="9301">
                  <c:v>-0.11596638655462101</c:v>
                </c:pt>
                <c:pt idx="9302">
                  <c:v>-0.11596638655462101</c:v>
                </c:pt>
                <c:pt idx="9303">
                  <c:v>-0.11596638655462101</c:v>
                </c:pt>
                <c:pt idx="9304">
                  <c:v>-0.11596638655462101</c:v>
                </c:pt>
                <c:pt idx="9305">
                  <c:v>-0.11596638655462101</c:v>
                </c:pt>
                <c:pt idx="9306">
                  <c:v>-0.11596638655462101</c:v>
                </c:pt>
                <c:pt idx="9307">
                  <c:v>-0.11596638655462101</c:v>
                </c:pt>
                <c:pt idx="9308">
                  <c:v>-0.11596638655462101</c:v>
                </c:pt>
                <c:pt idx="9309">
                  <c:v>-0.11512605042016801</c:v>
                </c:pt>
                <c:pt idx="9310">
                  <c:v>-0.11512605042016801</c:v>
                </c:pt>
                <c:pt idx="9311">
                  <c:v>-0.11512605042016801</c:v>
                </c:pt>
                <c:pt idx="9312">
                  <c:v>-0.11512605042016801</c:v>
                </c:pt>
                <c:pt idx="9313">
                  <c:v>-0.11512605042016801</c:v>
                </c:pt>
                <c:pt idx="9314">
                  <c:v>-0.11512605042016801</c:v>
                </c:pt>
                <c:pt idx="9315">
                  <c:v>-0.11512605042016801</c:v>
                </c:pt>
                <c:pt idx="9316">
                  <c:v>-0.11512605042016801</c:v>
                </c:pt>
                <c:pt idx="9317">
                  <c:v>-0.11512605042016801</c:v>
                </c:pt>
                <c:pt idx="9318">
                  <c:v>-0.11512605042016801</c:v>
                </c:pt>
                <c:pt idx="9319">
                  <c:v>-0.11512605042016801</c:v>
                </c:pt>
                <c:pt idx="9320">
                  <c:v>-0.11512605042016801</c:v>
                </c:pt>
                <c:pt idx="9321">
                  <c:v>-0.11512605042016801</c:v>
                </c:pt>
                <c:pt idx="9322">
                  <c:v>-0.11512605042016801</c:v>
                </c:pt>
                <c:pt idx="9323">
                  <c:v>-0.11512605042016801</c:v>
                </c:pt>
                <c:pt idx="9324">
                  <c:v>-0.11512605042016801</c:v>
                </c:pt>
                <c:pt idx="9325">
                  <c:v>-0.11512605042016801</c:v>
                </c:pt>
                <c:pt idx="9326">
                  <c:v>-0.11512605042016801</c:v>
                </c:pt>
                <c:pt idx="9327">
                  <c:v>-0.11512605042016801</c:v>
                </c:pt>
                <c:pt idx="9328">
                  <c:v>-0.11596638655462101</c:v>
                </c:pt>
                <c:pt idx="9329">
                  <c:v>-0.11596638655462101</c:v>
                </c:pt>
                <c:pt idx="9330">
                  <c:v>-0.11596638655462101</c:v>
                </c:pt>
                <c:pt idx="9331">
                  <c:v>-0.11596638655462101</c:v>
                </c:pt>
                <c:pt idx="9332">
                  <c:v>-0.11596638655462101</c:v>
                </c:pt>
                <c:pt idx="9333">
                  <c:v>-0.11596638655462101</c:v>
                </c:pt>
                <c:pt idx="9334">
                  <c:v>-0.11596638655462101</c:v>
                </c:pt>
                <c:pt idx="9335">
                  <c:v>-0.11596638655462101</c:v>
                </c:pt>
                <c:pt idx="9336">
                  <c:v>-0.11596638655462101</c:v>
                </c:pt>
                <c:pt idx="9337">
                  <c:v>-0.11596638655462101</c:v>
                </c:pt>
                <c:pt idx="9338">
                  <c:v>-0.11596638655462101</c:v>
                </c:pt>
                <c:pt idx="9339">
                  <c:v>-0.11596638655462101</c:v>
                </c:pt>
                <c:pt idx="9340">
                  <c:v>-0.11596638655462101</c:v>
                </c:pt>
                <c:pt idx="9341">
                  <c:v>-0.11596638655462101</c:v>
                </c:pt>
                <c:pt idx="9342">
                  <c:v>-0.11596638655462101</c:v>
                </c:pt>
                <c:pt idx="9343">
                  <c:v>-0.11596638655462101</c:v>
                </c:pt>
                <c:pt idx="9344">
                  <c:v>-0.11596638655462101</c:v>
                </c:pt>
                <c:pt idx="9345">
                  <c:v>-0.11596638655462101</c:v>
                </c:pt>
                <c:pt idx="9346">
                  <c:v>-0.11596638655462101</c:v>
                </c:pt>
                <c:pt idx="9347">
                  <c:v>-0.11596638655462101</c:v>
                </c:pt>
                <c:pt idx="9348">
                  <c:v>-0.11596638655462101</c:v>
                </c:pt>
                <c:pt idx="9349">
                  <c:v>-0.11596638655462101</c:v>
                </c:pt>
                <c:pt idx="9350">
                  <c:v>-0.11596638655462101</c:v>
                </c:pt>
                <c:pt idx="9351">
                  <c:v>-0.11596638655462101</c:v>
                </c:pt>
                <c:pt idx="9352">
                  <c:v>-0.11596638655462101</c:v>
                </c:pt>
                <c:pt idx="9353">
                  <c:v>-0.11596638655462101</c:v>
                </c:pt>
                <c:pt idx="9354">
                  <c:v>-0.11596638655462101</c:v>
                </c:pt>
                <c:pt idx="9355">
                  <c:v>-0.11596638655462101</c:v>
                </c:pt>
                <c:pt idx="9356">
                  <c:v>-0.11680672268907499</c:v>
                </c:pt>
                <c:pt idx="9357">
                  <c:v>-0.11680672268907499</c:v>
                </c:pt>
                <c:pt idx="9358">
                  <c:v>-0.11680672268907499</c:v>
                </c:pt>
                <c:pt idx="9359">
                  <c:v>-0.11680672268907499</c:v>
                </c:pt>
                <c:pt idx="9360">
                  <c:v>-0.11680672268907499</c:v>
                </c:pt>
                <c:pt idx="9361">
                  <c:v>-0.11680672268907499</c:v>
                </c:pt>
                <c:pt idx="9362">
                  <c:v>-0.11680672268907499</c:v>
                </c:pt>
                <c:pt idx="9363">
                  <c:v>-0.11764705882352899</c:v>
                </c:pt>
                <c:pt idx="9364">
                  <c:v>-0.11764705882352899</c:v>
                </c:pt>
                <c:pt idx="9365">
                  <c:v>-0.11764705882352899</c:v>
                </c:pt>
                <c:pt idx="9366">
                  <c:v>-0.11764705882352899</c:v>
                </c:pt>
                <c:pt idx="9367">
                  <c:v>-0.11764705882352899</c:v>
                </c:pt>
                <c:pt idx="9368">
                  <c:v>-0.11764705882352899</c:v>
                </c:pt>
                <c:pt idx="9369">
                  <c:v>-0.11764705882352899</c:v>
                </c:pt>
                <c:pt idx="9370">
                  <c:v>-0.11764705882352899</c:v>
                </c:pt>
                <c:pt idx="9371">
                  <c:v>-0.11764705882352899</c:v>
                </c:pt>
                <c:pt idx="9372">
                  <c:v>-0.11764705882352899</c:v>
                </c:pt>
                <c:pt idx="9373">
                  <c:v>-0.11764705882352899</c:v>
                </c:pt>
                <c:pt idx="9374">
                  <c:v>-0.11680672268907499</c:v>
                </c:pt>
                <c:pt idx="9375">
                  <c:v>-0.11680672268907499</c:v>
                </c:pt>
                <c:pt idx="9376">
                  <c:v>-0.11680672268907499</c:v>
                </c:pt>
                <c:pt idx="9377">
                  <c:v>-0.11680672268907499</c:v>
                </c:pt>
                <c:pt idx="9378">
                  <c:v>-0.11680672268907499</c:v>
                </c:pt>
                <c:pt idx="9379">
                  <c:v>-0.11680672268907499</c:v>
                </c:pt>
                <c:pt idx="9380">
                  <c:v>-0.11680672268907499</c:v>
                </c:pt>
                <c:pt idx="9381">
                  <c:v>-0.11680672268907499</c:v>
                </c:pt>
                <c:pt idx="9382">
                  <c:v>-0.11680672268907499</c:v>
                </c:pt>
                <c:pt idx="9383">
                  <c:v>-0.11596638655462101</c:v>
                </c:pt>
                <c:pt idx="9384">
                  <c:v>-0.11596638655462101</c:v>
                </c:pt>
                <c:pt idx="9385">
                  <c:v>-0.11596638655462101</c:v>
                </c:pt>
                <c:pt idx="9386">
                  <c:v>-0.11596638655462101</c:v>
                </c:pt>
                <c:pt idx="9387">
                  <c:v>-0.11596638655462101</c:v>
                </c:pt>
                <c:pt idx="9388">
                  <c:v>-0.11596638655462101</c:v>
                </c:pt>
                <c:pt idx="9389">
                  <c:v>-0.11596638655462101</c:v>
                </c:pt>
                <c:pt idx="9390">
                  <c:v>-0.11596638655462101</c:v>
                </c:pt>
                <c:pt idx="9391">
                  <c:v>-0.11596638655462101</c:v>
                </c:pt>
                <c:pt idx="9392">
                  <c:v>-0.11596638655462101</c:v>
                </c:pt>
                <c:pt idx="9393">
                  <c:v>-0.11512605042016801</c:v>
                </c:pt>
                <c:pt idx="9394">
                  <c:v>-0.11512605042016801</c:v>
                </c:pt>
                <c:pt idx="9395">
                  <c:v>-0.11512605042016801</c:v>
                </c:pt>
                <c:pt idx="9396">
                  <c:v>-0.11512605042016801</c:v>
                </c:pt>
                <c:pt idx="9397">
                  <c:v>-0.11512605042016801</c:v>
                </c:pt>
                <c:pt idx="9398">
                  <c:v>-0.11512605042016801</c:v>
                </c:pt>
                <c:pt idx="9399">
                  <c:v>-0.11512605042016801</c:v>
                </c:pt>
                <c:pt idx="9400">
                  <c:v>-0.11512605042016801</c:v>
                </c:pt>
                <c:pt idx="9401">
                  <c:v>-0.11512605042016801</c:v>
                </c:pt>
                <c:pt idx="9402">
                  <c:v>-0.11512605042016801</c:v>
                </c:pt>
                <c:pt idx="9403">
                  <c:v>-0.11512605042016801</c:v>
                </c:pt>
                <c:pt idx="9404">
                  <c:v>-0.11512605042016801</c:v>
                </c:pt>
                <c:pt idx="9405">
                  <c:v>-0.11512605042016801</c:v>
                </c:pt>
                <c:pt idx="9406">
                  <c:v>-0.11512605042016801</c:v>
                </c:pt>
                <c:pt idx="9407">
                  <c:v>-0.11512605042016801</c:v>
                </c:pt>
                <c:pt idx="9408">
                  <c:v>-0.11512605042016801</c:v>
                </c:pt>
                <c:pt idx="9409">
                  <c:v>-0.11512605042016801</c:v>
                </c:pt>
                <c:pt idx="9410">
                  <c:v>-0.11512605042016801</c:v>
                </c:pt>
                <c:pt idx="9411">
                  <c:v>-0.11512605042016801</c:v>
                </c:pt>
                <c:pt idx="9412">
                  <c:v>-0.11512605042016801</c:v>
                </c:pt>
                <c:pt idx="9413">
                  <c:v>-0.114285714285714</c:v>
                </c:pt>
                <c:pt idx="9414">
                  <c:v>-0.114285714285714</c:v>
                </c:pt>
                <c:pt idx="9415">
                  <c:v>-0.114285714285714</c:v>
                </c:pt>
                <c:pt idx="9416">
                  <c:v>-0.114285714285714</c:v>
                </c:pt>
                <c:pt idx="9417">
                  <c:v>-0.114285714285714</c:v>
                </c:pt>
                <c:pt idx="9418">
                  <c:v>-0.114285714285714</c:v>
                </c:pt>
                <c:pt idx="9419">
                  <c:v>-0.114285714285714</c:v>
                </c:pt>
                <c:pt idx="9420">
                  <c:v>-0.114285714285714</c:v>
                </c:pt>
                <c:pt idx="9421">
                  <c:v>-0.114285714285714</c:v>
                </c:pt>
                <c:pt idx="9422">
                  <c:v>-0.114285714285714</c:v>
                </c:pt>
                <c:pt idx="9423">
                  <c:v>-0.114285714285714</c:v>
                </c:pt>
                <c:pt idx="9424">
                  <c:v>-0.114285714285714</c:v>
                </c:pt>
                <c:pt idx="9425">
                  <c:v>-0.114285714285714</c:v>
                </c:pt>
                <c:pt idx="9426">
                  <c:v>-0.114285714285714</c:v>
                </c:pt>
                <c:pt idx="9427">
                  <c:v>-0.114285714285714</c:v>
                </c:pt>
                <c:pt idx="9428">
                  <c:v>-0.114285714285714</c:v>
                </c:pt>
                <c:pt idx="9429">
                  <c:v>-0.11512605042016801</c:v>
                </c:pt>
                <c:pt idx="9430">
                  <c:v>-0.11512605042016801</c:v>
                </c:pt>
                <c:pt idx="9431">
                  <c:v>-0.11512605042016801</c:v>
                </c:pt>
                <c:pt idx="9432">
                  <c:v>-0.11512605042016801</c:v>
                </c:pt>
                <c:pt idx="9433">
                  <c:v>-0.11512605042016801</c:v>
                </c:pt>
                <c:pt idx="9434">
                  <c:v>-0.11512605042016801</c:v>
                </c:pt>
                <c:pt idx="9435">
                  <c:v>-0.11512605042016801</c:v>
                </c:pt>
                <c:pt idx="9436">
                  <c:v>-0.11512605042016801</c:v>
                </c:pt>
                <c:pt idx="9437">
                  <c:v>-0.11512605042016801</c:v>
                </c:pt>
                <c:pt idx="9438">
                  <c:v>-0.11512605042016801</c:v>
                </c:pt>
                <c:pt idx="9439">
                  <c:v>-0.11512605042016801</c:v>
                </c:pt>
                <c:pt idx="9440">
                  <c:v>-0.11512605042016801</c:v>
                </c:pt>
                <c:pt idx="9441">
                  <c:v>-0.114285714285714</c:v>
                </c:pt>
                <c:pt idx="9442">
                  <c:v>-0.114285714285714</c:v>
                </c:pt>
                <c:pt idx="9443">
                  <c:v>-0.114285714285714</c:v>
                </c:pt>
                <c:pt idx="9444">
                  <c:v>-0.11512605042016801</c:v>
                </c:pt>
                <c:pt idx="9445">
                  <c:v>-0.11512605042016801</c:v>
                </c:pt>
                <c:pt idx="9446">
                  <c:v>-0.11512605042016801</c:v>
                </c:pt>
                <c:pt idx="9447">
                  <c:v>-0.11512605042016801</c:v>
                </c:pt>
                <c:pt idx="9448">
                  <c:v>-0.114285714285714</c:v>
                </c:pt>
                <c:pt idx="9449">
                  <c:v>-0.114285714285714</c:v>
                </c:pt>
                <c:pt idx="9450">
                  <c:v>-0.114285714285714</c:v>
                </c:pt>
                <c:pt idx="9451">
                  <c:v>-0.114285714285714</c:v>
                </c:pt>
                <c:pt idx="9452">
                  <c:v>-0.114285714285714</c:v>
                </c:pt>
                <c:pt idx="9453">
                  <c:v>-0.114285714285714</c:v>
                </c:pt>
                <c:pt idx="9454">
                  <c:v>-0.114285714285714</c:v>
                </c:pt>
                <c:pt idx="9455">
                  <c:v>-0.114285714285714</c:v>
                </c:pt>
                <c:pt idx="9456">
                  <c:v>-0.114285714285714</c:v>
                </c:pt>
                <c:pt idx="9457">
                  <c:v>-0.114285714285714</c:v>
                </c:pt>
                <c:pt idx="9458">
                  <c:v>-0.114285714285714</c:v>
                </c:pt>
                <c:pt idx="9459">
                  <c:v>-0.114285714285714</c:v>
                </c:pt>
                <c:pt idx="9460">
                  <c:v>-0.114285714285714</c:v>
                </c:pt>
                <c:pt idx="9461">
                  <c:v>-0.114285714285714</c:v>
                </c:pt>
                <c:pt idx="9462">
                  <c:v>-0.114285714285714</c:v>
                </c:pt>
                <c:pt idx="9463">
                  <c:v>-0.114285714285714</c:v>
                </c:pt>
                <c:pt idx="9464">
                  <c:v>-0.114285714285714</c:v>
                </c:pt>
                <c:pt idx="9465">
                  <c:v>-0.114285714285714</c:v>
                </c:pt>
                <c:pt idx="9466">
                  <c:v>-0.114285714285714</c:v>
                </c:pt>
                <c:pt idx="9467">
                  <c:v>-0.114285714285714</c:v>
                </c:pt>
                <c:pt idx="9468">
                  <c:v>-0.114285714285714</c:v>
                </c:pt>
                <c:pt idx="9469">
                  <c:v>-0.114285714285714</c:v>
                </c:pt>
                <c:pt idx="9470">
                  <c:v>-0.114285714285714</c:v>
                </c:pt>
                <c:pt idx="9471">
                  <c:v>-0.114285714285714</c:v>
                </c:pt>
                <c:pt idx="9472">
                  <c:v>-0.114285714285714</c:v>
                </c:pt>
                <c:pt idx="9473">
                  <c:v>-0.11344537815126</c:v>
                </c:pt>
                <c:pt idx="9474">
                  <c:v>-0.11344537815126</c:v>
                </c:pt>
                <c:pt idx="9475">
                  <c:v>-0.11344537815126</c:v>
                </c:pt>
                <c:pt idx="9476">
                  <c:v>-0.11344537815126</c:v>
                </c:pt>
                <c:pt idx="9477">
                  <c:v>-0.11344537815126</c:v>
                </c:pt>
                <c:pt idx="9478">
                  <c:v>-0.11344537815126</c:v>
                </c:pt>
                <c:pt idx="9479">
                  <c:v>-0.11344537815126</c:v>
                </c:pt>
                <c:pt idx="9480">
                  <c:v>-0.11344537815126</c:v>
                </c:pt>
                <c:pt idx="9481">
                  <c:v>-0.11344537815126</c:v>
                </c:pt>
                <c:pt idx="9482">
                  <c:v>-0.11344537815126</c:v>
                </c:pt>
                <c:pt idx="9483">
                  <c:v>-0.11344537815126</c:v>
                </c:pt>
                <c:pt idx="9484">
                  <c:v>-0.11344537815126</c:v>
                </c:pt>
                <c:pt idx="9485">
                  <c:v>-0.11344537815126</c:v>
                </c:pt>
                <c:pt idx="9486">
                  <c:v>-0.11344537815126</c:v>
                </c:pt>
                <c:pt idx="9487">
                  <c:v>-0.11344537815126</c:v>
                </c:pt>
                <c:pt idx="9488">
                  <c:v>-0.11344537815126</c:v>
                </c:pt>
                <c:pt idx="9489">
                  <c:v>-0.114285714285714</c:v>
                </c:pt>
                <c:pt idx="9490">
                  <c:v>-0.114285714285714</c:v>
                </c:pt>
                <c:pt idx="9491">
                  <c:v>-0.114285714285714</c:v>
                </c:pt>
                <c:pt idx="9492">
                  <c:v>-0.114285714285714</c:v>
                </c:pt>
                <c:pt idx="9493">
                  <c:v>-0.11512605042016801</c:v>
                </c:pt>
                <c:pt idx="9494">
                  <c:v>-0.11512605042016801</c:v>
                </c:pt>
                <c:pt idx="9495">
                  <c:v>-0.11512605042016801</c:v>
                </c:pt>
                <c:pt idx="9496">
                  <c:v>-0.11512605042016801</c:v>
                </c:pt>
                <c:pt idx="9497">
                  <c:v>-0.11512605042016801</c:v>
                </c:pt>
                <c:pt idx="9498">
                  <c:v>-0.11512605042016801</c:v>
                </c:pt>
                <c:pt idx="9499">
                  <c:v>-0.11512605042016801</c:v>
                </c:pt>
                <c:pt idx="9500">
                  <c:v>-0.11512605042016801</c:v>
                </c:pt>
                <c:pt idx="9501">
                  <c:v>-0.11512605042016801</c:v>
                </c:pt>
                <c:pt idx="9502">
                  <c:v>-0.11512605042016801</c:v>
                </c:pt>
                <c:pt idx="9503">
                  <c:v>-0.11512605042016801</c:v>
                </c:pt>
                <c:pt idx="9504">
                  <c:v>-0.11512605042016801</c:v>
                </c:pt>
                <c:pt idx="9505">
                  <c:v>-0.11512605042016801</c:v>
                </c:pt>
                <c:pt idx="9506">
                  <c:v>-0.11512605042016801</c:v>
                </c:pt>
                <c:pt idx="9507">
                  <c:v>-0.11512605042016801</c:v>
                </c:pt>
                <c:pt idx="9508">
                  <c:v>-0.11512605042016801</c:v>
                </c:pt>
                <c:pt idx="9509">
                  <c:v>-0.11512605042016801</c:v>
                </c:pt>
                <c:pt idx="9510">
                  <c:v>-0.11512605042016801</c:v>
                </c:pt>
                <c:pt idx="9511">
                  <c:v>-0.11512605042016801</c:v>
                </c:pt>
                <c:pt idx="9512">
                  <c:v>-0.11512605042016801</c:v>
                </c:pt>
                <c:pt idx="9513">
                  <c:v>-0.11512605042016801</c:v>
                </c:pt>
                <c:pt idx="9514">
                  <c:v>-0.11512605042016801</c:v>
                </c:pt>
                <c:pt idx="9515">
                  <c:v>-0.11512605042016801</c:v>
                </c:pt>
                <c:pt idx="9516">
                  <c:v>-0.11596638655462101</c:v>
                </c:pt>
                <c:pt idx="9517">
                  <c:v>-0.11596638655462101</c:v>
                </c:pt>
                <c:pt idx="9518">
                  <c:v>-0.11596638655462101</c:v>
                </c:pt>
                <c:pt idx="9519">
                  <c:v>-0.11596638655462101</c:v>
                </c:pt>
                <c:pt idx="9520">
                  <c:v>-0.11596638655462101</c:v>
                </c:pt>
                <c:pt idx="9521">
                  <c:v>-0.11596638655462101</c:v>
                </c:pt>
                <c:pt idx="9522">
                  <c:v>-0.11596638655462101</c:v>
                </c:pt>
                <c:pt idx="9523">
                  <c:v>-0.11596638655462101</c:v>
                </c:pt>
                <c:pt idx="9524">
                  <c:v>-0.11596638655462101</c:v>
                </c:pt>
                <c:pt idx="9525">
                  <c:v>-0.11596638655462101</c:v>
                </c:pt>
                <c:pt idx="9526">
                  <c:v>-0.11596638655462101</c:v>
                </c:pt>
                <c:pt idx="9527">
                  <c:v>-0.11596638655462101</c:v>
                </c:pt>
                <c:pt idx="9528">
                  <c:v>-0.11512605042016801</c:v>
                </c:pt>
                <c:pt idx="9529">
                  <c:v>-0.11512605042016801</c:v>
                </c:pt>
                <c:pt idx="9530">
                  <c:v>-0.11512605042016801</c:v>
                </c:pt>
                <c:pt idx="9531">
                  <c:v>-0.11512605042016801</c:v>
                </c:pt>
                <c:pt idx="9532">
                  <c:v>-0.11512605042016801</c:v>
                </c:pt>
                <c:pt idx="9533">
                  <c:v>-0.11512605042016801</c:v>
                </c:pt>
                <c:pt idx="9534">
                  <c:v>-0.11512605042016801</c:v>
                </c:pt>
                <c:pt idx="9535">
                  <c:v>-0.11512605042016801</c:v>
                </c:pt>
                <c:pt idx="9536">
                  <c:v>-0.11512605042016801</c:v>
                </c:pt>
                <c:pt idx="9537">
                  <c:v>-0.11512605042016801</c:v>
                </c:pt>
                <c:pt idx="9538">
                  <c:v>-0.11512605042016801</c:v>
                </c:pt>
                <c:pt idx="9539">
                  <c:v>-0.11512605042016801</c:v>
                </c:pt>
                <c:pt idx="9540">
                  <c:v>-0.11512605042016801</c:v>
                </c:pt>
                <c:pt idx="9541">
                  <c:v>-0.11512605042016801</c:v>
                </c:pt>
                <c:pt idx="9542">
                  <c:v>-0.11512605042016801</c:v>
                </c:pt>
                <c:pt idx="9543">
                  <c:v>-0.11512605042016801</c:v>
                </c:pt>
                <c:pt idx="9544">
                  <c:v>-0.11512605042016801</c:v>
                </c:pt>
                <c:pt idx="9545">
                  <c:v>-0.11512605042016801</c:v>
                </c:pt>
                <c:pt idx="9546">
                  <c:v>-0.11512605042016801</c:v>
                </c:pt>
                <c:pt idx="9547">
                  <c:v>-0.11512605042016801</c:v>
                </c:pt>
                <c:pt idx="9548">
                  <c:v>-0.11512605042016801</c:v>
                </c:pt>
                <c:pt idx="9549">
                  <c:v>-0.11512605042016801</c:v>
                </c:pt>
                <c:pt idx="9550">
                  <c:v>-0.11512605042016801</c:v>
                </c:pt>
                <c:pt idx="9551">
                  <c:v>-0.11512605042016801</c:v>
                </c:pt>
                <c:pt idx="9552">
                  <c:v>-0.11512605042016801</c:v>
                </c:pt>
                <c:pt idx="9553">
                  <c:v>-0.11512605042016801</c:v>
                </c:pt>
                <c:pt idx="9554">
                  <c:v>-0.11512605042016801</c:v>
                </c:pt>
                <c:pt idx="9555">
                  <c:v>-0.11512605042016801</c:v>
                </c:pt>
                <c:pt idx="9556">
                  <c:v>-0.11512605042016801</c:v>
                </c:pt>
                <c:pt idx="9557">
                  <c:v>-0.11512605042016801</c:v>
                </c:pt>
                <c:pt idx="9558">
                  <c:v>-0.11512605042016801</c:v>
                </c:pt>
                <c:pt idx="9559">
                  <c:v>-0.11512605042016801</c:v>
                </c:pt>
                <c:pt idx="9560">
                  <c:v>-0.11512605042016801</c:v>
                </c:pt>
                <c:pt idx="9561">
                  <c:v>-0.11512605042016801</c:v>
                </c:pt>
                <c:pt idx="9562">
                  <c:v>-0.11512605042016801</c:v>
                </c:pt>
                <c:pt idx="9563">
                  <c:v>-0.11512605042016801</c:v>
                </c:pt>
                <c:pt idx="9564">
                  <c:v>-0.11512605042016801</c:v>
                </c:pt>
                <c:pt idx="9565">
                  <c:v>-0.11512605042016801</c:v>
                </c:pt>
                <c:pt idx="9566">
                  <c:v>-0.11512605042016801</c:v>
                </c:pt>
                <c:pt idx="9567">
                  <c:v>-0.11512605042016801</c:v>
                </c:pt>
                <c:pt idx="9568">
                  <c:v>-0.11512605042016801</c:v>
                </c:pt>
                <c:pt idx="9569">
                  <c:v>-0.11512605042016801</c:v>
                </c:pt>
                <c:pt idx="9570">
                  <c:v>-0.11512605042016801</c:v>
                </c:pt>
                <c:pt idx="9571">
                  <c:v>-0.11512605042016801</c:v>
                </c:pt>
                <c:pt idx="9572">
                  <c:v>-0.11596638655462101</c:v>
                </c:pt>
                <c:pt idx="9573">
                  <c:v>-0.11596638655462101</c:v>
                </c:pt>
                <c:pt idx="9574">
                  <c:v>-0.11596638655462101</c:v>
                </c:pt>
                <c:pt idx="9575">
                  <c:v>-0.11596638655462101</c:v>
                </c:pt>
                <c:pt idx="9576">
                  <c:v>-0.11596638655462101</c:v>
                </c:pt>
                <c:pt idx="9577">
                  <c:v>-0.11512605042016801</c:v>
                </c:pt>
                <c:pt idx="9578">
                  <c:v>-0.11512605042016801</c:v>
                </c:pt>
                <c:pt idx="9579">
                  <c:v>-0.11512605042016801</c:v>
                </c:pt>
                <c:pt idx="9580">
                  <c:v>-0.11512605042016801</c:v>
                </c:pt>
                <c:pt idx="9581">
                  <c:v>-0.11512605042016801</c:v>
                </c:pt>
                <c:pt idx="9582">
                  <c:v>-0.114285714285714</c:v>
                </c:pt>
                <c:pt idx="9583">
                  <c:v>-0.114285714285714</c:v>
                </c:pt>
                <c:pt idx="9584">
                  <c:v>-0.114285714285714</c:v>
                </c:pt>
                <c:pt idx="9585">
                  <c:v>-0.114285714285714</c:v>
                </c:pt>
                <c:pt idx="9586">
                  <c:v>-0.114285714285714</c:v>
                </c:pt>
                <c:pt idx="9587">
                  <c:v>-0.114285714285714</c:v>
                </c:pt>
                <c:pt idx="9588">
                  <c:v>-0.114285714285714</c:v>
                </c:pt>
                <c:pt idx="9589">
                  <c:v>-0.114285714285714</c:v>
                </c:pt>
                <c:pt idx="9590">
                  <c:v>-0.114285714285714</c:v>
                </c:pt>
                <c:pt idx="9591">
                  <c:v>-0.114285714285714</c:v>
                </c:pt>
                <c:pt idx="9592">
                  <c:v>-0.114285714285714</c:v>
                </c:pt>
                <c:pt idx="9593">
                  <c:v>-0.114285714285714</c:v>
                </c:pt>
                <c:pt idx="9594">
                  <c:v>-0.114285714285714</c:v>
                </c:pt>
                <c:pt idx="9595">
                  <c:v>-0.114285714285714</c:v>
                </c:pt>
                <c:pt idx="9596">
                  <c:v>-0.114285714285714</c:v>
                </c:pt>
                <c:pt idx="9597">
                  <c:v>-0.114285714285714</c:v>
                </c:pt>
                <c:pt idx="9598">
                  <c:v>-0.114285714285714</c:v>
                </c:pt>
                <c:pt idx="9599">
                  <c:v>-0.114285714285714</c:v>
                </c:pt>
                <c:pt idx="9600">
                  <c:v>-0.114285714285714</c:v>
                </c:pt>
                <c:pt idx="9601">
                  <c:v>-0.114285714285714</c:v>
                </c:pt>
                <c:pt idx="9602">
                  <c:v>-0.114285714285714</c:v>
                </c:pt>
                <c:pt idx="9603">
                  <c:v>-0.114285714285714</c:v>
                </c:pt>
                <c:pt idx="9604">
                  <c:v>-0.11512605042016801</c:v>
                </c:pt>
                <c:pt idx="9605">
                  <c:v>-0.11512605042016801</c:v>
                </c:pt>
                <c:pt idx="9606">
                  <c:v>-0.11512605042016801</c:v>
                </c:pt>
                <c:pt idx="9607">
                  <c:v>-0.11512605042016801</c:v>
                </c:pt>
                <c:pt idx="9608">
                  <c:v>-0.11512605042016801</c:v>
                </c:pt>
                <c:pt idx="9609">
                  <c:v>-0.11512605042016801</c:v>
                </c:pt>
                <c:pt idx="9610">
                  <c:v>-0.11512605042016801</c:v>
                </c:pt>
                <c:pt idx="9611">
                  <c:v>-0.11512605042016801</c:v>
                </c:pt>
                <c:pt idx="9612">
                  <c:v>-0.11512605042016801</c:v>
                </c:pt>
                <c:pt idx="9613">
                  <c:v>-0.11512605042016801</c:v>
                </c:pt>
                <c:pt idx="9614">
                  <c:v>-0.11596638655462101</c:v>
                </c:pt>
                <c:pt idx="9615">
                  <c:v>-0.11596638655462101</c:v>
                </c:pt>
                <c:pt idx="9616">
                  <c:v>-0.11680672268907499</c:v>
                </c:pt>
                <c:pt idx="9617">
                  <c:v>-0.11680672268907499</c:v>
                </c:pt>
                <c:pt idx="9618">
                  <c:v>-0.11680672268907499</c:v>
                </c:pt>
                <c:pt idx="9619">
                  <c:v>-0.11680672268907499</c:v>
                </c:pt>
                <c:pt idx="9620">
                  <c:v>-0.11680672268907499</c:v>
                </c:pt>
                <c:pt idx="9621">
                  <c:v>-0.11680672268907499</c:v>
                </c:pt>
                <c:pt idx="9622">
                  <c:v>-0.11680672268907499</c:v>
                </c:pt>
                <c:pt idx="9623">
                  <c:v>-0.11680672268907499</c:v>
                </c:pt>
                <c:pt idx="9624">
                  <c:v>-0.11680672268907499</c:v>
                </c:pt>
                <c:pt idx="9625">
                  <c:v>-0.11680672268907499</c:v>
                </c:pt>
                <c:pt idx="9626">
                  <c:v>-0.11764705882352899</c:v>
                </c:pt>
                <c:pt idx="9627">
                  <c:v>-0.11764705882352899</c:v>
                </c:pt>
                <c:pt idx="9628">
                  <c:v>-0.11764705882352899</c:v>
                </c:pt>
                <c:pt idx="9629">
                  <c:v>-0.11764705882352899</c:v>
                </c:pt>
                <c:pt idx="9630">
                  <c:v>-0.11764705882352899</c:v>
                </c:pt>
                <c:pt idx="9631">
                  <c:v>-0.11764705882352899</c:v>
                </c:pt>
                <c:pt idx="9632">
                  <c:v>-0.11764705882352899</c:v>
                </c:pt>
                <c:pt idx="9633">
                  <c:v>-0.11764705882352899</c:v>
                </c:pt>
                <c:pt idx="9634">
                  <c:v>-0.11764705882352899</c:v>
                </c:pt>
                <c:pt idx="9635">
                  <c:v>-0.11764705882352899</c:v>
                </c:pt>
                <c:pt idx="9636">
                  <c:v>-0.11764705882352899</c:v>
                </c:pt>
                <c:pt idx="9637">
                  <c:v>-0.11764705882352899</c:v>
                </c:pt>
                <c:pt idx="9638">
                  <c:v>-0.11764705882352899</c:v>
                </c:pt>
                <c:pt idx="9639">
                  <c:v>-0.11764705882352899</c:v>
                </c:pt>
                <c:pt idx="9640">
                  <c:v>-0.11764705882352899</c:v>
                </c:pt>
                <c:pt idx="9641">
                  <c:v>-0.11764705882352899</c:v>
                </c:pt>
                <c:pt idx="9642">
                  <c:v>-0.11764705882352899</c:v>
                </c:pt>
                <c:pt idx="9643">
                  <c:v>-0.11764705882352899</c:v>
                </c:pt>
                <c:pt idx="9644">
                  <c:v>-0.11764705882352899</c:v>
                </c:pt>
                <c:pt idx="9645">
                  <c:v>-0.11764705882352899</c:v>
                </c:pt>
                <c:pt idx="9646">
                  <c:v>-0.11764705882352899</c:v>
                </c:pt>
                <c:pt idx="9647">
                  <c:v>-0.11764705882352899</c:v>
                </c:pt>
                <c:pt idx="9648">
                  <c:v>-0.11764705882352899</c:v>
                </c:pt>
                <c:pt idx="9649">
                  <c:v>-0.11764705882352899</c:v>
                </c:pt>
                <c:pt idx="9650">
                  <c:v>-0.11764705882352899</c:v>
                </c:pt>
                <c:pt idx="9651">
                  <c:v>-0.11764705882352899</c:v>
                </c:pt>
                <c:pt idx="9652">
                  <c:v>-0.11764705882352899</c:v>
                </c:pt>
                <c:pt idx="9653">
                  <c:v>-0.11764705882352899</c:v>
                </c:pt>
                <c:pt idx="9654">
                  <c:v>-0.11764705882352899</c:v>
                </c:pt>
                <c:pt idx="9655">
                  <c:v>-0.11764705882352899</c:v>
                </c:pt>
                <c:pt idx="9656">
                  <c:v>-0.11764705882352899</c:v>
                </c:pt>
                <c:pt idx="9657">
                  <c:v>-0.11764705882352899</c:v>
                </c:pt>
                <c:pt idx="9658">
                  <c:v>-0.11764705882352899</c:v>
                </c:pt>
                <c:pt idx="9659">
                  <c:v>-0.11764705882352899</c:v>
                </c:pt>
                <c:pt idx="9660">
                  <c:v>-0.11764705882352899</c:v>
                </c:pt>
                <c:pt idx="9661">
                  <c:v>-0.11764705882352899</c:v>
                </c:pt>
                <c:pt idx="9662">
                  <c:v>-0.11764705882352899</c:v>
                </c:pt>
                <c:pt idx="9663">
                  <c:v>-0.11764705882352899</c:v>
                </c:pt>
                <c:pt idx="9664">
                  <c:v>-0.11764705882352899</c:v>
                </c:pt>
                <c:pt idx="9665">
                  <c:v>-0.11764705882352899</c:v>
                </c:pt>
                <c:pt idx="9666">
                  <c:v>-0.11764705882352899</c:v>
                </c:pt>
                <c:pt idx="9667">
                  <c:v>-0.11764705882352899</c:v>
                </c:pt>
                <c:pt idx="9668">
                  <c:v>-0.11764705882352899</c:v>
                </c:pt>
                <c:pt idx="9669">
                  <c:v>-0.11764705882352899</c:v>
                </c:pt>
                <c:pt idx="9670">
                  <c:v>-0.11764705882352899</c:v>
                </c:pt>
                <c:pt idx="9671">
                  <c:v>-0.11764705882352899</c:v>
                </c:pt>
                <c:pt idx="9672">
                  <c:v>-0.11764705882352899</c:v>
                </c:pt>
                <c:pt idx="9673">
                  <c:v>-0.11764705882352899</c:v>
                </c:pt>
                <c:pt idx="9674">
                  <c:v>-0.11764705882352899</c:v>
                </c:pt>
                <c:pt idx="9675">
                  <c:v>-0.11764705882352899</c:v>
                </c:pt>
                <c:pt idx="9676">
                  <c:v>-0.11764705882352899</c:v>
                </c:pt>
                <c:pt idx="9677">
                  <c:v>-0.11764705882352899</c:v>
                </c:pt>
                <c:pt idx="9678">
                  <c:v>-0.11764705882352899</c:v>
                </c:pt>
                <c:pt idx="9679">
                  <c:v>-0.11764705882352899</c:v>
                </c:pt>
                <c:pt idx="9680">
                  <c:v>-0.11764705882352899</c:v>
                </c:pt>
                <c:pt idx="9681">
                  <c:v>-0.11764705882352899</c:v>
                </c:pt>
                <c:pt idx="9682">
                  <c:v>-0.11764705882352899</c:v>
                </c:pt>
                <c:pt idx="9683">
                  <c:v>-0.11764705882352899</c:v>
                </c:pt>
                <c:pt idx="9684">
                  <c:v>-0.11764705882352899</c:v>
                </c:pt>
                <c:pt idx="9685">
                  <c:v>-0.11764705882352899</c:v>
                </c:pt>
                <c:pt idx="9686">
                  <c:v>-0.11764705882352899</c:v>
                </c:pt>
                <c:pt idx="9687">
                  <c:v>-0.11764705882352899</c:v>
                </c:pt>
                <c:pt idx="9688">
                  <c:v>-0.11764705882352899</c:v>
                </c:pt>
                <c:pt idx="9689">
                  <c:v>-0.11764705882352899</c:v>
                </c:pt>
                <c:pt idx="9690">
                  <c:v>-0.11764705882352899</c:v>
                </c:pt>
                <c:pt idx="9691">
                  <c:v>-0.11764705882352899</c:v>
                </c:pt>
                <c:pt idx="9692">
                  <c:v>-0.11764705882352899</c:v>
                </c:pt>
                <c:pt idx="9693">
                  <c:v>-0.11764705882352899</c:v>
                </c:pt>
                <c:pt idx="9694">
                  <c:v>-0.11848739495798299</c:v>
                </c:pt>
                <c:pt idx="9695">
                  <c:v>-0.11848739495798299</c:v>
                </c:pt>
                <c:pt idx="9696">
                  <c:v>-0.11848739495798299</c:v>
                </c:pt>
                <c:pt idx="9697">
                  <c:v>-0.11848739495798299</c:v>
                </c:pt>
                <c:pt idx="9698">
                  <c:v>-0.11848739495798299</c:v>
                </c:pt>
                <c:pt idx="9699">
                  <c:v>-0.11848739495798299</c:v>
                </c:pt>
                <c:pt idx="9700">
                  <c:v>-0.11848739495798299</c:v>
                </c:pt>
                <c:pt idx="9701">
                  <c:v>-0.11848739495798299</c:v>
                </c:pt>
                <c:pt idx="9702">
                  <c:v>-0.11848739495798299</c:v>
                </c:pt>
                <c:pt idx="9703">
                  <c:v>-0.11848739495798299</c:v>
                </c:pt>
                <c:pt idx="9704">
                  <c:v>-0.11848739495798299</c:v>
                </c:pt>
                <c:pt idx="9705">
                  <c:v>-0.11848739495798299</c:v>
                </c:pt>
                <c:pt idx="9706">
                  <c:v>-0.11848739495798299</c:v>
                </c:pt>
                <c:pt idx="9707">
                  <c:v>-0.11848739495798299</c:v>
                </c:pt>
                <c:pt idx="9708">
                  <c:v>-0.11764705882352899</c:v>
                </c:pt>
                <c:pt idx="9709">
                  <c:v>-0.11764705882352899</c:v>
                </c:pt>
                <c:pt idx="9710">
                  <c:v>-0.11764705882352899</c:v>
                </c:pt>
                <c:pt idx="9711">
                  <c:v>-0.11764705882352899</c:v>
                </c:pt>
                <c:pt idx="9712">
                  <c:v>-0.11764705882352899</c:v>
                </c:pt>
                <c:pt idx="9713">
                  <c:v>-0.11764705882352899</c:v>
                </c:pt>
                <c:pt idx="9714">
                  <c:v>-0.11764705882352899</c:v>
                </c:pt>
                <c:pt idx="9715">
                  <c:v>-0.11764705882352899</c:v>
                </c:pt>
                <c:pt idx="9716">
                  <c:v>-0.11764705882352899</c:v>
                </c:pt>
                <c:pt idx="9717">
                  <c:v>-0.11764705882352899</c:v>
                </c:pt>
                <c:pt idx="9718">
                  <c:v>-0.11764705882352899</c:v>
                </c:pt>
                <c:pt idx="9719">
                  <c:v>-0.11764705882352899</c:v>
                </c:pt>
                <c:pt idx="9720">
                  <c:v>-0.11764705882352899</c:v>
                </c:pt>
                <c:pt idx="9721">
                  <c:v>-0.11764705882352899</c:v>
                </c:pt>
                <c:pt idx="9722">
                  <c:v>-0.11764705882352899</c:v>
                </c:pt>
                <c:pt idx="9723">
                  <c:v>-0.11764705882352899</c:v>
                </c:pt>
                <c:pt idx="9724">
                  <c:v>-0.11764705882352899</c:v>
                </c:pt>
                <c:pt idx="9725">
                  <c:v>-0.11764705882352899</c:v>
                </c:pt>
                <c:pt idx="9726">
                  <c:v>-0.11764705882352899</c:v>
                </c:pt>
                <c:pt idx="9727">
                  <c:v>-0.11764705882352899</c:v>
                </c:pt>
                <c:pt idx="9728">
                  <c:v>-0.11764705882352899</c:v>
                </c:pt>
                <c:pt idx="9729">
                  <c:v>-0.11764705882352899</c:v>
                </c:pt>
                <c:pt idx="9730">
                  <c:v>-0.11764705882352899</c:v>
                </c:pt>
                <c:pt idx="9731">
                  <c:v>-0.11764705882352899</c:v>
                </c:pt>
                <c:pt idx="9732">
                  <c:v>-0.11764705882352899</c:v>
                </c:pt>
                <c:pt idx="9733">
                  <c:v>-0.11764705882352899</c:v>
                </c:pt>
                <c:pt idx="9734">
                  <c:v>-0.11764705882352899</c:v>
                </c:pt>
                <c:pt idx="9735">
                  <c:v>-0.11764705882352899</c:v>
                </c:pt>
                <c:pt idx="9736">
                  <c:v>-0.11764705882352899</c:v>
                </c:pt>
                <c:pt idx="9737">
                  <c:v>-0.11764705882352899</c:v>
                </c:pt>
                <c:pt idx="9738">
                  <c:v>-0.11764705882352899</c:v>
                </c:pt>
                <c:pt idx="9739">
                  <c:v>-0.11764705882352899</c:v>
                </c:pt>
                <c:pt idx="9740">
                  <c:v>-0.11764705882352899</c:v>
                </c:pt>
                <c:pt idx="9741">
                  <c:v>-0.11764705882352899</c:v>
                </c:pt>
                <c:pt idx="9742">
                  <c:v>-0.11764705882352899</c:v>
                </c:pt>
                <c:pt idx="9743">
                  <c:v>-0.11764705882352899</c:v>
                </c:pt>
                <c:pt idx="9744">
                  <c:v>-0.11764705882352899</c:v>
                </c:pt>
                <c:pt idx="9745">
                  <c:v>-0.11764705882352899</c:v>
                </c:pt>
                <c:pt idx="9746">
                  <c:v>-0.11764705882352899</c:v>
                </c:pt>
                <c:pt idx="9747">
                  <c:v>-0.11764705882352899</c:v>
                </c:pt>
                <c:pt idx="9748">
                  <c:v>-0.11764705882352899</c:v>
                </c:pt>
                <c:pt idx="9749">
                  <c:v>-0.11764705882352899</c:v>
                </c:pt>
                <c:pt idx="9750">
                  <c:v>-0.11764705882352899</c:v>
                </c:pt>
                <c:pt idx="9751">
                  <c:v>-0.11764705882352899</c:v>
                </c:pt>
                <c:pt idx="9752">
                  <c:v>-0.11764705882352899</c:v>
                </c:pt>
                <c:pt idx="9753">
                  <c:v>-0.11764705882352899</c:v>
                </c:pt>
                <c:pt idx="9754">
                  <c:v>-0.11764705882352899</c:v>
                </c:pt>
                <c:pt idx="9755">
                  <c:v>-0.11764705882352899</c:v>
                </c:pt>
                <c:pt idx="9756">
                  <c:v>-0.11764705882352899</c:v>
                </c:pt>
                <c:pt idx="9757">
                  <c:v>-0.11848739495798299</c:v>
                </c:pt>
                <c:pt idx="9758">
                  <c:v>-0.11848739495798299</c:v>
                </c:pt>
                <c:pt idx="9759">
                  <c:v>-0.11848739495798299</c:v>
                </c:pt>
                <c:pt idx="9760">
                  <c:v>-0.11848739495798299</c:v>
                </c:pt>
                <c:pt idx="9761">
                  <c:v>-0.11848739495798299</c:v>
                </c:pt>
                <c:pt idx="9762">
                  <c:v>-0.11848739495798299</c:v>
                </c:pt>
                <c:pt idx="9763">
                  <c:v>-0.11848739495798299</c:v>
                </c:pt>
                <c:pt idx="9764">
                  <c:v>-0.11848739495798299</c:v>
                </c:pt>
                <c:pt idx="9765">
                  <c:v>-0.11848739495798299</c:v>
                </c:pt>
                <c:pt idx="9766">
                  <c:v>-0.11764705882352899</c:v>
                </c:pt>
                <c:pt idx="9767">
                  <c:v>-0.11764705882352899</c:v>
                </c:pt>
                <c:pt idx="9768">
                  <c:v>-0.11764705882352899</c:v>
                </c:pt>
                <c:pt idx="9769">
                  <c:v>-0.11764705882352899</c:v>
                </c:pt>
                <c:pt idx="9770">
                  <c:v>-0.11764705882352899</c:v>
                </c:pt>
                <c:pt idx="9771">
                  <c:v>-0.11848739495798299</c:v>
                </c:pt>
                <c:pt idx="9772">
                  <c:v>-0.11848739495798299</c:v>
                </c:pt>
                <c:pt idx="9773">
                  <c:v>-0.11848739495798299</c:v>
                </c:pt>
                <c:pt idx="9774">
                  <c:v>-0.11848739495798299</c:v>
                </c:pt>
                <c:pt idx="9775">
                  <c:v>-0.11848739495798299</c:v>
                </c:pt>
                <c:pt idx="9776">
                  <c:v>-0.11848739495798299</c:v>
                </c:pt>
                <c:pt idx="9777">
                  <c:v>-0.11848739495798299</c:v>
                </c:pt>
                <c:pt idx="9778">
                  <c:v>-0.11848739495798299</c:v>
                </c:pt>
                <c:pt idx="9779">
                  <c:v>-0.11848739495798299</c:v>
                </c:pt>
                <c:pt idx="9780">
                  <c:v>-0.11848739495798299</c:v>
                </c:pt>
                <c:pt idx="9781">
                  <c:v>-0.11848739495798299</c:v>
                </c:pt>
                <c:pt idx="9782">
                  <c:v>-0.11848739495798299</c:v>
                </c:pt>
                <c:pt idx="9783">
                  <c:v>-0.11848739495798299</c:v>
                </c:pt>
                <c:pt idx="9784">
                  <c:v>-0.11848739495798299</c:v>
                </c:pt>
                <c:pt idx="9785">
                  <c:v>-0.11848739495798299</c:v>
                </c:pt>
                <c:pt idx="9786">
                  <c:v>-0.11848739495798299</c:v>
                </c:pt>
                <c:pt idx="9787">
                  <c:v>-0.11848739495798299</c:v>
                </c:pt>
                <c:pt idx="9788">
                  <c:v>-0.11848739495798299</c:v>
                </c:pt>
                <c:pt idx="9789">
                  <c:v>-0.11848739495798299</c:v>
                </c:pt>
                <c:pt idx="9790">
                  <c:v>-0.11848739495798299</c:v>
                </c:pt>
                <c:pt idx="9791">
                  <c:v>-0.11848739495798299</c:v>
                </c:pt>
                <c:pt idx="9792">
                  <c:v>-0.11848739495798299</c:v>
                </c:pt>
                <c:pt idx="9793">
                  <c:v>-0.11848739495798299</c:v>
                </c:pt>
                <c:pt idx="9794">
                  <c:v>-0.11848739495798299</c:v>
                </c:pt>
                <c:pt idx="9795">
                  <c:v>-0.11848739495798299</c:v>
                </c:pt>
                <c:pt idx="9796">
                  <c:v>-0.11848739495798299</c:v>
                </c:pt>
                <c:pt idx="9797">
                  <c:v>-0.11848739495798299</c:v>
                </c:pt>
                <c:pt idx="9798">
                  <c:v>-0.11764705882352899</c:v>
                </c:pt>
                <c:pt idx="9799">
                  <c:v>-0.11764705882352899</c:v>
                </c:pt>
                <c:pt idx="9800">
                  <c:v>-0.11764705882352899</c:v>
                </c:pt>
                <c:pt idx="9801">
                  <c:v>-0.11848739495798299</c:v>
                </c:pt>
                <c:pt idx="9802">
                  <c:v>-0.11848739495798299</c:v>
                </c:pt>
                <c:pt idx="9803">
                  <c:v>-0.11848739495798299</c:v>
                </c:pt>
                <c:pt idx="9804">
                  <c:v>-0.11764705882352899</c:v>
                </c:pt>
                <c:pt idx="9805">
                  <c:v>-0.11764705882352899</c:v>
                </c:pt>
                <c:pt idx="9806">
                  <c:v>-0.11764705882352899</c:v>
                </c:pt>
                <c:pt idx="9807">
                  <c:v>-0.11764705882352899</c:v>
                </c:pt>
                <c:pt idx="9808">
                  <c:v>-0.11764705882352899</c:v>
                </c:pt>
                <c:pt idx="9809">
                  <c:v>-0.11764705882352899</c:v>
                </c:pt>
                <c:pt idx="9810">
                  <c:v>-0.11764705882352899</c:v>
                </c:pt>
                <c:pt idx="9811">
                  <c:v>-0.11764705882352899</c:v>
                </c:pt>
                <c:pt idx="9812">
                  <c:v>-0.11764705882352899</c:v>
                </c:pt>
                <c:pt idx="9813">
                  <c:v>-0.11764705882352899</c:v>
                </c:pt>
                <c:pt idx="9814">
                  <c:v>-0.11764705882352899</c:v>
                </c:pt>
                <c:pt idx="9815">
                  <c:v>-0.11764705882352899</c:v>
                </c:pt>
                <c:pt idx="9816">
                  <c:v>-0.11680672268907499</c:v>
                </c:pt>
                <c:pt idx="9817">
                  <c:v>-0.11680672268907499</c:v>
                </c:pt>
                <c:pt idx="9818">
                  <c:v>-0.11680672268907499</c:v>
                </c:pt>
                <c:pt idx="9819">
                  <c:v>-0.11680672268907499</c:v>
                </c:pt>
                <c:pt idx="9820">
                  <c:v>-0.11680672268907499</c:v>
                </c:pt>
                <c:pt idx="9821">
                  <c:v>-0.11680672268907499</c:v>
                </c:pt>
                <c:pt idx="9822">
                  <c:v>-0.11680672268907499</c:v>
                </c:pt>
                <c:pt idx="9823">
                  <c:v>-0.11680672268907499</c:v>
                </c:pt>
                <c:pt idx="9824">
                  <c:v>-0.11680672268907499</c:v>
                </c:pt>
                <c:pt idx="9825">
                  <c:v>-0.11680672268907499</c:v>
                </c:pt>
                <c:pt idx="9826">
                  <c:v>-0.11680672268907499</c:v>
                </c:pt>
                <c:pt idx="9827">
                  <c:v>-0.11680672268907499</c:v>
                </c:pt>
                <c:pt idx="9828">
                  <c:v>-0.11680672268907499</c:v>
                </c:pt>
                <c:pt idx="9829">
                  <c:v>-0.11680672268907499</c:v>
                </c:pt>
                <c:pt idx="9830">
                  <c:v>-0.11680672268907499</c:v>
                </c:pt>
                <c:pt idx="9831">
                  <c:v>-0.11680672268907499</c:v>
                </c:pt>
                <c:pt idx="9832">
                  <c:v>-0.11764705882352899</c:v>
                </c:pt>
                <c:pt idx="9833">
                  <c:v>-0.11764705882352899</c:v>
                </c:pt>
                <c:pt idx="9834">
                  <c:v>-0.11764705882352899</c:v>
                </c:pt>
                <c:pt idx="9835">
                  <c:v>-0.11764705882352899</c:v>
                </c:pt>
                <c:pt idx="9836">
                  <c:v>-0.11764705882352899</c:v>
                </c:pt>
                <c:pt idx="9837">
                  <c:v>-0.11764705882352899</c:v>
                </c:pt>
                <c:pt idx="9838">
                  <c:v>-0.11764705882352899</c:v>
                </c:pt>
                <c:pt idx="9839">
                  <c:v>-0.11764705882352899</c:v>
                </c:pt>
                <c:pt idx="9840">
                  <c:v>-0.11764705882352899</c:v>
                </c:pt>
                <c:pt idx="9841">
                  <c:v>-0.11764705882352899</c:v>
                </c:pt>
                <c:pt idx="9842">
                  <c:v>-0.11764705882352899</c:v>
                </c:pt>
                <c:pt idx="9843">
                  <c:v>-0.11764705882352899</c:v>
                </c:pt>
                <c:pt idx="9844">
                  <c:v>-0.11764705882352899</c:v>
                </c:pt>
                <c:pt idx="9845">
                  <c:v>-0.11764705882352899</c:v>
                </c:pt>
                <c:pt idx="9846">
                  <c:v>-0.11764705882352899</c:v>
                </c:pt>
                <c:pt idx="9847">
                  <c:v>-0.11680672268907499</c:v>
                </c:pt>
                <c:pt idx="9848">
                  <c:v>-0.11680672268907499</c:v>
                </c:pt>
                <c:pt idx="9849">
                  <c:v>-0.11680672268907499</c:v>
                </c:pt>
                <c:pt idx="9850">
                  <c:v>-0.11680672268907499</c:v>
                </c:pt>
                <c:pt idx="9851">
                  <c:v>-0.11680672268907499</c:v>
                </c:pt>
                <c:pt idx="9852">
                  <c:v>-0.11680672268907499</c:v>
                </c:pt>
                <c:pt idx="9853">
                  <c:v>-0.11680672268907499</c:v>
                </c:pt>
                <c:pt idx="9854">
                  <c:v>-0.11680672268907499</c:v>
                </c:pt>
                <c:pt idx="9855">
                  <c:v>-0.11680672268907499</c:v>
                </c:pt>
                <c:pt idx="9856">
                  <c:v>-0.11680672268907499</c:v>
                </c:pt>
                <c:pt idx="9857">
                  <c:v>-0.11680672268907499</c:v>
                </c:pt>
                <c:pt idx="9858">
                  <c:v>-0.11680672268907499</c:v>
                </c:pt>
                <c:pt idx="9859">
                  <c:v>-0.11680672268907499</c:v>
                </c:pt>
                <c:pt idx="9860">
                  <c:v>-0.11680672268907499</c:v>
                </c:pt>
                <c:pt idx="9861">
                  <c:v>-0.11680672268907499</c:v>
                </c:pt>
                <c:pt idx="9862">
                  <c:v>-0.11764705882352899</c:v>
                </c:pt>
                <c:pt idx="9863">
                  <c:v>-0.11764705882352899</c:v>
                </c:pt>
                <c:pt idx="9864">
                  <c:v>-0.11764705882352899</c:v>
                </c:pt>
                <c:pt idx="9865">
                  <c:v>-0.11764705882352899</c:v>
                </c:pt>
                <c:pt idx="9866">
                  <c:v>-0.11764705882352899</c:v>
                </c:pt>
                <c:pt idx="9867">
                  <c:v>-0.11764705882352899</c:v>
                </c:pt>
                <c:pt idx="9868">
                  <c:v>-0.11764705882352899</c:v>
                </c:pt>
                <c:pt idx="9869">
                  <c:v>-0.11764705882352899</c:v>
                </c:pt>
                <c:pt idx="9870">
                  <c:v>-0.11764705882352899</c:v>
                </c:pt>
                <c:pt idx="9871">
                  <c:v>-0.11764705882352899</c:v>
                </c:pt>
                <c:pt idx="9872">
                  <c:v>-0.11764705882352899</c:v>
                </c:pt>
                <c:pt idx="9873">
                  <c:v>-0.11764705882352899</c:v>
                </c:pt>
                <c:pt idx="9874">
                  <c:v>-0.11764705882352899</c:v>
                </c:pt>
                <c:pt idx="9875">
                  <c:v>-0.11764705882352899</c:v>
                </c:pt>
                <c:pt idx="9876">
                  <c:v>-0.11848739495798299</c:v>
                </c:pt>
                <c:pt idx="9877">
                  <c:v>-0.11848739495798299</c:v>
                </c:pt>
                <c:pt idx="9878">
                  <c:v>-0.11848739495798299</c:v>
                </c:pt>
                <c:pt idx="9879">
                  <c:v>-0.11848739495798299</c:v>
                </c:pt>
                <c:pt idx="9880">
                  <c:v>-0.11848739495798299</c:v>
                </c:pt>
                <c:pt idx="9881">
                  <c:v>-0.11848739495798299</c:v>
                </c:pt>
                <c:pt idx="9882">
                  <c:v>-0.11848739495798299</c:v>
                </c:pt>
                <c:pt idx="9883">
                  <c:v>-0.11848739495798299</c:v>
                </c:pt>
                <c:pt idx="9884">
                  <c:v>-0.11848739495798299</c:v>
                </c:pt>
                <c:pt idx="9885">
                  <c:v>-0.11848739495798299</c:v>
                </c:pt>
                <c:pt idx="9886">
                  <c:v>-0.11848739495798299</c:v>
                </c:pt>
                <c:pt idx="9887">
                  <c:v>-0.11848739495798299</c:v>
                </c:pt>
                <c:pt idx="9888">
                  <c:v>-0.11848739495798299</c:v>
                </c:pt>
                <c:pt idx="9889">
                  <c:v>-0.11848739495798299</c:v>
                </c:pt>
                <c:pt idx="9890">
                  <c:v>-0.11848739495798299</c:v>
                </c:pt>
                <c:pt idx="9891">
                  <c:v>-0.11848739495798299</c:v>
                </c:pt>
                <c:pt idx="9892">
                  <c:v>-0.11848739495798299</c:v>
                </c:pt>
                <c:pt idx="9893">
                  <c:v>-0.11848739495798299</c:v>
                </c:pt>
                <c:pt idx="9894">
                  <c:v>-0.11848739495798299</c:v>
                </c:pt>
                <c:pt idx="9895">
                  <c:v>-0.11764705882352899</c:v>
                </c:pt>
                <c:pt idx="9896">
                  <c:v>-0.11764705882352899</c:v>
                </c:pt>
                <c:pt idx="9897">
                  <c:v>-0.11764705882352899</c:v>
                </c:pt>
                <c:pt idx="9898">
                  <c:v>-0.11764705882352899</c:v>
                </c:pt>
                <c:pt idx="9899">
                  <c:v>-0.11764705882352899</c:v>
                </c:pt>
                <c:pt idx="9900">
                  <c:v>-0.11764705882352899</c:v>
                </c:pt>
                <c:pt idx="9901">
                  <c:v>-0.11764705882352899</c:v>
                </c:pt>
                <c:pt idx="9902">
                  <c:v>-0.11764705882352899</c:v>
                </c:pt>
                <c:pt idx="9903">
                  <c:v>-0.11764705882352899</c:v>
                </c:pt>
                <c:pt idx="9904">
                  <c:v>-0.11764705882352899</c:v>
                </c:pt>
                <c:pt idx="9905">
                  <c:v>-0.11764705882352899</c:v>
                </c:pt>
                <c:pt idx="9906">
                  <c:v>-0.11764705882352899</c:v>
                </c:pt>
                <c:pt idx="9907">
                  <c:v>-0.11764705882352899</c:v>
                </c:pt>
                <c:pt idx="9908">
                  <c:v>-0.11764705882352899</c:v>
                </c:pt>
                <c:pt idx="9909">
                  <c:v>-0.11764705882352899</c:v>
                </c:pt>
                <c:pt idx="9910">
                  <c:v>-0.11764705882352899</c:v>
                </c:pt>
                <c:pt idx="9911">
                  <c:v>-0.11764705882352899</c:v>
                </c:pt>
                <c:pt idx="9912">
                  <c:v>-0.11764705882352899</c:v>
                </c:pt>
                <c:pt idx="9913">
                  <c:v>-0.11764705882352899</c:v>
                </c:pt>
                <c:pt idx="9914">
                  <c:v>-0.11764705882352899</c:v>
                </c:pt>
                <c:pt idx="9915">
                  <c:v>-0.11764705882352899</c:v>
                </c:pt>
                <c:pt idx="9916">
                  <c:v>-0.11848739495798299</c:v>
                </c:pt>
                <c:pt idx="9917">
                  <c:v>-0.11848739495798299</c:v>
                </c:pt>
                <c:pt idx="9918">
                  <c:v>-0.11848739495798299</c:v>
                </c:pt>
                <c:pt idx="9919">
                  <c:v>-0.11848739495798299</c:v>
                </c:pt>
                <c:pt idx="9920">
                  <c:v>-0.11848739495798299</c:v>
                </c:pt>
                <c:pt idx="9921">
                  <c:v>-0.11848739495798299</c:v>
                </c:pt>
                <c:pt idx="9922">
                  <c:v>-0.11848739495798299</c:v>
                </c:pt>
                <c:pt idx="9923">
                  <c:v>-0.11848739495798299</c:v>
                </c:pt>
                <c:pt idx="9924">
                  <c:v>-0.11848739495798299</c:v>
                </c:pt>
                <c:pt idx="9925">
                  <c:v>-0.11848739495798299</c:v>
                </c:pt>
                <c:pt idx="9926">
                  <c:v>-0.11848739495798299</c:v>
                </c:pt>
                <c:pt idx="9927">
                  <c:v>-0.11848739495798299</c:v>
                </c:pt>
                <c:pt idx="9928">
                  <c:v>-0.11848739495798299</c:v>
                </c:pt>
                <c:pt idx="9929">
                  <c:v>-0.11848739495798299</c:v>
                </c:pt>
                <c:pt idx="9930">
                  <c:v>-0.11848739495798299</c:v>
                </c:pt>
                <c:pt idx="9931">
                  <c:v>-0.11848739495798299</c:v>
                </c:pt>
                <c:pt idx="9932">
                  <c:v>-0.11848739495798299</c:v>
                </c:pt>
                <c:pt idx="9933">
                  <c:v>-0.11848739495798299</c:v>
                </c:pt>
                <c:pt idx="9934">
                  <c:v>-0.11848739495798299</c:v>
                </c:pt>
                <c:pt idx="9935">
                  <c:v>-0.11848739495798299</c:v>
                </c:pt>
                <c:pt idx="9936">
                  <c:v>-0.11848739495798299</c:v>
                </c:pt>
                <c:pt idx="9937">
                  <c:v>-0.11848739495798299</c:v>
                </c:pt>
                <c:pt idx="9938">
                  <c:v>-0.11848739495798299</c:v>
                </c:pt>
                <c:pt idx="9939">
                  <c:v>-0.11848739495798299</c:v>
                </c:pt>
                <c:pt idx="9940">
                  <c:v>-0.11848739495798299</c:v>
                </c:pt>
                <c:pt idx="9941">
                  <c:v>-0.11848739495798299</c:v>
                </c:pt>
                <c:pt idx="9942">
                  <c:v>-0.11848739495798299</c:v>
                </c:pt>
                <c:pt idx="9943">
                  <c:v>-0.11848739495798299</c:v>
                </c:pt>
                <c:pt idx="9944">
                  <c:v>-0.11848739495798299</c:v>
                </c:pt>
                <c:pt idx="9945">
                  <c:v>-0.11848739495798299</c:v>
                </c:pt>
                <c:pt idx="9946">
                  <c:v>-0.11848739495798299</c:v>
                </c:pt>
                <c:pt idx="9947">
                  <c:v>-0.11848739495798299</c:v>
                </c:pt>
                <c:pt idx="9948">
                  <c:v>-0.11848739495798299</c:v>
                </c:pt>
                <c:pt idx="9949">
                  <c:v>-0.11848739495798299</c:v>
                </c:pt>
                <c:pt idx="9950">
                  <c:v>-0.11848739495798299</c:v>
                </c:pt>
                <c:pt idx="9951">
                  <c:v>-0.11848739495798299</c:v>
                </c:pt>
                <c:pt idx="9952">
                  <c:v>-0.11848739495798299</c:v>
                </c:pt>
                <c:pt idx="9953">
                  <c:v>-0.119327731092436</c:v>
                </c:pt>
                <c:pt idx="9954">
                  <c:v>-0.119327731092436</c:v>
                </c:pt>
                <c:pt idx="9955">
                  <c:v>-0.119327731092436</c:v>
                </c:pt>
                <c:pt idx="9956">
                  <c:v>-0.119327731092436</c:v>
                </c:pt>
                <c:pt idx="9957">
                  <c:v>-0.119327731092436</c:v>
                </c:pt>
                <c:pt idx="9958">
                  <c:v>-0.119327731092436</c:v>
                </c:pt>
                <c:pt idx="9959">
                  <c:v>-0.119327731092436</c:v>
                </c:pt>
                <c:pt idx="9960">
                  <c:v>-0.12016806722689</c:v>
                </c:pt>
                <c:pt idx="9961">
                  <c:v>-0.12016806722689</c:v>
                </c:pt>
                <c:pt idx="9962">
                  <c:v>-0.12016806722689</c:v>
                </c:pt>
                <c:pt idx="9963">
                  <c:v>-0.12016806722689</c:v>
                </c:pt>
                <c:pt idx="9964">
                  <c:v>-0.12016806722689</c:v>
                </c:pt>
                <c:pt idx="9965">
                  <c:v>-0.12016806722689</c:v>
                </c:pt>
                <c:pt idx="9966">
                  <c:v>-0.121008403361344</c:v>
                </c:pt>
                <c:pt idx="9967">
                  <c:v>-0.12016806722689</c:v>
                </c:pt>
                <c:pt idx="9968">
                  <c:v>-0.12016806722689</c:v>
                </c:pt>
                <c:pt idx="9969">
                  <c:v>-0.12016806722689</c:v>
                </c:pt>
                <c:pt idx="9970">
                  <c:v>-0.12016806722689</c:v>
                </c:pt>
                <c:pt idx="9971">
                  <c:v>-0.12016806722689</c:v>
                </c:pt>
                <c:pt idx="9972">
                  <c:v>-0.12016806722689</c:v>
                </c:pt>
                <c:pt idx="9973">
                  <c:v>-0.12016806722689</c:v>
                </c:pt>
                <c:pt idx="9974">
                  <c:v>-0.12016806722689</c:v>
                </c:pt>
                <c:pt idx="9975">
                  <c:v>-0.12016806722689</c:v>
                </c:pt>
                <c:pt idx="9976">
                  <c:v>-0.12016806722689</c:v>
                </c:pt>
                <c:pt idx="9977">
                  <c:v>-0.12016806722689</c:v>
                </c:pt>
                <c:pt idx="9978">
                  <c:v>-0.12016806722689</c:v>
                </c:pt>
                <c:pt idx="9979">
                  <c:v>-0.12016806722689</c:v>
                </c:pt>
                <c:pt idx="9980">
                  <c:v>-0.12016806722689</c:v>
                </c:pt>
                <c:pt idx="9981">
                  <c:v>-0.12016806722689</c:v>
                </c:pt>
                <c:pt idx="9982">
                  <c:v>-0.12016806722689</c:v>
                </c:pt>
                <c:pt idx="9983">
                  <c:v>-0.12016806722689</c:v>
                </c:pt>
                <c:pt idx="9984">
                  <c:v>-0.12016806722689</c:v>
                </c:pt>
                <c:pt idx="9985">
                  <c:v>-0.12016806722689</c:v>
                </c:pt>
                <c:pt idx="9986">
                  <c:v>-0.121008403361344</c:v>
                </c:pt>
                <c:pt idx="9987">
                  <c:v>-0.121008403361344</c:v>
                </c:pt>
                <c:pt idx="9988">
                  <c:v>-0.121008403361344</c:v>
                </c:pt>
                <c:pt idx="9989">
                  <c:v>-0.121008403361344</c:v>
                </c:pt>
                <c:pt idx="9990">
                  <c:v>-0.121008403361344</c:v>
                </c:pt>
                <c:pt idx="9991">
                  <c:v>-0.121008403361344</c:v>
                </c:pt>
                <c:pt idx="9992">
                  <c:v>-0.121008403361344</c:v>
                </c:pt>
                <c:pt idx="9993">
                  <c:v>-0.121008403361344</c:v>
                </c:pt>
                <c:pt idx="9994">
                  <c:v>-0.121008403361344</c:v>
                </c:pt>
                <c:pt idx="9995">
                  <c:v>-0.121008403361344</c:v>
                </c:pt>
                <c:pt idx="9996">
                  <c:v>-0.12016806722689</c:v>
                </c:pt>
                <c:pt idx="9997">
                  <c:v>-0.12016806722689</c:v>
                </c:pt>
                <c:pt idx="9998">
                  <c:v>-0.12016806722689</c:v>
                </c:pt>
                <c:pt idx="9999">
                  <c:v>-0.12016806722689</c:v>
                </c:pt>
                <c:pt idx="10000">
                  <c:v>-0.12016806722689</c:v>
                </c:pt>
                <c:pt idx="10001">
                  <c:v>-0.12016806722689</c:v>
                </c:pt>
                <c:pt idx="10002">
                  <c:v>-0.12016806722689</c:v>
                </c:pt>
                <c:pt idx="10003">
                  <c:v>-0.121008403361344</c:v>
                </c:pt>
                <c:pt idx="10004">
                  <c:v>-0.121008403361344</c:v>
                </c:pt>
                <c:pt idx="10005">
                  <c:v>-0.121008403361344</c:v>
                </c:pt>
                <c:pt idx="10006">
                  <c:v>-0.121008403361344</c:v>
                </c:pt>
                <c:pt idx="10007">
                  <c:v>-0.121008403361344</c:v>
                </c:pt>
                <c:pt idx="10008">
                  <c:v>-0.121008403361344</c:v>
                </c:pt>
                <c:pt idx="10009">
                  <c:v>-0.121008403361344</c:v>
                </c:pt>
                <c:pt idx="10010">
                  <c:v>-0.121008403361344</c:v>
                </c:pt>
                <c:pt idx="10011">
                  <c:v>-0.121008403361344</c:v>
                </c:pt>
                <c:pt idx="10012">
                  <c:v>-0.121008403361344</c:v>
                </c:pt>
                <c:pt idx="10013">
                  <c:v>-0.121008403361344</c:v>
                </c:pt>
                <c:pt idx="10014">
                  <c:v>-0.121008403361344</c:v>
                </c:pt>
                <c:pt idx="10015">
                  <c:v>-0.121008403361344</c:v>
                </c:pt>
                <c:pt idx="10016">
                  <c:v>-0.121008403361344</c:v>
                </c:pt>
                <c:pt idx="10017">
                  <c:v>-0.121008403361344</c:v>
                </c:pt>
                <c:pt idx="10018">
                  <c:v>-0.121008403361344</c:v>
                </c:pt>
                <c:pt idx="10019">
                  <c:v>-0.121008403361344</c:v>
                </c:pt>
                <c:pt idx="10020">
                  <c:v>-0.121008403361344</c:v>
                </c:pt>
                <c:pt idx="10021">
                  <c:v>-0.121008403361344</c:v>
                </c:pt>
                <c:pt idx="10022">
                  <c:v>-0.121008403361344</c:v>
                </c:pt>
                <c:pt idx="10023">
                  <c:v>-0.121008403361344</c:v>
                </c:pt>
                <c:pt idx="10024">
                  <c:v>-0.121008403361344</c:v>
                </c:pt>
                <c:pt idx="10025">
                  <c:v>-0.121008403361344</c:v>
                </c:pt>
                <c:pt idx="10026">
                  <c:v>-0.121008403361344</c:v>
                </c:pt>
                <c:pt idx="10027">
                  <c:v>-0.121008403361344</c:v>
                </c:pt>
                <c:pt idx="10028">
                  <c:v>-0.121848739495798</c:v>
                </c:pt>
                <c:pt idx="10029">
                  <c:v>-0.121848739495798</c:v>
                </c:pt>
                <c:pt idx="10030">
                  <c:v>-0.121848739495798</c:v>
                </c:pt>
                <c:pt idx="10031">
                  <c:v>-0.121848739495798</c:v>
                </c:pt>
                <c:pt idx="10032">
                  <c:v>-0.121008403361344</c:v>
                </c:pt>
                <c:pt idx="10033">
                  <c:v>-0.121008403361344</c:v>
                </c:pt>
                <c:pt idx="10034">
                  <c:v>-0.121008403361344</c:v>
                </c:pt>
                <c:pt idx="10035">
                  <c:v>-0.121008403361344</c:v>
                </c:pt>
                <c:pt idx="10036">
                  <c:v>-0.121008403361344</c:v>
                </c:pt>
                <c:pt idx="10037">
                  <c:v>-0.121008403361344</c:v>
                </c:pt>
                <c:pt idx="10038">
                  <c:v>-0.121008403361344</c:v>
                </c:pt>
                <c:pt idx="10039">
                  <c:v>-0.121008403361344</c:v>
                </c:pt>
                <c:pt idx="10040">
                  <c:v>-0.121008403361344</c:v>
                </c:pt>
                <c:pt idx="10041">
                  <c:v>-0.121008403361344</c:v>
                </c:pt>
                <c:pt idx="10042">
                  <c:v>-0.121008403361344</c:v>
                </c:pt>
                <c:pt idx="10043">
                  <c:v>-0.121008403361344</c:v>
                </c:pt>
                <c:pt idx="10044">
                  <c:v>-0.121008403361344</c:v>
                </c:pt>
                <c:pt idx="10045">
                  <c:v>-0.121008403361344</c:v>
                </c:pt>
                <c:pt idx="10046">
                  <c:v>-0.121008403361344</c:v>
                </c:pt>
                <c:pt idx="10047">
                  <c:v>-0.12016806722689</c:v>
                </c:pt>
                <c:pt idx="10048">
                  <c:v>-0.12016806722689</c:v>
                </c:pt>
                <c:pt idx="10049">
                  <c:v>-0.12016806722689</c:v>
                </c:pt>
                <c:pt idx="10050">
                  <c:v>-0.12016806722689</c:v>
                </c:pt>
                <c:pt idx="10051">
                  <c:v>-0.12016806722689</c:v>
                </c:pt>
                <c:pt idx="10052">
                  <c:v>-0.12016806722689</c:v>
                </c:pt>
                <c:pt idx="10053">
                  <c:v>-0.12016806722689</c:v>
                </c:pt>
                <c:pt idx="10054">
                  <c:v>-0.12016806722689</c:v>
                </c:pt>
                <c:pt idx="10055">
                  <c:v>-0.121008403361344</c:v>
                </c:pt>
                <c:pt idx="10056">
                  <c:v>-0.121008403361344</c:v>
                </c:pt>
                <c:pt idx="10057">
                  <c:v>-0.121008403361344</c:v>
                </c:pt>
                <c:pt idx="10058">
                  <c:v>-0.121008403361344</c:v>
                </c:pt>
                <c:pt idx="10059">
                  <c:v>-0.121008403361344</c:v>
                </c:pt>
                <c:pt idx="10060">
                  <c:v>-0.121008403361344</c:v>
                </c:pt>
                <c:pt idx="10061">
                  <c:v>-0.121008403361344</c:v>
                </c:pt>
                <c:pt idx="10062">
                  <c:v>-0.121008403361344</c:v>
                </c:pt>
                <c:pt idx="10063">
                  <c:v>-0.121008403361344</c:v>
                </c:pt>
                <c:pt idx="10064">
                  <c:v>-0.121008403361344</c:v>
                </c:pt>
                <c:pt idx="10065">
                  <c:v>-0.121008403361344</c:v>
                </c:pt>
                <c:pt idx="10066">
                  <c:v>-0.121008403361344</c:v>
                </c:pt>
                <c:pt idx="10067">
                  <c:v>-0.121008403361344</c:v>
                </c:pt>
                <c:pt idx="10068">
                  <c:v>-0.121008403361344</c:v>
                </c:pt>
                <c:pt idx="10069">
                  <c:v>-0.121008403361344</c:v>
                </c:pt>
                <c:pt idx="10070">
                  <c:v>-0.121008403361344</c:v>
                </c:pt>
                <c:pt idx="10071">
                  <c:v>-0.121008403361344</c:v>
                </c:pt>
                <c:pt idx="10072">
                  <c:v>-0.121008403361344</c:v>
                </c:pt>
                <c:pt idx="10073">
                  <c:v>-0.121008403361344</c:v>
                </c:pt>
                <c:pt idx="10074">
                  <c:v>-0.121008403361344</c:v>
                </c:pt>
                <c:pt idx="10075">
                  <c:v>-0.121008403361344</c:v>
                </c:pt>
                <c:pt idx="10076">
                  <c:v>-0.121008403361344</c:v>
                </c:pt>
                <c:pt idx="10077">
                  <c:v>-0.121008403361344</c:v>
                </c:pt>
                <c:pt idx="10078">
                  <c:v>-0.121008403361344</c:v>
                </c:pt>
                <c:pt idx="10079">
                  <c:v>-0.121008403361344</c:v>
                </c:pt>
                <c:pt idx="10080">
                  <c:v>-0.121008403361344</c:v>
                </c:pt>
                <c:pt idx="10081">
                  <c:v>-0.121008403361344</c:v>
                </c:pt>
                <c:pt idx="10082">
                  <c:v>-0.121008403361344</c:v>
                </c:pt>
                <c:pt idx="10083">
                  <c:v>-0.121008403361344</c:v>
                </c:pt>
                <c:pt idx="10084">
                  <c:v>-0.121008403361344</c:v>
                </c:pt>
                <c:pt idx="10085">
                  <c:v>-0.121008403361344</c:v>
                </c:pt>
                <c:pt idx="10086">
                  <c:v>-0.121008403361344</c:v>
                </c:pt>
                <c:pt idx="10087">
                  <c:v>-0.121008403361344</c:v>
                </c:pt>
                <c:pt idx="10088">
                  <c:v>-0.121008403361344</c:v>
                </c:pt>
                <c:pt idx="10089">
                  <c:v>-0.121008403361344</c:v>
                </c:pt>
                <c:pt idx="10090">
                  <c:v>-0.121008403361344</c:v>
                </c:pt>
                <c:pt idx="10091">
                  <c:v>-0.121008403361344</c:v>
                </c:pt>
                <c:pt idx="10092">
                  <c:v>-0.121008403361344</c:v>
                </c:pt>
                <c:pt idx="10093">
                  <c:v>-0.121008403361344</c:v>
                </c:pt>
                <c:pt idx="10094">
                  <c:v>-0.121848739495798</c:v>
                </c:pt>
                <c:pt idx="10095">
                  <c:v>-0.121848739495798</c:v>
                </c:pt>
                <c:pt idx="10096">
                  <c:v>-0.121848739495798</c:v>
                </c:pt>
                <c:pt idx="10097">
                  <c:v>-0.121008403361344</c:v>
                </c:pt>
                <c:pt idx="10098">
                  <c:v>-0.121008403361344</c:v>
                </c:pt>
                <c:pt idx="10099">
                  <c:v>-0.121008403361344</c:v>
                </c:pt>
                <c:pt idx="10100">
                  <c:v>-0.121008403361344</c:v>
                </c:pt>
                <c:pt idx="10101">
                  <c:v>-0.121008403361344</c:v>
                </c:pt>
                <c:pt idx="10102">
                  <c:v>-0.121008403361344</c:v>
                </c:pt>
                <c:pt idx="10103">
                  <c:v>-0.121008403361344</c:v>
                </c:pt>
                <c:pt idx="10104">
                  <c:v>-0.121008403361344</c:v>
                </c:pt>
                <c:pt idx="10105">
                  <c:v>-0.121008403361344</c:v>
                </c:pt>
                <c:pt idx="10106">
                  <c:v>-0.121008403361344</c:v>
                </c:pt>
                <c:pt idx="10107">
                  <c:v>-0.121008403361344</c:v>
                </c:pt>
                <c:pt idx="10108">
                  <c:v>-0.121008403361344</c:v>
                </c:pt>
                <c:pt idx="10109">
                  <c:v>-0.121008403361344</c:v>
                </c:pt>
                <c:pt idx="10110">
                  <c:v>-0.121008403361344</c:v>
                </c:pt>
                <c:pt idx="10111">
                  <c:v>-0.121008403361344</c:v>
                </c:pt>
                <c:pt idx="10112">
                  <c:v>-0.121008403361344</c:v>
                </c:pt>
                <c:pt idx="10113">
                  <c:v>-0.121008403361344</c:v>
                </c:pt>
                <c:pt idx="10114">
                  <c:v>-0.121008403361344</c:v>
                </c:pt>
                <c:pt idx="10115">
                  <c:v>-0.121008403361344</c:v>
                </c:pt>
                <c:pt idx="10116">
                  <c:v>-0.121008403361344</c:v>
                </c:pt>
                <c:pt idx="10117">
                  <c:v>-0.121008403361344</c:v>
                </c:pt>
                <c:pt idx="10118">
                  <c:v>-0.121008403361344</c:v>
                </c:pt>
                <c:pt idx="10119">
                  <c:v>-0.121008403361344</c:v>
                </c:pt>
                <c:pt idx="10120">
                  <c:v>-0.121008403361344</c:v>
                </c:pt>
                <c:pt idx="10121">
                  <c:v>-0.121008403361344</c:v>
                </c:pt>
                <c:pt idx="10122">
                  <c:v>-0.121008403361344</c:v>
                </c:pt>
                <c:pt idx="10123">
                  <c:v>-0.121008403361344</c:v>
                </c:pt>
                <c:pt idx="10124">
                  <c:v>-0.121008403361344</c:v>
                </c:pt>
                <c:pt idx="10125">
                  <c:v>-0.121008403361344</c:v>
                </c:pt>
                <c:pt idx="10126">
                  <c:v>-0.121008403361344</c:v>
                </c:pt>
                <c:pt idx="10127">
                  <c:v>-0.121008403361344</c:v>
                </c:pt>
                <c:pt idx="10128">
                  <c:v>-0.121008403361344</c:v>
                </c:pt>
                <c:pt idx="10129">
                  <c:v>-0.121008403361344</c:v>
                </c:pt>
                <c:pt idx="10130">
                  <c:v>-0.121008403361344</c:v>
                </c:pt>
                <c:pt idx="10131">
                  <c:v>-0.12016806722689</c:v>
                </c:pt>
                <c:pt idx="10132">
                  <c:v>-0.11932773109243699</c:v>
                </c:pt>
                <c:pt idx="10133">
                  <c:v>-0.11932773109243699</c:v>
                </c:pt>
                <c:pt idx="10134">
                  <c:v>-0.11932773109243699</c:v>
                </c:pt>
                <c:pt idx="10135">
                  <c:v>-0.11932773109243699</c:v>
                </c:pt>
                <c:pt idx="10136">
                  <c:v>-0.11932773109243699</c:v>
                </c:pt>
                <c:pt idx="10137">
                  <c:v>-0.11932773109243699</c:v>
                </c:pt>
                <c:pt idx="10138">
                  <c:v>-0.12016806722689</c:v>
                </c:pt>
                <c:pt idx="10139">
                  <c:v>-0.12016806722689</c:v>
                </c:pt>
                <c:pt idx="10140">
                  <c:v>-0.12016806722689</c:v>
                </c:pt>
                <c:pt idx="10141">
                  <c:v>-0.12016806722689</c:v>
                </c:pt>
                <c:pt idx="10142">
                  <c:v>-0.12016806722689</c:v>
                </c:pt>
                <c:pt idx="10143">
                  <c:v>-0.12016806722689</c:v>
                </c:pt>
                <c:pt idx="10144">
                  <c:v>-0.12016806722689</c:v>
                </c:pt>
                <c:pt idx="10145">
                  <c:v>-0.12016806722689</c:v>
                </c:pt>
                <c:pt idx="10146">
                  <c:v>-0.12016806722689</c:v>
                </c:pt>
                <c:pt idx="10147">
                  <c:v>-0.12016806722689</c:v>
                </c:pt>
                <c:pt idx="10148">
                  <c:v>-0.12016806722689</c:v>
                </c:pt>
                <c:pt idx="10149">
                  <c:v>-0.12016806722689</c:v>
                </c:pt>
                <c:pt idx="10150">
                  <c:v>-0.12016806722689</c:v>
                </c:pt>
                <c:pt idx="10151">
                  <c:v>-0.12016806722689</c:v>
                </c:pt>
                <c:pt idx="10152">
                  <c:v>-0.12016806722689</c:v>
                </c:pt>
                <c:pt idx="10153">
                  <c:v>-0.12016806722689</c:v>
                </c:pt>
                <c:pt idx="10154">
                  <c:v>-0.12016806722689</c:v>
                </c:pt>
                <c:pt idx="10155">
                  <c:v>-0.12016806722689</c:v>
                </c:pt>
                <c:pt idx="10156">
                  <c:v>-0.12016806722689</c:v>
                </c:pt>
                <c:pt idx="10157">
                  <c:v>-0.12016806722689</c:v>
                </c:pt>
                <c:pt idx="10158">
                  <c:v>-0.12016806722689</c:v>
                </c:pt>
                <c:pt idx="10159">
                  <c:v>-0.12016806722689</c:v>
                </c:pt>
                <c:pt idx="10160">
                  <c:v>-0.12016806722689</c:v>
                </c:pt>
                <c:pt idx="10161">
                  <c:v>-0.12016806722689</c:v>
                </c:pt>
                <c:pt idx="10162">
                  <c:v>-0.12016806722689</c:v>
                </c:pt>
                <c:pt idx="10163">
                  <c:v>-0.12016806722689</c:v>
                </c:pt>
                <c:pt idx="10164">
                  <c:v>-0.12016806722689</c:v>
                </c:pt>
                <c:pt idx="10165">
                  <c:v>-0.12016806722689</c:v>
                </c:pt>
                <c:pt idx="10166">
                  <c:v>-0.12016806722689</c:v>
                </c:pt>
                <c:pt idx="10167">
                  <c:v>-0.11932773109243699</c:v>
                </c:pt>
                <c:pt idx="10168">
                  <c:v>-0.12016806722689</c:v>
                </c:pt>
                <c:pt idx="10169">
                  <c:v>-0.12016806722689</c:v>
                </c:pt>
                <c:pt idx="10170">
                  <c:v>-0.12016806722689</c:v>
                </c:pt>
                <c:pt idx="10171">
                  <c:v>-0.12016806722689</c:v>
                </c:pt>
                <c:pt idx="10172">
                  <c:v>-0.12016806722689</c:v>
                </c:pt>
                <c:pt idx="10173">
                  <c:v>-0.12016806722689</c:v>
                </c:pt>
                <c:pt idx="10174">
                  <c:v>-0.11932773109243699</c:v>
                </c:pt>
                <c:pt idx="10175">
                  <c:v>-0.11932773109243699</c:v>
                </c:pt>
                <c:pt idx="10176">
                  <c:v>-0.11932773109243699</c:v>
                </c:pt>
                <c:pt idx="10177">
                  <c:v>-0.11932773109243699</c:v>
                </c:pt>
                <c:pt idx="10178">
                  <c:v>-0.12016806722689</c:v>
                </c:pt>
                <c:pt idx="10179">
                  <c:v>-0.12016806722689</c:v>
                </c:pt>
                <c:pt idx="10180">
                  <c:v>-0.12016806722689</c:v>
                </c:pt>
                <c:pt idx="10181">
                  <c:v>-0.12016806722689</c:v>
                </c:pt>
                <c:pt idx="10182">
                  <c:v>-0.12016806722689</c:v>
                </c:pt>
                <c:pt idx="10183">
                  <c:v>-0.12016806722689</c:v>
                </c:pt>
                <c:pt idx="10184">
                  <c:v>-0.12016806722689</c:v>
                </c:pt>
                <c:pt idx="10185">
                  <c:v>-0.12016806722689</c:v>
                </c:pt>
                <c:pt idx="10186">
                  <c:v>-0.12016806722689</c:v>
                </c:pt>
                <c:pt idx="10187">
                  <c:v>-0.12016806722689</c:v>
                </c:pt>
                <c:pt idx="10188">
                  <c:v>-0.12016806722689</c:v>
                </c:pt>
                <c:pt idx="10189">
                  <c:v>-0.12016806722689</c:v>
                </c:pt>
                <c:pt idx="10190">
                  <c:v>-0.12016806722689</c:v>
                </c:pt>
                <c:pt idx="10191">
                  <c:v>-0.12016806722689</c:v>
                </c:pt>
                <c:pt idx="10192">
                  <c:v>-0.12016806722689</c:v>
                </c:pt>
                <c:pt idx="10193">
                  <c:v>-0.12016806722689</c:v>
                </c:pt>
                <c:pt idx="10194">
                  <c:v>-0.12016806722689</c:v>
                </c:pt>
                <c:pt idx="10195">
                  <c:v>-0.12016806722689</c:v>
                </c:pt>
                <c:pt idx="10196">
                  <c:v>-0.12016806722689</c:v>
                </c:pt>
                <c:pt idx="10197">
                  <c:v>-0.12016806722689</c:v>
                </c:pt>
                <c:pt idx="10198">
                  <c:v>-0.12016806722689</c:v>
                </c:pt>
                <c:pt idx="10199">
                  <c:v>-0.12016806722689</c:v>
                </c:pt>
                <c:pt idx="10200">
                  <c:v>-0.12016806722689</c:v>
                </c:pt>
                <c:pt idx="10201">
                  <c:v>-0.12016806722689</c:v>
                </c:pt>
                <c:pt idx="10202">
                  <c:v>-0.12016806722689</c:v>
                </c:pt>
                <c:pt idx="10203">
                  <c:v>-0.12016806722689</c:v>
                </c:pt>
                <c:pt idx="10204">
                  <c:v>-0.12016806722689</c:v>
                </c:pt>
                <c:pt idx="10205">
                  <c:v>-0.12016806722689</c:v>
                </c:pt>
                <c:pt idx="10206">
                  <c:v>-0.12016806722689</c:v>
                </c:pt>
                <c:pt idx="10207">
                  <c:v>-0.12016806722689</c:v>
                </c:pt>
                <c:pt idx="10208">
                  <c:v>-0.12016806722689</c:v>
                </c:pt>
                <c:pt idx="10209">
                  <c:v>-0.12016806722689</c:v>
                </c:pt>
                <c:pt idx="10210">
                  <c:v>-0.12016806722689</c:v>
                </c:pt>
                <c:pt idx="10211">
                  <c:v>-0.12016806722689</c:v>
                </c:pt>
                <c:pt idx="10212">
                  <c:v>-0.12016806722689</c:v>
                </c:pt>
                <c:pt idx="10213">
                  <c:v>-0.12016806722689</c:v>
                </c:pt>
                <c:pt idx="10214">
                  <c:v>-0.12016806722689</c:v>
                </c:pt>
                <c:pt idx="10215">
                  <c:v>-0.12016806722689</c:v>
                </c:pt>
                <c:pt idx="10216">
                  <c:v>-0.121008403361344</c:v>
                </c:pt>
                <c:pt idx="10217">
                  <c:v>-0.121008403361344</c:v>
                </c:pt>
                <c:pt idx="10218">
                  <c:v>-0.121008403361344</c:v>
                </c:pt>
                <c:pt idx="10219">
                  <c:v>-0.121008403361344</c:v>
                </c:pt>
                <c:pt idx="10220">
                  <c:v>-0.121008403361344</c:v>
                </c:pt>
                <c:pt idx="10221">
                  <c:v>-0.121008403361344</c:v>
                </c:pt>
                <c:pt idx="10222">
                  <c:v>-0.121008403361344</c:v>
                </c:pt>
                <c:pt idx="10223">
                  <c:v>-0.121008403361344</c:v>
                </c:pt>
                <c:pt idx="10224">
                  <c:v>-0.121848739495798</c:v>
                </c:pt>
                <c:pt idx="10225">
                  <c:v>-0.121848739495798</c:v>
                </c:pt>
                <c:pt idx="10226">
                  <c:v>-0.121848739495798</c:v>
                </c:pt>
                <c:pt idx="10227">
                  <c:v>-0.121008403361344</c:v>
                </c:pt>
                <c:pt idx="10228">
                  <c:v>-0.121008403361344</c:v>
                </c:pt>
                <c:pt idx="10229">
                  <c:v>-0.121008403361344</c:v>
                </c:pt>
                <c:pt idx="10230">
                  <c:v>-0.121008403361344</c:v>
                </c:pt>
                <c:pt idx="10231">
                  <c:v>-0.121008403361344</c:v>
                </c:pt>
                <c:pt idx="10232">
                  <c:v>-0.121008403361344</c:v>
                </c:pt>
                <c:pt idx="10233">
                  <c:v>-0.121008403361344</c:v>
                </c:pt>
                <c:pt idx="10234">
                  <c:v>-0.121008403361344</c:v>
                </c:pt>
                <c:pt idx="10235">
                  <c:v>-0.121008403361344</c:v>
                </c:pt>
                <c:pt idx="10236">
                  <c:v>-0.121008403361344</c:v>
                </c:pt>
                <c:pt idx="10237">
                  <c:v>-0.121008403361344</c:v>
                </c:pt>
                <c:pt idx="10238">
                  <c:v>-0.121008403361344</c:v>
                </c:pt>
                <c:pt idx="10239">
                  <c:v>-0.121008403361344</c:v>
                </c:pt>
                <c:pt idx="10240">
                  <c:v>-0.121008403361344</c:v>
                </c:pt>
                <c:pt idx="10241">
                  <c:v>-0.121008403361344</c:v>
                </c:pt>
                <c:pt idx="10242">
                  <c:v>-0.121008403361344</c:v>
                </c:pt>
                <c:pt idx="10243">
                  <c:v>-0.121008403361344</c:v>
                </c:pt>
                <c:pt idx="10244">
                  <c:v>-0.121008403361344</c:v>
                </c:pt>
                <c:pt idx="10245">
                  <c:v>-0.121008403361344</c:v>
                </c:pt>
                <c:pt idx="10246">
                  <c:v>-0.121008403361344</c:v>
                </c:pt>
                <c:pt idx="10247">
                  <c:v>-0.121008403361344</c:v>
                </c:pt>
                <c:pt idx="10248">
                  <c:v>-0.121008403361344</c:v>
                </c:pt>
                <c:pt idx="10249">
                  <c:v>-0.121008403361344</c:v>
                </c:pt>
                <c:pt idx="10250">
                  <c:v>-0.121008403361344</c:v>
                </c:pt>
                <c:pt idx="10251">
                  <c:v>-0.121008403361344</c:v>
                </c:pt>
                <c:pt idx="10252">
                  <c:v>-0.121008403361344</c:v>
                </c:pt>
                <c:pt idx="10253">
                  <c:v>-0.121008403361344</c:v>
                </c:pt>
                <c:pt idx="10254">
                  <c:v>-0.121008403361344</c:v>
                </c:pt>
                <c:pt idx="10255">
                  <c:v>-0.121848739495798</c:v>
                </c:pt>
                <c:pt idx="10256">
                  <c:v>-0.121848739495798</c:v>
                </c:pt>
                <c:pt idx="10257">
                  <c:v>-0.121848739495798</c:v>
                </c:pt>
                <c:pt idx="10258">
                  <c:v>-0.121848739495798</c:v>
                </c:pt>
                <c:pt idx="10259">
                  <c:v>-0.121848739495798</c:v>
                </c:pt>
                <c:pt idx="10260">
                  <c:v>-0.121848739495798</c:v>
                </c:pt>
                <c:pt idx="10261">
                  <c:v>-0.121848739495798</c:v>
                </c:pt>
                <c:pt idx="10262">
                  <c:v>-0.121848739495798</c:v>
                </c:pt>
                <c:pt idx="10263">
                  <c:v>-0.121848739495798</c:v>
                </c:pt>
                <c:pt idx="10264">
                  <c:v>-0.121848739495798</c:v>
                </c:pt>
                <c:pt idx="10265">
                  <c:v>-0.121848739495798</c:v>
                </c:pt>
                <c:pt idx="10266">
                  <c:v>-0.121848739495798</c:v>
                </c:pt>
                <c:pt idx="10267">
                  <c:v>-0.121848739495798</c:v>
                </c:pt>
                <c:pt idx="10268">
                  <c:v>-0.121008403361344</c:v>
                </c:pt>
                <c:pt idx="10269">
                  <c:v>-0.121008403361344</c:v>
                </c:pt>
                <c:pt idx="10270">
                  <c:v>-0.121008403361344</c:v>
                </c:pt>
                <c:pt idx="10271">
                  <c:v>-0.121008403361344</c:v>
                </c:pt>
                <c:pt idx="10272">
                  <c:v>-0.121008403361344</c:v>
                </c:pt>
                <c:pt idx="10273">
                  <c:v>-0.121008403361344</c:v>
                </c:pt>
                <c:pt idx="10274">
                  <c:v>-0.121008403361344</c:v>
                </c:pt>
                <c:pt idx="10275">
                  <c:v>-0.121008403361344</c:v>
                </c:pt>
                <c:pt idx="10276">
                  <c:v>-0.121008403361344</c:v>
                </c:pt>
                <c:pt idx="10277">
                  <c:v>-0.121008403361344</c:v>
                </c:pt>
                <c:pt idx="10278">
                  <c:v>-0.121008403361344</c:v>
                </c:pt>
                <c:pt idx="10279">
                  <c:v>-0.121008403361344</c:v>
                </c:pt>
                <c:pt idx="10280">
                  <c:v>-0.12016806722689</c:v>
                </c:pt>
                <c:pt idx="10281">
                  <c:v>-0.12016806722689</c:v>
                </c:pt>
                <c:pt idx="10282">
                  <c:v>-0.12016806722689</c:v>
                </c:pt>
                <c:pt idx="10283">
                  <c:v>-0.12016806722689</c:v>
                </c:pt>
                <c:pt idx="10284">
                  <c:v>-0.12016806722689</c:v>
                </c:pt>
                <c:pt idx="10285">
                  <c:v>-0.12016806722689</c:v>
                </c:pt>
                <c:pt idx="10286">
                  <c:v>-0.12016806722689</c:v>
                </c:pt>
                <c:pt idx="10287">
                  <c:v>-0.12016806722689</c:v>
                </c:pt>
                <c:pt idx="10288">
                  <c:v>-0.12016806722689</c:v>
                </c:pt>
                <c:pt idx="10289">
                  <c:v>-0.12016806722689</c:v>
                </c:pt>
                <c:pt idx="10290">
                  <c:v>-0.12016806722689</c:v>
                </c:pt>
                <c:pt idx="10291">
                  <c:v>-0.12016806722689</c:v>
                </c:pt>
                <c:pt idx="10292">
                  <c:v>-0.12016806722689</c:v>
                </c:pt>
                <c:pt idx="10293">
                  <c:v>-0.12016806722689</c:v>
                </c:pt>
                <c:pt idx="10294">
                  <c:v>-0.12016806722689</c:v>
                </c:pt>
                <c:pt idx="10295">
                  <c:v>-0.12016806722689</c:v>
                </c:pt>
                <c:pt idx="10296">
                  <c:v>-0.11932773109243699</c:v>
                </c:pt>
                <c:pt idx="10297">
                  <c:v>-0.11932773109243699</c:v>
                </c:pt>
                <c:pt idx="10298">
                  <c:v>-0.11932773109243699</c:v>
                </c:pt>
                <c:pt idx="10299">
                  <c:v>-0.11932773109243699</c:v>
                </c:pt>
                <c:pt idx="10300">
                  <c:v>-0.11932773109243699</c:v>
                </c:pt>
                <c:pt idx="10301">
                  <c:v>-0.11932773109243699</c:v>
                </c:pt>
                <c:pt idx="10302">
                  <c:v>-0.11932773109243699</c:v>
                </c:pt>
                <c:pt idx="10303">
                  <c:v>-0.11932773109243699</c:v>
                </c:pt>
                <c:pt idx="10304">
                  <c:v>-0.11932773109243699</c:v>
                </c:pt>
                <c:pt idx="10305">
                  <c:v>-0.11932773109243699</c:v>
                </c:pt>
                <c:pt idx="10306">
                  <c:v>-0.11932773109243699</c:v>
                </c:pt>
                <c:pt idx="10307">
                  <c:v>-0.11932773109243699</c:v>
                </c:pt>
                <c:pt idx="10308">
                  <c:v>-0.12016806722689</c:v>
                </c:pt>
                <c:pt idx="10309">
                  <c:v>-0.12016806722689</c:v>
                </c:pt>
                <c:pt idx="10310">
                  <c:v>-0.12016806722689</c:v>
                </c:pt>
                <c:pt idx="10311">
                  <c:v>-0.121008403361344</c:v>
                </c:pt>
                <c:pt idx="10312">
                  <c:v>-0.121008403361344</c:v>
                </c:pt>
                <c:pt idx="10313">
                  <c:v>-0.121008403361344</c:v>
                </c:pt>
                <c:pt idx="10314">
                  <c:v>-0.121008403361344</c:v>
                </c:pt>
                <c:pt idx="10315">
                  <c:v>-0.121008403361344</c:v>
                </c:pt>
                <c:pt idx="10316">
                  <c:v>-0.121008403361344</c:v>
                </c:pt>
                <c:pt idx="10317">
                  <c:v>-0.121008403361344</c:v>
                </c:pt>
                <c:pt idx="10318">
                  <c:v>-0.121008403361344</c:v>
                </c:pt>
                <c:pt idx="10319">
                  <c:v>-0.121008403361344</c:v>
                </c:pt>
                <c:pt idx="10320">
                  <c:v>-0.121008403361344</c:v>
                </c:pt>
                <c:pt idx="10321">
                  <c:v>-0.121008403361344</c:v>
                </c:pt>
                <c:pt idx="10322">
                  <c:v>-0.121008403361344</c:v>
                </c:pt>
                <c:pt idx="10323">
                  <c:v>-0.121008403361344</c:v>
                </c:pt>
                <c:pt idx="10324">
                  <c:v>-0.121008403361344</c:v>
                </c:pt>
                <c:pt idx="10325">
                  <c:v>-0.121008403361344</c:v>
                </c:pt>
                <c:pt idx="10326">
                  <c:v>-0.121008403361344</c:v>
                </c:pt>
                <c:pt idx="10327">
                  <c:v>-0.121008403361344</c:v>
                </c:pt>
                <c:pt idx="10328">
                  <c:v>-0.121008403361344</c:v>
                </c:pt>
                <c:pt idx="10329">
                  <c:v>-0.121008403361344</c:v>
                </c:pt>
                <c:pt idx="10330">
                  <c:v>-0.121008403361344</c:v>
                </c:pt>
                <c:pt idx="10331">
                  <c:v>-0.121008403361344</c:v>
                </c:pt>
                <c:pt idx="10332">
                  <c:v>-0.121008403361344</c:v>
                </c:pt>
                <c:pt idx="10333">
                  <c:v>-0.121848739495798</c:v>
                </c:pt>
                <c:pt idx="10334">
                  <c:v>-0.121848739495798</c:v>
                </c:pt>
                <c:pt idx="10335">
                  <c:v>-0.121848739495798</c:v>
                </c:pt>
                <c:pt idx="10336">
                  <c:v>-0.121848739495798</c:v>
                </c:pt>
                <c:pt idx="10337">
                  <c:v>-0.121848739495798</c:v>
                </c:pt>
                <c:pt idx="10338">
                  <c:v>-0.121008403361344</c:v>
                </c:pt>
                <c:pt idx="10339">
                  <c:v>-0.121008403361344</c:v>
                </c:pt>
                <c:pt idx="10340">
                  <c:v>-0.121008403361344</c:v>
                </c:pt>
                <c:pt idx="10341">
                  <c:v>-0.121008403361344</c:v>
                </c:pt>
                <c:pt idx="10342">
                  <c:v>-0.121008403361344</c:v>
                </c:pt>
                <c:pt idx="10343">
                  <c:v>-0.121008403361344</c:v>
                </c:pt>
                <c:pt idx="10344">
                  <c:v>-0.121008403361344</c:v>
                </c:pt>
                <c:pt idx="10345">
                  <c:v>-0.121008403361344</c:v>
                </c:pt>
                <c:pt idx="10346">
                  <c:v>-0.121008403361344</c:v>
                </c:pt>
                <c:pt idx="10347">
                  <c:v>-0.121008403361344</c:v>
                </c:pt>
                <c:pt idx="10348">
                  <c:v>-0.121008403361344</c:v>
                </c:pt>
                <c:pt idx="10349">
                  <c:v>-0.121008403361344</c:v>
                </c:pt>
                <c:pt idx="10350">
                  <c:v>-0.121008403361344</c:v>
                </c:pt>
                <c:pt idx="10351">
                  <c:v>-0.121008403361344</c:v>
                </c:pt>
                <c:pt idx="10352">
                  <c:v>-0.121008403361344</c:v>
                </c:pt>
                <c:pt idx="10353">
                  <c:v>-0.121008403361344</c:v>
                </c:pt>
                <c:pt idx="10354">
                  <c:v>-0.121008403361344</c:v>
                </c:pt>
                <c:pt idx="10355">
                  <c:v>-0.121008403361344</c:v>
                </c:pt>
                <c:pt idx="10356">
                  <c:v>-0.121008403361344</c:v>
                </c:pt>
                <c:pt idx="10357">
                  <c:v>-0.121008403361344</c:v>
                </c:pt>
                <c:pt idx="10358">
                  <c:v>-0.121008403361344</c:v>
                </c:pt>
                <c:pt idx="10359">
                  <c:v>-0.121008403361344</c:v>
                </c:pt>
                <c:pt idx="10360">
                  <c:v>-0.121008403361344</c:v>
                </c:pt>
                <c:pt idx="10361">
                  <c:v>-0.121008403361344</c:v>
                </c:pt>
                <c:pt idx="10362">
                  <c:v>-0.121008403361344</c:v>
                </c:pt>
                <c:pt idx="10363">
                  <c:v>-0.121008403361344</c:v>
                </c:pt>
                <c:pt idx="10364">
                  <c:v>-0.121848739495798</c:v>
                </c:pt>
                <c:pt idx="10365">
                  <c:v>-0.121008403361344</c:v>
                </c:pt>
                <c:pt idx="10366">
                  <c:v>-0.121008403361344</c:v>
                </c:pt>
                <c:pt idx="10367">
                  <c:v>-0.121008403361344</c:v>
                </c:pt>
                <c:pt idx="10368">
                  <c:v>-0.121008403361344</c:v>
                </c:pt>
                <c:pt idx="10369">
                  <c:v>-0.121008403361344</c:v>
                </c:pt>
                <c:pt idx="10370">
                  <c:v>-0.121008403361344</c:v>
                </c:pt>
                <c:pt idx="10371">
                  <c:v>-0.121008403361344</c:v>
                </c:pt>
                <c:pt idx="10372">
                  <c:v>-0.121008403361344</c:v>
                </c:pt>
                <c:pt idx="10373">
                  <c:v>-0.121008403361344</c:v>
                </c:pt>
                <c:pt idx="10374">
                  <c:v>-0.121008403361344</c:v>
                </c:pt>
                <c:pt idx="10375">
                  <c:v>-0.121008403361344</c:v>
                </c:pt>
                <c:pt idx="10376">
                  <c:v>-0.121008403361344</c:v>
                </c:pt>
                <c:pt idx="10377">
                  <c:v>-0.121008403361344</c:v>
                </c:pt>
                <c:pt idx="10378">
                  <c:v>-0.121008403361344</c:v>
                </c:pt>
                <c:pt idx="10379">
                  <c:v>-0.121008403361344</c:v>
                </c:pt>
                <c:pt idx="10380">
                  <c:v>-0.121008403361344</c:v>
                </c:pt>
                <c:pt idx="10381">
                  <c:v>-0.121008403361344</c:v>
                </c:pt>
                <c:pt idx="10382">
                  <c:v>-0.121008403361344</c:v>
                </c:pt>
                <c:pt idx="10383">
                  <c:v>-0.121008403361344</c:v>
                </c:pt>
                <c:pt idx="10384">
                  <c:v>-0.121008403361344</c:v>
                </c:pt>
                <c:pt idx="10385">
                  <c:v>-0.121008403361344</c:v>
                </c:pt>
                <c:pt idx="10386">
                  <c:v>-0.121008403361344</c:v>
                </c:pt>
                <c:pt idx="10387">
                  <c:v>-0.121008403361344</c:v>
                </c:pt>
                <c:pt idx="10388">
                  <c:v>-0.121008403361344</c:v>
                </c:pt>
                <c:pt idx="10389">
                  <c:v>-0.121008403361344</c:v>
                </c:pt>
                <c:pt idx="10390">
                  <c:v>-0.121008403361344</c:v>
                </c:pt>
                <c:pt idx="10391">
                  <c:v>-0.121008403361344</c:v>
                </c:pt>
                <c:pt idx="10392">
                  <c:v>-0.121008403361344</c:v>
                </c:pt>
                <c:pt idx="10393">
                  <c:v>-0.121008403361344</c:v>
                </c:pt>
                <c:pt idx="10394">
                  <c:v>-0.121008403361344</c:v>
                </c:pt>
                <c:pt idx="10395">
                  <c:v>-0.121008403361344</c:v>
                </c:pt>
                <c:pt idx="10396">
                  <c:v>-0.121008403361344</c:v>
                </c:pt>
                <c:pt idx="10397">
                  <c:v>-0.121008403361344</c:v>
                </c:pt>
                <c:pt idx="10398">
                  <c:v>-0.121008403361344</c:v>
                </c:pt>
                <c:pt idx="10399">
                  <c:v>-0.121008403361344</c:v>
                </c:pt>
                <c:pt idx="10400">
                  <c:v>-0.121008403361344</c:v>
                </c:pt>
                <c:pt idx="10401">
                  <c:v>-0.121008403361344</c:v>
                </c:pt>
                <c:pt idx="10402">
                  <c:v>-0.121008403361344</c:v>
                </c:pt>
                <c:pt idx="10403">
                  <c:v>-0.121008403361344</c:v>
                </c:pt>
                <c:pt idx="10404">
                  <c:v>-0.121008403361344</c:v>
                </c:pt>
                <c:pt idx="10405">
                  <c:v>-0.121008403361344</c:v>
                </c:pt>
                <c:pt idx="10406">
                  <c:v>-0.121008403361344</c:v>
                </c:pt>
                <c:pt idx="10407">
                  <c:v>-0.121008403361344</c:v>
                </c:pt>
                <c:pt idx="10408">
                  <c:v>-0.121008403361344</c:v>
                </c:pt>
                <c:pt idx="10409">
                  <c:v>-0.121008403361344</c:v>
                </c:pt>
                <c:pt idx="10410">
                  <c:v>-0.121008403361344</c:v>
                </c:pt>
                <c:pt idx="10411">
                  <c:v>-0.121008403361344</c:v>
                </c:pt>
                <c:pt idx="10412">
                  <c:v>-0.121008403361344</c:v>
                </c:pt>
                <c:pt idx="10413">
                  <c:v>-0.121008403361344</c:v>
                </c:pt>
                <c:pt idx="10414">
                  <c:v>-0.121008403361344</c:v>
                </c:pt>
                <c:pt idx="10415">
                  <c:v>-0.121008403361344</c:v>
                </c:pt>
                <c:pt idx="10416">
                  <c:v>-0.121008403361344</c:v>
                </c:pt>
                <c:pt idx="10417">
                  <c:v>-0.121008403361344</c:v>
                </c:pt>
                <c:pt idx="10418">
                  <c:v>-0.121008403361344</c:v>
                </c:pt>
                <c:pt idx="10419">
                  <c:v>-0.121008403361344</c:v>
                </c:pt>
                <c:pt idx="10420">
                  <c:v>-0.121008403361344</c:v>
                </c:pt>
                <c:pt idx="10421">
                  <c:v>-0.121008403361344</c:v>
                </c:pt>
                <c:pt idx="10422">
                  <c:v>-0.121008403361344</c:v>
                </c:pt>
                <c:pt idx="10423">
                  <c:v>-0.121008403361344</c:v>
                </c:pt>
                <c:pt idx="10424">
                  <c:v>-0.121008403361344</c:v>
                </c:pt>
                <c:pt idx="10425">
                  <c:v>-0.121008403361344</c:v>
                </c:pt>
                <c:pt idx="10426">
                  <c:v>-0.121008403361344</c:v>
                </c:pt>
                <c:pt idx="10427">
                  <c:v>-0.121008403361344</c:v>
                </c:pt>
                <c:pt idx="10428">
                  <c:v>-0.121008403361344</c:v>
                </c:pt>
                <c:pt idx="10429">
                  <c:v>-0.121008403361344</c:v>
                </c:pt>
                <c:pt idx="10430">
                  <c:v>-0.121848739495798</c:v>
                </c:pt>
                <c:pt idx="10431">
                  <c:v>-0.121848739495798</c:v>
                </c:pt>
                <c:pt idx="10432">
                  <c:v>-0.121848739495798</c:v>
                </c:pt>
                <c:pt idx="10433">
                  <c:v>-0.121848739495798</c:v>
                </c:pt>
                <c:pt idx="10434">
                  <c:v>-0.121848739495798</c:v>
                </c:pt>
                <c:pt idx="10435">
                  <c:v>-0.121848739495798</c:v>
                </c:pt>
                <c:pt idx="10436">
                  <c:v>-0.121848739495798</c:v>
                </c:pt>
                <c:pt idx="10437">
                  <c:v>-0.121848739495798</c:v>
                </c:pt>
                <c:pt idx="10438">
                  <c:v>-0.121848739495798</c:v>
                </c:pt>
                <c:pt idx="10439">
                  <c:v>-0.121848739495798</c:v>
                </c:pt>
                <c:pt idx="10440">
                  <c:v>-0.121848739495798</c:v>
                </c:pt>
                <c:pt idx="10441">
                  <c:v>-0.121008403361344</c:v>
                </c:pt>
                <c:pt idx="10442">
                  <c:v>-0.121008403361344</c:v>
                </c:pt>
                <c:pt idx="10443">
                  <c:v>-0.121008403361344</c:v>
                </c:pt>
                <c:pt idx="10444">
                  <c:v>-0.121008403361344</c:v>
                </c:pt>
                <c:pt idx="10445">
                  <c:v>-0.121008403361344</c:v>
                </c:pt>
                <c:pt idx="10446">
                  <c:v>-0.121008403361344</c:v>
                </c:pt>
                <c:pt idx="10447">
                  <c:v>-0.121008403361344</c:v>
                </c:pt>
                <c:pt idx="10448">
                  <c:v>-0.121008403361344</c:v>
                </c:pt>
                <c:pt idx="10449">
                  <c:v>-0.121008403361344</c:v>
                </c:pt>
                <c:pt idx="10450">
                  <c:v>-0.121008403361344</c:v>
                </c:pt>
                <c:pt idx="10451">
                  <c:v>-0.121008403361344</c:v>
                </c:pt>
                <c:pt idx="10452">
                  <c:v>-0.121008403361344</c:v>
                </c:pt>
                <c:pt idx="10453">
                  <c:v>-0.121008403361344</c:v>
                </c:pt>
                <c:pt idx="10454">
                  <c:v>-0.121008403361344</c:v>
                </c:pt>
                <c:pt idx="10455">
                  <c:v>-0.121008403361344</c:v>
                </c:pt>
                <c:pt idx="10456">
                  <c:v>-0.121008403361344</c:v>
                </c:pt>
                <c:pt idx="10457">
                  <c:v>-0.121008403361344</c:v>
                </c:pt>
                <c:pt idx="10458">
                  <c:v>-0.121848739495798</c:v>
                </c:pt>
                <c:pt idx="10459">
                  <c:v>-0.121848739495798</c:v>
                </c:pt>
                <c:pt idx="10460">
                  <c:v>-0.121848739495798</c:v>
                </c:pt>
                <c:pt idx="10461">
                  <c:v>-0.121848739495798</c:v>
                </c:pt>
                <c:pt idx="10462">
                  <c:v>-0.121848739495798</c:v>
                </c:pt>
                <c:pt idx="10463">
                  <c:v>-0.121848739495798</c:v>
                </c:pt>
                <c:pt idx="10464">
                  <c:v>-0.121848739495798</c:v>
                </c:pt>
                <c:pt idx="10465">
                  <c:v>-0.121848739495798</c:v>
                </c:pt>
                <c:pt idx="10466">
                  <c:v>-0.121008403361344</c:v>
                </c:pt>
                <c:pt idx="10467">
                  <c:v>-0.121008403361344</c:v>
                </c:pt>
                <c:pt idx="10468">
                  <c:v>-0.121008403361344</c:v>
                </c:pt>
                <c:pt idx="10469">
                  <c:v>-0.121848739495798</c:v>
                </c:pt>
                <c:pt idx="10470">
                  <c:v>-0.121848739495798</c:v>
                </c:pt>
                <c:pt idx="10471">
                  <c:v>-0.121848739495798</c:v>
                </c:pt>
                <c:pt idx="10472">
                  <c:v>-0.121848739495798</c:v>
                </c:pt>
                <c:pt idx="10473">
                  <c:v>-0.121848739495798</c:v>
                </c:pt>
                <c:pt idx="10474">
                  <c:v>-0.121848739495798</c:v>
                </c:pt>
                <c:pt idx="10475">
                  <c:v>-0.121848739495798</c:v>
                </c:pt>
                <c:pt idx="10476">
                  <c:v>-0.121848739495798</c:v>
                </c:pt>
                <c:pt idx="10477">
                  <c:v>-0.121848739495798</c:v>
                </c:pt>
                <c:pt idx="10478">
                  <c:v>-0.121848739495798</c:v>
                </c:pt>
                <c:pt idx="10479">
                  <c:v>-0.121848739495798</c:v>
                </c:pt>
                <c:pt idx="10480">
                  <c:v>-0.121848739495798</c:v>
                </c:pt>
                <c:pt idx="10481">
                  <c:v>-0.121848739495798</c:v>
                </c:pt>
                <c:pt idx="10482">
                  <c:v>-0.121848739495798</c:v>
                </c:pt>
                <c:pt idx="10483">
                  <c:v>-0.121848739495798</c:v>
                </c:pt>
                <c:pt idx="10484">
                  <c:v>-0.121848739495798</c:v>
                </c:pt>
                <c:pt idx="10485">
                  <c:v>-0.121848739495798</c:v>
                </c:pt>
                <c:pt idx="10486">
                  <c:v>-0.121848739495798</c:v>
                </c:pt>
                <c:pt idx="10487">
                  <c:v>-0.121848739495798</c:v>
                </c:pt>
                <c:pt idx="10488">
                  <c:v>-0.121848739495798</c:v>
                </c:pt>
                <c:pt idx="10489">
                  <c:v>-0.121848739495798</c:v>
                </c:pt>
                <c:pt idx="10490">
                  <c:v>-0.121848739495798</c:v>
                </c:pt>
                <c:pt idx="10491">
                  <c:v>-0.121848739495798</c:v>
                </c:pt>
                <c:pt idx="10492">
                  <c:v>-0.121848739495798</c:v>
                </c:pt>
                <c:pt idx="10493">
                  <c:v>-0.121848739495798</c:v>
                </c:pt>
                <c:pt idx="10494">
                  <c:v>-0.121848739495798</c:v>
                </c:pt>
                <c:pt idx="10495">
                  <c:v>-0.121848739495798</c:v>
                </c:pt>
                <c:pt idx="10496">
                  <c:v>-0.121848739495798</c:v>
                </c:pt>
                <c:pt idx="10497">
                  <c:v>-0.121848739495798</c:v>
                </c:pt>
                <c:pt idx="10498">
                  <c:v>-0.121848739495798</c:v>
                </c:pt>
                <c:pt idx="10499">
                  <c:v>-0.121848739495798</c:v>
                </c:pt>
                <c:pt idx="10500">
                  <c:v>-0.121848739495798</c:v>
                </c:pt>
                <c:pt idx="10501">
                  <c:v>-0.121848739495798</c:v>
                </c:pt>
                <c:pt idx="10502">
                  <c:v>-0.121848739495798</c:v>
                </c:pt>
                <c:pt idx="10503">
                  <c:v>-0.121848739495798</c:v>
                </c:pt>
                <c:pt idx="10504">
                  <c:v>-0.121848739495798</c:v>
                </c:pt>
                <c:pt idx="10505">
                  <c:v>-0.121848739495798</c:v>
                </c:pt>
                <c:pt idx="10506">
                  <c:v>-0.121848739495798</c:v>
                </c:pt>
                <c:pt idx="10507">
                  <c:v>-0.121848739495798</c:v>
                </c:pt>
                <c:pt idx="10508">
                  <c:v>-0.121848739495798</c:v>
                </c:pt>
                <c:pt idx="10509">
                  <c:v>-0.121848739495798</c:v>
                </c:pt>
                <c:pt idx="10510">
                  <c:v>-0.121848739495798</c:v>
                </c:pt>
                <c:pt idx="10511">
                  <c:v>-0.121848739495798</c:v>
                </c:pt>
                <c:pt idx="10512">
                  <c:v>-0.121848739495798</c:v>
                </c:pt>
                <c:pt idx="10513">
                  <c:v>-0.121848739495798</c:v>
                </c:pt>
                <c:pt idx="10514">
                  <c:v>-0.121848739495798</c:v>
                </c:pt>
                <c:pt idx="10515">
                  <c:v>-0.121848739495798</c:v>
                </c:pt>
                <c:pt idx="10516">
                  <c:v>-0.121848739495798</c:v>
                </c:pt>
                <c:pt idx="10517">
                  <c:v>-0.121848739495798</c:v>
                </c:pt>
                <c:pt idx="10518">
                  <c:v>-0.121848739495798</c:v>
                </c:pt>
                <c:pt idx="10519">
                  <c:v>-0.121848739495798</c:v>
                </c:pt>
                <c:pt idx="10520">
                  <c:v>-0.121848739495798</c:v>
                </c:pt>
                <c:pt idx="10521">
                  <c:v>-0.121848739495798</c:v>
                </c:pt>
                <c:pt idx="10522">
                  <c:v>-0.121848739495798</c:v>
                </c:pt>
                <c:pt idx="10523">
                  <c:v>-0.121848739495798</c:v>
                </c:pt>
                <c:pt idx="10524">
                  <c:v>-0.121848739495798</c:v>
                </c:pt>
                <c:pt idx="10525">
                  <c:v>-0.121848739495798</c:v>
                </c:pt>
                <c:pt idx="10526">
                  <c:v>-0.121848739495798</c:v>
                </c:pt>
                <c:pt idx="10527">
                  <c:v>-0.121848739495798</c:v>
                </c:pt>
                <c:pt idx="10528">
                  <c:v>-0.121848739495798</c:v>
                </c:pt>
                <c:pt idx="10529">
                  <c:v>-0.121848739495798</c:v>
                </c:pt>
                <c:pt idx="10530">
                  <c:v>-0.121848739495798</c:v>
                </c:pt>
                <c:pt idx="10531">
                  <c:v>-0.121848739495798</c:v>
                </c:pt>
                <c:pt idx="10532">
                  <c:v>-0.121848739495798</c:v>
                </c:pt>
                <c:pt idx="10533">
                  <c:v>-0.121848739495798</c:v>
                </c:pt>
                <c:pt idx="10534">
                  <c:v>-0.121848739495798</c:v>
                </c:pt>
                <c:pt idx="10535">
                  <c:v>-0.121848739495798</c:v>
                </c:pt>
                <c:pt idx="10536">
                  <c:v>-0.121848739495798</c:v>
                </c:pt>
                <c:pt idx="10537">
                  <c:v>-0.121848739495798</c:v>
                </c:pt>
                <c:pt idx="10538">
                  <c:v>-0.121848739495798</c:v>
                </c:pt>
                <c:pt idx="10539">
                  <c:v>-0.121848739495798</c:v>
                </c:pt>
                <c:pt idx="10540">
                  <c:v>-0.121848739495798</c:v>
                </c:pt>
                <c:pt idx="10541">
                  <c:v>-0.121848739495798</c:v>
                </c:pt>
                <c:pt idx="10542">
                  <c:v>-0.121848739495798</c:v>
                </c:pt>
                <c:pt idx="10543">
                  <c:v>-0.121848739495798</c:v>
                </c:pt>
                <c:pt idx="10544">
                  <c:v>-0.121848739495798</c:v>
                </c:pt>
                <c:pt idx="10545">
                  <c:v>-0.121848739495798</c:v>
                </c:pt>
                <c:pt idx="10546">
                  <c:v>-0.122689075630252</c:v>
                </c:pt>
                <c:pt idx="10547">
                  <c:v>-0.122689075630252</c:v>
                </c:pt>
                <c:pt idx="10548">
                  <c:v>-0.122689075630252</c:v>
                </c:pt>
                <c:pt idx="10549">
                  <c:v>-0.122689075630252</c:v>
                </c:pt>
                <c:pt idx="10550">
                  <c:v>-0.122689075630252</c:v>
                </c:pt>
                <c:pt idx="10551">
                  <c:v>-0.122689075630252</c:v>
                </c:pt>
                <c:pt idx="10552">
                  <c:v>-0.122689075630252</c:v>
                </c:pt>
                <c:pt idx="10553">
                  <c:v>-0.122689075630252</c:v>
                </c:pt>
                <c:pt idx="10554">
                  <c:v>-0.123529411764705</c:v>
                </c:pt>
                <c:pt idx="10555">
                  <c:v>-0.123529411764705</c:v>
                </c:pt>
                <c:pt idx="10556">
                  <c:v>-0.123529411764705</c:v>
                </c:pt>
                <c:pt idx="10557">
                  <c:v>-0.123529411764705</c:v>
                </c:pt>
                <c:pt idx="10558">
                  <c:v>-0.123529411764705</c:v>
                </c:pt>
                <c:pt idx="10559">
                  <c:v>-0.123529411764705</c:v>
                </c:pt>
                <c:pt idx="10560">
                  <c:v>-0.123529411764705</c:v>
                </c:pt>
                <c:pt idx="10561">
                  <c:v>-0.123529411764705</c:v>
                </c:pt>
                <c:pt idx="10562">
                  <c:v>-0.123529411764705</c:v>
                </c:pt>
                <c:pt idx="10563">
                  <c:v>-0.123529411764705</c:v>
                </c:pt>
                <c:pt idx="10564">
                  <c:v>-0.123529411764705</c:v>
                </c:pt>
                <c:pt idx="10565">
                  <c:v>-0.123529411764705</c:v>
                </c:pt>
                <c:pt idx="10566">
                  <c:v>-0.123529411764705</c:v>
                </c:pt>
                <c:pt idx="10567">
                  <c:v>-0.123529411764705</c:v>
                </c:pt>
                <c:pt idx="10568">
                  <c:v>-0.123529411764705</c:v>
                </c:pt>
                <c:pt idx="10569">
                  <c:v>-0.123529411764705</c:v>
                </c:pt>
                <c:pt idx="10570">
                  <c:v>-0.123529411764705</c:v>
                </c:pt>
                <c:pt idx="10571">
                  <c:v>-0.123529411764705</c:v>
                </c:pt>
                <c:pt idx="10572">
                  <c:v>-0.123529411764705</c:v>
                </c:pt>
                <c:pt idx="10573">
                  <c:v>-0.123529411764705</c:v>
                </c:pt>
                <c:pt idx="10574">
                  <c:v>-0.123529411764705</c:v>
                </c:pt>
                <c:pt idx="10575">
                  <c:v>-0.123529411764705</c:v>
                </c:pt>
                <c:pt idx="10576">
                  <c:v>-0.123529411764705</c:v>
                </c:pt>
                <c:pt idx="10577">
                  <c:v>-0.123529411764705</c:v>
                </c:pt>
                <c:pt idx="10578">
                  <c:v>-0.123529411764705</c:v>
                </c:pt>
                <c:pt idx="10579">
                  <c:v>-0.123529411764705</c:v>
                </c:pt>
                <c:pt idx="10580">
                  <c:v>-0.123529411764705</c:v>
                </c:pt>
                <c:pt idx="10581">
                  <c:v>-0.122689075630252</c:v>
                </c:pt>
                <c:pt idx="10582">
                  <c:v>-0.122689075630252</c:v>
                </c:pt>
                <c:pt idx="10583">
                  <c:v>-0.122689075630252</c:v>
                </c:pt>
                <c:pt idx="10584">
                  <c:v>-0.122689075630252</c:v>
                </c:pt>
                <c:pt idx="10585">
                  <c:v>-0.122689075630252</c:v>
                </c:pt>
                <c:pt idx="10586">
                  <c:v>-0.122689075630252</c:v>
                </c:pt>
                <c:pt idx="10587">
                  <c:v>-0.122689075630252</c:v>
                </c:pt>
                <c:pt idx="10588">
                  <c:v>-0.122689075630252</c:v>
                </c:pt>
                <c:pt idx="10589">
                  <c:v>-0.122689075630252</c:v>
                </c:pt>
                <c:pt idx="10590">
                  <c:v>-0.122689075630252</c:v>
                </c:pt>
                <c:pt idx="10591">
                  <c:v>-0.122689075630252</c:v>
                </c:pt>
                <c:pt idx="10592">
                  <c:v>-0.122689075630252</c:v>
                </c:pt>
                <c:pt idx="10593">
                  <c:v>-0.123529411764705</c:v>
                </c:pt>
                <c:pt idx="10594">
                  <c:v>-0.123529411764705</c:v>
                </c:pt>
                <c:pt idx="10595">
                  <c:v>-0.123529411764705</c:v>
                </c:pt>
                <c:pt idx="10596">
                  <c:v>-0.123529411764705</c:v>
                </c:pt>
                <c:pt idx="10597">
                  <c:v>-0.124369747899159</c:v>
                </c:pt>
                <c:pt idx="10598">
                  <c:v>-0.124369747899159</c:v>
                </c:pt>
                <c:pt idx="10599">
                  <c:v>-0.124369747899159</c:v>
                </c:pt>
                <c:pt idx="10600">
                  <c:v>-0.124369747899159</c:v>
                </c:pt>
                <c:pt idx="10601">
                  <c:v>-0.124369747899159</c:v>
                </c:pt>
                <c:pt idx="10602">
                  <c:v>-0.123529411764705</c:v>
                </c:pt>
                <c:pt idx="10603">
                  <c:v>-0.123529411764705</c:v>
                </c:pt>
                <c:pt idx="10604">
                  <c:v>-0.123529411764705</c:v>
                </c:pt>
                <c:pt idx="10605">
                  <c:v>-0.123529411764705</c:v>
                </c:pt>
                <c:pt idx="10606">
                  <c:v>-0.123529411764705</c:v>
                </c:pt>
                <c:pt idx="10607">
                  <c:v>-0.123529411764705</c:v>
                </c:pt>
                <c:pt idx="10608">
                  <c:v>-0.123529411764705</c:v>
                </c:pt>
                <c:pt idx="10609">
                  <c:v>-0.123529411764705</c:v>
                </c:pt>
                <c:pt idx="10610">
                  <c:v>-0.123529411764705</c:v>
                </c:pt>
                <c:pt idx="10611">
                  <c:v>-0.123529411764705</c:v>
                </c:pt>
                <c:pt idx="10612">
                  <c:v>-0.123529411764705</c:v>
                </c:pt>
                <c:pt idx="10613">
                  <c:v>-0.123529411764705</c:v>
                </c:pt>
                <c:pt idx="10614">
                  <c:v>-0.123529411764705</c:v>
                </c:pt>
                <c:pt idx="10615">
                  <c:v>-0.123529411764705</c:v>
                </c:pt>
                <c:pt idx="10616">
                  <c:v>-0.123529411764705</c:v>
                </c:pt>
                <c:pt idx="10617">
                  <c:v>-0.123529411764705</c:v>
                </c:pt>
                <c:pt idx="10618">
                  <c:v>-0.123529411764705</c:v>
                </c:pt>
                <c:pt idx="10619">
                  <c:v>-0.123529411764705</c:v>
                </c:pt>
                <c:pt idx="10620">
                  <c:v>-0.123529411764705</c:v>
                </c:pt>
                <c:pt idx="10621">
                  <c:v>-0.123529411764705</c:v>
                </c:pt>
                <c:pt idx="10622">
                  <c:v>-0.123529411764705</c:v>
                </c:pt>
                <c:pt idx="10623">
                  <c:v>-0.123529411764705</c:v>
                </c:pt>
                <c:pt idx="10624">
                  <c:v>-0.123529411764705</c:v>
                </c:pt>
                <c:pt idx="10625">
                  <c:v>-0.123529411764705</c:v>
                </c:pt>
                <c:pt idx="10626">
                  <c:v>-0.123529411764705</c:v>
                </c:pt>
                <c:pt idx="10627">
                  <c:v>-0.123529411764705</c:v>
                </c:pt>
                <c:pt idx="10628">
                  <c:v>-0.123529411764705</c:v>
                </c:pt>
                <c:pt idx="10629">
                  <c:v>-0.123529411764705</c:v>
                </c:pt>
                <c:pt idx="10630">
                  <c:v>-0.123529411764705</c:v>
                </c:pt>
                <c:pt idx="10631">
                  <c:v>-0.123529411764705</c:v>
                </c:pt>
                <c:pt idx="10632">
                  <c:v>-0.123529411764705</c:v>
                </c:pt>
                <c:pt idx="10633">
                  <c:v>-0.123529411764705</c:v>
                </c:pt>
                <c:pt idx="10634">
                  <c:v>-0.123529411764705</c:v>
                </c:pt>
                <c:pt idx="10635">
                  <c:v>-0.123529411764705</c:v>
                </c:pt>
                <c:pt idx="10636">
                  <c:v>-0.123529411764705</c:v>
                </c:pt>
                <c:pt idx="10637">
                  <c:v>-0.123529411764705</c:v>
                </c:pt>
                <c:pt idx="10638">
                  <c:v>-0.123529411764705</c:v>
                </c:pt>
                <c:pt idx="10639">
                  <c:v>-0.123529411764705</c:v>
                </c:pt>
                <c:pt idx="10640">
                  <c:v>-0.123529411764705</c:v>
                </c:pt>
                <c:pt idx="10641">
                  <c:v>-0.123529411764705</c:v>
                </c:pt>
                <c:pt idx="10642">
                  <c:v>-0.123529411764705</c:v>
                </c:pt>
                <c:pt idx="10643">
                  <c:v>-0.123529411764705</c:v>
                </c:pt>
                <c:pt idx="10644">
                  <c:v>-0.123529411764705</c:v>
                </c:pt>
                <c:pt idx="10645">
                  <c:v>-0.123529411764705</c:v>
                </c:pt>
                <c:pt idx="10646">
                  <c:v>-0.123529411764705</c:v>
                </c:pt>
                <c:pt idx="10647">
                  <c:v>-0.123529411764705</c:v>
                </c:pt>
                <c:pt idx="10648">
                  <c:v>-0.123529411764705</c:v>
                </c:pt>
                <c:pt idx="10649">
                  <c:v>-0.123529411764705</c:v>
                </c:pt>
                <c:pt idx="10650">
                  <c:v>-0.123529411764705</c:v>
                </c:pt>
                <c:pt idx="10651">
                  <c:v>-0.123529411764705</c:v>
                </c:pt>
                <c:pt idx="10652">
                  <c:v>-0.123529411764705</c:v>
                </c:pt>
                <c:pt idx="10653">
                  <c:v>-0.122689075630252</c:v>
                </c:pt>
                <c:pt idx="10654">
                  <c:v>-0.121848739495798</c:v>
                </c:pt>
                <c:pt idx="10655">
                  <c:v>-0.121848739495798</c:v>
                </c:pt>
                <c:pt idx="10656">
                  <c:v>-0.121848739495798</c:v>
                </c:pt>
                <c:pt idx="10657">
                  <c:v>-0.121848739495798</c:v>
                </c:pt>
                <c:pt idx="10658">
                  <c:v>-0.121848739495798</c:v>
                </c:pt>
                <c:pt idx="10659">
                  <c:v>-0.121848739495798</c:v>
                </c:pt>
                <c:pt idx="10660">
                  <c:v>-0.121848739495798</c:v>
                </c:pt>
                <c:pt idx="10661">
                  <c:v>-0.121848739495798</c:v>
                </c:pt>
                <c:pt idx="10662">
                  <c:v>-0.121848739495798</c:v>
                </c:pt>
                <c:pt idx="10663">
                  <c:v>-0.121848739495798</c:v>
                </c:pt>
                <c:pt idx="10664">
                  <c:v>-0.121848739495798</c:v>
                </c:pt>
                <c:pt idx="10665">
                  <c:v>-0.121848739495798</c:v>
                </c:pt>
                <c:pt idx="10666">
                  <c:v>-0.121848739495798</c:v>
                </c:pt>
                <c:pt idx="10667">
                  <c:v>-0.121848739495798</c:v>
                </c:pt>
                <c:pt idx="10668">
                  <c:v>-0.121848739495798</c:v>
                </c:pt>
                <c:pt idx="10669">
                  <c:v>-0.121848739495798</c:v>
                </c:pt>
                <c:pt idx="10670">
                  <c:v>-0.121848739495798</c:v>
                </c:pt>
                <c:pt idx="10671">
                  <c:v>-0.121848739495798</c:v>
                </c:pt>
                <c:pt idx="10672">
                  <c:v>-0.121848739495798</c:v>
                </c:pt>
                <c:pt idx="10673">
                  <c:v>-0.121848739495798</c:v>
                </c:pt>
                <c:pt idx="10674">
                  <c:v>-0.121848739495798</c:v>
                </c:pt>
                <c:pt idx="10675">
                  <c:v>-0.121848739495798</c:v>
                </c:pt>
                <c:pt idx="10676">
                  <c:v>-0.121848739495798</c:v>
                </c:pt>
                <c:pt idx="10677">
                  <c:v>-0.121848739495798</c:v>
                </c:pt>
                <c:pt idx="10678">
                  <c:v>-0.121848739495798</c:v>
                </c:pt>
                <c:pt idx="10679">
                  <c:v>-0.121848739495798</c:v>
                </c:pt>
                <c:pt idx="10680">
                  <c:v>-0.121848739495798</c:v>
                </c:pt>
                <c:pt idx="10681">
                  <c:v>-0.121848739495798</c:v>
                </c:pt>
                <c:pt idx="10682">
                  <c:v>-0.121848739495798</c:v>
                </c:pt>
                <c:pt idx="10683">
                  <c:v>-0.121848739495798</c:v>
                </c:pt>
                <c:pt idx="10684">
                  <c:v>-0.121848739495798</c:v>
                </c:pt>
                <c:pt idx="10685">
                  <c:v>-0.121848739495798</c:v>
                </c:pt>
                <c:pt idx="10686">
                  <c:v>-0.121848739495798</c:v>
                </c:pt>
                <c:pt idx="10687">
                  <c:v>-0.121848739495798</c:v>
                </c:pt>
                <c:pt idx="10688">
                  <c:v>-0.121848739495798</c:v>
                </c:pt>
                <c:pt idx="10689">
                  <c:v>-0.121008403361344</c:v>
                </c:pt>
                <c:pt idx="10690">
                  <c:v>-0.121008403361344</c:v>
                </c:pt>
                <c:pt idx="10691">
                  <c:v>-0.121008403361344</c:v>
                </c:pt>
                <c:pt idx="10692">
                  <c:v>-0.121008403361344</c:v>
                </c:pt>
                <c:pt idx="10693">
                  <c:v>-0.121008403361344</c:v>
                </c:pt>
                <c:pt idx="10694">
                  <c:v>-0.121008403361344</c:v>
                </c:pt>
                <c:pt idx="10695">
                  <c:v>-0.121008403361344</c:v>
                </c:pt>
                <c:pt idx="10696">
                  <c:v>-0.121008403361344</c:v>
                </c:pt>
                <c:pt idx="10697">
                  <c:v>-0.121008403361344</c:v>
                </c:pt>
                <c:pt idx="10698">
                  <c:v>-0.121008403361344</c:v>
                </c:pt>
                <c:pt idx="10699">
                  <c:v>-0.121008403361344</c:v>
                </c:pt>
                <c:pt idx="10700">
                  <c:v>-0.121008403361344</c:v>
                </c:pt>
                <c:pt idx="10701">
                  <c:v>-0.121008403361344</c:v>
                </c:pt>
                <c:pt idx="10702">
                  <c:v>-0.121008403361344</c:v>
                </c:pt>
                <c:pt idx="10703">
                  <c:v>-0.121008403361344</c:v>
                </c:pt>
                <c:pt idx="10704">
                  <c:v>-0.121008403361344</c:v>
                </c:pt>
                <c:pt idx="10705">
                  <c:v>-0.121008403361344</c:v>
                </c:pt>
                <c:pt idx="10706">
                  <c:v>-0.121008403361344</c:v>
                </c:pt>
                <c:pt idx="10707">
                  <c:v>-0.121008403361344</c:v>
                </c:pt>
                <c:pt idx="10708">
                  <c:v>-0.121008403361344</c:v>
                </c:pt>
                <c:pt idx="10709">
                  <c:v>-0.121008403361344</c:v>
                </c:pt>
                <c:pt idx="10710">
                  <c:v>-0.12016806722689</c:v>
                </c:pt>
                <c:pt idx="10711">
                  <c:v>-0.12016806722689</c:v>
                </c:pt>
                <c:pt idx="10712">
                  <c:v>-0.119327731092436</c:v>
                </c:pt>
                <c:pt idx="10713">
                  <c:v>-0.119327731092436</c:v>
                </c:pt>
                <c:pt idx="10714">
                  <c:v>-0.119327731092436</c:v>
                </c:pt>
                <c:pt idx="10715">
                  <c:v>-0.119327731092436</c:v>
                </c:pt>
                <c:pt idx="10716">
                  <c:v>-0.119327731092436</c:v>
                </c:pt>
                <c:pt idx="10717">
                  <c:v>-0.119327731092436</c:v>
                </c:pt>
                <c:pt idx="10718">
                  <c:v>-0.119327731092436</c:v>
                </c:pt>
                <c:pt idx="10719">
                  <c:v>-0.119327731092436</c:v>
                </c:pt>
                <c:pt idx="10720">
                  <c:v>-0.119327731092436</c:v>
                </c:pt>
                <c:pt idx="10721">
                  <c:v>-0.119327731092436</c:v>
                </c:pt>
                <c:pt idx="10722">
                  <c:v>-0.119327731092436</c:v>
                </c:pt>
                <c:pt idx="10723">
                  <c:v>-0.119327731092436</c:v>
                </c:pt>
                <c:pt idx="10724">
                  <c:v>-0.119327731092436</c:v>
                </c:pt>
                <c:pt idx="10725">
                  <c:v>-0.119327731092436</c:v>
                </c:pt>
                <c:pt idx="10726">
                  <c:v>-0.119327731092436</c:v>
                </c:pt>
                <c:pt idx="10727">
                  <c:v>-0.119327731092436</c:v>
                </c:pt>
                <c:pt idx="10728">
                  <c:v>-0.119327731092436</c:v>
                </c:pt>
                <c:pt idx="10729">
                  <c:v>-0.119327731092436</c:v>
                </c:pt>
                <c:pt idx="10730">
                  <c:v>-0.119327731092436</c:v>
                </c:pt>
                <c:pt idx="10731">
                  <c:v>-0.119327731092436</c:v>
                </c:pt>
                <c:pt idx="10732">
                  <c:v>-0.119327731092436</c:v>
                </c:pt>
                <c:pt idx="10733">
                  <c:v>-0.119327731092436</c:v>
                </c:pt>
                <c:pt idx="10734">
                  <c:v>-0.119327731092436</c:v>
                </c:pt>
                <c:pt idx="10735">
                  <c:v>-0.119327731092436</c:v>
                </c:pt>
                <c:pt idx="10736">
                  <c:v>-0.119327731092436</c:v>
                </c:pt>
                <c:pt idx="10737">
                  <c:v>-0.119327731092436</c:v>
                </c:pt>
                <c:pt idx="10738">
                  <c:v>-0.119327731092436</c:v>
                </c:pt>
                <c:pt idx="10739">
                  <c:v>-0.119327731092436</c:v>
                </c:pt>
                <c:pt idx="10740">
                  <c:v>-0.119327731092436</c:v>
                </c:pt>
                <c:pt idx="10741">
                  <c:v>-0.119327731092436</c:v>
                </c:pt>
                <c:pt idx="10742">
                  <c:v>-0.119327731092436</c:v>
                </c:pt>
                <c:pt idx="10743">
                  <c:v>-0.119327731092436</c:v>
                </c:pt>
                <c:pt idx="10744">
                  <c:v>-0.119327731092436</c:v>
                </c:pt>
                <c:pt idx="10745">
                  <c:v>-0.119327731092436</c:v>
                </c:pt>
                <c:pt idx="10746">
                  <c:v>-0.119327731092436</c:v>
                </c:pt>
                <c:pt idx="10747">
                  <c:v>-0.119327731092436</c:v>
                </c:pt>
                <c:pt idx="10748">
                  <c:v>-0.119327731092436</c:v>
                </c:pt>
                <c:pt idx="10749">
                  <c:v>-0.119327731092436</c:v>
                </c:pt>
                <c:pt idx="10750">
                  <c:v>-0.119327731092436</c:v>
                </c:pt>
                <c:pt idx="10751">
                  <c:v>-0.119327731092436</c:v>
                </c:pt>
                <c:pt idx="10752">
                  <c:v>-0.119327731092436</c:v>
                </c:pt>
                <c:pt idx="10753">
                  <c:v>-0.119327731092436</c:v>
                </c:pt>
                <c:pt idx="10754">
                  <c:v>-0.119327731092436</c:v>
                </c:pt>
                <c:pt idx="10755">
                  <c:v>-0.119327731092436</c:v>
                </c:pt>
                <c:pt idx="10756">
                  <c:v>-0.119327731092436</c:v>
                </c:pt>
                <c:pt idx="10757">
                  <c:v>-0.119327731092436</c:v>
                </c:pt>
                <c:pt idx="10758">
                  <c:v>-0.119327731092436</c:v>
                </c:pt>
                <c:pt idx="10759">
                  <c:v>-0.119327731092436</c:v>
                </c:pt>
                <c:pt idx="10760">
                  <c:v>-0.119327731092436</c:v>
                </c:pt>
                <c:pt idx="10761">
                  <c:v>-0.119327731092436</c:v>
                </c:pt>
                <c:pt idx="10762">
                  <c:v>-0.119327731092436</c:v>
                </c:pt>
                <c:pt idx="10763">
                  <c:v>-0.12016806722689</c:v>
                </c:pt>
                <c:pt idx="10764">
                  <c:v>-0.12016806722689</c:v>
                </c:pt>
                <c:pt idx="10765">
                  <c:v>-0.12016806722689</c:v>
                </c:pt>
                <c:pt idx="10766">
                  <c:v>-0.12016806722689</c:v>
                </c:pt>
                <c:pt idx="10767">
                  <c:v>-0.12016806722689</c:v>
                </c:pt>
                <c:pt idx="10768">
                  <c:v>-0.12016806722689</c:v>
                </c:pt>
                <c:pt idx="10769">
                  <c:v>-0.12016806722689</c:v>
                </c:pt>
                <c:pt idx="10770">
                  <c:v>-0.12016806722689</c:v>
                </c:pt>
                <c:pt idx="10771">
                  <c:v>-0.12016806722689</c:v>
                </c:pt>
                <c:pt idx="10772">
                  <c:v>-0.12016806722689</c:v>
                </c:pt>
                <c:pt idx="10773">
                  <c:v>-0.11932773109243699</c:v>
                </c:pt>
                <c:pt idx="10774">
                  <c:v>-0.11932773109243699</c:v>
                </c:pt>
                <c:pt idx="10775">
                  <c:v>-0.11932773109243699</c:v>
                </c:pt>
                <c:pt idx="10776">
                  <c:v>-0.11932773109243699</c:v>
                </c:pt>
                <c:pt idx="10777">
                  <c:v>-0.11848739495798299</c:v>
                </c:pt>
                <c:pt idx="10778">
                  <c:v>-0.11848739495798299</c:v>
                </c:pt>
                <c:pt idx="10779">
                  <c:v>-0.11848739495798299</c:v>
                </c:pt>
                <c:pt idx="10780">
                  <c:v>-0.11848739495798299</c:v>
                </c:pt>
                <c:pt idx="10781">
                  <c:v>-0.11848739495798299</c:v>
                </c:pt>
                <c:pt idx="10782">
                  <c:v>-0.11848739495798299</c:v>
                </c:pt>
                <c:pt idx="10783">
                  <c:v>-0.11848739495798299</c:v>
                </c:pt>
                <c:pt idx="10784">
                  <c:v>-0.11848739495798299</c:v>
                </c:pt>
                <c:pt idx="10785">
                  <c:v>-0.11848739495798299</c:v>
                </c:pt>
                <c:pt idx="10786">
                  <c:v>-0.11848739495798299</c:v>
                </c:pt>
                <c:pt idx="10787">
                  <c:v>-0.11848739495798299</c:v>
                </c:pt>
                <c:pt idx="10788">
                  <c:v>-0.11848739495798299</c:v>
                </c:pt>
                <c:pt idx="10789">
                  <c:v>-0.11848739495798299</c:v>
                </c:pt>
                <c:pt idx="10790">
                  <c:v>-0.11848739495798299</c:v>
                </c:pt>
                <c:pt idx="10791">
                  <c:v>-0.11848739495798299</c:v>
                </c:pt>
                <c:pt idx="10792">
                  <c:v>-0.11848739495798299</c:v>
                </c:pt>
                <c:pt idx="10793">
                  <c:v>-0.11848739495798299</c:v>
                </c:pt>
                <c:pt idx="10794">
                  <c:v>-0.11848739495798299</c:v>
                </c:pt>
                <c:pt idx="10795">
                  <c:v>-0.11848739495798299</c:v>
                </c:pt>
                <c:pt idx="10796">
                  <c:v>-0.11848739495798299</c:v>
                </c:pt>
                <c:pt idx="10797">
                  <c:v>-0.11848739495798299</c:v>
                </c:pt>
                <c:pt idx="10798">
                  <c:v>-0.11848739495798299</c:v>
                </c:pt>
                <c:pt idx="10799">
                  <c:v>-0.11848739495798299</c:v>
                </c:pt>
                <c:pt idx="10800">
                  <c:v>-0.11848739495798299</c:v>
                </c:pt>
                <c:pt idx="10801">
                  <c:v>-0.11848739495798299</c:v>
                </c:pt>
                <c:pt idx="10802">
                  <c:v>-0.11848739495798299</c:v>
                </c:pt>
                <c:pt idx="10803">
                  <c:v>-0.11848739495798299</c:v>
                </c:pt>
                <c:pt idx="10804">
                  <c:v>-0.11848739495798299</c:v>
                </c:pt>
                <c:pt idx="10805">
                  <c:v>-0.11848739495798299</c:v>
                </c:pt>
                <c:pt idx="10806">
                  <c:v>-0.11848739495798299</c:v>
                </c:pt>
                <c:pt idx="10807">
                  <c:v>-0.11848739495798299</c:v>
                </c:pt>
                <c:pt idx="10808">
                  <c:v>-0.11848739495798299</c:v>
                </c:pt>
                <c:pt idx="10809">
                  <c:v>-0.11764705882352899</c:v>
                </c:pt>
                <c:pt idx="10810">
                  <c:v>-0.11764705882352899</c:v>
                </c:pt>
                <c:pt idx="10811">
                  <c:v>-0.11764705882352899</c:v>
                </c:pt>
                <c:pt idx="10812">
                  <c:v>-0.11764705882352899</c:v>
                </c:pt>
                <c:pt idx="10813">
                  <c:v>-0.11764705882352899</c:v>
                </c:pt>
                <c:pt idx="10814">
                  <c:v>-0.11764705882352899</c:v>
                </c:pt>
                <c:pt idx="10815">
                  <c:v>-0.11764705882352899</c:v>
                </c:pt>
                <c:pt idx="10816">
                  <c:v>-0.11764705882352899</c:v>
                </c:pt>
                <c:pt idx="10817">
                  <c:v>-0.11764705882352899</c:v>
                </c:pt>
                <c:pt idx="10818">
                  <c:v>-0.11764705882352899</c:v>
                </c:pt>
                <c:pt idx="10819">
                  <c:v>-0.11764705882352899</c:v>
                </c:pt>
                <c:pt idx="10820">
                  <c:v>-0.11764705882352899</c:v>
                </c:pt>
                <c:pt idx="10821">
                  <c:v>-0.11764705882352899</c:v>
                </c:pt>
                <c:pt idx="10822">
                  <c:v>-0.11764705882352899</c:v>
                </c:pt>
                <c:pt idx="10823">
                  <c:v>-0.11764705882352899</c:v>
                </c:pt>
                <c:pt idx="10824">
                  <c:v>-0.11764705882352899</c:v>
                </c:pt>
                <c:pt idx="10825">
                  <c:v>-0.11764705882352899</c:v>
                </c:pt>
                <c:pt idx="10826">
                  <c:v>-0.11764705882352899</c:v>
                </c:pt>
                <c:pt idx="10827">
                  <c:v>-0.11848739495798299</c:v>
                </c:pt>
                <c:pt idx="10828">
                  <c:v>-0.11848739495798299</c:v>
                </c:pt>
                <c:pt idx="10829">
                  <c:v>-0.11848739495798299</c:v>
                </c:pt>
                <c:pt idx="10830">
                  <c:v>-0.11848739495798299</c:v>
                </c:pt>
                <c:pt idx="10831">
                  <c:v>-0.11848739495798299</c:v>
                </c:pt>
                <c:pt idx="10832">
                  <c:v>-0.11848739495798299</c:v>
                </c:pt>
                <c:pt idx="10833">
                  <c:v>-0.11848739495798299</c:v>
                </c:pt>
                <c:pt idx="10834">
                  <c:v>-0.11848739495798299</c:v>
                </c:pt>
                <c:pt idx="10835">
                  <c:v>-0.11848739495798299</c:v>
                </c:pt>
                <c:pt idx="10836">
                  <c:v>-0.11848739495798299</c:v>
                </c:pt>
                <c:pt idx="10837">
                  <c:v>-0.11848739495798299</c:v>
                </c:pt>
                <c:pt idx="10838">
                  <c:v>-0.11848739495798299</c:v>
                </c:pt>
                <c:pt idx="10839">
                  <c:v>-0.11848739495798299</c:v>
                </c:pt>
                <c:pt idx="10840">
                  <c:v>-0.11848739495798299</c:v>
                </c:pt>
                <c:pt idx="10841">
                  <c:v>-0.11764705882352899</c:v>
                </c:pt>
                <c:pt idx="10842">
                  <c:v>-0.11764705882352899</c:v>
                </c:pt>
                <c:pt idx="10843">
                  <c:v>-0.11764705882352899</c:v>
                </c:pt>
                <c:pt idx="10844">
                  <c:v>-0.11764705882352899</c:v>
                </c:pt>
                <c:pt idx="10845">
                  <c:v>-0.11764705882352899</c:v>
                </c:pt>
                <c:pt idx="10846">
                  <c:v>-0.11680672268907499</c:v>
                </c:pt>
                <c:pt idx="10847">
                  <c:v>-0.11680672268907499</c:v>
                </c:pt>
                <c:pt idx="10848">
                  <c:v>-0.11680672268907499</c:v>
                </c:pt>
                <c:pt idx="10849">
                  <c:v>-0.11680672268907499</c:v>
                </c:pt>
                <c:pt idx="10850">
                  <c:v>-0.11680672268907499</c:v>
                </c:pt>
                <c:pt idx="10851">
                  <c:v>-0.11680672268907499</c:v>
                </c:pt>
                <c:pt idx="10852">
                  <c:v>-0.11680672268907499</c:v>
                </c:pt>
                <c:pt idx="10853">
                  <c:v>-0.11680672268907499</c:v>
                </c:pt>
                <c:pt idx="10854">
                  <c:v>-0.11680672268907499</c:v>
                </c:pt>
                <c:pt idx="10855">
                  <c:v>-0.11680672268907499</c:v>
                </c:pt>
                <c:pt idx="10856">
                  <c:v>-0.11680672268907499</c:v>
                </c:pt>
                <c:pt idx="10857">
                  <c:v>-0.11680672268907499</c:v>
                </c:pt>
                <c:pt idx="10858">
                  <c:v>-0.11680672268907499</c:v>
                </c:pt>
                <c:pt idx="10859">
                  <c:v>-0.11680672268907499</c:v>
                </c:pt>
                <c:pt idx="10860">
                  <c:v>-0.11680672268907499</c:v>
                </c:pt>
                <c:pt idx="10861">
                  <c:v>-0.11680672268907499</c:v>
                </c:pt>
                <c:pt idx="10862">
                  <c:v>-0.11680672268907499</c:v>
                </c:pt>
                <c:pt idx="10863">
                  <c:v>-0.11680672268907499</c:v>
                </c:pt>
                <c:pt idx="10864">
                  <c:v>-0.11680672268907499</c:v>
                </c:pt>
                <c:pt idx="10865">
                  <c:v>-0.11680672268907499</c:v>
                </c:pt>
                <c:pt idx="10866">
                  <c:v>-0.11680672268907499</c:v>
                </c:pt>
                <c:pt idx="10867">
                  <c:v>-0.11680672268907499</c:v>
                </c:pt>
                <c:pt idx="10868">
                  <c:v>-0.11680672268907499</c:v>
                </c:pt>
                <c:pt idx="10869">
                  <c:v>-0.11680672268907499</c:v>
                </c:pt>
                <c:pt idx="10870">
                  <c:v>-0.11680672268907499</c:v>
                </c:pt>
                <c:pt idx="10871">
                  <c:v>-0.11680672268907499</c:v>
                </c:pt>
                <c:pt idx="10872">
                  <c:v>-0.11680672268907499</c:v>
                </c:pt>
                <c:pt idx="10873">
                  <c:v>-0.11680672268907499</c:v>
                </c:pt>
                <c:pt idx="10874">
                  <c:v>-0.11764705882352899</c:v>
                </c:pt>
                <c:pt idx="10875">
                  <c:v>-0.11764705882352899</c:v>
                </c:pt>
                <c:pt idx="10876">
                  <c:v>-0.11764705882352899</c:v>
                </c:pt>
                <c:pt idx="10877">
                  <c:v>-0.11764705882352899</c:v>
                </c:pt>
                <c:pt idx="10878">
                  <c:v>-0.11764705882352899</c:v>
                </c:pt>
                <c:pt idx="10879">
                  <c:v>-0.11764705882352899</c:v>
                </c:pt>
                <c:pt idx="10880">
                  <c:v>-0.11764705882352899</c:v>
                </c:pt>
                <c:pt idx="10881">
                  <c:v>-0.11764705882352899</c:v>
                </c:pt>
                <c:pt idx="10882">
                  <c:v>-0.11764705882352899</c:v>
                </c:pt>
                <c:pt idx="10883">
                  <c:v>-0.11764705882352899</c:v>
                </c:pt>
                <c:pt idx="10884">
                  <c:v>-0.11764705882352899</c:v>
                </c:pt>
                <c:pt idx="10885">
                  <c:v>-0.11764705882352899</c:v>
                </c:pt>
                <c:pt idx="10886">
                  <c:v>-0.11764705882352899</c:v>
                </c:pt>
                <c:pt idx="10887">
                  <c:v>-0.11764705882352899</c:v>
                </c:pt>
                <c:pt idx="10888">
                  <c:v>-0.11680672268907499</c:v>
                </c:pt>
                <c:pt idx="10889">
                  <c:v>-0.11680672268907499</c:v>
                </c:pt>
                <c:pt idx="10890">
                  <c:v>-0.11680672268907499</c:v>
                </c:pt>
                <c:pt idx="10891">
                  <c:v>-0.11680672268907499</c:v>
                </c:pt>
                <c:pt idx="10892">
                  <c:v>-0.11680672268907499</c:v>
                </c:pt>
                <c:pt idx="10893">
                  <c:v>-0.11680672268907499</c:v>
                </c:pt>
                <c:pt idx="10894">
                  <c:v>-0.11680672268907499</c:v>
                </c:pt>
                <c:pt idx="10895">
                  <c:v>-0.11680672268907499</c:v>
                </c:pt>
                <c:pt idx="10896">
                  <c:v>-0.11680672268907499</c:v>
                </c:pt>
                <c:pt idx="10897">
                  <c:v>-0.11680672268907499</c:v>
                </c:pt>
                <c:pt idx="10898">
                  <c:v>-0.11680672268907499</c:v>
                </c:pt>
                <c:pt idx="10899">
                  <c:v>-0.11680672268907499</c:v>
                </c:pt>
                <c:pt idx="10900">
                  <c:v>-0.11680672268907499</c:v>
                </c:pt>
                <c:pt idx="10901">
                  <c:v>-0.11680672268907499</c:v>
                </c:pt>
                <c:pt idx="10902">
                  <c:v>-0.11680672268907499</c:v>
                </c:pt>
                <c:pt idx="10903">
                  <c:v>-0.11680672268907499</c:v>
                </c:pt>
                <c:pt idx="10904">
                  <c:v>-0.11680672268907499</c:v>
                </c:pt>
                <c:pt idx="10905">
                  <c:v>-0.11680672268907499</c:v>
                </c:pt>
                <c:pt idx="10906">
                  <c:v>-0.11680672268907499</c:v>
                </c:pt>
                <c:pt idx="10907">
                  <c:v>-0.11680672268907499</c:v>
                </c:pt>
                <c:pt idx="10908">
                  <c:v>-0.11680672268907499</c:v>
                </c:pt>
                <c:pt idx="10909">
                  <c:v>-0.11680672268907499</c:v>
                </c:pt>
                <c:pt idx="10910">
                  <c:v>-0.11680672268907499</c:v>
                </c:pt>
                <c:pt idx="10911">
                  <c:v>-0.11680672268907499</c:v>
                </c:pt>
                <c:pt idx="10912">
                  <c:v>-0.11680672268907499</c:v>
                </c:pt>
                <c:pt idx="10913">
                  <c:v>-0.11680672268907499</c:v>
                </c:pt>
                <c:pt idx="10914">
                  <c:v>-0.11680672268907499</c:v>
                </c:pt>
                <c:pt idx="10915">
                  <c:v>-0.11764705882352899</c:v>
                </c:pt>
                <c:pt idx="10916">
                  <c:v>-0.11764705882352899</c:v>
                </c:pt>
                <c:pt idx="10917">
                  <c:v>-0.11764705882352899</c:v>
                </c:pt>
                <c:pt idx="10918">
                  <c:v>-0.11764705882352899</c:v>
                </c:pt>
                <c:pt idx="10919">
                  <c:v>-0.11764705882352899</c:v>
                </c:pt>
                <c:pt idx="10920">
                  <c:v>-0.11764705882352899</c:v>
                </c:pt>
                <c:pt idx="10921">
                  <c:v>-0.11764705882352899</c:v>
                </c:pt>
                <c:pt idx="10922">
                  <c:v>-0.11764705882352899</c:v>
                </c:pt>
                <c:pt idx="10923">
                  <c:v>-0.11764705882352899</c:v>
                </c:pt>
                <c:pt idx="10924">
                  <c:v>-0.11764705882352899</c:v>
                </c:pt>
                <c:pt idx="10925">
                  <c:v>-0.11764705882352899</c:v>
                </c:pt>
                <c:pt idx="10926">
                  <c:v>-0.11764705882352899</c:v>
                </c:pt>
                <c:pt idx="10927">
                  <c:v>-0.11764705882352899</c:v>
                </c:pt>
                <c:pt idx="10928">
                  <c:v>-0.11764705882352899</c:v>
                </c:pt>
                <c:pt idx="10929">
                  <c:v>-0.11764705882352899</c:v>
                </c:pt>
                <c:pt idx="10930">
                  <c:v>-0.11680672268907499</c:v>
                </c:pt>
                <c:pt idx="10931">
                  <c:v>-0.11680672268907499</c:v>
                </c:pt>
                <c:pt idx="10932">
                  <c:v>-0.11680672268907499</c:v>
                </c:pt>
                <c:pt idx="10933">
                  <c:v>-0.11680672268907499</c:v>
                </c:pt>
                <c:pt idx="10934">
                  <c:v>-0.11680672268907499</c:v>
                </c:pt>
                <c:pt idx="10935">
                  <c:v>-0.11680672268907499</c:v>
                </c:pt>
                <c:pt idx="10936">
                  <c:v>-0.11680672268907499</c:v>
                </c:pt>
                <c:pt idx="10937">
                  <c:v>-0.11680672268907499</c:v>
                </c:pt>
                <c:pt idx="10938">
                  <c:v>-0.11680672268907499</c:v>
                </c:pt>
                <c:pt idx="10939">
                  <c:v>-0.11680672268907499</c:v>
                </c:pt>
                <c:pt idx="10940">
                  <c:v>-0.11680672268907499</c:v>
                </c:pt>
                <c:pt idx="10941">
                  <c:v>-0.11680672268907499</c:v>
                </c:pt>
                <c:pt idx="10942">
                  <c:v>-0.11680672268907499</c:v>
                </c:pt>
                <c:pt idx="10943">
                  <c:v>-0.11680672268907499</c:v>
                </c:pt>
                <c:pt idx="10944">
                  <c:v>-0.11680672268907499</c:v>
                </c:pt>
                <c:pt idx="10945">
                  <c:v>-0.11680672268907499</c:v>
                </c:pt>
                <c:pt idx="10946">
                  <c:v>-0.11680672268907499</c:v>
                </c:pt>
                <c:pt idx="10947">
                  <c:v>-0.11680672268907499</c:v>
                </c:pt>
                <c:pt idx="10948">
                  <c:v>-0.11680672268907499</c:v>
                </c:pt>
                <c:pt idx="10949">
                  <c:v>-0.11680672268907499</c:v>
                </c:pt>
                <c:pt idx="10950">
                  <c:v>-0.11680672268907499</c:v>
                </c:pt>
                <c:pt idx="10951">
                  <c:v>-0.11680672268907499</c:v>
                </c:pt>
                <c:pt idx="10952">
                  <c:v>-0.11680672268907499</c:v>
                </c:pt>
                <c:pt idx="10953">
                  <c:v>-0.11680672268907499</c:v>
                </c:pt>
                <c:pt idx="10954">
                  <c:v>-0.11680672268907499</c:v>
                </c:pt>
                <c:pt idx="10955">
                  <c:v>-0.11680672268907499</c:v>
                </c:pt>
                <c:pt idx="10956">
                  <c:v>-0.11680672268907499</c:v>
                </c:pt>
                <c:pt idx="10957">
                  <c:v>-0.11680672268907499</c:v>
                </c:pt>
                <c:pt idx="10958">
                  <c:v>-0.11596638655462101</c:v>
                </c:pt>
                <c:pt idx="10959">
                  <c:v>-0.11596638655462101</c:v>
                </c:pt>
                <c:pt idx="10960">
                  <c:v>-0.11596638655462101</c:v>
                </c:pt>
                <c:pt idx="10961">
                  <c:v>-0.11596638655462101</c:v>
                </c:pt>
                <c:pt idx="10962">
                  <c:v>-0.11596638655462101</c:v>
                </c:pt>
                <c:pt idx="10963">
                  <c:v>-0.11596638655462101</c:v>
                </c:pt>
                <c:pt idx="10964">
                  <c:v>-0.11596638655462101</c:v>
                </c:pt>
                <c:pt idx="10965">
                  <c:v>-0.11680672268907499</c:v>
                </c:pt>
                <c:pt idx="10966">
                  <c:v>-0.11680672268907499</c:v>
                </c:pt>
                <c:pt idx="10967">
                  <c:v>-0.11596638655462101</c:v>
                </c:pt>
                <c:pt idx="10968">
                  <c:v>-0.11596638655462101</c:v>
                </c:pt>
                <c:pt idx="10969">
                  <c:v>-0.11596638655462101</c:v>
                </c:pt>
                <c:pt idx="10970">
                  <c:v>-0.11596638655462101</c:v>
                </c:pt>
                <c:pt idx="10971">
                  <c:v>-0.11596638655462101</c:v>
                </c:pt>
                <c:pt idx="10972">
                  <c:v>-0.11680672268907499</c:v>
                </c:pt>
                <c:pt idx="10973">
                  <c:v>-0.11680672268907499</c:v>
                </c:pt>
                <c:pt idx="10974">
                  <c:v>-0.11680672268907499</c:v>
                </c:pt>
                <c:pt idx="10975">
                  <c:v>-0.11680672268907499</c:v>
                </c:pt>
                <c:pt idx="10976">
                  <c:v>-0.11680672268907499</c:v>
                </c:pt>
                <c:pt idx="10977">
                  <c:v>-0.11680672268907499</c:v>
                </c:pt>
                <c:pt idx="10978">
                  <c:v>-0.11680672268907499</c:v>
                </c:pt>
                <c:pt idx="10979">
                  <c:v>-0.11680672268907499</c:v>
                </c:pt>
                <c:pt idx="10980">
                  <c:v>-0.11680672268907499</c:v>
                </c:pt>
                <c:pt idx="10981">
                  <c:v>-0.11680672268907499</c:v>
                </c:pt>
                <c:pt idx="10982">
                  <c:v>-0.11680672268907499</c:v>
                </c:pt>
                <c:pt idx="10983">
                  <c:v>-0.11680672268907499</c:v>
                </c:pt>
                <c:pt idx="10984">
                  <c:v>-0.11680672268907499</c:v>
                </c:pt>
                <c:pt idx="10985">
                  <c:v>-0.11680672268907499</c:v>
                </c:pt>
                <c:pt idx="10986">
                  <c:v>-0.11764705882352899</c:v>
                </c:pt>
                <c:pt idx="10987">
                  <c:v>-0.11764705882352899</c:v>
                </c:pt>
                <c:pt idx="10988">
                  <c:v>-0.11764705882352899</c:v>
                </c:pt>
                <c:pt idx="10989">
                  <c:v>-0.11764705882352899</c:v>
                </c:pt>
                <c:pt idx="10990">
                  <c:v>-0.11764705882352899</c:v>
                </c:pt>
                <c:pt idx="10991">
                  <c:v>-0.11764705882352899</c:v>
                </c:pt>
                <c:pt idx="10992">
                  <c:v>-0.11764705882352899</c:v>
                </c:pt>
                <c:pt idx="10993">
                  <c:v>-0.11764705882352899</c:v>
                </c:pt>
                <c:pt idx="10994">
                  <c:v>-0.11764705882352899</c:v>
                </c:pt>
                <c:pt idx="10995">
                  <c:v>-0.11764705882352899</c:v>
                </c:pt>
                <c:pt idx="10996">
                  <c:v>-0.11764705882352899</c:v>
                </c:pt>
                <c:pt idx="10997">
                  <c:v>-0.11764705882352899</c:v>
                </c:pt>
                <c:pt idx="10998">
                  <c:v>-0.11764705882352899</c:v>
                </c:pt>
                <c:pt idx="10999">
                  <c:v>-0.11680672268907499</c:v>
                </c:pt>
                <c:pt idx="11000">
                  <c:v>-0.11680672268907499</c:v>
                </c:pt>
                <c:pt idx="11001">
                  <c:v>-0.11680672268907499</c:v>
                </c:pt>
                <c:pt idx="11002">
                  <c:v>-0.11680672268907499</c:v>
                </c:pt>
                <c:pt idx="11003">
                  <c:v>-0.11680672268907499</c:v>
                </c:pt>
                <c:pt idx="11004">
                  <c:v>-0.11680672268907499</c:v>
                </c:pt>
                <c:pt idx="11005">
                  <c:v>-0.11680672268907499</c:v>
                </c:pt>
                <c:pt idx="11006">
                  <c:v>-0.11680672268907499</c:v>
                </c:pt>
                <c:pt idx="11007">
                  <c:v>-0.11680672268907499</c:v>
                </c:pt>
                <c:pt idx="11008">
                  <c:v>-0.11680672268907499</c:v>
                </c:pt>
                <c:pt idx="11009">
                  <c:v>-0.11680672268907499</c:v>
                </c:pt>
                <c:pt idx="11010">
                  <c:v>-0.11680672268907499</c:v>
                </c:pt>
                <c:pt idx="11011">
                  <c:v>-0.11680672268907499</c:v>
                </c:pt>
                <c:pt idx="11012">
                  <c:v>-0.11596638655462101</c:v>
                </c:pt>
                <c:pt idx="11013">
                  <c:v>-0.11596638655462101</c:v>
                </c:pt>
                <c:pt idx="11014">
                  <c:v>-0.11596638655462101</c:v>
                </c:pt>
                <c:pt idx="11015">
                  <c:v>-0.11596638655462101</c:v>
                </c:pt>
                <c:pt idx="11016">
                  <c:v>-0.11680672268907499</c:v>
                </c:pt>
                <c:pt idx="11017">
                  <c:v>-0.11680672268907499</c:v>
                </c:pt>
                <c:pt idx="11018">
                  <c:v>-0.11680672268907499</c:v>
                </c:pt>
                <c:pt idx="11019">
                  <c:v>-0.11680672268907499</c:v>
                </c:pt>
                <c:pt idx="11020">
                  <c:v>-0.11680672268907499</c:v>
                </c:pt>
                <c:pt idx="11021">
                  <c:v>-0.11680672268907499</c:v>
                </c:pt>
                <c:pt idx="11022">
                  <c:v>-0.11680672268907499</c:v>
                </c:pt>
                <c:pt idx="11023">
                  <c:v>-0.11680672268907499</c:v>
                </c:pt>
                <c:pt idx="11024">
                  <c:v>-0.11680672268907499</c:v>
                </c:pt>
                <c:pt idx="11025">
                  <c:v>-0.11680672268907499</c:v>
                </c:pt>
                <c:pt idx="11026">
                  <c:v>-0.11680672268907499</c:v>
                </c:pt>
                <c:pt idx="11027">
                  <c:v>-0.11680672268907499</c:v>
                </c:pt>
                <c:pt idx="11028">
                  <c:v>-0.11680672268907499</c:v>
                </c:pt>
                <c:pt idx="11029">
                  <c:v>-0.11596638655462101</c:v>
                </c:pt>
                <c:pt idx="11030">
                  <c:v>-0.11596638655462101</c:v>
                </c:pt>
                <c:pt idx="11031">
                  <c:v>-0.11596638655462101</c:v>
                </c:pt>
                <c:pt idx="11032">
                  <c:v>-0.11596638655462101</c:v>
                </c:pt>
                <c:pt idx="11033">
                  <c:v>-0.11596638655462101</c:v>
                </c:pt>
                <c:pt idx="11034">
                  <c:v>-0.11596638655462101</c:v>
                </c:pt>
                <c:pt idx="11035">
                  <c:v>-0.11512605042016801</c:v>
                </c:pt>
                <c:pt idx="11036">
                  <c:v>-0.11512605042016801</c:v>
                </c:pt>
                <c:pt idx="11037">
                  <c:v>-0.11512605042016801</c:v>
                </c:pt>
                <c:pt idx="11038">
                  <c:v>-0.11512605042016801</c:v>
                </c:pt>
                <c:pt idx="11039">
                  <c:v>-0.11512605042016801</c:v>
                </c:pt>
                <c:pt idx="11040">
                  <c:v>-0.11512605042016801</c:v>
                </c:pt>
                <c:pt idx="11041">
                  <c:v>-0.11512605042016801</c:v>
                </c:pt>
                <c:pt idx="11042">
                  <c:v>-0.11512605042016801</c:v>
                </c:pt>
                <c:pt idx="11043">
                  <c:v>-0.11512605042016801</c:v>
                </c:pt>
                <c:pt idx="11044">
                  <c:v>-0.11512605042016801</c:v>
                </c:pt>
                <c:pt idx="11045">
                  <c:v>-0.11512605042016801</c:v>
                </c:pt>
                <c:pt idx="11046">
                  <c:v>-0.11512605042016801</c:v>
                </c:pt>
                <c:pt idx="11047">
                  <c:v>-0.11512605042016801</c:v>
                </c:pt>
                <c:pt idx="11048">
                  <c:v>-0.11512605042016801</c:v>
                </c:pt>
                <c:pt idx="11049">
                  <c:v>-0.11512605042016801</c:v>
                </c:pt>
                <c:pt idx="11050">
                  <c:v>-0.11512605042016801</c:v>
                </c:pt>
                <c:pt idx="11051">
                  <c:v>-0.11512605042016801</c:v>
                </c:pt>
                <c:pt idx="11052">
                  <c:v>-0.11512605042016801</c:v>
                </c:pt>
                <c:pt idx="11053">
                  <c:v>-0.114285714285714</c:v>
                </c:pt>
                <c:pt idx="11054">
                  <c:v>-0.114285714285714</c:v>
                </c:pt>
                <c:pt idx="11055">
                  <c:v>-0.114285714285714</c:v>
                </c:pt>
                <c:pt idx="11056">
                  <c:v>-0.114285714285714</c:v>
                </c:pt>
                <c:pt idx="11057">
                  <c:v>-0.114285714285714</c:v>
                </c:pt>
                <c:pt idx="11058">
                  <c:v>-0.114285714285714</c:v>
                </c:pt>
                <c:pt idx="11059">
                  <c:v>-0.114285714285714</c:v>
                </c:pt>
                <c:pt idx="11060">
                  <c:v>-0.114285714285714</c:v>
                </c:pt>
                <c:pt idx="11061">
                  <c:v>-0.114285714285714</c:v>
                </c:pt>
                <c:pt idx="11062">
                  <c:v>-0.114285714285714</c:v>
                </c:pt>
                <c:pt idx="11063">
                  <c:v>-0.114285714285714</c:v>
                </c:pt>
                <c:pt idx="11064">
                  <c:v>-0.114285714285714</c:v>
                </c:pt>
                <c:pt idx="11065">
                  <c:v>-0.11344537815126</c:v>
                </c:pt>
                <c:pt idx="11066">
                  <c:v>-0.11344537815126</c:v>
                </c:pt>
                <c:pt idx="11067">
                  <c:v>-0.11344537815126</c:v>
                </c:pt>
                <c:pt idx="11068">
                  <c:v>-0.11344537815126</c:v>
                </c:pt>
                <c:pt idx="11069">
                  <c:v>-0.11344537815126</c:v>
                </c:pt>
                <c:pt idx="11070">
                  <c:v>-0.11344537815126</c:v>
                </c:pt>
                <c:pt idx="11071">
                  <c:v>-0.11344537815126</c:v>
                </c:pt>
                <c:pt idx="11072">
                  <c:v>-0.112605042016806</c:v>
                </c:pt>
                <c:pt idx="11073">
                  <c:v>-0.112605042016806</c:v>
                </c:pt>
                <c:pt idx="11074">
                  <c:v>-0.112605042016806</c:v>
                </c:pt>
                <c:pt idx="11075">
                  <c:v>-0.112605042016806</c:v>
                </c:pt>
                <c:pt idx="11076">
                  <c:v>-0.112605042016806</c:v>
                </c:pt>
                <c:pt idx="11077">
                  <c:v>-0.112605042016806</c:v>
                </c:pt>
                <c:pt idx="11078">
                  <c:v>-0.11344537815126</c:v>
                </c:pt>
                <c:pt idx="11079">
                  <c:v>-0.11344537815126</c:v>
                </c:pt>
                <c:pt idx="11080">
                  <c:v>-0.11344537815126</c:v>
                </c:pt>
                <c:pt idx="11081">
                  <c:v>-0.11344537815126</c:v>
                </c:pt>
                <c:pt idx="11082">
                  <c:v>-0.11344537815126</c:v>
                </c:pt>
                <c:pt idx="11083">
                  <c:v>-0.11344537815126</c:v>
                </c:pt>
                <c:pt idx="11084">
                  <c:v>-0.11344537815126</c:v>
                </c:pt>
                <c:pt idx="11085">
                  <c:v>-0.11344537815126</c:v>
                </c:pt>
                <c:pt idx="11086">
                  <c:v>-0.11344537815126</c:v>
                </c:pt>
                <c:pt idx="11087">
                  <c:v>-0.112605042016806</c:v>
                </c:pt>
                <c:pt idx="11088">
                  <c:v>-0.112605042016806</c:v>
                </c:pt>
                <c:pt idx="11089">
                  <c:v>-0.112605042016806</c:v>
                </c:pt>
                <c:pt idx="11090">
                  <c:v>-0.112605042016806</c:v>
                </c:pt>
                <c:pt idx="11091">
                  <c:v>-0.112605042016806</c:v>
                </c:pt>
                <c:pt idx="11092">
                  <c:v>-0.112605042016806</c:v>
                </c:pt>
                <c:pt idx="11093">
                  <c:v>-0.112605042016806</c:v>
                </c:pt>
                <c:pt idx="11094">
                  <c:v>-0.112605042016806</c:v>
                </c:pt>
                <c:pt idx="11095">
                  <c:v>-0.112605042016806</c:v>
                </c:pt>
                <c:pt idx="11096">
                  <c:v>-0.112605042016806</c:v>
                </c:pt>
                <c:pt idx="11097">
                  <c:v>-0.112605042016806</c:v>
                </c:pt>
                <c:pt idx="11098">
                  <c:v>-0.112605042016806</c:v>
                </c:pt>
                <c:pt idx="11099">
                  <c:v>-0.112605042016806</c:v>
                </c:pt>
                <c:pt idx="11100">
                  <c:v>-0.112605042016806</c:v>
                </c:pt>
                <c:pt idx="11101">
                  <c:v>-0.112605042016806</c:v>
                </c:pt>
                <c:pt idx="11102">
                  <c:v>-0.112605042016806</c:v>
                </c:pt>
                <c:pt idx="11103">
                  <c:v>-0.112605042016806</c:v>
                </c:pt>
                <c:pt idx="11104">
                  <c:v>-0.112605042016806</c:v>
                </c:pt>
                <c:pt idx="11105">
                  <c:v>-0.112605042016806</c:v>
                </c:pt>
                <c:pt idx="11106">
                  <c:v>-0.112605042016806</c:v>
                </c:pt>
                <c:pt idx="11107">
                  <c:v>-0.111764705882352</c:v>
                </c:pt>
                <c:pt idx="11108">
                  <c:v>-0.111764705882352</c:v>
                </c:pt>
                <c:pt idx="11109">
                  <c:v>-0.111764705882352</c:v>
                </c:pt>
                <c:pt idx="11110">
                  <c:v>-0.111764705882352</c:v>
                </c:pt>
                <c:pt idx="11111">
                  <c:v>-0.111764705882352</c:v>
                </c:pt>
                <c:pt idx="11112">
                  <c:v>-0.111764705882352</c:v>
                </c:pt>
                <c:pt idx="11113">
                  <c:v>-0.111764705882352</c:v>
                </c:pt>
                <c:pt idx="11114">
                  <c:v>-0.111764705882352</c:v>
                </c:pt>
                <c:pt idx="11115">
                  <c:v>-0.112605042016806</c:v>
                </c:pt>
                <c:pt idx="11116">
                  <c:v>-0.112605042016806</c:v>
                </c:pt>
                <c:pt idx="11117">
                  <c:v>-0.111764705882352</c:v>
                </c:pt>
                <c:pt idx="11118">
                  <c:v>-0.111764705882352</c:v>
                </c:pt>
                <c:pt idx="11119">
                  <c:v>-0.111764705882352</c:v>
                </c:pt>
                <c:pt idx="11120">
                  <c:v>-0.111764705882352</c:v>
                </c:pt>
                <c:pt idx="11121">
                  <c:v>-0.111764705882352</c:v>
                </c:pt>
                <c:pt idx="11122">
                  <c:v>-0.111764705882352</c:v>
                </c:pt>
                <c:pt idx="11123">
                  <c:v>-0.111764705882352</c:v>
                </c:pt>
                <c:pt idx="11124">
                  <c:v>-0.111764705882352</c:v>
                </c:pt>
                <c:pt idx="11125">
                  <c:v>-0.111764705882352</c:v>
                </c:pt>
                <c:pt idx="11126">
                  <c:v>-0.111764705882352</c:v>
                </c:pt>
                <c:pt idx="11127">
                  <c:v>-0.111764705882352</c:v>
                </c:pt>
                <c:pt idx="11128">
                  <c:v>-0.111764705882352</c:v>
                </c:pt>
                <c:pt idx="11129">
                  <c:v>-0.111764705882352</c:v>
                </c:pt>
                <c:pt idx="11130">
                  <c:v>-0.111764705882352</c:v>
                </c:pt>
                <c:pt idx="11131">
                  <c:v>-0.111764705882352</c:v>
                </c:pt>
                <c:pt idx="11132">
                  <c:v>-0.111764705882352</c:v>
                </c:pt>
                <c:pt idx="11133">
                  <c:v>-0.111764705882352</c:v>
                </c:pt>
                <c:pt idx="11134">
                  <c:v>-0.111764705882352</c:v>
                </c:pt>
                <c:pt idx="11135">
                  <c:v>-0.111764705882352</c:v>
                </c:pt>
                <c:pt idx="11136">
                  <c:v>-0.111764705882352</c:v>
                </c:pt>
                <c:pt idx="11137">
                  <c:v>-0.111764705882352</c:v>
                </c:pt>
                <c:pt idx="11138">
                  <c:v>-0.111764705882352</c:v>
                </c:pt>
                <c:pt idx="11139">
                  <c:v>-0.111764705882352</c:v>
                </c:pt>
                <c:pt idx="11140">
                  <c:v>-0.111764705882352</c:v>
                </c:pt>
                <c:pt idx="11141">
                  <c:v>-0.111764705882352</c:v>
                </c:pt>
                <c:pt idx="11142">
                  <c:v>-0.111764705882352</c:v>
                </c:pt>
                <c:pt idx="11143">
                  <c:v>-0.111764705882352</c:v>
                </c:pt>
                <c:pt idx="11144">
                  <c:v>-0.111764705882352</c:v>
                </c:pt>
                <c:pt idx="11145">
                  <c:v>-0.111764705882352</c:v>
                </c:pt>
                <c:pt idx="11146">
                  <c:v>-0.111764705882352</c:v>
                </c:pt>
                <c:pt idx="11147">
                  <c:v>-0.111764705882352</c:v>
                </c:pt>
                <c:pt idx="11148">
                  <c:v>-0.111764705882352</c:v>
                </c:pt>
                <c:pt idx="11149">
                  <c:v>-0.111764705882352</c:v>
                </c:pt>
                <c:pt idx="11150">
                  <c:v>-0.111764705882352</c:v>
                </c:pt>
                <c:pt idx="11151">
                  <c:v>-0.111764705882352</c:v>
                </c:pt>
                <c:pt idx="11152">
                  <c:v>-0.111764705882352</c:v>
                </c:pt>
                <c:pt idx="11153">
                  <c:v>-0.111764705882352</c:v>
                </c:pt>
                <c:pt idx="11154">
                  <c:v>-0.111764705882352</c:v>
                </c:pt>
                <c:pt idx="11155">
                  <c:v>-0.111764705882352</c:v>
                </c:pt>
                <c:pt idx="11156">
                  <c:v>-0.111764705882352</c:v>
                </c:pt>
                <c:pt idx="11157">
                  <c:v>-0.111764705882352</c:v>
                </c:pt>
                <c:pt idx="11158">
                  <c:v>-0.112605042016806</c:v>
                </c:pt>
                <c:pt idx="11159">
                  <c:v>-0.112605042016806</c:v>
                </c:pt>
                <c:pt idx="11160">
                  <c:v>-0.112605042016806</c:v>
                </c:pt>
                <c:pt idx="11161">
                  <c:v>-0.112605042016806</c:v>
                </c:pt>
                <c:pt idx="11162">
                  <c:v>-0.112605042016806</c:v>
                </c:pt>
                <c:pt idx="11163">
                  <c:v>-0.112605042016806</c:v>
                </c:pt>
                <c:pt idx="11164">
                  <c:v>-0.112605042016806</c:v>
                </c:pt>
                <c:pt idx="11165">
                  <c:v>-0.112605042016806</c:v>
                </c:pt>
                <c:pt idx="11166">
                  <c:v>-0.112605042016806</c:v>
                </c:pt>
                <c:pt idx="11167">
                  <c:v>-0.11344537815126</c:v>
                </c:pt>
                <c:pt idx="11168">
                  <c:v>-0.11344537815126</c:v>
                </c:pt>
                <c:pt idx="11169">
                  <c:v>-0.112605042016806</c:v>
                </c:pt>
                <c:pt idx="11170">
                  <c:v>-0.112605042016806</c:v>
                </c:pt>
                <c:pt idx="11171">
                  <c:v>-0.112605042016806</c:v>
                </c:pt>
                <c:pt idx="11172">
                  <c:v>-0.11344537815126</c:v>
                </c:pt>
                <c:pt idx="11173">
                  <c:v>-0.11344537815126</c:v>
                </c:pt>
                <c:pt idx="11174">
                  <c:v>-0.11344537815126</c:v>
                </c:pt>
                <c:pt idx="11175">
                  <c:v>-0.11344537815126</c:v>
                </c:pt>
                <c:pt idx="11176">
                  <c:v>-0.11344537815126</c:v>
                </c:pt>
                <c:pt idx="11177">
                  <c:v>-0.11344537815126</c:v>
                </c:pt>
                <c:pt idx="11178">
                  <c:v>-0.11344537815126</c:v>
                </c:pt>
                <c:pt idx="11179">
                  <c:v>-0.11344537815126</c:v>
                </c:pt>
                <c:pt idx="11180">
                  <c:v>-0.11344537815126</c:v>
                </c:pt>
                <c:pt idx="11181">
                  <c:v>-0.11344537815126</c:v>
                </c:pt>
                <c:pt idx="11182">
                  <c:v>-0.11344537815126</c:v>
                </c:pt>
                <c:pt idx="11183">
                  <c:v>-0.11344537815126</c:v>
                </c:pt>
                <c:pt idx="11184">
                  <c:v>-0.11344537815126</c:v>
                </c:pt>
                <c:pt idx="11185">
                  <c:v>-0.11344537815126</c:v>
                </c:pt>
                <c:pt idx="11186">
                  <c:v>-0.11344537815126</c:v>
                </c:pt>
                <c:pt idx="11187">
                  <c:v>-0.11344537815126</c:v>
                </c:pt>
                <c:pt idx="11188">
                  <c:v>-0.11344537815126</c:v>
                </c:pt>
                <c:pt idx="11189">
                  <c:v>-0.11344537815126</c:v>
                </c:pt>
                <c:pt idx="11190">
                  <c:v>-0.11344537815126</c:v>
                </c:pt>
                <c:pt idx="11191">
                  <c:v>-0.11344537815126</c:v>
                </c:pt>
                <c:pt idx="11192">
                  <c:v>-0.11344537815126</c:v>
                </c:pt>
                <c:pt idx="11193">
                  <c:v>-0.11344537815126</c:v>
                </c:pt>
                <c:pt idx="11194">
                  <c:v>-0.11344537815126</c:v>
                </c:pt>
                <c:pt idx="11195">
                  <c:v>-0.11344537815126</c:v>
                </c:pt>
                <c:pt idx="11196">
                  <c:v>-0.11344537815126</c:v>
                </c:pt>
                <c:pt idx="11197">
                  <c:v>-0.11344537815126</c:v>
                </c:pt>
                <c:pt idx="11198">
                  <c:v>-0.11344537815126</c:v>
                </c:pt>
                <c:pt idx="11199">
                  <c:v>-0.11344537815126</c:v>
                </c:pt>
                <c:pt idx="11200">
                  <c:v>-0.112605042016806</c:v>
                </c:pt>
                <c:pt idx="11201">
                  <c:v>-0.112605042016806</c:v>
                </c:pt>
                <c:pt idx="11202">
                  <c:v>-0.112605042016806</c:v>
                </c:pt>
                <c:pt idx="11203">
                  <c:v>-0.112605042016806</c:v>
                </c:pt>
                <c:pt idx="11204">
                  <c:v>-0.112605042016806</c:v>
                </c:pt>
                <c:pt idx="11205">
                  <c:v>-0.112605042016806</c:v>
                </c:pt>
                <c:pt idx="11206">
                  <c:v>-0.112605042016806</c:v>
                </c:pt>
                <c:pt idx="11207">
                  <c:v>-0.112605042016806</c:v>
                </c:pt>
                <c:pt idx="11208">
                  <c:v>-0.112605042016806</c:v>
                </c:pt>
                <c:pt idx="11209">
                  <c:v>-0.112605042016806</c:v>
                </c:pt>
                <c:pt idx="11210">
                  <c:v>-0.112605042016806</c:v>
                </c:pt>
                <c:pt idx="11211">
                  <c:v>-0.112605042016806</c:v>
                </c:pt>
                <c:pt idx="11212">
                  <c:v>-0.112605042016806</c:v>
                </c:pt>
                <c:pt idx="11213">
                  <c:v>-0.112605042016806</c:v>
                </c:pt>
                <c:pt idx="11214">
                  <c:v>-0.112605042016806</c:v>
                </c:pt>
                <c:pt idx="11215">
                  <c:v>-0.112605042016806</c:v>
                </c:pt>
                <c:pt idx="11216">
                  <c:v>-0.112605042016806</c:v>
                </c:pt>
                <c:pt idx="11217">
                  <c:v>-0.112605042016806</c:v>
                </c:pt>
                <c:pt idx="11218">
                  <c:v>-0.112605042016806</c:v>
                </c:pt>
                <c:pt idx="11219">
                  <c:v>-0.112605042016806</c:v>
                </c:pt>
                <c:pt idx="11220">
                  <c:v>-0.11344537815126</c:v>
                </c:pt>
                <c:pt idx="11221">
                  <c:v>-0.11344537815126</c:v>
                </c:pt>
                <c:pt idx="11222">
                  <c:v>-0.11344537815126</c:v>
                </c:pt>
                <c:pt idx="11223">
                  <c:v>-0.11344537815126</c:v>
                </c:pt>
                <c:pt idx="11224">
                  <c:v>-0.11344537815126</c:v>
                </c:pt>
                <c:pt idx="11225">
                  <c:v>-0.11344537815126</c:v>
                </c:pt>
                <c:pt idx="11226">
                  <c:v>-0.11344537815126</c:v>
                </c:pt>
                <c:pt idx="11227">
                  <c:v>-0.11344537815126</c:v>
                </c:pt>
                <c:pt idx="11228">
                  <c:v>-0.11344537815126</c:v>
                </c:pt>
                <c:pt idx="11229">
                  <c:v>-0.11344537815126</c:v>
                </c:pt>
                <c:pt idx="11230">
                  <c:v>-0.11344537815126</c:v>
                </c:pt>
                <c:pt idx="11231">
                  <c:v>-0.11344537815126</c:v>
                </c:pt>
                <c:pt idx="11232">
                  <c:v>-0.11344537815126</c:v>
                </c:pt>
                <c:pt idx="11233">
                  <c:v>-0.11344537815126</c:v>
                </c:pt>
                <c:pt idx="11234">
                  <c:v>-0.11344537815126</c:v>
                </c:pt>
                <c:pt idx="11235">
                  <c:v>-0.11344537815126</c:v>
                </c:pt>
                <c:pt idx="11236">
                  <c:v>-0.114285714285714</c:v>
                </c:pt>
                <c:pt idx="11237">
                  <c:v>-0.114285714285714</c:v>
                </c:pt>
                <c:pt idx="11238">
                  <c:v>-0.114285714285714</c:v>
                </c:pt>
                <c:pt idx="11239">
                  <c:v>-0.114285714285714</c:v>
                </c:pt>
                <c:pt idx="11240">
                  <c:v>-0.114285714285714</c:v>
                </c:pt>
                <c:pt idx="11241">
                  <c:v>-0.114285714285714</c:v>
                </c:pt>
                <c:pt idx="11242">
                  <c:v>-0.114285714285714</c:v>
                </c:pt>
                <c:pt idx="11243">
                  <c:v>-0.114285714285714</c:v>
                </c:pt>
                <c:pt idx="11244">
                  <c:v>-0.114285714285714</c:v>
                </c:pt>
                <c:pt idx="11245">
                  <c:v>-0.114285714285714</c:v>
                </c:pt>
                <c:pt idx="11246">
                  <c:v>-0.114285714285714</c:v>
                </c:pt>
                <c:pt idx="11247">
                  <c:v>-0.114285714285714</c:v>
                </c:pt>
                <c:pt idx="11248">
                  <c:v>-0.114285714285714</c:v>
                </c:pt>
                <c:pt idx="11249">
                  <c:v>-0.114285714285714</c:v>
                </c:pt>
                <c:pt idx="11250">
                  <c:v>-0.114285714285714</c:v>
                </c:pt>
                <c:pt idx="11251">
                  <c:v>-0.114285714285714</c:v>
                </c:pt>
                <c:pt idx="11252">
                  <c:v>-0.114285714285714</c:v>
                </c:pt>
                <c:pt idx="11253">
                  <c:v>-0.114285714285714</c:v>
                </c:pt>
                <c:pt idx="11254">
                  <c:v>-0.114285714285714</c:v>
                </c:pt>
                <c:pt idx="11255">
                  <c:v>-0.114285714285714</c:v>
                </c:pt>
                <c:pt idx="11256">
                  <c:v>-0.114285714285714</c:v>
                </c:pt>
                <c:pt idx="11257">
                  <c:v>-0.114285714285714</c:v>
                </c:pt>
                <c:pt idx="11258">
                  <c:v>-0.114285714285714</c:v>
                </c:pt>
                <c:pt idx="11259">
                  <c:v>-0.114285714285714</c:v>
                </c:pt>
                <c:pt idx="11260">
                  <c:v>-0.114285714285714</c:v>
                </c:pt>
                <c:pt idx="11261">
                  <c:v>-0.114285714285714</c:v>
                </c:pt>
                <c:pt idx="11262">
                  <c:v>-0.114285714285714</c:v>
                </c:pt>
                <c:pt idx="11263">
                  <c:v>-0.114285714285714</c:v>
                </c:pt>
                <c:pt idx="11264">
                  <c:v>-0.11344537815126</c:v>
                </c:pt>
                <c:pt idx="11265">
                  <c:v>-0.11344537815126</c:v>
                </c:pt>
                <c:pt idx="11266">
                  <c:v>-0.11344537815126</c:v>
                </c:pt>
                <c:pt idx="11267">
                  <c:v>-0.11344537815126</c:v>
                </c:pt>
                <c:pt idx="11268">
                  <c:v>-0.11344537815126</c:v>
                </c:pt>
                <c:pt idx="11269">
                  <c:v>-0.11344537815126</c:v>
                </c:pt>
                <c:pt idx="11270">
                  <c:v>-0.11344537815126</c:v>
                </c:pt>
                <c:pt idx="11271">
                  <c:v>-0.11344537815126</c:v>
                </c:pt>
                <c:pt idx="11272">
                  <c:v>-0.11344537815126</c:v>
                </c:pt>
                <c:pt idx="11273">
                  <c:v>-0.11344537815126</c:v>
                </c:pt>
                <c:pt idx="11274">
                  <c:v>-0.11344537815126</c:v>
                </c:pt>
                <c:pt idx="11275">
                  <c:v>-0.11344537815126</c:v>
                </c:pt>
                <c:pt idx="11276">
                  <c:v>-0.11344537815126</c:v>
                </c:pt>
                <c:pt idx="11277">
                  <c:v>-0.11344537815126</c:v>
                </c:pt>
                <c:pt idx="11278">
                  <c:v>-0.11344537815126</c:v>
                </c:pt>
                <c:pt idx="11279">
                  <c:v>-0.11344537815126</c:v>
                </c:pt>
                <c:pt idx="11280">
                  <c:v>-0.11344537815126</c:v>
                </c:pt>
                <c:pt idx="11281">
                  <c:v>-0.11344537815126</c:v>
                </c:pt>
                <c:pt idx="11282">
                  <c:v>-0.11344537815126</c:v>
                </c:pt>
                <c:pt idx="11283">
                  <c:v>-0.11344537815126</c:v>
                </c:pt>
                <c:pt idx="11284">
                  <c:v>-0.11344537815126</c:v>
                </c:pt>
                <c:pt idx="11285">
                  <c:v>-0.11344537815126</c:v>
                </c:pt>
                <c:pt idx="11286">
                  <c:v>-0.11344537815126</c:v>
                </c:pt>
                <c:pt idx="11287">
                  <c:v>-0.11344537815126</c:v>
                </c:pt>
                <c:pt idx="11288">
                  <c:v>-0.11344537815126</c:v>
                </c:pt>
                <c:pt idx="11289">
                  <c:v>-0.11344537815126</c:v>
                </c:pt>
                <c:pt idx="11290">
                  <c:v>-0.11344537815126</c:v>
                </c:pt>
                <c:pt idx="11291">
                  <c:v>-0.11344537815126</c:v>
                </c:pt>
                <c:pt idx="11292">
                  <c:v>-0.11344537815126</c:v>
                </c:pt>
                <c:pt idx="11293">
                  <c:v>-0.11344537815126</c:v>
                </c:pt>
                <c:pt idx="11294">
                  <c:v>-0.11344537815126</c:v>
                </c:pt>
                <c:pt idx="11295">
                  <c:v>-0.11344537815126</c:v>
                </c:pt>
                <c:pt idx="11296">
                  <c:v>-0.11344537815126</c:v>
                </c:pt>
                <c:pt idx="11297">
                  <c:v>-0.11344537815126</c:v>
                </c:pt>
                <c:pt idx="11298">
                  <c:v>-0.11344537815126</c:v>
                </c:pt>
                <c:pt idx="11299">
                  <c:v>-0.11344537815126</c:v>
                </c:pt>
                <c:pt idx="11300">
                  <c:v>-0.11344537815126</c:v>
                </c:pt>
                <c:pt idx="11301">
                  <c:v>-0.11344537815126</c:v>
                </c:pt>
                <c:pt idx="11302">
                  <c:v>-0.11344537815126</c:v>
                </c:pt>
                <c:pt idx="11303">
                  <c:v>-0.11344537815126</c:v>
                </c:pt>
                <c:pt idx="11304">
                  <c:v>-0.11344537815126</c:v>
                </c:pt>
                <c:pt idx="11305">
                  <c:v>-0.11344537815126</c:v>
                </c:pt>
                <c:pt idx="11306">
                  <c:v>-0.11344537815126</c:v>
                </c:pt>
                <c:pt idx="11307">
                  <c:v>-0.11344537815126</c:v>
                </c:pt>
                <c:pt idx="11308">
                  <c:v>-0.11344537815126</c:v>
                </c:pt>
                <c:pt idx="11309">
                  <c:v>-0.11344537815126</c:v>
                </c:pt>
                <c:pt idx="11310">
                  <c:v>-0.114285714285714</c:v>
                </c:pt>
                <c:pt idx="11311">
                  <c:v>-0.114285714285714</c:v>
                </c:pt>
                <c:pt idx="11312">
                  <c:v>-0.114285714285714</c:v>
                </c:pt>
                <c:pt idx="11313">
                  <c:v>-0.114285714285714</c:v>
                </c:pt>
                <c:pt idx="11314">
                  <c:v>-0.114285714285714</c:v>
                </c:pt>
                <c:pt idx="11315">
                  <c:v>-0.11512605042016801</c:v>
                </c:pt>
                <c:pt idx="11316">
                  <c:v>-0.11512605042016801</c:v>
                </c:pt>
                <c:pt idx="11317">
                  <c:v>-0.11512605042016801</c:v>
                </c:pt>
                <c:pt idx="11318">
                  <c:v>-0.11512605042016801</c:v>
                </c:pt>
                <c:pt idx="11319">
                  <c:v>-0.11512605042016801</c:v>
                </c:pt>
                <c:pt idx="11320">
                  <c:v>-0.11512605042016801</c:v>
                </c:pt>
                <c:pt idx="11321">
                  <c:v>-0.11512605042016801</c:v>
                </c:pt>
                <c:pt idx="11322">
                  <c:v>-0.11512605042016801</c:v>
                </c:pt>
                <c:pt idx="11323">
                  <c:v>-0.11512605042016801</c:v>
                </c:pt>
                <c:pt idx="11324">
                  <c:v>-0.11512605042016801</c:v>
                </c:pt>
                <c:pt idx="11325">
                  <c:v>-0.11512605042016801</c:v>
                </c:pt>
                <c:pt idx="11326">
                  <c:v>-0.11512605042016801</c:v>
                </c:pt>
                <c:pt idx="11327">
                  <c:v>-0.11512605042016801</c:v>
                </c:pt>
                <c:pt idx="11328">
                  <c:v>-0.11512605042016801</c:v>
                </c:pt>
                <c:pt idx="11329">
                  <c:v>-0.11512605042016801</c:v>
                </c:pt>
                <c:pt idx="11330">
                  <c:v>-0.11512605042016801</c:v>
                </c:pt>
                <c:pt idx="11331">
                  <c:v>-0.11512605042016801</c:v>
                </c:pt>
                <c:pt idx="11332">
                  <c:v>-0.11512605042016801</c:v>
                </c:pt>
                <c:pt idx="11333">
                  <c:v>-0.11512605042016801</c:v>
                </c:pt>
                <c:pt idx="11334">
                  <c:v>-0.11512605042016801</c:v>
                </c:pt>
                <c:pt idx="11335">
                  <c:v>-0.11512605042016801</c:v>
                </c:pt>
                <c:pt idx="11336">
                  <c:v>-0.11512605042016801</c:v>
                </c:pt>
                <c:pt idx="11337">
                  <c:v>-0.11512605042016801</c:v>
                </c:pt>
                <c:pt idx="11338">
                  <c:v>-0.11512605042016801</c:v>
                </c:pt>
                <c:pt idx="11339">
                  <c:v>-0.11512605042016801</c:v>
                </c:pt>
                <c:pt idx="11340">
                  <c:v>-0.11512605042016801</c:v>
                </c:pt>
                <c:pt idx="11341">
                  <c:v>-0.11512605042016801</c:v>
                </c:pt>
                <c:pt idx="11342">
                  <c:v>-0.11512605042016801</c:v>
                </c:pt>
                <c:pt idx="11343">
                  <c:v>-0.11512605042016801</c:v>
                </c:pt>
                <c:pt idx="11344">
                  <c:v>-0.11512605042016801</c:v>
                </c:pt>
                <c:pt idx="11345">
                  <c:v>-0.11512605042016801</c:v>
                </c:pt>
                <c:pt idx="11346">
                  <c:v>-0.11512605042016801</c:v>
                </c:pt>
                <c:pt idx="11347">
                  <c:v>-0.11512605042016801</c:v>
                </c:pt>
                <c:pt idx="11348">
                  <c:v>-0.11512605042016801</c:v>
                </c:pt>
                <c:pt idx="11349">
                  <c:v>-0.11512605042016801</c:v>
                </c:pt>
                <c:pt idx="11350">
                  <c:v>-0.11512605042016801</c:v>
                </c:pt>
                <c:pt idx="11351">
                  <c:v>-0.11512605042016801</c:v>
                </c:pt>
                <c:pt idx="11352">
                  <c:v>-0.11512605042016801</c:v>
                </c:pt>
                <c:pt idx="11353">
                  <c:v>-0.11512605042016801</c:v>
                </c:pt>
                <c:pt idx="11354">
                  <c:v>-0.11512605042016801</c:v>
                </c:pt>
                <c:pt idx="11355">
                  <c:v>-0.11512605042016801</c:v>
                </c:pt>
                <c:pt idx="11356">
                  <c:v>-0.11512605042016801</c:v>
                </c:pt>
                <c:pt idx="11357">
                  <c:v>-0.11512605042016801</c:v>
                </c:pt>
                <c:pt idx="11358">
                  <c:v>-0.11512605042016801</c:v>
                </c:pt>
                <c:pt idx="11359">
                  <c:v>-0.11512605042016801</c:v>
                </c:pt>
                <c:pt idx="11360">
                  <c:v>-0.11512605042016801</c:v>
                </c:pt>
                <c:pt idx="11361">
                  <c:v>-0.11512605042016801</c:v>
                </c:pt>
                <c:pt idx="11362">
                  <c:v>-0.11512605042016801</c:v>
                </c:pt>
                <c:pt idx="11363">
                  <c:v>-0.11512605042016801</c:v>
                </c:pt>
                <c:pt idx="11364">
                  <c:v>-0.11512605042016801</c:v>
                </c:pt>
                <c:pt idx="11365">
                  <c:v>-0.11512605042016801</c:v>
                </c:pt>
                <c:pt idx="11366">
                  <c:v>-0.11512605042016801</c:v>
                </c:pt>
                <c:pt idx="11367">
                  <c:v>-0.11512605042016801</c:v>
                </c:pt>
                <c:pt idx="11368">
                  <c:v>-0.11512605042016801</c:v>
                </c:pt>
                <c:pt idx="11369">
                  <c:v>-0.11512605042016801</c:v>
                </c:pt>
                <c:pt idx="11370">
                  <c:v>-0.11512605042016801</c:v>
                </c:pt>
                <c:pt idx="11371">
                  <c:v>-0.11512605042016801</c:v>
                </c:pt>
                <c:pt idx="11372">
                  <c:v>-0.11512605042016801</c:v>
                </c:pt>
                <c:pt idx="11373">
                  <c:v>-0.11512605042016801</c:v>
                </c:pt>
                <c:pt idx="11374">
                  <c:v>-0.11512605042016801</c:v>
                </c:pt>
                <c:pt idx="11375">
                  <c:v>-0.11512605042016801</c:v>
                </c:pt>
                <c:pt idx="11376">
                  <c:v>-0.11512605042016801</c:v>
                </c:pt>
                <c:pt idx="11377">
                  <c:v>-0.11512605042016801</c:v>
                </c:pt>
                <c:pt idx="11378">
                  <c:v>-0.11512605042016801</c:v>
                </c:pt>
                <c:pt idx="11379">
                  <c:v>-0.11512605042016801</c:v>
                </c:pt>
                <c:pt idx="11380">
                  <c:v>-0.11512605042016801</c:v>
                </c:pt>
                <c:pt idx="11381">
                  <c:v>-0.11512605042016801</c:v>
                </c:pt>
                <c:pt idx="11382">
                  <c:v>-0.11512605042016801</c:v>
                </c:pt>
                <c:pt idx="11383">
                  <c:v>-0.11512605042016801</c:v>
                </c:pt>
                <c:pt idx="11384">
                  <c:v>-0.11512605042016801</c:v>
                </c:pt>
                <c:pt idx="11385">
                  <c:v>-0.11512605042016801</c:v>
                </c:pt>
                <c:pt idx="11386">
                  <c:v>-0.11512605042016801</c:v>
                </c:pt>
                <c:pt idx="11387">
                  <c:v>-0.11512605042016801</c:v>
                </c:pt>
                <c:pt idx="11388">
                  <c:v>-0.11512605042016801</c:v>
                </c:pt>
                <c:pt idx="11389">
                  <c:v>-0.11512605042016801</c:v>
                </c:pt>
                <c:pt idx="11390">
                  <c:v>-0.11512605042016801</c:v>
                </c:pt>
                <c:pt idx="11391">
                  <c:v>-0.11512605042016801</c:v>
                </c:pt>
                <c:pt idx="11392">
                  <c:v>-0.11512605042016801</c:v>
                </c:pt>
                <c:pt idx="11393">
                  <c:v>-0.11512605042016801</c:v>
                </c:pt>
                <c:pt idx="11394">
                  <c:v>-0.11512605042016801</c:v>
                </c:pt>
                <c:pt idx="11395">
                  <c:v>-0.11512605042016801</c:v>
                </c:pt>
                <c:pt idx="11396">
                  <c:v>-0.11512605042016801</c:v>
                </c:pt>
                <c:pt idx="11397">
                  <c:v>-0.11512605042016801</c:v>
                </c:pt>
                <c:pt idx="11398">
                  <c:v>-0.11512605042016801</c:v>
                </c:pt>
                <c:pt idx="11399">
                  <c:v>-0.11512605042016801</c:v>
                </c:pt>
                <c:pt idx="11400">
                  <c:v>-0.11512605042016801</c:v>
                </c:pt>
                <c:pt idx="11401">
                  <c:v>-0.11512605042016801</c:v>
                </c:pt>
                <c:pt idx="11402">
                  <c:v>-0.11512605042016801</c:v>
                </c:pt>
                <c:pt idx="11403">
                  <c:v>-0.11512605042016801</c:v>
                </c:pt>
                <c:pt idx="11404">
                  <c:v>-0.11512605042016801</c:v>
                </c:pt>
                <c:pt idx="11405">
                  <c:v>-0.11512605042016801</c:v>
                </c:pt>
                <c:pt idx="11406">
                  <c:v>-0.114285714285714</c:v>
                </c:pt>
                <c:pt idx="11407">
                  <c:v>-0.114285714285714</c:v>
                </c:pt>
                <c:pt idx="11408">
                  <c:v>-0.114285714285714</c:v>
                </c:pt>
                <c:pt idx="11409">
                  <c:v>-0.114285714285714</c:v>
                </c:pt>
                <c:pt idx="11410">
                  <c:v>-0.114285714285714</c:v>
                </c:pt>
                <c:pt idx="11411">
                  <c:v>-0.114285714285714</c:v>
                </c:pt>
                <c:pt idx="11412">
                  <c:v>-0.114285714285714</c:v>
                </c:pt>
                <c:pt idx="11413">
                  <c:v>-0.114285714285714</c:v>
                </c:pt>
                <c:pt idx="11414">
                  <c:v>-0.114285714285714</c:v>
                </c:pt>
                <c:pt idx="11415">
                  <c:v>-0.114285714285714</c:v>
                </c:pt>
                <c:pt idx="11416">
                  <c:v>-0.114285714285714</c:v>
                </c:pt>
                <c:pt idx="11417">
                  <c:v>-0.114285714285714</c:v>
                </c:pt>
                <c:pt idx="11418">
                  <c:v>-0.114285714285714</c:v>
                </c:pt>
                <c:pt idx="11419">
                  <c:v>-0.114285714285714</c:v>
                </c:pt>
                <c:pt idx="11420">
                  <c:v>-0.114285714285714</c:v>
                </c:pt>
                <c:pt idx="11421">
                  <c:v>-0.114285714285714</c:v>
                </c:pt>
                <c:pt idx="11422">
                  <c:v>-0.114285714285714</c:v>
                </c:pt>
                <c:pt idx="11423">
                  <c:v>-0.114285714285714</c:v>
                </c:pt>
                <c:pt idx="11424">
                  <c:v>-0.114285714285714</c:v>
                </c:pt>
                <c:pt idx="11425">
                  <c:v>-0.114285714285714</c:v>
                </c:pt>
                <c:pt idx="11426">
                  <c:v>-0.114285714285714</c:v>
                </c:pt>
                <c:pt idx="11427">
                  <c:v>-0.114285714285714</c:v>
                </c:pt>
                <c:pt idx="11428">
                  <c:v>-0.114285714285714</c:v>
                </c:pt>
                <c:pt idx="11429">
                  <c:v>-0.114285714285714</c:v>
                </c:pt>
                <c:pt idx="11430">
                  <c:v>-0.114285714285714</c:v>
                </c:pt>
                <c:pt idx="11431">
                  <c:v>-0.114285714285714</c:v>
                </c:pt>
                <c:pt idx="11432">
                  <c:v>-0.11512605042016801</c:v>
                </c:pt>
                <c:pt idx="11433">
                  <c:v>-0.11512605042016801</c:v>
                </c:pt>
                <c:pt idx="11434">
                  <c:v>-0.11512605042016801</c:v>
                </c:pt>
                <c:pt idx="11435">
                  <c:v>-0.11512605042016801</c:v>
                </c:pt>
                <c:pt idx="11436">
                  <c:v>-0.11512605042016801</c:v>
                </c:pt>
                <c:pt idx="11437">
                  <c:v>-0.11512605042016801</c:v>
                </c:pt>
                <c:pt idx="11438">
                  <c:v>-0.11512605042016801</c:v>
                </c:pt>
                <c:pt idx="11439">
                  <c:v>-0.11512605042016801</c:v>
                </c:pt>
                <c:pt idx="11440">
                  <c:v>-0.11512605042016801</c:v>
                </c:pt>
                <c:pt idx="11441">
                  <c:v>-0.11512605042016801</c:v>
                </c:pt>
                <c:pt idx="11442">
                  <c:v>-0.11512605042016801</c:v>
                </c:pt>
                <c:pt idx="11443">
                  <c:v>-0.11512605042016801</c:v>
                </c:pt>
                <c:pt idx="11444">
                  <c:v>-0.11512605042016801</c:v>
                </c:pt>
                <c:pt idx="11445">
                  <c:v>-0.114285714285714</c:v>
                </c:pt>
                <c:pt idx="11446">
                  <c:v>-0.114285714285714</c:v>
                </c:pt>
                <c:pt idx="11447">
                  <c:v>-0.114285714285714</c:v>
                </c:pt>
                <c:pt idx="11448">
                  <c:v>-0.114285714285714</c:v>
                </c:pt>
                <c:pt idx="11449">
                  <c:v>-0.114285714285714</c:v>
                </c:pt>
                <c:pt idx="11450">
                  <c:v>-0.114285714285714</c:v>
                </c:pt>
                <c:pt idx="11451">
                  <c:v>-0.114285714285714</c:v>
                </c:pt>
                <c:pt idx="11452">
                  <c:v>-0.114285714285714</c:v>
                </c:pt>
                <c:pt idx="11453">
                  <c:v>-0.114285714285714</c:v>
                </c:pt>
                <c:pt idx="11454">
                  <c:v>-0.114285714285714</c:v>
                </c:pt>
                <c:pt idx="11455">
                  <c:v>-0.114285714285714</c:v>
                </c:pt>
                <c:pt idx="11456">
                  <c:v>-0.114285714285714</c:v>
                </c:pt>
                <c:pt idx="11457">
                  <c:v>-0.114285714285714</c:v>
                </c:pt>
                <c:pt idx="11458">
                  <c:v>-0.114285714285714</c:v>
                </c:pt>
                <c:pt idx="11459">
                  <c:v>-0.114285714285714</c:v>
                </c:pt>
                <c:pt idx="11460">
                  <c:v>-0.114285714285714</c:v>
                </c:pt>
                <c:pt idx="11461">
                  <c:v>-0.114285714285714</c:v>
                </c:pt>
                <c:pt idx="11462">
                  <c:v>-0.114285714285714</c:v>
                </c:pt>
                <c:pt idx="11463">
                  <c:v>-0.114285714285714</c:v>
                </c:pt>
                <c:pt idx="11464">
                  <c:v>-0.114285714285714</c:v>
                </c:pt>
                <c:pt idx="11465">
                  <c:v>-0.114285714285714</c:v>
                </c:pt>
                <c:pt idx="11466">
                  <c:v>-0.114285714285714</c:v>
                </c:pt>
                <c:pt idx="11467">
                  <c:v>-0.11512605042016801</c:v>
                </c:pt>
                <c:pt idx="11468">
                  <c:v>-0.11512605042016801</c:v>
                </c:pt>
                <c:pt idx="11469">
                  <c:v>-0.11512605042016801</c:v>
                </c:pt>
                <c:pt idx="11470">
                  <c:v>-0.11512605042016801</c:v>
                </c:pt>
                <c:pt idx="11471">
                  <c:v>-0.11596638655462101</c:v>
                </c:pt>
                <c:pt idx="11472">
                  <c:v>-0.11596638655462101</c:v>
                </c:pt>
                <c:pt idx="11473">
                  <c:v>-0.11596638655462101</c:v>
                </c:pt>
                <c:pt idx="11474">
                  <c:v>-0.11596638655462101</c:v>
                </c:pt>
                <c:pt idx="11475">
                  <c:v>-0.11596638655462101</c:v>
                </c:pt>
                <c:pt idx="11476">
                  <c:v>-0.11596638655462101</c:v>
                </c:pt>
                <c:pt idx="11477">
                  <c:v>-0.11596638655462101</c:v>
                </c:pt>
                <c:pt idx="11478">
                  <c:v>-0.11596638655462101</c:v>
                </c:pt>
                <c:pt idx="11479">
                  <c:v>-0.11596638655462101</c:v>
                </c:pt>
                <c:pt idx="11480">
                  <c:v>-0.11596638655462101</c:v>
                </c:pt>
                <c:pt idx="11481">
                  <c:v>-0.11596638655462101</c:v>
                </c:pt>
                <c:pt idx="11482">
                  <c:v>-0.11596638655462101</c:v>
                </c:pt>
                <c:pt idx="11483">
                  <c:v>-0.11596638655462101</c:v>
                </c:pt>
                <c:pt idx="11484">
                  <c:v>-0.11596638655462101</c:v>
                </c:pt>
                <c:pt idx="11485">
                  <c:v>-0.11596638655462101</c:v>
                </c:pt>
                <c:pt idx="11486">
                  <c:v>-0.11596638655462101</c:v>
                </c:pt>
                <c:pt idx="11487">
                  <c:v>-0.11680672268907499</c:v>
                </c:pt>
                <c:pt idx="11488">
                  <c:v>-0.11680672268907499</c:v>
                </c:pt>
                <c:pt idx="11489">
                  <c:v>-0.11680672268907499</c:v>
                </c:pt>
                <c:pt idx="11490">
                  <c:v>-0.11596638655462101</c:v>
                </c:pt>
                <c:pt idx="11491">
                  <c:v>-0.11596638655462101</c:v>
                </c:pt>
                <c:pt idx="11492">
                  <c:v>-0.11596638655462101</c:v>
                </c:pt>
                <c:pt idx="11493">
                  <c:v>-0.11596638655462101</c:v>
                </c:pt>
                <c:pt idx="11494">
                  <c:v>-0.11596638655462101</c:v>
                </c:pt>
                <c:pt idx="11495">
                  <c:v>-0.11596638655462101</c:v>
                </c:pt>
                <c:pt idx="11496">
                  <c:v>-0.11596638655462101</c:v>
                </c:pt>
                <c:pt idx="11497">
                  <c:v>-0.11596638655462101</c:v>
                </c:pt>
                <c:pt idx="11498">
                  <c:v>-0.11596638655462101</c:v>
                </c:pt>
                <c:pt idx="11499">
                  <c:v>-0.11596638655462101</c:v>
                </c:pt>
                <c:pt idx="11500">
                  <c:v>-0.11596638655462101</c:v>
                </c:pt>
                <c:pt idx="11501">
                  <c:v>-0.11596638655462101</c:v>
                </c:pt>
                <c:pt idx="11502">
                  <c:v>-0.11596638655462101</c:v>
                </c:pt>
                <c:pt idx="11503">
                  <c:v>-0.11596638655462101</c:v>
                </c:pt>
                <c:pt idx="11504">
                  <c:v>-0.11596638655462101</c:v>
                </c:pt>
                <c:pt idx="11505">
                  <c:v>-0.11596638655462101</c:v>
                </c:pt>
                <c:pt idx="11506">
                  <c:v>-0.11596638655462101</c:v>
                </c:pt>
                <c:pt idx="11507">
                  <c:v>-0.11596638655462101</c:v>
                </c:pt>
                <c:pt idx="11508">
                  <c:v>-0.11596638655462101</c:v>
                </c:pt>
                <c:pt idx="11509">
                  <c:v>-0.11596638655462101</c:v>
                </c:pt>
                <c:pt idx="11510">
                  <c:v>-0.11596638655462101</c:v>
                </c:pt>
                <c:pt idx="11511">
                  <c:v>-0.11596638655462101</c:v>
                </c:pt>
                <c:pt idx="11512">
                  <c:v>-0.11512605042016801</c:v>
                </c:pt>
                <c:pt idx="11513">
                  <c:v>-0.11512605042016801</c:v>
                </c:pt>
                <c:pt idx="11514">
                  <c:v>-0.11512605042016801</c:v>
                </c:pt>
                <c:pt idx="11515">
                  <c:v>-0.11512605042016801</c:v>
                </c:pt>
                <c:pt idx="11516">
                  <c:v>-0.11512605042016801</c:v>
                </c:pt>
                <c:pt idx="11517">
                  <c:v>-0.11512605042016801</c:v>
                </c:pt>
                <c:pt idx="11518">
                  <c:v>-0.11596638655462101</c:v>
                </c:pt>
                <c:pt idx="11519">
                  <c:v>-0.11596638655462101</c:v>
                </c:pt>
                <c:pt idx="11520">
                  <c:v>-0.11596638655462101</c:v>
                </c:pt>
                <c:pt idx="11521">
                  <c:v>-0.11596638655462101</c:v>
                </c:pt>
                <c:pt idx="11522">
                  <c:v>-0.11596638655462101</c:v>
                </c:pt>
                <c:pt idx="11523">
                  <c:v>-0.11596638655462101</c:v>
                </c:pt>
                <c:pt idx="11524">
                  <c:v>-0.11596638655462101</c:v>
                </c:pt>
                <c:pt idx="11525">
                  <c:v>-0.11596638655462101</c:v>
                </c:pt>
                <c:pt idx="11526">
                  <c:v>-0.11596638655462101</c:v>
                </c:pt>
                <c:pt idx="11527">
                  <c:v>-0.11596638655462101</c:v>
                </c:pt>
                <c:pt idx="11528">
                  <c:v>-0.11596638655462101</c:v>
                </c:pt>
                <c:pt idx="11529">
                  <c:v>-0.11596638655462101</c:v>
                </c:pt>
                <c:pt idx="11530">
                  <c:v>-0.11596638655462101</c:v>
                </c:pt>
                <c:pt idx="11531">
                  <c:v>-0.11596638655462101</c:v>
                </c:pt>
                <c:pt idx="11532">
                  <c:v>-0.11680672268907499</c:v>
                </c:pt>
                <c:pt idx="11533">
                  <c:v>-0.11680672268907499</c:v>
                </c:pt>
                <c:pt idx="11534">
                  <c:v>-0.11680672268907499</c:v>
                </c:pt>
                <c:pt idx="11535">
                  <c:v>-0.11680672268907499</c:v>
                </c:pt>
                <c:pt idx="11536">
                  <c:v>-0.11680672268907499</c:v>
                </c:pt>
                <c:pt idx="11537">
                  <c:v>-0.11680672268907499</c:v>
                </c:pt>
                <c:pt idx="11538">
                  <c:v>-0.11680672268907499</c:v>
                </c:pt>
                <c:pt idx="11539">
                  <c:v>-0.11680672268907499</c:v>
                </c:pt>
                <c:pt idx="11540">
                  <c:v>-0.11680672268907499</c:v>
                </c:pt>
                <c:pt idx="11541">
                  <c:v>-0.11680672268907499</c:v>
                </c:pt>
                <c:pt idx="11542">
                  <c:v>-0.11680672268907499</c:v>
                </c:pt>
                <c:pt idx="11543">
                  <c:v>-0.11680672268907499</c:v>
                </c:pt>
                <c:pt idx="11544">
                  <c:v>-0.11680672268907499</c:v>
                </c:pt>
                <c:pt idx="11545">
                  <c:v>-0.11680672268907499</c:v>
                </c:pt>
                <c:pt idx="11546">
                  <c:v>-0.11680672268907499</c:v>
                </c:pt>
                <c:pt idx="11547">
                  <c:v>-0.11680672268907499</c:v>
                </c:pt>
                <c:pt idx="11548">
                  <c:v>-0.11764705882352899</c:v>
                </c:pt>
                <c:pt idx="11549">
                  <c:v>-0.11764705882352899</c:v>
                </c:pt>
                <c:pt idx="11550">
                  <c:v>-0.11764705882352899</c:v>
                </c:pt>
                <c:pt idx="11551">
                  <c:v>-0.11764705882352899</c:v>
                </c:pt>
                <c:pt idx="11552">
                  <c:v>-0.11680672268907499</c:v>
                </c:pt>
                <c:pt idx="11553">
                  <c:v>-0.11680672268907499</c:v>
                </c:pt>
                <c:pt idx="11554">
                  <c:v>-0.11680672268907499</c:v>
                </c:pt>
                <c:pt idx="11555">
                  <c:v>-0.11680672268907499</c:v>
                </c:pt>
                <c:pt idx="11556">
                  <c:v>-0.11680672268907499</c:v>
                </c:pt>
                <c:pt idx="11557">
                  <c:v>-0.11680672268907499</c:v>
                </c:pt>
                <c:pt idx="11558">
                  <c:v>-0.11680672268907499</c:v>
                </c:pt>
                <c:pt idx="11559">
                  <c:v>-0.11680672268907499</c:v>
                </c:pt>
                <c:pt idx="11560">
                  <c:v>-0.11680672268907499</c:v>
                </c:pt>
                <c:pt idx="11561">
                  <c:v>-0.11680672268907499</c:v>
                </c:pt>
                <c:pt idx="11562">
                  <c:v>-0.11680672268907499</c:v>
                </c:pt>
                <c:pt idx="11563">
                  <c:v>-0.11680672268907499</c:v>
                </c:pt>
                <c:pt idx="11564">
                  <c:v>-0.11596638655462101</c:v>
                </c:pt>
                <c:pt idx="11565">
                  <c:v>-0.11596638655462101</c:v>
                </c:pt>
                <c:pt idx="11566">
                  <c:v>-0.11596638655462101</c:v>
                </c:pt>
                <c:pt idx="11567">
                  <c:v>-0.11596638655462101</c:v>
                </c:pt>
                <c:pt idx="11568">
                  <c:v>-0.11596638655462101</c:v>
                </c:pt>
                <c:pt idx="11569">
                  <c:v>-0.11596638655462101</c:v>
                </c:pt>
                <c:pt idx="11570">
                  <c:v>-0.11596638655462101</c:v>
                </c:pt>
                <c:pt idx="11571">
                  <c:v>-0.11512605042016801</c:v>
                </c:pt>
                <c:pt idx="11572">
                  <c:v>-0.11512605042016801</c:v>
                </c:pt>
                <c:pt idx="11573">
                  <c:v>-0.11512605042016801</c:v>
                </c:pt>
                <c:pt idx="11574">
                  <c:v>-0.11512605042016801</c:v>
                </c:pt>
                <c:pt idx="11575">
                  <c:v>-0.11596638655462101</c:v>
                </c:pt>
                <c:pt idx="11576">
                  <c:v>-0.11596638655462101</c:v>
                </c:pt>
                <c:pt idx="11577">
                  <c:v>-0.11512605042016801</c:v>
                </c:pt>
                <c:pt idx="11578">
                  <c:v>-0.11512605042016801</c:v>
                </c:pt>
                <c:pt idx="11579">
                  <c:v>-0.11512605042016801</c:v>
                </c:pt>
                <c:pt idx="11580">
                  <c:v>-0.11512605042016801</c:v>
                </c:pt>
                <c:pt idx="11581">
                  <c:v>-0.11512605042016801</c:v>
                </c:pt>
                <c:pt idx="11582">
                  <c:v>-0.11512605042016801</c:v>
                </c:pt>
                <c:pt idx="11583">
                  <c:v>-0.11512605042016801</c:v>
                </c:pt>
                <c:pt idx="11584">
                  <c:v>-0.11512605042016801</c:v>
                </c:pt>
                <c:pt idx="11585">
                  <c:v>-0.11512605042016801</c:v>
                </c:pt>
                <c:pt idx="11586">
                  <c:v>-0.11512605042016801</c:v>
                </c:pt>
                <c:pt idx="11587">
                  <c:v>-0.11512605042016801</c:v>
                </c:pt>
                <c:pt idx="11588">
                  <c:v>-0.11596638655462101</c:v>
                </c:pt>
                <c:pt idx="11589">
                  <c:v>-0.11596638655462101</c:v>
                </c:pt>
                <c:pt idx="11590">
                  <c:v>-0.11596638655462101</c:v>
                </c:pt>
                <c:pt idx="11591">
                  <c:v>-0.11596638655462101</c:v>
                </c:pt>
                <c:pt idx="11592">
                  <c:v>-0.11596638655462101</c:v>
                </c:pt>
                <c:pt idx="11593">
                  <c:v>-0.11596638655462101</c:v>
                </c:pt>
                <c:pt idx="11594">
                  <c:v>-0.11596638655462101</c:v>
                </c:pt>
                <c:pt idx="11595">
                  <c:v>-0.11596638655462101</c:v>
                </c:pt>
                <c:pt idx="11596">
                  <c:v>-0.11596638655462101</c:v>
                </c:pt>
                <c:pt idx="11597">
                  <c:v>-0.11596638655462101</c:v>
                </c:pt>
                <c:pt idx="11598">
                  <c:v>-0.11596638655462101</c:v>
                </c:pt>
                <c:pt idx="11599">
                  <c:v>-0.11596638655462101</c:v>
                </c:pt>
                <c:pt idx="11600">
                  <c:v>-0.11596638655462101</c:v>
                </c:pt>
                <c:pt idx="11601">
                  <c:v>-0.11596638655462101</c:v>
                </c:pt>
                <c:pt idx="11602">
                  <c:v>-0.11596638655462101</c:v>
                </c:pt>
                <c:pt idx="11603">
                  <c:v>-0.11596638655462101</c:v>
                </c:pt>
                <c:pt idx="11604">
                  <c:v>-0.11596638655462101</c:v>
                </c:pt>
                <c:pt idx="11605">
                  <c:v>-0.11596638655462101</c:v>
                </c:pt>
                <c:pt idx="11606">
                  <c:v>-0.11596638655462101</c:v>
                </c:pt>
                <c:pt idx="11607">
                  <c:v>-0.11596638655462101</c:v>
                </c:pt>
                <c:pt idx="11608">
                  <c:v>-0.11596638655462101</c:v>
                </c:pt>
                <c:pt idx="11609">
                  <c:v>-0.11596638655462101</c:v>
                </c:pt>
                <c:pt idx="11610">
                  <c:v>-0.11596638655462101</c:v>
                </c:pt>
                <c:pt idx="11611">
                  <c:v>-0.11596638655462101</c:v>
                </c:pt>
                <c:pt idx="11612">
                  <c:v>-0.11596638655462101</c:v>
                </c:pt>
                <c:pt idx="11613">
                  <c:v>-0.11596638655462101</c:v>
                </c:pt>
                <c:pt idx="11614">
                  <c:v>-0.11596638655462101</c:v>
                </c:pt>
                <c:pt idx="11615">
                  <c:v>-0.11596638655462101</c:v>
                </c:pt>
                <c:pt idx="11616">
                  <c:v>-0.11596638655462101</c:v>
                </c:pt>
                <c:pt idx="11617">
                  <c:v>-0.11596638655462101</c:v>
                </c:pt>
                <c:pt idx="11618">
                  <c:v>-0.11596638655462101</c:v>
                </c:pt>
                <c:pt idx="11619">
                  <c:v>-0.11596638655462101</c:v>
                </c:pt>
                <c:pt idx="11620">
                  <c:v>-0.11596638655462101</c:v>
                </c:pt>
                <c:pt idx="11621">
                  <c:v>-0.11596638655462101</c:v>
                </c:pt>
                <c:pt idx="11622">
                  <c:v>-0.11596638655462101</c:v>
                </c:pt>
                <c:pt idx="11623">
                  <c:v>-0.11596638655462101</c:v>
                </c:pt>
                <c:pt idx="11624">
                  <c:v>-0.11596638655462101</c:v>
                </c:pt>
                <c:pt idx="11625">
                  <c:v>-0.11596638655462101</c:v>
                </c:pt>
                <c:pt idx="11626">
                  <c:v>-0.11596638655462101</c:v>
                </c:pt>
                <c:pt idx="11627">
                  <c:v>-0.11596638655462101</c:v>
                </c:pt>
                <c:pt idx="11628">
                  <c:v>-0.11596638655462101</c:v>
                </c:pt>
                <c:pt idx="11629">
                  <c:v>-0.11596638655462101</c:v>
                </c:pt>
                <c:pt idx="11630">
                  <c:v>-0.11596638655462101</c:v>
                </c:pt>
                <c:pt idx="11631">
                  <c:v>-0.11596638655462101</c:v>
                </c:pt>
                <c:pt idx="11632">
                  <c:v>-0.11596638655462101</c:v>
                </c:pt>
                <c:pt idx="11633">
                  <c:v>-0.11596638655462101</c:v>
                </c:pt>
                <c:pt idx="11634">
                  <c:v>-0.11596638655462101</c:v>
                </c:pt>
                <c:pt idx="11635">
                  <c:v>-0.11596638655462101</c:v>
                </c:pt>
                <c:pt idx="11636">
                  <c:v>-0.11596638655462101</c:v>
                </c:pt>
                <c:pt idx="11637">
                  <c:v>-0.11596638655462101</c:v>
                </c:pt>
                <c:pt idx="11638">
                  <c:v>-0.11680672268907499</c:v>
                </c:pt>
                <c:pt idx="11639">
                  <c:v>-0.11680672268907499</c:v>
                </c:pt>
                <c:pt idx="11640">
                  <c:v>-0.11680672268907499</c:v>
                </c:pt>
                <c:pt idx="11641">
                  <c:v>-0.11680672268907499</c:v>
                </c:pt>
                <c:pt idx="11642">
                  <c:v>-0.11680672268907499</c:v>
                </c:pt>
                <c:pt idx="11643">
                  <c:v>-0.11680672268907499</c:v>
                </c:pt>
                <c:pt idx="11644">
                  <c:v>-0.11764705882352899</c:v>
                </c:pt>
                <c:pt idx="11645">
                  <c:v>-0.11764705882352899</c:v>
                </c:pt>
                <c:pt idx="11646">
                  <c:v>-0.11764705882352899</c:v>
                </c:pt>
                <c:pt idx="11647">
                  <c:v>-0.11764705882352899</c:v>
                </c:pt>
                <c:pt idx="11648">
                  <c:v>-0.11764705882352899</c:v>
                </c:pt>
                <c:pt idx="11649">
                  <c:v>-0.11764705882352899</c:v>
                </c:pt>
                <c:pt idx="11650">
                  <c:v>-0.11764705882352899</c:v>
                </c:pt>
                <c:pt idx="11651">
                  <c:v>-0.11764705882352899</c:v>
                </c:pt>
                <c:pt idx="11652">
                  <c:v>-0.11764705882352899</c:v>
                </c:pt>
                <c:pt idx="11653">
                  <c:v>-0.11764705882352899</c:v>
                </c:pt>
                <c:pt idx="11654">
                  <c:v>-0.11764705882352899</c:v>
                </c:pt>
                <c:pt idx="11655">
                  <c:v>-0.11764705882352899</c:v>
                </c:pt>
                <c:pt idx="11656">
                  <c:v>-0.11764705882352899</c:v>
                </c:pt>
                <c:pt idx="11657">
                  <c:v>-0.11764705882352899</c:v>
                </c:pt>
                <c:pt idx="11658">
                  <c:v>-0.11764705882352899</c:v>
                </c:pt>
                <c:pt idx="11659">
                  <c:v>-0.11764705882352899</c:v>
                </c:pt>
                <c:pt idx="11660">
                  <c:v>-0.11764705882352899</c:v>
                </c:pt>
                <c:pt idx="11661">
                  <c:v>-0.11764705882352899</c:v>
                </c:pt>
                <c:pt idx="11662">
                  <c:v>-0.11764705882352899</c:v>
                </c:pt>
                <c:pt idx="11663">
                  <c:v>-0.11764705882352899</c:v>
                </c:pt>
                <c:pt idx="11664">
                  <c:v>-0.11764705882352899</c:v>
                </c:pt>
                <c:pt idx="11665">
                  <c:v>-0.11764705882352899</c:v>
                </c:pt>
                <c:pt idx="11666">
                  <c:v>-0.11764705882352899</c:v>
                </c:pt>
                <c:pt idx="11667">
                  <c:v>-0.11764705882352899</c:v>
                </c:pt>
                <c:pt idx="11668">
                  <c:v>-0.11764705882352899</c:v>
                </c:pt>
                <c:pt idx="11669">
                  <c:v>-0.11764705882352899</c:v>
                </c:pt>
                <c:pt idx="11670">
                  <c:v>-0.11764705882352899</c:v>
                </c:pt>
                <c:pt idx="11671">
                  <c:v>-0.11764705882352899</c:v>
                </c:pt>
                <c:pt idx="11672">
                  <c:v>-0.11764705882352899</c:v>
                </c:pt>
                <c:pt idx="11673">
                  <c:v>-0.11764705882352899</c:v>
                </c:pt>
                <c:pt idx="11674">
                  <c:v>-0.11764705882352899</c:v>
                </c:pt>
                <c:pt idx="11675">
                  <c:v>-0.11764705882352899</c:v>
                </c:pt>
                <c:pt idx="11676">
                  <c:v>-0.11764705882352899</c:v>
                </c:pt>
                <c:pt idx="11677">
                  <c:v>-0.11764705882352899</c:v>
                </c:pt>
                <c:pt idx="11678">
                  <c:v>-0.11764705882352899</c:v>
                </c:pt>
                <c:pt idx="11679">
                  <c:v>-0.11764705882352899</c:v>
                </c:pt>
                <c:pt idx="11680">
                  <c:v>-0.11764705882352899</c:v>
                </c:pt>
                <c:pt idx="11681">
                  <c:v>-0.11764705882352899</c:v>
                </c:pt>
                <c:pt idx="11682">
                  <c:v>-0.11764705882352899</c:v>
                </c:pt>
                <c:pt idx="11683">
                  <c:v>-0.11764705882352899</c:v>
                </c:pt>
                <c:pt idx="11684">
                  <c:v>-0.11764705882352899</c:v>
                </c:pt>
                <c:pt idx="11685">
                  <c:v>-0.11764705882352899</c:v>
                </c:pt>
                <c:pt idx="11686">
                  <c:v>-0.11764705882352899</c:v>
                </c:pt>
                <c:pt idx="11687">
                  <c:v>-0.11764705882352899</c:v>
                </c:pt>
                <c:pt idx="11688">
                  <c:v>-0.11764705882352899</c:v>
                </c:pt>
                <c:pt idx="11689">
                  <c:v>-0.11764705882352899</c:v>
                </c:pt>
                <c:pt idx="11690">
                  <c:v>-0.11848739495798299</c:v>
                </c:pt>
                <c:pt idx="11691">
                  <c:v>-0.11848739495798299</c:v>
                </c:pt>
                <c:pt idx="11692">
                  <c:v>-0.11848739495798299</c:v>
                </c:pt>
                <c:pt idx="11693">
                  <c:v>-0.11848739495798299</c:v>
                </c:pt>
                <c:pt idx="11694">
                  <c:v>-0.11848739495798299</c:v>
                </c:pt>
                <c:pt idx="11695">
                  <c:v>-0.11848739495798299</c:v>
                </c:pt>
                <c:pt idx="11696">
                  <c:v>-0.11848739495798299</c:v>
                </c:pt>
                <c:pt idx="11697">
                  <c:v>-0.11848739495798299</c:v>
                </c:pt>
                <c:pt idx="11698">
                  <c:v>-0.11848739495798299</c:v>
                </c:pt>
                <c:pt idx="11699">
                  <c:v>-0.11848739495798299</c:v>
                </c:pt>
                <c:pt idx="11700">
                  <c:v>-0.11848739495798299</c:v>
                </c:pt>
                <c:pt idx="11701">
                  <c:v>-0.11848739495798299</c:v>
                </c:pt>
                <c:pt idx="11702">
                  <c:v>-0.11848739495798299</c:v>
                </c:pt>
                <c:pt idx="11703">
                  <c:v>-0.11848739495798299</c:v>
                </c:pt>
                <c:pt idx="11704">
                  <c:v>-0.11848739495798299</c:v>
                </c:pt>
                <c:pt idx="11705">
                  <c:v>-0.11848739495798299</c:v>
                </c:pt>
                <c:pt idx="11706">
                  <c:v>-0.11848739495798299</c:v>
                </c:pt>
                <c:pt idx="11707">
                  <c:v>-0.11848739495798299</c:v>
                </c:pt>
                <c:pt idx="11708">
                  <c:v>-0.11848739495798299</c:v>
                </c:pt>
                <c:pt idx="11709">
                  <c:v>-0.11848739495798299</c:v>
                </c:pt>
                <c:pt idx="11710">
                  <c:v>-0.11848739495798299</c:v>
                </c:pt>
                <c:pt idx="11711">
                  <c:v>-0.11848739495798299</c:v>
                </c:pt>
                <c:pt idx="11712">
                  <c:v>-0.11848739495798299</c:v>
                </c:pt>
                <c:pt idx="11713">
                  <c:v>-0.11848739495798299</c:v>
                </c:pt>
                <c:pt idx="11714">
                  <c:v>-0.11848739495798299</c:v>
                </c:pt>
                <c:pt idx="11715">
                  <c:v>-0.11848739495798299</c:v>
                </c:pt>
                <c:pt idx="11716">
                  <c:v>-0.11848739495798299</c:v>
                </c:pt>
                <c:pt idx="11717">
                  <c:v>-0.11848739495798299</c:v>
                </c:pt>
                <c:pt idx="11718">
                  <c:v>-0.11848739495798299</c:v>
                </c:pt>
                <c:pt idx="11719">
                  <c:v>-0.11848739495798299</c:v>
                </c:pt>
                <c:pt idx="11720">
                  <c:v>-0.11848739495798299</c:v>
                </c:pt>
                <c:pt idx="11721">
                  <c:v>-0.11848739495798299</c:v>
                </c:pt>
                <c:pt idx="11722">
                  <c:v>-0.11848739495798299</c:v>
                </c:pt>
                <c:pt idx="11723">
                  <c:v>-0.11848739495798299</c:v>
                </c:pt>
                <c:pt idx="11724">
                  <c:v>-0.11848739495798299</c:v>
                </c:pt>
                <c:pt idx="11725">
                  <c:v>-0.11848739495798299</c:v>
                </c:pt>
                <c:pt idx="11726">
                  <c:v>-0.11848739495798299</c:v>
                </c:pt>
                <c:pt idx="11727">
                  <c:v>-0.11848739495798299</c:v>
                </c:pt>
                <c:pt idx="11728">
                  <c:v>-0.11848739495798299</c:v>
                </c:pt>
                <c:pt idx="11729">
                  <c:v>-0.11848739495798299</c:v>
                </c:pt>
                <c:pt idx="11730">
                  <c:v>-0.11848739495798299</c:v>
                </c:pt>
                <c:pt idx="11731">
                  <c:v>-0.11848739495798299</c:v>
                </c:pt>
                <c:pt idx="11732">
                  <c:v>-0.11848739495798299</c:v>
                </c:pt>
                <c:pt idx="11733">
                  <c:v>-0.11848739495798299</c:v>
                </c:pt>
                <c:pt idx="11734">
                  <c:v>-0.11848739495798299</c:v>
                </c:pt>
                <c:pt idx="11735">
                  <c:v>-0.11848739495798299</c:v>
                </c:pt>
                <c:pt idx="11736">
                  <c:v>-0.11848739495798299</c:v>
                </c:pt>
                <c:pt idx="11737">
                  <c:v>-0.11848739495798299</c:v>
                </c:pt>
                <c:pt idx="11738">
                  <c:v>-0.11848739495798299</c:v>
                </c:pt>
                <c:pt idx="11739">
                  <c:v>-0.11848739495798299</c:v>
                </c:pt>
                <c:pt idx="11740">
                  <c:v>-0.11764705882352899</c:v>
                </c:pt>
                <c:pt idx="11741">
                  <c:v>-0.11764705882352899</c:v>
                </c:pt>
                <c:pt idx="11742">
                  <c:v>-0.11764705882352899</c:v>
                </c:pt>
                <c:pt idx="11743">
                  <c:v>-0.11764705882352899</c:v>
                </c:pt>
                <c:pt idx="11744">
                  <c:v>-0.11764705882352899</c:v>
                </c:pt>
                <c:pt idx="11745">
                  <c:v>-0.11764705882352899</c:v>
                </c:pt>
                <c:pt idx="11746">
                  <c:v>-0.11764705882352899</c:v>
                </c:pt>
                <c:pt idx="11747">
                  <c:v>-0.11764705882352899</c:v>
                </c:pt>
                <c:pt idx="11748">
                  <c:v>-0.11764705882352899</c:v>
                </c:pt>
                <c:pt idx="11749">
                  <c:v>-0.11764705882352899</c:v>
                </c:pt>
                <c:pt idx="11750">
                  <c:v>-0.11764705882352899</c:v>
                </c:pt>
                <c:pt idx="11751">
                  <c:v>-0.11764705882352899</c:v>
                </c:pt>
                <c:pt idx="11752">
                  <c:v>-0.11764705882352899</c:v>
                </c:pt>
                <c:pt idx="11753">
                  <c:v>-0.11764705882352899</c:v>
                </c:pt>
                <c:pt idx="11754">
                  <c:v>-0.11764705882352899</c:v>
                </c:pt>
                <c:pt idx="11755">
                  <c:v>-0.11848739495798299</c:v>
                </c:pt>
                <c:pt idx="11756">
                  <c:v>-0.11848739495798299</c:v>
                </c:pt>
                <c:pt idx="11757">
                  <c:v>-0.11848739495798299</c:v>
                </c:pt>
                <c:pt idx="11758">
                  <c:v>-0.119327731092436</c:v>
                </c:pt>
                <c:pt idx="11759">
                  <c:v>-0.11848739495798299</c:v>
                </c:pt>
                <c:pt idx="11760">
                  <c:v>-0.11848739495798299</c:v>
                </c:pt>
                <c:pt idx="11761">
                  <c:v>-0.11848739495798299</c:v>
                </c:pt>
                <c:pt idx="11762">
                  <c:v>-0.11848739495798299</c:v>
                </c:pt>
                <c:pt idx="11763">
                  <c:v>-0.11848739495798299</c:v>
                </c:pt>
                <c:pt idx="11764">
                  <c:v>-0.11848739495798299</c:v>
                </c:pt>
                <c:pt idx="11765">
                  <c:v>-0.11848739495798299</c:v>
                </c:pt>
                <c:pt idx="11766">
                  <c:v>-0.11848739495798299</c:v>
                </c:pt>
                <c:pt idx="11767">
                  <c:v>-0.11848739495798299</c:v>
                </c:pt>
                <c:pt idx="11768">
                  <c:v>-0.11848739495798299</c:v>
                </c:pt>
                <c:pt idx="11769">
                  <c:v>-0.11848739495798299</c:v>
                </c:pt>
                <c:pt idx="11770">
                  <c:v>-0.11848739495798299</c:v>
                </c:pt>
                <c:pt idx="11771">
                  <c:v>-0.11848739495798299</c:v>
                </c:pt>
                <c:pt idx="11772">
                  <c:v>-0.11848739495798299</c:v>
                </c:pt>
                <c:pt idx="11773">
                  <c:v>-0.11848739495798299</c:v>
                </c:pt>
                <c:pt idx="11774">
                  <c:v>-0.11848739495798299</c:v>
                </c:pt>
                <c:pt idx="11775">
                  <c:v>-0.11848739495798299</c:v>
                </c:pt>
                <c:pt idx="11776">
                  <c:v>-0.11848739495798299</c:v>
                </c:pt>
                <c:pt idx="11777">
                  <c:v>-0.11848739495798299</c:v>
                </c:pt>
                <c:pt idx="11778">
                  <c:v>-0.11848739495798299</c:v>
                </c:pt>
                <c:pt idx="11779">
                  <c:v>-0.119327731092436</c:v>
                </c:pt>
                <c:pt idx="11780">
                  <c:v>-0.119327731092436</c:v>
                </c:pt>
                <c:pt idx="11781">
                  <c:v>-0.119327731092436</c:v>
                </c:pt>
                <c:pt idx="11782">
                  <c:v>-0.119327731092436</c:v>
                </c:pt>
                <c:pt idx="11783">
                  <c:v>-0.119327731092436</c:v>
                </c:pt>
                <c:pt idx="11784">
                  <c:v>-0.119327731092436</c:v>
                </c:pt>
                <c:pt idx="11785">
                  <c:v>-0.119327731092436</c:v>
                </c:pt>
                <c:pt idx="11786">
                  <c:v>-0.119327731092436</c:v>
                </c:pt>
                <c:pt idx="11787">
                  <c:v>-0.119327731092436</c:v>
                </c:pt>
                <c:pt idx="11788">
                  <c:v>-0.119327731092436</c:v>
                </c:pt>
                <c:pt idx="11789">
                  <c:v>-0.119327731092436</c:v>
                </c:pt>
                <c:pt idx="11790">
                  <c:v>-0.119327731092436</c:v>
                </c:pt>
                <c:pt idx="11791">
                  <c:v>-0.119327731092436</c:v>
                </c:pt>
                <c:pt idx="11792">
                  <c:v>-0.119327731092436</c:v>
                </c:pt>
                <c:pt idx="11793">
                  <c:v>-0.119327731092436</c:v>
                </c:pt>
                <c:pt idx="11794">
                  <c:v>-0.119327731092436</c:v>
                </c:pt>
                <c:pt idx="11795">
                  <c:v>-0.119327731092436</c:v>
                </c:pt>
                <c:pt idx="11796">
                  <c:v>-0.119327731092436</c:v>
                </c:pt>
                <c:pt idx="11797">
                  <c:v>-0.119327731092436</c:v>
                </c:pt>
                <c:pt idx="11798">
                  <c:v>-0.119327731092436</c:v>
                </c:pt>
                <c:pt idx="11799">
                  <c:v>-0.119327731092436</c:v>
                </c:pt>
                <c:pt idx="11800">
                  <c:v>-0.119327731092436</c:v>
                </c:pt>
                <c:pt idx="11801">
                  <c:v>-0.119327731092436</c:v>
                </c:pt>
                <c:pt idx="11802">
                  <c:v>-0.119327731092436</c:v>
                </c:pt>
                <c:pt idx="11803">
                  <c:v>-0.119327731092436</c:v>
                </c:pt>
                <c:pt idx="11804">
                  <c:v>-0.119327731092436</c:v>
                </c:pt>
                <c:pt idx="11805">
                  <c:v>-0.119327731092436</c:v>
                </c:pt>
                <c:pt idx="11806">
                  <c:v>-0.119327731092436</c:v>
                </c:pt>
                <c:pt idx="11807">
                  <c:v>-0.119327731092436</c:v>
                </c:pt>
                <c:pt idx="11808">
                  <c:v>-0.119327731092436</c:v>
                </c:pt>
                <c:pt idx="11809">
                  <c:v>-0.119327731092436</c:v>
                </c:pt>
                <c:pt idx="11810">
                  <c:v>-0.119327731092436</c:v>
                </c:pt>
                <c:pt idx="11811">
                  <c:v>-0.119327731092436</c:v>
                </c:pt>
                <c:pt idx="11812">
                  <c:v>-0.119327731092436</c:v>
                </c:pt>
                <c:pt idx="11813">
                  <c:v>-0.119327731092436</c:v>
                </c:pt>
                <c:pt idx="11814">
                  <c:v>-0.119327731092436</c:v>
                </c:pt>
                <c:pt idx="11815">
                  <c:v>-0.119327731092436</c:v>
                </c:pt>
                <c:pt idx="11816">
                  <c:v>-0.119327731092436</c:v>
                </c:pt>
                <c:pt idx="11817">
                  <c:v>-0.119327731092436</c:v>
                </c:pt>
                <c:pt idx="11818">
                  <c:v>-0.119327731092436</c:v>
                </c:pt>
                <c:pt idx="11819">
                  <c:v>-0.119327731092436</c:v>
                </c:pt>
                <c:pt idx="11820">
                  <c:v>-0.119327731092436</c:v>
                </c:pt>
                <c:pt idx="11821">
                  <c:v>-0.119327731092436</c:v>
                </c:pt>
                <c:pt idx="11822">
                  <c:v>-0.119327731092436</c:v>
                </c:pt>
                <c:pt idx="11823">
                  <c:v>-0.119327731092436</c:v>
                </c:pt>
                <c:pt idx="11824">
                  <c:v>-0.119327731092436</c:v>
                </c:pt>
                <c:pt idx="11825">
                  <c:v>-0.119327731092436</c:v>
                </c:pt>
                <c:pt idx="11826">
                  <c:v>-0.119327731092436</c:v>
                </c:pt>
                <c:pt idx="11827">
                  <c:v>-0.119327731092436</c:v>
                </c:pt>
                <c:pt idx="11828">
                  <c:v>-0.119327731092436</c:v>
                </c:pt>
                <c:pt idx="11829">
                  <c:v>-0.119327731092436</c:v>
                </c:pt>
                <c:pt idx="11830">
                  <c:v>-0.119327731092436</c:v>
                </c:pt>
                <c:pt idx="11831">
                  <c:v>-0.119327731092436</c:v>
                </c:pt>
                <c:pt idx="11832">
                  <c:v>-0.119327731092436</c:v>
                </c:pt>
                <c:pt idx="11833">
                  <c:v>-0.119327731092436</c:v>
                </c:pt>
                <c:pt idx="11834">
                  <c:v>-0.119327731092436</c:v>
                </c:pt>
                <c:pt idx="11835">
                  <c:v>-0.119327731092436</c:v>
                </c:pt>
                <c:pt idx="11836">
                  <c:v>-0.119327731092436</c:v>
                </c:pt>
                <c:pt idx="11837">
                  <c:v>-0.119327731092436</c:v>
                </c:pt>
                <c:pt idx="11838">
                  <c:v>-0.119327731092436</c:v>
                </c:pt>
                <c:pt idx="11839">
                  <c:v>-0.119327731092436</c:v>
                </c:pt>
                <c:pt idx="11840">
                  <c:v>-0.119327731092436</c:v>
                </c:pt>
                <c:pt idx="11841">
                  <c:v>-0.119327731092436</c:v>
                </c:pt>
                <c:pt idx="11842">
                  <c:v>-0.119327731092436</c:v>
                </c:pt>
                <c:pt idx="11843">
                  <c:v>-0.119327731092436</c:v>
                </c:pt>
                <c:pt idx="11844">
                  <c:v>-0.119327731092436</c:v>
                </c:pt>
                <c:pt idx="11845">
                  <c:v>-0.119327731092436</c:v>
                </c:pt>
                <c:pt idx="11846">
                  <c:v>-0.119327731092436</c:v>
                </c:pt>
                <c:pt idx="11847">
                  <c:v>-0.119327731092436</c:v>
                </c:pt>
                <c:pt idx="11848">
                  <c:v>-0.119327731092436</c:v>
                </c:pt>
                <c:pt idx="11849">
                  <c:v>-0.119327731092436</c:v>
                </c:pt>
                <c:pt idx="11850">
                  <c:v>-0.119327731092436</c:v>
                </c:pt>
                <c:pt idx="11851">
                  <c:v>-0.119327731092436</c:v>
                </c:pt>
                <c:pt idx="11852">
                  <c:v>-0.119327731092436</c:v>
                </c:pt>
                <c:pt idx="11853">
                  <c:v>-0.119327731092436</c:v>
                </c:pt>
                <c:pt idx="11854">
                  <c:v>-0.119327731092436</c:v>
                </c:pt>
                <c:pt idx="11855">
                  <c:v>-0.119327731092436</c:v>
                </c:pt>
                <c:pt idx="11856">
                  <c:v>-0.119327731092436</c:v>
                </c:pt>
                <c:pt idx="11857">
                  <c:v>-0.119327731092436</c:v>
                </c:pt>
                <c:pt idx="11858">
                  <c:v>-0.119327731092436</c:v>
                </c:pt>
                <c:pt idx="11859">
                  <c:v>-0.119327731092436</c:v>
                </c:pt>
                <c:pt idx="11860">
                  <c:v>-0.12016806722689</c:v>
                </c:pt>
                <c:pt idx="11861">
                  <c:v>-0.12016806722689</c:v>
                </c:pt>
                <c:pt idx="11862">
                  <c:v>-0.12016806722689</c:v>
                </c:pt>
                <c:pt idx="11863">
                  <c:v>-0.12016806722689</c:v>
                </c:pt>
                <c:pt idx="11864">
                  <c:v>-0.12016806722689</c:v>
                </c:pt>
                <c:pt idx="11865">
                  <c:v>-0.12016806722689</c:v>
                </c:pt>
                <c:pt idx="11866">
                  <c:v>-0.12016806722689</c:v>
                </c:pt>
                <c:pt idx="11867">
                  <c:v>-0.12016806722689</c:v>
                </c:pt>
                <c:pt idx="11868">
                  <c:v>-0.12016806722689</c:v>
                </c:pt>
                <c:pt idx="11869">
                  <c:v>-0.12016806722689</c:v>
                </c:pt>
                <c:pt idx="11870">
                  <c:v>-0.12016806722689</c:v>
                </c:pt>
                <c:pt idx="11871">
                  <c:v>-0.12016806722689</c:v>
                </c:pt>
                <c:pt idx="11872">
                  <c:v>-0.12016806722689</c:v>
                </c:pt>
                <c:pt idx="11873">
                  <c:v>-0.12016806722689</c:v>
                </c:pt>
                <c:pt idx="11874">
                  <c:v>-0.12016806722689</c:v>
                </c:pt>
                <c:pt idx="11875">
                  <c:v>-0.12016806722689</c:v>
                </c:pt>
                <c:pt idx="11876">
                  <c:v>-0.12016806722689</c:v>
                </c:pt>
                <c:pt idx="11877">
                  <c:v>-0.12016806722689</c:v>
                </c:pt>
                <c:pt idx="11878">
                  <c:v>-0.12016806722689</c:v>
                </c:pt>
                <c:pt idx="11879">
                  <c:v>-0.12016806722689</c:v>
                </c:pt>
                <c:pt idx="11880">
                  <c:v>-0.12016806722689</c:v>
                </c:pt>
                <c:pt idx="11881">
                  <c:v>-0.12016806722689</c:v>
                </c:pt>
                <c:pt idx="11882">
                  <c:v>-0.12016806722689</c:v>
                </c:pt>
                <c:pt idx="11883">
                  <c:v>-0.12016806722689</c:v>
                </c:pt>
                <c:pt idx="11884">
                  <c:v>-0.12016806722689</c:v>
                </c:pt>
                <c:pt idx="11885">
                  <c:v>-0.12016806722689</c:v>
                </c:pt>
                <c:pt idx="11886">
                  <c:v>-0.12016806722689</c:v>
                </c:pt>
                <c:pt idx="11887">
                  <c:v>-0.12016806722689</c:v>
                </c:pt>
                <c:pt idx="11888">
                  <c:v>-0.12016806722689</c:v>
                </c:pt>
                <c:pt idx="11889">
                  <c:v>-0.119327731092436</c:v>
                </c:pt>
                <c:pt idx="11890">
                  <c:v>-0.119327731092436</c:v>
                </c:pt>
                <c:pt idx="11891">
                  <c:v>-0.119327731092436</c:v>
                </c:pt>
                <c:pt idx="11892">
                  <c:v>-0.119327731092436</c:v>
                </c:pt>
                <c:pt idx="11893">
                  <c:v>-0.119327731092436</c:v>
                </c:pt>
                <c:pt idx="11894">
                  <c:v>-0.119327731092436</c:v>
                </c:pt>
                <c:pt idx="11895">
                  <c:v>-0.119327731092436</c:v>
                </c:pt>
                <c:pt idx="11896">
                  <c:v>-0.119327731092436</c:v>
                </c:pt>
                <c:pt idx="11897">
                  <c:v>-0.119327731092436</c:v>
                </c:pt>
                <c:pt idx="11898">
                  <c:v>-0.119327731092436</c:v>
                </c:pt>
                <c:pt idx="11899">
                  <c:v>-0.119327731092436</c:v>
                </c:pt>
                <c:pt idx="11900">
                  <c:v>-0.119327731092436</c:v>
                </c:pt>
                <c:pt idx="11901">
                  <c:v>-0.119327731092436</c:v>
                </c:pt>
                <c:pt idx="11902">
                  <c:v>-0.119327731092436</c:v>
                </c:pt>
                <c:pt idx="11903">
                  <c:v>-0.119327731092436</c:v>
                </c:pt>
                <c:pt idx="11904">
                  <c:v>-0.119327731092436</c:v>
                </c:pt>
                <c:pt idx="11905">
                  <c:v>-0.119327731092436</c:v>
                </c:pt>
                <c:pt idx="11906">
                  <c:v>-0.119327731092436</c:v>
                </c:pt>
                <c:pt idx="11907">
                  <c:v>-0.119327731092436</c:v>
                </c:pt>
                <c:pt idx="11908">
                  <c:v>-0.119327731092436</c:v>
                </c:pt>
                <c:pt idx="11909">
                  <c:v>-0.119327731092436</c:v>
                </c:pt>
                <c:pt idx="11910">
                  <c:v>-0.119327731092436</c:v>
                </c:pt>
                <c:pt idx="11911">
                  <c:v>-0.119327731092436</c:v>
                </c:pt>
                <c:pt idx="11912">
                  <c:v>-0.119327731092436</c:v>
                </c:pt>
                <c:pt idx="11913">
                  <c:v>-0.119327731092436</c:v>
                </c:pt>
                <c:pt idx="11914">
                  <c:v>-0.119327731092436</c:v>
                </c:pt>
                <c:pt idx="11915">
                  <c:v>-0.11848739495798299</c:v>
                </c:pt>
                <c:pt idx="11916">
                  <c:v>-0.11848739495798299</c:v>
                </c:pt>
                <c:pt idx="11917">
                  <c:v>-0.11848739495798299</c:v>
                </c:pt>
                <c:pt idx="11918">
                  <c:v>-0.11848739495798299</c:v>
                </c:pt>
                <c:pt idx="11919">
                  <c:v>-0.11848739495798299</c:v>
                </c:pt>
                <c:pt idx="11920">
                  <c:v>-0.119327731092436</c:v>
                </c:pt>
                <c:pt idx="11921">
                  <c:v>-0.119327731092436</c:v>
                </c:pt>
                <c:pt idx="11922">
                  <c:v>-0.119327731092436</c:v>
                </c:pt>
                <c:pt idx="11923">
                  <c:v>-0.119327731092436</c:v>
                </c:pt>
                <c:pt idx="11924">
                  <c:v>-0.119327731092436</c:v>
                </c:pt>
                <c:pt idx="11925">
                  <c:v>-0.119327731092436</c:v>
                </c:pt>
                <c:pt idx="11926">
                  <c:v>-0.119327731092436</c:v>
                </c:pt>
                <c:pt idx="11927">
                  <c:v>-0.119327731092436</c:v>
                </c:pt>
                <c:pt idx="11928">
                  <c:v>-0.12016806722689</c:v>
                </c:pt>
                <c:pt idx="11929">
                  <c:v>-0.12016806722689</c:v>
                </c:pt>
                <c:pt idx="11930">
                  <c:v>-0.12016806722689</c:v>
                </c:pt>
                <c:pt idx="11931">
                  <c:v>-0.12016806722689</c:v>
                </c:pt>
                <c:pt idx="11932">
                  <c:v>-0.12016806722689</c:v>
                </c:pt>
                <c:pt idx="11933">
                  <c:v>-0.12016806722689</c:v>
                </c:pt>
                <c:pt idx="11934">
                  <c:v>-0.12016806722689</c:v>
                </c:pt>
                <c:pt idx="11935">
                  <c:v>-0.12016806722689</c:v>
                </c:pt>
                <c:pt idx="11936">
                  <c:v>-0.12016806722689</c:v>
                </c:pt>
                <c:pt idx="11937">
                  <c:v>-0.12016806722689</c:v>
                </c:pt>
                <c:pt idx="11938">
                  <c:v>-0.12016806722689</c:v>
                </c:pt>
                <c:pt idx="11939">
                  <c:v>-0.12016806722689</c:v>
                </c:pt>
                <c:pt idx="11940">
                  <c:v>-0.12016806722689</c:v>
                </c:pt>
                <c:pt idx="11941">
                  <c:v>-0.12016806722689</c:v>
                </c:pt>
                <c:pt idx="11942">
                  <c:v>-0.12016806722689</c:v>
                </c:pt>
                <c:pt idx="11943">
                  <c:v>-0.12016806722689</c:v>
                </c:pt>
                <c:pt idx="11944">
                  <c:v>-0.12016806722689</c:v>
                </c:pt>
                <c:pt idx="11945">
                  <c:v>-0.12016806722689</c:v>
                </c:pt>
                <c:pt idx="11946">
                  <c:v>-0.12016806722689</c:v>
                </c:pt>
                <c:pt idx="11947">
                  <c:v>-0.12016806722689</c:v>
                </c:pt>
                <c:pt idx="11948">
                  <c:v>-0.12016806722689</c:v>
                </c:pt>
                <c:pt idx="11949">
                  <c:v>-0.12016806722689</c:v>
                </c:pt>
                <c:pt idx="11950">
                  <c:v>-0.12016806722689</c:v>
                </c:pt>
                <c:pt idx="11951">
                  <c:v>-0.12016806722689</c:v>
                </c:pt>
                <c:pt idx="11952">
                  <c:v>-0.12016806722689</c:v>
                </c:pt>
                <c:pt idx="11953">
                  <c:v>-0.12016806722689</c:v>
                </c:pt>
                <c:pt idx="11954">
                  <c:v>-0.12016806722689</c:v>
                </c:pt>
                <c:pt idx="11955">
                  <c:v>-0.12016806722689</c:v>
                </c:pt>
                <c:pt idx="11956">
                  <c:v>-0.12016806722689</c:v>
                </c:pt>
                <c:pt idx="11957">
                  <c:v>-0.121008403361344</c:v>
                </c:pt>
                <c:pt idx="11958">
                  <c:v>-0.121008403361344</c:v>
                </c:pt>
                <c:pt idx="11959">
                  <c:v>-0.121008403361344</c:v>
                </c:pt>
                <c:pt idx="11960">
                  <c:v>-0.121008403361344</c:v>
                </c:pt>
                <c:pt idx="11961">
                  <c:v>-0.121008403361344</c:v>
                </c:pt>
                <c:pt idx="11962">
                  <c:v>-0.121008403361344</c:v>
                </c:pt>
                <c:pt idx="11963">
                  <c:v>-0.121008403361344</c:v>
                </c:pt>
                <c:pt idx="11964">
                  <c:v>-0.121008403361344</c:v>
                </c:pt>
                <c:pt idx="11965">
                  <c:v>-0.121008403361344</c:v>
                </c:pt>
                <c:pt idx="11966">
                  <c:v>-0.121008403361344</c:v>
                </c:pt>
                <c:pt idx="11967">
                  <c:v>-0.121008403361344</c:v>
                </c:pt>
                <c:pt idx="11968">
                  <c:v>-0.121008403361344</c:v>
                </c:pt>
                <c:pt idx="11969">
                  <c:v>-0.121008403361344</c:v>
                </c:pt>
                <c:pt idx="11970">
                  <c:v>-0.121848739495798</c:v>
                </c:pt>
                <c:pt idx="11971">
                  <c:v>-0.121848739495798</c:v>
                </c:pt>
                <c:pt idx="11972">
                  <c:v>-0.121848739495798</c:v>
                </c:pt>
                <c:pt idx="11973">
                  <c:v>-0.121848739495798</c:v>
                </c:pt>
                <c:pt idx="11974">
                  <c:v>-0.121848739495798</c:v>
                </c:pt>
                <c:pt idx="11975">
                  <c:v>-0.121848739495798</c:v>
                </c:pt>
                <c:pt idx="11976">
                  <c:v>-0.121848739495798</c:v>
                </c:pt>
                <c:pt idx="11977">
                  <c:v>-0.121848739495798</c:v>
                </c:pt>
                <c:pt idx="11978">
                  <c:v>-0.121848739495798</c:v>
                </c:pt>
                <c:pt idx="11979">
                  <c:v>-0.121848739495798</c:v>
                </c:pt>
                <c:pt idx="11980">
                  <c:v>-0.121848739495798</c:v>
                </c:pt>
                <c:pt idx="11981">
                  <c:v>-0.121848739495798</c:v>
                </c:pt>
                <c:pt idx="11982">
                  <c:v>-0.121848739495798</c:v>
                </c:pt>
                <c:pt idx="11983">
                  <c:v>-0.121848739495798</c:v>
                </c:pt>
                <c:pt idx="11984">
                  <c:v>-0.121848739495798</c:v>
                </c:pt>
                <c:pt idx="11985">
                  <c:v>-0.121848739495798</c:v>
                </c:pt>
                <c:pt idx="11986">
                  <c:v>-0.121848739495798</c:v>
                </c:pt>
                <c:pt idx="11987">
                  <c:v>-0.121848739495798</c:v>
                </c:pt>
                <c:pt idx="11988">
                  <c:v>-0.121848739495798</c:v>
                </c:pt>
                <c:pt idx="11989">
                  <c:v>-0.121848739495798</c:v>
                </c:pt>
                <c:pt idx="11990">
                  <c:v>-0.121848739495798</c:v>
                </c:pt>
                <c:pt idx="11991">
                  <c:v>-0.121848739495798</c:v>
                </c:pt>
                <c:pt idx="11992">
                  <c:v>-0.121848739495798</c:v>
                </c:pt>
                <c:pt idx="11993">
                  <c:v>-0.122689075630252</c:v>
                </c:pt>
                <c:pt idx="11994">
                  <c:v>-0.122689075630252</c:v>
                </c:pt>
                <c:pt idx="11995">
                  <c:v>-0.122689075630252</c:v>
                </c:pt>
                <c:pt idx="11996">
                  <c:v>-0.122689075630252</c:v>
                </c:pt>
                <c:pt idx="11997">
                  <c:v>-0.122689075630252</c:v>
                </c:pt>
                <c:pt idx="11998">
                  <c:v>-0.122689075630252</c:v>
                </c:pt>
                <c:pt idx="11999">
                  <c:v>-0.122689075630252</c:v>
                </c:pt>
                <c:pt idx="12000">
                  <c:v>-0.122689075630252</c:v>
                </c:pt>
                <c:pt idx="12001">
                  <c:v>-0.122689075630252</c:v>
                </c:pt>
                <c:pt idx="12002">
                  <c:v>-0.122689075630252</c:v>
                </c:pt>
                <c:pt idx="12003">
                  <c:v>-0.122689075630252</c:v>
                </c:pt>
                <c:pt idx="12004">
                  <c:v>-0.122689075630252</c:v>
                </c:pt>
                <c:pt idx="12005">
                  <c:v>-0.122689075630252</c:v>
                </c:pt>
                <c:pt idx="12006">
                  <c:v>-0.122689075630252</c:v>
                </c:pt>
                <c:pt idx="12007">
                  <c:v>-0.122689075630252</c:v>
                </c:pt>
                <c:pt idx="12008">
                  <c:v>-0.122689075630252</c:v>
                </c:pt>
                <c:pt idx="12009">
                  <c:v>-0.122689075630252</c:v>
                </c:pt>
                <c:pt idx="12010">
                  <c:v>-0.122689075630252</c:v>
                </c:pt>
                <c:pt idx="12011">
                  <c:v>-0.122689075630252</c:v>
                </c:pt>
                <c:pt idx="12012">
                  <c:v>-0.122689075630252</c:v>
                </c:pt>
                <c:pt idx="12013">
                  <c:v>-0.122689075630252</c:v>
                </c:pt>
                <c:pt idx="12014">
                  <c:v>-0.122689075630252</c:v>
                </c:pt>
                <c:pt idx="12015">
                  <c:v>-0.122689075630252</c:v>
                </c:pt>
                <c:pt idx="12016">
                  <c:v>-0.122689075630252</c:v>
                </c:pt>
                <c:pt idx="12017">
                  <c:v>-0.122689075630252</c:v>
                </c:pt>
                <c:pt idx="12018">
                  <c:v>-0.122689075630252</c:v>
                </c:pt>
                <c:pt idx="12019">
                  <c:v>-0.122689075630252</c:v>
                </c:pt>
                <c:pt idx="12020">
                  <c:v>-0.122689075630252</c:v>
                </c:pt>
                <c:pt idx="12021">
                  <c:v>-0.122689075630252</c:v>
                </c:pt>
                <c:pt idx="12022">
                  <c:v>-0.122689075630252</c:v>
                </c:pt>
                <c:pt idx="12023">
                  <c:v>-0.122689075630252</c:v>
                </c:pt>
                <c:pt idx="12024">
                  <c:v>-0.122689075630252</c:v>
                </c:pt>
                <c:pt idx="12025">
                  <c:v>-0.122689075630252</c:v>
                </c:pt>
                <c:pt idx="12026">
                  <c:v>-0.122689075630252</c:v>
                </c:pt>
                <c:pt idx="12027">
                  <c:v>-0.122689075630252</c:v>
                </c:pt>
                <c:pt idx="12028">
                  <c:v>-0.122689075630252</c:v>
                </c:pt>
                <c:pt idx="12029">
                  <c:v>-0.122689075630252</c:v>
                </c:pt>
                <c:pt idx="12030">
                  <c:v>-0.122689075630252</c:v>
                </c:pt>
                <c:pt idx="12031">
                  <c:v>-0.122689075630252</c:v>
                </c:pt>
                <c:pt idx="12032">
                  <c:v>-0.122689075630252</c:v>
                </c:pt>
                <c:pt idx="12033">
                  <c:v>-0.122689075630252</c:v>
                </c:pt>
                <c:pt idx="12034">
                  <c:v>-0.122689075630252</c:v>
                </c:pt>
                <c:pt idx="12035">
                  <c:v>-0.122689075630252</c:v>
                </c:pt>
                <c:pt idx="12036">
                  <c:v>-0.122689075630252</c:v>
                </c:pt>
                <c:pt idx="12037">
                  <c:v>-0.122689075630252</c:v>
                </c:pt>
                <c:pt idx="12038">
                  <c:v>-0.122689075630252</c:v>
                </c:pt>
                <c:pt idx="12039">
                  <c:v>-0.122689075630252</c:v>
                </c:pt>
                <c:pt idx="12040">
                  <c:v>-0.122689075630252</c:v>
                </c:pt>
                <c:pt idx="12041">
                  <c:v>-0.122689075630252</c:v>
                </c:pt>
                <c:pt idx="12042">
                  <c:v>-0.122689075630252</c:v>
                </c:pt>
                <c:pt idx="12043">
                  <c:v>-0.122689075630252</c:v>
                </c:pt>
                <c:pt idx="12044">
                  <c:v>-0.122689075630252</c:v>
                </c:pt>
                <c:pt idx="12045">
                  <c:v>-0.122689075630252</c:v>
                </c:pt>
                <c:pt idx="12046">
                  <c:v>-0.122689075630252</c:v>
                </c:pt>
                <c:pt idx="12047">
                  <c:v>-0.122689075630252</c:v>
                </c:pt>
                <c:pt idx="12048">
                  <c:v>-0.122689075630252</c:v>
                </c:pt>
                <c:pt idx="12049">
                  <c:v>-0.122689075630252</c:v>
                </c:pt>
                <c:pt idx="12050">
                  <c:v>-0.122689075630252</c:v>
                </c:pt>
                <c:pt idx="12051">
                  <c:v>-0.122689075630252</c:v>
                </c:pt>
                <c:pt idx="12052">
                  <c:v>-0.122689075630252</c:v>
                </c:pt>
                <c:pt idx="12053">
                  <c:v>-0.122689075630252</c:v>
                </c:pt>
                <c:pt idx="12054">
                  <c:v>-0.122689075630252</c:v>
                </c:pt>
                <c:pt idx="12055">
                  <c:v>-0.122689075630252</c:v>
                </c:pt>
                <c:pt idx="12056">
                  <c:v>-0.122689075630252</c:v>
                </c:pt>
                <c:pt idx="12057">
                  <c:v>-0.122689075630252</c:v>
                </c:pt>
                <c:pt idx="12058">
                  <c:v>-0.122689075630252</c:v>
                </c:pt>
                <c:pt idx="12059">
                  <c:v>-0.122689075630252</c:v>
                </c:pt>
                <c:pt idx="12060">
                  <c:v>-0.122689075630252</c:v>
                </c:pt>
                <c:pt idx="12061">
                  <c:v>-0.122689075630252</c:v>
                </c:pt>
                <c:pt idx="12062">
                  <c:v>-0.122689075630252</c:v>
                </c:pt>
                <c:pt idx="12063">
                  <c:v>-0.122689075630252</c:v>
                </c:pt>
                <c:pt idx="12064">
                  <c:v>-0.122689075630252</c:v>
                </c:pt>
                <c:pt idx="12065">
                  <c:v>-0.122689075630252</c:v>
                </c:pt>
                <c:pt idx="12066">
                  <c:v>-0.122689075630252</c:v>
                </c:pt>
                <c:pt idx="12067">
                  <c:v>-0.122689075630252</c:v>
                </c:pt>
                <c:pt idx="12068">
                  <c:v>-0.122689075630252</c:v>
                </c:pt>
                <c:pt idx="12069">
                  <c:v>-0.122689075630252</c:v>
                </c:pt>
                <c:pt idx="12070">
                  <c:v>-0.122689075630252</c:v>
                </c:pt>
                <c:pt idx="12071">
                  <c:v>-0.122689075630252</c:v>
                </c:pt>
                <c:pt idx="12072">
                  <c:v>-0.122689075630252</c:v>
                </c:pt>
                <c:pt idx="12073">
                  <c:v>-0.122689075630252</c:v>
                </c:pt>
                <c:pt idx="12074">
                  <c:v>-0.122689075630252</c:v>
                </c:pt>
                <c:pt idx="12075">
                  <c:v>-0.123529411764705</c:v>
                </c:pt>
                <c:pt idx="12076">
                  <c:v>-0.124369747899159</c:v>
                </c:pt>
                <c:pt idx="12077">
                  <c:v>-0.124369747899159</c:v>
                </c:pt>
                <c:pt idx="12078">
                  <c:v>-0.124369747899159</c:v>
                </c:pt>
                <c:pt idx="12079">
                  <c:v>-0.124369747899159</c:v>
                </c:pt>
                <c:pt idx="12080">
                  <c:v>-0.124369747899159</c:v>
                </c:pt>
                <c:pt idx="12081">
                  <c:v>-0.124369747899159</c:v>
                </c:pt>
                <c:pt idx="12082">
                  <c:v>-0.124369747899159</c:v>
                </c:pt>
                <c:pt idx="12083">
                  <c:v>-0.124369747899159</c:v>
                </c:pt>
                <c:pt idx="12084">
                  <c:v>-0.124369747899159</c:v>
                </c:pt>
                <c:pt idx="12085">
                  <c:v>-0.124369747899159</c:v>
                </c:pt>
                <c:pt idx="12086">
                  <c:v>-0.123529411764705</c:v>
                </c:pt>
                <c:pt idx="12087">
                  <c:v>-0.123529411764705</c:v>
                </c:pt>
                <c:pt idx="12088">
                  <c:v>-0.123529411764705</c:v>
                </c:pt>
                <c:pt idx="12089">
                  <c:v>-0.123529411764705</c:v>
                </c:pt>
                <c:pt idx="12090">
                  <c:v>-0.123529411764705</c:v>
                </c:pt>
                <c:pt idx="12091">
                  <c:v>-0.123529411764705</c:v>
                </c:pt>
                <c:pt idx="12092">
                  <c:v>-0.123529411764705</c:v>
                </c:pt>
                <c:pt idx="12093">
                  <c:v>-0.123529411764705</c:v>
                </c:pt>
                <c:pt idx="12094">
                  <c:v>-0.123529411764705</c:v>
                </c:pt>
                <c:pt idx="12095">
                  <c:v>-0.123529411764705</c:v>
                </c:pt>
                <c:pt idx="12096">
                  <c:v>-0.123529411764705</c:v>
                </c:pt>
                <c:pt idx="12097">
                  <c:v>-0.123529411764705</c:v>
                </c:pt>
                <c:pt idx="12098">
                  <c:v>-0.123529411764705</c:v>
                </c:pt>
                <c:pt idx="12099">
                  <c:v>-0.123529411764705</c:v>
                </c:pt>
                <c:pt idx="12100">
                  <c:v>-0.123529411764705</c:v>
                </c:pt>
                <c:pt idx="12101">
                  <c:v>-0.123529411764705</c:v>
                </c:pt>
                <c:pt idx="12102">
                  <c:v>-0.123529411764705</c:v>
                </c:pt>
                <c:pt idx="12103">
                  <c:v>-0.123529411764705</c:v>
                </c:pt>
                <c:pt idx="12104">
                  <c:v>-0.122689075630252</c:v>
                </c:pt>
                <c:pt idx="12105">
                  <c:v>-0.122689075630252</c:v>
                </c:pt>
                <c:pt idx="12106">
                  <c:v>-0.122689075630252</c:v>
                </c:pt>
                <c:pt idx="12107">
                  <c:v>-0.122689075630252</c:v>
                </c:pt>
                <c:pt idx="12108">
                  <c:v>-0.122689075630252</c:v>
                </c:pt>
                <c:pt idx="12109">
                  <c:v>-0.122689075630252</c:v>
                </c:pt>
                <c:pt idx="12110">
                  <c:v>-0.122689075630252</c:v>
                </c:pt>
                <c:pt idx="12111">
                  <c:v>-0.122689075630252</c:v>
                </c:pt>
                <c:pt idx="12112">
                  <c:v>-0.122689075630252</c:v>
                </c:pt>
                <c:pt idx="12113">
                  <c:v>-0.122689075630252</c:v>
                </c:pt>
                <c:pt idx="12114">
                  <c:v>-0.122689075630252</c:v>
                </c:pt>
                <c:pt idx="12115">
                  <c:v>-0.122689075630252</c:v>
                </c:pt>
                <c:pt idx="12116">
                  <c:v>-0.122689075630252</c:v>
                </c:pt>
                <c:pt idx="12117">
                  <c:v>-0.122689075630252</c:v>
                </c:pt>
                <c:pt idx="12118">
                  <c:v>-0.122689075630252</c:v>
                </c:pt>
                <c:pt idx="12119">
                  <c:v>-0.122689075630252</c:v>
                </c:pt>
                <c:pt idx="12120">
                  <c:v>-0.122689075630252</c:v>
                </c:pt>
                <c:pt idx="12121">
                  <c:v>-0.122689075630252</c:v>
                </c:pt>
                <c:pt idx="12122">
                  <c:v>-0.122689075630252</c:v>
                </c:pt>
                <c:pt idx="12123">
                  <c:v>-0.121848739495798</c:v>
                </c:pt>
                <c:pt idx="12124">
                  <c:v>-0.121848739495798</c:v>
                </c:pt>
                <c:pt idx="12125">
                  <c:v>-0.121848739495798</c:v>
                </c:pt>
                <c:pt idx="12126">
                  <c:v>-0.121848739495798</c:v>
                </c:pt>
                <c:pt idx="12127">
                  <c:v>-0.121848739495798</c:v>
                </c:pt>
                <c:pt idx="12128">
                  <c:v>-0.121848739495798</c:v>
                </c:pt>
                <c:pt idx="12129">
                  <c:v>-0.121848739495798</c:v>
                </c:pt>
                <c:pt idx="12130">
                  <c:v>-0.121848739495798</c:v>
                </c:pt>
                <c:pt idx="12131">
                  <c:v>-0.121848739495798</c:v>
                </c:pt>
                <c:pt idx="12132">
                  <c:v>-0.121848739495798</c:v>
                </c:pt>
                <c:pt idx="12133">
                  <c:v>-0.122689075630252</c:v>
                </c:pt>
                <c:pt idx="12134">
                  <c:v>-0.122689075630252</c:v>
                </c:pt>
                <c:pt idx="12135">
                  <c:v>-0.122689075630252</c:v>
                </c:pt>
                <c:pt idx="12136">
                  <c:v>-0.122689075630252</c:v>
                </c:pt>
                <c:pt idx="12137">
                  <c:v>-0.122689075630252</c:v>
                </c:pt>
                <c:pt idx="12138">
                  <c:v>-0.122689075630252</c:v>
                </c:pt>
                <c:pt idx="12139">
                  <c:v>-0.122689075630252</c:v>
                </c:pt>
                <c:pt idx="12140">
                  <c:v>-0.122689075630252</c:v>
                </c:pt>
                <c:pt idx="12141">
                  <c:v>-0.122689075630252</c:v>
                </c:pt>
                <c:pt idx="12142">
                  <c:v>-0.122689075630252</c:v>
                </c:pt>
                <c:pt idx="12143">
                  <c:v>-0.122689075630252</c:v>
                </c:pt>
                <c:pt idx="12144">
                  <c:v>-0.122689075630252</c:v>
                </c:pt>
                <c:pt idx="12145">
                  <c:v>-0.122689075630252</c:v>
                </c:pt>
                <c:pt idx="12146">
                  <c:v>-0.122689075630252</c:v>
                </c:pt>
                <c:pt idx="12147">
                  <c:v>-0.122689075630252</c:v>
                </c:pt>
                <c:pt idx="12148">
                  <c:v>-0.122689075630252</c:v>
                </c:pt>
                <c:pt idx="12149">
                  <c:v>-0.122689075630252</c:v>
                </c:pt>
                <c:pt idx="12150">
                  <c:v>-0.122689075630252</c:v>
                </c:pt>
                <c:pt idx="12151">
                  <c:v>-0.122689075630252</c:v>
                </c:pt>
                <c:pt idx="12152">
                  <c:v>-0.123529411764705</c:v>
                </c:pt>
                <c:pt idx="12153">
                  <c:v>-0.123529411764705</c:v>
                </c:pt>
                <c:pt idx="12154">
                  <c:v>-0.123529411764705</c:v>
                </c:pt>
                <c:pt idx="12155">
                  <c:v>-0.124369747899159</c:v>
                </c:pt>
                <c:pt idx="12156">
                  <c:v>-0.124369747899159</c:v>
                </c:pt>
                <c:pt idx="12157">
                  <c:v>-0.124369747899159</c:v>
                </c:pt>
                <c:pt idx="12158">
                  <c:v>-0.124369747899159</c:v>
                </c:pt>
                <c:pt idx="12159">
                  <c:v>-0.124369747899159</c:v>
                </c:pt>
                <c:pt idx="12160">
                  <c:v>-0.124369747899159</c:v>
                </c:pt>
                <c:pt idx="12161">
                  <c:v>-0.124369747899159</c:v>
                </c:pt>
                <c:pt idx="12162">
                  <c:v>-0.124369747899159</c:v>
                </c:pt>
                <c:pt idx="12163">
                  <c:v>-0.124369747899159</c:v>
                </c:pt>
                <c:pt idx="12164">
                  <c:v>-0.124369747899159</c:v>
                </c:pt>
                <c:pt idx="12165">
                  <c:v>-0.124369747899159</c:v>
                </c:pt>
                <c:pt idx="12166">
                  <c:v>-0.124369747899159</c:v>
                </c:pt>
                <c:pt idx="12167">
                  <c:v>-0.124369747899159</c:v>
                </c:pt>
                <c:pt idx="12168">
                  <c:v>-0.124369747899159</c:v>
                </c:pt>
                <c:pt idx="12169">
                  <c:v>-0.124369747899159</c:v>
                </c:pt>
                <c:pt idx="12170">
                  <c:v>-0.124369747899159</c:v>
                </c:pt>
                <c:pt idx="12171">
                  <c:v>-0.124369747899159</c:v>
                </c:pt>
                <c:pt idx="12172">
                  <c:v>-0.124369747899159</c:v>
                </c:pt>
                <c:pt idx="12173">
                  <c:v>-0.124369747899159</c:v>
                </c:pt>
                <c:pt idx="12174">
                  <c:v>-0.124369747899159</c:v>
                </c:pt>
                <c:pt idx="12175">
                  <c:v>-0.124369747899159</c:v>
                </c:pt>
                <c:pt idx="12176">
                  <c:v>-0.124369747899159</c:v>
                </c:pt>
                <c:pt idx="12177">
                  <c:v>-0.124369747899159</c:v>
                </c:pt>
                <c:pt idx="12178">
                  <c:v>-0.124369747899159</c:v>
                </c:pt>
                <c:pt idx="12179">
                  <c:v>-0.124369747899159</c:v>
                </c:pt>
                <c:pt idx="12180">
                  <c:v>-0.124369747899159</c:v>
                </c:pt>
                <c:pt idx="12181">
                  <c:v>-0.124369747899159</c:v>
                </c:pt>
                <c:pt idx="12182">
                  <c:v>-0.124369747899159</c:v>
                </c:pt>
                <c:pt idx="12183">
                  <c:v>-0.124369747899159</c:v>
                </c:pt>
                <c:pt idx="12184">
                  <c:v>-0.124369747899159</c:v>
                </c:pt>
                <c:pt idx="12185">
                  <c:v>-0.124369747899159</c:v>
                </c:pt>
                <c:pt idx="12186">
                  <c:v>-0.124369747899159</c:v>
                </c:pt>
                <c:pt idx="12187">
                  <c:v>-0.124369747899159</c:v>
                </c:pt>
                <c:pt idx="12188">
                  <c:v>-0.124369747899159</c:v>
                </c:pt>
                <c:pt idx="12189">
                  <c:v>-0.124369747899159</c:v>
                </c:pt>
                <c:pt idx="12190">
                  <c:v>-0.124369747899159</c:v>
                </c:pt>
                <c:pt idx="12191">
                  <c:v>-0.124369747899159</c:v>
                </c:pt>
                <c:pt idx="12192">
                  <c:v>-0.124369747899159</c:v>
                </c:pt>
                <c:pt idx="12193">
                  <c:v>-0.124369747899159</c:v>
                </c:pt>
                <c:pt idx="12194">
                  <c:v>-0.123529411764705</c:v>
                </c:pt>
                <c:pt idx="12195">
                  <c:v>-0.123529411764705</c:v>
                </c:pt>
                <c:pt idx="12196">
                  <c:v>-0.122689075630252</c:v>
                </c:pt>
                <c:pt idx="12197">
                  <c:v>-0.122689075630252</c:v>
                </c:pt>
                <c:pt idx="12198">
                  <c:v>-0.122689075630252</c:v>
                </c:pt>
                <c:pt idx="12199">
                  <c:v>-0.122689075630252</c:v>
                </c:pt>
                <c:pt idx="12200">
                  <c:v>-0.122689075630252</c:v>
                </c:pt>
                <c:pt idx="12201">
                  <c:v>-0.122689075630252</c:v>
                </c:pt>
                <c:pt idx="12202">
                  <c:v>-0.122689075630252</c:v>
                </c:pt>
                <c:pt idx="12203">
                  <c:v>-0.122689075630252</c:v>
                </c:pt>
                <c:pt idx="12204">
                  <c:v>-0.122689075630252</c:v>
                </c:pt>
                <c:pt idx="12205">
                  <c:v>-0.122689075630252</c:v>
                </c:pt>
                <c:pt idx="12206">
                  <c:v>-0.122689075630252</c:v>
                </c:pt>
                <c:pt idx="12207">
                  <c:v>-0.122689075630252</c:v>
                </c:pt>
                <c:pt idx="12208">
                  <c:v>-0.122689075630252</c:v>
                </c:pt>
                <c:pt idx="12209">
                  <c:v>-0.122689075630252</c:v>
                </c:pt>
                <c:pt idx="12210">
                  <c:v>-0.122689075630252</c:v>
                </c:pt>
                <c:pt idx="12211">
                  <c:v>-0.122689075630252</c:v>
                </c:pt>
                <c:pt idx="12212">
                  <c:v>-0.122689075630252</c:v>
                </c:pt>
                <c:pt idx="12213">
                  <c:v>-0.122689075630252</c:v>
                </c:pt>
                <c:pt idx="12214">
                  <c:v>-0.121848739495798</c:v>
                </c:pt>
                <c:pt idx="12215">
                  <c:v>-0.121848739495798</c:v>
                </c:pt>
                <c:pt idx="12216">
                  <c:v>-0.121848739495798</c:v>
                </c:pt>
                <c:pt idx="12217">
                  <c:v>-0.121848739495798</c:v>
                </c:pt>
                <c:pt idx="12218">
                  <c:v>-0.121848739495798</c:v>
                </c:pt>
                <c:pt idx="12219">
                  <c:v>-0.121848739495798</c:v>
                </c:pt>
                <c:pt idx="12220">
                  <c:v>-0.121848739495798</c:v>
                </c:pt>
                <c:pt idx="12221">
                  <c:v>-0.121848739495798</c:v>
                </c:pt>
                <c:pt idx="12222">
                  <c:v>-0.121848739495798</c:v>
                </c:pt>
                <c:pt idx="12223">
                  <c:v>-0.121848739495798</c:v>
                </c:pt>
                <c:pt idx="12224">
                  <c:v>-0.121848739495798</c:v>
                </c:pt>
                <c:pt idx="12225">
                  <c:v>-0.122689075630252</c:v>
                </c:pt>
                <c:pt idx="12226">
                  <c:v>-0.122689075630252</c:v>
                </c:pt>
                <c:pt idx="12227">
                  <c:v>-0.122689075630252</c:v>
                </c:pt>
                <c:pt idx="12228">
                  <c:v>-0.122689075630252</c:v>
                </c:pt>
                <c:pt idx="12229">
                  <c:v>-0.122689075630252</c:v>
                </c:pt>
                <c:pt idx="12230">
                  <c:v>-0.122689075630252</c:v>
                </c:pt>
                <c:pt idx="12231">
                  <c:v>-0.122689075630252</c:v>
                </c:pt>
                <c:pt idx="12232">
                  <c:v>-0.122689075630252</c:v>
                </c:pt>
                <c:pt idx="12233">
                  <c:v>-0.122689075630252</c:v>
                </c:pt>
                <c:pt idx="12234">
                  <c:v>-0.122689075630252</c:v>
                </c:pt>
                <c:pt idx="12235">
                  <c:v>-0.122689075630252</c:v>
                </c:pt>
                <c:pt idx="12236">
                  <c:v>-0.122689075630252</c:v>
                </c:pt>
                <c:pt idx="12237">
                  <c:v>-0.121848739495798</c:v>
                </c:pt>
                <c:pt idx="12238">
                  <c:v>-0.121848739495798</c:v>
                </c:pt>
                <c:pt idx="12239">
                  <c:v>-0.121848739495798</c:v>
                </c:pt>
                <c:pt idx="12240">
                  <c:v>-0.121848739495798</c:v>
                </c:pt>
                <c:pt idx="12241">
                  <c:v>-0.121848739495798</c:v>
                </c:pt>
                <c:pt idx="12242">
                  <c:v>-0.121848739495798</c:v>
                </c:pt>
                <c:pt idx="12243">
                  <c:v>-0.121848739495798</c:v>
                </c:pt>
                <c:pt idx="12244">
                  <c:v>-0.121848739495798</c:v>
                </c:pt>
                <c:pt idx="12245">
                  <c:v>-0.121848739495798</c:v>
                </c:pt>
                <c:pt idx="12246">
                  <c:v>-0.121848739495798</c:v>
                </c:pt>
                <c:pt idx="12247">
                  <c:v>-0.121848739495798</c:v>
                </c:pt>
                <c:pt idx="12248">
                  <c:v>-0.121848739495798</c:v>
                </c:pt>
                <c:pt idx="12249">
                  <c:v>-0.121848739495798</c:v>
                </c:pt>
                <c:pt idx="12250">
                  <c:v>-0.121848739495798</c:v>
                </c:pt>
                <c:pt idx="12251">
                  <c:v>-0.121848739495798</c:v>
                </c:pt>
                <c:pt idx="12252">
                  <c:v>-0.121848739495798</c:v>
                </c:pt>
                <c:pt idx="12253">
                  <c:v>-0.121848739495798</c:v>
                </c:pt>
                <c:pt idx="12254">
                  <c:v>-0.121848739495798</c:v>
                </c:pt>
                <c:pt idx="12255">
                  <c:v>-0.121848739495798</c:v>
                </c:pt>
                <c:pt idx="12256">
                  <c:v>-0.121848739495798</c:v>
                </c:pt>
                <c:pt idx="12257">
                  <c:v>-0.121848739495798</c:v>
                </c:pt>
                <c:pt idx="12258">
                  <c:v>-0.121848739495798</c:v>
                </c:pt>
                <c:pt idx="12259">
                  <c:v>-0.121848739495798</c:v>
                </c:pt>
                <c:pt idx="12260">
                  <c:v>-0.121848739495798</c:v>
                </c:pt>
                <c:pt idx="12261">
                  <c:v>-0.121848739495798</c:v>
                </c:pt>
                <c:pt idx="12262">
                  <c:v>-0.121848739495798</c:v>
                </c:pt>
                <c:pt idx="12263">
                  <c:v>-0.121848739495798</c:v>
                </c:pt>
                <c:pt idx="12264">
                  <c:v>-0.121848739495798</c:v>
                </c:pt>
                <c:pt idx="12265">
                  <c:v>-0.121848739495798</c:v>
                </c:pt>
                <c:pt idx="12266">
                  <c:v>-0.121848739495798</c:v>
                </c:pt>
                <c:pt idx="12267">
                  <c:v>-0.121848739495798</c:v>
                </c:pt>
                <c:pt idx="12268">
                  <c:v>-0.121848739495798</c:v>
                </c:pt>
                <c:pt idx="12269">
                  <c:v>-0.121848739495798</c:v>
                </c:pt>
                <c:pt idx="12270">
                  <c:v>-0.121848739495798</c:v>
                </c:pt>
                <c:pt idx="12271">
                  <c:v>-0.121848739495798</c:v>
                </c:pt>
                <c:pt idx="12272">
                  <c:v>-0.121848739495798</c:v>
                </c:pt>
                <c:pt idx="12273">
                  <c:v>-0.121848739495798</c:v>
                </c:pt>
                <c:pt idx="12274">
                  <c:v>-0.121848739495798</c:v>
                </c:pt>
                <c:pt idx="12275">
                  <c:v>-0.121848739495798</c:v>
                </c:pt>
                <c:pt idx="12276">
                  <c:v>-0.121848739495798</c:v>
                </c:pt>
                <c:pt idx="12277">
                  <c:v>-0.121848739495798</c:v>
                </c:pt>
                <c:pt idx="12278">
                  <c:v>-0.121848739495798</c:v>
                </c:pt>
                <c:pt idx="12279">
                  <c:v>-0.121848739495798</c:v>
                </c:pt>
                <c:pt idx="12280">
                  <c:v>-0.121848739495798</c:v>
                </c:pt>
                <c:pt idx="12281">
                  <c:v>-0.121848739495798</c:v>
                </c:pt>
                <c:pt idx="12282">
                  <c:v>-0.121848739495798</c:v>
                </c:pt>
                <c:pt idx="12283">
                  <c:v>-0.121848739495798</c:v>
                </c:pt>
                <c:pt idx="12284">
                  <c:v>-0.121848739495798</c:v>
                </c:pt>
                <c:pt idx="12285">
                  <c:v>-0.121848739495798</c:v>
                </c:pt>
                <c:pt idx="12286">
                  <c:v>-0.121848739495798</c:v>
                </c:pt>
                <c:pt idx="12287">
                  <c:v>-0.121848739495798</c:v>
                </c:pt>
                <c:pt idx="12288">
                  <c:v>-0.121848739495798</c:v>
                </c:pt>
                <c:pt idx="12289">
                  <c:v>-0.121848739495798</c:v>
                </c:pt>
                <c:pt idx="12290">
                  <c:v>-0.121848739495798</c:v>
                </c:pt>
                <c:pt idx="12291">
                  <c:v>-0.121848739495798</c:v>
                </c:pt>
                <c:pt idx="12292">
                  <c:v>-0.121848739495798</c:v>
                </c:pt>
                <c:pt idx="12293">
                  <c:v>-0.121848739495798</c:v>
                </c:pt>
                <c:pt idx="12294">
                  <c:v>-0.121848739495798</c:v>
                </c:pt>
                <c:pt idx="12295">
                  <c:v>-0.121848739495798</c:v>
                </c:pt>
                <c:pt idx="12296">
                  <c:v>-0.121848739495798</c:v>
                </c:pt>
                <c:pt idx="12297">
                  <c:v>-0.121848739495798</c:v>
                </c:pt>
                <c:pt idx="12298">
                  <c:v>-0.121848739495798</c:v>
                </c:pt>
                <c:pt idx="12299">
                  <c:v>-0.122689075630252</c:v>
                </c:pt>
                <c:pt idx="12300">
                  <c:v>-0.122689075630252</c:v>
                </c:pt>
                <c:pt idx="12301">
                  <c:v>-0.122689075630252</c:v>
                </c:pt>
                <c:pt idx="12302">
                  <c:v>-0.122689075630252</c:v>
                </c:pt>
                <c:pt idx="12303">
                  <c:v>-0.122689075630252</c:v>
                </c:pt>
                <c:pt idx="12304">
                  <c:v>-0.122689075630252</c:v>
                </c:pt>
                <c:pt idx="12305">
                  <c:v>-0.122689075630252</c:v>
                </c:pt>
                <c:pt idx="12306">
                  <c:v>-0.122689075630252</c:v>
                </c:pt>
                <c:pt idx="12307">
                  <c:v>-0.122689075630252</c:v>
                </c:pt>
                <c:pt idx="12308">
                  <c:v>-0.122689075630252</c:v>
                </c:pt>
                <c:pt idx="12309">
                  <c:v>-0.122689075630252</c:v>
                </c:pt>
                <c:pt idx="12310">
                  <c:v>-0.122689075630252</c:v>
                </c:pt>
                <c:pt idx="12311">
                  <c:v>-0.122689075630252</c:v>
                </c:pt>
                <c:pt idx="12312">
                  <c:v>-0.122689075630252</c:v>
                </c:pt>
                <c:pt idx="12313">
                  <c:v>-0.122689075630252</c:v>
                </c:pt>
                <c:pt idx="12314">
                  <c:v>-0.122689075630252</c:v>
                </c:pt>
                <c:pt idx="12315">
                  <c:v>-0.122689075630252</c:v>
                </c:pt>
                <c:pt idx="12316">
                  <c:v>-0.122689075630252</c:v>
                </c:pt>
                <c:pt idx="12317">
                  <c:v>-0.122689075630252</c:v>
                </c:pt>
                <c:pt idx="12318">
                  <c:v>-0.122689075630252</c:v>
                </c:pt>
                <c:pt idx="12319">
                  <c:v>-0.122689075630252</c:v>
                </c:pt>
                <c:pt idx="12320">
                  <c:v>-0.122689075630252</c:v>
                </c:pt>
                <c:pt idx="12321">
                  <c:v>-0.122689075630252</c:v>
                </c:pt>
                <c:pt idx="12322">
                  <c:v>-0.122689075630252</c:v>
                </c:pt>
                <c:pt idx="12323">
                  <c:v>-0.122689075630252</c:v>
                </c:pt>
                <c:pt idx="12324">
                  <c:v>-0.122689075630252</c:v>
                </c:pt>
                <c:pt idx="12325">
                  <c:v>-0.122689075630252</c:v>
                </c:pt>
                <c:pt idx="12326">
                  <c:v>-0.122689075630252</c:v>
                </c:pt>
                <c:pt idx="12327">
                  <c:v>-0.122689075630252</c:v>
                </c:pt>
                <c:pt idx="12328">
                  <c:v>-0.122689075630252</c:v>
                </c:pt>
                <c:pt idx="12329">
                  <c:v>-0.122689075630252</c:v>
                </c:pt>
                <c:pt idx="12330">
                  <c:v>-0.122689075630252</c:v>
                </c:pt>
                <c:pt idx="12331">
                  <c:v>-0.122689075630252</c:v>
                </c:pt>
                <c:pt idx="12332">
                  <c:v>-0.122689075630252</c:v>
                </c:pt>
                <c:pt idx="12333">
                  <c:v>-0.122689075630252</c:v>
                </c:pt>
                <c:pt idx="12334">
                  <c:v>-0.122689075630252</c:v>
                </c:pt>
                <c:pt idx="12335">
                  <c:v>-0.123529411764705</c:v>
                </c:pt>
                <c:pt idx="12336">
                  <c:v>-0.123529411764705</c:v>
                </c:pt>
                <c:pt idx="12337">
                  <c:v>-0.123529411764705</c:v>
                </c:pt>
                <c:pt idx="12338">
                  <c:v>-0.123529411764705</c:v>
                </c:pt>
                <c:pt idx="12339">
                  <c:v>-0.123529411764705</c:v>
                </c:pt>
                <c:pt idx="12340">
                  <c:v>-0.123529411764705</c:v>
                </c:pt>
                <c:pt idx="12341">
                  <c:v>-0.123529411764705</c:v>
                </c:pt>
                <c:pt idx="12342">
                  <c:v>-0.123529411764705</c:v>
                </c:pt>
                <c:pt idx="12343">
                  <c:v>-0.123529411764705</c:v>
                </c:pt>
                <c:pt idx="12344">
                  <c:v>-0.123529411764705</c:v>
                </c:pt>
                <c:pt idx="12345">
                  <c:v>-0.123529411764705</c:v>
                </c:pt>
                <c:pt idx="12346">
                  <c:v>-0.123529411764705</c:v>
                </c:pt>
                <c:pt idx="12347">
                  <c:v>-0.123529411764705</c:v>
                </c:pt>
                <c:pt idx="12348">
                  <c:v>-0.123529411764705</c:v>
                </c:pt>
                <c:pt idx="12349">
                  <c:v>-0.123529411764705</c:v>
                </c:pt>
                <c:pt idx="12350">
                  <c:v>-0.123529411764705</c:v>
                </c:pt>
                <c:pt idx="12351">
                  <c:v>-0.123529411764705</c:v>
                </c:pt>
                <c:pt idx="12352">
                  <c:v>-0.123529411764705</c:v>
                </c:pt>
                <c:pt idx="12353">
                  <c:v>-0.123529411764705</c:v>
                </c:pt>
                <c:pt idx="12354">
                  <c:v>-0.123529411764705</c:v>
                </c:pt>
                <c:pt idx="12355">
                  <c:v>-0.123529411764705</c:v>
                </c:pt>
                <c:pt idx="12356">
                  <c:v>-0.123529411764705</c:v>
                </c:pt>
                <c:pt idx="12357">
                  <c:v>-0.123529411764705</c:v>
                </c:pt>
                <c:pt idx="12358">
                  <c:v>-0.123529411764705</c:v>
                </c:pt>
                <c:pt idx="12359">
                  <c:v>-0.123529411764705</c:v>
                </c:pt>
                <c:pt idx="12360">
                  <c:v>-0.123529411764705</c:v>
                </c:pt>
                <c:pt idx="12361">
                  <c:v>-0.123529411764705</c:v>
                </c:pt>
                <c:pt idx="12362">
                  <c:v>-0.123529411764705</c:v>
                </c:pt>
                <c:pt idx="12363">
                  <c:v>-0.123529411764705</c:v>
                </c:pt>
                <c:pt idx="12364">
                  <c:v>-0.123529411764705</c:v>
                </c:pt>
                <c:pt idx="12365">
                  <c:v>-0.123529411764705</c:v>
                </c:pt>
                <c:pt idx="12366">
                  <c:v>-0.123529411764705</c:v>
                </c:pt>
                <c:pt idx="12367">
                  <c:v>-0.123529411764705</c:v>
                </c:pt>
                <c:pt idx="12368">
                  <c:v>-0.123529411764705</c:v>
                </c:pt>
                <c:pt idx="12369">
                  <c:v>-0.123529411764705</c:v>
                </c:pt>
                <c:pt idx="12370">
                  <c:v>-0.123529411764705</c:v>
                </c:pt>
                <c:pt idx="12371">
                  <c:v>-0.123529411764705</c:v>
                </c:pt>
                <c:pt idx="12372">
                  <c:v>-0.123529411764705</c:v>
                </c:pt>
                <c:pt idx="12373">
                  <c:v>-0.123529411764705</c:v>
                </c:pt>
                <c:pt idx="12374">
                  <c:v>-0.123529411764705</c:v>
                </c:pt>
                <c:pt idx="12375">
                  <c:v>-0.123529411764705</c:v>
                </c:pt>
                <c:pt idx="12376">
                  <c:v>-0.123529411764705</c:v>
                </c:pt>
                <c:pt idx="12377">
                  <c:v>-0.123529411764705</c:v>
                </c:pt>
                <c:pt idx="12378">
                  <c:v>-0.123529411764705</c:v>
                </c:pt>
                <c:pt idx="12379">
                  <c:v>-0.123529411764705</c:v>
                </c:pt>
                <c:pt idx="12380">
                  <c:v>-0.123529411764705</c:v>
                </c:pt>
                <c:pt idx="12381">
                  <c:v>-0.123529411764705</c:v>
                </c:pt>
                <c:pt idx="12382">
                  <c:v>-0.123529411764705</c:v>
                </c:pt>
                <c:pt idx="12383">
                  <c:v>-0.123529411764705</c:v>
                </c:pt>
                <c:pt idx="12384">
                  <c:v>-0.123529411764705</c:v>
                </c:pt>
                <c:pt idx="12385">
                  <c:v>-0.123529411764705</c:v>
                </c:pt>
                <c:pt idx="12386">
                  <c:v>-0.123529411764705</c:v>
                </c:pt>
                <c:pt idx="12387">
                  <c:v>-0.123529411764705</c:v>
                </c:pt>
                <c:pt idx="12388">
                  <c:v>-0.123529411764705</c:v>
                </c:pt>
                <c:pt idx="12389">
                  <c:v>-0.123529411764705</c:v>
                </c:pt>
                <c:pt idx="12390">
                  <c:v>-0.123529411764705</c:v>
                </c:pt>
                <c:pt idx="12391">
                  <c:v>-0.123529411764705</c:v>
                </c:pt>
                <c:pt idx="12392">
                  <c:v>-0.123529411764705</c:v>
                </c:pt>
                <c:pt idx="12393">
                  <c:v>-0.123529411764705</c:v>
                </c:pt>
                <c:pt idx="12394">
                  <c:v>-0.123529411764705</c:v>
                </c:pt>
                <c:pt idx="12395">
                  <c:v>-0.123529411764705</c:v>
                </c:pt>
                <c:pt idx="12396">
                  <c:v>-0.123529411764705</c:v>
                </c:pt>
                <c:pt idx="12397">
                  <c:v>-0.123529411764705</c:v>
                </c:pt>
                <c:pt idx="12398">
                  <c:v>-0.124369747899159</c:v>
                </c:pt>
                <c:pt idx="12399">
                  <c:v>-0.124369747899159</c:v>
                </c:pt>
                <c:pt idx="12400">
                  <c:v>-0.124369747899159</c:v>
                </c:pt>
                <c:pt idx="12401">
                  <c:v>-0.124369747899159</c:v>
                </c:pt>
                <c:pt idx="12402">
                  <c:v>-0.124369747899159</c:v>
                </c:pt>
                <c:pt idx="12403">
                  <c:v>-0.124369747899159</c:v>
                </c:pt>
                <c:pt idx="12404">
                  <c:v>-0.124369747899159</c:v>
                </c:pt>
                <c:pt idx="12405">
                  <c:v>-0.124369747899159</c:v>
                </c:pt>
                <c:pt idx="12406">
                  <c:v>-0.124369747899159</c:v>
                </c:pt>
                <c:pt idx="12407">
                  <c:v>-0.123529411764705</c:v>
                </c:pt>
                <c:pt idx="12408">
                  <c:v>-0.123529411764705</c:v>
                </c:pt>
                <c:pt idx="12409">
                  <c:v>-0.123529411764705</c:v>
                </c:pt>
                <c:pt idx="12410">
                  <c:v>-0.123529411764705</c:v>
                </c:pt>
                <c:pt idx="12411">
                  <c:v>-0.123529411764705</c:v>
                </c:pt>
                <c:pt idx="12412">
                  <c:v>-0.123529411764705</c:v>
                </c:pt>
                <c:pt idx="12413">
                  <c:v>-0.123529411764705</c:v>
                </c:pt>
                <c:pt idx="12414">
                  <c:v>-0.123529411764705</c:v>
                </c:pt>
                <c:pt idx="12415">
                  <c:v>-0.123529411764705</c:v>
                </c:pt>
                <c:pt idx="12416">
                  <c:v>-0.123529411764705</c:v>
                </c:pt>
                <c:pt idx="12417">
                  <c:v>-0.123529411764705</c:v>
                </c:pt>
                <c:pt idx="12418">
                  <c:v>-0.124369747899159</c:v>
                </c:pt>
                <c:pt idx="12419">
                  <c:v>-0.124369747899159</c:v>
                </c:pt>
                <c:pt idx="12420">
                  <c:v>-0.124369747899159</c:v>
                </c:pt>
                <c:pt idx="12421">
                  <c:v>-0.124369747899159</c:v>
                </c:pt>
                <c:pt idx="12422">
                  <c:v>-0.125210084033613</c:v>
                </c:pt>
                <c:pt idx="12423">
                  <c:v>-0.125210084033613</c:v>
                </c:pt>
                <c:pt idx="12424">
                  <c:v>-0.125210084033613</c:v>
                </c:pt>
                <c:pt idx="12425">
                  <c:v>-0.125210084033613</c:v>
                </c:pt>
                <c:pt idx="12426">
                  <c:v>-0.125210084033613</c:v>
                </c:pt>
                <c:pt idx="12427">
                  <c:v>-0.125210084033613</c:v>
                </c:pt>
                <c:pt idx="12428">
                  <c:v>-0.125210084033613</c:v>
                </c:pt>
                <c:pt idx="12429">
                  <c:v>-0.125210084033613</c:v>
                </c:pt>
                <c:pt idx="12430">
                  <c:v>-0.125210084033613</c:v>
                </c:pt>
                <c:pt idx="12431">
                  <c:v>-0.125210084033613</c:v>
                </c:pt>
                <c:pt idx="12432">
                  <c:v>-0.124369747899159</c:v>
                </c:pt>
                <c:pt idx="12433">
                  <c:v>-0.124369747899159</c:v>
                </c:pt>
                <c:pt idx="12434">
                  <c:v>-0.124369747899159</c:v>
                </c:pt>
                <c:pt idx="12435">
                  <c:v>-0.124369747899159</c:v>
                </c:pt>
                <c:pt idx="12436">
                  <c:v>-0.124369747899159</c:v>
                </c:pt>
                <c:pt idx="12437">
                  <c:v>-0.124369747899159</c:v>
                </c:pt>
                <c:pt idx="12438">
                  <c:v>-0.124369747899159</c:v>
                </c:pt>
                <c:pt idx="12439">
                  <c:v>-0.123529411764705</c:v>
                </c:pt>
                <c:pt idx="12440">
                  <c:v>-0.123529411764705</c:v>
                </c:pt>
                <c:pt idx="12441">
                  <c:v>-0.123529411764705</c:v>
                </c:pt>
                <c:pt idx="12442">
                  <c:v>-0.123529411764705</c:v>
                </c:pt>
                <c:pt idx="12443">
                  <c:v>-0.123529411764705</c:v>
                </c:pt>
                <c:pt idx="12444">
                  <c:v>-0.123529411764705</c:v>
                </c:pt>
                <c:pt idx="12445">
                  <c:v>-0.123529411764705</c:v>
                </c:pt>
                <c:pt idx="12446">
                  <c:v>-0.123529411764705</c:v>
                </c:pt>
                <c:pt idx="12447">
                  <c:v>-0.123529411764705</c:v>
                </c:pt>
                <c:pt idx="12448">
                  <c:v>-0.123529411764705</c:v>
                </c:pt>
                <c:pt idx="12449">
                  <c:v>-0.123529411764705</c:v>
                </c:pt>
                <c:pt idx="12450">
                  <c:v>-0.123529411764705</c:v>
                </c:pt>
                <c:pt idx="12451">
                  <c:v>-0.123529411764705</c:v>
                </c:pt>
                <c:pt idx="12452">
                  <c:v>-0.123529411764705</c:v>
                </c:pt>
                <c:pt idx="12453">
                  <c:v>-0.123529411764705</c:v>
                </c:pt>
                <c:pt idx="12454">
                  <c:v>-0.123529411764705</c:v>
                </c:pt>
                <c:pt idx="12455">
                  <c:v>-0.123529411764705</c:v>
                </c:pt>
                <c:pt idx="12456">
                  <c:v>-0.123529411764705</c:v>
                </c:pt>
                <c:pt idx="12457">
                  <c:v>-0.124369747899159</c:v>
                </c:pt>
                <c:pt idx="12458">
                  <c:v>-0.124369747899159</c:v>
                </c:pt>
                <c:pt idx="12459">
                  <c:v>-0.124369747899159</c:v>
                </c:pt>
                <c:pt idx="12460">
                  <c:v>-0.124369747899159</c:v>
                </c:pt>
                <c:pt idx="12461">
                  <c:v>-0.124369747899159</c:v>
                </c:pt>
                <c:pt idx="12462">
                  <c:v>-0.124369747899159</c:v>
                </c:pt>
                <c:pt idx="12463">
                  <c:v>-0.124369747899159</c:v>
                </c:pt>
                <c:pt idx="12464">
                  <c:v>-0.124369747899159</c:v>
                </c:pt>
                <c:pt idx="12465">
                  <c:v>-0.124369747899159</c:v>
                </c:pt>
                <c:pt idx="12466">
                  <c:v>-0.124369747899159</c:v>
                </c:pt>
                <c:pt idx="12467">
                  <c:v>-0.124369747899159</c:v>
                </c:pt>
                <c:pt idx="12468">
                  <c:v>-0.124369747899159</c:v>
                </c:pt>
                <c:pt idx="12469">
                  <c:v>-0.124369747899159</c:v>
                </c:pt>
                <c:pt idx="12470">
                  <c:v>-0.124369747899159</c:v>
                </c:pt>
                <c:pt idx="12471">
                  <c:v>-0.124369747899159</c:v>
                </c:pt>
                <c:pt idx="12472">
                  <c:v>-0.125210084033613</c:v>
                </c:pt>
                <c:pt idx="12473">
                  <c:v>-0.125210084033613</c:v>
                </c:pt>
                <c:pt idx="12474">
                  <c:v>-0.125210084033613</c:v>
                </c:pt>
                <c:pt idx="12475">
                  <c:v>-0.125210084033613</c:v>
                </c:pt>
                <c:pt idx="12476">
                  <c:v>-0.125210084033613</c:v>
                </c:pt>
                <c:pt idx="12477">
                  <c:v>-0.125210084033613</c:v>
                </c:pt>
                <c:pt idx="12478">
                  <c:v>-0.125210084033613</c:v>
                </c:pt>
                <c:pt idx="12479">
                  <c:v>-0.125210084033613</c:v>
                </c:pt>
                <c:pt idx="12480">
                  <c:v>-0.125210084033613</c:v>
                </c:pt>
                <c:pt idx="12481">
                  <c:v>-0.125210084033613</c:v>
                </c:pt>
                <c:pt idx="12482">
                  <c:v>-0.125210084033613</c:v>
                </c:pt>
                <c:pt idx="12483">
                  <c:v>-0.125210084033613</c:v>
                </c:pt>
                <c:pt idx="12484">
                  <c:v>-0.125210084033613</c:v>
                </c:pt>
                <c:pt idx="12485">
                  <c:v>-0.125210084033613</c:v>
                </c:pt>
                <c:pt idx="12486">
                  <c:v>-0.125210084033613</c:v>
                </c:pt>
                <c:pt idx="12487">
                  <c:v>-0.125210084033613</c:v>
                </c:pt>
                <c:pt idx="12488">
                  <c:v>-0.125210084033613</c:v>
                </c:pt>
                <c:pt idx="12489">
                  <c:v>-0.125210084033613</c:v>
                </c:pt>
                <c:pt idx="12490">
                  <c:v>-0.124369747899159</c:v>
                </c:pt>
                <c:pt idx="12491">
                  <c:v>-0.124369747899159</c:v>
                </c:pt>
                <c:pt idx="12492">
                  <c:v>-0.124369747899159</c:v>
                </c:pt>
                <c:pt idx="12493">
                  <c:v>-0.124369747899159</c:v>
                </c:pt>
                <c:pt idx="12494">
                  <c:v>-0.124369747899159</c:v>
                </c:pt>
                <c:pt idx="12495">
                  <c:v>-0.124369747899159</c:v>
                </c:pt>
                <c:pt idx="12496">
                  <c:v>-0.124369747899159</c:v>
                </c:pt>
                <c:pt idx="12497">
                  <c:v>-0.124369747899159</c:v>
                </c:pt>
                <c:pt idx="12498">
                  <c:v>-0.124369747899159</c:v>
                </c:pt>
                <c:pt idx="12499">
                  <c:v>-0.124369747899159</c:v>
                </c:pt>
                <c:pt idx="12500">
                  <c:v>-0.124369747899159</c:v>
                </c:pt>
                <c:pt idx="12501">
                  <c:v>-0.123529411764705</c:v>
                </c:pt>
                <c:pt idx="12502">
                  <c:v>-0.123529411764705</c:v>
                </c:pt>
                <c:pt idx="12503">
                  <c:v>-0.123529411764705</c:v>
                </c:pt>
                <c:pt idx="12504">
                  <c:v>-0.123529411764705</c:v>
                </c:pt>
                <c:pt idx="12505">
                  <c:v>-0.123529411764705</c:v>
                </c:pt>
                <c:pt idx="12506">
                  <c:v>-0.123529411764705</c:v>
                </c:pt>
                <c:pt idx="12507">
                  <c:v>-0.123529411764705</c:v>
                </c:pt>
                <c:pt idx="12508">
                  <c:v>-0.123529411764705</c:v>
                </c:pt>
                <c:pt idx="12509">
                  <c:v>-0.123529411764705</c:v>
                </c:pt>
                <c:pt idx="12510">
                  <c:v>-0.123529411764705</c:v>
                </c:pt>
                <c:pt idx="12511">
                  <c:v>-0.123529411764705</c:v>
                </c:pt>
                <c:pt idx="12512">
                  <c:v>-0.123529411764705</c:v>
                </c:pt>
                <c:pt idx="12513">
                  <c:v>-0.123529411764705</c:v>
                </c:pt>
                <c:pt idx="12514">
                  <c:v>-0.123529411764705</c:v>
                </c:pt>
                <c:pt idx="12515">
                  <c:v>-0.123529411764705</c:v>
                </c:pt>
                <c:pt idx="12516">
                  <c:v>-0.123529411764705</c:v>
                </c:pt>
                <c:pt idx="12517">
                  <c:v>-0.123529411764705</c:v>
                </c:pt>
                <c:pt idx="12518">
                  <c:v>-0.123529411764705</c:v>
                </c:pt>
                <c:pt idx="12519">
                  <c:v>-0.123529411764705</c:v>
                </c:pt>
                <c:pt idx="12520">
                  <c:v>-0.123529411764705</c:v>
                </c:pt>
                <c:pt idx="12521">
                  <c:v>-0.123529411764705</c:v>
                </c:pt>
                <c:pt idx="12522">
                  <c:v>-0.123529411764705</c:v>
                </c:pt>
                <c:pt idx="12523">
                  <c:v>-0.123529411764705</c:v>
                </c:pt>
                <c:pt idx="12524">
                  <c:v>-0.123529411764705</c:v>
                </c:pt>
                <c:pt idx="12525">
                  <c:v>-0.123529411764705</c:v>
                </c:pt>
                <c:pt idx="12526">
                  <c:v>-0.123529411764705</c:v>
                </c:pt>
                <c:pt idx="12527">
                  <c:v>-0.123529411764705</c:v>
                </c:pt>
                <c:pt idx="12528">
                  <c:v>-0.123529411764705</c:v>
                </c:pt>
                <c:pt idx="12529">
                  <c:v>-0.123529411764705</c:v>
                </c:pt>
                <c:pt idx="12530">
                  <c:v>-0.123529411764705</c:v>
                </c:pt>
                <c:pt idx="12531">
                  <c:v>-0.123529411764705</c:v>
                </c:pt>
                <c:pt idx="12532">
                  <c:v>-0.123529411764705</c:v>
                </c:pt>
                <c:pt idx="12533">
                  <c:v>-0.123529411764705</c:v>
                </c:pt>
                <c:pt idx="12534">
                  <c:v>-0.123529411764705</c:v>
                </c:pt>
                <c:pt idx="12535">
                  <c:v>-0.123529411764705</c:v>
                </c:pt>
                <c:pt idx="12536">
                  <c:v>-0.123529411764705</c:v>
                </c:pt>
                <c:pt idx="12537">
                  <c:v>-0.123529411764705</c:v>
                </c:pt>
                <c:pt idx="12538">
                  <c:v>-0.123529411764705</c:v>
                </c:pt>
                <c:pt idx="12539">
                  <c:v>-0.123529411764705</c:v>
                </c:pt>
                <c:pt idx="12540">
                  <c:v>-0.123529411764705</c:v>
                </c:pt>
                <c:pt idx="12541">
                  <c:v>-0.123529411764705</c:v>
                </c:pt>
                <c:pt idx="12542">
                  <c:v>-0.123529411764705</c:v>
                </c:pt>
                <c:pt idx="12543">
                  <c:v>-0.122689075630252</c:v>
                </c:pt>
                <c:pt idx="12544">
                  <c:v>-0.122689075630252</c:v>
                </c:pt>
                <c:pt idx="12545">
                  <c:v>-0.122689075630252</c:v>
                </c:pt>
                <c:pt idx="12546">
                  <c:v>-0.122689075630252</c:v>
                </c:pt>
                <c:pt idx="12547">
                  <c:v>-0.122689075630252</c:v>
                </c:pt>
                <c:pt idx="12548">
                  <c:v>-0.121848739495798</c:v>
                </c:pt>
                <c:pt idx="12549">
                  <c:v>-0.121008403361344</c:v>
                </c:pt>
                <c:pt idx="12550">
                  <c:v>-0.121008403361344</c:v>
                </c:pt>
                <c:pt idx="12551">
                  <c:v>-0.121008403361344</c:v>
                </c:pt>
                <c:pt idx="12552">
                  <c:v>-0.121008403361344</c:v>
                </c:pt>
                <c:pt idx="12553">
                  <c:v>-0.121008403361344</c:v>
                </c:pt>
                <c:pt idx="12554">
                  <c:v>-0.121008403361344</c:v>
                </c:pt>
                <c:pt idx="12555">
                  <c:v>-0.121008403361344</c:v>
                </c:pt>
                <c:pt idx="12556">
                  <c:v>-0.121008403361344</c:v>
                </c:pt>
                <c:pt idx="12557">
                  <c:v>-0.121008403361344</c:v>
                </c:pt>
                <c:pt idx="12558">
                  <c:v>-0.121008403361344</c:v>
                </c:pt>
                <c:pt idx="12559">
                  <c:v>-0.121008403361344</c:v>
                </c:pt>
                <c:pt idx="12560">
                  <c:v>-0.121008403361344</c:v>
                </c:pt>
                <c:pt idx="12561">
                  <c:v>-0.121008403361344</c:v>
                </c:pt>
                <c:pt idx="12562">
                  <c:v>-0.121008403361344</c:v>
                </c:pt>
                <c:pt idx="12563">
                  <c:v>-0.121008403361344</c:v>
                </c:pt>
                <c:pt idx="12564">
                  <c:v>-0.121008403361344</c:v>
                </c:pt>
                <c:pt idx="12565">
                  <c:v>-0.121008403361344</c:v>
                </c:pt>
                <c:pt idx="12566">
                  <c:v>-0.121008403361344</c:v>
                </c:pt>
                <c:pt idx="12567">
                  <c:v>-0.121008403361344</c:v>
                </c:pt>
                <c:pt idx="12568">
                  <c:v>-0.121008403361344</c:v>
                </c:pt>
                <c:pt idx="12569">
                  <c:v>-0.121008403361344</c:v>
                </c:pt>
                <c:pt idx="12570">
                  <c:v>-0.121008403361344</c:v>
                </c:pt>
                <c:pt idx="12571">
                  <c:v>-0.121008403361344</c:v>
                </c:pt>
                <c:pt idx="12572">
                  <c:v>-0.121008403361344</c:v>
                </c:pt>
                <c:pt idx="12573">
                  <c:v>-0.121008403361344</c:v>
                </c:pt>
                <c:pt idx="12574">
                  <c:v>-0.121008403361344</c:v>
                </c:pt>
                <c:pt idx="12575">
                  <c:v>-0.121008403361344</c:v>
                </c:pt>
                <c:pt idx="12576">
                  <c:v>-0.121008403361344</c:v>
                </c:pt>
                <c:pt idx="12577">
                  <c:v>-0.121008403361344</c:v>
                </c:pt>
                <c:pt idx="12578">
                  <c:v>-0.121008403361344</c:v>
                </c:pt>
                <c:pt idx="12579">
                  <c:v>-0.121008403361344</c:v>
                </c:pt>
                <c:pt idx="12580">
                  <c:v>-0.121008403361344</c:v>
                </c:pt>
                <c:pt idx="12581">
                  <c:v>-0.121008403361344</c:v>
                </c:pt>
                <c:pt idx="12582">
                  <c:v>-0.121008403361344</c:v>
                </c:pt>
                <c:pt idx="12583">
                  <c:v>-0.121008403361344</c:v>
                </c:pt>
                <c:pt idx="12584">
                  <c:v>-0.121008403361344</c:v>
                </c:pt>
                <c:pt idx="12585">
                  <c:v>-0.121008403361344</c:v>
                </c:pt>
                <c:pt idx="12586">
                  <c:v>-0.121008403361344</c:v>
                </c:pt>
                <c:pt idx="12587">
                  <c:v>-0.121008403361344</c:v>
                </c:pt>
                <c:pt idx="12588">
                  <c:v>-0.121008403361344</c:v>
                </c:pt>
                <c:pt idx="12589">
                  <c:v>-0.121008403361344</c:v>
                </c:pt>
                <c:pt idx="12590">
                  <c:v>-0.121008403361344</c:v>
                </c:pt>
                <c:pt idx="12591">
                  <c:v>-0.121008403361344</c:v>
                </c:pt>
                <c:pt idx="12592">
                  <c:v>-0.121008403361344</c:v>
                </c:pt>
                <c:pt idx="12593">
                  <c:v>-0.121008403361344</c:v>
                </c:pt>
                <c:pt idx="12594">
                  <c:v>-0.121008403361344</c:v>
                </c:pt>
                <c:pt idx="12595">
                  <c:v>-0.12016806722689</c:v>
                </c:pt>
                <c:pt idx="12596">
                  <c:v>-0.12016806722689</c:v>
                </c:pt>
                <c:pt idx="12597">
                  <c:v>-0.12016806722689</c:v>
                </c:pt>
                <c:pt idx="12598">
                  <c:v>-0.12016806722689</c:v>
                </c:pt>
                <c:pt idx="12599">
                  <c:v>-0.12016806722689</c:v>
                </c:pt>
                <c:pt idx="12600">
                  <c:v>-0.12016806722689</c:v>
                </c:pt>
                <c:pt idx="12601">
                  <c:v>-0.12016806722689</c:v>
                </c:pt>
                <c:pt idx="12602">
                  <c:v>-0.12016806722689</c:v>
                </c:pt>
                <c:pt idx="12603">
                  <c:v>-0.12016806722689</c:v>
                </c:pt>
                <c:pt idx="12604">
                  <c:v>-0.12016806722689</c:v>
                </c:pt>
                <c:pt idx="12605">
                  <c:v>-0.12016806722689</c:v>
                </c:pt>
                <c:pt idx="12606">
                  <c:v>-0.121008403361344</c:v>
                </c:pt>
                <c:pt idx="12607">
                  <c:v>-0.121008403361344</c:v>
                </c:pt>
                <c:pt idx="12608">
                  <c:v>-0.121008403361344</c:v>
                </c:pt>
                <c:pt idx="12609">
                  <c:v>-0.121008403361344</c:v>
                </c:pt>
                <c:pt idx="12610">
                  <c:v>-0.121008403361344</c:v>
                </c:pt>
                <c:pt idx="12611">
                  <c:v>-0.121008403361344</c:v>
                </c:pt>
                <c:pt idx="12612">
                  <c:v>-0.121008403361344</c:v>
                </c:pt>
                <c:pt idx="12613">
                  <c:v>-0.121008403361344</c:v>
                </c:pt>
                <c:pt idx="12614">
                  <c:v>-0.121008403361344</c:v>
                </c:pt>
                <c:pt idx="12615">
                  <c:v>-0.121008403361344</c:v>
                </c:pt>
                <c:pt idx="12616">
                  <c:v>-0.121008403361344</c:v>
                </c:pt>
                <c:pt idx="12617">
                  <c:v>-0.121008403361344</c:v>
                </c:pt>
                <c:pt idx="12618">
                  <c:v>-0.121008403361344</c:v>
                </c:pt>
                <c:pt idx="12619">
                  <c:v>-0.121008403361344</c:v>
                </c:pt>
                <c:pt idx="12620">
                  <c:v>-0.121008403361344</c:v>
                </c:pt>
                <c:pt idx="12621">
                  <c:v>-0.121008403361344</c:v>
                </c:pt>
                <c:pt idx="12622">
                  <c:v>-0.121008403361344</c:v>
                </c:pt>
                <c:pt idx="12623">
                  <c:v>-0.121008403361344</c:v>
                </c:pt>
                <c:pt idx="12624">
                  <c:v>-0.121008403361344</c:v>
                </c:pt>
                <c:pt idx="12625">
                  <c:v>-0.121008403361344</c:v>
                </c:pt>
                <c:pt idx="12626">
                  <c:v>-0.12016806722689</c:v>
                </c:pt>
                <c:pt idx="12627">
                  <c:v>-0.12016806722689</c:v>
                </c:pt>
                <c:pt idx="12628">
                  <c:v>-0.12016806722689</c:v>
                </c:pt>
                <c:pt idx="12629">
                  <c:v>-0.12016806722689</c:v>
                </c:pt>
                <c:pt idx="12630">
                  <c:v>-0.12016806722689</c:v>
                </c:pt>
                <c:pt idx="12631">
                  <c:v>-0.12016806722689</c:v>
                </c:pt>
                <c:pt idx="12632">
                  <c:v>-0.12016806722689</c:v>
                </c:pt>
                <c:pt idx="12633">
                  <c:v>-0.12016806722689</c:v>
                </c:pt>
                <c:pt idx="12634">
                  <c:v>-0.12016806722689</c:v>
                </c:pt>
                <c:pt idx="12635">
                  <c:v>-0.12016806722689</c:v>
                </c:pt>
                <c:pt idx="12636">
                  <c:v>-0.12016806722689</c:v>
                </c:pt>
                <c:pt idx="12637">
                  <c:v>-0.12016806722689</c:v>
                </c:pt>
                <c:pt idx="12638">
                  <c:v>-0.12016806722689</c:v>
                </c:pt>
                <c:pt idx="12639">
                  <c:v>-0.12016806722689</c:v>
                </c:pt>
                <c:pt idx="12640">
                  <c:v>-0.12016806722689</c:v>
                </c:pt>
                <c:pt idx="12641">
                  <c:v>-0.12016806722689</c:v>
                </c:pt>
                <c:pt idx="12642">
                  <c:v>-0.12016806722689</c:v>
                </c:pt>
                <c:pt idx="12643">
                  <c:v>-0.12016806722689</c:v>
                </c:pt>
                <c:pt idx="12644">
                  <c:v>-0.12016806722689</c:v>
                </c:pt>
                <c:pt idx="12645">
                  <c:v>-0.12016806722689</c:v>
                </c:pt>
                <c:pt idx="12646">
                  <c:v>-0.12016806722689</c:v>
                </c:pt>
                <c:pt idx="12647">
                  <c:v>-0.12016806722689</c:v>
                </c:pt>
                <c:pt idx="12648">
                  <c:v>-0.12016806722689</c:v>
                </c:pt>
                <c:pt idx="12649">
                  <c:v>-0.12016806722689</c:v>
                </c:pt>
                <c:pt idx="12650">
                  <c:v>-0.12016806722689</c:v>
                </c:pt>
                <c:pt idx="12651">
                  <c:v>-0.12016806722689</c:v>
                </c:pt>
                <c:pt idx="12652">
                  <c:v>-0.12016806722689</c:v>
                </c:pt>
                <c:pt idx="12653">
                  <c:v>-0.12016806722689</c:v>
                </c:pt>
                <c:pt idx="12654">
                  <c:v>-0.12016806722689</c:v>
                </c:pt>
                <c:pt idx="12655">
                  <c:v>-0.12016806722689</c:v>
                </c:pt>
                <c:pt idx="12656">
                  <c:v>-0.12016806722689</c:v>
                </c:pt>
                <c:pt idx="12657">
                  <c:v>-0.119327731092436</c:v>
                </c:pt>
                <c:pt idx="12658">
                  <c:v>-0.119327731092436</c:v>
                </c:pt>
                <c:pt idx="12659">
                  <c:v>-0.119327731092436</c:v>
                </c:pt>
                <c:pt idx="12660">
                  <c:v>-0.119327731092436</c:v>
                </c:pt>
                <c:pt idx="12661">
                  <c:v>-0.119327731092436</c:v>
                </c:pt>
                <c:pt idx="12662">
                  <c:v>-0.119327731092436</c:v>
                </c:pt>
                <c:pt idx="12663">
                  <c:v>-0.119327731092436</c:v>
                </c:pt>
                <c:pt idx="12664">
                  <c:v>-0.119327731092436</c:v>
                </c:pt>
                <c:pt idx="12665">
                  <c:v>-0.119327731092436</c:v>
                </c:pt>
                <c:pt idx="12666">
                  <c:v>-0.119327731092436</c:v>
                </c:pt>
                <c:pt idx="12667">
                  <c:v>-0.119327731092436</c:v>
                </c:pt>
                <c:pt idx="12668">
                  <c:v>-0.119327731092436</c:v>
                </c:pt>
                <c:pt idx="12669">
                  <c:v>-0.119327731092436</c:v>
                </c:pt>
                <c:pt idx="12670">
                  <c:v>-0.119327731092436</c:v>
                </c:pt>
                <c:pt idx="12671">
                  <c:v>-0.119327731092436</c:v>
                </c:pt>
                <c:pt idx="12672">
                  <c:v>-0.119327731092436</c:v>
                </c:pt>
                <c:pt idx="12673">
                  <c:v>-0.119327731092436</c:v>
                </c:pt>
                <c:pt idx="12674">
                  <c:v>-0.12016806722689</c:v>
                </c:pt>
                <c:pt idx="12675">
                  <c:v>-0.12016806722689</c:v>
                </c:pt>
                <c:pt idx="12676">
                  <c:v>-0.12016806722689</c:v>
                </c:pt>
                <c:pt idx="12677">
                  <c:v>-0.12016806722689</c:v>
                </c:pt>
                <c:pt idx="12678">
                  <c:v>-0.12016806722689</c:v>
                </c:pt>
                <c:pt idx="12679">
                  <c:v>-0.12016806722689</c:v>
                </c:pt>
                <c:pt idx="12680">
                  <c:v>-0.121008403361344</c:v>
                </c:pt>
                <c:pt idx="12681">
                  <c:v>-0.121008403361344</c:v>
                </c:pt>
                <c:pt idx="12682">
                  <c:v>-0.121008403361344</c:v>
                </c:pt>
                <c:pt idx="12683">
                  <c:v>-0.121008403361344</c:v>
                </c:pt>
                <c:pt idx="12684">
                  <c:v>-0.121008403361344</c:v>
                </c:pt>
                <c:pt idx="12685">
                  <c:v>-0.121008403361344</c:v>
                </c:pt>
                <c:pt idx="12686">
                  <c:v>-0.121008403361344</c:v>
                </c:pt>
                <c:pt idx="12687">
                  <c:v>-0.121008403361344</c:v>
                </c:pt>
                <c:pt idx="12688">
                  <c:v>-0.121008403361344</c:v>
                </c:pt>
                <c:pt idx="12689">
                  <c:v>-0.121008403361344</c:v>
                </c:pt>
                <c:pt idx="12690">
                  <c:v>-0.121008403361344</c:v>
                </c:pt>
                <c:pt idx="12691">
                  <c:v>-0.12016806722689</c:v>
                </c:pt>
                <c:pt idx="12692">
                  <c:v>-0.12016806722689</c:v>
                </c:pt>
                <c:pt idx="12693">
                  <c:v>-0.12016806722689</c:v>
                </c:pt>
                <c:pt idx="12694">
                  <c:v>-0.12016806722689</c:v>
                </c:pt>
                <c:pt idx="12695">
                  <c:v>-0.12016806722689</c:v>
                </c:pt>
                <c:pt idx="12696">
                  <c:v>-0.12016806722689</c:v>
                </c:pt>
                <c:pt idx="12697">
                  <c:v>-0.12016806722689</c:v>
                </c:pt>
                <c:pt idx="12698">
                  <c:v>-0.12016806722689</c:v>
                </c:pt>
                <c:pt idx="12699">
                  <c:v>-0.12016806722689</c:v>
                </c:pt>
                <c:pt idx="12700">
                  <c:v>-0.12016806722689</c:v>
                </c:pt>
                <c:pt idx="12701">
                  <c:v>-0.119327731092436</c:v>
                </c:pt>
                <c:pt idx="12702">
                  <c:v>-0.119327731092436</c:v>
                </c:pt>
                <c:pt idx="12703">
                  <c:v>-0.119327731092436</c:v>
                </c:pt>
                <c:pt idx="12704">
                  <c:v>-0.119327731092436</c:v>
                </c:pt>
                <c:pt idx="12705">
                  <c:v>-0.11848739495798299</c:v>
                </c:pt>
                <c:pt idx="12706">
                  <c:v>-0.11848739495798299</c:v>
                </c:pt>
                <c:pt idx="12707">
                  <c:v>-0.11848739495798299</c:v>
                </c:pt>
                <c:pt idx="12708">
                  <c:v>-0.11848739495798299</c:v>
                </c:pt>
                <c:pt idx="12709">
                  <c:v>-0.11848739495798299</c:v>
                </c:pt>
                <c:pt idx="12710">
                  <c:v>-0.11848739495798299</c:v>
                </c:pt>
                <c:pt idx="12711">
                  <c:v>-0.11848739495798299</c:v>
                </c:pt>
                <c:pt idx="12712">
                  <c:v>-0.11848739495798299</c:v>
                </c:pt>
                <c:pt idx="12713">
                  <c:v>-0.11848739495798299</c:v>
                </c:pt>
                <c:pt idx="12714">
                  <c:v>-0.11848739495798299</c:v>
                </c:pt>
                <c:pt idx="12715">
                  <c:v>-0.11848739495798299</c:v>
                </c:pt>
                <c:pt idx="12716">
                  <c:v>-0.11848739495798299</c:v>
                </c:pt>
                <c:pt idx="12717">
                  <c:v>-0.11848739495798299</c:v>
                </c:pt>
                <c:pt idx="12718">
                  <c:v>-0.11848739495798299</c:v>
                </c:pt>
                <c:pt idx="12719">
                  <c:v>-0.11848739495798299</c:v>
                </c:pt>
                <c:pt idx="12720">
                  <c:v>-0.11848739495798299</c:v>
                </c:pt>
                <c:pt idx="12721">
                  <c:v>-0.11848739495798299</c:v>
                </c:pt>
                <c:pt idx="12722">
                  <c:v>-0.11848739495798299</c:v>
                </c:pt>
                <c:pt idx="12723">
                  <c:v>-0.11848739495798299</c:v>
                </c:pt>
                <c:pt idx="12724">
                  <c:v>-0.11848739495798299</c:v>
                </c:pt>
                <c:pt idx="12725">
                  <c:v>-0.11848739495798299</c:v>
                </c:pt>
                <c:pt idx="12726">
                  <c:v>-0.11848739495798299</c:v>
                </c:pt>
                <c:pt idx="12727">
                  <c:v>-0.11848739495798299</c:v>
                </c:pt>
                <c:pt idx="12728">
                  <c:v>-0.11848739495798299</c:v>
                </c:pt>
                <c:pt idx="12729">
                  <c:v>-0.11848739495798299</c:v>
                </c:pt>
                <c:pt idx="12730">
                  <c:v>-0.11848739495798299</c:v>
                </c:pt>
                <c:pt idx="12731">
                  <c:v>-0.11848739495798299</c:v>
                </c:pt>
                <c:pt idx="12732">
                  <c:v>-0.11848739495798299</c:v>
                </c:pt>
                <c:pt idx="12733">
                  <c:v>-0.11848739495798299</c:v>
                </c:pt>
                <c:pt idx="12734">
                  <c:v>-0.11848739495798299</c:v>
                </c:pt>
                <c:pt idx="12735">
                  <c:v>-0.11848739495798299</c:v>
                </c:pt>
                <c:pt idx="12736">
                  <c:v>-0.11848739495798299</c:v>
                </c:pt>
                <c:pt idx="12737">
                  <c:v>-0.11848739495798299</c:v>
                </c:pt>
                <c:pt idx="12738">
                  <c:v>-0.11848739495798299</c:v>
                </c:pt>
                <c:pt idx="12739">
                  <c:v>-0.11848739495798299</c:v>
                </c:pt>
                <c:pt idx="12740">
                  <c:v>-0.11848739495798299</c:v>
                </c:pt>
                <c:pt idx="12741">
                  <c:v>-0.11848739495798299</c:v>
                </c:pt>
                <c:pt idx="12742">
                  <c:v>-0.11848739495798299</c:v>
                </c:pt>
                <c:pt idx="12743">
                  <c:v>-0.11848739495798299</c:v>
                </c:pt>
                <c:pt idx="12744">
                  <c:v>-0.11848739495798299</c:v>
                </c:pt>
                <c:pt idx="12745">
                  <c:v>-0.11848739495798299</c:v>
                </c:pt>
                <c:pt idx="12746">
                  <c:v>-0.11848739495798299</c:v>
                </c:pt>
                <c:pt idx="12747">
                  <c:v>-0.11848739495798299</c:v>
                </c:pt>
                <c:pt idx="12748">
                  <c:v>-0.11848739495798299</c:v>
                </c:pt>
                <c:pt idx="12749">
                  <c:v>-0.11848739495798299</c:v>
                </c:pt>
                <c:pt idx="12750">
                  <c:v>-0.11848739495798299</c:v>
                </c:pt>
                <c:pt idx="12751">
                  <c:v>-0.11848739495798299</c:v>
                </c:pt>
                <c:pt idx="12752">
                  <c:v>-0.11848739495798299</c:v>
                </c:pt>
                <c:pt idx="12753">
                  <c:v>-0.11848739495798299</c:v>
                </c:pt>
                <c:pt idx="12754">
                  <c:v>-0.11848739495798299</c:v>
                </c:pt>
                <c:pt idx="12755">
                  <c:v>-0.11848739495798299</c:v>
                </c:pt>
                <c:pt idx="12756">
                  <c:v>-0.11848739495798299</c:v>
                </c:pt>
                <c:pt idx="12757">
                  <c:v>-0.11848739495798299</c:v>
                </c:pt>
                <c:pt idx="12758">
                  <c:v>-0.11848739495798299</c:v>
                </c:pt>
                <c:pt idx="12759">
                  <c:v>-0.11848739495798299</c:v>
                </c:pt>
                <c:pt idx="12760">
                  <c:v>-0.11848739495798299</c:v>
                </c:pt>
                <c:pt idx="12761">
                  <c:v>-0.11848739495798299</c:v>
                </c:pt>
                <c:pt idx="12762">
                  <c:v>-0.11848739495798299</c:v>
                </c:pt>
                <c:pt idx="12763">
                  <c:v>-0.11848739495798299</c:v>
                </c:pt>
                <c:pt idx="12764">
                  <c:v>-0.11764705882352899</c:v>
                </c:pt>
                <c:pt idx="12765">
                  <c:v>-0.11764705882352899</c:v>
                </c:pt>
                <c:pt idx="12766">
                  <c:v>-0.11764705882352899</c:v>
                </c:pt>
                <c:pt idx="12767">
                  <c:v>-0.11848739495798299</c:v>
                </c:pt>
                <c:pt idx="12768">
                  <c:v>-0.11848739495798299</c:v>
                </c:pt>
                <c:pt idx="12769">
                  <c:v>-0.11848739495798299</c:v>
                </c:pt>
                <c:pt idx="12770">
                  <c:v>-0.11764705882352899</c:v>
                </c:pt>
                <c:pt idx="12771">
                  <c:v>-0.11764705882352899</c:v>
                </c:pt>
                <c:pt idx="12772">
                  <c:v>-0.11764705882352899</c:v>
                </c:pt>
                <c:pt idx="12773">
                  <c:v>-0.11764705882352899</c:v>
                </c:pt>
                <c:pt idx="12774">
                  <c:v>-0.11764705882352899</c:v>
                </c:pt>
                <c:pt idx="12775">
                  <c:v>-0.11764705882352899</c:v>
                </c:pt>
                <c:pt idx="12776">
                  <c:v>-0.11764705882352899</c:v>
                </c:pt>
                <c:pt idx="12777">
                  <c:v>-0.11764705882352899</c:v>
                </c:pt>
                <c:pt idx="12778">
                  <c:v>-0.11764705882352899</c:v>
                </c:pt>
                <c:pt idx="12779">
                  <c:v>-0.11764705882352899</c:v>
                </c:pt>
                <c:pt idx="12780">
                  <c:v>-0.11764705882352899</c:v>
                </c:pt>
                <c:pt idx="12781">
                  <c:v>-0.11764705882352899</c:v>
                </c:pt>
                <c:pt idx="12782">
                  <c:v>-0.11764705882352899</c:v>
                </c:pt>
                <c:pt idx="12783">
                  <c:v>-0.11764705882352899</c:v>
                </c:pt>
                <c:pt idx="12784">
                  <c:v>-0.11848739495798299</c:v>
                </c:pt>
                <c:pt idx="12785">
                  <c:v>-0.11848739495798299</c:v>
                </c:pt>
                <c:pt idx="12786">
                  <c:v>-0.119327731092436</c:v>
                </c:pt>
                <c:pt idx="12787">
                  <c:v>-0.119327731092436</c:v>
                </c:pt>
                <c:pt idx="12788">
                  <c:v>-0.119327731092436</c:v>
                </c:pt>
                <c:pt idx="12789">
                  <c:v>-0.119327731092436</c:v>
                </c:pt>
                <c:pt idx="12790">
                  <c:v>-0.119327731092436</c:v>
                </c:pt>
                <c:pt idx="12791">
                  <c:v>-0.119327731092436</c:v>
                </c:pt>
                <c:pt idx="12792">
                  <c:v>-0.119327731092436</c:v>
                </c:pt>
                <c:pt idx="12793">
                  <c:v>-0.119327731092436</c:v>
                </c:pt>
                <c:pt idx="12794">
                  <c:v>-0.119327731092436</c:v>
                </c:pt>
                <c:pt idx="12795">
                  <c:v>-0.12016806722689</c:v>
                </c:pt>
                <c:pt idx="12796">
                  <c:v>-0.12016806722689</c:v>
                </c:pt>
                <c:pt idx="12797">
                  <c:v>-0.12016806722689</c:v>
                </c:pt>
                <c:pt idx="12798">
                  <c:v>-0.12016806722689</c:v>
                </c:pt>
                <c:pt idx="12799">
                  <c:v>-0.119327731092436</c:v>
                </c:pt>
                <c:pt idx="12800">
                  <c:v>-0.119327731092436</c:v>
                </c:pt>
                <c:pt idx="12801">
                  <c:v>-0.119327731092436</c:v>
                </c:pt>
                <c:pt idx="12802">
                  <c:v>-0.119327731092436</c:v>
                </c:pt>
                <c:pt idx="12803">
                  <c:v>-0.119327731092436</c:v>
                </c:pt>
                <c:pt idx="12804">
                  <c:v>-0.119327731092436</c:v>
                </c:pt>
                <c:pt idx="12805">
                  <c:v>-0.119327731092436</c:v>
                </c:pt>
                <c:pt idx="12806">
                  <c:v>-0.119327731092436</c:v>
                </c:pt>
                <c:pt idx="12807">
                  <c:v>-0.119327731092436</c:v>
                </c:pt>
                <c:pt idx="12808">
                  <c:v>-0.119327731092436</c:v>
                </c:pt>
                <c:pt idx="12809">
                  <c:v>-0.119327731092436</c:v>
                </c:pt>
                <c:pt idx="12810">
                  <c:v>-0.119327731092436</c:v>
                </c:pt>
                <c:pt idx="12811">
                  <c:v>-0.119327731092436</c:v>
                </c:pt>
                <c:pt idx="12812">
                  <c:v>-0.119327731092436</c:v>
                </c:pt>
                <c:pt idx="12813">
                  <c:v>-0.119327731092436</c:v>
                </c:pt>
                <c:pt idx="12814">
                  <c:v>-0.119327731092436</c:v>
                </c:pt>
                <c:pt idx="12815">
                  <c:v>-0.119327731092436</c:v>
                </c:pt>
                <c:pt idx="12816">
                  <c:v>-0.119327731092436</c:v>
                </c:pt>
                <c:pt idx="12817">
                  <c:v>-0.119327731092436</c:v>
                </c:pt>
                <c:pt idx="12818">
                  <c:v>-0.119327731092436</c:v>
                </c:pt>
                <c:pt idx="12819">
                  <c:v>-0.119327731092436</c:v>
                </c:pt>
                <c:pt idx="12820">
                  <c:v>-0.119327731092436</c:v>
                </c:pt>
                <c:pt idx="12821">
                  <c:v>-0.119327731092436</c:v>
                </c:pt>
                <c:pt idx="12822">
                  <c:v>-0.119327731092436</c:v>
                </c:pt>
                <c:pt idx="12823">
                  <c:v>-0.119327731092436</c:v>
                </c:pt>
                <c:pt idx="12824">
                  <c:v>-0.119327731092436</c:v>
                </c:pt>
                <c:pt idx="12825">
                  <c:v>-0.119327731092436</c:v>
                </c:pt>
                <c:pt idx="12826">
                  <c:v>-0.119327731092436</c:v>
                </c:pt>
                <c:pt idx="12827">
                  <c:v>-0.12016806722689</c:v>
                </c:pt>
                <c:pt idx="12828">
                  <c:v>-0.12016806722689</c:v>
                </c:pt>
                <c:pt idx="12829">
                  <c:v>-0.12016806722689</c:v>
                </c:pt>
                <c:pt idx="12830">
                  <c:v>-0.12016806722689</c:v>
                </c:pt>
                <c:pt idx="12831">
                  <c:v>-0.121008403361344</c:v>
                </c:pt>
                <c:pt idx="12832">
                  <c:v>-0.121008403361344</c:v>
                </c:pt>
                <c:pt idx="12833">
                  <c:v>-0.121008403361344</c:v>
                </c:pt>
                <c:pt idx="12834">
                  <c:v>-0.121008403361344</c:v>
                </c:pt>
                <c:pt idx="12835">
                  <c:v>-0.121008403361344</c:v>
                </c:pt>
                <c:pt idx="12836">
                  <c:v>-0.121008403361344</c:v>
                </c:pt>
                <c:pt idx="12837">
                  <c:v>-0.121008403361344</c:v>
                </c:pt>
                <c:pt idx="12838">
                  <c:v>-0.121008403361344</c:v>
                </c:pt>
                <c:pt idx="12839">
                  <c:v>-0.121848739495798</c:v>
                </c:pt>
                <c:pt idx="12840">
                  <c:v>-0.121848739495798</c:v>
                </c:pt>
                <c:pt idx="12841">
                  <c:v>-0.121848739495798</c:v>
                </c:pt>
                <c:pt idx="12842">
                  <c:v>-0.121848739495798</c:v>
                </c:pt>
                <c:pt idx="12843">
                  <c:v>-0.121848739495798</c:v>
                </c:pt>
                <c:pt idx="12844">
                  <c:v>-0.121848739495798</c:v>
                </c:pt>
                <c:pt idx="12845">
                  <c:v>-0.121848739495798</c:v>
                </c:pt>
                <c:pt idx="12846">
                  <c:v>-0.121848739495798</c:v>
                </c:pt>
                <c:pt idx="12847">
                  <c:v>-0.121848739495798</c:v>
                </c:pt>
                <c:pt idx="12848">
                  <c:v>-0.121848739495798</c:v>
                </c:pt>
                <c:pt idx="12849">
                  <c:v>-0.121848739495798</c:v>
                </c:pt>
                <c:pt idx="12850">
                  <c:v>-0.121848739495798</c:v>
                </c:pt>
                <c:pt idx="12851">
                  <c:v>-0.121848739495798</c:v>
                </c:pt>
                <c:pt idx="12852">
                  <c:v>-0.121848739495798</c:v>
                </c:pt>
                <c:pt idx="12853">
                  <c:v>-0.121848739495798</c:v>
                </c:pt>
                <c:pt idx="12854">
                  <c:v>-0.121848739495798</c:v>
                </c:pt>
                <c:pt idx="12855">
                  <c:v>-0.121848739495798</c:v>
                </c:pt>
                <c:pt idx="12856">
                  <c:v>-0.121848739495798</c:v>
                </c:pt>
                <c:pt idx="12857">
                  <c:v>-0.121848739495798</c:v>
                </c:pt>
                <c:pt idx="12858">
                  <c:v>-0.121848739495798</c:v>
                </c:pt>
                <c:pt idx="12859">
                  <c:v>-0.122689075630252</c:v>
                </c:pt>
                <c:pt idx="12860">
                  <c:v>-0.122689075630252</c:v>
                </c:pt>
                <c:pt idx="12861">
                  <c:v>-0.122689075630252</c:v>
                </c:pt>
                <c:pt idx="12862">
                  <c:v>-0.122689075630252</c:v>
                </c:pt>
                <c:pt idx="12863">
                  <c:v>-0.122689075630252</c:v>
                </c:pt>
                <c:pt idx="12864">
                  <c:v>-0.122689075630252</c:v>
                </c:pt>
                <c:pt idx="12865">
                  <c:v>-0.122689075630252</c:v>
                </c:pt>
                <c:pt idx="12866">
                  <c:v>-0.121848739495798</c:v>
                </c:pt>
                <c:pt idx="12867">
                  <c:v>-0.121848739495798</c:v>
                </c:pt>
                <c:pt idx="12868">
                  <c:v>-0.121848739495798</c:v>
                </c:pt>
                <c:pt idx="12869">
                  <c:v>-0.121848739495798</c:v>
                </c:pt>
                <c:pt idx="12870">
                  <c:v>-0.122689075630252</c:v>
                </c:pt>
                <c:pt idx="12871">
                  <c:v>-0.122689075630252</c:v>
                </c:pt>
                <c:pt idx="12872">
                  <c:v>-0.122689075630252</c:v>
                </c:pt>
                <c:pt idx="12873">
                  <c:v>-0.122689075630252</c:v>
                </c:pt>
                <c:pt idx="12874">
                  <c:v>-0.122689075630252</c:v>
                </c:pt>
                <c:pt idx="12875">
                  <c:v>-0.122689075630252</c:v>
                </c:pt>
                <c:pt idx="12876">
                  <c:v>-0.122689075630252</c:v>
                </c:pt>
                <c:pt idx="12877">
                  <c:v>-0.122689075630252</c:v>
                </c:pt>
                <c:pt idx="12878">
                  <c:v>-0.122689075630252</c:v>
                </c:pt>
                <c:pt idx="12879">
                  <c:v>-0.122689075630252</c:v>
                </c:pt>
                <c:pt idx="12880">
                  <c:v>-0.122689075630252</c:v>
                </c:pt>
                <c:pt idx="12881">
                  <c:v>-0.122689075630252</c:v>
                </c:pt>
                <c:pt idx="12882">
                  <c:v>-0.122689075630252</c:v>
                </c:pt>
                <c:pt idx="12883">
                  <c:v>-0.122689075630252</c:v>
                </c:pt>
                <c:pt idx="12884">
                  <c:v>-0.122689075630252</c:v>
                </c:pt>
                <c:pt idx="12885">
                  <c:v>-0.122689075630252</c:v>
                </c:pt>
                <c:pt idx="12886">
                  <c:v>-0.122689075630252</c:v>
                </c:pt>
                <c:pt idx="12887">
                  <c:v>-0.122689075630252</c:v>
                </c:pt>
                <c:pt idx="12888">
                  <c:v>-0.122689075630252</c:v>
                </c:pt>
                <c:pt idx="12889">
                  <c:v>-0.122689075630252</c:v>
                </c:pt>
                <c:pt idx="12890">
                  <c:v>-0.122689075630252</c:v>
                </c:pt>
                <c:pt idx="12891">
                  <c:v>-0.122689075630252</c:v>
                </c:pt>
                <c:pt idx="12892">
                  <c:v>-0.122689075630252</c:v>
                </c:pt>
                <c:pt idx="12893">
                  <c:v>-0.122689075630252</c:v>
                </c:pt>
                <c:pt idx="12894">
                  <c:v>-0.122689075630252</c:v>
                </c:pt>
                <c:pt idx="12895">
                  <c:v>-0.122689075630252</c:v>
                </c:pt>
                <c:pt idx="12896">
                  <c:v>-0.122689075630252</c:v>
                </c:pt>
                <c:pt idx="12897">
                  <c:v>-0.122689075630252</c:v>
                </c:pt>
                <c:pt idx="12898">
                  <c:v>-0.122689075630252</c:v>
                </c:pt>
                <c:pt idx="12899">
                  <c:v>-0.122689075630252</c:v>
                </c:pt>
                <c:pt idx="12900">
                  <c:v>-0.122689075630252</c:v>
                </c:pt>
                <c:pt idx="12901">
                  <c:v>-0.122689075630252</c:v>
                </c:pt>
                <c:pt idx="12902">
                  <c:v>-0.122689075630252</c:v>
                </c:pt>
                <c:pt idx="12903">
                  <c:v>-0.122689075630252</c:v>
                </c:pt>
                <c:pt idx="12904">
                  <c:v>-0.122689075630252</c:v>
                </c:pt>
                <c:pt idx="12905">
                  <c:v>-0.122689075630252</c:v>
                </c:pt>
                <c:pt idx="12906">
                  <c:v>-0.122689075630252</c:v>
                </c:pt>
                <c:pt idx="12907">
                  <c:v>-0.122689075630252</c:v>
                </c:pt>
                <c:pt idx="12908">
                  <c:v>-0.123529411764705</c:v>
                </c:pt>
                <c:pt idx="12909">
                  <c:v>-0.123529411764705</c:v>
                </c:pt>
                <c:pt idx="12910">
                  <c:v>-0.123529411764705</c:v>
                </c:pt>
                <c:pt idx="12911">
                  <c:v>-0.123529411764705</c:v>
                </c:pt>
                <c:pt idx="12912">
                  <c:v>-0.123529411764705</c:v>
                </c:pt>
                <c:pt idx="12913">
                  <c:v>-0.123529411764705</c:v>
                </c:pt>
                <c:pt idx="12914">
                  <c:v>-0.123529411764705</c:v>
                </c:pt>
                <c:pt idx="12915">
                  <c:v>-0.123529411764705</c:v>
                </c:pt>
                <c:pt idx="12916">
                  <c:v>-0.123529411764705</c:v>
                </c:pt>
                <c:pt idx="12917">
                  <c:v>-0.123529411764705</c:v>
                </c:pt>
                <c:pt idx="12918">
                  <c:v>-0.123529411764705</c:v>
                </c:pt>
                <c:pt idx="12919">
                  <c:v>-0.123529411764705</c:v>
                </c:pt>
                <c:pt idx="12920">
                  <c:v>-0.123529411764705</c:v>
                </c:pt>
                <c:pt idx="12921">
                  <c:v>-0.123529411764705</c:v>
                </c:pt>
                <c:pt idx="12922">
                  <c:v>-0.123529411764705</c:v>
                </c:pt>
                <c:pt idx="12923">
                  <c:v>-0.123529411764705</c:v>
                </c:pt>
                <c:pt idx="12924">
                  <c:v>-0.123529411764705</c:v>
                </c:pt>
                <c:pt idx="12925">
                  <c:v>-0.123529411764705</c:v>
                </c:pt>
                <c:pt idx="12926">
                  <c:v>-0.123529411764705</c:v>
                </c:pt>
                <c:pt idx="12927">
                  <c:v>-0.123529411764705</c:v>
                </c:pt>
                <c:pt idx="12928">
                  <c:v>-0.123529411764705</c:v>
                </c:pt>
                <c:pt idx="12929">
                  <c:v>-0.123529411764705</c:v>
                </c:pt>
                <c:pt idx="12930">
                  <c:v>-0.123529411764705</c:v>
                </c:pt>
                <c:pt idx="12931">
                  <c:v>-0.123529411764705</c:v>
                </c:pt>
                <c:pt idx="12932">
                  <c:v>-0.123529411764705</c:v>
                </c:pt>
                <c:pt idx="12933">
                  <c:v>-0.123529411764705</c:v>
                </c:pt>
                <c:pt idx="12934">
                  <c:v>-0.123529411764705</c:v>
                </c:pt>
                <c:pt idx="12935">
                  <c:v>-0.123529411764705</c:v>
                </c:pt>
                <c:pt idx="12936">
                  <c:v>-0.123529411764705</c:v>
                </c:pt>
                <c:pt idx="12937">
                  <c:v>-0.123529411764705</c:v>
                </c:pt>
                <c:pt idx="12938">
                  <c:v>-0.123529411764705</c:v>
                </c:pt>
                <c:pt idx="12939">
                  <c:v>-0.123529411764705</c:v>
                </c:pt>
                <c:pt idx="12940">
                  <c:v>-0.123529411764705</c:v>
                </c:pt>
                <c:pt idx="12941">
                  <c:v>-0.123529411764705</c:v>
                </c:pt>
                <c:pt idx="12942">
                  <c:v>-0.123529411764705</c:v>
                </c:pt>
                <c:pt idx="12943">
                  <c:v>-0.123529411764705</c:v>
                </c:pt>
                <c:pt idx="12944">
                  <c:v>-0.123529411764705</c:v>
                </c:pt>
                <c:pt idx="12945">
                  <c:v>-0.123529411764705</c:v>
                </c:pt>
                <c:pt idx="12946">
                  <c:v>-0.123529411764705</c:v>
                </c:pt>
                <c:pt idx="12947">
                  <c:v>-0.123529411764705</c:v>
                </c:pt>
                <c:pt idx="12948">
                  <c:v>-0.123529411764705</c:v>
                </c:pt>
                <c:pt idx="12949">
                  <c:v>-0.123529411764705</c:v>
                </c:pt>
                <c:pt idx="12950">
                  <c:v>-0.123529411764705</c:v>
                </c:pt>
                <c:pt idx="12951">
                  <c:v>-0.123529411764705</c:v>
                </c:pt>
                <c:pt idx="12952">
                  <c:v>-0.123529411764705</c:v>
                </c:pt>
                <c:pt idx="12953">
                  <c:v>-0.123529411764705</c:v>
                </c:pt>
                <c:pt idx="12954">
                  <c:v>-0.123529411764705</c:v>
                </c:pt>
                <c:pt idx="12955">
                  <c:v>-0.123529411764705</c:v>
                </c:pt>
                <c:pt idx="12956">
                  <c:v>-0.123529411764705</c:v>
                </c:pt>
                <c:pt idx="12957">
                  <c:v>-0.123529411764705</c:v>
                </c:pt>
                <c:pt idx="12958">
                  <c:v>-0.123529411764705</c:v>
                </c:pt>
                <c:pt idx="12959">
                  <c:v>-0.123529411764705</c:v>
                </c:pt>
                <c:pt idx="12960">
                  <c:v>-0.123529411764705</c:v>
                </c:pt>
                <c:pt idx="12961">
                  <c:v>-0.123529411764705</c:v>
                </c:pt>
                <c:pt idx="12962">
                  <c:v>-0.123529411764705</c:v>
                </c:pt>
                <c:pt idx="12963">
                  <c:v>-0.123529411764705</c:v>
                </c:pt>
                <c:pt idx="12964">
                  <c:v>-0.123529411764705</c:v>
                </c:pt>
                <c:pt idx="12965">
                  <c:v>-0.123529411764705</c:v>
                </c:pt>
                <c:pt idx="12966">
                  <c:v>-0.123529411764705</c:v>
                </c:pt>
                <c:pt idx="12967">
                  <c:v>-0.123529411764705</c:v>
                </c:pt>
                <c:pt idx="12968">
                  <c:v>-0.123529411764705</c:v>
                </c:pt>
                <c:pt idx="12969">
                  <c:v>-0.123529411764705</c:v>
                </c:pt>
                <c:pt idx="12970">
                  <c:v>-0.123529411764705</c:v>
                </c:pt>
                <c:pt idx="12971">
                  <c:v>-0.123529411764705</c:v>
                </c:pt>
                <c:pt idx="12972">
                  <c:v>-0.123529411764705</c:v>
                </c:pt>
                <c:pt idx="12973">
                  <c:v>-0.123529411764705</c:v>
                </c:pt>
                <c:pt idx="12974">
                  <c:v>-0.123529411764705</c:v>
                </c:pt>
                <c:pt idx="12975">
                  <c:v>-0.123529411764705</c:v>
                </c:pt>
                <c:pt idx="12976">
                  <c:v>-0.123529411764705</c:v>
                </c:pt>
                <c:pt idx="12977">
                  <c:v>-0.123529411764705</c:v>
                </c:pt>
                <c:pt idx="12978">
                  <c:v>-0.123529411764705</c:v>
                </c:pt>
                <c:pt idx="12979">
                  <c:v>-0.123529411764705</c:v>
                </c:pt>
                <c:pt idx="12980">
                  <c:v>-0.123529411764705</c:v>
                </c:pt>
                <c:pt idx="12981">
                  <c:v>-0.123529411764705</c:v>
                </c:pt>
                <c:pt idx="12982">
                  <c:v>-0.122689075630252</c:v>
                </c:pt>
                <c:pt idx="12983">
                  <c:v>-0.122689075630252</c:v>
                </c:pt>
                <c:pt idx="12984">
                  <c:v>-0.122689075630252</c:v>
                </c:pt>
                <c:pt idx="12985">
                  <c:v>-0.122689075630252</c:v>
                </c:pt>
                <c:pt idx="12986">
                  <c:v>-0.122689075630252</c:v>
                </c:pt>
                <c:pt idx="12987">
                  <c:v>-0.121848739495798</c:v>
                </c:pt>
                <c:pt idx="12988">
                  <c:v>-0.121848739495798</c:v>
                </c:pt>
                <c:pt idx="12989">
                  <c:v>-0.121848739495798</c:v>
                </c:pt>
                <c:pt idx="12990">
                  <c:v>-0.121848739495798</c:v>
                </c:pt>
                <c:pt idx="12991">
                  <c:v>-0.121848739495798</c:v>
                </c:pt>
                <c:pt idx="12992">
                  <c:v>-0.121848739495798</c:v>
                </c:pt>
                <c:pt idx="12993">
                  <c:v>-0.121848739495798</c:v>
                </c:pt>
                <c:pt idx="12994">
                  <c:v>-0.121848739495798</c:v>
                </c:pt>
                <c:pt idx="12995">
                  <c:v>-0.121848739495798</c:v>
                </c:pt>
                <c:pt idx="12996">
                  <c:v>-0.121848739495798</c:v>
                </c:pt>
                <c:pt idx="12997">
                  <c:v>-0.121848739495798</c:v>
                </c:pt>
                <c:pt idx="12998">
                  <c:v>-0.121848739495798</c:v>
                </c:pt>
                <c:pt idx="12999">
                  <c:v>-0.121848739495798</c:v>
                </c:pt>
                <c:pt idx="13000">
                  <c:v>-0.121848739495798</c:v>
                </c:pt>
                <c:pt idx="13001">
                  <c:v>-0.121848739495798</c:v>
                </c:pt>
                <c:pt idx="13002">
                  <c:v>-0.121848739495798</c:v>
                </c:pt>
                <c:pt idx="13003">
                  <c:v>-0.121848739495798</c:v>
                </c:pt>
                <c:pt idx="13004">
                  <c:v>-0.121848739495798</c:v>
                </c:pt>
                <c:pt idx="13005">
                  <c:v>-0.122689075630252</c:v>
                </c:pt>
                <c:pt idx="13006">
                  <c:v>-0.122689075630252</c:v>
                </c:pt>
                <c:pt idx="13007">
                  <c:v>-0.122689075630252</c:v>
                </c:pt>
                <c:pt idx="13008">
                  <c:v>-0.122689075630252</c:v>
                </c:pt>
                <c:pt idx="13009">
                  <c:v>-0.122689075630252</c:v>
                </c:pt>
                <c:pt idx="13010">
                  <c:v>-0.122689075630252</c:v>
                </c:pt>
                <c:pt idx="13011">
                  <c:v>-0.122689075630252</c:v>
                </c:pt>
                <c:pt idx="13012">
                  <c:v>-0.122689075630252</c:v>
                </c:pt>
                <c:pt idx="13013">
                  <c:v>-0.122689075630252</c:v>
                </c:pt>
                <c:pt idx="13014">
                  <c:v>-0.122689075630252</c:v>
                </c:pt>
                <c:pt idx="13015">
                  <c:v>-0.122689075630252</c:v>
                </c:pt>
                <c:pt idx="13016">
                  <c:v>-0.122689075630252</c:v>
                </c:pt>
                <c:pt idx="13017">
                  <c:v>-0.122689075630252</c:v>
                </c:pt>
                <c:pt idx="13018">
                  <c:v>-0.122689075630252</c:v>
                </c:pt>
                <c:pt idx="13019">
                  <c:v>-0.122689075630252</c:v>
                </c:pt>
                <c:pt idx="13020">
                  <c:v>-0.122689075630252</c:v>
                </c:pt>
                <c:pt idx="13021">
                  <c:v>-0.123529411764705</c:v>
                </c:pt>
                <c:pt idx="13022">
                  <c:v>-0.124369747899159</c:v>
                </c:pt>
                <c:pt idx="13023">
                  <c:v>-0.124369747899159</c:v>
                </c:pt>
                <c:pt idx="13024">
                  <c:v>-0.124369747899159</c:v>
                </c:pt>
                <c:pt idx="13025">
                  <c:v>-0.124369747899159</c:v>
                </c:pt>
                <c:pt idx="13026">
                  <c:v>-0.124369747899159</c:v>
                </c:pt>
                <c:pt idx="13027">
                  <c:v>-0.124369747899159</c:v>
                </c:pt>
                <c:pt idx="13028">
                  <c:v>-0.124369747899159</c:v>
                </c:pt>
                <c:pt idx="13029">
                  <c:v>-0.124369747899159</c:v>
                </c:pt>
                <c:pt idx="13030">
                  <c:v>-0.124369747899159</c:v>
                </c:pt>
                <c:pt idx="13031">
                  <c:v>-0.124369747899159</c:v>
                </c:pt>
                <c:pt idx="13032">
                  <c:v>-0.124369747899159</c:v>
                </c:pt>
                <c:pt idx="13033">
                  <c:v>-0.124369747899159</c:v>
                </c:pt>
                <c:pt idx="13034">
                  <c:v>-0.124369747899159</c:v>
                </c:pt>
                <c:pt idx="13035">
                  <c:v>-0.123529411764705</c:v>
                </c:pt>
                <c:pt idx="13036">
                  <c:v>-0.123529411764705</c:v>
                </c:pt>
                <c:pt idx="13037">
                  <c:v>-0.123529411764705</c:v>
                </c:pt>
                <c:pt idx="13038">
                  <c:v>-0.123529411764705</c:v>
                </c:pt>
                <c:pt idx="13039">
                  <c:v>-0.123529411764705</c:v>
                </c:pt>
                <c:pt idx="13040">
                  <c:v>-0.123529411764705</c:v>
                </c:pt>
                <c:pt idx="13041">
                  <c:v>-0.123529411764705</c:v>
                </c:pt>
                <c:pt idx="13042">
                  <c:v>-0.123529411764705</c:v>
                </c:pt>
                <c:pt idx="13043">
                  <c:v>-0.123529411764705</c:v>
                </c:pt>
                <c:pt idx="13044">
                  <c:v>-0.122689075630252</c:v>
                </c:pt>
                <c:pt idx="13045">
                  <c:v>-0.123529411764705</c:v>
                </c:pt>
                <c:pt idx="13046">
                  <c:v>-0.123529411764705</c:v>
                </c:pt>
                <c:pt idx="13047">
                  <c:v>-0.123529411764705</c:v>
                </c:pt>
                <c:pt idx="13048">
                  <c:v>-0.123529411764705</c:v>
                </c:pt>
                <c:pt idx="13049">
                  <c:v>-0.123529411764705</c:v>
                </c:pt>
                <c:pt idx="13050">
                  <c:v>-0.123529411764705</c:v>
                </c:pt>
                <c:pt idx="13051">
                  <c:v>-0.123529411764705</c:v>
                </c:pt>
                <c:pt idx="13052">
                  <c:v>-0.123529411764705</c:v>
                </c:pt>
                <c:pt idx="13053">
                  <c:v>-0.123529411764705</c:v>
                </c:pt>
                <c:pt idx="13054">
                  <c:v>-0.123529411764705</c:v>
                </c:pt>
                <c:pt idx="13055">
                  <c:v>-0.123529411764705</c:v>
                </c:pt>
                <c:pt idx="13056">
                  <c:v>-0.124369747899159</c:v>
                </c:pt>
                <c:pt idx="13057">
                  <c:v>-0.124369747899159</c:v>
                </c:pt>
                <c:pt idx="13058">
                  <c:v>-0.124369747899159</c:v>
                </c:pt>
                <c:pt idx="13059">
                  <c:v>-0.123529411764705</c:v>
                </c:pt>
                <c:pt idx="13060">
                  <c:v>-0.123529411764705</c:v>
                </c:pt>
                <c:pt idx="13061">
                  <c:v>-0.123529411764705</c:v>
                </c:pt>
                <c:pt idx="13062">
                  <c:v>-0.123529411764705</c:v>
                </c:pt>
                <c:pt idx="13063">
                  <c:v>-0.123529411764705</c:v>
                </c:pt>
                <c:pt idx="13064">
                  <c:v>-0.123529411764705</c:v>
                </c:pt>
                <c:pt idx="13065">
                  <c:v>-0.123529411764705</c:v>
                </c:pt>
                <c:pt idx="13066">
                  <c:v>-0.123529411764705</c:v>
                </c:pt>
                <c:pt idx="13067">
                  <c:v>-0.123529411764705</c:v>
                </c:pt>
                <c:pt idx="13068">
                  <c:v>-0.123529411764705</c:v>
                </c:pt>
                <c:pt idx="13069">
                  <c:v>-0.123529411764705</c:v>
                </c:pt>
                <c:pt idx="13070">
                  <c:v>-0.123529411764705</c:v>
                </c:pt>
                <c:pt idx="13071">
                  <c:v>-0.123529411764705</c:v>
                </c:pt>
                <c:pt idx="13072">
                  <c:v>-0.123529411764705</c:v>
                </c:pt>
                <c:pt idx="13073">
                  <c:v>-0.123529411764705</c:v>
                </c:pt>
                <c:pt idx="13074">
                  <c:v>-0.123529411764705</c:v>
                </c:pt>
                <c:pt idx="13075">
                  <c:v>-0.123529411764705</c:v>
                </c:pt>
                <c:pt idx="13076">
                  <c:v>-0.123529411764705</c:v>
                </c:pt>
                <c:pt idx="13077">
                  <c:v>-0.123529411764705</c:v>
                </c:pt>
                <c:pt idx="13078">
                  <c:v>-0.123529411764705</c:v>
                </c:pt>
                <c:pt idx="13079">
                  <c:v>-0.123529411764705</c:v>
                </c:pt>
                <c:pt idx="13080">
                  <c:v>-0.124369747899159</c:v>
                </c:pt>
                <c:pt idx="13081">
                  <c:v>-0.124369747899159</c:v>
                </c:pt>
                <c:pt idx="13082">
                  <c:v>-0.123529411764705</c:v>
                </c:pt>
                <c:pt idx="13083">
                  <c:v>-0.123529411764705</c:v>
                </c:pt>
                <c:pt idx="13084">
                  <c:v>-0.123529411764705</c:v>
                </c:pt>
                <c:pt idx="13085">
                  <c:v>-0.123529411764705</c:v>
                </c:pt>
                <c:pt idx="13086">
                  <c:v>-0.123529411764705</c:v>
                </c:pt>
                <c:pt idx="13087">
                  <c:v>-0.123529411764705</c:v>
                </c:pt>
                <c:pt idx="13088">
                  <c:v>-0.123529411764705</c:v>
                </c:pt>
                <c:pt idx="13089">
                  <c:v>-0.123529411764705</c:v>
                </c:pt>
                <c:pt idx="13090">
                  <c:v>-0.123529411764705</c:v>
                </c:pt>
                <c:pt idx="13091">
                  <c:v>-0.123529411764705</c:v>
                </c:pt>
                <c:pt idx="13092">
                  <c:v>-0.123529411764705</c:v>
                </c:pt>
                <c:pt idx="13093">
                  <c:v>-0.123529411764705</c:v>
                </c:pt>
                <c:pt idx="13094">
                  <c:v>-0.123529411764705</c:v>
                </c:pt>
                <c:pt idx="13095">
                  <c:v>-0.123529411764705</c:v>
                </c:pt>
                <c:pt idx="13096">
                  <c:v>-0.123529411764705</c:v>
                </c:pt>
                <c:pt idx="13097">
                  <c:v>-0.123529411764705</c:v>
                </c:pt>
                <c:pt idx="13098">
                  <c:v>-0.123529411764705</c:v>
                </c:pt>
                <c:pt idx="13099">
                  <c:v>-0.123529411764705</c:v>
                </c:pt>
                <c:pt idx="13100">
                  <c:v>-0.123529411764705</c:v>
                </c:pt>
                <c:pt idx="13101">
                  <c:v>-0.123529411764705</c:v>
                </c:pt>
                <c:pt idx="13102">
                  <c:v>-0.123529411764705</c:v>
                </c:pt>
                <c:pt idx="13103">
                  <c:v>-0.123529411764705</c:v>
                </c:pt>
                <c:pt idx="13104">
                  <c:v>-0.123529411764705</c:v>
                </c:pt>
                <c:pt idx="13105">
                  <c:v>-0.123529411764705</c:v>
                </c:pt>
                <c:pt idx="13106">
                  <c:v>-0.123529411764705</c:v>
                </c:pt>
                <c:pt idx="13107">
                  <c:v>-0.123529411764705</c:v>
                </c:pt>
                <c:pt idx="13108">
                  <c:v>-0.123529411764705</c:v>
                </c:pt>
                <c:pt idx="13109">
                  <c:v>-0.123529411764705</c:v>
                </c:pt>
                <c:pt idx="13110">
                  <c:v>-0.123529411764705</c:v>
                </c:pt>
                <c:pt idx="13111">
                  <c:v>-0.123529411764705</c:v>
                </c:pt>
                <c:pt idx="13112">
                  <c:v>-0.123529411764705</c:v>
                </c:pt>
                <c:pt idx="13113">
                  <c:v>-0.123529411764705</c:v>
                </c:pt>
                <c:pt idx="13114">
                  <c:v>-0.123529411764705</c:v>
                </c:pt>
                <c:pt idx="13115">
                  <c:v>-0.123529411764705</c:v>
                </c:pt>
                <c:pt idx="13116">
                  <c:v>-0.123529411764705</c:v>
                </c:pt>
                <c:pt idx="13117">
                  <c:v>-0.123529411764705</c:v>
                </c:pt>
                <c:pt idx="13118">
                  <c:v>-0.123529411764705</c:v>
                </c:pt>
                <c:pt idx="13119">
                  <c:v>-0.123529411764705</c:v>
                </c:pt>
                <c:pt idx="13120">
                  <c:v>-0.123529411764705</c:v>
                </c:pt>
                <c:pt idx="13121">
                  <c:v>-0.123529411764705</c:v>
                </c:pt>
                <c:pt idx="13122">
                  <c:v>-0.123529411764705</c:v>
                </c:pt>
                <c:pt idx="13123">
                  <c:v>-0.123529411764705</c:v>
                </c:pt>
                <c:pt idx="13124">
                  <c:v>-0.123529411764705</c:v>
                </c:pt>
                <c:pt idx="13125">
                  <c:v>-0.123529411764705</c:v>
                </c:pt>
                <c:pt idx="13126">
                  <c:v>-0.123529411764705</c:v>
                </c:pt>
                <c:pt idx="13127">
                  <c:v>-0.123529411764705</c:v>
                </c:pt>
                <c:pt idx="13128">
                  <c:v>-0.123529411764705</c:v>
                </c:pt>
                <c:pt idx="13129">
                  <c:v>-0.123529411764705</c:v>
                </c:pt>
                <c:pt idx="13130">
                  <c:v>-0.123529411764705</c:v>
                </c:pt>
                <c:pt idx="13131">
                  <c:v>-0.123529411764705</c:v>
                </c:pt>
                <c:pt idx="13132">
                  <c:v>-0.123529411764705</c:v>
                </c:pt>
                <c:pt idx="13133">
                  <c:v>-0.123529411764705</c:v>
                </c:pt>
                <c:pt idx="13134">
                  <c:v>-0.123529411764705</c:v>
                </c:pt>
                <c:pt idx="13135">
                  <c:v>-0.123529411764705</c:v>
                </c:pt>
                <c:pt idx="13136">
                  <c:v>-0.123529411764705</c:v>
                </c:pt>
                <c:pt idx="13137">
                  <c:v>-0.123529411764705</c:v>
                </c:pt>
                <c:pt idx="13138">
                  <c:v>-0.123529411764705</c:v>
                </c:pt>
                <c:pt idx="13139">
                  <c:v>-0.123529411764705</c:v>
                </c:pt>
                <c:pt idx="13140">
                  <c:v>-0.123529411764705</c:v>
                </c:pt>
                <c:pt idx="13141">
                  <c:v>-0.123529411764705</c:v>
                </c:pt>
                <c:pt idx="13142">
                  <c:v>-0.123529411764705</c:v>
                </c:pt>
                <c:pt idx="13143">
                  <c:v>-0.124369747899159</c:v>
                </c:pt>
                <c:pt idx="13144">
                  <c:v>-0.124369747899159</c:v>
                </c:pt>
                <c:pt idx="13145">
                  <c:v>-0.124369747899159</c:v>
                </c:pt>
                <c:pt idx="13146">
                  <c:v>-0.125210084033613</c:v>
                </c:pt>
                <c:pt idx="13147">
                  <c:v>-0.125210084033613</c:v>
                </c:pt>
                <c:pt idx="13148">
                  <c:v>-0.125210084033613</c:v>
                </c:pt>
                <c:pt idx="13149">
                  <c:v>-0.125210084033613</c:v>
                </c:pt>
                <c:pt idx="13150">
                  <c:v>-0.125210084033613</c:v>
                </c:pt>
                <c:pt idx="13151">
                  <c:v>-0.125210084033613</c:v>
                </c:pt>
                <c:pt idx="13152">
                  <c:v>-0.125210084033613</c:v>
                </c:pt>
                <c:pt idx="13153">
                  <c:v>-0.125210084033613</c:v>
                </c:pt>
                <c:pt idx="13154">
                  <c:v>-0.125210084033613</c:v>
                </c:pt>
                <c:pt idx="13155">
                  <c:v>-0.125210084033613</c:v>
                </c:pt>
                <c:pt idx="13156">
                  <c:v>-0.125210084033613</c:v>
                </c:pt>
                <c:pt idx="13157">
                  <c:v>-0.125210084033613</c:v>
                </c:pt>
                <c:pt idx="13158">
                  <c:v>-0.125210084033613</c:v>
                </c:pt>
                <c:pt idx="13159">
                  <c:v>-0.125210084033613</c:v>
                </c:pt>
                <c:pt idx="13160">
                  <c:v>-0.125210084033613</c:v>
                </c:pt>
                <c:pt idx="13161">
                  <c:v>-0.125210084033613</c:v>
                </c:pt>
                <c:pt idx="13162">
                  <c:v>-0.125210084033613</c:v>
                </c:pt>
                <c:pt idx="13163">
                  <c:v>-0.125210084033613</c:v>
                </c:pt>
                <c:pt idx="13164">
                  <c:v>-0.125210084033613</c:v>
                </c:pt>
                <c:pt idx="13165">
                  <c:v>-0.125210084033613</c:v>
                </c:pt>
                <c:pt idx="13166">
                  <c:v>-0.125210084033613</c:v>
                </c:pt>
                <c:pt idx="13167">
                  <c:v>-0.125210084033613</c:v>
                </c:pt>
                <c:pt idx="13168">
                  <c:v>-0.125210084033613</c:v>
                </c:pt>
                <c:pt idx="13169">
                  <c:v>-0.125210084033613</c:v>
                </c:pt>
                <c:pt idx="13170">
                  <c:v>-0.125210084033613</c:v>
                </c:pt>
                <c:pt idx="13171">
                  <c:v>-0.125210084033613</c:v>
                </c:pt>
                <c:pt idx="13172">
                  <c:v>-0.125210084033613</c:v>
                </c:pt>
                <c:pt idx="13173">
                  <c:v>-0.125210084033613</c:v>
                </c:pt>
                <c:pt idx="13174">
                  <c:v>-0.125210084033613</c:v>
                </c:pt>
                <c:pt idx="13175">
                  <c:v>-0.125210084033613</c:v>
                </c:pt>
                <c:pt idx="13176">
                  <c:v>-0.125210084033613</c:v>
                </c:pt>
                <c:pt idx="13177">
                  <c:v>-0.125210084033613</c:v>
                </c:pt>
                <c:pt idx="13178">
                  <c:v>-0.125210084033613</c:v>
                </c:pt>
                <c:pt idx="13179">
                  <c:v>-0.125210084033613</c:v>
                </c:pt>
                <c:pt idx="13180">
                  <c:v>-0.125210084033613</c:v>
                </c:pt>
                <c:pt idx="13181">
                  <c:v>-0.125210084033613</c:v>
                </c:pt>
                <c:pt idx="13182">
                  <c:v>-0.125210084033613</c:v>
                </c:pt>
                <c:pt idx="13183">
                  <c:v>-0.125210084033613</c:v>
                </c:pt>
                <c:pt idx="13184">
                  <c:v>-0.125210084033613</c:v>
                </c:pt>
                <c:pt idx="13185">
                  <c:v>-0.125210084033613</c:v>
                </c:pt>
                <c:pt idx="13186">
                  <c:v>-0.125210084033613</c:v>
                </c:pt>
                <c:pt idx="13187">
                  <c:v>-0.125210084033613</c:v>
                </c:pt>
                <c:pt idx="13188">
                  <c:v>-0.125210084033613</c:v>
                </c:pt>
                <c:pt idx="13189">
                  <c:v>-0.125210084033613</c:v>
                </c:pt>
                <c:pt idx="13190">
                  <c:v>-0.125210084033613</c:v>
                </c:pt>
                <c:pt idx="13191">
                  <c:v>-0.125210084033613</c:v>
                </c:pt>
                <c:pt idx="13192">
                  <c:v>-0.125210084033613</c:v>
                </c:pt>
                <c:pt idx="13193">
                  <c:v>-0.125210084033613</c:v>
                </c:pt>
                <c:pt idx="13194">
                  <c:v>-0.125210084033613</c:v>
                </c:pt>
                <c:pt idx="13195">
                  <c:v>-0.125210084033613</c:v>
                </c:pt>
                <c:pt idx="13196">
                  <c:v>-0.126050420168067</c:v>
                </c:pt>
                <c:pt idx="13197">
                  <c:v>-0.126050420168067</c:v>
                </c:pt>
                <c:pt idx="13198">
                  <c:v>-0.126050420168067</c:v>
                </c:pt>
                <c:pt idx="13199">
                  <c:v>-0.126890756302521</c:v>
                </c:pt>
                <c:pt idx="13200">
                  <c:v>-0.126890756302521</c:v>
                </c:pt>
                <c:pt idx="13201">
                  <c:v>-0.126890756302521</c:v>
                </c:pt>
                <c:pt idx="13202">
                  <c:v>-0.126890756302521</c:v>
                </c:pt>
                <c:pt idx="13203">
                  <c:v>-0.126890756302521</c:v>
                </c:pt>
                <c:pt idx="13204">
                  <c:v>-0.126890756302521</c:v>
                </c:pt>
                <c:pt idx="13205">
                  <c:v>-0.126890756302521</c:v>
                </c:pt>
                <c:pt idx="13206">
                  <c:v>-0.126890756302521</c:v>
                </c:pt>
                <c:pt idx="13207">
                  <c:v>-0.126890756302521</c:v>
                </c:pt>
                <c:pt idx="13208">
                  <c:v>-0.126890756302521</c:v>
                </c:pt>
                <c:pt idx="13209">
                  <c:v>-0.126890756302521</c:v>
                </c:pt>
                <c:pt idx="13210">
                  <c:v>-0.126890756302521</c:v>
                </c:pt>
                <c:pt idx="13211">
                  <c:v>-0.126890756302521</c:v>
                </c:pt>
                <c:pt idx="13212">
                  <c:v>-0.126890756302521</c:v>
                </c:pt>
                <c:pt idx="13213">
                  <c:v>-0.126890756302521</c:v>
                </c:pt>
                <c:pt idx="13214">
                  <c:v>-0.126890756302521</c:v>
                </c:pt>
                <c:pt idx="13215">
                  <c:v>-0.126890756302521</c:v>
                </c:pt>
                <c:pt idx="13216">
                  <c:v>-0.126890756302521</c:v>
                </c:pt>
                <c:pt idx="13217">
                  <c:v>-0.126890756302521</c:v>
                </c:pt>
                <c:pt idx="13218">
                  <c:v>-0.126890756302521</c:v>
                </c:pt>
                <c:pt idx="13219">
                  <c:v>-0.126890756302521</c:v>
                </c:pt>
                <c:pt idx="13220">
                  <c:v>-0.126890756302521</c:v>
                </c:pt>
                <c:pt idx="13221">
                  <c:v>-0.126890756302521</c:v>
                </c:pt>
                <c:pt idx="13222">
                  <c:v>-0.126890756302521</c:v>
                </c:pt>
                <c:pt idx="13223">
                  <c:v>-0.126050420168067</c:v>
                </c:pt>
                <c:pt idx="13224">
                  <c:v>-0.126050420168067</c:v>
                </c:pt>
                <c:pt idx="13225">
                  <c:v>-0.126050420168067</c:v>
                </c:pt>
                <c:pt idx="13226">
                  <c:v>-0.126050420168067</c:v>
                </c:pt>
                <c:pt idx="13227">
                  <c:v>-0.126050420168067</c:v>
                </c:pt>
                <c:pt idx="13228">
                  <c:v>-0.126050420168067</c:v>
                </c:pt>
                <c:pt idx="13229">
                  <c:v>-0.126050420168067</c:v>
                </c:pt>
                <c:pt idx="13230">
                  <c:v>-0.126050420168067</c:v>
                </c:pt>
                <c:pt idx="13231">
                  <c:v>-0.126050420168067</c:v>
                </c:pt>
                <c:pt idx="13232">
                  <c:v>-0.126050420168067</c:v>
                </c:pt>
                <c:pt idx="13233">
                  <c:v>-0.126050420168067</c:v>
                </c:pt>
                <c:pt idx="13234">
                  <c:v>-0.126050420168067</c:v>
                </c:pt>
                <c:pt idx="13235">
                  <c:v>-0.126890756302521</c:v>
                </c:pt>
                <c:pt idx="13236">
                  <c:v>-0.126890756302521</c:v>
                </c:pt>
                <c:pt idx="13237">
                  <c:v>-0.126050420168067</c:v>
                </c:pt>
                <c:pt idx="13238">
                  <c:v>-0.126050420168067</c:v>
                </c:pt>
                <c:pt idx="13239">
                  <c:v>-0.126050420168067</c:v>
                </c:pt>
                <c:pt idx="13240">
                  <c:v>-0.126050420168067</c:v>
                </c:pt>
                <c:pt idx="13241">
                  <c:v>-0.126050420168067</c:v>
                </c:pt>
                <c:pt idx="13242">
                  <c:v>-0.126050420168067</c:v>
                </c:pt>
                <c:pt idx="13243">
                  <c:v>-0.126050420168067</c:v>
                </c:pt>
                <c:pt idx="13244">
                  <c:v>-0.126050420168067</c:v>
                </c:pt>
                <c:pt idx="13245">
                  <c:v>-0.126050420168067</c:v>
                </c:pt>
                <c:pt idx="13246">
                  <c:v>-0.126050420168067</c:v>
                </c:pt>
                <c:pt idx="13247">
                  <c:v>-0.126050420168067</c:v>
                </c:pt>
                <c:pt idx="13248">
                  <c:v>-0.126050420168067</c:v>
                </c:pt>
                <c:pt idx="13249">
                  <c:v>-0.126050420168067</c:v>
                </c:pt>
                <c:pt idx="13250">
                  <c:v>-0.126050420168067</c:v>
                </c:pt>
                <c:pt idx="13251">
                  <c:v>-0.126890756302521</c:v>
                </c:pt>
                <c:pt idx="13252">
                  <c:v>-0.126890756302521</c:v>
                </c:pt>
                <c:pt idx="13253">
                  <c:v>-0.126890756302521</c:v>
                </c:pt>
                <c:pt idx="13254">
                  <c:v>-0.126890756302521</c:v>
                </c:pt>
                <c:pt idx="13255">
                  <c:v>-0.126890756302521</c:v>
                </c:pt>
                <c:pt idx="13256">
                  <c:v>-0.126890756302521</c:v>
                </c:pt>
                <c:pt idx="13257">
                  <c:v>-0.126890756302521</c:v>
                </c:pt>
                <c:pt idx="13258">
                  <c:v>-0.126890756302521</c:v>
                </c:pt>
                <c:pt idx="13259">
                  <c:v>-0.126890756302521</c:v>
                </c:pt>
                <c:pt idx="13260">
                  <c:v>-0.126890756302521</c:v>
                </c:pt>
                <c:pt idx="13261">
                  <c:v>-0.126890756302521</c:v>
                </c:pt>
                <c:pt idx="13262">
                  <c:v>-0.126890756302521</c:v>
                </c:pt>
                <c:pt idx="13263">
                  <c:v>-0.126890756302521</c:v>
                </c:pt>
                <c:pt idx="13264">
                  <c:v>-0.126890756302521</c:v>
                </c:pt>
                <c:pt idx="13265">
                  <c:v>-0.126890756302521</c:v>
                </c:pt>
                <c:pt idx="13266">
                  <c:v>-0.126890756302521</c:v>
                </c:pt>
                <c:pt idx="13267">
                  <c:v>-0.126890756302521</c:v>
                </c:pt>
                <c:pt idx="13268">
                  <c:v>-0.126890756302521</c:v>
                </c:pt>
                <c:pt idx="13269">
                  <c:v>-0.126890756302521</c:v>
                </c:pt>
                <c:pt idx="13270">
                  <c:v>-0.126890756302521</c:v>
                </c:pt>
                <c:pt idx="13271">
                  <c:v>-0.126890756302521</c:v>
                </c:pt>
                <c:pt idx="13272">
                  <c:v>-0.126890756302521</c:v>
                </c:pt>
                <c:pt idx="13273">
                  <c:v>-0.126890756302521</c:v>
                </c:pt>
                <c:pt idx="13274">
                  <c:v>-0.126890756302521</c:v>
                </c:pt>
                <c:pt idx="13275">
                  <c:v>-0.126890756302521</c:v>
                </c:pt>
                <c:pt idx="13276">
                  <c:v>-0.126890756302521</c:v>
                </c:pt>
                <c:pt idx="13277">
                  <c:v>-0.126890756302521</c:v>
                </c:pt>
                <c:pt idx="13278">
                  <c:v>-0.126890756302521</c:v>
                </c:pt>
                <c:pt idx="13279">
                  <c:v>-0.126890756302521</c:v>
                </c:pt>
                <c:pt idx="13280">
                  <c:v>-0.126890756302521</c:v>
                </c:pt>
                <c:pt idx="13281">
                  <c:v>-0.126890756302521</c:v>
                </c:pt>
                <c:pt idx="13282">
                  <c:v>-0.126890756302521</c:v>
                </c:pt>
                <c:pt idx="13283">
                  <c:v>-0.126890756302521</c:v>
                </c:pt>
                <c:pt idx="13284">
                  <c:v>-0.126890756302521</c:v>
                </c:pt>
                <c:pt idx="13285">
                  <c:v>-0.126890756302521</c:v>
                </c:pt>
                <c:pt idx="13286">
                  <c:v>-0.126890756302521</c:v>
                </c:pt>
                <c:pt idx="13287">
                  <c:v>-0.126890756302521</c:v>
                </c:pt>
                <c:pt idx="13288">
                  <c:v>-0.126890756302521</c:v>
                </c:pt>
                <c:pt idx="13289">
                  <c:v>-0.126890756302521</c:v>
                </c:pt>
                <c:pt idx="13290">
                  <c:v>-0.126890756302521</c:v>
                </c:pt>
                <c:pt idx="13291">
                  <c:v>-0.126890756302521</c:v>
                </c:pt>
                <c:pt idx="13292">
                  <c:v>-0.126890756302521</c:v>
                </c:pt>
                <c:pt idx="13293">
                  <c:v>-0.126890756302521</c:v>
                </c:pt>
                <c:pt idx="13294">
                  <c:v>-0.126890756302521</c:v>
                </c:pt>
                <c:pt idx="13295">
                  <c:v>-0.126890756302521</c:v>
                </c:pt>
                <c:pt idx="13296">
                  <c:v>-0.126890756302521</c:v>
                </c:pt>
                <c:pt idx="13297">
                  <c:v>-0.126890756302521</c:v>
                </c:pt>
                <c:pt idx="13298">
                  <c:v>-0.126890756302521</c:v>
                </c:pt>
                <c:pt idx="13299">
                  <c:v>-0.126890756302521</c:v>
                </c:pt>
                <c:pt idx="13300">
                  <c:v>-0.126890756302521</c:v>
                </c:pt>
                <c:pt idx="13301">
                  <c:v>-0.126890756302521</c:v>
                </c:pt>
                <c:pt idx="13302">
                  <c:v>-0.126890756302521</c:v>
                </c:pt>
                <c:pt idx="13303">
                  <c:v>-0.126890756302521</c:v>
                </c:pt>
                <c:pt idx="13304">
                  <c:v>-0.126890756302521</c:v>
                </c:pt>
                <c:pt idx="13305">
                  <c:v>-0.126890756302521</c:v>
                </c:pt>
                <c:pt idx="13306">
                  <c:v>-0.127731092436974</c:v>
                </c:pt>
                <c:pt idx="13307">
                  <c:v>-0.127731092436974</c:v>
                </c:pt>
                <c:pt idx="13308">
                  <c:v>-0.127731092436974</c:v>
                </c:pt>
                <c:pt idx="13309">
                  <c:v>-0.127731092436974</c:v>
                </c:pt>
                <c:pt idx="13310">
                  <c:v>-0.127731092436974</c:v>
                </c:pt>
                <c:pt idx="13311">
                  <c:v>-0.127731092436974</c:v>
                </c:pt>
                <c:pt idx="13312">
                  <c:v>-0.127731092436974</c:v>
                </c:pt>
                <c:pt idx="13313">
                  <c:v>-0.127731092436974</c:v>
                </c:pt>
                <c:pt idx="13314">
                  <c:v>-0.127731092436974</c:v>
                </c:pt>
                <c:pt idx="13315">
                  <c:v>-0.127731092436974</c:v>
                </c:pt>
                <c:pt idx="13316">
                  <c:v>-0.127731092436974</c:v>
                </c:pt>
                <c:pt idx="13317">
                  <c:v>-0.127731092436974</c:v>
                </c:pt>
                <c:pt idx="13318">
                  <c:v>-0.127731092436974</c:v>
                </c:pt>
                <c:pt idx="13319">
                  <c:v>-0.127731092436974</c:v>
                </c:pt>
                <c:pt idx="13320">
                  <c:v>-0.127731092436974</c:v>
                </c:pt>
                <c:pt idx="13321">
                  <c:v>-0.127731092436974</c:v>
                </c:pt>
                <c:pt idx="13322">
                  <c:v>-0.127731092436974</c:v>
                </c:pt>
                <c:pt idx="13323">
                  <c:v>-0.127731092436974</c:v>
                </c:pt>
                <c:pt idx="13324">
                  <c:v>-0.127731092436974</c:v>
                </c:pt>
                <c:pt idx="13325">
                  <c:v>-0.127731092436974</c:v>
                </c:pt>
                <c:pt idx="13326">
                  <c:v>-0.127731092436974</c:v>
                </c:pt>
                <c:pt idx="13327">
                  <c:v>-0.127731092436974</c:v>
                </c:pt>
                <c:pt idx="13328">
                  <c:v>-0.127731092436974</c:v>
                </c:pt>
                <c:pt idx="13329">
                  <c:v>-0.127731092436974</c:v>
                </c:pt>
                <c:pt idx="13330">
                  <c:v>-0.127731092436974</c:v>
                </c:pt>
                <c:pt idx="13331">
                  <c:v>-0.127731092436974</c:v>
                </c:pt>
                <c:pt idx="13332">
                  <c:v>-0.127731092436974</c:v>
                </c:pt>
                <c:pt idx="13333">
                  <c:v>-0.127731092436974</c:v>
                </c:pt>
                <c:pt idx="13334">
                  <c:v>-0.126890756302521</c:v>
                </c:pt>
                <c:pt idx="13335">
                  <c:v>-0.126890756302521</c:v>
                </c:pt>
                <c:pt idx="13336">
                  <c:v>-0.126890756302521</c:v>
                </c:pt>
                <c:pt idx="13337">
                  <c:v>-0.126890756302521</c:v>
                </c:pt>
                <c:pt idx="13338">
                  <c:v>-0.126890756302521</c:v>
                </c:pt>
                <c:pt idx="13339">
                  <c:v>-0.126890756302521</c:v>
                </c:pt>
                <c:pt idx="13340">
                  <c:v>-0.126890756302521</c:v>
                </c:pt>
                <c:pt idx="13341">
                  <c:v>-0.126890756302521</c:v>
                </c:pt>
                <c:pt idx="13342">
                  <c:v>-0.126890756302521</c:v>
                </c:pt>
                <c:pt idx="13343">
                  <c:v>-0.126890756302521</c:v>
                </c:pt>
                <c:pt idx="13344">
                  <c:v>-0.126890756302521</c:v>
                </c:pt>
                <c:pt idx="13345">
                  <c:v>-0.126890756302521</c:v>
                </c:pt>
                <c:pt idx="13346">
                  <c:v>-0.126890756302521</c:v>
                </c:pt>
                <c:pt idx="13347">
                  <c:v>-0.126890756302521</c:v>
                </c:pt>
                <c:pt idx="13348">
                  <c:v>-0.126890756302521</c:v>
                </c:pt>
                <c:pt idx="13349">
                  <c:v>-0.126890756302521</c:v>
                </c:pt>
                <c:pt idx="13350">
                  <c:v>-0.126890756302521</c:v>
                </c:pt>
                <c:pt idx="13351">
                  <c:v>-0.126050420168067</c:v>
                </c:pt>
                <c:pt idx="13352">
                  <c:v>-0.126050420168067</c:v>
                </c:pt>
                <c:pt idx="13353">
                  <c:v>-0.126050420168067</c:v>
                </c:pt>
                <c:pt idx="13354">
                  <c:v>-0.126050420168067</c:v>
                </c:pt>
                <c:pt idx="13355">
                  <c:v>-0.125210084033613</c:v>
                </c:pt>
                <c:pt idx="13356">
                  <c:v>-0.125210084033613</c:v>
                </c:pt>
                <c:pt idx="13357">
                  <c:v>-0.125210084033613</c:v>
                </c:pt>
                <c:pt idx="13358">
                  <c:v>-0.125210084033613</c:v>
                </c:pt>
                <c:pt idx="13359">
                  <c:v>-0.125210084033613</c:v>
                </c:pt>
                <c:pt idx="13360">
                  <c:v>-0.125210084033613</c:v>
                </c:pt>
                <c:pt idx="13361">
                  <c:v>-0.125210084033613</c:v>
                </c:pt>
                <c:pt idx="13362">
                  <c:v>-0.125210084033613</c:v>
                </c:pt>
                <c:pt idx="13363">
                  <c:v>-0.125210084033613</c:v>
                </c:pt>
                <c:pt idx="13364">
                  <c:v>-0.125210084033613</c:v>
                </c:pt>
                <c:pt idx="13365">
                  <c:v>-0.125210084033613</c:v>
                </c:pt>
                <c:pt idx="13366">
                  <c:v>-0.125210084033613</c:v>
                </c:pt>
                <c:pt idx="13367">
                  <c:v>-0.125210084033613</c:v>
                </c:pt>
                <c:pt idx="13368">
                  <c:v>-0.125210084033613</c:v>
                </c:pt>
                <c:pt idx="13369">
                  <c:v>-0.125210084033613</c:v>
                </c:pt>
                <c:pt idx="13370">
                  <c:v>-0.125210084033613</c:v>
                </c:pt>
                <c:pt idx="13371">
                  <c:v>-0.125210084033613</c:v>
                </c:pt>
                <c:pt idx="13372">
                  <c:v>-0.125210084033613</c:v>
                </c:pt>
                <c:pt idx="13373">
                  <c:v>-0.125210084033613</c:v>
                </c:pt>
                <c:pt idx="13374">
                  <c:v>-0.125210084033613</c:v>
                </c:pt>
                <c:pt idx="13375">
                  <c:v>-0.125210084033613</c:v>
                </c:pt>
                <c:pt idx="13376">
                  <c:v>-0.125210084033613</c:v>
                </c:pt>
                <c:pt idx="13377">
                  <c:v>-0.125210084033613</c:v>
                </c:pt>
                <c:pt idx="13378">
                  <c:v>-0.126050420168067</c:v>
                </c:pt>
                <c:pt idx="13379">
                  <c:v>-0.126050420168067</c:v>
                </c:pt>
                <c:pt idx="13380">
                  <c:v>-0.126050420168067</c:v>
                </c:pt>
                <c:pt idx="13381">
                  <c:v>-0.126050420168067</c:v>
                </c:pt>
                <c:pt idx="13382">
                  <c:v>-0.126050420168067</c:v>
                </c:pt>
                <c:pt idx="13383">
                  <c:v>-0.126050420168067</c:v>
                </c:pt>
                <c:pt idx="13384">
                  <c:v>-0.126050420168067</c:v>
                </c:pt>
                <c:pt idx="13385">
                  <c:v>-0.126050420168067</c:v>
                </c:pt>
                <c:pt idx="13386">
                  <c:v>-0.126050420168067</c:v>
                </c:pt>
                <c:pt idx="13387">
                  <c:v>-0.126050420168067</c:v>
                </c:pt>
                <c:pt idx="13388">
                  <c:v>-0.126050420168067</c:v>
                </c:pt>
                <c:pt idx="13389">
                  <c:v>-0.126050420168067</c:v>
                </c:pt>
                <c:pt idx="13390">
                  <c:v>-0.126050420168067</c:v>
                </c:pt>
                <c:pt idx="13391">
                  <c:v>-0.126050420168067</c:v>
                </c:pt>
                <c:pt idx="13392">
                  <c:v>-0.126050420168067</c:v>
                </c:pt>
                <c:pt idx="13393">
                  <c:v>-0.126050420168067</c:v>
                </c:pt>
                <c:pt idx="13394">
                  <c:v>-0.126050420168067</c:v>
                </c:pt>
                <c:pt idx="13395">
                  <c:v>-0.126050420168067</c:v>
                </c:pt>
                <c:pt idx="13396">
                  <c:v>-0.126050420168067</c:v>
                </c:pt>
                <c:pt idx="13397">
                  <c:v>-0.126050420168067</c:v>
                </c:pt>
                <c:pt idx="13398">
                  <c:v>-0.126050420168067</c:v>
                </c:pt>
                <c:pt idx="13399">
                  <c:v>-0.126050420168067</c:v>
                </c:pt>
                <c:pt idx="13400">
                  <c:v>-0.126050420168067</c:v>
                </c:pt>
                <c:pt idx="13401">
                  <c:v>-0.126050420168067</c:v>
                </c:pt>
                <c:pt idx="13402">
                  <c:v>-0.126050420168067</c:v>
                </c:pt>
                <c:pt idx="13403">
                  <c:v>-0.126050420168067</c:v>
                </c:pt>
                <c:pt idx="13404">
                  <c:v>-0.126050420168067</c:v>
                </c:pt>
                <c:pt idx="13405">
                  <c:v>-0.126050420168067</c:v>
                </c:pt>
                <c:pt idx="13406">
                  <c:v>-0.126050420168067</c:v>
                </c:pt>
                <c:pt idx="13407">
                  <c:v>-0.126050420168067</c:v>
                </c:pt>
                <c:pt idx="13408">
                  <c:v>-0.126050420168067</c:v>
                </c:pt>
                <c:pt idx="13409">
                  <c:v>-0.126050420168067</c:v>
                </c:pt>
                <c:pt idx="13410">
                  <c:v>-0.126050420168067</c:v>
                </c:pt>
                <c:pt idx="13411">
                  <c:v>-0.126050420168067</c:v>
                </c:pt>
                <c:pt idx="13412">
                  <c:v>-0.126050420168067</c:v>
                </c:pt>
                <c:pt idx="13413">
                  <c:v>-0.126050420168067</c:v>
                </c:pt>
                <c:pt idx="13414">
                  <c:v>-0.126050420168067</c:v>
                </c:pt>
                <c:pt idx="13415">
                  <c:v>-0.126050420168067</c:v>
                </c:pt>
                <c:pt idx="13416">
                  <c:v>-0.126050420168067</c:v>
                </c:pt>
                <c:pt idx="13417">
                  <c:v>-0.126050420168067</c:v>
                </c:pt>
                <c:pt idx="13418">
                  <c:v>-0.126050420168067</c:v>
                </c:pt>
                <c:pt idx="13419">
                  <c:v>-0.126050420168067</c:v>
                </c:pt>
                <c:pt idx="13420">
                  <c:v>-0.126050420168067</c:v>
                </c:pt>
                <c:pt idx="13421">
                  <c:v>-0.126050420168067</c:v>
                </c:pt>
                <c:pt idx="13422">
                  <c:v>-0.126050420168067</c:v>
                </c:pt>
                <c:pt idx="13423">
                  <c:v>-0.126050420168067</c:v>
                </c:pt>
                <c:pt idx="13424">
                  <c:v>-0.126890756302521</c:v>
                </c:pt>
                <c:pt idx="13425">
                  <c:v>-0.126890756302521</c:v>
                </c:pt>
                <c:pt idx="13426">
                  <c:v>-0.126890756302521</c:v>
                </c:pt>
                <c:pt idx="13427">
                  <c:v>-0.126890756302521</c:v>
                </c:pt>
                <c:pt idx="13428">
                  <c:v>-0.126890756302521</c:v>
                </c:pt>
                <c:pt idx="13429">
                  <c:v>-0.126890756302521</c:v>
                </c:pt>
                <c:pt idx="13430">
                  <c:v>-0.126890756302521</c:v>
                </c:pt>
                <c:pt idx="13431">
                  <c:v>-0.126890756302521</c:v>
                </c:pt>
                <c:pt idx="13432">
                  <c:v>-0.126890756302521</c:v>
                </c:pt>
                <c:pt idx="13433">
                  <c:v>-0.126890756302521</c:v>
                </c:pt>
                <c:pt idx="13434">
                  <c:v>-0.126890756302521</c:v>
                </c:pt>
                <c:pt idx="13435">
                  <c:v>-0.126890756302521</c:v>
                </c:pt>
                <c:pt idx="13436">
                  <c:v>-0.126890756302521</c:v>
                </c:pt>
                <c:pt idx="13437">
                  <c:v>-0.126890756302521</c:v>
                </c:pt>
                <c:pt idx="13438">
                  <c:v>-0.126890756302521</c:v>
                </c:pt>
                <c:pt idx="13439">
                  <c:v>-0.126890756302521</c:v>
                </c:pt>
                <c:pt idx="13440">
                  <c:v>-0.126890756302521</c:v>
                </c:pt>
                <c:pt idx="13441">
                  <c:v>-0.126890756302521</c:v>
                </c:pt>
                <c:pt idx="13442">
                  <c:v>-0.126890756302521</c:v>
                </c:pt>
                <c:pt idx="13443">
                  <c:v>-0.126890756302521</c:v>
                </c:pt>
                <c:pt idx="13444">
                  <c:v>-0.126890756302521</c:v>
                </c:pt>
                <c:pt idx="13445">
                  <c:v>-0.126890756302521</c:v>
                </c:pt>
                <c:pt idx="13446">
                  <c:v>-0.126890756302521</c:v>
                </c:pt>
                <c:pt idx="13447">
                  <c:v>-0.126890756302521</c:v>
                </c:pt>
                <c:pt idx="13448">
                  <c:v>-0.126890756302521</c:v>
                </c:pt>
                <c:pt idx="13449">
                  <c:v>-0.126890756302521</c:v>
                </c:pt>
                <c:pt idx="13450">
                  <c:v>-0.126890756302521</c:v>
                </c:pt>
                <c:pt idx="13451">
                  <c:v>-0.126890756302521</c:v>
                </c:pt>
                <c:pt idx="13452">
                  <c:v>-0.127731092436974</c:v>
                </c:pt>
                <c:pt idx="13453">
                  <c:v>-0.127731092436974</c:v>
                </c:pt>
                <c:pt idx="13454">
                  <c:v>-0.127731092436974</c:v>
                </c:pt>
                <c:pt idx="13455">
                  <c:v>-0.127731092436974</c:v>
                </c:pt>
                <c:pt idx="13456">
                  <c:v>-0.127731092436974</c:v>
                </c:pt>
                <c:pt idx="13457">
                  <c:v>-0.127731092436974</c:v>
                </c:pt>
                <c:pt idx="13458">
                  <c:v>-0.127731092436974</c:v>
                </c:pt>
                <c:pt idx="13459">
                  <c:v>-0.126890756302521</c:v>
                </c:pt>
                <c:pt idx="13460">
                  <c:v>-0.126890756302521</c:v>
                </c:pt>
                <c:pt idx="13461">
                  <c:v>-0.126890756302521</c:v>
                </c:pt>
                <c:pt idx="13462">
                  <c:v>-0.126890756302521</c:v>
                </c:pt>
                <c:pt idx="13463">
                  <c:v>-0.126890756302521</c:v>
                </c:pt>
                <c:pt idx="13464">
                  <c:v>-0.126890756302521</c:v>
                </c:pt>
                <c:pt idx="13465">
                  <c:v>-0.126890756302521</c:v>
                </c:pt>
                <c:pt idx="13466">
                  <c:v>-0.126890756302521</c:v>
                </c:pt>
                <c:pt idx="13467">
                  <c:v>-0.126890756302521</c:v>
                </c:pt>
                <c:pt idx="13468">
                  <c:v>-0.126890756302521</c:v>
                </c:pt>
                <c:pt idx="13469">
                  <c:v>-0.126890756302521</c:v>
                </c:pt>
                <c:pt idx="13470">
                  <c:v>-0.126890756302521</c:v>
                </c:pt>
                <c:pt idx="13471">
                  <c:v>-0.126890756302521</c:v>
                </c:pt>
                <c:pt idx="13472">
                  <c:v>-0.126890756302521</c:v>
                </c:pt>
                <c:pt idx="13473">
                  <c:v>-0.126890756302521</c:v>
                </c:pt>
                <c:pt idx="13474">
                  <c:v>-0.126890756302521</c:v>
                </c:pt>
                <c:pt idx="13475">
                  <c:v>-0.126890756302521</c:v>
                </c:pt>
                <c:pt idx="13476">
                  <c:v>-0.126890756302521</c:v>
                </c:pt>
                <c:pt idx="13477">
                  <c:v>-0.126890756302521</c:v>
                </c:pt>
                <c:pt idx="13478">
                  <c:v>-0.126890756302521</c:v>
                </c:pt>
                <c:pt idx="13479">
                  <c:v>-0.126890756302521</c:v>
                </c:pt>
                <c:pt idx="13480">
                  <c:v>-0.126890756302521</c:v>
                </c:pt>
                <c:pt idx="13481">
                  <c:v>-0.126890756302521</c:v>
                </c:pt>
                <c:pt idx="13482">
                  <c:v>-0.126890756302521</c:v>
                </c:pt>
                <c:pt idx="13483">
                  <c:v>-0.126890756302521</c:v>
                </c:pt>
                <c:pt idx="13484">
                  <c:v>-0.126890756302521</c:v>
                </c:pt>
                <c:pt idx="13485">
                  <c:v>-0.126890756302521</c:v>
                </c:pt>
                <c:pt idx="13486">
                  <c:v>-0.126890756302521</c:v>
                </c:pt>
                <c:pt idx="13487">
                  <c:v>-0.126890756302521</c:v>
                </c:pt>
                <c:pt idx="13488">
                  <c:v>-0.126890756302521</c:v>
                </c:pt>
                <c:pt idx="13489">
                  <c:v>-0.126890756302521</c:v>
                </c:pt>
                <c:pt idx="13490">
                  <c:v>-0.126890756302521</c:v>
                </c:pt>
                <c:pt idx="13491">
                  <c:v>-0.126050420168067</c:v>
                </c:pt>
                <c:pt idx="13492">
                  <c:v>-0.126050420168067</c:v>
                </c:pt>
                <c:pt idx="13493">
                  <c:v>-0.126050420168067</c:v>
                </c:pt>
                <c:pt idx="13494">
                  <c:v>-0.126050420168067</c:v>
                </c:pt>
                <c:pt idx="13495">
                  <c:v>-0.126050420168067</c:v>
                </c:pt>
                <c:pt idx="13496">
                  <c:v>-0.126050420168067</c:v>
                </c:pt>
                <c:pt idx="13497">
                  <c:v>-0.126050420168067</c:v>
                </c:pt>
                <c:pt idx="13498">
                  <c:v>-0.126050420168067</c:v>
                </c:pt>
                <c:pt idx="13499">
                  <c:v>-0.126050420168067</c:v>
                </c:pt>
                <c:pt idx="13500">
                  <c:v>-0.126050420168067</c:v>
                </c:pt>
                <c:pt idx="13501">
                  <c:v>-0.126050420168067</c:v>
                </c:pt>
                <c:pt idx="13502">
                  <c:v>-0.126050420168067</c:v>
                </c:pt>
                <c:pt idx="13503">
                  <c:v>-0.126050420168067</c:v>
                </c:pt>
                <c:pt idx="13504">
                  <c:v>-0.126050420168067</c:v>
                </c:pt>
                <c:pt idx="13505">
                  <c:v>-0.126050420168067</c:v>
                </c:pt>
                <c:pt idx="13506">
                  <c:v>-0.126050420168067</c:v>
                </c:pt>
                <c:pt idx="13507">
                  <c:v>-0.126050420168067</c:v>
                </c:pt>
                <c:pt idx="13508">
                  <c:v>-0.126050420168067</c:v>
                </c:pt>
                <c:pt idx="13509">
                  <c:v>-0.126050420168067</c:v>
                </c:pt>
                <c:pt idx="13510">
                  <c:v>-0.126050420168067</c:v>
                </c:pt>
                <c:pt idx="13511">
                  <c:v>-0.126050420168067</c:v>
                </c:pt>
                <c:pt idx="13512">
                  <c:v>-0.126050420168067</c:v>
                </c:pt>
                <c:pt idx="13513">
                  <c:v>-0.126050420168067</c:v>
                </c:pt>
                <c:pt idx="13514">
                  <c:v>-0.126050420168067</c:v>
                </c:pt>
                <c:pt idx="13515">
                  <c:v>-0.126050420168067</c:v>
                </c:pt>
                <c:pt idx="13516">
                  <c:v>-0.126050420168067</c:v>
                </c:pt>
                <c:pt idx="13517">
                  <c:v>-0.126050420168067</c:v>
                </c:pt>
                <c:pt idx="13518">
                  <c:v>-0.126050420168067</c:v>
                </c:pt>
                <c:pt idx="13519">
                  <c:v>-0.126050420168067</c:v>
                </c:pt>
                <c:pt idx="13520">
                  <c:v>-0.126050420168067</c:v>
                </c:pt>
                <c:pt idx="13521">
                  <c:v>-0.126890756302521</c:v>
                </c:pt>
                <c:pt idx="13522">
                  <c:v>-0.126890756302521</c:v>
                </c:pt>
                <c:pt idx="13523">
                  <c:v>-0.126890756302521</c:v>
                </c:pt>
                <c:pt idx="13524">
                  <c:v>-0.126890756302521</c:v>
                </c:pt>
                <c:pt idx="13525">
                  <c:v>-0.126890756302521</c:v>
                </c:pt>
                <c:pt idx="13526">
                  <c:v>-0.126890756302521</c:v>
                </c:pt>
                <c:pt idx="13527">
                  <c:v>-0.126890756302521</c:v>
                </c:pt>
                <c:pt idx="13528">
                  <c:v>-0.126890756302521</c:v>
                </c:pt>
                <c:pt idx="13529">
                  <c:v>-0.126890756302521</c:v>
                </c:pt>
                <c:pt idx="13530">
                  <c:v>-0.126890756302521</c:v>
                </c:pt>
                <c:pt idx="13531">
                  <c:v>-0.126890756302521</c:v>
                </c:pt>
                <c:pt idx="13532">
                  <c:v>-0.126890756302521</c:v>
                </c:pt>
                <c:pt idx="13533">
                  <c:v>-0.127731092436974</c:v>
                </c:pt>
                <c:pt idx="13534">
                  <c:v>-0.127731092436974</c:v>
                </c:pt>
                <c:pt idx="13535">
                  <c:v>-0.127731092436974</c:v>
                </c:pt>
                <c:pt idx="13536">
                  <c:v>-0.127731092436974</c:v>
                </c:pt>
                <c:pt idx="13537">
                  <c:v>-0.127731092436974</c:v>
                </c:pt>
                <c:pt idx="13538">
                  <c:v>-0.128571428571428</c:v>
                </c:pt>
                <c:pt idx="13539">
                  <c:v>-0.128571428571428</c:v>
                </c:pt>
                <c:pt idx="13540">
                  <c:v>-0.128571428571428</c:v>
                </c:pt>
                <c:pt idx="13541">
                  <c:v>-0.128571428571428</c:v>
                </c:pt>
                <c:pt idx="13542">
                  <c:v>-0.128571428571428</c:v>
                </c:pt>
                <c:pt idx="13543">
                  <c:v>-0.128571428571428</c:v>
                </c:pt>
                <c:pt idx="13544">
                  <c:v>-0.128571428571428</c:v>
                </c:pt>
                <c:pt idx="13545">
                  <c:v>-0.128571428571428</c:v>
                </c:pt>
                <c:pt idx="13546">
                  <c:v>-0.128571428571428</c:v>
                </c:pt>
                <c:pt idx="13547">
                  <c:v>-0.128571428571428</c:v>
                </c:pt>
                <c:pt idx="13548">
                  <c:v>-0.128571428571428</c:v>
                </c:pt>
                <c:pt idx="13549">
                  <c:v>-0.128571428571428</c:v>
                </c:pt>
                <c:pt idx="13550">
                  <c:v>-0.128571428571428</c:v>
                </c:pt>
                <c:pt idx="13551">
                  <c:v>-0.128571428571428</c:v>
                </c:pt>
                <c:pt idx="13552">
                  <c:v>-0.128571428571428</c:v>
                </c:pt>
                <c:pt idx="13553">
                  <c:v>-0.128571428571428</c:v>
                </c:pt>
                <c:pt idx="13554">
                  <c:v>-0.128571428571428</c:v>
                </c:pt>
                <c:pt idx="13555">
                  <c:v>-0.128571428571428</c:v>
                </c:pt>
                <c:pt idx="13556">
                  <c:v>-0.128571428571428</c:v>
                </c:pt>
                <c:pt idx="13557">
                  <c:v>-0.128571428571428</c:v>
                </c:pt>
                <c:pt idx="13558">
                  <c:v>-0.128571428571428</c:v>
                </c:pt>
                <c:pt idx="13559">
                  <c:v>-0.128571428571428</c:v>
                </c:pt>
                <c:pt idx="13560">
                  <c:v>-0.128571428571428</c:v>
                </c:pt>
                <c:pt idx="13561">
                  <c:v>-0.128571428571428</c:v>
                </c:pt>
                <c:pt idx="13562">
                  <c:v>-0.128571428571428</c:v>
                </c:pt>
                <c:pt idx="13563">
                  <c:v>-0.128571428571428</c:v>
                </c:pt>
                <c:pt idx="13564">
                  <c:v>-0.128571428571428</c:v>
                </c:pt>
                <c:pt idx="13565">
                  <c:v>-0.128571428571428</c:v>
                </c:pt>
                <c:pt idx="13566">
                  <c:v>-0.128571428571428</c:v>
                </c:pt>
                <c:pt idx="13567">
                  <c:v>-0.128571428571428</c:v>
                </c:pt>
                <c:pt idx="13568">
                  <c:v>-0.128571428571428</c:v>
                </c:pt>
                <c:pt idx="13569">
                  <c:v>-0.128571428571428</c:v>
                </c:pt>
                <c:pt idx="13570">
                  <c:v>-0.128571428571428</c:v>
                </c:pt>
                <c:pt idx="13571">
                  <c:v>-0.128571428571428</c:v>
                </c:pt>
                <c:pt idx="13572">
                  <c:v>-0.128571428571428</c:v>
                </c:pt>
                <c:pt idx="13573">
                  <c:v>-0.128571428571428</c:v>
                </c:pt>
                <c:pt idx="13574">
                  <c:v>-0.128571428571428</c:v>
                </c:pt>
                <c:pt idx="13575">
                  <c:v>-0.127731092436974</c:v>
                </c:pt>
                <c:pt idx="13576">
                  <c:v>-0.127731092436974</c:v>
                </c:pt>
                <c:pt idx="13577">
                  <c:v>-0.127731092436974</c:v>
                </c:pt>
                <c:pt idx="13578">
                  <c:v>-0.127731092436974</c:v>
                </c:pt>
                <c:pt idx="13579">
                  <c:v>-0.127731092436974</c:v>
                </c:pt>
                <c:pt idx="13580">
                  <c:v>-0.127731092436974</c:v>
                </c:pt>
                <c:pt idx="13581">
                  <c:v>-0.127731092436974</c:v>
                </c:pt>
                <c:pt idx="13582">
                  <c:v>-0.127731092436974</c:v>
                </c:pt>
                <c:pt idx="13583">
                  <c:v>-0.127731092436974</c:v>
                </c:pt>
                <c:pt idx="13584">
                  <c:v>-0.127731092436974</c:v>
                </c:pt>
                <c:pt idx="13585">
                  <c:v>-0.127731092436974</c:v>
                </c:pt>
                <c:pt idx="13586">
                  <c:v>-0.127731092436974</c:v>
                </c:pt>
                <c:pt idx="13587">
                  <c:v>-0.127731092436974</c:v>
                </c:pt>
                <c:pt idx="13588">
                  <c:v>-0.127731092436974</c:v>
                </c:pt>
                <c:pt idx="13589">
                  <c:v>-0.127731092436974</c:v>
                </c:pt>
                <c:pt idx="13590">
                  <c:v>-0.127731092436974</c:v>
                </c:pt>
                <c:pt idx="13591">
                  <c:v>-0.127731092436974</c:v>
                </c:pt>
                <c:pt idx="13592">
                  <c:v>-0.127731092436974</c:v>
                </c:pt>
                <c:pt idx="13593">
                  <c:v>-0.127731092436974</c:v>
                </c:pt>
                <c:pt idx="13594">
                  <c:v>-0.127731092436974</c:v>
                </c:pt>
                <c:pt idx="13595">
                  <c:v>-0.127731092436974</c:v>
                </c:pt>
                <c:pt idx="13596">
                  <c:v>-0.127731092436974</c:v>
                </c:pt>
                <c:pt idx="13597">
                  <c:v>-0.127731092436974</c:v>
                </c:pt>
                <c:pt idx="13598">
                  <c:v>-0.127731092436974</c:v>
                </c:pt>
                <c:pt idx="13599">
                  <c:v>-0.127731092436974</c:v>
                </c:pt>
                <c:pt idx="13600">
                  <c:v>-0.127731092436974</c:v>
                </c:pt>
                <c:pt idx="13601">
                  <c:v>-0.127731092436974</c:v>
                </c:pt>
                <c:pt idx="13602">
                  <c:v>-0.127731092436974</c:v>
                </c:pt>
                <c:pt idx="13603">
                  <c:v>-0.127731092436974</c:v>
                </c:pt>
                <c:pt idx="13604">
                  <c:v>-0.127731092436974</c:v>
                </c:pt>
                <c:pt idx="13605">
                  <c:v>-0.127731092436974</c:v>
                </c:pt>
                <c:pt idx="13606">
                  <c:v>-0.127731092436974</c:v>
                </c:pt>
                <c:pt idx="13607">
                  <c:v>-0.127731092436974</c:v>
                </c:pt>
                <c:pt idx="13608">
                  <c:v>-0.127731092436974</c:v>
                </c:pt>
                <c:pt idx="13609">
                  <c:v>-0.127731092436974</c:v>
                </c:pt>
                <c:pt idx="13610">
                  <c:v>-0.127731092436974</c:v>
                </c:pt>
                <c:pt idx="13611">
                  <c:v>-0.127731092436974</c:v>
                </c:pt>
                <c:pt idx="13612">
                  <c:v>-0.127731092436974</c:v>
                </c:pt>
                <c:pt idx="13613">
                  <c:v>-0.127731092436974</c:v>
                </c:pt>
                <c:pt idx="13614">
                  <c:v>-0.127731092436974</c:v>
                </c:pt>
                <c:pt idx="13615">
                  <c:v>-0.127731092436974</c:v>
                </c:pt>
                <c:pt idx="13616">
                  <c:v>-0.127731092436974</c:v>
                </c:pt>
                <c:pt idx="13617">
                  <c:v>-0.127731092436974</c:v>
                </c:pt>
                <c:pt idx="13618">
                  <c:v>-0.127731092436974</c:v>
                </c:pt>
                <c:pt idx="13619">
                  <c:v>-0.127731092436974</c:v>
                </c:pt>
                <c:pt idx="13620">
                  <c:v>-0.127731092436974</c:v>
                </c:pt>
                <c:pt idx="13621">
                  <c:v>-0.127731092436974</c:v>
                </c:pt>
                <c:pt idx="13622">
                  <c:v>-0.127731092436974</c:v>
                </c:pt>
                <c:pt idx="13623">
                  <c:v>-0.127731092436974</c:v>
                </c:pt>
                <c:pt idx="13624">
                  <c:v>-0.127731092436974</c:v>
                </c:pt>
                <c:pt idx="13625">
                  <c:v>-0.127731092436974</c:v>
                </c:pt>
                <c:pt idx="13626">
                  <c:v>-0.127731092436974</c:v>
                </c:pt>
                <c:pt idx="13627">
                  <c:v>-0.127731092436974</c:v>
                </c:pt>
                <c:pt idx="13628">
                  <c:v>-0.127731092436974</c:v>
                </c:pt>
                <c:pt idx="13629">
                  <c:v>-0.127731092436974</c:v>
                </c:pt>
                <c:pt idx="13630">
                  <c:v>-0.127731092436974</c:v>
                </c:pt>
                <c:pt idx="13631">
                  <c:v>-0.127731092436974</c:v>
                </c:pt>
                <c:pt idx="13632">
                  <c:v>-0.127731092436974</c:v>
                </c:pt>
                <c:pt idx="13633">
                  <c:v>-0.127731092436974</c:v>
                </c:pt>
                <c:pt idx="13634">
                  <c:v>-0.127731092436974</c:v>
                </c:pt>
                <c:pt idx="13635">
                  <c:v>-0.127731092436974</c:v>
                </c:pt>
                <c:pt idx="13636">
                  <c:v>-0.127731092436974</c:v>
                </c:pt>
                <c:pt idx="13637">
                  <c:v>-0.127731092436974</c:v>
                </c:pt>
                <c:pt idx="13638">
                  <c:v>-0.127731092436974</c:v>
                </c:pt>
                <c:pt idx="13639">
                  <c:v>-0.127731092436974</c:v>
                </c:pt>
                <c:pt idx="13640">
                  <c:v>-0.127731092436974</c:v>
                </c:pt>
                <c:pt idx="13641">
                  <c:v>-0.127731092436974</c:v>
                </c:pt>
                <c:pt idx="13642">
                  <c:v>-0.127731092436974</c:v>
                </c:pt>
                <c:pt idx="13643">
                  <c:v>-0.127731092436974</c:v>
                </c:pt>
                <c:pt idx="13644">
                  <c:v>-0.128571428571428</c:v>
                </c:pt>
                <c:pt idx="13645">
                  <c:v>-0.128571428571428</c:v>
                </c:pt>
                <c:pt idx="13646">
                  <c:v>-0.127731092436974</c:v>
                </c:pt>
                <c:pt idx="13647">
                  <c:v>-0.127731092436974</c:v>
                </c:pt>
                <c:pt idx="13648">
                  <c:v>-0.127731092436974</c:v>
                </c:pt>
                <c:pt idx="13649">
                  <c:v>-0.127731092436974</c:v>
                </c:pt>
                <c:pt idx="13650">
                  <c:v>-0.127731092436974</c:v>
                </c:pt>
                <c:pt idx="13651">
                  <c:v>-0.127731092436974</c:v>
                </c:pt>
                <c:pt idx="13652">
                  <c:v>-0.127731092436974</c:v>
                </c:pt>
                <c:pt idx="13653">
                  <c:v>-0.127731092436974</c:v>
                </c:pt>
                <c:pt idx="13654">
                  <c:v>-0.127731092436974</c:v>
                </c:pt>
                <c:pt idx="13655">
                  <c:v>-0.127731092436974</c:v>
                </c:pt>
                <c:pt idx="13656">
                  <c:v>-0.127731092436974</c:v>
                </c:pt>
                <c:pt idx="13657">
                  <c:v>-0.127731092436974</c:v>
                </c:pt>
                <c:pt idx="13658">
                  <c:v>-0.127731092436974</c:v>
                </c:pt>
                <c:pt idx="13659">
                  <c:v>-0.127731092436974</c:v>
                </c:pt>
                <c:pt idx="13660">
                  <c:v>-0.127731092436974</c:v>
                </c:pt>
                <c:pt idx="13661">
                  <c:v>-0.127731092436974</c:v>
                </c:pt>
                <c:pt idx="13662">
                  <c:v>-0.127731092436974</c:v>
                </c:pt>
                <c:pt idx="13663">
                  <c:v>-0.127731092436974</c:v>
                </c:pt>
                <c:pt idx="13664">
                  <c:v>-0.127731092436974</c:v>
                </c:pt>
                <c:pt idx="13665">
                  <c:v>-0.127731092436974</c:v>
                </c:pt>
                <c:pt idx="13666">
                  <c:v>-0.127731092436974</c:v>
                </c:pt>
                <c:pt idx="13667">
                  <c:v>-0.127731092436974</c:v>
                </c:pt>
                <c:pt idx="13668">
                  <c:v>-0.127731092436974</c:v>
                </c:pt>
                <c:pt idx="13669">
                  <c:v>-0.127731092436974</c:v>
                </c:pt>
                <c:pt idx="13670">
                  <c:v>-0.127731092436974</c:v>
                </c:pt>
                <c:pt idx="13671">
                  <c:v>-0.127731092436974</c:v>
                </c:pt>
                <c:pt idx="13672">
                  <c:v>-0.127731092436974</c:v>
                </c:pt>
                <c:pt idx="13673">
                  <c:v>-0.127731092436974</c:v>
                </c:pt>
                <c:pt idx="13674">
                  <c:v>-0.127731092436974</c:v>
                </c:pt>
                <c:pt idx="13675">
                  <c:v>-0.127731092436974</c:v>
                </c:pt>
                <c:pt idx="13676">
                  <c:v>-0.126890756302521</c:v>
                </c:pt>
                <c:pt idx="13677">
                  <c:v>-0.126890756302521</c:v>
                </c:pt>
                <c:pt idx="13678">
                  <c:v>-0.126890756302521</c:v>
                </c:pt>
                <c:pt idx="13679">
                  <c:v>-0.126890756302521</c:v>
                </c:pt>
                <c:pt idx="13680">
                  <c:v>-0.126890756302521</c:v>
                </c:pt>
                <c:pt idx="13681">
                  <c:v>-0.126890756302521</c:v>
                </c:pt>
                <c:pt idx="13682">
                  <c:v>-0.126890756302521</c:v>
                </c:pt>
                <c:pt idx="13683">
                  <c:v>-0.126890756302521</c:v>
                </c:pt>
                <c:pt idx="13684">
                  <c:v>-0.126890756302521</c:v>
                </c:pt>
                <c:pt idx="13685">
                  <c:v>-0.126890756302521</c:v>
                </c:pt>
                <c:pt idx="13686">
                  <c:v>-0.126890756302521</c:v>
                </c:pt>
                <c:pt idx="13687">
                  <c:v>-0.126890756302521</c:v>
                </c:pt>
                <c:pt idx="13688">
                  <c:v>-0.126890756302521</c:v>
                </c:pt>
                <c:pt idx="13689">
                  <c:v>-0.126890756302521</c:v>
                </c:pt>
                <c:pt idx="13690">
                  <c:v>-0.126890756302521</c:v>
                </c:pt>
                <c:pt idx="13691">
                  <c:v>-0.126890756302521</c:v>
                </c:pt>
                <c:pt idx="13692">
                  <c:v>-0.126890756302521</c:v>
                </c:pt>
                <c:pt idx="13693">
                  <c:v>-0.126890756302521</c:v>
                </c:pt>
                <c:pt idx="13694">
                  <c:v>-0.126890756302521</c:v>
                </c:pt>
                <c:pt idx="13695">
                  <c:v>-0.126890756302521</c:v>
                </c:pt>
                <c:pt idx="13696">
                  <c:v>-0.126890756302521</c:v>
                </c:pt>
                <c:pt idx="13697">
                  <c:v>-0.126890756302521</c:v>
                </c:pt>
                <c:pt idx="13698">
                  <c:v>-0.126890756302521</c:v>
                </c:pt>
                <c:pt idx="13699">
                  <c:v>-0.126890756302521</c:v>
                </c:pt>
                <c:pt idx="13700">
                  <c:v>-0.126890756302521</c:v>
                </c:pt>
                <c:pt idx="13701">
                  <c:v>-0.126890756302521</c:v>
                </c:pt>
                <c:pt idx="13702">
                  <c:v>-0.126890756302521</c:v>
                </c:pt>
                <c:pt idx="13703">
                  <c:v>-0.126890756302521</c:v>
                </c:pt>
                <c:pt idx="13704">
                  <c:v>-0.126890756302521</c:v>
                </c:pt>
                <c:pt idx="13705">
                  <c:v>-0.126890756302521</c:v>
                </c:pt>
                <c:pt idx="13706">
                  <c:v>-0.126890756302521</c:v>
                </c:pt>
                <c:pt idx="13707">
                  <c:v>-0.126890756302521</c:v>
                </c:pt>
                <c:pt idx="13708">
                  <c:v>-0.126890756302521</c:v>
                </c:pt>
                <c:pt idx="13709">
                  <c:v>-0.126890756302521</c:v>
                </c:pt>
                <c:pt idx="13710">
                  <c:v>-0.126890756302521</c:v>
                </c:pt>
                <c:pt idx="13711">
                  <c:v>-0.126050420168067</c:v>
                </c:pt>
                <c:pt idx="13712">
                  <c:v>-0.126050420168067</c:v>
                </c:pt>
                <c:pt idx="13713">
                  <c:v>-0.126050420168067</c:v>
                </c:pt>
                <c:pt idx="13714">
                  <c:v>-0.126050420168067</c:v>
                </c:pt>
                <c:pt idx="13715">
                  <c:v>-0.126050420168067</c:v>
                </c:pt>
                <c:pt idx="13716">
                  <c:v>-0.126050420168067</c:v>
                </c:pt>
                <c:pt idx="13717">
                  <c:v>-0.126050420168067</c:v>
                </c:pt>
                <c:pt idx="13718">
                  <c:v>-0.126050420168067</c:v>
                </c:pt>
                <c:pt idx="13719">
                  <c:v>-0.126050420168067</c:v>
                </c:pt>
                <c:pt idx="13720">
                  <c:v>-0.126050420168067</c:v>
                </c:pt>
                <c:pt idx="13721">
                  <c:v>-0.126050420168067</c:v>
                </c:pt>
                <c:pt idx="13722">
                  <c:v>-0.126050420168067</c:v>
                </c:pt>
                <c:pt idx="13723">
                  <c:v>-0.126050420168067</c:v>
                </c:pt>
                <c:pt idx="13724">
                  <c:v>-0.126050420168067</c:v>
                </c:pt>
                <c:pt idx="13725">
                  <c:v>-0.126050420168067</c:v>
                </c:pt>
                <c:pt idx="13726">
                  <c:v>-0.126050420168067</c:v>
                </c:pt>
                <c:pt idx="13727">
                  <c:v>-0.126050420168067</c:v>
                </c:pt>
                <c:pt idx="13728">
                  <c:v>-0.126050420168067</c:v>
                </c:pt>
                <c:pt idx="13729">
                  <c:v>-0.126050420168067</c:v>
                </c:pt>
                <c:pt idx="13730">
                  <c:v>-0.126050420168067</c:v>
                </c:pt>
                <c:pt idx="13731">
                  <c:v>-0.126050420168067</c:v>
                </c:pt>
                <c:pt idx="13732">
                  <c:v>-0.126050420168067</c:v>
                </c:pt>
                <c:pt idx="13733">
                  <c:v>-0.126050420168067</c:v>
                </c:pt>
                <c:pt idx="13734">
                  <c:v>-0.126050420168067</c:v>
                </c:pt>
                <c:pt idx="13735">
                  <c:v>-0.126050420168067</c:v>
                </c:pt>
                <c:pt idx="13736">
                  <c:v>-0.126890756302521</c:v>
                </c:pt>
                <c:pt idx="13737">
                  <c:v>-0.126890756302521</c:v>
                </c:pt>
                <c:pt idx="13738">
                  <c:v>-0.126890756302521</c:v>
                </c:pt>
                <c:pt idx="13739">
                  <c:v>-0.126890756302521</c:v>
                </c:pt>
                <c:pt idx="13740">
                  <c:v>-0.126890756302521</c:v>
                </c:pt>
                <c:pt idx="13741">
                  <c:v>-0.126050420168067</c:v>
                </c:pt>
                <c:pt idx="13742">
                  <c:v>-0.126050420168067</c:v>
                </c:pt>
                <c:pt idx="13743">
                  <c:v>-0.126890756302521</c:v>
                </c:pt>
                <c:pt idx="13744">
                  <c:v>-0.126890756302521</c:v>
                </c:pt>
                <c:pt idx="13745">
                  <c:v>-0.126890756302521</c:v>
                </c:pt>
                <c:pt idx="13746">
                  <c:v>-0.126890756302521</c:v>
                </c:pt>
                <c:pt idx="13747">
                  <c:v>-0.126890756302521</c:v>
                </c:pt>
                <c:pt idx="13748">
                  <c:v>-0.126890756302521</c:v>
                </c:pt>
                <c:pt idx="13749">
                  <c:v>-0.126890756302521</c:v>
                </c:pt>
                <c:pt idx="13750">
                  <c:v>-0.126890756302521</c:v>
                </c:pt>
                <c:pt idx="13751">
                  <c:v>-0.126890756302521</c:v>
                </c:pt>
                <c:pt idx="13752">
                  <c:v>-0.126050420168067</c:v>
                </c:pt>
                <c:pt idx="13753">
                  <c:v>-0.126050420168067</c:v>
                </c:pt>
                <c:pt idx="13754">
                  <c:v>-0.126050420168067</c:v>
                </c:pt>
                <c:pt idx="13755">
                  <c:v>-0.126050420168067</c:v>
                </c:pt>
                <c:pt idx="13756">
                  <c:v>-0.126050420168067</c:v>
                </c:pt>
                <c:pt idx="13757">
                  <c:v>-0.126050420168067</c:v>
                </c:pt>
                <c:pt idx="13758">
                  <c:v>-0.126050420168067</c:v>
                </c:pt>
                <c:pt idx="13759">
                  <c:v>-0.126050420168067</c:v>
                </c:pt>
                <c:pt idx="13760">
                  <c:v>-0.126050420168067</c:v>
                </c:pt>
                <c:pt idx="13761">
                  <c:v>-0.126890756302521</c:v>
                </c:pt>
                <c:pt idx="13762">
                  <c:v>-0.126890756302521</c:v>
                </c:pt>
                <c:pt idx="13763">
                  <c:v>-0.126890756302521</c:v>
                </c:pt>
                <c:pt idx="13764">
                  <c:v>-0.126890756302521</c:v>
                </c:pt>
                <c:pt idx="13765">
                  <c:v>-0.126890756302521</c:v>
                </c:pt>
                <c:pt idx="13766">
                  <c:v>-0.126890756302521</c:v>
                </c:pt>
                <c:pt idx="13767">
                  <c:v>-0.126890756302521</c:v>
                </c:pt>
                <c:pt idx="13768">
                  <c:v>-0.126890756302521</c:v>
                </c:pt>
                <c:pt idx="13769">
                  <c:v>-0.126890756302521</c:v>
                </c:pt>
                <c:pt idx="13770">
                  <c:v>-0.126890756302521</c:v>
                </c:pt>
                <c:pt idx="13771">
                  <c:v>-0.126890756302521</c:v>
                </c:pt>
                <c:pt idx="13772">
                  <c:v>-0.126890756302521</c:v>
                </c:pt>
                <c:pt idx="13773">
                  <c:v>-0.126890756302521</c:v>
                </c:pt>
                <c:pt idx="13774">
                  <c:v>-0.126890756302521</c:v>
                </c:pt>
                <c:pt idx="13775">
                  <c:v>-0.126890756302521</c:v>
                </c:pt>
                <c:pt idx="13776">
                  <c:v>-0.127731092436974</c:v>
                </c:pt>
                <c:pt idx="13777">
                  <c:v>-0.127731092436974</c:v>
                </c:pt>
                <c:pt idx="13778">
                  <c:v>-0.127731092436974</c:v>
                </c:pt>
                <c:pt idx="13779">
                  <c:v>-0.127731092436974</c:v>
                </c:pt>
                <c:pt idx="13780">
                  <c:v>-0.127731092436974</c:v>
                </c:pt>
                <c:pt idx="13781">
                  <c:v>-0.127731092436974</c:v>
                </c:pt>
                <c:pt idx="13782">
                  <c:v>-0.127731092436974</c:v>
                </c:pt>
                <c:pt idx="13783">
                  <c:v>-0.127731092436974</c:v>
                </c:pt>
                <c:pt idx="13784">
                  <c:v>-0.127731092436974</c:v>
                </c:pt>
                <c:pt idx="13785">
                  <c:v>-0.127731092436974</c:v>
                </c:pt>
                <c:pt idx="13786">
                  <c:v>-0.127731092436974</c:v>
                </c:pt>
                <c:pt idx="13787">
                  <c:v>-0.127731092436974</c:v>
                </c:pt>
                <c:pt idx="13788">
                  <c:v>-0.128571428571428</c:v>
                </c:pt>
                <c:pt idx="13789">
                  <c:v>-0.127731092436974</c:v>
                </c:pt>
                <c:pt idx="13790">
                  <c:v>-0.127731092436974</c:v>
                </c:pt>
                <c:pt idx="13791">
                  <c:v>-0.127731092436974</c:v>
                </c:pt>
                <c:pt idx="13792">
                  <c:v>-0.127731092436974</c:v>
                </c:pt>
                <c:pt idx="13793">
                  <c:v>-0.127731092436974</c:v>
                </c:pt>
                <c:pt idx="13794">
                  <c:v>-0.127731092436974</c:v>
                </c:pt>
                <c:pt idx="13795">
                  <c:v>-0.127731092436974</c:v>
                </c:pt>
                <c:pt idx="13796">
                  <c:v>-0.127731092436974</c:v>
                </c:pt>
                <c:pt idx="13797">
                  <c:v>-0.127731092436974</c:v>
                </c:pt>
                <c:pt idx="13798">
                  <c:v>-0.127731092436974</c:v>
                </c:pt>
                <c:pt idx="13799">
                  <c:v>-0.127731092436974</c:v>
                </c:pt>
                <c:pt idx="13800">
                  <c:v>-0.127731092436974</c:v>
                </c:pt>
                <c:pt idx="13801">
                  <c:v>-0.127731092436974</c:v>
                </c:pt>
                <c:pt idx="13802">
                  <c:v>-0.127731092436974</c:v>
                </c:pt>
                <c:pt idx="13803">
                  <c:v>-0.127731092436974</c:v>
                </c:pt>
                <c:pt idx="13804">
                  <c:v>-0.127731092436974</c:v>
                </c:pt>
                <c:pt idx="13805">
                  <c:v>-0.127731092436974</c:v>
                </c:pt>
                <c:pt idx="13806">
                  <c:v>-0.127731092436974</c:v>
                </c:pt>
                <c:pt idx="13807">
                  <c:v>-0.127731092436974</c:v>
                </c:pt>
                <c:pt idx="13808">
                  <c:v>-0.127731092436974</c:v>
                </c:pt>
                <c:pt idx="13809">
                  <c:v>-0.127731092436974</c:v>
                </c:pt>
                <c:pt idx="13810">
                  <c:v>-0.127731092436974</c:v>
                </c:pt>
                <c:pt idx="13811">
                  <c:v>-0.127731092436974</c:v>
                </c:pt>
                <c:pt idx="13812">
                  <c:v>-0.127731092436974</c:v>
                </c:pt>
                <c:pt idx="13813">
                  <c:v>-0.127731092436974</c:v>
                </c:pt>
                <c:pt idx="13814">
                  <c:v>-0.127731092436974</c:v>
                </c:pt>
                <c:pt idx="13815">
                  <c:v>-0.127731092436974</c:v>
                </c:pt>
                <c:pt idx="13816">
                  <c:v>-0.127731092436974</c:v>
                </c:pt>
                <c:pt idx="13817">
                  <c:v>-0.127731092436974</c:v>
                </c:pt>
                <c:pt idx="13818">
                  <c:v>-0.127731092436974</c:v>
                </c:pt>
                <c:pt idx="13819">
                  <c:v>-0.127731092436974</c:v>
                </c:pt>
                <c:pt idx="13820">
                  <c:v>-0.127731092436974</c:v>
                </c:pt>
                <c:pt idx="13821">
                  <c:v>-0.127731092436974</c:v>
                </c:pt>
                <c:pt idx="13822">
                  <c:v>-0.127731092436974</c:v>
                </c:pt>
                <c:pt idx="13823">
                  <c:v>-0.127731092436974</c:v>
                </c:pt>
                <c:pt idx="13824">
                  <c:v>-0.127731092436974</c:v>
                </c:pt>
                <c:pt idx="13825">
                  <c:v>-0.127731092436974</c:v>
                </c:pt>
                <c:pt idx="13826">
                  <c:v>-0.127731092436974</c:v>
                </c:pt>
                <c:pt idx="13827">
                  <c:v>-0.127731092436974</c:v>
                </c:pt>
                <c:pt idx="13828">
                  <c:v>-0.127731092436974</c:v>
                </c:pt>
                <c:pt idx="13829">
                  <c:v>-0.127731092436974</c:v>
                </c:pt>
                <c:pt idx="13830">
                  <c:v>-0.127731092436974</c:v>
                </c:pt>
                <c:pt idx="13831">
                  <c:v>-0.127731092436974</c:v>
                </c:pt>
                <c:pt idx="13832">
                  <c:v>-0.127731092436974</c:v>
                </c:pt>
                <c:pt idx="13833">
                  <c:v>-0.127731092436974</c:v>
                </c:pt>
                <c:pt idx="13834">
                  <c:v>-0.127731092436974</c:v>
                </c:pt>
                <c:pt idx="13835">
                  <c:v>-0.126890756302521</c:v>
                </c:pt>
                <c:pt idx="13836">
                  <c:v>-0.126050420168067</c:v>
                </c:pt>
                <c:pt idx="13837">
                  <c:v>-0.126050420168067</c:v>
                </c:pt>
                <c:pt idx="13838">
                  <c:v>-0.126050420168067</c:v>
                </c:pt>
                <c:pt idx="13839">
                  <c:v>-0.126050420168067</c:v>
                </c:pt>
                <c:pt idx="13840">
                  <c:v>-0.126050420168067</c:v>
                </c:pt>
                <c:pt idx="13841">
                  <c:v>-0.126050420168067</c:v>
                </c:pt>
                <c:pt idx="13842">
                  <c:v>-0.126050420168067</c:v>
                </c:pt>
                <c:pt idx="13843">
                  <c:v>-0.126050420168067</c:v>
                </c:pt>
                <c:pt idx="13844">
                  <c:v>-0.126050420168067</c:v>
                </c:pt>
                <c:pt idx="13845">
                  <c:v>-0.126050420168067</c:v>
                </c:pt>
                <c:pt idx="13846">
                  <c:v>-0.126050420168067</c:v>
                </c:pt>
                <c:pt idx="13847">
                  <c:v>-0.126050420168067</c:v>
                </c:pt>
                <c:pt idx="13848">
                  <c:v>-0.126050420168067</c:v>
                </c:pt>
                <c:pt idx="13849">
                  <c:v>-0.126050420168067</c:v>
                </c:pt>
                <c:pt idx="13850">
                  <c:v>-0.126890756302521</c:v>
                </c:pt>
                <c:pt idx="13851">
                  <c:v>-0.126890756302521</c:v>
                </c:pt>
                <c:pt idx="13852">
                  <c:v>-0.126890756302521</c:v>
                </c:pt>
                <c:pt idx="13853">
                  <c:v>-0.126890756302521</c:v>
                </c:pt>
                <c:pt idx="13854">
                  <c:v>-0.126890756302521</c:v>
                </c:pt>
                <c:pt idx="13855">
                  <c:v>-0.126890756302521</c:v>
                </c:pt>
                <c:pt idx="13856">
                  <c:v>-0.126890756302521</c:v>
                </c:pt>
                <c:pt idx="13857">
                  <c:v>-0.126890756302521</c:v>
                </c:pt>
                <c:pt idx="13858">
                  <c:v>-0.126890756302521</c:v>
                </c:pt>
                <c:pt idx="13859">
                  <c:v>-0.126050420168067</c:v>
                </c:pt>
                <c:pt idx="13860">
                  <c:v>-0.126050420168067</c:v>
                </c:pt>
                <c:pt idx="13861">
                  <c:v>-0.126050420168067</c:v>
                </c:pt>
                <c:pt idx="13862">
                  <c:v>-0.126050420168067</c:v>
                </c:pt>
                <c:pt idx="13863">
                  <c:v>-0.126050420168067</c:v>
                </c:pt>
                <c:pt idx="13864">
                  <c:v>-0.126050420168067</c:v>
                </c:pt>
                <c:pt idx="13865">
                  <c:v>-0.126050420168067</c:v>
                </c:pt>
                <c:pt idx="13866">
                  <c:v>-0.126050420168067</c:v>
                </c:pt>
                <c:pt idx="13867">
                  <c:v>-0.126050420168067</c:v>
                </c:pt>
                <c:pt idx="13868">
                  <c:v>-0.126050420168067</c:v>
                </c:pt>
                <c:pt idx="13869">
                  <c:v>-0.126050420168067</c:v>
                </c:pt>
                <c:pt idx="13870">
                  <c:v>-0.126050420168067</c:v>
                </c:pt>
                <c:pt idx="13871">
                  <c:v>-0.126050420168067</c:v>
                </c:pt>
                <c:pt idx="13872">
                  <c:v>-0.126050420168067</c:v>
                </c:pt>
                <c:pt idx="13873">
                  <c:v>-0.126890756302521</c:v>
                </c:pt>
                <c:pt idx="13874">
                  <c:v>-0.126890756302521</c:v>
                </c:pt>
                <c:pt idx="13875">
                  <c:v>-0.126890756302521</c:v>
                </c:pt>
                <c:pt idx="13876">
                  <c:v>-0.126890756302521</c:v>
                </c:pt>
                <c:pt idx="13877">
                  <c:v>-0.126890756302521</c:v>
                </c:pt>
                <c:pt idx="13878">
                  <c:v>-0.126890756302521</c:v>
                </c:pt>
                <c:pt idx="13879">
                  <c:v>-0.126890756302521</c:v>
                </c:pt>
                <c:pt idx="13880">
                  <c:v>-0.126890756302521</c:v>
                </c:pt>
                <c:pt idx="13881">
                  <c:v>-0.126890756302521</c:v>
                </c:pt>
                <c:pt idx="13882">
                  <c:v>-0.126890756302521</c:v>
                </c:pt>
                <c:pt idx="13883">
                  <c:v>-0.126890756302521</c:v>
                </c:pt>
                <c:pt idx="13884">
                  <c:v>-0.126890756302521</c:v>
                </c:pt>
                <c:pt idx="13885">
                  <c:v>-0.126890756302521</c:v>
                </c:pt>
                <c:pt idx="13886">
                  <c:v>-0.126050420168067</c:v>
                </c:pt>
                <c:pt idx="13887">
                  <c:v>-0.126050420168067</c:v>
                </c:pt>
                <c:pt idx="13888">
                  <c:v>-0.126050420168067</c:v>
                </c:pt>
                <c:pt idx="13889">
                  <c:v>-0.126050420168067</c:v>
                </c:pt>
                <c:pt idx="13890">
                  <c:v>-0.126050420168067</c:v>
                </c:pt>
                <c:pt idx="13891">
                  <c:v>-0.126890756302521</c:v>
                </c:pt>
                <c:pt idx="13892">
                  <c:v>-0.126890756302521</c:v>
                </c:pt>
                <c:pt idx="13893">
                  <c:v>-0.126890756302521</c:v>
                </c:pt>
                <c:pt idx="13894">
                  <c:v>-0.126890756302521</c:v>
                </c:pt>
                <c:pt idx="13895">
                  <c:v>-0.126890756302521</c:v>
                </c:pt>
                <c:pt idx="13896">
                  <c:v>-0.126890756302521</c:v>
                </c:pt>
                <c:pt idx="13897">
                  <c:v>-0.126890756302521</c:v>
                </c:pt>
                <c:pt idx="13898">
                  <c:v>-0.126890756302521</c:v>
                </c:pt>
                <c:pt idx="13899">
                  <c:v>-0.126890756302521</c:v>
                </c:pt>
                <c:pt idx="13900">
                  <c:v>-0.126890756302521</c:v>
                </c:pt>
                <c:pt idx="13901">
                  <c:v>-0.126890756302521</c:v>
                </c:pt>
                <c:pt idx="13902">
                  <c:v>-0.126890756302521</c:v>
                </c:pt>
                <c:pt idx="13903">
                  <c:v>-0.127731092436974</c:v>
                </c:pt>
                <c:pt idx="13904">
                  <c:v>-0.127731092436974</c:v>
                </c:pt>
                <c:pt idx="13905">
                  <c:v>-0.126890756302521</c:v>
                </c:pt>
                <c:pt idx="13906">
                  <c:v>-0.126890756302521</c:v>
                </c:pt>
                <c:pt idx="13907">
                  <c:v>-0.126890756302521</c:v>
                </c:pt>
                <c:pt idx="13908">
                  <c:v>-0.126890756302521</c:v>
                </c:pt>
                <c:pt idx="13909">
                  <c:v>-0.126890756302521</c:v>
                </c:pt>
                <c:pt idx="13910">
                  <c:v>-0.126890756302521</c:v>
                </c:pt>
                <c:pt idx="13911">
                  <c:v>-0.126890756302521</c:v>
                </c:pt>
                <c:pt idx="13912">
                  <c:v>-0.126890756302521</c:v>
                </c:pt>
                <c:pt idx="13913">
                  <c:v>-0.126890756302521</c:v>
                </c:pt>
                <c:pt idx="13914">
                  <c:v>-0.126890756302521</c:v>
                </c:pt>
                <c:pt idx="13915">
                  <c:v>-0.126890756302521</c:v>
                </c:pt>
                <c:pt idx="13916">
                  <c:v>-0.126050420168067</c:v>
                </c:pt>
                <c:pt idx="13917">
                  <c:v>-0.126050420168067</c:v>
                </c:pt>
                <c:pt idx="13918">
                  <c:v>-0.126890756302521</c:v>
                </c:pt>
                <c:pt idx="13919">
                  <c:v>-0.126890756302521</c:v>
                </c:pt>
                <c:pt idx="13920">
                  <c:v>-0.126890756302521</c:v>
                </c:pt>
                <c:pt idx="13921">
                  <c:v>-0.126890756302521</c:v>
                </c:pt>
                <c:pt idx="13922">
                  <c:v>-0.126890756302521</c:v>
                </c:pt>
                <c:pt idx="13923">
                  <c:v>-0.126890756302521</c:v>
                </c:pt>
                <c:pt idx="13924">
                  <c:v>-0.126890756302521</c:v>
                </c:pt>
                <c:pt idx="13925">
                  <c:v>-0.126890756302521</c:v>
                </c:pt>
                <c:pt idx="13926">
                  <c:v>-0.126890756302521</c:v>
                </c:pt>
                <c:pt idx="13927">
                  <c:v>-0.126890756302521</c:v>
                </c:pt>
                <c:pt idx="13928">
                  <c:v>-0.126890756302521</c:v>
                </c:pt>
                <c:pt idx="13929">
                  <c:v>-0.126890756302521</c:v>
                </c:pt>
                <c:pt idx="13930">
                  <c:v>-0.126890756302521</c:v>
                </c:pt>
                <c:pt idx="13931">
                  <c:v>-0.126890756302521</c:v>
                </c:pt>
                <c:pt idx="13932">
                  <c:v>-0.126890756302521</c:v>
                </c:pt>
                <c:pt idx="13933">
                  <c:v>-0.126890756302521</c:v>
                </c:pt>
                <c:pt idx="13934">
                  <c:v>-0.127731092436974</c:v>
                </c:pt>
                <c:pt idx="13935">
                  <c:v>-0.127731092436974</c:v>
                </c:pt>
                <c:pt idx="13936">
                  <c:v>-0.127731092436974</c:v>
                </c:pt>
                <c:pt idx="13937">
                  <c:v>-0.127731092436974</c:v>
                </c:pt>
                <c:pt idx="13938">
                  <c:v>-0.127731092436974</c:v>
                </c:pt>
                <c:pt idx="13939">
                  <c:v>-0.127731092436974</c:v>
                </c:pt>
                <c:pt idx="13940">
                  <c:v>-0.127731092436974</c:v>
                </c:pt>
                <c:pt idx="13941">
                  <c:v>-0.127731092436974</c:v>
                </c:pt>
                <c:pt idx="13942">
                  <c:v>-0.127731092436974</c:v>
                </c:pt>
                <c:pt idx="13943">
                  <c:v>-0.127731092436974</c:v>
                </c:pt>
                <c:pt idx="13944">
                  <c:v>-0.127731092436974</c:v>
                </c:pt>
                <c:pt idx="13945">
                  <c:v>-0.127731092436974</c:v>
                </c:pt>
                <c:pt idx="13946">
                  <c:v>-0.127731092436974</c:v>
                </c:pt>
                <c:pt idx="13947">
                  <c:v>-0.127731092436974</c:v>
                </c:pt>
                <c:pt idx="13948">
                  <c:v>-0.127731092436974</c:v>
                </c:pt>
                <c:pt idx="13949">
                  <c:v>-0.127731092436974</c:v>
                </c:pt>
                <c:pt idx="13950">
                  <c:v>-0.127731092436974</c:v>
                </c:pt>
                <c:pt idx="13951">
                  <c:v>-0.127731092436974</c:v>
                </c:pt>
                <c:pt idx="13952">
                  <c:v>-0.127731092436974</c:v>
                </c:pt>
                <c:pt idx="13953">
                  <c:v>-0.127731092436974</c:v>
                </c:pt>
                <c:pt idx="13954">
                  <c:v>-0.127731092436974</c:v>
                </c:pt>
                <c:pt idx="13955">
                  <c:v>-0.127731092436974</c:v>
                </c:pt>
                <c:pt idx="13956">
                  <c:v>-0.127731092436974</c:v>
                </c:pt>
                <c:pt idx="13957">
                  <c:v>-0.127731092436974</c:v>
                </c:pt>
                <c:pt idx="13958">
                  <c:v>-0.127731092436974</c:v>
                </c:pt>
                <c:pt idx="13959">
                  <c:v>-0.127731092436974</c:v>
                </c:pt>
                <c:pt idx="13960">
                  <c:v>-0.127731092436974</c:v>
                </c:pt>
                <c:pt idx="13961">
                  <c:v>-0.127731092436974</c:v>
                </c:pt>
                <c:pt idx="13962">
                  <c:v>-0.127731092436974</c:v>
                </c:pt>
                <c:pt idx="13963">
                  <c:v>-0.127731092436974</c:v>
                </c:pt>
                <c:pt idx="13964">
                  <c:v>-0.127731092436974</c:v>
                </c:pt>
                <c:pt idx="13965">
                  <c:v>-0.127731092436974</c:v>
                </c:pt>
                <c:pt idx="13966">
                  <c:v>-0.127731092436974</c:v>
                </c:pt>
                <c:pt idx="13967">
                  <c:v>-0.127731092436974</c:v>
                </c:pt>
                <c:pt idx="13968">
                  <c:v>-0.126890756302521</c:v>
                </c:pt>
                <c:pt idx="13969">
                  <c:v>-0.126890756302521</c:v>
                </c:pt>
                <c:pt idx="13970">
                  <c:v>-0.126890756302521</c:v>
                </c:pt>
                <c:pt idx="13971">
                  <c:v>-0.126890756302521</c:v>
                </c:pt>
                <c:pt idx="13972">
                  <c:v>-0.126890756302521</c:v>
                </c:pt>
                <c:pt idx="13973">
                  <c:v>-0.126890756302521</c:v>
                </c:pt>
                <c:pt idx="13974">
                  <c:v>-0.126890756302521</c:v>
                </c:pt>
                <c:pt idx="13975">
                  <c:v>-0.126890756302521</c:v>
                </c:pt>
                <c:pt idx="13976">
                  <c:v>-0.126890756302521</c:v>
                </c:pt>
                <c:pt idx="13977">
                  <c:v>-0.126890756302521</c:v>
                </c:pt>
                <c:pt idx="13978">
                  <c:v>-0.126890756302521</c:v>
                </c:pt>
                <c:pt idx="13979">
                  <c:v>-0.126890756302521</c:v>
                </c:pt>
                <c:pt idx="13980">
                  <c:v>-0.126890756302521</c:v>
                </c:pt>
                <c:pt idx="13981">
                  <c:v>-0.126890756302521</c:v>
                </c:pt>
                <c:pt idx="13982">
                  <c:v>-0.126890756302521</c:v>
                </c:pt>
                <c:pt idx="13983">
                  <c:v>-0.126890756302521</c:v>
                </c:pt>
                <c:pt idx="13984">
                  <c:v>-0.126890756302521</c:v>
                </c:pt>
                <c:pt idx="13985">
                  <c:v>-0.126050420168067</c:v>
                </c:pt>
                <c:pt idx="13986">
                  <c:v>-0.126050420168067</c:v>
                </c:pt>
                <c:pt idx="13987">
                  <c:v>-0.126050420168067</c:v>
                </c:pt>
                <c:pt idx="13988">
                  <c:v>-0.12689075630252</c:v>
                </c:pt>
                <c:pt idx="13989">
                  <c:v>-0.12689075630252</c:v>
                </c:pt>
                <c:pt idx="13990">
                  <c:v>-0.12689075630252</c:v>
                </c:pt>
                <c:pt idx="13991">
                  <c:v>-0.12689075630252</c:v>
                </c:pt>
                <c:pt idx="13992">
                  <c:v>-0.12689075630252</c:v>
                </c:pt>
                <c:pt idx="13993">
                  <c:v>-0.127731092436974</c:v>
                </c:pt>
                <c:pt idx="13994">
                  <c:v>-0.127731092436974</c:v>
                </c:pt>
                <c:pt idx="13995">
                  <c:v>-0.127731092436974</c:v>
                </c:pt>
                <c:pt idx="13996">
                  <c:v>-0.127731092436974</c:v>
                </c:pt>
                <c:pt idx="13997">
                  <c:v>-0.127731092436974</c:v>
                </c:pt>
                <c:pt idx="13998">
                  <c:v>-0.127731092436974</c:v>
                </c:pt>
                <c:pt idx="13999">
                  <c:v>-0.127731092436974</c:v>
                </c:pt>
                <c:pt idx="14000">
                  <c:v>-0.127731092436974</c:v>
                </c:pt>
                <c:pt idx="14001">
                  <c:v>-0.127731092436974</c:v>
                </c:pt>
                <c:pt idx="14002">
                  <c:v>-0.127731092436974</c:v>
                </c:pt>
                <c:pt idx="14003">
                  <c:v>-0.127731092436974</c:v>
                </c:pt>
                <c:pt idx="14004">
                  <c:v>-0.127731092436974</c:v>
                </c:pt>
                <c:pt idx="14005">
                  <c:v>-0.127731092436974</c:v>
                </c:pt>
                <c:pt idx="14006">
                  <c:v>-0.127731092436974</c:v>
                </c:pt>
                <c:pt idx="14007">
                  <c:v>-0.127731092436974</c:v>
                </c:pt>
                <c:pt idx="14008">
                  <c:v>-0.127731092436974</c:v>
                </c:pt>
                <c:pt idx="14009">
                  <c:v>-0.127731092436974</c:v>
                </c:pt>
                <c:pt idx="14010">
                  <c:v>-0.127731092436974</c:v>
                </c:pt>
                <c:pt idx="14011">
                  <c:v>-0.127731092436974</c:v>
                </c:pt>
                <c:pt idx="14012">
                  <c:v>-0.127731092436974</c:v>
                </c:pt>
                <c:pt idx="14013">
                  <c:v>-0.127731092436974</c:v>
                </c:pt>
                <c:pt idx="14014">
                  <c:v>-0.127731092436974</c:v>
                </c:pt>
                <c:pt idx="14015">
                  <c:v>-0.127731092436974</c:v>
                </c:pt>
                <c:pt idx="14016">
                  <c:v>-0.127731092436974</c:v>
                </c:pt>
                <c:pt idx="14017">
                  <c:v>-0.127731092436974</c:v>
                </c:pt>
                <c:pt idx="14018">
                  <c:v>-0.127731092436974</c:v>
                </c:pt>
                <c:pt idx="14019">
                  <c:v>-0.128571428571428</c:v>
                </c:pt>
                <c:pt idx="14020">
                  <c:v>-0.128571428571428</c:v>
                </c:pt>
                <c:pt idx="14021">
                  <c:v>-0.128571428571428</c:v>
                </c:pt>
                <c:pt idx="14022">
                  <c:v>-0.128571428571428</c:v>
                </c:pt>
                <c:pt idx="14023">
                  <c:v>-0.128571428571428</c:v>
                </c:pt>
                <c:pt idx="14024">
                  <c:v>-0.128571428571428</c:v>
                </c:pt>
                <c:pt idx="14025">
                  <c:v>-0.128571428571428</c:v>
                </c:pt>
                <c:pt idx="14026">
                  <c:v>-0.129411764705882</c:v>
                </c:pt>
                <c:pt idx="14027">
                  <c:v>-0.129411764705882</c:v>
                </c:pt>
                <c:pt idx="14028">
                  <c:v>-0.129411764705882</c:v>
                </c:pt>
                <c:pt idx="14029">
                  <c:v>-0.129411764705882</c:v>
                </c:pt>
                <c:pt idx="14030">
                  <c:v>-0.129411764705882</c:v>
                </c:pt>
                <c:pt idx="14031">
                  <c:v>-0.129411764705882</c:v>
                </c:pt>
                <c:pt idx="14032">
                  <c:v>-0.129411764705882</c:v>
                </c:pt>
                <c:pt idx="14033">
                  <c:v>-0.129411764705882</c:v>
                </c:pt>
                <c:pt idx="14034">
                  <c:v>-0.129411764705882</c:v>
                </c:pt>
                <c:pt idx="14035">
                  <c:v>-0.129411764705882</c:v>
                </c:pt>
                <c:pt idx="14036">
                  <c:v>-0.129411764705882</c:v>
                </c:pt>
                <c:pt idx="14037">
                  <c:v>-0.129411764705882</c:v>
                </c:pt>
                <c:pt idx="14038">
                  <c:v>-0.128571428571428</c:v>
                </c:pt>
                <c:pt idx="14039">
                  <c:v>-0.128571428571428</c:v>
                </c:pt>
                <c:pt idx="14040">
                  <c:v>-0.128571428571428</c:v>
                </c:pt>
                <c:pt idx="14041">
                  <c:v>-0.129411764705882</c:v>
                </c:pt>
                <c:pt idx="14042">
                  <c:v>-0.129411764705882</c:v>
                </c:pt>
                <c:pt idx="14043">
                  <c:v>-0.129411764705882</c:v>
                </c:pt>
                <c:pt idx="14044">
                  <c:v>-0.129411764705882</c:v>
                </c:pt>
                <c:pt idx="14045">
                  <c:v>-0.129411764705882</c:v>
                </c:pt>
                <c:pt idx="14046">
                  <c:v>-0.129411764705882</c:v>
                </c:pt>
                <c:pt idx="14047">
                  <c:v>-0.129411764705882</c:v>
                </c:pt>
                <c:pt idx="14048">
                  <c:v>-0.129411764705882</c:v>
                </c:pt>
                <c:pt idx="14049">
                  <c:v>-0.129411764705882</c:v>
                </c:pt>
                <c:pt idx="14050">
                  <c:v>-0.128571428571428</c:v>
                </c:pt>
                <c:pt idx="14051">
                  <c:v>-0.128571428571428</c:v>
                </c:pt>
                <c:pt idx="14052">
                  <c:v>-0.128571428571428</c:v>
                </c:pt>
                <c:pt idx="14053">
                  <c:v>-0.128571428571428</c:v>
                </c:pt>
                <c:pt idx="14054">
                  <c:v>-0.128571428571428</c:v>
                </c:pt>
                <c:pt idx="14055">
                  <c:v>-0.128571428571428</c:v>
                </c:pt>
                <c:pt idx="14056">
                  <c:v>-0.128571428571428</c:v>
                </c:pt>
                <c:pt idx="14057">
                  <c:v>-0.128571428571428</c:v>
                </c:pt>
                <c:pt idx="14058">
                  <c:v>-0.128571428571428</c:v>
                </c:pt>
                <c:pt idx="14059">
                  <c:v>-0.128571428571428</c:v>
                </c:pt>
                <c:pt idx="14060">
                  <c:v>-0.128571428571428</c:v>
                </c:pt>
                <c:pt idx="14061">
                  <c:v>-0.128571428571428</c:v>
                </c:pt>
                <c:pt idx="14062">
                  <c:v>-0.128571428571428</c:v>
                </c:pt>
                <c:pt idx="14063">
                  <c:v>-0.128571428571428</c:v>
                </c:pt>
                <c:pt idx="14064">
                  <c:v>-0.128571428571428</c:v>
                </c:pt>
                <c:pt idx="14065">
                  <c:v>-0.128571428571428</c:v>
                </c:pt>
                <c:pt idx="14066">
                  <c:v>-0.128571428571428</c:v>
                </c:pt>
                <c:pt idx="14067">
                  <c:v>-0.128571428571428</c:v>
                </c:pt>
                <c:pt idx="14068">
                  <c:v>-0.129411764705882</c:v>
                </c:pt>
                <c:pt idx="14069">
                  <c:v>-0.129411764705882</c:v>
                </c:pt>
                <c:pt idx="14070">
                  <c:v>-0.129411764705882</c:v>
                </c:pt>
                <c:pt idx="14071">
                  <c:v>-0.129411764705882</c:v>
                </c:pt>
                <c:pt idx="14072">
                  <c:v>-0.129411764705882</c:v>
                </c:pt>
                <c:pt idx="14073">
                  <c:v>-0.129411764705882</c:v>
                </c:pt>
                <c:pt idx="14074">
                  <c:v>-0.129411764705882</c:v>
                </c:pt>
                <c:pt idx="14075">
                  <c:v>-0.129411764705882</c:v>
                </c:pt>
                <c:pt idx="14076">
                  <c:v>-0.129411764705882</c:v>
                </c:pt>
                <c:pt idx="14077">
                  <c:v>-0.129411764705882</c:v>
                </c:pt>
                <c:pt idx="14078">
                  <c:v>-0.129411764705882</c:v>
                </c:pt>
                <c:pt idx="14079">
                  <c:v>-0.129411764705882</c:v>
                </c:pt>
                <c:pt idx="14080">
                  <c:v>-0.129411764705882</c:v>
                </c:pt>
                <c:pt idx="14081">
                  <c:v>-0.129411764705882</c:v>
                </c:pt>
                <c:pt idx="14082">
                  <c:v>-0.129411764705882</c:v>
                </c:pt>
                <c:pt idx="14083">
                  <c:v>-0.129411764705882</c:v>
                </c:pt>
                <c:pt idx="14084">
                  <c:v>-0.129411764705882</c:v>
                </c:pt>
                <c:pt idx="14085">
                  <c:v>-0.129411764705882</c:v>
                </c:pt>
                <c:pt idx="14086">
                  <c:v>-0.129411764705882</c:v>
                </c:pt>
                <c:pt idx="14087">
                  <c:v>-0.129411764705882</c:v>
                </c:pt>
                <c:pt idx="14088">
                  <c:v>-0.129411764705882</c:v>
                </c:pt>
                <c:pt idx="14089">
                  <c:v>-0.129411764705882</c:v>
                </c:pt>
                <c:pt idx="14090">
                  <c:v>-0.129411764705882</c:v>
                </c:pt>
                <c:pt idx="14091">
                  <c:v>-0.129411764705882</c:v>
                </c:pt>
                <c:pt idx="14092">
                  <c:v>-0.129411764705882</c:v>
                </c:pt>
                <c:pt idx="14093">
                  <c:v>-0.129411764705882</c:v>
                </c:pt>
                <c:pt idx="14094">
                  <c:v>-0.129411764705882</c:v>
                </c:pt>
                <c:pt idx="14095">
                  <c:v>-0.129411764705882</c:v>
                </c:pt>
                <c:pt idx="14096">
                  <c:v>-0.130252100840336</c:v>
                </c:pt>
                <c:pt idx="14097">
                  <c:v>-0.130252100840336</c:v>
                </c:pt>
                <c:pt idx="14098">
                  <c:v>-0.130252100840336</c:v>
                </c:pt>
                <c:pt idx="14099">
                  <c:v>-0.130252100840336</c:v>
                </c:pt>
                <c:pt idx="14100">
                  <c:v>-0.130252100840336</c:v>
                </c:pt>
                <c:pt idx="14101">
                  <c:v>-0.130252100840336</c:v>
                </c:pt>
                <c:pt idx="14102">
                  <c:v>-0.130252100840336</c:v>
                </c:pt>
                <c:pt idx="14103">
                  <c:v>-0.130252100840336</c:v>
                </c:pt>
                <c:pt idx="14104">
                  <c:v>-0.130252100840336</c:v>
                </c:pt>
                <c:pt idx="14105">
                  <c:v>-0.130252100840336</c:v>
                </c:pt>
                <c:pt idx="14106">
                  <c:v>-0.130252100840336</c:v>
                </c:pt>
                <c:pt idx="14107">
                  <c:v>-0.130252100840336</c:v>
                </c:pt>
                <c:pt idx="14108">
                  <c:v>-0.130252100840336</c:v>
                </c:pt>
                <c:pt idx="14109">
                  <c:v>-0.130252100840336</c:v>
                </c:pt>
                <c:pt idx="14110">
                  <c:v>-0.130252100840336</c:v>
                </c:pt>
                <c:pt idx="14111">
                  <c:v>-0.130252100840336</c:v>
                </c:pt>
                <c:pt idx="14112">
                  <c:v>-0.130252100840336</c:v>
                </c:pt>
                <c:pt idx="14113">
                  <c:v>-0.130252100840336</c:v>
                </c:pt>
                <c:pt idx="14114">
                  <c:v>-0.130252100840336</c:v>
                </c:pt>
                <c:pt idx="14115">
                  <c:v>-0.130252100840336</c:v>
                </c:pt>
                <c:pt idx="14116">
                  <c:v>-0.130252100840336</c:v>
                </c:pt>
                <c:pt idx="14117">
                  <c:v>-0.130252100840336</c:v>
                </c:pt>
                <c:pt idx="14118">
                  <c:v>-0.130252100840336</c:v>
                </c:pt>
                <c:pt idx="14119">
                  <c:v>-0.130252100840336</c:v>
                </c:pt>
                <c:pt idx="14120">
                  <c:v>-0.130252100840336</c:v>
                </c:pt>
                <c:pt idx="14121">
                  <c:v>-0.130252100840336</c:v>
                </c:pt>
                <c:pt idx="14122">
                  <c:v>-0.130252100840336</c:v>
                </c:pt>
                <c:pt idx="14123">
                  <c:v>-0.130252100840336</c:v>
                </c:pt>
                <c:pt idx="14124">
                  <c:v>-0.130252100840336</c:v>
                </c:pt>
                <c:pt idx="14125">
                  <c:v>-0.130252100840336</c:v>
                </c:pt>
                <c:pt idx="14126">
                  <c:v>-0.130252100840336</c:v>
                </c:pt>
                <c:pt idx="14127">
                  <c:v>-0.130252100840336</c:v>
                </c:pt>
                <c:pt idx="14128">
                  <c:v>-0.130252100840336</c:v>
                </c:pt>
                <c:pt idx="14129">
                  <c:v>-0.130252100840336</c:v>
                </c:pt>
                <c:pt idx="14130">
                  <c:v>-0.130252100840336</c:v>
                </c:pt>
                <c:pt idx="14131">
                  <c:v>-0.130252100840336</c:v>
                </c:pt>
                <c:pt idx="14132">
                  <c:v>-0.130252100840336</c:v>
                </c:pt>
                <c:pt idx="14133">
                  <c:v>-0.130252100840336</c:v>
                </c:pt>
                <c:pt idx="14134">
                  <c:v>-0.130252100840336</c:v>
                </c:pt>
                <c:pt idx="14135">
                  <c:v>-0.130252100840336</c:v>
                </c:pt>
                <c:pt idx="14136">
                  <c:v>-0.130252100840336</c:v>
                </c:pt>
                <c:pt idx="14137">
                  <c:v>-0.130252100840336</c:v>
                </c:pt>
                <c:pt idx="14138">
                  <c:v>-0.130252100840336</c:v>
                </c:pt>
                <c:pt idx="14139">
                  <c:v>-0.130252100840336</c:v>
                </c:pt>
                <c:pt idx="14140">
                  <c:v>-0.130252100840336</c:v>
                </c:pt>
                <c:pt idx="14141">
                  <c:v>-0.130252100840336</c:v>
                </c:pt>
                <c:pt idx="14142">
                  <c:v>-0.130252100840336</c:v>
                </c:pt>
                <c:pt idx="14143">
                  <c:v>-0.130252100840336</c:v>
                </c:pt>
                <c:pt idx="14144">
                  <c:v>-0.130252100840336</c:v>
                </c:pt>
                <c:pt idx="14145">
                  <c:v>-0.130252100840336</c:v>
                </c:pt>
                <c:pt idx="14146">
                  <c:v>-0.130252100840336</c:v>
                </c:pt>
                <c:pt idx="14147">
                  <c:v>-0.130252100840336</c:v>
                </c:pt>
                <c:pt idx="14148">
                  <c:v>-0.130252100840336</c:v>
                </c:pt>
                <c:pt idx="14149">
                  <c:v>-0.130252100840336</c:v>
                </c:pt>
                <c:pt idx="14150">
                  <c:v>-0.130252100840336</c:v>
                </c:pt>
                <c:pt idx="14151">
                  <c:v>-0.130252100840336</c:v>
                </c:pt>
                <c:pt idx="14152">
                  <c:v>-0.130252100840336</c:v>
                </c:pt>
                <c:pt idx="14153">
                  <c:v>-0.130252100840336</c:v>
                </c:pt>
                <c:pt idx="14154">
                  <c:v>-0.130252100840336</c:v>
                </c:pt>
                <c:pt idx="14155">
                  <c:v>-0.130252100840336</c:v>
                </c:pt>
                <c:pt idx="14156">
                  <c:v>-0.130252100840336</c:v>
                </c:pt>
                <c:pt idx="14157">
                  <c:v>-0.130252100840336</c:v>
                </c:pt>
                <c:pt idx="14158">
                  <c:v>-0.130252100840336</c:v>
                </c:pt>
                <c:pt idx="14159">
                  <c:v>-0.130252100840336</c:v>
                </c:pt>
                <c:pt idx="14160">
                  <c:v>-0.130252100840336</c:v>
                </c:pt>
                <c:pt idx="14161">
                  <c:v>-0.130252100840336</c:v>
                </c:pt>
                <c:pt idx="14162">
                  <c:v>-0.129411764705882</c:v>
                </c:pt>
                <c:pt idx="14163">
                  <c:v>-0.129411764705882</c:v>
                </c:pt>
                <c:pt idx="14164">
                  <c:v>-0.129411764705882</c:v>
                </c:pt>
                <c:pt idx="14165">
                  <c:v>-0.129411764705882</c:v>
                </c:pt>
                <c:pt idx="14166">
                  <c:v>-0.129411764705882</c:v>
                </c:pt>
                <c:pt idx="14167">
                  <c:v>-0.129411764705882</c:v>
                </c:pt>
                <c:pt idx="14168">
                  <c:v>-0.129411764705882</c:v>
                </c:pt>
                <c:pt idx="14169">
                  <c:v>-0.129411764705882</c:v>
                </c:pt>
                <c:pt idx="14170">
                  <c:v>-0.129411764705882</c:v>
                </c:pt>
                <c:pt idx="14171">
                  <c:v>-0.129411764705882</c:v>
                </c:pt>
                <c:pt idx="14172">
                  <c:v>-0.129411764705882</c:v>
                </c:pt>
                <c:pt idx="14173">
                  <c:v>-0.129411764705882</c:v>
                </c:pt>
                <c:pt idx="14174">
                  <c:v>-0.129411764705882</c:v>
                </c:pt>
                <c:pt idx="14175">
                  <c:v>-0.129411764705882</c:v>
                </c:pt>
                <c:pt idx="14176">
                  <c:v>-0.129411764705882</c:v>
                </c:pt>
                <c:pt idx="14177">
                  <c:v>-0.129411764705882</c:v>
                </c:pt>
                <c:pt idx="14178">
                  <c:v>-0.129411764705882</c:v>
                </c:pt>
                <c:pt idx="14179">
                  <c:v>-0.129411764705882</c:v>
                </c:pt>
                <c:pt idx="14180">
                  <c:v>-0.129411764705882</c:v>
                </c:pt>
                <c:pt idx="14181">
                  <c:v>-0.129411764705882</c:v>
                </c:pt>
                <c:pt idx="14182">
                  <c:v>-0.129411764705882</c:v>
                </c:pt>
                <c:pt idx="14183">
                  <c:v>-0.129411764705882</c:v>
                </c:pt>
                <c:pt idx="14184">
                  <c:v>-0.129411764705882</c:v>
                </c:pt>
                <c:pt idx="14185">
                  <c:v>-0.129411764705882</c:v>
                </c:pt>
                <c:pt idx="14186">
                  <c:v>-0.129411764705882</c:v>
                </c:pt>
                <c:pt idx="14187">
                  <c:v>-0.129411764705882</c:v>
                </c:pt>
                <c:pt idx="14188">
                  <c:v>-0.129411764705882</c:v>
                </c:pt>
                <c:pt idx="14189">
                  <c:v>-0.129411764705882</c:v>
                </c:pt>
                <c:pt idx="14190">
                  <c:v>-0.129411764705882</c:v>
                </c:pt>
                <c:pt idx="14191">
                  <c:v>-0.129411764705882</c:v>
                </c:pt>
                <c:pt idx="14192">
                  <c:v>-0.129411764705882</c:v>
                </c:pt>
                <c:pt idx="14193">
                  <c:v>-0.129411764705882</c:v>
                </c:pt>
                <c:pt idx="14194">
                  <c:v>-0.130252100840336</c:v>
                </c:pt>
                <c:pt idx="14195">
                  <c:v>-0.13109243697478901</c:v>
                </c:pt>
                <c:pt idx="14196">
                  <c:v>-0.13109243697478901</c:v>
                </c:pt>
                <c:pt idx="14197">
                  <c:v>-0.13109243697478901</c:v>
                </c:pt>
                <c:pt idx="14198">
                  <c:v>-0.13109243697478901</c:v>
                </c:pt>
                <c:pt idx="14199">
                  <c:v>-0.13109243697478901</c:v>
                </c:pt>
                <c:pt idx="14200">
                  <c:v>-0.13109243697478901</c:v>
                </c:pt>
                <c:pt idx="14201">
                  <c:v>-0.13109243697478901</c:v>
                </c:pt>
                <c:pt idx="14202">
                  <c:v>-0.13109243697478901</c:v>
                </c:pt>
                <c:pt idx="14203">
                  <c:v>-0.13109243697478901</c:v>
                </c:pt>
                <c:pt idx="14204">
                  <c:v>-0.13109243697478901</c:v>
                </c:pt>
                <c:pt idx="14205">
                  <c:v>-0.13109243697478901</c:v>
                </c:pt>
                <c:pt idx="14206">
                  <c:v>-0.13109243697478901</c:v>
                </c:pt>
                <c:pt idx="14207">
                  <c:v>-0.13109243697478901</c:v>
                </c:pt>
                <c:pt idx="14208">
                  <c:v>-0.13109243697478901</c:v>
                </c:pt>
                <c:pt idx="14209">
                  <c:v>-0.13109243697478901</c:v>
                </c:pt>
                <c:pt idx="14210">
                  <c:v>-0.13109243697478901</c:v>
                </c:pt>
                <c:pt idx="14211">
                  <c:v>-0.13109243697478901</c:v>
                </c:pt>
                <c:pt idx="14212">
                  <c:v>-0.13109243697478901</c:v>
                </c:pt>
                <c:pt idx="14213">
                  <c:v>-0.13109243697478901</c:v>
                </c:pt>
                <c:pt idx="14214">
                  <c:v>-0.13109243697478901</c:v>
                </c:pt>
                <c:pt idx="14215">
                  <c:v>-0.13109243697478901</c:v>
                </c:pt>
                <c:pt idx="14216">
                  <c:v>-0.13109243697478901</c:v>
                </c:pt>
                <c:pt idx="14217">
                  <c:v>-0.13109243697478901</c:v>
                </c:pt>
                <c:pt idx="14218">
                  <c:v>-0.13109243697478901</c:v>
                </c:pt>
                <c:pt idx="14219">
                  <c:v>-0.13109243697478901</c:v>
                </c:pt>
                <c:pt idx="14220">
                  <c:v>-0.13109243697478901</c:v>
                </c:pt>
                <c:pt idx="14221">
                  <c:v>-0.13109243697478901</c:v>
                </c:pt>
                <c:pt idx="14222">
                  <c:v>-0.13109243697478901</c:v>
                </c:pt>
                <c:pt idx="14223">
                  <c:v>-0.13109243697478901</c:v>
                </c:pt>
                <c:pt idx="14224">
                  <c:v>-0.13109243697478901</c:v>
                </c:pt>
                <c:pt idx="14225">
                  <c:v>-0.13109243697478901</c:v>
                </c:pt>
                <c:pt idx="14226">
                  <c:v>-0.13109243697478901</c:v>
                </c:pt>
                <c:pt idx="14227">
                  <c:v>-0.13109243697478901</c:v>
                </c:pt>
                <c:pt idx="14228">
                  <c:v>-0.13109243697478901</c:v>
                </c:pt>
                <c:pt idx="14229">
                  <c:v>-0.13109243697478901</c:v>
                </c:pt>
                <c:pt idx="14230">
                  <c:v>-0.13109243697478901</c:v>
                </c:pt>
                <c:pt idx="14231">
                  <c:v>-0.13109243697478901</c:v>
                </c:pt>
                <c:pt idx="14232">
                  <c:v>-0.13109243697478901</c:v>
                </c:pt>
                <c:pt idx="14233">
                  <c:v>-0.13109243697478901</c:v>
                </c:pt>
                <c:pt idx="14234">
                  <c:v>-0.13109243697478901</c:v>
                </c:pt>
                <c:pt idx="14235">
                  <c:v>-0.13109243697478901</c:v>
                </c:pt>
                <c:pt idx="14236">
                  <c:v>-0.13109243697478901</c:v>
                </c:pt>
                <c:pt idx="14237">
                  <c:v>-0.13109243697478901</c:v>
                </c:pt>
                <c:pt idx="14238">
                  <c:v>-0.13109243697478901</c:v>
                </c:pt>
                <c:pt idx="14239">
                  <c:v>-0.13109243697478901</c:v>
                </c:pt>
                <c:pt idx="14240">
                  <c:v>-0.13109243697478901</c:v>
                </c:pt>
                <c:pt idx="14241">
                  <c:v>-0.13109243697478901</c:v>
                </c:pt>
                <c:pt idx="14242">
                  <c:v>-0.13109243697478901</c:v>
                </c:pt>
                <c:pt idx="14243">
                  <c:v>-0.13109243697478901</c:v>
                </c:pt>
                <c:pt idx="14244">
                  <c:v>-0.13109243697478901</c:v>
                </c:pt>
                <c:pt idx="14245">
                  <c:v>-0.13109243697478901</c:v>
                </c:pt>
                <c:pt idx="14246">
                  <c:v>-0.13109243697478901</c:v>
                </c:pt>
                <c:pt idx="14247">
                  <c:v>-0.13109243697478901</c:v>
                </c:pt>
                <c:pt idx="14248">
                  <c:v>-0.13109243697478901</c:v>
                </c:pt>
                <c:pt idx="14249">
                  <c:v>-0.13109243697478901</c:v>
                </c:pt>
                <c:pt idx="14250">
                  <c:v>-0.13109243697478901</c:v>
                </c:pt>
                <c:pt idx="14251">
                  <c:v>-0.13109243697478901</c:v>
                </c:pt>
                <c:pt idx="14252">
                  <c:v>-0.13109243697478901</c:v>
                </c:pt>
                <c:pt idx="14253">
                  <c:v>-0.13109243697478901</c:v>
                </c:pt>
                <c:pt idx="14254">
                  <c:v>-0.13109243697478901</c:v>
                </c:pt>
                <c:pt idx="14255">
                  <c:v>-0.13109243697478901</c:v>
                </c:pt>
                <c:pt idx="14256">
                  <c:v>-0.13109243697478901</c:v>
                </c:pt>
                <c:pt idx="14257">
                  <c:v>-0.13109243697478901</c:v>
                </c:pt>
                <c:pt idx="14258">
                  <c:v>-0.13109243697478901</c:v>
                </c:pt>
                <c:pt idx="14259">
                  <c:v>-0.13109243697478901</c:v>
                </c:pt>
                <c:pt idx="14260">
                  <c:v>-0.13109243697478901</c:v>
                </c:pt>
                <c:pt idx="14261">
                  <c:v>-0.13109243697478901</c:v>
                </c:pt>
                <c:pt idx="14262">
                  <c:v>-0.13109243697478901</c:v>
                </c:pt>
                <c:pt idx="14263">
                  <c:v>-0.13109243697478901</c:v>
                </c:pt>
                <c:pt idx="14264">
                  <c:v>-0.13109243697478901</c:v>
                </c:pt>
                <c:pt idx="14265">
                  <c:v>-0.13109243697478901</c:v>
                </c:pt>
                <c:pt idx="14266">
                  <c:v>-0.13109243697478901</c:v>
                </c:pt>
                <c:pt idx="14267">
                  <c:v>-0.13109243697478901</c:v>
                </c:pt>
                <c:pt idx="14268">
                  <c:v>-0.13109243697478901</c:v>
                </c:pt>
                <c:pt idx="14269">
                  <c:v>-0.13109243697478901</c:v>
                </c:pt>
                <c:pt idx="14270">
                  <c:v>-0.13109243697478901</c:v>
                </c:pt>
                <c:pt idx="14271">
                  <c:v>-0.13109243697478901</c:v>
                </c:pt>
                <c:pt idx="14272">
                  <c:v>-0.13109243697478901</c:v>
                </c:pt>
                <c:pt idx="14273">
                  <c:v>-0.13109243697478901</c:v>
                </c:pt>
                <c:pt idx="14274">
                  <c:v>-0.13109243697478901</c:v>
                </c:pt>
                <c:pt idx="14275">
                  <c:v>-0.13109243697478901</c:v>
                </c:pt>
                <c:pt idx="14276">
                  <c:v>-0.13109243697478901</c:v>
                </c:pt>
                <c:pt idx="14277">
                  <c:v>-0.13109243697478901</c:v>
                </c:pt>
                <c:pt idx="14278">
                  <c:v>-0.13109243697478901</c:v>
                </c:pt>
                <c:pt idx="14279">
                  <c:v>-0.13109243697478901</c:v>
                </c:pt>
                <c:pt idx="14280">
                  <c:v>-0.13109243697478901</c:v>
                </c:pt>
                <c:pt idx="14281">
                  <c:v>-0.13193277310924301</c:v>
                </c:pt>
                <c:pt idx="14282">
                  <c:v>-0.13193277310924301</c:v>
                </c:pt>
                <c:pt idx="14283">
                  <c:v>-0.13193277310924301</c:v>
                </c:pt>
                <c:pt idx="14284">
                  <c:v>-0.13193277310924301</c:v>
                </c:pt>
                <c:pt idx="14285">
                  <c:v>-0.13193277310924301</c:v>
                </c:pt>
                <c:pt idx="14286">
                  <c:v>-0.13193277310924301</c:v>
                </c:pt>
                <c:pt idx="14287">
                  <c:v>-0.13193277310924301</c:v>
                </c:pt>
                <c:pt idx="14288">
                  <c:v>-0.13193277310924301</c:v>
                </c:pt>
                <c:pt idx="14289">
                  <c:v>-0.13193277310924301</c:v>
                </c:pt>
                <c:pt idx="14290">
                  <c:v>-0.13193277310924301</c:v>
                </c:pt>
                <c:pt idx="14291">
                  <c:v>-0.13193277310924301</c:v>
                </c:pt>
                <c:pt idx="14292">
                  <c:v>-0.13193277310924301</c:v>
                </c:pt>
                <c:pt idx="14293">
                  <c:v>-0.13193277310924301</c:v>
                </c:pt>
                <c:pt idx="14294">
                  <c:v>-0.13193277310924301</c:v>
                </c:pt>
                <c:pt idx="14295">
                  <c:v>-0.13193277310924301</c:v>
                </c:pt>
                <c:pt idx="14296">
                  <c:v>-0.13193277310924301</c:v>
                </c:pt>
                <c:pt idx="14297">
                  <c:v>-0.13193277310924301</c:v>
                </c:pt>
                <c:pt idx="14298">
                  <c:v>-0.13193277310924301</c:v>
                </c:pt>
                <c:pt idx="14299">
                  <c:v>-0.13193277310924301</c:v>
                </c:pt>
                <c:pt idx="14300">
                  <c:v>-0.13193277310924301</c:v>
                </c:pt>
                <c:pt idx="14301">
                  <c:v>-0.13193277310924301</c:v>
                </c:pt>
                <c:pt idx="14302">
                  <c:v>-0.13193277310924301</c:v>
                </c:pt>
                <c:pt idx="14303">
                  <c:v>-0.13193277310924301</c:v>
                </c:pt>
                <c:pt idx="14304">
                  <c:v>-0.13193277310924301</c:v>
                </c:pt>
                <c:pt idx="14305">
                  <c:v>-0.13193277310924301</c:v>
                </c:pt>
                <c:pt idx="14306">
                  <c:v>-0.13193277310924301</c:v>
                </c:pt>
                <c:pt idx="14307">
                  <c:v>-0.13193277310924301</c:v>
                </c:pt>
                <c:pt idx="14308">
                  <c:v>-0.13193277310924301</c:v>
                </c:pt>
                <c:pt idx="14309">
                  <c:v>-0.13193277310924301</c:v>
                </c:pt>
                <c:pt idx="14310">
                  <c:v>-0.13193277310924301</c:v>
                </c:pt>
                <c:pt idx="14311">
                  <c:v>-0.13193277310924301</c:v>
                </c:pt>
                <c:pt idx="14312">
                  <c:v>-0.13277310924369701</c:v>
                </c:pt>
                <c:pt idx="14313">
                  <c:v>-0.13277310924369701</c:v>
                </c:pt>
                <c:pt idx="14314">
                  <c:v>-0.13277310924369701</c:v>
                </c:pt>
                <c:pt idx="14315">
                  <c:v>-0.13277310924369701</c:v>
                </c:pt>
                <c:pt idx="14316">
                  <c:v>-0.13277310924369701</c:v>
                </c:pt>
                <c:pt idx="14317">
                  <c:v>-0.13277310924369701</c:v>
                </c:pt>
                <c:pt idx="14318">
                  <c:v>-0.13277310924369701</c:v>
                </c:pt>
                <c:pt idx="14319">
                  <c:v>-0.13277310924369701</c:v>
                </c:pt>
                <c:pt idx="14320">
                  <c:v>-0.13277310924369701</c:v>
                </c:pt>
                <c:pt idx="14321">
                  <c:v>-0.13277310924369701</c:v>
                </c:pt>
                <c:pt idx="14322">
                  <c:v>-0.13193277310924301</c:v>
                </c:pt>
                <c:pt idx="14323">
                  <c:v>-0.13277310924369701</c:v>
                </c:pt>
                <c:pt idx="14324">
                  <c:v>-0.13277310924369701</c:v>
                </c:pt>
                <c:pt idx="14325">
                  <c:v>-0.13277310924369701</c:v>
                </c:pt>
                <c:pt idx="14326">
                  <c:v>-0.13277310924369701</c:v>
                </c:pt>
                <c:pt idx="14327">
                  <c:v>-0.13277310924369701</c:v>
                </c:pt>
                <c:pt idx="14328">
                  <c:v>-0.13277310924369701</c:v>
                </c:pt>
                <c:pt idx="14329">
                  <c:v>-0.13277310924369701</c:v>
                </c:pt>
                <c:pt idx="14330">
                  <c:v>-0.13277310924369701</c:v>
                </c:pt>
                <c:pt idx="14331">
                  <c:v>-0.13277310924369701</c:v>
                </c:pt>
                <c:pt idx="14332">
                  <c:v>-0.13277310924369701</c:v>
                </c:pt>
                <c:pt idx="14333">
                  <c:v>-0.13277310924369701</c:v>
                </c:pt>
                <c:pt idx="14334">
                  <c:v>-0.13277310924369701</c:v>
                </c:pt>
                <c:pt idx="14335">
                  <c:v>-0.13277310924369701</c:v>
                </c:pt>
                <c:pt idx="14336">
                  <c:v>-0.13277310924369701</c:v>
                </c:pt>
                <c:pt idx="14337">
                  <c:v>-0.13277310924369701</c:v>
                </c:pt>
                <c:pt idx="14338">
                  <c:v>-0.13277310924369701</c:v>
                </c:pt>
                <c:pt idx="14339">
                  <c:v>-0.13277310924369701</c:v>
                </c:pt>
                <c:pt idx="14340">
                  <c:v>-0.13277310924369701</c:v>
                </c:pt>
                <c:pt idx="14341">
                  <c:v>-0.13277310924369701</c:v>
                </c:pt>
                <c:pt idx="14342">
                  <c:v>-0.13277310924369701</c:v>
                </c:pt>
                <c:pt idx="14343">
                  <c:v>-0.13277310924369701</c:v>
                </c:pt>
                <c:pt idx="14344">
                  <c:v>-0.13277310924369701</c:v>
                </c:pt>
                <c:pt idx="14345">
                  <c:v>-0.13277310924369701</c:v>
                </c:pt>
                <c:pt idx="14346">
                  <c:v>-0.13277310924369701</c:v>
                </c:pt>
                <c:pt idx="14347">
                  <c:v>-0.13277310924369701</c:v>
                </c:pt>
                <c:pt idx="14348">
                  <c:v>-0.13277310924369701</c:v>
                </c:pt>
                <c:pt idx="14349">
                  <c:v>-0.13277310924369701</c:v>
                </c:pt>
                <c:pt idx="14350">
                  <c:v>-0.13277310924369701</c:v>
                </c:pt>
                <c:pt idx="14351">
                  <c:v>-0.13277310924369701</c:v>
                </c:pt>
                <c:pt idx="14352">
                  <c:v>-0.13277310924369701</c:v>
                </c:pt>
                <c:pt idx="14353">
                  <c:v>-0.13277310924369701</c:v>
                </c:pt>
                <c:pt idx="14354">
                  <c:v>-0.13277310924369701</c:v>
                </c:pt>
                <c:pt idx="14355">
                  <c:v>-0.13277310924369701</c:v>
                </c:pt>
                <c:pt idx="14356">
                  <c:v>-0.13277310924369701</c:v>
                </c:pt>
                <c:pt idx="14357">
                  <c:v>-0.13277310924369701</c:v>
                </c:pt>
                <c:pt idx="14358">
                  <c:v>-0.13277310924369701</c:v>
                </c:pt>
                <c:pt idx="14359">
                  <c:v>-0.13277310924369701</c:v>
                </c:pt>
                <c:pt idx="14360">
                  <c:v>-0.13277310924369701</c:v>
                </c:pt>
                <c:pt idx="14361">
                  <c:v>-0.13277310924369701</c:v>
                </c:pt>
                <c:pt idx="14362">
                  <c:v>-0.13277310924369701</c:v>
                </c:pt>
                <c:pt idx="14363">
                  <c:v>-0.13277310924369701</c:v>
                </c:pt>
                <c:pt idx="14364">
                  <c:v>-0.13277310924369701</c:v>
                </c:pt>
                <c:pt idx="14365">
                  <c:v>-0.13277310924369701</c:v>
                </c:pt>
                <c:pt idx="14366">
                  <c:v>-0.13277310924369701</c:v>
                </c:pt>
                <c:pt idx="14367">
                  <c:v>-0.13361344537815101</c:v>
                </c:pt>
                <c:pt idx="14368">
                  <c:v>-0.13361344537815101</c:v>
                </c:pt>
                <c:pt idx="14369">
                  <c:v>-0.13361344537815101</c:v>
                </c:pt>
                <c:pt idx="14370">
                  <c:v>-0.13361344537815101</c:v>
                </c:pt>
                <c:pt idx="14371">
                  <c:v>-0.13361344537815101</c:v>
                </c:pt>
                <c:pt idx="14372">
                  <c:v>-0.13361344537815101</c:v>
                </c:pt>
                <c:pt idx="14373">
                  <c:v>-0.13361344537815101</c:v>
                </c:pt>
                <c:pt idx="14374">
                  <c:v>-0.13361344537815101</c:v>
                </c:pt>
                <c:pt idx="14375">
                  <c:v>-0.13361344537815101</c:v>
                </c:pt>
                <c:pt idx="14376">
                  <c:v>-0.13361344537815101</c:v>
                </c:pt>
                <c:pt idx="14377">
                  <c:v>-0.13361344537815101</c:v>
                </c:pt>
                <c:pt idx="14378">
                  <c:v>-0.13361344537815101</c:v>
                </c:pt>
                <c:pt idx="14379">
                  <c:v>-0.13361344537815101</c:v>
                </c:pt>
                <c:pt idx="14380">
                  <c:v>-0.13277310924369701</c:v>
                </c:pt>
                <c:pt idx="14381">
                  <c:v>-0.13277310924369701</c:v>
                </c:pt>
                <c:pt idx="14382">
                  <c:v>-0.13277310924369701</c:v>
                </c:pt>
                <c:pt idx="14383">
                  <c:v>-0.13277310924369701</c:v>
                </c:pt>
                <c:pt idx="14384">
                  <c:v>-0.13277310924369701</c:v>
                </c:pt>
                <c:pt idx="14385">
                  <c:v>-0.13277310924369701</c:v>
                </c:pt>
                <c:pt idx="14386">
                  <c:v>-0.13277310924369701</c:v>
                </c:pt>
                <c:pt idx="14387">
                  <c:v>-0.13277310924369701</c:v>
                </c:pt>
                <c:pt idx="14388">
                  <c:v>-0.13277310924369701</c:v>
                </c:pt>
                <c:pt idx="14389">
                  <c:v>-0.13277310924369701</c:v>
                </c:pt>
                <c:pt idx="14390">
                  <c:v>-0.13277310924369701</c:v>
                </c:pt>
                <c:pt idx="14391">
                  <c:v>-0.13277310924369701</c:v>
                </c:pt>
                <c:pt idx="14392">
                  <c:v>-0.13277310924369701</c:v>
                </c:pt>
                <c:pt idx="14393">
                  <c:v>-0.13277310924369701</c:v>
                </c:pt>
                <c:pt idx="14394">
                  <c:v>-0.13277310924369701</c:v>
                </c:pt>
                <c:pt idx="14395">
                  <c:v>-0.13277310924369701</c:v>
                </c:pt>
                <c:pt idx="14396">
                  <c:v>-0.13277310924369701</c:v>
                </c:pt>
                <c:pt idx="14397">
                  <c:v>-0.13277310924369701</c:v>
                </c:pt>
                <c:pt idx="14398">
                  <c:v>-0.13277310924369701</c:v>
                </c:pt>
                <c:pt idx="14399">
                  <c:v>-0.13361344537815101</c:v>
                </c:pt>
                <c:pt idx="14400">
                  <c:v>-0.13361344537815101</c:v>
                </c:pt>
                <c:pt idx="14401">
                  <c:v>-0.13361344537815101</c:v>
                </c:pt>
                <c:pt idx="14402">
                  <c:v>-0.13361344537815101</c:v>
                </c:pt>
                <c:pt idx="14403">
                  <c:v>-0.13361344537815101</c:v>
                </c:pt>
                <c:pt idx="14404">
                  <c:v>-0.13361344537815101</c:v>
                </c:pt>
                <c:pt idx="14405">
                  <c:v>-0.13361344537815101</c:v>
                </c:pt>
                <c:pt idx="14406">
                  <c:v>-0.13361344537815101</c:v>
                </c:pt>
                <c:pt idx="14407">
                  <c:v>-0.13361344537815101</c:v>
                </c:pt>
                <c:pt idx="14408">
                  <c:v>-0.13361344537815101</c:v>
                </c:pt>
                <c:pt idx="14409">
                  <c:v>-0.13361344537815101</c:v>
                </c:pt>
                <c:pt idx="14410">
                  <c:v>-0.13361344537815101</c:v>
                </c:pt>
                <c:pt idx="14411">
                  <c:v>-0.13361344537815101</c:v>
                </c:pt>
                <c:pt idx="14412">
                  <c:v>-0.13361344537815101</c:v>
                </c:pt>
                <c:pt idx="14413">
                  <c:v>-0.13361344537815101</c:v>
                </c:pt>
                <c:pt idx="14414">
                  <c:v>-0.13361344537815101</c:v>
                </c:pt>
                <c:pt idx="14415">
                  <c:v>-0.13361344537815101</c:v>
                </c:pt>
                <c:pt idx="14416">
                  <c:v>-0.13361344537815101</c:v>
                </c:pt>
                <c:pt idx="14417">
                  <c:v>-0.13361344537815101</c:v>
                </c:pt>
                <c:pt idx="14418">
                  <c:v>-0.13361344537815101</c:v>
                </c:pt>
                <c:pt idx="14419">
                  <c:v>-0.13361344537815101</c:v>
                </c:pt>
                <c:pt idx="14420">
                  <c:v>-0.13361344537815101</c:v>
                </c:pt>
                <c:pt idx="14421">
                  <c:v>-0.13361344537815101</c:v>
                </c:pt>
                <c:pt idx="14422">
                  <c:v>-0.13361344537815101</c:v>
                </c:pt>
                <c:pt idx="14423">
                  <c:v>-0.13361344537815101</c:v>
                </c:pt>
                <c:pt idx="14424">
                  <c:v>-0.13361344537815101</c:v>
                </c:pt>
                <c:pt idx="14425">
                  <c:v>-0.13361344537815101</c:v>
                </c:pt>
                <c:pt idx="14426">
                  <c:v>-0.13361344537815101</c:v>
                </c:pt>
                <c:pt idx="14427">
                  <c:v>-0.13361344537815101</c:v>
                </c:pt>
                <c:pt idx="14428">
                  <c:v>-0.13361344537815101</c:v>
                </c:pt>
                <c:pt idx="14429">
                  <c:v>-0.13361344537815101</c:v>
                </c:pt>
                <c:pt idx="14430">
                  <c:v>-0.13361344537815101</c:v>
                </c:pt>
                <c:pt idx="14431">
                  <c:v>-0.13361344537815101</c:v>
                </c:pt>
                <c:pt idx="14432">
                  <c:v>-0.13361344537815101</c:v>
                </c:pt>
                <c:pt idx="14433">
                  <c:v>-0.13361344537815101</c:v>
                </c:pt>
                <c:pt idx="14434">
                  <c:v>-0.13361344537815101</c:v>
                </c:pt>
                <c:pt idx="14435">
                  <c:v>-0.13361344537815101</c:v>
                </c:pt>
                <c:pt idx="14436">
                  <c:v>-0.13361344537815101</c:v>
                </c:pt>
                <c:pt idx="14437">
                  <c:v>-0.13361344537815101</c:v>
                </c:pt>
                <c:pt idx="14438">
                  <c:v>-0.13361344537815101</c:v>
                </c:pt>
                <c:pt idx="14439">
                  <c:v>-0.13361344537815101</c:v>
                </c:pt>
                <c:pt idx="14440">
                  <c:v>-0.13361344537815101</c:v>
                </c:pt>
                <c:pt idx="14441">
                  <c:v>-0.13361344537815101</c:v>
                </c:pt>
                <c:pt idx="14442">
                  <c:v>-0.13361344537815101</c:v>
                </c:pt>
                <c:pt idx="14443">
                  <c:v>-0.13361344537815101</c:v>
                </c:pt>
                <c:pt idx="14444">
                  <c:v>-0.13361344537815101</c:v>
                </c:pt>
                <c:pt idx="14445">
                  <c:v>-0.13361344537815101</c:v>
                </c:pt>
                <c:pt idx="14446">
                  <c:v>-0.13361344537815101</c:v>
                </c:pt>
                <c:pt idx="14447">
                  <c:v>-0.13361344537815101</c:v>
                </c:pt>
                <c:pt idx="14448">
                  <c:v>-0.13361344537815101</c:v>
                </c:pt>
                <c:pt idx="14449">
                  <c:v>-0.13361344537815101</c:v>
                </c:pt>
                <c:pt idx="14450">
                  <c:v>-0.13361344537815101</c:v>
                </c:pt>
                <c:pt idx="14451">
                  <c:v>-0.13361344537815101</c:v>
                </c:pt>
                <c:pt idx="14452">
                  <c:v>-0.13361344537815101</c:v>
                </c:pt>
                <c:pt idx="14453">
                  <c:v>-0.13361344537815101</c:v>
                </c:pt>
                <c:pt idx="14454">
                  <c:v>-0.13277310924369701</c:v>
                </c:pt>
                <c:pt idx="14455">
                  <c:v>-0.13277310924369701</c:v>
                </c:pt>
                <c:pt idx="14456">
                  <c:v>-0.13277310924369701</c:v>
                </c:pt>
                <c:pt idx="14457">
                  <c:v>-0.13361344537815101</c:v>
                </c:pt>
                <c:pt idx="14458">
                  <c:v>-0.13361344537815101</c:v>
                </c:pt>
                <c:pt idx="14459">
                  <c:v>-0.13361344537815101</c:v>
                </c:pt>
                <c:pt idx="14460">
                  <c:v>-0.13361344537815101</c:v>
                </c:pt>
                <c:pt idx="14461">
                  <c:v>-0.13361344537815101</c:v>
                </c:pt>
                <c:pt idx="14462">
                  <c:v>-0.13361344537815101</c:v>
                </c:pt>
                <c:pt idx="14463">
                  <c:v>-0.13361344537815101</c:v>
                </c:pt>
                <c:pt idx="14464">
                  <c:v>-0.13361344537815101</c:v>
                </c:pt>
                <c:pt idx="14465">
                  <c:v>-0.13361344537815101</c:v>
                </c:pt>
                <c:pt idx="14466">
                  <c:v>-0.13361344537815101</c:v>
                </c:pt>
                <c:pt idx="14467">
                  <c:v>-0.13361344537815101</c:v>
                </c:pt>
                <c:pt idx="14468">
                  <c:v>-0.13361344537815101</c:v>
                </c:pt>
                <c:pt idx="14469">
                  <c:v>-0.13361344537815101</c:v>
                </c:pt>
                <c:pt idx="14470">
                  <c:v>-0.13361344537815101</c:v>
                </c:pt>
                <c:pt idx="14471">
                  <c:v>-0.13361344537815101</c:v>
                </c:pt>
                <c:pt idx="14472">
                  <c:v>-0.13361344537815101</c:v>
                </c:pt>
                <c:pt idx="14473">
                  <c:v>-0.13361344537815101</c:v>
                </c:pt>
                <c:pt idx="14474">
                  <c:v>-0.13361344537815101</c:v>
                </c:pt>
                <c:pt idx="14475">
                  <c:v>-0.13361344537815101</c:v>
                </c:pt>
                <c:pt idx="14476">
                  <c:v>-0.13361344537815101</c:v>
                </c:pt>
                <c:pt idx="14477">
                  <c:v>-0.13361344537815101</c:v>
                </c:pt>
                <c:pt idx="14478">
                  <c:v>-0.13361344537815101</c:v>
                </c:pt>
                <c:pt idx="14479">
                  <c:v>-0.13361344537815101</c:v>
                </c:pt>
                <c:pt idx="14480">
                  <c:v>-0.13361344537815101</c:v>
                </c:pt>
                <c:pt idx="14481">
                  <c:v>-0.13361344537815101</c:v>
                </c:pt>
                <c:pt idx="14482">
                  <c:v>-0.13361344537815101</c:v>
                </c:pt>
                <c:pt idx="14483">
                  <c:v>-0.13361344537815101</c:v>
                </c:pt>
                <c:pt idx="14484">
                  <c:v>-0.13361344537815101</c:v>
                </c:pt>
                <c:pt idx="14485">
                  <c:v>-0.13361344537815101</c:v>
                </c:pt>
                <c:pt idx="14486">
                  <c:v>-0.13361344537815101</c:v>
                </c:pt>
                <c:pt idx="14487">
                  <c:v>-0.13361344537815101</c:v>
                </c:pt>
                <c:pt idx="14488">
                  <c:v>-0.13361344537815101</c:v>
                </c:pt>
                <c:pt idx="14489">
                  <c:v>-0.13361344537815101</c:v>
                </c:pt>
                <c:pt idx="14490">
                  <c:v>-0.13361344537815101</c:v>
                </c:pt>
                <c:pt idx="14491">
                  <c:v>-0.13361344537815101</c:v>
                </c:pt>
                <c:pt idx="14492">
                  <c:v>-0.13361344537815101</c:v>
                </c:pt>
                <c:pt idx="14493">
                  <c:v>-0.13361344537815101</c:v>
                </c:pt>
                <c:pt idx="14494">
                  <c:v>-0.13361344537815101</c:v>
                </c:pt>
                <c:pt idx="14495">
                  <c:v>-0.13361344537815101</c:v>
                </c:pt>
                <c:pt idx="14496">
                  <c:v>-0.13361344537815101</c:v>
                </c:pt>
                <c:pt idx="14497">
                  <c:v>-0.13361344537815101</c:v>
                </c:pt>
                <c:pt idx="14498">
                  <c:v>-0.13361344537815101</c:v>
                </c:pt>
                <c:pt idx="14499">
                  <c:v>-0.13361344537815101</c:v>
                </c:pt>
                <c:pt idx="14500">
                  <c:v>-0.13361344537815101</c:v>
                </c:pt>
                <c:pt idx="14501">
                  <c:v>-0.13361344537815101</c:v>
                </c:pt>
                <c:pt idx="14502">
                  <c:v>-0.13361344537815101</c:v>
                </c:pt>
                <c:pt idx="14503">
                  <c:v>-0.13361344537815101</c:v>
                </c:pt>
                <c:pt idx="14504">
                  <c:v>-0.13361344537815101</c:v>
                </c:pt>
                <c:pt idx="14505">
                  <c:v>-0.13361344537815101</c:v>
                </c:pt>
                <c:pt idx="14506">
                  <c:v>-0.13361344537815101</c:v>
                </c:pt>
                <c:pt idx="14507">
                  <c:v>-0.13361344537815101</c:v>
                </c:pt>
                <c:pt idx="14508">
                  <c:v>-0.13361344537815101</c:v>
                </c:pt>
                <c:pt idx="14509">
                  <c:v>-0.13361344537815101</c:v>
                </c:pt>
                <c:pt idx="14510">
                  <c:v>-0.13361344537815101</c:v>
                </c:pt>
                <c:pt idx="14511">
                  <c:v>-0.13361344537815101</c:v>
                </c:pt>
                <c:pt idx="14512">
                  <c:v>-0.13361344537815101</c:v>
                </c:pt>
                <c:pt idx="14513">
                  <c:v>-0.13361344537815101</c:v>
                </c:pt>
                <c:pt idx="14514">
                  <c:v>-0.13361344537815101</c:v>
                </c:pt>
                <c:pt idx="14515">
                  <c:v>-0.13361344537815101</c:v>
                </c:pt>
                <c:pt idx="14516">
                  <c:v>-0.13361344537815101</c:v>
                </c:pt>
                <c:pt idx="14517">
                  <c:v>-0.13361344537815101</c:v>
                </c:pt>
                <c:pt idx="14518">
                  <c:v>-0.13361344537815101</c:v>
                </c:pt>
                <c:pt idx="14519">
                  <c:v>-0.13361344537815101</c:v>
                </c:pt>
                <c:pt idx="14520">
                  <c:v>-0.13361344537815101</c:v>
                </c:pt>
                <c:pt idx="14521">
                  <c:v>-0.13361344537815101</c:v>
                </c:pt>
                <c:pt idx="14522">
                  <c:v>-0.13361344537815101</c:v>
                </c:pt>
                <c:pt idx="14523">
                  <c:v>-0.13361344537815101</c:v>
                </c:pt>
                <c:pt idx="14524">
                  <c:v>-0.13277310924369701</c:v>
                </c:pt>
                <c:pt idx="14525">
                  <c:v>-0.13277310924369701</c:v>
                </c:pt>
                <c:pt idx="14526">
                  <c:v>-0.13277310924369701</c:v>
                </c:pt>
                <c:pt idx="14527">
                  <c:v>-0.13277310924369701</c:v>
                </c:pt>
                <c:pt idx="14528">
                  <c:v>-0.13277310924369701</c:v>
                </c:pt>
                <c:pt idx="14529">
                  <c:v>-0.13277310924369701</c:v>
                </c:pt>
                <c:pt idx="14530">
                  <c:v>-0.13277310924369701</c:v>
                </c:pt>
                <c:pt idx="14531">
                  <c:v>-0.13277310924369701</c:v>
                </c:pt>
                <c:pt idx="14532">
                  <c:v>-0.13277310924369701</c:v>
                </c:pt>
                <c:pt idx="14533">
                  <c:v>-0.13277310924369701</c:v>
                </c:pt>
                <c:pt idx="14534">
                  <c:v>-0.13277310924369701</c:v>
                </c:pt>
                <c:pt idx="14535">
                  <c:v>-0.13277310924369701</c:v>
                </c:pt>
                <c:pt idx="14536">
                  <c:v>-0.13277310924369701</c:v>
                </c:pt>
                <c:pt idx="14537">
                  <c:v>-0.13277310924369701</c:v>
                </c:pt>
                <c:pt idx="14538">
                  <c:v>-0.13277310924369701</c:v>
                </c:pt>
                <c:pt idx="14539">
                  <c:v>-0.13277310924369701</c:v>
                </c:pt>
                <c:pt idx="14540">
                  <c:v>-0.13277310924369701</c:v>
                </c:pt>
                <c:pt idx="14541">
                  <c:v>-0.13277310924369701</c:v>
                </c:pt>
                <c:pt idx="14542">
                  <c:v>-0.13277310924369701</c:v>
                </c:pt>
                <c:pt idx="14543">
                  <c:v>-0.13277310924369701</c:v>
                </c:pt>
                <c:pt idx="14544">
                  <c:v>-0.13277310924369701</c:v>
                </c:pt>
                <c:pt idx="14545">
                  <c:v>-0.13277310924369701</c:v>
                </c:pt>
                <c:pt idx="14546">
                  <c:v>-0.13277310924369701</c:v>
                </c:pt>
                <c:pt idx="14547">
                  <c:v>-0.13277310924369701</c:v>
                </c:pt>
                <c:pt idx="14548">
                  <c:v>-0.13277310924369701</c:v>
                </c:pt>
                <c:pt idx="14549">
                  <c:v>-0.13277310924369701</c:v>
                </c:pt>
                <c:pt idx="14550">
                  <c:v>-0.13277310924369701</c:v>
                </c:pt>
                <c:pt idx="14551">
                  <c:v>-0.13277310924369701</c:v>
                </c:pt>
                <c:pt idx="14552">
                  <c:v>-0.13277310924369701</c:v>
                </c:pt>
                <c:pt idx="14553">
                  <c:v>-0.13277310924369701</c:v>
                </c:pt>
                <c:pt idx="14554">
                  <c:v>-0.13277310924369701</c:v>
                </c:pt>
                <c:pt idx="14555">
                  <c:v>-0.13277310924369701</c:v>
                </c:pt>
                <c:pt idx="14556">
                  <c:v>-0.13277310924369701</c:v>
                </c:pt>
                <c:pt idx="14557">
                  <c:v>-0.13277310924369701</c:v>
                </c:pt>
                <c:pt idx="14558">
                  <c:v>-0.13277310924369701</c:v>
                </c:pt>
                <c:pt idx="14559">
                  <c:v>-0.13277310924369701</c:v>
                </c:pt>
                <c:pt idx="14560">
                  <c:v>-0.13277310924369701</c:v>
                </c:pt>
                <c:pt idx="14561">
                  <c:v>-0.13277310924369701</c:v>
                </c:pt>
                <c:pt idx="14562">
                  <c:v>-0.13277310924369701</c:v>
                </c:pt>
                <c:pt idx="14563">
                  <c:v>-0.13277310924369701</c:v>
                </c:pt>
                <c:pt idx="14564">
                  <c:v>-0.13277310924369701</c:v>
                </c:pt>
                <c:pt idx="14565">
                  <c:v>-0.13277310924369701</c:v>
                </c:pt>
                <c:pt idx="14566">
                  <c:v>-0.13277310924369701</c:v>
                </c:pt>
                <c:pt idx="14567">
                  <c:v>-0.13277310924369701</c:v>
                </c:pt>
                <c:pt idx="14568">
                  <c:v>-0.13277310924369701</c:v>
                </c:pt>
                <c:pt idx="14569">
                  <c:v>-0.13277310924369701</c:v>
                </c:pt>
                <c:pt idx="14570">
                  <c:v>-0.13277310924369701</c:v>
                </c:pt>
                <c:pt idx="14571">
                  <c:v>-0.13277310924369701</c:v>
                </c:pt>
                <c:pt idx="14572">
                  <c:v>-0.13277310924369701</c:v>
                </c:pt>
                <c:pt idx="14573">
                  <c:v>-0.13277310924369701</c:v>
                </c:pt>
                <c:pt idx="14574">
                  <c:v>-0.13277310924369701</c:v>
                </c:pt>
                <c:pt idx="14575">
                  <c:v>-0.13193277310924301</c:v>
                </c:pt>
                <c:pt idx="14576">
                  <c:v>-0.13193277310924301</c:v>
                </c:pt>
                <c:pt idx="14577">
                  <c:v>-0.13193277310924301</c:v>
                </c:pt>
                <c:pt idx="14578">
                  <c:v>-0.13193277310924301</c:v>
                </c:pt>
                <c:pt idx="14579">
                  <c:v>-0.13193277310924301</c:v>
                </c:pt>
                <c:pt idx="14580">
                  <c:v>-0.13193277310924301</c:v>
                </c:pt>
                <c:pt idx="14581">
                  <c:v>-0.13193277310924301</c:v>
                </c:pt>
                <c:pt idx="14582">
                  <c:v>-0.13193277310924301</c:v>
                </c:pt>
                <c:pt idx="14583">
                  <c:v>-0.13193277310924301</c:v>
                </c:pt>
                <c:pt idx="14584">
                  <c:v>-0.13193277310924301</c:v>
                </c:pt>
                <c:pt idx="14585">
                  <c:v>-0.13193277310924301</c:v>
                </c:pt>
                <c:pt idx="14586">
                  <c:v>-0.13193277310924301</c:v>
                </c:pt>
                <c:pt idx="14587">
                  <c:v>-0.13193277310924301</c:v>
                </c:pt>
                <c:pt idx="14588">
                  <c:v>-0.13193277310924301</c:v>
                </c:pt>
                <c:pt idx="14589">
                  <c:v>-0.13193277310924301</c:v>
                </c:pt>
                <c:pt idx="14590">
                  <c:v>-0.13193277310924301</c:v>
                </c:pt>
                <c:pt idx="14591">
                  <c:v>-0.13193277310924301</c:v>
                </c:pt>
                <c:pt idx="14592">
                  <c:v>-0.13193277310924301</c:v>
                </c:pt>
                <c:pt idx="14593">
                  <c:v>-0.13193277310924301</c:v>
                </c:pt>
                <c:pt idx="14594">
                  <c:v>-0.13193277310924301</c:v>
                </c:pt>
                <c:pt idx="14595">
                  <c:v>-0.13193277310924301</c:v>
                </c:pt>
                <c:pt idx="14596">
                  <c:v>-0.13193277310924301</c:v>
                </c:pt>
                <c:pt idx="14597">
                  <c:v>-0.13193277310924301</c:v>
                </c:pt>
                <c:pt idx="14598">
                  <c:v>-0.13193277310924301</c:v>
                </c:pt>
                <c:pt idx="14599">
                  <c:v>-0.13193277310924301</c:v>
                </c:pt>
                <c:pt idx="14600">
                  <c:v>-0.13193277310924301</c:v>
                </c:pt>
                <c:pt idx="14601">
                  <c:v>-0.13193277310924301</c:v>
                </c:pt>
                <c:pt idx="14602">
                  <c:v>-0.13193277310924301</c:v>
                </c:pt>
                <c:pt idx="14603">
                  <c:v>-0.13193277310924301</c:v>
                </c:pt>
                <c:pt idx="14604">
                  <c:v>-0.13193277310924301</c:v>
                </c:pt>
                <c:pt idx="14605">
                  <c:v>-0.13193277310924301</c:v>
                </c:pt>
                <c:pt idx="14606">
                  <c:v>-0.13193277310924301</c:v>
                </c:pt>
                <c:pt idx="14607">
                  <c:v>-0.13193277310924301</c:v>
                </c:pt>
                <c:pt idx="14608">
                  <c:v>-0.13193277310924301</c:v>
                </c:pt>
                <c:pt idx="14609">
                  <c:v>-0.13193277310924301</c:v>
                </c:pt>
                <c:pt idx="14610">
                  <c:v>-0.13193277310924301</c:v>
                </c:pt>
                <c:pt idx="14611">
                  <c:v>-0.13193277310924301</c:v>
                </c:pt>
                <c:pt idx="14612">
                  <c:v>-0.13193277310924301</c:v>
                </c:pt>
                <c:pt idx="14613">
                  <c:v>-0.13193277310924301</c:v>
                </c:pt>
                <c:pt idx="14614">
                  <c:v>-0.13193277310924301</c:v>
                </c:pt>
                <c:pt idx="14615">
                  <c:v>-0.13193277310924301</c:v>
                </c:pt>
                <c:pt idx="14616">
                  <c:v>-0.13193277310924301</c:v>
                </c:pt>
                <c:pt idx="14617">
                  <c:v>-0.13193277310924301</c:v>
                </c:pt>
                <c:pt idx="14618">
                  <c:v>-0.13193277310924301</c:v>
                </c:pt>
                <c:pt idx="14619">
                  <c:v>-0.13193277310924301</c:v>
                </c:pt>
                <c:pt idx="14620">
                  <c:v>-0.13193277310924301</c:v>
                </c:pt>
                <c:pt idx="14621">
                  <c:v>-0.13193277310924301</c:v>
                </c:pt>
                <c:pt idx="14622">
                  <c:v>-0.13193277310924301</c:v>
                </c:pt>
                <c:pt idx="14623">
                  <c:v>-0.13193277310924301</c:v>
                </c:pt>
                <c:pt idx="14624">
                  <c:v>-0.13193277310924301</c:v>
                </c:pt>
                <c:pt idx="14625">
                  <c:v>-0.13109243697478901</c:v>
                </c:pt>
                <c:pt idx="14626">
                  <c:v>-0.13109243697478901</c:v>
                </c:pt>
                <c:pt idx="14627">
                  <c:v>-0.13109243697478901</c:v>
                </c:pt>
                <c:pt idx="14628">
                  <c:v>-0.13109243697478901</c:v>
                </c:pt>
                <c:pt idx="14629">
                  <c:v>-0.13109243697478901</c:v>
                </c:pt>
                <c:pt idx="14630">
                  <c:v>-0.13109243697478901</c:v>
                </c:pt>
                <c:pt idx="14631">
                  <c:v>-0.13109243697478901</c:v>
                </c:pt>
                <c:pt idx="14632">
                  <c:v>-0.13109243697478901</c:v>
                </c:pt>
                <c:pt idx="14633">
                  <c:v>-0.13109243697478901</c:v>
                </c:pt>
                <c:pt idx="14634">
                  <c:v>-0.13109243697478901</c:v>
                </c:pt>
                <c:pt idx="14635">
                  <c:v>-0.13109243697478901</c:v>
                </c:pt>
                <c:pt idx="14636">
                  <c:v>-0.13109243697478901</c:v>
                </c:pt>
                <c:pt idx="14637">
                  <c:v>-0.13109243697478901</c:v>
                </c:pt>
                <c:pt idx="14638">
                  <c:v>-0.13109243697478901</c:v>
                </c:pt>
                <c:pt idx="14639">
                  <c:v>-0.13109243697478901</c:v>
                </c:pt>
                <c:pt idx="14640">
                  <c:v>-0.13109243697478901</c:v>
                </c:pt>
                <c:pt idx="14641">
                  <c:v>-0.13109243697478901</c:v>
                </c:pt>
                <c:pt idx="14642">
                  <c:v>-0.13109243697478901</c:v>
                </c:pt>
                <c:pt idx="14643">
                  <c:v>-0.13109243697478901</c:v>
                </c:pt>
                <c:pt idx="14644">
                  <c:v>-0.13109243697478901</c:v>
                </c:pt>
                <c:pt idx="14645">
                  <c:v>-0.13109243697478901</c:v>
                </c:pt>
                <c:pt idx="14646">
                  <c:v>-0.13109243697478901</c:v>
                </c:pt>
                <c:pt idx="14647">
                  <c:v>-0.13193277310924301</c:v>
                </c:pt>
                <c:pt idx="14648">
                  <c:v>-0.13193277310924301</c:v>
                </c:pt>
                <c:pt idx="14649">
                  <c:v>-0.13193277310924301</c:v>
                </c:pt>
                <c:pt idx="14650">
                  <c:v>-0.13193277310924301</c:v>
                </c:pt>
                <c:pt idx="14651">
                  <c:v>-0.13193277310924301</c:v>
                </c:pt>
                <c:pt idx="14652">
                  <c:v>-0.13193277310924301</c:v>
                </c:pt>
                <c:pt idx="14653">
                  <c:v>-0.13193277310924301</c:v>
                </c:pt>
                <c:pt idx="14654">
                  <c:v>-0.13193277310924301</c:v>
                </c:pt>
                <c:pt idx="14655">
                  <c:v>-0.13193277310924301</c:v>
                </c:pt>
                <c:pt idx="14656">
                  <c:v>-0.13193277310924301</c:v>
                </c:pt>
                <c:pt idx="14657">
                  <c:v>-0.13193277310924301</c:v>
                </c:pt>
                <c:pt idx="14658">
                  <c:v>-0.13193277310924301</c:v>
                </c:pt>
                <c:pt idx="14659">
                  <c:v>-0.13193277310924301</c:v>
                </c:pt>
                <c:pt idx="14660">
                  <c:v>-0.13193277310924301</c:v>
                </c:pt>
                <c:pt idx="14661">
                  <c:v>-0.13193277310924301</c:v>
                </c:pt>
                <c:pt idx="14662">
                  <c:v>-0.13277310924369701</c:v>
                </c:pt>
                <c:pt idx="14663">
                  <c:v>-0.13277310924369701</c:v>
                </c:pt>
                <c:pt idx="14664">
                  <c:v>-0.13277310924369701</c:v>
                </c:pt>
                <c:pt idx="14665">
                  <c:v>-0.13277310924369701</c:v>
                </c:pt>
                <c:pt idx="14666">
                  <c:v>-0.13277310924369701</c:v>
                </c:pt>
                <c:pt idx="14667">
                  <c:v>-0.13277310924369701</c:v>
                </c:pt>
                <c:pt idx="14668">
                  <c:v>-0.13277310924369701</c:v>
                </c:pt>
                <c:pt idx="14669">
                  <c:v>-0.13277310924369701</c:v>
                </c:pt>
                <c:pt idx="14670">
                  <c:v>-0.13277310924369701</c:v>
                </c:pt>
                <c:pt idx="14671">
                  <c:v>-0.13277310924369701</c:v>
                </c:pt>
                <c:pt idx="14672">
                  <c:v>-0.13277310924369701</c:v>
                </c:pt>
                <c:pt idx="14673">
                  <c:v>-0.13277310924369701</c:v>
                </c:pt>
                <c:pt idx="14674">
                  <c:v>-0.13277310924369701</c:v>
                </c:pt>
                <c:pt idx="14675">
                  <c:v>-0.13277310924369701</c:v>
                </c:pt>
                <c:pt idx="14676">
                  <c:v>-0.13277310924369701</c:v>
                </c:pt>
                <c:pt idx="14677">
                  <c:v>-0.13277310924369701</c:v>
                </c:pt>
                <c:pt idx="14678">
                  <c:v>-0.13277310924369701</c:v>
                </c:pt>
                <c:pt idx="14679">
                  <c:v>-0.13277310924369701</c:v>
                </c:pt>
                <c:pt idx="14680">
                  <c:v>-0.13277310924369701</c:v>
                </c:pt>
                <c:pt idx="14681">
                  <c:v>-0.13277310924369701</c:v>
                </c:pt>
                <c:pt idx="14682">
                  <c:v>-0.13277310924369701</c:v>
                </c:pt>
                <c:pt idx="14683">
                  <c:v>-0.13277310924369701</c:v>
                </c:pt>
                <c:pt idx="14684">
                  <c:v>-0.13277310924369701</c:v>
                </c:pt>
                <c:pt idx="14685">
                  <c:v>-0.13277310924369701</c:v>
                </c:pt>
                <c:pt idx="14686">
                  <c:v>-0.13277310924369701</c:v>
                </c:pt>
                <c:pt idx="14687">
                  <c:v>-0.13277310924369701</c:v>
                </c:pt>
                <c:pt idx="14688">
                  <c:v>-0.13277310924369701</c:v>
                </c:pt>
                <c:pt idx="14689">
                  <c:v>-0.13277310924369701</c:v>
                </c:pt>
                <c:pt idx="14690">
                  <c:v>-0.13277310924369701</c:v>
                </c:pt>
                <c:pt idx="14691">
                  <c:v>-0.13277310924369701</c:v>
                </c:pt>
                <c:pt idx="14692">
                  <c:v>-0.13277310924369701</c:v>
                </c:pt>
                <c:pt idx="14693">
                  <c:v>-0.13277310924369701</c:v>
                </c:pt>
                <c:pt idx="14694">
                  <c:v>-0.13361344537815101</c:v>
                </c:pt>
                <c:pt idx="14695">
                  <c:v>-0.13361344537815101</c:v>
                </c:pt>
                <c:pt idx="14696">
                  <c:v>-0.13361344537815101</c:v>
                </c:pt>
                <c:pt idx="14697">
                  <c:v>-0.13361344537815101</c:v>
                </c:pt>
                <c:pt idx="14698">
                  <c:v>-0.13361344537815101</c:v>
                </c:pt>
                <c:pt idx="14699">
                  <c:v>-0.13361344537815101</c:v>
                </c:pt>
                <c:pt idx="14700">
                  <c:v>-0.13361344537815101</c:v>
                </c:pt>
                <c:pt idx="14701">
                  <c:v>-0.13361344537815101</c:v>
                </c:pt>
                <c:pt idx="14702">
                  <c:v>-0.13361344537815101</c:v>
                </c:pt>
                <c:pt idx="14703">
                  <c:v>-0.13361344537815101</c:v>
                </c:pt>
                <c:pt idx="14704">
                  <c:v>-0.13361344537815101</c:v>
                </c:pt>
                <c:pt idx="14705">
                  <c:v>-0.13361344537815101</c:v>
                </c:pt>
                <c:pt idx="14706">
                  <c:v>-0.13361344537815101</c:v>
                </c:pt>
                <c:pt idx="14707">
                  <c:v>-0.13361344537815101</c:v>
                </c:pt>
                <c:pt idx="14708">
                  <c:v>-0.13361344537815101</c:v>
                </c:pt>
                <c:pt idx="14709">
                  <c:v>-0.13361344537815101</c:v>
                </c:pt>
                <c:pt idx="14710">
                  <c:v>-0.13361344537815101</c:v>
                </c:pt>
                <c:pt idx="14711">
                  <c:v>-0.13361344537815101</c:v>
                </c:pt>
                <c:pt idx="14712">
                  <c:v>-0.13361344537815101</c:v>
                </c:pt>
                <c:pt idx="14713">
                  <c:v>-0.13361344537815101</c:v>
                </c:pt>
                <c:pt idx="14714">
                  <c:v>-0.13361344537815101</c:v>
                </c:pt>
                <c:pt idx="14715">
                  <c:v>-0.13361344537815101</c:v>
                </c:pt>
                <c:pt idx="14716">
                  <c:v>-0.13361344537815101</c:v>
                </c:pt>
                <c:pt idx="14717">
                  <c:v>-0.13361344537815101</c:v>
                </c:pt>
                <c:pt idx="14718">
                  <c:v>-0.13361344537815101</c:v>
                </c:pt>
                <c:pt idx="14719">
                  <c:v>-0.13361344537815101</c:v>
                </c:pt>
                <c:pt idx="14720">
                  <c:v>-0.13277310924369701</c:v>
                </c:pt>
                <c:pt idx="14721">
                  <c:v>-0.13277310924369701</c:v>
                </c:pt>
                <c:pt idx="14722">
                  <c:v>-0.13277310924369701</c:v>
                </c:pt>
                <c:pt idx="14723">
                  <c:v>-0.13277310924369701</c:v>
                </c:pt>
                <c:pt idx="14724">
                  <c:v>-0.13277310924369701</c:v>
                </c:pt>
                <c:pt idx="14725">
                  <c:v>-0.13277310924369701</c:v>
                </c:pt>
                <c:pt idx="14726">
                  <c:v>-0.13277310924369701</c:v>
                </c:pt>
                <c:pt idx="14727">
                  <c:v>-0.13277310924369701</c:v>
                </c:pt>
                <c:pt idx="14728">
                  <c:v>-0.13277310924369701</c:v>
                </c:pt>
                <c:pt idx="14729">
                  <c:v>-0.13277310924369701</c:v>
                </c:pt>
                <c:pt idx="14730">
                  <c:v>-0.13361344537815101</c:v>
                </c:pt>
                <c:pt idx="14731">
                  <c:v>-0.13361344537815101</c:v>
                </c:pt>
                <c:pt idx="14732">
                  <c:v>-0.13361344537815101</c:v>
                </c:pt>
                <c:pt idx="14733">
                  <c:v>-0.13361344537815101</c:v>
                </c:pt>
                <c:pt idx="14734">
                  <c:v>-0.13361344537815101</c:v>
                </c:pt>
                <c:pt idx="14735">
                  <c:v>-0.13361344537815101</c:v>
                </c:pt>
                <c:pt idx="14736">
                  <c:v>-0.13361344537815101</c:v>
                </c:pt>
                <c:pt idx="14737">
                  <c:v>-0.13361344537815101</c:v>
                </c:pt>
                <c:pt idx="14738">
                  <c:v>-0.13361344537815101</c:v>
                </c:pt>
                <c:pt idx="14739">
                  <c:v>-0.13361344537815101</c:v>
                </c:pt>
                <c:pt idx="14740">
                  <c:v>-0.13361344537815101</c:v>
                </c:pt>
                <c:pt idx="14741">
                  <c:v>-0.13361344537815101</c:v>
                </c:pt>
                <c:pt idx="14742">
                  <c:v>-0.13361344537815101</c:v>
                </c:pt>
                <c:pt idx="14743">
                  <c:v>-0.13361344537815101</c:v>
                </c:pt>
                <c:pt idx="14744">
                  <c:v>-0.13361344537815101</c:v>
                </c:pt>
                <c:pt idx="14745">
                  <c:v>-0.13361344537815101</c:v>
                </c:pt>
                <c:pt idx="14746">
                  <c:v>-0.13361344537815101</c:v>
                </c:pt>
                <c:pt idx="14747">
                  <c:v>-0.13361344537815101</c:v>
                </c:pt>
                <c:pt idx="14748">
                  <c:v>-0.13445378151260501</c:v>
                </c:pt>
                <c:pt idx="14749">
                  <c:v>-0.13445378151260501</c:v>
                </c:pt>
                <c:pt idx="14750">
                  <c:v>-0.13445378151260501</c:v>
                </c:pt>
                <c:pt idx="14751">
                  <c:v>-0.13445378151260501</c:v>
                </c:pt>
                <c:pt idx="14752">
                  <c:v>-0.13445378151260501</c:v>
                </c:pt>
                <c:pt idx="14753">
                  <c:v>-0.13445378151260501</c:v>
                </c:pt>
                <c:pt idx="14754">
                  <c:v>-0.13445378151260501</c:v>
                </c:pt>
                <c:pt idx="14755">
                  <c:v>-0.13445378151260501</c:v>
                </c:pt>
                <c:pt idx="14756">
                  <c:v>-0.13445378151260501</c:v>
                </c:pt>
                <c:pt idx="14757">
                  <c:v>-0.13445378151260501</c:v>
                </c:pt>
                <c:pt idx="14758">
                  <c:v>-0.13445378151260501</c:v>
                </c:pt>
                <c:pt idx="14759">
                  <c:v>-0.13361344537815101</c:v>
                </c:pt>
                <c:pt idx="14760">
                  <c:v>-0.13361344537815101</c:v>
                </c:pt>
                <c:pt idx="14761">
                  <c:v>-0.13361344537815101</c:v>
                </c:pt>
                <c:pt idx="14762">
                  <c:v>-0.13361344537815101</c:v>
                </c:pt>
                <c:pt idx="14763">
                  <c:v>-0.13361344537815101</c:v>
                </c:pt>
                <c:pt idx="14764">
                  <c:v>-0.13277310924369701</c:v>
                </c:pt>
                <c:pt idx="14765">
                  <c:v>-0.13277310924369701</c:v>
                </c:pt>
                <c:pt idx="14766">
                  <c:v>-0.13277310924369701</c:v>
                </c:pt>
                <c:pt idx="14767">
                  <c:v>-0.13277310924369701</c:v>
                </c:pt>
                <c:pt idx="14768">
                  <c:v>-0.13277310924369701</c:v>
                </c:pt>
                <c:pt idx="14769">
                  <c:v>-0.13277310924369701</c:v>
                </c:pt>
                <c:pt idx="14770">
                  <c:v>-0.13277310924369701</c:v>
                </c:pt>
                <c:pt idx="14771">
                  <c:v>-0.13277310924369701</c:v>
                </c:pt>
                <c:pt idx="14772">
                  <c:v>-0.13277310924369701</c:v>
                </c:pt>
                <c:pt idx="14773">
                  <c:v>-0.13193277310924301</c:v>
                </c:pt>
                <c:pt idx="14774">
                  <c:v>-0.13193277310924301</c:v>
                </c:pt>
                <c:pt idx="14775">
                  <c:v>-0.13193277310924301</c:v>
                </c:pt>
                <c:pt idx="14776">
                  <c:v>-0.13193277310924301</c:v>
                </c:pt>
                <c:pt idx="14777">
                  <c:v>-0.13193277310924301</c:v>
                </c:pt>
                <c:pt idx="14778">
                  <c:v>-0.13193277310924301</c:v>
                </c:pt>
                <c:pt idx="14779">
                  <c:v>-0.13109243697478901</c:v>
                </c:pt>
                <c:pt idx="14780">
                  <c:v>-0.13109243697478901</c:v>
                </c:pt>
                <c:pt idx="14781">
                  <c:v>-0.13109243697478901</c:v>
                </c:pt>
                <c:pt idx="14782">
                  <c:v>-0.13109243697478901</c:v>
                </c:pt>
                <c:pt idx="14783">
                  <c:v>-0.13109243697478901</c:v>
                </c:pt>
                <c:pt idx="14784">
                  <c:v>-0.13109243697478901</c:v>
                </c:pt>
                <c:pt idx="14785">
                  <c:v>-0.13109243697478901</c:v>
                </c:pt>
                <c:pt idx="14786">
                  <c:v>-0.13109243697478901</c:v>
                </c:pt>
                <c:pt idx="14787">
                  <c:v>-0.13193277310924301</c:v>
                </c:pt>
                <c:pt idx="14788">
                  <c:v>-0.13109243697478901</c:v>
                </c:pt>
                <c:pt idx="14789">
                  <c:v>-0.13109243697478901</c:v>
                </c:pt>
                <c:pt idx="14790">
                  <c:v>-0.13109243697478901</c:v>
                </c:pt>
                <c:pt idx="14791">
                  <c:v>-0.13109243697478901</c:v>
                </c:pt>
                <c:pt idx="14792">
                  <c:v>-0.13109243697478901</c:v>
                </c:pt>
                <c:pt idx="14793">
                  <c:v>-0.13109243697478901</c:v>
                </c:pt>
                <c:pt idx="14794">
                  <c:v>-0.13109243697478901</c:v>
                </c:pt>
                <c:pt idx="14795">
                  <c:v>-0.13109243697478901</c:v>
                </c:pt>
                <c:pt idx="14796">
                  <c:v>-0.13109243697478901</c:v>
                </c:pt>
                <c:pt idx="14797">
                  <c:v>-0.13109243697478901</c:v>
                </c:pt>
                <c:pt idx="14798">
                  <c:v>-0.13109243697478901</c:v>
                </c:pt>
                <c:pt idx="14799">
                  <c:v>-0.13109243697478901</c:v>
                </c:pt>
                <c:pt idx="14800">
                  <c:v>-0.13109243697478901</c:v>
                </c:pt>
                <c:pt idx="14801">
                  <c:v>-0.13109243697478901</c:v>
                </c:pt>
                <c:pt idx="14802">
                  <c:v>-0.13109243697478901</c:v>
                </c:pt>
                <c:pt idx="14803">
                  <c:v>-0.13109243697478901</c:v>
                </c:pt>
                <c:pt idx="14804">
                  <c:v>-0.13109243697478901</c:v>
                </c:pt>
                <c:pt idx="14805">
                  <c:v>-0.13109243697478901</c:v>
                </c:pt>
                <c:pt idx="14806">
                  <c:v>-0.13109243697478901</c:v>
                </c:pt>
                <c:pt idx="14807">
                  <c:v>-0.13109243697478901</c:v>
                </c:pt>
                <c:pt idx="14808">
                  <c:v>-0.13109243697478901</c:v>
                </c:pt>
                <c:pt idx="14809">
                  <c:v>-0.13109243697478901</c:v>
                </c:pt>
                <c:pt idx="14810">
                  <c:v>-0.13109243697478901</c:v>
                </c:pt>
                <c:pt idx="14811">
                  <c:v>-0.13109243697478901</c:v>
                </c:pt>
                <c:pt idx="14812">
                  <c:v>-0.13109243697478901</c:v>
                </c:pt>
                <c:pt idx="14813">
                  <c:v>-0.13109243697478901</c:v>
                </c:pt>
                <c:pt idx="14814">
                  <c:v>-0.13109243697478901</c:v>
                </c:pt>
                <c:pt idx="14815">
                  <c:v>-0.13109243697478901</c:v>
                </c:pt>
                <c:pt idx="14816">
                  <c:v>-0.13109243697478901</c:v>
                </c:pt>
                <c:pt idx="14817">
                  <c:v>-0.13109243697478901</c:v>
                </c:pt>
                <c:pt idx="14818">
                  <c:v>-0.13109243697478901</c:v>
                </c:pt>
                <c:pt idx="14819">
                  <c:v>-0.13109243697478901</c:v>
                </c:pt>
                <c:pt idx="14820">
                  <c:v>-0.13109243697478901</c:v>
                </c:pt>
                <c:pt idx="14821">
                  <c:v>-0.13109243697478901</c:v>
                </c:pt>
                <c:pt idx="14822">
                  <c:v>-0.13109243697478901</c:v>
                </c:pt>
                <c:pt idx="14823">
                  <c:v>-0.13109243697478901</c:v>
                </c:pt>
                <c:pt idx="14824">
                  <c:v>-0.13109243697478901</c:v>
                </c:pt>
                <c:pt idx="14825">
                  <c:v>-0.13193277310924301</c:v>
                </c:pt>
                <c:pt idx="14826">
                  <c:v>-0.13193277310924301</c:v>
                </c:pt>
                <c:pt idx="14827">
                  <c:v>-0.13193277310924301</c:v>
                </c:pt>
                <c:pt idx="14828">
                  <c:v>-0.13193277310924301</c:v>
                </c:pt>
                <c:pt idx="14829">
                  <c:v>-0.13193277310924301</c:v>
                </c:pt>
                <c:pt idx="14830">
                  <c:v>-0.13193277310924301</c:v>
                </c:pt>
                <c:pt idx="14831">
                  <c:v>-0.13193277310924301</c:v>
                </c:pt>
                <c:pt idx="14832">
                  <c:v>-0.13193277310924301</c:v>
                </c:pt>
                <c:pt idx="14833">
                  <c:v>-0.13193277310924301</c:v>
                </c:pt>
                <c:pt idx="14834">
                  <c:v>-0.13193277310924301</c:v>
                </c:pt>
                <c:pt idx="14835">
                  <c:v>-0.13193277310924301</c:v>
                </c:pt>
                <c:pt idx="14836">
                  <c:v>-0.13193277310924301</c:v>
                </c:pt>
                <c:pt idx="14837">
                  <c:v>-0.13193277310924301</c:v>
                </c:pt>
                <c:pt idx="14838">
                  <c:v>-0.13193277310924301</c:v>
                </c:pt>
                <c:pt idx="14839">
                  <c:v>-0.13193277310924301</c:v>
                </c:pt>
                <c:pt idx="14840">
                  <c:v>-0.13193277310924301</c:v>
                </c:pt>
                <c:pt idx="14841">
                  <c:v>-0.13109243697478901</c:v>
                </c:pt>
                <c:pt idx="14842">
                  <c:v>-0.13109243697478901</c:v>
                </c:pt>
                <c:pt idx="14843">
                  <c:v>-0.13109243697478901</c:v>
                </c:pt>
                <c:pt idx="14844">
                  <c:v>-0.13109243697478901</c:v>
                </c:pt>
                <c:pt idx="14845">
                  <c:v>-0.13109243697478901</c:v>
                </c:pt>
                <c:pt idx="14846">
                  <c:v>-0.13109243697478901</c:v>
                </c:pt>
                <c:pt idx="14847">
                  <c:v>-0.13109243697478901</c:v>
                </c:pt>
                <c:pt idx="14848">
                  <c:v>-0.13109243697478901</c:v>
                </c:pt>
                <c:pt idx="14849">
                  <c:v>-0.13109243697478901</c:v>
                </c:pt>
                <c:pt idx="14850">
                  <c:v>-0.13109243697478901</c:v>
                </c:pt>
                <c:pt idx="14851">
                  <c:v>-0.13109243697478901</c:v>
                </c:pt>
                <c:pt idx="14852">
                  <c:v>-0.13109243697478901</c:v>
                </c:pt>
                <c:pt idx="14853">
                  <c:v>-0.13109243697478901</c:v>
                </c:pt>
                <c:pt idx="14854">
                  <c:v>-0.13109243697478901</c:v>
                </c:pt>
                <c:pt idx="14855">
                  <c:v>-0.13109243697478901</c:v>
                </c:pt>
                <c:pt idx="14856">
                  <c:v>-0.13109243697478901</c:v>
                </c:pt>
                <c:pt idx="14857">
                  <c:v>-0.13109243697478901</c:v>
                </c:pt>
                <c:pt idx="14858">
                  <c:v>-0.13109243697478901</c:v>
                </c:pt>
                <c:pt idx="14859">
                  <c:v>-0.13109243697478901</c:v>
                </c:pt>
                <c:pt idx="14860">
                  <c:v>-0.13109243697478901</c:v>
                </c:pt>
                <c:pt idx="14861">
                  <c:v>-0.13109243697478901</c:v>
                </c:pt>
                <c:pt idx="14862">
                  <c:v>-0.13109243697478901</c:v>
                </c:pt>
                <c:pt idx="14863">
                  <c:v>-0.13109243697478901</c:v>
                </c:pt>
                <c:pt idx="14864">
                  <c:v>-0.13109243697478901</c:v>
                </c:pt>
                <c:pt idx="14865">
                  <c:v>-0.13109243697478901</c:v>
                </c:pt>
                <c:pt idx="14866">
                  <c:v>-0.13109243697478901</c:v>
                </c:pt>
                <c:pt idx="14867">
                  <c:v>-0.13109243697478901</c:v>
                </c:pt>
                <c:pt idx="14868">
                  <c:v>-0.13109243697478901</c:v>
                </c:pt>
                <c:pt idx="14869">
                  <c:v>-0.13109243697478901</c:v>
                </c:pt>
                <c:pt idx="14870">
                  <c:v>-0.13109243697478901</c:v>
                </c:pt>
                <c:pt idx="14871">
                  <c:v>-0.13109243697478901</c:v>
                </c:pt>
                <c:pt idx="14872">
                  <c:v>-0.13109243697478901</c:v>
                </c:pt>
                <c:pt idx="14873">
                  <c:v>-0.13109243697478901</c:v>
                </c:pt>
                <c:pt idx="14874">
                  <c:v>-0.13109243697478901</c:v>
                </c:pt>
                <c:pt idx="14875">
                  <c:v>-0.13109243697478901</c:v>
                </c:pt>
                <c:pt idx="14876">
                  <c:v>-0.13109243697478901</c:v>
                </c:pt>
                <c:pt idx="14877">
                  <c:v>-0.13109243697478901</c:v>
                </c:pt>
                <c:pt idx="14878">
                  <c:v>-0.13109243697478901</c:v>
                </c:pt>
                <c:pt idx="14879">
                  <c:v>-0.13109243697478901</c:v>
                </c:pt>
                <c:pt idx="14880">
                  <c:v>-0.130252100840336</c:v>
                </c:pt>
                <c:pt idx="14881">
                  <c:v>-0.130252100840336</c:v>
                </c:pt>
                <c:pt idx="14882">
                  <c:v>-0.130252100840336</c:v>
                </c:pt>
                <c:pt idx="14883">
                  <c:v>-0.130252100840336</c:v>
                </c:pt>
                <c:pt idx="14884">
                  <c:v>-0.130252100840336</c:v>
                </c:pt>
                <c:pt idx="14885">
                  <c:v>-0.130252100840336</c:v>
                </c:pt>
                <c:pt idx="14886">
                  <c:v>-0.130252100840336</c:v>
                </c:pt>
                <c:pt idx="14887">
                  <c:v>-0.130252100840336</c:v>
                </c:pt>
                <c:pt idx="14888">
                  <c:v>-0.130252100840336</c:v>
                </c:pt>
                <c:pt idx="14889">
                  <c:v>-0.130252100840336</c:v>
                </c:pt>
                <c:pt idx="14890">
                  <c:v>-0.130252100840336</c:v>
                </c:pt>
                <c:pt idx="14891">
                  <c:v>-0.130252100840336</c:v>
                </c:pt>
                <c:pt idx="14892">
                  <c:v>-0.130252100840336</c:v>
                </c:pt>
                <c:pt idx="14893">
                  <c:v>-0.130252100840336</c:v>
                </c:pt>
                <c:pt idx="14894">
                  <c:v>-0.130252100840336</c:v>
                </c:pt>
                <c:pt idx="14895">
                  <c:v>-0.129411764705882</c:v>
                </c:pt>
                <c:pt idx="14896">
                  <c:v>-0.129411764705882</c:v>
                </c:pt>
                <c:pt idx="14897">
                  <c:v>-0.129411764705882</c:v>
                </c:pt>
                <c:pt idx="14898">
                  <c:v>-0.129411764705882</c:v>
                </c:pt>
                <c:pt idx="14899">
                  <c:v>-0.129411764705882</c:v>
                </c:pt>
                <c:pt idx="14900">
                  <c:v>-0.129411764705882</c:v>
                </c:pt>
                <c:pt idx="14901">
                  <c:v>-0.128571428571428</c:v>
                </c:pt>
                <c:pt idx="14902">
                  <c:v>-0.128571428571428</c:v>
                </c:pt>
                <c:pt idx="14903">
                  <c:v>-0.128571428571428</c:v>
                </c:pt>
                <c:pt idx="14904">
                  <c:v>-0.128571428571428</c:v>
                </c:pt>
                <c:pt idx="14905">
                  <c:v>-0.128571428571428</c:v>
                </c:pt>
                <c:pt idx="14906">
                  <c:v>-0.128571428571428</c:v>
                </c:pt>
                <c:pt idx="14907">
                  <c:v>-0.128571428571428</c:v>
                </c:pt>
                <c:pt idx="14908">
                  <c:v>-0.128571428571428</c:v>
                </c:pt>
                <c:pt idx="14909">
                  <c:v>-0.128571428571428</c:v>
                </c:pt>
                <c:pt idx="14910">
                  <c:v>-0.128571428571428</c:v>
                </c:pt>
                <c:pt idx="14911">
                  <c:v>-0.128571428571428</c:v>
                </c:pt>
                <c:pt idx="14912">
                  <c:v>-0.128571428571428</c:v>
                </c:pt>
                <c:pt idx="14913">
                  <c:v>-0.128571428571428</c:v>
                </c:pt>
                <c:pt idx="14914">
                  <c:v>-0.128571428571428</c:v>
                </c:pt>
                <c:pt idx="14915">
                  <c:v>-0.128571428571428</c:v>
                </c:pt>
                <c:pt idx="14916">
                  <c:v>-0.127731092436974</c:v>
                </c:pt>
                <c:pt idx="14917">
                  <c:v>-0.127731092436974</c:v>
                </c:pt>
                <c:pt idx="14918">
                  <c:v>-0.127731092436974</c:v>
                </c:pt>
                <c:pt idx="14919">
                  <c:v>-0.127731092436974</c:v>
                </c:pt>
                <c:pt idx="14920">
                  <c:v>-0.127731092436974</c:v>
                </c:pt>
                <c:pt idx="14921">
                  <c:v>-0.127731092436974</c:v>
                </c:pt>
                <c:pt idx="14922">
                  <c:v>-0.127731092436974</c:v>
                </c:pt>
                <c:pt idx="14923">
                  <c:v>-0.127731092436974</c:v>
                </c:pt>
                <c:pt idx="14924">
                  <c:v>-0.127731092436974</c:v>
                </c:pt>
                <c:pt idx="14925">
                  <c:v>-0.127731092436974</c:v>
                </c:pt>
                <c:pt idx="14926">
                  <c:v>-0.127731092436974</c:v>
                </c:pt>
                <c:pt idx="14927">
                  <c:v>-0.127731092436974</c:v>
                </c:pt>
                <c:pt idx="14928">
                  <c:v>-0.127731092436974</c:v>
                </c:pt>
                <c:pt idx="14929">
                  <c:v>-0.127731092436974</c:v>
                </c:pt>
                <c:pt idx="14930">
                  <c:v>-0.127731092436974</c:v>
                </c:pt>
                <c:pt idx="14931">
                  <c:v>-0.127731092436974</c:v>
                </c:pt>
                <c:pt idx="14932">
                  <c:v>-0.127731092436974</c:v>
                </c:pt>
                <c:pt idx="14933">
                  <c:v>-0.127731092436974</c:v>
                </c:pt>
                <c:pt idx="14934">
                  <c:v>-0.127731092436974</c:v>
                </c:pt>
                <c:pt idx="14935">
                  <c:v>-0.127731092436974</c:v>
                </c:pt>
                <c:pt idx="14936">
                  <c:v>-0.127731092436974</c:v>
                </c:pt>
                <c:pt idx="14937">
                  <c:v>-0.127731092436974</c:v>
                </c:pt>
                <c:pt idx="14938">
                  <c:v>-0.128571428571428</c:v>
                </c:pt>
                <c:pt idx="14939">
                  <c:v>-0.128571428571428</c:v>
                </c:pt>
                <c:pt idx="14940">
                  <c:v>-0.128571428571428</c:v>
                </c:pt>
                <c:pt idx="14941">
                  <c:v>-0.127731092436974</c:v>
                </c:pt>
                <c:pt idx="14942">
                  <c:v>-0.127731092436974</c:v>
                </c:pt>
                <c:pt idx="14943">
                  <c:v>-0.127731092436974</c:v>
                </c:pt>
                <c:pt idx="14944">
                  <c:v>-0.127731092436974</c:v>
                </c:pt>
                <c:pt idx="14945">
                  <c:v>-0.127731092436974</c:v>
                </c:pt>
                <c:pt idx="14946">
                  <c:v>-0.127731092436974</c:v>
                </c:pt>
                <c:pt idx="14947">
                  <c:v>-0.127731092436974</c:v>
                </c:pt>
                <c:pt idx="14948">
                  <c:v>-0.127731092436974</c:v>
                </c:pt>
                <c:pt idx="14949">
                  <c:v>-0.127731092436974</c:v>
                </c:pt>
                <c:pt idx="14950">
                  <c:v>-0.127731092436974</c:v>
                </c:pt>
                <c:pt idx="14951">
                  <c:v>-0.127731092436974</c:v>
                </c:pt>
                <c:pt idx="14952">
                  <c:v>-0.127731092436974</c:v>
                </c:pt>
                <c:pt idx="14953">
                  <c:v>-0.127731092436974</c:v>
                </c:pt>
                <c:pt idx="14954">
                  <c:v>-0.127731092436974</c:v>
                </c:pt>
                <c:pt idx="14955">
                  <c:v>-0.127731092436974</c:v>
                </c:pt>
                <c:pt idx="14956">
                  <c:v>-0.127731092436974</c:v>
                </c:pt>
                <c:pt idx="14957">
                  <c:v>-0.127731092436974</c:v>
                </c:pt>
                <c:pt idx="14958">
                  <c:v>-0.127731092436974</c:v>
                </c:pt>
                <c:pt idx="14959">
                  <c:v>-0.127731092436974</c:v>
                </c:pt>
                <c:pt idx="14960">
                  <c:v>-0.127731092436974</c:v>
                </c:pt>
                <c:pt idx="14961">
                  <c:v>-0.127731092436974</c:v>
                </c:pt>
                <c:pt idx="14962">
                  <c:v>-0.127731092436974</c:v>
                </c:pt>
                <c:pt idx="14963">
                  <c:v>-0.127731092436974</c:v>
                </c:pt>
                <c:pt idx="14964">
                  <c:v>-0.127731092436974</c:v>
                </c:pt>
                <c:pt idx="14965">
                  <c:v>-0.127731092436974</c:v>
                </c:pt>
                <c:pt idx="14966">
                  <c:v>-0.127731092436974</c:v>
                </c:pt>
                <c:pt idx="14967">
                  <c:v>-0.127731092436974</c:v>
                </c:pt>
                <c:pt idx="14968">
                  <c:v>-0.127731092436974</c:v>
                </c:pt>
                <c:pt idx="14969">
                  <c:v>-0.127731092436974</c:v>
                </c:pt>
                <c:pt idx="14970">
                  <c:v>-0.127731092436974</c:v>
                </c:pt>
                <c:pt idx="14971">
                  <c:v>-0.127731092436974</c:v>
                </c:pt>
                <c:pt idx="14972">
                  <c:v>-0.127731092436974</c:v>
                </c:pt>
                <c:pt idx="14973">
                  <c:v>-0.127731092436974</c:v>
                </c:pt>
                <c:pt idx="14974">
                  <c:v>-0.127731092436974</c:v>
                </c:pt>
                <c:pt idx="14975">
                  <c:v>-0.127731092436974</c:v>
                </c:pt>
                <c:pt idx="14976">
                  <c:v>-0.127731092436974</c:v>
                </c:pt>
                <c:pt idx="14977">
                  <c:v>-0.127731092436974</c:v>
                </c:pt>
                <c:pt idx="14978">
                  <c:v>-0.127731092436974</c:v>
                </c:pt>
                <c:pt idx="14979">
                  <c:v>-0.127731092436974</c:v>
                </c:pt>
                <c:pt idx="14980">
                  <c:v>-0.127731092436974</c:v>
                </c:pt>
                <c:pt idx="14981">
                  <c:v>-0.128571428571428</c:v>
                </c:pt>
                <c:pt idx="14982">
                  <c:v>-0.128571428571428</c:v>
                </c:pt>
                <c:pt idx="14983">
                  <c:v>-0.128571428571428</c:v>
                </c:pt>
                <c:pt idx="14984">
                  <c:v>-0.128571428571428</c:v>
                </c:pt>
                <c:pt idx="14985">
                  <c:v>-0.128571428571428</c:v>
                </c:pt>
                <c:pt idx="14986">
                  <c:v>-0.128571428571428</c:v>
                </c:pt>
                <c:pt idx="14987">
                  <c:v>-0.128571428571428</c:v>
                </c:pt>
                <c:pt idx="14988">
                  <c:v>-0.128571428571428</c:v>
                </c:pt>
                <c:pt idx="14989">
                  <c:v>-0.128571428571428</c:v>
                </c:pt>
                <c:pt idx="14990">
                  <c:v>-0.128571428571428</c:v>
                </c:pt>
                <c:pt idx="14991">
                  <c:v>-0.128571428571428</c:v>
                </c:pt>
                <c:pt idx="14992">
                  <c:v>-0.128571428571428</c:v>
                </c:pt>
                <c:pt idx="14993">
                  <c:v>-0.128571428571428</c:v>
                </c:pt>
                <c:pt idx="14994">
                  <c:v>-0.128571428571428</c:v>
                </c:pt>
                <c:pt idx="14995">
                  <c:v>-0.127731092436974</c:v>
                </c:pt>
                <c:pt idx="14996">
                  <c:v>-0.127731092436974</c:v>
                </c:pt>
                <c:pt idx="14997">
                  <c:v>-0.127731092436974</c:v>
                </c:pt>
                <c:pt idx="14998">
                  <c:v>-0.128571428571428</c:v>
                </c:pt>
                <c:pt idx="14999">
                  <c:v>-0.128571428571428</c:v>
                </c:pt>
                <c:pt idx="15000">
                  <c:v>-0.128571428571428</c:v>
                </c:pt>
                <c:pt idx="15001">
                  <c:v>-0.128571428571428</c:v>
                </c:pt>
                <c:pt idx="15002">
                  <c:v>-0.128571428571428</c:v>
                </c:pt>
                <c:pt idx="15003">
                  <c:v>-0.128571428571428</c:v>
                </c:pt>
                <c:pt idx="15004">
                  <c:v>-0.127731092436974</c:v>
                </c:pt>
                <c:pt idx="15005">
                  <c:v>-0.127731092436974</c:v>
                </c:pt>
                <c:pt idx="15006">
                  <c:v>-0.127731092436974</c:v>
                </c:pt>
                <c:pt idx="15007">
                  <c:v>-0.127731092436974</c:v>
                </c:pt>
                <c:pt idx="15008">
                  <c:v>-0.127731092436974</c:v>
                </c:pt>
                <c:pt idx="15009">
                  <c:v>-0.126890756302521</c:v>
                </c:pt>
                <c:pt idx="15010">
                  <c:v>-0.126890756302521</c:v>
                </c:pt>
                <c:pt idx="15011">
                  <c:v>-0.126890756302521</c:v>
                </c:pt>
                <c:pt idx="15012">
                  <c:v>-0.126890756302521</c:v>
                </c:pt>
                <c:pt idx="15013">
                  <c:v>-0.126890756302521</c:v>
                </c:pt>
                <c:pt idx="15014">
                  <c:v>-0.126890756302521</c:v>
                </c:pt>
                <c:pt idx="15015">
                  <c:v>-0.126890756302521</c:v>
                </c:pt>
                <c:pt idx="15016">
                  <c:v>-0.126890756302521</c:v>
                </c:pt>
                <c:pt idx="15017">
                  <c:v>-0.126890756302521</c:v>
                </c:pt>
                <c:pt idx="15018">
                  <c:v>-0.126890756302521</c:v>
                </c:pt>
                <c:pt idx="15019">
                  <c:v>-0.126890756302521</c:v>
                </c:pt>
                <c:pt idx="15020">
                  <c:v>-0.126890756302521</c:v>
                </c:pt>
                <c:pt idx="15021">
                  <c:v>-0.126890756302521</c:v>
                </c:pt>
                <c:pt idx="15022">
                  <c:v>-0.126890756302521</c:v>
                </c:pt>
                <c:pt idx="15023">
                  <c:v>-0.126890756302521</c:v>
                </c:pt>
                <c:pt idx="15024">
                  <c:v>-0.126890756302521</c:v>
                </c:pt>
                <c:pt idx="15025">
                  <c:v>-0.126890756302521</c:v>
                </c:pt>
                <c:pt idx="15026">
                  <c:v>-0.126890756302521</c:v>
                </c:pt>
                <c:pt idx="15027">
                  <c:v>-0.126890756302521</c:v>
                </c:pt>
                <c:pt idx="15028">
                  <c:v>-0.126890756302521</c:v>
                </c:pt>
                <c:pt idx="15029">
                  <c:v>-0.126890756302521</c:v>
                </c:pt>
                <c:pt idx="15030">
                  <c:v>-0.126890756302521</c:v>
                </c:pt>
                <c:pt idx="15031">
                  <c:v>-0.126890756302521</c:v>
                </c:pt>
                <c:pt idx="15032">
                  <c:v>-0.126890756302521</c:v>
                </c:pt>
                <c:pt idx="15033">
                  <c:v>-0.126890756302521</c:v>
                </c:pt>
                <c:pt idx="15034">
                  <c:v>-0.126890756302521</c:v>
                </c:pt>
                <c:pt idx="15035">
                  <c:v>-0.126890756302521</c:v>
                </c:pt>
                <c:pt idx="15036">
                  <c:v>-0.126890756302521</c:v>
                </c:pt>
                <c:pt idx="15037">
                  <c:v>-0.126890756302521</c:v>
                </c:pt>
                <c:pt idx="15038">
                  <c:v>-0.126890756302521</c:v>
                </c:pt>
                <c:pt idx="15039">
                  <c:v>-0.126890756302521</c:v>
                </c:pt>
                <c:pt idx="15040">
                  <c:v>-0.126050420168067</c:v>
                </c:pt>
                <c:pt idx="15041">
                  <c:v>-0.126050420168067</c:v>
                </c:pt>
                <c:pt idx="15042">
                  <c:v>-0.126050420168067</c:v>
                </c:pt>
                <c:pt idx="15043">
                  <c:v>-0.126050420168067</c:v>
                </c:pt>
                <c:pt idx="15044">
                  <c:v>-0.126050420168067</c:v>
                </c:pt>
                <c:pt idx="15045">
                  <c:v>-0.126050420168067</c:v>
                </c:pt>
                <c:pt idx="15046">
                  <c:v>-0.126050420168067</c:v>
                </c:pt>
                <c:pt idx="15047">
                  <c:v>-0.126050420168067</c:v>
                </c:pt>
                <c:pt idx="15048">
                  <c:v>-0.126890756302521</c:v>
                </c:pt>
                <c:pt idx="15049">
                  <c:v>-0.126890756302521</c:v>
                </c:pt>
                <c:pt idx="15050">
                  <c:v>-0.126890756302521</c:v>
                </c:pt>
                <c:pt idx="15051">
                  <c:v>-0.126890756302521</c:v>
                </c:pt>
                <c:pt idx="15052">
                  <c:v>-0.126890756302521</c:v>
                </c:pt>
                <c:pt idx="15053">
                  <c:v>-0.126890756302521</c:v>
                </c:pt>
                <c:pt idx="15054">
                  <c:v>-0.126890756302521</c:v>
                </c:pt>
                <c:pt idx="15055">
                  <c:v>-0.126890756302521</c:v>
                </c:pt>
                <c:pt idx="15056">
                  <c:v>-0.126890756302521</c:v>
                </c:pt>
                <c:pt idx="15057">
                  <c:v>-0.127731092436974</c:v>
                </c:pt>
                <c:pt idx="15058">
                  <c:v>-0.127731092436974</c:v>
                </c:pt>
                <c:pt idx="15059">
                  <c:v>-0.127731092436974</c:v>
                </c:pt>
                <c:pt idx="15060">
                  <c:v>-0.127731092436974</c:v>
                </c:pt>
                <c:pt idx="15061">
                  <c:v>-0.127731092436974</c:v>
                </c:pt>
                <c:pt idx="15062">
                  <c:v>-0.127731092436974</c:v>
                </c:pt>
                <c:pt idx="15063">
                  <c:v>-0.127731092436974</c:v>
                </c:pt>
                <c:pt idx="15064">
                  <c:v>-0.127731092436974</c:v>
                </c:pt>
                <c:pt idx="15065">
                  <c:v>-0.127731092436974</c:v>
                </c:pt>
                <c:pt idx="15066">
                  <c:v>-0.127731092436974</c:v>
                </c:pt>
                <c:pt idx="15067">
                  <c:v>-0.127731092436974</c:v>
                </c:pt>
                <c:pt idx="15068">
                  <c:v>-0.127731092436974</c:v>
                </c:pt>
                <c:pt idx="15069">
                  <c:v>-0.127731092436974</c:v>
                </c:pt>
                <c:pt idx="15070">
                  <c:v>-0.127731092436974</c:v>
                </c:pt>
                <c:pt idx="15071">
                  <c:v>-0.127731092436974</c:v>
                </c:pt>
                <c:pt idx="15072">
                  <c:v>-0.127731092436974</c:v>
                </c:pt>
                <c:pt idx="15073">
                  <c:v>-0.127731092436974</c:v>
                </c:pt>
                <c:pt idx="15074">
                  <c:v>-0.127731092436974</c:v>
                </c:pt>
                <c:pt idx="15075">
                  <c:v>-0.127731092436974</c:v>
                </c:pt>
                <c:pt idx="15076">
                  <c:v>-0.127731092436974</c:v>
                </c:pt>
                <c:pt idx="15077">
                  <c:v>-0.127731092436974</c:v>
                </c:pt>
                <c:pt idx="15078">
                  <c:v>-0.127731092436974</c:v>
                </c:pt>
                <c:pt idx="15079">
                  <c:v>-0.127731092436974</c:v>
                </c:pt>
                <c:pt idx="15080">
                  <c:v>-0.127731092436974</c:v>
                </c:pt>
                <c:pt idx="15081">
                  <c:v>-0.127731092436974</c:v>
                </c:pt>
                <c:pt idx="15082">
                  <c:v>-0.127731092436974</c:v>
                </c:pt>
                <c:pt idx="15083">
                  <c:v>-0.127731092436974</c:v>
                </c:pt>
                <c:pt idx="15084">
                  <c:v>-0.127731092436974</c:v>
                </c:pt>
                <c:pt idx="15085">
                  <c:v>-0.127731092436974</c:v>
                </c:pt>
                <c:pt idx="15086">
                  <c:v>-0.127731092436974</c:v>
                </c:pt>
                <c:pt idx="15087">
                  <c:v>-0.127731092436974</c:v>
                </c:pt>
                <c:pt idx="15088">
                  <c:v>-0.127731092436974</c:v>
                </c:pt>
                <c:pt idx="15089">
                  <c:v>-0.127731092436974</c:v>
                </c:pt>
                <c:pt idx="15090">
                  <c:v>-0.127731092436974</c:v>
                </c:pt>
                <c:pt idx="15091">
                  <c:v>-0.127731092436974</c:v>
                </c:pt>
                <c:pt idx="15092">
                  <c:v>-0.127731092436974</c:v>
                </c:pt>
                <c:pt idx="15093">
                  <c:v>-0.127731092436974</c:v>
                </c:pt>
                <c:pt idx="15094">
                  <c:v>-0.127731092436974</c:v>
                </c:pt>
                <c:pt idx="15095">
                  <c:v>-0.127731092436974</c:v>
                </c:pt>
                <c:pt idx="15096">
                  <c:v>-0.127731092436974</c:v>
                </c:pt>
                <c:pt idx="15097">
                  <c:v>-0.127731092436974</c:v>
                </c:pt>
                <c:pt idx="15098">
                  <c:v>-0.127731092436974</c:v>
                </c:pt>
                <c:pt idx="15099">
                  <c:v>-0.127731092436974</c:v>
                </c:pt>
                <c:pt idx="15100">
                  <c:v>-0.127731092436974</c:v>
                </c:pt>
                <c:pt idx="15101">
                  <c:v>-0.127731092436974</c:v>
                </c:pt>
                <c:pt idx="15102">
                  <c:v>-0.127731092436974</c:v>
                </c:pt>
                <c:pt idx="15103">
                  <c:v>-0.127731092436974</c:v>
                </c:pt>
                <c:pt idx="15104">
                  <c:v>-0.127731092436974</c:v>
                </c:pt>
                <c:pt idx="15105">
                  <c:v>-0.127731092436974</c:v>
                </c:pt>
                <c:pt idx="15106">
                  <c:v>-0.127731092436974</c:v>
                </c:pt>
                <c:pt idx="15107">
                  <c:v>-0.127731092436974</c:v>
                </c:pt>
                <c:pt idx="15108">
                  <c:v>-0.127731092436974</c:v>
                </c:pt>
                <c:pt idx="15109">
                  <c:v>-0.127731092436974</c:v>
                </c:pt>
                <c:pt idx="15110">
                  <c:v>-0.127731092436974</c:v>
                </c:pt>
                <c:pt idx="15111">
                  <c:v>-0.127731092436974</c:v>
                </c:pt>
                <c:pt idx="15112">
                  <c:v>-0.127731092436974</c:v>
                </c:pt>
                <c:pt idx="15113">
                  <c:v>-0.127731092436974</c:v>
                </c:pt>
                <c:pt idx="15114">
                  <c:v>-0.127731092436974</c:v>
                </c:pt>
                <c:pt idx="15115">
                  <c:v>-0.128571428571428</c:v>
                </c:pt>
                <c:pt idx="15116">
                  <c:v>-0.128571428571428</c:v>
                </c:pt>
                <c:pt idx="15117">
                  <c:v>-0.128571428571428</c:v>
                </c:pt>
                <c:pt idx="15118">
                  <c:v>-0.128571428571428</c:v>
                </c:pt>
                <c:pt idx="15119">
                  <c:v>-0.128571428571428</c:v>
                </c:pt>
                <c:pt idx="15120">
                  <c:v>-0.128571428571428</c:v>
                </c:pt>
                <c:pt idx="15121">
                  <c:v>-0.128571428571428</c:v>
                </c:pt>
                <c:pt idx="15122">
                  <c:v>-0.128571428571428</c:v>
                </c:pt>
                <c:pt idx="15123">
                  <c:v>-0.128571428571428</c:v>
                </c:pt>
                <c:pt idx="15124">
                  <c:v>-0.128571428571428</c:v>
                </c:pt>
                <c:pt idx="15125">
                  <c:v>-0.128571428571428</c:v>
                </c:pt>
                <c:pt idx="15126">
                  <c:v>-0.128571428571428</c:v>
                </c:pt>
                <c:pt idx="15127">
                  <c:v>-0.128571428571428</c:v>
                </c:pt>
                <c:pt idx="15128">
                  <c:v>-0.128571428571428</c:v>
                </c:pt>
                <c:pt idx="15129">
                  <c:v>-0.128571428571428</c:v>
                </c:pt>
                <c:pt idx="15130">
                  <c:v>-0.128571428571428</c:v>
                </c:pt>
                <c:pt idx="15131">
                  <c:v>-0.128571428571428</c:v>
                </c:pt>
                <c:pt idx="15132">
                  <c:v>-0.128571428571428</c:v>
                </c:pt>
                <c:pt idx="15133">
                  <c:v>-0.128571428571428</c:v>
                </c:pt>
                <c:pt idx="15134">
                  <c:v>-0.128571428571428</c:v>
                </c:pt>
                <c:pt idx="15135">
                  <c:v>-0.128571428571428</c:v>
                </c:pt>
                <c:pt idx="15136">
                  <c:v>-0.128571428571428</c:v>
                </c:pt>
                <c:pt idx="15137">
                  <c:v>-0.128571428571428</c:v>
                </c:pt>
                <c:pt idx="15138">
                  <c:v>-0.128571428571428</c:v>
                </c:pt>
                <c:pt idx="15139">
                  <c:v>-0.128571428571428</c:v>
                </c:pt>
                <c:pt idx="15140">
                  <c:v>-0.128571428571428</c:v>
                </c:pt>
                <c:pt idx="15141">
                  <c:v>-0.128571428571428</c:v>
                </c:pt>
                <c:pt idx="15142">
                  <c:v>-0.128571428571428</c:v>
                </c:pt>
                <c:pt idx="15143">
                  <c:v>-0.128571428571428</c:v>
                </c:pt>
                <c:pt idx="15144">
                  <c:v>-0.128571428571428</c:v>
                </c:pt>
                <c:pt idx="15145">
                  <c:v>-0.129411764705882</c:v>
                </c:pt>
                <c:pt idx="15146">
                  <c:v>-0.129411764705882</c:v>
                </c:pt>
                <c:pt idx="15147">
                  <c:v>-0.129411764705882</c:v>
                </c:pt>
                <c:pt idx="15148">
                  <c:v>-0.129411764705882</c:v>
                </c:pt>
                <c:pt idx="15149">
                  <c:v>-0.129411764705882</c:v>
                </c:pt>
                <c:pt idx="15150">
                  <c:v>-0.129411764705882</c:v>
                </c:pt>
                <c:pt idx="15151">
                  <c:v>-0.129411764705882</c:v>
                </c:pt>
                <c:pt idx="15152">
                  <c:v>-0.129411764705882</c:v>
                </c:pt>
                <c:pt idx="15153">
                  <c:v>-0.129411764705882</c:v>
                </c:pt>
                <c:pt idx="15154">
                  <c:v>-0.129411764705882</c:v>
                </c:pt>
                <c:pt idx="15155">
                  <c:v>-0.129411764705882</c:v>
                </c:pt>
                <c:pt idx="15156">
                  <c:v>-0.129411764705882</c:v>
                </c:pt>
                <c:pt idx="15157">
                  <c:v>-0.129411764705882</c:v>
                </c:pt>
                <c:pt idx="15158">
                  <c:v>-0.129411764705882</c:v>
                </c:pt>
                <c:pt idx="15159">
                  <c:v>-0.129411764705882</c:v>
                </c:pt>
                <c:pt idx="15160">
                  <c:v>-0.129411764705882</c:v>
                </c:pt>
                <c:pt idx="15161">
                  <c:v>-0.129411764705882</c:v>
                </c:pt>
                <c:pt idx="15162">
                  <c:v>-0.129411764705882</c:v>
                </c:pt>
                <c:pt idx="15163">
                  <c:v>-0.129411764705882</c:v>
                </c:pt>
                <c:pt idx="15164">
                  <c:v>-0.129411764705882</c:v>
                </c:pt>
                <c:pt idx="15165">
                  <c:v>-0.129411764705882</c:v>
                </c:pt>
                <c:pt idx="15166">
                  <c:v>-0.129411764705882</c:v>
                </c:pt>
                <c:pt idx="15167">
                  <c:v>-0.129411764705882</c:v>
                </c:pt>
                <c:pt idx="15168">
                  <c:v>-0.129411764705882</c:v>
                </c:pt>
                <c:pt idx="15169">
                  <c:v>-0.129411764705882</c:v>
                </c:pt>
                <c:pt idx="15170">
                  <c:v>-0.129411764705882</c:v>
                </c:pt>
                <c:pt idx="15171">
                  <c:v>-0.129411764705882</c:v>
                </c:pt>
                <c:pt idx="15172">
                  <c:v>-0.129411764705882</c:v>
                </c:pt>
                <c:pt idx="15173">
                  <c:v>-0.129411764705882</c:v>
                </c:pt>
                <c:pt idx="15174">
                  <c:v>-0.129411764705882</c:v>
                </c:pt>
                <c:pt idx="15175">
                  <c:v>-0.129411764705882</c:v>
                </c:pt>
                <c:pt idx="15176">
                  <c:v>-0.129411764705882</c:v>
                </c:pt>
                <c:pt idx="15177">
                  <c:v>-0.129411764705882</c:v>
                </c:pt>
                <c:pt idx="15178">
                  <c:v>-0.129411764705882</c:v>
                </c:pt>
                <c:pt idx="15179">
                  <c:v>-0.129411764705882</c:v>
                </c:pt>
                <c:pt idx="15180">
                  <c:v>-0.128571428571428</c:v>
                </c:pt>
                <c:pt idx="15181">
                  <c:v>-0.128571428571428</c:v>
                </c:pt>
                <c:pt idx="15182">
                  <c:v>-0.128571428571428</c:v>
                </c:pt>
                <c:pt idx="15183">
                  <c:v>-0.128571428571428</c:v>
                </c:pt>
                <c:pt idx="15184">
                  <c:v>-0.128571428571428</c:v>
                </c:pt>
                <c:pt idx="15185">
                  <c:v>-0.128571428571428</c:v>
                </c:pt>
                <c:pt idx="15186">
                  <c:v>-0.128571428571428</c:v>
                </c:pt>
                <c:pt idx="15187">
                  <c:v>-0.128571428571428</c:v>
                </c:pt>
                <c:pt idx="15188">
                  <c:v>-0.128571428571428</c:v>
                </c:pt>
                <c:pt idx="15189">
                  <c:v>-0.128571428571428</c:v>
                </c:pt>
                <c:pt idx="15190">
                  <c:v>-0.128571428571428</c:v>
                </c:pt>
                <c:pt idx="15191">
                  <c:v>-0.129411764705882</c:v>
                </c:pt>
                <c:pt idx="15192">
                  <c:v>-0.129411764705882</c:v>
                </c:pt>
                <c:pt idx="15193">
                  <c:v>-0.129411764705882</c:v>
                </c:pt>
                <c:pt idx="15194">
                  <c:v>-0.129411764705882</c:v>
                </c:pt>
                <c:pt idx="15195">
                  <c:v>-0.128571428571428</c:v>
                </c:pt>
                <c:pt idx="15196">
                  <c:v>-0.128571428571428</c:v>
                </c:pt>
                <c:pt idx="15197">
                  <c:v>-0.128571428571428</c:v>
                </c:pt>
                <c:pt idx="15198">
                  <c:v>-0.128571428571428</c:v>
                </c:pt>
                <c:pt idx="15199">
                  <c:v>-0.128571428571428</c:v>
                </c:pt>
                <c:pt idx="15200">
                  <c:v>-0.128571428571428</c:v>
                </c:pt>
                <c:pt idx="15201">
                  <c:v>-0.128571428571428</c:v>
                </c:pt>
                <c:pt idx="15202">
                  <c:v>-0.128571428571428</c:v>
                </c:pt>
                <c:pt idx="15203">
                  <c:v>-0.128571428571428</c:v>
                </c:pt>
                <c:pt idx="15204">
                  <c:v>-0.128571428571428</c:v>
                </c:pt>
                <c:pt idx="15205">
                  <c:v>-0.128571428571428</c:v>
                </c:pt>
                <c:pt idx="15206">
                  <c:v>-0.128571428571428</c:v>
                </c:pt>
                <c:pt idx="15207">
                  <c:v>-0.128571428571428</c:v>
                </c:pt>
                <c:pt idx="15208">
                  <c:v>-0.128571428571428</c:v>
                </c:pt>
                <c:pt idx="15209">
                  <c:v>-0.128571428571428</c:v>
                </c:pt>
                <c:pt idx="15210">
                  <c:v>-0.128571428571428</c:v>
                </c:pt>
                <c:pt idx="15211">
                  <c:v>-0.128571428571428</c:v>
                </c:pt>
                <c:pt idx="15212">
                  <c:v>-0.128571428571428</c:v>
                </c:pt>
                <c:pt idx="15213">
                  <c:v>-0.128571428571428</c:v>
                </c:pt>
                <c:pt idx="15214">
                  <c:v>-0.128571428571428</c:v>
                </c:pt>
                <c:pt idx="15215">
                  <c:v>-0.128571428571428</c:v>
                </c:pt>
                <c:pt idx="15216">
                  <c:v>-0.128571428571428</c:v>
                </c:pt>
                <c:pt idx="15217">
                  <c:v>-0.128571428571428</c:v>
                </c:pt>
                <c:pt idx="15218">
                  <c:v>-0.128571428571428</c:v>
                </c:pt>
                <c:pt idx="15219">
                  <c:v>-0.128571428571428</c:v>
                </c:pt>
                <c:pt idx="15220">
                  <c:v>-0.128571428571428</c:v>
                </c:pt>
                <c:pt idx="15221">
                  <c:v>-0.129411764705882</c:v>
                </c:pt>
                <c:pt idx="15222">
                  <c:v>-0.129411764705882</c:v>
                </c:pt>
                <c:pt idx="15223">
                  <c:v>-0.129411764705882</c:v>
                </c:pt>
                <c:pt idx="15224">
                  <c:v>-0.129411764705882</c:v>
                </c:pt>
                <c:pt idx="15225">
                  <c:v>-0.129411764705882</c:v>
                </c:pt>
                <c:pt idx="15226">
                  <c:v>-0.129411764705882</c:v>
                </c:pt>
                <c:pt idx="15227">
                  <c:v>-0.129411764705882</c:v>
                </c:pt>
                <c:pt idx="15228">
                  <c:v>-0.129411764705882</c:v>
                </c:pt>
                <c:pt idx="15229">
                  <c:v>-0.129411764705882</c:v>
                </c:pt>
                <c:pt idx="15230">
                  <c:v>-0.129411764705882</c:v>
                </c:pt>
                <c:pt idx="15231">
                  <c:v>-0.129411764705882</c:v>
                </c:pt>
                <c:pt idx="15232">
                  <c:v>-0.129411764705882</c:v>
                </c:pt>
                <c:pt idx="15233">
                  <c:v>-0.129411764705882</c:v>
                </c:pt>
                <c:pt idx="15234">
                  <c:v>-0.129411764705882</c:v>
                </c:pt>
                <c:pt idx="15235">
                  <c:v>-0.129411764705882</c:v>
                </c:pt>
                <c:pt idx="15236">
                  <c:v>-0.129411764705882</c:v>
                </c:pt>
                <c:pt idx="15237">
                  <c:v>-0.129411764705882</c:v>
                </c:pt>
                <c:pt idx="15238">
                  <c:v>-0.128571428571428</c:v>
                </c:pt>
                <c:pt idx="15239">
                  <c:v>-0.128571428571428</c:v>
                </c:pt>
                <c:pt idx="15240">
                  <c:v>-0.128571428571428</c:v>
                </c:pt>
                <c:pt idx="15241">
                  <c:v>-0.128571428571428</c:v>
                </c:pt>
                <c:pt idx="15242">
                  <c:v>-0.128571428571428</c:v>
                </c:pt>
                <c:pt idx="15243">
                  <c:v>-0.129411764705882</c:v>
                </c:pt>
                <c:pt idx="15244">
                  <c:v>-0.129411764705882</c:v>
                </c:pt>
                <c:pt idx="15245">
                  <c:v>-0.129411764705882</c:v>
                </c:pt>
                <c:pt idx="15246">
                  <c:v>-0.129411764705882</c:v>
                </c:pt>
                <c:pt idx="15247">
                  <c:v>-0.129411764705882</c:v>
                </c:pt>
                <c:pt idx="15248">
                  <c:v>-0.129411764705882</c:v>
                </c:pt>
                <c:pt idx="15249">
                  <c:v>-0.128571428571428</c:v>
                </c:pt>
                <c:pt idx="15250">
                  <c:v>-0.128571428571428</c:v>
                </c:pt>
                <c:pt idx="15251">
                  <c:v>-0.128571428571428</c:v>
                </c:pt>
                <c:pt idx="15252">
                  <c:v>-0.128571428571428</c:v>
                </c:pt>
                <c:pt idx="15253">
                  <c:v>-0.128571428571428</c:v>
                </c:pt>
                <c:pt idx="15254">
                  <c:v>-0.128571428571428</c:v>
                </c:pt>
                <c:pt idx="15255">
                  <c:v>-0.128571428571428</c:v>
                </c:pt>
                <c:pt idx="15256">
                  <c:v>-0.128571428571428</c:v>
                </c:pt>
                <c:pt idx="15257">
                  <c:v>-0.128571428571428</c:v>
                </c:pt>
                <c:pt idx="15258">
                  <c:v>-0.127731092436974</c:v>
                </c:pt>
                <c:pt idx="15259">
                  <c:v>-0.127731092436974</c:v>
                </c:pt>
                <c:pt idx="15260">
                  <c:v>-0.127731092436974</c:v>
                </c:pt>
                <c:pt idx="15261">
                  <c:v>-0.127731092436974</c:v>
                </c:pt>
                <c:pt idx="15262">
                  <c:v>-0.127731092436974</c:v>
                </c:pt>
                <c:pt idx="15263">
                  <c:v>-0.127731092436974</c:v>
                </c:pt>
                <c:pt idx="15264">
                  <c:v>-0.127731092436974</c:v>
                </c:pt>
                <c:pt idx="15265">
                  <c:v>-0.127731092436974</c:v>
                </c:pt>
                <c:pt idx="15266">
                  <c:v>-0.127731092436974</c:v>
                </c:pt>
                <c:pt idx="15267">
                  <c:v>-0.127731092436974</c:v>
                </c:pt>
                <c:pt idx="15268">
                  <c:v>-0.127731092436974</c:v>
                </c:pt>
                <c:pt idx="15269">
                  <c:v>-0.127731092436974</c:v>
                </c:pt>
                <c:pt idx="15270">
                  <c:v>-0.127731092436974</c:v>
                </c:pt>
                <c:pt idx="15271">
                  <c:v>-0.127731092436974</c:v>
                </c:pt>
                <c:pt idx="15272">
                  <c:v>-0.127731092436974</c:v>
                </c:pt>
                <c:pt idx="15273">
                  <c:v>-0.127731092436974</c:v>
                </c:pt>
                <c:pt idx="15274">
                  <c:v>-0.127731092436974</c:v>
                </c:pt>
                <c:pt idx="15275">
                  <c:v>-0.127731092436974</c:v>
                </c:pt>
                <c:pt idx="15276">
                  <c:v>-0.127731092436974</c:v>
                </c:pt>
                <c:pt idx="15277">
                  <c:v>-0.127731092436974</c:v>
                </c:pt>
                <c:pt idx="15278">
                  <c:v>-0.127731092436974</c:v>
                </c:pt>
                <c:pt idx="15279">
                  <c:v>-0.127731092436974</c:v>
                </c:pt>
                <c:pt idx="15280">
                  <c:v>-0.127731092436974</c:v>
                </c:pt>
                <c:pt idx="15281">
                  <c:v>-0.127731092436974</c:v>
                </c:pt>
                <c:pt idx="15282">
                  <c:v>-0.127731092436974</c:v>
                </c:pt>
                <c:pt idx="15283">
                  <c:v>-0.127731092436974</c:v>
                </c:pt>
                <c:pt idx="15284">
                  <c:v>-0.127731092436974</c:v>
                </c:pt>
                <c:pt idx="15285">
                  <c:v>-0.127731092436974</c:v>
                </c:pt>
                <c:pt idx="15286">
                  <c:v>-0.127731092436974</c:v>
                </c:pt>
                <c:pt idx="15287">
                  <c:v>-0.127731092436974</c:v>
                </c:pt>
                <c:pt idx="15288">
                  <c:v>-0.127731092436974</c:v>
                </c:pt>
                <c:pt idx="15289">
                  <c:v>-0.127731092436974</c:v>
                </c:pt>
                <c:pt idx="15290">
                  <c:v>-0.127731092436974</c:v>
                </c:pt>
                <c:pt idx="15291">
                  <c:v>-0.127731092436974</c:v>
                </c:pt>
                <c:pt idx="15292">
                  <c:v>-0.127731092436974</c:v>
                </c:pt>
                <c:pt idx="15293">
                  <c:v>-0.127731092436974</c:v>
                </c:pt>
                <c:pt idx="15294">
                  <c:v>-0.127731092436974</c:v>
                </c:pt>
                <c:pt idx="15295">
                  <c:v>-0.127731092436974</c:v>
                </c:pt>
                <c:pt idx="15296">
                  <c:v>-0.127731092436974</c:v>
                </c:pt>
                <c:pt idx="15297">
                  <c:v>-0.127731092436974</c:v>
                </c:pt>
                <c:pt idx="15298">
                  <c:v>-0.127731092436974</c:v>
                </c:pt>
                <c:pt idx="15299">
                  <c:v>-0.127731092436974</c:v>
                </c:pt>
                <c:pt idx="15300">
                  <c:v>-0.127731092436974</c:v>
                </c:pt>
                <c:pt idx="15301">
                  <c:v>-0.127731092436974</c:v>
                </c:pt>
                <c:pt idx="15302">
                  <c:v>-0.127731092436974</c:v>
                </c:pt>
                <c:pt idx="15303">
                  <c:v>-0.127731092436974</c:v>
                </c:pt>
                <c:pt idx="15304">
                  <c:v>-0.127731092436974</c:v>
                </c:pt>
                <c:pt idx="15305">
                  <c:v>-0.127731092436974</c:v>
                </c:pt>
                <c:pt idx="15306">
                  <c:v>-0.127731092436974</c:v>
                </c:pt>
                <c:pt idx="15307">
                  <c:v>-0.127731092436974</c:v>
                </c:pt>
                <c:pt idx="15308">
                  <c:v>-0.127731092436974</c:v>
                </c:pt>
                <c:pt idx="15309">
                  <c:v>-0.127731092436974</c:v>
                </c:pt>
                <c:pt idx="15310">
                  <c:v>-0.127731092436974</c:v>
                </c:pt>
                <c:pt idx="15311">
                  <c:v>-0.127731092436974</c:v>
                </c:pt>
                <c:pt idx="15312">
                  <c:v>-0.127731092436974</c:v>
                </c:pt>
                <c:pt idx="15313">
                  <c:v>-0.127731092436974</c:v>
                </c:pt>
                <c:pt idx="15314">
                  <c:v>-0.127731092436974</c:v>
                </c:pt>
                <c:pt idx="15315">
                  <c:v>-0.127731092436974</c:v>
                </c:pt>
                <c:pt idx="15316">
                  <c:v>-0.127731092436974</c:v>
                </c:pt>
                <c:pt idx="15317">
                  <c:v>-0.127731092436974</c:v>
                </c:pt>
                <c:pt idx="15318">
                  <c:v>-0.127731092436974</c:v>
                </c:pt>
                <c:pt idx="15319">
                  <c:v>-0.127731092436974</c:v>
                </c:pt>
                <c:pt idx="15320">
                  <c:v>-0.127731092436974</c:v>
                </c:pt>
                <c:pt idx="15321">
                  <c:v>-0.127731092436974</c:v>
                </c:pt>
                <c:pt idx="15322">
                  <c:v>-0.127731092436974</c:v>
                </c:pt>
                <c:pt idx="15323">
                  <c:v>-0.127731092436974</c:v>
                </c:pt>
                <c:pt idx="15324">
                  <c:v>-0.127731092436974</c:v>
                </c:pt>
                <c:pt idx="15325">
                  <c:v>-0.127731092436974</c:v>
                </c:pt>
                <c:pt idx="15326">
                  <c:v>-0.128571428571428</c:v>
                </c:pt>
                <c:pt idx="15327">
                  <c:v>-0.128571428571428</c:v>
                </c:pt>
                <c:pt idx="15328">
                  <c:v>-0.128571428571428</c:v>
                </c:pt>
                <c:pt idx="15329">
                  <c:v>-0.129411764705882</c:v>
                </c:pt>
                <c:pt idx="15330">
                  <c:v>-0.129411764705882</c:v>
                </c:pt>
                <c:pt idx="15331">
                  <c:v>-0.129411764705882</c:v>
                </c:pt>
                <c:pt idx="15332">
                  <c:v>-0.129411764705882</c:v>
                </c:pt>
                <c:pt idx="15333">
                  <c:v>-0.130252100840336</c:v>
                </c:pt>
                <c:pt idx="15334">
                  <c:v>-0.130252100840336</c:v>
                </c:pt>
                <c:pt idx="15335">
                  <c:v>-0.130252100840336</c:v>
                </c:pt>
                <c:pt idx="15336">
                  <c:v>-0.130252100840336</c:v>
                </c:pt>
                <c:pt idx="15337">
                  <c:v>-0.129411764705882</c:v>
                </c:pt>
                <c:pt idx="15338">
                  <c:v>-0.129411764705882</c:v>
                </c:pt>
                <c:pt idx="15339">
                  <c:v>-0.129411764705882</c:v>
                </c:pt>
                <c:pt idx="15340">
                  <c:v>-0.129411764705882</c:v>
                </c:pt>
                <c:pt idx="15341">
                  <c:v>-0.129411764705882</c:v>
                </c:pt>
                <c:pt idx="15342">
                  <c:v>-0.129411764705882</c:v>
                </c:pt>
                <c:pt idx="15343">
                  <c:v>-0.129411764705882</c:v>
                </c:pt>
                <c:pt idx="15344">
                  <c:v>-0.129411764705882</c:v>
                </c:pt>
                <c:pt idx="15345">
                  <c:v>-0.129411764705882</c:v>
                </c:pt>
                <c:pt idx="15346">
                  <c:v>-0.128571428571428</c:v>
                </c:pt>
                <c:pt idx="15347">
                  <c:v>-0.128571428571428</c:v>
                </c:pt>
                <c:pt idx="15348">
                  <c:v>-0.128571428571428</c:v>
                </c:pt>
                <c:pt idx="15349">
                  <c:v>-0.128571428571428</c:v>
                </c:pt>
                <c:pt idx="15350">
                  <c:v>-0.128571428571428</c:v>
                </c:pt>
                <c:pt idx="15351">
                  <c:v>-0.128571428571428</c:v>
                </c:pt>
                <c:pt idx="15352">
                  <c:v>-0.128571428571428</c:v>
                </c:pt>
                <c:pt idx="15353">
                  <c:v>-0.128571428571428</c:v>
                </c:pt>
                <c:pt idx="15354">
                  <c:v>-0.128571428571428</c:v>
                </c:pt>
                <c:pt idx="15355">
                  <c:v>-0.128571428571428</c:v>
                </c:pt>
                <c:pt idx="15356">
                  <c:v>-0.128571428571428</c:v>
                </c:pt>
                <c:pt idx="15357">
                  <c:v>-0.128571428571428</c:v>
                </c:pt>
                <c:pt idx="15358">
                  <c:v>-0.128571428571428</c:v>
                </c:pt>
                <c:pt idx="15359">
                  <c:v>-0.128571428571428</c:v>
                </c:pt>
                <c:pt idx="15360">
                  <c:v>-0.128571428571428</c:v>
                </c:pt>
                <c:pt idx="15361">
                  <c:v>-0.128571428571428</c:v>
                </c:pt>
                <c:pt idx="15362">
                  <c:v>-0.128571428571428</c:v>
                </c:pt>
                <c:pt idx="15363">
                  <c:v>-0.128571428571428</c:v>
                </c:pt>
                <c:pt idx="15364">
                  <c:v>-0.128571428571428</c:v>
                </c:pt>
                <c:pt idx="15365">
                  <c:v>-0.128571428571428</c:v>
                </c:pt>
                <c:pt idx="15366">
                  <c:v>-0.128571428571428</c:v>
                </c:pt>
                <c:pt idx="15367">
                  <c:v>-0.128571428571428</c:v>
                </c:pt>
                <c:pt idx="15368">
                  <c:v>-0.128571428571428</c:v>
                </c:pt>
                <c:pt idx="15369">
                  <c:v>-0.128571428571428</c:v>
                </c:pt>
                <c:pt idx="15370">
                  <c:v>-0.128571428571428</c:v>
                </c:pt>
                <c:pt idx="15371">
                  <c:v>-0.128571428571428</c:v>
                </c:pt>
                <c:pt idx="15372">
                  <c:v>-0.128571428571428</c:v>
                </c:pt>
                <c:pt idx="15373">
                  <c:v>-0.128571428571428</c:v>
                </c:pt>
                <c:pt idx="15374">
                  <c:v>-0.128571428571428</c:v>
                </c:pt>
                <c:pt idx="15375">
                  <c:v>-0.128571428571428</c:v>
                </c:pt>
                <c:pt idx="15376">
                  <c:v>-0.128571428571428</c:v>
                </c:pt>
                <c:pt idx="15377">
                  <c:v>-0.128571428571428</c:v>
                </c:pt>
                <c:pt idx="15378">
                  <c:v>-0.128571428571428</c:v>
                </c:pt>
                <c:pt idx="15379">
                  <c:v>-0.128571428571428</c:v>
                </c:pt>
                <c:pt idx="15380">
                  <c:v>-0.128571428571428</c:v>
                </c:pt>
                <c:pt idx="15381">
                  <c:v>-0.128571428571428</c:v>
                </c:pt>
                <c:pt idx="15382">
                  <c:v>-0.128571428571428</c:v>
                </c:pt>
                <c:pt idx="15383">
                  <c:v>-0.128571428571428</c:v>
                </c:pt>
                <c:pt idx="15384">
                  <c:v>-0.128571428571428</c:v>
                </c:pt>
                <c:pt idx="15385">
                  <c:v>-0.128571428571428</c:v>
                </c:pt>
                <c:pt idx="15386">
                  <c:v>-0.128571428571428</c:v>
                </c:pt>
                <c:pt idx="15387">
                  <c:v>-0.128571428571428</c:v>
                </c:pt>
                <c:pt idx="15388">
                  <c:v>-0.128571428571428</c:v>
                </c:pt>
                <c:pt idx="15389">
                  <c:v>-0.129411764705882</c:v>
                </c:pt>
                <c:pt idx="15390">
                  <c:v>-0.129411764705882</c:v>
                </c:pt>
                <c:pt idx="15391">
                  <c:v>-0.129411764705882</c:v>
                </c:pt>
                <c:pt idx="15392">
                  <c:v>-0.129411764705882</c:v>
                </c:pt>
                <c:pt idx="15393">
                  <c:v>-0.129411764705882</c:v>
                </c:pt>
                <c:pt idx="15394">
                  <c:v>-0.129411764705882</c:v>
                </c:pt>
                <c:pt idx="15395">
                  <c:v>-0.129411764705882</c:v>
                </c:pt>
                <c:pt idx="15396">
                  <c:v>-0.129411764705882</c:v>
                </c:pt>
                <c:pt idx="15397">
                  <c:v>-0.129411764705882</c:v>
                </c:pt>
                <c:pt idx="15398">
                  <c:v>-0.129411764705882</c:v>
                </c:pt>
                <c:pt idx="15399">
                  <c:v>-0.129411764705882</c:v>
                </c:pt>
                <c:pt idx="15400">
                  <c:v>-0.129411764705882</c:v>
                </c:pt>
                <c:pt idx="15401">
                  <c:v>-0.129411764705882</c:v>
                </c:pt>
                <c:pt idx="15402">
                  <c:v>-0.129411764705882</c:v>
                </c:pt>
                <c:pt idx="15403">
                  <c:v>-0.129411764705882</c:v>
                </c:pt>
                <c:pt idx="15404">
                  <c:v>-0.129411764705882</c:v>
                </c:pt>
                <c:pt idx="15405">
                  <c:v>-0.129411764705882</c:v>
                </c:pt>
                <c:pt idx="15406">
                  <c:v>-0.129411764705882</c:v>
                </c:pt>
                <c:pt idx="15407">
                  <c:v>-0.129411764705882</c:v>
                </c:pt>
                <c:pt idx="15408">
                  <c:v>-0.129411764705882</c:v>
                </c:pt>
                <c:pt idx="15409">
                  <c:v>-0.129411764705882</c:v>
                </c:pt>
                <c:pt idx="15410">
                  <c:v>-0.129411764705882</c:v>
                </c:pt>
                <c:pt idx="15411">
                  <c:v>-0.129411764705882</c:v>
                </c:pt>
                <c:pt idx="15412">
                  <c:v>-0.129411764705882</c:v>
                </c:pt>
                <c:pt idx="15413">
                  <c:v>-0.129411764705882</c:v>
                </c:pt>
                <c:pt idx="15414">
                  <c:v>-0.129411764705882</c:v>
                </c:pt>
                <c:pt idx="15415">
                  <c:v>-0.129411764705882</c:v>
                </c:pt>
                <c:pt idx="15416">
                  <c:v>-0.129411764705882</c:v>
                </c:pt>
                <c:pt idx="15417">
                  <c:v>-0.129411764705882</c:v>
                </c:pt>
                <c:pt idx="15418">
                  <c:v>-0.129411764705882</c:v>
                </c:pt>
                <c:pt idx="15419">
                  <c:v>-0.129411764705882</c:v>
                </c:pt>
                <c:pt idx="15420">
                  <c:v>-0.129411764705882</c:v>
                </c:pt>
                <c:pt idx="15421">
                  <c:v>-0.129411764705882</c:v>
                </c:pt>
                <c:pt idx="15422">
                  <c:v>-0.129411764705882</c:v>
                </c:pt>
                <c:pt idx="15423">
                  <c:v>-0.129411764705882</c:v>
                </c:pt>
                <c:pt idx="15424">
                  <c:v>-0.129411764705882</c:v>
                </c:pt>
                <c:pt idx="15425">
                  <c:v>-0.129411764705882</c:v>
                </c:pt>
                <c:pt idx="15426">
                  <c:v>-0.129411764705882</c:v>
                </c:pt>
                <c:pt idx="15427">
                  <c:v>-0.129411764705882</c:v>
                </c:pt>
                <c:pt idx="15428">
                  <c:v>-0.129411764705882</c:v>
                </c:pt>
                <c:pt idx="15429">
                  <c:v>-0.129411764705882</c:v>
                </c:pt>
                <c:pt idx="15430">
                  <c:v>-0.129411764705882</c:v>
                </c:pt>
                <c:pt idx="15431">
                  <c:v>-0.129411764705882</c:v>
                </c:pt>
                <c:pt idx="15432">
                  <c:v>-0.129411764705882</c:v>
                </c:pt>
                <c:pt idx="15433">
                  <c:v>-0.129411764705882</c:v>
                </c:pt>
                <c:pt idx="15434">
                  <c:v>-0.129411764705882</c:v>
                </c:pt>
                <c:pt idx="15435">
                  <c:v>-0.129411764705882</c:v>
                </c:pt>
                <c:pt idx="15436">
                  <c:v>-0.129411764705882</c:v>
                </c:pt>
                <c:pt idx="15437">
                  <c:v>-0.129411764705882</c:v>
                </c:pt>
                <c:pt idx="15438">
                  <c:v>-0.129411764705882</c:v>
                </c:pt>
                <c:pt idx="15439">
                  <c:v>-0.129411764705882</c:v>
                </c:pt>
                <c:pt idx="15440">
                  <c:v>-0.129411764705882</c:v>
                </c:pt>
                <c:pt idx="15441">
                  <c:v>-0.129411764705882</c:v>
                </c:pt>
                <c:pt idx="15442">
                  <c:v>-0.129411764705882</c:v>
                </c:pt>
                <c:pt idx="15443">
                  <c:v>-0.129411764705882</c:v>
                </c:pt>
                <c:pt idx="15444">
                  <c:v>-0.129411764705882</c:v>
                </c:pt>
                <c:pt idx="15445">
                  <c:v>-0.129411764705882</c:v>
                </c:pt>
                <c:pt idx="15446">
                  <c:v>-0.129411764705882</c:v>
                </c:pt>
                <c:pt idx="15447">
                  <c:v>-0.129411764705882</c:v>
                </c:pt>
                <c:pt idx="15448">
                  <c:v>-0.129411764705882</c:v>
                </c:pt>
                <c:pt idx="15449">
                  <c:v>-0.129411764705882</c:v>
                </c:pt>
                <c:pt idx="15450">
                  <c:v>-0.129411764705882</c:v>
                </c:pt>
                <c:pt idx="15451">
                  <c:v>-0.129411764705882</c:v>
                </c:pt>
                <c:pt idx="15452">
                  <c:v>-0.129411764705882</c:v>
                </c:pt>
                <c:pt idx="15453">
                  <c:v>-0.129411764705882</c:v>
                </c:pt>
                <c:pt idx="15454">
                  <c:v>-0.129411764705882</c:v>
                </c:pt>
                <c:pt idx="15455">
                  <c:v>-0.129411764705882</c:v>
                </c:pt>
                <c:pt idx="15456">
                  <c:v>-0.129411764705882</c:v>
                </c:pt>
                <c:pt idx="15457">
                  <c:v>-0.129411764705882</c:v>
                </c:pt>
                <c:pt idx="15458">
                  <c:v>-0.129411764705882</c:v>
                </c:pt>
                <c:pt idx="15459">
                  <c:v>-0.129411764705882</c:v>
                </c:pt>
                <c:pt idx="15460">
                  <c:v>-0.129411764705882</c:v>
                </c:pt>
                <c:pt idx="15461">
                  <c:v>-0.129411764705882</c:v>
                </c:pt>
                <c:pt idx="15462">
                  <c:v>-0.129411764705882</c:v>
                </c:pt>
                <c:pt idx="15463">
                  <c:v>-0.129411764705882</c:v>
                </c:pt>
                <c:pt idx="15464">
                  <c:v>-0.129411764705882</c:v>
                </c:pt>
                <c:pt idx="15465">
                  <c:v>-0.129411764705882</c:v>
                </c:pt>
                <c:pt idx="15466">
                  <c:v>-0.129411764705882</c:v>
                </c:pt>
                <c:pt idx="15467">
                  <c:v>-0.129411764705882</c:v>
                </c:pt>
                <c:pt idx="15468">
                  <c:v>-0.129411764705882</c:v>
                </c:pt>
                <c:pt idx="15469">
                  <c:v>-0.129411764705882</c:v>
                </c:pt>
                <c:pt idx="15470">
                  <c:v>-0.129411764705882</c:v>
                </c:pt>
                <c:pt idx="15471">
                  <c:v>-0.129411764705882</c:v>
                </c:pt>
                <c:pt idx="15472">
                  <c:v>-0.129411764705882</c:v>
                </c:pt>
                <c:pt idx="15473">
                  <c:v>-0.129411764705882</c:v>
                </c:pt>
                <c:pt idx="15474">
                  <c:v>-0.129411764705882</c:v>
                </c:pt>
                <c:pt idx="15475">
                  <c:v>-0.129411764705882</c:v>
                </c:pt>
                <c:pt idx="15476">
                  <c:v>-0.129411764705882</c:v>
                </c:pt>
                <c:pt idx="15477">
                  <c:v>-0.129411764705882</c:v>
                </c:pt>
                <c:pt idx="15478">
                  <c:v>-0.129411764705882</c:v>
                </c:pt>
                <c:pt idx="15479">
                  <c:v>-0.129411764705882</c:v>
                </c:pt>
                <c:pt idx="15480">
                  <c:v>-0.129411764705882</c:v>
                </c:pt>
                <c:pt idx="15481">
                  <c:v>-0.129411764705882</c:v>
                </c:pt>
                <c:pt idx="15482">
                  <c:v>-0.129411764705882</c:v>
                </c:pt>
                <c:pt idx="15483">
                  <c:v>-0.129411764705882</c:v>
                </c:pt>
                <c:pt idx="15484">
                  <c:v>-0.129411764705882</c:v>
                </c:pt>
                <c:pt idx="15485">
                  <c:v>-0.129411764705882</c:v>
                </c:pt>
                <c:pt idx="15486">
                  <c:v>-0.129411764705882</c:v>
                </c:pt>
                <c:pt idx="15487">
                  <c:v>-0.129411764705882</c:v>
                </c:pt>
                <c:pt idx="15488">
                  <c:v>-0.129411764705882</c:v>
                </c:pt>
                <c:pt idx="15489">
                  <c:v>-0.129411764705882</c:v>
                </c:pt>
                <c:pt idx="15490">
                  <c:v>-0.129411764705882</c:v>
                </c:pt>
                <c:pt idx="15491">
                  <c:v>-0.129411764705882</c:v>
                </c:pt>
                <c:pt idx="15492">
                  <c:v>-0.129411764705882</c:v>
                </c:pt>
                <c:pt idx="15493">
                  <c:v>-0.129411764705882</c:v>
                </c:pt>
                <c:pt idx="15494">
                  <c:v>-0.129411764705882</c:v>
                </c:pt>
                <c:pt idx="15495">
                  <c:v>-0.129411764705882</c:v>
                </c:pt>
                <c:pt idx="15496">
                  <c:v>-0.129411764705882</c:v>
                </c:pt>
                <c:pt idx="15497">
                  <c:v>-0.130252100840336</c:v>
                </c:pt>
                <c:pt idx="15498">
                  <c:v>-0.130252100840336</c:v>
                </c:pt>
                <c:pt idx="15499">
                  <c:v>-0.130252100840336</c:v>
                </c:pt>
                <c:pt idx="15500">
                  <c:v>-0.130252100840336</c:v>
                </c:pt>
                <c:pt idx="15501">
                  <c:v>-0.130252100840336</c:v>
                </c:pt>
                <c:pt idx="15502">
                  <c:v>-0.130252100840336</c:v>
                </c:pt>
                <c:pt idx="15503">
                  <c:v>-0.130252100840336</c:v>
                </c:pt>
                <c:pt idx="15504">
                  <c:v>-0.13109243697478901</c:v>
                </c:pt>
                <c:pt idx="15505">
                  <c:v>-0.13109243697478901</c:v>
                </c:pt>
                <c:pt idx="15506">
                  <c:v>-0.13109243697478901</c:v>
                </c:pt>
                <c:pt idx="15507">
                  <c:v>-0.13109243697478901</c:v>
                </c:pt>
                <c:pt idx="15508">
                  <c:v>-0.130252100840336</c:v>
                </c:pt>
                <c:pt idx="15509">
                  <c:v>-0.130252100840336</c:v>
                </c:pt>
                <c:pt idx="15510">
                  <c:v>-0.130252100840336</c:v>
                </c:pt>
                <c:pt idx="15511">
                  <c:v>-0.130252100840336</c:v>
                </c:pt>
                <c:pt idx="15512">
                  <c:v>-0.130252100840336</c:v>
                </c:pt>
                <c:pt idx="15513">
                  <c:v>-0.13109243697478901</c:v>
                </c:pt>
                <c:pt idx="15514">
                  <c:v>-0.13109243697478901</c:v>
                </c:pt>
                <c:pt idx="15515">
                  <c:v>-0.13109243697478901</c:v>
                </c:pt>
                <c:pt idx="15516">
                  <c:v>-0.13109243697478901</c:v>
                </c:pt>
                <c:pt idx="15517">
                  <c:v>-0.13109243697478901</c:v>
                </c:pt>
                <c:pt idx="15518">
                  <c:v>-0.13109243697478901</c:v>
                </c:pt>
                <c:pt idx="15519">
                  <c:v>-0.13109243697478901</c:v>
                </c:pt>
                <c:pt idx="15520">
                  <c:v>-0.13109243697478901</c:v>
                </c:pt>
                <c:pt idx="15521">
                  <c:v>-0.13109243697478901</c:v>
                </c:pt>
                <c:pt idx="15522">
                  <c:v>-0.13109243697478901</c:v>
                </c:pt>
                <c:pt idx="15523">
                  <c:v>-0.13109243697478901</c:v>
                </c:pt>
                <c:pt idx="15524">
                  <c:v>-0.13109243697478901</c:v>
                </c:pt>
                <c:pt idx="15525">
                  <c:v>-0.13109243697478901</c:v>
                </c:pt>
                <c:pt idx="15526">
                  <c:v>-0.13109243697478901</c:v>
                </c:pt>
                <c:pt idx="15527">
                  <c:v>-0.13109243697478901</c:v>
                </c:pt>
                <c:pt idx="15528">
                  <c:v>-0.13109243697478901</c:v>
                </c:pt>
                <c:pt idx="15529">
                  <c:v>-0.13109243697478901</c:v>
                </c:pt>
                <c:pt idx="15530">
                  <c:v>-0.13109243697478901</c:v>
                </c:pt>
                <c:pt idx="15531">
                  <c:v>-0.13109243697478901</c:v>
                </c:pt>
                <c:pt idx="15532">
                  <c:v>-0.13109243697478901</c:v>
                </c:pt>
                <c:pt idx="15533">
                  <c:v>-0.13109243697478901</c:v>
                </c:pt>
                <c:pt idx="15534">
                  <c:v>-0.13109243697478901</c:v>
                </c:pt>
                <c:pt idx="15535">
                  <c:v>-0.130252100840336</c:v>
                </c:pt>
                <c:pt idx="15536">
                  <c:v>-0.130252100840336</c:v>
                </c:pt>
                <c:pt idx="15537">
                  <c:v>-0.130252100840336</c:v>
                </c:pt>
                <c:pt idx="15538">
                  <c:v>-0.130252100840336</c:v>
                </c:pt>
                <c:pt idx="15539">
                  <c:v>-0.130252100840336</c:v>
                </c:pt>
                <c:pt idx="15540">
                  <c:v>-0.130252100840336</c:v>
                </c:pt>
                <c:pt idx="15541">
                  <c:v>-0.130252100840336</c:v>
                </c:pt>
                <c:pt idx="15542">
                  <c:v>-0.130252100840336</c:v>
                </c:pt>
                <c:pt idx="15543">
                  <c:v>-0.130252100840336</c:v>
                </c:pt>
                <c:pt idx="15544">
                  <c:v>-0.130252100840336</c:v>
                </c:pt>
                <c:pt idx="15545">
                  <c:v>-0.130252100840336</c:v>
                </c:pt>
                <c:pt idx="15546">
                  <c:v>-0.130252100840336</c:v>
                </c:pt>
                <c:pt idx="15547">
                  <c:v>-0.130252100840336</c:v>
                </c:pt>
                <c:pt idx="15548">
                  <c:v>-0.130252100840336</c:v>
                </c:pt>
                <c:pt idx="15549">
                  <c:v>-0.130252100840336</c:v>
                </c:pt>
                <c:pt idx="15550">
                  <c:v>-0.130252100840336</c:v>
                </c:pt>
                <c:pt idx="15551">
                  <c:v>-0.130252100840336</c:v>
                </c:pt>
                <c:pt idx="15552">
                  <c:v>-0.130252100840336</c:v>
                </c:pt>
                <c:pt idx="15553">
                  <c:v>-0.130252100840336</c:v>
                </c:pt>
                <c:pt idx="15554">
                  <c:v>-0.130252100840336</c:v>
                </c:pt>
                <c:pt idx="15555">
                  <c:v>-0.130252100840336</c:v>
                </c:pt>
                <c:pt idx="15556">
                  <c:v>-0.130252100840336</c:v>
                </c:pt>
                <c:pt idx="15557">
                  <c:v>-0.130252100840336</c:v>
                </c:pt>
                <c:pt idx="15558">
                  <c:v>-0.130252100840336</c:v>
                </c:pt>
                <c:pt idx="15559">
                  <c:v>-0.130252100840336</c:v>
                </c:pt>
                <c:pt idx="15560">
                  <c:v>-0.130252100840336</c:v>
                </c:pt>
                <c:pt idx="15561">
                  <c:v>-0.130252100840336</c:v>
                </c:pt>
                <c:pt idx="15562">
                  <c:v>-0.130252100840336</c:v>
                </c:pt>
                <c:pt idx="15563">
                  <c:v>-0.130252100840336</c:v>
                </c:pt>
                <c:pt idx="15564">
                  <c:v>-0.130252100840336</c:v>
                </c:pt>
                <c:pt idx="15565">
                  <c:v>-0.130252100840336</c:v>
                </c:pt>
                <c:pt idx="15566">
                  <c:v>-0.130252100840336</c:v>
                </c:pt>
                <c:pt idx="15567">
                  <c:v>-0.130252100840336</c:v>
                </c:pt>
                <c:pt idx="15568">
                  <c:v>-0.130252100840336</c:v>
                </c:pt>
                <c:pt idx="15569">
                  <c:v>-0.130252100840336</c:v>
                </c:pt>
                <c:pt idx="15570">
                  <c:v>-0.130252100840336</c:v>
                </c:pt>
                <c:pt idx="15571">
                  <c:v>-0.129411764705882</c:v>
                </c:pt>
                <c:pt idx="15572">
                  <c:v>-0.129411764705882</c:v>
                </c:pt>
                <c:pt idx="15573">
                  <c:v>-0.129411764705882</c:v>
                </c:pt>
                <c:pt idx="15574">
                  <c:v>-0.129411764705882</c:v>
                </c:pt>
                <c:pt idx="15575">
                  <c:v>-0.129411764705882</c:v>
                </c:pt>
                <c:pt idx="15576">
                  <c:v>-0.129411764705882</c:v>
                </c:pt>
                <c:pt idx="15577">
                  <c:v>-0.129411764705882</c:v>
                </c:pt>
                <c:pt idx="15578">
                  <c:v>-0.129411764705882</c:v>
                </c:pt>
                <c:pt idx="15579">
                  <c:v>-0.129411764705882</c:v>
                </c:pt>
                <c:pt idx="15580">
                  <c:v>-0.130252100840336</c:v>
                </c:pt>
                <c:pt idx="15581">
                  <c:v>-0.130252100840336</c:v>
                </c:pt>
                <c:pt idx="15582">
                  <c:v>-0.130252100840336</c:v>
                </c:pt>
                <c:pt idx="15583">
                  <c:v>-0.130252100840336</c:v>
                </c:pt>
                <c:pt idx="15584">
                  <c:v>-0.130252100840336</c:v>
                </c:pt>
                <c:pt idx="15585">
                  <c:v>-0.130252100840336</c:v>
                </c:pt>
                <c:pt idx="15586">
                  <c:v>-0.130252100840336</c:v>
                </c:pt>
                <c:pt idx="15587">
                  <c:v>-0.130252100840336</c:v>
                </c:pt>
                <c:pt idx="15588">
                  <c:v>-0.130252100840336</c:v>
                </c:pt>
                <c:pt idx="15589">
                  <c:v>-0.130252100840336</c:v>
                </c:pt>
                <c:pt idx="15590">
                  <c:v>-0.130252100840336</c:v>
                </c:pt>
                <c:pt idx="15591">
                  <c:v>-0.130252100840336</c:v>
                </c:pt>
                <c:pt idx="15592">
                  <c:v>-0.130252100840336</c:v>
                </c:pt>
                <c:pt idx="15593">
                  <c:v>-0.130252100840336</c:v>
                </c:pt>
                <c:pt idx="15594">
                  <c:v>-0.130252100840336</c:v>
                </c:pt>
                <c:pt idx="15595">
                  <c:v>-0.130252100840336</c:v>
                </c:pt>
                <c:pt idx="15596">
                  <c:v>-0.130252100840336</c:v>
                </c:pt>
                <c:pt idx="15597">
                  <c:v>-0.130252100840336</c:v>
                </c:pt>
                <c:pt idx="15598">
                  <c:v>-0.130252100840336</c:v>
                </c:pt>
                <c:pt idx="15599">
                  <c:v>-0.130252100840336</c:v>
                </c:pt>
                <c:pt idx="15600">
                  <c:v>-0.130252100840336</c:v>
                </c:pt>
                <c:pt idx="15601">
                  <c:v>-0.130252100840336</c:v>
                </c:pt>
                <c:pt idx="15602">
                  <c:v>-0.130252100840336</c:v>
                </c:pt>
                <c:pt idx="15603">
                  <c:v>-0.130252100840336</c:v>
                </c:pt>
                <c:pt idx="15604">
                  <c:v>-0.130252100840336</c:v>
                </c:pt>
                <c:pt idx="15605">
                  <c:v>-0.130252100840336</c:v>
                </c:pt>
                <c:pt idx="15606">
                  <c:v>-0.130252100840336</c:v>
                </c:pt>
                <c:pt idx="15607">
                  <c:v>-0.130252100840336</c:v>
                </c:pt>
                <c:pt idx="15608">
                  <c:v>-0.130252100840336</c:v>
                </c:pt>
                <c:pt idx="15609">
                  <c:v>-0.13109243697478901</c:v>
                </c:pt>
                <c:pt idx="15610">
                  <c:v>-0.13109243697478901</c:v>
                </c:pt>
                <c:pt idx="15611">
                  <c:v>-0.13109243697478901</c:v>
                </c:pt>
                <c:pt idx="15612">
                  <c:v>-0.13109243697478901</c:v>
                </c:pt>
                <c:pt idx="15613">
                  <c:v>-0.13109243697478901</c:v>
                </c:pt>
                <c:pt idx="15614">
                  <c:v>-0.13109243697478901</c:v>
                </c:pt>
                <c:pt idx="15615">
                  <c:v>-0.13109243697478901</c:v>
                </c:pt>
                <c:pt idx="15616">
                  <c:v>-0.13109243697478901</c:v>
                </c:pt>
                <c:pt idx="15617">
                  <c:v>-0.13109243697478901</c:v>
                </c:pt>
                <c:pt idx="15618">
                  <c:v>-0.13109243697478901</c:v>
                </c:pt>
                <c:pt idx="15619">
                  <c:v>-0.13109243697478901</c:v>
                </c:pt>
                <c:pt idx="15620">
                  <c:v>-0.13109243697478901</c:v>
                </c:pt>
                <c:pt idx="15621">
                  <c:v>-0.13109243697478901</c:v>
                </c:pt>
                <c:pt idx="15622">
                  <c:v>-0.13109243697478901</c:v>
                </c:pt>
                <c:pt idx="15623">
                  <c:v>-0.13109243697478901</c:v>
                </c:pt>
                <c:pt idx="15624">
                  <c:v>-0.13109243697478901</c:v>
                </c:pt>
                <c:pt idx="15625">
                  <c:v>-0.13109243697478901</c:v>
                </c:pt>
                <c:pt idx="15626">
                  <c:v>-0.13109243697478901</c:v>
                </c:pt>
                <c:pt idx="15627">
                  <c:v>-0.13109243697478901</c:v>
                </c:pt>
                <c:pt idx="15628">
                  <c:v>-0.13109243697478901</c:v>
                </c:pt>
                <c:pt idx="15629">
                  <c:v>-0.13109243697478901</c:v>
                </c:pt>
                <c:pt idx="15630">
                  <c:v>-0.13109243697478901</c:v>
                </c:pt>
                <c:pt idx="15631">
                  <c:v>-0.13109243697478901</c:v>
                </c:pt>
                <c:pt idx="15632">
                  <c:v>-0.13109243697478901</c:v>
                </c:pt>
                <c:pt idx="15633">
                  <c:v>-0.13109243697478901</c:v>
                </c:pt>
                <c:pt idx="15634">
                  <c:v>-0.13109243697478901</c:v>
                </c:pt>
                <c:pt idx="15635">
                  <c:v>-0.13109243697478901</c:v>
                </c:pt>
                <c:pt idx="15636">
                  <c:v>-0.13109243697478901</c:v>
                </c:pt>
                <c:pt idx="15637">
                  <c:v>-0.13109243697478901</c:v>
                </c:pt>
                <c:pt idx="15638">
                  <c:v>-0.13109243697478901</c:v>
                </c:pt>
                <c:pt idx="15639">
                  <c:v>-0.13109243697478901</c:v>
                </c:pt>
                <c:pt idx="15640">
                  <c:v>-0.13109243697478901</c:v>
                </c:pt>
                <c:pt idx="15641">
                  <c:v>-0.13109243697478901</c:v>
                </c:pt>
                <c:pt idx="15642">
                  <c:v>-0.13109243697478901</c:v>
                </c:pt>
                <c:pt idx="15643">
                  <c:v>-0.13109243697478901</c:v>
                </c:pt>
                <c:pt idx="15644">
                  <c:v>-0.13109243697478901</c:v>
                </c:pt>
                <c:pt idx="15645">
                  <c:v>-0.13109243697478901</c:v>
                </c:pt>
                <c:pt idx="15646">
                  <c:v>-0.13109243697478901</c:v>
                </c:pt>
                <c:pt idx="15647">
                  <c:v>-0.13109243697478901</c:v>
                </c:pt>
                <c:pt idx="15648">
                  <c:v>-0.13109243697478901</c:v>
                </c:pt>
                <c:pt idx="15649">
                  <c:v>-0.13109243697478901</c:v>
                </c:pt>
                <c:pt idx="15650">
                  <c:v>-0.13109243697478901</c:v>
                </c:pt>
                <c:pt idx="15651">
                  <c:v>-0.13109243697478901</c:v>
                </c:pt>
                <c:pt idx="15652">
                  <c:v>-0.13109243697478901</c:v>
                </c:pt>
                <c:pt idx="15653">
                  <c:v>-0.13109243697478901</c:v>
                </c:pt>
                <c:pt idx="15654">
                  <c:v>-0.13109243697478901</c:v>
                </c:pt>
                <c:pt idx="15655">
                  <c:v>-0.13109243697478901</c:v>
                </c:pt>
                <c:pt idx="15656">
                  <c:v>-0.13109243697478901</c:v>
                </c:pt>
                <c:pt idx="15657">
                  <c:v>-0.13109243697478901</c:v>
                </c:pt>
                <c:pt idx="15658">
                  <c:v>-0.13109243697478901</c:v>
                </c:pt>
                <c:pt idx="15659">
                  <c:v>-0.13109243697478901</c:v>
                </c:pt>
                <c:pt idx="15660">
                  <c:v>-0.130252100840336</c:v>
                </c:pt>
                <c:pt idx="15661">
                  <c:v>-0.130252100840336</c:v>
                </c:pt>
                <c:pt idx="15662">
                  <c:v>-0.130252100840336</c:v>
                </c:pt>
                <c:pt idx="15663">
                  <c:v>-0.129411764705882</c:v>
                </c:pt>
                <c:pt idx="15664">
                  <c:v>-0.129411764705882</c:v>
                </c:pt>
                <c:pt idx="15665">
                  <c:v>-0.129411764705882</c:v>
                </c:pt>
                <c:pt idx="15666">
                  <c:v>-0.129411764705882</c:v>
                </c:pt>
                <c:pt idx="15667">
                  <c:v>-0.129411764705882</c:v>
                </c:pt>
                <c:pt idx="15668">
                  <c:v>-0.130252100840336</c:v>
                </c:pt>
                <c:pt idx="15669">
                  <c:v>-0.130252100840336</c:v>
                </c:pt>
                <c:pt idx="15670">
                  <c:v>-0.130252100840336</c:v>
                </c:pt>
                <c:pt idx="15671">
                  <c:v>-0.130252100840336</c:v>
                </c:pt>
                <c:pt idx="15672">
                  <c:v>-0.130252100840336</c:v>
                </c:pt>
                <c:pt idx="15673">
                  <c:v>-0.130252100840336</c:v>
                </c:pt>
                <c:pt idx="15674">
                  <c:v>-0.130252100840336</c:v>
                </c:pt>
                <c:pt idx="15675">
                  <c:v>-0.130252100840336</c:v>
                </c:pt>
                <c:pt idx="15676">
                  <c:v>-0.129411764705882</c:v>
                </c:pt>
                <c:pt idx="15677">
                  <c:v>-0.129411764705882</c:v>
                </c:pt>
                <c:pt idx="15678">
                  <c:v>-0.129411764705882</c:v>
                </c:pt>
                <c:pt idx="15679">
                  <c:v>-0.129411764705882</c:v>
                </c:pt>
                <c:pt idx="15680">
                  <c:v>-0.129411764705882</c:v>
                </c:pt>
                <c:pt idx="15681">
                  <c:v>-0.128571428571428</c:v>
                </c:pt>
                <c:pt idx="15682">
                  <c:v>-0.128571428571428</c:v>
                </c:pt>
                <c:pt idx="15683">
                  <c:v>-0.128571428571428</c:v>
                </c:pt>
                <c:pt idx="15684">
                  <c:v>-0.128571428571428</c:v>
                </c:pt>
                <c:pt idx="15685">
                  <c:v>-0.128571428571428</c:v>
                </c:pt>
                <c:pt idx="15686">
                  <c:v>-0.128571428571428</c:v>
                </c:pt>
                <c:pt idx="15687">
                  <c:v>-0.128571428571428</c:v>
                </c:pt>
                <c:pt idx="15688">
                  <c:v>-0.128571428571428</c:v>
                </c:pt>
                <c:pt idx="15689">
                  <c:v>-0.128571428571428</c:v>
                </c:pt>
                <c:pt idx="15690">
                  <c:v>-0.128571428571428</c:v>
                </c:pt>
                <c:pt idx="15691">
                  <c:v>-0.128571428571428</c:v>
                </c:pt>
                <c:pt idx="15692">
                  <c:v>-0.128571428571428</c:v>
                </c:pt>
                <c:pt idx="15693">
                  <c:v>-0.128571428571428</c:v>
                </c:pt>
                <c:pt idx="15694">
                  <c:v>-0.128571428571428</c:v>
                </c:pt>
                <c:pt idx="15695">
                  <c:v>-0.128571428571428</c:v>
                </c:pt>
                <c:pt idx="15696">
                  <c:v>-0.128571428571428</c:v>
                </c:pt>
                <c:pt idx="15697">
                  <c:v>-0.128571428571428</c:v>
                </c:pt>
                <c:pt idx="15698">
                  <c:v>-0.128571428571428</c:v>
                </c:pt>
                <c:pt idx="15699">
                  <c:v>-0.128571428571428</c:v>
                </c:pt>
                <c:pt idx="15700">
                  <c:v>-0.128571428571428</c:v>
                </c:pt>
                <c:pt idx="15701">
                  <c:v>-0.128571428571428</c:v>
                </c:pt>
                <c:pt idx="15702">
                  <c:v>-0.128571428571428</c:v>
                </c:pt>
                <c:pt idx="15703">
                  <c:v>-0.128571428571428</c:v>
                </c:pt>
                <c:pt idx="15704">
                  <c:v>-0.128571428571428</c:v>
                </c:pt>
                <c:pt idx="15705">
                  <c:v>-0.128571428571428</c:v>
                </c:pt>
                <c:pt idx="15706">
                  <c:v>-0.128571428571428</c:v>
                </c:pt>
                <c:pt idx="15707">
                  <c:v>-0.128571428571428</c:v>
                </c:pt>
                <c:pt idx="15708">
                  <c:v>-0.128571428571428</c:v>
                </c:pt>
                <c:pt idx="15709">
                  <c:v>-0.128571428571428</c:v>
                </c:pt>
                <c:pt idx="15710">
                  <c:v>-0.128571428571428</c:v>
                </c:pt>
                <c:pt idx="15711">
                  <c:v>-0.128571428571428</c:v>
                </c:pt>
                <c:pt idx="15712">
                  <c:v>-0.128571428571428</c:v>
                </c:pt>
                <c:pt idx="15713">
                  <c:v>-0.128571428571428</c:v>
                </c:pt>
                <c:pt idx="15714">
                  <c:v>-0.128571428571428</c:v>
                </c:pt>
                <c:pt idx="15715">
                  <c:v>-0.128571428571428</c:v>
                </c:pt>
                <c:pt idx="15716">
                  <c:v>-0.127731092436974</c:v>
                </c:pt>
                <c:pt idx="15717">
                  <c:v>-0.127731092436974</c:v>
                </c:pt>
                <c:pt idx="15718">
                  <c:v>-0.127731092436974</c:v>
                </c:pt>
                <c:pt idx="15719">
                  <c:v>-0.127731092436974</c:v>
                </c:pt>
                <c:pt idx="15720">
                  <c:v>-0.127731092436974</c:v>
                </c:pt>
                <c:pt idx="15721">
                  <c:v>-0.127731092436974</c:v>
                </c:pt>
                <c:pt idx="15722">
                  <c:v>-0.127731092436974</c:v>
                </c:pt>
                <c:pt idx="15723">
                  <c:v>-0.127731092436974</c:v>
                </c:pt>
                <c:pt idx="15724">
                  <c:v>-0.127731092436974</c:v>
                </c:pt>
                <c:pt idx="15725">
                  <c:v>-0.127731092436974</c:v>
                </c:pt>
                <c:pt idx="15726">
                  <c:v>-0.127731092436974</c:v>
                </c:pt>
                <c:pt idx="15727">
                  <c:v>-0.127731092436974</c:v>
                </c:pt>
                <c:pt idx="15728">
                  <c:v>-0.127731092436974</c:v>
                </c:pt>
                <c:pt idx="15729">
                  <c:v>-0.127731092436974</c:v>
                </c:pt>
                <c:pt idx="15730">
                  <c:v>-0.127731092436974</c:v>
                </c:pt>
                <c:pt idx="15731">
                  <c:v>-0.127731092436974</c:v>
                </c:pt>
                <c:pt idx="15732">
                  <c:v>-0.127731092436974</c:v>
                </c:pt>
                <c:pt idx="15733">
                  <c:v>-0.127731092436974</c:v>
                </c:pt>
                <c:pt idx="15734">
                  <c:v>-0.127731092436974</c:v>
                </c:pt>
                <c:pt idx="15735">
                  <c:v>-0.127731092436974</c:v>
                </c:pt>
                <c:pt idx="15736">
                  <c:v>-0.127731092436974</c:v>
                </c:pt>
                <c:pt idx="15737">
                  <c:v>-0.127731092436974</c:v>
                </c:pt>
                <c:pt idx="15738">
                  <c:v>-0.127731092436974</c:v>
                </c:pt>
                <c:pt idx="15739">
                  <c:v>-0.127731092436974</c:v>
                </c:pt>
                <c:pt idx="15740">
                  <c:v>-0.127731092436974</c:v>
                </c:pt>
                <c:pt idx="15741">
                  <c:v>-0.127731092436974</c:v>
                </c:pt>
                <c:pt idx="15742">
                  <c:v>-0.127731092436974</c:v>
                </c:pt>
                <c:pt idx="15743">
                  <c:v>-0.127731092436974</c:v>
                </c:pt>
                <c:pt idx="15744">
                  <c:v>-0.127731092436974</c:v>
                </c:pt>
                <c:pt idx="15745">
                  <c:v>-0.127731092436974</c:v>
                </c:pt>
                <c:pt idx="15746">
                  <c:v>-0.127731092436974</c:v>
                </c:pt>
                <c:pt idx="15747">
                  <c:v>-0.127731092436974</c:v>
                </c:pt>
                <c:pt idx="15748">
                  <c:v>-0.127731092436974</c:v>
                </c:pt>
                <c:pt idx="15749">
                  <c:v>-0.127731092436974</c:v>
                </c:pt>
                <c:pt idx="15750">
                  <c:v>-0.127731092436974</c:v>
                </c:pt>
                <c:pt idx="15751">
                  <c:v>-0.127731092436974</c:v>
                </c:pt>
                <c:pt idx="15752">
                  <c:v>-0.127731092436974</c:v>
                </c:pt>
                <c:pt idx="15753">
                  <c:v>-0.127731092436974</c:v>
                </c:pt>
                <c:pt idx="15754">
                  <c:v>-0.127731092436974</c:v>
                </c:pt>
                <c:pt idx="15755">
                  <c:v>-0.127731092436974</c:v>
                </c:pt>
                <c:pt idx="15756">
                  <c:v>-0.127731092436974</c:v>
                </c:pt>
                <c:pt idx="15757">
                  <c:v>-0.127731092436974</c:v>
                </c:pt>
                <c:pt idx="15758">
                  <c:v>-0.127731092436974</c:v>
                </c:pt>
                <c:pt idx="15759">
                  <c:v>-0.127731092436974</c:v>
                </c:pt>
                <c:pt idx="15760">
                  <c:v>-0.127731092436974</c:v>
                </c:pt>
                <c:pt idx="15761">
                  <c:v>-0.127731092436974</c:v>
                </c:pt>
                <c:pt idx="15762">
                  <c:v>-0.127731092436974</c:v>
                </c:pt>
                <c:pt idx="15763">
                  <c:v>-0.127731092436974</c:v>
                </c:pt>
                <c:pt idx="15764">
                  <c:v>-0.127731092436974</c:v>
                </c:pt>
                <c:pt idx="15765">
                  <c:v>-0.127731092436974</c:v>
                </c:pt>
                <c:pt idx="15766">
                  <c:v>-0.127731092436974</c:v>
                </c:pt>
                <c:pt idx="15767">
                  <c:v>-0.127731092436974</c:v>
                </c:pt>
                <c:pt idx="15768">
                  <c:v>-0.127731092436974</c:v>
                </c:pt>
                <c:pt idx="15769">
                  <c:v>-0.127731092436974</c:v>
                </c:pt>
                <c:pt idx="15770">
                  <c:v>-0.128571428571428</c:v>
                </c:pt>
                <c:pt idx="15771">
                  <c:v>-0.128571428571428</c:v>
                </c:pt>
                <c:pt idx="15772">
                  <c:v>-0.128571428571428</c:v>
                </c:pt>
                <c:pt idx="15773">
                  <c:v>-0.128571428571428</c:v>
                </c:pt>
                <c:pt idx="15774">
                  <c:v>-0.128571428571428</c:v>
                </c:pt>
                <c:pt idx="15775">
                  <c:v>-0.128571428571428</c:v>
                </c:pt>
                <c:pt idx="15776">
                  <c:v>-0.128571428571428</c:v>
                </c:pt>
                <c:pt idx="15777">
                  <c:v>-0.128571428571428</c:v>
                </c:pt>
                <c:pt idx="15778">
                  <c:v>-0.128571428571428</c:v>
                </c:pt>
                <c:pt idx="15779">
                  <c:v>-0.128571428571428</c:v>
                </c:pt>
                <c:pt idx="15780">
                  <c:v>-0.128571428571428</c:v>
                </c:pt>
                <c:pt idx="15781">
                  <c:v>-0.128571428571428</c:v>
                </c:pt>
                <c:pt idx="15782">
                  <c:v>-0.128571428571428</c:v>
                </c:pt>
                <c:pt idx="15783">
                  <c:v>-0.128571428571428</c:v>
                </c:pt>
                <c:pt idx="15784">
                  <c:v>-0.128571428571428</c:v>
                </c:pt>
                <c:pt idx="15785">
                  <c:v>-0.128571428571428</c:v>
                </c:pt>
                <c:pt idx="15786">
                  <c:v>-0.128571428571428</c:v>
                </c:pt>
                <c:pt idx="15787">
                  <c:v>-0.127731092436974</c:v>
                </c:pt>
                <c:pt idx="15788">
                  <c:v>-0.127731092436974</c:v>
                </c:pt>
                <c:pt idx="15789">
                  <c:v>-0.127731092436974</c:v>
                </c:pt>
                <c:pt idx="15790">
                  <c:v>-0.127731092436974</c:v>
                </c:pt>
                <c:pt idx="15791">
                  <c:v>-0.127731092436974</c:v>
                </c:pt>
                <c:pt idx="15792">
                  <c:v>-0.127731092436974</c:v>
                </c:pt>
                <c:pt idx="15793">
                  <c:v>-0.127731092436974</c:v>
                </c:pt>
                <c:pt idx="15794">
                  <c:v>-0.127731092436974</c:v>
                </c:pt>
                <c:pt idx="15795">
                  <c:v>-0.127731092436974</c:v>
                </c:pt>
                <c:pt idx="15796">
                  <c:v>-0.127731092436974</c:v>
                </c:pt>
                <c:pt idx="15797">
                  <c:v>-0.127731092436974</c:v>
                </c:pt>
                <c:pt idx="15798">
                  <c:v>-0.127731092436974</c:v>
                </c:pt>
                <c:pt idx="15799">
                  <c:v>-0.127731092436974</c:v>
                </c:pt>
                <c:pt idx="15800">
                  <c:v>-0.127731092436974</c:v>
                </c:pt>
                <c:pt idx="15801">
                  <c:v>-0.127731092436974</c:v>
                </c:pt>
                <c:pt idx="15802">
                  <c:v>-0.127731092436974</c:v>
                </c:pt>
                <c:pt idx="15803">
                  <c:v>-0.127731092436974</c:v>
                </c:pt>
                <c:pt idx="15804">
                  <c:v>-0.127731092436974</c:v>
                </c:pt>
                <c:pt idx="15805">
                  <c:v>-0.127731092436974</c:v>
                </c:pt>
                <c:pt idx="15806">
                  <c:v>-0.127731092436974</c:v>
                </c:pt>
                <c:pt idx="15807">
                  <c:v>-0.127731092436974</c:v>
                </c:pt>
                <c:pt idx="15808">
                  <c:v>-0.12689075630252</c:v>
                </c:pt>
                <c:pt idx="15809">
                  <c:v>-0.12689075630252</c:v>
                </c:pt>
                <c:pt idx="15810">
                  <c:v>-0.12689075630252</c:v>
                </c:pt>
                <c:pt idx="15811">
                  <c:v>-0.12689075630252</c:v>
                </c:pt>
                <c:pt idx="15812">
                  <c:v>-0.12689075630252</c:v>
                </c:pt>
                <c:pt idx="15813">
                  <c:v>-0.12689075630252</c:v>
                </c:pt>
                <c:pt idx="15814">
                  <c:v>-0.12689075630252</c:v>
                </c:pt>
                <c:pt idx="15815">
                  <c:v>-0.12689075630252</c:v>
                </c:pt>
                <c:pt idx="15816">
                  <c:v>-0.12689075630252</c:v>
                </c:pt>
                <c:pt idx="15817">
                  <c:v>-0.12689075630252</c:v>
                </c:pt>
                <c:pt idx="15818">
                  <c:v>-0.127731092436974</c:v>
                </c:pt>
                <c:pt idx="15819">
                  <c:v>-0.127731092436974</c:v>
                </c:pt>
                <c:pt idx="15820">
                  <c:v>-0.127731092436974</c:v>
                </c:pt>
                <c:pt idx="15821">
                  <c:v>-0.127731092436974</c:v>
                </c:pt>
                <c:pt idx="15822">
                  <c:v>-0.128571428571428</c:v>
                </c:pt>
                <c:pt idx="15823">
                  <c:v>-0.128571428571428</c:v>
                </c:pt>
                <c:pt idx="15824">
                  <c:v>-0.128571428571428</c:v>
                </c:pt>
                <c:pt idx="15825">
                  <c:v>-0.128571428571428</c:v>
                </c:pt>
                <c:pt idx="15826">
                  <c:v>-0.128571428571428</c:v>
                </c:pt>
                <c:pt idx="15827">
                  <c:v>-0.128571428571428</c:v>
                </c:pt>
                <c:pt idx="15828">
                  <c:v>-0.128571428571428</c:v>
                </c:pt>
                <c:pt idx="15829">
                  <c:v>-0.128571428571428</c:v>
                </c:pt>
                <c:pt idx="15830">
                  <c:v>-0.128571428571428</c:v>
                </c:pt>
                <c:pt idx="15831">
                  <c:v>-0.128571428571428</c:v>
                </c:pt>
                <c:pt idx="15832">
                  <c:v>-0.128571428571428</c:v>
                </c:pt>
                <c:pt idx="15833">
                  <c:v>-0.128571428571428</c:v>
                </c:pt>
                <c:pt idx="15834">
                  <c:v>-0.128571428571428</c:v>
                </c:pt>
                <c:pt idx="15835">
                  <c:v>-0.128571428571428</c:v>
                </c:pt>
                <c:pt idx="15836">
                  <c:v>-0.128571428571428</c:v>
                </c:pt>
                <c:pt idx="15837">
                  <c:v>-0.128571428571428</c:v>
                </c:pt>
                <c:pt idx="15838">
                  <c:v>-0.128571428571428</c:v>
                </c:pt>
                <c:pt idx="15839">
                  <c:v>-0.128571428571428</c:v>
                </c:pt>
                <c:pt idx="15840">
                  <c:v>-0.128571428571428</c:v>
                </c:pt>
                <c:pt idx="15841">
                  <c:v>-0.128571428571428</c:v>
                </c:pt>
                <c:pt idx="15842">
                  <c:v>-0.128571428571428</c:v>
                </c:pt>
                <c:pt idx="15843">
                  <c:v>-0.128571428571428</c:v>
                </c:pt>
                <c:pt idx="15844">
                  <c:v>-0.128571428571428</c:v>
                </c:pt>
                <c:pt idx="15845">
                  <c:v>-0.128571428571428</c:v>
                </c:pt>
                <c:pt idx="15846">
                  <c:v>-0.128571428571428</c:v>
                </c:pt>
                <c:pt idx="15847">
                  <c:v>-0.129411764705882</c:v>
                </c:pt>
                <c:pt idx="15848">
                  <c:v>-0.129411764705882</c:v>
                </c:pt>
                <c:pt idx="15849">
                  <c:v>-0.129411764705882</c:v>
                </c:pt>
                <c:pt idx="15850">
                  <c:v>-0.129411764705882</c:v>
                </c:pt>
                <c:pt idx="15851">
                  <c:v>-0.129411764705882</c:v>
                </c:pt>
                <c:pt idx="15852">
                  <c:v>-0.129411764705882</c:v>
                </c:pt>
                <c:pt idx="15853">
                  <c:v>-0.129411764705882</c:v>
                </c:pt>
                <c:pt idx="15854">
                  <c:v>-0.129411764705882</c:v>
                </c:pt>
                <c:pt idx="15855">
                  <c:v>-0.129411764705882</c:v>
                </c:pt>
                <c:pt idx="15856">
                  <c:v>-0.129411764705882</c:v>
                </c:pt>
                <c:pt idx="15857">
                  <c:v>-0.129411764705882</c:v>
                </c:pt>
                <c:pt idx="15858">
                  <c:v>-0.129411764705882</c:v>
                </c:pt>
                <c:pt idx="15859">
                  <c:v>-0.129411764705882</c:v>
                </c:pt>
                <c:pt idx="15860">
                  <c:v>-0.129411764705882</c:v>
                </c:pt>
                <c:pt idx="15861">
                  <c:v>-0.129411764705882</c:v>
                </c:pt>
                <c:pt idx="15862">
                  <c:v>-0.128571428571428</c:v>
                </c:pt>
                <c:pt idx="15863">
                  <c:v>-0.128571428571428</c:v>
                </c:pt>
                <c:pt idx="15864">
                  <c:v>-0.128571428571428</c:v>
                </c:pt>
                <c:pt idx="15865">
                  <c:v>-0.128571428571428</c:v>
                </c:pt>
                <c:pt idx="15866">
                  <c:v>-0.128571428571428</c:v>
                </c:pt>
                <c:pt idx="15867">
                  <c:v>-0.128571428571428</c:v>
                </c:pt>
                <c:pt idx="15868">
                  <c:v>-0.128571428571428</c:v>
                </c:pt>
                <c:pt idx="15869">
                  <c:v>-0.128571428571428</c:v>
                </c:pt>
                <c:pt idx="15870">
                  <c:v>-0.128571428571428</c:v>
                </c:pt>
                <c:pt idx="15871">
                  <c:v>-0.128571428571428</c:v>
                </c:pt>
                <c:pt idx="15872">
                  <c:v>-0.128571428571428</c:v>
                </c:pt>
                <c:pt idx="15873">
                  <c:v>-0.128571428571428</c:v>
                </c:pt>
                <c:pt idx="15874">
                  <c:v>-0.128571428571428</c:v>
                </c:pt>
                <c:pt idx="15875">
                  <c:v>-0.128571428571428</c:v>
                </c:pt>
                <c:pt idx="15876">
                  <c:v>-0.128571428571428</c:v>
                </c:pt>
                <c:pt idx="15877">
                  <c:v>-0.128571428571428</c:v>
                </c:pt>
                <c:pt idx="15878">
                  <c:v>-0.128571428571428</c:v>
                </c:pt>
                <c:pt idx="15879">
                  <c:v>-0.128571428571428</c:v>
                </c:pt>
                <c:pt idx="15880">
                  <c:v>-0.128571428571428</c:v>
                </c:pt>
                <c:pt idx="15881">
                  <c:v>-0.128571428571428</c:v>
                </c:pt>
                <c:pt idx="15882">
                  <c:v>-0.128571428571428</c:v>
                </c:pt>
                <c:pt idx="15883">
                  <c:v>-0.129411764705882</c:v>
                </c:pt>
                <c:pt idx="15884">
                  <c:v>-0.129411764705882</c:v>
                </c:pt>
                <c:pt idx="15885">
                  <c:v>-0.129411764705882</c:v>
                </c:pt>
                <c:pt idx="15886">
                  <c:v>-0.129411764705882</c:v>
                </c:pt>
                <c:pt idx="15887">
                  <c:v>-0.129411764705882</c:v>
                </c:pt>
                <c:pt idx="15888">
                  <c:v>-0.129411764705882</c:v>
                </c:pt>
                <c:pt idx="15889">
                  <c:v>-0.129411764705882</c:v>
                </c:pt>
                <c:pt idx="15890">
                  <c:v>-0.129411764705882</c:v>
                </c:pt>
                <c:pt idx="15891">
                  <c:v>-0.128571428571428</c:v>
                </c:pt>
                <c:pt idx="15892">
                  <c:v>-0.128571428571428</c:v>
                </c:pt>
                <c:pt idx="15893">
                  <c:v>-0.128571428571428</c:v>
                </c:pt>
                <c:pt idx="15894">
                  <c:v>-0.128571428571428</c:v>
                </c:pt>
                <c:pt idx="15895">
                  <c:v>-0.128571428571428</c:v>
                </c:pt>
                <c:pt idx="15896">
                  <c:v>-0.128571428571428</c:v>
                </c:pt>
                <c:pt idx="15897">
                  <c:v>-0.128571428571428</c:v>
                </c:pt>
                <c:pt idx="15898">
                  <c:v>-0.128571428571428</c:v>
                </c:pt>
                <c:pt idx="15899">
                  <c:v>-0.128571428571428</c:v>
                </c:pt>
                <c:pt idx="15900">
                  <c:v>-0.128571428571428</c:v>
                </c:pt>
                <c:pt idx="15901">
                  <c:v>-0.128571428571428</c:v>
                </c:pt>
                <c:pt idx="15902">
                  <c:v>-0.128571428571428</c:v>
                </c:pt>
                <c:pt idx="15903">
                  <c:v>-0.128571428571428</c:v>
                </c:pt>
                <c:pt idx="15904">
                  <c:v>-0.128571428571428</c:v>
                </c:pt>
                <c:pt idx="15905">
                  <c:v>-0.128571428571428</c:v>
                </c:pt>
                <c:pt idx="15906">
                  <c:v>-0.128571428571428</c:v>
                </c:pt>
                <c:pt idx="15907">
                  <c:v>-0.128571428571428</c:v>
                </c:pt>
                <c:pt idx="15908">
                  <c:v>-0.128571428571428</c:v>
                </c:pt>
                <c:pt idx="15909">
                  <c:v>-0.128571428571428</c:v>
                </c:pt>
                <c:pt idx="15910">
                  <c:v>-0.128571428571428</c:v>
                </c:pt>
                <c:pt idx="15911">
                  <c:v>-0.128571428571428</c:v>
                </c:pt>
                <c:pt idx="15912">
                  <c:v>-0.128571428571428</c:v>
                </c:pt>
                <c:pt idx="15913">
                  <c:v>-0.128571428571428</c:v>
                </c:pt>
                <c:pt idx="15914">
                  <c:v>-0.128571428571428</c:v>
                </c:pt>
                <c:pt idx="15915">
                  <c:v>-0.128571428571428</c:v>
                </c:pt>
                <c:pt idx="15916">
                  <c:v>-0.128571428571428</c:v>
                </c:pt>
                <c:pt idx="15917">
                  <c:v>-0.127731092436974</c:v>
                </c:pt>
                <c:pt idx="15918">
                  <c:v>-0.127731092436974</c:v>
                </c:pt>
                <c:pt idx="15919">
                  <c:v>-0.127731092436974</c:v>
                </c:pt>
                <c:pt idx="15920">
                  <c:v>-0.127731092436974</c:v>
                </c:pt>
                <c:pt idx="15921">
                  <c:v>-0.127731092436974</c:v>
                </c:pt>
                <c:pt idx="15922">
                  <c:v>-0.127731092436974</c:v>
                </c:pt>
                <c:pt idx="15923">
                  <c:v>-0.127731092436974</c:v>
                </c:pt>
                <c:pt idx="15924">
                  <c:v>-0.127731092436974</c:v>
                </c:pt>
                <c:pt idx="15925">
                  <c:v>-0.127731092436974</c:v>
                </c:pt>
                <c:pt idx="15926">
                  <c:v>-0.127731092436974</c:v>
                </c:pt>
                <c:pt idx="15927">
                  <c:v>-0.127731092436974</c:v>
                </c:pt>
                <c:pt idx="15928">
                  <c:v>-0.128571428571428</c:v>
                </c:pt>
                <c:pt idx="15929">
                  <c:v>-0.128571428571428</c:v>
                </c:pt>
                <c:pt idx="15930">
                  <c:v>-0.128571428571428</c:v>
                </c:pt>
                <c:pt idx="15931">
                  <c:v>-0.128571428571428</c:v>
                </c:pt>
                <c:pt idx="15932">
                  <c:v>-0.128571428571428</c:v>
                </c:pt>
                <c:pt idx="15933">
                  <c:v>-0.129411764705882</c:v>
                </c:pt>
                <c:pt idx="15934">
                  <c:v>-0.129411764705882</c:v>
                </c:pt>
                <c:pt idx="15935">
                  <c:v>-0.129411764705882</c:v>
                </c:pt>
                <c:pt idx="15936">
                  <c:v>-0.129411764705882</c:v>
                </c:pt>
                <c:pt idx="15937">
                  <c:v>-0.129411764705882</c:v>
                </c:pt>
                <c:pt idx="15938">
                  <c:v>-0.129411764705882</c:v>
                </c:pt>
                <c:pt idx="15939">
                  <c:v>-0.129411764705882</c:v>
                </c:pt>
                <c:pt idx="15940">
                  <c:v>-0.129411764705882</c:v>
                </c:pt>
                <c:pt idx="15941">
                  <c:v>-0.129411764705882</c:v>
                </c:pt>
                <c:pt idx="15942">
                  <c:v>-0.129411764705882</c:v>
                </c:pt>
                <c:pt idx="15943">
                  <c:v>-0.128571428571428</c:v>
                </c:pt>
                <c:pt idx="15944">
                  <c:v>-0.128571428571428</c:v>
                </c:pt>
                <c:pt idx="15945">
                  <c:v>-0.128571428571428</c:v>
                </c:pt>
                <c:pt idx="15946">
                  <c:v>-0.128571428571428</c:v>
                </c:pt>
                <c:pt idx="15947">
                  <c:v>-0.128571428571428</c:v>
                </c:pt>
                <c:pt idx="15948">
                  <c:v>-0.128571428571428</c:v>
                </c:pt>
                <c:pt idx="15949">
                  <c:v>-0.128571428571428</c:v>
                </c:pt>
                <c:pt idx="15950">
                  <c:v>-0.128571428571428</c:v>
                </c:pt>
                <c:pt idx="15951">
                  <c:v>-0.128571428571428</c:v>
                </c:pt>
                <c:pt idx="15952">
                  <c:v>-0.128571428571428</c:v>
                </c:pt>
                <c:pt idx="15953">
                  <c:v>-0.128571428571428</c:v>
                </c:pt>
                <c:pt idx="15954">
                  <c:v>-0.128571428571428</c:v>
                </c:pt>
                <c:pt idx="15955">
                  <c:v>-0.128571428571428</c:v>
                </c:pt>
                <c:pt idx="15956">
                  <c:v>-0.128571428571428</c:v>
                </c:pt>
                <c:pt idx="15957">
                  <c:v>-0.128571428571428</c:v>
                </c:pt>
                <c:pt idx="15958">
                  <c:v>-0.128571428571428</c:v>
                </c:pt>
                <c:pt idx="15959">
                  <c:v>-0.128571428571428</c:v>
                </c:pt>
                <c:pt idx="15960">
                  <c:v>-0.128571428571428</c:v>
                </c:pt>
                <c:pt idx="15961">
                  <c:v>-0.128571428571428</c:v>
                </c:pt>
                <c:pt idx="15962">
                  <c:v>-0.128571428571428</c:v>
                </c:pt>
                <c:pt idx="15963">
                  <c:v>-0.128571428571428</c:v>
                </c:pt>
                <c:pt idx="15964">
                  <c:v>-0.128571428571428</c:v>
                </c:pt>
                <c:pt idx="15965">
                  <c:v>-0.128571428571428</c:v>
                </c:pt>
                <c:pt idx="15966">
                  <c:v>-0.128571428571428</c:v>
                </c:pt>
                <c:pt idx="15967">
                  <c:v>-0.128571428571428</c:v>
                </c:pt>
                <c:pt idx="15968">
                  <c:v>-0.128571428571428</c:v>
                </c:pt>
                <c:pt idx="15969">
                  <c:v>-0.128571428571428</c:v>
                </c:pt>
                <c:pt idx="15970">
                  <c:v>-0.128571428571428</c:v>
                </c:pt>
                <c:pt idx="15971">
                  <c:v>-0.128571428571428</c:v>
                </c:pt>
                <c:pt idx="15972">
                  <c:v>-0.128571428571428</c:v>
                </c:pt>
                <c:pt idx="15973">
                  <c:v>-0.128571428571428</c:v>
                </c:pt>
                <c:pt idx="15974">
                  <c:v>-0.128571428571428</c:v>
                </c:pt>
                <c:pt idx="15975">
                  <c:v>-0.128571428571428</c:v>
                </c:pt>
                <c:pt idx="15976">
                  <c:v>-0.128571428571428</c:v>
                </c:pt>
                <c:pt idx="15977">
                  <c:v>-0.128571428571428</c:v>
                </c:pt>
                <c:pt idx="15978">
                  <c:v>-0.128571428571428</c:v>
                </c:pt>
                <c:pt idx="15979">
                  <c:v>-0.128571428571428</c:v>
                </c:pt>
                <c:pt idx="15980">
                  <c:v>-0.128571428571428</c:v>
                </c:pt>
                <c:pt idx="15981">
                  <c:v>-0.128571428571428</c:v>
                </c:pt>
                <c:pt idx="15982">
                  <c:v>-0.128571428571428</c:v>
                </c:pt>
                <c:pt idx="15983">
                  <c:v>-0.128571428571428</c:v>
                </c:pt>
                <c:pt idx="15984">
                  <c:v>-0.128571428571428</c:v>
                </c:pt>
                <c:pt idx="15985">
                  <c:v>-0.128571428571428</c:v>
                </c:pt>
                <c:pt idx="15986">
                  <c:v>-0.127731092436974</c:v>
                </c:pt>
                <c:pt idx="15987">
                  <c:v>-0.127731092436974</c:v>
                </c:pt>
                <c:pt idx="15988">
                  <c:v>-0.127731092436974</c:v>
                </c:pt>
                <c:pt idx="15989">
                  <c:v>-0.128571428571428</c:v>
                </c:pt>
                <c:pt idx="15990">
                  <c:v>-0.128571428571428</c:v>
                </c:pt>
                <c:pt idx="15991">
                  <c:v>-0.128571428571428</c:v>
                </c:pt>
                <c:pt idx="15992">
                  <c:v>-0.128571428571428</c:v>
                </c:pt>
                <c:pt idx="15993">
                  <c:v>-0.128571428571428</c:v>
                </c:pt>
                <c:pt idx="15994">
                  <c:v>-0.128571428571428</c:v>
                </c:pt>
                <c:pt idx="15995">
                  <c:v>-0.128571428571428</c:v>
                </c:pt>
                <c:pt idx="15996">
                  <c:v>-0.128571428571428</c:v>
                </c:pt>
                <c:pt idx="15997">
                  <c:v>-0.128571428571428</c:v>
                </c:pt>
                <c:pt idx="15998">
                  <c:v>-0.128571428571428</c:v>
                </c:pt>
                <c:pt idx="15999">
                  <c:v>-0.128571428571428</c:v>
                </c:pt>
                <c:pt idx="16000">
                  <c:v>-0.127731092436974</c:v>
                </c:pt>
                <c:pt idx="16001">
                  <c:v>-0.127731092436974</c:v>
                </c:pt>
                <c:pt idx="16002">
                  <c:v>-0.127731092436974</c:v>
                </c:pt>
                <c:pt idx="16003">
                  <c:v>-0.127731092436974</c:v>
                </c:pt>
                <c:pt idx="16004">
                  <c:v>-0.127731092436974</c:v>
                </c:pt>
                <c:pt idx="16005">
                  <c:v>-0.127731092436974</c:v>
                </c:pt>
                <c:pt idx="16006">
                  <c:v>-0.128571428571428</c:v>
                </c:pt>
                <c:pt idx="16007">
                  <c:v>-0.128571428571428</c:v>
                </c:pt>
                <c:pt idx="16008">
                  <c:v>-0.128571428571428</c:v>
                </c:pt>
                <c:pt idx="16009">
                  <c:v>-0.128571428571428</c:v>
                </c:pt>
                <c:pt idx="16010">
                  <c:v>-0.128571428571428</c:v>
                </c:pt>
                <c:pt idx="16011">
                  <c:v>-0.128571428571428</c:v>
                </c:pt>
                <c:pt idx="16012">
                  <c:v>-0.128571428571428</c:v>
                </c:pt>
                <c:pt idx="16013">
                  <c:v>-0.128571428571428</c:v>
                </c:pt>
                <c:pt idx="16014">
                  <c:v>-0.128571428571428</c:v>
                </c:pt>
                <c:pt idx="16015">
                  <c:v>-0.128571428571428</c:v>
                </c:pt>
                <c:pt idx="16016">
                  <c:v>-0.128571428571428</c:v>
                </c:pt>
                <c:pt idx="16017">
                  <c:v>-0.128571428571428</c:v>
                </c:pt>
                <c:pt idx="16018">
                  <c:v>-0.128571428571428</c:v>
                </c:pt>
                <c:pt idx="16019">
                  <c:v>-0.128571428571428</c:v>
                </c:pt>
                <c:pt idx="16020">
                  <c:v>-0.128571428571428</c:v>
                </c:pt>
                <c:pt idx="16021">
                  <c:v>-0.128571428571428</c:v>
                </c:pt>
                <c:pt idx="16022">
                  <c:v>-0.128571428571428</c:v>
                </c:pt>
                <c:pt idx="16023">
                  <c:v>-0.128571428571428</c:v>
                </c:pt>
                <c:pt idx="16024">
                  <c:v>-0.128571428571428</c:v>
                </c:pt>
                <c:pt idx="16025">
                  <c:v>-0.128571428571428</c:v>
                </c:pt>
                <c:pt idx="16026">
                  <c:v>-0.128571428571428</c:v>
                </c:pt>
                <c:pt idx="16027">
                  <c:v>-0.128571428571428</c:v>
                </c:pt>
                <c:pt idx="16028">
                  <c:v>-0.128571428571428</c:v>
                </c:pt>
                <c:pt idx="16029">
                  <c:v>-0.128571428571428</c:v>
                </c:pt>
                <c:pt idx="16030">
                  <c:v>-0.128571428571428</c:v>
                </c:pt>
                <c:pt idx="16031">
                  <c:v>-0.128571428571428</c:v>
                </c:pt>
                <c:pt idx="16032">
                  <c:v>-0.128571428571428</c:v>
                </c:pt>
                <c:pt idx="16033">
                  <c:v>-0.128571428571428</c:v>
                </c:pt>
                <c:pt idx="16034">
                  <c:v>-0.128571428571428</c:v>
                </c:pt>
                <c:pt idx="16035">
                  <c:v>-0.128571428571428</c:v>
                </c:pt>
                <c:pt idx="16036">
                  <c:v>-0.128571428571428</c:v>
                </c:pt>
                <c:pt idx="16037">
                  <c:v>-0.127731092436974</c:v>
                </c:pt>
                <c:pt idx="16038">
                  <c:v>-0.127731092436974</c:v>
                </c:pt>
                <c:pt idx="16039">
                  <c:v>-0.127731092436974</c:v>
                </c:pt>
                <c:pt idx="16040">
                  <c:v>-0.127731092436974</c:v>
                </c:pt>
                <c:pt idx="16041">
                  <c:v>-0.127731092436974</c:v>
                </c:pt>
                <c:pt idx="16042">
                  <c:v>-0.127731092436974</c:v>
                </c:pt>
                <c:pt idx="16043">
                  <c:v>-0.127731092436974</c:v>
                </c:pt>
                <c:pt idx="16044">
                  <c:v>-0.127731092436974</c:v>
                </c:pt>
                <c:pt idx="16045">
                  <c:v>-0.127731092436974</c:v>
                </c:pt>
                <c:pt idx="16046">
                  <c:v>-0.128571428571428</c:v>
                </c:pt>
                <c:pt idx="16047">
                  <c:v>-0.128571428571428</c:v>
                </c:pt>
                <c:pt idx="16048">
                  <c:v>-0.128571428571428</c:v>
                </c:pt>
                <c:pt idx="16049">
                  <c:v>-0.128571428571428</c:v>
                </c:pt>
                <c:pt idx="16050">
                  <c:v>-0.128571428571428</c:v>
                </c:pt>
                <c:pt idx="16051">
                  <c:v>-0.128571428571428</c:v>
                </c:pt>
                <c:pt idx="16052">
                  <c:v>-0.128571428571428</c:v>
                </c:pt>
                <c:pt idx="16053">
                  <c:v>-0.128571428571428</c:v>
                </c:pt>
                <c:pt idx="16054">
                  <c:v>-0.128571428571428</c:v>
                </c:pt>
                <c:pt idx="16055">
                  <c:v>-0.128571428571428</c:v>
                </c:pt>
                <c:pt idx="16056">
                  <c:v>-0.128571428571428</c:v>
                </c:pt>
                <c:pt idx="16057">
                  <c:v>-0.128571428571428</c:v>
                </c:pt>
                <c:pt idx="16058">
                  <c:v>-0.128571428571428</c:v>
                </c:pt>
                <c:pt idx="16059">
                  <c:v>-0.128571428571428</c:v>
                </c:pt>
                <c:pt idx="16060">
                  <c:v>-0.128571428571428</c:v>
                </c:pt>
                <c:pt idx="16061">
                  <c:v>-0.128571428571428</c:v>
                </c:pt>
                <c:pt idx="16062">
                  <c:v>-0.128571428571428</c:v>
                </c:pt>
                <c:pt idx="16063">
                  <c:v>-0.128571428571428</c:v>
                </c:pt>
                <c:pt idx="16064">
                  <c:v>-0.128571428571428</c:v>
                </c:pt>
                <c:pt idx="16065">
                  <c:v>-0.128571428571428</c:v>
                </c:pt>
                <c:pt idx="16066">
                  <c:v>-0.128571428571428</c:v>
                </c:pt>
                <c:pt idx="16067">
                  <c:v>-0.128571428571428</c:v>
                </c:pt>
                <c:pt idx="16068">
                  <c:v>-0.128571428571428</c:v>
                </c:pt>
                <c:pt idx="16069">
                  <c:v>-0.128571428571428</c:v>
                </c:pt>
                <c:pt idx="16070">
                  <c:v>-0.128571428571428</c:v>
                </c:pt>
                <c:pt idx="16071">
                  <c:v>-0.128571428571428</c:v>
                </c:pt>
                <c:pt idx="16072">
                  <c:v>-0.128571428571428</c:v>
                </c:pt>
                <c:pt idx="16073">
                  <c:v>-0.128571428571428</c:v>
                </c:pt>
                <c:pt idx="16074">
                  <c:v>-0.128571428571428</c:v>
                </c:pt>
                <c:pt idx="16075">
                  <c:v>-0.128571428571428</c:v>
                </c:pt>
                <c:pt idx="16076">
                  <c:v>-0.128571428571428</c:v>
                </c:pt>
                <c:pt idx="16077">
                  <c:v>-0.128571428571428</c:v>
                </c:pt>
                <c:pt idx="16078">
                  <c:v>-0.128571428571428</c:v>
                </c:pt>
                <c:pt idx="16079">
                  <c:v>-0.128571428571428</c:v>
                </c:pt>
                <c:pt idx="16080">
                  <c:v>-0.129411764705882</c:v>
                </c:pt>
                <c:pt idx="16081">
                  <c:v>-0.129411764705882</c:v>
                </c:pt>
                <c:pt idx="16082">
                  <c:v>-0.129411764705882</c:v>
                </c:pt>
                <c:pt idx="16083">
                  <c:v>-0.129411764705882</c:v>
                </c:pt>
                <c:pt idx="16084">
                  <c:v>-0.129411764705882</c:v>
                </c:pt>
                <c:pt idx="16085">
                  <c:v>-0.129411764705882</c:v>
                </c:pt>
                <c:pt idx="16086">
                  <c:v>-0.129411764705882</c:v>
                </c:pt>
                <c:pt idx="16087">
                  <c:v>-0.129411764705882</c:v>
                </c:pt>
                <c:pt idx="16088">
                  <c:v>-0.129411764705882</c:v>
                </c:pt>
                <c:pt idx="16089">
                  <c:v>-0.129411764705882</c:v>
                </c:pt>
                <c:pt idx="16090">
                  <c:v>-0.129411764705882</c:v>
                </c:pt>
                <c:pt idx="16091">
                  <c:v>-0.129411764705882</c:v>
                </c:pt>
                <c:pt idx="16092">
                  <c:v>-0.129411764705882</c:v>
                </c:pt>
                <c:pt idx="16093">
                  <c:v>-0.129411764705882</c:v>
                </c:pt>
                <c:pt idx="16094">
                  <c:v>-0.129411764705882</c:v>
                </c:pt>
                <c:pt idx="16095">
                  <c:v>-0.129411764705882</c:v>
                </c:pt>
                <c:pt idx="16096">
                  <c:v>-0.129411764705882</c:v>
                </c:pt>
                <c:pt idx="16097">
                  <c:v>-0.129411764705882</c:v>
                </c:pt>
                <c:pt idx="16098">
                  <c:v>-0.129411764705882</c:v>
                </c:pt>
                <c:pt idx="16099">
                  <c:v>-0.129411764705882</c:v>
                </c:pt>
                <c:pt idx="16100">
                  <c:v>-0.129411764705882</c:v>
                </c:pt>
                <c:pt idx="16101">
                  <c:v>-0.129411764705882</c:v>
                </c:pt>
                <c:pt idx="16102">
                  <c:v>-0.129411764705882</c:v>
                </c:pt>
                <c:pt idx="16103">
                  <c:v>-0.129411764705882</c:v>
                </c:pt>
                <c:pt idx="16104">
                  <c:v>-0.129411764705882</c:v>
                </c:pt>
                <c:pt idx="16105">
                  <c:v>-0.129411764705882</c:v>
                </c:pt>
                <c:pt idx="16106">
                  <c:v>-0.129411764705882</c:v>
                </c:pt>
                <c:pt idx="16107">
                  <c:v>-0.129411764705882</c:v>
                </c:pt>
                <c:pt idx="16108">
                  <c:v>-0.129411764705882</c:v>
                </c:pt>
                <c:pt idx="16109">
                  <c:v>-0.129411764705882</c:v>
                </c:pt>
                <c:pt idx="16110">
                  <c:v>-0.129411764705882</c:v>
                </c:pt>
                <c:pt idx="16111">
                  <c:v>-0.129411764705882</c:v>
                </c:pt>
                <c:pt idx="16112">
                  <c:v>-0.129411764705882</c:v>
                </c:pt>
                <c:pt idx="16113">
                  <c:v>-0.129411764705882</c:v>
                </c:pt>
                <c:pt idx="16114">
                  <c:v>-0.129411764705882</c:v>
                </c:pt>
                <c:pt idx="16115">
                  <c:v>-0.129411764705882</c:v>
                </c:pt>
                <c:pt idx="16116">
                  <c:v>-0.129411764705882</c:v>
                </c:pt>
                <c:pt idx="16117">
                  <c:v>-0.129411764705882</c:v>
                </c:pt>
                <c:pt idx="16118">
                  <c:v>-0.129411764705882</c:v>
                </c:pt>
                <c:pt idx="16119">
                  <c:v>-0.129411764705882</c:v>
                </c:pt>
                <c:pt idx="16120">
                  <c:v>-0.129411764705882</c:v>
                </c:pt>
                <c:pt idx="16121">
                  <c:v>-0.129411764705882</c:v>
                </c:pt>
                <c:pt idx="16122">
                  <c:v>-0.129411764705882</c:v>
                </c:pt>
                <c:pt idx="16123">
                  <c:v>-0.129411764705882</c:v>
                </c:pt>
                <c:pt idx="16124">
                  <c:v>-0.129411764705882</c:v>
                </c:pt>
                <c:pt idx="16125">
                  <c:v>-0.129411764705882</c:v>
                </c:pt>
                <c:pt idx="16126">
                  <c:v>-0.129411764705882</c:v>
                </c:pt>
                <c:pt idx="16127">
                  <c:v>-0.129411764705882</c:v>
                </c:pt>
                <c:pt idx="16128">
                  <c:v>-0.129411764705882</c:v>
                </c:pt>
                <c:pt idx="16129">
                  <c:v>-0.129411764705882</c:v>
                </c:pt>
                <c:pt idx="16130">
                  <c:v>-0.129411764705882</c:v>
                </c:pt>
                <c:pt idx="16131">
                  <c:v>-0.129411764705882</c:v>
                </c:pt>
                <c:pt idx="16132">
                  <c:v>-0.129411764705882</c:v>
                </c:pt>
                <c:pt idx="16133">
                  <c:v>-0.129411764705882</c:v>
                </c:pt>
                <c:pt idx="16134">
                  <c:v>-0.129411764705882</c:v>
                </c:pt>
                <c:pt idx="16135">
                  <c:v>-0.129411764705882</c:v>
                </c:pt>
                <c:pt idx="16136">
                  <c:v>-0.129411764705882</c:v>
                </c:pt>
                <c:pt idx="16137">
                  <c:v>-0.129411764705882</c:v>
                </c:pt>
                <c:pt idx="16138">
                  <c:v>-0.129411764705882</c:v>
                </c:pt>
                <c:pt idx="16139">
                  <c:v>-0.130252100840336</c:v>
                </c:pt>
                <c:pt idx="16140">
                  <c:v>-0.130252100840336</c:v>
                </c:pt>
                <c:pt idx="16141">
                  <c:v>-0.130252100840336</c:v>
                </c:pt>
                <c:pt idx="16142">
                  <c:v>-0.130252100840336</c:v>
                </c:pt>
                <c:pt idx="16143">
                  <c:v>-0.130252100840336</c:v>
                </c:pt>
                <c:pt idx="16144">
                  <c:v>-0.130252100840336</c:v>
                </c:pt>
                <c:pt idx="16145">
                  <c:v>-0.130252100840336</c:v>
                </c:pt>
                <c:pt idx="16146">
                  <c:v>-0.130252100840336</c:v>
                </c:pt>
                <c:pt idx="16147">
                  <c:v>-0.130252100840336</c:v>
                </c:pt>
                <c:pt idx="16148">
                  <c:v>-0.130252100840336</c:v>
                </c:pt>
                <c:pt idx="16149">
                  <c:v>-0.130252100840336</c:v>
                </c:pt>
                <c:pt idx="16150">
                  <c:v>-0.130252100840336</c:v>
                </c:pt>
                <c:pt idx="16151">
                  <c:v>-0.130252100840336</c:v>
                </c:pt>
                <c:pt idx="16152">
                  <c:v>-0.130252100840336</c:v>
                </c:pt>
                <c:pt idx="16153">
                  <c:v>-0.130252100840336</c:v>
                </c:pt>
                <c:pt idx="16154">
                  <c:v>-0.130252100840336</c:v>
                </c:pt>
                <c:pt idx="16155">
                  <c:v>-0.130252100840336</c:v>
                </c:pt>
                <c:pt idx="16156">
                  <c:v>-0.130252100840336</c:v>
                </c:pt>
                <c:pt idx="16157">
                  <c:v>-0.13109243697478901</c:v>
                </c:pt>
                <c:pt idx="16158">
                  <c:v>-0.13109243697478901</c:v>
                </c:pt>
                <c:pt idx="16159">
                  <c:v>-0.130252100840336</c:v>
                </c:pt>
                <c:pt idx="16160">
                  <c:v>-0.130252100840336</c:v>
                </c:pt>
                <c:pt idx="16161">
                  <c:v>-0.130252100840336</c:v>
                </c:pt>
                <c:pt idx="16162">
                  <c:v>-0.130252100840336</c:v>
                </c:pt>
                <c:pt idx="16163">
                  <c:v>-0.130252100840336</c:v>
                </c:pt>
                <c:pt idx="16164">
                  <c:v>-0.130252100840336</c:v>
                </c:pt>
                <c:pt idx="16165">
                  <c:v>-0.130252100840336</c:v>
                </c:pt>
                <c:pt idx="16166">
                  <c:v>-0.130252100840336</c:v>
                </c:pt>
                <c:pt idx="16167">
                  <c:v>-0.130252100840336</c:v>
                </c:pt>
                <c:pt idx="16168">
                  <c:v>-0.13109243697478901</c:v>
                </c:pt>
                <c:pt idx="16169">
                  <c:v>-0.13109243697478901</c:v>
                </c:pt>
                <c:pt idx="16170">
                  <c:v>-0.13109243697478901</c:v>
                </c:pt>
                <c:pt idx="16171">
                  <c:v>-0.13109243697478901</c:v>
                </c:pt>
                <c:pt idx="16172">
                  <c:v>-0.13109243697478901</c:v>
                </c:pt>
                <c:pt idx="16173">
                  <c:v>-0.13109243697478901</c:v>
                </c:pt>
                <c:pt idx="16174">
                  <c:v>-0.13109243697478901</c:v>
                </c:pt>
                <c:pt idx="16175">
                  <c:v>-0.13109243697478901</c:v>
                </c:pt>
                <c:pt idx="16176">
                  <c:v>-0.13109243697478901</c:v>
                </c:pt>
                <c:pt idx="16177">
                  <c:v>-0.13109243697478901</c:v>
                </c:pt>
                <c:pt idx="16178">
                  <c:v>-0.13109243697478901</c:v>
                </c:pt>
                <c:pt idx="16179">
                  <c:v>-0.13109243697478901</c:v>
                </c:pt>
                <c:pt idx="16180">
                  <c:v>-0.13109243697478901</c:v>
                </c:pt>
                <c:pt idx="16181">
                  <c:v>-0.13109243697478901</c:v>
                </c:pt>
                <c:pt idx="16182">
                  <c:v>-0.13109243697478901</c:v>
                </c:pt>
                <c:pt idx="16183">
                  <c:v>-0.13109243697478901</c:v>
                </c:pt>
                <c:pt idx="16184">
                  <c:v>-0.13109243697478901</c:v>
                </c:pt>
                <c:pt idx="16185">
                  <c:v>-0.13109243697478901</c:v>
                </c:pt>
                <c:pt idx="16186">
                  <c:v>-0.13109243697478901</c:v>
                </c:pt>
                <c:pt idx="16187">
                  <c:v>-0.13109243697478901</c:v>
                </c:pt>
                <c:pt idx="16188">
                  <c:v>-0.13109243697478901</c:v>
                </c:pt>
                <c:pt idx="16189">
                  <c:v>-0.13109243697478901</c:v>
                </c:pt>
                <c:pt idx="16190">
                  <c:v>-0.13109243697478901</c:v>
                </c:pt>
                <c:pt idx="16191">
                  <c:v>-0.13109243697478901</c:v>
                </c:pt>
                <c:pt idx="16192">
                  <c:v>-0.13109243697478901</c:v>
                </c:pt>
                <c:pt idx="16193">
                  <c:v>-0.13109243697478901</c:v>
                </c:pt>
                <c:pt idx="16194">
                  <c:v>-0.13109243697478901</c:v>
                </c:pt>
                <c:pt idx="16195">
                  <c:v>-0.13109243697478901</c:v>
                </c:pt>
                <c:pt idx="16196">
                  <c:v>-0.13193277310924301</c:v>
                </c:pt>
                <c:pt idx="16197">
                  <c:v>-0.13193277310924301</c:v>
                </c:pt>
                <c:pt idx="16198">
                  <c:v>-0.13109243697478901</c:v>
                </c:pt>
                <c:pt idx="16199">
                  <c:v>-0.13109243697478901</c:v>
                </c:pt>
                <c:pt idx="16200">
                  <c:v>-0.13109243697478901</c:v>
                </c:pt>
                <c:pt idx="16201">
                  <c:v>-0.13109243697478901</c:v>
                </c:pt>
                <c:pt idx="16202">
                  <c:v>-0.13109243697478901</c:v>
                </c:pt>
                <c:pt idx="16203">
                  <c:v>-0.13109243697478901</c:v>
                </c:pt>
                <c:pt idx="16204">
                  <c:v>-0.13109243697478901</c:v>
                </c:pt>
                <c:pt idx="16205">
                  <c:v>-0.13109243697478901</c:v>
                </c:pt>
                <c:pt idx="16206">
                  <c:v>-0.13109243697478901</c:v>
                </c:pt>
                <c:pt idx="16207">
                  <c:v>-0.13109243697478901</c:v>
                </c:pt>
                <c:pt idx="16208">
                  <c:v>-0.13109243697478901</c:v>
                </c:pt>
                <c:pt idx="16209">
                  <c:v>-0.13109243697478901</c:v>
                </c:pt>
                <c:pt idx="16210">
                  <c:v>-0.13109243697478901</c:v>
                </c:pt>
                <c:pt idx="16211">
                  <c:v>-0.13109243697478901</c:v>
                </c:pt>
                <c:pt idx="16212">
                  <c:v>-0.130252100840336</c:v>
                </c:pt>
                <c:pt idx="16213">
                  <c:v>-0.130252100840336</c:v>
                </c:pt>
                <c:pt idx="16214">
                  <c:v>-0.130252100840336</c:v>
                </c:pt>
                <c:pt idx="16215">
                  <c:v>-0.130252100840336</c:v>
                </c:pt>
                <c:pt idx="16216">
                  <c:v>-0.130252100840336</c:v>
                </c:pt>
                <c:pt idx="16217">
                  <c:v>-0.130252100840336</c:v>
                </c:pt>
                <c:pt idx="16218">
                  <c:v>-0.130252100840336</c:v>
                </c:pt>
                <c:pt idx="16219">
                  <c:v>-0.130252100840336</c:v>
                </c:pt>
                <c:pt idx="16220">
                  <c:v>-0.130252100840336</c:v>
                </c:pt>
                <c:pt idx="16221">
                  <c:v>-0.130252100840336</c:v>
                </c:pt>
                <c:pt idx="16222">
                  <c:v>-0.130252100840336</c:v>
                </c:pt>
                <c:pt idx="16223">
                  <c:v>-0.130252100840336</c:v>
                </c:pt>
                <c:pt idx="16224">
                  <c:v>-0.130252100840336</c:v>
                </c:pt>
                <c:pt idx="16225">
                  <c:v>-0.130252100840336</c:v>
                </c:pt>
                <c:pt idx="16226">
                  <c:v>-0.130252100840336</c:v>
                </c:pt>
                <c:pt idx="16227">
                  <c:v>-0.130252100840336</c:v>
                </c:pt>
                <c:pt idx="16228">
                  <c:v>-0.130252100840336</c:v>
                </c:pt>
                <c:pt idx="16229">
                  <c:v>-0.130252100840336</c:v>
                </c:pt>
                <c:pt idx="16230">
                  <c:v>-0.130252100840336</c:v>
                </c:pt>
                <c:pt idx="16231">
                  <c:v>-0.130252100840336</c:v>
                </c:pt>
                <c:pt idx="16232">
                  <c:v>-0.130252100840336</c:v>
                </c:pt>
                <c:pt idx="16233">
                  <c:v>-0.130252100840336</c:v>
                </c:pt>
                <c:pt idx="16234">
                  <c:v>-0.130252100840336</c:v>
                </c:pt>
                <c:pt idx="16235">
                  <c:v>-0.130252100840336</c:v>
                </c:pt>
                <c:pt idx="16236">
                  <c:v>-0.130252100840336</c:v>
                </c:pt>
                <c:pt idx="16237">
                  <c:v>-0.130252100840336</c:v>
                </c:pt>
                <c:pt idx="16238">
                  <c:v>-0.130252100840336</c:v>
                </c:pt>
                <c:pt idx="16239">
                  <c:v>-0.130252100840336</c:v>
                </c:pt>
                <c:pt idx="16240">
                  <c:v>-0.130252100840336</c:v>
                </c:pt>
                <c:pt idx="16241">
                  <c:v>-0.130252100840336</c:v>
                </c:pt>
                <c:pt idx="16242">
                  <c:v>-0.130252100840336</c:v>
                </c:pt>
                <c:pt idx="16243">
                  <c:v>-0.130252100840336</c:v>
                </c:pt>
                <c:pt idx="16244">
                  <c:v>-0.130252100840336</c:v>
                </c:pt>
                <c:pt idx="16245">
                  <c:v>-0.130252100840336</c:v>
                </c:pt>
                <c:pt idx="16246">
                  <c:v>-0.130252100840336</c:v>
                </c:pt>
                <c:pt idx="16247">
                  <c:v>-0.130252100840336</c:v>
                </c:pt>
                <c:pt idx="16248">
                  <c:v>-0.130252100840336</c:v>
                </c:pt>
                <c:pt idx="16249">
                  <c:v>-0.130252100840336</c:v>
                </c:pt>
                <c:pt idx="16250">
                  <c:v>-0.130252100840336</c:v>
                </c:pt>
                <c:pt idx="16251">
                  <c:v>-0.130252100840336</c:v>
                </c:pt>
                <c:pt idx="16252">
                  <c:v>-0.130252100840336</c:v>
                </c:pt>
                <c:pt idx="16253">
                  <c:v>-0.130252100840336</c:v>
                </c:pt>
                <c:pt idx="16254">
                  <c:v>-0.130252100840336</c:v>
                </c:pt>
                <c:pt idx="16255">
                  <c:v>-0.130252100840336</c:v>
                </c:pt>
                <c:pt idx="16256">
                  <c:v>-0.130252100840336</c:v>
                </c:pt>
                <c:pt idx="16257">
                  <c:v>-0.130252100840336</c:v>
                </c:pt>
                <c:pt idx="16258">
                  <c:v>-0.130252100840336</c:v>
                </c:pt>
                <c:pt idx="16259">
                  <c:v>-0.130252100840336</c:v>
                </c:pt>
                <c:pt idx="16260">
                  <c:v>-0.130252100840336</c:v>
                </c:pt>
                <c:pt idx="16261">
                  <c:v>-0.130252100840336</c:v>
                </c:pt>
                <c:pt idx="16262">
                  <c:v>-0.130252100840336</c:v>
                </c:pt>
                <c:pt idx="16263">
                  <c:v>-0.130252100840336</c:v>
                </c:pt>
                <c:pt idx="16264">
                  <c:v>-0.130252100840336</c:v>
                </c:pt>
                <c:pt idx="16265">
                  <c:v>-0.130252100840336</c:v>
                </c:pt>
                <c:pt idx="16266">
                  <c:v>-0.130252100840336</c:v>
                </c:pt>
                <c:pt idx="16267">
                  <c:v>-0.130252100840336</c:v>
                </c:pt>
                <c:pt idx="16268">
                  <c:v>-0.130252100840336</c:v>
                </c:pt>
                <c:pt idx="16269">
                  <c:v>-0.130252100840336</c:v>
                </c:pt>
                <c:pt idx="16270">
                  <c:v>-0.130252100840336</c:v>
                </c:pt>
                <c:pt idx="16271">
                  <c:v>-0.130252100840336</c:v>
                </c:pt>
                <c:pt idx="16272">
                  <c:v>-0.130252100840336</c:v>
                </c:pt>
                <c:pt idx="16273">
                  <c:v>-0.130252100840336</c:v>
                </c:pt>
                <c:pt idx="16274">
                  <c:v>-0.130252100840336</c:v>
                </c:pt>
                <c:pt idx="16275">
                  <c:v>-0.130252100840336</c:v>
                </c:pt>
                <c:pt idx="16276">
                  <c:v>-0.130252100840336</c:v>
                </c:pt>
                <c:pt idx="16277">
                  <c:v>-0.130252100840336</c:v>
                </c:pt>
                <c:pt idx="16278">
                  <c:v>-0.130252100840336</c:v>
                </c:pt>
                <c:pt idx="16279">
                  <c:v>-0.13109243697478901</c:v>
                </c:pt>
                <c:pt idx="16280">
                  <c:v>-0.13109243697478901</c:v>
                </c:pt>
                <c:pt idx="16281">
                  <c:v>-0.13109243697478901</c:v>
                </c:pt>
                <c:pt idx="16282">
                  <c:v>-0.13109243697478901</c:v>
                </c:pt>
                <c:pt idx="16283">
                  <c:v>-0.13109243697478901</c:v>
                </c:pt>
                <c:pt idx="16284">
                  <c:v>-0.13109243697478901</c:v>
                </c:pt>
                <c:pt idx="16285">
                  <c:v>-0.13109243697478901</c:v>
                </c:pt>
                <c:pt idx="16286">
                  <c:v>-0.13109243697478901</c:v>
                </c:pt>
                <c:pt idx="16287">
                  <c:v>-0.13109243697478901</c:v>
                </c:pt>
                <c:pt idx="16288">
                  <c:v>-0.13109243697478901</c:v>
                </c:pt>
                <c:pt idx="16289">
                  <c:v>-0.13109243697478901</c:v>
                </c:pt>
                <c:pt idx="16290">
                  <c:v>-0.13109243697478901</c:v>
                </c:pt>
                <c:pt idx="16291">
                  <c:v>-0.13109243697478901</c:v>
                </c:pt>
                <c:pt idx="16292">
                  <c:v>-0.13109243697478901</c:v>
                </c:pt>
                <c:pt idx="16293">
                  <c:v>-0.13109243697478901</c:v>
                </c:pt>
                <c:pt idx="16294">
                  <c:v>-0.13109243697478901</c:v>
                </c:pt>
                <c:pt idx="16295">
                  <c:v>-0.13109243697478901</c:v>
                </c:pt>
                <c:pt idx="16296">
                  <c:v>-0.13109243697478901</c:v>
                </c:pt>
                <c:pt idx="16297">
                  <c:v>-0.13109243697478901</c:v>
                </c:pt>
                <c:pt idx="16298">
                  <c:v>-0.13109243697478901</c:v>
                </c:pt>
                <c:pt idx="16299">
                  <c:v>-0.13109243697478901</c:v>
                </c:pt>
                <c:pt idx="16300">
                  <c:v>-0.13109243697478901</c:v>
                </c:pt>
                <c:pt idx="16301">
                  <c:v>-0.13109243697478901</c:v>
                </c:pt>
                <c:pt idx="16302">
                  <c:v>-0.13109243697478901</c:v>
                </c:pt>
                <c:pt idx="16303">
                  <c:v>-0.13109243697478901</c:v>
                </c:pt>
                <c:pt idx="16304">
                  <c:v>-0.13109243697478901</c:v>
                </c:pt>
                <c:pt idx="16305">
                  <c:v>-0.13109243697478901</c:v>
                </c:pt>
                <c:pt idx="16306">
                  <c:v>-0.13109243697478901</c:v>
                </c:pt>
                <c:pt idx="16307">
                  <c:v>-0.13193277310924301</c:v>
                </c:pt>
                <c:pt idx="16308">
                  <c:v>-0.13193277310924301</c:v>
                </c:pt>
                <c:pt idx="16309">
                  <c:v>-0.13193277310924301</c:v>
                </c:pt>
                <c:pt idx="16310">
                  <c:v>-0.13193277310924301</c:v>
                </c:pt>
                <c:pt idx="16311">
                  <c:v>-0.13193277310924301</c:v>
                </c:pt>
                <c:pt idx="16312">
                  <c:v>-0.13193277310924301</c:v>
                </c:pt>
                <c:pt idx="16313">
                  <c:v>-0.13277310924369701</c:v>
                </c:pt>
                <c:pt idx="16314">
                  <c:v>-0.13277310924369701</c:v>
                </c:pt>
                <c:pt idx="16315">
                  <c:v>-0.13277310924369701</c:v>
                </c:pt>
                <c:pt idx="16316">
                  <c:v>-0.13277310924369701</c:v>
                </c:pt>
                <c:pt idx="16317">
                  <c:v>-0.13361344537815101</c:v>
                </c:pt>
                <c:pt idx="16318">
                  <c:v>-0.13361344537815101</c:v>
                </c:pt>
                <c:pt idx="16319">
                  <c:v>-0.13361344537815101</c:v>
                </c:pt>
                <c:pt idx="16320">
                  <c:v>-0.13361344537815101</c:v>
                </c:pt>
                <c:pt idx="16321">
                  <c:v>-0.13361344537815101</c:v>
                </c:pt>
                <c:pt idx="16322">
                  <c:v>-0.13361344537815101</c:v>
                </c:pt>
                <c:pt idx="16323">
                  <c:v>-0.13361344537815101</c:v>
                </c:pt>
                <c:pt idx="16324">
                  <c:v>-0.13277310924369701</c:v>
                </c:pt>
                <c:pt idx="16325">
                  <c:v>-0.13277310924369701</c:v>
                </c:pt>
                <c:pt idx="16326">
                  <c:v>-0.13277310924369701</c:v>
                </c:pt>
                <c:pt idx="16327">
                  <c:v>-0.13277310924369701</c:v>
                </c:pt>
                <c:pt idx="16328">
                  <c:v>-0.13277310924369701</c:v>
                </c:pt>
                <c:pt idx="16329">
                  <c:v>-0.13277310924369701</c:v>
                </c:pt>
                <c:pt idx="16330">
                  <c:v>-0.13277310924369701</c:v>
                </c:pt>
                <c:pt idx="16331">
                  <c:v>-0.13277310924369701</c:v>
                </c:pt>
                <c:pt idx="16332">
                  <c:v>-0.13277310924369701</c:v>
                </c:pt>
                <c:pt idx="16333">
                  <c:v>-0.13277310924369701</c:v>
                </c:pt>
                <c:pt idx="16334">
                  <c:v>-0.13277310924369701</c:v>
                </c:pt>
                <c:pt idx="16335">
                  <c:v>-0.13277310924369701</c:v>
                </c:pt>
                <c:pt idx="16336">
                  <c:v>-0.13277310924369701</c:v>
                </c:pt>
                <c:pt idx="16337">
                  <c:v>-0.13277310924369701</c:v>
                </c:pt>
                <c:pt idx="16338">
                  <c:v>-0.13277310924369701</c:v>
                </c:pt>
                <c:pt idx="16339">
                  <c:v>-0.13277310924369701</c:v>
                </c:pt>
                <c:pt idx="16340">
                  <c:v>-0.13277310924369701</c:v>
                </c:pt>
                <c:pt idx="16341">
                  <c:v>-0.13277310924369701</c:v>
                </c:pt>
                <c:pt idx="16342">
                  <c:v>-0.13277310924369701</c:v>
                </c:pt>
                <c:pt idx="16343">
                  <c:v>-0.13277310924369701</c:v>
                </c:pt>
                <c:pt idx="16344">
                  <c:v>-0.13277310924369701</c:v>
                </c:pt>
                <c:pt idx="16345">
                  <c:v>-0.13277310924369701</c:v>
                </c:pt>
                <c:pt idx="16346">
                  <c:v>-0.13277310924369701</c:v>
                </c:pt>
                <c:pt idx="16347">
                  <c:v>-0.13277310924369701</c:v>
                </c:pt>
                <c:pt idx="16348">
                  <c:v>-0.13277310924369701</c:v>
                </c:pt>
                <c:pt idx="16349">
                  <c:v>-0.13277310924369701</c:v>
                </c:pt>
                <c:pt idx="16350">
                  <c:v>-0.13277310924369701</c:v>
                </c:pt>
                <c:pt idx="16351">
                  <c:v>-0.13277310924369701</c:v>
                </c:pt>
                <c:pt idx="16352">
                  <c:v>-0.13277310924369701</c:v>
                </c:pt>
                <c:pt idx="16353">
                  <c:v>-0.13277310924369701</c:v>
                </c:pt>
                <c:pt idx="16354">
                  <c:v>-0.13277310924369701</c:v>
                </c:pt>
                <c:pt idx="16355">
                  <c:v>-0.13277310924369701</c:v>
                </c:pt>
                <c:pt idx="16356">
                  <c:v>-0.13277310924369701</c:v>
                </c:pt>
                <c:pt idx="16357">
                  <c:v>-0.13277310924369701</c:v>
                </c:pt>
                <c:pt idx="16358">
                  <c:v>-0.13277310924369701</c:v>
                </c:pt>
                <c:pt idx="16359">
                  <c:v>-0.13277310924369701</c:v>
                </c:pt>
                <c:pt idx="16360">
                  <c:v>-0.13277310924369701</c:v>
                </c:pt>
                <c:pt idx="16361">
                  <c:v>-0.13277310924369701</c:v>
                </c:pt>
                <c:pt idx="16362">
                  <c:v>-0.13277310924369701</c:v>
                </c:pt>
                <c:pt idx="16363">
                  <c:v>-0.13277310924369701</c:v>
                </c:pt>
                <c:pt idx="16364">
                  <c:v>-0.13277310924369701</c:v>
                </c:pt>
                <c:pt idx="16365">
                  <c:v>-0.13277310924369701</c:v>
                </c:pt>
                <c:pt idx="16366">
                  <c:v>-0.13277310924369701</c:v>
                </c:pt>
                <c:pt idx="16367">
                  <c:v>-0.13277310924369701</c:v>
                </c:pt>
                <c:pt idx="16368">
                  <c:v>-0.13277310924369701</c:v>
                </c:pt>
                <c:pt idx="16369">
                  <c:v>-0.13193277310924301</c:v>
                </c:pt>
                <c:pt idx="16370">
                  <c:v>-0.13193277310924301</c:v>
                </c:pt>
                <c:pt idx="16371">
                  <c:v>-0.13193277310924301</c:v>
                </c:pt>
                <c:pt idx="16372">
                  <c:v>-0.13193277310924301</c:v>
                </c:pt>
                <c:pt idx="16373">
                  <c:v>-0.13193277310924301</c:v>
                </c:pt>
                <c:pt idx="16374">
                  <c:v>-0.13193277310924301</c:v>
                </c:pt>
                <c:pt idx="16375">
                  <c:v>-0.13193277310924301</c:v>
                </c:pt>
                <c:pt idx="16376">
                  <c:v>-0.13193277310924301</c:v>
                </c:pt>
                <c:pt idx="16377">
                  <c:v>-0.13193277310924301</c:v>
                </c:pt>
                <c:pt idx="16378">
                  <c:v>-0.13193277310924301</c:v>
                </c:pt>
                <c:pt idx="16379">
                  <c:v>-0.13193277310924301</c:v>
                </c:pt>
                <c:pt idx="16380">
                  <c:v>-0.13109243697478901</c:v>
                </c:pt>
                <c:pt idx="16381">
                  <c:v>-0.13109243697478901</c:v>
                </c:pt>
                <c:pt idx="16382">
                  <c:v>-0.13109243697478901</c:v>
                </c:pt>
                <c:pt idx="16383">
                  <c:v>-0.13109243697478901</c:v>
                </c:pt>
                <c:pt idx="16384">
                  <c:v>-0.13109243697478901</c:v>
                </c:pt>
                <c:pt idx="16385">
                  <c:v>-0.13109243697478901</c:v>
                </c:pt>
                <c:pt idx="16386">
                  <c:v>-0.13109243697478901</c:v>
                </c:pt>
                <c:pt idx="16387">
                  <c:v>-0.13109243697478901</c:v>
                </c:pt>
                <c:pt idx="16388">
                  <c:v>-0.13109243697478901</c:v>
                </c:pt>
                <c:pt idx="16389">
                  <c:v>-0.13109243697478901</c:v>
                </c:pt>
                <c:pt idx="16390">
                  <c:v>-0.13109243697478901</c:v>
                </c:pt>
                <c:pt idx="16391">
                  <c:v>-0.13109243697478901</c:v>
                </c:pt>
                <c:pt idx="16392">
                  <c:v>-0.13109243697478901</c:v>
                </c:pt>
                <c:pt idx="16393">
                  <c:v>-0.13109243697478901</c:v>
                </c:pt>
                <c:pt idx="16394">
                  <c:v>-0.13109243697478901</c:v>
                </c:pt>
                <c:pt idx="16395">
                  <c:v>-0.13109243697478901</c:v>
                </c:pt>
                <c:pt idx="16396">
                  <c:v>-0.13109243697478901</c:v>
                </c:pt>
                <c:pt idx="16397">
                  <c:v>-0.13109243697478901</c:v>
                </c:pt>
                <c:pt idx="16398">
                  <c:v>-0.13109243697478901</c:v>
                </c:pt>
                <c:pt idx="16399">
                  <c:v>-0.13109243697478901</c:v>
                </c:pt>
                <c:pt idx="16400">
                  <c:v>-0.13109243697478901</c:v>
                </c:pt>
                <c:pt idx="16401">
                  <c:v>-0.13109243697478901</c:v>
                </c:pt>
                <c:pt idx="16402">
                  <c:v>-0.13109243697478901</c:v>
                </c:pt>
                <c:pt idx="16403">
                  <c:v>-0.13109243697478901</c:v>
                </c:pt>
                <c:pt idx="16404">
                  <c:v>-0.13109243697478901</c:v>
                </c:pt>
                <c:pt idx="16405">
                  <c:v>-0.13109243697478901</c:v>
                </c:pt>
                <c:pt idx="16406">
                  <c:v>-0.13109243697478901</c:v>
                </c:pt>
                <c:pt idx="16407">
                  <c:v>-0.13109243697478901</c:v>
                </c:pt>
                <c:pt idx="16408">
                  <c:v>-0.13109243697478901</c:v>
                </c:pt>
                <c:pt idx="16409">
                  <c:v>-0.13109243697478901</c:v>
                </c:pt>
                <c:pt idx="16410">
                  <c:v>-0.13109243697478901</c:v>
                </c:pt>
                <c:pt idx="16411">
                  <c:v>-0.13109243697478901</c:v>
                </c:pt>
                <c:pt idx="16412">
                  <c:v>-0.13109243697478901</c:v>
                </c:pt>
                <c:pt idx="16413">
                  <c:v>-0.13109243697478901</c:v>
                </c:pt>
                <c:pt idx="16414">
                  <c:v>-0.13109243697478901</c:v>
                </c:pt>
                <c:pt idx="16415">
                  <c:v>-0.13109243697478901</c:v>
                </c:pt>
                <c:pt idx="16416">
                  <c:v>-0.13109243697478901</c:v>
                </c:pt>
                <c:pt idx="16417">
                  <c:v>-0.13109243697478901</c:v>
                </c:pt>
                <c:pt idx="16418">
                  <c:v>-0.13109243697478901</c:v>
                </c:pt>
                <c:pt idx="16419">
                  <c:v>-0.13109243697478901</c:v>
                </c:pt>
                <c:pt idx="16420">
                  <c:v>-0.13109243697478901</c:v>
                </c:pt>
                <c:pt idx="16421">
                  <c:v>-0.13109243697478901</c:v>
                </c:pt>
                <c:pt idx="16422">
                  <c:v>-0.13109243697478901</c:v>
                </c:pt>
                <c:pt idx="16423">
                  <c:v>-0.13109243697478901</c:v>
                </c:pt>
                <c:pt idx="16424">
                  <c:v>-0.13109243697478901</c:v>
                </c:pt>
                <c:pt idx="16425">
                  <c:v>-0.13109243697478901</c:v>
                </c:pt>
                <c:pt idx="16426">
                  <c:v>-0.13109243697478901</c:v>
                </c:pt>
                <c:pt idx="16427">
                  <c:v>-0.130252100840336</c:v>
                </c:pt>
                <c:pt idx="16428">
                  <c:v>-0.130252100840336</c:v>
                </c:pt>
                <c:pt idx="16429">
                  <c:v>-0.130252100840336</c:v>
                </c:pt>
                <c:pt idx="16430">
                  <c:v>-0.130252100840336</c:v>
                </c:pt>
                <c:pt idx="16431">
                  <c:v>-0.130252100840336</c:v>
                </c:pt>
                <c:pt idx="16432">
                  <c:v>-0.130252100840336</c:v>
                </c:pt>
                <c:pt idx="16433">
                  <c:v>-0.130252100840336</c:v>
                </c:pt>
                <c:pt idx="16434">
                  <c:v>-0.130252100840336</c:v>
                </c:pt>
                <c:pt idx="16435">
                  <c:v>-0.130252100840336</c:v>
                </c:pt>
                <c:pt idx="16436">
                  <c:v>-0.130252100840336</c:v>
                </c:pt>
                <c:pt idx="16437">
                  <c:v>-0.130252100840336</c:v>
                </c:pt>
                <c:pt idx="16438">
                  <c:v>-0.130252100840336</c:v>
                </c:pt>
                <c:pt idx="16439">
                  <c:v>-0.130252100840336</c:v>
                </c:pt>
                <c:pt idx="16440">
                  <c:v>-0.130252100840336</c:v>
                </c:pt>
                <c:pt idx="16441">
                  <c:v>-0.130252100840336</c:v>
                </c:pt>
                <c:pt idx="16442">
                  <c:v>-0.130252100840336</c:v>
                </c:pt>
                <c:pt idx="16443">
                  <c:v>-0.130252100840336</c:v>
                </c:pt>
                <c:pt idx="16444">
                  <c:v>-0.130252100840336</c:v>
                </c:pt>
                <c:pt idx="16445">
                  <c:v>-0.130252100840336</c:v>
                </c:pt>
                <c:pt idx="16446">
                  <c:v>-0.130252100840336</c:v>
                </c:pt>
                <c:pt idx="16447">
                  <c:v>-0.130252100840336</c:v>
                </c:pt>
                <c:pt idx="16448">
                  <c:v>-0.130252100840336</c:v>
                </c:pt>
                <c:pt idx="16449">
                  <c:v>-0.130252100840336</c:v>
                </c:pt>
                <c:pt idx="16450">
                  <c:v>-0.13109243697478901</c:v>
                </c:pt>
                <c:pt idx="16451">
                  <c:v>-0.13109243697478901</c:v>
                </c:pt>
                <c:pt idx="16452">
                  <c:v>-0.13109243697478901</c:v>
                </c:pt>
                <c:pt idx="16453">
                  <c:v>-0.13109243697478901</c:v>
                </c:pt>
                <c:pt idx="16454">
                  <c:v>-0.13109243697478901</c:v>
                </c:pt>
                <c:pt idx="16455">
                  <c:v>-0.13109243697478901</c:v>
                </c:pt>
                <c:pt idx="16456">
                  <c:v>-0.13109243697478901</c:v>
                </c:pt>
                <c:pt idx="16457">
                  <c:v>-0.13109243697478901</c:v>
                </c:pt>
                <c:pt idx="16458">
                  <c:v>-0.13109243697478901</c:v>
                </c:pt>
                <c:pt idx="16459">
                  <c:v>-0.13109243697478901</c:v>
                </c:pt>
                <c:pt idx="16460">
                  <c:v>-0.13109243697478901</c:v>
                </c:pt>
                <c:pt idx="16461">
                  <c:v>-0.13109243697478901</c:v>
                </c:pt>
                <c:pt idx="16462">
                  <c:v>-0.13109243697478901</c:v>
                </c:pt>
                <c:pt idx="16463">
                  <c:v>-0.13109243697478901</c:v>
                </c:pt>
                <c:pt idx="16464">
                  <c:v>-0.13109243697478901</c:v>
                </c:pt>
                <c:pt idx="16465">
                  <c:v>-0.13109243697478901</c:v>
                </c:pt>
                <c:pt idx="16466">
                  <c:v>-0.13109243697478901</c:v>
                </c:pt>
                <c:pt idx="16467">
                  <c:v>-0.13109243697478901</c:v>
                </c:pt>
                <c:pt idx="16468">
                  <c:v>-0.13109243697478901</c:v>
                </c:pt>
                <c:pt idx="16469">
                  <c:v>-0.13109243697478901</c:v>
                </c:pt>
                <c:pt idx="16470">
                  <c:v>-0.13109243697478901</c:v>
                </c:pt>
                <c:pt idx="16471">
                  <c:v>-0.13109243697478901</c:v>
                </c:pt>
                <c:pt idx="16472">
                  <c:v>-0.13109243697478901</c:v>
                </c:pt>
                <c:pt idx="16473">
                  <c:v>-0.13109243697478901</c:v>
                </c:pt>
                <c:pt idx="16474">
                  <c:v>-0.13109243697478901</c:v>
                </c:pt>
                <c:pt idx="16475">
                  <c:v>-0.13109243697478901</c:v>
                </c:pt>
                <c:pt idx="16476">
                  <c:v>-0.13109243697478901</c:v>
                </c:pt>
                <c:pt idx="16477">
                  <c:v>-0.13193277310924301</c:v>
                </c:pt>
                <c:pt idx="16478">
                  <c:v>-0.13193277310924301</c:v>
                </c:pt>
                <c:pt idx="16479">
                  <c:v>-0.13193277310924301</c:v>
                </c:pt>
                <c:pt idx="16480">
                  <c:v>-0.13193277310924301</c:v>
                </c:pt>
                <c:pt idx="16481">
                  <c:v>-0.13193277310924301</c:v>
                </c:pt>
                <c:pt idx="16482">
                  <c:v>-0.13193277310924301</c:v>
                </c:pt>
                <c:pt idx="16483">
                  <c:v>-0.13277310924369701</c:v>
                </c:pt>
                <c:pt idx="16484">
                  <c:v>-0.13193277310924301</c:v>
                </c:pt>
                <c:pt idx="16485">
                  <c:v>-0.13193277310924301</c:v>
                </c:pt>
                <c:pt idx="16486">
                  <c:v>-0.13193277310924301</c:v>
                </c:pt>
                <c:pt idx="16487">
                  <c:v>-0.13193277310924301</c:v>
                </c:pt>
                <c:pt idx="16488">
                  <c:v>-0.13193277310924301</c:v>
                </c:pt>
                <c:pt idx="16489">
                  <c:v>-0.13193277310924301</c:v>
                </c:pt>
                <c:pt idx="16490">
                  <c:v>-0.13193277310924301</c:v>
                </c:pt>
                <c:pt idx="16491">
                  <c:v>-0.13193277310924301</c:v>
                </c:pt>
                <c:pt idx="16492">
                  <c:v>-0.13193277310924301</c:v>
                </c:pt>
                <c:pt idx="16493">
                  <c:v>-0.13193277310924301</c:v>
                </c:pt>
                <c:pt idx="16494">
                  <c:v>-0.13193277310924301</c:v>
                </c:pt>
                <c:pt idx="16495">
                  <c:v>-0.13193277310924301</c:v>
                </c:pt>
                <c:pt idx="16496">
                  <c:v>-0.13193277310924301</c:v>
                </c:pt>
                <c:pt idx="16497">
                  <c:v>-0.13193277310924301</c:v>
                </c:pt>
                <c:pt idx="16498">
                  <c:v>-0.13193277310924301</c:v>
                </c:pt>
                <c:pt idx="16499">
                  <c:v>-0.13193277310924301</c:v>
                </c:pt>
                <c:pt idx="16500">
                  <c:v>-0.13109243697478901</c:v>
                </c:pt>
                <c:pt idx="16501">
                  <c:v>-0.13109243697478901</c:v>
                </c:pt>
                <c:pt idx="16502">
                  <c:v>-0.13193277310924301</c:v>
                </c:pt>
                <c:pt idx="16503">
                  <c:v>-0.13193277310924301</c:v>
                </c:pt>
                <c:pt idx="16504">
                  <c:v>-0.13193277310924301</c:v>
                </c:pt>
                <c:pt idx="16505">
                  <c:v>-0.13193277310924301</c:v>
                </c:pt>
                <c:pt idx="16506">
                  <c:v>-0.13193277310924301</c:v>
                </c:pt>
                <c:pt idx="16507">
                  <c:v>-0.13277310924369701</c:v>
                </c:pt>
                <c:pt idx="16508">
                  <c:v>-0.13277310924369701</c:v>
                </c:pt>
                <c:pt idx="16509">
                  <c:v>-0.13277310924369701</c:v>
                </c:pt>
                <c:pt idx="16510">
                  <c:v>-0.13277310924369701</c:v>
                </c:pt>
                <c:pt idx="16511">
                  <c:v>-0.13277310924369701</c:v>
                </c:pt>
                <c:pt idx="16512">
                  <c:v>-0.13277310924369701</c:v>
                </c:pt>
                <c:pt idx="16513">
                  <c:v>-0.13277310924369701</c:v>
                </c:pt>
                <c:pt idx="16514">
                  <c:v>-0.13277310924369701</c:v>
                </c:pt>
                <c:pt idx="16515">
                  <c:v>-0.13277310924369701</c:v>
                </c:pt>
                <c:pt idx="16516">
                  <c:v>-0.13277310924369701</c:v>
                </c:pt>
                <c:pt idx="16517">
                  <c:v>-0.13277310924369701</c:v>
                </c:pt>
                <c:pt idx="16518">
                  <c:v>-0.13277310924369701</c:v>
                </c:pt>
                <c:pt idx="16519">
                  <c:v>-0.13277310924369701</c:v>
                </c:pt>
                <c:pt idx="16520">
                  <c:v>-0.13277310924369701</c:v>
                </c:pt>
                <c:pt idx="16521">
                  <c:v>-0.13277310924369701</c:v>
                </c:pt>
                <c:pt idx="16522">
                  <c:v>-0.13277310924369701</c:v>
                </c:pt>
                <c:pt idx="16523">
                  <c:v>-0.13277310924369701</c:v>
                </c:pt>
                <c:pt idx="16524">
                  <c:v>-0.13277310924369701</c:v>
                </c:pt>
                <c:pt idx="16525">
                  <c:v>-0.13277310924369701</c:v>
                </c:pt>
                <c:pt idx="16526">
                  <c:v>-0.13277310924369701</c:v>
                </c:pt>
                <c:pt idx="16527">
                  <c:v>-0.13277310924369701</c:v>
                </c:pt>
                <c:pt idx="16528">
                  <c:v>-0.13277310924369701</c:v>
                </c:pt>
                <c:pt idx="16529">
                  <c:v>-0.13277310924369701</c:v>
                </c:pt>
                <c:pt idx="16530">
                  <c:v>-0.13277310924369701</c:v>
                </c:pt>
                <c:pt idx="16531">
                  <c:v>-0.13277310924369701</c:v>
                </c:pt>
                <c:pt idx="16532">
                  <c:v>-0.13277310924369701</c:v>
                </c:pt>
                <c:pt idx="16533">
                  <c:v>-0.13277310924369701</c:v>
                </c:pt>
                <c:pt idx="16534">
                  <c:v>-0.13277310924369701</c:v>
                </c:pt>
                <c:pt idx="16535">
                  <c:v>-0.13277310924369701</c:v>
                </c:pt>
                <c:pt idx="16536">
                  <c:v>-0.13277310924369701</c:v>
                </c:pt>
                <c:pt idx="16537">
                  <c:v>-0.13277310924369701</c:v>
                </c:pt>
                <c:pt idx="16538">
                  <c:v>-0.13277310924369701</c:v>
                </c:pt>
                <c:pt idx="16539">
                  <c:v>-0.13277310924369701</c:v>
                </c:pt>
                <c:pt idx="16540">
                  <c:v>-0.13277310924369701</c:v>
                </c:pt>
                <c:pt idx="16541">
                  <c:v>-0.13277310924369701</c:v>
                </c:pt>
                <c:pt idx="16542">
                  <c:v>-0.13277310924369701</c:v>
                </c:pt>
                <c:pt idx="16543">
                  <c:v>-0.13277310924369701</c:v>
                </c:pt>
                <c:pt idx="16544">
                  <c:v>-0.13277310924369701</c:v>
                </c:pt>
                <c:pt idx="16545">
                  <c:v>-0.13277310924369701</c:v>
                </c:pt>
                <c:pt idx="16546">
                  <c:v>-0.13277310924369701</c:v>
                </c:pt>
                <c:pt idx="16547">
                  <c:v>-0.13277310924369701</c:v>
                </c:pt>
                <c:pt idx="16548">
                  <c:v>-0.13277310924369701</c:v>
                </c:pt>
                <c:pt idx="16549">
                  <c:v>-0.13277310924369701</c:v>
                </c:pt>
                <c:pt idx="16550">
                  <c:v>-0.13277310924369701</c:v>
                </c:pt>
                <c:pt idx="16551">
                  <c:v>-0.13277310924369701</c:v>
                </c:pt>
                <c:pt idx="16552">
                  <c:v>-0.13277310924369701</c:v>
                </c:pt>
                <c:pt idx="16553">
                  <c:v>-0.13277310924369701</c:v>
                </c:pt>
                <c:pt idx="16554">
                  <c:v>-0.13277310924369701</c:v>
                </c:pt>
                <c:pt idx="16555">
                  <c:v>-0.13277310924369701</c:v>
                </c:pt>
                <c:pt idx="16556">
                  <c:v>-0.13277310924369701</c:v>
                </c:pt>
                <c:pt idx="16557">
                  <c:v>-0.13277310924369701</c:v>
                </c:pt>
                <c:pt idx="16558">
                  <c:v>-0.13277310924369701</c:v>
                </c:pt>
                <c:pt idx="16559">
                  <c:v>-0.13277310924369701</c:v>
                </c:pt>
                <c:pt idx="16560">
                  <c:v>-0.13277310924369701</c:v>
                </c:pt>
                <c:pt idx="16561">
                  <c:v>-0.13277310924369701</c:v>
                </c:pt>
                <c:pt idx="16562">
                  <c:v>-0.13277310924369701</c:v>
                </c:pt>
                <c:pt idx="16563">
                  <c:v>-0.13277310924369701</c:v>
                </c:pt>
                <c:pt idx="16564">
                  <c:v>-0.13277310924369701</c:v>
                </c:pt>
                <c:pt idx="16565">
                  <c:v>-0.13277310924369701</c:v>
                </c:pt>
                <c:pt idx="16566">
                  <c:v>-0.13277310924369701</c:v>
                </c:pt>
                <c:pt idx="16567">
                  <c:v>-0.13277310924369701</c:v>
                </c:pt>
                <c:pt idx="16568">
                  <c:v>-0.13277310924369701</c:v>
                </c:pt>
                <c:pt idx="16569">
                  <c:v>-0.13277310924369701</c:v>
                </c:pt>
                <c:pt idx="16570">
                  <c:v>-0.13277310924369701</c:v>
                </c:pt>
                <c:pt idx="16571">
                  <c:v>-0.13277310924369701</c:v>
                </c:pt>
                <c:pt idx="16572">
                  <c:v>-0.13277310924369701</c:v>
                </c:pt>
                <c:pt idx="16573">
                  <c:v>-0.13277310924369701</c:v>
                </c:pt>
                <c:pt idx="16574">
                  <c:v>-0.13277310924369701</c:v>
                </c:pt>
                <c:pt idx="16575">
                  <c:v>-0.13277310924369701</c:v>
                </c:pt>
                <c:pt idx="16576">
                  <c:v>-0.13277310924369701</c:v>
                </c:pt>
                <c:pt idx="16577">
                  <c:v>-0.13361344537815101</c:v>
                </c:pt>
                <c:pt idx="16578">
                  <c:v>-0.13361344537815101</c:v>
                </c:pt>
                <c:pt idx="16579">
                  <c:v>-0.13361344537815101</c:v>
                </c:pt>
                <c:pt idx="16580">
                  <c:v>-0.13361344537815101</c:v>
                </c:pt>
                <c:pt idx="16581">
                  <c:v>-0.13361344537815101</c:v>
                </c:pt>
                <c:pt idx="16582">
                  <c:v>-0.13361344537815101</c:v>
                </c:pt>
                <c:pt idx="16583">
                  <c:v>-0.13361344537815101</c:v>
                </c:pt>
                <c:pt idx="16584">
                  <c:v>-0.13361344537815101</c:v>
                </c:pt>
                <c:pt idx="16585">
                  <c:v>-0.13361344537815101</c:v>
                </c:pt>
                <c:pt idx="16586">
                  <c:v>-0.13361344537815101</c:v>
                </c:pt>
                <c:pt idx="16587">
                  <c:v>-0.13361344537815101</c:v>
                </c:pt>
                <c:pt idx="16588">
                  <c:v>-0.13361344537815101</c:v>
                </c:pt>
                <c:pt idx="16589">
                  <c:v>-0.13361344537815101</c:v>
                </c:pt>
                <c:pt idx="16590">
                  <c:v>-0.13361344537815101</c:v>
                </c:pt>
                <c:pt idx="16591">
                  <c:v>-0.13361344537815101</c:v>
                </c:pt>
                <c:pt idx="16592">
                  <c:v>-0.13361344537815101</c:v>
                </c:pt>
                <c:pt idx="16593">
                  <c:v>-0.13361344537815101</c:v>
                </c:pt>
                <c:pt idx="16594">
                  <c:v>-0.13361344537815101</c:v>
                </c:pt>
                <c:pt idx="16595">
                  <c:v>-0.13361344537815101</c:v>
                </c:pt>
                <c:pt idx="16596">
                  <c:v>-0.13361344537815101</c:v>
                </c:pt>
                <c:pt idx="16597">
                  <c:v>-0.13361344537815101</c:v>
                </c:pt>
                <c:pt idx="16598">
                  <c:v>-0.13361344537815101</c:v>
                </c:pt>
                <c:pt idx="16599">
                  <c:v>-0.13361344537815101</c:v>
                </c:pt>
                <c:pt idx="16600">
                  <c:v>-0.13361344537815101</c:v>
                </c:pt>
                <c:pt idx="16601">
                  <c:v>-0.13361344537815101</c:v>
                </c:pt>
                <c:pt idx="16602">
                  <c:v>-0.13361344537815101</c:v>
                </c:pt>
                <c:pt idx="16603">
                  <c:v>-0.13361344537815101</c:v>
                </c:pt>
                <c:pt idx="16604">
                  <c:v>-0.13361344537815101</c:v>
                </c:pt>
                <c:pt idx="16605">
                  <c:v>-0.13361344537815101</c:v>
                </c:pt>
                <c:pt idx="16606">
                  <c:v>-0.13361344537815101</c:v>
                </c:pt>
                <c:pt idx="16607">
                  <c:v>-0.13277310924369701</c:v>
                </c:pt>
                <c:pt idx="16608">
                  <c:v>-0.13277310924369701</c:v>
                </c:pt>
                <c:pt idx="16609">
                  <c:v>-0.13277310924369701</c:v>
                </c:pt>
                <c:pt idx="16610">
                  <c:v>-0.13277310924369701</c:v>
                </c:pt>
                <c:pt idx="16611">
                  <c:v>-0.13277310924369701</c:v>
                </c:pt>
                <c:pt idx="16612">
                  <c:v>-0.13277310924369701</c:v>
                </c:pt>
                <c:pt idx="16613">
                  <c:v>-0.13277310924369701</c:v>
                </c:pt>
                <c:pt idx="16614">
                  <c:v>-0.13277310924369701</c:v>
                </c:pt>
                <c:pt idx="16615">
                  <c:v>-0.13277310924369701</c:v>
                </c:pt>
                <c:pt idx="16616">
                  <c:v>-0.13277310924369701</c:v>
                </c:pt>
                <c:pt idx="16617">
                  <c:v>-0.13277310924369701</c:v>
                </c:pt>
                <c:pt idx="16618">
                  <c:v>-0.13277310924369701</c:v>
                </c:pt>
                <c:pt idx="16619">
                  <c:v>-0.13277310924369701</c:v>
                </c:pt>
                <c:pt idx="16620">
                  <c:v>-0.13277310924369701</c:v>
                </c:pt>
                <c:pt idx="16621">
                  <c:v>-0.13277310924369701</c:v>
                </c:pt>
                <c:pt idx="16622">
                  <c:v>-0.13277310924369701</c:v>
                </c:pt>
                <c:pt idx="16623">
                  <c:v>-0.13277310924369701</c:v>
                </c:pt>
                <c:pt idx="16624">
                  <c:v>-0.13277310924369701</c:v>
                </c:pt>
                <c:pt idx="16625">
                  <c:v>-0.13277310924369701</c:v>
                </c:pt>
                <c:pt idx="16626">
                  <c:v>-0.13277310924369701</c:v>
                </c:pt>
                <c:pt idx="16627">
                  <c:v>-0.13277310924369701</c:v>
                </c:pt>
                <c:pt idx="16628">
                  <c:v>-0.13277310924369701</c:v>
                </c:pt>
                <c:pt idx="16629">
                  <c:v>-0.13277310924369701</c:v>
                </c:pt>
                <c:pt idx="16630">
                  <c:v>-0.13277310924369701</c:v>
                </c:pt>
                <c:pt idx="16631">
                  <c:v>-0.13277310924369701</c:v>
                </c:pt>
                <c:pt idx="16632">
                  <c:v>-0.13277310924369701</c:v>
                </c:pt>
                <c:pt idx="16633">
                  <c:v>-0.13277310924369701</c:v>
                </c:pt>
                <c:pt idx="16634">
                  <c:v>-0.13277310924369701</c:v>
                </c:pt>
                <c:pt idx="16635">
                  <c:v>-0.13277310924369701</c:v>
                </c:pt>
                <c:pt idx="16636">
                  <c:v>-0.13277310924369701</c:v>
                </c:pt>
                <c:pt idx="16637">
                  <c:v>-0.13277310924369701</c:v>
                </c:pt>
                <c:pt idx="16638">
                  <c:v>-0.13277310924369701</c:v>
                </c:pt>
                <c:pt idx="16639">
                  <c:v>-0.13277310924369701</c:v>
                </c:pt>
                <c:pt idx="16640">
                  <c:v>-0.13277310924369701</c:v>
                </c:pt>
                <c:pt idx="16641">
                  <c:v>-0.13277310924369701</c:v>
                </c:pt>
                <c:pt idx="16642">
                  <c:v>-0.13277310924369701</c:v>
                </c:pt>
                <c:pt idx="16643">
                  <c:v>-0.13277310924369701</c:v>
                </c:pt>
                <c:pt idx="16644">
                  <c:v>-0.13277310924369701</c:v>
                </c:pt>
                <c:pt idx="16645">
                  <c:v>-0.13277310924369701</c:v>
                </c:pt>
                <c:pt idx="16646">
                  <c:v>-0.13277310924369701</c:v>
                </c:pt>
                <c:pt idx="16647">
                  <c:v>-0.13277310924369701</c:v>
                </c:pt>
                <c:pt idx="16648">
                  <c:v>-0.13277310924369701</c:v>
                </c:pt>
                <c:pt idx="16649">
                  <c:v>-0.13277310924369701</c:v>
                </c:pt>
                <c:pt idx="16650">
                  <c:v>-0.13277310924369701</c:v>
                </c:pt>
                <c:pt idx="16651">
                  <c:v>-0.13277310924369701</c:v>
                </c:pt>
                <c:pt idx="16652">
                  <c:v>-0.13277310924369701</c:v>
                </c:pt>
                <c:pt idx="16653">
                  <c:v>-0.13277310924369701</c:v>
                </c:pt>
                <c:pt idx="16654">
                  <c:v>-0.13277310924369701</c:v>
                </c:pt>
                <c:pt idx="16655">
                  <c:v>-0.13193277310924301</c:v>
                </c:pt>
                <c:pt idx="16656">
                  <c:v>-0.13193277310924301</c:v>
                </c:pt>
                <c:pt idx="16657">
                  <c:v>-0.13193277310924301</c:v>
                </c:pt>
                <c:pt idx="16658">
                  <c:v>-0.13193277310924301</c:v>
                </c:pt>
                <c:pt idx="16659">
                  <c:v>-0.13193277310924301</c:v>
                </c:pt>
                <c:pt idx="16660">
                  <c:v>-0.13193277310924301</c:v>
                </c:pt>
                <c:pt idx="16661">
                  <c:v>-0.13193277310924301</c:v>
                </c:pt>
                <c:pt idx="16662">
                  <c:v>-0.13193277310924301</c:v>
                </c:pt>
                <c:pt idx="16663">
                  <c:v>-0.13193277310924301</c:v>
                </c:pt>
                <c:pt idx="16664">
                  <c:v>-0.13193277310924301</c:v>
                </c:pt>
                <c:pt idx="16665">
                  <c:v>-0.13193277310924301</c:v>
                </c:pt>
                <c:pt idx="16666">
                  <c:v>-0.13193277310924301</c:v>
                </c:pt>
                <c:pt idx="16667">
                  <c:v>-0.13193277310924301</c:v>
                </c:pt>
                <c:pt idx="16668">
                  <c:v>-0.13193277310924301</c:v>
                </c:pt>
                <c:pt idx="16669">
                  <c:v>-0.13193277310924301</c:v>
                </c:pt>
                <c:pt idx="16670">
                  <c:v>-0.13193277310924301</c:v>
                </c:pt>
                <c:pt idx="16671">
                  <c:v>-0.13277310924369701</c:v>
                </c:pt>
                <c:pt idx="16672">
                  <c:v>-0.13277310924369701</c:v>
                </c:pt>
                <c:pt idx="16673">
                  <c:v>-0.13277310924369701</c:v>
                </c:pt>
                <c:pt idx="16674">
                  <c:v>-0.13277310924369701</c:v>
                </c:pt>
                <c:pt idx="16675">
                  <c:v>-0.13277310924369701</c:v>
                </c:pt>
                <c:pt idx="16676">
                  <c:v>-0.13277310924369701</c:v>
                </c:pt>
                <c:pt idx="16677">
                  <c:v>-0.13277310924369701</c:v>
                </c:pt>
                <c:pt idx="16678">
                  <c:v>-0.13277310924369701</c:v>
                </c:pt>
                <c:pt idx="16679">
                  <c:v>-0.13193277310924301</c:v>
                </c:pt>
                <c:pt idx="16680">
                  <c:v>-0.13193277310924301</c:v>
                </c:pt>
                <c:pt idx="16681">
                  <c:v>-0.13193277310924301</c:v>
                </c:pt>
                <c:pt idx="16682">
                  <c:v>-0.13193277310924301</c:v>
                </c:pt>
                <c:pt idx="16683">
                  <c:v>-0.13193277310924301</c:v>
                </c:pt>
                <c:pt idx="16684">
                  <c:v>-0.13193277310924301</c:v>
                </c:pt>
                <c:pt idx="16685">
                  <c:v>-0.13109243697478901</c:v>
                </c:pt>
                <c:pt idx="16686">
                  <c:v>-0.13109243697478901</c:v>
                </c:pt>
                <c:pt idx="16687">
                  <c:v>-0.13109243697478901</c:v>
                </c:pt>
                <c:pt idx="16688">
                  <c:v>-0.13109243697478901</c:v>
                </c:pt>
                <c:pt idx="16689">
                  <c:v>-0.13109243697478901</c:v>
                </c:pt>
                <c:pt idx="16690">
                  <c:v>-0.130252100840336</c:v>
                </c:pt>
                <c:pt idx="16691">
                  <c:v>-0.130252100840336</c:v>
                </c:pt>
                <c:pt idx="16692">
                  <c:v>-0.130252100840336</c:v>
                </c:pt>
                <c:pt idx="16693">
                  <c:v>-0.130252100840336</c:v>
                </c:pt>
                <c:pt idx="16694">
                  <c:v>-0.130252100840336</c:v>
                </c:pt>
                <c:pt idx="16695">
                  <c:v>-0.130252100840336</c:v>
                </c:pt>
                <c:pt idx="16696">
                  <c:v>-0.130252100840336</c:v>
                </c:pt>
                <c:pt idx="16697">
                  <c:v>-0.130252100840336</c:v>
                </c:pt>
                <c:pt idx="16698">
                  <c:v>-0.130252100840336</c:v>
                </c:pt>
                <c:pt idx="16699">
                  <c:v>-0.130252100840336</c:v>
                </c:pt>
                <c:pt idx="16700">
                  <c:v>-0.130252100840336</c:v>
                </c:pt>
                <c:pt idx="16701">
                  <c:v>-0.130252100840336</c:v>
                </c:pt>
                <c:pt idx="16702">
                  <c:v>-0.130252100840336</c:v>
                </c:pt>
                <c:pt idx="16703">
                  <c:v>-0.130252100840336</c:v>
                </c:pt>
                <c:pt idx="16704">
                  <c:v>-0.130252100840336</c:v>
                </c:pt>
                <c:pt idx="16705">
                  <c:v>-0.130252100840336</c:v>
                </c:pt>
                <c:pt idx="16706">
                  <c:v>-0.130252100840336</c:v>
                </c:pt>
                <c:pt idx="16707">
                  <c:v>-0.130252100840336</c:v>
                </c:pt>
                <c:pt idx="16708">
                  <c:v>-0.130252100840336</c:v>
                </c:pt>
                <c:pt idx="16709">
                  <c:v>-0.130252100840336</c:v>
                </c:pt>
                <c:pt idx="16710">
                  <c:v>-0.130252100840336</c:v>
                </c:pt>
                <c:pt idx="16711">
                  <c:v>-0.130252100840336</c:v>
                </c:pt>
                <c:pt idx="16712">
                  <c:v>-0.130252100840336</c:v>
                </c:pt>
                <c:pt idx="16713">
                  <c:v>-0.130252100840336</c:v>
                </c:pt>
                <c:pt idx="16714">
                  <c:v>-0.130252100840336</c:v>
                </c:pt>
                <c:pt idx="16715">
                  <c:v>-0.130252100840336</c:v>
                </c:pt>
                <c:pt idx="16716">
                  <c:v>-0.130252100840336</c:v>
                </c:pt>
                <c:pt idx="16717">
                  <c:v>-0.130252100840336</c:v>
                </c:pt>
                <c:pt idx="16718">
                  <c:v>-0.130252100840336</c:v>
                </c:pt>
                <c:pt idx="16719">
                  <c:v>-0.130252100840336</c:v>
                </c:pt>
                <c:pt idx="16720">
                  <c:v>-0.130252100840336</c:v>
                </c:pt>
                <c:pt idx="16721">
                  <c:v>-0.130252100840336</c:v>
                </c:pt>
                <c:pt idx="16722">
                  <c:v>-0.130252100840336</c:v>
                </c:pt>
                <c:pt idx="16723">
                  <c:v>-0.130252100840336</c:v>
                </c:pt>
                <c:pt idx="16724">
                  <c:v>-0.130252100840336</c:v>
                </c:pt>
                <c:pt idx="16725">
                  <c:v>-0.130252100840336</c:v>
                </c:pt>
                <c:pt idx="16726">
                  <c:v>-0.130252100840336</c:v>
                </c:pt>
                <c:pt idx="16727">
                  <c:v>-0.130252100840336</c:v>
                </c:pt>
                <c:pt idx="16728">
                  <c:v>-0.130252100840336</c:v>
                </c:pt>
                <c:pt idx="16729">
                  <c:v>-0.130252100840336</c:v>
                </c:pt>
                <c:pt idx="16730">
                  <c:v>-0.13109243697478901</c:v>
                </c:pt>
                <c:pt idx="16731">
                  <c:v>-0.13109243697478901</c:v>
                </c:pt>
                <c:pt idx="16732">
                  <c:v>-0.13109243697478901</c:v>
                </c:pt>
                <c:pt idx="16733">
                  <c:v>-0.13109243697478901</c:v>
                </c:pt>
                <c:pt idx="16734">
                  <c:v>-0.13109243697478901</c:v>
                </c:pt>
                <c:pt idx="16735">
                  <c:v>-0.13109243697478901</c:v>
                </c:pt>
                <c:pt idx="16736">
                  <c:v>-0.13109243697478901</c:v>
                </c:pt>
                <c:pt idx="16737">
                  <c:v>-0.13109243697478901</c:v>
                </c:pt>
                <c:pt idx="16738">
                  <c:v>-0.130252100840336</c:v>
                </c:pt>
                <c:pt idx="16739">
                  <c:v>-0.130252100840336</c:v>
                </c:pt>
                <c:pt idx="16740">
                  <c:v>-0.130252100840336</c:v>
                </c:pt>
                <c:pt idx="16741">
                  <c:v>-0.130252100840336</c:v>
                </c:pt>
                <c:pt idx="16742">
                  <c:v>-0.130252100840336</c:v>
                </c:pt>
                <c:pt idx="16743">
                  <c:v>-0.130252100840336</c:v>
                </c:pt>
                <c:pt idx="16744">
                  <c:v>-0.130252100840336</c:v>
                </c:pt>
                <c:pt idx="16745">
                  <c:v>-0.130252100840336</c:v>
                </c:pt>
                <c:pt idx="16746">
                  <c:v>-0.130252100840336</c:v>
                </c:pt>
                <c:pt idx="16747">
                  <c:v>-0.130252100840336</c:v>
                </c:pt>
                <c:pt idx="16748">
                  <c:v>-0.130252100840336</c:v>
                </c:pt>
                <c:pt idx="16749">
                  <c:v>-0.130252100840336</c:v>
                </c:pt>
                <c:pt idx="16750">
                  <c:v>-0.130252100840336</c:v>
                </c:pt>
                <c:pt idx="16751">
                  <c:v>-0.130252100840336</c:v>
                </c:pt>
                <c:pt idx="16752">
                  <c:v>-0.130252100840336</c:v>
                </c:pt>
                <c:pt idx="16753">
                  <c:v>-0.130252100840336</c:v>
                </c:pt>
                <c:pt idx="16754">
                  <c:v>-0.130252100840336</c:v>
                </c:pt>
                <c:pt idx="16755">
                  <c:v>-0.130252100840336</c:v>
                </c:pt>
                <c:pt idx="16756">
                  <c:v>-0.130252100840336</c:v>
                </c:pt>
                <c:pt idx="16757">
                  <c:v>-0.130252100840336</c:v>
                </c:pt>
                <c:pt idx="16758">
                  <c:v>-0.130252100840336</c:v>
                </c:pt>
                <c:pt idx="16759">
                  <c:v>-0.130252100840336</c:v>
                </c:pt>
                <c:pt idx="16760">
                  <c:v>-0.130252100840336</c:v>
                </c:pt>
                <c:pt idx="16761">
                  <c:v>-0.130252100840336</c:v>
                </c:pt>
                <c:pt idx="16762">
                  <c:v>-0.130252100840336</c:v>
                </c:pt>
                <c:pt idx="16763">
                  <c:v>-0.130252100840336</c:v>
                </c:pt>
                <c:pt idx="16764">
                  <c:v>-0.130252100840336</c:v>
                </c:pt>
                <c:pt idx="16765">
                  <c:v>-0.130252100840336</c:v>
                </c:pt>
                <c:pt idx="16766">
                  <c:v>-0.130252100840336</c:v>
                </c:pt>
                <c:pt idx="16767">
                  <c:v>-0.129411764705882</c:v>
                </c:pt>
                <c:pt idx="16768">
                  <c:v>-0.129411764705882</c:v>
                </c:pt>
                <c:pt idx="16769">
                  <c:v>-0.129411764705882</c:v>
                </c:pt>
                <c:pt idx="16770">
                  <c:v>-0.129411764705882</c:v>
                </c:pt>
                <c:pt idx="16771">
                  <c:v>-0.129411764705882</c:v>
                </c:pt>
                <c:pt idx="16772">
                  <c:v>-0.129411764705882</c:v>
                </c:pt>
                <c:pt idx="16773">
                  <c:v>-0.129411764705882</c:v>
                </c:pt>
                <c:pt idx="16774">
                  <c:v>-0.129411764705882</c:v>
                </c:pt>
                <c:pt idx="16775">
                  <c:v>-0.129411764705882</c:v>
                </c:pt>
                <c:pt idx="16776">
                  <c:v>-0.129411764705882</c:v>
                </c:pt>
                <c:pt idx="16777">
                  <c:v>-0.129411764705882</c:v>
                </c:pt>
                <c:pt idx="16778">
                  <c:v>-0.129411764705882</c:v>
                </c:pt>
                <c:pt idx="16779">
                  <c:v>-0.129411764705882</c:v>
                </c:pt>
                <c:pt idx="16780">
                  <c:v>-0.129411764705882</c:v>
                </c:pt>
                <c:pt idx="16781">
                  <c:v>-0.129411764705882</c:v>
                </c:pt>
                <c:pt idx="16782">
                  <c:v>-0.129411764705882</c:v>
                </c:pt>
                <c:pt idx="16783">
                  <c:v>-0.129411764705882</c:v>
                </c:pt>
                <c:pt idx="16784">
                  <c:v>-0.129411764705882</c:v>
                </c:pt>
                <c:pt idx="16785">
                  <c:v>-0.129411764705882</c:v>
                </c:pt>
                <c:pt idx="16786">
                  <c:v>-0.129411764705882</c:v>
                </c:pt>
                <c:pt idx="16787">
                  <c:v>-0.129411764705882</c:v>
                </c:pt>
                <c:pt idx="16788">
                  <c:v>-0.129411764705882</c:v>
                </c:pt>
                <c:pt idx="16789">
                  <c:v>-0.129411764705882</c:v>
                </c:pt>
                <c:pt idx="16790">
                  <c:v>-0.129411764705882</c:v>
                </c:pt>
                <c:pt idx="16791">
                  <c:v>-0.129411764705882</c:v>
                </c:pt>
                <c:pt idx="16792">
                  <c:v>-0.129411764705882</c:v>
                </c:pt>
                <c:pt idx="16793">
                  <c:v>-0.129411764705882</c:v>
                </c:pt>
                <c:pt idx="16794">
                  <c:v>-0.129411764705882</c:v>
                </c:pt>
                <c:pt idx="16795">
                  <c:v>-0.128571428571428</c:v>
                </c:pt>
                <c:pt idx="16796">
                  <c:v>-0.129411764705882</c:v>
                </c:pt>
                <c:pt idx="16797">
                  <c:v>-0.129411764705882</c:v>
                </c:pt>
                <c:pt idx="16798">
                  <c:v>-0.129411764705882</c:v>
                </c:pt>
                <c:pt idx="16799">
                  <c:v>-0.129411764705882</c:v>
                </c:pt>
                <c:pt idx="16800">
                  <c:v>-0.129411764705882</c:v>
                </c:pt>
                <c:pt idx="16801">
                  <c:v>-0.129411764705882</c:v>
                </c:pt>
                <c:pt idx="16802">
                  <c:v>-0.129411764705882</c:v>
                </c:pt>
                <c:pt idx="16803">
                  <c:v>-0.129411764705882</c:v>
                </c:pt>
                <c:pt idx="16804">
                  <c:v>-0.129411764705882</c:v>
                </c:pt>
                <c:pt idx="16805">
                  <c:v>-0.129411764705882</c:v>
                </c:pt>
                <c:pt idx="16806">
                  <c:v>-0.129411764705882</c:v>
                </c:pt>
                <c:pt idx="16807">
                  <c:v>-0.129411764705882</c:v>
                </c:pt>
                <c:pt idx="16808">
                  <c:v>-0.129411764705882</c:v>
                </c:pt>
                <c:pt idx="16809">
                  <c:v>-0.129411764705882</c:v>
                </c:pt>
                <c:pt idx="16810">
                  <c:v>-0.129411764705882</c:v>
                </c:pt>
                <c:pt idx="16811">
                  <c:v>-0.129411764705882</c:v>
                </c:pt>
                <c:pt idx="16812">
                  <c:v>-0.129411764705882</c:v>
                </c:pt>
                <c:pt idx="16813">
                  <c:v>-0.129411764705882</c:v>
                </c:pt>
                <c:pt idx="16814">
                  <c:v>-0.129411764705882</c:v>
                </c:pt>
                <c:pt idx="16815">
                  <c:v>-0.129411764705882</c:v>
                </c:pt>
                <c:pt idx="16816">
                  <c:v>-0.129411764705882</c:v>
                </c:pt>
                <c:pt idx="16817">
                  <c:v>-0.129411764705882</c:v>
                </c:pt>
                <c:pt idx="16818">
                  <c:v>-0.129411764705882</c:v>
                </c:pt>
                <c:pt idx="16819">
                  <c:v>-0.129411764705882</c:v>
                </c:pt>
                <c:pt idx="16820">
                  <c:v>-0.129411764705882</c:v>
                </c:pt>
                <c:pt idx="16821">
                  <c:v>-0.129411764705882</c:v>
                </c:pt>
                <c:pt idx="16822">
                  <c:v>-0.129411764705882</c:v>
                </c:pt>
                <c:pt idx="16823">
                  <c:v>-0.129411764705882</c:v>
                </c:pt>
                <c:pt idx="16824">
                  <c:v>-0.129411764705882</c:v>
                </c:pt>
                <c:pt idx="16825">
                  <c:v>-0.129411764705882</c:v>
                </c:pt>
                <c:pt idx="16826">
                  <c:v>-0.129411764705882</c:v>
                </c:pt>
                <c:pt idx="16827">
                  <c:v>-0.129411764705882</c:v>
                </c:pt>
                <c:pt idx="16828">
                  <c:v>-0.129411764705882</c:v>
                </c:pt>
                <c:pt idx="16829">
                  <c:v>-0.129411764705882</c:v>
                </c:pt>
                <c:pt idx="16830">
                  <c:v>-0.129411764705882</c:v>
                </c:pt>
                <c:pt idx="16831">
                  <c:v>-0.129411764705882</c:v>
                </c:pt>
                <c:pt idx="16832">
                  <c:v>-0.129411764705882</c:v>
                </c:pt>
                <c:pt idx="16833">
                  <c:v>-0.129411764705882</c:v>
                </c:pt>
                <c:pt idx="16834">
                  <c:v>-0.128571428571428</c:v>
                </c:pt>
                <c:pt idx="16835">
                  <c:v>-0.127731092436974</c:v>
                </c:pt>
                <c:pt idx="16836">
                  <c:v>-0.127731092436974</c:v>
                </c:pt>
                <c:pt idx="16837">
                  <c:v>-0.127731092436974</c:v>
                </c:pt>
                <c:pt idx="16838">
                  <c:v>-0.127731092436974</c:v>
                </c:pt>
                <c:pt idx="16839">
                  <c:v>-0.127731092436974</c:v>
                </c:pt>
                <c:pt idx="16840">
                  <c:v>-0.127731092436974</c:v>
                </c:pt>
                <c:pt idx="16841">
                  <c:v>-0.127731092436974</c:v>
                </c:pt>
                <c:pt idx="16842">
                  <c:v>-0.127731092436974</c:v>
                </c:pt>
                <c:pt idx="16843">
                  <c:v>-0.127731092436974</c:v>
                </c:pt>
                <c:pt idx="16844">
                  <c:v>-0.127731092436974</c:v>
                </c:pt>
                <c:pt idx="16845">
                  <c:v>-0.127731092436974</c:v>
                </c:pt>
                <c:pt idx="16846">
                  <c:v>-0.127731092436974</c:v>
                </c:pt>
                <c:pt idx="16847">
                  <c:v>-0.127731092436974</c:v>
                </c:pt>
                <c:pt idx="16848">
                  <c:v>-0.127731092436974</c:v>
                </c:pt>
                <c:pt idx="16849">
                  <c:v>-0.127731092436974</c:v>
                </c:pt>
                <c:pt idx="16850">
                  <c:v>-0.127731092436974</c:v>
                </c:pt>
                <c:pt idx="16851">
                  <c:v>-0.127731092436974</c:v>
                </c:pt>
                <c:pt idx="16852">
                  <c:v>-0.127731092436974</c:v>
                </c:pt>
                <c:pt idx="16853">
                  <c:v>-0.127731092436974</c:v>
                </c:pt>
                <c:pt idx="16854">
                  <c:v>-0.127731092436974</c:v>
                </c:pt>
                <c:pt idx="16855">
                  <c:v>-0.126890756302521</c:v>
                </c:pt>
                <c:pt idx="16856">
                  <c:v>-0.126890756302521</c:v>
                </c:pt>
                <c:pt idx="16857">
                  <c:v>-0.126890756302521</c:v>
                </c:pt>
                <c:pt idx="16858">
                  <c:v>-0.126890756302521</c:v>
                </c:pt>
                <c:pt idx="16859">
                  <c:v>-0.126890756302521</c:v>
                </c:pt>
                <c:pt idx="16860">
                  <c:v>-0.126890756302521</c:v>
                </c:pt>
                <c:pt idx="16861">
                  <c:v>-0.126890756302521</c:v>
                </c:pt>
                <c:pt idx="16862">
                  <c:v>-0.126890756302521</c:v>
                </c:pt>
                <c:pt idx="16863">
                  <c:v>-0.126890756302521</c:v>
                </c:pt>
                <c:pt idx="16864">
                  <c:v>-0.126890756302521</c:v>
                </c:pt>
                <c:pt idx="16865">
                  <c:v>-0.126890756302521</c:v>
                </c:pt>
                <c:pt idx="16866">
                  <c:v>-0.126890756302521</c:v>
                </c:pt>
                <c:pt idx="16867">
                  <c:v>-0.126890756302521</c:v>
                </c:pt>
                <c:pt idx="16868">
                  <c:v>-0.126890756302521</c:v>
                </c:pt>
                <c:pt idx="16869">
                  <c:v>-0.126890756302521</c:v>
                </c:pt>
                <c:pt idx="16870">
                  <c:v>-0.126890756302521</c:v>
                </c:pt>
                <c:pt idx="16871">
                  <c:v>-0.126890756302521</c:v>
                </c:pt>
                <c:pt idx="16872">
                  <c:v>-0.126890756302521</c:v>
                </c:pt>
                <c:pt idx="16873">
                  <c:v>-0.126890756302521</c:v>
                </c:pt>
                <c:pt idx="16874">
                  <c:v>-0.126890756302521</c:v>
                </c:pt>
                <c:pt idx="16875">
                  <c:v>-0.126890756302521</c:v>
                </c:pt>
                <c:pt idx="16876">
                  <c:v>-0.126890756302521</c:v>
                </c:pt>
                <c:pt idx="16877">
                  <c:v>-0.126890756302521</c:v>
                </c:pt>
                <c:pt idx="16878">
                  <c:v>-0.126890756302521</c:v>
                </c:pt>
                <c:pt idx="16879">
                  <c:v>-0.126890756302521</c:v>
                </c:pt>
                <c:pt idx="16880">
                  <c:v>-0.126890756302521</c:v>
                </c:pt>
                <c:pt idx="16881">
                  <c:v>-0.126890756302521</c:v>
                </c:pt>
                <c:pt idx="16882">
                  <c:v>-0.126890756302521</c:v>
                </c:pt>
                <c:pt idx="16883">
                  <c:v>-0.126890756302521</c:v>
                </c:pt>
                <c:pt idx="16884">
                  <c:v>-0.126890756302521</c:v>
                </c:pt>
                <c:pt idx="16885">
                  <c:v>-0.126890756302521</c:v>
                </c:pt>
                <c:pt idx="16886">
                  <c:v>-0.126890756302521</c:v>
                </c:pt>
                <c:pt idx="16887">
                  <c:v>-0.126890756302521</c:v>
                </c:pt>
                <c:pt idx="16888">
                  <c:v>-0.126890756302521</c:v>
                </c:pt>
                <c:pt idx="16889">
                  <c:v>-0.126890756302521</c:v>
                </c:pt>
                <c:pt idx="16890">
                  <c:v>-0.126890756302521</c:v>
                </c:pt>
                <c:pt idx="16891">
                  <c:v>-0.126890756302521</c:v>
                </c:pt>
                <c:pt idx="16892">
                  <c:v>-0.126890756302521</c:v>
                </c:pt>
                <c:pt idx="16893">
                  <c:v>-0.126890756302521</c:v>
                </c:pt>
                <c:pt idx="16894">
                  <c:v>-0.126890756302521</c:v>
                </c:pt>
                <c:pt idx="16895">
                  <c:v>-0.126890756302521</c:v>
                </c:pt>
                <c:pt idx="16896">
                  <c:v>-0.126890756302521</c:v>
                </c:pt>
                <c:pt idx="16897">
                  <c:v>-0.126890756302521</c:v>
                </c:pt>
                <c:pt idx="16898">
                  <c:v>-0.126890756302521</c:v>
                </c:pt>
                <c:pt idx="16899">
                  <c:v>-0.126890756302521</c:v>
                </c:pt>
                <c:pt idx="16900">
                  <c:v>-0.126890756302521</c:v>
                </c:pt>
                <c:pt idx="16901">
                  <c:v>-0.126890756302521</c:v>
                </c:pt>
                <c:pt idx="16902">
                  <c:v>-0.126890756302521</c:v>
                </c:pt>
                <c:pt idx="16903">
                  <c:v>-0.126890756302521</c:v>
                </c:pt>
                <c:pt idx="16904">
                  <c:v>-0.126890756302521</c:v>
                </c:pt>
                <c:pt idx="16905">
                  <c:v>-0.126890756302521</c:v>
                </c:pt>
                <c:pt idx="16906">
                  <c:v>-0.126890756302521</c:v>
                </c:pt>
                <c:pt idx="16907">
                  <c:v>-0.126890756302521</c:v>
                </c:pt>
                <c:pt idx="16908">
                  <c:v>-0.126890756302521</c:v>
                </c:pt>
                <c:pt idx="16909">
                  <c:v>-0.126890756302521</c:v>
                </c:pt>
                <c:pt idx="16910">
                  <c:v>-0.126890756302521</c:v>
                </c:pt>
                <c:pt idx="16911">
                  <c:v>-0.126890756302521</c:v>
                </c:pt>
                <c:pt idx="16912">
                  <c:v>-0.126890756302521</c:v>
                </c:pt>
                <c:pt idx="16913">
                  <c:v>-0.126890756302521</c:v>
                </c:pt>
                <c:pt idx="16914">
                  <c:v>-0.126890756302521</c:v>
                </c:pt>
                <c:pt idx="16915">
                  <c:v>-0.126890756302521</c:v>
                </c:pt>
                <c:pt idx="16916">
                  <c:v>-0.126890756302521</c:v>
                </c:pt>
                <c:pt idx="16917">
                  <c:v>-0.126890756302521</c:v>
                </c:pt>
                <c:pt idx="16918">
                  <c:v>-0.126890756302521</c:v>
                </c:pt>
                <c:pt idx="16919">
                  <c:v>-0.126890756302521</c:v>
                </c:pt>
                <c:pt idx="16920">
                  <c:v>-0.126890756302521</c:v>
                </c:pt>
                <c:pt idx="16921">
                  <c:v>-0.126050420168067</c:v>
                </c:pt>
                <c:pt idx="16922">
                  <c:v>-0.126050420168067</c:v>
                </c:pt>
                <c:pt idx="16923">
                  <c:v>-0.126050420168067</c:v>
                </c:pt>
                <c:pt idx="16924">
                  <c:v>-0.126050420168067</c:v>
                </c:pt>
                <c:pt idx="16925">
                  <c:v>-0.126050420168067</c:v>
                </c:pt>
                <c:pt idx="16926">
                  <c:v>-0.126050420168067</c:v>
                </c:pt>
                <c:pt idx="16927">
                  <c:v>-0.126050420168067</c:v>
                </c:pt>
                <c:pt idx="16928">
                  <c:v>-0.126050420168067</c:v>
                </c:pt>
                <c:pt idx="16929">
                  <c:v>-0.126050420168067</c:v>
                </c:pt>
                <c:pt idx="16930">
                  <c:v>-0.126050420168067</c:v>
                </c:pt>
                <c:pt idx="16931">
                  <c:v>-0.126050420168067</c:v>
                </c:pt>
                <c:pt idx="16932">
                  <c:v>-0.126050420168067</c:v>
                </c:pt>
                <c:pt idx="16933">
                  <c:v>-0.126050420168067</c:v>
                </c:pt>
                <c:pt idx="16934">
                  <c:v>-0.126050420168067</c:v>
                </c:pt>
                <c:pt idx="16935">
                  <c:v>-0.126050420168067</c:v>
                </c:pt>
                <c:pt idx="16936">
                  <c:v>-0.126050420168067</c:v>
                </c:pt>
                <c:pt idx="16937">
                  <c:v>-0.126050420168067</c:v>
                </c:pt>
                <c:pt idx="16938">
                  <c:v>-0.126050420168067</c:v>
                </c:pt>
                <c:pt idx="16939">
                  <c:v>-0.126050420168067</c:v>
                </c:pt>
                <c:pt idx="16940">
                  <c:v>-0.126050420168067</c:v>
                </c:pt>
                <c:pt idx="16941">
                  <c:v>-0.126050420168067</c:v>
                </c:pt>
                <c:pt idx="16942">
                  <c:v>-0.126050420168067</c:v>
                </c:pt>
                <c:pt idx="16943">
                  <c:v>-0.126050420168067</c:v>
                </c:pt>
                <c:pt idx="16944">
                  <c:v>-0.126050420168067</c:v>
                </c:pt>
                <c:pt idx="16945">
                  <c:v>-0.126050420168067</c:v>
                </c:pt>
                <c:pt idx="16946">
                  <c:v>-0.126050420168067</c:v>
                </c:pt>
                <c:pt idx="16947">
                  <c:v>-0.126050420168067</c:v>
                </c:pt>
                <c:pt idx="16948">
                  <c:v>-0.126050420168067</c:v>
                </c:pt>
                <c:pt idx="16949">
                  <c:v>-0.126050420168067</c:v>
                </c:pt>
                <c:pt idx="16950">
                  <c:v>-0.126050420168067</c:v>
                </c:pt>
                <c:pt idx="16951">
                  <c:v>-0.126050420168067</c:v>
                </c:pt>
                <c:pt idx="16952">
                  <c:v>-0.126050420168067</c:v>
                </c:pt>
                <c:pt idx="16953">
                  <c:v>-0.126050420168067</c:v>
                </c:pt>
                <c:pt idx="16954">
                  <c:v>-0.126050420168067</c:v>
                </c:pt>
                <c:pt idx="16955">
                  <c:v>-0.126050420168067</c:v>
                </c:pt>
                <c:pt idx="16956">
                  <c:v>-0.126050420168067</c:v>
                </c:pt>
                <c:pt idx="16957">
                  <c:v>-0.126050420168067</c:v>
                </c:pt>
                <c:pt idx="16958">
                  <c:v>-0.126050420168067</c:v>
                </c:pt>
                <c:pt idx="16959">
                  <c:v>-0.126050420168067</c:v>
                </c:pt>
                <c:pt idx="16960">
                  <c:v>-0.126050420168067</c:v>
                </c:pt>
                <c:pt idx="16961">
                  <c:v>-0.126050420168067</c:v>
                </c:pt>
                <c:pt idx="16962">
                  <c:v>-0.126050420168067</c:v>
                </c:pt>
                <c:pt idx="16963">
                  <c:v>-0.126050420168067</c:v>
                </c:pt>
                <c:pt idx="16964">
                  <c:v>-0.125210084033613</c:v>
                </c:pt>
                <c:pt idx="16965">
                  <c:v>-0.125210084033613</c:v>
                </c:pt>
                <c:pt idx="16966">
                  <c:v>-0.125210084033613</c:v>
                </c:pt>
                <c:pt idx="16967">
                  <c:v>-0.125210084033613</c:v>
                </c:pt>
                <c:pt idx="16968">
                  <c:v>-0.125210084033613</c:v>
                </c:pt>
                <c:pt idx="16969">
                  <c:v>-0.125210084033613</c:v>
                </c:pt>
                <c:pt idx="16970">
                  <c:v>-0.125210084033613</c:v>
                </c:pt>
                <c:pt idx="16971">
                  <c:v>-0.125210084033613</c:v>
                </c:pt>
                <c:pt idx="16972">
                  <c:v>-0.125210084033613</c:v>
                </c:pt>
                <c:pt idx="16973">
                  <c:v>-0.125210084033613</c:v>
                </c:pt>
                <c:pt idx="16974">
                  <c:v>-0.125210084033613</c:v>
                </c:pt>
                <c:pt idx="16975">
                  <c:v>-0.125210084033613</c:v>
                </c:pt>
                <c:pt idx="16976">
                  <c:v>-0.125210084033613</c:v>
                </c:pt>
                <c:pt idx="16977">
                  <c:v>-0.125210084033613</c:v>
                </c:pt>
                <c:pt idx="16978">
                  <c:v>-0.125210084033613</c:v>
                </c:pt>
                <c:pt idx="16979">
                  <c:v>-0.125210084033613</c:v>
                </c:pt>
                <c:pt idx="16980">
                  <c:v>-0.125210084033613</c:v>
                </c:pt>
                <c:pt idx="16981">
                  <c:v>-0.125210084033613</c:v>
                </c:pt>
                <c:pt idx="16982">
                  <c:v>-0.125210084033613</c:v>
                </c:pt>
                <c:pt idx="16983">
                  <c:v>-0.125210084033613</c:v>
                </c:pt>
                <c:pt idx="16984">
                  <c:v>-0.125210084033613</c:v>
                </c:pt>
                <c:pt idx="16985">
                  <c:v>-0.125210084033613</c:v>
                </c:pt>
                <c:pt idx="16986">
                  <c:v>-0.126050420168067</c:v>
                </c:pt>
                <c:pt idx="16987">
                  <c:v>-0.126050420168067</c:v>
                </c:pt>
                <c:pt idx="16988">
                  <c:v>-0.126050420168067</c:v>
                </c:pt>
                <c:pt idx="16989">
                  <c:v>-0.126050420168067</c:v>
                </c:pt>
                <c:pt idx="16990">
                  <c:v>-0.126050420168067</c:v>
                </c:pt>
                <c:pt idx="16991">
                  <c:v>-0.126050420168067</c:v>
                </c:pt>
                <c:pt idx="16992">
                  <c:v>-0.126050420168067</c:v>
                </c:pt>
                <c:pt idx="16993">
                  <c:v>-0.126050420168067</c:v>
                </c:pt>
                <c:pt idx="16994">
                  <c:v>-0.126050420168067</c:v>
                </c:pt>
                <c:pt idx="16995">
                  <c:v>-0.126050420168067</c:v>
                </c:pt>
                <c:pt idx="16996">
                  <c:v>-0.126050420168067</c:v>
                </c:pt>
                <c:pt idx="16997">
                  <c:v>-0.126050420168067</c:v>
                </c:pt>
                <c:pt idx="16998">
                  <c:v>-0.126050420168067</c:v>
                </c:pt>
                <c:pt idx="16999">
                  <c:v>-0.126050420168067</c:v>
                </c:pt>
                <c:pt idx="17000">
                  <c:v>-0.126050420168067</c:v>
                </c:pt>
                <c:pt idx="17001">
                  <c:v>-0.126050420168067</c:v>
                </c:pt>
                <c:pt idx="17002">
                  <c:v>-0.126050420168067</c:v>
                </c:pt>
                <c:pt idx="17003">
                  <c:v>-0.126050420168067</c:v>
                </c:pt>
                <c:pt idx="17004">
                  <c:v>-0.126050420168067</c:v>
                </c:pt>
                <c:pt idx="17005">
                  <c:v>-0.126050420168067</c:v>
                </c:pt>
                <c:pt idx="17006">
                  <c:v>-0.126050420168067</c:v>
                </c:pt>
                <c:pt idx="17007">
                  <c:v>-0.126050420168067</c:v>
                </c:pt>
                <c:pt idx="17008">
                  <c:v>-0.126050420168067</c:v>
                </c:pt>
                <c:pt idx="17009">
                  <c:v>-0.126050420168067</c:v>
                </c:pt>
                <c:pt idx="17010">
                  <c:v>-0.126050420168067</c:v>
                </c:pt>
                <c:pt idx="17011">
                  <c:v>-0.126050420168067</c:v>
                </c:pt>
                <c:pt idx="17012">
                  <c:v>-0.126050420168067</c:v>
                </c:pt>
                <c:pt idx="17013">
                  <c:v>-0.126050420168067</c:v>
                </c:pt>
                <c:pt idx="17014">
                  <c:v>-0.126050420168067</c:v>
                </c:pt>
                <c:pt idx="17015">
                  <c:v>-0.126050420168067</c:v>
                </c:pt>
                <c:pt idx="17016">
                  <c:v>-0.126050420168067</c:v>
                </c:pt>
                <c:pt idx="17017">
                  <c:v>-0.126050420168067</c:v>
                </c:pt>
                <c:pt idx="17018">
                  <c:v>-0.126050420168067</c:v>
                </c:pt>
                <c:pt idx="17019">
                  <c:v>-0.126050420168067</c:v>
                </c:pt>
                <c:pt idx="17020">
                  <c:v>-0.126050420168067</c:v>
                </c:pt>
                <c:pt idx="17021">
                  <c:v>-0.126050420168067</c:v>
                </c:pt>
                <c:pt idx="17022">
                  <c:v>-0.126050420168067</c:v>
                </c:pt>
                <c:pt idx="17023">
                  <c:v>-0.126050420168067</c:v>
                </c:pt>
                <c:pt idx="17024">
                  <c:v>-0.126050420168067</c:v>
                </c:pt>
                <c:pt idx="17025">
                  <c:v>-0.125210084033613</c:v>
                </c:pt>
                <c:pt idx="17026">
                  <c:v>-0.125210084033613</c:v>
                </c:pt>
                <c:pt idx="17027">
                  <c:v>-0.125210084033613</c:v>
                </c:pt>
                <c:pt idx="17028">
                  <c:v>-0.125210084033613</c:v>
                </c:pt>
                <c:pt idx="17029">
                  <c:v>-0.125210084033613</c:v>
                </c:pt>
                <c:pt idx="17030">
                  <c:v>-0.125210084033613</c:v>
                </c:pt>
                <c:pt idx="17031">
                  <c:v>-0.125210084033613</c:v>
                </c:pt>
                <c:pt idx="17032">
                  <c:v>-0.125210084033613</c:v>
                </c:pt>
                <c:pt idx="17033">
                  <c:v>-0.125210084033613</c:v>
                </c:pt>
                <c:pt idx="17034">
                  <c:v>-0.125210084033613</c:v>
                </c:pt>
                <c:pt idx="17035">
                  <c:v>-0.125210084033613</c:v>
                </c:pt>
                <c:pt idx="17036">
                  <c:v>-0.125210084033613</c:v>
                </c:pt>
                <c:pt idx="17037">
                  <c:v>-0.125210084033613</c:v>
                </c:pt>
                <c:pt idx="17038">
                  <c:v>-0.125210084033613</c:v>
                </c:pt>
                <c:pt idx="17039">
                  <c:v>-0.125210084033613</c:v>
                </c:pt>
                <c:pt idx="17040">
                  <c:v>-0.125210084033613</c:v>
                </c:pt>
                <c:pt idx="17041">
                  <c:v>-0.125210084033613</c:v>
                </c:pt>
                <c:pt idx="17042">
                  <c:v>-0.125210084033613</c:v>
                </c:pt>
                <c:pt idx="17043">
                  <c:v>-0.125210084033613</c:v>
                </c:pt>
                <c:pt idx="17044">
                  <c:v>-0.125210084033613</c:v>
                </c:pt>
                <c:pt idx="17045">
                  <c:v>-0.125210084033613</c:v>
                </c:pt>
                <c:pt idx="17046">
                  <c:v>-0.125210084033613</c:v>
                </c:pt>
                <c:pt idx="17047">
                  <c:v>-0.125210084033613</c:v>
                </c:pt>
                <c:pt idx="17048">
                  <c:v>-0.125210084033613</c:v>
                </c:pt>
                <c:pt idx="17049">
                  <c:v>-0.125210084033613</c:v>
                </c:pt>
                <c:pt idx="17050">
                  <c:v>-0.125210084033613</c:v>
                </c:pt>
                <c:pt idx="17051">
                  <c:v>-0.125210084033613</c:v>
                </c:pt>
                <c:pt idx="17052">
                  <c:v>-0.125210084033613</c:v>
                </c:pt>
                <c:pt idx="17053">
                  <c:v>-0.125210084033613</c:v>
                </c:pt>
                <c:pt idx="17054">
                  <c:v>-0.125210084033613</c:v>
                </c:pt>
                <c:pt idx="17055">
                  <c:v>-0.125210084033613</c:v>
                </c:pt>
                <c:pt idx="17056">
                  <c:v>-0.125210084033613</c:v>
                </c:pt>
                <c:pt idx="17057">
                  <c:v>-0.125210084033613</c:v>
                </c:pt>
                <c:pt idx="17058">
                  <c:v>-0.125210084033613</c:v>
                </c:pt>
                <c:pt idx="17059">
                  <c:v>-0.125210084033613</c:v>
                </c:pt>
                <c:pt idx="17060">
                  <c:v>-0.125210084033613</c:v>
                </c:pt>
                <c:pt idx="17061">
                  <c:v>-0.125210084033613</c:v>
                </c:pt>
                <c:pt idx="17062">
                  <c:v>-0.125210084033613</c:v>
                </c:pt>
                <c:pt idx="17063">
                  <c:v>-0.125210084033613</c:v>
                </c:pt>
                <c:pt idx="17064">
                  <c:v>-0.125210084033613</c:v>
                </c:pt>
                <c:pt idx="17065">
                  <c:v>-0.125210084033613</c:v>
                </c:pt>
                <c:pt idx="17066">
                  <c:v>-0.125210084033613</c:v>
                </c:pt>
                <c:pt idx="17067">
                  <c:v>-0.125210084033613</c:v>
                </c:pt>
                <c:pt idx="17068">
                  <c:v>-0.125210084033613</c:v>
                </c:pt>
                <c:pt idx="17069">
                  <c:v>-0.125210084033613</c:v>
                </c:pt>
                <c:pt idx="17070">
                  <c:v>-0.125210084033613</c:v>
                </c:pt>
                <c:pt idx="17071">
                  <c:v>-0.125210084033613</c:v>
                </c:pt>
                <c:pt idx="17072">
                  <c:v>-0.125210084033613</c:v>
                </c:pt>
                <c:pt idx="17073">
                  <c:v>-0.125210084033613</c:v>
                </c:pt>
                <c:pt idx="17074">
                  <c:v>-0.125210084033613</c:v>
                </c:pt>
                <c:pt idx="17075">
                  <c:v>-0.125210084033613</c:v>
                </c:pt>
                <c:pt idx="17076">
                  <c:v>-0.125210084033613</c:v>
                </c:pt>
                <c:pt idx="17077">
                  <c:v>-0.125210084033613</c:v>
                </c:pt>
                <c:pt idx="17078">
                  <c:v>-0.125210084033613</c:v>
                </c:pt>
                <c:pt idx="17079">
                  <c:v>-0.125210084033613</c:v>
                </c:pt>
                <c:pt idx="17080">
                  <c:v>-0.125210084033613</c:v>
                </c:pt>
                <c:pt idx="17081">
                  <c:v>-0.125210084033613</c:v>
                </c:pt>
                <c:pt idx="17082">
                  <c:v>-0.125210084033613</c:v>
                </c:pt>
                <c:pt idx="17083">
                  <c:v>-0.125210084033613</c:v>
                </c:pt>
                <c:pt idx="17084">
                  <c:v>-0.125210084033613</c:v>
                </c:pt>
                <c:pt idx="17085">
                  <c:v>-0.125210084033613</c:v>
                </c:pt>
                <c:pt idx="17086">
                  <c:v>-0.125210084033613</c:v>
                </c:pt>
                <c:pt idx="17087">
                  <c:v>-0.125210084033613</c:v>
                </c:pt>
                <c:pt idx="17088">
                  <c:v>-0.125210084033613</c:v>
                </c:pt>
                <c:pt idx="17089">
                  <c:v>-0.125210084033613</c:v>
                </c:pt>
                <c:pt idx="17090">
                  <c:v>-0.125210084033613</c:v>
                </c:pt>
                <c:pt idx="17091">
                  <c:v>-0.125210084033613</c:v>
                </c:pt>
                <c:pt idx="17092">
                  <c:v>-0.125210084033613</c:v>
                </c:pt>
                <c:pt idx="17093">
                  <c:v>-0.125210084033613</c:v>
                </c:pt>
                <c:pt idx="17094">
                  <c:v>-0.125210084033613</c:v>
                </c:pt>
                <c:pt idx="17095">
                  <c:v>-0.125210084033613</c:v>
                </c:pt>
                <c:pt idx="17096">
                  <c:v>-0.124369747899159</c:v>
                </c:pt>
                <c:pt idx="17097">
                  <c:v>-0.124369747899159</c:v>
                </c:pt>
                <c:pt idx="17098">
                  <c:v>-0.124369747899159</c:v>
                </c:pt>
                <c:pt idx="17099">
                  <c:v>-0.124369747899159</c:v>
                </c:pt>
                <c:pt idx="17100">
                  <c:v>-0.124369747899159</c:v>
                </c:pt>
                <c:pt idx="17101">
                  <c:v>-0.124369747899159</c:v>
                </c:pt>
                <c:pt idx="17102">
                  <c:v>-0.124369747899159</c:v>
                </c:pt>
                <c:pt idx="17103">
                  <c:v>-0.124369747899159</c:v>
                </c:pt>
                <c:pt idx="17104">
                  <c:v>-0.124369747899159</c:v>
                </c:pt>
                <c:pt idx="17105">
                  <c:v>-0.124369747899159</c:v>
                </c:pt>
                <c:pt idx="17106">
                  <c:v>-0.124369747899159</c:v>
                </c:pt>
                <c:pt idx="17107">
                  <c:v>-0.124369747899159</c:v>
                </c:pt>
                <c:pt idx="17108">
                  <c:v>-0.124369747899159</c:v>
                </c:pt>
                <c:pt idx="17109">
                  <c:v>-0.124369747899159</c:v>
                </c:pt>
                <c:pt idx="17110">
                  <c:v>-0.124369747899159</c:v>
                </c:pt>
                <c:pt idx="17111">
                  <c:v>-0.124369747899159</c:v>
                </c:pt>
                <c:pt idx="17112">
                  <c:v>-0.124369747899159</c:v>
                </c:pt>
                <c:pt idx="17113">
                  <c:v>-0.124369747899159</c:v>
                </c:pt>
                <c:pt idx="17114">
                  <c:v>-0.124369747899159</c:v>
                </c:pt>
                <c:pt idx="17115">
                  <c:v>-0.124369747899159</c:v>
                </c:pt>
                <c:pt idx="17116">
                  <c:v>-0.124369747899159</c:v>
                </c:pt>
                <c:pt idx="17117">
                  <c:v>-0.124369747899159</c:v>
                </c:pt>
                <c:pt idx="17118">
                  <c:v>-0.124369747899159</c:v>
                </c:pt>
                <c:pt idx="17119">
                  <c:v>-0.123529411764705</c:v>
                </c:pt>
                <c:pt idx="17120">
                  <c:v>-0.123529411764705</c:v>
                </c:pt>
                <c:pt idx="17121">
                  <c:v>-0.123529411764705</c:v>
                </c:pt>
                <c:pt idx="17122">
                  <c:v>-0.123529411764705</c:v>
                </c:pt>
                <c:pt idx="17123">
                  <c:v>-0.123529411764705</c:v>
                </c:pt>
                <c:pt idx="17124">
                  <c:v>-0.123529411764705</c:v>
                </c:pt>
                <c:pt idx="17125">
                  <c:v>-0.123529411764705</c:v>
                </c:pt>
                <c:pt idx="17126">
                  <c:v>-0.123529411764705</c:v>
                </c:pt>
                <c:pt idx="17127">
                  <c:v>-0.123529411764705</c:v>
                </c:pt>
                <c:pt idx="17128">
                  <c:v>-0.123529411764705</c:v>
                </c:pt>
                <c:pt idx="17129">
                  <c:v>-0.123529411764705</c:v>
                </c:pt>
                <c:pt idx="17130">
                  <c:v>-0.123529411764705</c:v>
                </c:pt>
                <c:pt idx="17131">
                  <c:v>-0.123529411764705</c:v>
                </c:pt>
                <c:pt idx="17132">
                  <c:v>-0.123529411764705</c:v>
                </c:pt>
                <c:pt idx="17133">
                  <c:v>-0.123529411764705</c:v>
                </c:pt>
                <c:pt idx="17134">
                  <c:v>-0.123529411764705</c:v>
                </c:pt>
                <c:pt idx="17135">
                  <c:v>-0.123529411764705</c:v>
                </c:pt>
                <c:pt idx="17136">
                  <c:v>-0.123529411764705</c:v>
                </c:pt>
                <c:pt idx="17137">
                  <c:v>-0.123529411764705</c:v>
                </c:pt>
                <c:pt idx="17138">
                  <c:v>-0.123529411764705</c:v>
                </c:pt>
                <c:pt idx="17139">
                  <c:v>-0.123529411764705</c:v>
                </c:pt>
                <c:pt idx="17140">
                  <c:v>-0.123529411764705</c:v>
                </c:pt>
                <c:pt idx="17141">
                  <c:v>-0.123529411764705</c:v>
                </c:pt>
                <c:pt idx="17142">
                  <c:v>-0.123529411764705</c:v>
                </c:pt>
                <c:pt idx="17143">
                  <c:v>-0.123529411764705</c:v>
                </c:pt>
                <c:pt idx="17144">
                  <c:v>-0.124369747899159</c:v>
                </c:pt>
                <c:pt idx="17145">
                  <c:v>-0.124369747899159</c:v>
                </c:pt>
                <c:pt idx="17146">
                  <c:v>-0.124369747899159</c:v>
                </c:pt>
                <c:pt idx="17147">
                  <c:v>-0.124369747899159</c:v>
                </c:pt>
                <c:pt idx="17148">
                  <c:v>-0.124369747899159</c:v>
                </c:pt>
                <c:pt idx="17149">
                  <c:v>-0.124369747899159</c:v>
                </c:pt>
                <c:pt idx="17150">
                  <c:v>-0.124369747899159</c:v>
                </c:pt>
                <c:pt idx="17151">
                  <c:v>-0.124369747899159</c:v>
                </c:pt>
                <c:pt idx="17152">
                  <c:v>-0.123529411764705</c:v>
                </c:pt>
                <c:pt idx="17153">
                  <c:v>-0.123529411764705</c:v>
                </c:pt>
                <c:pt idx="17154">
                  <c:v>-0.123529411764705</c:v>
                </c:pt>
                <c:pt idx="17155">
                  <c:v>-0.123529411764705</c:v>
                </c:pt>
                <c:pt idx="17156">
                  <c:v>-0.123529411764705</c:v>
                </c:pt>
                <c:pt idx="17157">
                  <c:v>-0.123529411764705</c:v>
                </c:pt>
                <c:pt idx="17158">
                  <c:v>-0.123529411764705</c:v>
                </c:pt>
                <c:pt idx="17159">
                  <c:v>-0.123529411764705</c:v>
                </c:pt>
                <c:pt idx="17160">
                  <c:v>-0.123529411764705</c:v>
                </c:pt>
                <c:pt idx="17161">
                  <c:v>-0.123529411764705</c:v>
                </c:pt>
                <c:pt idx="17162">
                  <c:v>-0.123529411764705</c:v>
                </c:pt>
                <c:pt idx="17163">
                  <c:v>-0.123529411764705</c:v>
                </c:pt>
                <c:pt idx="17164">
                  <c:v>-0.123529411764705</c:v>
                </c:pt>
                <c:pt idx="17165">
                  <c:v>-0.124369747899159</c:v>
                </c:pt>
                <c:pt idx="17166">
                  <c:v>-0.124369747899159</c:v>
                </c:pt>
                <c:pt idx="17167">
                  <c:v>-0.124369747899159</c:v>
                </c:pt>
                <c:pt idx="17168">
                  <c:v>-0.124369747899159</c:v>
                </c:pt>
                <c:pt idx="17169">
                  <c:v>-0.124369747899159</c:v>
                </c:pt>
                <c:pt idx="17170">
                  <c:v>-0.124369747899159</c:v>
                </c:pt>
                <c:pt idx="17171">
                  <c:v>-0.124369747899159</c:v>
                </c:pt>
                <c:pt idx="17172">
                  <c:v>-0.124369747899159</c:v>
                </c:pt>
                <c:pt idx="17173">
                  <c:v>-0.124369747899159</c:v>
                </c:pt>
                <c:pt idx="17174">
                  <c:v>-0.124369747899159</c:v>
                </c:pt>
                <c:pt idx="17175">
                  <c:v>-0.124369747899159</c:v>
                </c:pt>
                <c:pt idx="17176">
                  <c:v>-0.124369747899159</c:v>
                </c:pt>
                <c:pt idx="17177">
                  <c:v>-0.124369747899159</c:v>
                </c:pt>
                <c:pt idx="17178">
                  <c:v>-0.124369747899159</c:v>
                </c:pt>
                <c:pt idx="17179">
                  <c:v>-0.124369747899159</c:v>
                </c:pt>
                <c:pt idx="17180">
                  <c:v>-0.124369747899159</c:v>
                </c:pt>
                <c:pt idx="17181">
                  <c:v>-0.124369747899159</c:v>
                </c:pt>
                <c:pt idx="17182">
                  <c:v>-0.124369747899159</c:v>
                </c:pt>
                <c:pt idx="17183">
                  <c:v>-0.124369747899159</c:v>
                </c:pt>
                <c:pt idx="17184">
                  <c:v>-0.124369747899159</c:v>
                </c:pt>
                <c:pt idx="17185">
                  <c:v>-0.124369747899159</c:v>
                </c:pt>
                <c:pt idx="17186">
                  <c:v>-0.124369747899159</c:v>
                </c:pt>
                <c:pt idx="17187">
                  <c:v>-0.124369747899159</c:v>
                </c:pt>
                <c:pt idx="17188">
                  <c:v>-0.124369747899159</c:v>
                </c:pt>
                <c:pt idx="17189">
                  <c:v>-0.124369747899159</c:v>
                </c:pt>
                <c:pt idx="17190">
                  <c:v>-0.124369747899159</c:v>
                </c:pt>
                <c:pt idx="17191">
                  <c:v>-0.124369747899159</c:v>
                </c:pt>
                <c:pt idx="17192">
                  <c:v>-0.124369747899159</c:v>
                </c:pt>
                <c:pt idx="17193">
                  <c:v>-0.123529411764705</c:v>
                </c:pt>
                <c:pt idx="17194">
                  <c:v>-0.123529411764705</c:v>
                </c:pt>
                <c:pt idx="17195">
                  <c:v>-0.123529411764705</c:v>
                </c:pt>
                <c:pt idx="17196">
                  <c:v>-0.123529411764705</c:v>
                </c:pt>
                <c:pt idx="17197">
                  <c:v>-0.123529411764705</c:v>
                </c:pt>
                <c:pt idx="17198">
                  <c:v>-0.123529411764705</c:v>
                </c:pt>
                <c:pt idx="17199">
                  <c:v>-0.123529411764705</c:v>
                </c:pt>
                <c:pt idx="17200">
                  <c:v>-0.123529411764705</c:v>
                </c:pt>
                <c:pt idx="17201">
                  <c:v>-0.123529411764705</c:v>
                </c:pt>
                <c:pt idx="17202">
                  <c:v>-0.122689075630252</c:v>
                </c:pt>
                <c:pt idx="17203">
                  <c:v>-0.122689075630252</c:v>
                </c:pt>
                <c:pt idx="17204">
                  <c:v>-0.122689075630252</c:v>
                </c:pt>
                <c:pt idx="17205">
                  <c:v>-0.122689075630252</c:v>
                </c:pt>
                <c:pt idx="17206">
                  <c:v>-0.122689075630252</c:v>
                </c:pt>
                <c:pt idx="17207">
                  <c:v>-0.122689075630252</c:v>
                </c:pt>
                <c:pt idx="17208">
                  <c:v>-0.122689075630252</c:v>
                </c:pt>
                <c:pt idx="17209">
                  <c:v>-0.122689075630252</c:v>
                </c:pt>
                <c:pt idx="17210">
                  <c:v>-0.122689075630252</c:v>
                </c:pt>
                <c:pt idx="17211">
                  <c:v>-0.122689075630252</c:v>
                </c:pt>
                <c:pt idx="17212">
                  <c:v>-0.122689075630252</c:v>
                </c:pt>
                <c:pt idx="17213">
                  <c:v>-0.122689075630252</c:v>
                </c:pt>
                <c:pt idx="17214">
                  <c:v>-0.122689075630252</c:v>
                </c:pt>
                <c:pt idx="17215">
                  <c:v>-0.122689075630252</c:v>
                </c:pt>
                <c:pt idx="17216">
                  <c:v>-0.122689075630252</c:v>
                </c:pt>
                <c:pt idx="17217">
                  <c:v>-0.122689075630252</c:v>
                </c:pt>
                <c:pt idx="17218">
                  <c:v>-0.122689075630252</c:v>
                </c:pt>
                <c:pt idx="17219">
                  <c:v>-0.122689075630252</c:v>
                </c:pt>
                <c:pt idx="17220">
                  <c:v>-0.122689075630252</c:v>
                </c:pt>
                <c:pt idx="17221">
                  <c:v>-0.122689075630252</c:v>
                </c:pt>
                <c:pt idx="17222">
                  <c:v>-0.122689075630252</c:v>
                </c:pt>
                <c:pt idx="17223">
                  <c:v>-0.122689075630252</c:v>
                </c:pt>
                <c:pt idx="17224">
                  <c:v>-0.122689075630252</c:v>
                </c:pt>
                <c:pt idx="17225">
                  <c:v>-0.122689075630252</c:v>
                </c:pt>
                <c:pt idx="17226">
                  <c:v>-0.122689075630252</c:v>
                </c:pt>
                <c:pt idx="17227">
                  <c:v>-0.122689075630252</c:v>
                </c:pt>
                <c:pt idx="17228">
                  <c:v>-0.122689075630252</c:v>
                </c:pt>
                <c:pt idx="17229">
                  <c:v>-0.122689075630252</c:v>
                </c:pt>
                <c:pt idx="17230">
                  <c:v>-0.122689075630252</c:v>
                </c:pt>
                <c:pt idx="17231">
                  <c:v>-0.122689075630252</c:v>
                </c:pt>
                <c:pt idx="17232">
                  <c:v>-0.122689075630252</c:v>
                </c:pt>
                <c:pt idx="17233">
                  <c:v>-0.122689075630252</c:v>
                </c:pt>
                <c:pt idx="17234">
                  <c:v>-0.122689075630252</c:v>
                </c:pt>
                <c:pt idx="17235">
                  <c:v>-0.122689075630252</c:v>
                </c:pt>
                <c:pt idx="17236">
                  <c:v>-0.122689075630252</c:v>
                </c:pt>
                <c:pt idx="17237">
                  <c:v>-0.122689075630252</c:v>
                </c:pt>
                <c:pt idx="17238">
                  <c:v>-0.122689075630252</c:v>
                </c:pt>
                <c:pt idx="17239">
                  <c:v>-0.122689075630252</c:v>
                </c:pt>
                <c:pt idx="17240">
                  <c:v>-0.122689075630252</c:v>
                </c:pt>
                <c:pt idx="17241">
                  <c:v>-0.123529411764705</c:v>
                </c:pt>
                <c:pt idx="17242">
                  <c:v>-0.123529411764705</c:v>
                </c:pt>
                <c:pt idx="17243">
                  <c:v>-0.123529411764705</c:v>
                </c:pt>
                <c:pt idx="17244">
                  <c:v>-0.123529411764705</c:v>
                </c:pt>
                <c:pt idx="17245">
                  <c:v>-0.124369747899159</c:v>
                </c:pt>
                <c:pt idx="17246">
                  <c:v>-0.124369747899159</c:v>
                </c:pt>
                <c:pt idx="17247">
                  <c:v>-0.124369747899159</c:v>
                </c:pt>
                <c:pt idx="17248">
                  <c:v>-0.124369747899159</c:v>
                </c:pt>
                <c:pt idx="17249">
                  <c:v>-0.124369747899159</c:v>
                </c:pt>
                <c:pt idx="17250">
                  <c:v>-0.124369747899159</c:v>
                </c:pt>
                <c:pt idx="17251">
                  <c:v>-0.124369747899159</c:v>
                </c:pt>
                <c:pt idx="17252">
                  <c:v>-0.124369747899159</c:v>
                </c:pt>
                <c:pt idx="17253">
                  <c:v>-0.124369747899159</c:v>
                </c:pt>
                <c:pt idx="17254">
                  <c:v>-0.124369747899159</c:v>
                </c:pt>
                <c:pt idx="17255">
                  <c:v>-0.124369747899159</c:v>
                </c:pt>
                <c:pt idx="17256">
                  <c:v>-0.124369747899159</c:v>
                </c:pt>
                <c:pt idx="17257">
                  <c:v>-0.124369747899159</c:v>
                </c:pt>
                <c:pt idx="17258">
                  <c:v>-0.124369747899159</c:v>
                </c:pt>
                <c:pt idx="17259">
                  <c:v>-0.124369747899159</c:v>
                </c:pt>
                <c:pt idx="17260">
                  <c:v>-0.124369747899159</c:v>
                </c:pt>
                <c:pt idx="17261">
                  <c:v>-0.124369747899159</c:v>
                </c:pt>
                <c:pt idx="17262">
                  <c:v>-0.124369747899159</c:v>
                </c:pt>
                <c:pt idx="17263">
                  <c:v>-0.124369747899159</c:v>
                </c:pt>
                <c:pt idx="17264">
                  <c:v>-0.124369747899159</c:v>
                </c:pt>
                <c:pt idx="17265">
                  <c:v>-0.124369747899159</c:v>
                </c:pt>
                <c:pt idx="17266">
                  <c:v>-0.124369747899159</c:v>
                </c:pt>
                <c:pt idx="17267">
                  <c:v>-0.123529411764705</c:v>
                </c:pt>
                <c:pt idx="17268">
                  <c:v>-0.123529411764705</c:v>
                </c:pt>
                <c:pt idx="17269">
                  <c:v>-0.123529411764705</c:v>
                </c:pt>
                <c:pt idx="17270">
                  <c:v>-0.123529411764705</c:v>
                </c:pt>
                <c:pt idx="17271">
                  <c:v>-0.124369747899159</c:v>
                </c:pt>
                <c:pt idx="17272">
                  <c:v>-0.124369747899159</c:v>
                </c:pt>
                <c:pt idx="17273">
                  <c:v>-0.124369747899159</c:v>
                </c:pt>
                <c:pt idx="17274">
                  <c:v>-0.124369747899159</c:v>
                </c:pt>
                <c:pt idx="17275">
                  <c:v>-0.124369747899159</c:v>
                </c:pt>
                <c:pt idx="17276">
                  <c:v>-0.124369747899159</c:v>
                </c:pt>
                <c:pt idx="17277">
                  <c:v>-0.124369747899159</c:v>
                </c:pt>
                <c:pt idx="17278">
                  <c:v>-0.124369747899159</c:v>
                </c:pt>
                <c:pt idx="17279">
                  <c:v>-0.124369747899159</c:v>
                </c:pt>
                <c:pt idx="17280">
                  <c:v>-0.124369747899159</c:v>
                </c:pt>
                <c:pt idx="17281">
                  <c:v>-0.124369747899159</c:v>
                </c:pt>
                <c:pt idx="17282">
                  <c:v>-0.124369747899159</c:v>
                </c:pt>
                <c:pt idx="17283">
                  <c:v>-0.124369747899159</c:v>
                </c:pt>
                <c:pt idx="17284">
                  <c:v>-0.124369747899159</c:v>
                </c:pt>
                <c:pt idx="17285">
                  <c:v>-0.124369747899159</c:v>
                </c:pt>
                <c:pt idx="17286">
                  <c:v>-0.124369747899159</c:v>
                </c:pt>
                <c:pt idx="17287">
                  <c:v>-0.124369747899159</c:v>
                </c:pt>
                <c:pt idx="17288">
                  <c:v>-0.124369747899159</c:v>
                </c:pt>
                <c:pt idx="17289">
                  <c:v>-0.124369747899159</c:v>
                </c:pt>
                <c:pt idx="17290">
                  <c:v>-0.124369747899159</c:v>
                </c:pt>
                <c:pt idx="17291">
                  <c:v>-0.124369747899159</c:v>
                </c:pt>
                <c:pt idx="17292">
                  <c:v>-0.124369747899159</c:v>
                </c:pt>
                <c:pt idx="17293">
                  <c:v>-0.124369747899159</c:v>
                </c:pt>
                <c:pt idx="17294">
                  <c:v>-0.124369747899159</c:v>
                </c:pt>
                <c:pt idx="17295">
                  <c:v>-0.124369747899159</c:v>
                </c:pt>
                <c:pt idx="17296">
                  <c:v>-0.125210084033613</c:v>
                </c:pt>
                <c:pt idx="17297">
                  <c:v>-0.125210084033613</c:v>
                </c:pt>
                <c:pt idx="17298">
                  <c:v>-0.125210084033613</c:v>
                </c:pt>
                <c:pt idx="17299">
                  <c:v>-0.125210084033613</c:v>
                </c:pt>
                <c:pt idx="17300">
                  <c:v>-0.125210084033613</c:v>
                </c:pt>
                <c:pt idx="17301">
                  <c:v>-0.125210084033613</c:v>
                </c:pt>
                <c:pt idx="17302">
                  <c:v>-0.125210084033613</c:v>
                </c:pt>
                <c:pt idx="17303">
                  <c:v>-0.125210084033613</c:v>
                </c:pt>
                <c:pt idx="17304">
                  <c:v>-0.125210084033613</c:v>
                </c:pt>
                <c:pt idx="17305">
                  <c:v>-0.125210084033613</c:v>
                </c:pt>
                <c:pt idx="17306">
                  <c:v>-0.125210084033613</c:v>
                </c:pt>
                <c:pt idx="17307">
                  <c:v>-0.125210084033613</c:v>
                </c:pt>
                <c:pt idx="17308">
                  <c:v>-0.125210084033613</c:v>
                </c:pt>
                <c:pt idx="17309">
                  <c:v>-0.125210084033613</c:v>
                </c:pt>
                <c:pt idx="17310">
                  <c:v>-0.126050420168067</c:v>
                </c:pt>
                <c:pt idx="17311">
                  <c:v>-0.126050420168067</c:v>
                </c:pt>
                <c:pt idx="17312">
                  <c:v>-0.126050420168067</c:v>
                </c:pt>
                <c:pt idx="17313">
                  <c:v>-0.126050420168067</c:v>
                </c:pt>
                <c:pt idx="17314">
                  <c:v>-0.125210084033613</c:v>
                </c:pt>
                <c:pt idx="17315">
                  <c:v>-0.125210084033613</c:v>
                </c:pt>
                <c:pt idx="17316">
                  <c:v>-0.125210084033613</c:v>
                </c:pt>
                <c:pt idx="17317">
                  <c:v>-0.125210084033613</c:v>
                </c:pt>
                <c:pt idx="17318">
                  <c:v>-0.125210084033613</c:v>
                </c:pt>
                <c:pt idx="17319">
                  <c:v>-0.125210084033613</c:v>
                </c:pt>
                <c:pt idx="17320">
                  <c:v>-0.125210084033613</c:v>
                </c:pt>
                <c:pt idx="17321">
                  <c:v>-0.125210084033613</c:v>
                </c:pt>
                <c:pt idx="17322">
                  <c:v>-0.125210084033613</c:v>
                </c:pt>
                <c:pt idx="17323">
                  <c:v>-0.124369747899159</c:v>
                </c:pt>
                <c:pt idx="17324">
                  <c:v>-0.124369747899159</c:v>
                </c:pt>
                <c:pt idx="17325">
                  <c:v>-0.124369747899159</c:v>
                </c:pt>
                <c:pt idx="17326">
                  <c:v>-0.124369747899159</c:v>
                </c:pt>
                <c:pt idx="17327">
                  <c:v>-0.124369747899159</c:v>
                </c:pt>
                <c:pt idx="17328">
                  <c:v>-0.124369747899159</c:v>
                </c:pt>
                <c:pt idx="17329">
                  <c:v>-0.124369747899159</c:v>
                </c:pt>
                <c:pt idx="17330">
                  <c:v>-0.124369747899159</c:v>
                </c:pt>
                <c:pt idx="17331">
                  <c:v>-0.124369747899159</c:v>
                </c:pt>
                <c:pt idx="17332">
                  <c:v>-0.124369747899159</c:v>
                </c:pt>
                <c:pt idx="17333">
                  <c:v>-0.124369747899159</c:v>
                </c:pt>
                <c:pt idx="17334">
                  <c:v>-0.124369747899159</c:v>
                </c:pt>
                <c:pt idx="17335">
                  <c:v>-0.124369747899159</c:v>
                </c:pt>
                <c:pt idx="17336">
                  <c:v>-0.124369747899159</c:v>
                </c:pt>
                <c:pt idx="17337">
                  <c:v>-0.124369747899159</c:v>
                </c:pt>
                <c:pt idx="17338">
                  <c:v>-0.124369747899159</c:v>
                </c:pt>
                <c:pt idx="17339">
                  <c:v>-0.124369747899159</c:v>
                </c:pt>
                <c:pt idx="17340">
                  <c:v>-0.124369747899159</c:v>
                </c:pt>
                <c:pt idx="17341">
                  <c:v>-0.124369747899159</c:v>
                </c:pt>
                <c:pt idx="17342">
                  <c:v>-0.124369747899159</c:v>
                </c:pt>
                <c:pt idx="17343">
                  <c:v>-0.124369747899159</c:v>
                </c:pt>
                <c:pt idx="17344">
                  <c:v>-0.124369747899159</c:v>
                </c:pt>
                <c:pt idx="17345">
                  <c:v>-0.124369747899159</c:v>
                </c:pt>
                <c:pt idx="17346">
                  <c:v>-0.124369747899159</c:v>
                </c:pt>
                <c:pt idx="17347">
                  <c:v>-0.124369747899159</c:v>
                </c:pt>
                <c:pt idx="17348">
                  <c:v>-0.124369747899159</c:v>
                </c:pt>
                <c:pt idx="17349">
                  <c:v>-0.124369747899159</c:v>
                </c:pt>
                <c:pt idx="17350">
                  <c:v>-0.124369747899159</c:v>
                </c:pt>
                <c:pt idx="17351">
                  <c:v>-0.124369747899159</c:v>
                </c:pt>
                <c:pt idx="17352">
                  <c:v>-0.124369747899159</c:v>
                </c:pt>
                <c:pt idx="17353">
                  <c:v>-0.124369747899159</c:v>
                </c:pt>
                <c:pt idx="17354">
                  <c:v>-0.124369747899159</c:v>
                </c:pt>
                <c:pt idx="17355">
                  <c:v>-0.124369747899159</c:v>
                </c:pt>
                <c:pt idx="17356">
                  <c:v>-0.124369747899159</c:v>
                </c:pt>
                <c:pt idx="17357">
                  <c:v>-0.124369747899159</c:v>
                </c:pt>
                <c:pt idx="17358">
                  <c:v>-0.124369747899159</c:v>
                </c:pt>
                <c:pt idx="17359">
                  <c:v>-0.124369747899159</c:v>
                </c:pt>
                <c:pt idx="17360">
                  <c:v>-0.124369747899159</c:v>
                </c:pt>
                <c:pt idx="17361">
                  <c:v>-0.124369747899159</c:v>
                </c:pt>
                <c:pt idx="17362">
                  <c:v>-0.124369747899159</c:v>
                </c:pt>
                <c:pt idx="17363">
                  <c:v>-0.124369747899159</c:v>
                </c:pt>
                <c:pt idx="17364">
                  <c:v>-0.124369747899159</c:v>
                </c:pt>
                <c:pt idx="17365">
                  <c:v>-0.124369747899159</c:v>
                </c:pt>
                <c:pt idx="17366">
                  <c:v>-0.124369747899159</c:v>
                </c:pt>
                <c:pt idx="17367">
                  <c:v>-0.124369747899159</c:v>
                </c:pt>
                <c:pt idx="17368">
                  <c:v>-0.124369747899159</c:v>
                </c:pt>
                <c:pt idx="17369">
                  <c:v>-0.124369747899159</c:v>
                </c:pt>
                <c:pt idx="17370">
                  <c:v>-0.124369747899159</c:v>
                </c:pt>
                <c:pt idx="17371">
                  <c:v>-0.124369747899159</c:v>
                </c:pt>
                <c:pt idx="17372">
                  <c:v>-0.124369747899159</c:v>
                </c:pt>
                <c:pt idx="17373">
                  <c:v>-0.124369747899159</c:v>
                </c:pt>
                <c:pt idx="17374">
                  <c:v>-0.124369747899159</c:v>
                </c:pt>
                <c:pt idx="17375">
                  <c:v>-0.124369747899159</c:v>
                </c:pt>
                <c:pt idx="17376">
                  <c:v>-0.124369747899159</c:v>
                </c:pt>
                <c:pt idx="17377">
                  <c:v>-0.124369747899159</c:v>
                </c:pt>
                <c:pt idx="17378">
                  <c:v>-0.124369747899159</c:v>
                </c:pt>
                <c:pt idx="17379">
                  <c:v>-0.124369747899159</c:v>
                </c:pt>
                <c:pt idx="17380">
                  <c:v>-0.124369747899159</c:v>
                </c:pt>
                <c:pt idx="17381">
                  <c:v>-0.124369747899159</c:v>
                </c:pt>
                <c:pt idx="17382">
                  <c:v>-0.124369747899159</c:v>
                </c:pt>
                <c:pt idx="17383">
                  <c:v>-0.124369747899159</c:v>
                </c:pt>
                <c:pt idx="17384">
                  <c:v>-0.124369747899159</c:v>
                </c:pt>
                <c:pt idx="17385">
                  <c:v>-0.124369747899159</c:v>
                </c:pt>
                <c:pt idx="17386">
                  <c:v>-0.124369747899159</c:v>
                </c:pt>
                <c:pt idx="17387">
                  <c:v>-0.124369747899159</c:v>
                </c:pt>
                <c:pt idx="17388">
                  <c:v>-0.124369747899159</c:v>
                </c:pt>
                <c:pt idx="17389">
                  <c:v>-0.124369747899159</c:v>
                </c:pt>
                <c:pt idx="17390">
                  <c:v>-0.124369747899159</c:v>
                </c:pt>
                <c:pt idx="17391">
                  <c:v>-0.124369747899159</c:v>
                </c:pt>
                <c:pt idx="17392">
                  <c:v>-0.124369747899159</c:v>
                </c:pt>
                <c:pt idx="17393">
                  <c:v>-0.124369747899159</c:v>
                </c:pt>
                <c:pt idx="17394">
                  <c:v>-0.124369747899159</c:v>
                </c:pt>
                <c:pt idx="17395">
                  <c:v>-0.124369747899159</c:v>
                </c:pt>
                <c:pt idx="17396">
                  <c:v>-0.124369747899159</c:v>
                </c:pt>
                <c:pt idx="17397">
                  <c:v>-0.124369747899159</c:v>
                </c:pt>
                <c:pt idx="17398">
                  <c:v>-0.124369747899159</c:v>
                </c:pt>
                <c:pt idx="17399">
                  <c:v>-0.124369747899159</c:v>
                </c:pt>
                <c:pt idx="17400">
                  <c:v>-0.124369747899159</c:v>
                </c:pt>
                <c:pt idx="17401">
                  <c:v>-0.124369747899159</c:v>
                </c:pt>
                <c:pt idx="17402">
                  <c:v>-0.124369747899159</c:v>
                </c:pt>
                <c:pt idx="17403">
                  <c:v>-0.124369747899159</c:v>
                </c:pt>
                <c:pt idx="17404">
                  <c:v>-0.124369747899159</c:v>
                </c:pt>
                <c:pt idx="17405">
                  <c:v>-0.124369747899159</c:v>
                </c:pt>
                <c:pt idx="17406">
                  <c:v>-0.124369747899159</c:v>
                </c:pt>
                <c:pt idx="17407">
                  <c:v>-0.124369747899159</c:v>
                </c:pt>
                <c:pt idx="17408">
                  <c:v>-0.124369747899159</c:v>
                </c:pt>
                <c:pt idx="17409">
                  <c:v>-0.124369747899159</c:v>
                </c:pt>
                <c:pt idx="17410">
                  <c:v>-0.124369747899159</c:v>
                </c:pt>
                <c:pt idx="17411">
                  <c:v>-0.124369747899159</c:v>
                </c:pt>
                <c:pt idx="17412">
                  <c:v>-0.124369747899159</c:v>
                </c:pt>
                <c:pt idx="17413">
                  <c:v>-0.124369747899159</c:v>
                </c:pt>
                <c:pt idx="17414">
                  <c:v>-0.124369747899159</c:v>
                </c:pt>
                <c:pt idx="17415">
                  <c:v>-0.124369747899159</c:v>
                </c:pt>
                <c:pt idx="17416">
                  <c:v>-0.124369747899159</c:v>
                </c:pt>
                <c:pt idx="17417">
                  <c:v>-0.124369747899159</c:v>
                </c:pt>
                <c:pt idx="17418">
                  <c:v>-0.124369747899159</c:v>
                </c:pt>
                <c:pt idx="17419">
                  <c:v>-0.124369747899159</c:v>
                </c:pt>
                <c:pt idx="17420">
                  <c:v>-0.124369747899159</c:v>
                </c:pt>
                <c:pt idx="17421">
                  <c:v>-0.124369747899159</c:v>
                </c:pt>
                <c:pt idx="17422">
                  <c:v>-0.124369747899159</c:v>
                </c:pt>
                <c:pt idx="17423">
                  <c:v>-0.124369747899159</c:v>
                </c:pt>
                <c:pt idx="17424">
                  <c:v>-0.124369747899159</c:v>
                </c:pt>
                <c:pt idx="17425">
                  <c:v>-0.124369747899159</c:v>
                </c:pt>
                <c:pt idx="17426">
                  <c:v>-0.124369747899159</c:v>
                </c:pt>
                <c:pt idx="17427">
                  <c:v>-0.124369747899159</c:v>
                </c:pt>
                <c:pt idx="17428">
                  <c:v>-0.124369747899159</c:v>
                </c:pt>
                <c:pt idx="17429">
                  <c:v>-0.124369747899159</c:v>
                </c:pt>
                <c:pt idx="17430">
                  <c:v>-0.124369747899159</c:v>
                </c:pt>
                <c:pt idx="17431">
                  <c:v>-0.124369747899159</c:v>
                </c:pt>
                <c:pt idx="17432">
                  <c:v>-0.124369747899159</c:v>
                </c:pt>
                <c:pt idx="17433">
                  <c:v>-0.124369747899159</c:v>
                </c:pt>
                <c:pt idx="17434">
                  <c:v>-0.124369747899159</c:v>
                </c:pt>
                <c:pt idx="17435">
                  <c:v>-0.124369747899159</c:v>
                </c:pt>
                <c:pt idx="17436">
                  <c:v>-0.124369747899159</c:v>
                </c:pt>
                <c:pt idx="17437">
                  <c:v>-0.124369747899159</c:v>
                </c:pt>
                <c:pt idx="17438">
                  <c:v>-0.124369747899159</c:v>
                </c:pt>
                <c:pt idx="17439">
                  <c:v>-0.124369747899159</c:v>
                </c:pt>
                <c:pt idx="17440">
                  <c:v>-0.124369747899159</c:v>
                </c:pt>
                <c:pt idx="17441">
                  <c:v>-0.124369747899159</c:v>
                </c:pt>
                <c:pt idx="17442">
                  <c:v>-0.124369747899159</c:v>
                </c:pt>
                <c:pt idx="17443">
                  <c:v>-0.124369747899159</c:v>
                </c:pt>
                <c:pt idx="17444">
                  <c:v>-0.124369747899159</c:v>
                </c:pt>
                <c:pt idx="17445">
                  <c:v>-0.124369747899159</c:v>
                </c:pt>
                <c:pt idx="17446">
                  <c:v>-0.124369747899159</c:v>
                </c:pt>
                <c:pt idx="17447">
                  <c:v>-0.124369747899159</c:v>
                </c:pt>
                <c:pt idx="17448">
                  <c:v>-0.124369747899159</c:v>
                </c:pt>
                <c:pt idx="17449">
                  <c:v>-0.124369747899159</c:v>
                </c:pt>
                <c:pt idx="17450">
                  <c:v>-0.124369747899159</c:v>
                </c:pt>
                <c:pt idx="17451">
                  <c:v>-0.124369747899159</c:v>
                </c:pt>
                <c:pt idx="17452">
                  <c:v>-0.124369747899159</c:v>
                </c:pt>
                <c:pt idx="17453">
                  <c:v>-0.124369747899159</c:v>
                </c:pt>
                <c:pt idx="17454">
                  <c:v>-0.124369747899159</c:v>
                </c:pt>
                <c:pt idx="17455">
                  <c:v>-0.124369747899159</c:v>
                </c:pt>
                <c:pt idx="17456">
                  <c:v>-0.124369747899159</c:v>
                </c:pt>
                <c:pt idx="17457">
                  <c:v>-0.124369747899159</c:v>
                </c:pt>
                <c:pt idx="17458">
                  <c:v>-0.124369747899159</c:v>
                </c:pt>
                <c:pt idx="17459">
                  <c:v>-0.124369747899159</c:v>
                </c:pt>
                <c:pt idx="17460">
                  <c:v>-0.124369747899159</c:v>
                </c:pt>
                <c:pt idx="17461">
                  <c:v>-0.124369747899159</c:v>
                </c:pt>
                <c:pt idx="17462">
                  <c:v>-0.124369747899159</c:v>
                </c:pt>
                <c:pt idx="17463">
                  <c:v>-0.124369747899159</c:v>
                </c:pt>
                <c:pt idx="17464">
                  <c:v>-0.124369747899159</c:v>
                </c:pt>
                <c:pt idx="17465">
                  <c:v>-0.124369747899159</c:v>
                </c:pt>
                <c:pt idx="17466">
                  <c:v>-0.124369747899159</c:v>
                </c:pt>
                <c:pt idx="17467">
                  <c:v>-0.124369747899159</c:v>
                </c:pt>
                <c:pt idx="17468">
                  <c:v>-0.124369747899159</c:v>
                </c:pt>
                <c:pt idx="17469">
                  <c:v>-0.123529411764705</c:v>
                </c:pt>
                <c:pt idx="17470">
                  <c:v>-0.123529411764705</c:v>
                </c:pt>
                <c:pt idx="17471">
                  <c:v>-0.123529411764705</c:v>
                </c:pt>
                <c:pt idx="17472">
                  <c:v>-0.123529411764705</c:v>
                </c:pt>
                <c:pt idx="17473">
                  <c:v>-0.123529411764705</c:v>
                </c:pt>
                <c:pt idx="17474">
                  <c:v>-0.123529411764705</c:v>
                </c:pt>
                <c:pt idx="17475">
                  <c:v>-0.123529411764705</c:v>
                </c:pt>
                <c:pt idx="17476">
                  <c:v>-0.123529411764705</c:v>
                </c:pt>
                <c:pt idx="17477">
                  <c:v>-0.123529411764705</c:v>
                </c:pt>
                <c:pt idx="17478">
                  <c:v>-0.123529411764705</c:v>
                </c:pt>
                <c:pt idx="17479">
                  <c:v>-0.124369747899159</c:v>
                </c:pt>
                <c:pt idx="17480">
                  <c:v>-0.124369747899159</c:v>
                </c:pt>
                <c:pt idx="17481">
                  <c:v>-0.124369747899159</c:v>
                </c:pt>
                <c:pt idx="17482">
                  <c:v>-0.124369747899159</c:v>
                </c:pt>
                <c:pt idx="17483">
                  <c:v>-0.124369747899159</c:v>
                </c:pt>
                <c:pt idx="17484">
                  <c:v>-0.124369747899159</c:v>
                </c:pt>
                <c:pt idx="17485">
                  <c:v>-0.124369747899159</c:v>
                </c:pt>
                <c:pt idx="17486">
                  <c:v>-0.124369747899159</c:v>
                </c:pt>
                <c:pt idx="17487">
                  <c:v>-0.124369747899159</c:v>
                </c:pt>
                <c:pt idx="17488">
                  <c:v>-0.124369747899159</c:v>
                </c:pt>
                <c:pt idx="17489">
                  <c:v>-0.124369747899159</c:v>
                </c:pt>
                <c:pt idx="17490">
                  <c:v>-0.124369747899159</c:v>
                </c:pt>
                <c:pt idx="17491">
                  <c:v>-0.125210084033613</c:v>
                </c:pt>
                <c:pt idx="17492">
                  <c:v>-0.125210084033613</c:v>
                </c:pt>
                <c:pt idx="17493">
                  <c:v>-0.125210084033613</c:v>
                </c:pt>
                <c:pt idx="17494">
                  <c:v>-0.125210084033613</c:v>
                </c:pt>
                <c:pt idx="17495">
                  <c:v>-0.125210084033613</c:v>
                </c:pt>
                <c:pt idx="17496">
                  <c:v>-0.125210084033613</c:v>
                </c:pt>
                <c:pt idx="17497">
                  <c:v>-0.125210084033613</c:v>
                </c:pt>
                <c:pt idx="17498">
                  <c:v>-0.125210084033613</c:v>
                </c:pt>
                <c:pt idx="17499">
                  <c:v>-0.125210084033613</c:v>
                </c:pt>
                <c:pt idx="17500">
                  <c:v>-0.125210084033613</c:v>
                </c:pt>
                <c:pt idx="17501">
                  <c:v>-0.125210084033613</c:v>
                </c:pt>
                <c:pt idx="17502">
                  <c:v>-0.125210084033613</c:v>
                </c:pt>
                <c:pt idx="17503">
                  <c:v>-0.125210084033613</c:v>
                </c:pt>
                <c:pt idx="17504">
                  <c:v>-0.125210084033613</c:v>
                </c:pt>
                <c:pt idx="17505">
                  <c:v>-0.125210084033613</c:v>
                </c:pt>
                <c:pt idx="17506">
                  <c:v>-0.125210084033613</c:v>
                </c:pt>
                <c:pt idx="17507">
                  <c:v>-0.125210084033613</c:v>
                </c:pt>
                <c:pt idx="17508">
                  <c:v>-0.125210084033613</c:v>
                </c:pt>
                <c:pt idx="17509">
                  <c:v>-0.125210084033613</c:v>
                </c:pt>
                <c:pt idx="17510">
                  <c:v>-0.125210084033613</c:v>
                </c:pt>
                <c:pt idx="17511">
                  <c:v>-0.125210084033613</c:v>
                </c:pt>
                <c:pt idx="17512">
                  <c:v>-0.125210084033613</c:v>
                </c:pt>
                <c:pt idx="17513">
                  <c:v>-0.126050420168067</c:v>
                </c:pt>
                <c:pt idx="17514">
                  <c:v>-0.126050420168067</c:v>
                </c:pt>
                <c:pt idx="17515">
                  <c:v>-0.125210084033613</c:v>
                </c:pt>
                <c:pt idx="17516">
                  <c:v>-0.125210084033613</c:v>
                </c:pt>
                <c:pt idx="17517">
                  <c:v>-0.125210084033613</c:v>
                </c:pt>
                <c:pt idx="17518">
                  <c:v>-0.124369747899159</c:v>
                </c:pt>
                <c:pt idx="17519">
                  <c:v>-0.124369747899159</c:v>
                </c:pt>
                <c:pt idx="17520">
                  <c:v>-0.124369747899159</c:v>
                </c:pt>
                <c:pt idx="17521">
                  <c:v>-0.124369747899159</c:v>
                </c:pt>
                <c:pt idx="17522">
                  <c:v>-0.124369747899159</c:v>
                </c:pt>
                <c:pt idx="17523">
                  <c:v>-0.124369747899159</c:v>
                </c:pt>
                <c:pt idx="17524">
                  <c:v>-0.123529411764705</c:v>
                </c:pt>
                <c:pt idx="17525">
                  <c:v>-0.123529411764705</c:v>
                </c:pt>
                <c:pt idx="17526">
                  <c:v>-0.123529411764705</c:v>
                </c:pt>
                <c:pt idx="17527">
                  <c:v>-0.123529411764705</c:v>
                </c:pt>
                <c:pt idx="17528">
                  <c:v>-0.123529411764705</c:v>
                </c:pt>
                <c:pt idx="17529">
                  <c:v>-0.123529411764705</c:v>
                </c:pt>
                <c:pt idx="17530">
                  <c:v>-0.123529411764705</c:v>
                </c:pt>
                <c:pt idx="17531">
                  <c:v>-0.123529411764705</c:v>
                </c:pt>
                <c:pt idx="17532">
                  <c:v>-0.123529411764705</c:v>
                </c:pt>
                <c:pt idx="17533">
                  <c:v>-0.123529411764705</c:v>
                </c:pt>
                <c:pt idx="17534">
                  <c:v>-0.123529411764705</c:v>
                </c:pt>
                <c:pt idx="17535">
                  <c:v>-0.122689075630252</c:v>
                </c:pt>
                <c:pt idx="17536">
                  <c:v>-0.122689075630252</c:v>
                </c:pt>
                <c:pt idx="17537">
                  <c:v>-0.122689075630252</c:v>
                </c:pt>
                <c:pt idx="17538">
                  <c:v>-0.122689075630252</c:v>
                </c:pt>
                <c:pt idx="17539">
                  <c:v>-0.122689075630252</c:v>
                </c:pt>
                <c:pt idx="17540">
                  <c:v>-0.122689075630252</c:v>
                </c:pt>
                <c:pt idx="17541">
                  <c:v>-0.122689075630252</c:v>
                </c:pt>
                <c:pt idx="17542">
                  <c:v>-0.122689075630252</c:v>
                </c:pt>
                <c:pt idx="17543">
                  <c:v>-0.121848739495798</c:v>
                </c:pt>
                <c:pt idx="17544">
                  <c:v>-0.121848739495798</c:v>
                </c:pt>
                <c:pt idx="17545">
                  <c:v>-0.121848739495798</c:v>
                </c:pt>
                <c:pt idx="17546">
                  <c:v>-0.121848739495798</c:v>
                </c:pt>
                <c:pt idx="17547">
                  <c:v>-0.121848739495798</c:v>
                </c:pt>
                <c:pt idx="17548">
                  <c:v>-0.122689075630252</c:v>
                </c:pt>
                <c:pt idx="17549">
                  <c:v>-0.122689075630252</c:v>
                </c:pt>
                <c:pt idx="17550">
                  <c:v>-0.122689075630252</c:v>
                </c:pt>
                <c:pt idx="17551">
                  <c:v>-0.122689075630252</c:v>
                </c:pt>
                <c:pt idx="17552">
                  <c:v>-0.122689075630252</c:v>
                </c:pt>
                <c:pt idx="17553">
                  <c:v>-0.122689075630252</c:v>
                </c:pt>
                <c:pt idx="17554">
                  <c:v>-0.122689075630252</c:v>
                </c:pt>
                <c:pt idx="17555">
                  <c:v>-0.122689075630252</c:v>
                </c:pt>
                <c:pt idx="17556">
                  <c:v>-0.122689075630252</c:v>
                </c:pt>
                <c:pt idx="17557">
                  <c:v>-0.122689075630252</c:v>
                </c:pt>
                <c:pt idx="17558">
                  <c:v>-0.122689075630252</c:v>
                </c:pt>
                <c:pt idx="17559">
                  <c:v>-0.122689075630252</c:v>
                </c:pt>
                <c:pt idx="17560">
                  <c:v>-0.122689075630252</c:v>
                </c:pt>
                <c:pt idx="17561">
                  <c:v>-0.122689075630252</c:v>
                </c:pt>
                <c:pt idx="17562">
                  <c:v>-0.122689075630252</c:v>
                </c:pt>
                <c:pt idx="17563">
                  <c:v>-0.122689075630252</c:v>
                </c:pt>
                <c:pt idx="17564">
                  <c:v>-0.122689075630252</c:v>
                </c:pt>
                <c:pt idx="17565">
                  <c:v>-0.122689075630252</c:v>
                </c:pt>
                <c:pt idx="17566">
                  <c:v>-0.122689075630252</c:v>
                </c:pt>
                <c:pt idx="17567">
                  <c:v>-0.122689075630252</c:v>
                </c:pt>
                <c:pt idx="17568">
                  <c:v>-0.122689075630252</c:v>
                </c:pt>
                <c:pt idx="17569">
                  <c:v>-0.122689075630252</c:v>
                </c:pt>
                <c:pt idx="17570">
                  <c:v>-0.122689075630252</c:v>
                </c:pt>
                <c:pt idx="17571">
                  <c:v>-0.122689075630252</c:v>
                </c:pt>
                <c:pt idx="17572">
                  <c:v>-0.122689075630252</c:v>
                </c:pt>
                <c:pt idx="17573">
                  <c:v>-0.122689075630252</c:v>
                </c:pt>
                <c:pt idx="17574">
                  <c:v>-0.122689075630252</c:v>
                </c:pt>
                <c:pt idx="17575">
                  <c:v>-0.122689075630252</c:v>
                </c:pt>
                <c:pt idx="17576">
                  <c:v>-0.121848739495798</c:v>
                </c:pt>
                <c:pt idx="17577">
                  <c:v>-0.121848739495798</c:v>
                </c:pt>
                <c:pt idx="17578">
                  <c:v>-0.121848739495798</c:v>
                </c:pt>
                <c:pt idx="17579">
                  <c:v>-0.121848739495798</c:v>
                </c:pt>
                <c:pt idx="17580">
                  <c:v>-0.121848739495798</c:v>
                </c:pt>
                <c:pt idx="17581">
                  <c:v>-0.121848739495798</c:v>
                </c:pt>
                <c:pt idx="17582">
                  <c:v>-0.121848739495798</c:v>
                </c:pt>
                <c:pt idx="17583">
                  <c:v>-0.121848739495798</c:v>
                </c:pt>
                <c:pt idx="17584">
                  <c:v>-0.121848739495798</c:v>
                </c:pt>
                <c:pt idx="17585">
                  <c:v>-0.121848739495798</c:v>
                </c:pt>
                <c:pt idx="17586">
                  <c:v>-0.121848739495798</c:v>
                </c:pt>
                <c:pt idx="17587">
                  <c:v>-0.121848739495798</c:v>
                </c:pt>
                <c:pt idx="17588">
                  <c:v>-0.121848739495798</c:v>
                </c:pt>
                <c:pt idx="17589">
                  <c:v>-0.121848739495798</c:v>
                </c:pt>
                <c:pt idx="17590">
                  <c:v>-0.121848739495798</c:v>
                </c:pt>
                <c:pt idx="17591">
                  <c:v>-0.121848739495798</c:v>
                </c:pt>
                <c:pt idx="17592">
                  <c:v>-0.122689075630252</c:v>
                </c:pt>
                <c:pt idx="17593">
                  <c:v>-0.122689075630252</c:v>
                </c:pt>
                <c:pt idx="17594">
                  <c:v>-0.122689075630252</c:v>
                </c:pt>
                <c:pt idx="17595">
                  <c:v>-0.122689075630252</c:v>
                </c:pt>
                <c:pt idx="17596">
                  <c:v>-0.122689075630252</c:v>
                </c:pt>
                <c:pt idx="17597">
                  <c:v>-0.122689075630252</c:v>
                </c:pt>
                <c:pt idx="17598">
                  <c:v>-0.122689075630252</c:v>
                </c:pt>
                <c:pt idx="17599">
                  <c:v>-0.122689075630252</c:v>
                </c:pt>
                <c:pt idx="17600">
                  <c:v>-0.122689075630252</c:v>
                </c:pt>
                <c:pt idx="17601">
                  <c:v>-0.122689075630252</c:v>
                </c:pt>
                <c:pt idx="17602">
                  <c:v>-0.122689075630252</c:v>
                </c:pt>
                <c:pt idx="17603">
                  <c:v>-0.122689075630252</c:v>
                </c:pt>
                <c:pt idx="17604">
                  <c:v>-0.122689075630252</c:v>
                </c:pt>
                <c:pt idx="17605">
                  <c:v>-0.122689075630252</c:v>
                </c:pt>
                <c:pt idx="17606">
                  <c:v>-0.122689075630252</c:v>
                </c:pt>
                <c:pt idx="17607">
                  <c:v>-0.122689075630252</c:v>
                </c:pt>
                <c:pt idx="17608">
                  <c:v>-0.122689075630252</c:v>
                </c:pt>
                <c:pt idx="17609">
                  <c:v>-0.122689075630252</c:v>
                </c:pt>
                <c:pt idx="17610">
                  <c:v>-0.122689075630252</c:v>
                </c:pt>
                <c:pt idx="17611">
                  <c:v>-0.122689075630252</c:v>
                </c:pt>
                <c:pt idx="17612">
                  <c:v>-0.122689075630252</c:v>
                </c:pt>
                <c:pt idx="17613">
                  <c:v>-0.122689075630252</c:v>
                </c:pt>
                <c:pt idx="17614">
                  <c:v>-0.122689075630252</c:v>
                </c:pt>
                <c:pt idx="17615">
                  <c:v>-0.122689075630252</c:v>
                </c:pt>
                <c:pt idx="17616">
                  <c:v>-0.122689075630252</c:v>
                </c:pt>
                <c:pt idx="17617">
                  <c:v>-0.121848739495798</c:v>
                </c:pt>
                <c:pt idx="17618">
                  <c:v>-0.121848739495798</c:v>
                </c:pt>
                <c:pt idx="17619">
                  <c:v>-0.121848739495798</c:v>
                </c:pt>
                <c:pt idx="17620">
                  <c:v>-0.121848739495798</c:v>
                </c:pt>
                <c:pt idx="17621">
                  <c:v>-0.121848739495798</c:v>
                </c:pt>
                <c:pt idx="17622">
                  <c:v>-0.121848739495798</c:v>
                </c:pt>
                <c:pt idx="17623">
                  <c:v>-0.121848739495798</c:v>
                </c:pt>
                <c:pt idx="17624">
                  <c:v>-0.121848739495798</c:v>
                </c:pt>
                <c:pt idx="17625">
                  <c:v>-0.121848739495798</c:v>
                </c:pt>
                <c:pt idx="17626">
                  <c:v>-0.121848739495798</c:v>
                </c:pt>
                <c:pt idx="17627">
                  <c:v>-0.122689075630252</c:v>
                </c:pt>
                <c:pt idx="17628">
                  <c:v>-0.122689075630252</c:v>
                </c:pt>
                <c:pt idx="17629">
                  <c:v>-0.122689075630252</c:v>
                </c:pt>
                <c:pt idx="17630">
                  <c:v>-0.122689075630252</c:v>
                </c:pt>
                <c:pt idx="17631">
                  <c:v>-0.122689075630252</c:v>
                </c:pt>
                <c:pt idx="17632">
                  <c:v>-0.122689075630252</c:v>
                </c:pt>
                <c:pt idx="17633">
                  <c:v>-0.122689075630252</c:v>
                </c:pt>
                <c:pt idx="17634">
                  <c:v>-0.122689075630252</c:v>
                </c:pt>
                <c:pt idx="17635">
                  <c:v>-0.122689075630252</c:v>
                </c:pt>
                <c:pt idx="17636">
                  <c:v>-0.122689075630252</c:v>
                </c:pt>
                <c:pt idx="17637">
                  <c:v>-0.122689075630252</c:v>
                </c:pt>
                <c:pt idx="17638">
                  <c:v>-0.122689075630252</c:v>
                </c:pt>
                <c:pt idx="17639">
                  <c:v>-0.122689075630252</c:v>
                </c:pt>
                <c:pt idx="17640">
                  <c:v>-0.122689075630252</c:v>
                </c:pt>
                <c:pt idx="17641">
                  <c:v>-0.122689075630252</c:v>
                </c:pt>
                <c:pt idx="17642">
                  <c:v>-0.122689075630252</c:v>
                </c:pt>
                <c:pt idx="17643">
                  <c:v>-0.122689075630252</c:v>
                </c:pt>
                <c:pt idx="17644">
                  <c:v>-0.122689075630252</c:v>
                </c:pt>
                <c:pt idx="17645">
                  <c:v>-0.122689075630252</c:v>
                </c:pt>
                <c:pt idx="17646">
                  <c:v>-0.122689075630252</c:v>
                </c:pt>
                <c:pt idx="17647">
                  <c:v>-0.122689075630252</c:v>
                </c:pt>
                <c:pt idx="17648">
                  <c:v>-0.122689075630252</c:v>
                </c:pt>
                <c:pt idx="17649">
                  <c:v>-0.121848739495798</c:v>
                </c:pt>
                <c:pt idx="17650">
                  <c:v>-0.121848739495798</c:v>
                </c:pt>
                <c:pt idx="17651">
                  <c:v>-0.121848739495798</c:v>
                </c:pt>
                <c:pt idx="17652">
                  <c:v>-0.121848739495798</c:v>
                </c:pt>
                <c:pt idx="17653">
                  <c:v>-0.121848739495798</c:v>
                </c:pt>
                <c:pt idx="17654">
                  <c:v>-0.121848739495798</c:v>
                </c:pt>
                <c:pt idx="17655">
                  <c:v>-0.121848739495798</c:v>
                </c:pt>
                <c:pt idx="17656">
                  <c:v>-0.121848739495798</c:v>
                </c:pt>
                <c:pt idx="17657">
                  <c:v>-0.121848739495798</c:v>
                </c:pt>
                <c:pt idx="17658">
                  <c:v>-0.121848739495798</c:v>
                </c:pt>
                <c:pt idx="17659">
                  <c:v>-0.121848739495798</c:v>
                </c:pt>
                <c:pt idx="17660">
                  <c:v>-0.121848739495798</c:v>
                </c:pt>
                <c:pt idx="17661">
                  <c:v>-0.121848739495798</c:v>
                </c:pt>
                <c:pt idx="17662">
                  <c:v>-0.121848739495798</c:v>
                </c:pt>
                <c:pt idx="17663">
                  <c:v>-0.121848739495798</c:v>
                </c:pt>
                <c:pt idx="17664">
                  <c:v>-0.121848739495798</c:v>
                </c:pt>
                <c:pt idx="17665">
                  <c:v>-0.121848739495798</c:v>
                </c:pt>
                <c:pt idx="17666">
                  <c:v>-0.121848739495798</c:v>
                </c:pt>
                <c:pt idx="17667">
                  <c:v>-0.121848739495798</c:v>
                </c:pt>
                <c:pt idx="17668">
                  <c:v>-0.121848739495798</c:v>
                </c:pt>
                <c:pt idx="17669">
                  <c:v>-0.121848739495798</c:v>
                </c:pt>
                <c:pt idx="17670">
                  <c:v>-0.121848739495798</c:v>
                </c:pt>
                <c:pt idx="17671">
                  <c:v>-0.121848739495798</c:v>
                </c:pt>
                <c:pt idx="17672">
                  <c:v>-0.121848739495798</c:v>
                </c:pt>
                <c:pt idx="17673">
                  <c:v>-0.121848739495798</c:v>
                </c:pt>
                <c:pt idx="17674">
                  <c:v>-0.121848739495798</c:v>
                </c:pt>
                <c:pt idx="17675">
                  <c:v>-0.121848739495798</c:v>
                </c:pt>
                <c:pt idx="17676">
                  <c:v>-0.121848739495798</c:v>
                </c:pt>
                <c:pt idx="17677">
                  <c:v>-0.121848739495798</c:v>
                </c:pt>
                <c:pt idx="17678">
                  <c:v>-0.121848739495798</c:v>
                </c:pt>
                <c:pt idx="17679">
                  <c:v>-0.121848739495798</c:v>
                </c:pt>
                <c:pt idx="17680">
                  <c:v>-0.121848739495798</c:v>
                </c:pt>
                <c:pt idx="17681">
                  <c:v>-0.121848739495798</c:v>
                </c:pt>
                <c:pt idx="17682">
                  <c:v>-0.121848739495798</c:v>
                </c:pt>
                <c:pt idx="17683">
                  <c:v>-0.121848739495798</c:v>
                </c:pt>
                <c:pt idx="17684">
                  <c:v>-0.121848739495798</c:v>
                </c:pt>
                <c:pt idx="17685">
                  <c:v>-0.121848739495798</c:v>
                </c:pt>
                <c:pt idx="17686">
                  <c:v>-0.121848739495798</c:v>
                </c:pt>
                <c:pt idx="17687">
                  <c:v>-0.121008403361344</c:v>
                </c:pt>
                <c:pt idx="17688">
                  <c:v>-0.121008403361344</c:v>
                </c:pt>
                <c:pt idx="17689">
                  <c:v>-0.121008403361344</c:v>
                </c:pt>
                <c:pt idx="17690">
                  <c:v>-0.121008403361344</c:v>
                </c:pt>
                <c:pt idx="17691">
                  <c:v>-0.121008403361344</c:v>
                </c:pt>
                <c:pt idx="17692">
                  <c:v>-0.121008403361344</c:v>
                </c:pt>
                <c:pt idx="17693">
                  <c:v>-0.121008403361344</c:v>
                </c:pt>
                <c:pt idx="17694">
                  <c:v>-0.121008403361344</c:v>
                </c:pt>
                <c:pt idx="17695">
                  <c:v>-0.121008403361344</c:v>
                </c:pt>
                <c:pt idx="17696">
                  <c:v>-0.121008403361344</c:v>
                </c:pt>
                <c:pt idx="17697">
                  <c:v>-0.121008403361344</c:v>
                </c:pt>
                <c:pt idx="17698">
                  <c:v>-0.121008403361344</c:v>
                </c:pt>
                <c:pt idx="17699">
                  <c:v>-0.121008403361344</c:v>
                </c:pt>
                <c:pt idx="17700">
                  <c:v>-0.121008403361344</c:v>
                </c:pt>
                <c:pt idx="17701">
                  <c:v>-0.121008403361344</c:v>
                </c:pt>
                <c:pt idx="17702">
                  <c:v>-0.121008403361344</c:v>
                </c:pt>
                <c:pt idx="17703">
                  <c:v>-0.121008403361344</c:v>
                </c:pt>
                <c:pt idx="17704">
                  <c:v>-0.121008403361344</c:v>
                </c:pt>
                <c:pt idx="17705">
                  <c:v>-0.121008403361344</c:v>
                </c:pt>
                <c:pt idx="17706">
                  <c:v>-0.121008403361344</c:v>
                </c:pt>
                <c:pt idx="17707">
                  <c:v>-0.121008403361344</c:v>
                </c:pt>
                <c:pt idx="17708">
                  <c:v>-0.121008403361344</c:v>
                </c:pt>
                <c:pt idx="17709">
                  <c:v>-0.121848739495798</c:v>
                </c:pt>
                <c:pt idx="17710">
                  <c:v>-0.121848739495798</c:v>
                </c:pt>
                <c:pt idx="17711">
                  <c:v>-0.121848739495798</c:v>
                </c:pt>
                <c:pt idx="17712">
                  <c:v>-0.121848739495798</c:v>
                </c:pt>
                <c:pt idx="17713">
                  <c:v>-0.121848739495798</c:v>
                </c:pt>
                <c:pt idx="17714">
                  <c:v>-0.121848739495798</c:v>
                </c:pt>
                <c:pt idx="17715">
                  <c:v>-0.121848739495798</c:v>
                </c:pt>
                <c:pt idx="17716">
                  <c:v>-0.121848739495798</c:v>
                </c:pt>
                <c:pt idx="17717">
                  <c:v>-0.121848739495798</c:v>
                </c:pt>
                <c:pt idx="17718">
                  <c:v>-0.121848739495798</c:v>
                </c:pt>
                <c:pt idx="17719">
                  <c:v>-0.121848739495798</c:v>
                </c:pt>
                <c:pt idx="17720">
                  <c:v>-0.121848739495798</c:v>
                </c:pt>
                <c:pt idx="17721">
                  <c:v>-0.121848739495798</c:v>
                </c:pt>
                <c:pt idx="17722">
                  <c:v>-0.121848739495798</c:v>
                </c:pt>
                <c:pt idx="17723">
                  <c:v>-0.121848739495798</c:v>
                </c:pt>
                <c:pt idx="17724">
                  <c:v>-0.121848739495798</c:v>
                </c:pt>
                <c:pt idx="17725">
                  <c:v>-0.121848739495798</c:v>
                </c:pt>
                <c:pt idx="17726">
                  <c:v>-0.121848739495798</c:v>
                </c:pt>
                <c:pt idx="17727">
                  <c:v>-0.121848739495798</c:v>
                </c:pt>
                <c:pt idx="17728">
                  <c:v>-0.121848739495798</c:v>
                </c:pt>
                <c:pt idx="17729">
                  <c:v>-0.121848739495798</c:v>
                </c:pt>
                <c:pt idx="17730">
                  <c:v>-0.121848739495798</c:v>
                </c:pt>
                <c:pt idx="17731">
                  <c:v>-0.121848739495798</c:v>
                </c:pt>
                <c:pt idx="17732">
                  <c:v>-0.121848739495798</c:v>
                </c:pt>
                <c:pt idx="17733">
                  <c:v>-0.121848739495798</c:v>
                </c:pt>
                <c:pt idx="17734">
                  <c:v>-0.121848739495798</c:v>
                </c:pt>
                <c:pt idx="17735">
                  <c:v>-0.121848739495798</c:v>
                </c:pt>
                <c:pt idx="17736">
                  <c:v>-0.121848739495798</c:v>
                </c:pt>
                <c:pt idx="17737">
                  <c:v>-0.121848739495798</c:v>
                </c:pt>
                <c:pt idx="17738">
                  <c:v>-0.121848739495798</c:v>
                </c:pt>
                <c:pt idx="17739">
                  <c:v>-0.121848739495798</c:v>
                </c:pt>
                <c:pt idx="17740">
                  <c:v>-0.121848739495798</c:v>
                </c:pt>
                <c:pt idx="17741">
                  <c:v>-0.121848739495798</c:v>
                </c:pt>
                <c:pt idx="17742">
                  <c:v>-0.121848739495798</c:v>
                </c:pt>
                <c:pt idx="17743">
                  <c:v>-0.121848739495798</c:v>
                </c:pt>
                <c:pt idx="17744">
                  <c:v>-0.121848739495798</c:v>
                </c:pt>
                <c:pt idx="17745">
                  <c:v>-0.121848739495798</c:v>
                </c:pt>
                <c:pt idx="17746">
                  <c:v>-0.121848739495798</c:v>
                </c:pt>
                <c:pt idx="17747">
                  <c:v>-0.121848739495798</c:v>
                </c:pt>
                <c:pt idx="17748">
                  <c:v>-0.121848739495798</c:v>
                </c:pt>
                <c:pt idx="17749">
                  <c:v>-0.121848739495798</c:v>
                </c:pt>
                <c:pt idx="17750">
                  <c:v>-0.121848739495798</c:v>
                </c:pt>
                <c:pt idx="17751">
                  <c:v>-0.121848739495798</c:v>
                </c:pt>
                <c:pt idx="17752">
                  <c:v>-0.121848739495798</c:v>
                </c:pt>
                <c:pt idx="17753">
                  <c:v>-0.121848739495798</c:v>
                </c:pt>
                <c:pt idx="17754">
                  <c:v>-0.121848739495798</c:v>
                </c:pt>
                <c:pt idx="17755">
                  <c:v>-0.121848739495798</c:v>
                </c:pt>
                <c:pt idx="17756">
                  <c:v>-0.121848739495798</c:v>
                </c:pt>
                <c:pt idx="17757">
                  <c:v>-0.121848739495798</c:v>
                </c:pt>
                <c:pt idx="17758">
                  <c:v>-0.122689075630252</c:v>
                </c:pt>
                <c:pt idx="17759">
                  <c:v>-0.122689075630252</c:v>
                </c:pt>
                <c:pt idx="17760">
                  <c:v>-0.122689075630252</c:v>
                </c:pt>
                <c:pt idx="17761">
                  <c:v>-0.122689075630252</c:v>
                </c:pt>
                <c:pt idx="17762">
                  <c:v>-0.122689075630252</c:v>
                </c:pt>
                <c:pt idx="17763">
                  <c:v>-0.122689075630252</c:v>
                </c:pt>
                <c:pt idx="17764">
                  <c:v>-0.122689075630252</c:v>
                </c:pt>
                <c:pt idx="17765">
                  <c:v>-0.122689075630252</c:v>
                </c:pt>
                <c:pt idx="17766">
                  <c:v>-0.122689075630252</c:v>
                </c:pt>
                <c:pt idx="17767">
                  <c:v>-0.122689075630252</c:v>
                </c:pt>
                <c:pt idx="17768">
                  <c:v>-0.122689075630252</c:v>
                </c:pt>
                <c:pt idx="17769">
                  <c:v>-0.122689075630252</c:v>
                </c:pt>
                <c:pt idx="17770">
                  <c:v>-0.122689075630252</c:v>
                </c:pt>
                <c:pt idx="17771">
                  <c:v>-0.122689075630252</c:v>
                </c:pt>
                <c:pt idx="17772">
                  <c:v>-0.122689075630252</c:v>
                </c:pt>
                <c:pt idx="17773">
                  <c:v>-0.122689075630252</c:v>
                </c:pt>
                <c:pt idx="17774">
                  <c:v>-0.122689075630252</c:v>
                </c:pt>
                <c:pt idx="17775">
                  <c:v>-0.122689075630252</c:v>
                </c:pt>
                <c:pt idx="17776">
                  <c:v>-0.122689075630252</c:v>
                </c:pt>
                <c:pt idx="17777">
                  <c:v>-0.122689075630252</c:v>
                </c:pt>
                <c:pt idx="17778">
                  <c:v>-0.122689075630252</c:v>
                </c:pt>
                <c:pt idx="17779">
                  <c:v>-0.122689075630252</c:v>
                </c:pt>
                <c:pt idx="17780">
                  <c:v>-0.122689075630252</c:v>
                </c:pt>
                <c:pt idx="17781">
                  <c:v>-0.122689075630252</c:v>
                </c:pt>
                <c:pt idx="17782">
                  <c:v>-0.122689075630252</c:v>
                </c:pt>
                <c:pt idx="17783">
                  <c:v>-0.122689075630252</c:v>
                </c:pt>
                <c:pt idx="17784">
                  <c:v>-0.122689075630252</c:v>
                </c:pt>
                <c:pt idx="17785">
                  <c:v>-0.122689075630252</c:v>
                </c:pt>
                <c:pt idx="17786">
                  <c:v>-0.122689075630252</c:v>
                </c:pt>
                <c:pt idx="17787">
                  <c:v>-0.122689075630252</c:v>
                </c:pt>
                <c:pt idx="17788">
                  <c:v>-0.122689075630252</c:v>
                </c:pt>
                <c:pt idx="17789">
                  <c:v>-0.122689075630252</c:v>
                </c:pt>
                <c:pt idx="17790">
                  <c:v>-0.122689075630252</c:v>
                </c:pt>
                <c:pt idx="17791">
                  <c:v>-0.122689075630252</c:v>
                </c:pt>
                <c:pt idx="17792">
                  <c:v>-0.122689075630252</c:v>
                </c:pt>
                <c:pt idx="17793">
                  <c:v>-0.122689075630252</c:v>
                </c:pt>
                <c:pt idx="17794">
                  <c:v>-0.122689075630252</c:v>
                </c:pt>
                <c:pt idx="17795">
                  <c:v>-0.122689075630252</c:v>
                </c:pt>
                <c:pt idx="17796">
                  <c:v>-0.122689075630252</c:v>
                </c:pt>
                <c:pt idx="17797">
                  <c:v>-0.122689075630252</c:v>
                </c:pt>
                <c:pt idx="17798">
                  <c:v>-0.122689075630252</c:v>
                </c:pt>
                <c:pt idx="17799">
                  <c:v>-0.122689075630252</c:v>
                </c:pt>
                <c:pt idx="17800">
                  <c:v>-0.122689075630252</c:v>
                </c:pt>
                <c:pt idx="17801">
                  <c:v>-0.122689075630252</c:v>
                </c:pt>
                <c:pt idx="17802">
                  <c:v>-0.122689075630252</c:v>
                </c:pt>
                <c:pt idx="17803">
                  <c:v>-0.122689075630252</c:v>
                </c:pt>
                <c:pt idx="17804">
                  <c:v>-0.122689075630252</c:v>
                </c:pt>
                <c:pt idx="17805">
                  <c:v>-0.122689075630252</c:v>
                </c:pt>
                <c:pt idx="17806">
                  <c:v>-0.122689075630252</c:v>
                </c:pt>
                <c:pt idx="17807">
                  <c:v>-0.122689075630252</c:v>
                </c:pt>
                <c:pt idx="17808">
                  <c:v>-0.122689075630252</c:v>
                </c:pt>
                <c:pt idx="17809">
                  <c:v>-0.122689075630252</c:v>
                </c:pt>
                <c:pt idx="17810">
                  <c:v>-0.122689075630252</c:v>
                </c:pt>
                <c:pt idx="17811">
                  <c:v>-0.122689075630252</c:v>
                </c:pt>
                <c:pt idx="17812">
                  <c:v>-0.122689075630252</c:v>
                </c:pt>
                <c:pt idx="17813">
                  <c:v>-0.122689075630252</c:v>
                </c:pt>
                <c:pt idx="17814">
                  <c:v>-0.122689075630252</c:v>
                </c:pt>
                <c:pt idx="17815">
                  <c:v>-0.122689075630252</c:v>
                </c:pt>
                <c:pt idx="17816">
                  <c:v>-0.122689075630252</c:v>
                </c:pt>
                <c:pt idx="17817">
                  <c:v>-0.122689075630252</c:v>
                </c:pt>
                <c:pt idx="17818">
                  <c:v>-0.122689075630252</c:v>
                </c:pt>
                <c:pt idx="17819">
                  <c:v>-0.122689075630252</c:v>
                </c:pt>
                <c:pt idx="17820">
                  <c:v>-0.122689075630252</c:v>
                </c:pt>
                <c:pt idx="17821">
                  <c:v>-0.122689075630252</c:v>
                </c:pt>
                <c:pt idx="17822">
                  <c:v>-0.122689075630252</c:v>
                </c:pt>
                <c:pt idx="17823">
                  <c:v>-0.122689075630252</c:v>
                </c:pt>
                <c:pt idx="17824">
                  <c:v>-0.122689075630252</c:v>
                </c:pt>
                <c:pt idx="17825">
                  <c:v>-0.122689075630252</c:v>
                </c:pt>
                <c:pt idx="17826">
                  <c:v>-0.122689075630252</c:v>
                </c:pt>
                <c:pt idx="17827">
                  <c:v>-0.122689075630252</c:v>
                </c:pt>
                <c:pt idx="17828">
                  <c:v>-0.122689075630252</c:v>
                </c:pt>
                <c:pt idx="17829">
                  <c:v>-0.122689075630252</c:v>
                </c:pt>
                <c:pt idx="17830">
                  <c:v>-0.122689075630252</c:v>
                </c:pt>
                <c:pt idx="17831">
                  <c:v>-0.122689075630252</c:v>
                </c:pt>
                <c:pt idx="17832">
                  <c:v>-0.122689075630252</c:v>
                </c:pt>
                <c:pt idx="17833">
                  <c:v>-0.122689075630252</c:v>
                </c:pt>
                <c:pt idx="17834">
                  <c:v>-0.122689075630252</c:v>
                </c:pt>
                <c:pt idx="17835">
                  <c:v>-0.122689075630252</c:v>
                </c:pt>
                <c:pt idx="17836">
                  <c:v>-0.122689075630252</c:v>
                </c:pt>
                <c:pt idx="17837">
                  <c:v>-0.122689075630252</c:v>
                </c:pt>
                <c:pt idx="17838">
                  <c:v>-0.122689075630252</c:v>
                </c:pt>
                <c:pt idx="17839">
                  <c:v>-0.121848739495798</c:v>
                </c:pt>
                <c:pt idx="17840">
                  <c:v>-0.121848739495798</c:v>
                </c:pt>
                <c:pt idx="17841">
                  <c:v>-0.121848739495798</c:v>
                </c:pt>
                <c:pt idx="17842">
                  <c:v>-0.121848739495798</c:v>
                </c:pt>
                <c:pt idx="17843">
                  <c:v>-0.121848739495798</c:v>
                </c:pt>
                <c:pt idx="17844">
                  <c:v>-0.121848739495798</c:v>
                </c:pt>
                <c:pt idx="17845">
                  <c:v>-0.121848739495798</c:v>
                </c:pt>
                <c:pt idx="17846">
                  <c:v>-0.121848739495798</c:v>
                </c:pt>
                <c:pt idx="17847">
                  <c:v>-0.121848739495798</c:v>
                </c:pt>
                <c:pt idx="17848">
                  <c:v>-0.121848739495798</c:v>
                </c:pt>
                <c:pt idx="17849">
                  <c:v>-0.121848739495798</c:v>
                </c:pt>
                <c:pt idx="17850">
                  <c:v>-0.121848739495798</c:v>
                </c:pt>
                <c:pt idx="17851">
                  <c:v>-0.121848739495798</c:v>
                </c:pt>
                <c:pt idx="17852">
                  <c:v>-0.121848739495798</c:v>
                </c:pt>
                <c:pt idx="17853">
                  <c:v>-0.121848739495798</c:v>
                </c:pt>
                <c:pt idx="17854">
                  <c:v>-0.121848739495798</c:v>
                </c:pt>
                <c:pt idx="17855">
                  <c:v>-0.121848739495798</c:v>
                </c:pt>
                <c:pt idx="17856">
                  <c:v>-0.121848739495798</c:v>
                </c:pt>
                <c:pt idx="17857">
                  <c:v>-0.121848739495798</c:v>
                </c:pt>
                <c:pt idx="17858">
                  <c:v>-0.121848739495798</c:v>
                </c:pt>
                <c:pt idx="17859">
                  <c:v>-0.121848739495798</c:v>
                </c:pt>
                <c:pt idx="17860">
                  <c:v>-0.121848739495798</c:v>
                </c:pt>
                <c:pt idx="17861">
                  <c:v>-0.121848739495798</c:v>
                </c:pt>
                <c:pt idx="17862">
                  <c:v>-0.121848739495798</c:v>
                </c:pt>
                <c:pt idx="17863">
                  <c:v>-0.121848739495798</c:v>
                </c:pt>
                <c:pt idx="17864">
                  <c:v>-0.121848739495798</c:v>
                </c:pt>
                <c:pt idx="17865">
                  <c:v>-0.121848739495798</c:v>
                </c:pt>
                <c:pt idx="17866">
                  <c:v>-0.121848739495798</c:v>
                </c:pt>
                <c:pt idx="17867">
                  <c:v>-0.121848739495798</c:v>
                </c:pt>
                <c:pt idx="17868">
                  <c:v>-0.121848739495798</c:v>
                </c:pt>
                <c:pt idx="17869">
                  <c:v>-0.121848739495798</c:v>
                </c:pt>
                <c:pt idx="17870">
                  <c:v>-0.121848739495798</c:v>
                </c:pt>
                <c:pt idx="17871">
                  <c:v>-0.121848739495798</c:v>
                </c:pt>
                <c:pt idx="17872">
                  <c:v>-0.121848739495798</c:v>
                </c:pt>
                <c:pt idx="17873">
                  <c:v>-0.121848739495798</c:v>
                </c:pt>
                <c:pt idx="17874">
                  <c:v>-0.121848739495798</c:v>
                </c:pt>
                <c:pt idx="17875">
                  <c:v>-0.121848739495798</c:v>
                </c:pt>
                <c:pt idx="17876">
                  <c:v>-0.121848739495798</c:v>
                </c:pt>
                <c:pt idx="17877">
                  <c:v>-0.121848739495798</c:v>
                </c:pt>
                <c:pt idx="17878">
                  <c:v>-0.121848739495798</c:v>
                </c:pt>
                <c:pt idx="17879">
                  <c:v>-0.121848739495798</c:v>
                </c:pt>
                <c:pt idx="17880">
                  <c:v>-0.121848739495798</c:v>
                </c:pt>
                <c:pt idx="17881">
                  <c:v>-0.121848739495798</c:v>
                </c:pt>
                <c:pt idx="17882">
                  <c:v>-0.121848739495798</c:v>
                </c:pt>
                <c:pt idx="17883">
                  <c:v>-0.121848739495798</c:v>
                </c:pt>
                <c:pt idx="17884">
                  <c:v>-0.121008403361344</c:v>
                </c:pt>
                <c:pt idx="17885">
                  <c:v>-0.121008403361344</c:v>
                </c:pt>
                <c:pt idx="17886">
                  <c:v>-0.121008403361344</c:v>
                </c:pt>
                <c:pt idx="17887">
                  <c:v>-0.121008403361344</c:v>
                </c:pt>
                <c:pt idx="17888">
                  <c:v>-0.121008403361344</c:v>
                </c:pt>
                <c:pt idx="17889">
                  <c:v>-0.121008403361344</c:v>
                </c:pt>
                <c:pt idx="17890">
                  <c:v>-0.121008403361344</c:v>
                </c:pt>
                <c:pt idx="17891">
                  <c:v>-0.121008403361344</c:v>
                </c:pt>
                <c:pt idx="17892">
                  <c:v>-0.121008403361344</c:v>
                </c:pt>
                <c:pt idx="17893">
                  <c:v>-0.121008403361344</c:v>
                </c:pt>
                <c:pt idx="17894">
                  <c:v>-0.121008403361344</c:v>
                </c:pt>
                <c:pt idx="17895">
                  <c:v>-0.121008403361344</c:v>
                </c:pt>
                <c:pt idx="17896">
                  <c:v>-0.121008403361344</c:v>
                </c:pt>
                <c:pt idx="17897">
                  <c:v>-0.121008403361344</c:v>
                </c:pt>
                <c:pt idx="17898">
                  <c:v>-0.121008403361344</c:v>
                </c:pt>
                <c:pt idx="17899">
                  <c:v>-0.121008403361344</c:v>
                </c:pt>
                <c:pt idx="17900">
                  <c:v>-0.121008403361344</c:v>
                </c:pt>
                <c:pt idx="17901">
                  <c:v>-0.121008403361344</c:v>
                </c:pt>
                <c:pt idx="17902">
                  <c:v>-0.121008403361344</c:v>
                </c:pt>
                <c:pt idx="17903">
                  <c:v>-0.121008403361344</c:v>
                </c:pt>
                <c:pt idx="17904">
                  <c:v>-0.121008403361344</c:v>
                </c:pt>
                <c:pt idx="17905">
                  <c:v>-0.121008403361344</c:v>
                </c:pt>
                <c:pt idx="17906">
                  <c:v>-0.121008403361344</c:v>
                </c:pt>
                <c:pt idx="17907">
                  <c:v>-0.121008403361344</c:v>
                </c:pt>
                <c:pt idx="17908">
                  <c:v>-0.121008403361344</c:v>
                </c:pt>
                <c:pt idx="17909">
                  <c:v>-0.121008403361344</c:v>
                </c:pt>
                <c:pt idx="17910">
                  <c:v>-0.121008403361344</c:v>
                </c:pt>
                <c:pt idx="17911">
                  <c:v>-0.121008403361344</c:v>
                </c:pt>
                <c:pt idx="17912">
                  <c:v>-0.121008403361344</c:v>
                </c:pt>
                <c:pt idx="17913">
                  <c:v>-0.121008403361344</c:v>
                </c:pt>
                <c:pt idx="17914">
                  <c:v>-0.121008403361344</c:v>
                </c:pt>
                <c:pt idx="17915">
                  <c:v>-0.121008403361344</c:v>
                </c:pt>
                <c:pt idx="17916">
                  <c:v>-0.121008403361344</c:v>
                </c:pt>
                <c:pt idx="17917">
                  <c:v>-0.121008403361344</c:v>
                </c:pt>
                <c:pt idx="17918">
                  <c:v>-0.121008403361344</c:v>
                </c:pt>
                <c:pt idx="17919">
                  <c:v>-0.121008403361344</c:v>
                </c:pt>
                <c:pt idx="17920">
                  <c:v>-0.121008403361344</c:v>
                </c:pt>
                <c:pt idx="17921">
                  <c:v>-0.121008403361344</c:v>
                </c:pt>
                <c:pt idx="17922">
                  <c:v>-0.121008403361344</c:v>
                </c:pt>
                <c:pt idx="17923">
                  <c:v>-0.121008403361344</c:v>
                </c:pt>
                <c:pt idx="17924">
                  <c:v>-0.121008403361344</c:v>
                </c:pt>
                <c:pt idx="17925">
                  <c:v>-0.121008403361344</c:v>
                </c:pt>
                <c:pt idx="17926">
                  <c:v>-0.121008403361344</c:v>
                </c:pt>
                <c:pt idx="17927">
                  <c:v>-0.121008403361344</c:v>
                </c:pt>
                <c:pt idx="17928">
                  <c:v>-0.121008403361344</c:v>
                </c:pt>
                <c:pt idx="17929">
                  <c:v>-0.121008403361344</c:v>
                </c:pt>
                <c:pt idx="17930">
                  <c:v>-0.121008403361344</c:v>
                </c:pt>
                <c:pt idx="17931">
                  <c:v>-0.121008403361344</c:v>
                </c:pt>
                <c:pt idx="17932">
                  <c:v>-0.121008403361344</c:v>
                </c:pt>
                <c:pt idx="17933">
                  <c:v>-0.121008403361344</c:v>
                </c:pt>
                <c:pt idx="17934">
                  <c:v>-0.121008403361344</c:v>
                </c:pt>
                <c:pt idx="17935">
                  <c:v>-0.12016806722689</c:v>
                </c:pt>
                <c:pt idx="17936">
                  <c:v>-0.12016806722689</c:v>
                </c:pt>
                <c:pt idx="17937">
                  <c:v>-0.12016806722689</c:v>
                </c:pt>
                <c:pt idx="17938">
                  <c:v>-0.12016806722689</c:v>
                </c:pt>
                <c:pt idx="17939">
                  <c:v>-0.12016806722689</c:v>
                </c:pt>
                <c:pt idx="17940">
                  <c:v>-0.12016806722689</c:v>
                </c:pt>
                <c:pt idx="17941">
                  <c:v>-0.12016806722689</c:v>
                </c:pt>
                <c:pt idx="17942">
                  <c:v>-0.12016806722689</c:v>
                </c:pt>
                <c:pt idx="17943">
                  <c:v>-0.12016806722689</c:v>
                </c:pt>
                <c:pt idx="17944">
                  <c:v>-0.121008403361344</c:v>
                </c:pt>
                <c:pt idx="17945">
                  <c:v>-0.121008403361344</c:v>
                </c:pt>
                <c:pt idx="17946">
                  <c:v>-0.121008403361344</c:v>
                </c:pt>
                <c:pt idx="17947">
                  <c:v>-0.121008403361344</c:v>
                </c:pt>
                <c:pt idx="17948">
                  <c:v>-0.121008403361344</c:v>
                </c:pt>
                <c:pt idx="17949">
                  <c:v>-0.121008403361344</c:v>
                </c:pt>
                <c:pt idx="17950">
                  <c:v>-0.121008403361344</c:v>
                </c:pt>
                <c:pt idx="17951">
                  <c:v>-0.121008403361344</c:v>
                </c:pt>
                <c:pt idx="17952">
                  <c:v>-0.12016806722689</c:v>
                </c:pt>
                <c:pt idx="17953">
                  <c:v>-0.12016806722689</c:v>
                </c:pt>
                <c:pt idx="17954">
                  <c:v>-0.12016806722689</c:v>
                </c:pt>
                <c:pt idx="17955">
                  <c:v>-0.12016806722689</c:v>
                </c:pt>
                <c:pt idx="17956">
                  <c:v>-0.12016806722689</c:v>
                </c:pt>
                <c:pt idx="17957">
                  <c:v>-0.12016806722689</c:v>
                </c:pt>
                <c:pt idx="17958">
                  <c:v>-0.12016806722689</c:v>
                </c:pt>
                <c:pt idx="17959">
                  <c:v>-0.12016806722689</c:v>
                </c:pt>
                <c:pt idx="17960">
                  <c:v>-0.12016806722689</c:v>
                </c:pt>
                <c:pt idx="17961">
                  <c:v>-0.12016806722689</c:v>
                </c:pt>
                <c:pt idx="17962">
                  <c:v>-0.12016806722689</c:v>
                </c:pt>
                <c:pt idx="17963">
                  <c:v>-0.12016806722689</c:v>
                </c:pt>
                <c:pt idx="17964">
                  <c:v>-0.11932773109243699</c:v>
                </c:pt>
                <c:pt idx="17965">
                  <c:v>-0.11932773109243699</c:v>
                </c:pt>
                <c:pt idx="17966">
                  <c:v>-0.11932773109243699</c:v>
                </c:pt>
                <c:pt idx="17967">
                  <c:v>-0.11932773109243699</c:v>
                </c:pt>
                <c:pt idx="17968">
                  <c:v>-0.11932773109243699</c:v>
                </c:pt>
                <c:pt idx="17969">
                  <c:v>-0.11932773109243699</c:v>
                </c:pt>
                <c:pt idx="17970">
                  <c:v>-0.11932773109243699</c:v>
                </c:pt>
                <c:pt idx="17971">
                  <c:v>-0.11932773109243699</c:v>
                </c:pt>
                <c:pt idx="17972">
                  <c:v>-0.11932773109243699</c:v>
                </c:pt>
                <c:pt idx="17973">
                  <c:v>-0.11932773109243699</c:v>
                </c:pt>
                <c:pt idx="17974">
                  <c:v>-0.11932773109243699</c:v>
                </c:pt>
                <c:pt idx="17975">
                  <c:v>-0.11932773109243699</c:v>
                </c:pt>
                <c:pt idx="17976">
                  <c:v>-0.11932773109243699</c:v>
                </c:pt>
                <c:pt idx="17977">
                  <c:v>-0.11932773109243699</c:v>
                </c:pt>
                <c:pt idx="17978">
                  <c:v>-0.11932773109243699</c:v>
                </c:pt>
                <c:pt idx="17979">
                  <c:v>-0.11932773109243699</c:v>
                </c:pt>
                <c:pt idx="17980">
                  <c:v>-0.11932773109243699</c:v>
                </c:pt>
                <c:pt idx="17981">
                  <c:v>-0.11932773109243699</c:v>
                </c:pt>
                <c:pt idx="17982">
                  <c:v>-0.11932773109243699</c:v>
                </c:pt>
                <c:pt idx="17983">
                  <c:v>-0.11932773109243699</c:v>
                </c:pt>
                <c:pt idx="17984">
                  <c:v>-0.11932773109243699</c:v>
                </c:pt>
                <c:pt idx="17985">
                  <c:v>-0.11932773109243699</c:v>
                </c:pt>
                <c:pt idx="17986">
                  <c:v>-0.11932773109243699</c:v>
                </c:pt>
                <c:pt idx="17987">
                  <c:v>-0.11932773109243699</c:v>
                </c:pt>
                <c:pt idx="17988">
                  <c:v>-0.11932773109243699</c:v>
                </c:pt>
                <c:pt idx="17989">
                  <c:v>-0.11932773109243699</c:v>
                </c:pt>
                <c:pt idx="17990">
                  <c:v>-0.11932773109243699</c:v>
                </c:pt>
                <c:pt idx="17991">
                  <c:v>-0.11932773109243699</c:v>
                </c:pt>
                <c:pt idx="17992">
                  <c:v>-0.11932773109243699</c:v>
                </c:pt>
                <c:pt idx="17993">
                  <c:v>-0.11932773109243699</c:v>
                </c:pt>
                <c:pt idx="17994">
                  <c:v>-0.11932773109243699</c:v>
                </c:pt>
                <c:pt idx="17995">
                  <c:v>-0.11932773109243699</c:v>
                </c:pt>
                <c:pt idx="17996">
                  <c:v>-0.11932773109243699</c:v>
                </c:pt>
                <c:pt idx="17997">
                  <c:v>-0.11932773109243699</c:v>
                </c:pt>
                <c:pt idx="17998">
                  <c:v>-0.11932773109243699</c:v>
                </c:pt>
                <c:pt idx="17999">
                  <c:v>-0.11932773109243699</c:v>
                </c:pt>
                <c:pt idx="18000">
                  <c:v>-0.11932773109243699</c:v>
                </c:pt>
                <c:pt idx="18001">
                  <c:v>-0.11932773109243699</c:v>
                </c:pt>
                <c:pt idx="18002">
                  <c:v>-0.11932773109243699</c:v>
                </c:pt>
                <c:pt idx="18003">
                  <c:v>-0.11932773109243699</c:v>
                </c:pt>
                <c:pt idx="18004">
                  <c:v>-0.11932773109243699</c:v>
                </c:pt>
                <c:pt idx="18005">
                  <c:v>-0.11932773109243699</c:v>
                </c:pt>
                <c:pt idx="18006">
                  <c:v>-0.11932773109243699</c:v>
                </c:pt>
                <c:pt idx="18007">
                  <c:v>-0.11932773109243699</c:v>
                </c:pt>
                <c:pt idx="18008">
                  <c:v>-0.11932773109243699</c:v>
                </c:pt>
                <c:pt idx="18009">
                  <c:v>-0.11932773109243699</c:v>
                </c:pt>
                <c:pt idx="18010">
                  <c:v>-0.11932773109243699</c:v>
                </c:pt>
                <c:pt idx="18011">
                  <c:v>-0.11932773109243699</c:v>
                </c:pt>
                <c:pt idx="18012">
                  <c:v>-0.11932773109243699</c:v>
                </c:pt>
                <c:pt idx="18013">
                  <c:v>-0.11932773109243699</c:v>
                </c:pt>
                <c:pt idx="18014">
                  <c:v>-0.11932773109243699</c:v>
                </c:pt>
                <c:pt idx="18015">
                  <c:v>-0.11932773109243699</c:v>
                </c:pt>
                <c:pt idx="18016">
                  <c:v>-0.11932773109243699</c:v>
                </c:pt>
                <c:pt idx="18017">
                  <c:v>-0.11932773109243699</c:v>
                </c:pt>
                <c:pt idx="18018">
                  <c:v>-0.11932773109243699</c:v>
                </c:pt>
                <c:pt idx="18019">
                  <c:v>-0.11932773109243699</c:v>
                </c:pt>
                <c:pt idx="18020">
                  <c:v>-0.11932773109243699</c:v>
                </c:pt>
                <c:pt idx="18021">
                  <c:v>-0.11932773109243699</c:v>
                </c:pt>
                <c:pt idx="18022">
                  <c:v>-0.11932773109243699</c:v>
                </c:pt>
                <c:pt idx="18023">
                  <c:v>-0.11932773109243699</c:v>
                </c:pt>
                <c:pt idx="18024">
                  <c:v>-0.12016806722689</c:v>
                </c:pt>
                <c:pt idx="18025">
                  <c:v>-0.12016806722689</c:v>
                </c:pt>
                <c:pt idx="18026">
                  <c:v>-0.12016806722689</c:v>
                </c:pt>
                <c:pt idx="18027">
                  <c:v>-0.12016806722689</c:v>
                </c:pt>
                <c:pt idx="18028">
                  <c:v>-0.12016806722689</c:v>
                </c:pt>
                <c:pt idx="18029">
                  <c:v>-0.12016806722689</c:v>
                </c:pt>
                <c:pt idx="18030">
                  <c:v>-0.12016806722689</c:v>
                </c:pt>
                <c:pt idx="18031">
                  <c:v>-0.12016806722689</c:v>
                </c:pt>
                <c:pt idx="18032">
                  <c:v>-0.12016806722689</c:v>
                </c:pt>
                <c:pt idx="18033">
                  <c:v>-0.12016806722689</c:v>
                </c:pt>
                <c:pt idx="18034">
                  <c:v>-0.12016806722689</c:v>
                </c:pt>
                <c:pt idx="18035">
                  <c:v>-0.12016806722689</c:v>
                </c:pt>
                <c:pt idx="18036">
                  <c:v>-0.12016806722689</c:v>
                </c:pt>
                <c:pt idx="18037">
                  <c:v>-0.12016806722689</c:v>
                </c:pt>
                <c:pt idx="18038">
                  <c:v>-0.12016806722689</c:v>
                </c:pt>
                <c:pt idx="18039">
                  <c:v>-0.12016806722689</c:v>
                </c:pt>
                <c:pt idx="18040">
                  <c:v>-0.12016806722689</c:v>
                </c:pt>
                <c:pt idx="18041">
                  <c:v>-0.12016806722689</c:v>
                </c:pt>
                <c:pt idx="18042">
                  <c:v>-0.12016806722689</c:v>
                </c:pt>
                <c:pt idx="18043">
                  <c:v>-0.12016806722689</c:v>
                </c:pt>
                <c:pt idx="18044">
                  <c:v>-0.12016806722689</c:v>
                </c:pt>
                <c:pt idx="18045">
                  <c:v>-0.12016806722689</c:v>
                </c:pt>
                <c:pt idx="18046">
                  <c:v>-0.12016806722689</c:v>
                </c:pt>
                <c:pt idx="18047">
                  <c:v>-0.12016806722689</c:v>
                </c:pt>
                <c:pt idx="18048">
                  <c:v>-0.12016806722689</c:v>
                </c:pt>
                <c:pt idx="18049">
                  <c:v>-0.12016806722689</c:v>
                </c:pt>
                <c:pt idx="18050">
                  <c:v>-0.12016806722689</c:v>
                </c:pt>
                <c:pt idx="18051">
                  <c:v>-0.12016806722689</c:v>
                </c:pt>
                <c:pt idx="18052">
                  <c:v>-0.12016806722689</c:v>
                </c:pt>
                <c:pt idx="18053">
                  <c:v>-0.12016806722689</c:v>
                </c:pt>
                <c:pt idx="18054">
                  <c:v>-0.12016806722689</c:v>
                </c:pt>
                <c:pt idx="18055">
                  <c:v>-0.12016806722689</c:v>
                </c:pt>
                <c:pt idx="18056">
                  <c:v>-0.12016806722689</c:v>
                </c:pt>
                <c:pt idx="18057">
                  <c:v>-0.12016806722689</c:v>
                </c:pt>
                <c:pt idx="18058">
                  <c:v>-0.12016806722689</c:v>
                </c:pt>
                <c:pt idx="18059">
                  <c:v>-0.12016806722689</c:v>
                </c:pt>
                <c:pt idx="18060">
                  <c:v>-0.12016806722689</c:v>
                </c:pt>
                <c:pt idx="18061">
                  <c:v>-0.12016806722689</c:v>
                </c:pt>
                <c:pt idx="18062">
                  <c:v>-0.12016806722689</c:v>
                </c:pt>
                <c:pt idx="18063">
                  <c:v>-0.12016806722689</c:v>
                </c:pt>
                <c:pt idx="18064">
                  <c:v>-0.12016806722689</c:v>
                </c:pt>
                <c:pt idx="18065">
                  <c:v>-0.12016806722689</c:v>
                </c:pt>
                <c:pt idx="18066">
                  <c:v>-0.12016806722689</c:v>
                </c:pt>
                <c:pt idx="18067">
                  <c:v>-0.12016806722689</c:v>
                </c:pt>
                <c:pt idx="18068">
                  <c:v>-0.12016806722689</c:v>
                </c:pt>
                <c:pt idx="18069">
                  <c:v>-0.12016806722689</c:v>
                </c:pt>
                <c:pt idx="18070">
                  <c:v>-0.12016806722689</c:v>
                </c:pt>
                <c:pt idx="18071">
                  <c:v>-0.12016806722689</c:v>
                </c:pt>
                <c:pt idx="18072">
                  <c:v>-0.12016806722689</c:v>
                </c:pt>
                <c:pt idx="18073">
                  <c:v>-0.12016806722689</c:v>
                </c:pt>
                <c:pt idx="18074">
                  <c:v>-0.12016806722689</c:v>
                </c:pt>
                <c:pt idx="18075">
                  <c:v>-0.121008403361344</c:v>
                </c:pt>
                <c:pt idx="18076">
                  <c:v>-0.121008403361344</c:v>
                </c:pt>
                <c:pt idx="18077">
                  <c:v>-0.121008403361344</c:v>
                </c:pt>
                <c:pt idx="18078">
                  <c:v>-0.121008403361344</c:v>
                </c:pt>
                <c:pt idx="18079">
                  <c:v>-0.121008403361344</c:v>
                </c:pt>
                <c:pt idx="18080">
                  <c:v>-0.121008403361344</c:v>
                </c:pt>
                <c:pt idx="18081">
                  <c:v>-0.121008403361344</c:v>
                </c:pt>
                <c:pt idx="18082">
                  <c:v>-0.121848739495798</c:v>
                </c:pt>
                <c:pt idx="18083">
                  <c:v>-0.121848739495798</c:v>
                </c:pt>
                <c:pt idx="18084">
                  <c:v>-0.121848739495798</c:v>
                </c:pt>
                <c:pt idx="18085">
                  <c:v>-0.121848739495798</c:v>
                </c:pt>
                <c:pt idx="18086">
                  <c:v>-0.121848739495798</c:v>
                </c:pt>
                <c:pt idx="18087">
                  <c:v>-0.121848739495798</c:v>
                </c:pt>
                <c:pt idx="18088">
                  <c:v>-0.121008403361344</c:v>
                </c:pt>
                <c:pt idx="18089">
                  <c:v>-0.121008403361344</c:v>
                </c:pt>
                <c:pt idx="18090">
                  <c:v>-0.121008403361344</c:v>
                </c:pt>
                <c:pt idx="18091">
                  <c:v>-0.121008403361344</c:v>
                </c:pt>
                <c:pt idx="18092">
                  <c:v>-0.121008403361344</c:v>
                </c:pt>
                <c:pt idx="18093">
                  <c:v>-0.121008403361344</c:v>
                </c:pt>
                <c:pt idx="18094">
                  <c:v>-0.121008403361344</c:v>
                </c:pt>
                <c:pt idx="18095">
                  <c:v>-0.121008403361344</c:v>
                </c:pt>
                <c:pt idx="18096">
                  <c:v>-0.121008403361344</c:v>
                </c:pt>
                <c:pt idx="18097">
                  <c:v>-0.121008403361344</c:v>
                </c:pt>
                <c:pt idx="18098">
                  <c:v>-0.121008403361344</c:v>
                </c:pt>
                <c:pt idx="18099">
                  <c:v>-0.121008403361344</c:v>
                </c:pt>
                <c:pt idx="18100">
                  <c:v>-0.121008403361344</c:v>
                </c:pt>
                <c:pt idx="18101">
                  <c:v>-0.121008403361344</c:v>
                </c:pt>
                <c:pt idx="18102">
                  <c:v>-0.121008403361344</c:v>
                </c:pt>
                <c:pt idx="18103">
                  <c:v>-0.121008403361344</c:v>
                </c:pt>
                <c:pt idx="18104">
                  <c:v>-0.121008403361344</c:v>
                </c:pt>
                <c:pt idx="18105">
                  <c:v>-0.121008403361344</c:v>
                </c:pt>
                <c:pt idx="18106">
                  <c:v>-0.121008403361344</c:v>
                </c:pt>
                <c:pt idx="18107">
                  <c:v>-0.121008403361344</c:v>
                </c:pt>
                <c:pt idx="18108">
                  <c:v>-0.121008403361344</c:v>
                </c:pt>
                <c:pt idx="18109">
                  <c:v>-0.121008403361344</c:v>
                </c:pt>
                <c:pt idx="18110">
                  <c:v>-0.121008403361344</c:v>
                </c:pt>
                <c:pt idx="18111">
                  <c:v>-0.121008403361344</c:v>
                </c:pt>
                <c:pt idx="18112">
                  <c:v>-0.121008403361344</c:v>
                </c:pt>
                <c:pt idx="18113">
                  <c:v>-0.121008403361344</c:v>
                </c:pt>
                <c:pt idx="18114">
                  <c:v>-0.121008403361344</c:v>
                </c:pt>
                <c:pt idx="18115">
                  <c:v>-0.121008403361344</c:v>
                </c:pt>
                <c:pt idx="18116">
                  <c:v>-0.121008403361344</c:v>
                </c:pt>
                <c:pt idx="18117">
                  <c:v>-0.121008403361344</c:v>
                </c:pt>
                <c:pt idx="18118">
                  <c:v>-0.121008403361344</c:v>
                </c:pt>
                <c:pt idx="18119">
                  <c:v>-0.121008403361344</c:v>
                </c:pt>
                <c:pt idx="18120">
                  <c:v>-0.12016806722689</c:v>
                </c:pt>
                <c:pt idx="18121">
                  <c:v>-0.12016806722689</c:v>
                </c:pt>
                <c:pt idx="18122">
                  <c:v>-0.12016806722689</c:v>
                </c:pt>
                <c:pt idx="18123">
                  <c:v>-0.12016806722689</c:v>
                </c:pt>
                <c:pt idx="18124">
                  <c:v>-0.12016806722689</c:v>
                </c:pt>
                <c:pt idx="18125">
                  <c:v>-0.12016806722689</c:v>
                </c:pt>
                <c:pt idx="18126">
                  <c:v>-0.12016806722689</c:v>
                </c:pt>
                <c:pt idx="18127">
                  <c:v>-0.12016806722689</c:v>
                </c:pt>
                <c:pt idx="18128">
                  <c:v>-0.12016806722689</c:v>
                </c:pt>
                <c:pt idx="18129">
                  <c:v>-0.12016806722689</c:v>
                </c:pt>
                <c:pt idx="18130">
                  <c:v>-0.12016806722689</c:v>
                </c:pt>
                <c:pt idx="18131">
                  <c:v>-0.12016806722689</c:v>
                </c:pt>
                <c:pt idx="18132">
                  <c:v>-0.12016806722689</c:v>
                </c:pt>
                <c:pt idx="18133">
                  <c:v>-0.12016806722689</c:v>
                </c:pt>
                <c:pt idx="18134">
                  <c:v>-0.12016806722689</c:v>
                </c:pt>
                <c:pt idx="18135">
                  <c:v>-0.12016806722689</c:v>
                </c:pt>
                <c:pt idx="18136">
                  <c:v>-0.12016806722689</c:v>
                </c:pt>
                <c:pt idx="18137">
                  <c:v>-0.12016806722689</c:v>
                </c:pt>
                <c:pt idx="18138">
                  <c:v>-0.12016806722689</c:v>
                </c:pt>
                <c:pt idx="18139">
                  <c:v>-0.12016806722689</c:v>
                </c:pt>
                <c:pt idx="18140">
                  <c:v>-0.121008403361344</c:v>
                </c:pt>
                <c:pt idx="18141">
                  <c:v>-0.121008403361344</c:v>
                </c:pt>
                <c:pt idx="18142">
                  <c:v>-0.121008403361344</c:v>
                </c:pt>
                <c:pt idx="18143">
                  <c:v>-0.121008403361344</c:v>
                </c:pt>
                <c:pt idx="18144">
                  <c:v>-0.121008403361344</c:v>
                </c:pt>
                <c:pt idx="18145">
                  <c:v>-0.121008403361344</c:v>
                </c:pt>
                <c:pt idx="18146">
                  <c:v>-0.121008403361344</c:v>
                </c:pt>
                <c:pt idx="18147">
                  <c:v>-0.121008403361344</c:v>
                </c:pt>
                <c:pt idx="18148">
                  <c:v>-0.121008403361344</c:v>
                </c:pt>
                <c:pt idx="18149">
                  <c:v>-0.121008403361344</c:v>
                </c:pt>
                <c:pt idx="18150">
                  <c:v>-0.121008403361344</c:v>
                </c:pt>
                <c:pt idx="18151">
                  <c:v>-0.121008403361344</c:v>
                </c:pt>
                <c:pt idx="18152">
                  <c:v>-0.121008403361344</c:v>
                </c:pt>
                <c:pt idx="18153">
                  <c:v>-0.121008403361344</c:v>
                </c:pt>
                <c:pt idx="18154">
                  <c:v>-0.121008403361344</c:v>
                </c:pt>
                <c:pt idx="18155">
                  <c:v>-0.121008403361344</c:v>
                </c:pt>
                <c:pt idx="18156">
                  <c:v>-0.121008403361344</c:v>
                </c:pt>
                <c:pt idx="18157">
                  <c:v>-0.121008403361344</c:v>
                </c:pt>
                <c:pt idx="18158">
                  <c:v>-0.121008403361344</c:v>
                </c:pt>
                <c:pt idx="18159">
                  <c:v>-0.121008403361344</c:v>
                </c:pt>
                <c:pt idx="18160">
                  <c:v>-0.121008403361344</c:v>
                </c:pt>
                <c:pt idx="18161">
                  <c:v>-0.121008403361344</c:v>
                </c:pt>
                <c:pt idx="18162">
                  <c:v>-0.121008403361344</c:v>
                </c:pt>
                <c:pt idx="18163">
                  <c:v>-0.121008403361344</c:v>
                </c:pt>
                <c:pt idx="18164">
                  <c:v>-0.121008403361344</c:v>
                </c:pt>
                <c:pt idx="18165">
                  <c:v>-0.121008403361344</c:v>
                </c:pt>
                <c:pt idx="18166">
                  <c:v>-0.121008403361344</c:v>
                </c:pt>
                <c:pt idx="18167">
                  <c:v>-0.121008403361344</c:v>
                </c:pt>
                <c:pt idx="18168">
                  <c:v>-0.121008403361344</c:v>
                </c:pt>
                <c:pt idx="18169">
                  <c:v>-0.121008403361344</c:v>
                </c:pt>
                <c:pt idx="18170">
                  <c:v>-0.121848739495798</c:v>
                </c:pt>
                <c:pt idx="18171">
                  <c:v>-0.121848739495798</c:v>
                </c:pt>
                <c:pt idx="18172">
                  <c:v>-0.121848739495798</c:v>
                </c:pt>
                <c:pt idx="18173">
                  <c:v>-0.121848739495798</c:v>
                </c:pt>
                <c:pt idx="18174">
                  <c:v>-0.121848739495798</c:v>
                </c:pt>
                <c:pt idx="18175">
                  <c:v>-0.121848739495798</c:v>
                </c:pt>
                <c:pt idx="18176">
                  <c:v>-0.121848739495798</c:v>
                </c:pt>
                <c:pt idx="18177">
                  <c:v>-0.121848739495798</c:v>
                </c:pt>
                <c:pt idx="18178">
                  <c:v>-0.122689075630252</c:v>
                </c:pt>
                <c:pt idx="18179">
                  <c:v>-0.122689075630252</c:v>
                </c:pt>
                <c:pt idx="18180">
                  <c:v>-0.122689075630252</c:v>
                </c:pt>
                <c:pt idx="18181">
                  <c:v>-0.122689075630252</c:v>
                </c:pt>
                <c:pt idx="18182">
                  <c:v>-0.122689075630252</c:v>
                </c:pt>
                <c:pt idx="18183">
                  <c:v>-0.122689075630252</c:v>
                </c:pt>
                <c:pt idx="18184">
                  <c:v>-0.121848739495798</c:v>
                </c:pt>
                <c:pt idx="18185">
                  <c:v>-0.121848739495798</c:v>
                </c:pt>
                <c:pt idx="18186">
                  <c:v>-0.121848739495798</c:v>
                </c:pt>
                <c:pt idx="18187">
                  <c:v>-0.122689075630252</c:v>
                </c:pt>
                <c:pt idx="18188">
                  <c:v>-0.122689075630252</c:v>
                </c:pt>
                <c:pt idx="18189">
                  <c:v>-0.122689075630252</c:v>
                </c:pt>
                <c:pt idx="18190">
                  <c:v>-0.122689075630252</c:v>
                </c:pt>
                <c:pt idx="18191">
                  <c:v>-0.122689075630252</c:v>
                </c:pt>
                <c:pt idx="18192">
                  <c:v>-0.122689075630252</c:v>
                </c:pt>
                <c:pt idx="18193">
                  <c:v>-0.122689075630252</c:v>
                </c:pt>
                <c:pt idx="18194">
                  <c:v>-0.122689075630252</c:v>
                </c:pt>
                <c:pt idx="18195">
                  <c:v>-0.122689075630252</c:v>
                </c:pt>
                <c:pt idx="18196">
                  <c:v>-0.122689075630252</c:v>
                </c:pt>
                <c:pt idx="18197">
                  <c:v>-0.122689075630252</c:v>
                </c:pt>
                <c:pt idx="18198">
                  <c:v>-0.122689075630252</c:v>
                </c:pt>
                <c:pt idx="18199">
                  <c:v>-0.121848739495798</c:v>
                </c:pt>
                <c:pt idx="18200">
                  <c:v>-0.121848739495798</c:v>
                </c:pt>
                <c:pt idx="18201">
                  <c:v>-0.121848739495798</c:v>
                </c:pt>
                <c:pt idx="18202">
                  <c:v>-0.121848739495798</c:v>
                </c:pt>
                <c:pt idx="18203">
                  <c:v>-0.121848739495798</c:v>
                </c:pt>
                <c:pt idx="18204">
                  <c:v>-0.121008403361344</c:v>
                </c:pt>
                <c:pt idx="18205">
                  <c:v>-0.121008403361344</c:v>
                </c:pt>
                <c:pt idx="18206">
                  <c:v>-0.121008403361344</c:v>
                </c:pt>
                <c:pt idx="18207">
                  <c:v>-0.121008403361344</c:v>
                </c:pt>
                <c:pt idx="18208">
                  <c:v>-0.121008403361344</c:v>
                </c:pt>
                <c:pt idx="18209">
                  <c:v>-0.121008403361344</c:v>
                </c:pt>
                <c:pt idx="18210">
                  <c:v>-0.121008403361344</c:v>
                </c:pt>
                <c:pt idx="18211">
                  <c:v>-0.121008403361344</c:v>
                </c:pt>
                <c:pt idx="18212">
                  <c:v>-0.121008403361344</c:v>
                </c:pt>
                <c:pt idx="18213">
                  <c:v>-0.121008403361344</c:v>
                </c:pt>
                <c:pt idx="18214">
                  <c:v>-0.121008403361344</c:v>
                </c:pt>
                <c:pt idx="18215">
                  <c:v>-0.121008403361344</c:v>
                </c:pt>
                <c:pt idx="18216">
                  <c:v>-0.121008403361344</c:v>
                </c:pt>
                <c:pt idx="18217">
                  <c:v>-0.121008403361344</c:v>
                </c:pt>
                <c:pt idx="18218">
                  <c:v>-0.121008403361344</c:v>
                </c:pt>
                <c:pt idx="18219">
                  <c:v>-0.121008403361344</c:v>
                </c:pt>
                <c:pt idx="18220">
                  <c:v>-0.121008403361344</c:v>
                </c:pt>
                <c:pt idx="18221">
                  <c:v>-0.121008403361344</c:v>
                </c:pt>
                <c:pt idx="18222">
                  <c:v>-0.121008403361344</c:v>
                </c:pt>
                <c:pt idx="18223">
                  <c:v>-0.121008403361344</c:v>
                </c:pt>
                <c:pt idx="18224">
                  <c:v>-0.121008403361344</c:v>
                </c:pt>
                <c:pt idx="18225">
                  <c:v>-0.121008403361344</c:v>
                </c:pt>
                <c:pt idx="18226">
                  <c:v>-0.121848739495798</c:v>
                </c:pt>
                <c:pt idx="18227">
                  <c:v>-0.121848739495798</c:v>
                </c:pt>
                <c:pt idx="18228">
                  <c:v>-0.121848739495798</c:v>
                </c:pt>
                <c:pt idx="18229">
                  <c:v>-0.121848739495798</c:v>
                </c:pt>
                <c:pt idx="18230">
                  <c:v>-0.121008403361344</c:v>
                </c:pt>
                <c:pt idx="18231">
                  <c:v>-0.121008403361344</c:v>
                </c:pt>
                <c:pt idx="18232">
                  <c:v>-0.121008403361344</c:v>
                </c:pt>
                <c:pt idx="18233">
                  <c:v>-0.121008403361344</c:v>
                </c:pt>
                <c:pt idx="18234">
                  <c:v>-0.121008403361344</c:v>
                </c:pt>
                <c:pt idx="18235">
                  <c:v>-0.121008403361344</c:v>
                </c:pt>
                <c:pt idx="18236">
                  <c:v>-0.121008403361344</c:v>
                </c:pt>
                <c:pt idx="18237">
                  <c:v>-0.121008403361344</c:v>
                </c:pt>
                <c:pt idx="18238">
                  <c:v>-0.121008403361344</c:v>
                </c:pt>
                <c:pt idx="18239">
                  <c:v>-0.121008403361344</c:v>
                </c:pt>
                <c:pt idx="18240">
                  <c:v>-0.121008403361344</c:v>
                </c:pt>
                <c:pt idx="18241">
                  <c:v>-0.121008403361344</c:v>
                </c:pt>
                <c:pt idx="18242">
                  <c:v>-0.121008403361344</c:v>
                </c:pt>
                <c:pt idx="18243">
                  <c:v>-0.121008403361344</c:v>
                </c:pt>
                <c:pt idx="18244">
                  <c:v>-0.121008403361344</c:v>
                </c:pt>
                <c:pt idx="18245">
                  <c:v>-0.121008403361344</c:v>
                </c:pt>
                <c:pt idx="18246">
                  <c:v>-0.121008403361344</c:v>
                </c:pt>
                <c:pt idx="18247">
                  <c:v>-0.121008403361344</c:v>
                </c:pt>
                <c:pt idx="18248">
                  <c:v>-0.121008403361344</c:v>
                </c:pt>
                <c:pt idx="18249">
                  <c:v>-0.121008403361344</c:v>
                </c:pt>
                <c:pt idx="18250">
                  <c:v>-0.121008403361344</c:v>
                </c:pt>
                <c:pt idx="18251">
                  <c:v>-0.121008403361344</c:v>
                </c:pt>
                <c:pt idx="18252">
                  <c:v>-0.121008403361344</c:v>
                </c:pt>
                <c:pt idx="18253">
                  <c:v>-0.121008403361344</c:v>
                </c:pt>
                <c:pt idx="18254">
                  <c:v>-0.121008403361344</c:v>
                </c:pt>
                <c:pt idx="18255">
                  <c:v>-0.121008403361344</c:v>
                </c:pt>
                <c:pt idx="18256">
                  <c:v>-0.121008403361344</c:v>
                </c:pt>
                <c:pt idx="18257">
                  <c:v>-0.121008403361344</c:v>
                </c:pt>
                <c:pt idx="18258">
                  <c:v>-0.121008403361344</c:v>
                </c:pt>
                <c:pt idx="18259">
                  <c:v>-0.121008403361344</c:v>
                </c:pt>
                <c:pt idx="18260">
                  <c:v>-0.121008403361344</c:v>
                </c:pt>
                <c:pt idx="18261">
                  <c:v>-0.121008403361344</c:v>
                </c:pt>
                <c:pt idx="18262">
                  <c:v>-0.121008403361344</c:v>
                </c:pt>
                <c:pt idx="18263">
                  <c:v>-0.121008403361344</c:v>
                </c:pt>
                <c:pt idx="18264">
                  <c:v>-0.121008403361344</c:v>
                </c:pt>
                <c:pt idx="18265">
                  <c:v>-0.121008403361344</c:v>
                </c:pt>
                <c:pt idx="18266">
                  <c:v>-0.121008403361344</c:v>
                </c:pt>
                <c:pt idx="18267">
                  <c:v>-0.121008403361344</c:v>
                </c:pt>
                <c:pt idx="18268">
                  <c:v>-0.121008403361344</c:v>
                </c:pt>
                <c:pt idx="18269">
                  <c:v>-0.121008403361344</c:v>
                </c:pt>
                <c:pt idx="18270">
                  <c:v>-0.121008403361344</c:v>
                </c:pt>
                <c:pt idx="18271">
                  <c:v>-0.121008403361344</c:v>
                </c:pt>
                <c:pt idx="18272">
                  <c:v>-0.121008403361344</c:v>
                </c:pt>
                <c:pt idx="18273">
                  <c:v>-0.12016806722689</c:v>
                </c:pt>
                <c:pt idx="18274">
                  <c:v>-0.12016806722689</c:v>
                </c:pt>
                <c:pt idx="18275">
                  <c:v>-0.12016806722689</c:v>
                </c:pt>
                <c:pt idx="18276">
                  <c:v>-0.11932773109243699</c:v>
                </c:pt>
                <c:pt idx="18277">
                  <c:v>-0.11932773109243699</c:v>
                </c:pt>
                <c:pt idx="18278">
                  <c:v>-0.11932773109243699</c:v>
                </c:pt>
                <c:pt idx="18279">
                  <c:v>-0.11932773109243699</c:v>
                </c:pt>
                <c:pt idx="18280">
                  <c:v>-0.11932773109243699</c:v>
                </c:pt>
                <c:pt idx="18281">
                  <c:v>-0.11932773109243699</c:v>
                </c:pt>
                <c:pt idx="18282">
                  <c:v>-0.11932773109243699</c:v>
                </c:pt>
                <c:pt idx="18283">
                  <c:v>-0.11932773109243699</c:v>
                </c:pt>
                <c:pt idx="18284">
                  <c:v>-0.11932773109243699</c:v>
                </c:pt>
                <c:pt idx="18285">
                  <c:v>-0.11932773109243699</c:v>
                </c:pt>
                <c:pt idx="18286">
                  <c:v>-0.11932773109243699</c:v>
                </c:pt>
                <c:pt idx="18287">
                  <c:v>-0.11932773109243699</c:v>
                </c:pt>
                <c:pt idx="18288">
                  <c:v>-0.11932773109243699</c:v>
                </c:pt>
                <c:pt idx="18289">
                  <c:v>-0.11932773109243699</c:v>
                </c:pt>
                <c:pt idx="18290">
                  <c:v>-0.11932773109243699</c:v>
                </c:pt>
                <c:pt idx="18291">
                  <c:v>-0.11932773109243699</c:v>
                </c:pt>
                <c:pt idx="18292">
                  <c:v>-0.11932773109243699</c:v>
                </c:pt>
                <c:pt idx="18293">
                  <c:v>-0.11932773109243699</c:v>
                </c:pt>
                <c:pt idx="18294">
                  <c:v>-0.11932773109243699</c:v>
                </c:pt>
                <c:pt idx="18295">
                  <c:v>-0.11932773109243699</c:v>
                </c:pt>
                <c:pt idx="18296">
                  <c:v>-0.11932773109243699</c:v>
                </c:pt>
                <c:pt idx="18297">
                  <c:v>-0.11932773109243699</c:v>
                </c:pt>
                <c:pt idx="18298">
                  <c:v>-0.11932773109243699</c:v>
                </c:pt>
                <c:pt idx="18299">
                  <c:v>-0.11932773109243699</c:v>
                </c:pt>
                <c:pt idx="18300">
                  <c:v>-0.11932773109243699</c:v>
                </c:pt>
                <c:pt idx="18301">
                  <c:v>-0.11932773109243699</c:v>
                </c:pt>
                <c:pt idx="18302">
                  <c:v>-0.11932773109243699</c:v>
                </c:pt>
                <c:pt idx="18303">
                  <c:v>-0.11932773109243699</c:v>
                </c:pt>
                <c:pt idx="18304">
                  <c:v>-0.11932773109243699</c:v>
                </c:pt>
                <c:pt idx="18305">
                  <c:v>-0.11932773109243699</c:v>
                </c:pt>
                <c:pt idx="18306">
                  <c:v>-0.11932773109243699</c:v>
                </c:pt>
                <c:pt idx="18307">
                  <c:v>-0.11932773109243699</c:v>
                </c:pt>
                <c:pt idx="18308">
                  <c:v>-0.11932773109243699</c:v>
                </c:pt>
                <c:pt idx="18309">
                  <c:v>-0.11932773109243699</c:v>
                </c:pt>
                <c:pt idx="18310">
                  <c:v>-0.11932773109243699</c:v>
                </c:pt>
                <c:pt idx="18311">
                  <c:v>-0.11848739495798299</c:v>
                </c:pt>
                <c:pt idx="18312">
                  <c:v>-0.11848739495798299</c:v>
                </c:pt>
                <c:pt idx="18313">
                  <c:v>-0.11848739495798299</c:v>
                </c:pt>
                <c:pt idx="18314">
                  <c:v>-0.11848739495798299</c:v>
                </c:pt>
                <c:pt idx="18315">
                  <c:v>-0.11848739495798299</c:v>
                </c:pt>
                <c:pt idx="18316">
                  <c:v>-0.11848739495798299</c:v>
                </c:pt>
                <c:pt idx="18317">
                  <c:v>-0.11848739495798299</c:v>
                </c:pt>
                <c:pt idx="18318">
                  <c:v>-0.11848739495798299</c:v>
                </c:pt>
                <c:pt idx="18319">
                  <c:v>-0.11848739495798299</c:v>
                </c:pt>
                <c:pt idx="18320">
                  <c:v>-0.11848739495798299</c:v>
                </c:pt>
                <c:pt idx="18321">
                  <c:v>-0.11848739495798299</c:v>
                </c:pt>
                <c:pt idx="18322">
                  <c:v>-0.11848739495798299</c:v>
                </c:pt>
                <c:pt idx="18323">
                  <c:v>-0.11848739495798299</c:v>
                </c:pt>
                <c:pt idx="18324">
                  <c:v>-0.11848739495798299</c:v>
                </c:pt>
                <c:pt idx="18325">
                  <c:v>-0.11848739495798299</c:v>
                </c:pt>
                <c:pt idx="18326">
                  <c:v>-0.11848739495798299</c:v>
                </c:pt>
                <c:pt idx="18327">
                  <c:v>-0.11764705882352899</c:v>
                </c:pt>
                <c:pt idx="18328">
                  <c:v>-0.11764705882352899</c:v>
                </c:pt>
                <c:pt idx="18329">
                  <c:v>-0.11764705882352899</c:v>
                </c:pt>
                <c:pt idx="18330">
                  <c:v>-0.11764705882352899</c:v>
                </c:pt>
                <c:pt idx="18331">
                  <c:v>-0.11764705882352899</c:v>
                </c:pt>
                <c:pt idx="18332">
                  <c:v>-0.11764705882352899</c:v>
                </c:pt>
                <c:pt idx="18333">
                  <c:v>-0.11764705882352899</c:v>
                </c:pt>
                <c:pt idx="18334">
                  <c:v>-0.11764705882352899</c:v>
                </c:pt>
                <c:pt idx="18335">
                  <c:v>-0.11764705882352899</c:v>
                </c:pt>
                <c:pt idx="18336">
                  <c:v>-0.11764705882352899</c:v>
                </c:pt>
                <c:pt idx="18337">
                  <c:v>-0.11764705882352899</c:v>
                </c:pt>
                <c:pt idx="18338">
                  <c:v>-0.11848739495798299</c:v>
                </c:pt>
                <c:pt idx="18339">
                  <c:v>-0.11764705882352899</c:v>
                </c:pt>
                <c:pt idx="18340">
                  <c:v>-0.11764705882352899</c:v>
                </c:pt>
                <c:pt idx="18341">
                  <c:v>-0.11764705882352899</c:v>
                </c:pt>
                <c:pt idx="18342">
                  <c:v>-0.11764705882352899</c:v>
                </c:pt>
                <c:pt idx="18343">
                  <c:v>-0.11764705882352899</c:v>
                </c:pt>
                <c:pt idx="18344">
                  <c:v>-0.11764705882352899</c:v>
                </c:pt>
                <c:pt idx="18345">
                  <c:v>-0.11680672268907499</c:v>
                </c:pt>
                <c:pt idx="18346">
                  <c:v>-0.11764705882352899</c:v>
                </c:pt>
                <c:pt idx="18347">
                  <c:v>-0.11764705882352899</c:v>
                </c:pt>
                <c:pt idx="18348">
                  <c:v>-0.11764705882352899</c:v>
                </c:pt>
                <c:pt idx="18349">
                  <c:v>-0.11680672268907499</c:v>
                </c:pt>
                <c:pt idx="18350">
                  <c:v>-0.11680672268907499</c:v>
                </c:pt>
                <c:pt idx="18351">
                  <c:v>-0.11680672268907499</c:v>
                </c:pt>
                <c:pt idx="18352">
                  <c:v>-0.11680672268907499</c:v>
                </c:pt>
                <c:pt idx="18353">
                  <c:v>-0.11680672268907499</c:v>
                </c:pt>
                <c:pt idx="18354">
                  <c:v>-0.11680672268907499</c:v>
                </c:pt>
                <c:pt idx="18355">
                  <c:v>-0.11680672268907499</c:v>
                </c:pt>
                <c:pt idx="18356">
                  <c:v>-0.11680672268907499</c:v>
                </c:pt>
                <c:pt idx="18357">
                  <c:v>-0.11680672268907499</c:v>
                </c:pt>
                <c:pt idx="18358">
                  <c:v>-0.11680672268907499</c:v>
                </c:pt>
                <c:pt idx="18359">
                  <c:v>-0.11680672268907499</c:v>
                </c:pt>
                <c:pt idx="18360">
                  <c:v>-0.11680672268907499</c:v>
                </c:pt>
                <c:pt idx="18361">
                  <c:v>-0.11680672268907499</c:v>
                </c:pt>
                <c:pt idx="18362">
                  <c:v>-0.11680672268907499</c:v>
                </c:pt>
                <c:pt idx="18363">
                  <c:v>-0.11680672268907499</c:v>
                </c:pt>
                <c:pt idx="18364">
                  <c:v>-0.11596638655462101</c:v>
                </c:pt>
                <c:pt idx="18365">
                  <c:v>-0.11596638655462101</c:v>
                </c:pt>
                <c:pt idx="18366">
                  <c:v>-0.11596638655462101</c:v>
                </c:pt>
                <c:pt idx="18367">
                  <c:v>-0.11596638655462101</c:v>
                </c:pt>
                <c:pt idx="18368">
                  <c:v>-0.11596638655462101</c:v>
                </c:pt>
                <c:pt idx="18369">
                  <c:v>-0.11596638655462101</c:v>
                </c:pt>
                <c:pt idx="18370">
                  <c:v>-0.11596638655462101</c:v>
                </c:pt>
                <c:pt idx="18371">
                  <c:v>-0.11596638655462101</c:v>
                </c:pt>
                <c:pt idx="18372">
                  <c:v>-0.11512605042016801</c:v>
                </c:pt>
                <c:pt idx="18373">
                  <c:v>-0.11596638655462101</c:v>
                </c:pt>
                <c:pt idx="18374">
                  <c:v>-0.11596638655462101</c:v>
                </c:pt>
                <c:pt idx="18375">
                  <c:v>-0.11596638655462101</c:v>
                </c:pt>
                <c:pt idx="18376">
                  <c:v>-0.11596638655462101</c:v>
                </c:pt>
                <c:pt idx="18377">
                  <c:v>-0.11596638655462101</c:v>
                </c:pt>
                <c:pt idx="18378">
                  <c:v>-0.11596638655462101</c:v>
                </c:pt>
                <c:pt idx="18379">
                  <c:v>-0.11596638655462101</c:v>
                </c:pt>
                <c:pt idx="18380">
                  <c:v>-0.11596638655462101</c:v>
                </c:pt>
                <c:pt idx="18381">
                  <c:v>-0.11596638655462101</c:v>
                </c:pt>
                <c:pt idx="18382">
                  <c:v>-0.11596638655462101</c:v>
                </c:pt>
                <c:pt idx="18383">
                  <c:v>-0.11596638655462101</c:v>
                </c:pt>
                <c:pt idx="18384">
                  <c:v>-0.11596638655462101</c:v>
                </c:pt>
                <c:pt idx="18385">
                  <c:v>-0.11596638655462101</c:v>
                </c:pt>
                <c:pt idx="18386">
                  <c:v>-0.11596638655462101</c:v>
                </c:pt>
                <c:pt idx="18387">
                  <c:v>-0.11596638655462101</c:v>
                </c:pt>
                <c:pt idx="18388">
                  <c:v>-0.11596638655462101</c:v>
                </c:pt>
                <c:pt idx="18389">
                  <c:v>-0.11596638655462101</c:v>
                </c:pt>
                <c:pt idx="18390">
                  <c:v>-0.11596638655462101</c:v>
                </c:pt>
                <c:pt idx="18391">
                  <c:v>-0.11596638655462101</c:v>
                </c:pt>
                <c:pt idx="18392">
                  <c:v>-0.11596638655462101</c:v>
                </c:pt>
                <c:pt idx="18393">
                  <c:v>-0.11596638655462101</c:v>
                </c:pt>
                <c:pt idx="18394">
                  <c:v>-0.11596638655462101</c:v>
                </c:pt>
                <c:pt idx="18395">
                  <c:v>-0.11596638655462101</c:v>
                </c:pt>
                <c:pt idx="18396">
                  <c:v>-0.11596638655462101</c:v>
                </c:pt>
                <c:pt idx="18397">
                  <c:v>-0.11596638655462101</c:v>
                </c:pt>
                <c:pt idx="18398">
                  <c:v>-0.11596638655462101</c:v>
                </c:pt>
                <c:pt idx="18399">
                  <c:v>-0.11596638655462101</c:v>
                </c:pt>
                <c:pt idx="18400">
                  <c:v>-0.11596638655462101</c:v>
                </c:pt>
                <c:pt idx="18401">
                  <c:v>-0.11596638655462101</c:v>
                </c:pt>
                <c:pt idx="18402">
                  <c:v>-0.11596638655462101</c:v>
                </c:pt>
                <c:pt idx="18403">
                  <c:v>-0.11596638655462101</c:v>
                </c:pt>
                <c:pt idx="18404">
                  <c:v>-0.11596638655462101</c:v>
                </c:pt>
                <c:pt idx="18405">
                  <c:v>-0.11596638655462101</c:v>
                </c:pt>
                <c:pt idx="18406">
                  <c:v>-0.11596638655462101</c:v>
                </c:pt>
                <c:pt idx="18407">
                  <c:v>-0.11596638655462101</c:v>
                </c:pt>
                <c:pt idx="18408">
                  <c:v>-0.11596638655462101</c:v>
                </c:pt>
                <c:pt idx="18409">
                  <c:v>-0.11596638655462101</c:v>
                </c:pt>
                <c:pt idx="18410">
                  <c:v>-0.11596638655462101</c:v>
                </c:pt>
                <c:pt idx="18411">
                  <c:v>-0.11596638655462101</c:v>
                </c:pt>
                <c:pt idx="18412">
                  <c:v>-0.11596638655462101</c:v>
                </c:pt>
                <c:pt idx="18413">
                  <c:v>-0.11596638655462101</c:v>
                </c:pt>
                <c:pt idx="18414">
                  <c:v>-0.11596638655462101</c:v>
                </c:pt>
                <c:pt idx="18415">
                  <c:v>-0.11596638655462101</c:v>
                </c:pt>
                <c:pt idx="18416">
                  <c:v>-0.11596638655462101</c:v>
                </c:pt>
                <c:pt idx="18417">
                  <c:v>-0.11596638655462101</c:v>
                </c:pt>
                <c:pt idx="18418">
                  <c:v>-0.11596638655462101</c:v>
                </c:pt>
                <c:pt idx="18419">
                  <c:v>-0.11596638655462101</c:v>
                </c:pt>
                <c:pt idx="18420">
                  <c:v>-0.11596638655462101</c:v>
                </c:pt>
                <c:pt idx="18421">
                  <c:v>-0.11596638655462101</c:v>
                </c:pt>
                <c:pt idx="18422">
                  <c:v>-0.11596638655462101</c:v>
                </c:pt>
                <c:pt idx="18423">
                  <c:v>-0.11596638655462101</c:v>
                </c:pt>
                <c:pt idx="18424">
                  <c:v>-0.11596638655462101</c:v>
                </c:pt>
                <c:pt idx="18425">
                  <c:v>-0.11596638655462101</c:v>
                </c:pt>
                <c:pt idx="18426">
                  <c:v>-0.11596638655462101</c:v>
                </c:pt>
                <c:pt idx="18427">
                  <c:v>-0.11596638655462101</c:v>
                </c:pt>
                <c:pt idx="18428">
                  <c:v>-0.11596638655462101</c:v>
                </c:pt>
                <c:pt idx="18429">
                  <c:v>-0.11596638655462101</c:v>
                </c:pt>
                <c:pt idx="18430">
                  <c:v>-0.11596638655462101</c:v>
                </c:pt>
                <c:pt idx="18431">
                  <c:v>-0.11596638655462101</c:v>
                </c:pt>
                <c:pt idx="18432">
                  <c:v>-0.11596638655462101</c:v>
                </c:pt>
                <c:pt idx="18433">
                  <c:v>-0.11596638655462101</c:v>
                </c:pt>
                <c:pt idx="18434">
                  <c:v>-0.11596638655462101</c:v>
                </c:pt>
                <c:pt idx="18435">
                  <c:v>-0.11596638655462101</c:v>
                </c:pt>
                <c:pt idx="18436">
                  <c:v>-0.11596638655462101</c:v>
                </c:pt>
                <c:pt idx="18437">
                  <c:v>-0.11596638655462101</c:v>
                </c:pt>
                <c:pt idx="18438">
                  <c:v>-0.11596638655462101</c:v>
                </c:pt>
                <c:pt idx="18439">
                  <c:v>-0.11596638655462101</c:v>
                </c:pt>
                <c:pt idx="18440">
                  <c:v>-0.11596638655462101</c:v>
                </c:pt>
                <c:pt idx="18441">
                  <c:v>-0.11596638655462101</c:v>
                </c:pt>
                <c:pt idx="18442">
                  <c:v>-0.11596638655462101</c:v>
                </c:pt>
                <c:pt idx="18443">
                  <c:v>-0.11596638655462101</c:v>
                </c:pt>
                <c:pt idx="18444">
                  <c:v>-0.11596638655462101</c:v>
                </c:pt>
                <c:pt idx="18445">
                  <c:v>-0.11596638655462101</c:v>
                </c:pt>
                <c:pt idx="18446">
                  <c:v>-0.11596638655462101</c:v>
                </c:pt>
                <c:pt idx="18447">
                  <c:v>-0.11596638655462101</c:v>
                </c:pt>
                <c:pt idx="18448">
                  <c:v>-0.11596638655462101</c:v>
                </c:pt>
                <c:pt idx="18449">
                  <c:v>-0.11596638655462101</c:v>
                </c:pt>
                <c:pt idx="18450">
                  <c:v>-0.11596638655462101</c:v>
                </c:pt>
                <c:pt idx="18451">
                  <c:v>-0.11596638655462101</c:v>
                </c:pt>
                <c:pt idx="18452">
                  <c:v>-0.11596638655462101</c:v>
                </c:pt>
                <c:pt idx="18453">
                  <c:v>-0.11596638655462101</c:v>
                </c:pt>
                <c:pt idx="18454">
                  <c:v>-0.11512605042016801</c:v>
                </c:pt>
                <c:pt idx="18455">
                  <c:v>-0.11512605042016801</c:v>
                </c:pt>
                <c:pt idx="18456">
                  <c:v>-0.11512605042016801</c:v>
                </c:pt>
                <c:pt idx="18457">
                  <c:v>-0.11512605042016801</c:v>
                </c:pt>
                <c:pt idx="18458">
                  <c:v>-0.11512605042016801</c:v>
                </c:pt>
                <c:pt idx="18459">
                  <c:v>-0.11512605042016801</c:v>
                </c:pt>
                <c:pt idx="18460">
                  <c:v>-0.11512605042016801</c:v>
                </c:pt>
                <c:pt idx="18461">
                  <c:v>-0.11512605042016801</c:v>
                </c:pt>
                <c:pt idx="18462">
                  <c:v>-0.11512605042016801</c:v>
                </c:pt>
                <c:pt idx="18463">
                  <c:v>-0.11512605042016801</c:v>
                </c:pt>
                <c:pt idx="18464">
                  <c:v>-0.11512605042016801</c:v>
                </c:pt>
                <c:pt idx="18465">
                  <c:v>-0.11512605042016801</c:v>
                </c:pt>
                <c:pt idx="18466">
                  <c:v>-0.11512605042016801</c:v>
                </c:pt>
                <c:pt idx="18467">
                  <c:v>-0.11512605042016801</c:v>
                </c:pt>
                <c:pt idx="18468">
                  <c:v>-0.11512605042016801</c:v>
                </c:pt>
                <c:pt idx="18469">
                  <c:v>-0.11512605042016801</c:v>
                </c:pt>
                <c:pt idx="18470">
                  <c:v>-0.11512605042016801</c:v>
                </c:pt>
                <c:pt idx="18471">
                  <c:v>-0.11512605042016801</c:v>
                </c:pt>
                <c:pt idx="18472">
                  <c:v>-0.11512605042016801</c:v>
                </c:pt>
                <c:pt idx="18473">
                  <c:v>-0.11512605042016801</c:v>
                </c:pt>
                <c:pt idx="18474">
                  <c:v>-0.11512605042016801</c:v>
                </c:pt>
                <c:pt idx="18475">
                  <c:v>-0.11512605042016801</c:v>
                </c:pt>
                <c:pt idx="18476">
                  <c:v>-0.11512605042016801</c:v>
                </c:pt>
                <c:pt idx="18477">
                  <c:v>-0.11512605042016801</c:v>
                </c:pt>
                <c:pt idx="18478">
                  <c:v>-0.11596638655462101</c:v>
                </c:pt>
                <c:pt idx="18479">
                  <c:v>-0.11596638655462101</c:v>
                </c:pt>
                <c:pt idx="18480">
                  <c:v>-0.11596638655462101</c:v>
                </c:pt>
                <c:pt idx="18481">
                  <c:v>-0.11596638655462101</c:v>
                </c:pt>
                <c:pt idx="18482">
                  <c:v>-0.11596638655462101</c:v>
                </c:pt>
                <c:pt idx="18483">
                  <c:v>-0.11596638655462101</c:v>
                </c:pt>
                <c:pt idx="18484">
                  <c:v>-0.11596638655462101</c:v>
                </c:pt>
                <c:pt idx="18485">
                  <c:v>-0.11596638655462101</c:v>
                </c:pt>
                <c:pt idx="18486">
                  <c:v>-0.11596638655462101</c:v>
                </c:pt>
                <c:pt idx="18487">
                  <c:v>-0.11596638655462101</c:v>
                </c:pt>
                <c:pt idx="18488">
                  <c:v>-0.11512605042016801</c:v>
                </c:pt>
                <c:pt idx="18489">
                  <c:v>-0.11512605042016801</c:v>
                </c:pt>
                <c:pt idx="18490">
                  <c:v>-0.11512605042016801</c:v>
                </c:pt>
                <c:pt idx="18491">
                  <c:v>-0.11512605042016801</c:v>
                </c:pt>
                <c:pt idx="18492">
                  <c:v>-0.11512605042016801</c:v>
                </c:pt>
                <c:pt idx="18493">
                  <c:v>-0.11512605042016801</c:v>
                </c:pt>
                <c:pt idx="18494">
                  <c:v>-0.11512605042016801</c:v>
                </c:pt>
                <c:pt idx="18495">
                  <c:v>-0.11512605042016801</c:v>
                </c:pt>
                <c:pt idx="18496">
                  <c:v>-0.11512605042016801</c:v>
                </c:pt>
                <c:pt idx="18497">
                  <c:v>-0.11512605042016801</c:v>
                </c:pt>
                <c:pt idx="18498">
                  <c:v>-0.114285714285714</c:v>
                </c:pt>
                <c:pt idx="18499">
                  <c:v>-0.114285714285714</c:v>
                </c:pt>
                <c:pt idx="18500">
                  <c:v>-0.114285714285714</c:v>
                </c:pt>
                <c:pt idx="18501">
                  <c:v>-0.114285714285714</c:v>
                </c:pt>
                <c:pt idx="18502">
                  <c:v>-0.114285714285714</c:v>
                </c:pt>
                <c:pt idx="18503">
                  <c:v>-0.114285714285714</c:v>
                </c:pt>
                <c:pt idx="18504">
                  <c:v>-0.114285714285714</c:v>
                </c:pt>
                <c:pt idx="18505">
                  <c:v>-0.114285714285714</c:v>
                </c:pt>
                <c:pt idx="18506">
                  <c:v>-0.114285714285714</c:v>
                </c:pt>
                <c:pt idx="18507">
                  <c:v>-0.11344537815126</c:v>
                </c:pt>
                <c:pt idx="18508">
                  <c:v>-0.11344537815126</c:v>
                </c:pt>
                <c:pt idx="18509">
                  <c:v>-0.11344537815126</c:v>
                </c:pt>
                <c:pt idx="18510">
                  <c:v>-0.11344537815126</c:v>
                </c:pt>
                <c:pt idx="18511">
                  <c:v>-0.11344537815126</c:v>
                </c:pt>
                <c:pt idx="18512">
                  <c:v>-0.11344537815126</c:v>
                </c:pt>
                <c:pt idx="18513">
                  <c:v>-0.11344537815126</c:v>
                </c:pt>
                <c:pt idx="18514">
                  <c:v>-0.11344537815126</c:v>
                </c:pt>
                <c:pt idx="18515">
                  <c:v>-0.11344537815126</c:v>
                </c:pt>
                <c:pt idx="18516">
                  <c:v>-0.11344537815126</c:v>
                </c:pt>
                <c:pt idx="18517">
                  <c:v>-0.11344537815126</c:v>
                </c:pt>
                <c:pt idx="18518">
                  <c:v>-0.11344537815126</c:v>
                </c:pt>
                <c:pt idx="18519">
                  <c:v>-0.11344537815126</c:v>
                </c:pt>
                <c:pt idx="18520">
                  <c:v>-0.11344537815126</c:v>
                </c:pt>
                <c:pt idx="18521">
                  <c:v>-0.11344537815126</c:v>
                </c:pt>
                <c:pt idx="18522">
                  <c:v>-0.11344537815126</c:v>
                </c:pt>
                <c:pt idx="18523">
                  <c:v>-0.11344537815126</c:v>
                </c:pt>
                <c:pt idx="18524">
                  <c:v>-0.11344537815126</c:v>
                </c:pt>
                <c:pt idx="18525">
                  <c:v>-0.11344537815126</c:v>
                </c:pt>
                <c:pt idx="18526">
                  <c:v>-0.11344537815126</c:v>
                </c:pt>
                <c:pt idx="18527">
                  <c:v>-0.11344537815126</c:v>
                </c:pt>
                <c:pt idx="18528">
                  <c:v>-0.11344537815126</c:v>
                </c:pt>
                <c:pt idx="18529">
                  <c:v>-0.11344537815126</c:v>
                </c:pt>
                <c:pt idx="18530">
                  <c:v>-0.112605042016806</c:v>
                </c:pt>
                <c:pt idx="18531">
                  <c:v>-0.112605042016806</c:v>
                </c:pt>
                <c:pt idx="18532">
                  <c:v>-0.112605042016806</c:v>
                </c:pt>
                <c:pt idx="18533">
                  <c:v>-0.112605042016806</c:v>
                </c:pt>
                <c:pt idx="18534">
                  <c:v>-0.112605042016806</c:v>
                </c:pt>
                <c:pt idx="18535">
                  <c:v>-0.112605042016806</c:v>
                </c:pt>
                <c:pt idx="18536">
                  <c:v>-0.112605042016806</c:v>
                </c:pt>
                <c:pt idx="18537">
                  <c:v>-0.112605042016806</c:v>
                </c:pt>
                <c:pt idx="18538">
                  <c:v>-0.112605042016806</c:v>
                </c:pt>
                <c:pt idx="18539">
                  <c:v>-0.112605042016806</c:v>
                </c:pt>
                <c:pt idx="18540">
                  <c:v>-0.112605042016806</c:v>
                </c:pt>
                <c:pt idx="18541">
                  <c:v>-0.112605042016806</c:v>
                </c:pt>
                <c:pt idx="18542">
                  <c:v>-0.112605042016806</c:v>
                </c:pt>
                <c:pt idx="18543">
                  <c:v>-0.112605042016806</c:v>
                </c:pt>
                <c:pt idx="18544">
                  <c:v>-0.111764705882352</c:v>
                </c:pt>
                <c:pt idx="18545">
                  <c:v>-0.111764705882352</c:v>
                </c:pt>
                <c:pt idx="18546">
                  <c:v>-0.111764705882352</c:v>
                </c:pt>
                <c:pt idx="18547">
                  <c:v>-0.112605042016806</c:v>
                </c:pt>
                <c:pt idx="18548">
                  <c:v>-0.112605042016806</c:v>
                </c:pt>
                <c:pt idx="18549">
                  <c:v>-0.112605042016806</c:v>
                </c:pt>
                <c:pt idx="18550">
                  <c:v>-0.112605042016806</c:v>
                </c:pt>
                <c:pt idx="18551">
                  <c:v>-0.112605042016806</c:v>
                </c:pt>
                <c:pt idx="18552">
                  <c:v>-0.112605042016806</c:v>
                </c:pt>
                <c:pt idx="18553">
                  <c:v>-0.11344537815126</c:v>
                </c:pt>
                <c:pt idx="18554">
                  <c:v>-0.11344537815126</c:v>
                </c:pt>
                <c:pt idx="18555">
                  <c:v>-0.11344537815126</c:v>
                </c:pt>
                <c:pt idx="18556">
                  <c:v>-0.11344537815126</c:v>
                </c:pt>
                <c:pt idx="18557">
                  <c:v>-0.11344537815126</c:v>
                </c:pt>
                <c:pt idx="18558">
                  <c:v>-0.11344537815126</c:v>
                </c:pt>
                <c:pt idx="18559">
                  <c:v>-0.11344537815126</c:v>
                </c:pt>
                <c:pt idx="18560">
                  <c:v>-0.114285714285714</c:v>
                </c:pt>
                <c:pt idx="18561">
                  <c:v>-0.114285714285714</c:v>
                </c:pt>
                <c:pt idx="18562">
                  <c:v>-0.114285714285714</c:v>
                </c:pt>
                <c:pt idx="18563">
                  <c:v>-0.114285714285714</c:v>
                </c:pt>
                <c:pt idx="18564">
                  <c:v>-0.114285714285714</c:v>
                </c:pt>
                <c:pt idx="18565">
                  <c:v>-0.11512605042016801</c:v>
                </c:pt>
                <c:pt idx="18566">
                  <c:v>-0.11512605042016801</c:v>
                </c:pt>
                <c:pt idx="18567">
                  <c:v>-0.11512605042016801</c:v>
                </c:pt>
                <c:pt idx="18568">
                  <c:v>-0.11512605042016801</c:v>
                </c:pt>
                <c:pt idx="18569">
                  <c:v>-0.11512605042016801</c:v>
                </c:pt>
                <c:pt idx="18570">
                  <c:v>-0.11512605042016801</c:v>
                </c:pt>
                <c:pt idx="18571">
                  <c:v>-0.11512605042016801</c:v>
                </c:pt>
                <c:pt idx="18572">
                  <c:v>-0.11512605042016801</c:v>
                </c:pt>
                <c:pt idx="18573">
                  <c:v>-0.11512605042016801</c:v>
                </c:pt>
                <c:pt idx="18574">
                  <c:v>-0.11512605042016801</c:v>
                </c:pt>
                <c:pt idx="18575">
                  <c:v>-0.11512605042016801</c:v>
                </c:pt>
                <c:pt idx="18576">
                  <c:v>-0.11512605042016801</c:v>
                </c:pt>
                <c:pt idx="18577">
                  <c:v>-0.11512605042016801</c:v>
                </c:pt>
                <c:pt idx="18578">
                  <c:v>-0.11512605042016801</c:v>
                </c:pt>
                <c:pt idx="18579">
                  <c:v>-0.11512605042016801</c:v>
                </c:pt>
                <c:pt idx="18580">
                  <c:v>-0.11512605042016801</c:v>
                </c:pt>
                <c:pt idx="18581">
                  <c:v>-0.11512605042016801</c:v>
                </c:pt>
                <c:pt idx="18582">
                  <c:v>-0.11512605042016801</c:v>
                </c:pt>
                <c:pt idx="18583">
                  <c:v>-0.11512605042016801</c:v>
                </c:pt>
                <c:pt idx="18584">
                  <c:v>-0.11512605042016801</c:v>
                </c:pt>
                <c:pt idx="18585">
                  <c:v>-0.11512605042016801</c:v>
                </c:pt>
                <c:pt idx="18586">
                  <c:v>-0.11512605042016801</c:v>
                </c:pt>
                <c:pt idx="18587">
                  <c:v>-0.11512605042016801</c:v>
                </c:pt>
                <c:pt idx="18588">
                  <c:v>-0.11512605042016801</c:v>
                </c:pt>
                <c:pt idx="18589">
                  <c:v>-0.11512605042016801</c:v>
                </c:pt>
                <c:pt idx="18590">
                  <c:v>-0.11512605042016801</c:v>
                </c:pt>
                <c:pt idx="18591">
                  <c:v>-0.11512605042016801</c:v>
                </c:pt>
                <c:pt idx="18592">
                  <c:v>-0.11512605042016801</c:v>
                </c:pt>
                <c:pt idx="18593">
                  <c:v>-0.11512605042016801</c:v>
                </c:pt>
                <c:pt idx="18594">
                  <c:v>-0.11512605042016801</c:v>
                </c:pt>
                <c:pt idx="18595">
                  <c:v>-0.11512605042016801</c:v>
                </c:pt>
                <c:pt idx="18596">
                  <c:v>-0.11512605042016801</c:v>
                </c:pt>
                <c:pt idx="18597">
                  <c:v>-0.11512605042016801</c:v>
                </c:pt>
                <c:pt idx="18598">
                  <c:v>-0.11512605042016801</c:v>
                </c:pt>
                <c:pt idx="18599">
                  <c:v>-0.11512605042016801</c:v>
                </c:pt>
                <c:pt idx="18600">
                  <c:v>-0.11512605042016801</c:v>
                </c:pt>
                <c:pt idx="18601">
                  <c:v>-0.11512605042016801</c:v>
                </c:pt>
                <c:pt idx="18602">
                  <c:v>-0.11512605042016801</c:v>
                </c:pt>
                <c:pt idx="18603">
                  <c:v>-0.11512605042016801</c:v>
                </c:pt>
                <c:pt idx="18604">
                  <c:v>-0.11512605042016801</c:v>
                </c:pt>
                <c:pt idx="18605">
                  <c:v>-0.11596638655462101</c:v>
                </c:pt>
                <c:pt idx="18606">
                  <c:v>-0.11596638655462101</c:v>
                </c:pt>
                <c:pt idx="18607">
                  <c:v>-0.11596638655462101</c:v>
                </c:pt>
                <c:pt idx="18608">
                  <c:v>-0.11596638655462101</c:v>
                </c:pt>
                <c:pt idx="18609">
                  <c:v>-0.11596638655462101</c:v>
                </c:pt>
                <c:pt idx="18610">
                  <c:v>-0.11596638655462101</c:v>
                </c:pt>
                <c:pt idx="18611">
                  <c:v>-0.11596638655462101</c:v>
                </c:pt>
                <c:pt idx="18612">
                  <c:v>-0.11596638655462101</c:v>
                </c:pt>
                <c:pt idx="18613">
                  <c:v>-0.11512605042016801</c:v>
                </c:pt>
                <c:pt idx="18614">
                  <c:v>-0.11512605042016801</c:v>
                </c:pt>
                <c:pt idx="18615">
                  <c:v>-0.11596638655462101</c:v>
                </c:pt>
                <c:pt idx="18616">
                  <c:v>-0.11596638655462101</c:v>
                </c:pt>
                <c:pt idx="18617">
                  <c:v>-0.11596638655462101</c:v>
                </c:pt>
                <c:pt idx="18618">
                  <c:v>-0.11596638655462101</c:v>
                </c:pt>
                <c:pt idx="18619">
                  <c:v>-0.11596638655462101</c:v>
                </c:pt>
                <c:pt idx="18620">
                  <c:v>-0.11596638655462101</c:v>
                </c:pt>
                <c:pt idx="18621">
                  <c:v>-0.11596638655462101</c:v>
                </c:pt>
                <c:pt idx="18622">
                  <c:v>-0.11596638655462101</c:v>
                </c:pt>
                <c:pt idx="18623">
                  <c:v>-0.11596638655462101</c:v>
                </c:pt>
                <c:pt idx="18624">
                  <c:v>-0.11596638655462101</c:v>
                </c:pt>
                <c:pt idx="18625">
                  <c:v>-0.11596638655462101</c:v>
                </c:pt>
                <c:pt idx="18626">
                  <c:v>-0.11512605042016801</c:v>
                </c:pt>
                <c:pt idx="18627">
                  <c:v>-0.11596638655462101</c:v>
                </c:pt>
                <c:pt idx="18628">
                  <c:v>-0.11596638655462101</c:v>
                </c:pt>
                <c:pt idx="18629">
                  <c:v>-0.11596638655462101</c:v>
                </c:pt>
                <c:pt idx="18630">
                  <c:v>-0.11596638655462101</c:v>
                </c:pt>
                <c:pt idx="18631">
                  <c:v>-0.11596638655462101</c:v>
                </c:pt>
                <c:pt idx="18632">
                  <c:v>-0.11596638655462101</c:v>
                </c:pt>
                <c:pt idx="18633">
                  <c:v>-0.11596638655462101</c:v>
                </c:pt>
                <c:pt idx="18634">
                  <c:v>-0.11596638655462101</c:v>
                </c:pt>
                <c:pt idx="18635">
                  <c:v>-0.11512605042016801</c:v>
                </c:pt>
                <c:pt idx="18636">
                  <c:v>-0.11512605042016801</c:v>
                </c:pt>
                <c:pt idx="18637">
                  <c:v>-0.114285714285714</c:v>
                </c:pt>
                <c:pt idx="18638">
                  <c:v>-0.114285714285714</c:v>
                </c:pt>
                <c:pt idx="18639">
                  <c:v>-0.114285714285714</c:v>
                </c:pt>
                <c:pt idx="18640">
                  <c:v>-0.114285714285714</c:v>
                </c:pt>
                <c:pt idx="18641">
                  <c:v>-0.114285714285714</c:v>
                </c:pt>
                <c:pt idx="18642">
                  <c:v>-0.114285714285714</c:v>
                </c:pt>
                <c:pt idx="18643">
                  <c:v>-0.114285714285714</c:v>
                </c:pt>
                <c:pt idx="18644">
                  <c:v>-0.114285714285714</c:v>
                </c:pt>
                <c:pt idx="18645">
                  <c:v>-0.114285714285714</c:v>
                </c:pt>
                <c:pt idx="18646">
                  <c:v>-0.114285714285714</c:v>
                </c:pt>
                <c:pt idx="18647">
                  <c:v>-0.114285714285714</c:v>
                </c:pt>
                <c:pt idx="18648">
                  <c:v>-0.114285714285714</c:v>
                </c:pt>
                <c:pt idx="18649">
                  <c:v>-0.114285714285714</c:v>
                </c:pt>
                <c:pt idx="18650">
                  <c:v>-0.114285714285714</c:v>
                </c:pt>
                <c:pt idx="18651">
                  <c:v>-0.114285714285714</c:v>
                </c:pt>
                <c:pt idx="18652">
                  <c:v>-0.114285714285714</c:v>
                </c:pt>
                <c:pt idx="18653">
                  <c:v>-0.114285714285714</c:v>
                </c:pt>
                <c:pt idx="18654">
                  <c:v>-0.114285714285714</c:v>
                </c:pt>
                <c:pt idx="18655">
                  <c:v>-0.114285714285714</c:v>
                </c:pt>
                <c:pt idx="18656">
                  <c:v>-0.114285714285714</c:v>
                </c:pt>
                <c:pt idx="18657">
                  <c:v>-0.114285714285714</c:v>
                </c:pt>
                <c:pt idx="18658">
                  <c:v>-0.114285714285714</c:v>
                </c:pt>
                <c:pt idx="18659">
                  <c:v>-0.114285714285714</c:v>
                </c:pt>
                <c:pt idx="18660">
                  <c:v>-0.114285714285714</c:v>
                </c:pt>
                <c:pt idx="18661">
                  <c:v>-0.114285714285714</c:v>
                </c:pt>
                <c:pt idx="18662">
                  <c:v>-0.114285714285714</c:v>
                </c:pt>
                <c:pt idx="18663">
                  <c:v>-0.114285714285714</c:v>
                </c:pt>
                <c:pt idx="18664">
                  <c:v>-0.114285714285714</c:v>
                </c:pt>
                <c:pt idx="18665">
                  <c:v>-0.114285714285714</c:v>
                </c:pt>
                <c:pt idx="18666">
                  <c:v>-0.114285714285714</c:v>
                </c:pt>
                <c:pt idx="18667">
                  <c:v>-0.114285714285714</c:v>
                </c:pt>
                <c:pt idx="18668">
                  <c:v>-0.114285714285714</c:v>
                </c:pt>
                <c:pt idx="18669">
                  <c:v>-0.114285714285714</c:v>
                </c:pt>
                <c:pt idx="18670">
                  <c:v>-0.114285714285714</c:v>
                </c:pt>
                <c:pt idx="18671">
                  <c:v>-0.114285714285714</c:v>
                </c:pt>
                <c:pt idx="18672">
                  <c:v>-0.114285714285714</c:v>
                </c:pt>
                <c:pt idx="18673">
                  <c:v>-0.114285714285714</c:v>
                </c:pt>
                <c:pt idx="18674">
                  <c:v>-0.114285714285714</c:v>
                </c:pt>
                <c:pt idx="18675">
                  <c:v>-0.114285714285714</c:v>
                </c:pt>
                <c:pt idx="18676">
                  <c:v>-0.114285714285714</c:v>
                </c:pt>
                <c:pt idx="18677">
                  <c:v>-0.11344537815126</c:v>
                </c:pt>
                <c:pt idx="18678">
                  <c:v>-0.11344537815126</c:v>
                </c:pt>
                <c:pt idx="18679">
                  <c:v>-0.11344537815126</c:v>
                </c:pt>
                <c:pt idx="18680">
                  <c:v>-0.11344537815126</c:v>
                </c:pt>
                <c:pt idx="18681">
                  <c:v>-0.11344537815126</c:v>
                </c:pt>
                <c:pt idx="18682">
                  <c:v>-0.11344537815126</c:v>
                </c:pt>
                <c:pt idx="18683">
                  <c:v>-0.11344537815126</c:v>
                </c:pt>
                <c:pt idx="18684">
                  <c:v>-0.11344537815126</c:v>
                </c:pt>
                <c:pt idx="18685">
                  <c:v>-0.11344537815126</c:v>
                </c:pt>
                <c:pt idx="18686">
                  <c:v>-0.11344537815126</c:v>
                </c:pt>
                <c:pt idx="18687">
                  <c:v>-0.11344537815126</c:v>
                </c:pt>
                <c:pt idx="18688">
                  <c:v>-0.11344537815126</c:v>
                </c:pt>
                <c:pt idx="18689">
                  <c:v>-0.11344537815126</c:v>
                </c:pt>
                <c:pt idx="18690">
                  <c:v>-0.11344537815126</c:v>
                </c:pt>
                <c:pt idx="18691">
                  <c:v>-0.11344537815126</c:v>
                </c:pt>
                <c:pt idx="18692">
                  <c:v>-0.11344537815126</c:v>
                </c:pt>
                <c:pt idx="18693">
                  <c:v>-0.11344537815126</c:v>
                </c:pt>
                <c:pt idx="18694">
                  <c:v>-0.11344537815126</c:v>
                </c:pt>
                <c:pt idx="18695">
                  <c:v>-0.114285714285714</c:v>
                </c:pt>
                <c:pt idx="18696">
                  <c:v>-0.114285714285714</c:v>
                </c:pt>
                <c:pt idx="18697">
                  <c:v>-0.114285714285714</c:v>
                </c:pt>
                <c:pt idx="18698">
                  <c:v>-0.114285714285714</c:v>
                </c:pt>
                <c:pt idx="18699">
                  <c:v>-0.114285714285714</c:v>
                </c:pt>
                <c:pt idx="18700">
                  <c:v>-0.114285714285714</c:v>
                </c:pt>
                <c:pt idx="18701">
                  <c:v>-0.114285714285714</c:v>
                </c:pt>
                <c:pt idx="18702">
                  <c:v>-0.114285714285714</c:v>
                </c:pt>
                <c:pt idx="18703">
                  <c:v>-0.114285714285714</c:v>
                </c:pt>
                <c:pt idx="18704">
                  <c:v>-0.114285714285714</c:v>
                </c:pt>
                <c:pt idx="18705">
                  <c:v>-0.114285714285714</c:v>
                </c:pt>
                <c:pt idx="18706">
                  <c:v>-0.114285714285714</c:v>
                </c:pt>
                <c:pt idx="18707">
                  <c:v>-0.114285714285714</c:v>
                </c:pt>
                <c:pt idx="18708">
                  <c:v>-0.114285714285714</c:v>
                </c:pt>
                <c:pt idx="18709">
                  <c:v>-0.114285714285714</c:v>
                </c:pt>
                <c:pt idx="18710">
                  <c:v>-0.114285714285714</c:v>
                </c:pt>
                <c:pt idx="18711">
                  <c:v>-0.114285714285714</c:v>
                </c:pt>
                <c:pt idx="18712">
                  <c:v>-0.114285714285714</c:v>
                </c:pt>
                <c:pt idx="18713">
                  <c:v>-0.114285714285714</c:v>
                </c:pt>
                <c:pt idx="18714">
                  <c:v>-0.114285714285714</c:v>
                </c:pt>
                <c:pt idx="18715">
                  <c:v>-0.114285714285714</c:v>
                </c:pt>
                <c:pt idx="18716">
                  <c:v>-0.114285714285714</c:v>
                </c:pt>
                <c:pt idx="18717">
                  <c:v>-0.114285714285714</c:v>
                </c:pt>
                <c:pt idx="18718">
                  <c:v>-0.114285714285714</c:v>
                </c:pt>
                <c:pt idx="18719">
                  <c:v>-0.114285714285714</c:v>
                </c:pt>
                <c:pt idx="18720">
                  <c:v>-0.114285714285714</c:v>
                </c:pt>
                <c:pt idx="18721">
                  <c:v>-0.114285714285714</c:v>
                </c:pt>
                <c:pt idx="18722">
                  <c:v>-0.114285714285714</c:v>
                </c:pt>
                <c:pt idx="18723">
                  <c:v>-0.114285714285714</c:v>
                </c:pt>
                <c:pt idx="18724">
                  <c:v>-0.114285714285714</c:v>
                </c:pt>
                <c:pt idx="18725">
                  <c:v>-0.11512605042016701</c:v>
                </c:pt>
                <c:pt idx="18726">
                  <c:v>-0.11512605042016701</c:v>
                </c:pt>
                <c:pt idx="18727">
                  <c:v>-0.11512605042016701</c:v>
                </c:pt>
                <c:pt idx="18728">
                  <c:v>-0.11512605042016701</c:v>
                </c:pt>
                <c:pt idx="18729">
                  <c:v>-0.11512605042016701</c:v>
                </c:pt>
                <c:pt idx="18730">
                  <c:v>-0.11512605042016701</c:v>
                </c:pt>
                <c:pt idx="18731">
                  <c:v>-0.114285714285714</c:v>
                </c:pt>
                <c:pt idx="18732">
                  <c:v>-0.114285714285714</c:v>
                </c:pt>
                <c:pt idx="18733">
                  <c:v>-0.11512605042016701</c:v>
                </c:pt>
                <c:pt idx="18734">
                  <c:v>-0.11512605042016701</c:v>
                </c:pt>
                <c:pt idx="18735">
                  <c:v>-0.11512605042016701</c:v>
                </c:pt>
                <c:pt idx="18736">
                  <c:v>-0.11512605042016701</c:v>
                </c:pt>
                <c:pt idx="18737">
                  <c:v>-0.11512605042016701</c:v>
                </c:pt>
                <c:pt idx="18738">
                  <c:v>-0.11512605042016701</c:v>
                </c:pt>
                <c:pt idx="18739">
                  <c:v>-0.11512605042016701</c:v>
                </c:pt>
                <c:pt idx="18740">
                  <c:v>-0.11512605042016701</c:v>
                </c:pt>
                <c:pt idx="18741">
                  <c:v>-0.11512605042016701</c:v>
                </c:pt>
                <c:pt idx="18742">
                  <c:v>-0.11512605042016701</c:v>
                </c:pt>
                <c:pt idx="18743">
                  <c:v>-0.11512605042016701</c:v>
                </c:pt>
                <c:pt idx="18744">
                  <c:v>-0.11512605042016701</c:v>
                </c:pt>
                <c:pt idx="18745">
                  <c:v>-0.11512605042016701</c:v>
                </c:pt>
                <c:pt idx="18746">
                  <c:v>-0.11512605042016701</c:v>
                </c:pt>
                <c:pt idx="18747">
                  <c:v>-0.11512605042016701</c:v>
                </c:pt>
                <c:pt idx="18748">
                  <c:v>-0.11512605042016701</c:v>
                </c:pt>
                <c:pt idx="18749">
                  <c:v>-0.11512605042016701</c:v>
                </c:pt>
                <c:pt idx="18750">
                  <c:v>-0.11512605042016701</c:v>
                </c:pt>
                <c:pt idx="18751">
                  <c:v>-0.11512605042016701</c:v>
                </c:pt>
                <c:pt idx="18752">
                  <c:v>-0.11512605042016701</c:v>
                </c:pt>
                <c:pt idx="18753">
                  <c:v>-0.11512605042016701</c:v>
                </c:pt>
                <c:pt idx="18754">
                  <c:v>-0.11512605042016701</c:v>
                </c:pt>
                <c:pt idx="18755">
                  <c:v>-0.11512605042016701</c:v>
                </c:pt>
                <c:pt idx="18756">
                  <c:v>-0.11512605042016701</c:v>
                </c:pt>
                <c:pt idx="18757">
                  <c:v>-0.11512605042016701</c:v>
                </c:pt>
                <c:pt idx="18758">
                  <c:v>-0.11512605042016701</c:v>
                </c:pt>
                <c:pt idx="18759">
                  <c:v>-0.11512605042016701</c:v>
                </c:pt>
                <c:pt idx="18760">
                  <c:v>-0.11512605042016701</c:v>
                </c:pt>
                <c:pt idx="18761">
                  <c:v>-0.11512605042016701</c:v>
                </c:pt>
                <c:pt idx="18762">
                  <c:v>-0.11512605042016701</c:v>
                </c:pt>
                <c:pt idx="18763">
                  <c:v>-0.11512605042016701</c:v>
                </c:pt>
                <c:pt idx="18764">
                  <c:v>-0.11512605042016701</c:v>
                </c:pt>
                <c:pt idx="18765">
                  <c:v>-0.11512605042016701</c:v>
                </c:pt>
                <c:pt idx="18766">
                  <c:v>-0.11512605042016701</c:v>
                </c:pt>
                <c:pt idx="18767">
                  <c:v>-0.11512605042016701</c:v>
                </c:pt>
                <c:pt idx="18768">
                  <c:v>-0.11512605042016701</c:v>
                </c:pt>
                <c:pt idx="18769">
                  <c:v>-0.11512605042016701</c:v>
                </c:pt>
                <c:pt idx="18770">
                  <c:v>-0.11512605042016701</c:v>
                </c:pt>
                <c:pt idx="18771">
                  <c:v>-0.11512605042016701</c:v>
                </c:pt>
                <c:pt idx="18772">
                  <c:v>-0.11512605042016701</c:v>
                </c:pt>
                <c:pt idx="18773">
                  <c:v>-0.11512605042016701</c:v>
                </c:pt>
                <c:pt idx="18774">
                  <c:v>-0.11512605042016701</c:v>
                </c:pt>
                <c:pt idx="18775">
                  <c:v>-0.11512605042016701</c:v>
                </c:pt>
                <c:pt idx="18776">
                  <c:v>-0.11512605042016701</c:v>
                </c:pt>
                <c:pt idx="18777">
                  <c:v>-0.11512605042016701</c:v>
                </c:pt>
                <c:pt idx="18778">
                  <c:v>-0.11512605042016701</c:v>
                </c:pt>
                <c:pt idx="18779">
                  <c:v>-0.11512605042016701</c:v>
                </c:pt>
                <c:pt idx="18780">
                  <c:v>-0.11512605042016701</c:v>
                </c:pt>
                <c:pt idx="18781">
                  <c:v>-0.11512605042016701</c:v>
                </c:pt>
                <c:pt idx="18782">
                  <c:v>-0.11512605042016701</c:v>
                </c:pt>
                <c:pt idx="18783">
                  <c:v>-0.11512605042016701</c:v>
                </c:pt>
                <c:pt idx="18784">
                  <c:v>-0.11512605042016701</c:v>
                </c:pt>
                <c:pt idx="18785">
                  <c:v>-0.11512605042016701</c:v>
                </c:pt>
                <c:pt idx="18786">
                  <c:v>-0.11512605042016701</c:v>
                </c:pt>
                <c:pt idx="18787">
                  <c:v>-0.11512605042016701</c:v>
                </c:pt>
                <c:pt idx="18788">
                  <c:v>-0.11512605042016701</c:v>
                </c:pt>
                <c:pt idx="18789">
                  <c:v>-0.11512605042016701</c:v>
                </c:pt>
                <c:pt idx="18790">
                  <c:v>-0.11512605042016701</c:v>
                </c:pt>
                <c:pt idx="18791">
                  <c:v>-0.11512605042016701</c:v>
                </c:pt>
                <c:pt idx="18792">
                  <c:v>-0.11512605042016701</c:v>
                </c:pt>
                <c:pt idx="18793">
                  <c:v>-0.11512605042016701</c:v>
                </c:pt>
                <c:pt idx="18794">
                  <c:v>-0.11512605042016701</c:v>
                </c:pt>
                <c:pt idx="18795">
                  <c:v>-0.11512605042016701</c:v>
                </c:pt>
                <c:pt idx="18796">
                  <c:v>-0.11512605042016701</c:v>
                </c:pt>
                <c:pt idx="18797">
                  <c:v>-0.11512605042016701</c:v>
                </c:pt>
                <c:pt idx="18798">
                  <c:v>-0.11512605042016701</c:v>
                </c:pt>
                <c:pt idx="18799">
                  <c:v>-0.11512605042016701</c:v>
                </c:pt>
                <c:pt idx="18800">
                  <c:v>-0.11512605042016701</c:v>
                </c:pt>
                <c:pt idx="18801">
                  <c:v>-0.11512605042016701</c:v>
                </c:pt>
                <c:pt idx="18802">
                  <c:v>-0.11512605042016701</c:v>
                </c:pt>
                <c:pt idx="18803">
                  <c:v>-0.11512605042016701</c:v>
                </c:pt>
                <c:pt idx="18804">
                  <c:v>-0.11512605042016701</c:v>
                </c:pt>
                <c:pt idx="18805">
                  <c:v>-0.11512605042016701</c:v>
                </c:pt>
                <c:pt idx="18806">
                  <c:v>-0.11512605042016701</c:v>
                </c:pt>
                <c:pt idx="18807">
                  <c:v>-0.11512605042016701</c:v>
                </c:pt>
                <c:pt idx="18808">
                  <c:v>-0.114285714285714</c:v>
                </c:pt>
                <c:pt idx="18809">
                  <c:v>-0.114285714285714</c:v>
                </c:pt>
                <c:pt idx="18810">
                  <c:v>-0.114285714285714</c:v>
                </c:pt>
                <c:pt idx="18811">
                  <c:v>-0.114285714285714</c:v>
                </c:pt>
                <c:pt idx="18812">
                  <c:v>-0.114285714285714</c:v>
                </c:pt>
                <c:pt idx="18813">
                  <c:v>-0.114285714285714</c:v>
                </c:pt>
                <c:pt idx="18814">
                  <c:v>-0.114285714285714</c:v>
                </c:pt>
                <c:pt idx="18815">
                  <c:v>-0.114285714285714</c:v>
                </c:pt>
                <c:pt idx="18816">
                  <c:v>-0.114285714285714</c:v>
                </c:pt>
                <c:pt idx="18817">
                  <c:v>-0.114285714285714</c:v>
                </c:pt>
                <c:pt idx="18818">
                  <c:v>-0.114285714285714</c:v>
                </c:pt>
                <c:pt idx="18819">
                  <c:v>-0.114285714285714</c:v>
                </c:pt>
                <c:pt idx="18820">
                  <c:v>-0.114285714285714</c:v>
                </c:pt>
                <c:pt idx="18821">
                  <c:v>-0.114285714285714</c:v>
                </c:pt>
                <c:pt idx="18822">
                  <c:v>-0.114285714285714</c:v>
                </c:pt>
                <c:pt idx="18823">
                  <c:v>-0.114285714285714</c:v>
                </c:pt>
                <c:pt idx="18824">
                  <c:v>-0.114285714285714</c:v>
                </c:pt>
                <c:pt idx="18825">
                  <c:v>-0.114285714285714</c:v>
                </c:pt>
                <c:pt idx="18826">
                  <c:v>-0.114285714285714</c:v>
                </c:pt>
                <c:pt idx="18827">
                  <c:v>-0.11512605042016701</c:v>
                </c:pt>
                <c:pt idx="18828">
                  <c:v>-0.11512605042016701</c:v>
                </c:pt>
                <c:pt idx="18829">
                  <c:v>-0.11596638655462101</c:v>
                </c:pt>
                <c:pt idx="18830">
                  <c:v>-0.11596638655462101</c:v>
                </c:pt>
                <c:pt idx="18831">
                  <c:v>-0.11596638655462101</c:v>
                </c:pt>
                <c:pt idx="18832">
                  <c:v>-0.11596638655462101</c:v>
                </c:pt>
                <c:pt idx="18833">
                  <c:v>-0.11596638655462101</c:v>
                </c:pt>
                <c:pt idx="18834">
                  <c:v>-0.11596638655462101</c:v>
                </c:pt>
                <c:pt idx="18835">
                  <c:v>-0.11596638655462101</c:v>
                </c:pt>
                <c:pt idx="18836">
                  <c:v>-0.11596638655462101</c:v>
                </c:pt>
                <c:pt idx="18837">
                  <c:v>-0.11596638655462101</c:v>
                </c:pt>
                <c:pt idx="18838">
                  <c:v>-0.11596638655462101</c:v>
                </c:pt>
                <c:pt idx="18839">
                  <c:v>-0.11596638655462101</c:v>
                </c:pt>
                <c:pt idx="18840">
                  <c:v>-0.11596638655462101</c:v>
                </c:pt>
                <c:pt idx="18841">
                  <c:v>-0.11596638655462101</c:v>
                </c:pt>
                <c:pt idx="18842">
                  <c:v>-0.11596638655462101</c:v>
                </c:pt>
                <c:pt idx="18843">
                  <c:v>-0.11596638655462101</c:v>
                </c:pt>
                <c:pt idx="18844">
                  <c:v>-0.11596638655462101</c:v>
                </c:pt>
                <c:pt idx="18845">
                  <c:v>-0.11596638655462101</c:v>
                </c:pt>
                <c:pt idx="18846">
                  <c:v>-0.11596638655462101</c:v>
                </c:pt>
                <c:pt idx="18847">
                  <c:v>-0.11596638655462101</c:v>
                </c:pt>
                <c:pt idx="18848">
                  <c:v>-0.11596638655462101</c:v>
                </c:pt>
                <c:pt idx="18849">
                  <c:v>-0.11596638655462101</c:v>
                </c:pt>
                <c:pt idx="18850">
                  <c:v>-0.11596638655462101</c:v>
                </c:pt>
                <c:pt idx="18851">
                  <c:v>-0.11596638655462101</c:v>
                </c:pt>
                <c:pt idx="18852">
                  <c:v>-0.11596638655462101</c:v>
                </c:pt>
                <c:pt idx="18853">
                  <c:v>-0.11596638655462101</c:v>
                </c:pt>
                <c:pt idx="18854">
                  <c:v>-0.11596638655462101</c:v>
                </c:pt>
                <c:pt idx="18855">
                  <c:v>-0.11596638655462101</c:v>
                </c:pt>
                <c:pt idx="18856">
                  <c:v>-0.11596638655462101</c:v>
                </c:pt>
                <c:pt idx="18857">
                  <c:v>-0.11596638655462101</c:v>
                </c:pt>
                <c:pt idx="18858">
                  <c:v>-0.11596638655462101</c:v>
                </c:pt>
                <c:pt idx="18859">
                  <c:v>-0.11596638655462101</c:v>
                </c:pt>
                <c:pt idx="18860">
                  <c:v>-0.11512605042016701</c:v>
                </c:pt>
                <c:pt idx="18861">
                  <c:v>-0.11512605042016701</c:v>
                </c:pt>
                <c:pt idx="18862">
                  <c:v>-0.11512605042016701</c:v>
                </c:pt>
                <c:pt idx="18863">
                  <c:v>-0.11512605042016701</c:v>
                </c:pt>
                <c:pt idx="18864">
                  <c:v>-0.11512605042016701</c:v>
                </c:pt>
                <c:pt idx="18865">
                  <c:v>-0.11512605042016701</c:v>
                </c:pt>
                <c:pt idx="18866">
                  <c:v>-0.11512605042016701</c:v>
                </c:pt>
                <c:pt idx="18867">
                  <c:v>-0.11512605042016701</c:v>
                </c:pt>
                <c:pt idx="18868">
                  <c:v>-0.11512605042016701</c:v>
                </c:pt>
                <c:pt idx="18869">
                  <c:v>-0.11512605042016701</c:v>
                </c:pt>
                <c:pt idx="18870">
                  <c:v>-0.11512605042016701</c:v>
                </c:pt>
                <c:pt idx="18871">
                  <c:v>-0.11512605042016701</c:v>
                </c:pt>
                <c:pt idx="18872">
                  <c:v>-0.11512605042016701</c:v>
                </c:pt>
                <c:pt idx="18873">
                  <c:v>-0.11512605042016701</c:v>
                </c:pt>
                <c:pt idx="18874">
                  <c:v>-0.11512605042016701</c:v>
                </c:pt>
                <c:pt idx="18875">
                  <c:v>-0.11512605042016701</c:v>
                </c:pt>
                <c:pt idx="18876">
                  <c:v>-0.11512605042016701</c:v>
                </c:pt>
                <c:pt idx="18877">
                  <c:v>-0.11512605042016701</c:v>
                </c:pt>
                <c:pt idx="18878">
                  <c:v>-0.11512605042016701</c:v>
                </c:pt>
                <c:pt idx="18879">
                  <c:v>-0.11512605042016701</c:v>
                </c:pt>
                <c:pt idx="18880">
                  <c:v>-0.11512605042016701</c:v>
                </c:pt>
                <c:pt idx="18881">
                  <c:v>-0.11512605042016701</c:v>
                </c:pt>
                <c:pt idx="18882">
                  <c:v>-0.11512605042016701</c:v>
                </c:pt>
                <c:pt idx="18883">
                  <c:v>-0.11512605042016701</c:v>
                </c:pt>
                <c:pt idx="18884">
                  <c:v>-0.11512605042016701</c:v>
                </c:pt>
                <c:pt idx="18885">
                  <c:v>-0.11512605042016701</c:v>
                </c:pt>
                <c:pt idx="18886">
                  <c:v>-0.11512605042016701</c:v>
                </c:pt>
                <c:pt idx="18887">
                  <c:v>-0.11512605042016701</c:v>
                </c:pt>
                <c:pt idx="18888">
                  <c:v>-0.11512605042016701</c:v>
                </c:pt>
                <c:pt idx="18889">
                  <c:v>-0.11596638655462101</c:v>
                </c:pt>
                <c:pt idx="18890">
                  <c:v>-0.11596638655462101</c:v>
                </c:pt>
                <c:pt idx="18891">
                  <c:v>-0.11596638655462101</c:v>
                </c:pt>
                <c:pt idx="18892">
                  <c:v>-0.11596638655462101</c:v>
                </c:pt>
                <c:pt idx="18893">
                  <c:v>-0.11596638655462101</c:v>
                </c:pt>
                <c:pt idx="18894">
                  <c:v>-0.11596638655462101</c:v>
                </c:pt>
                <c:pt idx="18895">
                  <c:v>-0.11596638655462101</c:v>
                </c:pt>
                <c:pt idx="18896">
                  <c:v>-0.11596638655462101</c:v>
                </c:pt>
                <c:pt idx="18897">
                  <c:v>-0.11512605042016701</c:v>
                </c:pt>
                <c:pt idx="18898">
                  <c:v>-0.11512605042016701</c:v>
                </c:pt>
                <c:pt idx="18899">
                  <c:v>-0.11512605042016701</c:v>
                </c:pt>
                <c:pt idx="18900">
                  <c:v>-0.11512605042016701</c:v>
                </c:pt>
                <c:pt idx="18901">
                  <c:v>-0.11512605042016701</c:v>
                </c:pt>
                <c:pt idx="18902">
                  <c:v>-0.11512605042016701</c:v>
                </c:pt>
                <c:pt idx="18903">
                  <c:v>-0.11512605042016701</c:v>
                </c:pt>
                <c:pt idx="18904">
                  <c:v>-0.11512605042016701</c:v>
                </c:pt>
                <c:pt idx="18905">
                  <c:v>-0.11512605042016701</c:v>
                </c:pt>
                <c:pt idx="18906">
                  <c:v>-0.11512605042016701</c:v>
                </c:pt>
                <c:pt idx="18907">
                  <c:v>-0.11512605042016701</c:v>
                </c:pt>
                <c:pt idx="18908">
                  <c:v>-0.11512605042016701</c:v>
                </c:pt>
                <c:pt idx="18909">
                  <c:v>-0.11512605042016701</c:v>
                </c:pt>
                <c:pt idx="18910">
                  <c:v>-0.11512605042016701</c:v>
                </c:pt>
                <c:pt idx="18911">
                  <c:v>-0.11512605042016701</c:v>
                </c:pt>
                <c:pt idx="18912">
                  <c:v>-0.11512605042016701</c:v>
                </c:pt>
                <c:pt idx="18913">
                  <c:v>-0.11512605042016701</c:v>
                </c:pt>
                <c:pt idx="18914">
                  <c:v>-0.11512605042016701</c:v>
                </c:pt>
                <c:pt idx="18915">
                  <c:v>-0.11512605042016701</c:v>
                </c:pt>
                <c:pt idx="18916">
                  <c:v>-0.11512605042016701</c:v>
                </c:pt>
                <c:pt idx="18917">
                  <c:v>-0.11512605042016701</c:v>
                </c:pt>
                <c:pt idx="18918">
                  <c:v>-0.11512605042016701</c:v>
                </c:pt>
                <c:pt idx="18919">
                  <c:v>-0.11512605042016701</c:v>
                </c:pt>
                <c:pt idx="18920">
                  <c:v>-0.11512605042016701</c:v>
                </c:pt>
                <c:pt idx="18921">
                  <c:v>-0.11512605042016701</c:v>
                </c:pt>
                <c:pt idx="18922">
                  <c:v>-0.11512605042016701</c:v>
                </c:pt>
                <c:pt idx="18923">
                  <c:v>-0.11512605042016701</c:v>
                </c:pt>
                <c:pt idx="18924">
                  <c:v>-0.11512605042016701</c:v>
                </c:pt>
                <c:pt idx="18925">
                  <c:v>-0.11512605042016701</c:v>
                </c:pt>
                <c:pt idx="18926">
                  <c:v>-0.11512605042016701</c:v>
                </c:pt>
                <c:pt idx="18927">
                  <c:v>-0.11512605042016701</c:v>
                </c:pt>
                <c:pt idx="18928">
                  <c:v>-0.11512605042016701</c:v>
                </c:pt>
                <c:pt idx="18929">
                  <c:v>-0.11512605042016701</c:v>
                </c:pt>
                <c:pt idx="18930">
                  <c:v>-0.11512605042016701</c:v>
                </c:pt>
                <c:pt idx="18931">
                  <c:v>-0.11512605042016701</c:v>
                </c:pt>
                <c:pt idx="18932">
                  <c:v>-0.11512605042016701</c:v>
                </c:pt>
                <c:pt idx="18933">
                  <c:v>-0.11512605042016701</c:v>
                </c:pt>
                <c:pt idx="18934">
                  <c:v>-0.11512605042016701</c:v>
                </c:pt>
                <c:pt idx="18935">
                  <c:v>-0.11512605042016701</c:v>
                </c:pt>
                <c:pt idx="18936">
                  <c:v>-0.11512605042016701</c:v>
                </c:pt>
                <c:pt idx="18937">
                  <c:v>-0.11512605042016701</c:v>
                </c:pt>
                <c:pt idx="18938">
                  <c:v>-0.11512605042016701</c:v>
                </c:pt>
                <c:pt idx="18939">
                  <c:v>-0.11512605042016701</c:v>
                </c:pt>
                <c:pt idx="18940">
                  <c:v>-0.11512605042016701</c:v>
                </c:pt>
                <c:pt idx="18941">
                  <c:v>-0.11512605042016701</c:v>
                </c:pt>
                <c:pt idx="18942">
                  <c:v>-0.11512605042016701</c:v>
                </c:pt>
                <c:pt idx="18943">
                  <c:v>-0.11512605042016701</c:v>
                </c:pt>
                <c:pt idx="18944">
                  <c:v>-0.11512605042016701</c:v>
                </c:pt>
                <c:pt idx="18945">
                  <c:v>-0.11512605042016701</c:v>
                </c:pt>
                <c:pt idx="18946">
                  <c:v>-0.11512605042016701</c:v>
                </c:pt>
                <c:pt idx="18947">
                  <c:v>-0.11512605042016701</c:v>
                </c:pt>
                <c:pt idx="18948">
                  <c:v>-0.11512605042016701</c:v>
                </c:pt>
                <c:pt idx="18949">
                  <c:v>-0.11512605042016701</c:v>
                </c:pt>
                <c:pt idx="18950">
                  <c:v>-0.11512605042016701</c:v>
                </c:pt>
                <c:pt idx="18951">
                  <c:v>-0.11512605042016701</c:v>
                </c:pt>
                <c:pt idx="18952">
                  <c:v>-0.11512605042016701</c:v>
                </c:pt>
                <c:pt idx="18953">
                  <c:v>-0.11512605042016701</c:v>
                </c:pt>
                <c:pt idx="18954">
                  <c:v>-0.11512605042016701</c:v>
                </c:pt>
                <c:pt idx="18955">
                  <c:v>-0.11512605042016701</c:v>
                </c:pt>
                <c:pt idx="18956">
                  <c:v>-0.11512605042016701</c:v>
                </c:pt>
                <c:pt idx="18957">
                  <c:v>-0.11512605042016701</c:v>
                </c:pt>
                <c:pt idx="18958">
                  <c:v>-0.11512605042016701</c:v>
                </c:pt>
                <c:pt idx="18959">
                  <c:v>-0.11512605042016701</c:v>
                </c:pt>
                <c:pt idx="18960">
                  <c:v>-0.11512605042016701</c:v>
                </c:pt>
                <c:pt idx="18961">
                  <c:v>-0.11512605042016701</c:v>
                </c:pt>
                <c:pt idx="18962">
                  <c:v>-0.11512605042016701</c:v>
                </c:pt>
                <c:pt idx="18963">
                  <c:v>-0.11512605042016701</c:v>
                </c:pt>
                <c:pt idx="18964">
                  <c:v>-0.11512605042016701</c:v>
                </c:pt>
                <c:pt idx="18965">
                  <c:v>-0.11512605042016701</c:v>
                </c:pt>
                <c:pt idx="18966">
                  <c:v>-0.11512605042016701</c:v>
                </c:pt>
                <c:pt idx="18967">
                  <c:v>-0.11512605042016701</c:v>
                </c:pt>
                <c:pt idx="18968">
                  <c:v>-0.11512605042016701</c:v>
                </c:pt>
                <c:pt idx="18969">
                  <c:v>-0.11512605042016701</c:v>
                </c:pt>
                <c:pt idx="18970">
                  <c:v>-0.11512605042016701</c:v>
                </c:pt>
                <c:pt idx="18971">
                  <c:v>-0.11512605042016701</c:v>
                </c:pt>
                <c:pt idx="18972">
                  <c:v>-0.11512605042016701</c:v>
                </c:pt>
                <c:pt idx="18973">
                  <c:v>-0.11512605042016701</c:v>
                </c:pt>
                <c:pt idx="18974">
                  <c:v>-0.11512605042016701</c:v>
                </c:pt>
                <c:pt idx="18975">
                  <c:v>-0.11512605042016701</c:v>
                </c:pt>
                <c:pt idx="18976">
                  <c:v>-0.11512605042016701</c:v>
                </c:pt>
                <c:pt idx="18977">
                  <c:v>-0.11512605042016701</c:v>
                </c:pt>
                <c:pt idx="18978">
                  <c:v>-0.11512605042016701</c:v>
                </c:pt>
                <c:pt idx="18979">
                  <c:v>-0.11512605042016701</c:v>
                </c:pt>
                <c:pt idx="18980">
                  <c:v>-0.11512605042016701</c:v>
                </c:pt>
                <c:pt idx="18981">
                  <c:v>-0.11512605042016701</c:v>
                </c:pt>
                <c:pt idx="18982">
                  <c:v>-0.11512605042016701</c:v>
                </c:pt>
                <c:pt idx="18983">
                  <c:v>-0.11512605042016701</c:v>
                </c:pt>
                <c:pt idx="18984">
                  <c:v>-0.11512605042016701</c:v>
                </c:pt>
                <c:pt idx="18985">
                  <c:v>-0.11512605042016701</c:v>
                </c:pt>
                <c:pt idx="18986">
                  <c:v>-0.11512605042016701</c:v>
                </c:pt>
                <c:pt idx="18987">
                  <c:v>-0.11512605042016701</c:v>
                </c:pt>
                <c:pt idx="18988">
                  <c:v>-0.11512605042016701</c:v>
                </c:pt>
                <c:pt idx="18989">
                  <c:v>-0.11512605042016701</c:v>
                </c:pt>
                <c:pt idx="18990">
                  <c:v>-0.11512605042016701</c:v>
                </c:pt>
                <c:pt idx="18991">
                  <c:v>-0.11512605042016701</c:v>
                </c:pt>
                <c:pt idx="18992">
                  <c:v>-0.11512605042016701</c:v>
                </c:pt>
                <c:pt idx="18993">
                  <c:v>-0.11512605042016701</c:v>
                </c:pt>
                <c:pt idx="18994">
                  <c:v>-0.11512605042016701</c:v>
                </c:pt>
                <c:pt idx="18995">
                  <c:v>-0.11512605042016701</c:v>
                </c:pt>
                <c:pt idx="18996">
                  <c:v>-0.11512605042016701</c:v>
                </c:pt>
                <c:pt idx="18997">
                  <c:v>-0.11512605042016701</c:v>
                </c:pt>
                <c:pt idx="18998">
                  <c:v>-0.11512605042016701</c:v>
                </c:pt>
                <c:pt idx="18999">
                  <c:v>-0.11512605042016701</c:v>
                </c:pt>
                <c:pt idx="19000">
                  <c:v>-0.11512605042016701</c:v>
                </c:pt>
                <c:pt idx="19001">
                  <c:v>-0.11512605042016701</c:v>
                </c:pt>
                <c:pt idx="19002">
                  <c:v>-0.11512605042016701</c:v>
                </c:pt>
                <c:pt idx="19003">
                  <c:v>-0.11512605042016701</c:v>
                </c:pt>
                <c:pt idx="19004">
                  <c:v>-0.11512605042016701</c:v>
                </c:pt>
                <c:pt idx="19005">
                  <c:v>-0.11512605042016701</c:v>
                </c:pt>
                <c:pt idx="19006">
                  <c:v>-0.11512605042016701</c:v>
                </c:pt>
                <c:pt idx="19007">
                  <c:v>-0.11512605042016701</c:v>
                </c:pt>
                <c:pt idx="19008">
                  <c:v>-0.11512605042016701</c:v>
                </c:pt>
                <c:pt idx="19009">
                  <c:v>-0.11512605042016701</c:v>
                </c:pt>
                <c:pt idx="19010">
                  <c:v>-0.11512605042016701</c:v>
                </c:pt>
                <c:pt idx="19011">
                  <c:v>-0.11512605042016701</c:v>
                </c:pt>
                <c:pt idx="19012">
                  <c:v>-0.11512605042016701</c:v>
                </c:pt>
                <c:pt idx="19013">
                  <c:v>-0.11512605042016701</c:v>
                </c:pt>
                <c:pt idx="19014">
                  <c:v>-0.11512605042016701</c:v>
                </c:pt>
                <c:pt idx="19015">
                  <c:v>-0.11512605042016701</c:v>
                </c:pt>
                <c:pt idx="19016">
                  <c:v>-0.11512605042016701</c:v>
                </c:pt>
                <c:pt idx="19017">
                  <c:v>-0.11512605042016701</c:v>
                </c:pt>
                <c:pt idx="19018">
                  <c:v>-0.11596638655462101</c:v>
                </c:pt>
                <c:pt idx="19019">
                  <c:v>-0.11596638655462101</c:v>
                </c:pt>
                <c:pt idx="19020">
                  <c:v>-0.11512605042016701</c:v>
                </c:pt>
                <c:pt idx="19021">
                  <c:v>-0.11512605042016701</c:v>
                </c:pt>
                <c:pt idx="19022">
                  <c:v>-0.11512605042016701</c:v>
                </c:pt>
                <c:pt idx="19023">
                  <c:v>-0.11512605042016701</c:v>
                </c:pt>
                <c:pt idx="19024">
                  <c:v>-0.11512605042016701</c:v>
                </c:pt>
                <c:pt idx="19025">
                  <c:v>-0.11512605042016701</c:v>
                </c:pt>
                <c:pt idx="19026">
                  <c:v>-0.11512605042016701</c:v>
                </c:pt>
                <c:pt idx="19027">
                  <c:v>-0.11512605042016701</c:v>
                </c:pt>
                <c:pt idx="19028">
                  <c:v>-0.11512605042016701</c:v>
                </c:pt>
                <c:pt idx="19029">
                  <c:v>-0.11596638655462101</c:v>
                </c:pt>
                <c:pt idx="19030">
                  <c:v>-0.11596638655462101</c:v>
                </c:pt>
                <c:pt idx="19031">
                  <c:v>-0.11596638655462101</c:v>
                </c:pt>
                <c:pt idx="19032">
                  <c:v>-0.11596638655462101</c:v>
                </c:pt>
                <c:pt idx="19033">
                  <c:v>-0.11680672268907499</c:v>
                </c:pt>
                <c:pt idx="19034">
                  <c:v>-0.11680672268907499</c:v>
                </c:pt>
                <c:pt idx="19035">
                  <c:v>-0.11596638655462101</c:v>
                </c:pt>
                <c:pt idx="19036">
                  <c:v>-0.11596638655462101</c:v>
                </c:pt>
                <c:pt idx="19037">
                  <c:v>-0.11596638655462101</c:v>
                </c:pt>
                <c:pt idx="19038">
                  <c:v>-0.11596638655462101</c:v>
                </c:pt>
                <c:pt idx="19039">
                  <c:v>-0.11596638655462101</c:v>
                </c:pt>
                <c:pt idx="19040">
                  <c:v>-0.11596638655462101</c:v>
                </c:pt>
                <c:pt idx="19041">
                  <c:v>-0.11596638655462101</c:v>
                </c:pt>
                <c:pt idx="19042">
                  <c:v>-0.11596638655462101</c:v>
                </c:pt>
                <c:pt idx="19043">
                  <c:v>-0.11596638655462101</c:v>
                </c:pt>
                <c:pt idx="19044">
                  <c:v>-0.11596638655462101</c:v>
                </c:pt>
                <c:pt idx="19045">
                  <c:v>-0.11596638655462101</c:v>
                </c:pt>
                <c:pt idx="19046">
                  <c:v>-0.11596638655462101</c:v>
                </c:pt>
                <c:pt idx="19047">
                  <c:v>-0.11596638655462101</c:v>
                </c:pt>
                <c:pt idx="19048">
                  <c:v>-0.11596638655462101</c:v>
                </c:pt>
                <c:pt idx="19049">
                  <c:v>-0.11596638655462101</c:v>
                </c:pt>
                <c:pt idx="19050">
                  <c:v>-0.11596638655462101</c:v>
                </c:pt>
                <c:pt idx="19051">
                  <c:v>-0.11596638655462101</c:v>
                </c:pt>
                <c:pt idx="19052">
                  <c:v>-0.11596638655462101</c:v>
                </c:pt>
                <c:pt idx="19053">
                  <c:v>-0.11596638655462101</c:v>
                </c:pt>
                <c:pt idx="19054">
                  <c:v>-0.11596638655462101</c:v>
                </c:pt>
                <c:pt idx="19055">
                  <c:v>-0.11596638655462101</c:v>
                </c:pt>
                <c:pt idx="19056">
                  <c:v>-0.11596638655462101</c:v>
                </c:pt>
                <c:pt idx="19057">
                  <c:v>-0.11596638655462101</c:v>
                </c:pt>
                <c:pt idx="19058">
                  <c:v>-0.11596638655462101</c:v>
                </c:pt>
                <c:pt idx="19059">
                  <c:v>-0.11596638655462101</c:v>
                </c:pt>
                <c:pt idx="19060">
                  <c:v>-0.11596638655462101</c:v>
                </c:pt>
                <c:pt idx="19061">
                  <c:v>-0.11596638655462101</c:v>
                </c:pt>
                <c:pt idx="19062">
                  <c:v>-0.11596638655462101</c:v>
                </c:pt>
                <c:pt idx="19063">
                  <c:v>-0.11596638655462101</c:v>
                </c:pt>
                <c:pt idx="19064">
                  <c:v>-0.11596638655462101</c:v>
                </c:pt>
                <c:pt idx="19065">
                  <c:v>-0.11596638655462101</c:v>
                </c:pt>
                <c:pt idx="19066">
                  <c:v>-0.11596638655462101</c:v>
                </c:pt>
                <c:pt idx="19067">
                  <c:v>-0.11596638655462101</c:v>
                </c:pt>
                <c:pt idx="19068">
                  <c:v>-0.11596638655462101</c:v>
                </c:pt>
                <c:pt idx="19069">
                  <c:v>-0.11596638655462101</c:v>
                </c:pt>
                <c:pt idx="19070">
                  <c:v>-0.11596638655462101</c:v>
                </c:pt>
                <c:pt idx="19071">
                  <c:v>-0.11596638655462101</c:v>
                </c:pt>
                <c:pt idx="19072">
                  <c:v>-0.11596638655462101</c:v>
                </c:pt>
                <c:pt idx="19073">
                  <c:v>-0.11596638655462101</c:v>
                </c:pt>
                <c:pt idx="19074">
                  <c:v>-0.11596638655462101</c:v>
                </c:pt>
                <c:pt idx="19075">
                  <c:v>-0.11596638655462101</c:v>
                </c:pt>
                <c:pt idx="19076">
                  <c:v>-0.11596638655462101</c:v>
                </c:pt>
                <c:pt idx="19077">
                  <c:v>-0.11596638655462101</c:v>
                </c:pt>
                <c:pt idx="19078">
                  <c:v>-0.11596638655462101</c:v>
                </c:pt>
                <c:pt idx="19079">
                  <c:v>-0.11596638655462101</c:v>
                </c:pt>
                <c:pt idx="19080">
                  <c:v>-0.11596638655462101</c:v>
                </c:pt>
                <c:pt idx="19081">
                  <c:v>-0.11596638655462101</c:v>
                </c:pt>
                <c:pt idx="19082">
                  <c:v>-0.11596638655462101</c:v>
                </c:pt>
                <c:pt idx="19083">
                  <c:v>-0.11596638655462101</c:v>
                </c:pt>
                <c:pt idx="19084">
                  <c:v>-0.11596638655462101</c:v>
                </c:pt>
                <c:pt idx="19085">
                  <c:v>-0.11596638655462101</c:v>
                </c:pt>
                <c:pt idx="19086">
                  <c:v>-0.11596638655462101</c:v>
                </c:pt>
                <c:pt idx="19087">
                  <c:v>-0.11596638655462101</c:v>
                </c:pt>
                <c:pt idx="19088">
                  <c:v>-0.11596638655462101</c:v>
                </c:pt>
                <c:pt idx="19089">
                  <c:v>-0.11596638655462101</c:v>
                </c:pt>
                <c:pt idx="19090">
                  <c:v>-0.11596638655462101</c:v>
                </c:pt>
                <c:pt idx="19091">
                  <c:v>-0.11596638655462101</c:v>
                </c:pt>
                <c:pt idx="19092">
                  <c:v>-0.11596638655462101</c:v>
                </c:pt>
                <c:pt idx="19093">
                  <c:v>-0.11596638655462101</c:v>
                </c:pt>
                <c:pt idx="19094">
                  <c:v>-0.11596638655462101</c:v>
                </c:pt>
                <c:pt idx="19095">
                  <c:v>-0.11596638655462101</c:v>
                </c:pt>
                <c:pt idx="19096">
                  <c:v>-0.11596638655462101</c:v>
                </c:pt>
                <c:pt idx="19097">
                  <c:v>-0.11596638655462101</c:v>
                </c:pt>
                <c:pt idx="19098">
                  <c:v>-0.11596638655462101</c:v>
                </c:pt>
                <c:pt idx="19099">
                  <c:v>-0.11596638655462101</c:v>
                </c:pt>
                <c:pt idx="19100">
                  <c:v>-0.11596638655462101</c:v>
                </c:pt>
                <c:pt idx="19101">
                  <c:v>-0.11596638655462101</c:v>
                </c:pt>
                <c:pt idx="19102">
                  <c:v>-0.11596638655462101</c:v>
                </c:pt>
                <c:pt idx="19103">
                  <c:v>-0.11596638655462101</c:v>
                </c:pt>
                <c:pt idx="19104">
                  <c:v>-0.11596638655462101</c:v>
                </c:pt>
                <c:pt idx="19105">
                  <c:v>-0.11596638655462101</c:v>
                </c:pt>
                <c:pt idx="19106">
                  <c:v>-0.11596638655462101</c:v>
                </c:pt>
                <c:pt idx="19107">
                  <c:v>-0.11596638655462101</c:v>
                </c:pt>
                <c:pt idx="19108">
                  <c:v>-0.11596638655462101</c:v>
                </c:pt>
                <c:pt idx="19109">
                  <c:v>-0.11596638655462101</c:v>
                </c:pt>
                <c:pt idx="19110">
                  <c:v>-0.11596638655462101</c:v>
                </c:pt>
                <c:pt idx="19111">
                  <c:v>-0.11596638655462101</c:v>
                </c:pt>
                <c:pt idx="19112">
                  <c:v>-0.11596638655462101</c:v>
                </c:pt>
                <c:pt idx="19113">
                  <c:v>-0.11596638655462101</c:v>
                </c:pt>
                <c:pt idx="19114">
                  <c:v>-0.11596638655462101</c:v>
                </c:pt>
                <c:pt idx="19115">
                  <c:v>-0.11596638655462101</c:v>
                </c:pt>
                <c:pt idx="19116">
                  <c:v>-0.11596638655462101</c:v>
                </c:pt>
                <c:pt idx="19117">
                  <c:v>-0.11596638655462101</c:v>
                </c:pt>
                <c:pt idx="19118">
                  <c:v>-0.11596638655462101</c:v>
                </c:pt>
                <c:pt idx="19119">
                  <c:v>-0.11596638655462101</c:v>
                </c:pt>
                <c:pt idx="19120">
                  <c:v>-0.11596638655462101</c:v>
                </c:pt>
                <c:pt idx="19121">
                  <c:v>-0.11596638655462101</c:v>
                </c:pt>
                <c:pt idx="19122">
                  <c:v>-0.11596638655462101</c:v>
                </c:pt>
                <c:pt idx="19123">
                  <c:v>-0.11596638655462101</c:v>
                </c:pt>
                <c:pt idx="19124">
                  <c:v>-0.11596638655462101</c:v>
                </c:pt>
                <c:pt idx="19125">
                  <c:v>-0.11596638655462101</c:v>
                </c:pt>
                <c:pt idx="19126">
                  <c:v>-0.11596638655462101</c:v>
                </c:pt>
                <c:pt idx="19127">
                  <c:v>-0.11596638655462101</c:v>
                </c:pt>
                <c:pt idx="19128">
                  <c:v>-0.11596638655462101</c:v>
                </c:pt>
                <c:pt idx="19129">
                  <c:v>-0.11596638655462101</c:v>
                </c:pt>
                <c:pt idx="19130">
                  <c:v>-0.11596638655462101</c:v>
                </c:pt>
                <c:pt idx="19131">
                  <c:v>-0.11596638655462101</c:v>
                </c:pt>
                <c:pt idx="19132">
                  <c:v>-0.11596638655462101</c:v>
                </c:pt>
                <c:pt idx="19133">
                  <c:v>-0.11596638655462101</c:v>
                </c:pt>
                <c:pt idx="19134">
                  <c:v>-0.11596638655462101</c:v>
                </c:pt>
                <c:pt idx="19135">
                  <c:v>-0.11596638655462101</c:v>
                </c:pt>
                <c:pt idx="19136">
                  <c:v>-0.11596638655462101</c:v>
                </c:pt>
                <c:pt idx="19137">
                  <c:v>-0.11512605042016701</c:v>
                </c:pt>
                <c:pt idx="19138">
                  <c:v>-0.11512605042016701</c:v>
                </c:pt>
                <c:pt idx="19139">
                  <c:v>-0.11512605042016701</c:v>
                </c:pt>
                <c:pt idx="19140">
                  <c:v>-0.11512605042016701</c:v>
                </c:pt>
                <c:pt idx="19141">
                  <c:v>-0.11512605042016701</c:v>
                </c:pt>
                <c:pt idx="19142">
                  <c:v>-0.11512605042016701</c:v>
                </c:pt>
                <c:pt idx="19143">
                  <c:v>-0.11512605042016701</c:v>
                </c:pt>
                <c:pt idx="19144">
                  <c:v>-0.11512605042016701</c:v>
                </c:pt>
                <c:pt idx="19145">
                  <c:v>-0.11512605042016701</c:v>
                </c:pt>
                <c:pt idx="19146">
                  <c:v>-0.11512605042016701</c:v>
                </c:pt>
                <c:pt idx="19147">
                  <c:v>-0.11512605042016701</c:v>
                </c:pt>
                <c:pt idx="19148">
                  <c:v>-0.11512605042016701</c:v>
                </c:pt>
                <c:pt idx="19149">
                  <c:v>-0.11512605042016701</c:v>
                </c:pt>
                <c:pt idx="19150">
                  <c:v>-0.11512605042016701</c:v>
                </c:pt>
                <c:pt idx="19151">
                  <c:v>-0.11512605042016701</c:v>
                </c:pt>
                <c:pt idx="19152">
                  <c:v>-0.11512605042016701</c:v>
                </c:pt>
                <c:pt idx="19153">
                  <c:v>-0.11512605042016701</c:v>
                </c:pt>
                <c:pt idx="19154">
                  <c:v>-0.11512605042016701</c:v>
                </c:pt>
                <c:pt idx="19155">
                  <c:v>-0.11512605042016701</c:v>
                </c:pt>
                <c:pt idx="19156">
                  <c:v>-0.114285714285714</c:v>
                </c:pt>
                <c:pt idx="19157">
                  <c:v>-0.114285714285714</c:v>
                </c:pt>
                <c:pt idx="19158">
                  <c:v>-0.114285714285714</c:v>
                </c:pt>
                <c:pt idx="19159">
                  <c:v>-0.114285714285714</c:v>
                </c:pt>
                <c:pt idx="19160">
                  <c:v>-0.114285714285714</c:v>
                </c:pt>
                <c:pt idx="19161">
                  <c:v>-0.114285714285714</c:v>
                </c:pt>
                <c:pt idx="19162">
                  <c:v>-0.114285714285714</c:v>
                </c:pt>
                <c:pt idx="19163">
                  <c:v>-0.114285714285714</c:v>
                </c:pt>
                <c:pt idx="19164">
                  <c:v>-0.114285714285714</c:v>
                </c:pt>
                <c:pt idx="19165">
                  <c:v>-0.114285714285714</c:v>
                </c:pt>
                <c:pt idx="19166">
                  <c:v>-0.114285714285714</c:v>
                </c:pt>
                <c:pt idx="19167">
                  <c:v>-0.114285714285714</c:v>
                </c:pt>
                <c:pt idx="19168">
                  <c:v>-0.114285714285714</c:v>
                </c:pt>
                <c:pt idx="19169">
                  <c:v>-0.114285714285714</c:v>
                </c:pt>
                <c:pt idx="19170">
                  <c:v>-0.114285714285714</c:v>
                </c:pt>
                <c:pt idx="19171">
                  <c:v>-0.114285714285714</c:v>
                </c:pt>
                <c:pt idx="19172">
                  <c:v>-0.114285714285714</c:v>
                </c:pt>
                <c:pt idx="19173">
                  <c:v>-0.114285714285714</c:v>
                </c:pt>
                <c:pt idx="19174">
                  <c:v>-0.114285714285714</c:v>
                </c:pt>
                <c:pt idx="19175">
                  <c:v>-0.114285714285714</c:v>
                </c:pt>
                <c:pt idx="19176">
                  <c:v>-0.114285714285714</c:v>
                </c:pt>
                <c:pt idx="19177">
                  <c:v>-0.114285714285714</c:v>
                </c:pt>
                <c:pt idx="19178">
                  <c:v>-0.114285714285714</c:v>
                </c:pt>
                <c:pt idx="19179">
                  <c:v>-0.114285714285714</c:v>
                </c:pt>
                <c:pt idx="19180">
                  <c:v>-0.114285714285714</c:v>
                </c:pt>
                <c:pt idx="19181">
                  <c:v>-0.114285714285714</c:v>
                </c:pt>
                <c:pt idx="19182">
                  <c:v>-0.114285714285714</c:v>
                </c:pt>
                <c:pt idx="19183">
                  <c:v>-0.114285714285714</c:v>
                </c:pt>
                <c:pt idx="19184">
                  <c:v>-0.114285714285714</c:v>
                </c:pt>
                <c:pt idx="19185">
                  <c:v>-0.114285714285714</c:v>
                </c:pt>
                <c:pt idx="19186">
                  <c:v>-0.114285714285714</c:v>
                </c:pt>
                <c:pt idx="19187">
                  <c:v>-0.114285714285714</c:v>
                </c:pt>
                <c:pt idx="19188">
                  <c:v>-0.114285714285714</c:v>
                </c:pt>
                <c:pt idx="19189">
                  <c:v>-0.114285714285714</c:v>
                </c:pt>
                <c:pt idx="19190">
                  <c:v>-0.114285714285714</c:v>
                </c:pt>
                <c:pt idx="19191">
                  <c:v>-0.114285714285714</c:v>
                </c:pt>
                <c:pt idx="19192">
                  <c:v>-0.114285714285714</c:v>
                </c:pt>
                <c:pt idx="19193">
                  <c:v>-0.114285714285714</c:v>
                </c:pt>
                <c:pt idx="19194">
                  <c:v>-0.114285714285714</c:v>
                </c:pt>
                <c:pt idx="19195">
                  <c:v>-0.114285714285714</c:v>
                </c:pt>
                <c:pt idx="19196">
                  <c:v>-0.114285714285714</c:v>
                </c:pt>
                <c:pt idx="19197">
                  <c:v>-0.114285714285714</c:v>
                </c:pt>
                <c:pt idx="19198">
                  <c:v>-0.114285714285714</c:v>
                </c:pt>
                <c:pt idx="19199">
                  <c:v>-0.114285714285714</c:v>
                </c:pt>
                <c:pt idx="19200">
                  <c:v>-0.114285714285714</c:v>
                </c:pt>
                <c:pt idx="19201">
                  <c:v>-0.114285714285714</c:v>
                </c:pt>
                <c:pt idx="19202">
                  <c:v>-0.114285714285714</c:v>
                </c:pt>
                <c:pt idx="19203">
                  <c:v>-0.114285714285714</c:v>
                </c:pt>
                <c:pt idx="19204">
                  <c:v>-0.114285714285714</c:v>
                </c:pt>
                <c:pt idx="19205">
                  <c:v>-0.114285714285714</c:v>
                </c:pt>
                <c:pt idx="19206">
                  <c:v>-0.114285714285714</c:v>
                </c:pt>
                <c:pt idx="19207">
                  <c:v>-0.114285714285714</c:v>
                </c:pt>
                <c:pt idx="19208">
                  <c:v>-0.114285714285714</c:v>
                </c:pt>
                <c:pt idx="19209">
                  <c:v>-0.114285714285714</c:v>
                </c:pt>
                <c:pt idx="19210">
                  <c:v>-0.114285714285714</c:v>
                </c:pt>
                <c:pt idx="19211">
                  <c:v>-0.114285714285714</c:v>
                </c:pt>
                <c:pt idx="19212">
                  <c:v>-0.114285714285714</c:v>
                </c:pt>
                <c:pt idx="19213">
                  <c:v>-0.114285714285714</c:v>
                </c:pt>
                <c:pt idx="19214">
                  <c:v>-0.114285714285714</c:v>
                </c:pt>
                <c:pt idx="19215">
                  <c:v>-0.114285714285714</c:v>
                </c:pt>
                <c:pt idx="19216">
                  <c:v>-0.114285714285714</c:v>
                </c:pt>
                <c:pt idx="19217">
                  <c:v>-0.114285714285714</c:v>
                </c:pt>
                <c:pt idx="19218">
                  <c:v>-0.114285714285714</c:v>
                </c:pt>
                <c:pt idx="19219">
                  <c:v>-0.114285714285714</c:v>
                </c:pt>
                <c:pt idx="19220">
                  <c:v>-0.114285714285714</c:v>
                </c:pt>
                <c:pt idx="19221">
                  <c:v>-0.114285714285714</c:v>
                </c:pt>
                <c:pt idx="19222">
                  <c:v>-0.114285714285714</c:v>
                </c:pt>
                <c:pt idx="19223">
                  <c:v>-0.114285714285714</c:v>
                </c:pt>
                <c:pt idx="19224">
                  <c:v>-0.114285714285714</c:v>
                </c:pt>
                <c:pt idx="19225">
                  <c:v>-0.114285714285714</c:v>
                </c:pt>
                <c:pt idx="19226">
                  <c:v>-0.114285714285714</c:v>
                </c:pt>
                <c:pt idx="19227">
                  <c:v>-0.114285714285714</c:v>
                </c:pt>
                <c:pt idx="19228">
                  <c:v>-0.114285714285714</c:v>
                </c:pt>
                <c:pt idx="19229">
                  <c:v>-0.114285714285714</c:v>
                </c:pt>
                <c:pt idx="19230">
                  <c:v>-0.114285714285714</c:v>
                </c:pt>
                <c:pt idx="19231">
                  <c:v>-0.11344537815126</c:v>
                </c:pt>
                <c:pt idx="19232">
                  <c:v>-0.11344537815126</c:v>
                </c:pt>
                <c:pt idx="19233">
                  <c:v>-0.11344537815126</c:v>
                </c:pt>
                <c:pt idx="19234">
                  <c:v>-0.11344537815126</c:v>
                </c:pt>
                <c:pt idx="19235">
                  <c:v>-0.11344537815126</c:v>
                </c:pt>
                <c:pt idx="19236">
                  <c:v>-0.11344537815126</c:v>
                </c:pt>
                <c:pt idx="19237">
                  <c:v>-0.11344537815126</c:v>
                </c:pt>
                <c:pt idx="19238">
                  <c:v>-0.11344537815126</c:v>
                </c:pt>
                <c:pt idx="19239">
                  <c:v>-0.11344537815126</c:v>
                </c:pt>
                <c:pt idx="19240">
                  <c:v>-0.11344537815126</c:v>
                </c:pt>
                <c:pt idx="19241">
                  <c:v>-0.11344537815126</c:v>
                </c:pt>
                <c:pt idx="19242">
                  <c:v>-0.11344537815126</c:v>
                </c:pt>
                <c:pt idx="19243">
                  <c:v>-0.11344537815126</c:v>
                </c:pt>
                <c:pt idx="19244">
                  <c:v>-0.11344537815126</c:v>
                </c:pt>
                <c:pt idx="19245">
                  <c:v>-0.11344537815126</c:v>
                </c:pt>
                <c:pt idx="19246">
                  <c:v>-0.11344537815126</c:v>
                </c:pt>
                <c:pt idx="19247">
                  <c:v>-0.11344537815126</c:v>
                </c:pt>
                <c:pt idx="19248">
                  <c:v>-0.11344537815126</c:v>
                </c:pt>
                <c:pt idx="19249">
                  <c:v>-0.11344537815126</c:v>
                </c:pt>
                <c:pt idx="19250">
                  <c:v>-0.11344537815126</c:v>
                </c:pt>
                <c:pt idx="19251">
                  <c:v>-0.11344537815126</c:v>
                </c:pt>
                <c:pt idx="19252">
                  <c:v>-0.11344537815126</c:v>
                </c:pt>
                <c:pt idx="19253">
                  <c:v>-0.11344537815126</c:v>
                </c:pt>
                <c:pt idx="19254">
                  <c:v>-0.11344537815126</c:v>
                </c:pt>
                <c:pt idx="19255">
                  <c:v>-0.11344537815126</c:v>
                </c:pt>
                <c:pt idx="19256">
                  <c:v>-0.11344537815126</c:v>
                </c:pt>
                <c:pt idx="19257">
                  <c:v>-0.11344537815126</c:v>
                </c:pt>
                <c:pt idx="19258">
                  <c:v>-0.11344537815126</c:v>
                </c:pt>
                <c:pt idx="19259">
                  <c:v>-0.11344537815126</c:v>
                </c:pt>
                <c:pt idx="19260">
                  <c:v>-0.11344537815126</c:v>
                </c:pt>
                <c:pt idx="19261">
                  <c:v>-0.11344537815126</c:v>
                </c:pt>
                <c:pt idx="19262">
                  <c:v>-0.11344537815126</c:v>
                </c:pt>
                <c:pt idx="19263">
                  <c:v>-0.11344537815126</c:v>
                </c:pt>
                <c:pt idx="19264">
                  <c:v>-0.11344537815126</c:v>
                </c:pt>
                <c:pt idx="19265">
                  <c:v>-0.112605042016806</c:v>
                </c:pt>
                <c:pt idx="19266">
                  <c:v>-0.111764705882352</c:v>
                </c:pt>
                <c:pt idx="19267">
                  <c:v>-0.111764705882352</c:v>
                </c:pt>
                <c:pt idx="19268">
                  <c:v>-0.111764705882352</c:v>
                </c:pt>
                <c:pt idx="19269">
                  <c:v>-0.111764705882352</c:v>
                </c:pt>
                <c:pt idx="19270">
                  <c:v>-0.111764705882352</c:v>
                </c:pt>
                <c:pt idx="19271">
                  <c:v>-0.111764705882352</c:v>
                </c:pt>
                <c:pt idx="19272">
                  <c:v>-0.111764705882352</c:v>
                </c:pt>
                <c:pt idx="19273">
                  <c:v>-0.111764705882352</c:v>
                </c:pt>
                <c:pt idx="19274">
                  <c:v>-0.111764705882352</c:v>
                </c:pt>
                <c:pt idx="19275">
                  <c:v>-0.111764705882352</c:v>
                </c:pt>
                <c:pt idx="19276">
                  <c:v>-0.111764705882352</c:v>
                </c:pt>
                <c:pt idx="19277">
                  <c:v>-0.111764705882352</c:v>
                </c:pt>
                <c:pt idx="19278">
                  <c:v>-0.111764705882352</c:v>
                </c:pt>
                <c:pt idx="19279">
                  <c:v>-0.111764705882352</c:v>
                </c:pt>
                <c:pt idx="19280">
                  <c:v>-0.111764705882352</c:v>
                </c:pt>
                <c:pt idx="19281">
                  <c:v>-0.111764705882352</c:v>
                </c:pt>
                <c:pt idx="19282">
                  <c:v>-0.111764705882352</c:v>
                </c:pt>
                <c:pt idx="19283">
                  <c:v>-0.111764705882352</c:v>
                </c:pt>
                <c:pt idx="19284">
                  <c:v>-0.111764705882352</c:v>
                </c:pt>
                <c:pt idx="19285">
                  <c:v>-0.111764705882352</c:v>
                </c:pt>
                <c:pt idx="19286">
                  <c:v>-0.111764705882352</c:v>
                </c:pt>
                <c:pt idx="19287">
                  <c:v>-0.111764705882352</c:v>
                </c:pt>
                <c:pt idx="19288">
                  <c:v>-0.111764705882352</c:v>
                </c:pt>
                <c:pt idx="19289">
                  <c:v>-0.111764705882352</c:v>
                </c:pt>
                <c:pt idx="19290">
                  <c:v>-0.111764705882352</c:v>
                </c:pt>
                <c:pt idx="19291">
                  <c:v>-0.111764705882352</c:v>
                </c:pt>
                <c:pt idx="19292">
                  <c:v>-0.111764705882352</c:v>
                </c:pt>
                <c:pt idx="19293">
                  <c:v>-0.111764705882352</c:v>
                </c:pt>
                <c:pt idx="19294">
                  <c:v>-0.111764705882352</c:v>
                </c:pt>
                <c:pt idx="19295">
                  <c:v>-0.111764705882352</c:v>
                </c:pt>
                <c:pt idx="19296">
                  <c:v>-0.111764705882352</c:v>
                </c:pt>
                <c:pt idx="19297">
                  <c:v>-0.111764705882352</c:v>
                </c:pt>
                <c:pt idx="19298">
                  <c:v>-0.111764705882352</c:v>
                </c:pt>
                <c:pt idx="19299">
                  <c:v>-0.111764705882352</c:v>
                </c:pt>
                <c:pt idx="19300">
                  <c:v>-0.111764705882352</c:v>
                </c:pt>
                <c:pt idx="19301">
                  <c:v>-0.111764705882352</c:v>
                </c:pt>
                <c:pt idx="19302">
                  <c:v>-0.111764705882352</c:v>
                </c:pt>
                <c:pt idx="19303">
                  <c:v>-0.111764705882352</c:v>
                </c:pt>
                <c:pt idx="19304">
                  <c:v>-0.111764705882352</c:v>
                </c:pt>
                <c:pt idx="19305">
                  <c:v>-0.111764705882352</c:v>
                </c:pt>
                <c:pt idx="19306">
                  <c:v>-0.111764705882352</c:v>
                </c:pt>
                <c:pt idx="19307">
                  <c:v>-0.111764705882352</c:v>
                </c:pt>
                <c:pt idx="19308">
                  <c:v>-0.111764705882352</c:v>
                </c:pt>
                <c:pt idx="19309">
                  <c:v>-0.111764705882352</c:v>
                </c:pt>
                <c:pt idx="19310">
                  <c:v>-0.111764705882352</c:v>
                </c:pt>
                <c:pt idx="19311">
                  <c:v>-0.111764705882352</c:v>
                </c:pt>
                <c:pt idx="19312">
                  <c:v>-0.111764705882352</c:v>
                </c:pt>
                <c:pt idx="19313">
                  <c:v>-0.111764705882352</c:v>
                </c:pt>
                <c:pt idx="19314">
                  <c:v>-0.111764705882352</c:v>
                </c:pt>
                <c:pt idx="19315">
                  <c:v>-0.111764705882352</c:v>
                </c:pt>
                <c:pt idx="19316">
                  <c:v>-0.111764705882352</c:v>
                </c:pt>
                <c:pt idx="19317">
                  <c:v>-0.111764705882352</c:v>
                </c:pt>
                <c:pt idx="19318">
                  <c:v>-0.111764705882352</c:v>
                </c:pt>
                <c:pt idx="19319">
                  <c:v>-0.111764705882352</c:v>
                </c:pt>
                <c:pt idx="19320">
                  <c:v>-0.111764705882352</c:v>
                </c:pt>
                <c:pt idx="19321">
                  <c:v>-0.111764705882352</c:v>
                </c:pt>
                <c:pt idx="19322">
                  <c:v>-0.111764705882352</c:v>
                </c:pt>
                <c:pt idx="19323">
                  <c:v>-0.111764705882352</c:v>
                </c:pt>
                <c:pt idx="19324">
                  <c:v>-0.111764705882352</c:v>
                </c:pt>
                <c:pt idx="19325">
                  <c:v>-0.111764705882352</c:v>
                </c:pt>
                <c:pt idx="19326">
                  <c:v>-0.111764705882352</c:v>
                </c:pt>
                <c:pt idx="19327">
                  <c:v>-0.111764705882352</c:v>
                </c:pt>
                <c:pt idx="19328">
                  <c:v>-0.111764705882352</c:v>
                </c:pt>
                <c:pt idx="19329">
                  <c:v>-0.111764705882352</c:v>
                </c:pt>
                <c:pt idx="19330">
                  <c:v>-0.111764705882352</c:v>
                </c:pt>
                <c:pt idx="19331">
                  <c:v>-0.111764705882352</c:v>
                </c:pt>
                <c:pt idx="19332">
                  <c:v>-0.111764705882352</c:v>
                </c:pt>
                <c:pt idx="19333">
                  <c:v>-0.111764705882352</c:v>
                </c:pt>
                <c:pt idx="19334">
                  <c:v>-0.111764705882352</c:v>
                </c:pt>
                <c:pt idx="19335">
                  <c:v>-0.111764705882352</c:v>
                </c:pt>
                <c:pt idx="19336">
                  <c:v>-0.111764705882352</c:v>
                </c:pt>
                <c:pt idx="19337">
                  <c:v>-0.111764705882352</c:v>
                </c:pt>
                <c:pt idx="19338">
                  <c:v>-0.111764705882352</c:v>
                </c:pt>
                <c:pt idx="19339">
                  <c:v>-0.111764705882352</c:v>
                </c:pt>
                <c:pt idx="19340">
                  <c:v>-0.111764705882352</c:v>
                </c:pt>
                <c:pt idx="19341">
                  <c:v>-0.111764705882352</c:v>
                </c:pt>
                <c:pt idx="19342">
                  <c:v>-0.111764705882352</c:v>
                </c:pt>
                <c:pt idx="19343">
                  <c:v>-0.111764705882352</c:v>
                </c:pt>
                <c:pt idx="19344">
                  <c:v>-0.111764705882352</c:v>
                </c:pt>
                <c:pt idx="19345">
                  <c:v>-0.111764705882352</c:v>
                </c:pt>
                <c:pt idx="19346">
                  <c:v>-0.111764705882352</c:v>
                </c:pt>
                <c:pt idx="19347">
                  <c:v>-0.111764705882352</c:v>
                </c:pt>
                <c:pt idx="19348">
                  <c:v>-0.111764705882352</c:v>
                </c:pt>
                <c:pt idx="19349">
                  <c:v>-0.111764705882352</c:v>
                </c:pt>
                <c:pt idx="19350">
                  <c:v>-0.111764705882352</c:v>
                </c:pt>
                <c:pt idx="19351">
                  <c:v>-0.110924369747899</c:v>
                </c:pt>
                <c:pt idx="19352">
                  <c:v>-0.110924369747899</c:v>
                </c:pt>
                <c:pt idx="19353">
                  <c:v>-0.110924369747899</c:v>
                </c:pt>
                <c:pt idx="19354">
                  <c:v>-0.110924369747899</c:v>
                </c:pt>
                <c:pt idx="19355">
                  <c:v>-0.110924369747899</c:v>
                </c:pt>
                <c:pt idx="19356">
                  <c:v>-0.110924369747899</c:v>
                </c:pt>
                <c:pt idx="19357">
                  <c:v>-0.110924369747899</c:v>
                </c:pt>
                <c:pt idx="19358">
                  <c:v>-0.110924369747899</c:v>
                </c:pt>
                <c:pt idx="19359">
                  <c:v>-0.110084033613445</c:v>
                </c:pt>
                <c:pt idx="19360">
                  <c:v>-0.110084033613445</c:v>
                </c:pt>
                <c:pt idx="19361">
                  <c:v>-0.110084033613445</c:v>
                </c:pt>
                <c:pt idx="19362">
                  <c:v>-0.110084033613445</c:v>
                </c:pt>
                <c:pt idx="19363">
                  <c:v>-0.110084033613445</c:v>
                </c:pt>
                <c:pt idx="19364">
                  <c:v>-0.110084033613445</c:v>
                </c:pt>
                <c:pt idx="19365">
                  <c:v>-0.110084033613445</c:v>
                </c:pt>
                <c:pt idx="19366">
                  <c:v>-0.110084033613445</c:v>
                </c:pt>
                <c:pt idx="19367">
                  <c:v>-0.110084033613445</c:v>
                </c:pt>
                <c:pt idx="19368">
                  <c:v>-0.110084033613445</c:v>
                </c:pt>
                <c:pt idx="19369">
                  <c:v>-0.110084033613445</c:v>
                </c:pt>
                <c:pt idx="19370">
                  <c:v>-0.110924369747899</c:v>
                </c:pt>
                <c:pt idx="19371">
                  <c:v>-0.110924369747899</c:v>
                </c:pt>
                <c:pt idx="19372">
                  <c:v>-0.110924369747899</c:v>
                </c:pt>
                <c:pt idx="19373">
                  <c:v>-0.110924369747899</c:v>
                </c:pt>
                <c:pt idx="19374">
                  <c:v>-0.110924369747899</c:v>
                </c:pt>
                <c:pt idx="19375">
                  <c:v>-0.110924369747899</c:v>
                </c:pt>
                <c:pt idx="19376">
                  <c:v>-0.110924369747899</c:v>
                </c:pt>
                <c:pt idx="19377">
                  <c:v>-0.110924369747899</c:v>
                </c:pt>
                <c:pt idx="19378">
                  <c:v>-0.110924369747899</c:v>
                </c:pt>
                <c:pt idx="19379">
                  <c:v>-0.110924369747899</c:v>
                </c:pt>
                <c:pt idx="19380">
                  <c:v>-0.110924369747899</c:v>
                </c:pt>
                <c:pt idx="19381">
                  <c:v>-0.110924369747899</c:v>
                </c:pt>
                <c:pt idx="19382">
                  <c:v>-0.110924369747899</c:v>
                </c:pt>
                <c:pt idx="19383">
                  <c:v>-0.110924369747899</c:v>
                </c:pt>
                <c:pt idx="19384">
                  <c:v>-0.110924369747899</c:v>
                </c:pt>
                <c:pt idx="19385">
                  <c:v>-0.110924369747899</c:v>
                </c:pt>
                <c:pt idx="19386">
                  <c:v>-0.110924369747899</c:v>
                </c:pt>
                <c:pt idx="19387">
                  <c:v>-0.110084033613445</c:v>
                </c:pt>
                <c:pt idx="19388">
                  <c:v>-0.110084033613445</c:v>
                </c:pt>
                <c:pt idx="19389">
                  <c:v>-0.110084033613445</c:v>
                </c:pt>
                <c:pt idx="19390">
                  <c:v>-0.110084033613445</c:v>
                </c:pt>
                <c:pt idx="19391">
                  <c:v>-0.110084033613445</c:v>
                </c:pt>
                <c:pt idx="19392">
                  <c:v>-0.110084033613445</c:v>
                </c:pt>
                <c:pt idx="19393">
                  <c:v>-0.110084033613445</c:v>
                </c:pt>
                <c:pt idx="19394">
                  <c:v>-0.110084033613445</c:v>
                </c:pt>
                <c:pt idx="19395">
                  <c:v>-0.110084033613445</c:v>
                </c:pt>
                <c:pt idx="19396">
                  <c:v>-0.110084033613445</c:v>
                </c:pt>
                <c:pt idx="19397">
                  <c:v>-0.110084033613445</c:v>
                </c:pt>
                <c:pt idx="19398">
                  <c:v>-0.109243697478991</c:v>
                </c:pt>
                <c:pt idx="19399">
                  <c:v>-0.109243697478991</c:v>
                </c:pt>
                <c:pt idx="19400">
                  <c:v>-0.109243697478991</c:v>
                </c:pt>
                <c:pt idx="19401">
                  <c:v>-0.109243697478991</c:v>
                </c:pt>
                <c:pt idx="19402">
                  <c:v>-0.109243697478991</c:v>
                </c:pt>
                <c:pt idx="19403">
                  <c:v>-0.109243697478991</c:v>
                </c:pt>
                <c:pt idx="19404">
                  <c:v>-0.109243697478991</c:v>
                </c:pt>
                <c:pt idx="19405">
                  <c:v>-0.109243697478991</c:v>
                </c:pt>
                <c:pt idx="19406">
                  <c:v>-0.109243697478991</c:v>
                </c:pt>
                <c:pt idx="19407">
                  <c:v>-0.109243697478991</c:v>
                </c:pt>
                <c:pt idx="19408">
                  <c:v>-0.109243697478991</c:v>
                </c:pt>
                <c:pt idx="19409">
                  <c:v>-0.109243697478991</c:v>
                </c:pt>
                <c:pt idx="19410">
                  <c:v>-0.109243697478991</c:v>
                </c:pt>
                <c:pt idx="19411">
                  <c:v>-0.109243697478991</c:v>
                </c:pt>
                <c:pt idx="19412">
                  <c:v>-0.109243697478991</c:v>
                </c:pt>
                <c:pt idx="19413">
                  <c:v>-0.109243697478991</c:v>
                </c:pt>
                <c:pt idx="19414">
                  <c:v>-0.109243697478991</c:v>
                </c:pt>
                <c:pt idx="19415">
                  <c:v>-0.109243697478991</c:v>
                </c:pt>
                <c:pt idx="19416">
                  <c:v>-0.109243697478991</c:v>
                </c:pt>
                <c:pt idx="19417">
                  <c:v>-0.109243697478991</c:v>
                </c:pt>
                <c:pt idx="19418">
                  <c:v>-0.109243697478991</c:v>
                </c:pt>
                <c:pt idx="19419">
                  <c:v>-0.109243697478991</c:v>
                </c:pt>
                <c:pt idx="19420">
                  <c:v>-0.110084033613445</c:v>
                </c:pt>
                <c:pt idx="19421">
                  <c:v>-0.110084033613445</c:v>
                </c:pt>
                <c:pt idx="19422">
                  <c:v>-0.110084033613445</c:v>
                </c:pt>
                <c:pt idx="19423">
                  <c:v>-0.110084033613445</c:v>
                </c:pt>
                <c:pt idx="19424">
                  <c:v>-0.110084033613445</c:v>
                </c:pt>
                <c:pt idx="19425">
                  <c:v>-0.110084033613445</c:v>
                </c:pt>
                <c:pt idx="19426">
                  <c:v>-0.110084033613445</c:v>
                </c:pt>
                <c:pt idx="19427">
                  <c:v>-0.110084033613445</c:v>
                </c:pt>
                <c:pt idx="19428">
                  <c:v>-0.110084033613445</c:v>
                </c:pt>
                <c:pt idx="19429">
                  <c:v>-0.110084033613445</c:v>
                </c:pt>
                <c:pt idx="19430">
                  <c:v>-0.110084033613445</c:v>
                </c:pt>
                <c:pt idx="19431">
                  <c:v>-0.110084033613445</c:v>
                </c:pt>
                <c:pt idx="19432">
                  <c:v>-0.110084033613445</c:v>
                </c:pt>
                <c:pt idx="19433">
                  <c:v>-0.110084033613445</c:v>
                </c:pt>
                <c:pt idx="19434">
                  <c:v>-0.110084033613445</c:v>
                </c:pt>
                <c:pt idx="19435">
                  <c:v>-0.110084033613445</c:v>
                </c:pt>
                <c:pt idx="19436">
                  <c:v>-0.110084033613445</c:v>
                </c:pt>
                <c:pt idx="19437">
                  <c:v>-0.110084033613445</c:v>
                </c:pt>
                <c:pt idx="19438">
                  <c:v>-0.110084033613445</c:v>
                </c:pt>
                <c:pt idx="19439">
                  <c:v>-0.110084033613445</c:v>
                </c:pt>
                <c:pt idx="19440">
                  <c:v>-0.110084033613445</c:v>
                </c:pt>
                <c:pt idx="19441">
                  <c:v>-0.110084033613445</c:v>
                </c:pt>
                <c:pt idx="19442">
                  <c:v>-0.110924369747899</c:v>
                </c:pt>
                <c:pt idx="19443">
                  <c:v>-0.110924369747899</c:v>
                </c:pt>
                <c:pt idx="19444">
                  <c:v>-0.110924369747899</c:v>
                </c:pt>
                <c:pt idx="19445">
                  <c:v>-0.110924369747899</c:v>
                </c:pt>
                <c:pt idx="19446">
                  <c:v>-0.110924369747899</c:v>
                </c:pt>
                <c:pt idx="19447">
                  <c:v>-0.110924369747899</c:v>
                </c:pt>
                <c:pt idx="19448">
                  <c:v>-0.110924369747899</c:v>
                </c:pt>
                <c:pt idx="19449">
                  <c:v>-0.110924369747899</c:v>
                </c:pt>
                <c:pt idx="19450">
                  <c:v>-0.110924369747899</c:v>
                </c:pt>
                <c:pt idx="19451">
                  <c:v>-0.110924369747899</c:v>
                </c:pt>
                <c:pt idx="19452">
                  <c:v>-0.110924369747899</c:v>
                </c:pt>
                <c:pt idx="19453">
                  <c:v>-0.110924369747899</c:v>
                </c:pt>
                <c:pt idx="19454">
                  <c:v>-0.110924369747899</c:v>
                </c:pt>
                <c:pt idx="19455">
                  <c:v>-0.110924369747899</c:v>
                </c:pt>
                <c:pt idx="19456">
                  <c:v>-0.110924369747899</c:v>
                </c:pt>
                <c:pt idx="19457">
                  <c:v>-0.110084033613445</c:v>
                </c:pt>
                <c:pt idx="19458">
                  <c:v>-0.110084033613445</c:v>
                </c:pt>
                <c:pt idx="19459">
                  <c:v>-0.110084033613445</c:v>
                </c:pt>
                <c:pt idx="19460">
                  <c:v>-0.110084033613445</c:v>
                </c:pt>
                <c:pt idx="19461">
                  <c:v>-0.110084033613445</c:v>
                </c:pt>
                <c:pt idx="19462">
                  <c:v>-0.110084033613445</c:v>
                </c:pt>
                <c:pt idx="19463">
                  <c:v>-0.110084033613445</c:v>
                </c:pt>
                <c:pt idx="19464">
                  <c:v>-0.110084033613445</c:v>
                </c:pt>
                <c:pt idx="19465">
                  <c:v>-0.110084033613445</c:v>
                </c:pt>
                <c:pt idx="19466">
                  <c:v>-0.110084033613445</c:v>
                </c:pt>
                <c:pt idx="19467">
                  <c:v>-0.110084033613445</c:v>
                </c:pt>
                <c:pt idx="19468">
                  <c:v>-0.110084033613445</c:v>
                </c:pt>
                <c:pt idx="19469">
                  <c:v>-0.110084033613445</c:v>
                </c:pt>
                <c:pt idx="19470">
                  <c:v>-0.110084033613445</c:v>
                </c:pt>
                <c:pt idx="19471">
                  <c:v>-0.110084033613445</c:v>
                </c:pt>
                <c:pt idx="19472">
                  <c:v>-0.110084033613445</c:v>
                </c:pt>
                <c:pt idx="19473">
                  <c:v>-0.110084033613445</c:v>
                </c:pt>
                <c:pt idx="19474">
                  <c:v>-0.110084033613445</c:v>
                </c:pt>
                <c:pt idx="19475">
                  <c:v>-0.110084033613445</c:v>
                </c:pt>
                <c:pt idx="19476">
                  <c:v>-0.110084033613445</c:v>
                </c:pt>
                <c:pt idx="19477">
                  <c:v>-0.110084033613445</c:v>
                </c:pt>
                <c:pt idx="19478">
                  <c:v>-0.110084033613445</c:v>
                </c:pt>
                <c:pt idx="19479">
                  <c:v>-0.110084033613445</c:v>
                </c:pt>
                <c:pt idx="19480">
                  <c:v>-0.110084033613445</c:v>
                </c:pt>
                <c:pt idx="19481">
                  <c:v>-0.110084033613445</c:v>
                </c:pt>
                <c:pt idx="19482">
                  <c:v>-0.110084033613445</c:v>
                </c:pt>
                <c:pt idx="19483">
                  <c:v>-0.110084033613445</c:v>
                </c:pt>
                <c:pt idx="19484">
                  <c:v>-0.110084033613445</c:v>
                </c:pt>
                <c:pt idx="19485">
                  <c:v>-0.110084033613445</c:v>
                </c:pt>
                <c:pt idx="19486">
                  <c:v>-0.110084033613445</c:v>
                </c:pt>
                <c:pt idx="19487">
                  <c:v>-0.110084033613445</c:v>
                </c:pt>
                <c:pt idx="19488">
                  <c:v>-0.110084033613445</c:v>
                </c:pt>
                <c:pt idx="19489">
                  <c:v>-0.110084033613445</c:v>
                </c:pt>
                <c:pt idx="19490">
                  <c:v>-0.110084033613445</c:v>
                </c:pt>
                <c:pt idx="19491">
                  <c:v>-0.110084033613445</c:v>
                </c:pt>
                <c:pt idx="19492">
                  <c:v>-0.110084033613445</c:v>
                </c:pt>
                <c:pt idx="19493">
                  <c:v>-0.110084033613445</c:v>
                </c:pt>
                <c:pt idx="19494">
                  <c:v>-0.110084033613445</c:v>
                </c:pt>
                <c:pt idx="19495">
                  <c:v>-0.109243697478991</c:v>
                </c:pt>
                <c:pt idx="19496">
                  <c:v>-0.109243697478991</c:v>
                </c:pt>
                <c:pt idx="19497">
                  <c:v>-0.109243697478991</c:v>
                </c:pt>
                <c:pt idx="19498">
                  <c:v>-0.109243697478991</c:v>
                </c:pt>
                <c:pt idx="19499">
                  <c:v>-0.109243697478991</c:v>
                </c:pt>
                <c:pt idx="19500">
                  <c:v>-0.109243697478991</c:v>
                </c:pt>
                <c:pt idx="19501">
                  <c:v>-0.109243697478991</c:v>
                </c:pt>
                <c:pt idx="19502">
                  <c:v>-0.109243697478991</c:v>
                </c:pt>
                <c:pt idx="19503">
                  <c:v>-0.109243697478991</c:v>
                </c:pt>
                <c:pt idx="19504">
                  <c:v>-0.109243697478991</c:v>
                </c:pt>
                <c:pt idx="19505">
                  <c:v>-0.109243697478991</c:v>
                </c:pt>
                <c:pt idx="19506">
                  <c:v>-0.109243697478991</c:v>
                </c:pt>
                <c:pt idx="19507">
                  <c:v>-0.109243697478991</c:v>
                </c:pt>
                <c:pt idx="19508">
                  <c:v>-0.109243697478991</c:v>
                </c:pt>
                <c:pt idx="19509">
                  <c:v>-0.109243697478991</c:v>
                </c:pt>
                <c:pt idx="19510">
                  <c:v>-0.109243697478991</c:v>
                </c:pt>
                <c:pt idx="19511">
                  <c:v>-0.109243697478991</c:v>
                </c:pt>
                <c:pt idx="19512">
                  <c:v>-0.109243697478991</c:v>
                </c:pt>
                <c:pt idx="19513">
                  <c:v>-0.109243697478991</c:v>
                </c:pt>
                <c:pt idx="19514">
                  <c:v>-0.109243697478991</c:v>
                </c:pt>
                <c:pt idx="19515">
                  <c:v>-0.109243697478991</c:v>
                </c:pt>
                <c:pt idx="19516">
                  <c:v>-0.109243697478991</c:v>
                </c:pt>
                <c:pt idx="19517">
                  <c:v>-0.109243697478991</c:v>
                </c:pt>
                <c:pt idx="19518">
                  <c:v>-0.109243697478991</c:v>
                </c:pt>
                <c:pt idx="19519">
                  <c:v>-0.109243697478991</c:v>
                </c:pt>
                <c:pt idx="19520">
                  <c:v>-0.109243697478991</c:v>
                </c:pt>
                <c:pt idx="19521">
                  <c:v>-0.109243697478991</c:v>
                </c:pt>
                <c:pt idx="19522">
                  <c:v>-0.109243697478991</c:v>
                </c:pt>
                <c:pt idx="19523">
                  <c:v>-0.109243697478991</c:v>
                </c:pt>
                <c:pt idx="19524">
                  <c:v>-0.109243697478991</c:v>
                </c:pt>
                <c:pt idx="19525">
                  <c:v>-0.109243697478991</c:v>
                </c:pt>
                <c:pt idx="19526">
                  <c:v>-0.109243697478991</c:v>
                </c:pt>
                <c:pt idx="19527">
                  <c:v>-0.109243697478991</c:v>
                </c:pt>
                <c:pt idx="19528">
                  <c:v>-0.109243697478991</c:v>
                </c:pt>
                <c:pt idx="19529">
                  <c:v>-0.109243697478991</c:v>
                </c:pt>
                <c:pt idx="19530">
                  <c:v>-0.109243697478991</c:v>
                </c:pt>
                <c:pt idx="19531">
                  <c:v>-0.109243697478991</c:v>
                </c:pt>
                <c:pt idx="19532">
                  <c:v>-0.109243697478991</c:v>
                </c:pt>
                <c:pt idx="19533">
                  <c:v>-0.109243697478991</c:v>
                </c:pt>
                <c:pt idx="19534">
                  <c:v>-0.109243697478991</c:v>
                </c:pt>
                <c:pt idx="19535">
                  <c:v>-0.109243697478991</c:v>
                </c:pt>
                <c:pt idx="19536">
                  <c:v>-0.109243697478991</c:v>
                </c:pt>
                <c:pt idx="19537">
                  <c:v>-0.109243697478991</c:v>
                </c:pt>
                <c:pt idx="19538">
                  <c:v>-0.109243697478991</c:v>
                </c:pt>
                <c:pt idx="19539">
                  <c:v>-0.110084033613445</c:v>
                </c:pt>
                <c:pt idx="19540">
                  <c:v>-0.109243697478991</c:v>
                </c:pt>
                <c:pt idx="19541">
                  <c:v>-0.109243697478991</c:v>
                </c:pt>
                <c:pt idx="19542">
                  <c:v>-0.109243697478991</c:v>
                </c:pt>
                <c:pt idx="19543">
                  <c:v>-0.109243697478991</c:v>
                </c:pt>
                <c:pt idx="19544">
                  <c:v>-0.109243697478991</c:v>
                </c:pt>
                <c:pt idx="19545">
                  <c:v>-0.109243697478991</c:v>
                </c:pt>
                <c:pt idx="19546">
                  <c:v>-0.109243697478991</c:v>
                </c:pt>
                <c:pt idx="19547">
                  <c:v>-0.109243697478991</c:v>
                </c:pt>
                <c:pt idx="19548">
                  <c:v>-0.109243697478991</c:v>
                </c:pt>
                <c:pt idx="19549">
                  <c:v>-0.109243697478991</c:v>
                </c:pt>
                <c:pt idx="19550">
                  <c:v>-0.109243697478991</c:v>
                </c:pt>
                <c:pt idx="19551">
                  <c:v>-0.109243697478991</c:v>
                </c:pt>
                <c:pt idx="19552">
                  <c:v>-0.109243697478991</c:v>
                </c:pt>
                <c:pt idx="19553">
                  <c:v>-0.109243697478991</c:v>
                </c:pt>
                <c:pt idx="19554">
                  <c:v>-0.109243697478991</c:v>
                </c:pt>
                <c:pt idx="19555">
                  <c:v>-0.109243697478991</c:v>
                </c:pt>
                <c:pt idx="19556">
                  <c:v>-0.109243697478991</c:v>
                </c:pt>
                <c:pt idx="19557">
                  <c:v>-0.109243697478991</c:v>
                </c:pt>
                <c:pt idx="19558">
                  <c:v>-0.109243697478991</c:v>
                </c:pt>
                <c:pt idx="19559">
                  <c:v>-0.109243697478991</c:v>
                </c:pt>
                <c:pt idx="19560">
                  <c:v>-0.109243697478991</c:v>
                </c:pt>
                <c:pt idx="19561">
                  <c:v>-0.109243697478991</c:v>
                </c:pt>
                <c:pt idx="19562">
                  <c:v>-0.109243697478991</c:v>
                </c:pt>
                <c:pt idx="19563">
                  <c:v>-0.109243697478991</c:v>
                </c:pt>
                <c:pt idx="19564">
                  <c:v>-0.110084033613445</c:v>
                </c:pt>
                <c:pt idx="19565">
                  <c:v>-0.110084033613445</c:v>
                </c:pt>
                <c:pt idx="19566">
                  <c:v>-0.110084033613445</c:v>
                </c:pt>
                <c:pt idx="19567">
                  <c:v>-0.110084033613445</c:v>
                </c:pt>
                <c:pt idx="19568">
                  <c:v>-0.110084033613445</c:v>
                </c:pt>
                <c:pt idx="19569">
                  <c:v>-0.110084033613445</c:v>
                </c:pt>
                <c:pt idx="19570">
                  <c:v>-0.110084033613445</c:v>
                </c:pt>
                <c:pt idx="19571">
                  <c:v>-0.110084033613445</c:v>
                </c:pt>
                <c:pt idx="19572">
                  <c:v>-0.110084033613445</c:v>
                </c:pt>
                <c:pt idx="19573">
                  <c:v>-0.110084033613445</c:v>
                </c:pt>
                <c:pt idx="19574">
                  <c:v>-0.110084033613445</c:v>
                </c:pt>
                <c:pt idx="19575">
                  <c:v>-0.110084033613445</c:v>
                </c:pt>
                <c:pt idx="19576">
                  <c:v>-0.110084033613445</c:v>
                </c:pt>
                <c:pt idx="19577">
                  <c:v>-0.110084033613445</c:v>
                </c:pt>
                <c:pt idx="19578">
                  <c:v>-0.110084033613445</c:v>
                </c:pt>
                <c:pt idx="19579">
                  <c:v>-0.110084033613445</c:v>
                </c:pt>
                <c:pt idx="19580">
                  <c:v>-0.110084033613445</c:v>
                </c:pt>
                <c:pt idx="19581">
                  <c:v>-0.110084033613445</c:v>
                </c:pt>
                <c:pt idx="19582">
                  <c:v>-0.110084033613445</c:v>
                </c:pt>
                <c:pt idx="19583">
                  <c:v>-0.110084033613445</c:v>
                </c:pt>
                <c:pt idx="19584">
                  <c:v>-0.110084033613445</c:v>
                </c:pt>
                <c:pt idx="19585">
                  <c:v>-0.110084033613445</c:v>
                </c:pt>
                <c:pt idx="19586">
                  <c:v>-0.110084033613445</c:v>
                </c:pt>
                <c:pt idx="19587">
                  <c:v>-0.110084033613445</c:v>
                </c:pt>
                <c:pt idx="19588">
                  <c:v>-0.110084033613445</c:v>
                </c:pt>
                <c:pt idx="19589">
                  <c:v>-0.110924369747899</c:v>
                </c:pt>
                <c:pt idx="19590">
                  <c:v>-0.110924369747899</c:v>
                </c:pt>
                <c:pt idx="19591">
                  <c:v>-0.110924369747899</c:v>
                </c:pt>
                <c:pt idx="19592">
                  <c:v>-0.110924369747899</c:v>
                </c:pt>
                <c:pt idx="19593">
                  <c:v>-0.110924369747899</c:v>
                </c:pt>
                <c:pt idx="19594">
                  <c:v>-0.110924369747899</c:v>
                </c:pt>
                <c:pt idx="19595">
                  <c:v>-0.110924369747899</c:v>
                </c:pt>
                <c:pt idx="19596">
                  <c:v>-0.110924369747899</c:v>
                </c:pt>
                <c:pt idx="19597">
                  <c:v>-0.110924369747899</c:v>
                </c:pt>
                <c:pt idx="19598">
                  <c:v>-0.110924369747899</c:v>
                </c:pt>
                <c:pt idx="19599">
                  <c:v>-0.110924369747899</c:v>
                </c:pt>
                <c:pt idx="19600">
                  <c:v>-0.110924369747899</c:v>
                </c:pt>
                <c:pt idx="19601">
                  <c:v>-0.110924369747899</c:v>
                </c:pt>
                <c:pt idx="19602">
                  <c:v>-0.110924369747899</c:v>
                </c:pt>
                <c:pt idx="19603">
                  <c:v>-0.110924369747899</c:v>
                </c:pt>
                <c:pt idx="19604">
                  <c:v>-0.110924369747899</c:v>
                </c:pt>
                <c:pt idx="19605">
                  <c:v>-0.110924369747899</c:v>
                </c:pt>
                <c:pt idx="19606">
                  <c:v>-0.110924369747899</c:v>
                </c:pt>
                <c:pt idx="19607">
                  <c:v>-0.110924369747899</c:v>
                </c:pt>
                <c:pt idx="19608">
                  <c:v>-0.110924369747899</c:v>
                </c:pt>
                <c:pt idx="19609">
                  <c:v>-0.110924369747899</c:v>
                </c:pt>
                <c:pt idx="19610">
                  <c:v>-0.110924369747899</c:v>
                </c:pt>
                <c:pt idx="19611">
                  <c:v>-0.110924369747899</c:v>
                </c:pt>
                <c:pt idx="19612">
                  <c:v>-0.110924369747899</c:v>
                </c:pt>
                <c:pt idx="19613">
                  <c:v>-0.110924369747899</c:v>
                </c:pt>
                <c:pt idx="19614">
                  <c:v>-0.110924369747899</c:v>
                </c:pt>
                <c:pt idx="19615">
                  <c:v>-0.110924369747899</c:v>
                </c:pt>
                <c:pt idx="19616">
                  <c:v>-0.110924369747899</c:v>
                </c:pt>
                <c:pt idx="19617">
                  <c:v>-0.110084033613445</c:v>
                </c:pt>
                <c:pt idx="19618">
                  <c:v>-0.110084033613445</c:v>
                </c:pt>
                <c:pt idx="19619">
                  <c:v>-0.110084033613445</c:v>
                </c:pt>
                <c:pt idx="19620">
                  <c:v>-0.110084033613445</c:v>
                </c:pt>
                <c:pt idx="19621">
                  <c:v>-0.110084033613445</c:v>
                </c:pt>
                <c:pt idx="19622">
                  <c:v>-0.110084033613445</c:v>
                </c:pt>
                <c:pt idx="19623">
                  <c:v>-0.110084033613445</c:v>
                </c:pt>
                <c:pt idx="19624">
                  <c:v>-0.110084033613445</c:v>
                </c:pt>
                <c:pt idx="19625">
                  <c:v>-0.110084033613445</c:v>
                </c:pt>
                <c:pt idx="19626">
                  <c:v>-0.110084033613445</c:v>
                </c:pt>
                <c:pt idx="19627">
                  <c:v>-0.110084033613445</c:v>
                </c:pt>
                <c:pt idx="19628">
                  <c:v>-0.110084033613445</c:v>
                </c:pt>
                <c:pt idx="19629">
                  <c:v>-0.110084033613445</c:v>
                </c:pt>
                <c:pt idx="19630">
                  <c:v>-0.110084033613445</c:v>
                </c:pt>
                <c:pt idx="19631">
                  <c:v>-0.110084033613445</c:v>
                </c:pt>
                <c:pt idx="19632">
                  <c:v>-0.110084033613445</c:v>
                </c:pt>
                <c:pt idx="19633">
                  <c:v>-0.110084033613445</c:v>
                </c:pt>
                <c:pt idx="19634">
                  <c:v>-0.110084033613445</c:v>
                </c:pt>
                <c:pt idx="19635">
                  <c:v>-0.110084033613445</c:v>
                </c:pt>
                <c:pt idx="19636">
                  <c:v>-0.110084033613445</c:v>
                </c:pt>
                <c:pt idx="19637">
                  <c:v>-0.110084033613445</c:v>
                </c:pt>
                <c:pt idx="19638">
                  <c:v>-0.110084033613445</c:v>
                </c:pt>
                <c:pt idx="19639">
                  <c:v>-0.110084033613445</c:v>
                </c:pt>
                <c:pt idx="19640">
                  <c:v>-0.110084033613445</c:v>
                </c:pt>
                <c:pt idx="19641">
                  <c:v>-0.110084033613445</c:v>
                </c:pt>
                <c:pt idx="19642">
                  <c:v>-0.110084033613445</c:v>
                </c:pt>
                <c:pt idx="19643">
                  <c:v>-0.110084033613445</c:v>
                </c:pt>
                <c:pt idx="19644">
                  <c:v>-0.110084033613445</c:v>
                </c:pt>
                <c:pt idx="19645">
                  <c:v>-0.110084033613445</c:v>
                </c:pt>
                <c:pt idx="19646">
                  <c:v>-0.110084033613445</c:v>
                </c:pt>
                <c:pt idx="19647">
                  <c:v>-0.110084033613445</c:v>
                </c:pt>
                <c:pt idx="19648">
                  <c:v>-0.110084033613445</c:v>
                </c:pt>
                <c:pt idx="19649">
                  <c:v>-0.110084033613445</c:v>
                </c:pt>
                <c:pt idx="19650">
                  <c:v>-0.110084033613445</c:v>
                </c:pt>
                <c:pt idx="19651">
                  <c:v>-0.110084033613445</c:v>
                </c:pt>
                <c:pt idx="19652">
                  <c:v>-0.110084033613445</c:v>
                </c:pt>
                <c:pt idx="19653">
                  <c:v>-0.110084033613445</c:v>
                </c:pt>
                <c:pt idx="19654">
                  <c:v>-0.110084033613445</c:v>
                </c:pt>
                <c:pt idx="19655">
                  <c:v>-0.110084033613445</c:v>
                </c:pt>
                <c:pt idx="19656">
                  <c:v>-0.109243697478991</c:v>
                </c:pt>
                <c:pt idx="19657">
                  <c:v>-0.109243697478991</c:v>
                </c:pt>
                <c:pt idx="19658">
                  <c:v>-0.109243697478991</c:v>
                </c:pt>
                <c:pt idx="19659">
                  <c:v>-0.109243697478991</c:v>
                </c:pt>
                <c:pt idx="19660">
                  <c:v>-0.109243697478991</c:v>
                </c:pt>
                <c:pt idx="19661">
                  <c:v>-0.108403361344537</c:v>
                </c:pt>
                <c:pt idx="19662">
                  <c:v>-0.108403361344537</c:v>
                </c:pt>
                <c:pt idx="19663">
                  <c:v>-0.108403361344537</c:v>
                </c:pt>
                <c:pt idx="19664">
                  <c:v>-0.108403361344537</c:v>
                </c:pt>
                <c:pt idx="19665">
                  <c:v>-0.108403361344537</c:v>
                </c:pt>
                <c:pt idx="19666">
                  <c:v>-0.108403361344537</c:v>
                </c:pt>
                <c:pt idx="19667">
                  <c:v>-0.108403361344537</c:v>
                </c:pt>
                <c:pt idx="19668">
                  <c:v>-0.108403361344537</c:v>
                </c:pt>
                <c:pt idx="19669">
                  <c:v>-0.107563025210084</c:v>
                </c:pt>
                <c:pt idx="19670">
                  <c:v>-0.107563025210084</c:v>
                </c:pt>
                <c:pt idx="19671">
                  <c:v>-0.107563025210084</c:v>
                </c:pt>
                <c:pt idx="19672">
                  <c:v>-0.107563025210084</c:v>
                </c:pt>
                <c:pt idx="19673">
                  <c:v>-0.107563025210084</c:v>
                </c:pt>
                <c:pt idx="19674">
                  <c:v>-0.107563025210084</c:v>
                </c:pt>
                <c:pt idx="19675">
                  <c:v>-0.107563025210084</c:v>
                </c:pt>
                <c:pt idx="19676">
                  <c:v>-0.107563025210084</c:v>
                </c:pt>
                <c:pt idx="19677">
                  <c:v>-0.107563025210084</c:v>
                </c:pt>
                <c:pt idx="19678">
                  <c:v>-0.107563025210084</c:v>
                </c:pt>
                <c:pt idx="19679">
                  <c:v>-0.107563025210084</c:v>
                </c:pt>
                <c:pt idx="19680">
                  <c:v>-0.107563025210084</c:v>
                </c:pt>
                <c:pt idx="19681">
                  <c:v>-0.107563025210084</c:v>
                </c:pt>
                <c:pt idx="19682">
                  <c:v>-0.107563025210084</c:v>
                </c:pt>
                <c:pt idx="19683">
                  <c:v>-0.107563025210084</c:v>
                </c:pt>
                <c:pt idx="19684">
                  <c:v>-0.107563025210084</c:v>
                </c:pt>
                <c:pt idx="19685">
                  <c:v>-0.107563025210084</c:v>
                </c:pt>
                <c:pt idx="19686">
                  <c:v>-0.107563025210084</c:v>
                </c:pt>
                <c:pt idx="19687">
                  <c:v>-0.107563025210084</c:v>
                </c:pt>
                <c:pt idx="19688">
                  <c:v>-0.10672268907563</c:v>
                </c:pt>
                <c:pt idx="19689">
                  <c:v>-0.10672268907563</c:v>
                </c:pt>
                <c:pt idx="19690">
                  <c:v>-0.10672268907563</c:v>
                </c:pt>
                <c:pt idx="19691">
                  <c:v>-0.10672268907563</c:v>
                </c:pt>
                <c:pt idx="19692">
                  <c:v>-0.10672268907563</c:v>
                </c:pt>
                <c:pt idx="19693">
                  <c:v>-0.10672268907563</c:v>
                </c:pt>
                <c:pt idx="19694">
                  <c:v>-0.10672268907563</c:v>
                </c:pt>
                <c:pt idx="19695">
                  <c:v>-0.10672268907563</c:v>
                </c:pt>
                <c:pt idx="19696">
                  <c:v>-0.10672268907563</c:v>
                </c:pt>
                <c:pt idx="19697">
                  <c:v>-0.10672268907563</c:v>
                </c:pt>
                <c:pt idx="19698">
                  <c:v>-0.10672268907563</c:v>
                </c:pt>
                <c:pt idx="19699">
                  <c:v>-0.10672268907563</c:v>
                </c:pt>
                <c:pt idx="19700">
                  <c:v>-0.10672268907563</c:v>
                </c:pt>
                <c:pt idx="19701">
                  <c:v>-0.10672268907563</c:v>
                </c:pt>
                <c:pt idx="19702">
                  <c:v>-0.10672268907563</c:v>
                </c:pt>
                <c:pt idx="19703">
                  <c:v>-0.10672268907563</c:v>
                </c:pt>
                <c:pt idx="19704">
                  <c:v>-0.10672268907563</c:v>
                </c:pt>
                <c:pt idx="19705">
                  <c:v>-0.105882352941176</c:v>
                </c:pt>
                <c:pt idx="19706">
                  <c:v>-0.105882352941176</c:v>
                </c:pt>
                <c:pt idx="19707">
                  <c:v>-0.105042016806722</c:v>
                </c:pt>
                <c:pt idx="19708">
                  <c:v>-0.105042016806722</c:v>
                </c:pt>
                <c:pt idx="19709">
                  <c:v>-0.105042016806722</c:v>
                </c:pt>
                <c:pt idx="19710">
                  <c:v>-0.105042016806722</c:v>
                </c:pt>
                <c:pt idx="19711">
                  <c:v>-0.105042016806722</c:v>
                </c:pt>
                <c:pt idx="19712">
                  <c:v>-0.105042016806722</c:v>
                </c:pt>
                <c:pt idx="19713">
                  <c:v>-0.105042016806722</c:v>
                </c:pt>
                <c:pt idx="19714">
                  <c:v>-0.105042016806722</c:v>
                </c:pt>
                <c:pt idx="19715">
                  <c:v>-0.105042016806722</c:v>
                </c:pt>
                <c:pt idx="19716">
                  <c:v>-0.105042016806722</c:v>
                </c:pt>
                <c:pt idx="19717">
                  <c:v>-0.105042016806722</c:v>
                </c:pt>
                <c:pt idx="19718">
                  <c:v>-0.105042016806722</c:v>
                </c:pt>
                <c:pt idx="19719">
                  <c:v>-0.105042016806722</c:v>
                </c:pt>
                <c:pt idx="19720">
                  <c:v>-0.105042016806722</c:v>
                </c:pt>
                <c:pt idx="19721">
                  <c:v>-0.105042016806722</c:v>
                </c:pt>
                <c:pt idx="19722">
                  <c:v>-0.105042016806722</c:v>
                </c:pt>
                <c:pt idx="19723">
                  <c:v>-0.105042016806722</c:v>
                </c:pt>
                <c:pt idx="19724">
                  <c:v>-0.105882352941176</c:v>
                </c:pt>
                <c:pt idx="19725">
                  <c:v>-0.105882352941176</c:v>
                </c:pt>
                <c:pt idx="19726">
                  <c:v>-0.105882352941176</c:v>
                </c:pt>
                <c:pt idx="19727">
                  <c:v>-0.105882352941176</c:v>
                </c:pt>
                <c:pt idx="19728">
                  <c:v>-0.105882352941176</c:v>
                </c:pt>
                <c:pt idx="19729">
                  <c:v>-0.105882352941176</c:v>
                </c:pt>
                <c:pt idx="19730">
                  <c:v>-0.105882352941176</c:v>
                </c:pt>
                <c:pt idx="19731">
                  <c:v>-0.105882352941176</c:v>
                </c:pt>
                <c:pt idx="19732">
                  <c:v>-0.105882352941176</c:v>
                </c:pt>
                <c:pt idx="19733">
                  <c:v>-0.105882352941176</c:v>
                </c:pt>
                <c:pt idx="19734">
                  <c:v>-0.105882352941176</c:v>
                </c:pt>
                <c:pt idx="19735">
                  <c:v>-0.105882352941176</c:v>
                </c:pt>
                <c:pt idx="19736">
                  <c:v>-0.105882352941176</c:v>
                </c:pt>
                <c:pt idx="19737">
                  <c:v>-0.105882352941176</c:v>
                </c:pt>
                <c:pt idx="19738">
                  <c:v>-0.105882352941176</c:v>
                </c:pt>
                <c:pt idx="19739">
                  <c:v>-0.105882352941176</c:v>
                </c:pt>
                <c:pt idx="19740">
                  <c:v>-0.105882352941176</c:v>
                </c:pt>
                <c:pt idx="19741">
                  <c:v>-0.105882352941176</c:v>
                </c:pt>
                <c:pt idx="19742">
                  <c:v>-0.10672268907563</c:v>
                </c:pt>
                <c:pt idx="19743">
                  <c:v>-0.10672268907563</c:v>
                </c:pt>
                <c:pt idx="19744">
                  <c:v>-0.10672268907563</c:v>
                </c:pt>
                <c:pt idx="19745">
                  <c:v>-0.10672268907563</c:v>
                </c:pt>
                <c:pt idx="19746">
                  <c:v>-0.10672268907563</c:v>
                </c:pt>
                <c:pt idx="19747">
                  <c:v>-0.10672268907563</c:v>
                </c:pt>
                <c:pt idx="19748">
                  <c:v>-0.10672268907563</c:v>
                </c:pt>
                <c:pt idx="19749">
                  <c:v>-0.10672268907563</c:v>
                </c:pt>
                <c:pt idx="19750">
                  <c:v>-0.10672268907563</c:v>
                </c:pt>
                <c:pt idx="19751">
                  <c:v>-0.10672268907563</c:v>
                </c:pt>
                <c:pt idx="19752">
                  <c:v>-0.10672268907563</c:v>
                </c:pt>
                <c:pt idx="19753">
                  <c:v>-0.10672268907563</c:v>
                </c:pt>
                <c:pt idx="19754">
                  <c:v>-0.10672268907563</c:v>
                </c:pt>
                <c:pt idx="19755">
                  <c:v>-0.10672268907563</c:v>
                </c:pt>
                <c:pt idx="19756">
                  <c:v>-0.10672268907563</c:v>
                </c:pt>
                <c:pt idx="19757">
                  <c:v>-0.105882352941176</c:v>
                </c:pt>
                <c:pt idx="19758">
                  <c:v>-0.105882352941176</c:v>
                </c:pt>
                <c:pt idx="19759">
                  <c:v>-0.105882352941176</c:v>
                </c:pt>
                <c:pt idx="19760">
                  <c:v>-0.105882352941176</c:v>
                </c:pt>
                <c:pt idx="19761">
                  <c:v>-0.105882352941176</c:v>
                </c:pt>
                <c:pt idx="19762">
                  <c:v>-0.105882352941176</c:v>
                </c:pt>
                <c:pt idx="19763">
                  <c:v>-0.105882352941176</c:v>
                </c:pt>
                <c:pt idx="19764">
                  <c:v>-0.105882352941176</c:v>
                </c:pt>
                <c:pt idx="19765">
                  <c:v>-0.105882352941176</c:v>
                </c:pt>
                <c:pt idx="19766">
                  <c:v>-0.105882352941176</c:v>
                </c:pt>
                <c:pt idx="19767">
                  <c:v>-0.105882352941176</c:v>
                </c:pt>
                <c:pt idx="19768">
                  <c:v>-0.105882352941176</c:v>
                </c:pt>
                <c:pt idx="19769">
                  <c:v>-0.105882352941176</c:v>
                </c:pt>
                <c:pt idx="19770">
                  <c:v>-0.105882352941176</c:v>
                </c:pt>
                <c:pt idx="19771">
                  <c:v>-0.105882352941176</c:v>
                </c:pt>
                <c:pt idx="19772">
                  <c:v>-0.105882352941176</c:v>
                </c:pt>
                <c:pt idx="19773">
                  <c:v>-0.105882352941176</c:v>
                </c:pt>
                <c:pt idx="19774">
                  <c:v>-0.105882352941176</c:v>
                </c:pt>
                <c:pt idx="19775">
                  <c:v>-0.105882352941176</c:v>
                </c:pt>
                <c:pt idx="19776">
                  <c:v>-0.105882352941176</c:v>
                </c:pt>
                <c:pt idx="19777">
                  <c:v>-0.10672268907563</c:v>
                </c:pt>
                <c:pt idx="19778">
                  <c:v>-0.10672268907563</c:v>
                </c:pt>
                <c:pt idx="19779">
                  <c:v>-0.10672268907563</c:v>
                </c:pt>
                <c:pt idx="19780">
                  <c:v>-0.10672268907563</c:v>
                </c:pt>
                <c:pt idx="19781">
                  <c:v>-0.10672268907563</c:v>
                </c:pt>
                <c:pt idx="19782">
                  <c:v>-0.10672268907563</c:v>
                </c:pt>
                <c:pt idx="19783">
                  <c:v>-0.10672268907563</c:v>
                </c:pt>
                <c:pt idx="19784">
                  <c:v>-0.10672268907563</c:v>
                </c:pt>
                <c:pt idx="19785">
                  <c:v>-0.10672268907563</c:v>
                </c:pt>
                <c:pt idx="19786">
                  <c:v>-0.10672268907563</c:v>
                </c:pt>
                <c:pt idx="19787">
                  <c:v>-0.10672268907563</c:v>
                </c:pt>
                <c:pt idx="19788">
                  <c:v>-0.10672268907563</c:v>
                </c:pt>
                <c:pt idx="19789">
                  <c:v>-0.10672268907563</c:v>
                </c:pt>
                <c:pt idx="19790">
                  <c:v>-0.10672268907563</c:v>
                </c:pt>
                <c:pt idx="19791">
                  <c:v>-0.10672268907563</c:v>
                </c:pt>
                <c:pt idx="19792">
                  <c:v>-0.10672268907563</c:v>
                </c:pt>
                <c:pt idx="19793">
                  <c:v>-0.10672268907563</c:v>
                </c:pt>
                <c:pt idx="19794">
                  <c:v>-0.10672268907563</c:v>
                </c:pt>
                <c:pt idx="19795">
                  <c:v>-0.10672268907563</c:v>
                </c:pt>
                <c:pt idx="19796">
                  <c:v>-0.10672268907563</c:v>
                </c:pt>
                <c:pt idx="19797">
                  <c:v>-0.10672268907563</c:v>
                </c:pt>
                <c:pt idx="19798">
                  <c:v>-0.105882352941176</c:v>
                </c:pt>
                <c:pt idx="19799">
                  <c:v>-0.105882352941176</c:v>
                </c:pt>
                <c:pt idx="19800">
                  <c:v>-0.105882352941176</c:v>
                </c:pt>
                <c:pt idx="19801">
                  <c:v>-0.105882352941176</c:v>
                </c:pt>
                <c:pt idx="19802">
                  <c:v>-0.105882352941176</c:v>
                </c:pt>
                <c:pt idx="19803">
                  <c:v>-0.105882352941176</c:v>
                </c:pt>
                <c:pt idx="19804">
                  <c:v>-0.105882352941176</c:v>
                </c:pt>
                <c:pt idx="19805">
                  <c:v>-0.105882352941176</c:v>
                </c:pt>
                <c:pt idx="19806">
                  <c:v>-0.105882352941176</c:v>
                </c:pt>
                <c:pt idx="19807">
                  <c:v>-0.105882352941176</c:v>
                </c:pt>
                <c:pt idx="19808">
                  <c:v>-0.105882352941176</c:v>
                </c:pt>
                <c:pt idx="19809">
                  <c:v>-0.105882352941176</c:v>
                </c:pt>
                <c:pt idx="19810">
                  <c:v>-0.105882352941176</c:v>
                </c:pt>
                <c:pt idx="19811">
                  <c:v>-0.105882352941176</c:v>
                </c:pt>
                <c:pt idx="19812">
                  <c:v>-0.105882352941176</c:v>
                </c:pt>
                <c:pt idx="19813">
                  <c:v>-0.105882352941176</c:v>
                </c:pt>
                <c:pt idx="19814">
                  <c:v>-0.105882352941176</c:v>
                </c:pt>
                <c:pt idx="19815">
                  <c:v>-0.105882352941176</c:v>
                </c:pt>
                <c:pt idx="19816">
                  <c:v>-0.10672268907563</c:v>
                </c:pt>
                <c:pt idx="19817">
                  <c:v>-0.10672268907563</c:v>
                </c:pt>
                <c:pt idx="19818">
                  <c:v>-0.10672268907563</c:v>
                </c:pt>
                <c:pt idx="19819">
                  <c:v>-0.10672268907563</c:v>
                </c:pt>
                <c:pt idx="19820">
                  <c:v>-0.10672268907563</c:v>
                </c:pt>
                <c:pt idx="19821">
                  <c:v>-0.10672268907563</c:v>
                </c:pt>
                <c:pt idx="19822">
                  <c:v>-0.10672268907563</c:v>
                </c:pt>
                <c:pt idx="19823">
                  <c:v>-0.10672268907563</c:v>
                </c:pt>
                <c:pt idx="19824">
                  <c:v>-0.10672268907563</c:v>
                </c:pt>
                <c:pt idx="19825">
                  <c:v>-0.10672268907563</c:v>
                </c:pt>
                <c:pt idx="19826">
                  <c:v>-0.10672268907563</c:v>
                </c:pt>
                <c:pt idx="19827">
                  <c:v>-0.10672268907563</c:v>
                </c:pt>
                <c:pt idx="19828">
                  <c:v>-0.10672268907563</c:v>
                </c:pt>
                <c:pt idx="19829">
                  <c:v>-0.105882352941176</c:v>
                </c:pt>
                <c:pt idx="19830">
                  <c:v>-0.105882352941176</c:v>
                </c:pt>
                <c:pt idx="19831">
                  <c:v>-0.105882352941176</c:v>
                </c:pt>
                <c:pt idx="19832">
                  <c:v>-0.105882352941176</c:v>
                </c:pt>
                <c:pt idx="19833">
                  <c:v>-0.10672268907563</c:v>
                </c:pt>
                <c:pt idx="19834">
                  <c:v>-0.10672268907563</c:v>
                </c:pt>
                <c:pt idx="19835">
                  <c:v>-0.10672268907563</c:v>
                </c:pt>
                <c:pt idx="19836">
                  <c:v>-0.10672268907563</c:v>
                </c:pt>
                <c:pt idx="19837">
                  <c:v>-0.10672268907563</c:v>
                </c:pt>
                <c:pt idx="19838">
                  <c:v>-0.10672268907563</c:v>
                </c:pt>
                <c:pt idx="19839">
                  <c:v>-0.10672268907563</c:v>
                </c:pt>
                <c:pt idx="19840">
                  <c:v>-0.10672268907563</c:v>
                </c:pt>
                <c:pt idx="19841">
                  <c:v>-0.10672268907563</c:v>
                </c:pt>
                <c:pt idx="19842">
                  <c:v>-0.10672268907563</c:v>
                </c:pt>
                <c:pt idx="19843">
                  <c:v>-0.10672268907563</c:v>
                </c:pt>
                <c:pt idx="19844">
                  <c:v>-0.10672268907563</c:v>
                </c:pt>
                <c:pt idx="19845">
                  <c:v>-0.10672268907563</c:v>
                </c:pt>
                <c:pt idx="19846">
                  <c:v>-0.10672268907563</c:v>
                </c:pt>
                <c:pt idx="19847">
                  <c:v>-0.10672268907563</c:v>
                </c:pt>
                <c:pt idx="19848">
                  <c:v>-0.10672268907563</c:v>
                </c:pt>
                <c:pt idx="19849">
                  <c:v>-0.10672268907563</c:v>
                </c:pt>
                <c:pt idx="19850">
                  <c:v>-0.10672268907563</c:v>
                </c:pt>
                <c:pt idx="19851">
                  <c:v>-0.10672268907563</c:v>
                </c:pt>
                <c:pt idx="19852">
                  <c:v>-0.10672268907563</c:v>
                </c:pt>
                <c:pt idx="19853">
                  <c:v>-0.10672268907563</c:v>
                </c:pt>
                <c:pt idx="19854">
                  <c:v>-0.10672268907563</c:v>
                </c:pt>
                <c:pt idx="19855">
                  <c:v>-0.10672268907563</c:v>
                </c:pt>
                <c:pt idx="19856">
                  <c:v>-0.10672268907563</c:v>
                </c:pt>
                <c:pt idx="19857">
                  <c:v>-0.10672268907563</c:v>
                </c:pt>
                <c:pt idx="19858">
                  <c:v>-0.10672268907563</c:v>
                </c:pt>
                <c:pt idx="19859">
                  <c:v>-0.10672268907563</c:v>
                </c:pt>
                <c:pt idx="19860">
                  <c:v>-0.10672268907563</c:v>
                </c:pt>
                <c:pt idx="19861">
                  <c:v>-0.10672268907563</c:v>
                </c:pt>
                <c:pt idx="19862">
                  <c:v>-0.10672268907563</c:v>
                </c:pt>
                <c:pt idx="19863">
                  <c:v>-0.10672268907563</c:v>
                </c:pt>
                <c:pt idx="19864">
                  <c:v>-0.10672268907563</c:v>
                </c:pt>
                <c:pt idx="19865">
                  <c:v>-0.10672268907563</c:v>
                </c:pt>
                <c:pt idx="19866">
                  <c:v>-0.10672268907563</c:v>
                </c:pt>
                <c:pt idx="19867">
                  <c:v>-0.10672268907563</c:v>
                </c:pt>
                <c:pt idx="19868">
                  <c:v>-0.10672268907563</c:v>
                </c:pt>
                <c:pt idx="19869">
                  <c:v>-0.10672268907563</c:v>
                </c:pt>
                <c:pt idx="19870">
                  <c:v>-0.10672268907563</c:v>
                </c:pt>
                <c:pt idx="19871">
                  <c:v>-0.10672268907563</c:v>
                </c:pt>
                <c:pt idx="19872">
                  <c:v>-0.10672268907563</c:v>
                </c:pt>
                <c:pt idx="19873">
                  <c:v>-0.10672268907563</c:v>
                </c:pt>
                <c:pt idx="19874">
                  <c:v>-0.10672268907563</c:v>
                </c:pt>
                <c:pt idx="19875">
                  <c:v>-0.10672268907563</c:v>
                </c:pt>
                <c:pt idx="19876">
                  <c:v>-0.10672268907563</c:v>
                </c:pt>
                <c:pt idx="19877">
                  <c:v>-0.10672268907563</c:v>
                </c:pt>
                <c:pt idx="19878">
                  <c:v>-0.10672268907563</c:v>
                </c:pt>
                <c:pt idx="19879">
                  <c:v>-0.10672268907563</c:v>
                </c:pt>
                <c:pt idx="19880">
                  <c:v>-0.10672268907563</c:v>
                </c:pt>
                <c:pt idx="19881">
                  <c:v>-0.10672268907563</c:v>
                </c:pt>
                <c:pt idx="19882">
                  <c:v>-0.10672268907563</c:v>
                </c:pt>
                <c:pt idx="19883">
                  <c:v>-0.10672268907563</c:v>
                </c:pt>
                <c:pt idx="19884">
                  <c:v>-0.10672268907563</c:v>
                </c:pt>
                <c:pt idx="19885">
                  <c:v>-0.10672268907563</c:v>
                </c:pt>
                <c:pt idx="19886">
                  <c:v>-0.10672268907563</c:v>
                </c:pt>
                <c:pt idx="19887">
                  <c:v>-0.10672268907563</c:v>
                </c:pt>
                <c:pt idx="19888">
                  <c:v>-0.10672268907563</c:v>
                </c:pt>
                <c:pt idx="19889">
                  <c:v>-0.10672268907563</c:v>
                </c:pt>
                <c:pt idx="19890">
                  <c:v>-0.10672268907563</c:v>
                </c:pt>
                <c:pt idx="19891">
                  <c:v>-0.105882352941176</c:v>
                </c:pt>
                <c:pt idx="19892">
                  <c:v>-0.105882352941176</c:v>
                </c:pt>
                <c:pt idx="19893">
                  <c:v>-0.105882352941176</c:v>
                </c:pt>
                <c:pt idx="19894">
                  <c:v>-0.105882352941176</c:v>
                </c:pt>
                <c:pt idx="19895">
                  <c:v>-0.105882352941176</c:v>
                </c:pt>
                <c:pt idx="19896">
                  <c:v>-0.105882352941176</c:v>
                </c:pt>
                <c:pt idx="19897">
                  <c:v>-0.105882352941176</c:v>
                </c:pt>
                <c:pt idx="19898">
                  <c:v>-0.105882352941176</c:v>
                </c:pt>
                <c:pt idx="19899">
                  <c:v>-0.105882352941176</c:v>
                </c:pt>
                <c:pt idx="19900">
                  <c:v>-0.105882352941176</c:v>
                </c:pt>
                <c:pt idx="19901">
                  <c:v>-0.105882352941176</c:v>
                </c:pt>
                <c:pt idx="19902">
                  <c:v>-0.105882352941176</c:v>
                </c:pt>
                <c:pt idx="19903">
                  <c:v>-0.105882352941176</c:v>
                </c:pt>
                <c:pt idx="19904">
                  <c:v>-0.105882352941176</c:v>
                </c:pt>
                <c:pt idx="19905">
                  <c:v>-0.105882352941176</c:v>
                </c:pt>
                <c:pt idx="19906">
                  <c:v>-0.105882352941176</c:v>
                </c:pt>
                <c:pt idx="19907">
                  <c:v>-0.105882352941176</c:v>
                </c:pt>
                <c:pt idx="19908">
                  <c:v>-0.105882352941176</c:v>
                </c:pt>
                <c:pt idx="19909">
                  <c:v>-0.105882352941176</c:v>
                </c:pt>
                <c:pt idx="19910">
                  <c:v>-0.105882352941176</c:v>
                </c:pt>
                <c:pt idx="19911">
                  <c:v>-0.105882352941176</c:v>
                </c:pt>
                <c:pt idx="19912">
                  <c:v>-0.105882352941176</c:v>
                </c:pt>
                <c:pt idx="19913">
                  <c:v>-0.105882352941176</c:v>
                </c:pt>
                <c:pt idx="19914">
                  <c:v>-0.105882352941176</c:v>
                </c:pt>
                <c:pt idx="19915">
                  <c:v>-0.105882352941176</c:v>
                </c:pt>
                <c:pt idx="19916">
                  <c:v>-0.105882352941176</c:v>
                </c:pt>
                <c:pt idx="19917">
                  <c:v>-0.105042016806722</c:v>
                </c:pt>
                <c:pt idx="19918">
                  <c:v>-0.105882352941176</c:v>
                </c:pt>
                <c:pt idx="19919">
                  <c:v>-0.105882352941176</c:v>
                </c:pt>
                <c:pt idx="19920">
                  <c:v>-0.105882352941176</c:v>
                </c:pt>
                <c:pt idx="19921">
                  <c:v>-0.105882352941176</c:v>
                </c:pt>
                <c:pt idx="19922">
                  <c:v>-0.105882352941176</c:v>
                </c:pt>
                <c:pt idx="19923">
                  <c:v>-0.105882352941176</c:v>
                </c:pt>
                <c:pt idx="19924">
                  <c:v>-0.105882352941176</c:v>
                </c:pt>
                <c:pt idx="19925">
                  <c:v>-0.105882352941176</c:v>
                </c:pt>
                <c:pt idx="19926">
                  <c:v>-0.105882352941176</c:v>
                </c:pt>
                <c:pt idx="19927">
                  <c:v>-0.105882352941176</c:v>
                </c:pt>
                <c:pt idx="19928">
                  <c:v>-0.105882352941176</c:v>
                </c:pt>
                <c:pt idx="19929">
                  <c:v>-0.105882352941176</c:v>
                </c:pt>
                <c:pt idx="19930">
                  <c:v>-0.105882352941176</c:v>
                </c:pt>
                <c:pt idx="19931">
                  <c:v>-0.105882352941176</c:v>
                </c:pt>
                <c:pt idx="19932">
                  <c:v>-0.105882352941176</c:v>
                </c:pt>
                <c:pt idx="19933">
                  <c:v>-0.105882352941176</c:v>
                </c:pt>
                <c:pt idx="19934">
                  <c:v>-0.105882352941176</c:v>
                </c:pt>
                <c:pt idx="19935">
                  <c:v>-0.105882352941176</c:v>
                </c:pt>
                <c:pt idx="19936">
                  <c:v>-0.105882352941176</c:v>
                </c:pt>
                <c:pt idx="19937">
                  <c:v>-0.105882352941176</c:v>
                </c:pt>
                <c:pt idx="19938">
                  <c:v>-0.105882352941176</c:v>
                </c:pt>
                <c:pt idx="19939">
                  <c:v>-0.105882352941176</c:v>
                </c:pt>
                <c:pt idx="19940">
                  <c:v>-0.105882352941176</c:v>
                </c:pt>
                <c:pt idx="19941">
                  <c:v>-0.105882352941176</c:v>
                </c:pt>
                <c:pt idx="19942">
                  <c:v>-0.105882352941176</c:v>
                </c:pt>
                <c:pt idx="19943">
                  <c:v>-0.105882352941176</c:v>
                </c:pt>
                <c:pt idx="19944">
                  <c:v>-0.105882352941176</c:v>
                </c:pt>
                <c:pt idx="19945">
                  <c:v>-0.105882352941176</c:v>
                </c:pt>
                <c:pt idx="19946">
                  <c:v>-0.105882352941176</c:v>
                </c:pt>
                <c:pt idx="19947">
                  <c:v>-0.105882352941176</c:v>
                </c:pt>
                <c:pt idx="19948">
                  <c:v>-0.105882352941176</c:v>
                </c:pt>
                <c:pt idx="19949">
                  <c:v>-0.105882352941176</c:v>
                </c:pt>
                <c:pt idx="19950">
                  <c:v>-0.105882352941176</c:v>
                </c:pt>
                <c:pt idx="19951">
                  <c:v>-0.105882352941176</c:v>
                </c:pt>
                <c:pt idx="19952">
                  <c:v>-0.105882352941176</c:v>
                </c:pt>
                <c:pt idx="19953">
                  <c:v>-0.105882352941176</c:v>
                </c:pt>
                <c:pt idx="19954">
                  <c:v>-0.105882352941176</c:v>
                </c:pt>
                <c:pt idx="19955">
                  <c:v>-0.105882352941176</c:v>
                </c:pt>
                <c:pt idx="19956">
                  <c:v>-0.105882352941176</c:v>
                </c:pt>
                <c:pt idx="19957">
                  <c:v>-0.105882352941176</c:v>
                </c:pt>
                <c:pt idx="19958">
                  <c:v>-0.105882352941176</c:v>
                </c:pt>
                <c:pt idx="19959">
                  <c:v>-0.10672268907563</c:v>
                </c:pt>
                <c:pt idx="19960">
                  <c:v>-0.10672268907563</c:v>
                </c:pt>
                <c:pt idx="19961">
                  <c:v>-0.10672268907563</c:v>
                </c:pt>
                <c:pt idx="19962">
                  <c:v>-0.10672268907563</c:v>
                </c:pt>
                <c:pt idx="19963">
                  <c:v>-0.10672268907563</c:v>
                </c:pt>
                <c:pt idx="19964">
                  <c:v>-0.10672268907563</c:v>
                </c:pt>
                <c:pt idx="19965">
                  <c:v>-0.10672268907563</c:v>
                </c:pt>
                <c:pt idx="19966">
                  <c:v>-0.10672268907563</c:v>
                </c:pt>
                <c:pt idx="19967">
                  <c:v>-0.10672268907563</c:v>
                </c:pt>
                <c:pt idx="19968">
                  <c:v>-0.10672268907563</c:v>
                </c:pt>
                <c:pt idx="19969">
                  <c:v>-0.10672268907563</c:v>
                </c:pt>
                <c:pt idx="19970">
                  <c:v>-0.10672268907563</c:v>
                </c:pt>
                <c:pt idx="19971">
                  <c:v>-0.10672268907563</c:v>
                </c:pt>
                <c:pt idx="19972">
                  <c:v>-0.10672268907563</c:v>
                </c:pt>
                <c:pt idx="19973">
                  <c:v>-0.10672268907563</c:v>
                </c:pt>
                <c:pt idx="19974">
                  <c:v>-0.10672268907563</c:v>
                </c:pt>
                <c:pt idx="19975">
                  <c:v>-0.10672268907563</c:v>
                </c:pt>
                <c:pt idx="19976">
                  <c:v>-0.10672268907563</c:v>
                </c:pt>
                <c:pt idx="19977">
                  <c:v>-0.10672268907563</c:v>
                </c:pt>
                <c:pt idx="19978">
                  <c:v>-0.10672268907563</c:v>
                </c:pt>
                <c:pt idx="19979">
                  <c:v>-0.10672268907563</c:v>
                </c:pt>
                <c:pt idx="19980">
                  <c:v>-0.105882352941176</c:v>
                </c:pt>
                <c:pt idx="19981">
                  <c:v>-0.105882352941176</c:v>
                </c:pt>
                <c:pt idx="19982">
                  <c:v>-0.105882352941176</c:v>
                </c:pt>
                <c:pt idx="19983">
                  <c:v>-0.105882352941176</c:v>
                </c:pt>
                <c:pt idx="19984">
                  <c:v>-0.105882352941176</c:v>
                </c:pt>
                <c:pt idx="19985">
                  <c:v>-0.105882352941176</c:v>
                </c:pt>
                <c:pt idx="19986">
                  <c:v>-0.105882352941176</c:v>
                </c:pt>
                <c:pt idx="19987">
                  <c:v>-0.105882352941176</c:v>
                </c:pt>
                <c:pt idx="19988">
                  <c:v>-0.105882352941176</c:v>
                </c:pt>
                <c:pt idx="19989">
                  <c:v>-0.105882352941176</c:v>
                </c:pt>
                <c:pt idx="19990">
                  <c:v>-0.105882352941176</c:v>
                </c:pt>
                <c:pt idx="19991">
                  <c:v>-0.105882352941176</c:v>
                </c:pt>
                <c:pt idx="19992">
                  <c:v>-0.105882352941176</c:v>
                </c:pt>
                <c:pt idx="19993">
                  <c:v>-0.105882352941176</c:v>
                </c:pt>
                <c:pt idx="19994">
                  <c:v>-0.105882352941176</c:v>
                </c:pt>
                <c:pt idx="19995">
                  <c:v>-0.105882352941176</c:v>
                </c:pt>
                <c:pt idx="19996">
                  <c:v>-0.105882352941176</c:v>
                </c:pt>
                <c:pt idx="19997">
                  <c:v>-0.105882352941176</c:v>
                </c:pt>
                <c:pt idx="19998">
                  <c:v>-0.105882352941176</c:v>
                </c:pt>
                <c:pt idx="19999">
                  <c:v>-0.105882352941176</c:v>
                </c:pt>
                <c:pt idx="20000">
                  <c:v>-0.105882352941176</c:v>
                </c:pt>
                <c:pt idx="20001">
                  <c:v>-0.105882352941176</c:v>
                </c:pt>
                <c:pt idx="20002">
                  <c:v>-0.105882352941176</c:v>
                </c:pt>
                <c:pt idx="20003">
                  <c:v>-0.105882352941176</c:v>
                </c:pt>
                <c:pt idx="20004">
                  <c:v>-0.105882352941176</c:v>
                </c:pt>
                <c:pt idx="20005">
                  <c:v>-0.105882352941176</c:v>
                </c:pt>
                <c:pt idx="20006">
                  <c:v>-0.105882352941176</c:v>
                </c:pt>
                <c:pt idx="20007">
                  <c:v>-0.105882352941176</c:v>
                </c:pt>
                <c:pt idx="20008">
                  <c:v>-0.105042016806722</c:v>
                </c:pt>
                <c:pt idx="20009">
                  <c:v>-0.105042016806722</c:v>
                </c:pt>
                <c:pt idx="20010">
                  <c:v>-0.105042016806722</c:v>
                </c:pt>
                <c:pt idx="20011">
                  <c:v>-0.105042016806722</c:v>
                </c:pt>
                <c:pt idx="20012">
                  <c:v>-0.105042016806722</c:v>
                </c:pt>
                <c:pt idx="20013">
                  <c:v>-0.105042016806722</c:v>
                </c:pt>
                <c:pt idx="20014">
                  <c:v>-0.105042016806722</c:v>
                </c:pt>
                <c:pt idx="20015">
                  <c:v>-0.105042016806722</c:v>
                </c:pt>
                <c:pt idx="20016">
                  <c:v>-0.105042016806722</c:v>
                </c:pt>
                <c:pt idx="20017">
                  <c:v>-0.105042016806722</c:v>
                </c:pt>
                <c:pt idx="20018">
                  <c:v>-0.105042016806722</c:v>
                </c:pt>
                <c:pt idx="20019">
                  <c:v>-0.105042016806722</c:v>
                </c:pt>
                <c:pt idx="20020">
                  <c:v>-0.105042016806722</c:v>
                </c:pt>
                <c:pt idx="20021">
                  <c:v>-0.105042016806722</c:v>
                </c:pt>
                <c:pt idx="20022">
                  <c:v>-0.105042016806722</c:v>
                </c:pt>
                <c:pt idx="20023">
                  <c:v>-0.105042016806722</c:v>
                </c:pt>
                <c:pt idx="20024">
                  <c:v>-0.105042016806722</c:v>
                </c:pt>
                <c:pt idx="20025">
                  <c:v>-0.105042016806722</c:v>
                </c:pt>
                <c:pt idx="20026">
                  <c:v>-0.105042016806722</c:v>
                </c:pt>
                <c:pt idx="20027">
                  <c:v>-0.105042016806722</c:v>
                </c:pt>
                <c:pt idx="20028">
                  <c:v>-0.105042016806722</c:v>
                </c:pt>
                <c:pt idx="20029">
                  <c:v>-0.105042016806722</c:v>
                </c:pt>
                <c:pt idx="20030">
                  <c:v>-0.105042016806722</c:v>
                </c:pt>
                <c:pt idx="20031">
                  <c:v>-0.105042016806722</c:v>
                </c:pt>
                <c:pt idx="20032">
                  <c:v>-0.105042016806722</c:v>
                </c:pt>
                <c:pt idx="20033">
                  <c:v>-0.105042016806722</c:v>
                </c:pt>
                <c:pt idx="20034">
                  <c:v>-0.105042016806722</c:v>
                </c:pt>
                <c:pt idx="20035">
                  <c:v>-0.105042016806722</c:v>
                </c:pt>
                <c:pt idx="20036">
                  <c:v>-0.105042016806722</c:v>
                </c:pt>
                <c:pt idx="20037">
                  <c:v>-0.105042016806722</c:v>
                </c:pt>
                <c:pt idx="20038">
                  <c:v>-0.105042016806722</c:v>
                </c:pt>
                <c:pt idx="20039">
                  <c:v>-0.105042016806722</c:v>
                </c:pt>
                <c:pt idx="20040">
                  <c:v>-0.105042016806722</c:v>
                </c:pt>
                <c:pt idx="20041">
                  <c:v>-0.105042016806722</c:v>
                </c:pt>
                <c:pt idx="20042">
                  <c:v>-0.105042016806722</c:v>
                </c:pt>
                <c:pt idx="20043">
                  <c:v>-0.105042016806722</c:v>
                </c:pt>
                <c:pt idx="20044">
                  <c:v>-0.105042016806722</c:v>
                </c:pt>
                <c:pt idx="20045">
                  <c:v>-0.105042016806722</c:v>
                </c:pt>
                <c:pt idx="20046">
                  <c:v>-0.105042016806722</c:v>
                </c:pt>
                <c:pt idx="20047">
                  <c:v>-0.105042016806722</c:v>
                </c:pt>
                <c:pt idx="20048">
                  <c:v>-0.105042016806722</c:v>
                </c:pt>
                <c:pt idx="20049">
                  <c:v>-0.105042016806722</c:v>
                </c:pt>
                <c:pt idx="20050">
                  <c:v>-0.105042016806722</c:v>
                </c:pt>
                <c:pt idx="20051">
                  <c:v>-0.105042016806722</c:v>
                </c:pt>
                <c:pt idx="20052">
                  <c:v>-0.105042016806722</c:v>
                </c:pt>
                <c:pt idx="20053">
                  <c:v>-0.105042016806722</c:v>
                </c:pt>
                <c:pt idx="20054">
                  <c:v>-0.105042016806722</c:v>
                </c:pt>
                <c:pt idx="20055">
                  <c:v>-0.105042016806722</c:v>
                </c:pt>
                <c:pt idx="20056">
                  <c:v>-0.105042016806722</c:v>
                </c:pt>
                <c:pt idx="20057">
                  <c:v>-0.105042016806722</c:v>
                </c:pt>
                <c:pt idx="20058">
                  <c:v>-0.105042016806722</c:v>
                </c:pt>
                <c:pt idx="20059">
                  <c:v>-0.105042016806722</c:v>
                </c:pt>
                <c:pt idx="20060">
                  <c:v>-0.105042016806722</c:v>
                </c:pt>
                <c:pt idx="20061">
                  <c:v>-0.105042016806722</c:v>
                </c:pt>
                <c:pt idx="20062">
                  <c:v>-0.105042016806722</c:v>
                </c:pt>
                <c:pt idx="20063">
                  <c:v>-0.105042016806722</c:v>
                </c:pt>
                <c:pt idx="20064">
                  <c:v>-0.105042016806722</c:v>
                </c:pt>
                <c:pt idx="20065">
                  <c:v>-0.105042016806722</c:v>
                </c:pt>
                <c:pt idx="20066">
                  <c:v>-0.105042016806722</c:v>
                </c:pt>
                <c:pt idx="20067">
                  <c:v>-0.105042016806722</c:v>
                </c:pt>
                <c:pt idx="20068">
                  <c:v>-0.105042016806722</c:v>
                </c:pt>
                <c:pt idx="20069">
                  <c:v>-0.104201680672268</c:v>
                </c:pt>
                <c:pt idx="20070">
                  <c:v>-0.104201680672268</c:v>
                </c:pt>
                <c:pt idx="20071">
                  <c:v>-0.104201680672268</c:v>
                </c:pt>
                <c:pt idx="20072">
                  <c:v>-0.10336134453781499</c:v>
                </c:pt>
                <c:pt idx="20073">
                  <c:v>-0.10336134453781499</c:v>
                </c:pt>
                <c:pt idx="20074">
                  <c:v>-0.10336134453781499</c:v>
                </c:pt>
                <c:pt idx="20075">
                  <c:v>-0.10336134453781499</c:v>
                </c:pt>
                <c:pt idx="20076">
                  <c:v>-0.10336134453781499</c:v>
                </c:pt>
                <c:pt idx="20077">
                  <c:v>-0.10336134453781499</c:v>
                </c:pt>
                <c:pt idx="20078">
                  <c:v>-0.10336134453781499</c:v>
                </c:pt>
                <c:pt idx="20079">
                  <c:v>-0.10336134453781499</c:v>
                </c:pt>
                <c:pt idx="20080">
                  <c:v>-0.10336134453781499</c:v>
                </c:pt>
                <c:pt idx="20081">
                  <c:v>-0.10336134453781499</c:v>
                </c:pt>
                <c:pt idx="20082">
                  <c:v>-0.10336134453781499</c:v>
                </c:pt>
                <c:pt idx="20083">
                  <c:v>-0.10336134453781499</c:v>
                </c:pt>
                <c:pt idx="20084">
                  <c:v>-0.10336134453781499</c:v>
                </c:pt>
                <c:pt idx="20085">
                  <c:v>-0.10336134453781499</c:v>
                </c:pt>
                <c:pt idx="20086">
                  <c:v>-0.10336134453781499</c:v>
                </c:pt>
                <c:pt idx="20087">
                  <c:v>-0.10336134453781499</c:v>
                </c:pt>
                <c:pt idx="20088">
                  <c:v>-0.10336134453781499</c:v>
                </c:pt>
                <c:pt idx="20089">
                  <c:v>-0.10336134453781499</c:v>
                </c:pt>
                <c:pt idx="20090">
                  <c:v>-0.10336134453781499</c:v>
                </c:pt>
                <c:pt idx="20091">
                  <c:v>-0.10336134453781499</c:v>
                </c:pt>
                <c:pt idx="20092">
                  <c:v>-0.10336134453781499</c:v>
                </c:pt>
                <c:pt idx="20093">
                  <c:v>-0.10336134453781499</c:v>
                </c:pt>
                <c:pt idx="20094">
                  <c:v>-0.10336134453781499</c:v>
                </c:pt>
                <c:pt idx="20095">
                  <c:v>-0.10336134453781499</c:v>
                </c:pt>
                <c:pt idx="20096">
                  <c:v>-0.10336134453781499</c:v>
                </c:pt>
                <c:pt idx="20097">
                  <c:v>-0.10336134453781499</c:v>
                </c:pt>
                <c:pt idx="20098">
                  <c:v>-0.10336134453781499</c:v>
                </c:pt>
                <c:pt idx="20099">
                  <c:v>-0.10336134453781499</c:v>
                </c:pt>
                <c:pt idx="20100">
                  <c:v>-0.10336134453781499</c:v>
                </c:pt>
                <c:pt idx="20101">
                  <c:v>-0.10336134453781499</c:v>
                </c:pt>
                <c:pt idx="20102">
                  <c:v>-0.10336134453781499</c:v>
                </c:pt>
                <c:pt idx="20103">
                  <c:v>-0.10336134453781499</c:v>
                </c:pt>
                <c:pt idx="20104">
                  <c:v>-0.10336134453781499</c:v>
                </c:pt>
                <c:pt idx="20105">
                  <c:v>-0.10336134453781499</c:v>
                </c:pt>
                <c:pt idx="20106">
                  <c:v>-0.10336134453781499</c:v>
                </c:pt>
                <c:pt idx="20107">
                  <c:v>-0.10336134453781499</c:v>
                </c:pt>
                <c:pt idx="20108">
                  <c:v>-0.10336134453781499</c:v>
                </c:pt>
                <c:pt idx="20109">
                  <c:v>-0.10336134453781499</c:v>
                </c:pt>
                <c:pt idx="20110">
                  <c:v>-0.10336134453781499</c:v>
                </c:pt>
                <c:pt idx="20111">
                  <c:v>-0.10252100840336099</c:v>
                </c:pt>
                <c:pt idx="20112">
                  <c:v>-0.10252100840336099</c:v>
                </c:pt>
                <c:pt idx="20113">
                  <c:v>-0.10252100840336099</c:v>
                </c:pt>
                <c:pt idx="20114">
                  <c:v>-0.10252100840336099</c:v>
                </c:pt>
                <c:pt idx="20115">
                  <c:v>-0.10252100840336099</c:v>
                </c:pt>
                <c:pt idx="20116">
                  <c:v>-0.10252100840336099</c:v>
                </c:pt>
                <c:pt idx="20117">
                  <c:v>-0.10252100840336099</c:v>
                </c:pt>
                <c:pt idx="20118">
                  <c:v>-0.10252100840336099</c:v>
                </c:pt>
                <c:pt idx="20119">
                  <c:v>-0.10252100840336099</c:v>
                </c:pt>
                <c:pt idx="20120">
                  <c:v>-0.10252100840336099</c:v>
                </c:pt>
                <c:pt idx="20121">
                  <c:v>-0.10252100840336099</c:v>
                </c:pt>
                <c:pt idx="20122">
                  <c:v>-0.10252100840336099</c:v>
                </c:pt>
                <c:pt idx="20123">
                  <c:v>-0.10252100840336099</c:v>
                </c:pt>
                <c:pt idx="20124">
                  <c:v>-0.10252100840336099</c:v>
                </c:pt>
                <c:pt idx="20125">
                  <c:v>-0.10252100840336099</c:v>
                </c:pt>
                <c:pt idx="20126">
                  <c:v>-0.10252100840336099</c:v>
                </c:pt>
                <c:pt idx="20127">
                  <c:v>-0.10252100840336099</c:v>
                </c:pt>
                <c:pt idx="20128">
                  <c:v>-0.10252100840336099</c:v>
                </c:pt>
                <c:pt idx="20129">
                  <c:v>-0.10252100840336099</c:v>
                </c:pt>
                <c:pt idx="20130">
                  <c:v>-0.10252100840336099</c:v>
                </c:pt>
                <c:pt idx="20131">
                  <c:v>-0.10252100840336099</c:v>
                </c:pt>
                <c:pt idx="20132">
                  <c:v>-0.10252100840336099</c:v>
                </c:pt>
                <c:pt idx="20133">
                  <c:v>-0.10252100840336099</c:v>
                </c:pt>
                <c:pt idx="20134">
                  <c:v>-0.10252100840336099</c:v>
                </c:pt>
                <c:pt idx="20135">
                  <c:v>-0.10252100840336099</c:v>
                </c:pt>
                <c:pt idx="20136">
                  <c:v>-0.10336134453781499</c:v>
                </c:pt>
                <c:pt idx="20137">
                  <c:v>-0.10336134453781499</c:v>
                </c:pt>
                <c:pt idx="20138">
                  <c:v>-0.10336134453781499</c:v>
                </c:pt>
                <c:pt idx="20139">
                  <c:v>-0.10336134453781499</c:v>
                </c:pt>
                <c:pt idx="20140">
                  <c:v>-0.10336134453781499</c:v>
                </c:pt>
                <c:pt idx="20141">
                  <c:v>-0.10336134453781499</c:v>
                </c:pt>
                <c:pt idx="20142">
                  <c:v>-0.10336134453781499</c:v>
                </c:pt>
                <c:pt idx="20143">
                  <c:v>-0.10336134453781499</c:v>
                </c:pt>
                <c:pt idx="20144">
                  <c:v>-0.10336134453781499</c:v>
                </c:pt>
                <c:pt idx="20145">
                  <c:v>-0.10336134453781499</c:v>
                </c:pt>
                <c:pt idx="20146">
                  <c:v>-0.10336134453781499</c:v>
                </c:pt>
                <c:pt idx="20147">
                  <c:v>-0.10336134453781499</c:v>
                </c:pt>
                <c:pt idx="20148">
                  <c:v>-0.10336134453781499</c:v>
                </c:pt>
                <c:pt idx="20149">
                  <c:v>-0.10336134453781499</c:v>
                </c:pt>
                <c:pt idx="20150">
                  <c:v>-0.10336134453781499</c:v>
                </c:pt>
                <c:pt idx="20151">
                  <c:v>-0.10336134453781499</c:v>
                </c:pt>
                <c:pt idx="20152">
                  <c:v>-0.10336134453781499</c:v>
                </c:pt>
                <c:pt idx="20153">
                  <c:v>-0.10336134453781499</c:v>
                </c:pt>
                <c:pt idx="20154">
                  <c:v>-0.10336134453781499</c:v>
                </c:pt>
                <c:pt idx="20155">
                  <c:v>-0.10336134453781499</c:v>
                </c:pt>
                <c:pt idx="20156">
                  <c:v>-0.10336134453781499</c:v>
                </c:pt>
                <c:pt idx="20157">
                  <c:v>-0.10336134453781499</c:v>
                </c:pt>
                <c:pt idx="20158">
                  <c:v>-0.10336134453781499</c:v>
                </c:pt>
                <c:pt idx="20159">
                  <c:v>-0.10336134453781499</c:v>
                </c:pt>
                <c:pt idx="20160">
                  <c:v>-0.10336134453781499</c:v>
                </c:pt>
                <c:pt idx="20161">
                  <c:v>-0.10336134453781499</c:v>
                </c:pt>
                <c:pt idx="20162">
                  <c:v>-0.10336134453781499</c:v>
                </c:pt>
                <c:pt idx="20163">
                  <c:v>-0.10336134453781499</c:v>
                </c:pt>
                <c:pt idx="20164">
                  <c:v>-0.10336134453781499</c:v>
                </c:pt>
                <c:pt idx="20165">
                  <c:v>-0.10336134453781499</c:v>
                </c:pt>
                <c:pt idx="20166">
                  <c:v>-0.10336134453781499</c:v>
                </c:pt>
                <c:pt idx="20167">
                  <c:v>-0.10336134453781499</c:v>
                </c:pt>
                <c:pt idx="20168">
                  <c:v>-0.10336134453781499</c:v>
                </c:pt>
                <c:pt idx="20169">
                  <c:v>-0.10336134453781499</c:v>
                </c:pt>
                <c:pt idx="20170">
                  <c:v>-0.10336134453781499</c:v>
                </c:pt>
                <c:pt idx="20171">
                  <c:v>-0.10336134453781499</c:v>
                </c:pt>
                <c:pt idx="20172">
                  <c:v>-0.104201680672268</c:v>
                </c:pt>
                <c:pt idx="20173">
                  <c:v>-0.104201680672268</c:v>
                </c:pt>
                <c:pt idx="20174">
                  <c:v>-0.104201680672268</c:v>
                </c:pt>
                <c:pt idx="20175">
                  <c:v>-0.104201680672268</c:v>
                </c:pt>
                <c:pt idx="20176">
                  <c:v>-0.104201680672268</c:v>
                </c:pt>
                <c:pt idx="20177">
                  <c:v>-0.104201680672268</c:v>
                </c:pt>
                <c:pt idx="20178">
                  <c:v>-0.104201680672268</c:v>
                </c:pt>
                <c:pt idx="20179">
                  <c:v>-0.104201680672268</c:v>
                </c:pt>
                <c:pt idx="20180">
                  <c:v>-0.104201680672268</c:v>
                </c:pt>
                <c:pt idx="20181">
                  <c:v>-0.104201680672268</c:v>
                </c:pt>
                <c:pt idx="20182">
                  <c:v>-0.105042016806722</c:v>
                </c:pt>
                <c:pt idx="20183">
                  <c:v>-0.105042016806722</c:v>
                </c:pt>
                <c:pt idx="20184">
                  <c:v>-0.105042016806722</c:v>
                </c:pt>
                <c:pt idx="20185">
                  <c:v>-0.105042016806722</c:v>
                </c:pt>
                <c:pt idx="20186">
                  <c:v>-0.105042016806722</c:v>
                </c:pt>
                <c:pt idx="20187">
                  <c:v>-0.105042016806722</c:v>
                </c:pt>
                <c:pt idx="20188">
                  <c:v>-0.105042016806722</c:v>
                </c:pt>
                <c:pt idx="20189">
                  <c:v>-0.105042016806722</c:v>
                </c:pt>
                <c:pt idx="20190">
                  <c:v>-0.105042016806722</c:v>
                </c:pt>
                <c:pt idx="20191">
                  <c:v>-0.105042016806722</c:v>
                </c:pt>
                <c:pt idx="20192">
                  <c:v>-0.105042016806722</c:v>
                </c:pt>
                <c:pt idx="20193">
                  <c:v>-0.105042016806722</c:v>
                </c:pt>
                <c:pt idx="20194">
                  <c:v>-0.105042016806722</c:v>
                </c:pt>
                <c:pt idx="20195">
                  <c:v>-0.105042016806722</c:v>
                </c:pt>
                <c:pt idx="20196">
                  <c:v>-0.105042016806722</c:v>
                </c:pt>
                <c:pt idx="20197">
                  <c:v>-0.105042016806722</c:v>
                </c:pt>
                <c:pt idx="20198">
                  <c:v>-0.105042016806722</c:v>
                </c:pt>
                <c:pt idx="20199">
                  <c:v>-0.105042016806722</c:v>
                </c:pt>
                <c:pt idx="20200">
                  <c:v>-0.105042016806722</c:v>
                </c:pt>
                <c:pt idx="20201">
                  <c:v>-0.105042016806722</c:v>
                </c:pt>
                <c:pt idx="20202">
                  <c:v>-0.105042016806722</c:v>
                </c:pt>
                <c:pt idx="20203">
                  <c:v>-0.105042016806722</c:v>
                </c:pt>
                <c:pt idx="20204">
                  <c:v>-0.105042016806722</c:v>
                </c:pt>
                <c:pt idx="20205">
                  <c:v>-0.105042016806722</c:v>
                </c:pt>
                <c:pt idx="20206">
                  <c:v>-0.105042016806722</c:v>
                </c:pt>
                <c:pt idx="20207">
                  <c:v>-0.105042016806722</c:v>
                </c:pt>
                <c:pt idx="20208">
                  <c:v>-0.105042016806722</c:v>
                </c:pt>
                <c:pt idx="20209">
                  <c:v>-0.105042016806722</c:v>
                </c:pt>
                <c:pt idx="20210">
                  <c:v>-0.105042016806722</c:v>
                </c:pt>
                <c:pt idx="20211">
                  <c:v>-0.105042016806722</c:v>
                </c:pt>
                <c:pt idx="20212">
                  <c:v>-0.105042016806722</c:v>
                </c:pt>
                <c:pt idx="20213">
                  <c:v>-0.105042016806722</c:v>
                </c:pt>
                <c:pt idx="20214">
                  <c:v>-0.105042016806722</c:v>
                </c:pt>
                <c:pt idx="20215">
                  <c:v>-0.105042016806722</c:v>
                </c:pt>
                <c:pt idx="20216">
                  <c:v>-0.105042016806722</c:v>
                </c:pt>
                <c:pt idx="20217">
                  <c:v>-0.105042016806722</c:v>
                </c:pt>
                <c:pt idx="20218">
                  <c:v>-0.105042016806722</c:v>
                </c:pt>
                <c:pt idx="20219">
                  <c:v>-0.105042016806722</c:v>
                </c:pt>
                <c:pt idx="20220">
                  <c:v>-0.105042016806722</c:v>
                </c:pt>
                <c:pt idx="20221">
                  <c:v>-0.105042016806722</c:v>
                </c:pt>
                <c:pt idx="20222">
                  <c:v>-0.105042016806722</c:v>
                </c:pt>
                <c:pt idx="20223">
                  <c:v>-0.105042016806722</c:v>
                </c:pt>
                <c:pt idx="20224">
                  <c:v>-0.105042016806722</c:v>
                </c:pt>
                <c:pt idx="20225">
                  <c:v>-0.105042016806722</c:v>
                </c:pt>
                <c:pt idx="20226">
                  <c:v>-0.105042016806722</c:v>
                </c:pt>
                <c:pt idx="20227">
                  <c:v>-0.105042016806722</c:v>
                </c:pt>
                <c:pt idx="20228">
                  <c:v>-0.105882352941176</c:v>
                </c:pt>
                <c:pt idx="20229">
                  <c:v>-0.105882352941176</c:v>
                </c:pt>
                <c:pt idx="20230">
                  <c:v>-0.105882352941176</c:v>
                </c:pt>
                <c:pt idx="20231">
                  <c:v>-0.105882352941176</c:v>
                </c:pt>
                <c:pt idx="20232">
                  <c:v>-0.105882352941176</c:v>
                </c:pt>
                <c:pt idx="20233">
                  <c:v>-0.105882352941176</c:v>
                </c:pt>
                <c:pt idx="20234">
                  <c:v>-0.105882352941176</c:v>
                </c:pt>
                <c:pt idx="20235">
                  <c:v>-0.105882352941176</c:v>
                </c:pt>
                <c:pt idx="20236">
                  <c:v>-0.105882352941176</c:v>
                </c:pt>
                <c:pt idx="20237">
                  <c:v>-0.105042016806722</c:v>
                </c:pt>
                <c:pt idx="20238">
                  <c:v>-0.105042016806722</c:v>
                </c:pt>
                <c:pt idx="20239">
                  <c:v>-0.105042016806722</c:v>
                </c:pt>
                <c:pt idx="20240">
                  <c:v>-0.105042016806722</c:v>
                </c:pt>
                <c:pt idx="20241">
                  <c:v>-0.105042016806722</c:v>
                </c:pt>
                <c:pt idx="20242">
                  <c:v>-0.105042016806722</c:v>
                </c:pt>
                <c:pt idx="20243">
                  <c:v>-0.105042016806722</c:v>
                </c:pt>
                <c:pt idx="20244">
                  <c:v>-0.105042016806722</c:v>
                </c:pt>
                <c:pt idx="20245">
                  <c:v>-0.105042016806722</c:v>
                </c:pt>
                <c:pt idx="20246">
                  <c:v>-0.105042016806722</c:v>
                </c:pt>
                <c:pt idx="20247">
                  <c:v>-0.105042016806722</c:v>
                </c:pt>
                <c:pt idx="20248">
                  <c:v>-0.105042016806722</c:v>
                </c:pt>
                <c:pt idx="20249">
                  <c:v>-0.105042016806722</c:v>
                </c:pt>
                <c:pt idx="20250">
                  <c:v>-0.105042016806722</c:v>
                </c:pt>
                <c:pt idx="20251">
                  <c:v>-0.105042016806722</c:v>
                </c:pt>
                <c:pt idx="20252">
                  <c:v>-0.105042016806722</c:v>
                </c:pt>
                <c:pt idx="20253">
                  <c:v>-0.105042016806722</c:v>
                </c:pt>
                <c:pt idx="20254">
                  <c:v>-0.105042016806722</c:v>
                </c:pt>
                <c:pt idx="20255">
                  <c:v>-0.105042016806722</c:v>
                </c:pt>
                <c:pt idx="20256">
                  <c:v>-0.105042016806722</c:v>
                </c:pt>
                <c:pt idx="20257">
                  <c:v>-0.105042016806722</c:v>
                </c:pt>
                <c:pt idx="20258">
                  <c:v>-0.105042016806722</c:v>
                </c:pt>
                <c:pt idx="20259">
                  <c:v>-0.105042016806722</c:v>
                </c:pt>
                <c:pt idx="20260">
                  <c:v>-0.105042016806722</c:v>
                </c:pt>
                <c:pt idx="20261">
                  <c:v>-0.105042016806722</c:v>
                </c:pt>
                <c:pt idx="20262">
                  <c:v>-0.105042016806722</c:v>
                </c:pt>
                <c:pt idx="20263">
                  <c:v>-0.105042016806722</c:v>
                </c:pt>
                <c:pt idx="20264">
                  <c:v>-0.105042016806722</c:v>
                </c:pt>
                <c:pt idx="20265">
                  <c:v>-0.105042016806722</c:v>
                </c:pt>
                <c:pt idx="20266">
                  <c:v>-0.105042016806722</c:v>
                </c:pt>
                <c:pt idx="20267">
                  <c:v>-0.105042016806722</c:v>
                </c:pt>
                <c:pt idx="20268">
                  <c:v>-0.105042016806722</c:v>
                </c:pt>
                <c:pt idx="20269">
                  <c:v>-0.105042016806722</c:v>
                </c:pt>
                <c:pt idx="20270">
                  <c:v>-0.105042016806722</c:v>
                </c:pt>
                <c:pt idx="20271">
                  <c:v>-0.105882352941176</c:v>
                </c:pt>
                <c:pt idx="20272">
                  <c:v>-0.105882352941176</c:v>
                </c:pt>
                <c:pt idx="20273">
                  <c:v>-0.105882352941176</c:v>
                </c:pt>
                <c:pt idx="20274">
                  <c:v>-0.105882352941176</c:v>
                </c:pt>
                <c:pt idx="20275">
                  <c:v>-0.105882352941176</c:v>
                </c:pt>
                <c:pt idx="20276">
                  <c:v>-0.105882352941176</c:v>
                </c:pt>
                <c:pt idx="20277">
                  <c:v>-0.105882352941176</c:v>
                </c:pt>
                <c:pt idx="20278">
                  <c:v>-0.105882352941176</c:v>
                </c:pt>
                <c:pt idx="20279">
                  <c:v>-0.105882352941176</c:v>
                </c:pt>
                <c:pt idx="20280">
                  <c:v>-0.105882352941176</c:v>
                </c:pt>
                <c:pt idx="20281">
                  <c:v>-0.105882352941176</c:v>
                </c:pt>
                <c:pt idx="20282">
                  <c:v>-0.105882352941176</c:v>
                </c:pt>
                <c:pt idx="20283">
                  <c:v>-0.105882352941176</c:v>
                </c:pt>
                <c:pt idx="20284">
                  <c:v>-0.105882352941176</c:v>
                </c:pt>
                <c:pt idx="20285">
                  <c:v>-0.105882352941176</c:v>
                </c:pt>
                <c:pt idx="20286">
                  <c:v>-0.105882352941176</c:v>
                </c:pt>
                <c:pt idx="20287">
                  <c:v>-0.105882352941176</c:v>
                </c:pt>
                <c:pt idx="20288">
                  <c:v>-0.105882352941176</c:v>
                </c:pt>
                <c:pt idx="20289">
                  <c:v>-0.105882352941176</c:v>
                </c:pt>
                <c:pt idx="20290">
                  <c:v>-0.105882352941176</c:v>
                </c:pt>
                <c:pt idx="20291">
                  <c:v>-0.105882352941176</c:v>
                </c:pt>
                <c:pt idx="20292">
                  <c:v>-0.105882352941176</c:v>
                </c:pt>
                <c:pt idx="20293">
                  <c:v>-0.105882352941176</c:v>
                </c:pt>
                <c:pt idx="20294">
                  <c:v>-0.105882352941176</c:v>
                </c:pt>
                <c:pt idx="20295">
                  <c:v>-0.105882352941176</c:v>
                </c:pt>
                <c:pt idx="20296">
                  <c:v>-0.105882352941176</c:v>
                </c:pt>
                <c:pt idx="20297">
                  <c:v>-0.105882352941176</c:v>
                </c:pt>
                <c:pt idx="20298">
                  <c:v>-0.105882352941176</c:v>
                </c:pt>
                <c:pt idx="20299">
                  <c:v>-0.105882352941176</c:v>
                </c:pt>
                <c:pt idx="20300">
                  <c:v>-0.105882352941176</c:v>
                </c:pt>
                <c:pt idx="20301">
                  <c:v>-0.105882352941176</c:v>
                </c:pt>
                <c:pt idx="20302">
                  <c:v>-0.105882352941176</c:v>
                </c:pt>
                <c:pt idx="20303">
                  <c:v>-0.105882352941176</c:v>
                </c:pt>
                <c:pt idx="20304">
                  <c:v>-0.105882352941176</c:v>
                </c:pt>
                <c:pt idx="20305">
                  <c:v>-0.105882352941176</c:v>
                </c:pt>
                <c:pt idx="20306">
                  <c:v>-0.105882352941176</c:v>
                </c:pt>
                <c:pt idx="20307">
                  <c:v>-0.105882352941176</c:v>
                </c:pt>
                <c:pt idx="20308">
                  <c:v>-0.105882352941176</c:v>
                </c:pt>
                <c:pt idx="20309">
                  <c:v>-0.105882352941176</c:v>
                </c:pt>
                <c:pt idx="20310">
                  <c:v>-0.105882352941176</c:v>
                </c:pt>
                <c:pt idx="20311">
                  <c:v>-0.105882352941176</c:v>
                </c:pt>
                <c:pt idx="20312">
                  <c:v>-0.105882352941176</c:v>
                </c:pt>
                <c:pt idx="20313">
                  <c:v>-0.105882352941176</c:v>
                </c:pt>
                <c:pt idx="20314">
                  <c:v>-0.105882352941176</c:v>
                </c:pt>
                <c:pt idx="20315">
                  <c:v>-0.105882352941176</c:v>
                </c:pt>
                <c:pt idx="20316">
                  <c:v>-0.10672268907563</c:v>
                </c:pt>
                <c:pt idx="20317">
                  <c:v>-0.10672268907563</c:v>
                </c:pt>
                <c:pt idx="20318">
                  <c:v>-0.10672268907563</c:v>
                </c:pt>
                <c:pt idx="20319">
                  <c:v>-0.10672268907563</c:v>
                </c:pt>
                <c:pt idx="20320">
                  <c:v>-0.10672268907563</c:v>
                </c:pt>
                <c:pt idx="20321">
                  <c:v>-0.10672268907563</c:v>
                </c:pt>
                <c:pt idx="20322">
                  <c:v>-0.10672268907563</c:v>
                </c:pt>
                <c:pt idx="20323">
                  <c:v>-0.10672268907563</c:v>
                </c:pt>
                <c:pt idx="20324">
                  <c:v>-0.10672268907563</c:v>
                </c:pt>
                <c:pt idx="20325">
                  <c:v>-0.10672268907563</c:v>
                </c:pt>
                <c:pt idx="20326">
                  <c:v>-0.10672268907563</c:v>
                </c:pt>
                <c:pt idx="20327">
                  <c:v>-0.10672268907563</c:v>
                </c:pt>
                <c:pt idx="20328">
                  <c:v>-0.10672268907563</c:v>
                </c:pt>
                <c:pt idx="20329">
                  <c:v>-0.10672268907563</c:v>
                </c:pt>
                <c:pt idx="20330">
                  <c:v>-0.10672268907563</c:v>
                </c:pt>
                <c:pt idx="20331">
                  <c:v>-0.10672268907563</c:v>
                </c:pt>
                <c:pt idx="20332">
                  <c:v>-0.10672268907563</c:v>
                </c:pt>
                <c:pt idx="20333">
                  <c:v>-0.10672268907563</c:v>
                </c:pt>
                <c:pt idx="20334">
                  <c:v>-0.10672268907563</c:v>
                </c:pt>
                <c:pt idx="20335">
                  <c:v>-0.10672268907563</c:v>
                </c:pt>
                <c:pt idx="20336">
                  <c:v>-0.10672268907563</c:v>
                </c:pt>
                <c:pt idx="20337">
                  <c:v>-0.10672268907563</c:v>
                </c:pt>
                <c:pt idx="20338">
                  <c:v>-0.10672268907563</c:v>
                </c:pt>
                <c:pt idx="20339">
                  <c:v>-0.10672268907563</c:v>
                </c:pt>
                <c:pt idx="20340">
                  <c:v>-0.10672268907563</c:v>
                </c:pt>
                <c:pt idx="20341">
                  <c:v>-0.10672268907563</c:v>
                </c:pt>
                <c:pt idx="20342">
                  <c:v>-0.10672268907563</c:v>
                </c:pt>
                <c:pt idx="20343">
                  <c:v>-0.105882352941176</c:v>
                </c:pt>
                <c:pt idx="20344">
                  <c:v>-0.105882352941176</c:v>
                </c:pt>
                <c:pt idx="20345">
                  <c:v>-0.105882352941176</c:v>
                </c:pt>
                <c:pt idx="20346">
                  <c:v>-0.105882352941176</c:v>
                </c:pt>
                <c:pt idx="20347">
                  <c:v>-0.105882352941176</c:v>
                </c:pt>
                <c:pt idx="20348">
                  <c:v>-0.105882352941176</c:v>
                </c:pt>
                <c:pt idx="20349">
                  <c:v>-0.105882352941176</c:v>
                </c:pt>
                <c:pt idx="20350">
                  <c:v>-0.105882352941176</c:v>
                </c:pt>
                <c:pt idx="20351">
                  <c:v>-0.105042016806722</c:v>
                </c:pt>
                <c:pt idx="20352">
                  <c:v>-0.105042016806722</c:v>
                </c:pt>
                <c:pt idx="20353">
                  <c:v>-0.105042016806722</c:v>
                </c:pt>
                <c:pt idx="20354">
                  <c:v>-0.105882352941176</c:v>
                </c:pt>
                <c:pt idx="20355">
                  <c:v>-0.105882352941176</c:v>
                </c:pt>
                <c:pt idx="20356">
                  <c:v>-0.105882352941176</c:v>
                </c:pt>
                <c:pt idx="20357">
                  <c:v>-0.105882352941176</c:v>
                </c:pt>
                <c:pt idx="20358">
                  <c:v>-0.105882352941176</c:v>
                </c:pt>
                <c:pt idx="20359">
                  <c:v>-0.105882352941176</c:v>
                </c:pt>
                <c:pt idx="20360">
                  <c:v>-0.105882352941176</c:v>
                </c:pt>
                <c:pt idx="20361">
                  <c:v>-0.105882352941176</c:v>
                </c:pt>
                <c:pt idx="20362">
                  <c:v>-0.105882352941176</c:v>
                </c:pt>
                <c:pt idx="20363">
                  <c:v>-0.105882352941176</c:v>
                </c:pt>
                <c:pt idx="20364">
                  <c:v>-0.105882352941176</c:v>
                </c:pt>
                <c:pt idx="20365">
                  <c:v>-0.105882352941176</c:v>
                </c:pt>
                <c:pt idx="20366">
                  <c:v>-0.105882352941176</c:v>
                </c:pt>
                <c:pt idx="20367">
                  <c:v>-0.105882352941176</c:v>
                </c:pt>
                <c:pt idx="20368">
                  <c:v>-0.105882352941176</c:v>
                </c:pt>
                <c:pt idx="20369">
                  <c:v>-0.105882352941176</c:v>
                </c:pt>
                <c:pt idx="20370">
                  <c:v>-0.105882352941176</c:v>
                </c:pt>
                <c:pt idx="20371">
                  <c:v>-0.10672268907563</c:v>
                </c:pt>
                <c:pt idx="20372">
                  <c:v>-0.10672268907563</c:v>
                </c:pt>
                <c:pt idx="20373">
                  <c:v>-0.10672268907563</c:v>
                </c:pt>
                <c:pt idx="20374">
                  <c:v>-0.10672268907563</c:v>
                </c:pt>
                <c:pt idx="20375">
                  <c:v>-0.10672268907563</c:v>
                </c:pt>
                <c:pt idx="20376">
                  <c:v>-0.10672268907563</c:v>
                </c:pt>
                <c:pt idx="20377">
                  <c:v>-0.10672268907563</c:v>
                </c:pt>
                <c:pt idx="20378">
                  <c:v>-0.10672268907563</c:v>
                </c:pt>
                <c:pt idx="20379">
                  <c:v>-0.10672268907563</c:v>
                </c:pt>
                <c:pt idx="20380">
                  <c:v>-0.107563025210083</c:v>
                </c:pt>
                <c:pt idx="20381">
                  <c:v>-0.107563025210083</c:v>
                </c:pt>
                <c:pt idx="20382">
                  <c:v>-0.107563025210083</c:v>
                </c:pt>
                <c:pt idx="20383">
                  <c:v>-0.107563025210083</c:v>
                </c:pt>
                <c:pt idx="20384">
                  <c:v>-0.107563025210083</c:v>
                </c:pt>
                <c:pt idx="20385">
                  <c:v>-0.107563025210083</c:v>
                </c:pt>
                <c:pt idx="20386">
                  <c:v>-0.107563025210083</c:v>
                </c:pt>
                <c:pt idx="20387">
                  <c:v>-0.107563025210083</c:v>
                </c:pt>
                <c:pt idx="20388">
                  <c:v>-0.107563025210083</c:v>
                </c:pt>
                <c:pt idx="20389">
                  <c:v>-0.107563025210083</c:v>
                </c:pt>
                <c:pt idx="20390">
                  <c:v>-0.107563025210083</c:v>
                </c:pt>
                <c:pt idx="20391">
                  <c:v>-0.107563025210083</c:v>
                </c:pt>
                <c:pt idx="20392">
                  <c:v>-0.107563025210083</c:v>
                </c:pt>
                <c:pt idx="20393">
                  <c:v>-0.107563025210083</c:v>
                </c:pt>
                <c:pt idx="20394">
                  <c:v>-0.107563025210083</c:v>
                </c:pt>
                <c:pt idx="20395">
                  <c:v>-0.107563025210083</c:v>
                </c:pt>
                <c:pt idx="20396">
                  <c:v>-0.107563025210083</c:v>
                </c:pt>
                <c:pt idx="20397">
                  <c:v>-0.107563025210083</c:v>
                </c:pt>
                <c:pt idx="20398">
                  <c:v>-0.107563025210083</c:v>
                </c:pt>
                <c:pt idx="20399">
                  <c:v>-0.108403361344537</c:v>
                </c:pt>
                <c:pt idx="20400">
                  <c:v>-0.108403361344537</c:v>
                </c:pt>
                <c:pt idx="20401">
                  <c:v>-0.108403361344537</c:v>
                </c:pt>
                <c:pt idx="20402">
                  <c:v>-0.108403361344537</c:v>
                </c:pt>
                <c:pt idx="20403">
                  <c:v>-0.108403361344537</c:v>
                </c:pt>
                <c:pt idx="20404">
                  <c:v>-0.108403361344537</c:v>
                </c:pt>
                <c:pt idx="20405">
                  <c:v>-0.108403361344537</c:v>
                </c:pt>
                <c:pt idx="20406">
                  <c:v>-0.108403361344537</c:v>
                </c:pt>
                <c:pt idx="20407">
                  <c:v>-0.109243697478991</c:v>
                </c:pt>
                <c:pt idx="20408">
                  <c:v>-0.109243697478991</c:v>
                </c:pt>
                <c:pt idx="20409">
                  <c:v>-0.109243697478991</c:v>
                </c:pt>
                <c:pt idx="20410">
                  <c:v>-0.109243697478991</c:v>
                </c:pt>
                <c:pt idx="20411">
                  <c:v>-0.109243697478991</c:v>
                </c:pt>
                <c:pt idx="20412">
                  <c:v>-0.109243697478991</c:v>
                </c:pt>
                <c:pt idx="20413">
                  <c:v>-0.109243697478991</c:v>
                </c:pt>
                <c:pt idx="20414">
                  <c:v>-0.109243697478991</c:v>
                </c:pt>
                <c:pt idx="20415">
                  <c:v>-0.109243697478991</c:v>
                </c:pt>
                <c:pt idx="20416">
                  <c:v>-0.109243697478991</c:v>
                </c:pt>
                <c:pt idx="20417">
                  <c:v>-0.109243697478991</c:v>
                </c:pt>
                <c:pt idx="20418">
                  <c:v>-0.109243697478991</c:v>
                </c:pt>
                <c:pt idx="20419">
                  <c:v>-0.109243697478991</c:v>
                </c:pt>
                <c:pt idx="20420">
                  <c:v>-0.109243697478991</c:v>
                </c:pt>
                <c:pt idx="20421">
                  <c:v>-0.109243697478991</c:v>
                </c:pt>
                <c:pt idx="20422">
                  <c:v>-0.109243697478991</c:v>
                </c:pt>
                <c:pt idx="20423">
                  <c:v>-0.109243697478991</c:v>
                </c:pt>
                <c:pt idx="20424">
                  <c:v>-0.109243697478991</c:v>
                </c:pt>
                <c:pt idx="20425">
                  <c:v>-0.109243697478991</c:v>
                </c:pt>
                <c:pt idx="20426">
                  <c:v>-0.109243697478991</c:v>
                </c:pt>
                <c:pt idx="20427">
                  <c:v>-0.109243697478991</c:v>
                </c:pt>
                <c:pt idx="20428">
                  <c:v>-0.109243697478991</c:v>
                </c:pt>
                <c:pt idx="20429">
                  <c:v>-0.109243697478991</c:v>
                </c:pt>
                <c:pt idx="20430">
                  <c:v>-0.110084033613445</c:v>
                </c:pt>
                <c:pt idx="20431">
                  <c:v>-0.110924369747899</c:v>
                </c:pt>
                <c:pt idx="20432">
                  <c:v>-0.110924369747899</c:v>
                </c:pt>
                <c:pt idx="20433">
                  <c:v>-0.110924369747899</c:v>
                </c:pt>
                <c:pt idx="20434">
                  <c:v>-0.110924369747899</c:v>
                </c:pt>
                <c:pt idx="20435">
                  <c:v>-0.110924369747899</c:v>
                </c:pt>
                <c:pt idx="20436">
                  <c:v>-0.110924369747899</c:v>
                </c:pt>
                <c:pt idx="20437">
                  <c:v>-0.110924369747899</c:v>
                </c:pt>
                <c:pt idx="20438">
                  <c:v>-0.110924369747899</c:v>
                </c:pt>
                <c:pt idx="20439">
                  <c:v>-0.110924369747899</c:v>
                </c:pt>
                <c:pt idx="20440">
                  <c:v>-0.110924369747899</c:v>
                </c:pt>
                <c:pt idx="20441">
                  <c:v>-0.110924369747899</c:v>
                </c:pt>
                <c:pt idx="20442">
                  <c:v>-0.110924369747899</c:v>
                </c:pt>
                <c:pt idx="20443">
                  <c:v>-0.110924369747899</c:v>
                </c:pt>
                <c:pt idx="20444">
                  <c:v>-0.110924369747899</c:v>
                </c:pt>
                <c:pt idx="20445">
                  <c:v>-0.110924369747899</c:v>
                </c:pt>
                <c:pt idx="20446">
                  <c:v>-0.110924369747899</c:v>
                </c:pt>
                <c:pt idx="20447">
                  <c:v>-0.110924369747899</c:v>
                </c:pt>
                <c:pt idx="20448">
                  <c:v>-0.110924369747899</c:v>
                </c:pt>
                <c:pt idx="20449">
                  <c:v>-0.110924369747899</c:v>
                </c:pt>
                <c:pt idx="20450">
                  <c:v>-0.110924369747899</c:v>
                </c:pt>
                <c:pt idx="20451">
                  <c:v>-0.110924369747899</c:v>
                </c:pt>
                <c:pt idx="20452">
                  <c:v>-0.110924369747899</c:v>
                </c:pt>
                <c:pt idx="20453">
                  <c:v>-0.110924369747899</c:v>
                </c:pt>
                <c:pt idx="20454">
                  <c:v>-0.110924369747899</c:v>
                </c:pt>
                <c:pt idx="20455">
                  <c:v>-0.110924369747899</c:v>
                </c:pt>
                <c:pt idx="20456">
                  <c:v>-0.110924369747899</c:v>
                </c:pt>
                <c:pt idx="20457">
                  <c:v>-0.110924369747899</c:v>
                </c:pt>
                <c:pt idx="20458">
                  <c:v>-0.110924369747899</c:v>
                </c:pt>
                <c:pt idx="20459">
                  <c:v>-0.110924369747899</c:v>
                </c:pt>
                <c:pt idx="20460">
                  <c:v>-0.110924369747899</c:v>
                </c:pt>
                <c:pt idx="20461">
                  <c:v>-0.110924369747899</c:v>
                </c:pt>
                <c:pt idx="20462">
                  <c:v>-0.110924369747899</c:v>
                </c:pt>
                <c:pt idx="20463">
                  <c:v>-0.110924369747899</c:v>
                </c:pt>
                <c:pt idx="20464">
                  <c:v>-0.110924369747899</c:v>
                </c:pt>
                <c:pt idx="20465">
                  <c:v>-0.110924369747899</c:v>
                </c:pt>
                <c:pt idx="20466">
                  <c:v>-0.110924369747899</c:v>
                </c:pt>
                <c:pt idx="20467">
                  <c:v>-0.110924369747899</c:v>
                </c:pt>
                <c:pt idx="20468">
                  <c:v>-0.110924369747899</c:v>
                </c:pt>
                <c:pt idx="20469">
                  <c:v>-0.110924369747899</c:v>
                </c:pt>
                <c:pt idx="20470">
                  <c:v>-0.110924369747899</c:v>
                </c:pt>
                <c:pt idx="20471">
                  <c:v>-0.110924369747899</c:v>
                </c:pt>
                <c:pt idx="20472">
                  <c:v>-0.110924369747899</c:v>
                </c:pt>
                <c:pt idx="20473">
                  <c:v>-0.110924369747899</c:v>
                </c:pt>
                <c:pt idx="20474">
                  <c:v>-0.110924369747899</c:v>
                </c:pt>
                <c:pt idx="20475">
                  <c:v>-0.110924369747899</c:v>
                </c:pt>
                <c:pt idx="20476">
                  <c:v>-0.110924369747899</c:v>
                </c:pt>
                <c:pt idx="20477">
                  <c:v>-0.110924369747899</c:v>
                </c:pt>
                <c:pt idx="20478">
                  <c:v>-0.110924369747899</c:v>
                </c:pt>
                <c:pt idx="20479">
                  <c:v>-0.110924369747899</c:v>
                </c:pt>
                <c:pt idx="20480">
                  <c:v>-0.110924369747899</c:v>
                </c:pt>
                <c:pt idx="20481">
                  <c:v>-0.110924369747899</c:v>
                </c:pt>
                <c:pt idx="20482">
                  <c:v>-0.110924369747899</c:v>
                </c:pt>
                <c:pt idx="20483">
                  <c:v>-0.110924369747899</c:v>
                </c:pt>
                <c:pt idx="20484">
                  <c:v>-0.110924369747899</c:v>
                </c:pt>
                <c:pt idx="20485">
                  <c:v>-0.110924369747899</c:v>
                </c:pt>
                <c:pt idx="20486">
                  <c:v>-0.110924369747899</c:v>
                </c:pt>
                <c:pt idx="20487">
                  <c:v>-0.110924369747899</c:v>
                </c:pt>
                <c:pt idx="20488">
                  <c:v>-0.110924369747899</c:v>
                </c:pt>
                <c:pt idx="20489">
                  <c:v>-0.110924369747899</c:v>
                </c:pt>
                <c:pt idx="20490">
                  <c:v>-0.110924369747899</c:v>
                </c:pt>
                <c:pt idx="20491">
                  <c:v>-0.110924369747899</c:v>
                </c:pt>
                <c:pt idx="20492">
                  <c:v>-0.111764705882352</c:v>
                </c:pt>
                <c:pt idx="20493">
                  <c:v>-0.111764705882352</c:v>
                </c:pt>
                <c:pt idx="20494">
                  <c:v>-0.111764705882352</c:v>
                </c:pt>
                <c:pt idx="20495">
                  <c:v>-0.111764705882352</c:v>
                </c:pt>
                <c:pt idx="20496">
                  <c:v>-0.111764705882352</c:v>
                </c:pt>
                <c:pt idx="20497">
                  <c:v>-0.111764705882352</c:v>
                </c:pt>
                <c:pt idx="20498">
                  <c:v>-0.111764705882352</c:v>
                </c:pt>
                <c:pt idx="20499">
                  <c:v>-0.111764705882352</c:v>
                </c:pt>
                <c:pt idx="20500">
                  <c:v>-0.111764705882352</c:v>
                </c:pt>
                <c:pt idx="20501">
                  <c:v>-0.111764705882352</c:v>
                </c:pt>
                <c:pt idx="20502">
                  <c:v>-0.111764705882352</c:v>
                </c:pt>
                <c:pt idx="20503">
                  <c:v>-0.111764705882352</c:v>
                </c:pt>
                <c:pt idx="20504">
                  <c:v>-0.111764705882352</c:v>
                </c:pt>
                <c:pt idx="20505">
                  <c:v>-0.111764705882352</c:v>
                </c:pt>
                <c:pt idx="20506">
                  <c:v>-0.111764705882352</c:v>
                </c:pt>
                <c:pt idx="20507">
                  <c:v>-0.111764705882352</c:v>
                </c:pt>
                <c:pt idx="20508">
                  <c:v>-0.111764705882352</c:v>
                </c:pt>
                <c:pt idx="20509">
                  <c:v>-0.111764705882352</c:v>
                </c:pt>
                <c:pt idx="20510">
                  <c:v>-0.111764705882352</c:v>
                </c:pt>
                <c:pt idx="20511">
                  <c:v>-0.111764705882352</c:v>
                </c:pt>
                <c:pt idx="20512">
                  <c:v>-0.111764705882352</c:v>
                </c:pt>
                <c:pt idx="20513">
                  <c:v>-0.111764705882352</c:v>
                </c:pt>
                <c:pt idx="20514">
                  <c:v>-0.111764705882352</c:v>
                </c:pt>
                <c:pt idx="20515">
                  <c:v>-0.111764705882352</c:v>
                </c:pt>
                <c:pt idx="20516">
                  <c:v>-0.111764705882352</c:v>
                </c:pt>
                <c:pt idx="20517">
                  <c:v>-0.111764705882352</c:v>
                </c:pt>
                <c:pt idx="20518">
                  <c:v>-0.111764705882352</c:v>
                </c:pt>
                <c:pt idx="20519">
                  <c:v>-0.110924369747899</c:v>
                </c:pt>
                <c:pt idx="20520">
                  <c:v>-0.110924369747899</c:v>
                </c:pt>
                <c:pt idx="20521">
                  <c:v>-0.110924369747899</c:v>
                </c:pt>
                <c:pt idx="20522">
                  <c:v>-0.110924369747899</c:v>
                </c:pt>
                <c:pt idx="20523">
                  <c:v>-0.110924369747899</c:v>
                </c:pt>
                <c:pt idx="20524">
                  <c:v>-0.110924369747899</c:v>
                </c:pt>
                <c:pt idx="20525">
                  <c:v>-0.110924369747899</c:v>
                </c:pt>
                <c:pt idx="20526">
                  <c:v>-0.110924369747899</c:v>
                </c:pt>
                <c:pt idx="20527">
                  <c:v>-0.110924369747899</c:v>
                </c:pt>
                <c:pt idx="20528">
                  <c:v>-0.110924369747899</c:v>
                </c:pt>
                <c:pt idx="20529">
                  <c:v>-0.110924369747899</c:v>
                </c:pt>
                <c:pt idx="20530">
                  <c:v>-0.110924369747899</c:v>
                </c:pt>
                <c:pt idx="20531">
                  <c:v>-0.110924369747899</c:v>
                </c:pt>
                <c:pt idx="20532">
                  <c:v>-0.110924369747899</c:v>
                </c:pt>
                <c:pt idx="20533">
                  <c:v>-0.110924369747899</c:v>
                </c:pt>
                <c:pt idx="20534">
                  <c:v>-0.110924369747899</c:v>
                </c:pt>
                <c:pt idx="20535">
                  <c:v>-0.110924369747899</c:v>
                </c:pt>
                <c:pt idx="20536">
                  <c:v>-0.110924369747899</c:v>
                </c:pt>
                <c:pt idx="20537">
                  <c:v>-0.110924369747899</c:v>
                </c:pt>
                <c:pt idx="20538">
                  <c:v>-0.110924369747899</c:v>
                </c:pt>
                <c:pt idx="20539">
                  <c:v>-0.110924369747899</c:v>
                </c:pt>
                <c:pt idx="20540">
                  <c:v>-0.110924369747899</c:v>
                </c:pt>
                <c:pt idx="20541">
                  <c:v>-0.110924369747899</c:v>
                </c:pt>
                <c:pt idx="20542">
                  <c:v>-0.110924369747899</c:v>
                </c:pt>
                <c:pt idx="20543">
                  <c:v>-0.110924369747899</c:v>
                </c:pt>
                <c:pt idx="20544">
                  <c:v>-0.110924369747899</c:v>
                </c:pt>
                <c:pt idx="20545">
                  <c:v>-0.110924369747899</c:v>
                </c:pt>
                <c:pt idx="20546">
                  <c:v>-0.110924369747899</c:v>
                </c:pt>
                <c:pt idx="20547">
                  <c:v>-0.110924369747899</c:v>
                </c:pt>
                <c:pt idx="20548">
                  <c:v>-0.110924369747899</c:v>
                </c:pt>
                <c:pt idx="20549">
                  <c:v>-0.110924369747899</c:v>
                </c:pt>
                <c:pt idx="20550">
                  <c:v>-0.110924369747899</c:v>
                </c:pt>
                <c:pt idx="20551">
                  <c:v>-0.110924369747899</c:v>
                </c:pt>
                <c:pt idx="20552">
                  <c:v>-0.110924369747899</c:v>
                </c:pt>
                <c:pt idx="20553">
                  <c:v>-0.110924369747899</c:v>
                </c:pt>
                <c:pt idx="20554">
                  <c:v>-0.110924369747899</c:v>
                </c:pt>
                <c:pt idx="20555">
                  <c:v>-0.110924369747899</c:v>
                </c:pt>
                <c:pt idx="20556">
                  <c:v>-0.110924369747899</c:v>
                </c:pt>
                <c:pt idx="20557">
                  <c:v>-0.110924369747899</c:v>
                </c:pt>
                <c:pt idx="20558">
                  <c:v>-0.110924369747899</c:v>
                </c:pt>
                <c:pt idx="20559">
                  <c:v>-0.110924369747899</c:v>
                </c:pt>
                <c:pt idx="20560">
                  <c:v>-0.110924369747899</c:v>
                </c:pt>
                <c:pt idx="20561">
                  <c:v>-0.110924369747899</c:v>
                </c:pt>
                <c:pt idx="20562">
                  <c:v>-0.110924369747899</c:v>
                </c:pt>
                <c:pt idx="20563">
                  <c:v>-0.110924369747899</c:v>
                </c:pt>
                <c:pt idx="20564">
                  <c:v>-0.110924369747899</c:v>
                </c:pt>
                <c:pt idx="20565">
                  <c:v>-0.110924369747899</c:v>
                </c:pt>
                <c:pt idx="20566">
                  <c:v>-0.110924369747899</c:v>
                </c:pt>
                <c:pt idx="20567">
                  <c:v>-0.110924369747899</c:v>
                </c:pt>
                <c:pt idx="20568">
                  <c:v>-0.110924369747899</c:v>
                </c:pt>
                <c:pt idx="20569">
                  <c:v>-0.110924369747899</c:v>
                </c:pt>
                <c:pt idx="20570">
                  <c:v>-0.111764705882352</c:v>
                </c:pt>
                <c:pt idx="20571">
                  <c:v>-0.111764705882352</c:v>
                </c:pt>
                <c:pt idx="20572">
                  <c:v>-0.111764705882352</c:v>
                </c:pt>
                <c:pt idx="20573">
                  <c:v>-0.111764705882352</c:v>
                </c:pt>
                <c:pt idx="20574">
                  <c:v>-0.111764705882352</c:v>
                </c:pt>
                <c:pt idx="20575">
                  <c:v>-0.111764705882352</c:v>
                </c:pt>
                <c:pt idx="20576">
                  <c:v>-0.111764705882352</c:v>
                </c:pt>
                <c:pt idx="20577">
                  <c:v>-0.111764705882352</c:v>
                </c:pt>
                <c:pt idx="20578">
                  <c:v>-0.111764705882352</c:v>
                </c:pt>
                <c:pt idx="20579">
                  <c:v>-0.111764705882352</c:v>
                </c:pt>
                <c:pt idx="20580">
                  <c:v>-0.111764705882352</c:v>
                </c:pt>
                <c:pt idx="20581">
                  <c:v>-0.111764705882352</c:v>
                </c:pt>
                <c:pt idx="20582">
                  <c:v>-0.111764705882352</c:v>
                </c:pt>
                <c:pt idx="20583">
                  <c:v>-0.111764705882352</c:v>
                </c:pt>
                <c:pt idx="20584">
                  <c:v>-0.111764705882352</c:v>
                </c:pt>
                <c:pt idx="20585">
                  <c:v>-0.112605042016806</c:v>
                </c:pt>
                <c:pt idx="20586">
                  <c:v>-0.112605042016806</c:v>
                </c:pt>
                <c:pt idx="20587">
                  <c:v>-0.112605042016806</c:v>
                </c:pt>
                <c:pt idx="20588">
                  <c:v>-0.112605042016806</c:v>
                </c:pt>
                <c:pt idx="20589">
                  <c:v>-0.112605042016806</c:v>
                </c:pt>
                <c:pt idx="20590">
                  <c:v>-0.112605042016806</c:v>
                </c:pt>
                <c:pt idx="20591">
                  <c:v>-0.112605042016806</c:v>
                </c:pt>
                <c:pt idx="20592">
                  <c:v>-0.112605042016806</c:v>
                </c:pt>
                <c:pt idx="20593">
                  <c:v>-0.112605042016806</c:v>
                </c:pt>
                <c:pt idx="20594">
                  <c:v>-0.112605042016806</c:v>
                </c:pt>
                <c:pt idx="20595">
                  <c:v>-0.112605042016806</c:v>
                </c:pt>
                <c:pt idx="20596">
                  <c:v>-0.112605042016806</c:v>
                </c:pt>
                <c:pt idx="20597">
                  <c:v>-0.112605042016806</c:v>
                </c:pt>
                <c:pt idx="20598">
                  <c:v>-0.112605042016806</c:v>
                </c:pt>
                <c:pt idx="20599">
                  <c:v>-0.112605042016806</c:v>
                </c:pt>
                <c:pt idx="20600">
                  <c:v>-0.112605042016806</c:v>
                </c:pt>
                <c:pt idx="20601">
                  <c:v>-0.112605042016806</c:v>
                </c:pt>
                <c:pt idx="20602">
                  <c:v>-0.112605042016806</c:v>
                </c:pt>
                <c:pt idx="20603">
                  <c:v>-0.112605042016806</c:v>
                </c:pt>
                <c:pt idx="20604">
                  <c:v>-0.112605042016806</c:v>
                </c:pt>
                <c:pt idx="20605">
                  <c:v>-0.112605042016806</c:v>
                </c:pt>
                <c:pt idx="20606">
                  <c:v>-0.112605042016806</c:v>
                </c:pt>
                <c:pt idx="20607">
                  <c:v>-0.112605042016806</c:v>
                </c:pt>
                <c:pt idx="20608">
                  <c:v>-0.112605042016806</c:v>
                </c:pt>
                <c:pt idx="20609">
                  <c:v>-0.112605042016806</c:v>
                </c:pt>
                <c:pt idx="20610">
                  <c:v>-0.112605042016806</c:v>
                </c:pt>
                <c:pt idx="20611">
                  <c:v>-0.112605042016806</c:v>
                </c:pt>
                <c:pt idx="20612">
                  <c:v>-0.112605042016806</c:v>
                </c:pt>
                <c:pt idx="20613">
                  <c:v>-0.112605042016806</c:v>
                </c:pt>
                <c:pt idx="20614">
                  <c:v>-0.112605042016806</c:v>
                </c:pt>
                <c:pt idx="20615">
                  <c:v>-0.112605042016806</c:v>
                </c:pt>
                <c:pt idx="20616">
                  <c:v>-0.112605042016806</c:v>
                </c:pt>
                <c:pt idx="20617">
                  <c:v>-0.112605042016806</c:v>
                </c:pt>
                <c:pt idx="20618">
                  <c:v>-0.112605042016806</c:v>
                </c:pt>
                <c:pt idx="20619">
                  <c:v>-0.112605042016806</c:v>
                </c:pt>
                <c:pt idx="20620">
                  <c:v>-0.112605042016806</c:v>
                </c:pt>
                <c:pt idx="20621">
                  <c:v>-0.112605042016806</c:v>
                </c:pt>
                <c:pt idx="20622">
                  <c:v>-0.111764705882352</c:v>
                </c:pt>
                <c:pt idx="20623">
                  <c:v>-0.111764705882352</c:v>
                </c:pt>
                <c:pt idx="20624">
                  <c:v>-0.111764705882352</c:v>
                </c:pt>
                <c:pt idx="20625">
                  <c:v>-0.111764705882352</c:v>
                </c:pt>
                <c:pt idx="20626">
                  <c:v>-0.111764705882352</c:v>
                </c:pt>
                <c:pt idx="20627">
                  <c:v>-0.111764705882352</c:v>
                </c:pt>
                <c:pt idx="20628">
                  <c:v>-0.111764705882352</c:v>
                </c:pt>
                <c:pt idx="20629">
                  <c:v>-0.111764705882352</c:v>
                </c:pt>
                <c:pt idx="20630">
                  <c:v>-0.111764705882352</c:v>
                </c:pt>
                <c:pt idx="20631">
                  <c:v>-0.111764705882352</c:v>
                </c:pt>
                <c:pt idx="20632">
                  <c:v>-0.111764705882352</c:v>
                </c:pt>
                <c:pt idx="20633">
                  <c:v>-0.111764705882352</c:v>
                </c:pt>
                <c:pt idx="20634">
                  <c:v>-0.111764705882352</c:v>
                </c:pt>
                <c:pt idx="20635">
                  <c:v>-0.111764705882352</c:v>
                </c:pt>
                <c:pt idx="20636">
                  <c:v>-0.111764705882352</c:v>
                </c:pt>
                <c:pt idx="20637">
                  <c:v>-0.111764705882352</c:v>
                </c:pt>
                <c:pt idx="20638">
                  <c:v>-0.110924369747899</c:v>
                </c:pt>
                <c:pt idx="20639">
                  <c:v>-0.110924369747899</c:v>
                </c:pt>
                <c:pt idx="20640">
                  <c:v>-0.110924369747899</c:v>
                </c:pt>
                <c:pt idx="20641">
                  <c:v>-0.110924369747899</c:v>
                </c:pt>
                <c:pt idx="20642">
                  <c:v>-0.110924369747899</c:v>
                </c:pt>
                <c:pt idx="20643">
                  <c:v>-0.110924369747899</c:v>
                </c:pt>
                <c:pt idx="20644">
                  <c:v>-0.110924369747899</c:v>
                </c:pt>
                <c:pt idx="20645">
                  <c:v>-0.110924369747899</c:v>
                </c:pt>
                <c:pt idx="20646">
                  <c:v>-0.110924369747899</c:v>
                </c:pt>
                <c:pt idx="20647">
                  <c:v>-0.110924369747899</c:v>
                </c:pt>
                <c:pt idx="20648">
                  <c:v>-0.110924369747899</c:v>
                </c:pt>
                <c:pt idx="20649">
                  <c:v>-0.110924369747899</c:v>
                </c:pt>
                <c:pt idx="20650">
                  <c:v>-0.110924369747899</c:v>
                </c:pt>
                <c:pt idx="20651">
                  <c:v>-0.110924369747899</c:v>
                </c:pt>
                <c:pt idx="20652">
                  <c:v>-0.110924369747899</c:v>
                </c:pt>
                <c:pt idx="20653">
                  <c:v>-0.110924369747899</c:v>
                </c:pt>
                <c:pt idx="20654">
                  <c:v>-0.110924369747899</c:v>
                </c:pt>
                <c:pt idx="20655">
                  <c:v>-0.110084033613445</c:v>
                </c:pt>
                <c:pt idx="20656">
                  <c:v>-0.110084033613445</c:v>
                </c:pt>
                <c:pt idx="20657">
                  <c:v>-0.110084033613445</c:v>
                </c:pt>
                <c:pt idx="20658">
                  <c:v>-0.110084033613445</c:v>
                </c:pt>
                <c:pt idx="20659">
                  <c:v>-0.110084033613445</c:v>
                </c:pt>
                <c:pt idx="20660">
                  <c:v>-0.110084033613445</c:v>
                </c:pt>
                <c:pt idx="20661">
                  <c:v>-0.110084033613445</c:v>
                </c:pt>
                <c:pt idx="20662">
                  <c:v>-0.110084033613445</c:v>
                </c:pt>
                <c:pt idx="20663">
                  <c:v>-0.110084033613445</c:v>
                </c:pt>
                <c:pt idx="20664">
                  <c:v>-0.110084033613445</c:v>
                </c:pt>
                <c:pt idx="20665">
                  <c:v>-0.110084033613445</c:v>
                </c:pt>
                <c:pt idx="20666">
                  <c:v>-0.110084033613445</c:v>
                </c:pt>
                <c:pt idx="20667">
                  <c:v>-0.110084033613445</c:v>
                </c:pt>
                <c:pt idx="20668">
                  <c:v>-0.110084033613445</c:v>
                </c:pt>
                <c:pt idx="20669">
                  <c:v>-0.110084033613445</c:v>
                </c:pt>
                <c:pt idx="20670">
                  <c:v>-0.110084033613445</c:v>
                </c:pt>
                <c:pt idx="20671">
                  <c:v>-0.110084033613445</c:v>
                </c:pt>
                <c:pt idx="20672">
                  <c:v>-0.110084033613445</c:v>
                </c:pt>
                <c:pt idx="20673">
                  <c:v>-0.110084033613445</c:v>
                </c:pt>
                <c:pt idx="20674">
                  <c:v>-0.110084033613445</c:v>
                </c:pt>
                <c:pt idx="20675">
                  <c:v>-0.110084033613445</c:v>
                </c:pt>
                <c:pt idx="20676">
                  <c:v>-0.110084033613445</c:v>
                </c:pt>
                <c:pt idx="20677">
                  <c:v>-0.110084033613445</c:v>
                </c:pt>
                <c:pt idx="20678">
                  <c:v>-0.110084033613445</c:v>
                </c:pt>
                <c:pt idx="20679">
                  <c:v>-0.110084033613445</c:v>
                </c:pt>
                <c:pt idx="20680">
                  <c:v>-0.110084033613445</c:v>
                </c:pt>
                <c:pt idx="20681">
                  <c:v>-0.110924369747899</c:v>
                </c:pt>
                <c:pt idx="20682">
                  <c:v>-0.110924369747899</c:v>
                </c:pt>
                <c:pt idx="20683">
                  <c:v>-0.110924369747899</c:v>
                </c:pt>
                <c:pt idx="20684">
                  <c:v>-0.110924369747899</c:v>
                </c:pt>
                <c:pt idx="20685">
                  <c:v>-0.110924369747899</c:v>
                </c:pt>
                <c:pt idx="20686">
                  <c:v>-0.110924369747899</c:v>
                </c:pt>
                <c:pt idx="20687">
                  <c:v>-0.110924369747899</c:v>
                </c:pt>
                <c:pt idx="20688">
                  <c:v>-0.111764705882352</c:v>
                </c:pt>
                <c:pt idx="20689">
                  <c:v>-0.111764705882352</c:v>
                </c:pt>
                <c:pt idx="20690">
                  <c:v>-0.111764705882352</c:v>
                </c:pt>
                <c:pt idx="20691">
                  <c:v>-0.111764705882352</c:v>
                </c:pt>
                <c:pt idx="20692">
                  <c:v>-0.111764705882352</c:v>
                </c:pt>
                <c:pt idx="20693">
                  <c:v>-0.111764705882352</c:v>
                </c:pt>
                <c:pt idx="20694">
                  <c:v>-0.111764705882352</c:v>
                </c:pt>
                <c:pt idx="20695">
                  <c:v>-0.111764705882352</c:v>
                </c:pt>
                <c:pt idx="20696">
                  <c:v>-0.111764705882352</c:v>
                </c:pt>
                <c:pt idx="20697">
                  <c:v>-0.111764705882352</c:v>
                </c:pt>
                <c:pt idx="20698">
                  <c:v>-0.111764705882352</c:v>
                </c:pt>
                <c:pt idx="20699">
                  <c:v>-0.111764705882352</c:v>
                </c:pt>
                <c:pt idx="20700">
                  <c:v>-0.111764705882352</c:v>
                </c:pt>
                <c:pt idx="20701">
                  <c:v>-0.111764705882352</c:v>
                </c:pt>
                <c:pt idx="20702">
                  <c:v>-0.111764705882352</c:v>
                </c:pt>
                <c:pt idx="20703">
                  <c:v>-0.111764705882352</c:v>
                </c:pt>
                <c:pt idx="20704">
                  <c:v>-0.111764705882352</c:v>
                </c:pt>
                <c:pt idx="20705">
                  <c:v>-0.111764705882352</c:v>
                </c:pt>
                <c:pt idx="20706">
                  <c:v>-0.111764705882352</c:v>
                </c:pt>
                <c:pt idx="20707">
                  <c:v>-0.111764705882352</c:v>
                </c:pt>
                <c:pt idx="20708">
                  <c:v>-0.111764705882352</c:v>
                </c:pt>
                <c:pt idx="20709">
                  <c:v>-0.111764705882352</c:v>
                </c:pt>
                <c:pt idx="20710">
                  <c:v>-0.111764705882352</c:v>
                </c:pt>
                <c:pt idx="20711">
                  <c:v>-0.111764705882352</c:v>
                </c:pt>
                <c:pt idx="20712">
                  <c:v>-0.110924369747899</c:v>
                </c:pt>
                <c:pt idx="20713">
                  <c:v>-0.110924369747899</c:v>
                </c:pt>
                <c:pt idx="20714">
                  <c:v>-0.110924369747899</c:v>
                </c:pt>
                <c:pt idx="20715">
                  <c:v>-0.110924369747899</c:v>
                </c:pt>
                <c:pt idx="20716">
                  <c:v>-0.110924369747899</c:v>
                </c:pt>
                <c:pt idx="20717">
                  <c:v>-0.110924369747899</c:v>
                </c:pt>
                <c:pt idx="20718">
                  <c:v>-0.110924369747899</c:v>
                </c:pt>
                <c:pt idx="20719">
                  <c:v>-0.110924369747899</c:v>
                </c:pt>
                <c:pt idx="20720">
                  <c:v>-0.110924369747899</c:v>
                </c:pt>
                <c:pt idx="20721">
                  <c:v>-0.110924369747899</c:v>
                </c:pt>
                <c:pt idx="20722">
                  <c:v>-0.110924369747899</c:v>
                </c:pt>
                <c:pt idx="20723">
                  <c:v>-0.110924369747899</c:v>
                </c:pt>
                <c:pt idx="20724">
                  <c:v>-0.110924369747899</c:v>
                </c:pt>
                <c:pt idx="20725">
                  <c:v>-0.110924369747899</c:v>
                </c:pt>
                <c:pt idx="20726">
                  <c:v>-0.110924369747899</c:v>
                </c:pt>
                <c:pt idx="20727">
                  <c:v>-0.110924369747899</c:v>
                </c:pt>
                <c:pt idx="20728">
                  <c:v>-0.110924369747899</c:v>
                </c:pt>
                <c:pt idx="20729">
                  <c:v>-0.110924369747899</c:v>
                </c:pt>
                <c:pt idx="20730">
                  <c:v>-0.110924369747899</c:v>
                </c:pt>
                <c:pt idx="20731">
                  <c:v>-0.110084033613445</c:v>
                </c:pt>
                <c:pt idx="20732">
                  <c:v>-0.110084033613445</c:v>
                </c:pt>
                <c:pt idx="20733">
                  <c:v>-0.110084033613445</c:v>
                </c:pt>
                <c:pt idx="20734">
                  <c:v>-0.110084033613445</c:v>
                </c:pt>
                <c:pt idx="20735">
                  <c:v>-0.110084033613445</c:v>
                </c:pt>
                <c:pt idx="20736">
                  <c:v>-0.110084033613445</c:v>
                </c:pt>
                <c:pt idx="20737">
                  <c:v>-0.110084033613445</c:v>
                </c:pt>
                <c:pt idx="20738">
                  <c:v>-0.110084033613445</c:v>
                </c:pt>
                <c:pt idx="20739">
                  <c:v>-0.110084033613445</c:v>
                </c:pt>
                <c:pt idx="20740">
                  <c:v>-0.110084033613445</c:v>
                </c:pt>
                <c:pt idx="20741">
                  <c:v>-0.110084033613445</c:v>
                </c:pt>
                <c:pt idx="20742">
                  <c:v>-0.110084033613445</c:v>
                </c:pt>
                <c:pt idx="20743">
                  <c:v>-0.110084033613445</c:v>
                </c:pt>
                <c:pt idx="20744">
                  <c:v>-0.110084033613445</c:v>
                </c:pt>
                <c:pt idx="20745">
                  <c:v>-0.110084033613445</c:v>
                </c:pt>
                <c:pt idx="20746">
                  <c:v>-0.110084033613445</c:v>
                </c:pt>
                <c:pt idx="20747">
                  <c:v>-0.110084033613445</c:v>
                </c:pt>
                <c:pt idx="20748">
                  <c:v>-0.110084033613445</c:v>
                </c:pt>
                <c:pt idx="20749">
                  <c:v>-0.110084033613445</c:v>
                </c:pt>
                <c:pt idx="20750">
                  <c:v>-0.110084033613445</c:v>
                </c:pt>
                <c:pt idx="20751">
                  <c:v>-0.110084033613445</c:v>
                </c:pt>
                <c:pt idx="20752">
                  <c:v>-0.110084033613445</c:v>
                </c:pt>
                <c:pt idx="20753">
                  <c:v>-0.110084033613445</c:v>
                </c:pt>
                <c:pt idx="20754">
                  <c:v>-0.110084033613445</c:v>
                </c:pt>
                <c:pt idx="20755">
                  <c:v>-0.110084033613445</c:v>
                </c:pt>
                <c:pt idx="20756">
                  <c:v>-0.110084033613445</c:v>
                </c:pt>
                <c:pt idx="20757">
                  <c:v>-0.110084033613445</c:v>
                </c:pt>
                <c:pt idx="20758">
                  <c:v>-0.110084033613445</c:v>
                </c:pt>
                <c:pt idx="20759">
                  <c:v>-0.110084033613445</c:v>
                </c:pt>
                <c:pt idx="20760">
                  <c:v>-0.110084033613445</c:v>
                </c:pt>
                <c:pt idx="20761">
                  <c:v>-0.110084033613445</c:v>
                </c:pt>
                <c:pt idx="20762">
                  <c:v>-0.110084033613445</c:v>
                </c:pt>
                <c:pt idx="20763">
                  <c:v>-0.110084033613445</c:v>
                </c:pt>
                <c:pt idx="20764">
                  <c:v>-0.110084033613445</c:v>
                </c:pt>
                <c:pt idx="20765">
                  <c:v>-0.110084033613445</c:v>
                </c:pt>
                <c:pt idx="20766">
                  <c:v>-0.110084033613445</c:v>
                </c:pt>
                <c:pt idx="20767">
                  <c:v>-0.110084033613445</c:v>
                </c:pt>
                <c:pt idx="20768">
                  <c:v>-0.110084033613445</c:v>
                </c:pt>
                <c:pt idx="20769">
                  <c:v>-0.110084033613445</c:v>
                </c:pt>
                <c:pt idx="20770">
                  <c:v>-0.110084033613445</c:v>
                </c:pt>
                <c:pt idx="20771">
                  <c:v>-0.110084033613445</c:v>
                </c:pt>
                <c:pt idx="20772">
                  <c:v>-0.110084033613445</c:v>
                </c:pt>
                <c:pt idx="20773">
                  <c:v>-0.110084033613445</c:v>
                </c:pt>
                <c:pt idx="20774">
                  <c:v>-0.110084033613445</c:v>
                </c:pt>
                <c:pt idx="20775">
                  <c:v>-0.110084033613445</c:v>
                </c:pt>
                <c:pt idx="20776">
                  <c:v>-0.110084033613445</c:v>
                </c:pt>
                <c:pt idx="20777">
                  <c:v>-0.110084033613445</c:v>
                </c:pt>
                <c:pt idx="20778">
                  <c:v>-0.110084033613445</c:v>
                </c:pt>
                <c:pt idx="20779">
                  <c:v>-0.110084033613445</c:v>
                </c:pt>
                <c:pt idx="20780">
                  <c:v>-0.109243697478991</c:v>
                </c:pt>
                <c:pt idx="20781">
                  <c:v>-0.110084033613445</c:v>
                </c:pt>
                <c:pt idx="20782">
                  <c:v>-0.110084033613445</c:v>
                </c:pt>
                <c:pt idx="20783">
                  <c:v>-0.110084033613445</c:v>
                </c:pt>
                <c:pt idx="20784">
                  <c:v>-0.110084033613445</c:v>
                </c:pt>
                <c:pt idx="20785">
                  <c:v>-0.109243697478991</c:v>
                </c:pt>
                <c:pt idx="20786">
                  <c:v>-0.109243697478991</c:v>
                </c:pt>
                <c:pt idx="20787">
                  <c:v>-0.109243697478991</c:v>
                </c:pt>
                <c:pt idx="20788">
                  <c:v>-0.109243697478991</c:v>
                </c:pt>
                <c:pt idx="20789">
                  <c:v>-0.109243697478991</c:v>
                </c:pt>
                <c:pt idx="20790">
                  <c:v>-0.109243697478991</c:v>
                </c:pt>
                <c:pt idx="20791">
                  <c:v>-0.109243697478991</c:v>
                </c:pt>
                <c:pt idx="20792">
                  <c:v>-0.109243697478991</c:v>
                </c:pt>
                <c:pt idx="20793">
                  <c:v>-0.109243697478991</c:v>
                </c:pt>
                <c:pt idx="20794">
                  <c:v>-0.109243697478991</c:v>
                </c:pt>
                <c:pt idx="20795">
                  <c:v>-0.109243697478991</c:v>
                </c:pt>
                <c:pt idx="20796">
                  <c:v>-0.109243697478991</c:v>
                </c:pt>
                <c:pt idx="20797">
                  <c:v>-0.109243697478991</c:v>
                </c:pt>
                <c:pt idx="20798">
                  <c:v>-0.109243697478991</c:v>
                </c:pt>
                <c:pt idx="20799">
                  <c:v>-0.109243697478991</c:v>
                </c:pt>
                <c:pt idx="20800">
                  <c:v>-0.109243697478991</c:v>
                </c:pt>
                <c:pt idx="20801">
                  <c:v>-0.109243697478991</c:v>
                </c:pt>
                <c:pt idx="20802">
                  <c:v>-0.109243697478991</c:v>
                </c:pt>
                <c:pt idx="20803">
                  <c:v>-0.109243697478991</c:v>
                </c:pt>
                <c:pt idx="20804">
                  <c:v>-0.109243697478991</c:v>
                </c:pt>
                <c:pt idx="20805">
                  <c:v>-0.109243697478991</c:v>
                </c:pt>
                <c:pt idx="20806">
                  <c:v>-0.109243697478991</c:v>
                </c:pt>
                <c:pt idx="20807">
                  <c:v>-0.109243697478991</c:v>
                </c:pt>
                <c:pt idx="20808">
                  <c:v>-0.109243697478991</c:v>
                </c:pt>
                <c:pt idx="20809">
                  <c:v>-0.109243697478991</c:v>
                </c:pt>
                <c:pt idx="20810">
                  <c:v>-0.109243697478991</c:v>
                </c:pt>
                <c:pt idx="20811">
                  <c:v>-0.109243697478991</c:v>
                </c:pt>
                <c:pt idx="20812">
                  <c:v>-0.109243697478991</c:v>
                </c:pt>
                <c:pt idx="20813">
                  <c:v>-0.109243697478991</c:v>
                </c:pt>
                <c:pt idx="20814">
                  <c:v>-0.109243697478991</c:v>
                </c:pt>
                <c:pt idx="20815">
                  <c:v>-0.109243697478991</c:v>
                </c:pt>
                <c:pt idx="20816">
                  <c:v>-0.109243697478991</c:v>
                </c:pt>
                <c:pt idx="20817">
                  <c:v>-0.109243697478991</c:v>
                </c:pt>
                <c:pt idx="20818">
                  <c:v>-0.109243697478991</c:v>
                </c:pt>
                <c:pt idx="20819">
                  <c:v>-0.109243697478991</c:v>
                </c:pt>
                <c:pt idx="20820">
                  <c:v>-0.109243697478991</c:v>
                </c:pt>
                <c:pt idx="20821">
                  <c:v>-0.109243697478991</c:v>
                </c:pt>
                <c:pt idx="20822">
                  <c:v>-0.109243697478991</c:v>
                </c:pt>
                <c:pt idx="20823">
                  <c:v>-0.109243697478991</c:v>
                </c:pt>
                <c:pt idx="20824">
                  <c:v>-0.109243697478991</c:v>
                </c:pt>
                <c:pt idx="20825">
                  <c:v>-0.109243697478991</c:v>
                </c:pt>
                <c:pt idx="20826">
                  <c:v>-0.109243697478991</c:v>
                </c:pt>
                <c:pt idx="20827">
                  <c:v>-0.109243697478991</c:v>
                </c:pt>
                <c:pt idx="20828">
                  <c:v>-0.109243697478991</c:v>
                </c:pt>
                <c:pt idx="20829">
                  <c:v>-0.109243697478991</c:v>
                </c:pt>
                <c:pt idx="20830">
                  <c:v>-0.109243697478991</c:v>
                </c:pt>
                <c:pt idx="20831">
                  <c:v>-0.110084033613445</c:v>
                </c:pt>
                <c:pt idx="20832">
                  <c:v>-0.110084033613445</c:v>
                </c:pt>
                <c:pt idx="20833">
                  <c:v>-0.110084033613445</c:v>
                </c:pt>
                <c:pt idx="20834">
                  <c:v>-0.110084033613445</c:v>
                </c:pt>
                <c:pt idx="20835">
                  <c:v>-0.110084033613445</c:v>
                </c:pt>
                <c:pt idx="20836">
                  <c:v>-0.110084033613445</c:v>
                </c:pt>
                <c:pt idx="20837">
                  <c:v>-0.110084033613445</c:v>
                </c:pt>
                <c:pt idx="20838">
                  <c:v>-0.110084033613445</c:v>
                </c:pt>
                <c:pt idx="20839">
                  <c:v>-0.110084033613445</c:v>
                </c:pt>
                <c:pt idx="20840">
                  <c:v>-0.110084033613445</c:v>
                </c:pt>
                <c:pt idx="20841">
                  <c:v>-0.110084033613445</c:v>
                </c:pt>
                <c:pt idx="20842">
                  <c:v>-0.110084033613445</c:v>
                </c:pt>
                <c:pt idx="20843">
                  <c:v>-0.110084033613445</c:v>
                </c:pt>
                <c:pt idx="20844">
                  <c:v>-0.110084033613445</c:v>
                </c:pt>
                <c:pt idx="20845">
                  <c:v>-0.110084033613445</c:v>
                </c:pt>
                <c:pt idx="20846">
                  <c:v>-0.110084033613445</c:v>
                </c:pt>
                <c:pt idx="20847">
                  <c:v>-0.110084033613445</c:v>
                </c:pt>
                <c:pt idx="20848">
                  <c:v>-0.110084033613445</c:v>
                </c:pt>
                <c:pt idx="20849">
                  <c:v>-0.110084033613445</c:v>
                </c:pt>
                <c:pt idx="20850">
                  <c:v>-0.110084033613445</c:v>
                </c:pt>
                <c:pt idx="20851">
                  <c:v>-0.110084033613445</c:v>
                </c:pt>
                <c:pt idx="20852">
                  <c:v>-0.110084033613445</c:v>
                </c:pt>
                <c:pt idx="20853">
                  <c:v>-0.110084033613445</c:v>
                </c:pt>
                <c:pt idx="20854">
                  <c:v>-0.110084033613445</c:v>
                </c:pt>
                <c:pt idx="20855">
                  <c:v>-0.110084033613445</c:v>
                </c:pt>
                <c:pt idx="20856">
                  <c:v>-0.110084033613445</c:v>
                </c:pt>
                <c:pt idx="20857">
                  <c:v>-0.110084033613445</c:v>
                </c:pt>
                <c:pt idx="20858">
                  <c:v>-0.110084033613445</c:v>
                </c:pt>
                <c:pt idx="20859">
                  <c:v>-0.110084033613445</c:v>
                </c:pt>
                <c:pt idx="20860">
                  <c:v>-0.110084033613445</c:v>
                </c:pt>
                <c:pt idx="20861">
                  <c:v>-0.110084033613445</c:v>
                </c:pt>
                <c:pt idx="20862">
                  <c:v>-0.110084033613445</c:v>
                </c:pt>
                <c:pt idx="20863">
                  <c:v>-0.110084033613445</c:v>
                </c:pt>
                <c:pt idx="20864">
                  <c:v>-0.110084033613445</c:v>
                </c:pt>
                <c:pt idx="20865">
                  <c:v>-0.110084033613445</c:v>
                </c:pt>
                <c:pt idx="20866">
                  <c:v>-0.110084033613445</c:v>
                </c:pt>
                <c:pt idx="20867">
                  <c:v>-0.110084033613445</c:v>
                </c:pt>
                <c:pt idx="20868">
                  <c:v>-0.110084033613445</c:v>
                </c:pt>
                <c:pt idx="20869">
                  <c:v>-0.110084033613445</c:v>
                </c:pt>
                <c:pt idx="20870">
                  <c:v>-0.110084033613445</c:v>
                </c:pt>
                <c:pt idx="20871">
                  <c:v>-0.110084033613445</c:v>
                </c:pt>
                <c:pt idx="20872">
                  <c:v>-0.110084033613445</c:v>
                </c:pt>
                <c:pt idx="20873">
                  <c:v>-0.110084033613445</c:v>
                </c:pt>
                <c:pt idx="20874">
                  <c:v>-0.110084033613445</c:v>
                </c:pt>
                <c:pt idx="20875">
                  <c:v>-0.110084033613445</c:v>
                </c:pt>
                <c:pt idx="20876">
                  <c:v>-0.110084033613445</c:v>
                </c:pt>
                <c:pt idx="20877">
                  <c:v>-0.110084033613445</c:v>
                </c:pt>
                <c:pt idx="20878">
                  <c:v>-0.110084033613445</c:v>
                </c:pt>
                <c:pt idx="20879">
                  <c:v>-0.110084033613445</c:v>
                </c:pt>
                <c:pt idx="20880">
                  <c:v>-0.110084033613445</c:v>
                </c:pt>
                <c:pt idx="20881">
                  <c:v>-0.110084033613445</c:v>
                </c:pt>
                <c:pt idx="20882">
                  <c:v>-0.110084033613445</c:v>
                </c:pt>
                <c:pt idx="20883">
                  <c:v>-0.110084033613445</c:v>
                </c:pt>
                <c:pt idx="20884">
                  <c:v>-0.110084033613445</c:v>
                </c:pt>
                <c:pt idx="20885">
                  <c:v>-0.110084033613445</c:v>
                </c:pt>
                <c:pt idx="20886">
                  <c:v>-0.110084033613445</c:v>
                </c:pt>
                <c:pt idx="20887">
                  <c:v>-0.110084033613445</c:v>
                </c:pt>
                <c:pt idx="20888">
                  <c:v>-0.110924369747899</c:v>
                </c:pt>
                <c:pt idx="20889">
                  <c:v>-0.110924369747899</c:v>
                </c:pt>
                <c:pt idx="20890">
                  <c:v>-0.110924369747899</c:v>
                </c:pt>
                <c:pt idx="20891">
                  <c:v>-0.110924369747899</c:v>
                </c:pt>
                <c:pt idx="20892">
                  <c:v>-0.110924369747899</c:v>
                </c:pt>
                <c:pt idx="20893">
                  <c:v>-0.110924369747899</c:v>
                </c:pt>
                <c:pt idx="20894">
                  <c:v>-0.110924369747899</c:v>
                </c:pt>
                <c:pt idx="20895">
                  <c:v>-0.110924369747899</c:v>
                </c:pt>
                <c:pt idx="20896">
                  <c:v>-0.110924369747899</c:v>
                </c:pt>
                <c:pt idx="20897">
                  <c:v>-0.110924369747899</c:v>
                </c:pt>
                <c:pt idx="20898">
                  <c:v>-0.110924369747899</c:v>
                </c:pt>
                <c:pt idx="20899">
                  <c:v>-0.110924369747899</c:v>
                </c:pt>
                <c:pt idx="20900">
                  <c:v>-0.110924369747899</c:v>
                </c:pt>
                <c:pt idx="20901">
                  <c:v>-0.110924369747899</c:v>
                </c:pt>
                <c:pt idx="20902">
                  <c:v>-0.110924369747899</c:v>
                </c:pt>
                <c:pt idx="20903">
                  <c:v>-0.110924369747899</c:v>
                </c:pt>
                <c:pt idx="20904">
                  <c:v>-0.110924369747899</c:v>
                </c:pt>
                <c:pt idx="20905">
                  <c:v>-0.110924369747899</c:v>
                </c:pt>
                <c:pt idx="20906">
                  <c:v>-0.110924369747899</c:v>
                </c:pt>
                <c:pt idx="20907">
                  <c:v>-0.110924369747899</c:v>
                </c:pt>
                <c:pt idx="20908">
                  <c:v>-0.110924369747899</c:v>
                </c:pt>
                <c:pt idx="20909">
                  <c:v>-0.110924369747899</c:v>
                </c:pt>
                <c:pt idx="20910">
                  <c:v>-0.110924369747899</c:v>
                </c:pt>
                <c:pt idx="20911">
                  <c:v>-0.110924369747899</c:v>
                </c:pt>
                <c:pt idx="20912">
                  <c:v>-0.110924369747899</c:v>
                </c:pt>
                <c:pt idx="20913">
                  <c:v>-0.111764705882352</c:v>
                </c:pt>
                <c:pt idx="20914">
                  <c:v>-0.111764705882352</c:v>
                </c:pt>
                <c:pt idx="20915">
                  <c:v>-0.111764705882352</c:v>
                </c:pt>
                <c:pt idx="20916">
                  <c:v>-0.111764705882352</c:v>
                </c:pt>
                <c:pt idx="20917">
                  <c:v>-0.111764705882352</c:v>
                </c:pt>
                <c:pt idx="20918">
                  <c:v>-0.111764705882352</c:v>
                </c:pt>
                <c:pt idx="20919">
                  <c:v>-0.111764705882352</c:v>
                </c:pt>
                <c:pt idx="20920">
                  <c:v>-0.112605042016806</c:v>
                </c:pt>
                <c:pt idx="20921">
                  <c:v>-0.111764705882352</c:v>
                </c:pt>
                <c:pt idx="20922">
                  <c:v>-0.111764705882352</c:v>
                </c:pt>
                <c:pt idx="20923">
                  <c:v>-0.111764705882352</c:v>
                </c:pt>
                <c:pt idx="20924">
                  <c:v>-0.111764705882352</c:v>
                </c:pt>
                <c:pt idx="20925">
                  <c:v>-0.111764705882352</c:v>
                </c:pt>
                <c:pt idx="20926">
                  <c:v>-0.111764705882352</c:v>
                </c:pt>
                <c:pt idx="20927">
                  <c:v>-0.111764705882352</c:v>
                </c:pt>
                <c:pt idx="20928">
                  <c:v>-0.111764705882352</c:v>
                </c:pt>
                <c:pt idx="20929">
                  <c:v>-0.111764705882352</c:v>
                </c:pt>
                <c:pt idx="20930">
                  <c:v>-0.111764705882352</c:v>
                </c:pt>
                <c:pt idx="20931">
                  <c:v>-0.111764705882352</c:v>
                </c:pt>
                <c:pt idx="20932">
                  <c:v>-0.111764705882352</c:v>
                </c:pt>
                <c:pt idx="20933">
                  <c:v>-0.111764705882352</c:v>
                </c:pt>
                <c:pt idx="20934">
                  <c:v>-0.111764705882352</c:v>
                </c:pt>
                <c:pt idx="20935">
                  <c:v>-0.112605042016806</c:v>
                </c:pt>
                <c:pt idx="20936">
                  <c:v>-0.112605042016806</c:v>
                </c:pt>
                <c:pt idx="20937">
                  <c:v>-0.112605042016806</c:v>
                </c:pt>
                <c:pt idx="20938">
                  <c:v>-0.112605042016806</c:v>
                </c:pt>
                <c:pt idx="20939">
                  <c:v>-0.112605042016806</c:v>
                </c:pt>
                <c:pt idx="20940">
                  <c:v>-0.112605042016806</c:v>
                </c:pt>
                <c:pt idx="20941">
                  <c:v>-0.112605042016806</c:v>
                </c:pt>
                <c:pt idx="20942">
                  <c:v>-0.112605042016806</c:v>
                </c:pt>
                <c:pt idx="20943">
                  <c:v>-0.112605042016806</c:v>
                </c:pt>
                <c:pt idx="20944">
                  <c:v>-0.112605042016806</c:v>
                </c:pt>
                <c:pt idx="20945">
                  <c:v>-0.111764705882352</c:v>
                </c:pt>
                <c:pt idx="20946">
                  <c:v>-0.110924369747899</c:v>
                </c:pt>
                <c:pt idx="20947">
                  <c:v>-0.110924369747899</c:v>
                </c:pt>
                <c:pt idx="20948">
                  <c:v>-0.110924369747899</c:v>
                </c:pt>
                <c:pt idx="20949">
                  <c:v>-0.110924369747899</c:v>
                </c:pt>
                <c:pt idx="20950">
                  <c:v>-0.110924369747899</c:v>
                </c:pt>
                <c:pt idx="20951">
                  <c:v>-0.110924369747899</c:v>
                </c:pt>
                <c:pt idx="20952">
                  <c:v>-0.110924369747899</c:v>
                </c:pt>
                <c:pt idx="20953">
                  <c:v>-0.110924369747899</c:v>
                </c:pt>
                <c:pt idx="20954">
                  <c:v>-0.110924369747899</c:v>
                </c:pt>
                <c:pt idx="20955">
                  <c:v>-0.110924369747899</c:v>
                </c:pt>
                <c:pt idx="20956">
                  <c:v>-0.110924369747899</c:v>
                </c:pt>
                <c:pt idx="20957">
                  <c:v>-0.110924369747899</c:v>
                </c:pt>
                <c:pt idx="20958">
                  <c:v>-0.110924369747899</c:v>
                </c:pt>
                <c:pt idx="20959">
                  <c:v>-0.110924369747899</c:v>
                </c:pt>
                <c:pt idx="20960">
                  <c:v>-0.110924369747899</c:v>
                </c:pt>
                <c:pt idx="20961">
                  <c:v>-0.110924369747899</c:v>
                </c:pt>
                <c:pt idx="20962">
                  <c:v>-0.110924369747899</c:v>
                </c:pt>
                <c:pt idx="20963">
                  <c:v>-0.110924369747899</c:v>
                </c:pt>
                <c:pt idx="20964">
                  <c:v>-0.110924369747899</c:v>
                </c:pt>
                <c:pt idx="20965">
                  <c:v>-0.110924369747899</c:v>
                </c:pt>
                <c:pt idx="20966">
                  <c:v>-0.110924369747899</c:v>
                </c:pt>
                <c:pt idx="20967">
                  <c:v>-0.110924369747899</c:v>
                </c:pt>
                <c:pt idx="20968">
                  <c:v>-0.110924369747899</c:v>
                </c:pt>
                <c:pt idx="20969">
                  <c:v>-0.110924369747899</c:v>
                </c:pt>
                <c:pt idx="20970">
                  <c:v>-0.110924369747899</c:v>
                </c:pt>
                <c:pt idx="20971">
                  <c:v>-0.110924369747899</c:v>
                </c:pt>
                <c:pt idx="20972">
                  <c:v>-0.110924369747899</c:v>
                </c:pt>
                <c:pt idx="20973">
                  <c:v>-0.110924369747899</c:v>
                </c:pt>
                <c:pt idx="20974">
                  <c:v>-0.110924369747899</c:v>
                </c:pt>
                <c:pt idx="20975">
                  <c:v>-0.110924369747899</c:v>
                </c:pt>
                <c:pt idx="20976">
                  <c:v>-0.110924369747899</c:v>
                </c:pt>
                <c:pt idx="20977">
                  <c:v>-0.110924369747899</c:v>
                </c:pt>
                <c:pt idx="20978">
                  <c:v>-0.110924369747899</c:v>
                </c:pt>
                <c:pt idx="20979">
                  <c:v>-0.110924369747899</c:v>
                </c:pt>
                <c:pt idx="20980">
                  <c:v>-0.110924369747899</c:v>
                </c:pt>
                <c:pt idx="20981">
                  <c:v>-0.110084033613445</c:v>
                </c:pt>
                <c:pt idx="20982">
                  <c:v>-0.110084033613445</c:v>
                </c:pt>
                <c:pt idx="20983">
                  <c:v>-0.110084033613445</c:v>
                </c:pt>
                <c:pt idx="20984">
                  <c:v>-0.110084033613445</c:v>
                </c:pt>
                <c:pt idx="20985">
                  <c:v>-0.110084033613445</c:v>
                </c:pt>
                <c:pt idx="20986">
                  <c:v>-0.110084033613445</c:v>
                </c:pt>
                <c:pt idx="20987">
                  <c:v>-0.110084033613445</c:v>
                </c:pt>
                <c:pt idx="20988">
                  <c:v>-0.110084033613445</c:v>
                </c:pt>
                <c:pt idx="20989">
                  <c:v>-0.110084033613445</c:v>
                </c:pt>
                <c:pt idx="20990">
                  <c:v>-0.109243697478991</c:v>
                </c:pt>
                <c:pt idx="20991">
                  <c:v>-0.109243697478991</c:v>
                </c:pt>
                <c:pt idx="20992">
                  <c:v>-0.109243697478991</c:v>
                </c:pt>
                <c:pt idx="20993">
                  <c:v>-0.109243697478991</c:v>
                </c:pt>
                <c:pt idx="20994">
                  <c:v>-0.109243697478991</c:v>
                </c:pt>
                <c:pt idx="20995">
                  <c:v>-0.109243697478991</c:v>
                </c:pt>
                <c:pt idx="20996">
                  <c:v>-0.109243697478991</c:v>
                </c:pt>
                <c:pt idx="20997">
                  <c:v>-0.109243697478991</c:v>
                </c:pt>
                <c:pt idx="20998">
                  <c:v>-0.109243697478991</c:v>
                </c:pt>
                <c:pt idx="20999">
                  <c:v>-0.109243697478991</c:v>
                </c:pt>
                <c:pt idx="21000">
                  <c:v>-0.109243697478991</c:v>
                </c:pt>
                <c:pt idx="21001">
                  <c:v>-0.109243697478991</c:v>
                </c:pt>
                <c:pt idx="21002">
                  <c:v>-0.109243697478991</c:v>
                </c:pt>
                <c:pt idx="21003">
                  <c:v>-0.109243697478991</c:v>
                </c:pt>
                <c:pt idx="21004">
                  <c:v>-0.109243697478991</c:v>
                </c:pt>
                <c:pt idx="21005">
                  <c:v>-0.109243697478991</c:v>
                </c:pt>
                <c:pt idx="21006">
                  <c:v>-0.109243697478991</c:v>
                </c:pt>
                <c:pt idx="21007">
                  <c:v>-0.109243697478991</c:v>
                </c:pt>
                <c:pt idx="21008">
                  <c:v>-0.109243697478991</c:v>
                </c:pt>
                <c:pt idx="21009">
                  <c:v>-0.109243697478991</c:v>
                </c:pt>
                <c:pt idx="21010">
                  <c:v>-0.109243697478991</c:v>
                </c:pt>
                <c:pt idx="21011">
                  <c:v>-0.109243697478991</c:v>
                </c:pt>
                <c:pt idx="21012">
                  <c:v>-0.109243697478991</c:v>
                </c:pt>
                <c:pt idx="21013">
                  <c:v>-0.109243697478991</c:v>
                </c:pt>
                <c:pt idx="21014">
                  <c:v>-0.109243697478991</c:v>
                </c:pt>
                <c:pt idx="21015">
                  <c:v>-0.109243697478991</c:v>
                </c:pt>
                <c:pt idx="21016">
                  <c:v>-0.109243697478991</c:v>
                </c:pt>
                <c:pt idx="21017">
                  <c:v>-0.109243697478991</c:v>
                </c:pt>
                <c:pt idx="21018">
                  <c:v>-0.109243697478991</c:v>
                </c:pt>
                <c:pt idx="21019">
                  <c:v>-0.109243697478991</c:v>
                </c:pt>
                <c:pt idx="21020">
                  <c:v>-0.109243697478991</c:v>
                </c:pt>
                <c:pt idx="21021">
                  <c:v>-0.109243697478991</c:v>
                </c:pt>
                <c:pt idx="21022">
                  <c:v>-0.110084033613445</c:v>
                </c:pt>
                <c:pt idx="21023">
                  <c:v>-0.110084033613445</c:v>
                </c:pt>
                <c:pt idx="21024">
                  <c:v>-0.110084033613445</c:v>
                </c:pt>
                <c:pt idx="21025">
                  <c:v>-0.110084033613445</c:v>
                </c:pt>
                <c:pt idx="21026">
                  <c:v>-0.110084033613445</c:v>
                </c:pt>
                <c:pt idx="21027">
                  <c:v>-0.110924369747899</c:v>
                </c:pt>
                <c:pt idx="21028">
                  <c:v>-0.110924369747899</c:v>
                </c:pt>
                <c:pt idx="21029">
                  <c:v>-0.110924369747899</c:v>
                </c:pt>
                <c:pt idx="21030">
                  <c:v>-0.110924369747899</c:v>
                </c:pt>
                <c:pt idx="21031">
                  <c:v>-0.110924369747899</c:v>
                </c:pt>
                <c:pt idx="21032">
                  <c:v>-0.110924369747899</c:v>
                </c:pt>
                <c:pt idx="21033">
                  <c:v>-0.110924369747899</c:v>
                </c:pt>
                <c:pt idx="21034">
                  <c:v>-0.110924369747899</c:v>
                </c:pt>
                <c:pt idx="21035">
                  <c:v>-0.111764705882352</c:v>
                </c:pt>
                <c:pt idx="21036">
                  <c:v>-0.111764705882352</c:v>
                </c:pt>
                <c:pt idx="21037">
                  <c:v>-0.111764705882352</c:v>
                </c:pt>
                <c:pt idx="21038">
                  <c:v>-0.111764705882352</c:v>
                </c:pt>
                <c:pt idx="21039">
                  <c:v>-0.111764705882352</c:v>
                </c:pt>
                <c:pt idx="21040">
                  <c:v>-0.111764705882352</c:v>
                </c:pt>
                <c:pt idx="21041">
                  <c:v>-0.111764705882352</c:v>
                </c:pt>
                <c:pt idx="21042">
                  <c:v>-0.112605042016806</c:v>
                </c:pt>
                <c:pt idx="21043">
                  <c:v>-0.112605042016806</c:v>
                </c:pt>
                <c:pt idx="21044">
                  <c:v>-0.112605042016806</c:v>
                </c:pt>
                <c:pt idx="21045">
                  <c:v>-0.112605042016806</c:v>
                </c:pt>
                <c:pt idx="21046">
                  <c:v>-0.112605042016806</c:v>
                </c:pt>
                <c:pt idx="21047">
                  <c:v>-0.112605042016806</c:v>
                </c:pt>
                <c:pt idx="21048">
                  <c:v>-0.112605042016806</c:v>
                </c:pt>
                <c:pt idx="21049">
                  <c:v>-0.112605042016806</c:v>
                </c:pt>
                <c:pt idx="21050">
                  <c:v>-0.112605042016806</c:v>
                </c:pt>
                <c:pt idx="21051">
                  <c:v>-0.112605042016806</c:v>
                </c:pt>
                <c:pt idx="21052">
                  <c:v>-0.112605042016806</c:v>
                </c:pt>
                <c:pt idx="21053">
                  <c:v>-0.112605042016806</c:v>
                </c:pt>
                <c:pt idx="21054">
                  <c:v>-0.112605042016806</c:v>
                </c:pt>
                <c:pt idx="21055">
                  <c:v>-0.112605042016806</c:v>
                </c:pt>
                <c:pt idx="21056">
                  <c:v>-0.112605042016806</c:v>
                </c:pt>
                <c:pt idx="21057">
                  <c:v>-0.112605042016806</c:v>
                </c:pt>
                <c:pt idx="21058">
                  <c:v>-0.112605042016806</c:v>
                </c:pt>
                <c:pt idx="21059">
                  <c:v>-0.112605042016806</c:v>
                </c:pt>
                <c:pt idx="21060">
                  <c:v>-0.112605042016806</c:v>
                </c:pt>
                <c:pt idx="21061">
                  <c:v>-0.112605042016806</c:v>
                </c:pt>
                <c:pt idx="21062">
                  <c:v>-0.112605042016806</c:v>
                </c:pt>
                <c:pt idx="21063">
                  <c:v>-0.112605042016806</c:v>
                </c:pt>
                <c:pt idx="21064">
                  <c:v>-0.112605042016806</c:v>
                </c:pt>
                <c:pt idx="21065">
                  <c:v>-0.112605042016806</c:v>
                </c:pt>
                <c:pt idx="21066">
                  <c:v>-0.112605042016806</c:v>
                </c:pt>
                <c:pt idx="21067">
                  <c:v>-0.112605042016806</c:v>
                </c:pt>
                <c:pt idx="21068">
                  <c:v>-0.112605042016806</c:v>
                </c:pt>
                <c:pt idx="21069">
                  <c:v>-0.112605042016806</c:v>
                </c:pt>
                <c:pt idx="21070">
                  <c:v>-0.112605042016806</c:v>
                </c:pt>
                <c:pt idx="21071">
                  <c:v>-0.112605042016806</c:v>
                </c:pt>
                <c:pt idx="21072">
                  <c:v>-0.112605042016806</c:v>
                </c:pt>
                <c:pt idx="21073">
                  <c:v>-0.112605042016806</c:v>
                </c:pt>
                <c:pt idx="21074">
                  <c:v>-0.112605042016806</c:v>
                </c:pt>
                <c:pt idx="21075">
                  <c:v>-0.112605042016806</c:v>
                </c:pt>
                <c:pt idx="21076">
                  <c:v>-0.112605042016806</c:v>
                </c:pt>
                <c:pt idx="21077">
                  <c:v>-0.111764705882352</c:v>
                </c:pt>
                <c:pt idx="21078">
                  <c:v>-0.111764705882352</c:v>
                </c:pt>
                <c:pt idx="21079">
                  <c:v>-0.111764705882352</c:v>
                </c:pt>
                <c:pt idx="21080">
                  <c:v>-0.111764705882352</c:v>
                </c:pt>
                <c:pt idx="21081">
                  <c:v>-0.111764705882352</c:v>
                </c:pt>
                <c:pt idx="21082">
                  <c:v>-0.111764705882352</c:v>
                </c:pt>
                <c:pt idx="21083">
                  <c:v>-0.111764705882352</c:v>
                </c:pt>
                <c:pt idx="21084">
                  <c:v>-0.111764705882352</c:v>
                </c:pt>
                <c:pt idx="21085">
                  <c:v>-0.111764705882352</c:v>
                </c:pt>
                <c:pt idx="21086">
                  <c:v>-0.111764705882352</c:v>
                </c:pt>
                <c:pt idx="21087">
                  <c:v>-0.111764705882352</c:v>
                </c:pt>
                <c:pt idx="21088">
                  <c:v>-0.112605042016806</c:v>
                </c:pt>
                <c:pt idx="21089">
                  <c:v>-0.112605042016806</c:v>
                </c:pt>
                <c:pt idx="21090">
                  <c:v>-0.112605042016806</c:v>
                </c:pt>
                <c:pt idx="21091">
                  <c:v>-0.112605042016806</c:v>
                </c:pt>
                <c:pt idx="21092">
                  <c:v>-0.112605042016806</c:v>
                </c:pt>
                <c:pt idx="21093">
                  <c:v>-0.112605042016806</c:v>
                </c:pt>
                <c:pt idx="21094">
                  <c:v>-0.112605042016806</c:v>
                </c:pt>
                <c:pt idx="21095">
                  <c:v>-0.112605042016806</c:v>
                </c:pt>
                <c:pt idx="21096">
                  <c:v>-0.112605042016806</c:v>
                </c:pt>
                <c:pt idx="21097">
                  <c:v>-0.112605042016806</c:v>
                </c:pt>
                <c:pt idx="21098">
                  <c:v>-0.112605042016806</c:v>
                </c:pt>
                <c:pt idx="21099">
                  <c:v>-0.112605042016806</c:v>
                </c:pt>
                <c:pt idx="21100">
                  <c:v>-0.112605042016806</c:v>
                </c:pt>
                <c:pt idx="21101">
                  <c:v>-0.112605042016806</c:v>
                </c:pt>
                <c:pt idx="21102">
                  <c:v>-0.112605042016806</c:v>
                </c:pt>
                <c:pt idx="21103">
                  <c:v>-0.112605042016806</c:v>
                </c:pt>
                <c:pt idx="21104">
                  <c:v>-0.112605042016806</c:v>
                </c:pt>
                <c:pt idx="21105">
                  <c:v>-0.112605042016806</c:v>
                </c:pt>
                <c:pt idx="21106">
                  <c:v>-0.112605042016806</c:v>
                </c:pt>
                <c:pt idx="21107">
                  <c:v>-0.112605042016806</c:v>
                </c:pt>
                <c:pt idx="21108">
                  <c:v>-0.112605042016806</c:v>
                </c:pt>
                <c:pt idx="21109">
                  <c:v>-0.112605042016806</c:v>
                </c:pt>
                <c:pt idx="21110">
                  <c:v>-0.112605042016806</c:v>
                </c:pt>
                <c:pt idx="21111">
                  <c:v>-0.112605042016806</c:v>
                </c:pt>
                <c:pt idx="21112">
                  <c:v>-0.112605042016806</c:v>
                </c:pt>
                <c:pt idx="21113">
                  <c:v>-0.112605042016806</c:v>
                </c:pt>
                <c:pt idx="21114">
                  <c:v>-0.11344537815126</c:v>
                </c:pt>
                <c:pt idx="21115">
                  <c:v>-0.11344537815126</c:v>
                </c:pt>
                <c:pt idx="21116">
                  <c:v>-0.11344537815126</c:v>
                </c:pt>
                <c:pt idx="21117">
                  <c:v>-0.11344537815126</c:v>
                </c:pt>
                <c:pt idx="21118">
                  <c:v>-0.11344537815126</c:v>
                </c:pt>
                <c:pt idx="21119">
                  <c:v>-0.11344537815126</c:v>
                </c:pt>
                <c:pt idx="21120">
                  <c:v>-0.114285714285714</c:v>
                </c:pt>
                <c:pt idx="21121">
                  <c:v>-0.114285714285714</c:v>
                </c:pt>
                <c:pt idx="21122">
                  <c:v>-0.114285714285714</c:v>
                </c:pt>
                <c:pt idx="21123">
                  <c:v>-0.114285714285714</c:v>
                </c:pt>
                <c:pt idx="21124">
                  <c:v>-0.114285714285714</c:v>
                </c:pt>
                <c:pt idx="21125">
                  <c:v>-0.114285714285714</c:v>
                </c:pt>
                <c:pt idx="21126">
                  <c:v>-0.114285714285714</c:v>
                </c:pt>
                <c:pt idx="21127">
                  <c:v>-0.114285714285714</c:v>
                </c:pt>
                <c:pt idx="21128">
                  <c:v>-0.114285714285714</c:v>
                </c:pt>
                <c:pt idx="21129">
                  <c:v>-0.114285714285714</c:v>
                </c:pt>
                <c:pt idx="21130">
                  <c:v>-0.114285714285714</c:v>
                </c:pt>
                <c:pt idx="21131">
                  <c:v>-0.114285714285714</c:v>
                </c:pt>
                <c:pt idx="21132">
                  <c:v>-0.114285714285714</c:v>
                </c:pt>
                <c:pt idx="21133">
                  <c:v>-0.114285714285714</c:v>
                </c:pt>
                <c:pt idx="21134">
                  <c:v>-0.11512605042016801</c:v>
                </c:pt>
                <c:pt idx="21135">
                  <c:v>-0.11512605042016801</c:v>
                </c:pt>
                <c:pt idx="21136">
                  <c:v>-0.11512605042016801</c:v>
                </c:pt>
                <c:pt idx="21137">
                  <c:v>-0.11512605042016801</c:v>
                </c:pt>
                <c:pt idx="21138">
                  <c:v>-0.11512605042016801</c:v>
                </c:pt>
                <c:pt idx="21139">
                  <c:v>-0.11512605042016801</c:v>
                </c:pt>
                <c:pt idx="21140">
                  <c:v>-0.11512605042016801</c:v>
                </c:pt>
                <c:pt idx="21141">
                  <c:v>-0.11512605042016801</c:v>
                </c:pt>
                <c:pt idx="21142">
                  <c:v>-0.11512605042016801</c:v>
                </c:pt>
                <c:pt idx="21143">
                  <c:v>-0.11512605042016801</c:v>
                </c:pt>
                <c:pt idx="21144">
                  <c:v>-0.11512605042016801</c:v>
                </c:pt>
                <c:pt idx="21145">
                  <c:v>-0.11512605042016801</c:v>
                </c:pt>
                <c:pt idx="21146">
                  <c:v>-0.11512605042016801</c:v>
                </c:pt>
                <c:pt idx="21147">
                  <c:v>-0.11512605042016801</c:v>
                </c:pt>
                <c:pt idx="21148">
                  <c:v>-0.11512605042016801</c:v>
                </c:pt>
                <c:pt idx="21149">
                  <c:v>-0.11512605042016801</c:v>
                </c:pt>
                <c:pt idx="21150">
                  <c:v>-0.11512605042016801</c:v>
                </c:pt>
                <c:pt idx="21151">
                  <c:v>-0.11512605042016801</c:v>
                </c:pt>
                <c:pt idx="21152">
                  <c:v>-0.11512605042016801</c:v>
                </c:pt>
                <c:pt idx="21153">
                  <c:v>-0.11512605042016801</c:v>
                </c:pt>
                <c:pt idx="21154">
                  <c:v>-0.11512605042016801</c:v>
                </c:pt>
                <c:pt idx="21155">
                  <c:v>-0.11512605042016801</c:v>
                </c:pt>
                <c:pt idx="21156">
                  <c:v>-0.11512605042016801</c:v>
                </c:pt>
                <c:pt idx="21157">
                  <c:v>-0.11512605042016801</c:v>
                </c:pt>
                <c:pt idx="21158">
                  <c:v>-0.11512605042016801</c:v>
                </c:pt>
                <c:pt idx="21159">
                  <c:v>-0.11512605042016801</c:v>
                </c:pt>
                <c:pt idx="21160">
                  <c:v>-0.11512605042016801</c:v>
                </c:pt>
                <c:pt idx="21161">
                  <c:v>-0.11512605042016801</c:v>
                </c:pt>
                <c:pt idx="21162">
                  <c:v>-0.11512605042016801</c:v>
                </c:pt>
                <c:pt idx="21163">
                  <c:v>-0.11512605042016801</c:v>
                </c:pt>
                <c:pt idx="21164">
                  <c:v>-0.11512605042016801</c:v>
                </c:pt>
                <c:pt idx="21165">
                  <c:v>-0.11512605042016801</c:v>
                </c:pt>
                <c:pt idx="21166">
                  <c:v>-0.11512605042016801</c:v>
                </c:pt>
                <c:pt idx="21167">
                  <c:v>-0.11512605042016801</c:v>
                </c:pt>
                <c:pt idx="21168">
                  <c:v>-0.11512605042016801</c:v>
                </c:pt>
                <c:pt idx="21169">
                  <c:v>-0.11512605042016801</c:v>
                </c:pt>
                <c:pt idx="21170">
                  <c:v>-0.11512605042016801</c:v>
                </c:pt>
                <c:pt idx="21171">
                  <c:v>-0.11512605042016801</c:v>
                </c:pt>
                <c:pt idx="21172">
                  <c:v>-0.11512605042016801</c:v>
                </c:pt>
                <c:pt idx="21173">
                  <c:v>-0.11512605042016801</c:v>
                </c:pt>
                <c:pt idx="21174">
                  <c:v>-0.11512605042016801</c:v>
                </c:pt>
                <c:pt idx="21175">
                  <c:v>-0.11512605042016801</c:v>
                </c:pt>
                <c:pt idx="21176">
                  <c:v>-0.11512605042016801</c:v>
                </c:pt>
                <c:pt idx="21177">
                  <c:v>-0.11512605042016801</c:v>
                </c:pt>
                <c:pt idx="21178">
                  <c:v>-0.11512605042016801</c:v>
                </c:pt>
                <c:pt idx="21179">
                  <c:v>-0.11512605042016801</c:v>
                </c:pt>
                <c:pt idx="21180">
                  <c:v>-0.11512605042016801</c:v>
                </c:pt>
                <c:pt idx="21181">
                  <c:v>-0.11512605042016801</c:v>
                </c:pt>
                <c:pt idx="21182">
                  <c:v>-0.114285714285714</c:v>
                </c:pt>
                <c:pt idx="21183">
                  <c:v>-0.114285714285714</c:v>
                </c:pt>
                <c:pt idx="21184">
                  <c:v>-0.11512605042016801</c:v>
                </c:pt>
                <c:pt idx="21185">
                  <c:v>-0.11512605042016801</c:v>
                </c:pt>
                <c:pt idx="21186">
                  <c:v>-0.11512605042016801</c:v>
                </c:pt>
                <c:pt idx="21187">
                  <c:v>-0.11512605042016801</c:v>
                </c:pt>
                <c:pt idx="21188">
                  <c:v>-0.11512605042016801</c:v>
                </c:pt>
                <c:pt idx="21189">
                  <c:v>-0.11512605042016801</c:v>
                </c:pt>
                <c:pt idx="21190">
                  <c:v>-0.11512605042016801</c:v>
                </c:pt>
                <c:pt idx="21191">
                  <c:v>-0.11596638655462101</c:v>
                </c:pt>
                <c:pt idx="21192">
                  <c:v>-0.11596638655462101</c:v>
                </c:pt>
                <c:pt idx="21193">
                  <c:v>-0.11596638655462101</c:v>
                </c:pt>
                <c:pt idx="21194">
                  <c:v>-0.11596638655462101</c:v>
                </c:pt>
                <c:pt idx="21195">
                  <c:v>-0.11596638655462101</c:v>
                </c:pt>
                <c:pt idx="21196">
                  <c:v>-0.11596638655462101</c:v>
                </c:pt>
                <c:pt idx="21197">
                  <c:v>-0.11596638655462101</c:v>
                </c:pt>
                <c:pt idx="21198">
                  <c:v>-0.11596638655462101</c:v>
                </c:pt>
                <c:pt idx="21199">
                  <c:v>-0.11596638655462101</c:v>
                </c:pt>
                <c:pt idx="21200">
                  <c:v>-0.11596638655462101</c:v>
                </c:pt>
                <c:pt idx="21201">
                  <c:v>-0.11596638655462101</c:v>
                </c:pt>
                <c:pt idx="21202">
                  <c:v>-0.11596638655462101</c:v>
                </c:pt>
                <c:pt idx="21203">
                  <c:v>-0.11596638655462101</c:v>
                </c:pt>
                <c:pt idx="21204">
                  <c:v>-0.11596638655462101</c:v>
                </c:pt>
                <c:pt idx="21205">
                  <c:v>-0.11596638655462101</c:v>
                </c:pt>
                <c:pt idx="21206">
                  <c:v>-0.11596638655462101</c:v>
                </c:pt>
                <c:pt idx="21207">
                  <c:v>-0.11596638655462101</c:v>
                </c:pt>
                <c:pt idx="21208">
                  <c:v>-0.11596638655462101</c:v>
                </c:pt>
                <c:pt idx="21209">
                  <c:v>-0.11596638655462101</c:v>
                </c:pt>
                <c:pt idx="21210">
                  <c:v>-0.11596638655462101</c:v>
                </c:pt>
                <c:pt idx="21211">
                  <c:v>-0.11596638655462101</c:v>
                </c:pt>
                <c:pt idx="21212">
                  <c:v>-0.11596638655462101</c:v>
                </c:pt>
                <c:pt idx="21213">
                  <c:v>-0.11596638655462101</c:v>
                </c:pt>
                <c:pt idx="21214">
                  <c:v>-0.11596638655462101</c:v>
                </c:pt>
                <c:pt idx="21215">
                  <c:v>-0.11596638655462101</c:v>
                </c:pt>
                <c:pt idx="21216">
                  <c:v>-0.11596638655462101</c:v>
                </c:pt>
                <c:pt idx="21217">
                  <c:v>-0.11596638655462101</c:v>
                </c:pt>
                <c:pt idx="21218">
                  <c:v>-0.11596638655462101</c:v>
                </c:pt>
                <c:pt idx="21219">
                  <c:v>-0.11596638655462101</c:v>
                </c:pt>
                <c:pt idx="21220">
                  <c:v>-0.11596638655462101</c:v>
                </c:pt>
                <c:pt idx="21221">
                  <c:v>-0.11596638655462101</c:v>
                </c:pt>
                <c:pt idx="21222">
                  <c:v>-0.11596638655462101</c:v>
                </c:pt>
                <c:pt idx="21223">
                  <c:v>-0.11596638655462101</c:v>
                </c:pt>
                <c:pt idx="21224">
                  <c:v>-0.11596638655462101</c:v>
                </c:pt>
                <c:pt idx="21225">
                  <c:v>-0.11596638655462101</c:v>
                </c:pt>
                <c:pt idx="21226">
                  <c:v>-0.11596638655462101</c:v>
                </c:pt>
                <c:pt idx="21227">
                  <c:v>-0.11596638655462101</c:v>
                </c:pt>
                <c:pt idx="21228">
                  <c:v>-0.11596638655462101</c:v>
                </c:pt>
                <c:pt idx="21229">
                  <c:v>-0.11596638655462101</c:v>
                </c:pt>
                <c:pt idx="21230">
                  <c:v>-0.11596638655462101</c:v>
                </c:pt>
                <c:pt idx="21231">
                  <c:v>-0.11596638655462101</c:v>
                </c:pt>
                <c:pt idx="21232">
                  <c:v>-0.11596638655462101</c:v>
                </c:pt>
                <c:pt idx="21233">
                  <c:v>-0.11596638655462101</c:v>
                </c:pt>
                <c:pt idx="21234">
                  <c:v>-0.11596638655462101</c:v>
                </c:pt>
                <c:pt idx="21235">
                  <c:v>-0.11596638655462101</c:v>
                </c:pt>
                <c:pt idx="21236">
                  <c:v>-0.11596638655462101</c:v>
                </c:pt>
                <c:pt idx="21237">
                  <c:v>-0.11596638655462101</c:v>
                </c:pt>
                <c:pt idx="21238">
                  <c:v>-0.11596638655462101</c:v>
                </c:pt>
                <c:pt idx="21239">
                  <c:v>-0.11596638655462101</c:v>
                </c:pt>
                <c:pt idx="21240">
                  <c:v>-0.11596638655462101</c:v>
                </c:pt>
                <c:pt idx="21241">
                  <c:v>-0.11596638655462101</c:v>
                </c:pt>
                <c:pt idx="21242">
                  <c:v>-0.11596638655462101</c:v>
                </c:pt>
                <c:pt idx="21243">
                  <c:v>-0.11680672268907499</c:v>
                </c:pt>
                <c:pt idx="21244">
                  <c:v>-0.11680672268907499</c:v>
                </c:pt>
                <c:pt idx="21245">
                  <c:v>-0.11680672268907499</c:v>
                </c:pt>
                <c:pt idx="21246">
                  <c:v>-0.11764705882352899</c:v>
                </c:pt>
                <c:pt idx="21247">
                  <c:v>-0.11764705882352899</c:v>
                </c:pt>
                <c:pt idx="21248">
                  <c:v>-0.11764705882352899</c:v>
                </c:pt>
                <c:pt idx="21249">
                  <c:v>-0.11764705882352899</c:v>
                </c:pt>
                <c:pt idx="21250">
                  <c:v>-0.11764705882352899</c:v>
                </c:pt>
                <c:pt idx="21251">
                  <c:v>-0.11764705882352899</c:v>
                </c:pt>
                <c:pt idx="21252">
                  <c:v>-0.11764705882352899</c:v>
                </c:pt>
                <c:pt idx="21253">
                  <c:v>-0.11764705882352899</c:v>
                </c:pt>
                <c:pt idx="21254">
                  <c:v>-0.11764705882352899</c:v>
                </c:pt>
                <c:pt idx="21255">
                  <c:v>-0.11764705882352899</c:v>
                </c:pt>
                <c:pt idx="21256">
                  <c:v>-0.11764705882352899</c:v>
                </c:pt>
                <c:pt idx="21257">
                  <c:v>-0.11764705882352899</c:v>
                </c:pt>
                <c:pt idx="21258">
                  <c:v>-0.11764705882352899</c:v>
                </c:pt>
                <c:pt idx="21259">
                  <c:v>-0.11764705882352899</c:v>
                </c:pt>
                <c:pt idx="21260">
                  <c:v>-0.11764705882352899</c:v>
                </c:pt>
                <c:pt idx="21261">
                  <c:v>-0.11764705882352899</c:v>
                </c:pt>
                <c:pt idx="21262">
                  <c:v>-0.11764705882352899</c:v>
                </c:pt>
                <c:pt idx="21263">
                  <c:v>-0.11764705882352899</c:v>
                </c:pt>
                <c:pt idx="21264">
                  <c:v>-0.11764705882352899</c:v>
                </c:pt>
                <c:pt idx="21265">
                  <c:v>-0.11764705882352899</c:v>
                </c:pt>
                <c:pt idx="21266">
                  <c:v>-0.11764705882352899</c:v>
                </c:pt>
                <c:pt idx="21267">
                  <c:v>-0.11764705882352899</c:v>
                </c:pt>
                <c:pt idx="21268">
                  <c:v>-0.11764705882352899</c:v>
                </c:pt>
                <c:pt idx="21269">
                  <c:v>-0.11764705882352899</c:v>
                </c:pt>
                <c:pt idx="21270">
                  <c:v>-0.11764705882352899</c:v>
                </c:pt>
                <c:pt idx="21271">
                  <c:v>-0.11764705882352899</c:v>
                </c:pt>
                <c:pt idx="21272">
                  <c:v>-0.11764705882352899</c:v>
                </c:pt>
                <c:pt idx="21273">
                  <c:v>-0.11764705882352899</c:v>
                </c:pt>
                <c:pt idx="21274">
                  <c:v>-0.11764705882352899</c:v>
                </c:pt>
                <c:pt idx="21275">
                  <c:v>-0.11764705882352899</c:v>
                </c:pt>
                <c:pt idx="21276">
                  <c:v>-0.11680672268907499</c:v>
                </c:pt>
                <c:pt idx="21277">
                  <c:v>-0.11680672268907499</c:v>
                </c:pt>
                <c:pt idx="21278">
                  <c:v>-0.11680672268907499</c:v>
                </c:pt>
                <c:pt idx="21279">
                  <c:v>-0.11680672268907499</c:v>
                </c:pt>
                <c:pt idx="21280">
                  <c:v>-0.11680672268907499</c:v>
                </c:pt>
                <c:pt idx="21281">
                  <c:v>-0.11680672268907499</c:v>
                </c:pt>
                <c:pt idx="21282">
                  <c:v>-0.11680672268907499</c:v>
                </c:pt>
                <c:pt idx="21283">
                  <c:v>-0.11680672268907499</c:v>
                </c:pt>
                <c:pt idx="21284">
                  <c:v>-0.11680672268907499</c:v>
                </c:pt>
                <c:pt idx="21285">
                  <c:v>-0.11680672268907499</c:v>
                </c:pt>
                <c:pt idx="21286">
                  <c:v>-0.11680672268907499</c:v>
                </c:pt>
                <c:pt idx="21287">
                  <c:v>-0.11680672268907499</c:v>
                </c:pt>
                <c:pt idx="21288">
                  <c:v>-0.11680672268907499</c:v>
                </c:pt>
                <c:pt idx="21289">
                  <c:v>-0.11680672268907499</c:v>
                </c:pt>
                <c:pt idx="21290">
                  <c:v>-0.11680672268907499</c:v>
                </c:pt>
                <c:pt idx="21291">
                  <c:v>-0.11680672268907499</c:v>
                </c:pt>
                <c:pt idx="21292">
                  <c:v>-0.11680672268907499</c:v>
                </c:pt>
                <c:pt idx="21293">
                  <c:v>-0.11680672268907499</c:v>
                </c:pt>
                <c:pt idx="21294">
                  <c:v>-0.11680672268907499</c:v>
                </c:pt>
                <c:pt idx="21295">
                  <c:v>-0.11680672268907499</c:v>
                </c:pt>
                <c:pt idx="21296">
                  <c:v>-0.11680672268907499</c:v>
                </c:pt>
                <c:pt idx="21297">
                  <c:v>-0.11680672268907499</c:v>
                </c:pt>
                <c:pt idx="21298">
                  <c:v>-0.11680672268907499</c:v>
                </c:pt>
                <c:pt idx="21299">
                  <c:v>-0.11680672268907499</c:v>
                </c:pt>
                <c:pt idx="21300">
                  <c:v>-0.11680672268907499</c:v>
                </c:pt>
                <c:pt idx="21301">
                  <c:v>-0.11680672268907499</c:v>
                </c:pt>
                <c:pt idx="21302">
                  <c:v>-0.11680672268907499</c:v>
                </c:pt>
                <c:pt idx="21303">
                  <c:v>-0.11680672268907499</c:v>
                </c:pt>
                <c:pt idx="21304">
                  <c:v>-0.11596638655462101</c:v>
                </c:pt>
                <c:pt idx="21305">
                  <c:v>-0.11596638655462101</c:v>
                </c:pt>
                <c:pt idx="21306">
                  <c:v>-0.11596638655462101</c:v>
                </c:pt>
                <c:pt idx="21307">
                  <c:v>-0.11596638655462101</c:v>
                </c:pt>
                <c:pt idx="21308">
                  <c:v>-0.11596638655462101</c:v>
                </c:pt>
                <c:pt idx="21309">
                  <c:v>-0.11596638655462101</c:v>
                </c:pt>
                <c:pt idx="21310">
                  <c:v>-0.11596638655462101</c:v>
                </c:pt>
                <c:pt idx="21311">
                  <c:v>-0.11596638655462101</c:v>
                </c:pt>
                <c:pt idx="21312">
                  <c:v>-0.11596638655462101</c:v>
                </c:pt>
                <c:pt idx="21313">
                  <c:v>-0.11596638655462101</c:v>
                </c:pt>
                <c:pt idx="21314">
                  <c:v>-0.11596638655462101</c:v>
                </c:pt>
                <c:pt idx="21315">
                  <c:v>-0.11596638655462101</c:v>
                </c:pt>
                <c:pt idx="21316">
                  <c:v>-0.11680672268907499</c:v>
                </c:pt>
                <c:pt idx="21317">
                  <c:v>-0.11680672268907499</c:v>
                </c:pt>
                <c:pt idx="21318">
                  <c:v>-0.11680672268907499</c:v>
                </c:pt>
                <c:pt idx="21319">
                  <c:v>-0.11680672268907499</c:v>
                </c:pt>
                <c:pt idx="21320">
                  <c:v>-0.11680672268907499</c:v>
                </c:pt>
                <c:pt idx="21321">
                  <c:v>-0.11680672268907499</c:v>
                </c:pt>
                <c:pt idx="21322">
                  <c:v>-0.11680672268907499</c:v>
                </c:pt>
                <c:pt idx="21323">
                  <c:v>-0.11680672268907499</c:v>
                </c:pt>
                <c:pt idx="21324">
                  <c:v>-0.11680672268907499</c:v>
                </c:pt>
                <c:pt idx="21325">
                  <c:v>-0.11680672268907499</c:v>
                </c:pt>
                <c:pt idx="21326">
                  <c:v>-0.11680672268907499</c:v>
                </c:pt>
                <c:pt idx="21327">
                  <c:v>-0.11680672268907499</c:v>
                </c:pt>
                <c:pt idx="21328">
                  <c:v>-0.11680672268907499</c:v>
                </c:pt>
                <c:pt idx="21329">
                  <c:v>-0.11680672268907499</c:v>
                </c:pt>
                <c:pt idx="21330">
                  <c:v>-0.11680672268907499</c:v>
                </c:pt>
                <c:pt idx="21331">
                  <c:v>-0.11680672268907499</c:v>
                </c:pt>
                <c:pt idx="21332">
                  <c:v>-0.11680672268907499</c:v>
                </c:pt>
                <c:pt idx="21333">
                  <c:v>-0.11596638655462101</c:v>
                </c:pt>
                <c:pt idx="21334">
                  <c:v>-0.11596638655462101</c:v>
                </c:pt>
                <c:pt idx="21335">
                  <c:v>-0.11596638655462101</c:v>
                </c:pt>
                <c:pt idx="21336">
                  <c:v>-0.11596638655462101</c:v>
                </c:pt>
                <c:pt idx="21337">
                  <c:v>-0.11596638655462101</c:v>
                </c:pt>
                <c:pt idx="21338">
                  <c:v>-0.11596638655462101</c:v>
                </c:pt>
                <c:pt idx="21339">
                  <c:v>-0.11596638655462101</c:v>
                </c:pt>
                <c:pt idx="21340">
                  <c:v>-0.11596638655462101</c:v>
                </c:pt>
                <c:pt idx="21341">
                  <c:v>-0.11596638655462101</c:v>
                </c:pt>
                <c:pt idx="21342">
                  <c:v>-0.11596638655462101</c:v>
                </c:pt>
                <c:pt idx="21343">
                  <c:v>-0.11596638655462101</c:v>
                </c:pt>
                <c:pt idx="21344">
                  <c:v>-0.11596638655462101</c:v>
                </c:pt>
                <c:pt idx="21345">
                  <c:v>-0.11596638655462101</c:v>
                </c:pt>
                <c:pt idx="21346">
                  <c:v>-0.11596638655462101</c:v>
                </c:pt>
                <c:pt idx="21347">
                  <c:v>-0.11596638655462101</c:v>
                </c:pt>
                <c:pt idx="21348">
                  <c:v>-0.11596638655462101</c:v>
                </c:pt>
                <c:pt idx="21349">
                  <c:v>-0.11596638655462101</c:v>
                </c:pt>
                <c:pt idx="21350">
                  <c:v>-0.11596638655462101</c:v>
                </c:pt>
                <c:pt idx="21351">
                  <c:v>-0.11596638655462101</c:v>
                </c:pt>
                <c:pt idx="21352">
                  <c:v>-0.11596638655462101</c:v>
                </c:pt>
                <c:pt idx="21353">
                  <c:v>-0.11596638655462101</c:v>
                </c:pt>
                <c:pt idx="21354">
                  <c:v>-0.11596638655462101</c:v>
                </c:pt>
                <c:pt idx="21355">
                  <c:v>-0.11596638655462101</c:v>
                </c:pt>
                <c:pt idx="21356">
                  <c:v>-0.11596638655462101</c:v>
                </c:pt>
                <c:pt idx="21357">
                  <c:v>-0.11596638655462101</c:v>
                </c:pt>
                <c:pt idx="21358">
                  <c:v>-0.11596638655462101</c:v>
                </c:pt>
                <c:pt idx="21359">
                  <c:v>-0.11596638655462101</c:v>
                </c:pt>
                <c:pt idx="21360">
                  <c:v>-0.11596638655462101</c:v>
                </c:pt>
                <c:pt idx="21361">
                  <c:v>-0.11596638655462101</c:v>
                </c:pt>
                <c:pt idx="21362">
                  <c:v>-0.11596638655462101</c:v>
                </c:pt>
                <c:pt idx="21363">
                  <c:v>-0.11596638655462101</c:v>
                </c:pt>
                <c:pt idx="21364">
                  <c:v>-0.11596638655462101</c:v>
                </c:pt>
                <c:pt idx="21365">
                  <c:v>-0.11596638655462101</c:v>
                </c:pt>
                <c:pt idx="21366">
                  <c:v>-0.11596638655462101</c:v>
                </c:pt>
                <c:pt idx="21367">
                  <c:v>-0.11596638655462101</c:v>
                </c:pt>
                <c:pt idx="21368">
                  <c:v>-0.11596638655462101</c:v>
                </c:pt>
                <c:pt idx="21369">
                  <c:v>-0.11596638655462101</c:v>
                </c:pt>
                <c:pt idx="21370">
                  <c:v>-0.11512605042016801</c:v>
                </c:pt>
                <c:pt idx="21371">
                  <c:v>-0.11512605042016801</c:v>
                </c:pt>
                <c:pt idx="21372">
                  <c:v>-0.11512605042016801</c:v>
                </c:pt>
                <c:pt idx="21373">
                  <c:v>-0.11512605042016801</c:v>
                </c:pt>
                <c:pt idx="21374">
                  <c:v>-0.11512605042016801</c:v>
                </c:pt>
                <c:pt idx="21375">
                  <c:v>-0.11512605042016801</c:v>
                </c:pt>
                <c:pt idx="21376">
                  <c:v>-0.11512605042016801</c:v>
                </c:pt>
                <c:pt idx="21377">
                  <c:v>-0.11512605042016801</c:v>
                </c:pt>
                <c:pt idx="21378">
                  <c:v>-0.11512605042016801</c:v>
                </c:pt>
                <c:pt idx="21379">
                  <c:v>-0.11512605042016801</c:v>
                </c:pt>
                <c:pt idx="21380">
                  <c:v>-0.11512605042016801</c:v>
                </c:pt>
                <c:pt idx="21381">
                  <c:v>-0.11512605042016801</c:v>
                </c:pt>
                <c:pt idx="21382">
                  <c:v>-0.11512605042016801</c:v>
                </c:pt>
                <c:pt idx="21383">
                  <c:v>-0.11512605042016801</c:v>
                </c:pt>
                <c:pt idx="21384">
                  <c:v>-0.11512605042016801</c:v>
                </c:pt>
                <c:pt idx="21385">
                  <c:v>-0.11512605042016801</c:v>
                </c:pt>
                <c:pt idx="21386">
                  <c:v>-0.11512605042016801</c:v>
                </c:pt>
                <c:pt idx="21387">
                  <c:v>-0.11512605042016801</c:v>
                </c:pt>
                <c:pt idx="21388">
                  <c:v>-0.11512605042016801</c:v>
                </c:pt>
                <c:pt idx="21389">
                  <c:v>-0.11512605042016801</c:v>
                </c:pt>
                <c:pt idx="21390">
                  <c:v>-0.11512605042016801</c:v>
                </c:pt>
                <c:pt idx="21391">
                  <c:v>-0.11512605042016801</c:v>
                </c:pt>
                <c:pt idx="21392">
                  <c:v>-0.11512605042016801</c:v>
                </c:pt>
                <c:pt idx="21393">
                  <c:v>-0.11512605042016801</c:v>
                </c:pt>
                <c:pt idx="21394">
                  <c:v>-0.11512605042016801</c:v>
                </c:pt>
                <c:pt idx="21395">
                  <c:v>-0.11512605042016801</c:v>
                </c:pt>
                <c:pt idx="21396">
                  <c:v>-0.11512605042016801</c:v>
                </c:pt>
                <c:pt idx="21397">
                  <c:v>-0.11512605042016801</c:v>
                </c:pt>
                <c:pt idx="21398">
                  <c:v>-0.11512605042016801</c:v>
                </c:pt>
                <c:pt idx="21399">
                  <c:v>-0.11512605042016801</c:v>
                </c:pt>
                <c:pt idx="21400">
                  <c:v>-0.11512605042016801</c:v>
                </c:pt>
                <c:pt idx="21401">
                  <c:v>-0.11512605042016801</c:v>
                </c:pt>
                <c:pt idx="21402">
                  <c:v>-0.11512605042016801</c:v>
                </c:pt>
                <c:pt idx="21403">
                  <c:v>-0.11512605042016801</c:v>
                </c:pt>
                <c:pt idx="21404">
                  <c:v>-0.11512605042016801</c:v>
                </c:pt>
                <c:pt idx="21405">
                  <c:v>-0.11512605042016801</c:v>
                </c:pt>
                <c:pt idx="21406">
                  <c:v>-0.11512605042016801</c:v>
                </c:pt>
                <c:pt idx="21407">
                  <c:v>-0.11512605042016801</c:v>
                </c:pt>
                <c:pt idx="21408">
                  <c:v>-0.11512605042016801</c:v>
                </c:pt>
                <c:pt idx="21409">
                  <c:v>-0.11512605042016801</c:v>
                </c:pt>
                <c:pt idx="21410">
                  <c:v>-0.114285714285714</c:v>
                </c:pt>
                <c:pt idx="21411">
                  <c:v>-0.114285714285714</c:v>
                </c:pt>
                <c:pt idx="21412">
                  <c:v>-0.114285714285714</c:v>
                </c:pt>
                <c:pt idx="21413">
                  <c:v>-0.114285714285714</c:v>
                </c:pt>
                <c:pt idx="21414">
                  <c:v>-0.114285714285714</c:v>
                </c:pt>
                <c:pt idx="21415">
                  <c:v>-0.114285714285714</c:v>
                </c:pt>
                <c:pt idx="21416">
                  <c:v>-0.114285714285714</c:v>
                </c:pt>
                <c:pt idx="21417">
                  <c:v>-0.114285714285714</c:v>
                </c:pt>
                <c:pt idx="21418">
                  <c:v>-0.114285714285714</c:v>
                </c:pt>
                <c:pt idx="21419">
                  <c:v>-0.114285714285714</c:v>
                </c:pt>
                <c:pt idx="21420">
                  <c:v>-0.114285714285714</c:v>
                </c:pt>
                <c:pt idx="21421">
                  <c:v>-0.114285714285714</c:v>
                </c:pt>
                <c:pt idx="21422">
                  <c:v>-0.114285714285714</c:v>
                </c:pt>
                <c:pt idx="21423">
                  <c:v>-0.114285714285714</c:v>
                </c:pt>
                <c:pt idx="21424">
                  <c:v>-0.114285714285714</c:v>
                </c:pt>
                <c:pt idx="21425">
                  <c:v>-0.114285714285714</c:v>
                </c:pt>
                <c:pt idx="21426">
                  <c:v>-0.114285714285714</c:v>
                </c:pt>
                <c:pt idx="21427">
                  <c:v>-0.114285714285714</c:v>
                </c:pt>
                <c:pt idx="21428">
                  <c:v>-0.114285714285714</c:v>
                </c:pt>
                <c:pt idx="21429">
                  <c:v>-0.114285714285714</c:v>
                </c:pt>
                <c:pt idx="21430">
                  <c:v>-0.114285714285714</c:v>
                </c:pt>
                <c:pt idx="21431">
                  <c:v>-0.114285714285714</c:v>
                </c:pt>
                <c:pt idx="21432">
                  <c:v>-0.114285714285714</c:v>
                </c:pt>
                <c:pt idx="21433">
                  <c:v>-0.114285714285714</c:v>
                </c:pt>
                <c:pt idx="21434">
                  <c:v>-0.114285714285714</c:v>
                </c:pt>
                <c:pt idx="21435">
                  <c:v>-0.114285714285714</c:v>
                </c:pt>
                <c:pt idx="21436">
                  <c:v>-0.114285714285714</c:v>
                </c:pt>
                <c:pt idx="21437">
                  <c:v>-0.114285714285714</c:v>
                </c:pt>
                <c:pt idx="21438">
                  <c:v>-0.114285714285714</c:v>
                </c:pt>
                <c:pt idx="21439">
                  <c:v>-0.114285714285714</c:v>
                </c:pt>
                <c:pt idx="21440">
                  <c:v>-0.114285714285714</c:v>
                </c:pt>
                <c:pt idx="21441">
                  <c:v>-0.114285714285714</c:v>
                </c:pt>
                <c:pt idx="21442">
                  <c:v>-0.114285714285714</c:v>
                </c:pt>
                <c:pt idx="21443">
                  <c:v>-0.114285714285714</c:v>
                </c:pt>
                <c:pt idx="21444">
                  <c:v>-0.114285714285714</c:v>
                </c:pt>
                <c:pt idx="21445">
                  <c:v>-0.11344537815126</c:v>
                </c:pt>
                <c:pt idx="21446">
                  <c:v>-0.11344537815126</c:v>
                </c:pt>
                <c:pt idx="21447">
                  <c:v>-0.11344537815126</c:v>
                </c:pt>
                <c:pt idx="21448">
                  <c:v>-0.11344537815126</c:v>
                </c:pt>
                <c:pt idx="21449">
                  <c:v>-0.11344537815126</c:v>
                </c:pt>
                <c:pt idx="21450">
                  <c:v>-0.11344537815126</c:v>
                </c:pt>
                <c:pt idx="21451">
                  <c:v>-0.11344537815126</c:v>
                </c:pt>
                <c:pt idx="21452">
                  <c:v>-0.11344537815126</c:v>
                </c:pt>
                <c:pt idx="21453">
                  <c:v>-0.11344537815126</c:v>
                </c:pt>
                <c:pt idx="21454">
                  <c:v>-0.11344537815126</c:v>
                </c:pt>
                <c:pt idx="21455">
                  <c:v>-0.11344537815126</c:v>
                </c:pt>
                <c:pt idx="21456">
                  <c:v>-0.11344537815126</c:v>
                </c:pt>
                <c:pt idx="21457">
                  <c:v>-0.11344537815126</c:v>
                </c:pt>
                <c:pt idx="21458">
                  <c:v>-0.112605042016806</c:v>
                </c:pt>
                <c:pt idx="21459">
                  <c:v>-0.112605042016806</c:v>
                </c:pt>
                <c:pt idx="21460">
                  <c:v>-0.112605042016806</c:v>
                </c:pt>
                <c:pt idx="21461">
                  <c:v>-0.112605042016806</c:v>
                </c:pt>
                <c:pt idx="21462">
                  <c:v>-0.112605042016806</c:v>
                </c:pt>
                <c:pt idx="21463">
                  <c:v>-0.112605042016806</c:v>
                </c:pt>
                <c:pt idx="21464">
                  <c:v>-0.112605042016806</c:v>
                </c:pt>
                <c:pt idx="21465">
                  <c:v>-0.112605042016806</c:v>
                </c:pt>
                <c:pt idx="21466">
                  <c:v>-0.112605042016806</c:v>
                </c:pt>
                <c:pt idx="21467">
                  <c:v>-0.112605042016806</c:v>
                </c:pt>
                <c:pt idx="21468">
                  <c:v>-0.112605042016806</c:v>
                </c:pt>
                <c:pt idx="21469">
                  <c:v>-0.112605042016806</c:v>
                </c:pt>
                <c:pt idx="21470">
                  <c:v>-0.112605042016806</c:v>
                </c:pt>
                <c:pt idx="21471">
                  <c:v>-0.112605042016806</c:v>
                </c:pt>
                <c:pt idx="21472">
                  <c:v>-0.112605042016806</c:v>
                </c:pt>
                <c:pt idx="21473">
                  <c:v>-0.112605042016806</c:v>
                </c:pt>
                <c:pt idx="21474">
                  <c:v>-0.112605042016806</c:v>
                </c:pt>
                <c:pt idx="21475">
                  <c:v>-0.112605042016806</c:v>
                </c:pt>
                <c:pt idx="21476">
                  <c:v>-0.112605042016806</c:v>
                </c:pt>
                <c:pt idx="21477">
                  <c:v>-0.11344537815126</c:v>
                </c:pt>
                <c:pt idx="21478">
                  <c:v>-0.11344537815126</c:v>
                </c:pt>
                <c:pt idx="21479">
                  <c:v>-0.11344537815126</c:v>
                </c:pt>
                <c:pt idx="21480">
                  <c:v>-0.112605042016806</c:v>
                </c:pt>
                <c:pt idx="21481">
                  <c:v>-0.11344537815126</c:v>
                </c:pt>
                <c:pt idx="21482">
                  <c:v>-0.11344537815126</c:v>
                </c:pt>
                <c:pt idx="21483">
                  <c:v>-0.11344537815126</c:v>
                </c:pt>
                <c:pt idx="21484">
                  <c:v>-0.11344537815126</c:v>
                </c:pt>
                <c:pt idx="21485">
                  <c:v>-0.11344537815126</c:v>
                </c:pt>
                <c:pt idx="21486">
                  <c:v>-0.11344537815126</c:v>
                </c:pt>
                <c:pt idx="21487">
                  <c:v>-0.11344537815126</c:v>
                </c:pt>
                <c:pt idx="21488">
                  <c:v>-0.11344537815126</c:v>
                </c:pt>
                <c:pt idx="21489">
                  <c:v>-0.11344537815126</c:v>
                </c:pt>
                <c:pt idx="21490">
                  <c:v>-0.11344537815126</c:v>
                </c:pt>
                <c:pt idx="21491">
                  <c:v>-0.11344537815126</c:v>
                </c:pt>
                <c:pt idx="21492">
                  <c:v>-0.112605042016806</c:v>
                </c:pt>
                <c:pt idx="21493">
                  <c:v>-0.112605042016806</c:v>
                </c:pt>
                <c:pt idx="21494">
                  <c:v>-0.112605042016806</c:v>
                </c:pt>
                <c:pt idx="21495">
                  <c:v>-0.112605042016806</c:v>
                </c:pt>
                <c:pt idx="21496">
                  <c:v>-0.111764705882352</c:v>
                </c:pt>
                <c:pt idx="21497">
                  <c:v>-0.111764705882352</c:v>
                </c:pt>
                <c:pt idx="21498">
                  <c:v>-0.111764705882352</c:v>
                </c:pt>
                <c:pt idx="21499">
                  <c:v>-0.111764705882352</c:v>
                </c:pt>
                <c:pt idx="21500">
                  <c:v>-0.111764705882352</c:v>
                </c:pt>
                <c:pt idx="21501">
                  <c:v>-0.111764705882352</c:v>
                </c:pt>
                <c:pt idx="21502">
                  <c:v>-0.111764705882352</c:v>
                </c:pt>
                <c:pt idx="21503">
                  <c:v>-0.111764705882352</c:v>
                </c:pt>
                <c:pt idx="21504">
                  <c:v>-0.111764705882352</c:v>
                </c:pt>
                <c:pt idx="21505">
                  <c:v>-0.111764705882352</c:v>
                </c:pt>
                <c:pt idx="21506">
                  <c:v>-0.111764705882352</c:v>
                </c:pt>
                <c:pt idx="21507">
                  <c:v>-0.111764705882352</c:v>
                </c:pt>
                <c:pt idx="21508">
                  <c:v>-0.111764705882352</c:v>
                </c:pt>
                <c:pt idx="21509">
                  <c:v>-0.111764705882352</c:v>
                </c:pt>
                <c:pt idx="21510">
                  <c:v>-0.111764705882352</c:v>
                </c:pt>
                <c:pt idx="21511">
                  <c:v>-0.112605042016806</c:v>
                </c:pt>
                <c:pt idx="21512">
                  <c:v>-0.112605042016806</c:v>
                </c:pt>
                <c:pt idx="21513">
                  <c:v>-0.112605042016806</c:v>
                </c:pt>
                <c:pt idx="21514">
                  <c:v>-0.11344537815126</c:v>
                </c:pt>
                <c:pt idx="21515">
                  <c:v>-0.11344537815126</c:v>
                </c:pt>
                <c:pt idx="21516">
                  <c:v>-0.11344537815126</c:v>
                </c:pt>
                <c:pt idx="21517">
                  <c:v>-0.11344537815126</c:v>
                </c:pt>
                <c:pt idx="21518">
                  <c:v>-0.11344537815126</c:v>
                </c:pt>
                <c:pt idx="21519">
                  <c:v>-0.11344537815126</c:v>
                </c:pt>
                <c:pt idx="21520">
                  <c:v>-0.11344537815126</c:v>
                </c:pt>
                <c:pt idx="21521">
                  <c:v>-0.11344537815126</c:v>
                </c:pt>
                <c:pt idx="21522">
                  <c:v>-0.11344537815126</c:v>
                </c:pt>
                <c:pt idx="21523">
                  <c:v>-0.11344537815126</c:v>
                </c:pt>
                <c:pt idx="21524">
                  <c:v>-0.11344537815126</c:v>
                </c:pt>
                <c:pt idx="21525">
                  <c:v>-0.11344537815126</c:v>
                </c:pt>
                <c:pt idx="21526">
                  <c:v>-0.11344537815126</c:v>
                </c:pt>
                <c:pt idx="21527">
                  <c:v>-0.11344537815126</c:v>
                </c:pt>
                <c:pt idx="21528">
                  <c:v>-0.11344537815126</c:v>
                </c:pt>
                <c:pt idx="21529">
                  <c:v>-0.11344537815126</c:v>
                </c:pt>
                <c:pt idx="21530">
                  <c:v>-0.11344537815126</c:v>
                </c:pt>
                <c:pt idx="21531">
                  <c:v>-0.11344537815126</c:v>
                </c:pt>
                <c:pt idx="21532">
                  <c:v>-0.11344537815126</c:v>
                </c:pt>
                <c:pt idx="21533">
                  <c:v>-0.11344537815126</c:v>
                </c:pt>
                <c:pt idx="21534">
                  <c:v>-0.11344537815126</c:v>
                </c:pt>
                <c:pt idx="21535">
                  <c:v>-0.11344537815126</c:v>
                </c:pt>
                <c:pt idx="21536">
                  <c:v>-0.11344537815126</c:v>
                </c:pt>
                <c:pt idx="21537">
                  <c:v>-0.11344537815126</c:v>
                </c:pt>
                <c:pt idx="21538">
                  <c:v>-0.11344537815126</c:v>
                </c:pt>
                <c:pt idx="21539">
                  <c:v>-0.11344537815126</c:v>
                </c:pt>
                <c:pt idx="21540">
                  <c:v>-0.11344537815126</c:v>
                </c:pt>
                <c:pt idx="21541">
                  <c:v>-0.11344537815126</c:v>
                </c:pt>
                <c:pt idx="21542">
                  <c:v>-0.11344537815126</c:v>
                </c:pt>
                <c:pt idx="21543">
                  <c:v>-0.11344537815126</c:v>
                </c:pt>
                <c:pt idx="21544">
                  <c:v>-0.11344537815126</c:v>
                </c:pt>
                <c:pt idx="21545">
                  <c:v>-0.11344537815126</c:v>
                </c:pt>
                <c:pt idx="21546">
                  <c:v>-0.11344537815126</c:v>
                </c:pt>
                <c:pt idx="21547">
                  <c:v>-0.11344537815126</c:v>
                </c:pt>
                <c:pt idx="21548">
                  <c:v>-0.11344537815126</c:v>
                </c:pt>
                <c:pt idx="21549">
                  <c:v>-0.11344537815126</c:v>
                </c:pt>
                <c:pt idx="21550">
                  <c:v>-0.11344537815126</c:v>
                </c:pt>
                <c:pt idx="21551">
                  <c:v>-0.11344537815126</c:v>
                </c:pt>
                <c:pt idx="21552">
                  <c:v>-0.11344537815126</c:v>
                </c:pt>
                <c:pt idx="21553">
                  <c:v>-0.11344537815126</c:v>
                </c:pt>
                <c:pt idx="21554">
                  <c:v>-0.11344537815126</c:v>
                </c:pt>
                <c:pt idx="21555">
                  <c:v>-0.11344537815126</c:v>
                </c:pt>
                <c:pt idx="21556">
                  <c:v>-0.11344537815126</c:v>
                </c:pt>
                <c:pt idx="21557">
                  <c:v>-0.11344537815126</c:v>
                </c:pt>
                <c:pt idx="21558">
                  <c:v>-0.11344537815126</c:v>
                </c:pt>
                <c:pt idx="21559">
                  <c:v>-0.11344537815126</c:v>
                </c:pt>
                <c:pt idx="21560">
                  <c:v>-0.11344537815126</c:v>
                </c:pt>
                <c:pt idx="21561">
                  <c:v>-0.11344537815126</c:v>
                </c:pt>
                <c:pt idx="21562">
                  <c:v>-0.11344537815126</c:v>
                </c:pt>
                <c:pt idx="21563">
                  <c:v>-0.11344537815126</c:v>
                </c:pt>
                <c:pt idx="21564">
                  <c:v>-0.11344537815126</c:v>
                </c:pt>
                <c:pt idx="21565">
                  <c:v>-0.11344537815126</c:v>
                </c:pt>
                <c:pt idx="21566">
                  <c:v>-0.11344537815126</c:v>
                </c:pt>
                <c:pt idx="21567">
                  <c:v>-0.11344537815126</c:v>
                </c:pt>
                <c:pt idx="21568">
                  <c:v>-0.11344537815126</c:v>
                </c:pt>
                <c:pt idx="21569">
                  <c:v>-0.11344537815126</c:v>
                </c:pt>
                <c:pt idx="21570">
                  <c:v>-0.11344537815126</c:v>
                </c:pt>
                <c:pt idx="21571">
                  <c:v>-0.11344537815126</c:v>
                </c:pt>
                <c:pt idx="21572">
                  <c:v>-0.11344537815126</c:v>
                </c:pt>
                <c:pt idx="21573">
                  <c:v>-0.11344537815126</c:v>
                </c:pt>
                <c:pt idx="21574">
                  <c:v>-0.11344537815126</c:v>
                </c:pt>
                <c:pt idx="21575">
                  <c:v>-0.11344537815126</c:v>
                </c:pt>
                <c:pt idx="21576">
                  <c:v>-0.11344537815126</c:v>
                </c:pt>
                <c:pt idx="21577">
                  <c:v>-0.11344537815126</c:v>
                </c:pt>
                <c:pt idx="21578">
                  <c:v>-0.11344537815126</c:v>
                </c:pt>
                <c:pt idx="21579">
                  <c:v>-0.11344537815126</c:v>
                </c:pt>
                <c:pt idx="21580">
                  <c:v>-0.11344537815126</c:v>
                </c:pt>
                <c:pt idx="21581">
                  <c:v>-0.11344537815126</c:v>
                </c:pt>
                <c:pt idx="21582">
                  <c:v>-0.11344537815126</c:v>
                </c:pt>
                <c:pt idx="21583">
                  <c:v>-0.11344537815126</c:v>
                </c:pt>
                <c:pt idx="21584">
                  <c:v>-0.11344537815126</c:v>
                </c:pt>
                <c:pt idx="21585">
                  <c:v>-0.11344537815126</c:v>
                </c:pt>
                <c:pt idx="21586">
                  <c:v>-0.11344537815126</c:v>
                </c:pt>
                <c:pt idx="21587">
                  <c:v>-0.11344537815126</c:v>
                </c:pt>
                <c:pt idx="21588">
                  <c:v>-0.11344537815126</c:v>
                </c:pt>
                <c:pt idx="21589">
                  <c:v>-0.11344537815126</c:v>
                </c:pt>
                <c:pt idx="21590">
                  <c:v>-0.11344537815126</c:v>
                </c:pt>
                <c:pt idx="21591">
                  <c:v>-0.11344537815126</c:v>
                </c:pt>
                <c:pt idx="21592">
                  <c:v>-0.11344537815126</c:v>
                </c:pt>
                <c:pt idx="21593">
                  <c:v>-0.11344537815126</c:v>
                </c:pt>
                <c:pt idx="21594">
                  <c:v>-0.11344537815126</c:v>
                </c:pt>
                <c:pt idx="21595">
                  <c:v>-0.11344537815126</c:v>
                </c:pt>
                <c:pt idx="21596">
                  <c:v>-0.114285714285714</c:v>
                </c:pt>
                <c:pt idx="21597">
                  <c:v>-0.114285714285714</c:v>
                </c:pt>
                <c:pt idx="21598">
                  <c:v>-0.114285714285714</c:v>
                </c:pt>
                <c:pt idx="21599">
                  <c:v>-0.114285714285714</c:v>
                </c:pt>
                <c:pt idx="21600">
                  <c:v>-0.114285714285714</c:v>
                </c:pt>
                <c:pt idx="21601">
                  <c:v>-0.114285714285714</c:v>
                </c:pt>
                <c:pt idx="21602">
                  <c:v>-0.114285714285714</c:v>
                </c:pt>
                <c:pt idx="21603">
                  <c:v>-0.114285714285714</c:v>
                </c:pt>
                <c:pt idx="21604">
                  <c:v>-0.114285714285714</c:v>
                </c:pt>
                <c:pt idx="21605">
                  <c:v>-0.114285714285714</c:v>
                </c:pt>
                <c:pt idx="21606">
                  <c:v>-0.114285714285714</c:v>
                </c:pt>
                <c:pt idx="21607">
                  <c:v>-0.11344537815126</c:v>
                </c:pt>
                <c:pt idx="21608">
                  <c:v>-0.11344537815126</c:v>
                </c:pt>
                <c:pt idx="21609">
                  <c:v>-0.11344537815126</c:v>
                </c:pt>
                <c:pt idx="21610">
                  <c:v>-0.11344537815126</c:v>
                </c:pt>
                <c:pt idx="21611">
                  <c:v>-0.11344537815126</c:v>
                </c:pt>
                <c:pt idx="21612">
                  <c:v>-0.11344537815126</c:v>
                </c:pt>
                <c:pt idx="21613">
                  <c:v>-0.11344537815126</c:v>
                </c:pt>
                <c:pt idx="21614">
                  <c:v>-0.11344537815126</c:v>
                </c:pt>
                <c:pt idx="21615">
                  <c:v>-0.11344537815126</c:v>
                </c:pt>
                <c:pt idx="21616">
                  <c:v>-0.11344537815126</c:v>
                </c:pt>
                <c:pt idx="21617">
                  <c:v>-0.11344537815126</c:v>
                </c:pt>
                <c:pt idx="21618">
                  <c:v>-0.11344537815126</c:v>
                </c:pt>
                <c:pt idx="21619">
                  <c:v>-0.11344537815126</c:v>
                </c:pt>
                <c:pt idx="21620">
                  <c:v>-0.11344537815126</c:v>
                </c:pt>
                <c:pt idx="21621">
                  <c:v>-0.11344537815126</c:v>
                </c:pt>
                <c:pt idx="21622">
                  <c:v>-0.11344537815126</c:v>
                </c:pt>
                <c:pt idx="21623">
                  <c:v>-0.11344537815126</c:v>
                </c:pt>
                <c:pt idx="21624">
                  <c:v>-0.11344537815126</c:v>
                </c:pt>
                <c:pt idx="21625">
                  <c:v>-0.11344537815126</c:v>
                </c:pt>
                <c:pt idx="21626">
                  <c:v>-0.11344537815126</c:v>
                </c:pt>
                <c:pt idx="21627">
                  <c:v>-0.11344537815126</c:v>
                </c:pt>
                <c:pt idx="21628">
                  <c:v>-0.11344537815126</c:v>
                </c:pt>
                <c:pt idx="21629">
                  <c:v>-0.11344537815126</c:v>
                </c:pt>
                <c:pt idx="21630">
                  <c:v>-0.11344537815126</c:v>
                </c:pt>
                <c:pt idx="21631">
                  <c:v>-0.11344537815126</c:v>
                </c:pt>
                <c:pt idx="21632">
                  <c:v>-0.11344537815126</c:v>
                </c:pt>
                <c:pt idx="21633">
                  <c:v>-0.11344537815126</c:v>
                </c:pt>
                <c:pt idx="21634">
                  <c:v>-0.11344537815126</c:v>
                </c:pt>
                <c:pt idx="21635">
                  <c:v>-0.11344537815126</c:v>
                </c:pt>
                <c:pt idx="21636">
                  <c:v>-0.11344537815126</c:v>
                </c:pt>
                <c:pt idx="21637">
                  <c:v>-0.11344537815126</c:v>
                </c:pt>
                <c:pt idx="21638">
                  <c:v>-0.11344537815126</c:v>
                </c:pt>
                <c:pt idx="21639">
                  <c:v>-0.11344537815126</c:v>
                </c:pt>
                <c:pt idx="21640">
                  <c:v>-0.11344537815126</c:v>
                </c:pt>
                <c:pt idx="21641">
                  <c:v>-0.11344537815126</c:v>
                </c:pt>
                <c:pt idx="21642">
                  <c:v>-0.11344537815126</c:v>
                </c:pt>
                <c:pt idx="21643">
                  <c:v>-0.11344537815126</c:v>
                </c:pt>
                <c:pt idx="21644">
                  <c:v>-0.11344537815126</c:v>
                </c:pt>
                <c:pt idx="21645">
                  <c:v>-0.11344537815126</c:v>
                </c:pt>
                <c:pt idx="21646">
                  <c:v>-0.11344537815126</c:v>
                </c:pt>
                <c:pt idx="21647">
                  <c:v>-0.11344537815126</c:v>
                </c:pt>
                <c:pt idx="21648">
                  <c:v>-0.11344537815126</c:v>
                </c:pt>
                <c:pt idx="21649">
                  <c:v>-0.11344537815126</c:v>
                </c:pt>
                <c:pt idx="21650">
                  <c:v>-0.11344537815126</c:v>
                </c:pt>
                <c:pt idx="21651">
                  <c:v>-0.11344537815126</c:v>
                </c:pt>
                <c:pt idx="21652">
                  <c:v>-0.11344537815126</c:v>
                </c:pt>
                <c:pt idx="21653">
                  <c:v>-0.11344537815126</c:v>
                </c:pt>
                <c:pt idx="21654">
                  <c:v>-0.11344537815126</c:v>
                </c:pt>
                <c:pt idx="21655">
                  <c:v>-0.11344537815126</c:v>
                </c:pt>
                <c:pt idx="21656">
                  <c:v>-0.11344537815126</c:v>
                </c:pt>
                <c:pt idx="21657">
                  <c:v>-0.11344537815126</c:v>
                </c:pt>
                <c:pt idx="21658">
                  <c:v>-0.11344537815126</c:v>
                </c:pt>
                <c:pt idx="21659">
                  <c:v>-0.11344537815126</c:v>
                </c:pt>
                <c:pt idx="21660">
                  <c:v>-0.11344537815126</c:v>
                </c:pt>
                <c:pt idx="21661">
                  <c:v>-0.112605042016806</c:v>
                </c:pt>
                <c:pt idx="21662">
                  <c:v>-0.112605042016806</c:v>
                </c:pt>
                <c:pt idx="21663">
                  <c:v>-0.112605042016806</c:v>
                </c:pt>
                <c:pt idx="21664">
                  <c:v>-0.11344537815126</c:v>
                </c:pt>
                <c:pt idx="21665">
                  <c:v>-0.11344537815126</c:v>
                </c:pt>
                <c:pt idx="21666">
                  <c:v>-0.11344537815126</c:v>
                </c:pt>
                <c:pt idx="21667">
                  <c:v>-0.11344537815126</c:v>
                </c:pt>
                <c:pt idx="21668">
                  <c:v>-0.114285714285714</c:v>
                </c:pt>
                <c:pt idx="21669">
                  <c:v>-0.114285714285714</c:v>
                </c:pt>
                <c:pt idx="21670">
                  <c:v>-0.114285714285714</c:v>
                </c:pt>
                <c:pt idx="21671">
                  <c:v>-0.114285714285714</c:v>
                </c:pt>
                <c:pt idx="21672">
                  <c:v>-0.114285714285714</c:v>
                </c:pt>
                <c:pt idx="21673">
                  <c:v>-0.114285714285714</c:v>
                </c:pt>
                <c:pt idx="21674">
                  <c:v>-0.114285714285714</c:v>
                </c:pt>
                <c:pt idx="21675">
                  <c:v>-0.114285714285714</c:v>
                </c:pt>
                <c:pt idx="21676">
                  <c:v>-0.114285714285714</c:v>
                </c:pt>
                <c:pt idx="21677">
                  <c:v>-0.114285714285714</c:v>
                </c:pt>
                <c:pt idx="21678">
                  <c:v>-0.114285714285714</c:v>
                </c:pt>
                <c:pt idx="21679">
                  <c:v>-0.114285714285714</c:v>
                </c:pt>
                <c:pt idx="21680">
                  <c:v>-0.114285714285714</c:v>
                </c:pt>
                <c:pt idx="21681">
                  <c:v>-0.114285714285714</c:v>
                </c:pt>
                <c:pt idx="21682">
                  <c:v>-0.114285714285714</c:v>
                </c:pt>
                <c:pt idx="21683">
                  <c:v>-0.114285714285714</c:v>
                </c:pt>
                <c:pt idx="21684">
                  <c:v>-0.114285714285714</c:v>
                </c:pt>
                <c:pt idx="21685">
                  <c:v>-0.114285714285714</c:v>
                </c:pt>
                <c:pt idx="21686">
                  <c:v>-0.114285714285714</c:v>
                </c:pt>
                <c:pt idx="21687">
                  <c:v>-0.11512605042016801</c:v>
                </c:pt>
                <c:pt idx="21688">
                  <c:v>-0.11512605042016801</c:v>
                </c:pt>
                <c:pt idx="21689">
                  <c:v>-0.11512605042016801</c:v>
                </c:pt>
                <c:pt idx="21690">
                  <c:v>-0.11512605042016801</c:v>
                </c:pt>
                <c:pt idx="21691">
                  <c:v>-0.11512605042016801</c:v>
                </c:pt>
                <c:pt idx="21692">
                  <c:v>-0.11512605042016801</c:v>
                </c:pt>
                <c:pt idx="21693">
                  <c:v>-0.11512605042016801</c:v>
                </c:pt>
                <c:pt idx="21694">
                  <c:v>-0.11512605042016801</c:v>
                </c:pt>
                <c:pt idx="21695">
                  <c:v>-0.11512605042016801</c:v>
                </c:pt>
                <c:pt idx="21696">
                  <c:v>-0.11512605042016801</c:v>
                </c:pt>
                <c:pt idx="21697">
                  <c:v>-0.11512605042016801</c:v>
                </c:pt>
                <c:pt idx="21698">
                  <c:v>-0.11512605042016801</c:v>
                </c:pt>
                <c:pt idx="21699">
                  <c:v>-0.11512605042016801</c:v>
                </c:pt>
                <c:pt idx="21700">
                  <c:v>-0.11512605042016801</c:v>
                </c:pt>
                <c:pt idx="21701">
                  <c:v>-0.11512605042016801</c:v>
                </c:pt>
                <c:pt idx="21702">
                  <c:v>-0.11512605042016801</c:v>
                </c:pt>
                <c:pt idx="21703">
                  <c:v>-0.11512605042016801</c:v>
                </c:pt>
                <c:pt idx="21704">
                  <c:v>-0.11512605042016801</c:v>
                </c:pt>
                <c:pt idx="21705">
                  <c:v>-0.11512605042016801</c:v>
                </c:pt>
                <c:pt idx="21706">
                  <c:v>-0.11512605042016801</c:v>
                </c:pt>
                <c:pt idx="21707">
                  <c:v>-0.11512605042016801</c:v>
                </c:pt>
                <c:pt idx="21708">
                  <c:v>-0.11512605042016801</c:v>
                </c:pt>
                <c:pt idx="21709">
                  <c:v>-0.11512605042016801</c:v>
                </c:pt>
                <c:pt idx="21710">
                  <c:v>-0.11512605042016801</c:v>
                </c:pt>
                <c:pt idx="21711">
                  <c:v>-0.11512605042016801</c:v>
                </c:pt>
                <c:pt idx="21712">
                  <c:v>-0.11512605042016801</c:v>
                </c:pt>
                <c:pt idx="21713">
                  <c:v>-0.11512605042016801</c:v>
                </c:pt>
                <c:pt idx="21714">
                  <c:v>-0.11512605042016801</c:v>
                </c:pt>
                <c:pt idx="21715">
                  <c:v>-0.11512605042016801</c:v>
                </c:pt>
                <c:pt idx="21716">
                  <c:v>-0.11512605042016801</c:v>
                </c:pt>
                <c:pt idx="21717">
                  <c:v>-0.11512605042016801</c:v>
                </c:pt>
                <c:pt idx="21718">
                  <c:v>-0.11596638655462101</c:v>
                </c:pt>
                <c:pt idx="21719">
                  <c:v>-0.11596638655462101</c:v>
                </c:pt>
                <c:pt idx="21720">
                  <c:v>-0.11596638655462101</c:v>
                </c:pt>
                <c:pt idx="21721">
                  <c:v>-0.11596638655462101</c:v>
                </c:pt>
                <c:pt idx="21722">
                  <c:v>-0.11596638655462101</c:v>
                </c:pt>
                <c:pt idx="21723">
                  <c:v>-0.11596638655462101</c:v>
                </c:pt>
                <c:pt idx="21724">
                  <c:v>-0.11596638655462101</c:v>
                </c:pt>
                <c:pt idx="21725">
                  <c:v>-0.11596638655462101</c:v>
                </c:pt>
                <c:pt idx="21726">
                  <c:v>-0.11596638655462101</c:v>
                </c:pt>
                <c:pt idx="21727">
                  <c:v>-0.11596638655462101</c:v>
                </c:pt>
                <c:pt idx="21728">
                  <c:v>-0.11596638655462101</c:v>
                </c:pt>
                <c:pt idx="21729">
                  <c:v>-0.11596638655462101</c:v>
                </c:pt>
                <c:pt idx="21730">
                  <c:v>-0.11596638655462101</c:v>
                </c:pt>
                <c:pt idx="21731">
                  <c:v>-0.11596638655462101</c:v>
                </c:pt>
                <c:pt idx="21732">
                  <c:v>-0.11596638655462101</c:v>
                </c:pt>
                <c:pt idx="21733">
                  <c:v>-0.11596638655462101</c:v>
                </c:pt>
                <c:pt idx="21734">
                  <c:v>-0.11512605042016801</c:v>
                </c:pt>
                <c:pt idx="21735">
                  <c:v>-0.11512605042016801</c:v>
                </c:pt>
                <c:pt idx="21736">
                  <c:v>-0.11512605042016801</c:v>
                </c:pt>
                <c:pt idx="21737">
                  <c:v>-0.11512605042016801</c:v>
                </c:pt>
                <c:pt idx="21738">
                  <c:v>-0.11512605042016801</c:v>
                </c:pt>
                <c:pt idx="21739">
                  <c:v>-0.11512605042016801</c:v>
                </c:pt>
                <c:pt idx="21740">
                  <c:v>-0.11512605042016801</c:v>
                </c:pt>
                <c:pt idx="21741">
                  <c:v>-0.11512605042016801</c:v>
                </c:pt>
                <c:pt idx="21742">
                  <c:v>-0.11512605042016801</c:v>
                </c:pt>
                <c:pt idx="21743">
                  <c:v>-0.11512605042016801</c:v>
                </c:pt>
                <c:pt idx="21744">
                  <c:v>-0.114285714285714</c:v>
                </c:pt>
                <c:pt idx="21745">
                  <c:v>-0.114285714285714</c:v>
                </c:pt>
                <c:pt idx="21746">
                  <c:v>-0.114285714285714</c:v>
                </c:pt>
                <c:pt idx="21747">
                  <c:v>-0.114285714285714</c:v>
                </c:pt>
                <c:pt idx="21748">
                  <c:v>-0.114285714285714</c:v>
                </c:pt>
                <c:pt idx="21749">
                  <c:v>-0.114285714285714</c:v>
                </c:pt>
                <c:pt idx="21750">
                  <c:v>-0.114285714285714</c:v>
                </c:pt>
                <c:pt idx="21751">
                  <c:v>-0.114285714285714</c:v>
                </c:pt>
                <c:pt idx="21752">
                  <c:v>-0.114285714285714</c:v>
                </c:pt>
                <c:pt idx="21753">
                  <c:v>-0.114285714285714</c:v>
                </c:pt>
                <c:pt idx="21754">
                  <c:v>-0.114285714285714</c:v>
                </c:pt>
                <c:pt idx="21755">
                  <c:v>-0.114285714285714</c:v>
                </c:pt>
                <c:pt idx="21756">
                  <c:v>-0.11344537815126</c:v>
                </c:pt>
                <c:pt idx="21757">
                  <c:v>-0.11344537815126</c:v>
                </c:pt>
                <c:pt idx="21758">
                  <c:v>-0.11344537815126</c:v>
                </c:pt>
                <c:pt idx="21759">
                  <c:v>-0.11344537815126</c:v>
                </c:pt>
                <c:pt idx="21760">
                  <c:v>-0.11344537815126</c:v>
                </c:pt>
                <c:pt idx="21761">
                  <c:v>-0.11344537815126</c:v>
                </c:pt>
                <c:pt idx="21762">
                  <c:v>-0.11344537815126</c:v>
                </c:pt>
                <c:pt idx="21763">
                  <c:v>-0.11344537815126</c:v>
                </c:pt>
                <c:pt idx="21764">
                  <c:v>-0.11344537815126</c:v>
                </c:pt>
                <c:pt idx="21765">
                  <c:v>-0.114285714285714</c:v>
                </c:pt>
                <c:pt idx="21766">
                  <c:v>-0.114285714285714</c:v>
                </c:pt>
                <c:pt idx="21767">
                  <c:v>-0.114285714285714</c:v>
                </c:pt>
                <c:pt idx="21768">
                  <c:v>-0.114285714285714</c:v>
                </c:pt>
                <c:pt idx="21769">
                  <c:v>-0.114285714285714</c:v>
                </c:pt>
                <c:pt idx="21770">
                  <c:v>-0.11512605042016801</c:v>
                </c:pt>
                <c:pt idx="21771">
                  <c:v>-0.11512605042016801</c:v>
                </c:pt>
                <c:pt idx="21772">
                  <c:v>-0.11512605042016801</c:v>
                </c:pt>
                <c:pt idx="21773">
                  <c:v>-0.11512605042016801</c:v>
                </c:pt>
                <c:pt idx="21774">
                  <c:v>-0.11512605042016801</c:v>
                </c:pt>
                <c:pt idx="21775">
                  <c:v>-0.11512605042016801</c:v>
                </c:pt>
                <c:pt idx="21776">
                  <c:v>-0.11512605042016801</c:v>
                </c:pt>
                <c:pt idx="21777">
                  <c:v>-0.11512605042016801</c:v>
                </c:pt>
                <c:pt idx="21778">
                  <c:v>-0.11512605042016801</c:v>
                </c:pt>
                <c:pt idx="21779">
                  <c:v>-0.11512605042016801</c:v>
                </c:pt>
                <c:pt idx="21780">
                  <c:v>-0.11512605042016801</c:v>
                </c:pt>
                <c:pt idx="21781">
                  <c:v>-0.11512605042016801</c:v>
                </c:pt>
                <c:pt idx="21782">
                  <c:v>-0.11512605042016801</c:v>
                </c:pt>
                <c:pt idx="21783">
                  <c:v>-0.11596638655462101</c:v>
                </c:pt>
                <c:pt idx="21784">
                  <c:v>-0.11596638655462101</c:v>
                </c:pt>
                <c:pt idx="21785">
                  <c:v>-0.11596638655462101</c:v>
                </c:pt>
                <c:pt idx="21786">
                  <c:v>-0.11596638655462101</c:v>
                </c:pt>
                <c:pt idx="21787">
                  <c:v>-0.11596638655462101</c:v>
                </c:pt>
                <c:pt idx="21788">
                  <c:v>-0.11596638655462101</c:v>
                </c:pt>
                <c:pt idx="21789">
                  <c:v>-0.11596638655462101</c:v>
                </c:pt>
                <c:pt idx="21790">
                  <c:v>-0.11596638655462101</c:v>
                </c:pt>
                <c:pt idx="21791">
                  <c:v>-0.11596638655462101</c:v>
                </c:pt>
                <c:pt idx="21792">
                  <c:v>-0.11596638655462101</c:v>
                </c:pt>
                <c:pt idx="21793">
                  <c:v>-0.11596638655462101</c:v>
                </c:pt>
                <c:pt idx="21794">
                  <c:v>-0.11680672268907499</c:v>
                </c:pt>
                <c:pt idx="21795">
                  <c:v>-0.11680672268907499</c:v>
                </c:pt>
                <c:pt idx="21796">
                  <c:v>-0.11680672268907499</c:v>
                </c:pt>
                <c:pt idx="21797">
                  <c:v>-0.11680672268907499</c:v>
                </c:pt>
                <c:pt idx="21798">
                  <c:v>-0.11680672268907499</c:v>
                </c:pt>
                <c:pt idx="21799">
                  <c:v>-0.11680672268907499</c:v>
                </c:pt>
                <c:pt idx="21800">
                  <c:v>-0.11680672268907499</c:v>
                </c:pt>
                <c:pt idx="21801">
                  <c:v>-0.11680672268907499</c:v>
                </c:pt>
                <c:pt idx="21802">
                  <c:v>-0.11680672268907499</c:v>
                </c:pt>
                <c:pt idx="21803">
                  <c:v>-0.11680672268907499</c:v>
                </c:pt>
                <c:pt idx="21804">
                  <c:v>-0.11680672268907499</c:v>
                </c:pt>
                <c:pt idx="21805">
                  <c:v>-0.11680672268907499</c:v>
                </c:pt>
                <c:pt idx="21806">
                  <c:v>-0.11680672268907499</c:v>
                </c:pt>
                <c:pt idx="21807">
                  <c:v>-0.11680672268907499</c:v>
                </c:pt>
                <c:pt idx="21808">
                  <c:v>-0.11680672268907499</c:v>
                </c:pt>
                <c:pt idx="21809">
                  <c:v>-0.11680672268907499</c:v>
                </c:pt>
                <c:pt idx="21810">
                  <c:v>-0.11680672268907499</c:v>
                </c:pt>
                <c:pt idx="21811">
                  <c:v>-0.11764705882352899</c:v>
                </c:pt>
                <c:pt idx="21812">
                  <c:v>-0.11764705882352899</c:v>
                </c:pt>
                <c:pt idx="21813">
                  <c:v>-0.11764705882352899</c:v>
                </c:pt>
                <c:pt idx="21814">
                  <c:v>-0.11764705882352899</c:v>
                </c:pt>
                <c:pt idx="21815">
                  <c:v>-0.11764705882352899</c:v>
                </c:pt>
                <c:pt idx="21816">
                  <c:v>-0.11764705882352899</c:v>
                </c:pt>
                <c:pt idx="21817">
                  <c:v>-0.11764705882352899</c:v>
                </c:pt>
                <c:pt idx="21818">
                  <c:v>-0.11764705882352899</c:v>
                </c:pt>
                <c:pt idx="21819">
                  <c:v>-0.11764705882352899</c:v>
                </c:pt>
                <c:pt idx="21820">
                  <c:v>-0.11764705882352899</c:v>
                </c:pt>
                <c:pt idx="21821">
                  <c:v>-0.11764705882352899</c:v>
                </c:pt>
                <c:pt idx="21822">
                  <c:v>-0.11764705882352899</c:v>
                </c:pt>
                <c:pt idx="21823">
                  <c:v>-0.11764705882352899</c:v>
                </c:pt>
                <c:pt idx="21824">
                  <c:v>-0.11764705882352899</c:v>
                </c:pt>
                <c:pt idx="21825">
                  <c:v>-0.11764705882352899</c:v>
                </c:pt>
                <c:pt idx="21826">
                  <c:v>-0.11764705882352899</c:v>
                </c:pt>
                <c:pt idx="21827">
                  <c:v>-0.11764705882352899</c:v>
                </c:pt>
                <c:pt idx="21828">
                  <c:v>-0.11848739495798299</c:v>
                </c:pt>
                <c:pt idx="21829">
                  <c:v>-0.11848739495798299</c:v>
                </c:pt>
                <c:pt idx="21830">
                  <c:v>-0.11848739495798299</c:v>
                </c:pt>
                <c:pt idx="21831">
                  <c:v>-0.11848739495798299</c:v>
                </c:pt>
                <c:pt idx="21832">
                  <c:v>-0.11848739495798299</c:v>
                </c:pt>
                <c:pt idx="21833">
                  <c:v>-0.11848739495798299</c:v>
                </c:pt>
                <c:pt idx="21834">
                  <c:v>-0.11848739495798299</c:v>
                </c:pt>
                <c:pt idx="21835">
                  <c:v>-0.11848739495798299</c:v>
                </c:pt>
                <c:pt idx="21836">
                  <c:v>-0.11848739495798299</c:v>
                </c:pt>
                <c:pt idx="21837">
                  <c:v>-0.11848739495798299</c:v>
                </c:pt>
                <c:pt idx="21838">
                  <c:v>-0.11848739495798299</c:v>
                </c:pt>
                <c:pt idx="21839">
                  <c:v>-0.11848739495798299</c:v>
                </c:pt>
                <c:pt idx="21840">
                  <c:v>-0.11764705882352899</c:v>
                </c:pt>
                <c:pt idx="21841">
                  <c:v>-0.11764705882352899</c:v>
                </c:pt>
                <c:pt idx="21842">
                  <c:v>-0.11764705882352899</c:v>
                </c:pt>
                <c:pt idx="21843">
                  <c:v>-0.11764705882352899</c:v>
                </c:pt>
                <c:pt idx="21844">
                  <c:v>-0.11764705882352899</c:v>
                </c:pt>
                <c:pt idx="21845">
                  <c:v>-0.11764705882352899</c:v>
                </c:pt>
                <c:pt idx="21846">
                  <c:v>-0.11764705882352899</c:v>
                </c:pt>
                <c:pt idx="21847">
                  <c:v>-0.11764705882352899</c:v>
                </c:pt>
                <c:pt idx="21848">
                  <c:v>-0.11764705882352899</c:v>
                </c:pt>
                <c:pt idx="21849">
                  <c:v>-0.11764705882352899</c:v>
                </c:pt>
                <c:pt idx="21850">
                  <c:v>-0.11764705882352899</c:v>
                </c:pt>
                <c:pt idx="21851">
                  <c:v>-0.11764705882352899</c:v>
                </c:pt>
                <c:pt idx="21852">
                  <c:v>-0.11764705882352899</c:v>
                </c:pt>
                <c:pt idx="21853">
                  <c:v>-0.11764705882352899</c:v>
                </c:pt>
                <c:pt idx="21854">
                  <c:v>-0.11764705882352899</c:v>
                </c:pt>
                <c:pt idx="21855">
                  <c:v>-0.11764705882352899</c:v>
                </c:pt>
                <c:pt idx="21856">
                  <c:v>-0.11764705882352899</c:v>
                </c:pt>
                <c:pt idx="21857">
                  <c:v>-0.11764705882352899</c:v>
                </c:pt>
                <c:pt idx="21858">
                  <c:v>-0.11764705882352899</c:v>
                </c:pt>
                <c:pt idx="21859">
                  <c:v>-0.11764705882352899</c:v>
                </c:pt>
                <c:pt idx="21860">
                  <c:v>-0.11764705882352899</c:v>
                </c:pt>
                <c:pt idx="21861">
                  <c:v>-0.11764705882352899</c:v>
                </c:pt>
                <c:pt idx="21862">
                  <c:v>-0.11764705882352899</c:v>
                </c:pt>
                <c:pt idx="21863">
                  <c:v>-0.11764705882352899</c:v>
                </c:pt>
                <c:pt idx="21864">
                  <c:v>-0.11764705882352899</c:v>
                </c:pt>
                <c:pt idx="21865">
                  <c:v>-0.11764705882352899</c:v>
                </c:pt>
                <c:pt idx="21866">
                  <c:v>-0.11764705882352899</c:v>
                </c:pt>
                <c:pt idx="21867">
                  <c:v>-0.11764705882352899</c:v>
                </c:pt>
                <c:pt idx="21868">
                  <c:v>-0.11764705882352899</c:v>
                </c:pt>
                <c:pt idx="21869">
                  <c:v>-0.11764705882352899</c:v>
                </c:pt>
                <c:pt idx="21870">
                  <c:v>-0.11764705882352899</c:v>
                </c:pt>
                <c:pt idx="21871">
                  <c:v>-0.11764705882352899</c:v>
                </c:pt>
                <c:pt idx="21872">
                  <c:v>-0.11764705882352899</c:v>
                </c:pt>
                <c:pt idx="21873">
                  <c:v>-0.11764705882352899</c:v>
                </c:pt>
                <c:pt idx="21874">
                  <c:v>-0.11764705882352899</c:v>
                </c:pt>
                <c:pt idx="21875">
                  <c:v>-0.11764705882352899</c:v>
                </c:pt>
                <c:pt idx="21876">
                  <c:v>-0.11764705882352899</c:v>
                </c:pt>
                <c:pt idx="21877">
                  <c:v>-0.11764705882352899</c:v>
                </c:pt>
                <c:pt idx="21878">
                  <c:v>-0.11764705882352899</c:v>
                </c:pt>
                <c:pt idx="21879">
                  <c:v>-0.11764705882352899</c:v>
                </c:pt>
                <c:pt idx="21880">
                  <c:v>-0.11764705882352899</c:v>
                </c:pt>
                <c:pt idx="21881">
                  <c:v>-0.11764705882352899</c:v>
                </c:pt>
                <c:pt idx="21882">
                  <c:v>-0.11848739495798299</c:v>
                </c:pt>
                <c:pt idx="21883">
                  <c:v>-0.11848739495798299</c:v>
                </c:pt>
                <c:pt idx="21884">
                  <c:v>-0.11848739495798299</c:v>
                </c:pt>
                <c:pt idx="21885">
                  <c:v>-0.11848739495798299</c:v>
                </c:pt>
                <c:pt idx="21886">
                  <c:v>-0.11848739495798299</c:v>
                </c:pt>
                <c:pt idx="21887">
                  <c:v>-0.11848739495798299</c:v>
                </c:pt>
                <c:pt idx="21888">
                  <c:v>-0.11848739495798299</c:v>
                </c:pt>
                <c:pt idx="21889">
                  <c:v>-0.11848739495798299</c:v>
                </c:pt>
                <c:pt idx="21890">
                  <c:v>-0.11848739495798299</c:v>
                </c:pt>
                <c:pt idx="21891">
                  <c:v>-0.11848739495798299</c:v>
                </c:pt>
                <c:pt idx="21892">
                  <c:v>-0.11848739495798299</c:v>
                </c:pt>
                <c:pt idx="21893">
                  <c:v>-0.11848739495798299</c:v>
                </c:pt>
                <c:pt idx="21894">
                  <c:v>-0.11848739495798299</c:v>
                </c:pt>
                <c:pt idx="21895">
                  <c:v>-0.11848739495798299</c:v>
                </c:pt>
                <c:pt idx="21896">
                  <c:v>-0.11848739495798299</c:v>
                </c:pt>
                <c:pt idx="21897">
                  <c:v>-0.11848739495798299</c:v>
                </c:pt>
                <c:pt idx="21898">
                  <c:v>-0.11848739495798299</c:v>
                </c:pt>
                <c:pt idx="21899">
                  <c:v>-0.11848739495798299</c:v>
                </c:pt>
                <c:pt idx="21900">
                  <c:v>-0.11848739495798299</c:v>
                </c:pt>
                <c:pt idx="21901">
                  <c:v>-0.11848739495798299</c:v>
                </c:pt>
                <c:pt idx="21902">
                  <c:v>-0.11848739495798299</c:v>
                </c:pt>
                <c:pt idx="21903">
                  <c:v>-0.11764705882352899</c:v>
                </c:pt>
                <c:pt idx="21904">
                  <c:v>-0.11764705882352899</c:v>
                </c:pt>
                <c:pt idx="21905">
                  <c:v>-0.11764705882352899</c:v>
                </c:pt>
                <c:pt idx="21906">
                  <c:v>-0.11764705882352899</c:v>
                </c:pt>
                <c:pt idx="21907">
                  <c:v>-0.11764705882352899</c:v>
                </c:pt>
                <c:pt idx="21908">
                  <c:v>-0.11764705882352899</c:v>
                </c:pt>
                <c:pt idx="21909">
                  <c:v>-0.11764705882352899</c:v>
                </c:pt>
                <c:pt idx="21910">
                  <c:v>-0.11764705882352899</c:v>
                </c:pt>
                <c:pt idx="21911">
                  <c:v>-0.11764705882352899</c:v>
                </c:pt>
                <c:pt idx="21912">
                  <c:v>-0.11680672268907499</c:v>
                </c:pt>
                <c:pt idx="21913">
                  <c:v>-0.11680672268907499</c:v>
                </c:pt>
                <c:pt idx="21914">
                  <c:v>-0.11680672268907499</c:v>
                </c:pt>
                <c:pt idx="21915">
                  <c:v>-0.11764705882352899</c:v>
                </c:pt>
                <c:pt idx="21916">
                  <c:v>-0.11680672268907499</c:v>
                </c:pt>
                <c:pt idx="21917">
                  <c:v>-0.11680672268907499</c:v>
                </c:pt>
                <c:pt idx="21918">
                  <c:v>-0.11680672268907499</c:v>
                </c:pt>
                <c:pt idx="21919">
                  <c:v>-0.11680672268907499</c:v>
                </c:pt>
                <c:pt idx="21920">
                  <c:v>-0.11680672268907499</c:v>
                </c:pt>
                <c:pt idx="21921">
                  <c:v>-0.11680672268907499</c:v>
                </c:pt>
                <c:pt idx="21922">
                  <c:v>-0.11680672268907499</c:v>
                </c:pt>
                <c:pt idx="21923">
                  <c:v>-0.11680672268907499</c:v>
                </c:pt>
                <c:pt idx="21924">
                  <c:v>-0.11680672268907499</c:v>
                </c:pt>
                <c:pt idx="21925">
                  <c:v>-0.11680672268907499</c:v>
                </c:pt>
                <c:pt idx="21926">
                  <c:v>-0.11680672268907499</c:v>
                </c:pt>
                <c:pt idx="21927">
                  <c:v>-0.11680672268907499</c:v>
                </c:pt>
                <c:pt idx="21928">
                  <c:v>-0.11680672268907499</c:v>
                </c:pt>
                <c:pt idx="21929">
                  <c:v>-0.11680672268907499</c:v>
                </c:pt>
                <c:pt idx="21930">
                  <c:v>-0.11680672268907499</c:v>
                </c:pt>
                <c:pt idx="21931">
                  <c:v>-0.11680672268907499</c:v>
                </c:pt>
                <c:pt idx="21932">
                  <c:v>-0.11680672268907499</c:v>
                </c:pt>
                <c:pt idx="21933">
                  <c:v>-0.11680672268907499</c:v>
                </c:pt>
                <c:pt idx="21934">
                  <c:v>-0.11680672268907499</c:v>
                </c:pt>
                <c:pt idx="21935">
                  <c:v>-0.11680672268907499</c:v>
                </c:pt>
                <c:pt idx="21936">
                  <c:v>-0.11680672268907499</c:v>
                </c:pt>
                <c:pt idx="21937">
                  <c:v>-0.11764705882352899</c:v>
                </c:pt>
                <c:pt idx="21938">
                  <c:v>-0.11764705882352899</c:v>
                </c:pt>
                <c:pt idx="21939">
                  <c:v>-0.11764705882352899</c:v>
                </c:pt>
                <c:pt idx="21940">
                  <c:v>-0.11764705882352899</c:v>
                </c:pt>
                <c:pt idx="21941">
                  <c:v>-0.11764705882352899</c:v>
                </c:pt>
                <c:pt idx="21942">
                  <c:v>-0.11764705882352899</c:v>
                </c:pt>
                <c:pt idx="21943">
                  <c:v>-0.11764705882352899</c:v>
                </c:pt>
                <c:pt idx="21944">
                  <c:v>-0.11764705882352899</c:v>
                </c:pt>
                <c:pt idx="21945">
                  <c:v>-0.11764705882352899</c:v>
                </c:pt>
                <c:pt idx="21946">
                  <c:v>-0.11764705882352899</c:v>
                </c:pt>
                <c:pt idx="21947">
                  <c:v>-0.11764705882352899</c:v>
                </c:pt>
                <c:pt idx="21948">
                  <c:v>-0.11764705882352899</c:v>
                </c:pt>
                <c:pt idx="21949">
                  <c:v>-0.11764705882352899</c:v>
                </c:pt>
                <c:pt idx="21950">
                  <c:v>-0.11680672268907499</c:v>
                </c:pt>
                <c:pt idx="21951">
                  <c:v>-0.11680672268907499</c:v>
                </c:pt>
                <c:pt idx="21952">
                  <c:v>-0.11680672268907499</c:v>
                </c:pt>
                <c:pt idx="21953">
                  <c:v>-0.11680672268907499</c:v>
                </c:pt>
                <c:pt idx="21954">
                  <c:v>-0.11680672268907499</c:v>
                </c:pt>
                <c:pt idx="21955">
                  <c:v>-0.11680672268907499</c:v>
                </c:pt>
                <c:pt idx="21956">
                  <c:v>-0.11680672268907499</c:v>
                </c:pt>
                <c:pt idx="21957">
                  <c:v>-0.11680672268907499</c:v>
                </c:pt>
                <c:pt idx="21958">
                  <c:v>-0.11680672268907499</c:v>
                </c:pt>
                <c:pt idx="21959">
                  <c:v>-0.11680672268907499</c:v>
                </c:pt>
                <c:pt idx="21960">
                  <c:v>-0.11680672268907499</c:v>
                </c:pt>
                <c:pt idx="21961">
                  <c:v>-0.11680672268907499</c:v>
                </c:pt>
                <c:pt idx="21962">
                  <c:v>-0.11680672268907499</c:v>
                </c:pt>
                <c:pt idx="21963">
                  <c:v>-0.11680672268907499</c:v>
                </c:pt>
                <c:pt idx="21964">
                  <c:v>-0.11680672268907499</c:v>
                </c:pt>
                <c:pt idx="21965">
                  <c:v>-0.11680672268907499</c:v>
                </c:pt>
                <c:pt idx="21966">
                  <c:v>-0.11680672268907499</c:v>
                </c:pt>
                <c:pt idx="21967">
                  <c:v>-0.11680672268907499</c:v>
                </c:pt>
                <c:pt idx="21968">
                  <c:v>-0.11680672268907499</c:v>
                </c:pt>
                <c:pt idx="21969">
                  <c:v>-0.11680672268907499</c:v>
                </c:pt>
                <c:pt idx="21970">
                  <c:v>-0.11680672268907499</c:v>
                </c:pt>
                <c:pt idx="21971">
                  <c:v>-0.11680672268907499</c:v>
                </c:pt>
                <c:pt idx="21972">
                  <c:v>-0.11680672268907499</c:v>
                </c:pt>
                <c:pt idx="21973">
                  <c:v>-0.11680672268907499</c:v>
                </c:pt>
                <c:pt idx="21974">
                  <c:v>-0.11680672268907499</c:v>
                </c:pt>
                <c:pt idx="21975">
                  <c:v>-0.11680672268907499</c:v>
                </c:pt>
                <c:pt idx="21976">
                  <c:v>-0.11680672268907499</c:v>
                </c:pt>
                <c:pt idx="21977">
                  <c:v>-0.11680672268907499</c:v>
                </c:pt>
                <c:pt idx="21978">
                  <c:v>-0.11680672268907499</c:v>
                </c:pt>
                <c:pt idx="21979">
                  <c:v>-0.11680672268907499</c:v>
                </c:pt>
                <c:pt idx="21980">
                  <c:v>-0.11680672268907499</c:v>
                </c:pt>
                <c:pt idx="21981">
                  <c:v>-0.11680672268907499</c:v>
                </c:pt>
                <c:pt idx="21982">
                  <c:v>-0.11680672268907499</c:v>
                </c:pt>
                <c:pt idx="21983">
                  <c:v>-0.11680672268907499</c:v>
                </c:pt>
                <c:pt idx="21984">
                  <c:v>-0.11680672268907499</c:v>
                </c:pt>
                <c:pt idx="21985">
                  <c:v>-0.11680672268907499</c:v>
                </c:pt>
                <c:pt idx="21986">
                  <c:v>-0.11680672268907499</c:v>
                </c:pt>
                <c:pt idx="21987">
                  <c:v>-0.11680672268907499</c:v>
                </c:pt>
                <c:pt idx="21988">
                  <c:v>-0.11680672268907499</c:v>
                </c:pt>
                <c:pt idx="21989">
                  <c:v>-0.11680672268907499</c:v>
                </c:pt>
                <c:pt idx="21990">
                  <c:v>-0.11680672268907499</c:v>
                </c:pt>
                <c:pt idx="21991">
                  <c:v>-0.11680672268907499</c:v>
                </c:pt>
                <c:pt idx="21992">
                  <c:v>-0.11680672268907499</c:v>
                </c:pt>
                <c:pt idx="21993">
                  <c:v>-0.11680672268907499</c:v>
                </c:pt>
                <c:pt idx="21994">
                  <c:v>-0.11764705882352899</c:v>
                </c:pt>
                <c:pt idx="21995">
                  <c:v>-0.11764705882352899</c:v>
                </c:pt>
                <c:pt idx="21996">
                  <c:v>-0.11764705882352899</c:v>
                </c:pt>
                <c:pt idx="21997">
                  <c:v>-0.11764705882352899</c:v>
                </c:pt>
                <c:pt idx="21998">
                  <c:v>-0.11764705882352899</c:v>
                </c:pt>
                <c:pt idx="21999">
                  <c:v>-0.11764705882352899</c:v>
                </c:pt>
                <c:pt idx="22000">
                  <c:v>-0.11764705882352899</c:v>
                </c:pt>
                <c:pt idx="22001">
                  <c:v>-0.11764705882352899</c:v>
                </c:pt>
                <c:pt idx="22002">
                  <c:v>-0.11764705882352899</c:v>
                </c:pt>
                <c:pt idx="22003">
                  <c:v>-0.11764705882352899</c:v>
                </c:pt>
                <c:pt idx="22004">
                  <c:v>-0.11764705882352899</c:v>
                </c:pt>
                <c:pt idx="22005">
                  <c:v>-0.11764705882352899</c:v>
                </c:pt>
                <c:pt idx="22006">
                  <c:v>-0.11764705882352899</c:v>
                </c:pt>
                <c:pt idx="22007">
                  <c:v>-0.11848739495798299</c:v>
                </c:pt>
                <c:pt idx="22008">
                  <c:v>-0.11848739495798299</c:v>
                </c:pt>
                <c:pt idx="22009">
                  <c:v>-0.11848739495798299</c:v>
                </c:pt>
                <c:pt idx="22010">
                  <c:v>-0.11848739495798299</c:v>
                </c:pt>
                <c:pt idx="22011">
                  <c:v>-0.11848739495798299</c:v>
                </c:pt>
                <c:pt idx="22012">
                  <c:v>-0.11848739495798299</c:v>
                </c:pt>
                <c:pt idx="22013">
                  <c:v>-0.11848739495798299</c:v>
                </c:pt>
                <c:pt idx="22014">
                  <c:v>-0.11848739495798299</c:v>
                </c:pt>
                <c:pt idx="22015">
                  <c:v>-0.11848739495798299</c:v>
                </c:pt>
                <c:pt idx="22016">
                  <c:v>-0.11848739495798299</c:v>
                </c:pt>
                <c:pt idx="22017">
                  <c:v>-0.11764705882352899</c:v>
                </c:pt>
                <c:pt idx="22018">
                  <c:v>-0.11764705882352899</c:v>
                </c:pt>
                <c:pt idx="22019">
                  <c:v>-0.11764705882352899</c:v>
                </c:pt>
                <c:pt idx="22020">
                  <c:v>-0.11764705882352899</c:v>
                </c:pt>
                <c:pt idx="22021">
                  <c:v>-0.11764705882352899</c:v>
                </c:pt>
                <c:pt idx="22022">
                  <c:v>-0.11764705882352899</c:v>
                </c:pt>
                <c:pt idx="22023">
                  <c:v>-0.11764705882352899</c:v>
                </c:pt>
                <c:pt idx="22024">
                  <c:v>-0.11764705882352899</c:v>
                </c:pt>
                <c:pt idx="22025">
                  <c:v>-0.11764705882352899</c:v>
                </c:pt>
                <c:pt idx="22026">
                  <c:v>-0.11848739495798299</c:v>
                </c:pt>
                <c:pt idx="22027">
                  <c:v>-0.11848739495798299</c:v>
                </c:pt>
                <c:pt idx="22028">
                  <c:v>-0.11848739495798299</c:v>
                </c:pt>
                <c:pt idx="22029">
                  <c:v>-0.11848739495798299</c:v>
                </c:pt>
                <c:pt idx="22030">
                  <c:v>-0.11848739495798299</c:v>
                </c:pt>
                <c:pt idx="22031">
                  <c:v>-0.11848739495798299</c:v>
                </c:pt>
                <c:pt idx="22032">
                  <c:v>-0.11848739495798299</c:v>
                </c:pt>
                <c:pt idx="22033">
                  <c:v>-0.11848739495798299</c:v>
                </c:pt>
                <c:pt idx="22034">
                  <c:v>-0.11848739495798299</c:v>
                </c:pt>
                <c:pt idx="22035">
                  <c:v>-0.11848739495798299</c:v>
                </c:pt>
                <c:pt idx="22036">
                  <c:v>-0.11764705882352899</c:v>
                </c:pt>
                <c:pt idx="22037">
                  <c:v>-0.11764705882352899</c:v>
                </c:pt>
                <c:pt idx="22038">
                  <c:v>-0.11764705882352899</c:v>
                </c:pt>
                <c:pt idx="22039">
                  <c:v>-0.11764705882352899</c:v>
                </c:pt>
                <c:pt idx="22040">
                  <c:v>-0.11764705882352899</c:v>
                </c:pt>
                <c:pt idx="22041">
                  <c:v>-0.11764705882352899</c:v>
                </c:pt>
                <c:pt idx="22042">
                  <c:v>-0.11764705882352899</c:v>
                </c:pt>
                <c:pt idx="22043">
                  <c:v>-0.11764705882352899</c:v>
                </c:pt>
                <c:pt idx="22044">
                  <c:v>-0.11764705882352899</c:v>
                </c:pt>
                <c:pt idx="22045">
                  <c:v>-0.11764705882352899</c:v>
                </c:pt>
                <c:pt idx="22046">
                  <c:v>-0.11764705882352899</c:v>
                </c:pt>
                <c:pt idx="22047">
                  <c:v>-0.11764705882352899</c:v>
                </c:pt>
                <c:pt idx="22048">
                  <c:v>-0.11764705882352899</c:v>
                </c:pt>
                <c:pt idx="22049">
                  <c:v>-0.11764705882352899</c:v>
                </c:pt>
                <c:pt idx="22050">
                  <c:v>-0.11764705882352899</c:v>
                </c:pt>
                <c:pt idx="22051">
                  <c:v>-0.11848739495798299</c:v>
                </c:pt>
                <c:pt idx="22052">
                  <c:v>-0.11848739495798299</c:v>
                </c:pt>
                <c:pt idx="22053">
                  <c:v>-0.11764705882352899</c:v>
                </c:pt>
                <c:pt idx="22054">
                  <c:v>-0.11764705882352899</c:v>
                </c:pt>
                <c:pt idx="22055">
                  <c:v>-0.11764705882352899</c:v>
                </c:pt>
                <c:pt idx="22056">
                  <c:v>-0.11764705882352899</c:v>
                </c:pt>
                <c:pt idx="22057">
                  <c:v>-0.11764705882352899</c:v>
                </c:pt>
                <c:pt idx="22058">
                  <c:v>-0.11764705882352899</c:v>
                </c:pt>
                <c:pt idx="22059">
                  <c:v>-0.11764705882352899</c:v>
                </c:pt>
                <c:pt idx="22060">
                  <c:v>-0.11680672268907499</c:v>
                </c:pt>
                <c:pt idx="22061">
                  <c:v>-0.11680672268907499</c:v>
                </c:pt>
                <c:pt idx="22062">
                  <c:v>-0.11680672268907499</c:v>
                </c:pt>
                <c:pt idx="22063">
                  <c:v>-0.11680672268907499</c:v>
                </c:pt>
                <c:pt idx="22064">
                  <c:v>-0.11680672268907499</c:v>
                </c:pt>
                <c:pt idx="22065">
                  <c:v>-0.11680672268907499</c:v>
                </c:pt>
                <c:pt idx="22066">
                  <c:v>-0.11680672268907499</c:v>
                </c:pt>
                <c:pt idx="22067">
                  <c:v>-0.11680672268907499</c:v>
                </c:pt>
                <c:pt idx="22068">
                  <c:v>-0.11680672268907499</c:v>
                </c:pt>
                <c:pt idx="22069">
                  <c:v>-0.11680672268907499</c:v>
                </c:pt>
                <c:pt idx="22070">
                  <c:v>-0.11680672268907499</c:v>
                </c:pt>
                <c:pt idx="22071">
                  <c:v>-0.11680672268907499</c:v>
                </c:pt>
                <c:pt idx="22072">
                  <c:v>-0.11680672268907499</c:v>
                </c:pt>
                <c:pt idx="22073">
                  <c:v>-0.11680672268907499</c:v>
                </c:pt>
                <c:pt idx="22074">
                  <c:v>-0.11680672268907499</c:v>
                </c:pt>
                <c:pt idx="22075">
                  <c:v>-0.11680672268907499</c:v>
                </c:pt>
                <c:pt idx="22076">
                  <c:v>-0.11680672268907499</c:v>
                </c:pt>
                <c:pt idx="22077">
                  <c:v>-0.11680672268907499</c:v>
                </c:pt>
                <c:pt idx="22078">
                  <c:v>-0.11680672268907499</c:v>
                </c:pt>
                <c:pt idx="22079">
                  <c:v>-0.11680672268907499</c:v>
                </c:pt>
                <c:pt idx="22080">
                  <c:v>-0.11680672268907499</c:v>
                </c:pt>
                <c:pt idx="22081">
                  <c:v>-0.11680672268907499</c:v>
                </c:pt>
                <c:pt idx="22082">
                  <c:v>-0.11680672268907499</c:v>
                </c:pt>
                <c:pt idx="22083">
                  <c:v>-0.11680672268907499</c:v>
                </c:pt>
                <c:pt idx="22084">
                  <c:v>-0.11680672268907499</c:v>
                </c:pt>
                <c:pt idx="22085">
                  <c:v>-0.11680672268907499</c:v>
                </c:pt>
                <c:pt idx="22086">
                  <c:v>-0.11680672268907499</c:v>
                </c:pt>
                <c:pt idx="22087">
                  <c:v>-0.11596638655462101</c:v>
                </c:pt>
                <c:pt idx="22088">
                  <c:v>-0.11596638655462101</c:v>
                </c:pt>
                <c:pt idx="22089">
                  <c:v>-0.11596638655462101</c:v>
                </c:pt>
                <c:pt idx="22090">
                  <c:v>-0.11596638655462101</c:v>
                </c:pt>
                <c:pt idx="22091">
                  <c:v>-0.11596638655462101</c:v>
                </c:pt>
                <c:pt idx="22092">
                  <c:v>-0.11596638655462101</c:v>
                </c:pt>
                <c:pt idx="22093">
                  <c:v>-0.11596638655462101</c:v>
                </c:pt>
                <c:pt idx="22094">
                  <c:v>-0.11596638655462101</c:v>
                </c:pt>
                <c:pt idx="22095">
                  <c:v>-0.11596638655462101</c:v>
                </c:pt>
                <c:pt idx="22096">
                  <c:v>-0.11596638655462101</c:v>
                </c:pt>
                <c:pt idx="22097">
                  <c:v>-0.11596638655462101</c:v>
                </c:pt>
                <c:pt idx="22098">
                  <c:v>-0.11596638655462101</c:v>
                </c:pt>
                <c:pt idx="22099">
                  <c:v>-0.11596638655462101</c:v>
                </c:pt>
                <c:pt idx="22100">
                  <c:v>-0.11596638655462101</c:v>
                </c:pt>
                <c:pt idx="22101">
                  <c:v>-0.11596638655462101</c:v>
                </c:pt>
                <c:pt idx="22102">
                  <c:v>-0.11596638655462101</c:v>
                </c:pt>
                <c:pt idx="22103">
                  <c:v>-0.11596638655462101</c:v>
                </c:pt>
                <c:pt idx="22104">
                  <c:v>-0.11596638655462101</c:v>
                </c:pt>
                <c:pt idx="22105">
                  <c:v>-0.11596638655462101</c:v>
                </c:pt>
                <c:pt idx="22106">
                  <c:v>-0.11596638655462101</c:v>
                </c:pt>
                <c:pt idx="22107">
                  <c:v>-0.11596638655462101</c:v>
                </c:pt>
                <c:pt idx="22108">
                  <c:v>-0.11596638655462101</c:v>
                </c:pt>
                <c:pt idx="22109">
                  <c:v>-0.11596638655462101</c:v>
                </c:pt>
                <c:pt idx="22110">
                  <c:v>-0.11596638655462101</c:v>
                </c:pt>
                <c:pt idx="22111">
                  <c:v>-0.11596638655462101</c:v>
                </c:pt>
                <c:pt idx="22112">
                  <c:v>-0.11596638655462101</c:v>
                </c:pt>
                <c:pt idx="22113">
                  <c:v>-0.11596638655462101</c:v>
                </c:pt>
                <c:pt idx="22114">
                  <c:v>-0.11596638655462101</c:v>
                </c:pt>
                <c:pt idx="22115">
                  <c:v>-0.11596638655462101</c:v>
                </c:pt>
                <c:pt idx="22116">
                  <c:v>-0.11596638655462101</c:v>
                </c:pt>
                <c:pt idx="22117">
                  <c:v>-0.11512605042016701</c:v>
                </c:pt>
                <c:pt idx="22118">
                  <c:v>-0.11512605042016701</c:v>
                </c:pt>
                <c:pt idx="22119">
                  <c:v>-0.11512605042016701</c:v>
                </c:pt>
                <c:pt idx="22120">
                  <c:v>-0.11512605042016701</c:v>
                </c:pt>
                <c:pt idx="22121">
                  <c:v>-0.11512605042016701</c:v>
                </c:pt>
                <c:pt idx="22122">
                  <c:v>-0.11512605042016701</c:v>
                </c:pt>
                <c:pt idx="22123">
                  <c:v>-0.11512605042016701</c:v>
                </c:pt>
                <c:pt idx="22124">
                  <c:v>-0.11512605042016701</c:v>
                </c:pt>
                <c:pt idx="22125">
                  <c:v>-0.11596638655462101</c:v>
                </c:pt>
                <c:pt idx="22126">
                  <c:v>-0.11596638655462101</c:v>
                </c:pt>
                <c:pt idx="22127">
                  <c:v>-0.11596638655462101</c:v>
                </c:pt>
                <c:pt idx="22128">
                  <c:v>-0.11596638655462101</c:v>
                </c:pt>
                <c:pt idx="22129">
                  <c:v>-0.11596638655462101</c:v>
                </c:pt>
                <c:pt idx="22130">
                  <c:v>-0.11596638655462101</c:v>
                </c:pt>
                <c:pt idx="22131">
                  <c:v>-0.11680672268907499</c:v>
                </c:pt>
                <c:pt idx="22132">
                  <c:v>-0.11680672268907499</c:v>
                </c:pt>
                <c:pt idx="22133">
                  <c:v>-0.11680672268907499</c:v>
                </c:pt>
                <c:pt idx="22134">
                  <c:v>-0.11680672268907499</c:v>
                </c:pt>
                <c:pt idx="22135">
                  <c:v>-0.11680672268907499</c:v>
                </c:pt>
                <c:pt idx="22136">
                  <c:v>-0.11680672268907499</c:v>
                </c:pt>
                <c:pt idx="22137">
                  <c:v>-0.11680672268907499</c:v>
                </c:pt>
                <c:pt idx="22138">
                  <c:v>-0.11764705882352899</c:v>
                </c:pt>
                <c:pt idx="22139">
                  <c:v>-0.11764705882352899</c:v>
                </c:pt>
                <c:pt idx="22140">
                  <c:v>-0.11764705882352899</c:v>
                </c:pt>
                <c:pt idx="22141">
                  <c:v>-0.11764705882352899</c:v>
                </c:pt>
                <c:pt idx="22142">
                  <c:v>-0.11764705882352899</c:v>
                </c:pt>
                <c:pt idx="22143">
                  <c:v>-0.11764705882352899</c:v>
                </c:pt>
                <c:pt idx="22144">
                  <c:v>-0.11764705882352899</c:v>
                </c:pt>
                <c:pt idx="22145">
                  <c:v>-0.11764705882352899</c:v>
                </c:pt>
                <c:pt idx="22146">
                  <c:v>-0.11764705882352899</c:v>
                </c:pt>
                <c:pt idx="22147">
                  <c:v>-0.11764705882352899</c:v>
                </c:pt>
                <c:pt idx="22148">
                  <c:v>-0.11764705882352899</c:v>
                </c:pt>
                <c:pt idx="22149">
                  <c:v>-0.11764705882352899</c:v>
                </c:pt>
                <c:pt idx="22150">
                  <c:v>-0.11764705882352899</c:v>
                </c:pt>
                <c:pt idx="22151">
                  <c:v>-0.11764705882352899</c:v>
                </c:pt>
                <c:pt idx="22152">
                  <c:v>-0.11764705882352899</c:v>
                </c:pt>
                <c:pt idx="22153">
                  <c:v>-0.11764705882352899</c:v>
                </c:pt>
                <c:pt idx="22154">
                  <c:v>-0.11764705882352899</c:v>
                </c:pt>
                <c:pt idx="22155">
                  <c:v>-0.11764705882352899</c:v>
                </c:pt>
                <c:pt idx="22156">
                  <c:v>-0.11764705882352899</c:v>
                </c:pt>
                <c:pt idx="22157">
                  <c:v>-0.11764705882352899</c:v>
                </c:pt>
                <c:pt idx="22158">
                  <c:v>-0.11764705882352899</c:v>
                </c:pt>
                <c:pt idx="22159">
                  <c:v>-0.11764705882352899</c:v>
                </c:pt>
                <c:pt idx="22160">
                  <c:v>-0.11764705882352899</c:v>
                </c:pt>
                <c:pt idx="22161">
                  <c:v>-0.11764705882352899</c:v>
                </c:pt>
                <c:pt idx="22162">
                  <c:v>-0.11764705882352899</c:v>
                </c:pt>
                <c:pt idx="22163">
                  <c:v>-0.11764705882352899</c:v>
                </c:pt>
                <c:pt idx="22164">
                  <c:v>-0.11764705882352899</c:v>
                </c:pt>
                <c:pt idx="22165">
                  <c:v>-0.11764705882352899</c:v>
                </c:pt>
                <c:pt idx="22166">
                  <c:v>-0.11764705882352899</c:v>
                </c:pt>
                <c:pt idx="22167">
                  <c:v>-0.11764705882352899</c:v>
                </c:pt>
                <c:pt idx="22168">
                  <c:v>-0.11764705882352899</c:v>
                </c:pt>
                <c:pt idx="22169">
                  <c:v>-0.11764705882352899</c:v>
                </c:pt>
                <c:pt idx="22170">
                  <c:v>-0.11764705882352899</c:v>
                </c:pt>
                <c:pt idx="22171">
                  <c:v>-0.11764705882352899</c:v>
                </c:pt>
                <c:pt idx="22172">
                  <c:v>-0.11764705882352899</c:v>
                </c:pt>
                <c:pt idx="22173">
                  <c:v>-0.11764705882352899</c:v>
                </c:pt>
                <c:pt idx="22174">
                  <c:v>-0.11764705882352899</c:v>
                </c:pt>
                <c:pt idx="22175">
                  <c:v>-0.11764705882352899</c:v>
                </c:pt>
                <c:pt idx="22176">
                  <c:v>-0.11764705882352899</c:v>
                </c:pt>
                <c:pt idx="22177">
                  <c:v>-0.11764705882352899</c:v>
                </c:pt>
                <c:pt idx="22178">
                  <c:v>-0.11764705882352899</c:v>
                </c:pt>
                <c:pt idx="22179">
                  <c:v>-0.11764705882352899</c:v>
                </c:pt>
                <c:pt idx="22180">
                  <c:v>-0.11764705882352899</c:v>
                </c:pt>
                <c:pt idx="22181">
                  <c:v>-0.11764705882352899</c:v>
                </c:pt>
                <c:pt idx="22182">
                  <c:v>-0.11764705882352899</c:v>
                </c:pt>
                <c:pt idx="22183">
                  <c:v>-0.11764705882352899</c:v>
                </c:pt>
                <c:pt idx="22184">
                  <c:v>-0.11764705882352899</c:v>
                </c:pt>
                <c:pt idx="22185">
                  <c:v>-0.11764705882352899</c:v>
                </c:pt>
                <c:pt idx="22186">
                  <c:v>-0.11764705882352899</c:v>
                </c:pt>
                <c:pt idx="22187">
                  <c:v>-0.11764705882352899</c:v>
                </c:pt>
                <c:pt idx="22188">
                  <c:v>-0.11764705882352899</c:v>
                </c:pt>
                <c:pt idx="22189">
                  <c:v>-0.11764705882352899</c:v>
                </c:pt>
                <c:pt idx="22190">
                  <c:v>-0.11764705882352899</c:v>
                </c:pt>
                <c:pt idx="22191">
                  <c:v>-0.11764705882352899</c:v>
                </c:pt>
                <c:pt idx="22192">
                  <c:v>-0.11764705882352899</c:v>
                </c:pt>
                <c:pt idx="22193">
                  <c:v>-0.11764705882352899</c:v>
                </c:pt>
                <c:pt idx="22194">
                  <c:v>-0.11764705882352899</c:v>
                </c:pt>
                <c:pt idx="22195">
                  <c:v>-0.11764705882352899</c:v>
                </c:pt>
                <c:pt idx="22196">
                  <c:v>-0.11764705882352899</c:v>
                </c:pt>
                <c:pt idx="22197">
                  <c:v>-0.11764705882352899</c:v>
                </c:pt>
                <c:pt idx="22198">
                  <c:v>-0.11764705882352899</c:v>
                </c:pt>
                <c:pt idx="22199">
                  <c:v>-0.11764705882352899</c:v>
                </c:pt>
                <c:pt idx="22200">
                  <c:v>-0.11764705882352899</c:v>
                </c:pt>
                <c:pt idx="22201">
                  <c:v>-0.11764705882352899</c:v>
                </c:pt>
                <c:pt idx="22202">
                  <c:v>-0.11764705882352899</c:v>
                </c:pt>
                <c:pt idx="22203">
                  <c:v>-0.11764705882352899</c:v>
                </c:pt>
                <c:pt idx="22204">
                  <c:v>-0.11764705882352899</c:v>
                </c:pt>
                <c:pt idx="22205">
                  <c:v>-0.11764705882352899</c:v>
                </c:pt>
                <c:pt idx="22206">
                  <c:v>-0.11764705882352899</c:v>
                </c:pt>
                <c:pt idx="22207">
                  <c:v>-0.11764705882352899</c:v>
                </c:pt>
                <c:pt idx="22208">
                  <c:v>-0.11764705882352899</c:v>
                </c:pt>
                <c:pt idx="22209">
                  <c:v>-0.11764705882352899</c:v>
                </c:pt>
                <c:pt idx="22210">
                  <c:v>-0.11764705882352899</c:v>
                </c:pt>
                <c:pt idx="22211">
                  <c:v>-0.11764705882352899</c:v>
                </c:pt>
                <c:pt idx="22212">
                  <c:v>-0.11764705882352899</c:v>
                </c:pt>
                <c:pt idx="22213">
                  <c:v>-0.11680672268907499</c:v>
                </c:pt>
                <c:pt idx="22214">
                  <c:v>-0.11680672268907499</c:v>
                </c:pt>
                <c:pt idx="22215">
                  <c:v>-0.11680672268907499</c:v>
                </c:pt>
                <c:pt idx="22216">
                  <c:v>-0.11680672268907499</c:v>
                </c:pt>
                <c:pt idx="22217">
                  <c:v>-0.11680672268907499</c:v>
                </c:pt>
                <c:pt idx="22218">
                  <c:v>-0.11680672268907499</c:v>
                </c:pt>
                <c:pt idx="22219">
                  <c:v>-0.11680672268907499</c:v>
                </c:pt>
                <c:pt idx="22220">
                  <c:v>-0.11680672268907499</c:v>
                </c:pt>
                <c:pt idx="22221">
                  <c:v>-0.11596638655462101</c:v>
                </c:pt>
                <c:pt idx="22222">
                  <c:v>-0.11596638655462101</c:v>
                </c:pt>
                <c:pt idx="22223">
                  <c:v>-0.11596638655462101</c:v>
                </c:pt>
                <c:pt idx="22224">
                  <c:v>-0.11596638655462101</c:v>
                </c:pt>
                <c:pt idx="22225">
                  <c:v>-0.11596638655462101</c:v>
                </c:pt>
                <c:pt idx="22226">
                  <c:v>-0.11596638655462101</c:v>
                </c:pt>
                <c:pt idx="22227">
                  <c:v>-0.11596638655462101</c:v>
                </c:pt>
                <c:pt idx="22228">
                  <c:v>-0.11596638655462101</c:v>
                </c:pt>
                <c:pt idx="22229">
                  <c:v>-0.11596638655462101</c:v>
                </c:pt>
                <c:pt idx="22230">
                  <c:v>-0.11596638655462101</c:v>
                </c:pt>
                <c:pt idx="22231">
                  <c:v>-0.11596638655462101</c:v>
                </c:pt>
                <c:pt idx="22232">
                  <c:v>-0.11596638655462101</c:v>
                </c:pt>
                <c:pt idx="22233">
                  <c:v>-0.11596638655462101</c:v>
                </c:pt>
                <c:pt idx="22234">
                  <c:v>-0.11596638655462101</c:v>
                </c:pt>
                <c:pt idx="22235">
                  <c:v>-0.11512605042016701</c:v>
                </c:pt>
                <c:pt idx="22236">
                  <c:v>-0.11512605042016701</c:v>
                </c:pt>
                <c:pt idx="22237">
                  <c:v>-0.11512605042016701</c:v>
                </c:pt>
                <c:pt idx="22238">
                  <c:v>-0.11512605042016701</c:v>
                </c:pt>
                <c:pt idx="22239">
                  <c:v>-0.11512605042016701</c:v>
                </c:pt>
                <c:pt idx="22240">
                  <c:v>-0.11512605042016701</c:v>
                </c:pt>
                <c:pt idx="22241">
                  <c:v>-0.11596638655462101</c:v>
                </c:pt>
                <c:pt idx="22242">
                  <c:v>-0.11596638655462101</c:v>
                </c:pt>
                <c:pt idx="22243">
                  <c:v>-0.11680672268907499</c:v>
                </c:pt>
                <c:pt idx="22244">
                  <c:v>-0.11680672268907499</c:v>
                </c:pt>
                <c:pt idx="22245">
                  <c:v>-0.11680672268907499</c:v>
                </c:pt>
                <c:pt idx="22246">
                  <c:v>-0.11680672268907499</c:v>
                </c:pt>
                <c:pt idx="22247">
                  <c:v>-0.11680672268907499</c:v>
                </c:pt>
                <c:pt idx="22248">
                  <c:v>-0.11680672268907499</c:v>
                </c:pt>
                <c:pt idx="22249">
                  <c:v>-0.11680672268907499</c:v>
                </c:pt>
                <c:pt idx="22250">
                  <c:v>-0.11680672268907499</c:v>
                </c:pt>
                <c:pt idx="22251">
                  <c:v>-0.11680672268907499</c:v>
                </c:pt>
                <c:pt idx="22252">
                  <c:v>-0.11680672268907499</c:v>
                </c:pt>
                <c:pt idx="22253">
                  <c:v>-0.11680672268907499</c:v>
                </c:pt>
                <c:pt idx="22254">
                  <c:v>-0.11680672268907499</c:v>
                </c:pt>
                <c:pt idx="22255">
                  <c:v>-0.11680672268907499</c:v>
                </c:pt>
                <c:pt idx="22256">
                  <c:v>-0.11680672268907499</c:v>
                </c:pt>
                <c:pt idx="22257">
                  <c:v>-0.11680672268907499</c:v>
                </c:pt>
                <c:pt idx="22258">
                  <c:v>-0.11680672268907499</c:v>
                </c:pt>
                <c:pt idx="22259">
                  <c:v>-0.11680672268907499</c:v>
                </c:pt>
                <c:pt idx="22260">
                  <c:v>-0.11680672268907499</c:v>
                </c:pt>
                <c:pt idx="22261">
                  <c:v>-0.11680672268907499</c:v>
                </c:pt>
                <c:pt idx="22262">
                  <c:v>-0.11680672268907499</c:v>
                </c:pt>
                <c:pt idx="22263">
                  <c:v>-0.11680672268907499</c:v>
                </c:pt>
                <c:pt idx="22264">
                  <c:v>-0.11680672268907499</c:v>
                </c:pt>
                <c:pt idx="22265">
                  <c:v>-0.11680672268907499</c:v>
                </c:pt>
                <c:pt idx="22266">
                  <c:v>-0.11596638655462101</c:v>
                </c:pt>
                <c:pt idx="22267">
                  <c:v>-0.11596638655462101</c:v>
                </c:pt>
                <c:pt idx="22268">
                  <c:v>-0.11596638655462101</c:v>
                </c:pt>
                <c:pt idx="22269">
                  <c:v>-0.11596638655462101</c:v>
                </c:pt>
                <c:pt idx="22270">
                  <c:v>-0.11596638655462101</c:v>
                </c:pt>
                <c:pt idx="22271">
                  <c:v>-0.11596638655462101</c:v>
                </c:pt>
                <c:pt idx="22272">
                  <c:v>-0.11596638655462101</c:v>
                </c:pt>
                <c:pt idx="22273">
                  <c:v>-0.11596638655462101</c:v>
                </c:pt>
                <c:pt idx="22274">
                  <c:v>-0.11596638655462101</c:v>
                </c:pt>
                <c:pt idx="22275">
                  <c:v>-0.11596638655462101</c:v>
                </c:pt>
                <c:pt idx="22276">
                  <c:v>-0.11680672268907499</c:v>
                </c:pt>
                <c:pt idx="22277">
                  <c:v>-0.11680672268907499</c:v>
                </c:pt>
                <c:pt idx="22278">
                  <c:v>-0.11680672268907499</c:v>
                </c:pt>
                <c:pt idx="22279">
                  <c:v>-0.11680672268907499</c:v>
                </c:pt>
                <c:pt idx="22280">
                  <c:v>-0.11680672268907499</c:v>
                </c:pt>
                <c:pt idx="22281">
                  <c:v>-0.11680672268907499</c:v>
                </c:pt>
                <c:pt idx="22282">
                  <c:v>-0.11680672268907499</c:v>
                </c:pt>
                <c:pt idx="22283">
                  <c:v>-0.11680672268907499</c:v>
                </c:pt>
                <c:pt idx="22284">
                  <c:v>-0.11680672268907499</c:v>
                </c:pt>
                <c:pt idx="22285">
                  <c:v>-0.11764705882352899</c:v>
                </c:pt>
                <c:pt idx="22286">
                  <c:v>-0.11764705882352899</c:v>
                </c:pt>
                <c:pt idx="22287">
                  <c:v>-0.11764705882352899</c:v>
                </c:pt>
                <c:pt idx="22288">
                  <c:v>-0.11764705882352899</c:v>
                </c:pt>
                <c:pt idx="22289">
                  <c:v>-0.11764705882352899</c:v>
                </c:pt>
                <c:pt idx="22290">
                  <c:v>-0.11764705882352899</c:v>
                </c:pt>
                <c:pt idx="22291">
                  <c:v>-0.11764705882352899</c:v>
                </c:pt>
                <c:pt idx="22292">
                  <c:v>-0.11764705882352899</c:v>
                </c:pt>
                <c:pt idx="22293">
                  <c:v>-0.11764705882352899</c:v>
                </c:pt>
                <c:pt idx="22294">
                  <c:v>-0.11764705882352899</c:v>
                </c:pt>
                <c:pt idx="22295">
                  <c:v>-0.11764705882352899</c:v>
                </c:pt>
                <c:pt idx="22296">
                  <c:v>-0.11764705882352899</c:v>
                </c:pt>
                <c:pt idx="22297">
                  <c:v>-0.11764705882352899</c:v>
                </c:pt>
                <c:pt idx="22298">
                  <c:v>-0.11764705882352899</c:v>
                </c:pt>
                <c:pt idx="22299">
                  <c:v>-0.11764705882352899</c:v>
                </c:pt>
                <c:pt idx="22300">
                  <c:v>-0.11764705882352899</c:v>
                </c:pt>
                <c:pt idx="22301">
                  <c:v>-0.11764705882352899</c:v>
                </c:pt>
                <c:pt idx="22302">
                  <c:v>-0.11764705882352899</c:v>
                </c:pt>
                <c:pt idx="22303">
                  <c:v>-0.11764705882352899</c:v>
                </c:pt>
                <c:pt idx="22304">
                  <c:v>-0.11764705882352899</c:v>
                </c:pt>
                <c:pt idx="22305">
                  <c:v>-0.11764705882352899</c:v>
                </c:pt>
                <c:pt idx="22306">
                  <c:v>-0.11764705882352899</c:v>
                </c:pt>
                <c:pt idx="22307">
                  <c:v>-0.11764705882352899</c:v>
                </c:pt>
                <c:pt idx="22308">
                  <c:v>-0.11764705882352899</c:v>
                </c:pt>
                <c:pt idx="22309">
                  <c:v>-0.11764705882352899</c:v>
                </c:pt>
                <c:pt idx="22310">
                  <c:v>-0.11764705882352899</c:v>
                </c:pt>
                <c:pt idx="22311">
                  <c:v>-0.11764705882352899</c:v>
                </c:pt>
                <c:pt idx="22312">
                  <c:v>-0.11764705882352899</c:v>
                </c:pt>
                <c:pt idx="22313">
                  <c:v>-0.11764705882352899</c:v>
                </c:pt>
                <c:pt idx="22314">
                  <c:v>-0.11764705882352899</c:v>
                </c:pt>
                <c:pt idx="22315">
                  <c:v>-0.11764705882352899</c:v>
                </c:pt>
                <c:pt idx="22316">
                  <c:v>-0.11764705882352899</c:v>
                </c:pt>
                <c:pt idx="22317">
                  <c:v>-0.11764705882352899</c:v>
                </c:pt>
                <c:pt idx="22318">
                  <c:v>-0.11764705882352899</c:v>
                </c:pt>
                <c:pt idx="22319">
                  <c:v>-0.11764705882352899</c:v>
                </c:pt>
                <c:pt idx="22320">
                  <c:v>-0.11764705882352899</c:v>
                </c:pt>
                <c:pt idx="22321">
                  <c:v>-0.11764705882352899</c:v>
                </c:pt>
                <c:pt idx="22322">
                  <c:v>-0.11764705882352899</c:v>
                </c:pt>
                <c:pt idx="22323">
                  <c:v>-0.11848739495798299</c:v>
                </c:pt>
                <c:pt idx="22324">
                  <c:v>-0.11848739495798299</c:v>
                </c:pt>
                <c:pt idx="22325">
                  <c:v>-0.11848739495798299</c:v>
                </c:pt>
                <c:pt idx="22326">
                  <c:v>-0.11848739495798299</c:v>
                </c:pt>
                <c:pt idx="22327">
                  <c:v>-0.11848739495798299</c:v>
                </c:pt>
                <c:pt idx="22328">
                  <c:v>-0.11932773109243699</c:v>
                </c:pt>
                <c:pt idx="22329">
                  <c:v>-0.11932773109243699</c:v>
                </c:pt>
                <c:pt idx="22330">
                  <c:v>-0.11932773109243699</c:v>
                </c:pt>
                <c:pt idx="22331">
                  <c:v>-0.11932773109243699</c:v>
                </c:pt>
                <c:pt idx="22332">
                  <c:v>-0.11932773109243699</c:v>
                </c:pt>
                <c:pt idx="22333">
                  <c:v>-0.11932773109243699</c:v>
                </c:pt>
                <c:pt idx="22334">
                  <c:v>-0.11932773109243699</c:v>
                </c:pt>
                <c:pt idx="22335">
                  <c:v>-0.11932773109243699</c:v>
                </c:pt>
                <c:pt idx="22336">
                  <c:v>-0.11932773109243699</c:v>
                </c:pt>
                <c:pt idx="22337">
                  <c:v>-0.11932773109243699</c:v>
                </c:pt>
                <c:pt idx="22338">
                  <c:v>-0.11932773109243699</c:v>
                </c:pt>
                <c:pt idx="22339">
                  <c:v>-0.11932773109243699</c:v>
                </c:pt>
                <c:pt idx="22340">
                  <c:v>-0.11932773109243699</c:v>
                </c:pt>
                <c:pt idx="22341">
                  <c:v>-0.11932773109243699</c:v>
                </c:pt>
                <c:pt idx="22342">
                  <c:v>-0.11932773109243699</c:v>
                </c:pt>
                <c:pt idx="22343">
                  <c:v>-0.11932773109243699</c:v>
                </c:pt>
                <c:pt idx="22344">
                  <c:v>-0.11932773109243699</c:v>
                </c:pt>
                <c:pt idx="22345">
                  <c:v>-0.11932773109243699</c:v>
                </c:pt>
                <c:pt idx="22346">
                  <c:v>-0.11932773109243699</c:v>
                </c:pt>
                <c:pt idx="22347">
                  <c:v>-0.11932773109243699</c:v>
                </c:pt>
                <c:pt idx="22348">
                  <c:v>-0.11932773109243699</c:v>
                </c:pt>
                <c:pt idx="22349">
                  <c:v>-0.11932773109243699</c:v>
                </c:pt>
                <c:pt idx="22350">
                  <c:v>-0.11932773109243699</c:v>
                </c:pt>
                <c:pt idx="22351">
                  <c:v>-0.11932773109243699</c:v>
                </c:pt>
                <c:pt idx="22352">
                  <c:v>-0.11932773109243699</c:v>
                </c:pt>
                <c:pt idx="22353">
                  <c:v>-0.11932773109243699</c:v>
                </c:pt>
                <c:pt idx="22354">
                  <c:v>-0.11932773109243699</c:v>
                </c:pt>
                <c:pt idx="22355">
                  <c:v>-0.11932773109243699</c:v>
                </c:pt>
                <c:pt idx="22356">
                  <c:v>-0.11932773109243699</c:v>
                </c:pt>
                <c:pt idx="22357">
                  <c:v>-0.11932773109243699</c:v>
                </c:pt>
                <c:pt idx="22358">
                  <c:v>-0.11932773109243699</c:v>
                </c:pt>
                <c:pt idx="22359">
                  <c:v>-0.11932773109243699</c:v>
                </c:pt>
                <c:pt idx="22360">
                  <c:v>-0.11932773109243699</c:v>
                </c:pt>
                <c:pt idx="22361">
                  <c:v>-0.11932773109243699</c:v>
                </c:pt>
                <c:pt idx="22362">
                  <c:v>-0.11932773109243699</c:v>
                </c:pt>
                <c:pt idx="22363">
                  <c:v>-0.11932773109243699</c:v>
                </c:pt>
                <c:pt idx="22364">
                  <c:v>-0.11932773109243699</c:v>
                </c:pt>
                <c:pt idx="22365">
                  <c:v>-0.11932773109243699</c:v>
                </c:pt>
                <c:pt idx="22366">
                  <c:v>-0.11932773109243699</c:v>
                </c:pt>
                <c:pt idx="22367">
                  <c:v>-0.11932773109243699</c:v>
                </c:pt>
                <c:pt idx="22368">
                  <c:v>-0.11932773109243699</c:v>
                </c:pt>
                <c:pt idx="22369">
                  <c:v>-0.11932773109243699</c:v>
                </c:pt>
                <c:pt idx="22370">
                  <c:v>-0.11932773109243699</c:v>
                </c:pt>
                <c:pt idx="22371">
                  <c:v>-0.11932773109243699</c:v>
                </c:pt>
                <c:pt idx="22372">
                  <c:v>-0.11932773109243699</c:v>
                </c:pt>
                <c:pt idx="22373">
                  <c:v>-0.11932773109243699</c:v>
                </c:pt>
                <c:pt idx="22374">
                  <c:v>-0.11932773109243699</c:v>
                </c:pt>
                <c:pt idx="22375">
                  <c:v>-0.11932773109243699</c:v>
                </c:pt>
                <c:pt idx="22376">
                  <c:v>-0.11932773109243699</c:v>
                </c:pt>
                <c:pt idx="22377">
                  <c:v>-0.11932773109243699</c:v>
                </c:pt>
                <c:pt idx="22378">
                  <c:v>-0.11848739495798299</c:v>
                </c:pt>
                <c:pt idx="22379">
                  <c:v>-0.11848739495798299</c:v>
                </c:pt>
                <c:pt idx="22380">
                  <c:v>-0.11848739495798299</c:v>
                </c:pt>
                <c:pt idx="22381">
                  <c:v>-0.11848739495798299</c:v>
                </c:pt>
                <c:pt idx="22382">
                  <c:v>-0.11848739495798299</c:v>
                </c:pt>
                <c:pt idx="22383">
                  <c:v>-0.11848739495798299</c:v>
                </c:pt>
                <c:pt idx="22384">
                  <c:v>-0.11848739495798299</c:v>
                </c:pt>
                <c:pt idx="22385">
                  <c:v>-0.11848739495798299</c:v>
                </c:pt>
                <c:pt idx="22386">
                  <c:v>-0.11848739495798299</c:v>
                </c:pt>
                <c:pt idx="22387">
                  <c:v>-0.11848739495798299</c:v>
                </c:pt>
                <c:pt idx="22388">
                  <c:v>-0.11848739495798299</c:v>
                </c:pt>
                <c:pt idx="22389">
                  <c:v>-0.11848739495798299</c:v>
                </c:pt>
                <c:pt idx="22390">
                  <c:v>-0.11848739495798299</c:v>
                </c:pt>
                <c:pt idx="22391">
                  <c:v>-0.11848739495798299</c:v>
                </c:pt>
                <c:pt idx="22392">
                  <c:v>-0.11848739495798299</c:v>
                </c:pt>
                <c:pt idx="22393">
                  <c:v>-0.11848739495798299</c:v>
                </c:pt>
                <c:pt idx="22394">
                  <c:v>-0.11848739495798299</c:v>
                </c:pt>
                <c:pt idx="22395">
                  <c:v>-0.11848739495798299</c:v>
                </c:pt>
                <c:pt idx="22396">
                  <c:v>-0.11848739495798299</c:v>
                </c:pt>
                <c:pt idx="22397">
                  <c:v>-0.11848739495798299</c:v>
                </c:pt>
                <c:pt idx="22398">
                  <c:v>-0.11848739495798299</c:v>
                </c:pt>
                <c:pt idx="22399">
                  <c:v>-0.11848739495798299</c:v>
                </c:pt>
                <c:pt idx="22400">
                  <c:v>-0.11848739495798299</c:v>
                </c:pt>
                <c:pt idx="22401">
                  <c:v>-0.11848739495798299</c:v>
                </c:pt>
                <c:pt idx="22402">
                  <c:v>-0.11848739495798299</c:v>
                </c:pt>
                <c:pt idx="22403">
                  <c:v>-0.11848739495798299</c:v>
                </c:pt>
                <c:pt idx="22404">
                  <c:v>-0.11848739495798299</c:v>
                </c:pt>
                <c:pt idx="22405">
                  <c:v>-0.11848739495798299</c:v>
                </c:pt>
                <c:pt idx="22406">
                  <c:v>-0.11848739495798299</c:v>
                </c:pt>
                <c:pt idx="22407">
                  <c:v>-0.11848739495798299</c:v>
                </c:pt>
                <c:pt idx="22408">
                  <c:v>-0.11848739495798299</c:v>
                </c:pt>
                <c:pt idx="22409">
                  <c:v>-0.11848739495798299</c:v>
                </c:pt>
                <c:pt idx="22410">
                  <c:v>-0.11848739495798299</c:v>
                </c:pt>
                <c:pt idx="22411">
                  <c:v>-0.11848739495798299</c:v>
                </c:pt>
                <c:pt idx="22412">
                  <c:v>-0.11848739495798299</c:v>
                </c:pt>
                <c:pt idx="22413">
                  <c:v>-0.11848739495798299</c:v>
                </c:pt>
                <c:pt idx="22414">
                  <c:v>-0.11848739495798299</c:v>
                </c:pt>
                <c:pt idx="22415">
                  <c:v>-0.11848739495798299</c:v>
                </c:pt>
                <c:pt idx="22416">
                  <c:v>-0.11932773109243699</c:v>
                </c:pt>
                <c:pt idx="22417">
                  <c:v>-0.11932773109243699</c:v>
                </c:pt>
                <c:pt idx="22418">
                  <c:v>-0.11932773109243699</c:v>
                </c:pt>
                <c:pt idx="22419">
                  <c:v>-0.11932773109243699</c:v>
                </c:pt>
                <c:pt idx="22420">
                  <c:v>-0.11932773109243699</c:v>
                </c:pt>
                <c:pt idx="22421">
                  <c:v>-0.11932773109243699</c:v>
                </c:pt>
                <c:pt idx="22422">
                  <c:v>-0.11932773109243699</c:v>
                </c:pt>
                <c:pt idx="22423">
                  <c:v>-0.11932773109243699</c:v>
                </c:pt>
                <c:pt idx="22424">
                  <c:v>-0.11932773109243699</c:v>
                </c:pt>
                <c:pt idx="22425">
                  <c:v>-0.11932773109243699</c:v>
                </c:pt>
                <c:pt idx="22426">
                  <c:v>-0.11932773109243699</c:v>
                </c:pt>
                <c:pt idx="22427">
                  <c:v>-0.11932773109243699</c:v>
                </c:pt>
                <c:pt idx="22428">
                  <c:v>-0.11932773109243699</c:v>
                </c:pt>
                <c:pt idx="22429">
                  <c:v>-0.11932773109243699</c:v>
                </c:pt>
                <c:pt idx="22430">
                  <c:v>-0.11932773109243699</c:v>
                </c:pt>
                <c:pt idx="22431">
                  <c:v>-0.11932773109243699</c:v>
                </c:pt>
                <c:pt idx="22432">
                  <c:v>-0.11932773109243699</c:v>
                </c:pt>
                <c:pt idx="22433">
                  <c:v>-0.11932773109243699</c:v>
                </c:pt>
                <c:pt idx="22434">
                  <c:v>-0.11932773109243699</c:v>
                </c:pt>
                <c:pt idx="22435">
                  <c:v>-0.11932773109243699</c:v>
                </c:pt>
                <c:pt idx="22436">
                  <c:v>-0.11932773109243699</c:v>
                </c:pt>
                <c:pt idx="22437">
                  <c:v>-0.11932773109243699</c:v>
                </c:pt>
                <c:pt idx="22438">
                  <c:v>-0.11932773109243699</c:v>
                </c:pt>
                <c:pt idx="22439">
                  <c:v>-0.11932773109243699</c:v>
                </c:pt>
                <c:pt idx="22440">
                  <c:v>-0.11932773109243699</c:v>
                </c:pt>
                <c:pt idx="22441">
                  <c:v>-0.11932773109243699</c:v>
                </c:pt>
                <c:pt idx="22442">
                  <c:v>-0.11932773109243699</c:v>
                </c:pt>
                <c:pt idx="22443">
                  <c:v>-0.11932773109243699</c:v>
                </c:pt>
                <c:pt idx="22444">
                  <c:v>-0.11932773109243699</c:v>
                </c:pt>
                <c:pt idx="22445">
                  <c:v>-0.11932773109243699</c:v>
                </c:pt>
                <c:pt idx="22446">
                  <c:v>-0.11932773109243699</c:v>
                </c:pt>
                <c:pt idx="22447">
                  <c:v>-0.11932773109243699</c:v>
                </c:pt>
                <c:pt idx="22448">
                  <c:v>-0.11932773109243699</c:v>
                </c:pt>
                <c:pt idx="22449">
                  <c:v>-0.11932773109243699</c:v>
                </c:pt>
                <c:pt idx="22450">
                  <c:v>-0.11932773109243699</c:v>
                </c:pt>
                <c:pt idx="22451">
                  <c:v>-0.11932773109243699</c:v>
                </c:pt>
                <c:pt idx="22452">
                  <c:v>-0.11932773109243699</c:v>
                </c:pt>
                <c:pt idx="22453">
                  <c:v>-0.11932773109243699</c:v>
                </c:pt>
                <c:pt idx="22454">
                  <c:v>-0.11932773109243699</c:v>
                </c:pt>
                <c:pt idx="22455">
                  <c:v>-0.11932773109243699</c:v>
                </c:pt>
                <c:pt idx="22456">
                  <c:v>-0.11932773109243699</c:v>
                </c:pt>
                <c:pt idx="22457">
                  <c:v>-0.11932773109243699</c:v>
                </c:pt>
                <c:pt idx="22458">
                  <c:v>-0.11932773109243699</c:v>
                </c:pt>
                <c:pt idx="22459">
                  <c:v>-0.11932773109243699</c:v>
                </c:pt>
                <c:pt idx="22460">
                  <c:v>-0.11932773109243699</c:v>
                </c:pt>
                <c:pt idx="22461">
                  <c:v>-0.11932773109243699</c:v>
                </c:pt>
                <c:pt idx="22462">
                  <c:v>-0.11932773109243699</c:v>
                </c:pt>
                <c:pt idx="22463">
                  <c:v>-0.11932773109243699</c:v>
                </c:pt>
                <c:pt idx="22464">
                  <c:v>-0.11932773109243699</c:v>
                </c:pt>
                <c:pt idx="22465">
                  <c:v>-0.11932773109243699</c:v>
                </c:pt>
                <c:pt idx="22466">
                  <c:v>-0.11932773109243699</c:v>
                </c:pt>
                <c:pt idx="22467">
                  <c:v>-0.11932773109243699</c:v>
                </c:pt>
                <c:pt idx="22468">
                  <c:v>-0.11932773109243699</c:v>
                </c:pt>
                <c:pt idx="22469">
                  <c:v>-0.11932773109243699</c:v>
                </c:pt>
                <c:pt idx="22470">
                  <c:v>-0.11932773109243699</c:v>
                </c:pt>
                <c:pt idx="22471">
                  <c:v>-0.11932773109243699</c:v>
                </c:pt>
                <c:pt idx="22472">
                  <c:v>-0.11932773109243699</c:v>
                </c:pt>
                <c:pt idx="22473">
                  <c:v>-0.11932773109243699</c:v>
                </c:pt>
                <c:pt idx="22474">
                  <c:v>-0.11932773109243699</c:v>
                </c:pt>
                <c:pt idx="22475">
                  <c:v>-0.11932773109243699</c:v>
                </c:pt>
                <c:pt idx="22476">
                  <c:v>-0.11932773109243699</c:v>
                </c:pt>
                <c:pt idx="22477">
                  <c:v>-0.11932773109243699</c:v>
                </c:pt>
                <c:pt idx="22478">
                  <c:v>-0.11932773109243699</c:v>
                </c:pt>
                <c:pt idx="22479">
                  <c:v>-0.11932773109243699</c:v>
                </c:pt>
                <c:pt idx="22480">
                  <c:v>-0.11932773109243699</c:v>
                </c:pt>
                <c:pt idx="22481">
                  <c:v>-0.11932773109243699</c:v>
                </c:pt>
                <c:pt idx="22482">
                  <c:v>-0.11932773109243699</c:v>
                </c:pt>
                <c:pt idx="22483">
                  <c:v>-0.11932773109243699</c:v>
                </c:pt>
                <c:pt idx="22484">
                  <c:v>-0.11932773109243699</c:v>
                </c:pt>
                <c:pt idx="22485">
                  <c:v>-0.11932773109243699</c:v>
                </c:pt>
                <c:pt idx="22486">
                  <c:v>-0.11932773109243699</c:v>
                </c:pt>
                <c:pt idx="22487">
                  <c:v>-0.11932773109243699</c:v>
                </c:pt>
                <c:pt idx="22488">
                  <c:v>-0.11932773109243699</c:v>
                </c:pt>
                <c:pt idx="22489">
                  <c:v>-0.11932773109243699</c:v>
                </c:pt>
                <c:pt idx="22490">
                  <c:v>-0.11932773109243699</c:v>
                </c:pt>
                <c:pt idx="22491">
                  <c:v>-0.11932773109243699</c:v>
                </c:pt>
                <c:pt idx="22492">
                  <c:v>-0.11932773109243699</c:v>
                </c:pt>
                <c:pt idx="22493">
                  <c:v>-0.11932773109243699</c:v>
                </c:pt>
                <c:pt idx="22494">
                  <c:v>-0.11932773109243699</c:v>
                </c:pt>
                <c:pt idx="22495">
                  <c:v>-0.11932773109243699</c:v>
                </c:pt>
                <c:pt idx="22496">
                  <c:v>-0.11932773109243699</c:v>
                </c:pt>
                <c:pt idx="22497">
                  <c:v>-0.11932773109243699</c:v>
                </c:pt>
                <c:pt idx="22498">
                  <c:v>-0.11932773109243699</c:v>
                </c:pt>
                <c:pt idx="22499">
                  <c:v>-0.11932773109243699</c:v>
                </c:pt>
                <c:pt idx="22500">
                  <c:v>-0.11932773109243699</c:v>
                </c:pt>
                <c:pt idx="22501">
                  <c:v>-0.11932773109243699</c:v>
                </c:pt>
                <c:pt idx="22502">
                  <c:v>-0.11932773109243699</c:v>
                </c:pt>
                <c:pt idx="22503">
                  <c:v>-0.11932773109243699</c:v>
                </c:pt>
                <c:pt idx="22504">
                  <c:v>-0.11932773109243699</c:v>
                </c:pt>
                <c:pt idx="22505">
                  <c:v>-0.11932773109243699</c:v>
                </c:pt>
                <c:pt idx="22506">
                  <c:v>-0.11932773109243699</c:v>
                </c:pt>
                <c:pt idx="22507">
                  <c:v>-0.11932773109243699</c:v>
                </c:pt>
                <c:pt idx="22508">
                  <c:v>-0.11932773109243699</c:v>
                </c:pt>
                <c:pt idx="22509">
                  <c:v>-0.11932773109243699</c:v>
                </c:pt>
                <c:pt idx="22510">
                  <c:v>-0.11932773109243699</c:v>
                </c:pt>
                <c:pt idx="22511">
                  <c:v>-0.11932773109243699</c:v>
                </c:pt>
                <c:pt idx="22512">
                  <c:v>-0.11932773109243699</c:v>
                </c:pt>
                <c:pt idx="22513">
                  <c:v>-0.11932773109243699</c:v>
                </c:pt>
                <c:pt idx="22514">
                  <c:v>-0.11932773109243699</c:v>
                </c:pt>
                <c:pt idx="22515">
                  <c:v>-0.11932773109243699</c:v>
                </c:pt>
                <c:pt idx="22516">
                  <c:v>-0.11932773109243699</c:v>
                </c:pt>
                <c:pt idx="22517">
                  <c:v>-0.11932773109243699</c:v>
                </c:pt>
                <c:pt idx="22518">
                  <c:v>-0.11932773109243699</c:v>
                </c:pt>
                <c:pt idx="22519">
                  <c:v>-0.11932773109243699</c:v>
                </c:pt>
                <c:pt idx="22520">
                  <c:v>-0.11932773109243699</c:v>
                </c:pt>
                <c:pt idx="22521">
                  <c:v>-0.11932773109243699</c:v>
                </c:pt>
                <c:pt idx="22522">
                  <c:v>-0.11932773109243699</c:v>
                </c:pt>
                <c:pt idx="22523">
                  <c:v>-0.11932773109243699</c:v>
                </c:pt>
                <c:pt idx="22524">
                  <c:v>-0.11932773109243699</c:v>
                </c:pt>
                <c:pt idx="22525">
                  <c:v>-0.11932773109243699</c:v>
                </c:pt>
                <c:pt idx="22526">
                  <c:v>-0.11932773109243699</c:v>
                </c:pt>
                <c:pt idx="22527">
                  <c:v>-0.11932773109243699</c:v>
                </c:pt>
                <c:pt idx="22528">
                  <c:v>-0.11932773109243699</c:v>
                </c:pt>
                <c:pt idx="22529">
                  <c:v>-0.11932773109243699</c:v>
                </c:pt>
                <c:pt idx="22530">
                  <c:v>-0.11932773109243699</c:v>
                </c:pt>
                <c:pt idx="22531">
                  <c:v>-0.11932773109243699</c:v>
                </c:pt>
                <c:pt idx="22532">
                  <c:v>-0.11932773109243699</c:v>
                </c:pt>
                <c:pt idx="22533">
                  <c:v>-0.11932773109243699</c:v>
                </c:pt>
                <c:pt idx="22534">
                  <c:v>-0.11932773109243699</c:v>
                </c:pt>
                <c:pt idx="22535">
                  <c:v>-0.11932773109243699</c:v>
                </c:pt>
                <c:pt idx="22536">
                  <c:v>-0.11932773109243699</c:v>
                </c:pt>
                <c:pt idx="22537">
                  <c:v>-0.11932773109243699</c:v>
                </c:pt>
                <c:pt idx="22538">
                  <c:v>-0.11932773109243699</c:v>
                </c:pt>
                <c:pt idx="22539">
                  <c:v>-0.11932773109243699</c:v>
                </c:pt>
                <c:pt idx="22540">
                  <c:v>-0.11932773109243699</c:v>
                </c:pt>
                <c:pt idx="22541">
                  <c:v>-0.11932773109243699</c:v>
                </c:pt>
                <c:pt idx="22542">
                  <c:v>-0.11932773109243699</c:v>
                </c:pt>
                <c:pt idx="22543">
                  <c:v>-0.11932773109243699</c:v>
                </c:pt>
                <c:pt idx="22544">
                  <c:v>-0.11932773109243699</c:v>
                </c:pt>
                <c:pt idx="22545">
                  <c:v>-0.11932773109243699</c:v>
                </c:pt>
                <c:pt idx="22546">
                  <c:v>-0.11932773109243699</c:v>
                </c:pt>
                <c:pt idx="22547">
                  <c:v>-0.11932773109243699</c:v>
                </c:pt>
                <c:pt idx="22548">
                  <c:v>-0.12016806722689</c:v>
                </c:pt>
                <c:pt idx="22549">
                  <c:v>-0.12016806722689</c:v>
                </c:pt>
                <c:pt idx="22550">
                  <c:v>-0.12016806722689</c:v>
                </c:pt>
                <c:pt idx="22551">
                  <c:v>-0.12016806722689</c:v>
                </c:pt>
                <c:pt idx="22552">
                  <c:v>-0.11932773109243699</c:v>
                </c:pt>
                <c:pt idx="22553">
                  <c:v>-0.11932773109243699</c:v>
                </c:pt>
                <c:pt idx="22554">
                  <c:v>-0.11932773109243699</c:v>
                </c:pt>
                <c:pt idx="22555">
                  <c:v>-0.11932773109243699</c:v>
                </c:pt>
                <c:pt idx="22556">
                  <c:v>-0.11932773109243699</c:v>
                </c:pt>
                <c:pt idx="22557">
                  <c:v>-0.11932773109243699</c:v>
                </c:pt>
                <c:pt idx="22558">
                  <c:v>-0.11932773109243699</c:v>
                </c:pt>
                <c:pt idx="22559">
                  <c:v>-0.11932773109243699</c:v>
                </c:pt>
                <c:pt idx="22560">
                  <c:v>-0.11932773109243699</c:v>
                </c:pt>
                <c:pt idx="22561">
                  <c:v>-0.11932773109243699</c:v>
                </c:pt>
                <c:pt idx="22562">
                  <c:v>-0.11932773109243699</c:v>
                </c:pt>
                <c:pt idx="22563">
                  <c:v>-0.11932773109243699</c:v>
                </c:pt>
                <c:pt idx="22564">
                  <c:v>-0.11932773109243699</c:v>
                </c:pt>
                <c:pt idx="22565">
                  <c:v>-0.11932773109243699</c:v>
                </c:pt>
                <c:pt idx="22566">
                  <c:v>-0.11932773109243699</c:v>
                </c:pt>
                <c:pt idx="22567">
                  <c:v>-0.11932773109243699</c:v>
                </c:pt>
                <c:pt idx="22568">
                  <c:v>-0.11932773109243699</c:v>
                </c:pt>
                <c:pt idx="22569">
                  <c:v>-0.11932773109243699</c:v>
                </c:pt>
                <c:pt idx="22570">
                  <c:v>-0.11932773109243699</c:v>
                </c:pt>
                <c:pt idx="22571">
                  <c:v>-0.11932773109243699</c:v>
                </c:pt>
                <c:pt idx="22572">
                  <c:v>-0.11932773109243699</c:v>
                </c:pt>
                <c:pt idx="22573">
                  <c:v>-0.11932773109243699</c:v>
                </c:pt>
                <c:pt idx="22574">
                  <c:v>-0.11932773109243699</c:v>
                </c:pt>
                <c:pt idx="22575">
                  <c:v>-0.11932773109243699</c:v>
                </c:pt>
                <c:pt idx="22576">
                  <c:v>-0.11932773109243699</c:v>
                </c:pt>
                <c:pt idx="22577">
                  <c:v>-0.11932773109243699</c:v>
                </c:pt>
                <c:pt idx="22578">
                  <c:v>-0.11932773109243699</c:v>
                </c:pt>
                <c:pt idx="22579">
                  <c:v>-0.11932773109243699</c:v>
                </c:pt>
                <c:pt idx="22580">
                  <c:v>-0.11932773109243699</c:v>
                </c:pt>
                <c:pt idx="22581">
                  <c:v>-0.11932773109243699</c:v>
                </c:pt>
                <c:pt idx="22582">
                  <c:v>-0.11932773109243699</c:v>
                </c:pt>
                <c:pt idx="22583">
                  <c:v>-0.11932773109243699</c:v>
                </c:pt>
                <c:pt idx="22584">
                  <c:v>-0.11932773109243699</c:v>
                </c:pt>
                <c:pt idx="22585">
                  <c:v>-0.11932773109243699</c:v>
                </c:pt>
                <c:pt idx="22586">
                  <c:v>-0.11932773109243699</c:v>
                </c:pt>
                <c:pt idx="22587">
                  <c:v>-0.11932773109243699</c:v>
                </c:pt>
                <c:pt idx="22588">
                  <c:v>-0.11932773109243699</c:v>
                </c:pt>
                <c:pt idx="22589">
                  <c:v>-0.11932773109243699</c:v>
                </c:pt>
                <c:pt idx="22590">
                  <c:v>-0.11932773109243699</c:v>
                </c:pt>
                <c:pt idx="22591">
                  <c:v>-0.11932773109243699</c:v>
                </c:pt>
                <c:pt idx="22592">
                  <c:v>-0.11932773109243699</c:v>
                </c:pt>
                <c:pt idx="22593">
                  <c:v>-0.11932773109243699</c:v>
                </c:pt>
                <c:pt idx="22594">
                  <c:v>-0.11932773109243699</c:v>
                </c:pt>
                <c:pt idx="22595">
                  <c:v>-0.11932773109243699</c:v>
                </c:pt>
                <c:pt idx="22596">
                  <c:v>-0.11932773109243699</c:v>
                </c:pt>
                <c:pt idx="22597">
                  <c:v>-0.11932773109243699</c:v>
                </c:pt>
                <c:pt idx="22598">
                  <c:v>-0.11932773109243699</c:v>
                </c:pt>
                <c:pt idx="22599">
                  <c:v>-0.11932773109243699</c:v>
                </c:pt>
                <c:pt idx="22600">
                  <c:v>-0.11932773109243699</c:v>
                </c:pt>
                <c:pt idx="22601">
                  <c:v>-0.11848739495798299</c:v>
                </c:pt>
                <c:pt idx="22602">
                  <c:v>-0.11848739495798299</c:v>
                </c:pt>
                <c:pt idx="22603">
                  <c:v>-0.11764705882352899</c:v>
                </c:pt>
                <c:pt idx="22604">
                  <c:v>-0.11764705882352899</c:v>
                </c:pt>
                <c:pt idx="22605">
                  <c:v>-0.11764705882352899</c:v>
                </c:pt>
                <c:pt idx="22606">
                  <c:v>-0.11764705882352899</c:v>
                </c:pt>
                <c:pt idx="22607">
                  <c:v>-0.11764705882352899</c:v>
                </c:pt>
                <c:pt idx="22608">
                  <c:v>-0.11764705882352899</c:v>
                </c:pt>
                <c:pt idx="22609">
                  <c:v>-0.11764705882352899</c:v>
                </c:pt>
                <c:pt idx="22610">
                  <c:v>-0.11764705882352899</c:v>
                </c:pt>
                <c:pt idx="22611">
                  <c:v>-0.11764705882352899</c:v>
                </c:pt>
                <c:pt idx="22612">
                  <c:v>-0.11764705882352899</c:v>
                </c:pt>
                <c:pt idx="22613">
                  <c:v>-0.11764705882352899</c:v>
                </c:pt>
                <c:pt idx="22614">
                  <c:v>-0.11764705882352899</c:v>
                </c:pt>
                <c:pt idx="22615">
                  <c:v>-0.11764705882352899</c:v>
                </c:pt>
                <c:pt idx="22616">
                  <c:v>-0.11764705882352899</c:v>
                </c:pt>
                <c:pt idx="22617">
                  <c:v>-0.11764705882352899</c:v>
                </c:pt>
                <c:pt idx="22618">
                  <c:v>-0.11764705882352899</c:v>
                </c:pt>
                <c:pt idx="22619">
                  <c:v>-0.11764705882352899</c:v>
                </c:pt>
                <c:pt idx="22620">
                  <c:v>-0.11764705882352899</c:v>
                </c:pt>
                <c:pt idx="22621">
                  <c:v>-0.11764705882352899</c:v>
                </c:pt>
                <c:pt idx="22622">
                  <c:v>-0.11764705882352899</c:v>
                </c:pt>
                <c:pt idx="22623">
                  <c:v>-0.11764705882352899</c:v>
                </c:pt>
                <c:pt idx="22624">
                  <c:v>-0.11764705882352899</c:v>
                </c:pt>
                <c:pt idx="22625">
                  <c:v>-0.11764705882352899</c:v>
                </c:pt>
                <c:pt idx="22626">
                  <c:v>-0.11764705882352899</c:v>
                </c:pt>
                <c:pt idx="22627">
                  <c:v>-0.11764705882352899</c:v>
                </c:pt>
                <c:pt idx="22628">
                  <c:v>-0.11764705882352899</c:v>
                </c:pt>
                <c:pt idx="22629">
                  <c:v>-0.11764705882352899</c:v>
                </c:pt>
                <c:pt idx="22630">
                  <c:v>-0.11764705882352899</c:v>
                </c:pt>
                <c:pt idx="22631">
                  <c:v>-0.11764705882352899</c:v>
                </c:pt>
                <c:pt idx="22632">
                  <c:v>-0.11764705882352899</c:v>
                </c:pt>
                <c:pt idx="22633">
                  <c:v>-0.11764705882352899</c:v>
                </c:pt>
                <c:pt idx="22634">
                  <c:v>-0.11764705882352899</c:v>
                </c:pt>
                <c:pt idx="22635">
                  <c:v>-0.11764705882352899</c:v>
                </c:pt>
                <c:pt idx="22636">
                  <c:v>-0.11764705882352899</c:v>
                </c:pt>
                <c:pt idx="22637">
                  <c:v>-0.11764705882352899</c:v>
                </c:pt>
                <c:pt idx="22638">
                  <c:v>-0.11764705882352899</c:v>
                </c:pt>
                <c:pt idx="22639">
                  <c:v>-0.11764705882352899</c:v>
                </c:pt>
                <c:pt idx="22640">
                  <c:v>-0.11764705882352899</c:v>
                </c:pt>
                <c:pt idx="22641">
                  <c:v>-0.11764705882352899</c:v>
                </c:pt>
                <c:pt idx="22642">
                  <c:v>-0.11764705882352899</c:v>
                </c:pt>
                <c:pt idx="22643">
                  <c:v>-0.11764705882352899</c:v>
                </c:pt>
                <c:pt idx="22644">
                  <c:v>-0.11764705882352899</c:v>
                </c:pt>
                <c:pt idx="22645">
                  <c:v>-0.11764705882352899</c:v>
                </c:pt>
                <c:pt idx="22646">
                  <c:v>-0.11764705882352899</c:v>
                </c:pt>
                <c:pt idx="22647">
                  <c:v>-0.11764705882352899</c:v>
                </c:pt>
                <c:pt idx="22648">
                  <c:v>-0.11764705882352899</c:v>
                </c:pt>
                <c:pt idx="22649">
                  <c:v>-0.11764705882352899</c:v>
                </c:pt>
                <c:pt idx="22650">
                  <c:v>-0.11764705882352899</c:v>
                </c:pt>
                <c:pt idx="22651">
                  <c:v>-0.11764705882352899</c:v>
                </c:pt>
                <c:pt idx="22652">
                  <c:v>-0.11764705882352899</c:v>
                </c:pt>
                <c:pt idx="22653">
                  <c:v>-0.11764705882352899</c:v>
                </c:pt>
                <c:pt idx="22654">
                  <c:v>-0.11764705882352899</c:v>
                </c:pt>
                <c:pt idx="22655">
                  <c:v>-0.11764705882352899</c:v>
                </c:pt>
                <c:pt idx="22656">
                  <c:v>-0.11764705882352899</c:v>
                </c:pt>
                <c:pt idx="22657">
                  <c:v>-0.11764705882352899</c:v>
                </c:pt>
                <c:pt idx="22658">
                  <c:v>-0.11764705882352899</c:v>
                </c:pt>
                <c:pt idx="22659">
                  <c:v>-0.11764705882352899</c:v>
                </c:pt>
                <c:pt idx="22660">
                  <c:v>-0.11764705882352899</c:v>
                </c:pt>
                <c:pt idx="22661">
                  <c:v>-0.11764705882352899</c:v>
                </c:pt>
                <c:pt idx="22662">
                  <c:v>-0.11764705882352899</c:v>
                </c:pt>
                <c:pt idx="22663">
                  <c:v>-0.11764705882352899</c:v>
                </c:pt>
                <c:pt idx="22664">
                  <c:v>-0.11764705882352899</c:v>
                </c:pt>
                <c:pt idx="22665">
                  <c:v>-0.11764705882352899</c:v>
                </c:pt>
                <c:pt idx="22666">
                  <c:v>-0.11764705882352899</c:v>
                </c:pt>
                <c:pt idx="22667">
                  <c:v>-0.11764705882352899</c:v>
                </c:pt>
                <c:pt idx="22668">
                  <c:v>-0.11764705882352899</c:v>
                </c:pt>
                <c:pt idx="22669">
                  <c:v>-0.11764705882352899</c:v>
                </c:pt>
                <c:pt idx="22670">
                  <c:v>-0.11764705882352899</c:v>
                </c:pt>
                <c:pt idx="22671">
                  <c:v>-0.11764705882352899</c:v>
                </c:pt>
                <c:pt idx="22672">
                  <c:v>-0.11764705882352899</c:v>
                </c:pt>
                <c:pt idx="22673">
                  <c:v>-0.11764705882352899</c:v>
                </c:pt>
                <c:pt idx="22674">
                  <c:v>-0.11764705882352899</c:v>
                </c:pt>
                <c:pt idx="22675">
                  <c:v>-0.11764705882352899</c:v>
                </c:pt>
                <c:pt idx="22676">
                  <c:v>-0.11764705882352899</c:v>
                </c:pt>
                <c:pt idx="22677">
                  <c:v>-0.11764705882352899</c:v>
                </c:pt>
                <c:pt idx="22678">
                  <c:v>-0.11764705882352899</c:v>
                </c:pt>
                <c:pt idx="22679">
                  <c:v>-0.11764705882352899</c:v>
                </c:pt>
                <c:pt idx="22680">
                  <c:v>-0.11764705882352899</c:v>
                </c:pt>
                <c:pt idx="22681">
                  <c:v>-0.11764705882352899</c:v>
                </c:pt>
                <c:pt idx="22682">
                  <c:v>-0.11764705882352899</c:v>
                </c:pt>
                <c:pt idx="22683">
                  <c:v>-0.11764705882352899</c:v>
                </c:pt>
                <c:pt idx="22684">
                  <c:v>-0.11764705882352899</c:v>
                </c:pt>
                <c:pt idx="22685">
                  <c:v>-0.11764705882352899</c:v>
                </c:pt>
                <c:pt idx="22686">
                  <c:v>-0.11764705882352899</c:v>
                </c:pt>
                <c:pt idx="22687">
                  <c:v>-0.11764705882352899</c:v>
                </c:pt>
                <c:pt idx="22688">
                  <c:v>-0.11764705882352899</c:v>
                </c:pt>
                <c:pt idx="22689">
                  <c:v>-0.11764705882352899</c:v>
                </c:pt>
                <c:pt idx="22690">
                  <c:v>-0.11764705882352899</c:v>
                </c:pt>
                <c:pt idx="22691">
                  <c:v>-0.11764705882352899</c:v>
                </c:pt>
                <c:pt idx="22692">
                  <c:v>-0.11764705882352899</c:v>
                </c:pt>
                <c:pt idx="22693">
                  <c:v>-0.11764705882352899</c:v>
                </c:pt>
                <c:pt idx="22694">
                  <c:v>-0.11764705882352899</c:v>
                </c:pt>
                <c:pt idx="22695">
                  <c:v>-0.11764705882352899</c:v>
                </c:pt>
                <c:pt idx="22696">
                  <c:v>-0.11764705882352899</c:v>
                </c:pt>
                <c:pt idx="22697">
                  <c:v>-0.11764705882352899</c:v>
                </c:pt>
                <c:pt idx="22698">
                  <c:v>-0.11764705882352899</c:v>
                </c:pt>
                <c:pt idx="22699">
                  <c:v>-0.11764705882352899</c:v>
                </c:pt>
                <c:pt idx="22700">
                  <c:v>-0.11680672268907499</c:v>
                </c:pt>
                <c:pt idx="22701">
                  <c:v>-0.11680672268907499</c:v>
                </c:pt>
                <c:pt idx="22702">
                  <c:v>-0.11680672268907499</c:v>
                </c:pt>
                <c:pt idx="22703">
                  <c:v>-0.11596638655462101</c:v>
                </c:pt>
                <c:pt idx="22704">
                  <c:v>-0.11596638655462101</c:v>
                </c:pt>
                <c:pt idx="22705">
                  <c:v>-0.11596638655462101</c:v>
                </c:pt>
                <c:pt idx="22706">
                  <c:v>-0.11596638655462101</c:v>
                </c:pt>
                <c:pt idx="22707">
                  <c:v>-0.11680672268907499</c:v>
                </c:pt>
                <c:pt idx="22708">
                  <c:v>-0.11680672268907499</c:v>
                </c:pt>
                <c:pt idx="22709">
                  <c:v>-0.11680672268907499</c:v>
                </c:pt>
                <c:pt idx="22710">
                  <c:v>-0.11680672268907499</c:v>
                </c:pt>
                <c:pt idx="22711">
                  <c:v>-0.11680672268907499</c:v>
                </c:pt>
                <c:pt idx="22712">
                  <c:v>-0.11680672268907499</c:v>
                </c:pt>
                <c:pt idx="22713">
                  <c:v>-0.11680672268907499</c:v>
                </c:pt>
                <c:pt idx="22714">
                  <c:v>-0.11680672268907499</c:v>
                </c:pt>
                <c:pt idx="22715">
                  <c:v>-0.11680672268907499</c:v>
                </c:pt>
                <c:pt idx="22716">
                  <c:v>-0.11680672268907499</c:v>
                </c:pt>
                <c:pt idx="22717">
                  <c:v>-0.11680672268907499</c:v>
                </c:pt>
                <c:pt idx="22718">
                  <c:v>-0.11680672268907499</c:v>
                </c:pt>
                <c:pt idx="22719">
                  <c:v>-0.11680672268907499</c:v>
                </c:pt>
                <c:pt idx="22720">
                  <c:v>-0.11680672268907499</c:v>
                </c:pt>
                <c:pt idx="22721">
                  <c:v>-0.11764705882352899</c:v>
                </c:pt>
                <c:pt idx="22722">
                  <c:v>-0.11848739495798299</c:v>
                </c:pt>
                <c:pt idx="22723">
                  <c:v>-0.11848739495798299</c:v>
                </c:pt>
                <c:pt idx="22724">
                  <c:v>-0.11848739495798299</c:v>
                </c:pt>
                <c:pt idx="22725">
                  <c:v>-0.11848739495798299</c:v>
                </c:pt>
                <c:pt idx="22726">
                  <c:v>-0.11848739495798299</c:v>
                </c:pt>
                <c:pt idx="22727">
                  <c:v>-0.11848739495798299</c:v>
                </c:pt>
                <c:pt idx="22728">
                  <c:v>-0.11848739495798299</c:v>
                </c:pt>
                <c:pt idx="22729">
                  <c:v>-0.11848739495798299</c:v>
                </c:pt>
                <c:pt idx="22730">
                  <c:v>-0.11848739495798299</c:v>
                </c:pt>
                <c:pt idx="22731">
                  <c:v>-0.11848739495798299</c:v>
                </c:pt>
                <c:pt idx="22732">
                  <c:v>-0.11848739495798299</c:v>
                </c:pt>
                <c:pt idx="22733">
                  <c:v>-0.11848739495798299</c:v>
                </c:pt>
                <c:pt idx="22734">
                  <c:v>-0.11848739495798299</c:v>
                </c:pt>
                <c:pt idx="22735">
                  <c:v>-0.11848739495798299</c:v>
                </c:pt>
                <c:pt idx="22736">
                  <c:v>-0.11848739495798299</c:v>
                </c:pt>
                <c:pt idx="22737">
                  <c:v>-0.11848739495798299</c:v>
                </c:pt>
                <c:pt idx="22738">
                  <c:v>-0.11848739495798299</c:v>
                </c:pt>
                <c:pt idx="22739">
                  <c:v>-0.11848739495798299</c:v>
                </c:pt>
                <c:pt idx="22740">
                  <c:v>-0.11848739495798299</c:v>
                </c:pt>
                <c:pt idx="22741">
                  <c:v>-0.11848739495798299</c:v>
                </c:pt>
                <c:pt idx="22742">
                  <c:v>-0.11848739495798299</c:v>
                </c:pt>
                <c:pt idx="22743">
                  <c:v>-0.11764705882352899</c:v>
                </c:pt>
                <c:pt idx="22744">
                  <c:v>-0.11764705882352899</c:v>
                </c:pt>
                <c:pt idx="22745">
                  <c:v>-0.11764705882352899</c:v>
                </c:pt>
                <c:pt idx="22746">
                  <c:v>-0.11764705882352899</c:v>
                </c:pt>
                <c:pt idx="22747">
                  <c:v>-0.11764705882352899</c:v>
                </c:pt>
                <c:pt idx="22748">
                  <c:v>-0.11764705882352899</c:v>
                </c:pt>
                <c:pt idx="22749">
                  <c:v>-0.11764705882352899</c:v>
                </c:pt>
                <c:pt idx="22750">
                  <c:v>-0.11764705882352899</c:v>
                </c:pt>
                <c:pt idx="22751">
                  <c:v>-0.11764705882352899</c:v>
                </c:pt>
                <c:pt idx="22752">
                  <c:v>-0.11764705882352899</c:v>
                </c:pt>
                <c:pt idx="22753">
                  <c:v>-0.11764705882352899</c:v>
                </c:pt>
                <c:pt idx="22754">
                  <c:v>-0.11764705882352899</c:v>
                </c:pt>
                <c:pt idx="22755">
                  <c:v>-0.11764705882352899</c:v>
                </c:pt>
                <c:pt idx="22756">
                  <c:v>-0.11764705882352899</c:v>
                </c:pt>
                <c:pt idx="22757">
                  <c:v>-0.11764705882352899</c:v>
                </c:pt>
                <c:pt idx="22758">
                  <c:v>-0.11764705882352899</c:v>
                </c:pt>
                <c:pt idx="22759">
                  <c:v>-0.11680672268907499</c:v>
                </c:pt>
                <c:pt idx="22760">
                  <c:v>-0.11680672268907499</c:v>
                </c:pt>
                <c:pt idx="22761">
                  <c:v>-0.11680672268907499</c:v>
                </c:pt>
                <c:pt idx="22762">
                  <c:v>-0.11680672268907499</c:v>
                </c:pt>
                <c:pt idx="22763">
                  <c:v>-0.11680672268907499</c:v>
                </c:pt>
                <c:pt idx="22764">
                  <c:v>-0.11680672268907499</c:v>
                </c:pt>
                <c:pt idx="22765">
                  <c:v>-0.11680672268907499</c:v>
                </c:pt>
                <c:pt idx="22766">
                  <c:v>-0.11680672268907499</c:v>
                </c:pt>
                <c:pt idx="22767">
                  <c:v>-0.11680672268907499</c:v>
                </c:pt>
                <c:pt idx="22768">
                  <c:v>-0.11680672268907499</c:v>
                </c:pt>
                <c:pt idx="22769">
                  <c:v>-0.11680672268907499</c:v>
                </c:pt>
                <c:pt idx="22770">
                  <c:v>-0.11680672268907499</c:v>
                </c:pt>
                <c:pt idx="22771">
                  <c:v>-0.11680672268907499</c:v>
                </c:pt>
                <c:pt idx="22772">
                  <c:v>-0.11680672268907499</c:v>
                </c:pt>
                <c:pt idx="22773">
                  <c:v>-0.11680672268907499</c:v>
                </c:pt>
                <c:pt idx="22774">
                  <c:v>-0.11680672268907499</c:v>
                </c:pt>
                <c:pt idx="22775">
                  <c:v>-0.11680672268907499</c:v>
                </c:pt>
                <c:pt idx="22776">
                  <c:v>-0.11680672268907499</c:v>
                </c:pt>
                <c:pt idx="22777">
                  <c:v>-0.11680672268907499</c:v>
                </c:pt>
                <c:pt idx="22778">
                  <c:v>-0.11680672268907499</c:v>
                </c:pt>
                <c:pt idx="22779">
                  <c:v>-0.11764705882352899</c:v>
                </c:pt>
                <c:pt idx="22780">
                  <c:v>-0.11764705882352899</c:v>
                </c:pt>
                <c:pt idx="22781">
                  <c:v>-0.11764705882352899</c:v>
                </c:pt>
                <c:pt idx="22782">
                  <c:v>-0.11764705882352899</c:v>
                </c:pt>
                <c:pt idx="22783">
                  <c:v>-0.11764705882352899</c:v>
                </c:pt>
                <c:pt idx="22784">
                  <c:v>-0.11764705882352899</c:v>
                </c:pt>
                <c:pt idx="22785">
                  <c:v>-0.11764705882352899</c:v>
                </c:pt>
                <c:pt idx="22786">
                  <c:v>-0.11764705882352899</c:v>
                </c:pt>
                <c:pt idx="22787">
                  <c:v>-0.11764705882352899</c:v>
                </c:pt>
                <c:pt idx="22788">
                  <c:v>-0.11764705882352899</c:v>
                </c:pt>
                <c:pt idx="22789">
                  <c:v>-0.11764705882352899</c:v>
                </c:pt>
                <c:pt idx="22790">
                  <c:v>-0.11764705882352899</c:v>
                </c:pt>
                <c:pt idx="22791">
                  <c:v>-0.11764705882352899</c:v>
                </c:pt>
                <c:pt idx="22792">
                  <c:v>-0.11764705882352899</c:v>
                </c:pt>
                <c:pt idx="22793">
                  <c:v>-0.11764705882352899</c:v>
                </c:pt>
                <c:pt idx="22794">
                  <c:v>-0.11764705882352899</c:v>
                </c:pt>
                <c:pt idx="22795">
                  <c:v>-0.11764705882352899</c:v>
                </c:pt>
                <c:pt idx="22796">
                  <c:v>-0.11764705882352899</c:v>
                </c:pt>
                <c:pt idx="22797">
                  <c:v>-0.11764705882352899</c:v>
                </c:pt>
                <c:pt idx="22798">
                  <c:v>-0.11764705882352899</c:v>
                </c:pt>
                <c:pt idx="22799">
                  <c:v>-0.11764705882352899</c:v>
                </c:pt>
                <c:pt idx="22800">
                  <c:v>-0.11764705882352899</c:v>
                </c:pt>
                <c:pt idx="22801">
                  <c:v>-0.11764705882352899</c:v>
                </c:pt>
                <c:pt idx="22802">
                  <c:v>-0.11764705882352899</c:v>
                </c:pt>
                <c:pt idx="22803">
                  <c:v>-0.11764705882352899</c:v>
                </c:pt>
                <c:pt idx="22804">
                  <c:v>-0.11764705882352899</c:v>
                </c:pt>
                <c:pt idx="22805">
                  <c:v>-0.11764705882352899</c:v>
                </c:pt>
                <c:pt idx="22806">
                  <c:v>-0.11764705882352899</c:v>
                </c:pt>
                <c:pt idx="22807">
                  <c:v>-0.11764705882352899</c:v>
                </c:pt>
                <c:pt idx="22808">
                  <c:v>-0.11764705882352899</c:v>
                </c:pt>
                <c:pt idx="22809">
                  <c:v>-0.11764705882352899</c:v>
                </c:pt>
                <c:pt idx="22810">
                  <c:v>-0.11764705882352899</c:v>
                </c:pt>
                <c:pt idx="22811">
                  <c:v>-0.11764705882352899</c:v>
                </c:pt>
                <c:pt idx="22812">
                  <c:v>-0.11764705882352899</c:v>
                </c:pt>
                <c:pt idx="22813">
                  <c:v>-0.11764705882352899</c:v>
                </c:pt>
                <c:pt idx="22814">
                  <c:v>-0.11764705882352899</c:v>
                </c:pt>
                <c:pt idx="22815">
                  <c:v>-0.11764705882352899</c:v>
                </c:pt>
                <c:pt idx="22816">
                  <c:v>-0.11764705882352899</c:v>
                </c:pt>
                <c:pt idx="22817">
                  <c:v>-0.11764705882352899</c:v>
                </c:pt>
                <c:pt idx="22818">
                  <c:v>-0.11764705882352899</c:v>
                </c:pt>
                <c:pt idx="22819">
                  <c:v>-0.11764705882352899</c:v>
                </c:pt>
                <c:pt idx="22820">
                  <c:v>-0.11680672268907499</c:v>
                </c:pt>
                <c:pt idx="22821">
                  <c:v>-0.11680672268907499</c:v>
                </c:pt>
                <c:pt idx="22822">
                  <c:v>-0.11680672268907499</c:v>
                </c:pt>
                <c:pt idx="22823">
                  <c:v>-0.11680672268907499</c:v>
                </c:pt>
                <c:pt idx="22824">
                  <c:v>-0.11680672268907499</c:v>
                </c:pt>
                <c:pt idx="22825">
                  <c:v>-0.11680672268907499</c:v>
                </c:pt>
                <c:pt idx="22826">
                  <c:v>-0.11680672268907499</c:v>
                </c:pt>
                <c:pt idx="22827">
                  <c:v>-0.11680672268907499</c:v>
                </c:pt>
                <c:pt idx="22828">
                  <c:v>-0.11680672268907499</c:v>
                </c:pt>
                <c:pt idx="22829">
                  <c:v>-0.11680672268907499</c:v>
                </c:pt>
                <c:pt idx="22830">
                  <c:v>-0.11680672268907499</c:v>
                </c:pt>
                <c:pt idx="22831">
                  <c:v>-0.11680672268907499</c:v>
                </c:pt>
                <c:pt idx="22832">
                  <c:v>-0.11680672268907499</c:v>
                </c:pt>
                <c:pt idx="22833">
                  <c:v>-0.11680672268907499</c:v>
                </c:pt>
                <c:pt idx="22834">
                  <c:v>-0.11680672268907499</c:v>
                </c:pt>
                <c:pt idx="22835">
                  <c:v>-0.11680672268907499</c:v>
                </c:pt>
                <c:pt idx="22836">
                  <c:v>-0.11680672268907499</c:v>
                </c:pt>
                <c:pt idx="22837">
                  <c:v>-0.11680672268907499</c:v>
                </c:pt>
                <c:pt idx="22838">
                  <c:v>-0.11680672268907499</c:v>
                </c:pt>
                <c:pt idx="22839">
                  <c:v>-0.11680672268907499</c:v>
                </c:pt>
                <c:pt idx="22840">
                  <c:v>-0.11680672268907499</c:v>
                </c:pt>
                <c:pt idx="22841">
                  <c:v>-0.11680672268907499</c:v>
                </c:pt>
                <c:pt idx="22842">
                  <c:v>-0.11680672268907499</c:v>
                </c:pt>
                <c:pt idx="22843">
                  <c:v>-0.11596638655462101</c:v>
                </c:pt>
                <c:pt idx="22844">
                  <c:v>-0.11596638655462101</c:v>
                </c:pt>
                <c:pt idx="22845">
                  <c:v>-0.11596638655462101</c:v>
                </c:pt>
                <c:pt idx="22846">
                  <c:v>-0.11596638655462101</c:v>
                </c:pt>
                <c:pt idx="22847">
                  <c:v>-0.11596638655462101</c:v>
                </c:pt>
                <c:pt idx="22848">
                  <c:v>-0.11596638655462101</c:v>
                </c:pt>
                <c:pt idx="22849">
                  <c:v>-0.11596638655462101</c:v>
                </c:pt>
                <c:pt idx="22850">
                  <c:v>-0.11596638655462101</c:v>
                </c:pt>
                <c:pt idx="22851">
                  <c:v>-0.11596638655462101</c:v>
                </c:pt>
                <c:pt idx="22852">
                  <c:v>-0.11596638655462101</c:v>
                </c:pt>
                <c:pt idx="22853">
                  <c:v>-0.11512605042016801</c:v>
                </c:pt>
                <c:pt idx="22854">
                  <c:v>-0.11512605042016801</c:v>
                </c:pt>
                <c:pt idx="22855">
                  <c:v>-0.11512605042016801</c:v>
                </c:pt>
                <c:pt idx="22856">
                  <c:v>-0.11512605042016801</c:v>
                </c:pt>
                <c:pt idx="22857">
                  <c:v>-0.11512605042016801</c:v>
                </c:pt>
                <c:pt idx="22858">
                  <c:v>-0.11512605042016801</c:v>
                </c:pt>
                <c:pt idx="22859">
                  <c:v>-0.11512605042016801</c:v>
                </c:pt>
                <c:pt idx="22860">
                  <c:v>-0.11512605042016801</c:v>
                </c:pt>
                <c:pt idx="22861">
                  <c:v>-0.11512605042016801</c:v>
                </c:pt>
                <c:pt idx="22862">
                  <c:v>-0.11512605042016801</c:v>
                </c:pt>
                <c:pt idx="22863">
                  <c:v>-0.11512605042016801</c:v>
                </c:pt>
                <c:pt idx="22864">
                  <c:v>-0.11512605042016801</c:v>
                </c:pt>
                <c:pt idx="22865">
                  <c:v>-0.11512605042016801</c:v>
                </c:pt>
                <c:pt idx="22866">
                  <c:v>-0.11512605042016801</c:v>
                </c:pt>
                <c:pt idx="22867">
                  <c:v>-0.11512605042016801</c:v>
                </c:pt>
                <c:pt idx="22868">
                  <c:v>-0.11512605042016801</c:v>
                </c:pt>
                <c:pt idx="22869">
                  <c:v>-0.11512605042016801</c:v>
                </c:pt>
                <c:pt idx="22870">
                  <c:v>-0.11512605042016801</c:v>
                </c:pt>
                <c:pt idx="22871">
                  <c:v>-0.11512605042016801</c:v>
                </c:pt>
                <c:pt idx="22872">
                  <c:v>-0.11512605042016801</c:v>
                </c:pt>
                <c:pt idx="22873">
                  <c:v>-0.11512605042016801</c:v>
                </c:pt>
                <c:pt idx="22874">
                  <c:v>-0.11512605042016801</c:v>
                </c:pt>
                <c:pt idx="22875">
                  <c:v>-0.11512605042016801</c:v>
                </c:pt>
                <c:pt idx="22876">
                  <c:v>-0.11512605042016801</c:v>
                </c:pt>
                <c:pt idx="22877">
                  <c:v>-0.11512605042016801</c:v>
                </c:pt>
                <c:pt idx="22878">
                  <c:v>-0.11512605042016801</c:v>
                </c:pt>
                <c:pt idx="22879">
                  <c:v>-0.11512605042016801</c:v>
                </c:pt>
                <c:pt idx="22880">
                  <c:v>-0.11512605042016801</c:v>
                </c:pt>
                <c:pt idx="22881">
                  <c:v>-0.11512605042016801</c:v>
                </c:pt>
                <c:pt idx="22882">
                  <c:v>-0.11512605042016801</c:v>
                </c:pt>
                <c:pt idx="22883">
                  <c:v>-0.11512605042016801</c:v>
                </c:pt>
                <c:pt idx="22884">
                  <c:v>-0.11512605042016801</c:v>
                </c:pt>
                <c:pt idx="22885">
                  <c:v>-0.11512605042016801</c:v>
                </c:pt>
                <c:pt idx="22886">
                  <c:v>-0.11512605042016801</c:v>
                </c:pt>
                <c:pt idx="22887">
                  <c:v>-0.11512605042016801</c:v>
                </c:pt>
                <c:pt idx="22888">
                  <c:v>-0.11512605042016801</c:v>
                </c:pt>
                <c:pt idx="22889">
                  <c:v>-0.11512605042016801</c:v>
                </c:pt>
                <c:pt idx="22890">
                  <c:v>-0.11512605042016801</c:v>
                </c:pt>
                <c:pt idx="22891">
                  <c:v>-0.11512605042016801</c:v>
                </c:pt>
                <c:pt idx="22892">
                  <c:v>-0.11512605042016801</c:v>
                </c:pt>
                <c:pt idx="22893">
                  <c:v>-0.11512605042016801</c:v>
                </c:pt>
                <c:pt idx="22894">
                  <c:v>-0.11512605042016801</c:v>
                </c:pt>
                <c:pt idx="22895">
                  <c:v>-0.11512605042016801</c:v>
                </c:pt>
                <c:pt idx="22896">
                  <c:v>-0.11512605042016801</c:v>
                </c:pt>
                <c:pt idx="22897">
                  <c:v>-0.11512605042016801</c:v>
                </c:pt>
                <c:pt idx="22898">
                  <c:v>-0.11512605042016801</c:v>
                </c:pt>
                <c:pt idx="22899">
                  <c:v>-0.11512605042016801</c:v>
                </c:pt>
                <c:pt idx="22900">
                  <c:v>-0.11512605042016801</c:v>
                </c:pt>
                <c:pt idx="22901">
                  <c:v>-0.11512605042016801</c:v>
                </c:pt>
                <c:pt idx="22902">
                  <c:v>-0.11512605042016801</c:v>
                </c:pt>
                <c:pt idx="22903">
                  <c:v>-0.11512605042016801</c:v>
                </c:pt>
                <c:pt idx="22904">
                  <c:v>-0.11512605042016801</c:v>
                </c:pt>
                <c:pt idx="22905">
                  <c:v>-0.11512605042016801</c:v>
                </c:pt>
                <c:pt idx="22906">
                  <c:v>-0.11512605042016801</c:v>
                </c:pt>
                <c:pt idx="22907">
                  <c:v>-0.114285714285714</c:v>
                </c:pt>
                <c:pt idx="22908">
                  <c:v>-0.114285714285714</c:v>
                </c:pt>
                <c:pt idx="22909">
                  <c:v>-0.114285714285714</c:v>
                </c:pt>
                <c:pt idx="22910">
                  <c:v>-0.114285714285714</c:v>
                </c:pt>
                <c:pt idx="22911">
                  <c:v>-0.114285714285714</c:v>
                </c:pt>
                <c:pt idx="22912">
                  <c:v>-0.114285714285714</c:v>
                </c:pt>
                <c:pt idx="22913">
                  <c:v>-0.114285714285714</c:v>
                </c:pt>
                <c:pt idx="22914">
                  <c:v>-0.114285714285714</c:v>
                </c:pt>
                <c:pt idx="22915">
                  <c:v>-0.114285714285714</c:v>
                </c:pt>
                <c:pt idx="22916">
                  <c:v>-0.114285714285714</c:v>
                </c:pt>
                <c:pt idx="22917">
                  <c:v>-0.114285714285714</c:v>
                </c:pt>
                <c:pt idx="22918">
                  <c:v>-0.114285714285714</c:v>
                </c:pt>
                <c:pt idx="22919">
                  <c:v>-0.114285714285714</c:v>
                </c:pt>
                <c:pt idx="22920">
                  <c:v>-0.114285714285714</c:v>
                </c:pt>
                <c:pt idx="22921">
                  <c:v>-0.114285714285714</c:v>
                </c:pt>
                <c:pt idx="22922">
                  <c:v>-0.114285714285714</c:v>
                </c:pt>
                <c:pt idx="22923">
                  <c:v>-0.114285714285714</c:v>
                </c:pt>
                <c:pt idx="22924">
                  <c:v>-0.114285714285714</c:v>
                </c:pt>
                <c:pt idx="22925">
                  <c:v>-0.114285714285714</c:v>
                </c:pt>
                <c:pt idx="22926">
                  <c:v>-0.114285714285714</c:v>
                </c:pt>
                <c:pt idx="22927">
                  <c:v>-0.114285714285714</c:v>
                </c:pt>
                <c:pt idx="22928">
                  <c:v>-0.114285714285714</c:v>
                </c:pt>
                <c:pt idx="22929">
                  <c:v>-0.114285714285714</c:v>
                </c:pt>
                <c:pt idx="22930">
                  <c:v>-0.114285714285714</c:v>
                </c:pt>
                <c:pt idx="22931">
                  <c:v>-0.114285714285714</c:v>
                </c:pt>
                <c:pt idx="22932">
                  <c:v>-0.114285714285714</c:v>
                </c:pt>
                <c:pt idx="22933">
                  <c:v>-0.114285714285714</c:v>
                </c:pt>
                <c:pt idx="22934">
                  <c:v>-0.114285714285714</c:v>
                </c:pt>
                <c:pt idx="22935">
                  <c:v>-0.114285714285714</c:v>
                </c:pt>
                <c:pt idx="22936">
                  <c:v>-0.114285714285714</c:v>
                </c:pt>
                <c:pt idx="22937">
                  <c:v>-0.114285714285714</c:v>
                </c:pt>
                <c:pt idx="22938">
                  <c:v>-0.114285714285714</c:v>
                </c:pt>
                <c:pt idx="22939">
                  <c:v>-0.114285714285714</c:v>
                </c:pt>
                <c:pt idx="22940">
                  <c:v>-0.114285714285714</c:v>
                </c:pt>
                <c:pt idx="22941">
                  <c:v>-0.114285714285714</c:v>
                </c:pt>
                <c:pt idx="22942">
                  <c:v>-0.114285714285714</c:v>
                </c:pt>
                <c:pt idx="22943">
                  <c:v>-0.114285714285714</c:v>
                </c:pt>
                <c:pt idx="22944">
                  <c:v>-0.114285714285714</c:v>
                </c:pt>
                <c:pt idx="22945">
                  <c:v>-0.114285714285714</c:v>
                </c:pt>
                <c:pt idx="22946">
                  <c:v>-0.114285714285714</c:v>
                </c:pt>
                <c:pt idx="22947">
                  <c:v>-0.114285714285714</c:v>
                </c:pt>
                <c:pt idx="22948">
                  <c:v>-0.114285714285714</c:v>
                </c:pt>
                <c:pt idx="22949">
                  <c:v>-0.114285714285714</c:v>
                </c:pt>
                <c:pt idx="22950">
                  <c:v>-0.11344537815126</c:v>
                </c:pt>
                <c:pt idx="22951">
                  <c:v>-0.11344537815126</c:v>
                </c:pt>
                <c:pt idx="22952">
                  <c:v>-0.11344537815126</c:v>
                </c:pt>
                <c:pt idx="22953">
                  <c:v>-0.112605042016806</c:v>
                </c:pt>
                <c:pt idx="22954">
                  <c:v>-0.112605042016806</c:v>
                </c:pt>
                <c:pt idx="22955">
                  <c:v>-0.112605042016806</c:v>
                </c:pt>
                <c:pt idx="22956">
                  <c:v>-0.112605042016806</c:v>
                </c:pt>
                <c:pt idx="22957">
                  <c:v>-0.112605042016806</c:v>
                </c:pt>
                <c:pt idx="22958">
                  <c:v>-0.112605042016806</c:v>
                </c:pt>
                <c:pt idx="22959">
                  <c:v>-0.112605042016806</c:v>
                </c:pt>
                <c:pt idx="22960">
                  <c:v>-0.112605042016806</c:v>
                </c:pt>
                <c:pt idx="22961">
                  <c:v>-0.112605042016806</c:v>
                </c:pt>
                <c:pt idx="22962">
                  <c:v>-0.112605042016806</c:v>
                </c:pt>
                <c:pt idx="22963">
                  <c:v>-0.112605042016806</c:v>
                </c:pt>
                <c:pt idx="22964">
                  <c:v>-0.112605042016806</c:v>
                </c:pt>
                <c:pt idx="22965">
                  <c:v>-0.112605042016806</c:v>
                </c:pt>
                <c:pt idx="22966">
                  <c:v>-0.112605042016806</c:v>
                </c:pt>
                <c:pt idx="22967">
                  <c:v>-0.112605042016806</c:v>
                </c:pt>
                <c:pt idx="22968">
                  <c:v>-0.112605042016806</c:v>
                </c:pt>
                <c:pt idx="22969">
                  <c:v>-0.112605042016806</c:v>
                </c:pt>
                <c:pt idx="22970">
                  <c:v>-0.112605042016806</c:v>
                </c:pt>
                <c:pt idx="22971">
                  <c:v>-0.112605042016806</c:v>
                </c:pt>
                <c:pt idx="22972">
                  <c:v>-0.112605042016806</c:v>
                </c:pt>
                <c:pt idx="22973">
                  <c:v>-0.112605042016806</c:v>
                </c:pt>
                <c:pt idx="22974">
                  <c:v>-0.112605042016806</c:v>
                </c:pt>
                <c:pt idx="22975">
                  <c:v>-0.112605042016806</c:v>
                </c:pt>
                <c:pt idx="22976">
                  <c:v>-0.112605042016806</c:v>
                </c:pt>
                <c:pt idx="22977">
                  <c:v>-0.112605042016806</c:v>
                </c:pt>
                <c:pt idx="22978">
                  <c:v>-0.112605042016806</c:v>
                </c:pt>
                <c:pt idx="22979">
                  <c:v>-0.112605042016806</c:v>
                </c:pt>
                <c:pt idx="22980">
                  <c:v>-0.112605042016806</c:v>
                </c:pt>
                <c:pt idx="22981">
                  <c:v>-0.111764705882352</c:v>
                </c:pt>
                <c:pt idx="22982">
                  <c:v>-0.111764705882352</c:v>
                </c:pt>
                <c:pt idx="22983">
                  <c:v>-0.111764705882352</c:v>
                </c:pt>
                <c:pt idx="22984">
                  <c:v>-0.111764705882352</c:v>
                </c:pt>
                <c:pt idx="22985">
                  <c:v>-0.111764705882352</c:v>
                </c:pt>
                <c:pt idx="22986">
                  <c:v>-0.111764705882352</c:v>
                </c:pt>
                <c:pt idx="22987">
                  <c:v>-0.111764705882352</c:v>
                </c:pt>
                <c:pt idx="22988">
                  <c:v>-0.111764705882352</c:v>
                </c:pt>
                <c:pt idx="22989">
                  <c:v>-0.111764705882352</c:v>
                </c:pt>
                <c:pt idx="22990">
                  <c:v>-0.112605042016806</c:v>
                </c:pt>
                <c:pt idx="22991">
                  <c:v>-0.112605042016806</c:v>
                </c:pt>
                <c:pt idx="22992">
                  <c:v>-0.112605042016806</c:v>
                </c:pt>
                <c:pt idx="22993">
                  <c:v>-0.112605042016806</c:v>
                </c:pt>
                <c:pt idx="22994">
                  <c:v>-0.112605042016806</c:v>
                </c:pt>
                <c:pt idx="22995">
                  <c:v>-0.112605042016806</c:v>
                </c:pt>
                <c:pt idx="22996">
                  <c:v>-0.112605042016806</c:v>
                </c:pt>
                <c:pt idx="22997">
                  <c:v>-0.112605042016806</c:v>
                </c:pt>
                <c:pt idx="22998">
                  <c:v>-0.112605042016806</c:v>
                </c:pt>
                <c:pt idx="22999">
                  <c:v>-0.112605042016806</c:v>
                </c:pt>
                <c:pt idx="23000">
                  <c:v>-0.112605042016806</c:v>
                </c:pt>
                <c:pt idx="23001">
                  <c:v>-0.112605042016806</c:v>
                </c:pt>
                <c:pt idx="23002">
                  <c:v>-0.112605042016806</c:v>
                </c:pt>
                <c:pt idx="23003">
                  <c:v>-0.112605042016806</c:v>
                </c:pt>
                <c:pt idx="23004">
                  <c:v>-0.112605042016806</c:v>
                </c:pt>
                <c:pt idx="23005">
                  <c:v>-0.112605042016806</c:v>
                </c:pt>
                <c:pt idx="23006">
                  <c:v>-0.112605042016806</c:v>
                </c:pt>
                <c:pt idx="23007">
                  <c:v>-0.112605042016806</c:v>
                </c:pt>
                <c:pt idx="23008">
                  <c:v>-0.112605042016806</c:v>
                </c:pt>
                <c:pt idx="23009">
                  <c:v>-0.112605042016806</c:v>
                </c:pt>
                <c:pt idx="23010">
                  <c:v>-0.11344537815126</c:v>
                </c:pt>
                <c:pt idx="23011">
                  <c:v>-0.11344537815126</c:v>
                </c:pt>
                <c:pt idx="23012">
                  <c:v>-0.11344537815126</c:v>
                </c:pt>
                <c:pt idx="23013">
                  <c:v>-0.11344537815126</c:v>
                </c:pt>
                <c:pt idx="23014">
                  <c:v>-0.11344537815126</c:v>
                </c:pt>
                <c:pt idx="23015">
                  <c:v>-0.11344537815126</c:v>
                </c:pt>
                <c:pt idx="23016">
                  <c:v>-0.11344537815126</c:v>
                </c:pt>
                <c:pt idx="23017">
                  <c:v>-0.11344537815126</c:v>
                </c:pt>
                <c:pt idx="23018">
                  <c:v>-0.11344537815126</c:v>
                </c:pt>
                <c:pt idx="23019">
                  <c:v>-0.11344537815126</c:v>
                </c:pt>
                <c:pt idx="23020">
                  <c:v>-0.11344537815126</c:v>
                </c:pt>
                <c:pt idx="23021">
                  <c:v>-0.11344537815126</c:v>
                </c:pt>
                <c:pt idx="23022">
                  <c:v>-0.11344537815126</c:v>
                </c:pt>
                <c:pt idx="23023">
                  <c:v>-0.11344537815126</c:v>
                </c:pt>
                <c:pt idx="23024">
                  <c:v>-0.11344537815126</c:v>
                </c:pt>
                <c:pt idx="23025">
                  <c:v>-0.11344537815126</c:v>
                </c:pt>
                <c:pt idx="23026">
                  <c:v>-0.11344537815126</c:v>
                </c:pt>
                <c:pt idx="23027">
                  <c:v>-0.11344537815126</c:v>
                </c:pt>
                <c:pt idx="23028">
                  <c:v>-0.11344537815126</c:v>
                </c:pt>
                <c:pt idx="23029">
                  <c:v>-0.11344537815126</c:v>
                </c:pt>
                <c:pt idx="23030">
                  <c:v>-0.11344537815126</c:v>
                </c:pt>
                <c:pt idx="23031">
                  <c:v>-0.11344537815126</c:v>
                </c:pt>
                <c:pt idx="23032">
                  <c:v>-0.11344537815126</c:v>
                </c:pt>
                <c:pt idx="23033">
                  <c:v>-0.112605042016806</c:v>
                </c:pt>
                <c:pt idx="23034">
                  <c:v>-0.112605042016806</c:v>
                </c:pt>
                <c:pt idx="23035">
                  <c:v>-0.112605042016806</c:v>
                </c:pt>
                <c:pt idx="23036">
                  <c:v>-0.112605042016806</c:v>
                </c:pt>
                <c:pt idx="23037">
                  <c:v>-0.111764705882352</c:v>
                </c:pt>
                <c:pt idx="23038">
                  <c:v>-0.111764705882352</c:v>
                </c:pt>
                <c:pt idx="23039">
                  <c:v>-0.111764705882352</c:v>
                </c:pt>
                <c:pt idx="23040">
                  <c:v>-0.111764705882352</c:v>
                </c:pt>
                <c:pt idx="23041">
                  <c:v>-0.111764705882352</c:v>
                </c:pt>
                <c:pt idx="23042">
                  <c:v>-0.111764705882352</c:v>
                </c:pt>
                <c:pt idx="23043">
                  <c:v>-0.110924369747899</c:v>
                </c:pt>
                <c:pt idx="23044">
                  <c:v>-0.110924369747899</c:v>
                </c:pt>
                <c:pt idx="23045">
                  <c:v>-0.110924369747899</c:v>
                </c:pt>
                <c:pt idx="23046">
                  <c:v>-0.110924369747899</c:v>
                </c:pt>
                <c:pt idx="23047">
                  <c:v>-0.110924369747899</c:v>
                </c:pt>
                <c:pt idx="23048">
                  <c:v>-0.110924369747899</c:v>
                </c:pt>
                <c:pt idx="23049">
                  <c:v>-0.110924369747899</c:v>
                </c:pt>
                <c:pt idx="23050">
                  <c:v>-0.110924369747899</c:v>
                </c:pt>
                <c:pt idx="23051">
                  <c:v>-0.110084033613445</c:v>
                </c:pt>
                <c:pt idx="23052">
                  <c:v>-0.110084033613445</c:v>
                </c:pt>
                <c:pt idx="23053">
                  <c:v>-0.110084033613445</c:v>
                </c:pt>
                <c:pt idx="23054">
                  <c:v>-0.110084033613445</c:v>
                </c:pt>
                <c:pt idx="23055">
                  <c:v>-0.110084033613445</c:v>
                </c:pt>
                <c:pt idx="23056">
                  <c:v>-0.110084033613445</c:v>
                </c:pt>
                <c:pt idx="23057">
                  <c:v>-0.110084033613445</c:v>
                </c:pt>
                <c:pt idx="23058">
                  <c:v>-0.109243697478991</c:v>
                </c:pt>
                <c:pt idx="23059">
                  <c:v>-0.109243697478991</c:v>
                </c:pt>
                <c:pt idx="23060">
                  <c:v>-0.109243697478991</c:v>
                </c:pt>
                <c:pt idx="23061">
                  <c:v>-0.109243697478991</c:v>
                </c:pt>
                <c:pt idx="23062">
                  <c:v>-0.109243697478991</c:v>
                </c:pt>
                <c:pt idx="23063">
                  <c:v>-0.109243697478991</c:v>
                </c:pt>
                <c:pt idx="23064">
                  <c:v>-0.109243697478991</c:v>
                </c:pt>
                <c:pt idx="23065">
                  <c:v>-0.109243697478991</c:v>
                </c:pt>
                <c:pt idx="23066">
                  <c:v>-0.109243697478991</c:v>
                </c:pt>
                <c:pt idx="23067">
                  <c:v>-0.109243697478991</c:v>
                </c:pt>
                <c:pt idx="23068">
                  <c:v>-0.109243697478991</c:v>
                </c:pt>
                <c:pt idx="23069">
                  <c:v>-0.109243697478991</c:v>
                </c:pt>
                <c:pt idx="23070">
                  <c:v>-0.110084033613445</c:v>
                </c:pt>
                <c:pt idx="23071">
                  <c:v>-0.110084033613445</c:v>
                </c:pt>
                <c:pt idx="23072">
                  <c:v>-0.110084033613445</c:v>
                </c:pt>
                <c:pt idx="23073">
                  <c:v>-0.110084033613445</c:v>
                </c:pt>
                <c:pt idx="23074">
                  <c:v>-0.110084033613445</c:v>
                </c:pt>
                <c:pt idx="23075">
                  <c:v>-0.110084033613445</c:v>
                </c:pt>
                <c:pt idx="23076">
                  <c:v>-0.110084033613445</c:v>
                </c:pt>
                <c:pt idx="23077">
                  <c:v>-0.110084033613445</c:v>
                </c:pt>
                <c:pt idx="23078">
                  <c:v>-0.110084033613445</c:v>
                </c:pt>
                <c:pt idx="23079">
                  <c:v>-0.110084033613445</c:v>
                </c:pt>
                <c:pt idx="23080">
                  <c:v>-0.110084033613445</c:v>
                </c:pt>
                <c:pt idx="23081">
                  <c:v>-0.110084033613445</c:v>
                </c:pt>
                <c:pt idx="23082">
                  <c:v>-0.110084033613445</c:v>
                </c:pt>
                <c:pt idx="23083">
                  <c:v>-0.110084033613445</c:v>
                </c:pt>
                <c:pt idx="23084">
                  <c:v>-0.110084033613445</c:v>
                </c:pt>
                <c:pt idx="23085">
                  <c:v>-0.110084033613445</c:v>
                </c:pt>
                <c:pt idx="23086">
                  <c:v>-0.110084033613445</c:v>
                </c:pt>
                <c:pt idx="23087">
                  <c:v>-0.110084033613445</c:v>
                </c:pt>
                <c:pt idx="23088">
                  <c:v>-0.110084033613445</c:v>
                </c:pt>
                <c:pt idx="23089">
                  <c:v>-0.110084033613445</c:v>
                </c:pt>
                <c:pt idx="23090">
                  <c:v>-0.110084033613445</c:v>
                </c:pt>
                <c:pt idx="23091">
                  <c:v>-0.110084033613445</c:v>
                </c:pt>
                <c:pt idx="23092">
                  <c:v>-0.110084033613445</c:v>
                </c:pt>
                <c:pt idx="23093">
                  <c:v>-0.110084033613445</c:v>
                </c:pt>
                <c:pt idx="23094">
                  <c:v>-0.110084033613445</c:v>
                </c:pt>
                <c:pt idx="23095">
                  <c:v>-0.110084033613445</c:v>
                </c:pt>
                <c:pt idx="23096">
                  <c:v>-0.110084033613445</c:v>
                </c:pt>
                <c:pt idx="23097">
                  <c:v>-0.110084033613445</c:v>
                </c:pt>
                <c:pt idx="23098">
                  <c:v>-0.110084033613445</c:v>
                </c:pt>
                <c:pt idx="23099">
                  <c:v>-0.110084033613445</c:v>
                </c:pt>
                <c:pt idx="23100">
                  <c:v>-0.110084033613445</c:v>
                </c:pt>
                <c:pt idx="23101">
                  <c:v>-0.110084033613445</c:v>
                </c:pt>
                <c:pt idx="23102">
                  <c:v>-0.110084033613445</c:v>
                </c:pt>
                <c:pt idx="23103">
                  <c:v>-0.110084033613445</c:v>
                </c:pt>
                <c:pt idx="23104">
                  <c:v>-0.110084033613445</c:v>
                </c:pt>
                <c:pt idx="23105">
                  <c:v>-0.110084033613445</c:v>
                </c:pt>
                <c:pt idx="23106">
                  <c:v>-0.110084033613445</c:v>
                </c:pt>
                <c:pt idx="23107">
                  <c:v>-0.110084033613445</c:v>
                </c:pt>
                <c:pt idx="23108">
                  <c:v>-0.110084033613445</c:v>
                </c:pt>
                <c:pt idx="23109">
                  <c:v>-0.110084033613445</c:v>
                </c:pt>
                <c:pt idx="23110">
                  <c:v>-0.110084033613445</c:v>
                </c:pt>
                <c:pt idx="23111">
                  <c:v>-0.110084033613445</c:v>
                </c:pt>
                <c:pt idx="23112">
                  <c:v>-0.110084033613445</c:v>
                </c:pt>
                <c:pt idx="23113">
                  <c:v>-0.110084033613445</c:v>
                </c:pt>
                <c:pt idx="23114">
                  <c:v>-0.110084033613445</c:v>
                </c:pt>
                <c:pt idx="23115">
                  <c:v>-0.110084033613445</c:v>
                </c:pt>
                <c:pt idx="23116">
                  <c:v>-0.109243697478991</c:v>
                </c:pt>
                <c:pt idx="23117">
                  <c:v>-0.108403361344537</c:v>
                </c:pt>
                <c:pt idx="23118">
                  <c:v>-0.108403361344537</c:v>
                </c:pt>
                <c:pt idx="23119">
                  <c:v>-0.108403361344537</c:v>
                </c:pt>
                <c:pt idx="23120">
                  <c:v>-0.107563025210084</c:v>
                </c:pt>
                <c:pt idx="23121">
                  <c:v>-0.107563025210084</c:v>
                </c:pt>
                <c:pt idx="23122">
                  <c:v>-0.107563025210084</c:v>
                </c:pt>
                <c:pt idx="23123">
                  <c:v>-0.107563025210084</c:v>
                </c:pt>
                <c:pt idx="23124">
                  <c:v>-0.107563025210084</c:v>
                </c:pt>
                <c:pt idx="23125">
                  <c:v>-0.107563025210084</c:v>
                </c:pt>
                <c:pt idx="23126">
                  <c:v>-0.107563025210084</c:v>
                </c:pt>
                <c:pt idx="23127">
                  <c:v>-0.107563025210084</c:v>
                </c:pt>
                <c:pt idx="23128">
                  <c:v>-0.107563025210084</c:v>
                </c:pt>
                <c:pt idx="23129">
                  <c:v>-0.107563025210084</c:v>
                </c:pt>
                <c:pt idx="23130">
                  <c:v>-0.107563025210084</c:v>
                </c:pt>
                <c:pt idx="23131">
                  <c:v>-0.107563025210084</c:v>
                </c:pt>
                <c:pt idx="23132">
                  <c:v>-0.107563025210084</c:v>
                </c:pt>
                <c:pt idx="23133">
                  <c:v>-0.10672268907563</c:v>
                </c:pt>
                <c:pt idx="23134">
                  <c:v>-0.10672268907563</c:v>
                </c:pt>
                <c:pt idx="23135">
                  <c:v>-0.10672268907563</c:v>
                </c:pt>
                <c:pt idx="23136">
                  <c:v>-0.10672268907563</c:v>
                </c:pt>
                <c:pt idx="23137">
                  <c:v>-0.10672268907563</c:v>
                </c:pt>
                <c:pt idx="23138">
                  <c:v>-0.10672268907563</c:v>
                </c:pt>
                <c:pt idx="23139">
                  <c:v>-0.10672268907563</c:v>
                </c:pt>
                <c:pt idx="23140">
                  <c:v>-0.107563025210083</c:v>
                </c:pt>
                <c:pt idx="23141">
                  <c:v>-0.107563025210083</c:v>
                </c:pt>
                <c:pt idx="23142">
                  <c:v>-0.107563025210083</c:v>
                </c:pt>
                <c:pt idx="23143">
                  <c:v>-0.107563025210083</c:v>
                </c:pt>
                <c:pt idx="23144">
                  <c:v>-0.107563025210083</c:v>
                </c:pt>
                <c:pt idx="23145">
                  <c:v>-0.107563025210083</c:v>
                </c:pt>
                <c:pt idx="23146">
                  <c:v>-0.107563025210083</c:v>
                </c:pt>
                <c:pt idx="23147">
                  <c:v>-0.107563025210083</c:v>
                </c:pt>
                <c:pt idx="23148">
                  <c:v>-0.107563025210083</c:v>
                </c:pt>
                <c:pt idx="23149">
                  <c:v>-0.107563025210083</c:v>
                </c:pt>
                <c:pt idx="23150">
                  <c:v>-0.107563025210083</c:v>
                </c:pt>
                <c:pt idx="23151">
                  <c:v>-0.107563025210083</c:v>
                </c:pt>
                <c:pt idx="23152">
                  <c:v>-0.107563025210083</c:v>
                </c:pt>
                <c:pt idx="23153">
                  <c:v>-0.107563025210083</c:v>
                </c:pt>
                <c:pt idx="23154">
                  <c:v>-0.107563025210083</c:v>
                </c:pt>
                <c:pt idx="23155">
                  <c:v>-0.107563025210083</c:v>
                </c:pt>
                <c:pt idx="23156">
                  <c:v>-0.107563025210083</c:v>
                </c:pt>
                <c:pt idx="23157">
                  <c:v>-0.107563025210083</c:v>
                </c:pt>
                <c:pt idx="23158">
                  <c:v>-0.107563025210083</c:v>
                </c:pt>
                <c:pt idx="23159">
                  <c:v>-0.107563025210083</c:v>
                </c:pt>
                <c:pt idx="23160">
                  <c:v>-0.107563025210083</c:v>
                </c:pt>
                <c:pt idx="23161">
                  <c:v>-0.107563025210083</c:v>
                </c:pt>
                <c:pt idx="23162">
                  <c:v>-0.107563025210083</c:v>
                </c:pt>
                <c:pt idx="23163">
                  <c:v>-0.107563025210083</c:v>
                </c:pt>
                <c:pt idx="23164">
                  <c:v>-0.107563025210083</c:v>
                </c:pt>
                <c:pt idx="23165">
                  <c:v>-0.107563025210083</c:v>
                </c:pt>
                <c:pt idx="23166">
                  <c:v>-0.107563025210083</c:v>
                </c:pt>
                <c:pt idx="23167">
                  <c:v>-0.107563025210083</c:v>
                </c:pt>
                <c:pt idx="23168">
                  <c:v>-0.107563025210083</c:v>
                </c:pt>
                <c:pt idx="23169">
                  <c:v>-0.107563025210083</c:v>
                </c:pt>
                <c:pt idx="23170">
                  <c:v>-0.107563025210083</c:v>
                </c:pt>
                <c:pt idx="23171">
                  <c:v>-0.107563025210083</c:v>
                </c:pt>
                <c:pt idx="23172">
                  <c:v>-0.107563025210083</c:v>
                </c:pt>
                <c:pt idx="23173">
                  <c:v>-0.107563025210083</c:v>
                </c:pt>
                <c:pt idx="23174">
                  <c:v>-0.107563025210083</c:v>
                </c:pt>
                <c:pt idx="23175">
                  <c:v>-0.107563025210083</c:v>
                </c:pt>
                <c:pt idx="23176">
                  <c:v>-0.107563025210083</c:v>
                </c:pt>
                <c:pt idx="23177">
                  <c:v>-0.107563025210083</c:v>
                </c:pt>
                <c:pt idx="23178">
                  <c:v>-0.107563025210083</c:v>
                </c:pt>
                <c:pt idx="23179">
                  <c:v>-0.107563025210083</c:v>
                </c:pt>
                <c:pt idx="23180">
                  <c:v>-0.107563025210083</c:v>
                </c:pt>
                <c:pt idx="23181">
                  <c:v>-0.107563025210083</c:v>
                </c:pt>
                <c:pt idx="23182">
                  <c:v>-0.107563025210083</c:v>
                </c:pt>
                <c:pt idx="23183">
                  <c:v>-0.107563025210083</c:v>
                </c:pt>
                <c:pt idx="23184">
                  <c:v>-0.107563025210083</c:v>
                </c:pt>
                <c:pt idx="23185">
                  <c:v>-0.107563025210083</c:v>
                </c:pt>
                <c:pt idx="23186">
                  <c:v>-0.107563025210083</c:v>
                </c:pt>
                <c:pt idx="23187">
                  <c:v>-0.107563025210083</c:v>
                </c:pt>
                <c:pt idx="23188">
                  <c:v>-0.107563025210083</c:v>
                </c:pt>
                <c:pt idx="23189">
                  <c:v>-0.107563025210083</c:v>
                </c:pt>
                <c:pt idx="23190">
                  <c:v>-0.107563025210083</c:v>
                </c:pt>
                <c:pt idx="23191">
                  <c:v>-0.107563025210083</c:v>
                </c:pt>
                <c:pt idx="23192">
                  <c:v>-0.107563025210083</c:v>
                </c:pt>
                <c:pt idx="23193">
                  <c:v>-0.107563025210083</c:v>
                </c:pt>
                <c:pt idx="23194">
                  <c:v>-0.107563025210083</c:v>
                </c:pt>
                <c:pt idx="23195">
                  <c:v>-0.107563025210083</c:v>
                </c:pt>
                <c:pt idx="23196">
                  <c:v>-0.107563025210083</c:v>
                </c:pt>
                <c:pt idx="23197">
                  <c:v>-0.107563025210083</c:v>
                </c:pt>
                <c:pt idx="23198">
                  <c:v>-0.107563025210083</c:v>
                </c:pt>
                <c:pt idx="23199">
                  <c:v>-0.107563025210083</c:v>
                </c:pt>
                <c:pt idx="23200">
                  <c:v>-0.107563025210083</c:v>
                </c:pt>
                <c:pt idx="23201">
                  <c:v>-0.107563025210083</c:v>
                </c:pt>
                <c:pt idx="23202">
                  <c:v>-0.107563025210083</c:v>
                </c:pt>
                <c:pt idx="23203">
                  <c:v>-0.107563025210083</c:v>
                </c:pt>
                <c:pt idx="23204">
                  <c:v>-0.107563025210083</c:v>
                </c:pt>
                <c:pt idx="23205">
                  <c:v>-0.107563025210083</c:v>
                </c:pt>
                <c:pt idx="23206">
                  <c:v>-0.107563025210083</c:v>
                </c:pt>
                <c:pt idx="23207">
                  <c:v>-0.107563025210083</c:v>
                </c:pt>
                <c:pt idx="23208">
                  <c:v>-0.107563025210083</c:v>
                </c:pt>
                <c:pt idx="23209">
                  <c:v>-0.107563025210083</c:v>
                </c:pt>
                <c:pt idx="23210">
                  <c:v>-0.107563025210083</c:v>
                </c:pt>
                <c:pt idx="23211">
                  <c:v>-0.107563025210083</c:v>
                </c:pt>
                <c:pt idx="23212">
                  <c:v>-0.107563025210083</c:v>
                </c:pt>
                <c:pt idx="23213">
                  <c:v>-0.107563025210083</c:v>
                </c:pt>
                <c:pt idx="23214">
                  <c:v>-0.107563025210083</c:v>
                </c:pt>
                <c:pt idx="23215">
                  <c:v>-0.107563025210083</c:v>
                </c:pt>
                <c:pt idx="23216">
                  <c:v>-0.107563025210083</c:v>
                </c:pt>
                <c:pt idx="23217">
                  <c:v>-0.107563025210083</c:v>
                </c:pt>
                <c:pt idx="23218">
                  <c:v>-0.107563025210083</c:v>
                </c:pt>
                <c:pt idx="23219">
                  <c:v>-0.107563025210083</c:v>
                </c:pt>
                <c:pt idx="23220">
                  <c:v>-0.107563025210083</c:v>
                </c:pt>
                <c:pt idx="23221">
                  <c:v>-0.107563025210083</c:v>
                </c:pt>
                <c:pt idx="23222">
                  <c:v>-0.107563025210083</c:v>
                </c:pt>
                <c:pt idx="23223">
                  <c:v>-0.107563025210083</c:v>
                </c:pt>
                <c:pt idx="23224">
                  <c:v>-0.107563025210083</c:v>
                </c:pt>
                <c:pt idx="23225">
                  <c:v>-0.107563025210083</c:v>
                </c:pt>
                <c:pt idx="23226">
                  <c:v>-0.107563025210083</c:v>
                </c:pt>
                <c:pt idx="23227">
                  <c:v>-0.107563025210083</c:v>
                </c:pt>
                <c:pt idx="23228">
                  <c:v>-0.107563025210083</c:v>
                </c:pt>
                <c:pt idx="23229">
                  <c:v>-0.10672268907563</c:v>
                </c:pt>
                <c:pt idx="23230">
                  <c:v>-0.10672268907563</c:v>
                </c:pt>
                <c:pt idx="23231">
                  <c:v>-0.10672268907563</c:v>
                </c:pt>
                <c:pt idx="23232">
                  <c:v>-0.107563025210083</c:v>
                </c:pt>
                <c:pt idx="23233">
                  <c:v>-0.107563025210083</c:v>
                </c:pt>
                <c:pt idx="23234">
                  <c:v>-0.107563025210083</c:v>
                </c:pt>
                <c:pt idx="23235">
                  <c:v>-0.107563025210083</c:v>
                </c:pt>
                <c:pt idx="23236">
                  <c:v>-0.107563025210083</c:v>
                </c:pt>
                <c:pt idx="23237">
                  <c:v>-0.107563025210083</c:v>
                </c:pt>
                <c:pt idx="23238">
                  <c:v>-0.107563025210083</c:v>
                </c:pt>
                <c:pt idx="23239">
                  <c:v>-0.107563025210083</c:v>
                </c:pt>
                <c:pt idx="23240">
                  <c:v>-0.107563025210083</c:v>
                </c:pt>
                <c:pt idx="23241">
                  <c:v>-0.107563025210083</c:v>
                </c:pt>
                <c:pt idx="23242">
                  <c:v>-0.107563025210083</c:v>
                </c:pt>
                <c:pt idx="23243">
                  <c:v>-0.107563025210083</c:v>
                </c:pt>
                <c:pt idx="23244">
                  <c:v>-0.107563025210083</c:v>
                </c:pt>
                <c:pt idx="23245">
                  <c:v>-0.107563025210083</c:v>
                </c:pt>
                <c:pt idx="23246">
                  <c:v>-0.107563025210083</c:v>
                </c:pt>
                <c:pt idx="23247">
                  <c:v>-0.107563025210083</c:v>
                </c:pt>
                <c:pt idx="23248">
                  <c:v>-0.107563025210083</c:v>
                </c:pt>
                <c:pt idx="23249">
                  <c:v>-0.107563025210083</c:v>
                </c:pt>
                <c:pt idx="23250">
                  <c:v>-0.107563025210083</c:v>
                </c:pt>
                <c:pt idx="23251">
                  <c:v>-0.107563025210083</c:v>
                </c:pt>
                <c:pt idx="23252">
                  <c:v>-0.107563025210083</c:v>
                </c:pt>
                <c:pt idx="23253">
                  <c:v>-0.107563025210083</c:v>
                </c:pt>
                <c:pt idx="23254">
                  <c:v>-0.107563025210083</c:v>
                </c:pt>
                <c:pt idx="23255">
                  <c:v>-0.107563025210083</c:v>
                </c:pt>
                <c:pt idx="23256">
                  <c:v>-0.107563025210083</c:v>
                </c:pt>
                <c:pt idx="23257">
                  <c:v>-0.107563025210083</c:v>
                </c:pt>
                <c:pt idx="23258">
                  <c:v>-0.107563025210083</c:v>
                </c:pt>
                <c:pt idx="23259">
                  <c:v>-0.10672268907563</c:v>
                </c:pt>
                <c:pt idx="23260">
                  <c:v>-0.10672268907563</c:v>
                </c:pt>
                <c:pt idx="23261">
                  <c:v>-0.10672268907563</c:v>
                </c:pt>
                <c:pt idx="23262">
                  <c:v>-0.10672268907563</c:v>
                </c:pt>
                <c:pt idx="23263">
                  <c:v>-0.10672268907563</c:v>
                </c:pt>
                <c:pt idx="23264">
                  <c:v>-0.107563025210083</c:v>
                </c:pt>
                <c:pt idx="23265">
                  <c:v>-0.107563025210083</c:v>
                </c:pt>
                <c:pt idx="23266">
                  <c:v>-0.107563025210083</c:v>
                </c:pt>
                <c:pt idx="23267">
                  <c:v>-0.107563025210083</c:v>
                </c:pt>
                <c:pt idx="23268">
                  <c:v>-0.107563025210083</c:v>
                </c:pt>
                <c:pt idx="23269">
                  <c:v>-0.107563025210083</c:v>
                </c:pt>
                <c:pt idx="23270">
                  <c:v>-0.107563025210083</c:v>
                </c:pt>
                <c:pt idx="23271">
                  <c:v>-0.107563025210083</c:v>
                </c:pt>
                <c:pt idx="23272">
                  <c:v>-0.107563025210083</c:v>
                </c:pt>
                <c:pt idx="23273">
                  <c:v>-0.107563025210083</c:v>
                </c:pt>
                <c:pt idx="23274">
                  <c:v>-0.107563025210083</c:v>
                </c:pt>
                <c:pt idx="23275">
                  <c:v>-0.108403361344537</c:v>
                </c:pt>
                <c:pt idx="23276">
                  <c:v>-0.108403361344537</c:v>
                </c:pt>
                <c:pt idx="23277">
                  <c:v>-0.108403361344537</c:v>
                </c:pt>
                <c:pt idx="23278">
                  <c:v>-0.108403361344537</c:v>
                </c:pt>
                <c:pt idx="23279">
                  <c:v>-0.107563025210083</c:v>
                </c:pt>
                <c:pt idx="23280">
                  <c:v>-0.107563025210083</c:v>
                </c:pt>
                <c:pt idx="23281">
                  <c:v>-0.107563025210083</c:v>
                </c:pt>
                <c:pt idx="23282">
                  <c:v>-0.107563025210083</c:v>
                </c:pt>
                <c:pt idx="23283">
                  <c:v>-0.107563025210083</c:v>
                </c:pt>
                <c:pt idx="23284">
                  <c:v>-0.107563025210083</c:v>
                </c:pt>
                <c:pt idx="23285">
                  <c:v>-0.107563025210083</c:v>
                </c:pt>
                <c:pt idx="23286">
                  <c:v>-0.107563025210083</c:v>
                </c:pt>
                <c:pt idx="23287">
                  <c:v>-0.107563025210083</c:v>
                </c:pt>
                <c:pt idx="23288">
                  <c:v>-0.107563025210083</c:v>
                </c:pt>
                <c:pt idx="23289">
                  <c:v>-0.107563025210083</c:v>
                </c:pt>
                <c:pt idx="23290">
                  <c:v>-0.107563025210083</c:v>
                </c:pt>
                <c:pt idx="23291">
                  <c:v>-0.107563025210083</c:v>
                </c:pt>
                <c:pt idx="23292">
                  <c:v>-0.107563025210083</c:v>
                </c:pt>
                <c:pt idx="23293">
                  <c:v>-0.107563025210083</c:v>
                </c:pt>
                <c:pt idx="23294">
                  <c:v>-0.107563025210083</c:v>
                </c:pt>
                <c:pt idx="23295">
                  <c:v>-0.108403361344537</c:v>
                </c:pt>
                <c:pt idx="23296">
                  <c:v>-0.108403361344537</c:v>
                </c:pt>
                <c:pt idx="23297">
                  <c:v>-0.108403361344537</c:v>
                </c:pt>
                <c:pt idx="23298">
                  <c:v>-0.108403361344537</c:v>
                </c:pt>
                <c:pt idx="23299">
                  <c:v>-0.108403361344537</c:v>
                </c:pt>
                <c:pt idx="23300">
                  <c:v>-0.108403361344537</c:v>
                </c:pt>
                <c:pt idx="23301">
                  <c:v>-0.108403361344537</c:v>
                </c:pt>
                <c:pt idx="23302">
                  <c:v>-0.108403361344537</c:v>
                </c:pt>
                <c:pt idx="23303">
                  <c:v>-0.109243697478991</c:v>
                </c:pt>
                <c:pt idx="23304">
                  <c:v>-0.109243697478991</c:v>
                </c:pt>
                <c:pt idx="23305">
                  <c:v>-0.109243697478991</c:v>
                </c:pt>
                <c:pt idx="23306">
                  <c:v>-0.110084033613445</c:v>
                </c:pt>
                <c:pt idx="23307">
                  <c:v>-0.110084033613445</c:v>
                </c:pt>
                <c:pt idx="23308">
                  <c:v>-0.110084033613445</c:v>
                </c:pt>
                <c:pt idx="23309">
                  <c:v>-0.110084033613445</c:v>
                </c:pt>
                <c:pt idx="23310">
                  <c:v>-0.110084033613445</c:v>
                </c:pt>
                <c:pt idx="23311">
                  <c:v>-0.110084033613445</c:v>
                </c:pt>
                <c:pt idx="23312">
                  <c:v>-0.110084033613445</c:v>
                </c:pt>
                <c:pt idx="23313">
                  <c:v>-0.110084033613445</c:v>
                </c:pt>
                <c:pt idx="23314">
                  <c:v>-0.110084033613445</c:v>
                </c:pt>
                <c:pt idx="23315">
                  <c:v>-0.110084033613445</c:v>
                </c:pt>
                <c:pt idx="23316">
                  <c:v>-0.110084033613445</c:v>
                </c:pt>
                <c:pt idx="23317">
                  <c:v>-0.110084033613445</c:v>
                </c:pt>
                <c:pt idx="23318">
                  <c:v>-0.110084033613445</c:v>
                </c:pt>
                <c:pt idx="23319">
                  <c:v>-0.110084033613445</c:v>
                </c:pt>
                <c:pt idx="23320">
                  <c:v>-0.110084033613445</c:v>
                </c:pt>
                <c:pt idx="23321">
                  <c:v>-0.110084033613445</c:v>
                </c:pt>
                <c:pt idx="23322">
                  <c:v>-0.110084033613445</c:v>
                </c:pt>
                <c:pt idx="23323">
                  <c:v>-0.109243697478991</c:v>
                </c:pt>
                <c:pt idx="23324">
                  <c:v>-0.108403361344537</c:v>
                </c:pt>
                <c:pt idx="23325">
                  <c:v>-0.108403361344537</c:v>
                </c:pt>
                <c:pt idx="23326">
                  <c:v>-0.108403361344537</c:v>
                </c:pt>
                <c:pt idx="23327">
                  <c:v>-0.108403361344537</c:v>
                </c:pt>
                <c:pt idx="23328">
                  <c:v>-0.108403361344537</c:v>
                </c:pt>
                <c:pt idx="23329">
                  <c:v>-0.108403361344537</c:v>
                </c:pt>
                <c:pt idx="23330">
                  <c:v>-0.107563025210083</c:v>
                </c:pt>
                <c:pt idx="23331">
                  <c:v>-0.107563025210083</c:v>
                </c:pt>
                <c:pt idx="23332">
                  <c:v>-0.107563025210083</c:v>
                </c:pt>
                <c:pt idx="23333">
                  <c:v>-0.107563025210083</c:v>
                </c:pt>
                <c:pt idx="23334">
                  <c:v>-0.107563025210083</c:v>
                </c:pt>
                <c:pt idx="23335">
                  <c:v>-0.107563025210083</c:v>
                </c:pt>
                <c:pt idx="23336">
                  <c:v>-0.107563025210083</c:v>
                </c:pt>
                <c:pt idx="23337">
                  <c:v>-0.107563025210083</c:v>
                </c:pt>
                <c:pt idx="23338">
                  <c:v>-0.107563025210083</c:v>
                </c:pt>
                <c:pt idx="23339">
                  <c:v>-0.107563025210083</c:v>
                </c:pt>
                <c:pt idx="23340">
                  <c:v>-0.107563025210083</c:v>
                </c:pt>
                <c:pt idx="23341">
                  <c:v>-0.107563025210083</c:v>
                </c:pt>
                <c:pt idx="23342">
                  <c:v>-0.107563025210083</c:v>
                </c:pt>
                <c:pt idx="23343">
                  <c:v>-0.107563025210083</c:v>
                </c:pt>
                <c:pt idx="23344">
                  <c:v>-0.107563025210083</c:v>
                </c:pt>
                <c:pt idx="23345">
                  <c:v>-0.107563025210083</c:v>
                </c:pt>
                <c:pt idx="23346">
                  <c:v>-0.107563025210083</c:v>
                </c:pt>
                <c:pt idx="23347">
                  <c:v>-0.107563025210083</c:v>
                </c:pt>
                <c:pt idx="23348">
                  <c:v>-0.107563025210083</c:v>
                </c:pt>
                <c:pt idx="23349">
                  <c:v>-0.107563025210083</c:v>
                </c:pt>
                <c:pt idx="23350">
                  <c:v>-0.107563025210083</c:v>
                </c:pt>
                <c:pt idx="23351">
                  <c:v>-0.107563025210083</c:v>
                </c:pt>
                <c:pt idx="23352">
                  <c:v>-0.107563025210083</c:v>
                </c:pt>
                <c:pt idx="23353">
                  <c:v>-0.107563025210083</c:v>
                </c:pt>
                <c:pt idx="23354">
                  <c:v>-0.107563025210083</c:v>
                </c:pt>
                <c:pt idx="23355">
                  <c:v>-0.107563025210083</c:v>
                </c:pt>
                <c:pt idx="23356">
                  <c:v>-0.107563025210083</c:v>
                </c:pt>
                <c:pt idx="23357">
                  <c:v>-0.107563025210083</c:v>
                </c:pt>
                <c:pt idx="23358">
                  <c:v>-0.107563025210083</c:v>
                </c:pt>
                <c:pt idx="23359">
                  <c:v>-0.107563025210083</c:v>
                </c:pt>
                <c:pt idx="23360">
                  <c:v>-0.107563025210083</c:v>
                </c:pt>
                <c:pt idx="23361">
                  <c:v>-0.107563025210083</c:v>
                </c:pt>
                <c:pt idx="23362">
                  <c:v>-0.107563025210083</c:v>
                </c:pt>
                <c:pt idx="23363">
                  <c:v>-0.107563025210083</c:v>
                </c:pt>
                <c:pt idx="23364">
                  <c:v>-0.107563025210083</c:v>
                </c:pt>
                <c:pt idx="23365">
                  <c:v>-0.107563025210083</c:v>
                </c:pt>
                <c:pt idx="23366">
                  <c:v>-0.107563025210083</c:v>
                </c:pt>
                <c:pt idx="23367">
                  <c:v>-0.10672268907563</c:v>
                </c:pt>
                <c:pt idx="23368">
                  <c:v>-0.10672268907563</c:v>
                </c:pt>
                <c:pt idx="23369">
                  <c:v>-0.10672268907563</c:v>
                </c:pt>
                <c:pt idx="23370">
                  <c:v>-0.10672268907563</c:v>
                </c:pt>
                <c:pt idx="23371">
                  <c:v>-0.10672268907563</c:v>
                </c:pt>
                <c:pt idx="23372">
                  <c:v>-0.10672268907563</c:v>
                </c:pt>
                <c:pt idx="23373">
                  <c:v>-0.10672268907563</c:v>
                </c:pt>
                <c:pt idx="23374">
                  <c:v>-0.10672268907563</c:v>
                </c:pt>
                <c:pt idx="23375">
                  <c:v>-0.10672268907563</c:v>
                </c:pt>
                <c:pt idx="23376">
                  <c:v>-0.10672268907563</c:v>
                </c:pt>
                <c:pt idx="23377">
                  <c:v>-0.10672268907563</c:v>
                </c:pt>
                <c:pt idx="23378">
                  <c:v>-0.10672268907563</c:v>
                </c:pt>
                <c:pt idx="23379">
                  <c:v>-0.105882352941176</c:v>
                </c:pt>
                <c:pt idx="23380">
                  <c:v>-0.105882352941176</c:v>
                </c:pt>
                <c:pt idx="23381">
                  <c:v>-0.105882352941176</c:v>
                </c:pt>
                <c:pt idx="23382">
                  <c:v>-0.105882352941176</c:v>
                </c:pt>
                <c:pt idx="23383">
                  <c:v>-0.105882352941176</c:v>
                </c:pt>
                <c:pt idx="23384">
                  <c:v>-0.105882352941176</c:v>
                </c:pt>
                <c:pt idx="23385">
                  <c:v>-0.105882352941176</c:v>
                </c:pt>
                <c:pt idx="23386">
                  <c:v>-0.105882352941176</c:v>
                </c:pt>
                <c:pt idx="23387">
                  <c:v>-0.105882352941176</c:v>
                </c:pt>
                <c:pt idx="23388">
                  <c:v>-0.105882352941176</c:v>
                </c:pt>
                <c:pt idx="23389">
                  <c:v>-0.105882352941176</c:v>
                </c:pt>
                <c:pt idx="23390">
                  <c:v>-0.105882352941176</c:v>
                </c:pt>
                <c:pt idx="23391">
                  <c:v>-0.105882352941176</c:v>
                </c:pt>
                <c:pt idx="23392">
                  <c:v>-0.105882352941176</c:v>
                </c:pt>
                <c:pt idx="23393">
                  <c:v>-0.105882352941176</c:v>
                </c:pt>
                <c:pt idx="23394">
                  <c:v>-0.105882352941176</c:v>
                </c:pt>
                <c:pt idx="23395">
                  <c:v>-0.105882352941176</c:v>
                </c:pt>
                <c:pt idx="23396">
                  <c:v>-0.105882352941176</c:v>
                </c:pt>
                <c:pt idx="23397">
                  <c:v>-0.105882352941176</c:v>
                </c:pt>
                <c:pt idx="23398">
                  <c:v>-0.105882352941176</c:v>
                </c:pt>
                <c:pt idx="23399">
                  <c:v>-0.105882352941176</c:v>
                </c:pt>
                <c:pt idx="23400">
                  <c:v>-0.105882352941176</c:v>
                </c:pt>
                <c:pt idx="23401">
                  <c:v>-0.105882352941176</c:v>
                </c:pt>
                <c:pt idx="23402">
                  <c:v>-0.105882352941176</c:v>
                </c:pt>
                <c:pt idx="23403">
                  <c:v>-0.105882352941176</c:v>
                </c:pt>
                <c:pt idx="23404">
                  <c:v>-0.105882352941176</c:v>
                </c:pt>
                <c:pt idx="23405">
                  <c:v>-0.105882352941176</c:v>
                </c:pt>
                <c:pt idx="23406">
                  <c:v>-0.105882352941176</c:v>
                </c:pt>
                <c:pt idx="23407">
                  <c:v>-0.105882352941176</c:v>
                </c:pt>
                <c:pt idx="23408">
                  <c:v>-0.105882352941176</c:v>
                </c:pt>
                <c:pt idx="23409">
                  <c:v>-0.105882352941176</c:v>
                </c:pt>
                <c:pt idx="23410">
                  <c:v>-0.105882352941176</c:v>
                </c:pt>
                <c:pt idx="23411">
                  <c:v>-0.105882352941176</c:v>
                </c:pt>
                <c:pt idx="23412">
                  <c:v>-0.105882352941176</c:v>
                </c:pt>
                <c:pt idx="23413">
                  <c:v>-0.105882352941176</c:v>
                </c:pt>
                <c:pt idx="23414">
                  <c:v>-0.105882352941176</c:v>
                </c:pt>
                <c:pt idx="23415">
                  <c:v>-0.105882352941176</c:v>
                </c:pt>
                <c:pt idx="23416">
                  <c:v>-0.105882352941176</c:v>
                </c:pt>
                <c:pt idx="23417">
                  <c:v>-0.105882352941176</c:v>
                </c:pt>
                <c:pt idx="23418">
                  <c:v>-0.105882352941176</c:v>
                </c:pt>
                <c:pt idx="23419">
                  <c:v>-0.105882352941176</c:v>
                </c:pt>
                <c:pt idx="23420">
                  <c:v>-0.105882352941176</c:v>
                </c:pt>
                <c:pt idx="23421">
                  <c:v>-0.105882352941176</c:v>
                </c:pt>
                <c:pt idx="23422">
                  <c:v>-0.105882352941176</c:v>
                </c:pt>
                <c:pt idx="23423">
                  <c:v>-0.105882352941176</c:v>
                </c:pt>
                <c:pt idx="23424">
                  <c:v>-0.105882352941176</c:v>
                </c:pt>
                <c:pt idx="23425">
                  <c:v>-0.105882352941176</c:v>
                </c:pt>
                <c:pt idx="23426">
                  <c:v>-0.105882352941176</c:v>
                </c:pt>
                <c:pt idx="23427">
                  <c:v>-0.105882352941176</c:v>
                </c:pt>
                <c:pt idx="23428">
                  <c:v>-0.105882352941176</c:v>
                </c:pt>
                <c:pt idx="23429">
                  <c:v>-0.105882352941176</c:v>
                </c:pt>
                <c:pt idx="23430">
                  <c:v>-0.105882352941176</c:v>
                </c:pt>
                <c:pt idx="23431">
                  <c:v>-0.105882352941176</c:v>
                </c:pt>
                <c:pt idx="23432">
                  <c:v>-0.105882352941176</c:v>
                </c:pt>
                <c:pt idx="23433">
                  <c:v>-0.105882352941176</c:v>
                </c:pt>
                <c:pt idx="23434">
                  <c:v>-0.105882352941176</c:v>
                </c:pt>
                <c:pt idx="23435">
                  <c:v>-0.105882352941176</c:v>
                </c:pt>
                <c:pt idx="23436">
                  <c:v>-0.105882352941176</c:v>
                </c:pt>
                <c:pt idx="23437">
                  <c:v>-0.105882352941176</c:v>
                </c:pt>
                <c:pt idx="23438">
                  <c:v>-0.105042016806722</c:v>
                </c:pt>
                <c:pt idx="23439">
                  <c:v>-0.105042016806722</c:v>
                </c:pt>
                <c:pt idx="23440">
                  <c:v>-0.105042016806722</c:v>
                </c:pt>
                <c:pt idx="23441">
                  <c:v>-0.105042016806722</c:v>
                </c:pt>
                <c:pt idx="23442">
                  <c:v>-0.105042016806722</c:v>
                </c:pt>
                <c:pt idx="23443">
                  <c:v>-0.105042016806722</c:v>
                </c:pt>
                <c:pt idx="23444">
                  <c:v>-0.105042016806722</c:v>
                </c:pt>
                <c:pt idx="23445">
                  <c:v>-0.105042016806722</c:v>
                </c:pt>
                <c:pt idx="23446">
                  <c:v>-0.105042016806722</c:v>
                </c:pt>
                <c:pt idx="23447">
                  <c:v>-0.105042016806722</c:v>
                </c:pt>
                <c:pt idx="23448">
                  <c:v>-0.105042016806722</c:v>
                </c:pt>
                <c:pt idx="23449">
                  <c:v>-0.105042016806722</c:v>
                </c:pt>
                <c:pt idx="23450">
                  <c:v>-0.105042016806722</c:v>
                </c:pt>
                <c:pt idx="23451">
                  <c:v>-0.105042016806722</c:v>
                </c:pt>
                <c:pt idx="23452">
                  <c:v>-0.105042016806722</c:v>
                </c:pt>
                <c:pt idx="23453">
                  <c:v>-0.105042016806722</c:v>
                </c:pt>
                <c:pt idx="23454">
                  <c:v>-0.105042016806722</c:v>
                </c:pt>
                <c:pt idx="23455">
                  <c:v>-0.105042016806722</c:v>
                </c:pt>
                <c:pt idx="23456">
                  <c:v>-0.105042016806722</c:v>
                </c:pt>
                <c:pt idx="23457">
                  <c:v>-0.105042016806722</c:v>
                </c:pt>
                <c:pt idx="23458">
                  <c:v>-0.105042016806722</c:v>
                </c:pt>
                <c:pt idx="23459">
                  <c:v>-0.105042016806722</c:v>
                </c:pt>
                <c:pt idx="23460">
                  <c:v>-0.105042016806722</c:v>
                </c:pt>
                <c:pt idx="23461">
                  <c:v>-0.105042016806722</c:v>
                </c:pt>
                <c:pt idx="23462">
                  <c:v>-0.105042016806722</c:v>
                </c:pt>
                <c:pt idx="23463">
                  <c:v>-0.105042016806722</c:v>
                </c:pt>
                <c:pt idx="23464">
                  <c:v>-0.105042016806722</c:v>
                </c:pt>
                <c:pt idx="23465">
                  <c:v>-0.105042016806722</c:v>
                </c:pt>
                <c:pt idx="23466">
                  <c:v>-0.105042016806722</c:v>
                </c:pt>
                <c:pt idx="23467">
                  <c:v>-0.105042016806722</c:v>
                </c:pt>
                <c:pt idx="23468">
                  <c:v>-0.105042016806722</c:v>
                </c:pt>
                <c:pt idx="23469">
                  <c:v>-0.105042016806722</c:v>
                </c:pt>
                <c:pt idx="23470">
                  <c:v>-0.105042016806722</c:v>
                </c:pt>
                <c:pt idx="23471">
                  <c:v>-0.105042016806722</c:v>
                </c:pt>
                <c:pt idx="23472">
                  <c:v>-0.105042016806722</c:v>
                </c:pt>
                <c:pt idx="23473">
                  <c:v>-0.105042016806722</c:v>
                </c:pt>
                <c:pt idx="23474">
                  <c:v>-0.105042016806722</c:v>
                </c:pt>
                <c:pt idx="23475">
                  <c:v>-0.105042016806722</c:v>
                </c:pt>
                <c:pt idx="23476">
                  <c:v>-0.105042016806722</c:v>
                </c:pt>
                <c:pt idx="23477">
                  <c:v>-0.105042016806722</c:v>
                </c:pt>
                <c:pt idx="23478">
                  <c:v>-0.105042016806722</c:v>
                </c:pt>
                <c:pt idx="23479">
                  <c:v>-0.105042016806722</c:v>
                </c:pt>
                <c:pt idx="23480">
                  <c:v>-0.105042016806722</c:v>
                </c:pt>
                <c:pt idx="23481">
                  <c:v>-0.105042016806722</c:v>
                </c:pt>
                <c:pt idx="23482">
                  <c:v>-0.105042016806722</c:v>
                </c:pt>
                <c:pt idx="23483">
                  <c:v>-0.105042016806722</c:v>
                </c:pt>
                <c:pt idx="23484">
                  <c:v>-0.105042016806722</c:v>
                </c:pt>
                <c:pt idx="23485">
                  <c:v>-0.105042016806722</c:v>
                </c:pt>
                <c:pt idx="23486">
                  <c:v>-0.105042016806722</c:v>
                </c:pt>
                <c:pt idx="23487">
                  <c:v>-0.105042016806722</c:v>
                </c:pt>
                <c:pt idx="23488">
                  <c:v>-0.105042016806722</c:v>
                </c:pt>
                <c:pt idx="23489">
                  <c:v>-0.105042016806722</c:v>
                </c:pt>
                <c:pt idx="23490">
                  <c:v>-0.105042016806722</c:v>
                </c:pt>
                <c:pt idx="23491">
                  <c:v>-0.105042016806722</c:v>
                </c:pt>
                <c:pt idx="23492">
                  <c:v>-0.105042016806722</c:v>
                </c:pt>
                <c:pt idx="23493">
                  <c:v>-0.105042016806722</c:v>
                </c:pt>
                <c:pt idx="23494">
                  <c:v>-0.105042016806722</c:v>
                </c:pt>
                <c:pt idx="23495">
                  <c:v>-0.105042016806722</c:v>
                </c:pt>
                <c:pt idx="23496">
                  <c:v>-0.105042016806722</c:v>
                </c:pt>
                <c:pt idx="23497">
                  <c:v>-0.105042016806722</c:v>
                </c:pt>
                <c:pt idx="23498">
                  <c:v>-0.105042016806722</c:v>
                </c:pt>
                <c:pt idx="23499">
                  <c:v>-0.105042016806722</c:v>
                </c:pt>
                <c:pt idx="23500">
                  <c:v>-0.104201680672268</c:v>
                </c:pt>
                <c:pt idx="23501">
                  <c:v>-0.104201680672268</c:v>
                </c:pt>
                <c:pt idx="23502">
                  <c:v>-0.104201680672268</c:v>
                </c:pt>
                <c:pt idx="23503">
                  <c:v>-0.104201680672268</c:v>
                </c:pt>
                <c:pt idx="23504">
                  <c:v>-0.104201680672268</c:v>
                </c:pt>
                <c:pt idx="23505">
                  <c:v>-0.104201680672268</c:v>
                </c:pt>
                <c:pt idx="23506">
                  <c:v>-0.104201680672268</c:v>
                </c:pt>
                <c:pt idx="23507">
                  <c:v>-0.10336134453781499</c:v>
                </c:pt>
                <c:pt idx="23508">
                  <c:v>-0.10336134453781499</c:v>
                </c:pt>
                <c:pt idx="23509">
                  <c:v>-0.10336134453781499</c:v>
                </c:pt>
                <c:pt idx="23510">
                  <c:v>-0.10336134453781499</c:v>
                </c:pt>
                <c:pt idx="23511">
                  <c:v>-0.10336134453781499</c:v>
                </c:pt>
                <c:pt idx="23512">
                  <c:v>-0.10336134453781499</c:v>
                </c:pt>
                <c:pt idx="23513">
                  <c:v>-0.10336134453781499</c:v>
                </c:pt>
                <c:pt idx="23514">
                  <c:v>-0.10252100840336099</c:v>
                </c:pt>
                <c:pt idx="23515">
                  <c:v>-0.10252100840336099</c:v>
                </c:pt>
                <c:pt idx="23516">
                  <c:v>-0.10252100840336099</c:v>
                </c:pt>
                <c:pt idx="23517">
                  <c:v>-0.10252100840336099</c:v>
                </c:pt>
                <c:pt idx="23518">
                  <c:v>-0.10252100840336099</c:v>
                </c:pt>
                <c:pt idx="23519">
                  <c:v>-0.10252100840336099</c:v>
                </c:pt>
                <c:pt idx="23520">
                  <c:v>-0.10252100840336099</c:v>
                </c:pt>
                <c:pt idx="23521">
                  <c:v>-0.10252100840336099</c:v>
                </c:pt>
                <c:pt idx="23522">
                  <c:v>-0.10252100840336099</c:v>
                </c:pt>
                <c:pt idx="23523">
                  <c:v>-0.10252100840336099</c:v>
                </c:pt>
                <c:pt idx="23524">
                  <c:v>-0.10252100840336099</c:v>
                </c:pt>
                <c:pt idx="23525">
                  <c:v>-0.10252100840336099</c:v>
                </c:pt>
                <c:pt idx="23526">
                  <c:v>-0.10252100840336099</c:v>
                </c:pt>
                <c:pt idx="23527">
                  <c:v>-0.10252100840336099</c:v>
                </c:pt>
                <c:pt idx="23528">
                  <c:v>-0.10252100840336099</c:v>
                </c:pt>
                <c:pt idx="23529">
                  <c:v>-0.10252100840336099</c:v>
                </c:pt>
                <c:pt idx="23530">
                  <c:v>-0.10252100840336099</c:v>
                </c:pt>
                <c:pt idx="23531">
                  <c:v>-0.10252100840336099</c:v>
                </c:pt>
                <c:pt idx="23532">
                  <c:v>-0.10168067226890699</c:v>
                </c:pt>
                <c:pt idx="23533">
                  <c:v>-0.10168067226890699</c:v>
                </c:pt>
                <c:pt idx="23534">
                  <c:v>-0.10168067226890699</c:v>
                </c:pt>
                <c:pt idx="23535">
                  <c:v>-0.10168067226890699</c:v>
                </c:pt>
                <c:pt idx="23536">
                  <c:v>-0.10168067226890699</c:v>
                </c:pt>
                <c:pt idx="23537">
                  <c:v>-0.10168067226890699</c:v>
                </c:pt>
                <c:pt idx="23538">
                  <c:v>-0.10168067226890699</c:v>
                </c:pt>
                <c:pt idx="23539">
                  <c:v>-0.10168067226890699</c:v>
                </c:pt>
                <c:pt idx="23540">
                  <c:v>-0.10168067226890699</c:v>
                </c:pt>
                <c:pt idx="23541">
                  <c:v>-0.10168067226890699</c:v>
                </c:pt>
                <c:pt idx="23542">
                  <c:v>-0.10168067226890699</c:v>
                </c:pt>
                <c:pt idx="23543">
                  <c:v>-0.10168067226890699</c:v>
                </c:pt>
                <c:pt idx="23544">
                  <c:v>-0.10252100840336099</c:v>
                </c:pt>
                <c:pt idx="23545">
                  <c:v>-0.10252100840336099</c:v>
                </c:pt>
                <c:pt idx="23546">
                  <c:v>-0.10252100840336099</c:v>
                </c:pt>
                <c:pt idx="23547">
                  <c:v>-0.10252100840336099</c:v>
                </c:pt>
                <c:pt idx="23548">
                  <c:v>-0.10252100840336099</c:v>
                </c:pt>
                <c:pt idx="23549">
                  <c:v>-0.10168067226890699</c:v>
                </c:pt>
                <c:pt idx="23550">
                  <c:v>-0.10168067226890699</c:v>
                </c:pt>
                <c:pt idx="23551">
                  <c:v>-0.10168067226890699</c:v>
                </c:pt>
                <c:pt idx="23552">
                  <c:v>-0.10168067226890699</c:v>
                </c:pt>
                <c:pt idx="23553">
                  <c:v>-0.10168067226890699</c:v>
                </c:pt>
                <c:pt idx="23554">
                  <c:v>-0.10168067226890699</c:v>
                </c:pt>
                <c:pt idx="23555">
                  <c:v>-0.10168067226890699</c:v>
                </c:pt>
                <c:pt idx="23556">
                  <c:v>-0.10168067226890699</c:v>
                </c:pt>
                <c:pt idx="23557">
                  <c:v>-0.10168067226890699</c:v>
                </c:pt>
                <c:pt idx="23558">
                  <c:v>-0.10168067226890699</c:v>
                </c:pt>
                <c:pt idx="23559">
                  <c:v>-0.10168067226890699</c:v>
                </c:pt>
                <c:pt idx="23560">
                  <c:v>-0.10168067226890699</c:v>
                </c:pt>
                <c:pt idx="23561">
                  <c:v>-0.10168067226890699</c:v>
                </c:pt>
                <c:pt idx="23562">
                  <c:v>-0.10168067226890699</c:v>
                </c:pt>
                <c:pt idx="23563">
                  <c:v>-0.10168067226890699</c:v>
                </c:pt>
                <c:pt idx="23564">
                  <c:v>-0.10168067226890699</c:v>
                </c:pt>
                <c:pt idx="23565">
                  <c:v>-0.10168067226890699</c:v>
                </c:pt>
                <c:pt idx="23566">
                  <c:v>-0.10168067226890699</c:v>
                </c:pt>
                <c:pt idx="23567">
                  <c:v>-0.10168067226890699</c:v>
                </c:pt>
                <c:pt idx="23568">
                  <c:v>-0.10168067226890699</c:v>
                </c:pt>
                <c:pt idx="23569">
                  <c:v>-0.10168067226890699</c:v>
                </c:pt>
                <c:pt idx="23570">
                  <c:v>-0.10168067226890699</c:v>
                </c:pt>
                <c:pt idx="23571">
                  <c:v>-0.10168067226890699</c:v>
                </c:pt>
                <c:pt idx="23572">
                  <c:v>-0.10168067226890699</c:v>
                </c:pt>
                <c:pt idx="23573">
                  <c:v>-0.10168067226890699</c:v>
                </c:pt>
                <c:pt idx="23574">
                  <c:v>-0.10168067226890699</c:v>
                </c:pt>
                <c:pt idx="23575">
                  <c:v>-0.10168067226890699</c:v>
                </c:pt>
                <c:pt idx="23576">
                  <c:v>-0.10168067226890699</c:v>
                </c:pt>
                <c:pt idx="23577">
                  <c:v>-0.10168067226890699</c:v>
                </c:pt>
                <c:pt idx="23578">
                  <c:v>-0.10168067226890699</c:v>
                </c:pt>
                <c:pt idx="23579">
                  <c:v>-0.10168067226890699</c:v>
                </c:pt>
                <c:pt idx="23580">
                  <c:v>-0.10168067226890699</c:v>
                </c:pt>
                <c:pt idx="23581">
                  <c:v>-0.10168067226890699</c:v>
                </c:pt>
                <c:pt idx="23582">
                  <c:v>-0.10168067226890699</c:v>
                </c:pt>
                <c:pt idx="23583">
                  <c:v>-0.10168067226890699</c:v>
                </c:pt>
                <c:pt idx="23584">
                  <c:v>-0.10168067226890699</c:v>
                </c:pt>
                <c:pt idx="23585">
                  <c:v>-0.10168067226890699</c:v>
                </c:pt>
                <c:pt idx="23586">
                  <c:v>-0.10168067226890699</c:v>
                </c:pt>
                <c:pt idx="23587">
                  <c:v>-0.10168067226890699</c:v>
                </c:pt>
                <c:pt idx="23588">
                  <c:v>-0.10168067226890699</c:v>
                </c:pt>
                <c:pt idx="23589">
                  <c:v>-0.10168067226890699</c:v>
                </c:pt>
                <c:pt idx="23590">
                  <c:v>-0.10168067226890699</c:v>
                </c:pt>
                <c:pt idx="23591">
                  <c:v>-0.10168067226890699</c:v>
                </c:pt>
                <c:pt idx="23592">
                  <c:v>-0.10168067226890699</c:v>
                </c:pt>
                <c:pt idx="23593">
                  <c:v>-0.10168067226890699</c:v>
                </c:pt>
                <c:pt idx="23594">
                  <c:v>-0.10168067226890699</c:v>
                </c:pt>
                <c:pt idx="23595">
                  <c:v>-0.10168067226890699</c:v>
                </c:pt>
                <c:pt idx="23596">
                  <c:v>-0.10168067226890699</c:v>
                </c:pt>
                <c:pt idx="23597">
                  <c:v>-0.10168067226890699</c:v>
                </c:pt>
                <c:pt idx="23598">
                  <c:v>-0.10168067226890699</c:v>
                </c:pt>
                <c:pt idx="23599">
                  <c:v>-0.10168067226890699</c:v>
                </c:pt>
                <c:pt idx="23600">
                  <c:v>-0.10168067226890699</c:v>
                </c:pt>
                <c:pt idx="23601">
                  <c:v>-0.10168067226890699</c:v>
                </c:pt>
                <c:pt idx="23602">
                  <c:v>-0.10168067226890699</c:v>
                </c:pt>
                <c:pt idx="23603">
                  <c:v>-0.10168067226890699</c:v>
                </c:pt>
                <c:pt idx="23604">
                  <c:v>-0.10168067226890699</c:v>
                </c:pt>
                <c:pt idx="23605">
                  <c:v>-0.10168067226890699</c:v>
                </c:pt>
                <c:pt idx="23606">
                  <c:v>-0.10168067226890699</c:v>
                </c:pt>
                <c:pt idx="23607">
                  <c:v>-0.10168067226890699</c:v>
                </c:pt>
                <c:pt idx="23608">
                  <c:v>-0.10168067226890699</c:v>
                </c:pt>
                <c:pt idx="23609">
                  <c:v>-0.10168067226890699</c:v>
                </c:pt>
                <c:pt idx="23610">
                  <c:v>-0.10168067226890699</c:v>
                </c:pt>
                <c:pt idx="23611">
                  <c:v>-0.10168067226890699</c:v>
                </c:pt>
                <c:pt idx="23612">
                  <c:v>-0.10168067226890699</c:v>
                </c:pt>
                <c:pt idx="23613">
                  <c:v>-0.10168067226890699</c:v>
                </c:pt>
                <c:pt idx="23614">
                  <c:v>-0.10168067226890699</c:v>
                </c:pt>
                <c:pt idx="23615">
                  <c:v>-0.10168067226890699</c:v>
                </c:pt>
                <c:pt idx="23616">
                  <c:v>-0.10168067226890699</c:v>
                </c:pt>
                <c:pt idx="23617">
                  <c:v>-0.10168067226890699</c:v>
                </c:pt>
                <c:pt idx="23618">
                  <c:v>-0.10168067226890699</c:v>
                </c:pt>
                <c:pt idx="23619">
                  <c:v>-0.10168067226890699</c:v>
                </c:pt>
                <c:pt idx="23620">
                  <c:v>-0.10168067226890699</c:v>
                </c:pt>
                <c:pt idx="23621">
                  <c:v>-0.10168067226890699</c:v>
                </c:pt>
                <c:pt idx="23622">
                  <c:v>-0.10168067226890699</c:v>
                </c:pt>
                <c:pt idx="23623">
                  <c:v>-0.10168067226890699</c:v>
                </c:pt>
                <c:pt idx="23624">
                  <c:v>-0.10168067226890699</c:v>
                </c:pt>
                <c:pt idx="23625">
                  <c:v>-0.10168067226890699</c:v>
                </c:pt>
                <c:pt idx="23626">
                  <c:v>-0.10168067226890699</c:v>
                </c:pt>
                <c:pt idx="23627">
                  <c:v>-0.10168067226890699</c:v>
                </c:pt>
                <c:pt idx="23628">
                  <c:v>-0.10168067226890699</c:v>
                </c:pt>
                <c:pt idx="23629">
                  <c:v>-0.10168067226890699</c:v>
                </c:pt>
                <c:pt idx="23630">
                  <c:v>-0.10168067226890699</c:v>
                </c:pt>
                <c:pt idx="23631">
                  <c:v>-0.10168067226890699</c:v>
                </c:pt>
                <c:pt idx="23632">
                  <c:v>-0.10168067226890699</c:v>
                </c:pt>
                <c:pt idx="23633">
                  <c:v>-0.10168067226890699</c:v>
                </c:pt>
                <c:pt idx="23634">
                  <c:v>-0.10168067226890699</c:v>
                </c:pt>
                <c:pt idx="23635">
                  <c:v>-0.10168067226890699</c:v>
                </c:pt>
                <c:pt idx="23636">
                  <c:v>-0.10168067226890699</c:v>
                </c:pt>
                <c:pt idx="23637">
                  <c:v>-0.10168067226890699</c:v>
                </c:pt>
                <c:pt idx="23638">
                  <c:v>-0.10084033613445301</c:v>
                </c:pt>
                <c:pt idx="23639">
                  <c:v>-0.10084033613445301</c:v>
                </c:pt>
                <c:pt idx="23640">
                  <c:v>-0.10084033613445301</c:v>
                </c:pt>
                <c:pt idx="23641">
                  <c:v>-0.10084033613445301</c:v>
                </c:pt>
                <c:pt idx="23642">
                  <c:v>-0.10084033613445301</c:v>
                </c:pt>
                <c:pt idx="23643">
                  <c:v>-0.10084033613445301</c:v>
                </c:pt>
                <c:pt idx="23644">
                  <c:v>-0.10084033613445301</c:v>
                </c:pt>
                <c:pt idx="23645">
                  <c:v>-0.10084033613445301</c:v>
                </c:pt>
                <c:pt idx="23646">
                  <c:v>-0.10084033613445301</c:v>
                </c:pt>
                <c:pt idx="23647">
                  <c:v>-0.10084033613445301</c:v>
                </c:pt>
                <c:pt idx="23648">
                  <c:v>-0.10084033613445301</c:v>
                </c:pt>
                <c:pt idx="23649">
                  <c:v>-0.10084033613445301</c:v>
                </c:pt>
                <c:pt idx="23650">
                  <c:v>-0.10084033613445301</c:v>
                </c:pt>
                <c:pt idx="23651">
                  <c:v>-0.10084033613445301</c:v>
                </c:pt>
                <c:pt idx="23652">
                  <c:v>-0.10084033613445301</c:v>
                </c:pt>
                <c:pt idx="23653">
                  <c:v>-0.10084033613445301</c:v>
                </c:pt>
                <c:pt idx="23654">
                  <c:v>-0.10084033613445301</c:v>
                </c:pt>
                <c:pt idx="23655">
                  <c:v>-0.10084033613445301</c:v>
                </c:pt>
                <c:pt idx="23656">
                  <c:v>-0.10084033613445301</c:v>
                </c:pt>
                <c:pt idx="23657">
                  <c:v>-0.10084033613445301</c:v>
                </c:pt>
                <c:pt idx="23658">
                  <c:v>-0.10084033613445301</c:v>
                </c:pt>
                <c:pt idx="23659">
                  <c:v>-0.10084033613445301</c:v>
                </c:pt>
                <c:pt idx="23660">
                  <c:v>-0.10084033613445301</c:v>
                </c:pt>
                <c:pt idx="23661">
                  <c:v>-0.10084033613445301</c:v>
                </c:pt>
                <c:pt idx="23662">
                  <c:v>-0.10084033613445301</c:v>
                </c:pt>
                <c:pt idx="23663">
                  <c:v>-0.10084033613445301</c:v>
                </c:pt>
                <c:pt idx="23664">
                  <c:v>-0.10084033613445301</c:v>
                </c:pt>
                <c:pt idx="23665">
                  <c:v>-0.10084033613445301</c:v>
                </c:pt>
                <c:pt idx="23666">
                  <c:v>-0.10084033613445301</c:v>
                </c:pt>
                <c:pt idx="23667">
                  <c:v>-0.10084033613445301</c:v>
                </c:pt>
                <c:pt idx="23668">
                  <c:v>-0.10084033613445301</c:v>
                </c:pt>
                <c:pt idx="23669">
                  <c:v>-0.10084033613445301</c:v>
                </c:pt>
                <c:pt idx="23670">
                  <c:v>-0.10084033613445301</c:v>
                </c:pt>
                <c:pt idx="23671">
                  <c:v>-0.10084033613445301</c:v>
                </c:pt>
                <c:pt idx="23672">
                  <c:v>-0.10084033613445301</c:v>
                </c:pt>
                <c:pt idx="23673">
                  <c:v>-0.10084033613445301</c:v>
                </c:pt>
                <c:pt idx="23674">
                  <c:v>-0.10084033613445301</c:v>
                </c:pt>
                <c:pt idx="23675">
                  <c:v>-0.10084033613445301</c:v>
                </c:pt>
                <c:pt idx="23676">
                  <c:v>-0.10084033613445301</c:v>
                </c:pt>
                <c:pt idx="23677">
                  <c:v>-0.10084033613445301</c:v>
                </c:pt>
                <c:pt idx="23678">
                  <c:v>-0.10084033613445301</c:v>
                </c:pt>
                <c:pt idx="23679">
                  <c:v>-0.10084033613445301</c:v>
                </c:pt>
                <c:pt idx="23680">
                  <c:v>-0.10084033613445301</c:v>
                </c:pt>
                <c:pt idx="23681">
                  <c:v>-9.9999999999999895E-2</c:v>
                </c:pt>
                <c:pt idx="23682">
                  <c:v>-9.9999999999999895E-2</c:v>
                </c:pt>
                <c:pt idx="23683">
                  <c:v>-9.9999999999999895E-2</c:v>
                </c:pt>
                <c:pt idx="23684">
                  <c:v>-9.9999999999999895E-2</c:v>
                </c:pt>
                <c:pt idx="23685">
                  <c:v>-9.9999999999999895E-2</c:v>
                </c:pt>
                <c:pt idx="23686">
                  <c:v>-9.9159663865546199E-2</c:v>
                </c:pt>
                <c:pt idx="23687">
                  <c:v>-9.9159663865546199E-2</c:v>
                </c:pt>
                <c:pt idx="23688">
                  <c:v>-9.9159663865546199E-2</c:v>
                </c:pt>
                <c:pt idx="23689">
                  <c:v>-9.9159663865546199E-2</c:v>
                </c:pt>
                <c:pt idx="23690">
                  <c:v>-9.9159663865546199E-2</c:v>
                </c:pt>
                <c:pt idx="23691">
                  <c:v>-9.9159663865546199E-2</c:v>
                </c:pt>
                <c:pt idx="23692">
                  <c:v>-9.9159663865546199E-2</c:v>
                </c:pt>
                <c:pt idx="23693">
                  <c:v>-9.9159663865546199E-2</c:v>
                </c:pt>
                <c:pt idx="23694">
                  <c:v>-9.9159663865546199E-2</c:v>
                </c:pt>
                <c:pt idx="23695">
                  <c:v>-9.9159663865546199E-2</c:v>
                </c:pt>
                <c:pt idx="23696">
                  <c:v>-9.9159663865546199E-2</c:v>
                </c:pt>
                <c:pt idx="23697">
                  <c:v>-9.9999999999999895E-2</c:v>
                </c:pt>
                <c:pt idx="23698">
                  <c:v>-9.9999999999999895E-2</c:v>
                </c:pt>
                <c:pt idx="23699">
                  <c:v>-9.9999999999999895E-2</c:v>
                </c:pt>
                <c:pt idx="23700">
                  <c:v>-9.9999999999999895E-2</c:v>
                </c:pt>
                <c:pt idx="23701">
                  <c:v>-9.9999999999999895E-2</c:v>
                </c:pt>
                <c:pt idx="23702">
                  <c:v>-9.9999999999999895E-2</c:v>
                </c:pt>
                <c:pt idx="23703">
                  <c:v>-9.9999999999999895E-2</c:v>
                </c:pt>
                <c:pt idx="23704">
                  <c:v>-9.9999999999999895E-2</c:v>
                </c:pt>
                <c:pt idx="23705">
                  <c:v>-9.9999999999999895E-2</c:v>
                </c:pt>
                <c:pt idx="23706">
                  <c:v>-9.9999999999999895E-2</c:v>
                </c:pt>
                <c:pt idx="23707">
                  <c:v>-9.9999999999999895E-2</c:v>
                </c:pt>
                <c:pt idx="23708">
                  <c:v>-9.9999999999999895E-2</c:v>
                </c:pt>
                <c:pt idx="23709">
                  <c:v>-9.9999999999999895E-2</c:v>
                </c:pt>
                <c:pt idx="23710">
                  <c:v>-9.9999999999999895E-2</c:v>
                </c:pt>
                <c:pt idx="23711">
                  <c:v>-9.9999999999999895E-2</c:v>
                </c:pt>
                <c:pt idx="23712">
                  <c:v>-9.9999999999999895E-2</c:v>
                </c:pt>
                <c:pt idx="23713">
                  <c:v>-9.9999999999999895E-2</c:v>
                </c:pt>
                <c:pt idx="23714">
                  <c:v>-9.9999999999999895E-2</c:v>
                </c:pt>
                <c:pt idx="23715">
                  <c:v>-9.9999999999999895E-2</c:v>
                </c:pt>
                <c:pt idx="23716">
                  <c:v>-9.9999999999999895E-2</c:v>
                </c:pt>
                <c:pt idx="23717">
                  <c:v>-9.9999999999999895E-2</c:v>
                </c:pt>
                <c:pt idx="23718">
                  <c:v>-9.9999999999999895E-2</c:v>
                </c:pt>
                <c:pt idx="23719">
                  <c:v>-9.9999999999999895E-2</c:v>
                </c:pt>
                <c:pt idx="23720">
                  <c:v>-9.9999999999999895E-2</c:v>
                </c:pt>
                <c:pt idx="23721">
                  <c:v>-9.9999999999999895E-2</c:v>
                </c:pt>
                <c:pt idx="23722">
                  <c:v>-9.9999999999999895E-2</c:v>
                </c:pt>
                <c:pt idx="23723">
                  <c:v>-9.9999999999999895E-2</c:v>
                </c:pt>
                <c:pt idx="23724">
                  <c:v>-9.9999999999999895E-2</c:v>
                </c:pt>
                <c:pt idx="23725">
                  <c:v>-9.9999999999999895E-2</c:v>
                </c:pt>
                <c:pt idx="23726">
                  <c:v>-9.9999999999999895E-2</c:v>
                </c:pt>
                <c:pt idx="23727">
                  <c:v>-9.9999999999999895E-2</c:v>
                </c:pt>
                <c:pt idx="23728">
                  <c:v>-9.9999999999999895E-2</c:v>
                </c:pt>
                <c:pt idx="23729">
                  <c:v>-9.9999999999999895E-2</c:v>
                </c:pt>
                <c:pt idx="23730">
                  <c:v>-9.9999999999999895E-2</c:v>
                </c:pt>
                <c:pt idx="23731">
                  <c:v>-9.9999999999999895E-2</c:v>
                </c:pt>
                <c:pt idx="23732">
                  <c:v>-9.9999999999999895E-2</c:v>
                </c:pt>
                <c:pt idx="23733">
                  <c:v>-9.9999999999999895E-2</c:v>
                </c:pt>
                <c:pt idx="23734">
                  <c:v>-9.9999999999999895E-2</c:v>
                </c:pt>
                <c:pt idx="23735">
                  <c:v>-9.9999999999999895E-2</c:v>
                </c:pt>
                <c:pt idx="23736">
                  <c:v>-9.9999999999999895E-2</c:v>
                </c:pt>
                <c:pt idx="23737">
                  <c:v>-9.9159663865546199E-2</c:v>
                </c:pt>
                <c:pt idx="23738">
                  <c:v>-9.9159663865546199E-2</c:v>
                </c:pt>
                <c:pt idx="23739">
                  <c:v>-9.9159663865546199E-2</c:v>
                </c:pt>
                <c:pt idx="23740">
                  <c:v>-9.9159663865546199E-2</c:v>
                </c:pt>
                <c:pt idx="23741">
                  <c:v>-9.9159663865546199E-2</c:v>
                </c:pt>
                <c:pt idx="23742">
                  <c:v>-9.9159663865546199E-2</c:v>
                </c:pt>
                <c:pt idx="23743">
                  <c:v>-9.9159663865546199E-2</c:v>
                </c:pt>
                <c:pt idx="23744">
                  <c:v>-9.9159663865546199E-2</c:v>
                </c:pt>
                <c:pt idx="23745">
                  <c:v>-9.9159663865546199E-2</c:v>
                </c:pt>
                <c:pt idx="23746">
                  <c:v>-9.9159663865546199E-2</c:v>
                </c:pt>
                <c:pt idx="23747">
                  <c:v>-9.9159663865546199E-2</c:v>
                </c:pt>
                <c:pt idx="23748">
                  <c:v>-9.9159663865546199E-2</c:v>
                </c:pt>
                <c:pt idx="23749">
                  <c:v>-9.9159663865546199E-2</c:v>
                </c:pt>
                <c:pt idx="23750">
                  <c:v>-9.9159663865546199E-2</c:v>
                </c:pt>
                <c:pt idx="23751">
                  <c:v>-9.9159663865546199E-2</c:v>
                </c:pt>
                <c:pt idx="23752">
                  <c:v>-9.9159663865546199E-2</c:v>
                </c:pt>
                <c:pt idx="23753">
                  <c:v>-9.9159663865546199E-2</c:v>
                </c:pt>
                <c:pt idx="23754">
                  <c:v>-9.9159663865546199E-2</c:v>
                </c:pt>
                <c:pt idx="23755">
                  <c:v>-9.9159663865546199E-2</c:v>
                </c:pt>
                <c:pt idx="23756">
                  <c:v>-9.9159663865546199E-2</c:v>
                </c:pt>
                <c:pt idx="23757">
                  <c:v>-9.9159663865546199E-2</c:v>
                </c:pt>
                <c:pt idx="23758">
                  <c:v>-9.9159663865546199E-2</c:v>
                </c:pt>
                <c:pt idx="23759">
                  <c:v>-9.9159663865546199E-2</c:v>
                </c:pt>
                <c:pt idx="23760">
                  <c:v>-9.9159663865546199E-2</c:v>
                </c:pt>
                <c:pt idx="23761">
                  <c:v>-9.9159663865546199E-2</c:v>
                </c:pt>
                <c:pt idx="23762">
                  <c:v>-9.9159663865546199E-2</c:v>
                </c:pt>
                <c:pt idx="23763">
                  <c:v>-9.9159663865546199E-2</c:v>
                </c:pt>
                <c:pt idx="23764">
                  <c:v>-9.9999999999999895E-2</c:v>
                </c:pt>
                <c:pt idx="23765">
                  <c:v>-9.9999999999999895E-2</c:v>
                </c:pt>
                <c:pt idx="23766">
                  <c:v>-9.9999999999999895E-2</c:v>
                </c:pt>
                <c:pt idx="23767">
                  <c:v>-9.9999999999999895E-2</c:v>
                </c:pt>
                <c:pt idx="23768">
                  <c:v>-0.10084033613445301</c:v>
                </c:pt>
                <c:pt idx="23769">
                  <c:v>-0.10084033613445301</c:v>
                </c:pt>
                <c:pt idx="23770">
                  <c:v>-0.10084033613445301</c:v>
                </c:pt>
                <c:pt idx="23771">
                  <c:v>-0.10084033613445301</c:v>
                </c:pt>
                <c:pt idx="23772">
                  <c:v>-0.10084033613445301</c:v>
                </c:pt>
                <c:pt idx="23773">
                  <c:v>-0.10084033613445301</c:v>
                </c:pt>
                <c:pt idx="23774">
                  <c:v>-0.10084033613445301</c:v>
                </c:pt>
                <c:pt idx="23775">
                  <c:v>-0.10084033613445301</c:v>
                </c:pt>
                <c:pt idx="23776">
                  <c:v>-0.10084033613445301</c:v>
                </c:pt>
                <c:pt idx="23777">
                  <c:v>-0.10084033613445301</c:v>
                </c:pt>
                <c:pt idx="23778">
                  <c:v>-0.10084033613445301</c:v>
                </c:pt>
                <c:pt idx="23779">
                  <c:v>-0.10084033613445301</c:v>
                </c:pt>
                <c:pt idx="23780">
                  <c:v>-0.10084033613445301</c:v>
                </c:pt>
                <c:pt idx="23781">
                  <c:v>-0.10084033613445301</c:v>
                </c:pt>
                <c:pt idx="23782">
                  <c:v>-0.10084033613445301</c:v>
                </c:pt>
                <c:pt idx="23783">
                  <c:v>-0.10084033613445301</c:v>
                </c:pt>
                <c:pt idx="23784">
                  <c:v>-0.10084033613445301</c:v>
                </c:pt>
                <c:pt idx="23785">
                  <c:v>-0.10084033613445301</c:v>
                </c:pt>
                <c:pt idx="23786">
                  <c:v>-0.10084033613445301</c:v>
                </c:pt>
                <c:pt idx="23787">
                  <c:v>-0.10084033613445301</c:v>
                </c:pt>
                <c:pt idx="23788">
                  <c:v>-0.10084033613445301</c:v>
                </c:pt>
                <c:pt idx="23789">
                  <c:v>-0.10084033613445301</c:v>
                </c:pt>
                <c:pt idx="23790">
                  <c:v>-0.10084033613445301</c:v>
                </c:pt>
                <c:pt idx="23791">
                  <c:v>-0.10084033613445301</c:v>
                </c:pt>
                <c:pt idx="23792">
                  <c:v>-0.10084033613445301</c:v>
                </c:pt>
                <c:pt idx="23793">
                  <c:v>-0.10084033613445301</c:v>
                </c:pt>
                <c:pt idx="23794">
                  <c:v>-0.10084033613445301</c:v>
                </c:pt>
                <c:pt idx="23795">
                  <c:v>-0.10084033613445301</c:v>
                </c:pt>
                <c:pt idx="23796">
                  <c:v>-0.10084033613445301</c:v>
                </c:pt>
                <c:pt idx="23797">
                  <c:v>-0.10084033613445301</c:v>
                </c:pt>
                <c:pt idx="23798">
                  <c:v>-0.10084033613445301</c:v>
                </c:pt>
                <c:pt idx="23799">
                  <c:v>-0.10084033613445301</c:v>
                </c:pt>
                <c:pt idx="23800">
                  <c:v>-0.10084033613445301</c:v>
                </c:pt>
                <c:pt idx="23801">
                  <c:v>-0.10084033613445301</c:v>
                </c:pt>
                <c:pt idx="23802">
                  <c:v>-0.10084033613445301</c:v>
                </c:pt>
                <c:pt idx="23803">
                  <c:v>-0.10084033613445301</c:v>
                </c:pt>
                <c:pt idx="23804">
                  <c:v>-0.10084033613445301</c:v>
                </c:pt>
                <c:pt idx="23805">
                  <c:v>-0.10084033613445301</c:v>
                </c:pt>
                <c:pt idx="23806">
                  <c:v>-0.10168067226890699</c:v>
                </c:pt>
                <c:pt idx="23807">
                  <c:v>-0.10168067226890699</c:v>
                </c:pt>
                <c:pt idx="23808">
                  <c:v>-0.10168067226890699</c:v>
                </c:pt>
                <c:pt idx="23809">
                  <c:v>-0.10168067226890699</c:v>
                </c:pt>
                <c:pt idx="23810">
                  <c:v>-0.10168067226890699</c:v>
                </c:pt>
                <c:pt idx="23811">
                  <c:v>-0.10168067226890699</c:v>
                </c:pt>
                <c:pt idx="23812">
                  <c:v>-0.10168067226890699</c:v>
                </c:pt>
                <c:pt idx="23813">
                  <c:v>-0.10168067226890699</c:v>
                </c:pt>
                <c:pt idx="23814">
                  <c:v>-0.10168067226890699</c:v>
                </c:pt>
                <c:pt idx="23815">
                  <c:v>-0.10168067226890699</c:v>
                </c:pt>
                <c:pt idx="23816">
                  <c:v>-0.10168067226890699</c:v>
                </c:pt>
                <c:pt idx="23817">
                  <c:v>-0.10168067226890699</c:v>
                </c:pt>
                <c:pt idx="23818">
                  <c:v>-0.10168067226890699</c:v>
                </c:pt>
                <c:pt idx="23819">
                  <c:v>-0.10168067226890699</c:v>
                </c:pt>
                <c:pt idx="23820">
                  <c:v>-0.10168067226890699</c:v>
                </c:pt>
                <c:pt idx="23821">
                  <c:v>-0.10168067226890699</c:v>
                </c:pt>
                <c:pt idx="23822">
                  <c:v>-0.10168067226890699</c:v>
                </c:pt>
                <c:pt idx="23823">
                  <c:v>-0.10168067226890699</c:v>
                </c:pt>
                <c:pt idx="23824">
                  <c:v>-0.10168067226890699</c:v>
                </c:pt>
                <c:pt idx="23825">
                  <c:v>-0.10168067226890699</c:v>
                </c:pt>
                <c:pt idx="23826">
                  <c:v>-0.10168067226890699</c:v>
                </c:pt>
                <c:pt idx="23827">
                  <c:v>-0.10168067226890699</c:v>
                </c:pt>
                <c:pt idx="23828">
                  <c:v>-0.10168067226890699</c:v>
                </c:pt>
                <c:pt idx="23829">
                  <c:v>-0.10168067226890699</c:v>
                </c:pt>
                <c:pt idx="23830">
                  <c:v>-0.10168067226890699</c:v>
                </c:pt>
                <c:pt idx="23831">
                  <c:v>-0.10168067226890699</c:v>
                </c:pt>
                <c:pt idx="23832">
                  <c:v>-0.10168067226890699</c:v>
                </c:pt>
                <c:pt idx="23833">
                  <c:v>-0.10168067226890699</c:v>
                </c:pt>
                <c:pt idx="23834">
                  <c:v>-0.10168067226890699</c:v>
                </c:pt>
                <c:pt idx="23835">
                  <c:v>-0.10168067226890699</c:v>
                </c:pt>
                <c:pt idx="23836">
                  <c:v>-0.10168067226890699</c:v>
                </c:pt>
                <c:pt idx="23837">
                  <c:v>-0.10168067226890699</c:v>
                </c:pt>
                <c:pt idx="23838">
                  <c:v>-0.10168067226890699</c:v>
                </c:pt>
                <c:pt idx="23839">
                  <c:v>-0.10168067226890699</c:v>
                </c:pt>
                <c:pt idx="23840">
                  <c:v>-0.10168067226890699</c:v>
                </c:pt>
                <c:pt idx="23841">
                  <c:v>-0.10168067226890699</c:v>
                </c:pt>
                <c:pt idx="23842">
                  <c:v>-0.10168067226890699</c:v>
                </c:pt>
                <c:pt idx="23843">
                  <c:v>-0.10168067226890699</c:v>
                </c:pt>
                <c:pt idx="23844">
                  <c:v>-0.10168067226890699</c:v>
                </c:pt>
                <c:pt idx="23845">
                  <c:v>-0.10168067226890699</c:v>
                </c:pt>
                <c:pt idx="23846">
                  <c:v>-0.10168067226890699</c:v>
                </c:pt>
                <c:pt idx="23847">
                  <c:v>-0.10168067226890699</c:v>
                </c:pt>
                <c:pt idx="23848">
                  <c:v>-0.10168067226890699</c:v>
                </c:pt>
                <c:pt idx="23849">
                  <c:v>-0.10168067226890699</c:v>
                </c:pt>
                <c:pt idx="23850">
                  <c:v>-0.10168067226890699</c:v>
                </c:pt>
                <c:pt idx="23851">
                  <c:v>-0.10168067226890699</c:v>
                </c:pt>
                <c:pt idx="23852">
                  <c:v>-0.10168067226890699</c:v>
                </c:pt>
                <c:pt idx="23853">
                  <c:v>-0.10168067226890699</c:v>
                </c:pt>
                <c:pt idx="23854">
                  <c:v>-0.10168067226890699</c:v>
                </c:pt>
                <c:pt idx="23855">
                  <c:v>-0.10168067226890699</c:v>
                </c:pt>
                <c:pt idx="23856">
                  <c:v>-0.10168067226890699</c:v>
                </c:pt>
                <c:pt idx="23857">
                  <c:v>-0.10252100840336099</c:v>
                </c:pt>
                <c:pt idx="23858">
                  <c:v>-0.10252100840336099</c:v>
                </c:pt>
                <c:pt idx="23859">
                  <c:v>-0.10252100840336099</c:v>
                </c:pt>
                <c:pt idx="23860">
                  <c:v>-0.10252100840336099</c:v>
                </c:pt>
                <c:pt idx="23861">
                  <c:v>-0.10252100840336099</c:v>
                </c:pt>
                <c:pt idx="23862">
                  <c:v>-0.10252100840336099</c:v>
                </c:pt>
                <c:pt idx="23863">
                  <c:v>-0.10252100840336099</c:v>
                </c:pt>
                <c:pt idx="23864">
                  <c:v>-0.10252100840336099</c:v>
                </c:pt>
                <c:pt idx="23865">
                  <c:v>-0.10252100840336099</c:v>
                </c:pt>
                <c:pt idx="23866">
                  <c:v>-0.10252100840336099</c:v>
                </c:pt>
                <c:pt idx="23867">
                  <c:v>-0.10252100840336099</c:v>
                </c:pt>
                <c:pt idx="23868">
                  <c:v>-0.10252100840336099</c:v>
                </c:pt>
                <c:pt idx="23869">
                  <c:v>-0.10252100840336099</c:v>
                </c:pt>
                <c:pt idx="23870">
                  <c:v>-0.10252100840336099</c:v>
                </c:pt>
                <c:pt idx="23871">
                  <c:v>-0.10252100840336099</c:v>
                </c:pt>
                <c:pt idx="23872">
                  <c:v>-0.10252100840336099</c:v>
                </c:pt>
                <c:pt idx="23873">
                  <c:v>-0.10252100840336099</c:v>
                </c:pt>
                <c:pt idx="23874">
                  <c:v>-0.10252100840336099</c:v>
                </c:pt>
                <c:pt idx="23875">
                  <c:v>-0.10252100840336099</c:v>
                </c:pt>
                <c:pt idx="23876">
                  <c:v>-0.10252100840336099</c:v>
                </c:pt>
                <c:pt idx="23877">
                  <c:v>-0.10252100840336099</c:v>
                </c:pt>
                <c:pt idx="23878">
                  <c:v>-0.10252100840336099</c:v>
                </c:pt>
                <c:pt idx="23879">
                  <c:v>-0.10336134453781499</c:v>
                </c:pt>
                <c:pt idx="23880">
                  <c:v>-0.10336134453781499</c:v>
                </c:pt>
                <c:pt idx="23881">
                  <c:v>-0.10336134453781499</c:v>
                </c:pt>
                <c:pt idx="23882">
                  <c:v>-0.10336134453781499</c:v>
                </c:pt>
                <c:pt idx="23883">
                  <c:v>-0.10336134453781499</c:v>
                </c:pt>
                <c:pt idx="23884">
                  <c:v>-0.10336134453781499</c:v>
                </c:pt>
                <c:pt idx="23885">
                  <c:v>-0.10336134453781499</c:v>
                </c:pt>
                <c:pt idx="23886">
                  <c:v>-0.10336134453781499</c:v>
                </c:pt>
                <c:pt idx="23887">
                  <c:v>-0.10336134453781499</c:v>
                </c:pt>
                <c:pt idx="23888">
                  <c:v>-0.10336134453781499</c:v>
                </c:pt>
                <c:pt idx="23889">
                  <c:v>-0.10336134453781499</c:v>
                </c:pt>
                <c:pt idx="23890">
                  <c:v>-0.10336134453781499</c:v>
                </c:pt>
                <c:pt idx="23891">
                  <c:v>-0.10336134453781499</c:v>
                </c:pt>
                <c:pt idx="23892">
                  <c:v>-0.10336134453781499</c:v>
                </c:pt>
                <c:pt idx="23893">
                  <c:v>-0.10336134453781499</c:v>
                </c:pt>
                <c:pt idx="23894">
                  <c:v>-0.10336134453781499</c:v>
                </c:pt>
                <c:pt idx="23895">
                  <c:v>-0.10336134453781499</c:v>
                </c:pt>
                <c:pt idx="23896">
                  <c:v>-0.10336134453781499</c:v>
                </c:pt>
                <c:pt idx="23897">
                  <c:v>-0.10336134453781499</c:v>
                </c:pt>
                <c:pt idx="23898">
                  <c:v>-0.10336134453781499</c:v>
                </c:pt>
                <c:pt idx="23899">
                  <c:v>-0.104201680672268</c:v>
                </c:pt>
                <c:pt idx="23900">
                  <c:v>-0.104201680672268</c:v>
                </c:pt>
                <c:pt idx="23901">
                  <c:v>-0.104201680672268</c:v>
                </c:pt>
                <c:pt idx="23902">
                  <c:v>-0.104201680672268</c:v>
                </c:pt>
                <c:pt idx="23903">
                  <c:v>-0.104201680672268</c:v>
                </c:pt>
                <c:pt idx="23904">
                  <c:v>-0.104201680672268</c:v>
                </c:pt>
                <c:pt idx="23905">
                  <c:v>-0.104201680672268</c:v>
                </c:pt>
                <c:pt idx="23906">
                  <c:v>-0.104201680672268</c:v>
                </c:pt>
                <c:pt idx="23907">
                  <c:v>-0.104201680672268</c:v>
                </c:pt>
                <c:pt idx="23908">
                  <c:v>-0.104201680672268</c:v>
                </c:pt>
                <c:pt idx="23909">
                  <c:v>-0.104201680672268</c:v>
                </c:pt>
                <c:pt idx="23910">
                  <c:v>-0.104201680672268</c:v>
                </c:pt>
                <c:pt idx="23911">
                  <c:v>-0.104201680672268</c:v>
                </c:pt>
                <c:pt idx="23912">
                  <c:v>-0.104201680672268</c:v>
                </c:pt>
                <c:pt idx="23913">
                  <c:v>-0.104201680672268</c:v>
                </c:pt>
                <c:pt idx="23914">
                  <c:v>-0.104201680672268</c:v>
                </c:pt>
                <c:pt idx="23915">
                  <c:v>-0.104201680672268</c:v>
                </c:pt>
                <c:pt idx="23916">
                  <c:v>-0.104201680672268</c:v>
                </c:pt>
                <c:pt idx="23917">
                  <c:v>-0.104201680672268</c:v>
                </c:pt>
                <c:pt idx="23918">
                  <c:v>-0.104201680672268</c:v>
                </c:pt>
                <c:pt idx="23919">
                  <c:v>-0.104201680672268</c:v>
                </c:pt>
                <c:pt idx="23920">
                  <c:v>-0.104201680672268</c:v>
                </c:pt>
                <c:pt idx="23921">
                  <c:v>-0.104201680672268</c:v>
                </c:pt>
                <c:pt idx="23922">
                  <c:v>-0.104201680672268</c:v>
                </c:pt>
                <c:pt idx="23923">
                  <c:v>-0.104201680672268</c:v>
                </c:pt>
                <c:pt idx="23924">
                  <c:v>-0.104201680672268</c:v>
                </c:pt>
                <c:pt idx="23925">
                  <c:v>-0.104201680672268</c:v>
                </c:pt>
                <c:pt idx="23926">
                  <c:v>-0.104201680672268</c:v>
                </c:pt>
                <c:pt idx="23927">
                  <c:v>-0.104201680672268</c:v>
                </c:pt>
                <c:pt idx="23928">
                  <c:v>-0.104201680672268</c:v>
                </c:pt>
                <c:pt idx="23929">
                  <c:v>-0.104201680672268</c:v>
                </c:pt>
                <c:pt idx="23930">
                  <c:v>-0.104201680672268</c:v>
                </c:pt>
                <c:pt idx="23931">
                  <c:v>-0.104201680672268</c:v>
                </c:pt>
                <c:pt idx="23932">
                  <c:v>-0.104201680672268</c:v>
                </c:pt>
                <c:pt idx="23933">
                  <c:v>-0.104201680672268</c:v>
                </c:pt>
                <c:pt idx="23934">
                  <c:v>-0.104201680672268</c:v>
                </c:pt>
                <c:pt idx="23935">
                  <c:v>-0.104201680672268</c:v>
                </c:pt>
                <c:pt idx="23936">
                  <c:v>-0.104201680672268</c:v>
                </c:pt>
                <c:pt idx="23937">
                  <c:v>-0.104201680672268</c:v>
                </c:pt>
                <c:pt idx="23938">
                  <c:v>-0.104201680672268</c:v>
                </c:pt>
                <c:pt idx="23939">
                  <c:v>-0.104201680672268</c:v>
                </c:pt>
                <c:pt idx="23940">
                  <c:v>-0.104201680672268</c:v>
                </c:pt>
                <c:pt idx="23941">
                  <c:v>-0.104201680672268</c:v>
                </c:pt>
                <c:pt idx="23942">
                  <c:v>-0.104201680672268</c:v>
                </c:pt>
                <c:pt idx="23943">
                  <c:v>-0.104201680672268</c:v>
                </c:pt>
                <c:pt idx="23944">
                  <c:v>-0.104201680672268</c:v>
                </c:pt>
                <c:pt idx="23945">
                  <c:v>-0.10336134453781499</c:v>
                </c:pt>
                <c:pt idx="23946">
                  <c:v>-0.10336134453781499</c:v>
                </c:pt>
                <c:pt idx="23947">
                  <c:v>-0.10336134453781499</c:v>
                </c:pt>
                <c:pt idx="23948">
                  <c:v>-0.10336134453781499</c:v>
                </c:pt>
                <c:pt idx="23949">
                  <c:v>-0.10336134453781499</c:v>
                </c:pt>
                <c:pt idx="23950">
                  <c:v>-0.10252100840336099</c:v>
                </c:pt>
                <c:pt idx="23951">
                  <c:v>-0.10252100840336099</c:v>
                </c:pt>
                <c:pt idx="23952">
                  <c:v>-0.10252100840336099</c:v>
                </c:pt>
                <c:pt idx="23953">
                  <c:v>-0.10252100840336099</c:v>
                </c:pt>
                <c:pt idx="23954">
                  <c:v>-0.10252100840336099</c:v>
                </c:pt>
                <c:pt idx="23955">
                  <c:v>-0.10252100840336099</c:v>
                </c:pt>
                <c:pt idx="23956">
                  <c:v>-0.10252100840336099</c:v>
                </c:pt>
                <c:pt idx="23957">
                  <c:v>-0.10252100840336099</c:v>
                </c:pt>
                <c:pt idx="23958">
                  <c:v>-0.10252100840336099</c:v>
                </c:pt>
                <c:pt idx="23959">
                  <c:v>-0.10336134453781499</c:v>
                </c:pt>
                <c:pt idx="23960">
                  <c:v>-0.10336134453781499</c:v>
                </c:pt>
                <c:pt idx="23961">
                  <c:v>-0.10336134453781499</c:v>
                </c:pt>
                <c:pt idx="23962">
                  <c:v>-0.10336134453781499</c:v>
                </c:pt>
                <c:pt idx="23963">
                  <c:v>-0.10336134453781499</c:v>
                </c:pt>
                <c:pt idx="23964">
                  <c:v>-0.10336134453781499</c:v>
                </c:pt>
                <c:pt idx="23965">
                  <c:v>-0.10336134453781499</c:v>
                </c:pt>
                <c:pt idx="23966">
                  <c:v>-0.10336134453781499</c:v>
                </c:pt>
                <c:pt idx="23967">
                  <c:v>-0.10336134453781499</c:v>
                </c:pt>
                <c:pt idx="23968">
                  <c:v>-0.10336134453781499</c:v>
                </c:pt>
                <c:pt idx="23969">
                  <c:v>-0.10336134453781499</c:v>
                </c:pt>
                <c:pt idx="23970">
                  <c:v>-0.10336134453781499</c:v>
                </c:pt>
                <c:pt idx="23971">
                  <c:v>-0.10336134453781499</c:v>
                </c:pt>
                <c:pt idx="23972">
                  <c:v>-0.10336134453781499</c:v>
                </c:pt>
                <c:pt idx="23973">
                  <c:v>-0.10336134453781499</c:v>
                </c:pt>
                <c:pt idx="23974">
                  <c:v>-0.10336134453781499</c:v>
                </c:pt>
                <c:pt idx="23975">
                  <c:v>-0.10336134453781499</c:v>
                </c:pt>
                <c:pt idx="23976">
                  <c:v>-0.10336134453781499</c:v>
                </c:pt>
                <c:pt idx="23977">
                  <c:v>-0.10336134453781499</c:v>
                </c:pt>
                <c:pt idx="23978">
                  <c:v>-0.10336134453781499</c:v>
                </c:pt>
                <c:pt idx="23979">
                  <c:v>-0.10336134453781499</c:v>
                </c:pt>
                <c:pt idx="23980">
                  <c:v>-0.10336134453781499</c:v>
                </c:pt>
                <c:pt idx="23981">
                  <c:v>-0.104201680672268</c:v>
                </c:pt>
                <c:pt idx="23982">
                  <c:v>-0.104201680672268</c:v>
                </c:pt>
                <c:pt idx="23983">
                  <c:v>-0.104201680672268</c:v>
                </c:pt>
                <c:pt idx="23984">
                  <c:v>-0.104201680672268</c:v>
                </c:pt>
                <c:pt idx="23985">
                  <c:v>-0.105042016806722</c:v>
                </c:pt>
                <c:pt idx="23986">
                  <c:v>-0.105042016806722</c:v>
                </c:pt>
                <c:pt idx="23987">
                  <c:v>-0.105042016806722</c:v>
                </c:pt>
                <c:pt idx="23988">
                  <c:v>-0.105042016806722</c:v>
                </c:pt>
                <c:pt idx="23989">
                  <c:v>-0.105042016806722</c:v>
                </c:pt>
                <c:pt idx="23990">
                  <c:v>-0.105042016806722</c:v>
                </c:pt>
                <c:pt idx="23991">
                  <c:v>-0.105042016806722</c:v>
                </c:pt>
                <c:pt idx="23992">
                  <c:v>-0.105882352941176</c:v>
                </c:pt>
                <c:pt idx="23993">
                  <c:v>-0.105882352941176</c:v>
                </c:pt>
                <c:pt idx="23994">
                  <c:v>-0.105882352941176</c:v>
                </c:pt>
                <c:pt idx="23995">
                  <c:v>-0.105882352941176</c:v>
                </c:pt>
                <c:pt idx="23996">
                  <c:v>-0.105882352941176</c:v>
                </c:pt>
                <c:pt idx="23997">
                  <c:v>-0.105882352941176</c:v>
                </c:pt>
                <c:pt idx="23998">
                  <c:v>-0.105882352941176</c:v>
                </c:pt>
                <c:pt idx="23999">
                  <c:v>-0.105042016806722</c:v>
                </c:pt>
                <c:pt idx="24000">
                  <c:v>-0.105042016806722</c:v>
                </c:pt>
                <c:pt idx="24001">
                  <c:v>-0.105042016806722</c:v>
                </c:pt>
                <c:pt idx="24002">
                  <c:v>-0.105042016806722</c:v>
                </c:pt>
                <c:pt idx="24003">
                  <c:v>-0.105042016806722</c:v>
                </c:pt>
                <c:pt idx="24004">
                  <c:v>-0.105042016806722</c:v>
                </c:pt>
                <c:pt idx="24005">
                  <c:v>-0.105042016806722</c:v>
                </c:pt>
                <c:pt idx="24006">
                  <c:v>-0.105042016806722</c:v>
                </c:pt>
                <c:pt idx="24007">
                  <c:v>-0.105042016806722</c:v>
                </c:pt>
                <c:pt idx="24008">
                  <c:v>-0.105042016806722</c:v>
                </c:pt>
                <c:pt idx="24009">
                  <c:v>-0.105042016806722</c:v>
                </c:pt>
                <c:pt idx="24010">
                  <c:v>-0.105042016806722</c:v>
                </c:pt>
                <c:pt idx="24011">
                  <c:v>-0.105042016806722</c:v>
                </c:pt>
                <c:pt idx="24012">
                  <c:v>-0.105042016806722</c:v>
                </c:pt>
                <c:pt idx="24013">
                  <c:v>-0.105042016806722</c:v>
                </c:pt>
                <c:pt idx="24014">
                  <c:v>-0.105042016806722</c:v>
                </c:pt>
                <c:pt idx="24015">
                  <c:v>-0.105042016806722</c:v>
                </c:pt>
                <c:pt idx="24016">
                  <c:v>-0.105042016806722</c:v>
                </c:pt>
                <c:pt idx="24017">
                  <c:v>-0.105042016806722</c:v>
                </c:pt>
                <c:pt idx="24018">
                  <c:v>-0.105042016806722</c:v>
                </c:pt>
                <c:pt idx="24019">
                  <c:v>-0.105042016806722</c:v>
                </c:pt>
                <c:pt idx="24020">
                  <c:v>-0.105042016806722</c:v>
                </c:pt>
                <c:pt idx="24021">
                  <c:v>-0.105042016806722</c:v>
                </c:pt>
                <c:pt idx="24022">
                  <c:v>-0.105042016806722</c:v>
                </c:pt>
                <c:pt idx="24023">
                  <c:v>-0.105042016806722</c:v>
                </c:pt>
                <c:pt idx="24024">
                  <c:v>-0.105042016806722</c:v>
                </c:pt>
                <c:pt idx="24025">
                  <c:v>-0.105042016806722</c:v>
                </c:pt>
                <c:pt idx="24026">
                  <c:v>-0.105042016806722</c:v>
                </c:pt>
                <c:pt idx="24027">
                  <c:v>-0.105042016806722</c:v>
                </c:pt>
                <c:pt idx="24028">
                  <c:v>-0.105042016806722</c:v>
                </c:pt>
                <c:pt idx="24029">
                  <c:v>-0.105042016806722</c:v>
                </c:pt>
                <c:pt idx="24030">
                  <c:v>-0.105042016806722</c:v>
                </c:pt>
                <c:pt idx="24031">
                  <c:v>-0.105042016806722</c:v>
                </c:pt>
                <c:pt idx="24032">
                  <c:v>-0.105042016806722</c:v>
                </c:pt>
                <c:pt idx="24033">
                  <c:v>-0.105042016806722</c:v>
                </c:pt>
                <c:pt idx="24034">
                  <c:v>-0.105042016806722</c:v>
                </c:pt>
                <c:pt idx="24035">
                  <c:v>-0.105042016806722</c:v>
                </c:pt>
                <c:pt idx="24036">
                  <c:v>-0.105042016806722</c:v>
                </c:pt>
                <c:pt idx="24037">
                  <c:v>-0.105042016806722</c:v>
                </c:pt>
                <c:pt idx="24038">
                  <c:v>-0.105042016806722</c:v>
                </c:pt>
                <c:pt idx="24039">
                  <c:v>-0.104201680672268</c:v>
                </c:pt>
                <c:pt idx="24040">
                  <c:v>-0.104201680672268</c:v>
                </c:pt>
                <c:pt idx="24041">
                  <c:v>-0.104201680672268</c:v>
                </c:pt>
                <c:pt idx="24042">
                  <c:v>-0.104201680672268</c:v>
                </c:pt>
                <c:pt idx="24043">
                  <c:v>-0.104201680672268</c:v>
                </c:pt>
                <c:pt idx="24044">
                  <c:v>-0.104201680672268</c:v>
                </c:pt>
                <c:pt idx="24045">
                  <c:v>-0.104201680672268</c:v>
                </c:pt>
                <c:pt idx="24046">
                  <c:v>-0.104201680672268</c:v>
                </c:pt>
                <c:pt idx="24047">
                  <c:v>-0.104201680672268</c:v>
                </c:pt>
                <c:pt idx="24048">
                  <c:v>-0.104201680672268</c:v>
                </c:pt>
                <c:pt idx="24049">
                  <c:v>-0.104201680672268</c:v>
                </c:pt>
                <c:pt idx="24050">
                  <c:v>-0.104201680672268</c:v>
                </c:pt>
                <c:pt idx="24051">
                  <c:v>-0.104201680672268</c:v>
                </c:pt>
                <c:pt idx="24052">
                  <c:v>-0.104201680672268</c:v>
                </c:pt>
                <c:pt idx="24053">
                  <c:v>-0.104201680672268</c:v>
                </c:pt>
                <c:pt idx="24054">
                  <c:v>-0.104201680672268</c:v>
                </c:pt>
                <c:pt idx="24055">
                  <c:v>-0.104201680672268</c:v>
                </c:pt>
                <c:pt idx="24056">
                  <c:v>-0.104201680672268</c:v>
                </c:pt>
                <c:pt idx="24057">
                  <c:v>-0.104201680672268</c:v>
                </c:pt>
                <c:pt idx="24058">
                  <c:v>-0.104201680672268</c:v>
                </c:pt>
                <c:pt idx="24059">
                  <c:v>-0.104201680672268</c:v>
                </c:pt>
                <c:pt idx="24060">
                  <c:v>-0.104201680672268</c:v>
                </c:pt>
                <c:pt idx="24061">
                  <c:v>-0.104201680672268</c:v>
                </c:pt>
                <c:pt idx="24062">
                  <c:v>-0.104201680672268</c:v>
                </c:pt>
                <c:pt idx="24063">
                  <c:v>-0.104201680672268</c:v>
                </c:pt>
                <c:pt idx="24064">
                  <c:v>-0.104201680672268</c:v>
                </c:pt>
                <c:pt idx="24065">
                  <c:v>-0.104201680672268</c:v>
                </c:pt>
                <c:pt idx="24066">
                  <c:v>-0.104201680672268</c:v>
                </c:pt>
                <c:pt idx="24067">
                  <c:v>-0.104201680672268</c:v>
                </c:pt>
                <c:pt idx="24068">
                  <c:v>-0.104201680672268</c:v>
                </c:pt>
                <c:pt idx="24069">
                  <c:v>-0.104201680672268</c:v>
                </c:pt>
                <c:pt idx="24070">
                  <c:v>-0.104201680672268</c:v>
                </c:pt>
                <c:pt idx="24071">
                  <c:v>-0.104201680672268</c:v>
                </c:pt>
                <c:pt idx="24072">
                  <c:v>-0.104201680672268</c:v>
                </c:pt>
                <c:pt idx="24073">
                  <c:v>-0.104201680672268</c:v>
                </c:pt>
                <c:pt idx="24074">
                  <c:v>-0.104201680672268</c:v>
                </c:pt>
                <c:pt idx="24075">
                  <c:v>-0.104201680672268</c:v>
                </c:pt>
                <c:pt idx="24076">
                  <c:v>-0.104201680672268</c:v>
                </c:pt>
                <c:pt idx="24077">
                  <c:v>-0.104201680672268</c:v>
                </c:pt>
                <c:pt idx="24078">
                  <c:v>-0.104201680672268</c:v>
                </c:pt>
                <c:pt idx="24079">
                  <c:v>-0.104201680672268</c:v>
                </c:pt>
                <c:pt idx="24080">
                  <c:v>-0.10336134453781499</c:v>
                </c:pt>
                <c:pt idx="24081">
                  <c:v>-0.10336134453781499</c:v>
                </c:pt>
                <c:pt idx="24082">
                  <c:v>-0.10336134453781499</c:v>
                </c:pt>
                <c:pt idx="24083">
                  <c:v>-0.10336134453781499</c:v>
                </c:pt>
                <c:pt idx="24084">
                  <c:v>-0.10336134453781499</c:v>
                </c:pt>
                <c:pt idx="24085">
                  <c:v>-0.10336134453781499</c:v>
                </c:pt>
                <c:pt idx="24086">
                  <c:v>-0.10336134453781499</c:v>
                </c:pt>
                <c:pt idx="24087">
                  <c:v>-0.10336134453781499</c:v>
                </c:pt>
                <c:pt idx="24088">
                  <c:v>-0.10336134453781499</c:v>
                </c:pt>
                <c:pt idx="24089">
                  <c:v>-0.10336134453781499</c:v>
                </c:pt>
                <c:pt idx="24090">
                  <c:v>-0.10336134453781499</c:v>
                </c:pt>
                <c:pt idx="24091">
                  <c:v>-0.10336134453781499</c:v>
                </c:pt>
                <c:pt idx="24092">
                  <c:v>-0.10336134453781499</c:v>
                </c:pt>
                <c:pt idx="24093">
                  <c:v>-0.10336134453781499</c:v>
                </c:pt>
                <c:pt idx="24094">
                  <c:v>-0.10336134453781499</c:v>
                </c:pt>
                <c:pt idx="24095">
                  <c:v>-0.10336134453781499</c:v>
                </c:pt>
                <c:pt idx="24096">
                  <c:v>-0.10336134453781499</c:v>
                </c:pt>
                <c:pt idx="24097">
                  <c:v>-0.10336134453781499</c:v>
                </c:pt>
                <c:pt idx="24098">
                  <c:v>-0.10336134453781499</c:v>
                </c:pt>
                <c:pt idx="24099">
                  <c:v>-0.10336134453781499</c:v>
                </c:pt>
                <c:pt idx="24100">
                  <c:v>-0.10336134453781499</c:v>
                </c:pt>
                <c:pt idx="24101">
                  <c:v>-0.10336134453781499</c:v>
                </c:pt>
                <c:pt idx="24102">
                  <c:v>-0.10336134453781499</c:v>
                </c:pt>
                <c:pt idx="24103">
                  <c:v>-0.10336134453781499</c:v>
                </c:pt>
                <c:pt idx="24104">
                  <c:v>-0.10336134453781499</c:v>
                </c:pt>
                <c:pt idx="24105">
                  <c:v>-0.10336134453781499</c:v>
                </c:pt>
                <c:pt idx="24106">
                  <c:v>-0.10336134453781499</c:v>
                </c:pt>
                <c:pt idx="24107">
                  <c:v>-0.10336134453781499</c:v>
                </c:pt>
                <c:pt idx="24108">
                  <c:v>-0.10336134453781499</c:v>
                </c:pt>
                <c:pt idx="24109">
                  <c:v>-0.10336134453781499</c:v>
                </c:pt>
                <c:pt idx="24110">
                  <c:v>-0.10336134453781499</c:v>
                </c:pt>
                <c:pt idx="24111">
                  <c:v>-0.10336134453781499</c:v>
                </c:pt>
                <c:pt idx="24112">
                  <c:v>-0.10336134453781499</c:v>
                </c:pt>
                <c:pt idx="24113">
                  <c:v>-0.10336134453781499</c:v>
                </c:pt>
                <c:pt idx="24114">
                  <c:v>-0.10336134453781499</c:v>
                </c:pt>
                <c:pt idx="24115">
                  <c:v>-0.10336134453781499</c:v>
                </c:pt>
                <c:pt idx="24116">
                  <c:v>-0.10336134453781499</c:v>
                </c:pt>
                <c:pt idx="24117">
                  <c:v>-0.10336134453781499</c:v>
                </c:pt>
                <c:pt idx="24118">
                  <c:v>-0.10336134453781499</c:v>
                </c:pt>
                <c:pt idx="24119">
                  <c:v>-0.10336134453781499</c:v>
                </c:pt>
                <c:pt idx="24120">
                  <c:v>-0.10336134453781499</c:v>
                </c:pt>
                <c:pt idx="24121">
                  <c:v>-0.10336134453781499</c:v>
                </c:pt>
                <c:pt idx="24122">
                  <c:v>-0.10336134453781499</c:v>
                </c:pt>
                <c:pt idx="24123">
                  <c:v>-0.10336134453781499</c:v>
                </c:pt>
                <c:pt idx="24124">
                  <c:v>-0.10336134453781499</c:v>
                </c:pt>
                <c:pt idx="24125">
                  <c:v>-0.10336134453781499</c:v>
                </c:pt>
                <c:pt idx="24126">
                  <c:v>-0.10336134453781499</c:v>
                </c:pt>
                <c:pt idx="24127">
                  <c:v>-0.10336134453781499</c:v>
                </c:pt>
                <c:pt idx="24128">
                  <c:v>-0.10336134453781499</c:v>
                </c:pt>
                <c:pt idx="24129">
                  <c:v>-0.10336134453781499</c:v>
                </c:pt>
                <c:pt idx="24130">
                  <c:v>-0.10336134453781499</c:v>
                </c:pt>
                <c:pt idx="24131">
                  <c:v>-0.10336134453781499</c:v>
                </c:pt>
                <c:pt idx="24132">
                  <c:v>-0.104201680672268</c:v>
                </c:pt>
                <c:pt idx="24133">
                  <c:v>-0.104201680672268</c:v>
                </c:pt>
                <c:pt idx="24134">
                  <c:v>-0.104201680672268</c:v>
                </c:pt>
                <c:pt idx="24135">
                  <c:v>-0.104201680672268</c:v>
                </c:pt>
                <c:pt idx="24136">
                  <c:v>-0.104201680672268</c:v>
                </c:pt>
                <c:pt idx="24137">
                  <c:v>-0.104201680672268</c:v>
                </c:pt>
                <c:pt idx="24138">
                  <c:v>-0.104201680672268</c:v>
                </c:pt>
                <c:pt idx="24139">
                  <c:v>-0.104201680672268</c:v>
                </c:pt>
                <c:pt idx="24140">
                  <c:v>-0.104201680672268</c:v>
                </c:pt>
                <c:pt idx="24141">
                  <c:v>-0.104201680672268</c:v>
                </c:pt>
                <c:pt idx="24142">
                  <c:v>-0.104201680672268</c:v>
                </c:pt>
                <c:pt idx="24143">
                  <c:v>-0.104201680672268</c:v>
                </c:pt>
                <c:pt idx="24144">
                  <c:v>-0.104201680672268</c:v>
                </c:pt>
                <c:pt idx="24145">
                  <c:v>-0.104201680672268</c:v>
                </c:pt>
                <c:pt idx="24146">
                  <c:v>-0.104201680672268</c:v>
                </c:pt>
                <c:pt idx="24147">
                  <c:v>-0.104201680672268</c:v>
                </c:pt>
                <c:pt idx="24148">
                  <c:v>-0.104201680672268</c:v>
                </c:pt>
                <c:pt idx="24149">
                  <c:v>-0.104201680672268</c:v>
                </c:pt>
                <c:pt idx="24150">
                  <c:v>-0.104201680672268</c:v>
                </c:pt>
                <c:pt idx="24151">
                  <c:v>-0.104201680672268</c:v>
                </c:pt>
                <c:pt idx="24152">
                  <c:v>-0.104201680672268</c:v>
                </c:pt>
                <c:pt idx="24153">
                  <c:v>-0.104201680672268</c:v>
                </c:pt>
                <c:pt idx="24154">
                  <c:v>-0.104201680672268</c:v>
                </c:pt>
                <c:pt idx="24155">
                  <c:v>-0.104201680672268</c:v>
                </c:pt>
                <c:pt idx="24156">
                  <c:v>-0.104201680672268</c:v>
                </c:pt>
                <c:pt idx="24157">
                  <c:v>-0.104201680672268</c:v>
                </c:pt>
                <c:pt idx="24158">
                  <c:v>-0.104201680672268</c:v>
                </c:pt>
                <c:pt idx="24159">
                  <c:v>-0.104201680672268</c:v>
                </c:pt>
                <c:pt idx="24160">
                  <c:v>-0.104201680672268</c:v>
                </c:pt>
                <c:pt idx="24161">
                  <c:v>-0.104201680672268</c:v>
                </c:pt>
                <c:pt idx="24162">
                  <c:v>-0.104201680672268</c:v>
                </c:pt>
                <c:pt idx="24163">
                  <c:v>-0.104201680672268</c:v>
                </c:pt>
                <c:pt idx="24164">
                  <c:v>-0.104201680672268</c:v>
                </c:pt>
                <c:pt idx="24165">
                  <c:v>-0.104201680672268</c:v>
                </c:pt>
                <c:pt idx="24166">
                  <c:v>-0.104201680672268</c:v>
                </c:pt>
                <c:pt idx="24167">
                  <c:v>-0.104201680672268</c:v>
                </c:pt>
                <c:pt idx="24168">
                  <c:v>-0.104201680672268</c:v>
                </c:pt>
                <c:pt idx="24169">
                  <c:v>-0.104201680672268</c:v>
                </c:pt>
                <c:pt idx="24170">
                  <c:v>-0.104201680672268</c:v>
                </c:pt>
                <c:pt idx="24171">
                  <c:v>-0.104201680672268</c:v>
                </c:pt>
                <c:pt idx="24172">
                  <c:v>-0.104201680672268</c:v>
                </c:pt>
                <c:pt idx="24173">
                  <c:v>-0.104201680672268</c:v>
                </c:pt>
                <c:pt idx="24174">
                  <c:v>-0.104201680672268</c:v>
                </c:pt>
                <c:pt idx="24175">
                  <c:v>-0.104201680672268</c:v>
                </c:pt>
                <c:pt idx="24176">
                  <c:v>-0.104201680672268</c:v>
                </c:pt>
                <c:pt idx="24177">
                  <c:v>-0.104201680672268</c:v>
                </c:pt>
                <c:pt idx="24178">
                  <c:v>-0.104201680672268</c:v>
                </c:pt>
                <c:pt idx="24179">
                  <c:v>-0.104201680672268</c:v>
                </c:pt>
                <c:pt idx="24180">
                  <c:v>-0.104201680672268</c:v>
                </c:pt>
                <c:pt idx="24181">
                  <c:v>-0.104201680672268</c:v>
                </c:pt>
                <c:pt idx="24182">
                  <c:v>-0.104201680672268</c:v>
                </c:pt>
                <c:pt idx="24183">
                  <c:v>-0.104201680672268</c:v>
                </c:pt>
                <c:pt idx="24184">
                  <c:v>-0.104201680672268</c:v>
                </c:pt>
                <c:pt idx="24185">
                  <c:v>-0.104201680672268</c:v>
                </c:pt>
                <c:pt idx="24186">
                  <c:v>-0.104201680672268</c:v>
                </c:pt>
                <c:pt idx="24187">
                  <c:v>-0.104201680672268</c:v>
                </c:pt>
                <c:pt idx="24188">
                  <c:v>-0.104201680672268</c:v>
                </c:pt>
                <c:pt idx="24189">
                  <c:v>-0.104201680672268</c:v>
                </c:pt>
                <c:pt idx="24190">
                  <c:v>-0.104201680672268</c:v>
                </c:pt>
                <c:pt idx="24191">
                  <c:v>-0.104201680672268</c:v>
                </c:pt>
                <c:pt idx="24192">
                  <c:v>-0.104201680672268</c:v>
                </c:pt>
                <c:pt idx="24193">
                  <c:v>-0.104201680672268</c:v>
                </c:pt>
                <c:pt idx="24194">
                  <c:v>-0.104201680672268</c:v>
                </c:pt>
                <c:pt idx="24195">
                  <c:v>-0.104201680672268</c:v>
                </c:pt>
                <c:pt idx="24196">
                  <c:v>-0.104201680672268</c:v>
                </c:pt>
                <c:pt idx="24197">
                  <c:v>-0.104201680672268</c:v>
                </c:pt>
                <c:pt idx="24198">
                  <c:v>-0.104201680672268</c:v>
                </c:pt>
                <c:pt idx="24199">
                  <c:v>-0.104201680672268</c:v>
                </c:pt>
                <c:pt idx="24200">
                  <c:v>-0.104201680672268</c:v>
                </c:pt>
                <c:pt idx="24201">
                  <c:v>-0.104201680672268</c:v>
                </c:pt>
                <c:pt idx="24202">
                  <c:v>-0.104201680672268</c:v>
                </c:pt>
                <c:pt idx="24203">
                  <c:v>-0.104201680672268</c:v>
                </c:pt>
                <c:pt idx="24204">
                  <c:v>-0.104201680672268</c:v>
                </c:pt>
                <c:pt idx="24205">
                  <c:v>-0.104201680672268</c:v>
                </c:pt>
                <c:pt idx="24206">
                  <c:v>-0.104201680672268</c:v>
                </c:pt>
                <c:pt idx="24207">
                  <c:v>-0.104201680672268</c:v>
                </c:pt>
                <c:pt idx="24208">
                  <c:v>-0.104201680672268</c:v>
                </c:pt>
                <c:pt idx="24209">
                  <c:v>-0.10336134453781499</c:v>
                </c:pt>
                <c:pt idx="24210">
                  <c:v>-0.10336134453781499</c:v>
                </c:pt>
                <c:pt idx="24211">
                  <c:v>-0.10336134453781499</c:v>
                </c:pt>
                <c:pt idx="24212">
                  <c:v>-0.10336134453781499</c:v>
                </c:pt>
                <c:pt idx="24213">
                  <c:v>-0.10336134453781499</c:v>
                </c:pt>
                <c:pt idx="24214">
                  <c:v>-0.10336134453781499</c:v>
                </c:pt>
                <c:pt idx="24215">
                  <c:v>-0.10336134453781499</c:v>
                </c:pt>
                <c:pt idx="24216">
                  <c:v>-0.10252100840336099</c:v>
                </c:pt>
                <c:pt idx="24217">
                  <c:v>-0.10252100840336099</c:v>
                </c:pt>
                <c:pt idx="24218">
                  <c:v>-0.10252100840336099</c:v>
                </c:pt>
                <c:pt idx="24219">
                  <c:v>-0.10252100840336099</c:v>
                </c:pt>
                <c:pt idx="24220">
                  <c:v>-0.10252100840336099</c:v>
                </c:pt>
                <c:pt idx="24221">
                  <c:v>-0.10252100840336099</c:v>
                </c:pt>
                <c:pt idx="24222">
                  <c:v>-0.10252100840336099</c:v>
                </c:pt>
                <c:pt idx="24223">
                  <c:v>-0.10252100840336099</c:v>
                </c:pt>
                <c:pt idx="24224">
                  <c:v>-0.10168067226890699</c:v>
                </c:pt>
                <c:pt idx="24225">
                  <c:v>-0.10084033613445301</c:v>
                </c:pt>
                <c:pt idx="24226">
                  <c:v>-0.10084033613445301</c:v>
                </c:pt>
                <c:pt idx="24227">
                  <c:v>-0.10084033613445301</c:v>
                </c:pt>
                <c:pt idx="24228">
                  <c:v>-0.10084033613445301</c:v>
                </c:pt>
                <c:pt idx="24229">
                  <c:v>-0.10084033613445301</c:v>
                </c:pt>
                <c:pt idx="24230">
                  <c:v>-0.10084033613445301</c:v>
                </c:pt>
                <c:pt idx="24231">
                  <c:v>-0.10084033613445301</c:v>
                </c:pt>
                <c:pt idx="24232">
                  <c:v>-0.10084033613445301</c:v>
                </c:pt>
                <c:pt idx="24233">
                  <c:v>-0.10084033613445301</c:v>
                </c:pt>
                <c:pt idx="24234">
                  <c:v>-0.10084033613445301</c:v>
                </c:pt>
                <c:pt idx="24235">
                  <c:v>-0.10084033613445301</c:v>
                </c:pt>
                <c:pt idx="24236">
                  <c:v>-0.10084033613445301</c:v>
                </c:pt>
                <c:pt idx="24237">
                  <c:v>-0.10084033613445301</c:v>
                </c:pt>
                <c:pt idx="24238">
                  <c:v>-0.10084033613445301</c:v>
                </c:pt>
                <c:pt idx="24239">
                  <c:v>-0.10084033613445301</c:v>
                </c:pt>
                <c:pt idx="24240">
                  <c:v>-0.10084033613445301</c:v>
                </c:pt>
                <c:pt idx="24241">
                  <c:v>-0.10084033613445301</c:v>
                </c:pt>
                <c:pt idx="24242">
                  <c:v>-0.10084033613445301</c:v>
                </c:pt>
                <c:pt idx="24243">
                  <c:v>-0.10084033613445301</c:v>
                </c:pt>
                <c:pt idx="24244">
                  <c:v>-0.10084033613445301</c:v>
                </c:pt>
                <c:pt idx="24245">
                  <c:v>-0.10084033613445301</c:v>
                </c:pt>
                <c:pt idx="24246">
                  <c:v>-0.10168067226890699</c:v>
                </c:pt>
                <c:pt idx="24247">
                  <c:v>-0.10168067226890699</c:v>
                </c:pt>
                <c:pt idx="24248">
                  <c:v>-0.10168067226890699</c:v>
                </c:pt>
                <c:pt idx="24249">
                  <c:v>-0.10168067226890699</c:v>
                </c:pt>
                <c:pt idx="24250">
                  <c:v>-0.10168067226890699</c:v>
                </c:pt>
                <c:pt idx="24251">
                  <c:v>-0.10168067226890699</c:v>
                </c:pt>
                <c:pt idx="24252">
                  <c:v>-0.10168067226890699</c:v>
                </c:pt>
                <c:pt idx="24253">
                  <c:v>-0.10168067226890699</c:v>
                </c:pt>
                <c:pt idx="24254">
                  <c:v>-0.10168067226890699</c:v>
                </c:pt>
                <c:pt idx="24255">
                  <c:v>-0.10168067226890699</c:v>
                </c:pt>
                <c:pt idx="24256">
                  <c:v>-0.10168067226890699</c:v>
                </c:pt>
                <c:pt idx="24257">
                  <c:v>-0.10168067226890699</c:v>
                </c:pt>
                <c:pt idx="24258">
                  <c:v>-0.10168067226890699</c:v>
                </c:pt>
                <c:pt idx="24259">
                  <c:v>-0.10168067226890699</c:v>
                </c:pt>
                <c:pt idx="24260">
                  <c:v>-0.10168067226890699</c:v>
                </c:pt>
                <c:pt idx="24261">
                  <c:v>-0.10168067226890699</c:v>
                </c:pt>
                <c:pt idx="24262">
                  <c:v>-0.10168067226890699</c:v>
                </c:pt>
                <c:pt idx="24263">
                  <c:v>-0.10168067226890699</c:v>
                </c:pt>
                <c:pt idx="24264">
                  <c:v>-0.10168067226890699</c:v>
                </c:pt>
                <c:pt idx="24265">
                  <c:v>-0.10168067226890699</c:v>
                </c:pt>
                <c:pt idx="24266">
                  <c:v>-0.10168067226890699</c:v>
                </c:pt>
                <c:pt idx="24267">
                  <c:v>-0.10168067226890699</c:v>
                </c:pt>
                <c:pt idx="24268">
                  <c:v>-0.10168067226890699</c:v>
                </c:pt>
                <c:pt idx="24269">
                  <c:v>-0.10168067226890699</c:v>
                </c:pt>
                <c:pt idx="24270">
                  <c:v>-0.10168067226890699</c:v>
                </c:pt>
                <c:pt idx="24271">
                  <c:v>-0.10168067226890699</c:v>
                </c:pt>
                <c:pt idx="24272">
                  <c:v>-0.10168067226890699</c:v>
                </c:pt>
                <c:pt idx="24273">
                  <c:v>-0.10168067226890699</c:v>
                </c:pt>
                <c:pt idx="24274">
                  <c:v>-0.10168067226890699</c:v>
                </c:pt>
                <c:pt idx="24275">
                  <c:v>-0.10168067226890699</c:v>
                </c:pt>
                <c:pt idx="24276">
                  <c:v>-0.10168067226890699</c:v>
                </c:pt>
                <c:pt idx="24277">
                  <c:v>-0.10168067226890699</c:v>
                </c:pt>
                <c:pt idx="24278">
                  <c:v>-0.10168067226890699</c:v>
                </c:pt>
                <c:pt idx="24279">
                  <c:v>-0.10168067226890699</c:v>
                </c:pt>
                <c:pt idx="24280">
                  <c:v>-0.10168067226890699</c:v>
                </c:pt>
                <c:pt idx="24281">
                  <c:v>-0.10168067226890699</c:v>
                </c:pt>
                <c:pt idx="24282">
                  <c:v>-0.10168067226890699</c:v>
                </c:pt>
                <c:pt idx="24283">
                  <c:v>-0.10168067226890699</c:v>
                </c:pt>
                <c:pt idx="24284">
                  <c:v>-0.10168067226890699</c:v>
                </c:pt>
                <c:pt idx="24285">
                  <c:v>-0.10168067226890699</c:v>
                </c:pt>
                <c:pt idx="24286">
                  <c:v>-0.10168067226890699</c:v>
                </c:pt>
                <c:pt idx="24287">
                  <c:v>-0.10168067226890699</c:v>
                </c:pt>
                <c:pt idx="24288">
                  <c:v>-0.10168067226890699</c:v>
                </c:pt>
                <c:pt idx="24289">
                  <c:v>-0.10168067226890699</c:v>
                </c:pt>
                <c:pt idx="24290">
                  <c:v>-0.10168067226890699</c:v>
                </c:pt>
                <c:pt idx="24291">
                  <c:v>-0.10168067226890699</c:v>
                </c:pt>
                <c:pt idx="24292">
                  <c:v>-0.10168067226890699</c:v>
                </c:pt>
                <c:pt idx="24293">
                  <c:v>-0.10168067226890699</c:v>
                </c:pt>
                <c:pt idx="24294">
                  <c:v>-0.10168067226890699</c:v>
                </c:pt>
                <c:pt idx="24295">
                  <c:v>-0.10168067226890699</c:v>
                </c:pt>
                <c:pt idx="24296">
                  <c:v>-0.10084033613445301</c:v>
                </c:pt>
                <c:pt idx="24297">
                  <c:v>-0.10084033613445301</c:v>
                </c:pt>
                <c:pt idx="24298">
                  <c:v>-0.10084033613445301</c:v>
                </c:pt>
                <c:pt idx="24299">
                  <c:v>-0.10084033613445301</c:v>
                </c:pt>
                <c:pt idx="24300">
                  <c:v>-0.10084033613445301</c:v>
                </c:pt>
                <c:pt idx="24301">
                  <c:v>-0.10084033613445301</c:v>
                </c:pt>
                <c:pt idx="24302">
                  <c:v>-0.10084033613445301</c:v>
                </c:pt>
                <c:pt idx="24303">
                  <c:v>-0.10084033613445301</c:v>
                </c:pt>
                <c:pt idx="24304">
                  <c:v>-0.10084033613445301</c:v>
                </c:pt>
                <c:pt idx="24305">
                  <c:v>-0.10084033613445301</c:v>
                </c:pt>
                <c:pt idx="24306">
                  <c:v>-0.10084033613445301</c:v>
                </c:pt>
                <c:pt idx="24307">
                  <c:v>-0.10084033613445301</c:v>
                </c:pt>
                <c:pt idx="24308">
                  <c:v>-0.10084033613445301</c:v>
                </c:pt>
                <c:pt idx="24309">
                  <c:v>-0.10084033613445301</c:v>
                </c:pt>
                <c:pt idx="24310">
                  <c:v>-0.10084033613445301</c:v>
                </c:pt>
                <c:pt idx="24311">
                  <c:v>-0.10084033613445301</c:v>
                </c:pt>
                <c:pt idx="24312">
                  <c:v>-0.10084033613445301</c:v>
                </c:pt>
                <c:pt idx="24313">
                  <c:v>-0.10084033613445301</c:v>
                </c:pt>
                <c:pt idx="24314">
                  <c:v>-0.10084033613445301</c:v>
                </c:pt>
                <c:pt idx="24315">
                  <c:v>-0.10084033613445301</c:v>
                </c:pt>
                <c:pt idx="24316">
                  <c:v>-0.10084033613445301</c:v>
                </c:pt>
                <c:pt idx="24317">
                  <c:v>-0.10084033613445301</c:v>
                </c:pt>
                <c:pt idx="24318">
                  <c:v>-0.10084033613445301</c:v>
                </c:pt>
                <c:pt idx="24319">
                  <c:v>-0.10084033613445301</c:v>
                </c:pt>
                <c:pt idx="24320">
                  <c:v>-0.10084033613445301</c:v>
                </c:pt>
                <c:pt idx="24321">
                  <c:v>-0.10084033613445301</c:v>
                </c:pt>
                <c:pt idx="24322">
                  <c:v>-0.10084033613445301</c:v>
                </c:pt>
                <c:pt idx="24323">
                  <c:v>-0.10084033613445301</c:v>
                </c:pt>
                <c:pt idx="24324">
                  <c:v>-0.10084033613445301</c:v>
                </c:pt>
                <c:pt idx="24325">
                  <c:v>-0.10084033613445301</c:v>
                </c:pt>
                <c:pt idx="24326">
                  <c:v>-0.10084033613445301</c:v>
                </c:pt>
                <c:pt idx="24327">
                  <c:v>-0.10084033613445301</c:v>
                </c:pt>
                <c:pt idx="24328">
                  <c:v>-0.10084033613445301</c:v>
                </c:pt>
                <c:pt idx="24329">
                  <c:v>-0.10084033613445301</c:v>
                </c:pt>
                <c:pt idx="24330">
                  <c:v>-0.10084033613445301</c:v>
                </c:pt>
                <c:pt idx="24331">
                  <c:v>-0.10084033613445301</c:v>
                </c:pt>
                <c:pt idx="24332">
                  <c:v>-0.10084033613445301</c:v>
                </c:pt>
                <c:pt idx="24333">
                  <c:v>-0.10084033613445301</c:v>
                </c:pt>
                <c:pt idx="24334">
                  <c:v>-0.10084033613445301</c:v>
                </c:pt>
                <c:pt idx="24335">
                  <c:v>-0.10084033613445301</c:v>
                </c:pt>
                <c:pt idx="24336">
                  <c:v>-0.10084033613445301</c:v>
                </c:pt>
                <c:pt idx="24337">
                  <c:v>-0.10084033613445301</c:v>
                </c:pt>
                <c:pt idx="24338">
                  <c:v>-0.10084033613445301</c:v>
                </c:pt>
                <c:pt idx="24339">
                  <c:v>-0.10084033613445301</c:v>
                </c:pt>
                <c:pt idx="24340">
                  <c:v>-0.10084033613445301</c:v>
                </c:pt>
                <c:pt idx="24341">
                  <c:v>-0.1</c:v>
                </c:pt>
                <c:pt idx="24342">
                  <c:v>-0.1</c:v>
                </c:pt>
                <c:pt idx="24343">
                  <c:v>-0.1</c:v>
                </c:pt>
                <c:pt idx="24344">
                  <c:v>-0.1</c:v>
                </c:pt>
                <c:pt idx="24345">
                  <c:v>-0.1</c:v>
                </c:pt>
                <c:pt idx="24346">
                  <c:v>-0.1</c:v>
                </c:pt>
                <c:pt idx="24347">
                  <c:v>-0.1</c:v>
                </c:pt>
                <c:pt idx="24348">
                  <c:v>-0.1</c:v>
                </c:pt>
                <c:pt idx="24349">
                  <c:v>-0.1</c:v>
                </c:pt>
                <c:pt idx="24350">
                  <c:v>-0.1</c:v>
                </c:pt>
                <c:pt idx="24351">
                  <c:v>-0.1</c:v>
                </c:pt>
                <c:pt idx="24352">
                  <c:v>-0.1</c:v>
                </c:pt>
                <c:pt idx="24353">
                  <c:v>-0.1</c:v>
                </c:pt>
                <c:pt idx="24354">
                  <c:v>-0.1</c:v>
                </c:pt>
                <c:pt idx="24355">
                  <c:v>-0.1</c:v>
                </c:pt>
                <c:pt idx="24356">
                  <c:v>-0.1</c:v>
                </c:pt>
                <c:pt idx="24357">
                  <c:v>-0.1</c:v>
                </c:pt>
                <c:pt idx="24358">
                  <c:v>-0.1</c:v>
                </c:pt>
                <c:pt idx="24359">
                  <c:v>-0.10084033613445301</c:v>
                </c:pt>
                <c:pt idx="24360">
                  <c:v>-0.10084033613445301</c:v>
                </c:pt>
                <c:pt idx="24361">
                  <c:v>-0.10084033613445301</c:v>
                </c:pt>
                <c:pt idx="24362">
                  <c:v>-0.10084033613445301</c:v>
                </c:pt>
                <c:pt idx="24363">
                  <c:v>-0.10084033613445301</c:v>
                </c:pt>
                <c:pt idx="24364">
                  <c:v>-0.10084033613445301</c:v>
                </c:pt>
                <c:pt idx="24365">
                  <c:v>-0.10084033613445301</c:v>
                </c:pt>
                <c:pt idx="24366">
                  <c:v>-0.10084033613445301</c:v>
                </c:pt>
                <c:pt idx="24367">
                  <c:v>-0.10084033613445301</c:v>
                </c:pt>
                <c:pt idx="24368">
                  <c:v>-0.10084033613445301</c:v>
                </c:pt>
                <c:pt idx="24369">
                  <c:v>-0.10084033613445301</c:v>
                </c:pt>
                <c:pt idx="24370">
                  <c:v>-0.10084033613445301</c:v>
                </c:pt>
                <c:pt idx="24371">
                  <c:v>-0.10084033613445301</c:v>
                </c:pt>
                <c:pt idx="24372">
                  <c:v>-0.10084033613445301</c:v>
                </c:pt>
                <c:pt idx="24373">
                  <c:v>-0.10084033613445301</c:v>
                </c:pt>
                <c:pt idx="24374">
                  <c:v>-0.10084033613445301</c:v>
                </c:pt>
                <c:pt idx="24375">
                  <c:v>-0.10084033613445301</c:v>
                </c:pt>
                <c:pt idx="24376">
                  <c:v>-0.10084033613445301</c:v>
                </c:pt>
                <c:pt idx="24377">
                  <c:v>-0.10084033613445301</c:v>
                </c:pt>
                <c:pt idx="24378">
                  <c:v>-0.10084033613445301</c:v>
                </c:pt>
                <c:pt idx="24379">
                  <c:v>-0.10084033613445301</c:v>
                </c:pt>
                <c:pt idx="24380">
                  <c:v>-0.10084033613445301</c:v>
                </c:pt>
                <c:pt idx="24381">
                  <c:v>-0.10084033613445301</c:v>
                </c:pt>
                <c:pt idx="24382">
                  <c:v>-0.10084033613445301</c:v>
                </c:pt>
                <c:pt idx="24383">
                  <c:v>-0.10084033613445301</c:v>
                </c:pt>
                <c:pt idx="24384">
                  <c:v>-0.10084033613445301</c:v>
                </c:pt>
                <c:pt idx="24385">
                  <c:v>-0.10084033613445301</c:v>
                </c:pt>
                <c:pt idx="24386">
                  <c:v>-0.10084033613445301</c:v>
                </c:pt>
                <c:pt idx="24387">
                  <c:v>-0.10084033613445301</c:v>
                </c:pt>
                <c:pt idx="24388">
                  <c:v>-0.10084033613445301</c:v>
                </c:pt>
                <c:pt idx="24389">
                  <c:v>-0.10084033613445301</c:v>
                </c:pt>
                <c:pt idx="24390">
                  <c:v>-0.10084033613445301</c:v>
                </c:pt>
                <c:pt idx="24391">
                  <c:v>-0.10084033613445301</c:v>
                </c:pt>
                <c:pt idx="24392">
                  <c:v>-0.10084033613445301</c:v>
                </c:pt>
                <c:pt idx="24393">
                  <c:v>-0.10084033613445301</c:v>
                </c:pt>
                <c:pt idx="24394">
                  <c:v>-0.10084033613445301</c:v>
                </c:pt>
                <c:pt idx="24395">
                  <c:v>-0.10084033613445301</c:v>
                </c:pt>
                <c:pt idx="24396">
                  <c:v>-0.10084033613445301</c:v>
                </c:pt>
                <c:pt idx="24397">
                  <c:v>-0.10084033613445301</c:v>
                </c:pt>
                <c:pt idx="24398">
                  <c:v>-0.10084033613445301</c:v>
                </c:pt>
                <c:pt idx="24399">
                  <c:v>-0.10084033613445301</c:v>
                </c:pt>
                <c:pt idx="24400">
                  <c:v>-0.10084033613445301</c:v>
                </c:pt>
                <c:pt idx="24401">
                  <c:v>-0.10084033613445301</c:v>
                </c:pt>
                <c:pt idx="24402">
                  <c:v>-0.10084033613445301</c:v>
                </c:pt>
                <c:pt idx="24403">
                  <c:v>-0.10084033613445301</c:v>
                </c:pt>
                <c:pt idx="24404">
                  <c:v>-0.1</c:v>
                </c:pt>
                <c:pt idx="24405">
                  <c:v>-0.1</c:v>
                </c:pt>
                <c:pt idx="24406">
                  <c:v>-0.1</c:v>
                </c:pt>
                <c:pt idx="24407">
                  <c:v>-0.1</c:v>
                </c:pt>
                <c:pt idx="24408">
                  <c:v>-0.1</c:v>
                </c:pt>
                <c:pt idx="24409">
                  <c:v>-0.1</c:v>
                </c:pt>
                <c:pt idx="24410">
                  <c:v>-0.1</c:v>
                </c:pt>
                <c:pt idx="24411">
                  <c:v>-0.1</c:v>
                </c:pt>
                <c:pt idx="24412">
                  <c:v>-0.1</c:v>
                </c:pt>
                <c:pt idx="24413">
                  <c:v>-0.1</c:v>
                </c:pt>
                <c:pt idx="24414">
                  <c:v>-0.10084033613445301</c:v>
                </c:pt>
                <c:pt idx="24415">
                  <c:v>-0.10084033613445301</c:v>
                </c:pt>
                <c:pt idx="24416">
                  <c:v>-0.10084033613445301</c:v>
                </c:pt>
                <c:pt idx="24417">
                  <c:v>-0.10084033613445301</c:v>
                </c:pt>
                <c:pt idx="24418">
                  <c:v>-0.10084033613445301</c:v>
                </c:pt>
                <c:pt idx="24419">
                  <c:v>-0.10084033613445301</c:v>
                </c:pt>
                <c:pt idx="24420">
                  <c:v>-0.10084033613445301</c:v>
                </c:pt>
                <c:pt idx="24421">
                  <c:v>-0.10084033613445301</c:v>
                </c:pt>
                <c:pt idx="24422">
                  <c:v>-0.10084033613445301</c:v>
                </c:pt>
                <c:pt idx="24423">
                  <c:v>-0.10084033613445301</c:v>
                </c:pt>
                <c:pt idx="24424">
                  <c:v>-0.10084033613445301</c:v>
                </c:pt>
                <c:pt idx="24425">
                  <c:v>-0.10084033613445301</c:v>
                </c:pt>
                <c:pt idx="24426">
                  <c:v>-0.10084033613445301</c:v>
                </c:pt>
                <c:pt idx="24427">
                  <c:v>-0.10084033613445301</c:v>
                </c:pt>
                <c:pt idx="24428">
                  <c:v>-0.10084033613445301</c:v>
                </c:pt>
                <c:pt idx="24429">
                  <c:v>-0.10084033613445301</c:v>
                </c:pt>
                <c:pt idx="24430">
                  <c:v>-0.10084033613445301</c:v>
                </c:pt>
                <c:pt idx="24431">
                  <c:v>-0.10084033613445301</c:v>
                </c:pt>
                <c:pt idx="24432">
                  <c:v>-0.10084033613445301</c:v>
                </c:pt>
                <c:pt idx="24433">
                  <c:v>-0.10168067226890699</c:v>
                </c:pt>
                <c:pt idx="24434">
                  <c:v>-0.10168067226890699</c:v>
                </c:pt>
                <c:pt idx="24435">
                  <c:v>-0.10168067226890699</c:v>
                </c:pt>
                <c:pt idx="24436">
                  <c:v>-0.10168067226890699</c:v>
                </c:pt>
                <c:pt idx="24437">
                  <c:v>-0.10168067226890699</c:v>
                </c:pt>
                <c:pt idx="24438">
                  <c:v>-0.10168067226890699</c:v>
                </c:pt>
                <c:pt idx="24439">
                  <c:v>-0.10168067226890699</c:v>
                </c:pt>
                <c:pt idx="24440">
                  <c:v>-0.10168067226890699</c:v>
                </c:pt>
                <c:pt idx="24441">
                  <c:v>-0.10168067226890699</c:v>
                </c:pt>
                <c:pt idx="24442">
                  <c:v>-0.10168067226890699</c:v>
                </c:pt>
                <c:pt idx="24443">
                  <c:v>-0.10168067226890699</c:v>
                </c:pt>
                <c:pt idx="24444">
                  <c:v>-0.10168067226890699</c:v>
                </c:pt>
                <c:pt idx="24445">
                  <c:v>-0.10168067226890699</c:v>
                </c:pt>
                <c:pt idx="24446">
                  <c:v>-0.10168067226890699</c:v>
                </c:pt>
                <c:pt idx="24447">
                  <c:v>-0.10168067226890699</c:v>
                </c:pt>
                <c:pt idx="24448">
                  <c:v>-0.10168067226890699</c:v>
                </c:pt>
                <c:pt idx="24449">
                  <c:v>-0.10252100840336099</c:v>
                </c:pt>
                <c:pt idx="24450">
                  <c:v>-0.10252100840336099</c:v>
                </c:pt>
                <c:pt idx="24451">
                  <c:v>-0.10252100840336099</c:v>
                </c:pt>
                <c:pt idx="24452">
                  <c:v>-0.10252100840336099</c:v>
                </c:pt>
                <c:pt idx="24453">
                  <c:v>-0.10252100840336099</c:v>
                </c:pt>
                <c:pt idx="24454">
                  <c:v>-0.10252100840336099</c:v>
                </c:pt>
                <c:pt idx="24455">
                  <c:v>-0.10252100840336099</c:v>
                </c:pt>
                <c:pt idx="24456">
                  <c:v>-0.10252100840336099</c:v>
                </c:pt>
                <c:pt idx="24457">
                  <c:v>-0.10252100840336099</c:v>
                </c:pt>
                <c:pt idx="24458">
                  <c:v>-0.10252100840336099</c:v>
                </c:pt>
                <c:pt idx="24459">
                  <c:v>-0.10252100840336099</c:v>
                </c:pt>
                <c:pt idx="24460">
                  <c:v>-0.10252100840336099</c:v>
                </c:pt>
                <c:pt idx="24461">
                  <c:v>-0.10252100840336099</c:v>
                </c:pt>
                <c:pt idx="24462">
                  <c:v>-0.10252100840336099</c:v>
                </c:pt>
                <c:pt idx="24463">
                  <c:v>-0.10252100840336099</c:v>
                </c:pt>
                <c:pt idx="24464">
                  <c:v>-0.10252100840336099</c:v>
                </c:pt>
                <c:pt idx="24465">
                  <c:v>-0.10252100840336099</c:v>
                </c:pt>
                <c:pt idx="24466">
                  <c:v>-0.10252100840336099</c:v>
                </c:pt>
                <c:pt idx="24467">
                  <c:v>-0.10252100840336099</c:v>
                </c:pt>
                <c:pt idx="24468">
                  <c:v>-0.10252100840336099</c:v>
                </c:pt>
                <c:pt idx="24469">
                  <c:v>-0.10252100840336099</c:v>
                </c:pt>
                <c:pt idx="24470">
                  <c:v>-0.10252100840336099</c:v>
                </c:pt>
                <c:pt idx="24471">
                  <c:v>-0.10252100840336099</c:v>
                </c:pt>
                <c:pt idx="24472">
                  <c:v>-0.10252100840336099</c:v>
                </c:pt>
                <c:pt idx="24473">
                  <c:v>-0.10252100840336099</c:v>
                </c:pt>
                <c:pt idx="24474">
                  <c:v>-0.10252100840336099</c:v>
                </c:pt>
                <c:pt idx="24475">
                  <c:v>-0.10252100840336099</c:v>
                </c:pt>
                <c:pt idx="24476">
                  <c:v>-0.10252100840336099</c:v>
                </c:pt>
                <c:pt idx="24477">
                  <c:v>-0.10252100840336099</c:v>
                </c:pt>
                <c:pt idx="24478">
                  <c:v>-0.10252100840336099</c:v>
                </c:pt>
                <c:pt idx="24479">
                  <c:v>-0.10252100840336099</c:v>
                </c:pt>
                <c:pt idx="24480">
                  <c:v>-0.10252100840336099</c:v>
                </c:pt>
                <c:pt idx="24481">
                  <c:v>-0.10252100840336099</c:v>
                </c:pt>
                <c:pt idx="24482">
                  <c:v>-0.10252100840336099</c:v>
                </c:pt>
                <c:pt idx="24483">
                  <c:v>-0.10252100840336099</c:v>
                </c:pt>
                <c:pt idx="24484">
                  <c:v>-0.10252100840336099</c:v>
                </c:pt>
                <c:pt idx="24485">
                  <c:v>-0.10252100840336099</c:v>
                </c:pt>
                <c:pt idx="24486">
                  <c:v>-0.10252100840336099</c:v>
                </c:pt>
                <c:pt idx="24487">
                  <c:v>-0.10252100840336099</c:v>
                </c:pt>
                <c:pt idx="24488">
                  <c:v>-0.10252100840336099</c:v>
                </c:pt>
                <c:pt idx="24489">
                  <c:v>-0.10252100840336099</c:v>
                </c:pt>
                <c:pt idx="24490">
                  <c:v>-0.10252100840336099</c:v>
                </c:pt>
                <c:pt idx="24491">
                  <c:v>-0.10252100840336099</c:v>
                </c:pt>
                <c:pt idx="24492">
                  <c:v>-0.10252100840336099</c:v>
                </c:pt>
                <c:pt idx="24493">
                  <c:v>-0.10252100840336099</c:v>
                </c:pt>
                <c:pt idx="24494">
                  <c:v>-0.10252100840336099</c:v>
                </c:pt>
                <c:pt idx="24495">
                  <c:v>-0.10252100840336099</c:v>
                </c:pt>
                <c:pt idx="24496">
                  <c:v>-0.10252100840336099</c:v>
                </c:pt>
                <c:pt idx="24497">
                  <c:v>-0.10252100840336099</c:v>
                </c:pt>
                <c:pt idx="24498">
                  <c:v>-0.10252100840336099</c:v>
                </c:pt>
                <c:pt idx="24499">
                  <c:v>-0.10252100840336099</c:v>
                </c:pt>
                <c:pt idx="24500">
                  <c:v>-0.10336134453781499</c:v>
                </c:pt>
                <c:pt idx="24501">
                  <c:v>-0.10336134453781499</c:v>
                </c:pt>
                <c:pt idx="24502">
                  <c:v>-0.10336134453781499</c:v>
                </c:pt>
                <c:pt idx="24503">
                  <c:v>-0.10336134453781499</c:v>
                </c:pt>
                <c:pt idx="24504">
                  <c:v>-0.10336134453781499</c:v>
                </c:pt>
                <c:pt idx="24505">
                  <c:v>-0.10336134453781499</c:v>
                </c:pt>
                <c:pt idx="24506">
                  <c:v>-0.10336134453781499</c:v>
                </c:pt>
                <c:pt idx="24507">
                  <c:v>-0.10336134453781499</c:v>
                </c:pt>
                <c:pt idx="24508">
                  <c:v>-0.10336134453781499</c:v>
                </c:pt>
                <c:pt idx="24509">
                  <c:v>-0.10336134453781499</c:v>
                </c:pt>
                <c:pt idx="24510">
                  <c:v>-0.10336134453781499</c:v>
                </c:pt>
                <c:pt idx="24511">
                  <c:v>-0.10336134453781499</c:v>
                </c:pt>
                <c:pt idx="24512">
                  <c:v>-0.104201680672268</c:v>
                </c:pt>
                <c:pt idx="24513">
                  <c:v>-0.104201680672268</c:v>
                </c:pt>
                <c:pt idx="24514">
                  <c:v>-0.104201680672268</c:v>
                </c:pt>
                <c:pt idx="24515">
                  <c:v>-0.104201680672268</c:v>
                </c:pt>
                <c:pt idx="24516">
                  <c:v>-0.104201680672268</c:v>
                </c:pt>
                <c:pt idx="24517">
                  <c:v>-0.104201680672268</c:v>
                </c:pt>
                <c:pt idx="24518">
                  <c:v>-0.104201680672268</c:v>
                </c:pt>
                <c:pt idx="24519">
                  <c:v>-0.104201680672268</c:v>
                </c:pt>
                <c:pt idx="24520">
                  <c:v>-0.104201680672268</c:v>
                </c:pt>
                <c:pt idx="24521">
                  <c:v>-0.104201680672268</c:v>
                </c:pt>
                <c:pt idx="24522">
                  <c:v>-0.104201680672268</c:v>
                </c:pt>
                <c:pt idx="24523">
                  <c:v>-0.104201680672268</c:v>
                </c:pt>
                <c:pt idx="24524">
                  <c:v>-0.104201680672268</c:v>
                </c:pt>
                <c:pt idx="24525">
                  <c:v>-0.104201680672268</c:v>
                </c:pt>
                <c:pt idx="24526">
                  <c:v>-0.104201680672268</c:v>
                </c:pt>
                <c:pt idx="24527">
                  <c:v>-0.105042016806722</c:v>
                </c:pt>
                <c:pt idx="24528">
                  <c:v>-0.105042016806722</c:v>
                </c:pt>
                <c:pt idx="24529">
                  <c:v>-0.105042016806722</c:v>
                </c:pt>
                <c:pt idx="24530">
                  <c:v>-0.105042016806722</c:v>
                </c:pt>
                <c:pt idx="24531">
                  <c:v>-0.105042016806722</c:v>
                </c:pt>
                <c:pt idx="24532">
                  <c:v>-0.105882352941176</c:v>
                </c:pt>
                <c:pt idx="24533">
                  <c:v>-0.105882352941176</c:v>
                </c:pt>
                <c:pt idx="24534">
                  <c:v>-0.105882352941176</c:v>
                </c:pt>
                <c:pt idx="24535">
                  <c:v>-0.105882352941176</c:v>
                </c:pt>
                <c:pt idx="24536">
                  <c:v>-0.105882352941176</c:v>
                </c:pt>
                <c:pt idx="24537">
                  <c:v>-0.105882352941176</c:v>
                </c:pt>
                <c:pt idx="24538">
                  <c:v>-0.105882352941176</c:v>
                </c:pt>
                <c:pt idx="24539">
                  <c:v>-0.105882352941176</c:v>
                </c:pt>
                <c:pt idx="24540">
                  <c:v>-0.105882352941176</c:v>
                </c:pt>
                <c:pt idx="24541">
                  <c:v>-0.105882352941176</c:v>
                </c:pt>
                <c:pt idx="24542">
                  <c:v>-0.105882352941176</c:v>
                </c:pt>
                <c:pt idx="24543">
                  <c:v>-0.105882352941176</c:v>
                </c:pt>
                <c:pt idx="24544">
                  <c:v>-0.105882352941176</c:v>
                </c:pt>
                <c:pt idx="24545">
                  <c:v>-0.105882352941176</c:v>
                </c:pt>
                <c:pt idx="24546">
                  <c:v>-0.105882352941176</c:v>
                </c:pt>
                <c:pt idx="24547">
                  <c:v>-0.105882352941176</c:v>
                </c:pt>
                <c:pt idx="24548">
                  <c:v>-0.105882352941176</c:v>
                </c:pt>
                <c:pt idx="24549">
                  <c:v>-0.105882352941176</c:v>
                </c:pt>
                <c:pt idx="24550">
                  <c:v>-0.105882352941176</c:v>
                </c:pt>
                <c:pt idx="24551">
                  <c:v>-0.105882352941176</c:v>
                </c:pt>
                <c:pt idx="24552">
                  <c:v>-0.105882352941176</c:v>
                </c:pt>
                <c:pt idx="24553">
                  <c:v>-0.105882352941176</c:v>
                </c:pt>
                <c:pt idx="24554">
                  <c:v>-0.105882352941176</c:v>
                </c:pt>
                <c:pt idx="24555">
                  <c:v>-0.105882352941176</c:v>
                </c:pt>
                <c:pt idx="24556">
                  <c:v>-0.105882352941176</c:v>
                </c:pt>
                <c:pt idx="24557">
                  <c:v>-0.105882352941176</c:v>
                </c:pt>
                <c:pt idx="24558">
                  <c:v>-0.105882352941176</c:v>
                </c:pt>
                <c:pt idx="24559">
                  <c:v>-0.105882352941176</c:v>
                </c:pt>
                <c:pt idx="24560">
                  <c:v>-0.105882352941176</c:v>
                </c:pt>
                <c:pt idx="24561">
                  <c:v>-0.105882352941176</c:v>
                </c:pt>
                <c:pt idx="24562">
                  <c:v>-0.105882352941176</c:v>
                </c:pt>
                <c:pt idx="24563">
                  <c:v>-0.105882352941176</c:v>
                </c:pt>
                <c:pt idx="24564">
                  <c:v>-0.105882352941176</c:v>
                </c:pt>
                <c:pt idx="24565">
                  <c:v>-0.10672268907563</c:v>
                </c:pt>
                <c:pt idx="24566">
                  <c:v>-0.10672268907563</c:v>
                </c:pt>
                <c:pt idx="24567">
                  <c:v>-0.10672268907563</c:v>
                </c:pt>
                <c:pt idx="24568">
                  <c:v>-0.107563025210084</c:v>
                </c:pt>
                <c:pt idx="24569">
                  <c:v>-0.107563025210084</c:v>
                </c:pt>
                <c:pt idx="24570">
                  <c:v>-0.107563025210084</c:v>
                </c:pt>
                <c:pt idx="24571">
                  <c:v>-0.107563025210084</c:v>
                </c:pt>
                <c:pt idx="24572">
                  <c:v>-0.107563025210084</c:v>
                </c:pt>
                <c:pt idx="24573">
                  <c:v>-0.107563025210084</c:v>
                </c:pt>
                <c:pt idx="24574">
                  <c:v>-0.107563025210084</c:v>
                </c:pt>
                <c:pt idx="24575">
                  <c:v>-0.107563025210084</c:v>
                </c:pt>
                <c:pt idx="24576">
                  <c:v>-0.107563025210084</c:v>
                </c:pt>
                <c:pt idx="24577">
                  <c:v>-0.107563025210084</c:v>
                </c:pt>
                <c:pt idx="24578">
                  <c:v>-0.107563025210084</c:v>
                </c:pt>
                <c:pt idx="24579">
                  <c:v>-0.107563025210084</c:v>
                </c:pt>
                <c:pt idx="24580">
                  <c:v>-0.107563025210084</c:v>
                </c:pt>
                <c:pt idx="24581">
                  <c:v>-0.107563025210084</c:v>
                </c:pt>
                <c:pt idx="24582">
                  <c:v>-0.107563025210084</c:v>
                </c:pt>
                <c:pt idx="24583">
                  <c:v>-0.107563025210084</c:v>
                </c:pt>
                <c:pt idx="24584">
                  <c:v>-0.107563025210084</c:v>
                </c:pt>
                <c:pt idx="24585">
                  <c:v>-0.107563025210084</c:v>
                </c:pt>
                <c:pt idx="24586">
                  <c:v>-0.107563025210084</c:v>
                </c:pt>
                <c:pt idx="24587">
                  <c:v>-0.107563025210084</c:v>
                </c:pt>
                <c:pt idx="24588">
                  <c:v>-0.107563025210084</c:v>
                </c:pt>
                <c:pt idx="24589">
                  <c:v>-0.107563025210084</c:v>
                </c:pt>
                <c:pt idx="24590">
                  <c:v>-0.107563025210084</c:v>
                </c:pt>
                <c:pt idx="24591">
                  <c:v>-0.107563025210084</c:v>
                </c:pt>
                <c:pt idx="24592">
                  <c:v>-0.107563025210084</c:v>
                </c:pt>
                <c:pt idx="24593">
                  <c:v>-0.107563025210084</c:v>
                </c:pt>
                <c:pt idx="24594">
                  <c:v>-0.107563025210084</c:v>
                </c:pt>
                <c:pt idx="24595">
                  <c:v>-0.107563025210084</c:v>
                </c:pt>
                <c:pt idx="24596">
                  <c:v>-0.107563025210084</c:v>
                </c:pt>
                <c:pt idx="24597">
                  <c:v>-0.108403361344537</c:v>
                </c:pt>
                <c:pt idx="24598">
                  <c:v>-0.108403361344537</c:v>
                </c:pt>
                <c:pt idx="24599">
                  <c:v>-0.108403361344537</c:v>
                </c:pt>
                <c:pt idx="24600">
                  <c:v>-0.108403361344537</c:v>
                </c:pt>
                <c:pt idx="24601">
                  <c:v>-0.108403361344537</c:v>
                </c:pt>
                <c:pt idx="24602">
                  <c:v>-0.108403361344537</c:v>
                </c:pt>
                <c:pt idx="24603">
                  <c:v>-0.108403361344537</c:v>
                </c:pt>
                <c:pt idx="24604">
                  <c:v>-0.108403361344537</c:v>
                </c:pt>
                <c:pt idx="24605">
                  <c:v>-0.108403361344537</c:v>
                </c:pt>
                <c:pt idx="24606">
                  <c:v>-0.108403361344537</c:v>
                </c:pt>
                <c:pt idx="24607">
                  <c:v>-0.108403361344537</c:v>
                </c:pt>
                <c:pt idx="24608">
                  <c:v>-0.108403361344537</c:v>
                </c:pt>
                <c:pt idx="24609">
                  <c:v>-0.107563025210084</c:v>
                </c:pt>
                <c:pt idx="24610">
                  <c:v>-0.107563025210084</c:v>
                </c:pt>
                <c:pt idx="24611">
                  <c:v>-0.107563025210084</c:v>
                </c:pt>
                <c:pt idx="24612">
                  <c:v>-0.107563025210084</c:v>
                </c:pt>
                <c:pt idx="24613">
                  <c:v>-0.107563025210084</c:v>
                </c:pt>
                <c:pt idx="24614">
                  <c:v>-0.107563025210084</c:v>
                </c:pt>
                <c:pt idx="24615">
                  <c:v>-0.107563025210084</c:v>
                </c:pt>
                <c:pt idx="24616">
                  <c:v>-0.107563025210084</c:v>
                </c:pt>
                <c:pt idx="24617">
                  <c:v>-0.107563025210084</c:v>
                </c:pt>
                <c:pt idx="24618">
                  <c:v>-0.107563025210084</c:v>
                </c:pt>
                <c:pt idx="24619">
                  <c:v>-0.107563025210084</c:v>
                </c:pt>
                <c:pt idx="24620">
                  <c:v>-0.107563025210084</c:v>
                </c:pt>
                <c:pt idx="24621">
                  <c:v>-0.107563025210084</c:v>
                </c:pt>
                <c:pt idx="24622">
                  <c:v>-0.107563025210084</c:v>
                </c:pt>
                <c:pt idx="24623">
                  <c:v>-0.107563025210084</c:v>
                </c:pt>
                <c:pt idx="24624">
                  <c:v>-0.107563025210084</c:v>
                </c:pt>
                <c:pt idx="24625">
                  <c:v>-0.107563025210084</c:v>
                </c:pt>
                <c:pt idx="24626">
                  <c:v>-0.107563025210084</c:v>
                </c:pt>
                <c:pt idx="24627">
                  <c:v>-0.107563025210084</c:v>
                </c:pt>
                <c:pt idx="24628">
                  <c:v>-0.107563025210084</c:v>
                </c:pt>
                <c:pt idx="24629">
                  <c:v>-0.107563025210084</c:v>
                </c:pt>
                <c:pt idx="24630">
                  <c:v>-0.107563025210084</c:v>
                </c:pt>
                <c:pt idx="24631">
                  <c:v>-0.107563025210084</c:v>
                </c:pt>
                <c:pt idx="24632">
                  <c:v>-0.107563025210084</c:v>
                </c:pt>
                <c:pt idx="24633">
                  <c:v>-0.107563025210084</c:v>
                </c:pt>
                <c:pt idx="24634">
                  <c:v>-0.107563025210084</c:v>
                </c:pt>
                <c:pt idx="24635">
                  <c:v>-0.107563025210084</c:v>
                </c:pt>
                <c:pt idx="24636">
                  <c:v>-0.107563025210084</c:v>
                </c:pt>
                <c:pt idx="24637">
                  <c:v>-0.107563025210084</c:v>
                </c:pt>
                <c:pt idx="24638">
                  <c:v>-0.107563025210084</c:v>
                </c:pt>
                <c:pt idx="24639">
                  <c:v>-0.107563025210084</c:v>
                </c:pt>
                <c:pt idx="24640">
                  <c:v>-0.107563025210084</c:v>
                </c:pt>
                <c:pt idx="24641">
                  <c:v>-0.10672268907563</c:v>
                </c:pt>
                <c:pt idx="24642">
                  <c:v>-0.10672268907563</c:v>
                </c:pt>
                <c:pt idx="24643">
                  <c:v>-0.10672268907563</c:v>
                </c:pt>
                <c:pt idx="24644">
                  <c:v>-0.10672268907563</c:v>
                </c:pt>
                <c:pt idx="24645">
                  <c:v>-0.10672268907563</c:v>
                </c:pt>
                <c:pt idx="24646">
                  <c:v>-0.10672268907563</c:v>
                </c:pt>
                <c:pt idx="24647">
                  <c:v>-0.10672268907563</c:v>
                </c:pt>
                <c:pt idx="24648">
                  <c:v>-0.10672268907563</c:v>
                </c:pt>
                <c:pt idx="24649">
                  <c:v>-0.10672268907563</c:v>
                </c:pt>
                <c:pt idx="24650">
                  <c:v>-0.10672268907563</c:v>
                </c:pt>
                <c:pt idx="24651">
                  <c:v>-0.10672268907563</c:v>
                </c:pt>
                <c:pt idx="24652">
                  <c:v>-0.10672268907563</c:v>
                </c:pt>
                <c:pt idx="24653">
                  <c:v>-0.10672268907563</c:v>
                </c:pt>
                <c:pt idx="24654">
                  <c:v>-0.10672268907563</c:v>
                </c:pt>
                <c:pt idx="24655">
                  <c:v>-0.105882352941176</c:v>
                </c:pt>
                <c:pt idx="24656">
                  <c:v>-0.105882352941176</c:v>
                </c:pt>
                <c:pt idx="24657">
                  <c:v>-0.105882352941176</c:v>
                </c:pt>
                <c:pt idx="24658">
                  <c:v>-0.105882352941176</c:v>
                </c:pt>
                <c:pt idx="24659">
                  <c:v>-0.105882352941176</c:v>
                </c:pt>
                <c:pt idx="24660">
                  <c:v>-0.105882352941176</c:v>
                </c:pt>
                <c:pt idx="24661">
                  <c:v>-0.105882352941176</c:v>
                </c:pt>
                <c:pt idx="24662">
                  <c:v>-0.105882352941176</c:v>
                </c:pt>
                <c:pt idx="24663">
                  <c:v>-0.105882352941176</c:v>
                </c:pt>
                <c:pt idx="24664">
                  <c:v>-0.105882352941176</c:v>
                </c:pt>
                <c:pt idx="24665">
                  <c:v>-0.105882352941176</c:v>
                </c:pt>
                <c:pt idx="24666">
                  <c:v>-0.105882352941176</c:v>
                </c:pt>
                <c:pt idx="24667">
                  <c:v>-0.105882352941176</c:v>
                </c:pt>
                <c:pt idx="24668">
                  <c:v>-0.105882352941176</c:v>
                </c:pt>
                <c:pt idx="24669">
                  <c:v>-0.105882352941176</c:v>
                </c:pt>
                <c:pt idx="24670">
                  <c:v>-0.105882352941176</c:v>
                </c:pt>
                <c:pt idx="24671">
                  <c:v>-0.105882352941176</c:v>
                </c:pt>
                <c:pt idx="24672">
                  <c:v>-0.105882352941176</c:v>
                </c:pt>
                <c:pt idx="24673">
                  <c:v>-0.105882352941176</c:v>
                </c:pt>
                <c:pt idx="24674">
                  <c:v>-0.105882352941176</c:v>
                </c:pt>
                <c:pt idx="24675">
                  <c:v>-0.105882352941176</c:v>
                </c:pt>
                <c:pt idx="24676">
                  <c:v>-0.105882352941176</c:v>
                </c:pt>
                <c:pt idx="24677">
                  <c:v>-0.105882352941176</c:v>
                </c:pt>
                <c:pt idx="24678">
                  <c:v>-0.105882352941176</c:v>
                </c:pt>
                <c:pt idx="24679">
                  <c:v>-0.105882352941176</c:v>
                </c:pt>
                <c:pt idx="24680">
                  <c:v>-0.105882352941176</c:v>
                </c:pt>
                <c:pt idx="24681">
                  <c:v>-0.105882352941176</c:v>
                </c:pt>
                <c:pt idx="24682">
                  <c:v>-0.10672268907563</c:v>
                </c:pt>
                <c:pt idx="24683">
                  <c:v>-0.10672268907563</c:v>
                </c:pt>
                <c:pt idx="24684">
                  <c:v>-0.10672268907563</c:v>
                </c:pt>
                <c:pt idx="24685">
                  <c:v>-0.10672268907563</c:v>
                </c:pt>
                <c:pt idx="24686">
                  <c:v>-0.10672268907563</c:v>
                </c:pt>
                <c:pt idx="24687">
                  <c:v>-0.105882352941176</c:v>
                </c:pt>
                <c:pt idx="24688">
                  <c:v>-0.105882352941176</c:v>
                </c:pt>
                <c:pt idx="24689">
                  <c:v>-0.105882352941176</c:v>
                </c:pt>
                <c:pt idx="24690">
                  <c:v>-0.105882352941176</c:v>
                </c:pt>
                <c:pt idx="24691">
                  <c:v>-0.105882352941176</c:v>
                </c:pt>
                <c:pt idx="24692">
                  <c:v>-0.105882352941176</c:v>
                </c:pt>
                <c:pt idx="24693">
                  <c:v>-0.105882352941176</c:v>
                </c:pt>
                <c:pt idx="24694">
                  <c:v>-0.105882352941176</c:v>
                </c:pt>
                <c:pt idx="24695">
                  <c:v>-0.105882352941176</c:v>
                </c:pt>
                <c:pt idx="24696">
                  <c:v>-0.105882352941176</c:v>
                </c:pt>
                <c:pt idx="24697">
                  <c:v>-0.105882352941176</c:v>
                </c:pt>
                <c:pt idx="24698">
                  <c:v>-0.105882352941176</c:v>
                </c:pt>
                <c:pt idx="24699">
                  <c:v>-0.105882352941176</c:v>
                </c:pt>
                <c:pt idx="24700">
                  <c:v>-0.105882352941176</c:v>
                </c:pt>
                <c:pt idx="24701">
                  <c:v>-0.105882352941176</c:v>
                </c:pt>
                <c:pt idx="24702">
                  <c:v>-0.105882352941176</c:v>
                </c:pt>
                <c:pt idx="24703">
                  <c:v>-0.105882352941176</c:v>
                </c:pt>
                <c:pt idx="24704">
                  <c:v>-0.105882352941176</c:v>
                </c:pt>
                <c:pt idx="24705">
                  <c:v>-0.105882352941176</c:v>
                </c:pt>
                <c:pt idx="24706">
                  <c:v>-0.10672268907563</c:v>
                </c:pt>
                <c:pt idx="24707">
                  <c:v>-0.10672268907563</c:v>
                </c:pt>
                <c:pt idx="24708">
                  <c:v>-0.10672268907563</c:v>
                </c:pt>
                <c:pt idx="24709">
                  <c:v>-0.107563025210084</c:v>
                </c:pt>
                <c:pt idx="24710">
                  <c:v>-0.107563025210084</c:v>
                </c:pt>
                <c:pt idx="24711">
                  <c:v>-0.107563025210084</c:v>
                </c:pt>
                <c:pt idx="24712">
                  <c:v>-0.107563025210084</c:v>
                </c:pt>
                <c:pt idx="24713">
                  <c:v>-0.107563025210084</c:v>
                </c:pt>
                <c:pt idx="24714">
                  <c:v>-0.107563025210084</c:v>
                </c:pt>
                <c:pt idx="24715">
                  <c:v>-0.108403361344537</c:v>
                </c:pt>
                <c:pt idx="24716">
                  <c:v>-0.108403361344537</c:v>
                </c:pt>
                <c:pt idx="24717">
                  <c:v>-0.108403361344537</c:v>
                </c:pt>
                <c:pt idx="24718">
                  <c:v>-0.108403361344537</c:v>
                </c:pt>
                <c:pt idx="24719">
                  <c:v>-0.108403361344537</c:v>
                </c:pt>
                <c:pt idx="24720">
                  <c:v>-0.108403361344537</c:v>
                </c:pt>
                <c:pt idx="24721">
                  <c:v>-0.107563025210084</c:v>
                </c:pt>
                <c:pt idx="24722">
                  <c:v>-0.107563025210084</c:v>
                </c:pt>
                <c:pt idx="24723">
                  <c:v>-0.107563025210084</c:v>
                </c:pt>
                <c:pt idx="24724">
                  <c:v>-0.107563025210084</c:v>
                </c:pt>
                <c:pt idx="24725">
                  <c:v>-0.107563025210084</c:v>
                </c:pt>
                <c:pt idx="24726">
                  <c:v>-0.107563025210084</c:v>
                </c:pt>
                <c:pt idx="24727">
                  <c:v>-0.107563025210084</c:v>
                </c:pt>
                <c:pt idx="24728">
                  <c:v>-0.107563025210084</c:v>
                </c:pt>
                <c:pt idx="24729">
                  <c:v>-0.107563025210084</c:v>
                </c:pt>
                <c:pt idx="24730">
                  <c:v>-0.107563025210084</c:v>
                </c:pt>
                <c:pt idx="24731">
                  <c:v>-0.107563025210084</c:v>
                </c:pt>
                <c:pt idx="24732">
                  <c:v>-0.107563025210084</c:v>
                </c:pt>
                <c:pt idx="24733">
                  <c:v>-0.107563025210084</c:v>
                </c:pt>
                <c:pt idx="24734">
                  <c:v>-0.107563025210084</c:v>
                </c:pt>
                <c:pt idx="24735">
                  <c:v>-0.107563025210084</c:v>
                </c:pt>
                <c:pt idx="24736">
                  <c:v>-0.107563025210084</c:v>
                </c:pt>
                <c:pt idx="24737">
                  <c:v>-0.107563025210084</c:v>
                </c:pt>
                <c:pt idx="24738">
                  <c:v>-0.108403361344537</c:v>
                </c:pt>
                <c:pt idx="24739">
                  <c:v>-0.108403361344537</c:v>
                </c:pt>
                <c:pt idx="24740">
                  <c:v>-0.107563025210084</c:v>
                </c:pt>
                <c:pt idx="24741">
                  <c:v>-0.107563025210084</c:v>
                </c:pt>
                <c:pt idx="24742">
                  <c:v>-0.107563025210084</c:v>
                </c:pt>
                <c:pt idx="24743">
                  <c:v>-0.107563025210084</c:v>
                </c:pt>
                <c:pt idx="24744">
                  <c:v>-0.107563025210084</c:v>
                </c:pt>
                <c:pt idx="24745">
                  <c:v>-0.107563025210084</c:v>
                </c:pt>
                <c:pt idx="24746">
                  <c:v>-0.107563025210084</c:v>
                </c:pt>
                <c:pt idx="24747">
                  <c:v>-0.107563025210084</c:v>
                </c:pt>
                <c:pt idx="24748">
                  <c:v>-0.107563025210084</c:v>
                </c:pt>
                <c:pt idx="24749">
                  <c:v>-0.107563025210084</c:v>
                </c:pt>
                <c:pt idx="24750">
                  <c:v>-0.107563025210084</c:v>
                </c:pt>
                <c:pt idx="24751">
                  <c:v>-0.107563025210084</c:v>
                </c:pt>
                <c:pt idx="24752">
                  <c:v>-0.107563025210084</c:v>
                </c:pt>
                <c:pt idx="24753">
                  <c:v>-0.107563025210084</c:v>
                </c:pt>
                <c:pt idx="24754">
                  <c:v>-0.107563025210084</c:v>
                </c:pt>
                <c:pt idx="24755">
                  <c:v>-0.107563025210084</c:v>
                </c:pt>
                <c:pt idx="24756">
                  <c:v>-0.107563025210084</c:v>
                </c:pt>
                <c:pt idx="24757">
                  <c:v>-0.107563025210084</c:v>
                </c:pt>
                <c:pt idx="24758">
                  <c:v>-0.107563025210084</c:v>
                </c:pt>
                <c:pt idx="24759">
                  <c:v>-0.107563025210084</c:v>
                </c:pt>
                <c:pt idx="24760">
                  <c:v>-0.107563025210084</c:v>
                </c:pt>
                <c:pt idx="24761">
                  <c:v>-0.107563025210084</c:v>
                </c:pt>
                <c:pt idx="24762">
                  <c:v>-0.107563025210084</c:v>
                </c:pt>
                <c:pt idx="24763">
                  <c:v>-0.107563025210084</c:v>
                </c:pt>
                <c:pt idx="24764">
                  <c:v>-0.107563025210084</c:v>
                </c:pt>
                <c:pt idx="24765">
                  <c:v>-0.107563025210084</c:v>
                </c:pt>
                <c:pt idx="24766">
                  <c:v>-0.107563025210084</c:v>
                </c:pt>
                <c:pt idx="24767">
                  <c:v>-0.107563025210084</c:v>
                </c:pt>
                <c:pt idx="24768">
                  <c:v>-0.107563025210084</c:v>
                </c:pt>
                <c:pt idx="24769">
                  <c:v>-0.107563025210084</c:v>
                </c:pt>
                <c:pt idx="24770">
                  <c:v>-0.107563025210084</c:v>
                </c:pt>
                <c:pt idx="24771">
                  <c:v>-0.107563025210084</c:v>
                </c:pt>
                <c:pt idx="24772">
                  <c:v>-0.107563025210084</c:v>
                </c:pt>
                <c:pt idx="24773">
                  <c:v>-0.107563025210084</c:v>
                </c:pt>
                <c:pt idx="24774">
                  <c:v>-0.107563025210084</c:v>
                </c:pt>
                <c:pt idx="24775">
                  <c:v>-0.107563025210084</c:v>
                </c:pt>
                <c:pt idx="24776">
                  <c:v>-0.108403361344537</c:v>
                </c:pt>
                <c:pt idx="24777">
                  <c:v>-0.108403361344537</c:v>
                </c:pt>
                <c:pt idx="24778">
                  <c:v>-0.109243697478991</c:v>
                </c:pt>
                <c:pt idx="24779">
                  <c:v>-0.109243697478991</c:v>
                </c:pt>
                <c:pt idx="24780">
                  <c:v>-0.109243697478991</c:v>
                </c:pt>
                <c:pt idx="24781">
                  <c:v>-0.109243697478991</c:v>
                </c:pt>
                <c:pt idx="24782">
                  <c:v>-0.109243697478991</c:v>
                </c:pt>
                <c:pt idx="24783">
                  <c:v>-0.109243697478991</c:v>
                </c:pt>
                <c:pt idx="24784">
                  <c:v>-0.109243697478991</c:v>
                </c:pt>
                <c:pt idx="24785">
                  <c:v>-0.109243697478991</c:v>
                </c:pt>
                <c:pt idx="24786">
                  <c:v>-0.109243697478991</c:v>
                </c:pt>
                <c:pt idx="24787">
                  <c:v>-0.109243697478991</c:v>
                </c:pt>
                <c:pt idx="24788">
                  <c:v>-0.109243697478991</c:v>
                </c:pt>
                <c:pt idx="24789">
                  <c:v>-0.109243697478991</c:v>
                </c:pt>
                <c:pt idx="24790">
                  <c:v>-0.109243697478991</c:v>
                </c:pt>
                <c:pt idx="24791">
                  <c:v>-0.109243697478991</c:v>
                </c:pt>
                <c:pt idx="24792">
                  <c:v>-0.109243697478991</c:v>
                </c:pt>
                <c:pt idx="24793">
                  <c:v>-0.109243697478991</c:v>
                </c:pt>
                <c:pt idx="24794">
                  <c:v>-0.109243697478991</c:v>
                </c:pt>
                <c:pt idx="24795">
                  <c:v>-0.109243697478991</c:v>
                </c:pt>
                <c:pt idx="24796">
                  <c:v>-0.109243697478991</c:v>
                </c:pt>
                <c:pt idx="24797">
                  <c:v>-0.109243697478991</c:v>
                </c:pt>
                <c:pt idx="24798">
                  <c:v>-0.109243697478991</c:v>
                </c:pt>
                <c:pt idx="24799">
                  <c:v>-0.109243697478991</c:v>
                </c:pt>
                <c:pt idx="24800">
                  <c:v>-0.109243697478991</c:v>
                </c:pt>
                <c:pt idx="24801">
                  <c:v>-0.109243697478991</c:v>
                </c:pt>
                <c:pt idx="24802">
                  <c:v>-0.109243697478991</c:v>
                </c:pt>
                <c:pt idx="24803">
                  <c:v>-0.109243697478991</c:v>
                </c:pt>
                <c:pt idx="24804">
                  <c:v>-0.109243697478991</c:v>
                </c:pt>
                <c:pt idx="24805">
                  <c:v>-0.109243697478991</c:v>
                </c:pt>
                <c:pt idx="24806">
                  <c:v>-0.109243697478991</c:v>
                </c:pt>
                <c:pt idx="24807">
                  <c:v>-0.109243697478991</c:v>
                </c:pt>
                <c:pt idx="24808">
                  <c:v>-0.109243697478991</c:v>
                </c:pt>
                <c:pt idx="24809">
                  <c:v>-0.109243697478991</c:v>
                </c:pt>
                <c:pt idx="24810">
                  <c:v>-0.109243697478991</c:v>
                </c:pt>
                <c:pt idx="24811">
                  <c:v>-0.109243697478991</c:v>
                </c:pt>
                <c:pt idx="24812">
                  <c:v>-0.109243697478991</c:v>
                </c:pt>
                <c:pt idx="24813">
                  <c:v>-0.109243697478991</c:v>
                </c:pt>
                <c:pt idx="24814">
                  <c:v>-0.109243697478991</c:v>
                </c:pt>
                <c:pt idx="24815">
                  <c:v>-0.109243697478991</c:v>
                </c:pt>
                <c:pt idx="24816">
                  <c:v>-0.109243697478991</c:v>
                </c:pt>
                <c:pt idx="24817">
                  <c:v>-0.109243697478991</c:v>
                </c:pt>
                <c:pt idx="24818">
                  <c:v>-0.109243697478991</c:v>
                </c:pt>
                <c:pt idx="24819">
                  <c:v>-0.109243697478991</c:v>
                </c:pt>
                <c:pt idx="24820">
                  <c:v>-0.109243697478991</c:v>
                </c:pt>
                <c:pt idx="24821">
                  <c:v>-0.109243697478991</c:v>
                </c:pt>
                <c:pt idx="24822">
                  <c:v>-0.109243697478991</c:v>
                </c:pt>
                <c:pt idx="24823">
                  <c:v>-0.109243697478991</c:v>
                </c:pt>
                <c:pt idx="24824">
                  <c:v>-0.109243697478991</c:v>
                </c:pt>
                <c:pt idx="24825">
                  <c:v>-0.109243697478991</c:v>
                </c:pt>
                <c:pt idx="24826">
                  <c:v>-0.109243697478991</c:v>
                </c:pt>
                <c:pt idx="24827">
                  <c:v>-0.109243697478991</c:v>
                </c:pt>
                <c:pt idx="24828">
                  <c:v>-0.109243697478991</c:v>
                </c:pt>
                <c:pt idx="24829">
                  <c:v>-0.109243697478991</c:v>
                </c:pt>
                <c:pt idx="24830">
                  <c:v>-0.109243697478991</c:v>
                </c:pt>
                <c:pt idx="24831">
                  <c:v>-0.109243697478991</c:v>
                </c:pt>
                <c:pt idx="24832">
                  <c:v>-0.108403361344537</c:v>
                </c:pt>
                <c:pt idx="24833">
                  <c:v>-0.108403361344537</c:v>
                </c:pt>
                <c:pt idx="24834">
                  <c:v>-0.108403361344537</c:v>
                </c:pt>
                <c:pt idx="24835">
                  <c:v>-0.108403361344537</c:v>
                </c:pt>
                <c:pt idx="24836">
                  <c:v>-0.108403361344537</c:v>
                </c:pt>
                <c:pt idx="24837">
                  <c:v>-0.108403361344537</c:v>
                </c:pt>
                <c:pt idx="24838">
                  <c:v>-0.108403361344537</c:v>
                </c:pt>
                <c:pt idx="24839">
                  <c:v>-0.108403361344537</c:v>
                </c:pt>
                <c:pt idx="24840">
                  <c:v>-0.108403361344537</c:v>
                </c:pt>
                <c:pt idx="24841">
                  <c:v>-0.108403361344537</c:v>
                </c:pt>
                <c:pt idx="24842">
                  <c:v>-0.108403361344537</c:v>
                </c:pt>
                <c:pt idx="24843">
                  <c:v>-0.108403361344537</c:v>
                </c:pt>
                <c:pt idx="24844">
                  <c:v>-0.108403361344537</c:v>
                </c:pt>
                <c:pt idx="24845">
                  <c:v>-0.108403361344537</c:v>
                </c:pt>
                <c:pt idx="24846">
                  <c:v>-0.108403361344537</c:v>
                </c:pt>
                <c:pt idx="24847">
                  <c:v>-0.108403361344537</c:v>
                </c:pt>
                <c:pt idx="24848">
                  <c:v>-0.108403361344537</c:v>
                </c:pt>
                <c:pt idx="24849">
                  <c:v>-0.108403361344537</c:v>
                </c:pt>
                <c:pt idx="24850">
                  <c:v>-0.108403361344537</c:v>
                </c:pt>
                <c:pt idx="24851">
                  <c:v>-0.108403361344537</c:v>
                </c:pt>
                <c:pt idx="24852">
                  <c:v>-0.108403361344537</c:v>
                </c:pt>
                <c:pt idx="24853">
                  <c:v>-0.108403361344537</c:v>
                </c:pt>
                <c:pt idx="24854">
                  <c:v>-0.108403361344537</c:v>
                </c:pt>
                <c:pt idx="24855">
                  <c:v>-0.108403361344537</c:v>
                </c:pt>
                <c:pt idx="24856">
                  <c:v>-0.108403361344537</c:v>
                </c:pt>
                <c:pt idx="24857">
                  <c:v>-0.108403361344537</c:v>
                </c:pt>
                <c:pt idx="24858">
                  <c:v>-0.108403361344537</c:v>
                </c:pt>
                <c:pt idx="24859">
                  <c:v>-0.108403361344537</c:v>
                </c:pt>
                <c:pt idx="24860">
                  <c:v>-0.108403361344537</c:v>
                </c:pt>
                <c:pt idx="24861">
                  <c:v>-0.108403361344537</c:v>
                </c:pt>
                <c:pt idx="24862">
                  <c:v>-0.108403361344537</c:v>
                </c:pt>
                <c:pt idx="24863">
                  <c:v>-0.108403361344537</c:v>
                </c:pt>
                <c:pt idx="24864">
                  <c:v>-0.108403361344537</c:v>
                </c:pt>
                <c:pt idx="24865">
                  <c:v>-0.108403361344537</c:v>
                </c:pt>
                <c:pt idx="24866">
                  <c:v>-0.108403361344537</c:v>
                </c:pt>
                <c:pt idx="24867">
                  <c:v>-0.108403361344537</c:v>
                </c:pt>
                <c:pt idx="24868">
                  <c:v>-0.108403361344537</c:v>
                </c:pt>
                <c:pt idx="24869">
                  <c:v>-0.107563025210083</c:v>
                </c:pt>
                <c:pt idx="24870">
                  <c:v>-0.107563025210083</c:v>
                </c:pt>
                <c:pt idx="24871">
                  <c:v>-0.107563025210083</c:v>
                </c:pt>
                <c:pt idx="24872">
                  <c:v>-0.107563025210083</c:v>
                </c:pt>
                <c:pt idx="24873">
                  <c:v>-0.107563025210083</c:v>
                </c:pt>
                <c:pt idx="24874">
                  <c:v>-0.107563025210083</c:v>
                </c:pt>
                <c:pt idx="24875">
                  <c:v>-0.107563025210083</c:v>
                </c:pt>
                <c:pt idx="24876">
                  <c:v>-0.107563025210083</c:v>
                </c:pt>
                <c:pt idx="24877">
                  <c:v>-0.107563025210083</c:v>
                </c:pt>
                <c:pt idx="24878">
                  <c:v>-0.107563025210083</c:v>
                </c:pt>
                <c:pt idx="24879">
                  <c:v>-0.107563025210083</c:v>
                </c:pt>
                <c:pt idx="24880">
                  <c:v>-0.107563025210083</c:v>
                </c:pt>
                <c:pt idx="24881">
                  <c:v>-0.107563025210083</c:v>
                </c:pt>
                <c:pt idx="24882">
                  <c:v>-0.107563025210083</c:v>
                </c:pt>
                <c:pt idx="24883">
                  <c:v>-0.107563025210083</c:v>
                </c:pt>
                <c:pt idx="24884">
                  <c:v>-0.107563025210083</c:v>
                </c:pt>
                <c:pt idx="24885">
                  <c:v>-0.107563025210083</c:v>
                </c:pt>
                <c:pt idx="24886">
                  <c:v>-0.107563025210083</c:v>
                </c:pt>
                <c:pt idx="24887">
                  <c:v>-0.107563025210083</c:v>
                </c:pt>
                <c:pt idx="24888">
                  <c:v>-0.107563025210083</c:v>
                </c:pt>
                <c:pt idx="24889">
                  <c:v>-0.107563025210083</c:v>
                </c:pt>
                <c:pt idx="24890">
                  <c:v>-0.107563025210083</c:v>
                </c:pt>
                <c:pt idx="24891">
                  <c:v>-0.107563025210083</c:v>
                </c:pt>
                <c:pt idx="24892">
                  <c:v>-0.108403361344537</c:v>
                </c:pt>
                <c:pt idx="24893">
                  <c:v>-0.108403361344537</c:v>
                </c:pt>
                <c:pt idx="24894">
                  <c:v>-0.108403361344537</c:v>
                </c:pt>
                <c:pt idx="24895">
                  <c:v>-0.108403361344537</c:v>
                </c:pt>
                <c:pt idx="24896">
                  <c:v>-0.108403361344537</c:v>
                </c:pt>
                <c:pt idx="24897">
                  <c:v>-0.108403361344537</c:v>
                </c:pt>
                <c:pt idx="24898">
                  <c:v>-0.108403361344537</c:v>
                </c:pt>
                <c:pt idx="24899">
                  <c:v>-0.108403361344537</c:v>
                </c:pt>
                <c:pt idx="24900">
                  <c:v>-0.108403361344537</c:v>
                </c:pt>
                <c:pt idx="24901">
                  <c:v>-0.107563025210083</c:v>
                </c:pt>
                <c:pt idx="24902">
                  <c:v>-0.107563025210083</c:v>
                </c:pt>
                <c:pt idx="24903">
                  <c:v>-0.107563025210083</c:v>
                </c:pt>
                <c:pt idx="24904">
                  <c:v>-0.107563025210083</c:v>
                </c:pt>
                <c:pt idx="24905">
                  <c:v>-0.107563025210083</c:v>
                </c:pt>
                <c:pt idx="24906">
                  <c:v>-0.107563025210083</c:v>
                </c:pt>
                <c:pt idx="24907">
                  <c:v>-0.107563025210083</c:v>
                </c:pt>
                <c:pt idx="24908">
                  <c:v>-0.107563025210083</c:v>
                </c:pt>
                <c:pt idx="24909">
                  <c:v>-0.107563025210083</c:v>
                </c:pt>
                <c:pt idx="24910">
                  <c:v>-0.107563025210083</c:v>
                </c:pt>
                <c:pt idx="24911">
                  <c:v>-0.107563025210083</c:v>
                </c:pt>
                <c:pt idx="24912">
                  <c:v>-0.107563025210083</c:v>
                </c:pt>
                <c:pt idx="24913">
                  <c:v>-0.107563025210083</c:v>
                </c:pt>
                <c:pt idx="24914">
                  <c:v>-0.107563025210083</c:v>
                </c:pt>
                <c:pt idx="24915">
                  <c:v>-0.107563025210083</c:v>
                </c:pt>
                <c:pt idx="24916">
                  <c:v>-0.107563025210083</c:v>
                </c:pt>
                <c:pt idx="24917">
                  <c:v>-0.107563025210083</c:v>
                </c:pt>
                <c:pt idx="24918">
                  <c:v>-0.10672268907563</c:v>
                </c:pt>
                <c:pt idx="24919">
                  <c:v>-0.10672268907563</c:v>
                </c:pt>
                <c:pt idx="24920">
                  <c:v>-0.10672268907563</c:v>
                </c:pt>
                <c:pt idx="24921">
                  <c:v>-0.10672268907563</c:v>
                </c:pt>
                <c:pt idx="24922">
                  <c:v>-0.10672268907563</c:v>
                </c:pt>
                <c:pt idx="24923">
                  <c:v>-0.10672268907563</c:v>
                </c:pt>
                <c:pt idx="24924">
                  <c:v>-0.10672268907563</c:v>
                </c:pt>
                <c:pt idx="24925">
                  <c:v>-0.10672268907563</c:v>
                </c:pt>
                <c:pt idx="24926">
                  <c:v>-0.10672268907563</c:v>
                </c:pt>
                <c:pt idx="24927">
                  <c:v>-0.107563025210083</c:v>
                </c:pt>
                <c:pt idx="24928">
                  <c:v>-0.107563025210083</c:v>
                </c:pt>
                <c:pt idx="24929">
                  <c:v>-0.107563025210083</c:v>
                </c:pt>
                <c:pt idx="24930">
                  <c:v>-0.107563025210083</c:v>
                </c:pt>
                <c:pt idx="24931">
                  <c:v>-0.107563025210083</c:v>
                </c:pt>
                <c:pt idx="24932">
                  <c:v>-0.107563025210083</c:v>
                </c:pt>
                <c:pt idx="24933">
                  <c:v>-0.107563025210083</c:v>
                </c:pt>
                <c:pt idx="24934">
                  <c:v>-0.107563025210083</c:v>
                </c:pt>
                <c:pt idx="24935">
                  <c:v>-0.107563025210083</c:v>
                </c:pt>
                <c:pt idx="24936">
                  <c:v>-0.107563025210083</c:v>
                </c:pt>
                <c:pt idx="24937">
                  <c:v>-0.107563025210083</c:v>
                </c:pt>
                <c:pt idx="24938">
                  <c:v>-0.107563025210083</c:v>
                </c:pt>
                <c:pt idx="24939">
                  <c:v>-0.108403361344537</c:v>
                </c:pt>
                <c:pt idx="24940">
                  <c:v>-0.108403361344537</c:v>
                </c:pt>
                <c:pt idx="24941">
                  <c:v>-0.108403361344537</c:v>
                </c:pt>
                <c:pt idx="24942">
                  <c:v>-0.108403361344537</c:v>
                </c:pt>
                <c:pt idx="24943">
                  <c:v>-0.108403361344537</c:v>
                </c:pt>
                <c:pt idx="24944">
                  <c:v>-0.108403361344537</c:v>
                </c:pt>
                <c:pt idx="24945">
                  <c:v>-0.108403361344537</c:v>
                </c:pt>
                <c:pt idx="24946">
                  <c:v>-0.108403361344537</c:v>
                </c:pt>
                <c:pt idx="24947">
                  <c:v>-0.108403361344537</c:v>
                </c:pt>
                <c:pt idx="24948">
                  <c:v>-0.108403361344537</c:v>
                </c:pt>
                <c:pt idx="24949">
                  <c:v>-0.108403361344537</c:v>
                </c:pt>
                <c:pt idx="24950">
                  <c:v>-0.108403361344537</c:v>
                </c:pt>
                <c:pt idx="24951">
                  <c:v>-0.108403361344537</c:v>
                </c:pt>
                <c:pt idx="24952">
                  <c:v>-0.108403361344537</c:v>
                </c:pt>
                <c:pt idx="24953">
                  <c:v>-0.108403361344537</c:v>
                </c:pt>
                <c:pt idx="24954">
                  <c:v>-0.108403361344537</c:v>
                </c:pt>
                <c:pt idx="24955">
                  <c:v>-0.108403361344537</c:v>
                </c:pt>
                <c:pt idx="24956">
                  <c:v>-0.108403361344537</c:v>
                </c:pt>
                <c:pt idx="24957">
                  <c:v>-0.108403361344537</c:v>
                </c:pt>
                <c:pt idx="24958">
                  <c:v>-0.108403361344537</c:v>
                </c:pt>
                <c:pt idx="24959">
                  <c:v>-0.108403361344537</c:v>
                </c:pt>
                <c:pt idx="24960">
                  <c:v>-0.108403361344537</c:v>
                </c:pt>
                <c:pt idx="24961">
                  <c:v>-0.109243697478991</c:v>
                </c:pt>
                <c:pt idx="24962">
                  <c:v>-0.109243697478991</c:v>
                </c:pt>
                <c:pt idx="24963">
                  <c:v>-0.109243697478991</c:v>
                </c:pt>
                <c:pt idx="24964">
                  <c:v>-0.109243697478991</c:v>
                </c:pt>
                <c:pt idx="24965">
                  <c:v>-0.109243697478991</c:v>
                </c:pt>
                <c:pt idx="24966">
                  <c:v>-0.109243697478991</c:v>
                </c:pt>
                <c:pt idx="24967">
                  <c:v>-0.109243697478991</c:v>
                </c:pt>
                <c:pt idx="24968">
                  <c:v>-0.109243697478991</c:v>
                </c:pt>
                <c:pt idx="24969">
                  <c:v>-0.109243697478991</c:v>
                </c:pt>
                <c:pt idx="24970">
                  <c:v>-0.109243697478991</c:v>
                </c:pt>
                <c:pt idx="24971">
                  <c:v>-0.109243697478991</c:v>
                </c:pt>
                <c:pt idx="24972">
                  <c:v>-0.109243697478991</c:v>
                </c:pt>
                <c:pt idx="24973">
                  <c:v>-0.108403361344537</c:v>
                </c:pt>
                <c:pt idx="24974">
                  <c:v>-0.108403361344537</c:v>
                </c:pt>
                <c:pt idx="24975">
                  <c:v>-0.108403361344537</c:v>
                </c:pt>
                <c:pt idx="24976">
                  <c:v>-0.108403361344537</c:v>
                </c:pt>
                <c:pt idx="24977">
                  <c:v>-0.108403361344537</c:v>
                </c:pt>
                <c:pt idx="24978">
                  <c:v>-0.108403361344537</c:v>
                </c:pt>
                <c:pt idx="24979">
                  <c:v>-0.108403361344537</c:v>
                </c:pt>
                <c:pt idx="24980">
                  <c:v>-0.108403361344537</c:v>
                </c:pt>
                <c:pt idx="24981">
                  <c:v>-0.108403361344537</c:v>
                </c:pt>
                <c:pt idx="24982">
                  <c:v>-0.108403361344537</c:v>
                </c:pt>
                <c:pt idx="24983">
                  <c:v>-0.108403361344537</c:v>
                </c:pt>
                <c:pt idx="24984">
                  <c:v>-0.107563025210083</c:v>
                </c:pt>
                <c:pt idx="24985">
                  <c:v>-0.107563025210083</c:v>
                </c:pt>
                <c:pt idx="24986">
                  <c:v>-0.107563025210083</c:v>
                </c:pt>
                <c:pt idx="24987">
                  <c:v>-0.107563025210083</c:v>
                </c:pt>
                <c:pt idx="24988">
                  <c:v>-0.107563025210083</c:v>
                </c:pt>
                <c:pt idx="24989">
                  <c:v>-0.107563025210083</c:v>
                </c:pt>
                <c:pt idx="24990">
                  <c:v>-0.107563025210083</c:v>
                </c:pt>
                <c:pt idx="24991">
                  <c:v>-0.107563025210083</c:v>
                </c:pt>
                <c:pt idx="24992">
                  <c:v>-0.107563025210083</c:v>
                </c:pt>
                <c:pt idx="24993">
                  <c:v>-0.107563025210083</c:v>
                </c:pt>
                <c:pt idx="24994">
                  <c:v>-0.107563025210083</c:v>
                </c:pt>
                <c:pt idx="24995">
                  <c:v>-0.107563025210083</c:v>
                </c:pt>
                <c:pt idx="24996">
                  <c:v>-0.107563025210083</c:v>
                </c:pt>
                <c:pt idx="24997">
                  <c:v>-0.107563025210083</c:v>
                </c:pt>
                <c:pt idx="24998">
                  <c:v>-0.107563025210083</c:v>
                </c:pt>
                <c:pt idx="24999">
                  <c:v>-0.107563025210083</c:v>
                </c:pt>
                <c:pt idx="25000">
                  <c:v>-0.107563025210083</c:v>
                </c:pt>
                <c:pt idx="25001">
                  <c:v>-0.107563025210083</c:v>
                </c:pt>
                <c:pt idx="25002">
                  <c:v>-0.107563025210083</c:v>
                </c:pt>
                <c:pt idx="25003">
                  <c:v>-0.107563025210083</c:v>
                </c:pt>
                <c:pt idx="25004">
                  <c:v>-0.107563025210083</c:v>
                </c:pt>
                <c:pt idx="25005">
                  <c:v>-0.107563025210083</c:v>
                </c:pt>
                <c:pt idx="25006">
                  <c:v>-0.107563025210083</c:v>
                </c:pt>
                <c:pt idx="25007">
                  <c:v>-0.107563025210083</c:v>
                </c:pt>
                <c:pt idx="25008">
                  <c:v>-0.107563025210083</c:v>
                </c:pt>
                <c:pt idx="25009">
                  <c:v>-0.107563025210083</c:v>
                </c:pt>
                <c:pt idx="25010">
                  <c:v>-0.107563025210083</c:v>
                </c:pt>
                <c:pt idx="25011">
                  <c:v>-0.107563025210083</c:v>
                </c:pt>
                <c:pt idx="25012">
                  <c:v>-0.107563025210083</c:v>
                </c:pt>
                <c:pt idx="25013">
                  <c:v>-0.107563025210083</c:v>
                </c:pt>
                <c:pt idx="25014">
                  <c:v>-0.107563025210083</c:v>
                </c:pt>
                <c:pt idx="25015">
                  <c:v>-0.107563025210083</c:v>
                </c:pt>
                <c:pt idx="25016">
                  <c:v>-0.107563025210083</c:v>
                </c:pt>
                <c:pt idx="25017">
                  <c:v>-0.107563025210083</c:v>
                </c:pt>
                <c:pt idx="25018">
                  <c:v>-0.107563025210083</c:v>
                </c:pt>
                <c:pt idx="25019">
                  <c:v>-0.107563025210083</c:v>
                </c:pt>
                <c:pt idx="25020">
                  <c:v>-0.107563025210083</c:v>
                </c:pt>
                <c:pt idx="25021">
                  <c:v>-0.107563025210083</c:v>
                </c:pt>
                <c:pt idx="25022">
                  <c:v>-0.107563025210083</c:v>
                </c:pt>
                <c:pt idx="25023">
                  <c:v>-0.107563025210083</c:v>
                </c:pt>
                <c:pt idx="25024">
                  <c:v>-0.107563025210083</c:v>
                </c:pt>
                <c:pt idx="25025">
                  <c:v>-0.107563025210083</c:v>
                </c:pt>
                <c:pt idx="25026">
                  <c:v>-0.107563025210083</c:v>
                </c:pt>
                <c:pt idx="25027">
                  <c:v>-0.107563025210083</c:v>
                </c:pt>
                <c:pt idx="25028">
                  <c:v>-0.107563025210083</c:v>
                </c:pt>
                <c:pt idx="25029">
                  <c:v>-0.107563025210083</c:v>
                </c:pt>
                <c:pt idx="25030">
                  <c:v>-0.107563025210083</c:v>
                </c:pt>
                <c:pt idx="25031">
                  <c:v>-0.107563025210083</c:v>
                </c:pt>
                <c:pt idx="25032">
                  <c:v>-0.107563025210083</c:v>
                </c:pt>
                <c:pt idx="25033">
                  <c:v>-0.107563025210083</c:v>
                </c:pt>
                <c:pt idx="25034">
                  <c:v>-0.107563025210083</c:v>
                </c:pt>
                <c:pt idx="25035">
                  <c:v>-0.107563025210083</c:v>
                </c:pt>
                <c:pt idx="25036">
                  <c:v>-0.107563025210083</c:v>
                </c:pt>
                <c:pt idx="25037">
                  <c:v>-0.107563025210083</c:v>
                </c:pt>
                <c:pt idx="25038">
                  <c:v>-0.108403361344537</c:v>
                </c:pt>
                <c:pt idx="25039">
                  <c:v>-0.108403361344537</c:v>
                </c:pt>
                <c:pt idx="25040">
                  <c:v>-0.108403361344537</c:v>
                </c:pt>
                <c:pt idx="25041">
                  <c:v>-0.107563025210083</c:v>
                </c:pt>
                <c:pt idx="25042">
                  <c:v>-0.107563025210083</c:v>
                </c:pt>
                <c:pt idx="25043">
                  <c:v>-0.107563025210083</c:v>
                </c:pt>
                <c:pt idx="25044">
                  <c:v>-0.107563025210083</c:v>
                </c:pt>
                <c:pt idx="25045">
                  <c:v>-0.107563025210083</c:v>
                </c:pt>
                <c:pt idx="25046">
                  <c:v>-0.107563025210083</c:v>
                </c:pt>
                <c:pt idx="25047">
                  <c:v>-0.108403361344537</c:v>
                </c:pt>
                <c:pt idx="25048">
                  <c:v>-0.108403361344537</c:v>
                </c:pt>
                <c:pt idx="25049">
                  <c:v>-0.108403361344537</c:v>
                </c:pt>
                <c:pt idx="25050">
                  <c:v>-0.108403361344537</c:v>
                </c:pt>
                <c:pt idx="25051">
                  <c:v>-0.108403361344537</c:v>
                </c:pt>
                <c:pt idx="25052">
                  <c:v>-0.108403361344537</c:v>
                </c:pt>
                <c:pt idx="25053">
                  <c:v>-0.107563025210083</c:v>
                </c:pt>
                <c:pt idx="25054">
                  <c:v>-0.107563025210083</c:v>
                </c:pt>
                <c:pt idx="25055">
                  <c:v>-0.107563025210083</c:v>
                </c:pt>
                <c:pt idx="25056">
                  <c:v>-0.107563025210083</c:v>
                </c:pt>
                <c:pt idx="25057">
                  <c:v>-0.107563025210083</c:v>
                </c:pt>
                <c:pt idx="25058">
                  <c:v>-0.107563025210083</c:v>
                </c:pt>
                <c:pt idx="25059">
                  <c:v>-0.107563025210083</c:v>
                </c:pt>
                <c:pt idx="25060">
                  <c:v>-0.107563025210083</c:v>
                </c:pt>
                <c:pt idx="25061">
                  <c:v>-0.107563025210083</c:v>
                </c:pt>
                <c:pt idx="25062">
                  <c:v>-0.107563025210083</c:v>
                </c:pt>
                <c:pt idx="25063">
                  <c:v>-0.107563025210083</c:v>
                </c:pt>
                <c:pt idx="25064">
                  <c:v>-0.107563025210083</c:v>
                </c:pt>
                <c:pt idx="25065">
                  <c:v>-0.107563025210083</c:v>
                </c:pt>
                <c:pt idx="25066">
                  <c:v>-0.107563025210083</c:v>
                </c:pt>
                <c:pt idx="25067">
                  <c:v>-0.107563025210083</c:v>
                </c:pt>
                <c:pt idx="25068">
                  <c:v>-0.107563025210083</c:v>
                </c:pt>
                <c:pt idx="25069">
                  <c:v>-0.107563025210083</c:v>
                </c:pt>
                <c:pt idx="25070">
                  <c:v>-0.107563025210083</c:v>
                </c:pt>
                <c:pt idx="25071">
                  <c:v>-0.107563025210083</c:v>
                </c:pt>
                <c:pt idx="25072">
                  <c:v>-0.107563025210083</c:v>
                </c:pt>
                <c:pt idx="25073">
                  <c:v>-0.107563025210083</c:v>
                </c:pt>
                <c:pt idx="25074">
                  <c:v>-0.107563025210083</c:v>
                </c:pt>
                <c:pt idx="25075">
                  <c:v>-0.107563025210083</c:v>
                </c:pt>
                <c:pt idx="25076">
                  <c:v>-0.107563025210083</c:v>
                </c:pt>
                <c:pt idx="25077">
                  <c:v>-0.107563025210083</c:v>
                </c:pt>
                <c:pt idx="25078">
                  <c:v>-0.107563025210083</c:v>
                </c:pt>
                <c:pt idx="25079">
                  <c:v>-0.107563025210083</c:v>
                </c:pt>
                <c:pt idx="25080">
                  <c:v>-0.107563025210083</c:v>
                </c:pt>
                <c:pt idx="25081">
                  <c:v>-0.107563025210083</c:v>
                </c:pt>
                <c:pt idx="25082">
                  <c:v>-0.107563025210083</c:v>
                </c:pt>
                <c:pt idx="25083">
                  <c:v>-0.107563025210083</c:v>
                </c:pt>
                <c:pt idx="25084">
                  <c:v>-0.107563025210083</c:v>
                </c:pt>
                <c:pt idx="25085">
                  <c:v>-0.107563025210083</c:v>
                </c:pt>
                <c:pt idx="25086">
                  <c:v>-0.107563025210083</c:v>
                </c:pt>
                <c:pt idx="25087">
                  <c:v>-0.107563025210083</c:v>
                </c:pt>
                <c:pt idx="25088">
                  <c:v>-0.107563025210083</c:v>
                </c:pt>
                <c:pt idx="25089">
                  <c:v>-0.107563025210083</c:v>
                </c:pt>
                <c:pt idx="25090">
                  <c:v>-0.107563025210083</c:v>
                </c:pt>
                <c:pt idx="25091">
                  <c:v>-0.107563025210083</c:v>
                </c:pt>
                <c:pt idx="25092">
                  <c:v>-0.107563025210083</c:v>
                </c:pt>
                <c:pt idx="25093">
                  <c:v>-0.107563025210083</c:v>
                </c:pt>
                <c:pt idx="25094">
                  <c:v>-0.107563025210083</c:v>
                </c:pt>
                <c:pt idx="25095">
                  <c:v>-0.107563025210083</c:v>
                </c:pt>
                <c:pt idx="25096">
                  <c:v>-0.107563025210083</c:v>
                </c:pt>
                <c:pt idx="25097">
                  <c:v>-0.107563025210083</c:v>
                </c:pt>
                <c:pt idx="25098">
                  <c:v>-0.107563025210083</c:v>
                </c:pt>
                <c:pt idx="25099">
                  <c:v>-0.107563025210083</c:v>
                </c:pt>
                <c:pt idx="25100">
                  <c:v>-0.107563025210083</c:v>
                </c:pt>
                <c:pt idx="25101">
                  <c:v>-0.10672268907563</c:v>
                </c:pt>
                <c:pt idx="25102">
                  <c:v>-0.10672268907563</c:v>
                </c:pt>
                <c:pt idx="25103">
                  <c:v>-0.10672268907563</c:v>
                </c:pt>
                <c:pt idx="25104">
                  <c:v>-0.10672268907563</c:v>
                </c:pt>
                <c:pt idx="25105">
                  <c:v>-0.10672268907563</c:v>
                </c:pt>
                <c:pt idx="25106">
                  <c:v>-0.10672268907563</c:v>
                </c:pt>
                <c:pt idx="25107">
                  <c:v>-0.10672268907563</c:v>
                </c:pt>
                <c:pt idx="25108">
                  <c:v>-0.10672268907563</c:v>
                </c:pt>
                <c:pt idx="25109">
                  <c:v>-0.10672268907563</c:v>
                </c:pt>
                <c:pt idx="25110">
                  <c:v>-0.10672268907563</c:v>
                </c:pt>
                <c:pt idx="25111">
                  <c:v>-0.10672268907563</c:v>
                </c:pt>
                <c:pt idx="25112">
                  <c:v>-0.10672268907563</c:v>
                </c:pt>
                <c:pt idx="25113">
                  <c:v>-0.10672268907563</c:v>
                </c:pt>
                <c:pt idx="25114">
                  <c:v>-0.10672268907563</c:v>
                </c:pt>
                <c:pt idx="25115">
                  <c:v>-0.10672268907563</c:v>
                </c:pt>
                <c:pt idx="25116">
                  <c:v>-0.10672268907563</c:v>
                </c:pt>
                <c:pt idx="25117">
                  <c:v>-0.10672268907563</c:v>
                </c:pt>
                <c:pt idx="25118">
                  <c:v>-0.10672268907563</c:v>
                </c:pt>
                <c:pt idx="25119">
                  <c:v>-0.10672268907563</c:v>
                </c:pt>
                <c:pt idx="25120">
                  <c:v>-0.10672268907563</c:v>
                </c:pt>
                <c:pt idx="25121">
                  <c:v>-0.10672268907563</c:v>
                </c:pt>
                <c:pt idx="25122">
                  <c:v>-0.10672268907563</c:v>
                </c:pt>
                <c:pt idx="25123">
                  <c:v>-0.10672268907563</c:v>
                </c:pt>
                <c:pt idx="25124">
                  <c:v>-0.10672268907563</c:v>
                </c:pt>
                <c:pt idx="25125">
                  <c:v>-0.10672268907563</c:v>
                </c:pt>
                <c:pt idx="25126">
                  <c:v>-0.10672268907563</c:v>
                </c:pt>
                <c:pt idx="25127">
                  <c:v>-0.10672268907563</c:v>
                </c:pt>
                <c:pt idx="25128">
                  <c:v>-0.10672268907563</c:v>
                </c:pt>
                <c:pt idx="25129">
                  <c:v>-0.10672268907563</c:v>
                </c:pt>
                <c:pt idx="25130">
                  <c:v>-0.10672268907563</c:v>
                </c:pt>
                <c:pt idx="25131">
                  <c:v>-0.10672268907563</c:v>
                </c:pt>
                <c:pt idx="25132">
                  <c:v>-0.10672268907563</c:v>
                </c:pt>
                <c:pt idx="25133">
                  <c:v>-0.10672268907563</c:v>
                </c:pt>
                <c:pt idx="25134">
                  <c:v>-0.10672268907563</c:v>
                </c:pt>
                <c:pt idx="25135">
                  <c:v>-0.10672268907563</c:v>
                </c:pt>
                <c:pt idx="25136">
                  <c:v>-0.10672268907563</c:v>
                </c:pt>
                <c:pt idx="25137">
                  <c:v>-0.10672268907563</c:v>
                </c:pt>
                <c:pt idx="25138">
                  <c:v>-0.10672268907563</c:v>
                </c:pt>
                <c:pt idx="25139">
                  <c:v>-0.10672268907563</c:v>
                </c:pt>
                <c:pt idx="25140">
                  <c:v>-0.10672268907563</c:v>
                </c:pt>
                <c:pt idx="25141">
                  <c:v>-0.10672268907563</c:v>
                </c:pt>
                <c:pt idx="25142">
                  <c:v>-0.10672268907563</c:v>
                </c:pt>
                <c:pt idx="25143">
                  <c:v>-0.10672268907563</c:v>
                </c:pt>
                <c:pt idx="25144">
                  <c:v>-0.10672268907563</c:v>
                </c:pt>
                <c:pt idx="25145">
                  <c:v>-0.10672268907563</c:v>
                </c:pt>
                <c:pt idx="25146">
                  <c:v>-0.10672268907563</c:v>
                </c:pt>
                <c:pt idx="25147">
                  <c:v>-0.10672268907563</c:v>
                </c:pt>
                <c:pt idx="25148">
                  <c:v>-0.10672268907563</c:v>
                </c:pt>
                <c:pt idx="25149">
                  <c:v>-0.10672268907563</c:v>
                </c:pt>
                <c:pt idx="25150">
                  <c:v>-0.10672268907563</c:v>
                </c:pt>
                <c:pt idx="25151">
                  <c:v>-0.10672268907563</c:v>
                </c:pt>
                <c:pt idx="25152">
                  <c:v>-0.10672268907563</c:v>
                </c:pt>
                <c:pt idx="25153">
                  <c:v>-0.10672268907563</c:v>
                </c:pt>
                <c:pt idx="25154">
                  <c:v>-0.10672268907563</c:v>
                </c:pt>
                <c:pt idx="25155">
                  <c:v>-0.10672268907563</c:v>
                </c:pt>
                <c:pt idx="25156">
                  <c:v>-0.10672268907563</c:v>
                </c:pt>
                <c:pt idx="25157">
                  <c:v>-0.10672268907563</c:v>
                </c:pt>
                <c:pt idx="25158">
                  <c:v>-0.10672268907563</c:v>
                </c:pt>
                <c:pt idx="25159">
                  <c:v>-0.10672268907563</c:v>
                </c:pt>
                <c:pt idx="25160">
                  <c:v>-0.10672268907563</c:v>
                </c:pt>
                <c:pt idx="25161">
                  <c:v>-0.10672268907563</c:v>
                </c:pt>
                <c:pt idx="25162">
                  <c:v>-0.10672268907563</c:v>
                </c:pt>
                <c:pt idx="25163">
                  <c:v>-0.10672268907563</c:v>
                </c:pt>
                <c:pt idx="25164">
                  <c:v>-0.10672268907563</c:v>
                </c:pt>
                <c:pt idx="25165">
                  <c:v>-0.10672268907563</c:v>
                </c:pt>
                <c:pt idx="25166">
                  <c:v>-0.10672268907563</c:v>
                </c:pt>
                <c:pt idx="25167">
                  <c:v>-0.10672268907563</c:v>
                </c:pt>
                <c:pt idx="25168">
                  <c:v>-0.10672268907563</c:v>
                </c:pt>
                <c:pt idx="25169">
                  <c:v>-0.10672268907563</c:v>
                </c:pt>
                <c:pt idx="25170">
                  <c:v>-0.10672268907563</c:v>
                </c:pt>
                <c:pt idx="25171">
                  <c:v>-0.10672268907563</c:v>
                </c:pt>
                <c:pt idx="25172">
                  <c:v>-0.10672268907563</c:v>
                </c:pt>
                <c:pt idx="25173">
                  <c:v>-0.10672268907563</c:v>
                </c:pt>
                <c:pt idx="25174">
                  <c:v>-0.10672268907563</c:v>
                </c:pt>
                <c:pt idx="25175">
                  <c:v>-0.10672268907563</c:v>
                </c:pt>
                <c:pt idx="25176">
                  <c:v>-0.10672268907563</c:v>
                </c:pt>
                <c:pt idx="25177">
                  <c:v>-0.10672268907563</c:v>
                </c:pt>
                <c:pt idx="25178">
                  <c:v>-0.10672268907563</c:v>
                </c:pt>
                <c:pt idx="25179">
                  <c:v>-0.10672268907563</c:v>
                </c:pt>
                <c:pt idx="25180">
                  <c:v>-0.10672268907563</c:v>
                </c:pt>
                <c:pt idx="25181">
                  <c:v>-0.10672268907563</c:v>
                </c:pt>
                <c:pt idx="25182">
                  <c:v>-0.10672268907563</c:v>
                </c:pt>
                <c:pt idx="25183">
                  <c:v>-0.10672268907563</c:v>
                </c:pt>
                <c:pt idx="25184">
                  <c:v>-0.10672268907563</c:v>
                </c:pt>
                <c:pt idx="25185">
                  <c:v>-0.10672268907563</c:v>
                </c:pt>
                <c:pt idx="25186">
                  <c:v>-0.10672268907563</c:v>
                </c:pt>
                <c:pt idx="25187">
                  <c:v>-0.10672268907563</c:v>
                </c:pt>
                <c:pt idx="25188">
                  <c:v>-0.10672268907563</c:v>
                </c:pt>
                <c:pt idx="25189">
                  <c:v>-0.10672268907563</c:v>
                </c:pt>
                <c:pt idx="25190">
                  <c:v>-0.10672268907563</c:v>
                </c:pt>
                <c:pt idx="25191">
                  <c:v>-0.10672268907563</c:v>
                </c:pt>
                <c:pt idx="25192">
                  <c:v>-0.10672268907563</c:v>
                </c:pt>
                <c:pt idx="25193">
                  <c:v>-0.107563025210083</c:v>
                </c:pt>
                <c:pt idx="25194">
                  <c:v>-0.107563025210083</c:v>
                </c:pt>
                <c:pt idx="25195">
                  <c:v>-0.107563025210083</c:v>
                </c:pt>
                <c:pt idx="25196">
                  <c:v>-0.108403361344537</c:v>
                </c:pt>
                <c:pt idx="25197">
                  <c:v>-0.108403361344537</c:v>
                </c:pt>
                <c:pt idx="25198">
                  <c:v>-0.108403361344537</c:v>
                </c:pt>
                <c:pt idx="25199">
                  <c:v>-0.108403361344537</c:v>
                </c:pt>
                <c:pt idx="25200">
                  <c:v>-0.109243697478991</c:v>
                </c:pt>
                <c:pt idx="25201">
                  <c:v>-0.109243697478991</c:v>
                </c:pt>
                <c:pt idx="25202">
                  <c:v>-0.109243697478991</c:v>
                </c:pt>
                <c:pt idx="25203">
                  <c:v>-0.109243697478991</c:v>
                </c:pt>
                <c:pt idx="25204">
                  <c:v>-0.109243697478991</c:v>
                </c:pt>
                <c:pt idx="25205">
                  <c:v>-0.109243697478991</c:v>
                </c:pt>
                <c:pt idx="25206">
                  <c:v>-0.109243697478991</c:v>
                </c:pt>
                <c:pt idx="25207">
                  <c:v>-0.109243697478991</c:v>
                </c:pt>
                <c:pt idx="25208">
                  <c:v>-0.109243697478991</c:v>
                </c:pt>
                <c:pt idx="25209">
                  <c:v>-0.108403361344537</c:v>
                </c:pt>
                <c:pt idx="25210">
                  <c:v>-0.108403361344537</c:v>
                </c:pt>
                <c:pt idx="25211">
                  <c:v>-0.108403361344537</c:v>
                </c:pt>
                <c:pt idx="25212">
                  <c:v>-0.108403361344537</c:v>
                </c:pt>
                <c:pt idx="25213">
                  <c:v>-0.108403361344537</c:v>
                </c:pt>
                <c:pt idx="25214">
                  <c:v>-0.108403361344537</c:v>
                </c:pt>
                <c:pt idx="25215">
                  <c:v>-0.108403361344537</c:v>
                </c:pt>
                <c:pt idx="25216">
                  <c:v>-0.108403361344537</c:v>
                </c:pt>
                <c:pt idx="25217">
                  <c:v>-0.108403361344537</c:v>
                </c:pt>
                <c:pt idx="25218">
                  <c:v>-0.108403361344537</c:v>
                </c:pt>
                <c:pt idx="25219">
                  <c:v>-0.108403361344537</c:v>
                </c:pt>
                <c:pt idx="25220">
                  <c:v>-0.108403361344537</c:v>
                </c:pt>
                <c:pt idx="25221">
                  <c:v>-0.108403361344537</c:v>
                </c:pt>
                <c:pt idx="25222">
                  <c:v>-0.108403361344537</c:v>
                </c:pt>
                <c:pt idx="25223">
                  <c:v>-0.108403361344537</c:v>
                </c:pt>
                <c:pt idx="25224">
                  <c:v>-0.108403361344537</c:v>
                </c:pt>
                <c:pt idx="25225">
                  <c:v>-0.108403361344537</c:v>
                </c:pt>
                <c:pt idx="25226">
                  <c:v>-0.108403361344537</c:v>
                </c:pt>
                <c:pt idx="25227">
                  <c:v>-0.108403361344537</c:v>
                </c:pt>
                <c:pt idx="25228">
                  <c:v>-0.108403361344537</c:v>
                </c:pt>
                <c:pt idx="25229">
                  <c:v>-0.108403361344537</c:v>
                </c:pt>
                <c:pt idx="25230">
                  <c:v>-0.108403361344537</c:v>
                </c:pt>
                <c:pt idx="25231">
                  <c:v>-0.108403361344537</c:v>
                </c:pt>
                <c:pt idx="25232">
                  <c:v>-0.108403361344537</c:v>
                </c:pt>
                <c:pt idx="25233">
                  <c:v>-0.108403361344537</c:v>
                </c:pt>
                <c:pt idx="25234">
                  <c:v>-0.108403361344537</c:v>
                </c:pt>
                <c:pt idx="25235">
                  <c:v>-0.108403361344537</c:v>
                </c:pt>
                <c:pt idx="25236">
                  <c:v>-0.108403361344537</c:v>
                </c:pt>
                <c:pt idx="25237">
                  <c:v>-0.108403361344537</c:v>
                </c:pt>
                <c:pt idx="25238">
                  <c:v>-0.108403361344537</c:v>
                </c:pt>
                <c:pt idx="25239">
                  <c:v>-0.108403361344537</c:v>
                </c:pt>
                <c:pt idx="25240">
                  <c:v>-0.108403361344537</c:v>
                </c:pt>
                <c:pt idx="25241">
                  <c:v>-0.108403361344537</c:v>
                </c:pt>
                <c:pt idx="25242">
                  <c:v>-0.108403361344537</c:v>
                </c:pt>
                <c:pt idx="25243">
                  <c:v>-0.108403361344537</c:v>
                </c:pt>
                <c:pt idx="25244">
                  <c:v>-0.108403361344537</c:v>
                </c:pt>
                <c:pt idx="25245">
                  <c:v>-0.108403361344537</c:v>
                </c:pt>
                <c:pt idx="25246">
                  <c:v>-0.108403361344537</c:v>
                </c:pt>
                <c:pt idx="25247">
                  <c:v>-0.108403361344537</c:v>
                </c:pt>
                <c:pt idx="25248">
                  <c:v>-0.108403361344537</c:v>
                </c:pt>
                <c:pt idx="25249">
                  <c:v>-0.108403361344537</c:v>
                </c:pt>
                <c:pt idx="25250">
                  <c:v>-0.108403361344537</c:v>
                </c:pt>
                <c:pt idx="25251">
                  <c:v>-0.108403361344537</c:v>
                </c:pt>
                <c:pt idx="25252">
                  <c:v>-0.108403361344537</c:v>
                </c:pt>
                <c:pt idx="25253">
                  <c:v>-0.107563025210083</c:v>
                </c:pt>
                <c:pt idx="25254">
                  <c:v>-0.107563025210083</c:v>
                </c:pt>
                <c:pt idx="25255">
                  <c:v>-0.107563025210083</c:v>
                </c:pt>
                <c:pt idx="25256">
                  <c:v>-0.107563025210083</c:v>
                </c:pt>
                <c:pt idx="25257">
                  <c:v>-0.107563025210083</c:v>
                </c:pt>
                <c:pt idx="25258">
                  <c:v>-0.107563025210083</c:v>
                </c:pt>
                <c:pt idx="25259">
                  <c:v>-0.107563025210083</c:v>
                </c:pt>
                <c:pt idx="25260">
                  <c:v>-0.107563025210083</c:v>
                </c:pt>
                <c:pt idx="25261">
                  <c:v>-0.107563025210083</c:v>
                </c:pt>
                <c:pt idx="25262">
                  <c:v>-0.107563025210083</c:v>
                </c:pt>
                <c:pt idx="25263">
                  <c:v>-0.10672268907563</c:v>
                </c:pt>
                <c:pt idx="25264">
                  <c:v>-0.10672268907563</c:v>
                </c:pt>
                <c:pt idx="25265">
                  <c:v>-0.10672268907563</c:v>
                </c:pt>
                <c:pt idx="25266">
                  <c:v>-0.10672268907563</c:v>
                </c:pt>
                <c:pt idx="25267">
                  <c:v>-0.10672268907563</c:v>
                </c:pt>
                <c:pt idx="25268">
                  <c:v>-0.10672268907563</c:v>
                </c:pt>
                <c:pt idx="25269">
                  <c:v>-0.10672268907563</c:v>
                </c:pt>
                <c:pt idx="25270">
                  <c:v>-0.10672268907563</c:v>
                </c:pt>
                <c:pt idx="25271">
                  <c:v>-0.10672268907563</c:v>
                </c:pt>
                <c:pt idx="25272">
                  <c:v>-0.10672268907563</c:v>
                </c:pt>
                <c:pt idx="25273">
                  <c:v>-0.10672268907563</c:v>
                </c:pt>
                <c:pt idx="25274">
                  <c:v>-0.10672268907563</c:v>
                </c:pt>
                <c:pt idx="25275">
                  <c:v>-0.10672268907563</c:v>
                </c:pt>
                <c:pt idx="25276">
                  <c:v>-0.10672268907563</c:v>
                </c:pt>
                <c:pt idx="25277">
                  <c:v>-0.105882352941176</c:v>
                </c:pt>
                <c:pt idx="25278">
                  <c:v>-0.105882352941176</c:v>
                </c:pt>
                <c:pt idx="25279">
                  <c:v>-0.105882352941176</c:v>
                </c:pt>
                <c:pt idx="25280">
                  <c:v>-0.105882352941176</c:v>
                </c:pt>
                <c:pt idx="25281">
                  <c:v>-0.105042016806722</c:v>
                </c:pt>
                <c:pt idx="25282">
                  <c:v>-0.105042016806722</c:v>
                </c:pt>
                <c:pt idx="25283">
                  <c:v>-0.105042016806722</c:v>
                </c:pt>
                <c:pt idx="25284">
                  <c:v>-0.105042016806722</c:v>
                </c:pt>
                <c:pt idx="25285">
                  <c:v>-0.105042016806722</c:v>
                </c:pt>
                <c:pt idx="25286">
                  <c:v>-0.105042016806722</c:v>
                </c:pt>
                <c:pt idx="25287">
                  <c:v>-0.105042016806722</c:v>
                </c:pt>
                <c:pt idx="25288">
                  <c:v>-0.105042016806722</c:v>
                </c:pt>
                <c:pt idx="25289">
                  <c:v>-0.105042016806722</c:v>
                </c:pt>
                <c:pt idx="25290">
                  <c:v>-0.105042016806722</c:v>
                </c:pt>
                <c:pt idx="25291">
                  <c:v>-0.105042016806722</c:v>
                </c:pt>
                <c:pt idx="25292">
                  <c:v>-0.105042016806722</c:v>
                </c:pt>
                <c:pt idx="25293">
                  <c:v>-0.105042016806722</c:v>
                </c:pt>
                <c:pt idx="25294">
                  <c:v>-0.105042016806722</c:v>
                </c:pt>
                <c:pt idx="25295">
                  <c:v>-0.105042016806722</c:v>
                </c:pt>
                <c:pt idx="25296">
                  <c:v>-0.105042016806722</c:v>
                </c:pt>
                <c:pt idx="25297">
                  <c:v>-0.105042016806722</c:v>
                </c:pt>
                <c:pt idx="25298">
                  <c:v>-0.105042016806722</c:v>
                </c:pt>
                <c:pt idx="25299">
                  <c:v>-0.105042016806722</c:v>
                </c:pt>
                <c:pt idx="25300">
                  <c:v>-0.105042016806722</c:v>
                </c:pt>
                <c:pt idx="25301">
                  <c:v>-0.105882352941176</c:v>
                </c:pt>
                <c:pt idx="25302">
                  <c:v>-0.105882352941176</c:v>
                </c:pt>
                <c:pt idx="25303">
                  <c:v>-0.105882352941176</c:v>
                </c:pt>
                <c:pt idx="25304">
                  <c:v>-0.105882352941176</c:v>
                </c:pt>
                <c:pt idx="25305">
                  <c:v>-0.105882352941176</c:v>
                </c:pt>
                <c:pt idx="25306">
                  <c:v>-0.105882352941176</c:v>
                </c:pt>
                <c:pt idx="25307">
                  <c:v>-0.105882352941176</c:v>
                </c:pt>
                <c:pt idx="25308">
                  <c:v>-0.105882352941176</c:v>
                </c:pt>
                <c:pt idx="25309">
                  <c:v>-0.105882352941176</c:v>
                </c:pt>
                <c:pt idx="25310">
                  <c:v>-0.105882352941176</c:v>
                </c:pt>
                <c:pt idx="25311">
                  <c:v>-0.105882352941176</c:v>
                </c:pt>
                <c:pt idx="25312">
                  <c:v>-0.105882352941176</c:v>
                </c:pt>
                <c:pt idx="25313">
                  <c:v>-0.105882352941176</c:v>
                </c:pt>
                <c:pt idx="25314">
                  <c:v>-0.10672268907563</c:v>
                </c:pt>
                <c:pt idx="25315">
                  <c:v>-0.10672268907563</c:v>
                </c:pt>
                <c:pt idx="25316">
                  <c:v>-0.10672268907563</c:v>
                </c:pt>
                <c:pt idx="25317">
                  <c:v>-0.105882352941176</c:v>
                </c:pt>
                <c:pt idx="25318">
                  <c:v>-0.105882352941176</c:v>
                </c:pt>
                <c:pt idx="25319">
                  <c:v>-0.105882352941176</c:v>
                </c:pt>
                <c:pt idx="25320">
                  <c:v>-0.105882352941176</c:v>
                </c:pt>
                <c:pt idx="25321">
                  <c:v>-0.105882352941176</c:v>
                </c:pt>
                <c:pt idx="25322">
                  <c:v>-0.105882352941176</c:v>
                </c:pt>
                <c:pt idx="25323">
                  <c:v>-0.105882352941176</c:v>
                </c:pt>
                <c:pt idx="25324">
                  <c:v>-0.105882352941176</c:v>
                </c:pt>
                <c:pt idx="25325">
                  <c:v>-0.105882352941176</c:v>
                </c:pt>
                <c:pt idx="25326">
                  <c:v>-0.105882352941176</c:v>
                </c:pt>
                <c:pt idx="25327">
                  <c:v>-0.105882352941176</c:v>
                </c:pt>
                <c:pt idx="25328">
                  <c:v>-0.105042016806722</c:v>
                </c:pt>
                <c:pt idx="25329">
                  <c:v>-0.105042016806722</c:v>
                </c:pt>
                <c:pt idx="25330">
                  <c:v>-0.105042016806722</c:v>
                </c:pt>
                <c:pt idx="25331">
                  <c:v>-0.104201680672268</c:v>
                </c:pt>
                <c:pt idx="25332">
                  <c:v>-0.104201680672268</c:v>
                </c:pt>
                <c:pt idx="25333">
                  <c:v>-0.104201680672268</c:v>
                </c:pt>
                <c:pt idx="25334">
                  <c:v>-0.104201680672268</c:v>
                </c:pt>
                <c:pt idx="25335">
                  <c:v>-0.104201680672268</c:v>
                </c:pt>
                <c:pt idx="25336">
                  <c:v>-0.104201680672268</c:v>
                </c:pt>
                <c:pt idx="25337">
                  <c:v>-0.104201680672268</c:v>
                </c:pt>
                <c:pt idx="25338">
                  <c:v>-0.104201680672268</c:v>
                </c:pt>
                <c:pt idx="25339">
                  <c:v>-0.104201680672268</c:v>
                </c:pt>
                <c:pt idx="25340">
                  <c:v>-0.104201680672268</c:v>
                </c:pt>
                <c:pt idx="25341">
                  <c:v>-0.104201680672268</c:v>
                </c:pt>
                <c:pt idx="25342">
                  <c:v>-0.104201680672268</c:v>
                </c:pt>
                <c:pt idx="25343">
                  <c:v>-0.104201680672268</c:v>
                </c:pt>
                <c:pt idx="25344">
                  <c:v>-0.104201680672268</c:v>
                </c:pt>
                <c:pt idx="25345">
                  <c:v>-0.104201680672268</c:v>
                </c:pt>
                <c:pt idx="25346">
                  <c:v>-0.104201680672268</c:v>
                </c:pt>
                <c:pt idx="25347">
                  <c:v>-0.104201680672268</c:v>
                </c:pt>
                <c:pt idx="25348">
                  <c:v>-0.104201680672268</c:v>
                </c:pt>
                <c:pt idx="25349">
                  <c:v>-0.104201680672268</c:v>
                </c:pt>
                <c:pt idx="25350">
                  <c:v>-0.104201680672268</c:v>
                </c:pt>
                <c:pt idx="25351">
                  <c:v>-0.104201680672268</c:v>
                </c:pt>
                <c:pt idx="25352">
                  <c:v>-0.104201680672268</c:v>
                </c:pt>
                <c:pt idx="25353">
                  <c:v>-0.104201680672268</c:v>
                </c:pt>
                <c:pt idx="25354">
                  <c:v>-0.104201680672268</c:v>
                </c:pt>
                <c:pt idx="25355">
                  <c:v>-0.104201680672268</c:v>
                </c:pt>
                <c:pt idx="25356">
                  <c:v>-0.104201680672268</c:v>
                </c:pt>
                <c:pt idx="25357">
                  <c:v>-0.105042016806722</c:v>
                </c:pt>
                <c:pt idx="25358">
                  <c:v>-0.105042016806722</c:v>
                </c:pt>
                <c:pt idx="25359">
                  <c:v>-0.105042016806722</c:v>
                </c:pt>
                <c:pt idx="25360">
                  <c:v>-0.105042016806722</c:v>
                </c:pt>
                <c:pt idx="25361">
                  <c:v>-0.105042016806722</c:v>
                </c:pt>
                <c:pt idx="25362">
                  <c:v>-0.105042016806722</c:v>
                </c:pt>
                <c:pt idx="25363">
                  <c:v>-0.105042016806722</c:v>
                </c:pt>
                <c:pt idx="25364">
                  <c:v>-0.105042016806722</c:v>
                </c:pt>
                <c:pt idx="25365">
                  <c:v>-0.105042016806722</c:v>
                </c:pt>
                <c:pt idx="25366">
                  <c:v>-0.105042016806722</c:v>
                </c:pt>
                <c:pt idx="25367">
                  <c:v>-0.104201680672268</c:v>
                </c:pt>
                <c:pt idx="25368">
                  <c:v>-0.104201680672268</c:v>
                </c:pt>
                <c:pt idx="25369">
                  <c:v>-0.104201680672268</c:v>
                </c:pt>
                <c:pt idx="25370">
                  <c:v>-0.104201680672268</c:v>
                </c:pt>
                <c:pt idx="25371">
                  <c:v>-0.104201680672268</c:v>
                </c:pt>
                <c:pt idx="25372">
                  <c:v>-0.104201680672268</c:v>
                </c:pt>
                <c:pt idx="25373">
                  <c:v>-0.104201680672268</c:v>
                </c:pt>
                <c:pt idx="25374">
                  <c:v>-0.104201680672268</c:v>
                </c:pt>
                <c:pt idx="25375">
                  <c:v>-0.104201680672268</c:v>
                </c:pt>
                <c:pt idx="25376">
                  <c:v>-0.104201680672268</c:v>
                </c:pt>
                <c:pt idx="25377">
                  <c:v>-0.104201680672268</c:v>
                </c:pt>
                <c:pt idx="25378">
                  <c:v>-0.104201680672268</c:v>
                </c:pt>
                <c:pt idx="25379">
                  <c:v>-0.104201680672268</c:v>
                </c:pt>
                <c:pt idx="25380">
                  <c:v>-0.104201680672268</c:v>
                </c:pt>
                <c:pt idx="25381">
                  <c:v>-0.104201680672268</c:v>
                </c:pt>
                <c:pt idx="25382">
                  <c:v>-0.104201680672268</c:v>
                </c:pt>
                <c:pt idx="25383">
                  <c:v>-0.104201680672268</c:v>
                </c:pt>
                <c:pt idx="25384">
                  <c:v>-0.104201680672268</c:v>
                </c:pt>
                <c:pt idx="25385">
                  <c:v>-0.104201680672268</c:v>
                </c:pt>
                <c:pt idx="25386">
                  <c:v>-0.105042016806722</c:v>
                </c:pt>
                <c:pt idx="25387">
                  <c:v>-0.105042016806722</c:v>
                </c:pt>
                <c:pt idx="25388">
                  <c:v>-0.105042016806722</c:v>
                </c:pt>
                <c:pt idx="25389">
                  <c:v>-0.105042016806722</c:v>
                </c:pt>
                <c:pt idx="25390">
                  <c:v>-0.105042016806722</c:v>
                </c:pt>
                <c:pt idx="25391">
                  <c:v>-0.105042016806722</c:v>
                </c:pt>
                <c:pt idx="25392">
                  <c:v>-0.105042016806722</c:v>
                </c:pt>
                <c:pt idx="25393">
                  <c:v>-0.105042016806722</c:v>
                </c:pt>
                <c:pt idx="25394">
                  <c:v>-0.105042016806722</c:v>
                </c:pt>
                <c:pt idx="25395">
                  <c:v>-0.105042016806722</c:v>
                </c:pt>
                <c:pt idx="25396">
                  <c:v>-0.105042016806722</c:v>
                </c:pt>
                <c:pt idx="25397">
                  <c:v>-0.105042016806722</c:v>
                </c:pt>
                <c:pt idx="25398">
                  <c:v>-0.105042016806722</c:v>
                </c:pt>
                <c:pt idx="25399">
                  <c:v>-0.105042016806722</c:v>
                </c:pt>
                <c:pt idx="25400">
                  <c:v>-0.105042016806722</c:v>
                </c:pt>
                <c:pt idx="25401">
                  <c:v>-0.105042016806722</c:v>
                </c:pt>
                <c:pt idx="25402">
                  <c:v>-0.105042016806722</c:v>
                </c:pt>
                <c:pt idx="25403">
                  <c:v>-0.105042016806722</c:v>
                </c:pt>
                <c:pt idx="25404">
                  <c:v>-0.105042016806722</c:v>
                </c:pt>
                <c:pt idx="25405">
                  <c:v>-0.105042016806722</c:v>
                </c:pt>
                <c:pt idx="25406">
                  <c:v>-0.105042016806722</c:v>
                </c:pt>
                <c:pt idx="25407">
                  <c:v>-0.105042016806722</c:v>
                </c:pt>
                <c:pt idx="25408">
                  <c:v>-0.105042016806722</c:v>
                </c:pt>
                <c:pt idx="25409">
                  <c:v>-0.105042016806722</c:v>
                </c:pt>
                <c:pt idx="25410">
                  <c:v>-0.105042016806722</c:v>
                </c:pt>
                <c:pt idx="25411">
                  <c:v>-0.105882352941176</c:v>
                </c:pt>
                <c:pt idx="25412">
                  <c:v>-0.105882352941176</c:v>
                </c:pt>
                <c:pt idx="25413">
                  <c:v>-0.105882352941176</c:v>
                </c:pt>
                <c:pt idx="25414">
                  <c:v>-0.105882352941176</c:v>
                </c:pt>
                <c:pt idx="25415">
                  <c:v>-0.105042016806722</c:v>
                </c:pt>
                <c:pt idx="25416">
                  <c:v>-0.105042016806722</c:v>
                </c:pt>
                <c:pt idx="25417">
                  <c:v>-0.105042016806722</c:v>
                </c:pt>
                <c:pt idx="25418">
                  <c:v>-0.105042016806722</c:v>
                </c:pt>
                <c:pt idx="25419">
                  <c:v>-0.105042016806722</c:v>
                </c:pt>
                <c:pt idx="25420">
                  <c:v>-0.105042016806722</c:v>
                </c:pt>
                <c:pt idx="25421">
                  <c:v>-0.105042016806722</c:v>
                </c:pt>
                <c:pt idx="25422">
                  <c:v>-0.105042016806722</c:v>
                </c:pt>
                <c:pt idx="25423">
                  <c:v>-0.105042016806722</c:v>
                </c:pt>
                <c:pt idx="25424">
                  <c:v>-0.105042016806722</c:v>
                </c:pt>
                <c:pt idx="25425">
                  <c:v>-0.105042016806722</c:v>
                </c:pt>
                <c:pt idx="25426">
                  <c:v>-0.105042016806722</c:v>
                </c:pt>
                <c:pt idx="25427">
                  <c:v>-0.105042016806722</c:v>
                </c:pt>
                <c:pt idx="25428">
                  <c:v>-0.105042016806722</c:v>
                </c:pt>
                <c:pt idx="25429">
                  <c:v>-0.105042016806722</c:v>
                </c:pt>
                <c:pt idx="25430">
                  <c:v>-0.105042016806722</c:v>
                </c:pt>
                <c:pt idx="25431">
                  <c:v>-0.105042016806722</c:v>
                </c:pt>
                <c:pt idx="25432">
                  <c:v>-0.105042016806722</c:v>
                </c:pt>
                <c:pt idx="25433">
                  <c:v>-0.105042016806722</c:v>
                </c:pt>
                <c:pt idx="25434">
                  <c:v>-0.105042016806722</c:v>
                </c:pt>
                <c:pt idx="25435">
                  <c:v>-0.105042016806722</c:v>
                </c:pt>
                <c:pt idx="25436">
                  <c:v>-0.105042016806722</c:v>
                </c:pt>
                <c:pt idx="25437">
                  <c:v>-0.105042016806722</c:v>
                </c:pt>
                <c:pt idx="25438">
                  <c:v>-0.105042016806722</c:v>
                </c:pt>
                <c:pt idx="25439">
                  <c:v>-0.105042016806722</c:v>
                </c:pt>
                <c:pt idx="25440">
                  <c:v>-0.105042016806722</c:v>
                </c:pt>
                <c:pt idx="25441">
                  <c:v>-0.105042016806722</c:v>
                </c:pt>
                <c:pt idx="25442">
                  <c:v>-0.105042016806722</c:v>
                </c:pt>
                <c:pt idx="25443">
                  <c:v>-0.105042016806722</c:v>
                </c:pt>
                <c:pt idx="25444">
                  <c:v>-0.105882352941176</c:v>
                </c:pt>
                <c:pt idx="25445">
                  <c:v>-0.105882352941176</c:v>
                </c:pt>
                <c:pt idx="25446">
                  <c:v>-0.105882352941176</c:v>
                </c:pt>
                <c:pt idx="25447">
                  <c:v>-0.105882352941176</c:v>
                </c:pt>
                <c:pt idx="25448">
                  <c:v>-0.105042016806722</c:v>
                </c:pt>
                <c:pt idx="25449">
                  <c:v>-0.105042016806722</c:v>
                </c:pt>
                <c:pt idx="25450">
                  <c:v>-0.105042016806722</c:v>
                </c:pt>
                <c:pt idx="25451">
                  <c:v>-0.105042016806722</c:v>
                </c:pt>
                <c:pt idx="25452">
                  <c:v>-0.105042016806722</c:v>
                </c:pt>
                <c:pt idx="25453">
                  <c:v>-0.105042016806722</c:v>
                </c:pt>
                <c:pt idx="25454">
                  <c:v>-0.105042016806722</c:v>
                </c:pt>
                <c:pt idx="25455">
                  <c:v>-0.105042016806722</c:v>
                </c:pt>
                <c:pt idx="25456">
                  <c:v>-0.105042016806722</c:v>
                </c:pt>
                <c:pt idx="25457">
                  <c:v>-0.105042016806722</c:v>
                </c:pt>
                <c:pt idx="25458">
                  <c:v>-0.105042016806722</c:v>
                </c:pt>
                <c:pt idx="25459">
                  <c:v>-0.105042016806722</c:v>
                </c:pt>
                <c:pt idx="25460">
                  <c:v>-0.105042016806722</c:v>
                </c:pt>
                <c:pt idx="25461">
                  <c:v>-0.105042016806722</c:v>
                </c:pt>
                <c:pt idx="25462">
                  <c:v>-0.105042016806722</c:v>
                </c:pt>
                <c:pt idx="25463">
                  <c:v>-0.105042016806722</c:v>
                </c:pt>
                <c:pt idx="25464">
                  <c:v>-0.105042016806722</c:v>
                </c:pt>
                <c:pt idx="25465">
                  <c:v>-0.105042016806722</c:v>
                </c:pt>
                <c:pt idx="25466">
                  <c:v>-0.105042016806722</c:v>
                </c:pt>
                <c:pt idx="25467">
                  <c:v>-0.105042016806722</c:v>
                </c:pt>
                <c:pt idx="25468">
                  <c:v>-0.105042016806722</c:v>
                </c:pt>
                <c:pt idx="25469">
                  <c:v>-0.105042016806722</c:v>
                </c:pt>
                <c:pt idx="25470">
                  <c:v>-0.105042016806722</c:v>
                </c:pt>
                <c:pt idx="25471">
                  <c:v>-0.105042016806722</c:v>
                </c:pt>
                <c:pt idx="25472">
                  <c:v>-0.105042016806722</c:v>
                </c:pt>
                <c:pt idx="25473">
                  <c:v>-0.105042016806722</c:v>
                </c:pt>
                <c:pt idx="25474">
                  <c:v>-0.105042016806722</c:v>
                </c:pt>
                <c:pt idx="25475">
                  <c:v>-0.105882352941176</c:v>
                </c:pt>
                <c:pt idx="25476">
                  <c:v>-0.105882352941176</c:v>
                </c:pt>
                <c:pt idx="25477">
                  <c:v>-0.105882352941176</c:v>
                </c:pt>
                <c:pt idx="25478">
                  <c:v>-0.105882352941176</c:v>
                </c:pt>
                <c:pt idx="25479">
                  <c:v>-0.105882352941176</c:v>
                </c:pt>
                <c:pt idx="25480">
                  <c:v>-0.105882352941176</c:v>
                </c:pt>
                <c:pt idx="25481">
                  <c:v>-0.105882352941176</c:v>
                </c:pt>
                <c:pt idx="25482">
                  <c:v>-0.105882352941176</c:v>
                </c:pt>
                <c:pt idx="25483">
                  <c:v>-0.105882352941176</c:v>
                </c:pt>
                <c:pt idx="25484">
                  <c:v>-0.105882352941176</c:v>
                </c:pt>
                <c:pt idx="25485">
                  <c:v>-0.105882352941176</c:v>
                </c:pt>
                <c:pt idx="25486">
                  <c:v>-0.105882352941176</c:v>
                </c:pt>
                <c:pt idx="25487">
                  <c:v>-0.105882352941176</c:v>
                </c:pt>
                <c:pt idx="25488">
                  <c:v>-0.105882352941176</c:v>
                </c:pt>
                <c:pt idx="25489">
                  <c:v>-0.105882352941176</c:v>
                </c:pt>
                <c:pt idx="25490">
                  <c:v>-0.105882352941176</c:v>
                </c:pt>
                <c:pt idx="25491">
                  <c:v>-0.105882352941176</c:v>
                </c:pt>
                <c:pt idx="25492">
                  <c:v>-0.105882352941176</c:v>
                </c:pt>
                <c:pt idx="25493">
                  <c:v>-0.10672268907563</c:v>
                </c:pt>
                <c:pt idx="25494">
                  <c:v>-0.10672268907563</c:v>
                </c:pt>
                <c:pt idx="25495">
                  <c:v>-0.10672268907563</c:v>
                </c:pt>
                <c:pt idx="25496">
                  <c:v>-0.10672268907563</c:v>
                </c:pt>
                <c:pt idx="25497">
                  <c:v>-0.10672268907563</c:v>
                </c:pt>
                <c:pt idx="25498">
                  <c:v>-0.10672268907563</c:v>
                </c:pt>
                <c:pt idx="25499">
                  <c:v>-0.10672268907563</c:v>
                </c:pt>
                <c:pt idx="25500">
                  <c:v>-0.10672268907563</c:v>
                </c:pt>
                <c:pt idx="25501">
                  <c:v>-0.10672268907563</c:v>
                </c:pt>
                <c:pt idx="25502">
                  <c:v>-0.10672268907563</c:v>
                </c:pt>
                <c:pt idx="25503">
                  <c:v>-0.10672268907563</c:v>
                </c:pt>
                <c:pt idx="25504">
                  <c:v>-0.10672268907563</c:v>
                </c:pt>
                <c:pt idx="25505">
                  <c:v>-0.10672268907563</c:v>
                </c:pt>
                <c:pt idx="25506">
                  <c:v>-0.10672268907563</c:v>
                </c:pt>
                <c:pt idx="25507">
                  <c:v>-0.10672268907563</c:v>
                </c:pt>
                <c:pt idx="25508">
                  <c:v>-0.10672268907563</c:v>
                </c:pt>
                <c:pt idx="25509">
                  <c:v>-0.10672268907563</c:v>
                </c:pt>
                <c:pt idx="25510">
                  <c:v>-0.107563025210083</c:v>
                </c:pt>
                <c:pt idx="25511">
                  <c:v>-0.107563025210083</c:v>
                </c:pt>
                <c:pt idx="25512">
                  <c:v>-0.107563025210083</c:v>
                </c:pt>
                <c:pt idx="25513">
                  <c:v>-0.10672268907563</c:v>
                </c:pt>
                <c:pt idx="25514">
                  <c:v>-0.10672268907563</c:v>
                </c:pt>
                <c:pt idx="25515">
                  <c:v>-0.10672268907563</c:v>
                </c:pt>
                <c:pt idx="25516">
                  <c:v>-0.10672268907563</c:v>
                </c:pt>
                <c:pt idx="25517">
                  <c:v>-0.10672268907563</c:v>
                </c:pt>
                <c:pt idx="25518">
                  <c:v>-0.10672268907563</c:v>
                </c:pt>
                <c:pt idx="25519">
                  <c:v>-0.10672268907563</c:v>
                </c:pt>
                <c:pt idx="25520">
                  <c:v>-0.10672268907563</c:v>
                </c:pt>
                <c:pt idx="25521">
                  <c:v>-0.10672268907563</c:v>
                </c:pt>
                <c:pt idx="25522">
                  <c:v>-0.10672268907563</c:v>
                </c:pt>
                <c:pt idx="25523">
                  <c:v>-0.10672268907563</c:v>
                </c:pt>
                <c:pt idx="25524">
                  <c:v>-0.10672268907563</c:v>
                </c:pt>
                <c:pt idx="25525">
                  <c:v>-0.10672268907563</c:v>
                </c:pt>
                <c:pt idx="25526">
                  <c:v>-0.10672268907563</c:v>
                </c:pt>
                <c:pt idx="25527">
                  <c:v>-0.10672268907563</c:v>
                </c:pt>
                <c:pt idx="25528">
                  <c:v>-0.10672268907563</c:v>
                </c:pt>
                <c:pt idx="25529">
                  <c:v>-0.10672268907563</c:v>
                </c:pt>
                <c:pt idx="25530">
                  <c:v>-0.10672268907563</c:v>
                </c:pt>
                <c:pt idx="25531">
                  <c:v>-0.10672268907563</c:v>
                </c:pt>
                <c:pt idx="25532">
                  <c:v>-0.10672268907563</c:v>
                </c:pt>
                <c:pt idx="25533">
                  <c:v>-0.10672268907563</c:v>
                </c:pt>
                <c:pt idx="25534">
                  <c:v>-0.10672268907563</c:v>
                </c:pt>
                <c:pt idx="25535">
                  <c:v>-0.10672268907563</c:v>
                </c:pt>
                <c:pt idx="25536">
                  <c:v>-0.10672268907563</c:v>
                </c:pt>
                <c:pt idx="25537">
                  <c:v>-0.10672268907563</c:v>
                </c:pt>
                <c:pt idx="25538">
                  <c:v>-0.10672268907563</c:v>
                </c:pt>
                <c:pt idx="25539">
                  <c:v>-0.10672268907563</c:v>
                </c:pt>
                <c:pt idx="25540">
                  <c:v>-0.10672268907563</c:v>
                </c:pt>
                <c:pt idx="25541">
                  <c:v>-0.10672268907563</c:v>
                </c:pt>
                <c:pt idx="25542">
                  <c:v>-0.10672268907563</c:v>
                </c:pt>
                <c:pt idx="25543">
                  <c:v>-0.10672268907563</c:v>
                </c:pt>
                <c:pt idx="25544">
                  <c:v>-0.10672268907563</c:v>
                </c:pt>
                <c:pt idx="25545">
                  <c:v>-0.10672268907563</c:v>
                </c:pt>
                <c:pt idx="25546">
                  <c:v>-0.10672268907563</c:v>
                </c:pt>
                <c:pt idx="25547">
                  <c:v>-0.10672268907563</c:v>
                </c:pt>
                <c:pt idx="25548">
                  <c:v>-0.10672268907563</c:v>
                </c:pt>
                <c:pt idx="25549">
                  <c:v>-0.10672268907563</c:v>
                </c:pt>
                <c:pt idx="25550">
                  <c:v>-0.10672268907563</c:v>
                </c:pt>
                <c:pt idx="25551">
                  <c:v>-0.10672268907563</c:v>
                </c:pt>
                <c:pt idx="25552">
                  <c:v>-0.10672268907563</c:v>
                </c:pt>
                <c:pt idx="25553">
                  <c:v>-0.10672268907563</c:v>
                </c:pt>
                <c:pt idx="25554">
                  <c:v>-0.10672268907563</c:v>
                </c:pt>
                <c:pt idx="25555">
                  <c:v>-0.10672268907563</c:v>
                </c:pt>
                <c:pt idx="25556">
                  <c:v>-0.10672268907563</c:v>
                </c:pt>
                <c:pt idx="25557">
                  <c:v>-0.10672268907563</c:v>
                </c:pt>
                <c:pt idx="25558">
                  <c:v>-0.10672268907563</c:v>
                </c:pt>
                <c:pt idx="25559">
                  <c:v>-0.107563025210084</c:v>
                </c:pt>
                <c:pt idx="25560">
                  <c:v>-0.107563025210084</c:v>
                </c:pt>
                <c:pt idx="25561">
                  <c:v>-0.107563025210084</c:v>
                </c:pt>
                <c:pt idx="25562">
                  <c:v>-0.107563025210084</c:v>
                </c:pt>
                <c:pt idx="25563">
                  <c:v>-0.107563025210084</c:v>
                </c:pt>
                <c:pt idx="25564">
                  <c:v>-0.107563025210084</c:v>
                </c:pt>
                <c:pt idx="25565">
                  <c:v>-0.107563025210084</c:v>
                </c:pt>
                <c:pt idx="25566">
                  <c:v>-0.107563025210084</c:v>
                </c:pt>
                <c:pt idx="25567">
                  <c:v>-0.107563025210084</c:v>
                </c:pt>
                <c:pt idx="25568">
                  <c:v>-0.107563025210084</c:v>
                </c:pt>
                <c:pt idx="25569">
                  <c:v>-0.107563025210084</c:v>
                </c:pt>
                <c:pt idx="25570">
                  <c:v>-0.107563025210084</c:v>
                </c:pt>
                <c:pt idx="25571">
                  <c:v>-0.107563025210084</c:v>
                </c:pt>
                <c:pt idx="25572">
                  <c:v>-0.107563025210084</c:v>
                </c:pt>
                <c:pt idx="25573">
                  <c:v>-0.107563025210084</c:v>
                </c:pt>
                <c:pt idx="25574">
                  <c:v>-0.107563025210084</c:v>
                </c:pt>
                <c:pt idx="25575">
                  <c:v>-0.107563025210084</c:v>
                </c:pt>
                <c:pt idx="25576">
                  <c:v>-0.107563025210084</c:v>
                </c:pt>
                <c:pt idx="25577">
                  <c:v>-0.107563025210084</c:v>
                </c:pt>
                <c:pt idx="25578">
                  <c:v>-0.107563025210084</c:v>
                </c:pt>
                <c:pt idx="25579">
                  <c:v>-0.107563025210084</c:v>
                </c:pt>
                <c:pt idx="25580">
                  <c:v>-0.107563025210084</c:v>
                </c:pt>
                <c:pt idx="25581">
                  <c:v>-0.107563025210084</c:v>
                </c:pt>
                <c:pt idx="25582">
                  <c:v>-0.107563025210084</c:v>
                </c:pt>
                <c:pt idx="25583">
                  <c:v>-0.107563025210084</c:v>
                </c:pt>
                <c:pt idx="25584">
                  <c:v>-0.107563025210084</c:v>
                </c:pt>
                <c:pt idx="25585">
                  <c:v>-0.107563025210084</c:v>
                </c:pt>
                <c:pt idx="25586">
                  <c:v>-0.107563025210084</c:v>
                </c:pt>
                <c:pt idx="25587">
                  <c:v>-0.107563025210084</c:v>
                </c:pt>
                <c:pt idx="25588">
                  <c:v>-0.107563025210084</c:v>
                </c:pt>
                <c:pt idx="25589">
                  <c:v>-0.107563025210084</c:v>
                </c:pt>
                <c:pt idx="25590">
                  <c:v>-0.107563025210084</c:v>
                </c:pt>
                <c:pt idx="25591">
                  <c:v>-0.107563025210084</c:v>
                </c:pt>
                <c:pt idx="25592">
                  <c:v>-0.108403361344537</c:v>
                </c:pt>
                <c:pt idx="25593">
                  <c:v>-0.108403361344537</c:v>
                </c:pt>
                <c:pt idx="25594">
                  <c:v>-0.108403361344537</c:v>
                </c:pt>
                <c:pt idx="25595">
                  <c:v>-0.108403361344537</c:v>
                </c:pt>
                <c:pt idx="25596">
                  <c:v>-0.108403361344537</c:v>
                </c:pt>
                <c:pt idx="25597">
                  <c:v>-0.108403361344537</c:v>
                </c:pt>
                <c:pt idx="25598">
                  <c:v>-0.108403361344537</c:v>
                </c:pt>
                <c:pt idx="25599">
                  <c:v>-0.108403361344537</c:v>
                </c:pt>
                <c:pt idx="25600">
                  <c:v>-0.108403361344537</c:v>
                </c:pt>
                <c:pt idx="25601">
                  <c:v>-0.108403361344537</c:v>
                </c:pt>
                <c:pt idx="25602">
                  <c:v>-0.108403361344537</c:v>
                </c:pt>
                <c:pt idx="25603">
                  <c:v>-0.108403361344537</c:v>
                </c:pt>
                <c:pt idx="25604">
                  <c:v>-0.108403361344537</c:v>
                </c:pt>
                <c:pt idx="25605">
                  <c:v>-0.108403361344537</c:v>
                </c:pt>
                <c:pt idx="25606">
                  <c:v>-0.108403361344537</c:v>
                </c:pt>
                <c:pt idx="25607">
                  <c:v>-0.108403361344537</c:v>
                </c:pt>
                <c:pt idx="25608">
                  <c:v>-0.108403361344537</c:v>
                </c:pt>
                <c:pt idx="25609">
                  <c:v>-0.108403361344537</c:v>
                </c:pt>
                <c:pt idx="25610">
                  <c:v>-0.108403361344537</c:v>
                </c:pt>
                <c:pt idx="25611">
                  <c:v>-0.108403361344537</c:v>
                </c:pt>
                <c:pt idx="25612">
                  <c:v>-0.108403361344537</c:v>
                </c:pt>
                <c:pt idx="25613">
                  <c:v>-0.108403361344537</c:v>
                </c:pt>
                <c:pt idx="25614">
                  <c:v>-0.108403361344537</c:v>
                </c:pt>
                <c:pt idx="25615">
                  <c:v>-0.108403361344537</c:v>
                </c:pt>
                <c:pt idx="25616">
                  <c:v>-0.108403361344537</c:v>
                </c:pt>
                <c:pt idx="25617">
                  <c:v>-0.108403361344537</c:v>
                </c:pt>
                <c:pt idx="25618">
                  <c:v>-0.108403361344537</c:v>
                </c:pt>
                <c:pt idx="25619">
                  <c:v>-0.108403361344537</c:v>
                </c:pt>
                <c:pt idx="25620">
                  <c:v>-0.108403361344537</c:v>
                </c:pt>
                <c:pt idx="25621">
                  <c:v>-0.108403361344537</c:v>
                </c:pt>
                <c:pt idx="25622">
                  <c:v>-0.108403361344537</c:v>
                </c:pt>
                <c:pt idx="25623">
                  <c:v>-0.108403361344537</c:v>
                </c:pt>
                <c:pt idx="25624">
                  <c:v>-0.108403361344537</c:v>
                </c:pt>
                <c:pt idx="25625">
                  <c:v>-0.108403361344537</c:v>
                </c:pt>
                <c:pt idx="25626">
                  <c:v>-0.108403361344537</c:v>
                </c:pt>
                <c:pt idx="25627">
                  <c:v>-0.108403361344537</c:v>
                </c:pt>
                <c:pt idx="25628">
                  <c:v>-0.108403361344537</c:v>
                </c:pt>
                <c:pt idx="25629">
                  <c:v>-0.108403361344537</c:v>
                </c:pt>
                <c:pt idx="25630">
                  <c:v>-0.108403361344537</c:v>
                </c:pt>
                <c:pt idx="25631">
                  <c:v>-0.108403361344537</c:v>
                </c:pt>
                <c:pt idx="25632">
                  <c:v>-0.108403361344537</c:v>
                </c:pt>
                <c:pt idx="25633">
                  <c:v>-0.108403361344537</c:v>
                </c:pt>
                <c:pt idx="25634">
                  <c:v>-0.108403361344537</c:v>
                </c:pt>
                <c:pt idx="25635">
                  <c:v>-0.108403361344537</c:v>
                </c:pt>
                <c:pt idx="25636">
                  <c:v>-0.108403361344537</c:v>
                </c:pt>
                <c:pt idx="25637">
                  <c:v>-0.108403361344537</c:v>
                </c:pt>
                <c:pt idx="25638">
                  <c:v>-0.107563025210084</c:v>
                </c:pt>
                <c:pt idx="25639">
                  <c:v>-0.107563025210084</c:v>
                </c:pt>
                <c:pt idx="25640">
                  <c:v>-0.107563025210084</c:v>
                </c:pt>
                <c:pt idx="25641">
                  <c:v>-0.107563025210084</c:v>
                </c:pt>
                <c:pt idx="25642">
                  <c:v>-0.107563025210084</c:v>
                </c:pt>
                <c:pt idx="25643">
                  <c:v>-0.107563025210084</c:v>
                </c:pt>
                <c:pt idx="25644">
                  <c:v>-0.107563025210084</c:v>
                </c:pt>
                <c:pt idx="25645">
                  <c:v>-0.107563025210084</c:v>
                </c:pt>
                <c:pt idx="25646">
                  <c:v>-0.107563025210084</c:v>
                </c:pt>
                <c:pt idx="25647">
                  <c:v>-0.107563025210084</c:v>
                </c:pt>
                <c:pt idx="25648">
                  <c:v>-0.107563025210084</c:v>
                </c:pt>
                <c:pt idx="25649">
                  <c:v>-0.107563025210084</c:v>
                </c:pt>
                <c:pt idx="25650">
                  <c:v>-0.107563025210084</c:v>
                </c:pt>
                <c:pt idx="25651">
                  <c:v>-0.107563025210084</c:v>
                </c:pt>
                <c:pt idx="25652">
                  <c:v>-0.107563025210084</c:v>
                </c:pt>
                <c:pt idx="25653">
                  <c:v>-0.107563025210084</c:v>
                </c:pt>
                <c:pt idx="25654">
                  <c:v>-0.107563025210084</c:v>
                </c:pt>
                <c:pt idx="25655">
                  <c:v>-0.107563025210084</c:v>
                </c:pt>
                <c:pt idx="25656">
                  <c:v>-0.107563025210084</c:v>
                </c:pt>
                <c:pt idx="25657">
                  <c:v>-0.107563025210084</c:v>
                </c:pt>
                <c:pt idx="25658">
                  <c:v>-0.107563025210084</c:v>
                </c:pt>
                <c:pt idx="25659">
                  <c:v>-0.107563025210084</c:v>
                </c:pt>
                <c:pt idx="25660">
                  <c:v>-0.107563025210084</c:v>
                </c:pt>
                <c:pt idx="25661">
                  <c:v>-0.107563025210084</c:v>
                </c:pt>
                <c:pt idx="25662">
                  <c:v>-0.107563025210084</c:v>
                </c:pt>
                <c:pt idx="25663">
                  <c:v>-0.107563025210084</c:v>
                </c:pt>
                <c:pt idx="25664">
                  <c:v>-0.107563025210084</c:v>
                </c:pt>
                <c:pt idx="25665">
                  <c:v>-0.107563025210084</c:v>
                </c:pt>
                <c:pt idx="25666">
                  <c:v>-0.107563025210084</c:v>
                </c:pt>
                <c:pt idx="25667">
                  <c:v>-0.107563025210084</c:v>
                </c:pt>
                <c:pt idx="25668">
                  <c:v>-0.107563025210084</c:v>
                </c:pt>
                <c:pt idx="25669">
                  <c:v>-0.107563025210084</c:v>
                </c:pt>
                <c:pt idx="25670">
                  <c:v>-0.107563025210084</c:v>
                </c:pt>
                <c:pt idx="25671">
                  <c:v>-0.107563025210084</c:v>
                </c:pt>
                <c:pt idx="25672">
                  <c:v>-0.107563025210084</c:v>
                </c:pt>
                <c:pt idx="25673">
                  <c:v>-0.107563025210084</c:v>
                </c:pt>
                <c:pt idx="25674">
                  <c:v>-0.107563025210084</c:v>
                </c:pt>
                <c:pt idx="25675">
                  <c:v>-0.107563025210084</c:v>
                </c:pt>
                <c:pt idx="25676">
                  <c:v>-0.107563025210084</c:v>
                </c:pt>
                <c:pt idx="25677">
                  <c:v>-0.107563025210084</c:v>
                </c:pt>
                <c:pt idx="25678">
                  <c:v>-0.107563025210084</c:v>
                </c:pt>
                <c:pt idx="25679">
                  <c:v>-0.107563025210084</c:v>
                </c:pt>
                <c:pt idx="25680">
                  <c:v>-0.107563025210084</c:v>
                </c:pt>
                <c:pt idx="25681">
                  <c:v>-0.107563025210084</c:v>
                </c:pt>
                <c:pt idx="25682">
                  <c:v>-0.107563025210084</c:v>
                </c:pt>
                <c:pt idx="25683">
                  <c:v>-0.107563025210084</c:v>
                </c:pt>
                <c:pt idx="25684">
                  <c:v>-0.107563025210084</c:v>
                </c:pt>
                <c:pt idx="25685">
                  <c:v>-0.107563025210084</c:v>
                </c:pt>
                <c:pt idx="25686">
                  <c:v>-0.107563025210084</c:v>
                </c:pt>
                <c:pt idx="25687">
                  <c:v>-0.107563025210084</c:v>
                </c:pt>
                <c:pt idx="25688">
                  <c:v>-0.107563025210084</c:v>
                </c:pt>
                <c:pt idx="25689">
                  <c:v>-0.107563025210084</c:v>
                </c:pt>
                <c:pt idx="25690">
                  <c:v>-0.107563025210084</c:v>
                </c:pt>
                <c:pt idx="25691">
                  <c:v>-0.10672268907563</c:v>
                </c:pt>
                <c:pt idx="25692">
                  <c:v>-0.10672268907563</c:v>
                </c:pt>
                <c:pt idx="25693">
                  <c:v>-0.10672268907563</c:v>
                </c:pt>
                <c:pt idx="25694">
                  <c:v>-0.10672268907563</c:v>
                </c:pt>
                <c:pt idx="25695">
                  <c:v>-0.10672268907563</c:v>
                </c:pt>
                <c:pt idx="25696">
                  <c:v>-0.10672268907563</c:v>
                </c:pt>
                <c:pt idx="25697">
                  <c:v>-0.10672268907563</c:v>
                </c:pt>
                <c:pt idx="25698">
                  <c:v>-0.10672268907563</c:v>
                </c:pt>
                <c:pt idx="25699">
                  <c:v>-0.10672268907563</c:v>
                </c:pt>
                <c:pt idx="25700">
                  <c:v>-0.107563025210084</c:v>
                </c:pt>
                <c:pt idx="25701">
                  <c:v>-0.107563025210084</c:v>
                </c:pt>
                <c:pt idx="25702">
                  <c:v>-0.107563025210084</c:v>
                </c:pt>
                <c:pt idx="25703">
                  <c:v>-0.107563025210084</c:v>
                </c:pt>
                <c:pt idx="25704">
                  <c:v>-0.107563025210084</c:v>
                </c:pt>
                <c:pt idx="25705">
                  <c:v>-0.107563025210084</c:v>
                </c:pt>
                <c:pt idx="25706">
                  <c:v>-0.107563025210084</c:v>
                </c:pt>
                <c:pt idx="25707">
                  <c:v>-0.107563025210084</c:v>
                </c:pt>
                <c:pt idx="25708">
                  <c:v>-0.107563025210084</c:v>
                </c:pt>
                <c:pt idx="25709">
                  <c:v>-0.107563025210084</c:v>
                </c:pt>
                <c:pt idx="25710">
                  <c:v>-0.107563025210084</c:v>
                </c:pt>
                <c:pt idx="25711">
                  <c:v>-0.107563025210084</c:v>
                </c:pt>
                <c:pt idx="25712">
                  <c:v>-0.107563025210084</c:v>
                </c:pt>
                <c:pt idx="25713">
                  <c:v>-0.107563025210084</c:v>
                </c:pt>
                <c:pt idx="25714">
                  <c:v>-0.107563025210084</c:v>
                </c:pt>
                <c:pt idx="25715">
                  <c:v>-0.107563025210084</c:v>
                </c:pt>
                <c:pt idx="25716">
                  <c:v>-0.107563025210084</c:v>
                </c:pt>
                <c:pt idx="25717">
                  <c:v>-0.107563025210084</c:v>
                </c:pt>
                <c:pt idx="25718">
                  <c:v>-0.107563025210084</c:v>
                </c:pt>
                <c:pt idx="25719">
                  <c:v>-0.107563025210084</c:v>
                </c:pt>
                <c:pt idx="25720">
                  <c:v>-0.107563025210084</c:v>
                </c:pt>
                <c:pt idx="25721">
                  <c:v>-0.107563025210084</c:v>
                </c:pt>
                <c:pt idx="25722">
                  <c:v>-0.107563025210084</c:v>
                </c:pt>
                <c:pt idx="25723">
                  <c:v>-0.107563025210084</c:v>
                </c:pt>
                <c:pt idx="25724">
                  <c:v>-0.107563025210084</c:v>
                </c:pt>
                <c:pt idx="25725">
                  <c:v>-0.107563025210084</c:v>
                </c:pt>
                <c:pt idx="25726">
                  <c:v>-0.107563025210084</c:v>
                </c:pt>
                <c:pt idx="25727">
                  <c:v>-0.107563025210084</c:v>
                </c:pt>
                <c:pt idx="25728">
                  <c:v>-0.10672268907563</c:v>
                </c:pt>
                <c:pt idx="25729">
                  <c:v>-0.10672268907563</c:v>
                </c:pt>
                <c:pt idx="25730">
                  <c:v>-0.10672268907563</c:v>
                </c:pt>
                <c:pt idx="25731">
                  <c:v>-0.10672268907563</c:v>
                </c:pt>
                <c:pt idx="25732">
                  <c:v>-0.10672268907563</c:v>
                </c:pt>
                <c:pt idx="25733">
                  <c:v>-0.10672268907563</c:v>
                </c:pt>
                <c:pt idx="25734">
                  <c:v>-0.10672268907563</c:v>
                </c:pt>
                <c:pt idx="25735">
                  <c:v>-0.10672268907563</c:v>
                </c:pt>
                <c:pt idx="25736">
                  <c:v>-0.10672268907563</c:v>
                </c:pt>
                <c:pt idx="25737">
                  <c:v>-0.10672268907563</c:v>
                </c:pt>
                <c:pt idx="25738">
                  <c:v>-0.10672268907563</c:v>
                </c:pt>
                <c:pt idx="25739">
                  <c:v>-0.10672268907563</c:v>
                </c:pt>
                <c:pt idx="25740">
                  <c:v>-0.105882352941176</c:v>
                </c:pt>
                <c:pt idx="25741">
                  <c:v>-0.105882352941176</c:v>
                </c:pt>
                <c:pt idx="25742">
                  <c:v>-0.105882352941176</c:v>
                </c:pt>
                <c:pt idx="25743">
                  <c:v>-0.105882352941176</c:v>
                </c:pt>
                <c:pt idx="25744">
                  <c:v>-0.105882352941176</c:v>
                </c:pt>
                <c:pt idx="25745">
                  <c:v>-0.105882352941176</c:v>
                </c:pt>
                <c:pt idx="25746">
                  <c:v>-0.105882352941176</c:v>
                </c:pt>
                <c:pt idx="25747">
                  <c:v>-0.105882352941176</c:v>
                </c:pt>
                <c:pt idx="25748">
                  <c:v>-0.105882352941176</c:v>
                </c:pt>
                <c:pt idx="25749">
                  <c:v>-0.105882352941176</c:v>
                </c:pt>
                <c:pt idx="25750">
                  <c:v>-0.105882352941176</c:v>
                </c:pt>
                <c:pt idx="25751">
                  <c:v>-0.105882352941176</c:v>
                </c:pt>
                <c:pt idx="25752">
                  <c:v>-0.105882352941176</c:v>
                </c:pt>
                <c:pt idx="25753">
                  <c:v>-0.105882352941176</c:v>
                </c:pt>
                <c:pt idx="25754">
                  <c:v>-0.105882352941176</c:v>
                </c:pt>
                <c:pt idx="25755">
                  <c:v>-0.105882352941176</c:v>
                </c:pt>
                <c:pt idx="25756">
                  <c:v>-0.105882352941176</c:v>
                </c:pt>
                <c:pt idx="25757">
                  <c:v>-0.105882352941176</c:v>
                </c:pt>
                <c:pt idx="25758">
                  <c:v>-0.105882352941176</c:v>
                </c:pt>
                <c:pt idx="25759">
                  <c:v>-0.105882352941176</c:v>
                </c:pt>
                <c:pt idx="25760">
                  <c:v>-0.105882352941176</c:v>
                </c:pt>
                <c:pt idx="25761">
                  <c:v>-0.105882352941176</c:v>
                </c:pt>
                <c:pt idx="25762">
                  <c:v>-0.105882352941176</c:v>
                </c:pt>
                <c:pt idx="25763">
                  <c:v>-0.105882352941176</c:v>
                </c:pt>
                <c:pt idx="25764">
                  <c:v>-0.105882352941176</c:v>
                </c:pt>
                <c:pt idx="25765">
                  <c:v>-0.105882352941176</c:v>
                </c:pt>
                <c:pt idx="25766">
                  <c:v>-0.105882352941176</c:v>
                </c:pt>
                <c:pt idx="25767">
                  <c:v>-0.105882352941176</c:v>
                </c:pt>
                <c:pt idx="25768">
                  <c:v>-0.10672268907563</c:v>
                </c:pt>
                <c:pt idx="25769">
                  <c:v>-0.10672268907563</c:v>
                </c:pt>
                <c:pt idx="25770">
                  <c:v>-0.10672268907563</c:v>
                </c:pt>
                <c:pt idx="25771">
                  <c:v>-0.10672268907563</c:v>
                </c:pt>
                <c:pt idx="25772">
                  <c:v>-0.10672268907563</c:v>
                </c:pt>
                <c:pt idx="25773">
                  <c:v>-0.10672268907563</c:v>
                </c:pt>
                <c:pt idx="25774">
                  <c:v>-0.10672268907563</c:v>
                </c:pt>
                <c:pt idx="25775">
                  <c:v>-0.10672268907563</c:v>
                </c:pt>
                <c:pt idx="25776">
                  <c:v>-0.10672268907563</c:v>
                </c:pt>
                <c:pt idx="25777">
                  <c:v>-0.10672268907563</c:v>
                </c:pt>
                <c:pt idx="25778">
                  <c:v>-0.10672268907563</c:v>
                </c:pt>
                <c:pt idx="25779">
                  <c:v>-0.10672268907563</c:v>
                </c:pt>
                <c:pt idx="25780">
                  <c:v>-0.10672268907563</c:v>
                </c:pt>
                <c:pt idx="25781">
                  <c:v>-0.10672268907563</c:v>
                </c:pt>
                <c:pt idx="25782">
                  <c:v>-0.10672268907563</c:v>
                </c:pt>
                <c:pt idx="25783">
                  <c:v>-0.10672268907563</c:v>
                </c:pt>
                <c:pt idx="25784">
                  <c:v>-0.10672268907563</c:v>
                </c:pt>
                <c:pt idx="25785">
                  <c:v>-0.10672268907563</c:v>
                </c:pt>
                <c:pt idx="25786">
                  <c:v>-0.10672268907563</c:v>
                </c:pt>
                <c:pt idx="25787">
                  <c:v>-0.10672268907563</c:v>
                </c:pt>
                <c:pt idx="25788">
                  <c:v>-0.10672268907563</c:v>
                </c:pt>
                <c:pt idx="25789">
                  <c:v>-0.10672268907563</c:v>
                </c:pt>
                <c:pt idx="25790">
                  <c:v>-0.10672268907563</c:v>
                </c:pt>
                <c:pt idx="25791">
                  <c:v>-0.10672268907563</c:v>
                </c:pt>
                <c:pt idx="25792">
                  <c:v>-0.10672268907563</c:v>
                </c:pt>
                <c:pt idx="25793">
                  <c:v>-0.10672268907563</c:v>
                </c:pt>
                <c:pt idx="25794">
                  <c:v>-0.10672268907563</c:v>
                </c:pt>
                <c:pt idx="25795">
                  <c:v>-0.10672268907563</c:v>
                </c:pt>
                <c:pt idx="25796">
                  <c:v>-0.10672268907563</c:v>
                </c:pt>
                <c:pt idx="25797">
                  <c:v>-0.10672268907563</c:v>
                </c:pt>
                <c:pt idx="25798">
                  <c:v>-0.10672268907563</c:v>
                </c:pt>
                <c:pt idx="25799">
                  <c:v>-0.10672268907563</c:v>
                </c:pt>
                <c:pt idx="25800">
                  <c:v>-0.10672268907563</c:v>
                </c:pt>
                <c:pt idx="25801">
                  <c:v>-0.10672268907563</c:v>
                </c:pt>
                <c:pt idx="25802">
                  <c:v>-0.10672268907563</c:v>
                </c:pt>
                <c:pt idx="25803">
                  <c:v>-0.10672268907563</c:v>
                </c:pt>
                <c:pt idx="25804">
                  <c:v>-0.10672268907563</c:v>
                </c:pt>
                <c:pt idx="25805">
                  <c:v>-0.10672268907563</c:v>
                </c:pt>
                <c:pt idx="25806">
                  <c:v>-0.105882352941176</c:v>
                </c:pt>
                <c:pt idx="25807">
                  <c:v>-0.105882352941176</c:v>
                </c:pt>
                <c:pt idx="25808">
                  <c:v>-0.105882352941176</c:v>
                </c:pt>
                <c:pt idx="25809">
                  <c:v>-0.105882352941176</c:v>
                </c:pt>
                <c:pt idx="25810">
                  <c:v>-0.105882352941176</c:v>
                </c:pt>
                <c:pt idx="25811">
                  <c:v>-0.105882352941176</c:v>
                </c:pt>
                <c:pt idx="25812">
                  <c:v>-0.105882352941176</c:v>
                </c:pt>
                <c:pt idx="25813">
                  <c:v>-0.105882352941176</c:v>
                </c:pt>
                <c:pt idx="25814">
                  <c:v>-0.105882352941176</c:v>
                </c:pt>
                <c:pt idx="25815">
                  <c:v>-0.105882352941176</c:v>
                </c:pt>
                <c:pt idx="25816">
                  <c:v>-0.105882352941176</c:v>
                </c:pt>
                <c:pt idx="25817">
                  <c:v>-0.105882352941176</c:v>
                </c:pt>
                <c:pt idx="25818">
                  <c:v>-0.105882352941176</c:v>
                </c:pt>
                <c:pt idx="25819">
                  <c:v>-0.105882352941176</c:v>
                </c:pt>
                <c:pt idx="25820">
                  <c:v>-0.105882352941176</c:v>
                </c:pt>
                <c:pt idx="25821">
                  <c:v>-0.105882352941176</c:v>
                </c:pt>
                <c:pt idx="25822">
                  <c:v>-0.105882352941176</c:v>
                </c:pt>
                <c:pt idx="25823">
                  <c:v>-0.105882352941176</c:v>
                </c:pt>
                <c:pt idx="25824">
                  <c:v>-0.105882352941176</c:v>
                </c:pt>
                <c:pt idx="25825">
                  <c:v>-0.105882352941176</c:v>
                </c:pt>
                <c:pt idx="25826">
                  <c:v>-0.10672268907563</c:v>
                </c:pt>
                <c:pt idx="25827">
                  <c:v>-0.10672268907563</c:v>
                </c:pt>
                <c:pt idx="25828">
                  <c:v>-0.10672268907563</c:v>
                </c:pt>
                <c:pt idx="25829">
                  <c:v>-0.10672268907563</c:v>
                </c:pt>
                <c:pt idx="25830">
                  <c:v>-0.10672268907563</c:v>
                </c:pt>
                <c:pt idx="25831">
                  <c:v>-0.10672268907563</c:v>
                </c:pt>
                <c:pt idx="25832">
                  <c:v>-0.10672268907563</c:v>
                </c:pt>
                <c:pt idx="25833">
                  <c:v>-0.10672268907563</c:v>
                </c:pt>
                <c:pt idx="25834">
                  <c:v>-0.10672268907563</c:v>
                </c:pt>
                <c:pt idx="25835">
                  <c:v>-0.10672268907563</c:v>
                </c:pt>
                <c:pt idx="25836">
                  <c:v>-0.10672268907563</c:v>
                </c:pt>
                <c:pt idx="25837">
                  <c:v>-0.10672268907563</c:v>
                </c:pt>
                <c:pt idx="25838">
                  <c:v>-0.10672268907563</c:v>
                </c:pt>
                <c:pt idx="25839">
                  <c:v>-0.10672268907563</c:v>
                </c:pt>
                <c:pt idx="25840">
                  <c:v>-0.10672268907563</c:v>
                </c:pt>
                <c:pt idx="25841">
                  <c:v>-0.10672268907563</c:v>
                </c:pt>
                <c:pt idx="25842">
                  <c:v>-0.10672268907563</c:v>
                </c:pt>
                <c:pt idx="25843">
                  <c:v>-0.10672268907563</c:v>
                </c:pt>
                <c:pt idx="25844">
                  <c:v>-0.107563025210084</c:v>
                </c:pt>
                <c:pt idx="25845">
                  <c:v>-0.107563025210084</c:v>
                </c:pt>
                <c:pt idx="25846">
                  <c:v>-0.107563025210084</c:v>
                </c:pt>
                <c:pt idx="25847">
                  <c:v>-0.107563025210084</c:v>
                </c:pt>
                <c:pt idx="25848">
                  <c:v>-0.107563025210084</c:v>
                </c:pt>
                <c:pt idx="25849">
                  <c:v>-0.108403361344537</c:v>
                </c:pt>
                <c:pt idx="25850">
                  <c:v>-0.108403361344537</c:v>
                </c:pt>
                <c:pt idx="25851">
                  <c:v>-0.108403361344537</c:v>
                </c:pt>
                <c:pt idx="25852">
                  <c:v>-0.108403361344537</c:v>
                </c:pt>
                <c:pt idx="25853">
                  <c:v>-0.108403361344537</c:v>
                </c:pt>
                <c:pt idx="25854">
                  <c:v>-0.108403361344537</c:v>
                </c:pt>
                <c:pt idx="25855">
                  <c:v>-0.108403361344537</c:v>
                </c:pt>
                <c:pt idx="25856">
                  <c:v>-0.108403361344537</c:v>
                </c:pt>
                <c:pt idx="25857">
                  <c:v>-0.108403361344537</c:v>
                </c:pt>
                <c:pt idx="25858">
                  <c:v>-0.108403361344537</c:v>
                </c:pt>
                <c:pt idx="25859">
                  <c:v>-0.108403361344537</c:v>
                </c:pt>
                <c:pt idx="25860">
                  <c:v>-0.108403361344537</c:v>
                </c:pt>
                <c:pt idx="25861">
                  <c:v>-0.108403361344537</c:v>
                </c:pt>
                <c:pt idx="25862">
                  <c:v>-0.108403361344537</c:v>
                </c:pt>
                <c:pt idx="25863">
                  <c:v>-0.108403361344537</c:v>
                </c:pt>
                <c:pt idx="25864">
                  <c:v>-0.108403361344537</c:v>
                </c:pt>
                <c:pt idx="25865">
                  <c:v>-0.108403361344537</c:v>
                </c:pt>
                <c:pt idx="25866">
                  <c:v>-0.108403361344537</c:v>
                </c:pt>
                <c:pt idx="25867">
                  <c:v>-0.108403361344537</c:v>
                </c:pt>
                <c:pt idx="25868">
                  <c:v>-0.108403361344537</c:v>
                </c:pt>
                <c:pt idx="25869">
                  <c:v>-0.108403361344537</c:v>
                </c:pt>
                <c:pt idx="25870">
                  <c:v>-0.108403361344537</c:v>
                </c:pt>
                <c:pt idx="25871">
                  <c:v>-0.108403361344537</c:v>
                </c:pt>
                <c:pt idx="25872">
                  <c:v>-0.108403361344537</c:v>
                </c:pt>
                <c:pt idx="25873">
                  <c:v>-0.108403361344537</c:v>
                </c:pt>
                <c:pt idx="25874">
                  <c:v>-0.108403361344537</c:v>
                </c:pt>
                <c:pt idx="25875">
                  <c:v>-0.108403361344537</c:v>
                </c:pt>
                <c:pt idx="25876">
                  <c:v>-0.108403361344537</c:v>
                </c:pt>
                <c:pt idx="25877">
                  <c:v>-0.108403361344537</c:v>
                </c:pt>
                <c:pt idx="25878">
                  <c:v>-0.108403361344537</c:v>
                </c:pt>
                <c:pt idx="25879">
                  <c:v>-0.108403361344537</c:v>
                </c:pt>
                <c:pt idx="25880">
                  <c:v>-0.108403361344537</c:v>
                </c:pt>
                <c:pt idx="25881">
                  <c:v>-0.108403361344537</c:v>
                </c:pt>
                <c:pt idx="25882">
                  <c:v>-0.108403361344537</c:v>
                </c:pt>
                <c:pt idx="25883">
                  <c:v>-0.109243697478991</c:v>
                </c:pt>
                <c:pt idx="25884">
                  <c:v>-0.109243697478991</c:v>
                </c:pt>
                <c:pt idx="25885">
                  <c:v>-0.109243697478991</c:v>
                </c:pt>
                <c:pt idx="25886">
                  <c:v>-0.109243697478991</c:v>
                </c:pt>
                <c:pt idx="25887">
                  <c:v>-0.109243697478991</c:v>
                </c:pt>
                <c:pt idx="25888">
                  <c:v>-0.109243697478991</c:v>
                </c:pt>
                <c:pt idx="25889">
                  <c:v>-0.109243697478991</c:v>
                </c:pt>
                <c:pt idx="25890">
                  <c:v>-0.109243697478991</c:v>
                </c:pt>
                <c:pt idx="25891">
                  <c:v>-0.109243697478991</c:v>
                </c:pt>
                <c:pt idx="25892">
                  <c:v>-0.109243697478991</c:v>
                </c:pt>
                <c:pt idx="25893">
                  <c:v>-0.109243697478991</c:v>
                </c:pt>
                <c:pt idx="25894">
                  <c:v>-0.109243697478991</c:v>
                </c:pt>
                <c:pt idx="25895">
                  <c:v>-0.109243697478991</c:v>
                </c:pt>
                <c:pt idx="25896">
                  <c:v>-0.108403361344537</c:v>
                </c:pt>
                <c:pt idx="25897">
                  <c:v>-0.108403361344537</c:v>
                </c:pt>
                <c:pt idx="25898">
                  <c:v>-0.108403361344537</c:v>
                </c:pt>
                <c:pt idx="25899">
                  <c:v>-0.108403361344537</c:v>
                </c:pt>
                <c:pt idx="25900">
                  <c:v>-0.108403361344537</c:v>
                </c:pt>
                <c:pt idx="25901">
                  <c:v>-0.108403361344537</c:v>
                </c:pt>
                <c:pt idx="25902">
                  <c:v>-0.108403361344537</c:v>
                </c:pt>
                <c:pt idx="25903">
                  <c:v>-0.108403361344537</c:v>
                </c:pt>
                <c:pt idx="25904">
                  <c:v>-0.108403361344537</c:v>
                </c:pt>
                <c:pt idx="25905">
                  <c:v>-0.108403361344537</c:v>
                </c:pt>
                <c:pt idx="25906">
                  <c:v>-0.108403361344537</c:v>
                </c:pt>
                <c:pt idx="25907">
                  <c:v>-0.108403361344537</c:v>
                </c:pt>
                <c:pt idx="25908">
                  <c:v>-0.108403361344537</c:v>
                </c:pt>
                <c:pt idx="25909">
                  <c:v>-0.108403361344537</c:v>
                </c:pt>
                <c:pt idx="25910">
                  <c:v>-0.108403361344537</c:v>
                </c:pt>
                <c:pt idx="25911">
                  <c:v>-0.108403361344537</c:v>
                </c:pt>
                <c:pt idx="25912">
                  <c:v>-0.108403361344537</c:v>
                </c:pt>
                <c:pt idx="25913">
                  <c:v>-0.108403361344537</c:v>
                </c:pt>
                <c:pt idx="25914">
                  <c:v>-0.108403361344537</c:v>
                </c:pt>
                <c:pt idx="25915">
                  <c:v>-0.108403361344537</c:v>
                </c:pt>
                <c:pt idx="25916">
                  <c:v>-0.108403361344537</c:v>
                </c:pt>
                <c:pt idx="25917">
                  <c:v>-0.108403361344537</c:v>
                </c:pt>
                <c:pt idx="25918">
                  <c:v>-0.108403361344537</c:v>
                </c:pt>
                <c:pt idx="25919">
                  <c:v>-0.108403361344537</c:v>
                </c:pt>
                <c:pt idx="25920">
                  <c:v>-0.108403361344537</c:v>
                </c:pt>
                <c:pt idx="25921">
                  <c:v>-0.108403361344537</c:v>
                </c:pt>
                <c:pt idx="25922">
                  <c:v>-0.108403361344537</c:v>
                </c:pt>
                <c:pt idx="25923">
                  <c:v>-0.108403361344537</c:v>
                </c:pt>
                <c:pt idx="25924">
                  <c:v>-0.108403361344537</c:v>
                </c:pt>
                <c:pt idx="25925">
                  <c:v>-0.108403361344537</c:v>
                </c:pt>
                <c:pt idx="25926">
                  <c:v>-0.108403361344537</c:v>
                </c:pt>
                <c:pt idx="25927">
                  <c:v>-0.108403361344537</c:v>
                </c:pt>
                <c:pt idx="25928">
                  <c:v>-0.108403361344537</c:v>
                </c:pt>
                <c:pt idx="25929">
                  <c:v>-0.108403361344537</c:v>
                </c:pt>
                <c:pt idx="25930">
                  <c:v>-0.108403361344537</c:v>
                </c:pt>
                <c:pt idx="25931">
                  <c:v>-0.108403361344537</c:v>
                </c:pt>
                <c:pt idx="25932">
                  <c:v>-0.109243697478991</c:v>
                </c:pt>
                <c:pt idx="25933">
                  <c:v>-0.109243697478991</c:v>
                </c:pt>
                <c:pt idx="25934">
                  <c:v>-0.109243697478991</c:v>
                </c:pt>
                <c:pt idx="25935">
                  <c:v>-0.109243697478991</c:v>
                </c:pt>
                <c:pt idx="25936">
                  <c:v>-0.109243697478991</c:v>
                </c:pt>
                <c:pt idx="25937">
                  <c:v>-0.109243697478991</c:v>
                </c:pt>
                <c:pt idx="25938">
                  <c:v>-0.108403361344537</c:v>
                </c:pt>
                <c:pt idx="25939">
                  <c:v>-0.108403361344537</c:v>
                </c:pt>
                <c:pt idx="25940">
                  <c:v>-0.108403361344537</c:v>
                </c:pt>
                <c:pt idx="25941">
                  <c:v>-0.108403361344537</c:v>
                </c:pt>
                <c:pt idx="25942">
                  <c:v>-0.108403361344537</c:v>
                </c:pt>
                <c:pt idx="25943">
                  <c:v>-0.108403361344537</c:v>
                </c:pt>
                <c:pt idx="25944">
                  <c:v>-0.108403361344537</c:v>
                </c:pt>
                <c:pt idx="25945">
                  <c:v>-0.108403361344537</c:v>
                </c:pt>
                <c:pt idx="25946">
                  <c:v>-0.108403361344537</c:v>
                </c:pt>
                <c:pt idx="25947">
                  <c:v>-0.108403361344537</c:v>
                </c:pt>
                <c:pt idx="25948">
                  <c:v>-0.108403361344537</c:v>
                </c:pt>
                <c:pt idx="25949">
                  <c:v>-0.108403361344537</c:v>
                </c:pt>
                <c:pt idx="25950">
                  <c:v>-0.107563025210084</c:v>
                </c:pt>
                <c:pt idx="25951">
                  <c:v>-0.107563025210084</c:v>
                </c:pt>
                <c:pt idx="25952">
                  <c:v>-0.107563025210084</c:v>
                </c:pt>
                <c:pt idx="25953">
                  <c:v>-0.107563025210084</c:v>
                </c:pt>
                <c:pt idx="25954">
                  <c:v>-0.107563025210084</c:v>
                </c:pt>
                <c:pt idx="25955">
                  <c:v>-0.107563025210084</c:v>
                </c:pt>
                <c:pt idx="25956">
                  <c:v>-0.107563025210084</c:v>
                </c:pt>
                <c:pt idx="25957">
                  <c:v>-0.107563025210084</c:v>
                </c:pt>
                <c:pt idx="25958">
                  <c:v>-0.107563025210084</c:v>
                </c:pt>
                <c:pt idx="25959">
                  <c:v>-0.107563025210084</c:v>
                </c:pt>
                <c:pt idx="25960">
                  <c:v>-0.107563025210084</c:v>
                </c:pt>
                <c:pt idx="25961">
                  <c:v>-0.107563025210084</c:v>
                </c:pt>
                <c:pt idx="25962">
                  <c:v>-0.107563025210084</c:v>
                </c:pt>
                <c:pt idx="25963">
                  <c:v>-0.107563025210084</c:v>
                </c:pt>
                <c:pt idx="25964">
                  <c:v>-0.107563025210084</c:v>
                </c:pt>
                <c:pt idx="25965">
                  <c:v>-0.107563025210084</c:v>
                </c:pt>
                <c:pt idx="25966">
                  <c:v>-0.107563025210084</c:v>
                </c:pt>
                <c:pt idx="25967">
                  <c:v>-0.107563025210084</c:v>
                </c:pt>
                <c:pt idx="25968">
                  <c:v>-0.107563025210084</c:v>
                </c:pt>
                <c:pt idx="25969">
                  <c:v>-0.107563025210084</c:v>
                </c:pt>
                <c:pt idx="25970">
                  <c:v>-0.107563025210084</c:v>
                </c:pt>
                <c:pt idx="25971">
                  <c:v>-0.107563025210084</c:v>
                </c:pt>
                <c:pt idx="25972">
                  <c:v>-0.107563025210084</c:v>
                </c:pt>
                <c:pt idx="25973">
                  <c:v>-0.107563025210084</c:v>
                </c:pt>
                <c:pt idx="25974">
                  <c:v>-0.107563025210084</c:v>
                </c:pt>
                <c:pt idx="25975">
                  <c:v>-0.107563025210084</c:v>
                </c:pt>
                <c:pt idx="25976">
                  <c:v>-0.107563025210084</c:v>
                </c:pt>
                <c:pt idx="25977">
                  <c:v>-0.107563025210084</c:v>
                </c:pt>
                <c:pt idx="25978">
                  <c:v>-0.107563025210084</c:v>
                </c:pt>
                <c:pt idx="25979">
                  <c:v>-0.107563025210084</c:v>
                </c:pt>
                <c:pt idx="25980">
                  <c:v>-0.107563025210084</c:v>
                </c:pt>
                <c:pt idx="25981">
                  <c:v>-0.107563025210084</c:v>
                </c:pt>
                <c:pt idx="25982">
                  <c:v>-0.107563025210084</c:v>
                </c:pt>
                <c:pt idx="25983">
                  <c:v>-0.107563025210084</c:v>
                </c:pt>
                <c:pt idx="25984">
                  <c:v>-0.107563025210084</c:v>
                </c:pt>
                <c:pt idx="25985">
                  <c:v>-0.107563025210084</c:v>
                </c:pt>
                <c:pt idx="25986">
                  <c:v>-0.107563025210084</c:v>
                </c:pt>
                <c:pt idx="25987">
                  <c:v>-0.107563025210084</c:v>
                </c:pt>
                <c:pt idx="25988">
                  <c:v>-0.107563025210084</c:v>
                </c:pt>
                <c:pt idx="25989">
                  <c:v>-0.107563025210084</c:v>
                </c:pt>
                <c:pt idx="25990">
                  <c:v>-0.107563025210084</c:v>
                </c:pt>
                <c:pt idx="25991">
                  <c:v>-0.107563025210084</c:v>
                </c:pt>
                <c:pt idx="25992">
                  <c:v>-0.107563025210084</c:v>
                </c:pt>
                <c:pt idx="25993">
                  <c:v>-0.107563025210084</c:v>
                </c:pt>
                <c:pt idx="25994">
                  <c:v>-0.107563025210084</c:v>
                </c:pt>
                <c:pt idx="25995">
                  <c:v>-0.107563025210084</c:v>
                </c:pt>
                <c:pt idx="25996">
                  <c:v>-0.107563025210084</c:v>
                </c:pt>
                <c:pt idx="25997">
                  <c:v>-0.107563025210084</c:v>
                </c:pt>
                <c:pt idx="25998">
                  <c:v>-0.107563025210084</c:v>
                </c:pt>
                <c:pt idx="25999">
                  <c:v>-0.107563025210084</c:v>
                </c:pt>
                <c:pt idx="26000">
                  <c:v>-0.107563025210084</c:v>
                </c:pt>
                <c:pt idx="26001">
                  <c:v>-0.107563025210084</c:v>
                </c:pt>
                <c:pt idx="26002">
                  <c:v>-0.107563025210084</c:v>
                </c:pt>
                <c:pt idx="26003">
                  <c:v>-0.107563025210084</c:v>
                </c:pt>
                <c:pt idx="26004">
                  <c:v>-0.107563025210084</c:v>
                </c:pt>
                <c:pt idx="26005">
                  <c:v>-0.107563025210084</c:v>
                </c:pt>
                <c:pt idx="26006">
                  <c:v>-0.107563025210084</c:v>
                </c:pt>
                <c:pt idx="26007">
                  <c:v>-0.107563025210084</c:v>
                </c:pt>
                <c:pt idx="26008">
                  <c:v>-0.107563025210084</c:v>
                </c:pt>
                <c:pt idx="26009">
                  <c:v>-0.107563025210084</c:v>
                </c:pt>
                <c:pt idx="26010">
                  <c:v>-0.107563025210084</c:v>
                </c:pt>
                <c:pt idx="26011">
                  <c:v>-0.107563025210084</c:v>
                </c:pt>
                <c:pt idx="26012">
                  <c:v>-0.10672268907563</c:v>
                </c:pt>
                <c:pt idx="26013">
                  <c:v>-0.10672268907563</c:v>
                </c:pt>
                <c:pt idx="26014">
                  <c:v>-0.10672268907563</c:v>
                </c:pt>
                <c:pt idx="26015">
                  <c:v>-0.10672268907563</c:v>
                </c:pt>
                <c:pt idx="26016">
                  <c:v>-0.10672268907563</c:v>
                </c:pt>
                <c:pt idx="26017">
                  <c:v>-0.10672268907563</c:v>
                </c:pt>
                <c:pt idx="26018">
                  <c:v>-0.10672268907563</c:v>
                </c:pt>
                <c:pt idx="26019">
                  <c:v>-0.10672268907563</c:v>
                </c:pt>
                <c:pt idx="26020">
                  <c:v>-0.10672268907563</c:v>
                </c:pt>
                <c:pt idx="26021">
                  <c:v>-0.10672268907563</c:v>
                </c:pt>
                <c:pt idx="26022">
                  <c:v>-0.105882352941176</c:v>
                </c:pt>
                <c:pt idx="26023">
                  <c:v>-0.105882352941176</c:v>
                </c:pt>
                <c:pt idx="26024">
                  <c:v>-0.105042016806722</c:v>
                </c:pt>
                <c:pt idx="26025">
                  <c:v>-0.105042016806722</c:v>
                </c:pt>
                <c:pt idx="26026">
                  <c:v>-0.105042016806722</c:v>
                </c:pt>
                <c:pt idx="26027">
                  <c:v>-0.105042016806722</c:v>
                </c:pt>
                <c:pt idx="26028">
                  <c:v>-0.105042016806722</c:v>
                </c:pt>
                <c:pt idx="26029">
                  <c:v>-0.105042016806722</c:v>
                </c:pt>
                <c:pt idx="26030">
                  <c:v>-0.105042016806722</c:v>
                </c:pt>
                <c:pt idx="26031">
                  <c:v>-0.105042016806722</c:v>
                </c:pt>
                <c:pt idx="26032">
                  <c:v>-0.105042016806722</c:v>
                </c:pt>
                <c:pt idx="26033">
                  <c:v>-0.105042016806722</c:v>
                </c:pt>
                <c:pt idx="26034">
                  <c:v>-0.105042016806722</c:v>
                </c:pt>
                <c:pt idx="26035">
                  <c:v>-0.105042016806722</c:v>
                </c:pt>
                <c:pt idx="26036">
                  <c:v>-0.105042016806722</c:v>
                </c:pt>
                <c:pt idx="26037">
                  <c:v>-0.105042016806722</c:v>
                </c:pt>
                <c:pt idx="26038">
                  <c:v>-0.105042016806722</c:v>
                </c:pt>
                <c:pt idx="26039">
                  <c:v>-0.105042016806722</c:v>
                </c:pt>
                <c:pt idx="26040">
                  <c:v>-0.105042016806722</c:v>
                </c:pt>
                <c:pt idx="26041">
                  <c:v>-0.105042016806722</c:v>
                </c:pt>
                <c:pt idx="26042">
                  <c:v>-0.105042016806722</c:v>
                </c:pt>
                <c:pt idx="26043">
                  <c:v>-0.105042016806722</c:v>
                </c:pt>
                <c:pt idx="26044">
                  <c:v>-0.105042016806722</c:v>
                </c:pt>
                <c:pt idx="26045">
                  <c:v>-0.105042016806722</c:v>
                </c:pt>
                <c:pt idx="26046">
                  <c:v>-0.105042016806722</c:v>
                </c:pt>
                <c:pt idx="26047">
                  <c:v>-0.104201680672268</c:v>
                </c:pt>
                <c:pt idx="26048">
                  <c:v>-0.104201680672268</c:v>
                </c:pt>
                <c:pt idx="26049">
                  <c:v>-0.104201680672268</c:v>
                </c:pt>
                <c:pt idx="26050">
                  <c:v>-0.104201680672268</c:v>
                </c:pt>
                <c:pt idx="26051">
                  <c:v>-0.104201680672268</c:v>
                </c:pt>
                <c:pt idx="26052">
                  <c:v>-0.104201680672268</c:v>
                </c:pt>
                <c:pt idx="26053">
                  <c:v>-0.104201680672268</c:v>
                </c:pt>
                <c:pt idx="26054">
                  <c:v>-0.104201680672268</c:v>
                </c:pt>
                <c:pt idx="26055">
                  <c:v>-0.104201680672268</c:v>
                </c:pt>
                <c:pt idx="26056">
                  <c:v>-0.104201680672268</c:v>
                </c:pt>
                <c:pt idx="26057">
                  <c:v>-0.104201680672268</c:v>
                </c:pt>
                <c:pt idx="26058">
                  <c:v>-0.104201680672268</c:v>
                </c:pt>
                <c:pt idx="26059">
                  <c:v>-0.104201680672268</c:v>
                </c:pt>
                <c:pt idx="26060">
                  <c:v>-0.104201680672268</c:v>
                </c:pt>
                <c:pt idx="26061">
                  <c:v>-0.105042016806722</c:v>
                </c:pt>
                <c:pt idx="26062">
                  <c:v>-0.105042016806722</c:v>
                </c:pt>
                <c:pt idx="26063">
                  <c:v>-0.105042016806722</c:v>
                </c:pt>
                <c:pt idx="26064">
                  <c:v>-0.105042016806722</c:v>
                </c:pt>
                <c:pt idx="26065">
                  <c:v>-0.105042016806722</c:v>
                </c:pt>
                <c:pt idx="26066">
                  <c:v>-0.105042016806722</c:v>
                </c:pt>
                <c:pt idx="26067">
                  <c:v>-0.105042016806722</c:v>
                </c:pt>
                <c:pt idx="26068">
                  <c:v>-0.105042016806722</c:v>
                </c:pt>
                <c:pt idx="26069">
                  <c:v>-0.105042016806722</c:v>
                </c:pt>
                <c:pt idx="26070">
                  <c:v>-0.105042016806722</c:v>
                </c:pt>
                <c:pt idx="26071">
                  <c:v>-0.105042016806722</c:v>
                </c:pt>
                <c:pt idx="26072">
                  <c:v>-0.105042016806722</c:v>
                </c:pt>
                <c:pt idx="26073">
                  <c:v>-0.105042016806722</c:v>
                </c:pt>
                <c:pt idx="26074">
                  <c:v>-0.105042016806722</c:v>
                </c:pt>
                <c:pt idx="26075">
                  <c:v>-0.105042016806722</c:v>
                </c:pt>
                <c:pt idx="26076">
                  <c:v>-0.105042016806722</c:v>
                </c:pt>
                <c:pt idx="26077">
                  <c:v>-0.105042016806722</c:v>
                </c:pt>
                <c:pt idx="26078">
                  <c:v>-0.105042016806722</c:v>
                </c:pt>
                <c:pt idx="26079">
                  <c:v>-0.105042016806722</c:v>
                </c:pt>
                <c:pt idx="26080">
                  <c:v>-0.105042016806722</c:v>
                </c:pt>
                <c:pt idx="26081">
                  <c:v>-0.105042016806722</c:v>
                </c:pt>
                <c:pt idx="26082">
                  <c:v>-0.105042016806722</c:v>
                </c:pt>
                <c:pt idx="26083">
                  <c:v>-0.105042016806722</c:v>
                </c:pt>
                <c:pt idx="26084">
                  <c:v>-0.105042016806722</c:v>
                </c:pt>
                <c:pt idx="26085">
                  <c:v>-0.104201680672268</c:v>
                </c:pt>
                <c:pt idx="26086">
                  <c:v>-0.104201680672268</c:v>
                </c:pt>
                <c:pt idx="26087">
                  <c:v>-0.104201680672268</c:v>
                </c:pt>
                <c:pt idx="26088">
                  <c:v>-0.104201680672268</c:v>
                </c:pt>
                <c:pt idx="26089">
                  <c:v>-0.104201680672268</c:v>
                </c:pt>
                <c:pt idx="26090">
                  <c:v>-0.104201680672268</c:v>
                </c:pt>
                <c:pt idx="26091">
                  <c:v>-0.104201680672268</c:v>
                </c:pt>
                <c:pt idx="26092">
                  <c:v>-0.104201680672268</c:v>
                </c:pt>
                <c:pt idx="26093">
                  <c:v>-0.104201680672268</c:v>
                </c:pt>
                <c:pt idx="26094">
                  <c:v>-0.104201680672268</c:v>
                </c:pt>
                <c:pt idx="26095">
                  <c:v>-0.104201680672268</c:v>
                </c:pt>
                <c:pt idx="26096">
                  <c:v>-0.104201680672268</c:v>
                </c:pt>
                <c:pt idx="26097">
                  <c:v>-0.104201680672268</c:v>
                </c:pt>
                <c:pt idx="26098">
                  <c:v>-0.104201680672268</c:v>
                </c:pt>
                <c:pt idx="26099">
                  <c:v>-0.104201680672268</c:v>
                </c:pt>
                <c:pt idx="26100">
                  <c:v>-0.104201680672268</c:v>
                </c:pt>
                <c:pt idx="26101">
                  <c:v>-0.104201680672268</c:v>
                </c:pt>
                <c:pt idx="26102">
                  <c:v>-0.104201680672268</c:v>
                </c:pt>
                <c:pt idx="26103">
                  <c:v>-0.104201680672268</c:v>
                </c:pt>
                <c:pt idx="26104">
                  <c:v>-0.104201680672268</c:v>
                </c:pt>
                <c:pt idx="26105">
                  <c:v>-0.104201680672268</c:v>
                </c:pt>
                <c:pt idx="26106">
                  <c:v>-0.104201680672268</c:v>
                </c:pt>
                <c:pt idx="26107">
                  <c:v>-0.104201680672268</c:v>
                </c:pt>
                <c:pt idx="26108">
                  <c:v>-0.104201680672268</c:v>
                </c:pt>
                <c:pt idx="26109">
                  <c:v>-0.104201680672268</c:v>
                </c:pt>
                <c:pt idx="26110">
                  <c:v>-0.104201680672268</c:v>
                </c:pt>
                <c:pt idx="26111">
                  <c:v>-0.104201680672268</c:v>
                </c:pt>
                <c:pt idx="26112">
                  <c:v>-0.104201680672268</c:v>
                </c:pt>
                <c:pt idx="26113">
                  <c:v>-0.104201680672268</c:v>
                </c:pt>
                <c:pt idx="26114">
                  <c:v>-0.104201680672268</c:v>
                </c:pt>
                <c:pt idx="26115">
                  <c:v>-0.104201680672268</c:v>
                </c:pt>
                <c:pt idx="26116">
                  <c:v>-0.104201680672268</c:v>
                </c:pt>
                <c:pt idx="26117">
                  <c:v>-0.104201680672268</c:v>
                </c:pt>
                <c:pt idx="26118">
                  <c:v>-0.104201680672268</c:v>
                </c:pt>
                <c:pt idx="26119">
                  <c:v>-0.104201680672268</c:v>
                </c:pt>
                <c:pt idx="26120">
                  <c:v>-0.104201680672268</c:v>
                </c:pt>
                <c:pt idx="26121">
                  <c:v>-0.104201680672268</c:v>
                </c:pt>
                <c:pt idx="26122">
                  <c:v>-0.104201680672268</c:v>
                </c:pt>
                <c:pt idx="26123">
                  <c:v>-0.104201680672268</c:v>
                </c:pt>
                <c:pt idx="26124">
                  <c:v>-0.104201680672268</c:v>
                </c:pt>
                <c:pt idx="26125">
                  <c:v>-0.104201680672268</c:v>
                </c:pt>
                <c:pt idx="26126">
                  <c:v>-0.104201680672268</c:v>
                </c:pt>
                <c:pt idx="26127">
                  <c:v>-0.104201680672268</c:v>
                </c:pt>
                <c:pt idx="26128">
                  <c:v>-0.104201680672268</c:v>
                </c:pt>
                <c:pt idx="26129">
                  <c:v>-0.104201680672268</c:v>
                </c:pt>
                <c:pt idx="26130">
                  <c:v>-0.104201680672268</c:v>
                </c:pt>
                <c:pt idx="26131">
                  <c:v>-0.104201680672268</c:v>
                </c:pt>
                <c:pt idx="26132">
                  <c:v>-0.104201680672268</c:v>
                </c:pt>
                <c:pt idx="26133">
                  <c:v>-0.104201680672268</c:v>
                </c:pt>
                <c:pt idx="26134">
                  <c:v>-0.104201680672268</c:v>
                </c:pt>
                <c:pt idx="26135">
                  <c:v>-0.104201680672268</c:v>
                </c:pt>
                <c:pt idx="26136">
                  <c:v>-0.104201680672268</c:v>
                </c:pt>
                <c:pt idx="26137">
                  <c:v>-0.104201680672268</c:v>
                </c:pt>
                <c:pt idx="26138">
                  <c:v>-0.104201680672268</c:v>
                </c:pt>
                <c:pt idx="26139">
                  <c:v>-0.104201680672268</c:v>
                </c:pt>
                <c:pt idx="26140">
                  <c:v>-0.104201680672268</c:v>
                </c:pt>
                <c:pt idx="26141">
                  <c:v>-0.104201680672268</c:v>
                </c:pt>
                <c:pt idx="26142">
                  <c:v>-0.104201680672268</c:v>
                </c:pt>
                <c:pt idx="26143">
                  <c:v>-0.104201680672268</c:v>
                </c:pt>
                <c:pt idx="26144">
                  <c:v>-0.104201680672268</c:v>
                </c:pt>
                <c:pt idx="26145">
                  <c:v>-0.104201680672268</c:v>
                </c:pt>
                <c:pt idx="26146">
                  <c:v>-0.104201680672268</c:v>
                </c:pt>
                <c:pt idx="26147">
                  <c:v>-0.104201680672268</c:v>
                </c:pt>
                <c:pt idx="26148">
                  <c:v>-0.104201680672268</c:v>
                </c:pt>
                <c:pt idx="26149">
                  <c:v>-0.104201680672268</c:v>
                </c:pt>
                <c:pt idx="26150">
                  <c:v>-0.104201680672268</c:v>
                </c:pt>
                <c:pt idx="26151">
                  <c:v>-0.104201680672268</c:v>
                </c:pt>
                <c:pt idx="26152">
                  <c:v>-0.104201680672268</c:v>
                </c:pt>
                <c:pt idx="26153">
                  <c:v>-0.104201680672268</c:v>
                </c:pt>
                <c:pt idx="26154">
                  <c:v>-0.104201680672268</c:v>
                </c:pt>
                <c:pt idx="26155">
                  <c:v>-0.104201680672268</c:v>
                </c:pt>
                <c:pt idx="26156">
                  <c:v>-0.104201680672268</c:v>
                </c:pt>
                <c:pt idx="26157">
                  <c:v>-0.104201680672268</c:v>
                </c:pt>
                <c:pt idx="26158">
                  <c:v>-0.104201680672268</c:v>
                </c:pt>
                <c:pt idx="26159">
                  <c:v>-0.104201680672268</c:v>
                </c:pt>
                <c:pt idx="26160">
                  <c:v>-0.104201680672268</c:v>
                </c:pt>
                <c:pt idx="26161">
                  <c:v>-0.104201680672268</c:v>
                </c:pt>
                <c:pt idx="26162">
                  <c:v>-0.104201680672268</c:v>
                </c:pt>
                <c:pt idx="26163">
                  <c:v>-0.104201680672268</c:v>
                </c:pt>
                <c:pt idx="26164">
                  <c:v>-0.104201680672268</c:v>
                </c:pt>
                <c:pt idx="26165">
                  <c:v>-0.104201680672268</c:v>
                </c:pt>
                <c:pt idx="26166">
                  <c:v>-0.104201680672268</c:v>
                </c:pt>
                <c:pt idx="26167">
                  <c:v>-0.104201680672268</c:v>
                </c:pt>
                <c:pt idx="26168">
                  <c:v>-0.104201680672268</c:v>
                </c:pt>
                <c:pt idx="26169">
                  <c:v>-0.104201680672268</c:v>
                </c:pt>
                <c:pt idx="26170">
                  <c:v>-0.104201680672268</c:v>
                </c:pt>
                <c:pt idx="26171">
                  <c:v>-0.104201680672268</c:v>
                </c:pt>
                <c:pt idx="26172">
                  <c:v>-0.104201680672268</c:v>
                </c:pt>
                <c:pt idx="26173">
                  <c:v>-0.104201680672268</c:v>
                </c:pt>
                <c:pt idx="26174">
                  <c:v>-0.104201680672268</c:v>
                </c:pt>
                <c:pt idx="26175">
                  <c:v>-0.104201680672268</c:v>
                </c:pt>
                <c:pt idx="26176">
                  <c:v>-0.104201680672268</c:v>
                </c:pt>
                <c:pt idx="26177">
                  <c:v>-0.104201680672268</c:v>
                </c:pt>
                <c:pt idx="26178">
                  <c:v>-0.104201680672268</c:v>
                </c:pt>
                <c:pt idx="26179">
                  <c:v>-0.104201680672268</c:v>
                </c:pt>
                <c:pt idx="26180">
                  <c:v>-0.104201680672268</c:v>
                </c:pt>
                <c:pt idx="26181">
                  <c:v>-0.104201680672268</c:v>
                </c:pt>
                <c:pt idx="26182">
                  <c:v>-0.104201680672268</c:v>
                </c:pt>
                <c:pt idx="26183">
                  <c:v>-0.104201680672268</c:v>
                </c:pt>
                <c:pt idx="26184">
                  <c:v>-0.104201680672268</c:v>
                </c:pt>
                <c:pt idx="26185">
                  <c:v>-0.104201680672268</c:v>
                </c:pt>
                <c:pt idx="26186">
                  <c:v>-0.104201680672268</c:v>
                </c:pt>
                <c:pt idx="26187">
                  <c:v>-0.104201680672268</c:v>
                </c:pt>
                <c:pt idx="26188">
                  <c:v>-0.104201680672268</c:v>
                </c:pt>
                <c:pt idx="26189">
                  <c:v>-0.104201680672268</c:v>
                </c:pt>
                <c:pt idx="26190">
                  <c:v>-0.104201680672268</c:v>
                </c:pt>
                <c:pt idx="26191">
                  <c:v>-0.104201680672268</c:v>
                </c:pt>
                <c:pt idx="26192">
                  <c:v>-0.104201680672268</c:v>
                </c:pt>
                <c:pt idx="26193">
                  <c:v>-0.104201680672268</c:v>
                </c:pt>
                <c:pt idx="26194">
                  <c:v>-0.104201680672268</c:v>
                </c:pt>
                <c:pt idx="26195">
                  <c:v>-0.104201680672268</c:v>
                </c:pt>
                <c:pt idx="26196">
                  <c:v>-0.10336134453781499</c:v>
                </c:pt>
                <c:pt idx="26197">
                  <c:v>-0.10336134453781499</c:v>
                </c:pt>
                <c:pt idx="26198">
                  <c:v>-0.10336134453781499</c:v>
                </c:pt>
                <c:pt idx="26199">
                  <c:v>-0.10336134453781499</c:v>
                </c:pt>
                <c:pt idx="26200">
                  <c:v>-0.10252100840336099</c:v>
                </c:pt>
                <c:pt idx="26201">
                  <c:v>-0.10252100840336099</c:v>
                </c:pt>
                <c:pt idx="26202">
                  <c:v>-0.10252100840336099</c:v>
                </c:pt>
                <c:pt idx="26203">
                  <c:v>-0.10252100840336099</c:v>
                </c:pt>
                <c:pt idx="26204">
                  <c:v>-0.10252100840336099</c:v>
                </c:pt>
                <c:pt idx="26205">
                  <c:v>-0.10252100840336099</c:v>
                </c:pt>
                <c:pt idx="26206">
                  <c:v>-0.10252100840336099</c:v>
                </c:pt>
                <c:pt idx="26207">
                  <c:v>-0.10252100840336099</c:v>
                </c:pt>
                <c:pt idx="26208">
                  <c:v>-0.10252100840336099</c:v>
                </c:pt>
                <c:pt idx="26209">
                  <c:v>-0.10168067226890699</c:v>
                </c:pt>
                <c:pt idx="26210">
                  <c:v>-0.10168067226890699</c:v>
                </c:pt>
                <c:pt idx="26211">
                  <c:v>-0.10168067226890699</c:v>
                </c:pt>
                <c:pt idx="26212">
                  <c:v>-0.10168067226890699</c:v>
                </c:pt>
                <c:pt idx="26213">
                  <c:v>-0.10168067226890699</c:v>
                </c:pt>
                <c:pt idx="26214">
                  <c:v>-0.10168067226890699</c:v>
                </c:pt>
                <c:pt idx="26215">
                  <c:v>-0.10168067226890699</c:v>
                </c:pt>
                <c:pt idx="26216">
                  <c:v>-0.10168067226890699</c:v>
                </c:pt>
                <c:pt idx="26217">
                  <c:v>-0.10168067226890699</c:v>
                </c:pt>
                <c:pt idx="26218">
                  <c:v>-0.10168067226890699</c:v>
                </c:pt>
                <c:pt idx="26219">
                  <c:v>-0.10168067226890699</c:v>
                </c:pt>
                <c:pt idx="26220">
                  <c:v>-0.10168067226890699</c:v>
                </c:pt>
                <c:pt idx="26221">
                  <c:v>-0.10168067226890699</c:v>
                </c:pt>
                <c:pt idx="26222">
                  <c:v>-0.10168067226890699</c:v>
                </c:pt>
                <c:pt idx="26223">
                  <c:v>-0.10168067226890699</c:v>
                </c:pt>
                <c:pt idx="26224">
                  <c:v>-0.10168067226890699</c:v>
                </c:pt>
                <c:pt idx="26225">
                  <c:v>-0.10168067226890699</c:v>
                </c:pt>
                <c:pt idx="26226">
                  <c:v>-0.10168067226890699</c:v>
                </c:pt>
                <c:pt idx="26227">
                  <c:v>-0.10168067226890699</c:v>
                </c:pt>
                <c:pt idx="26228">
                  <c:v>-0.10168067226890699</c:v>
                </c:pt>
                <c:pt idx="26229">
                  <c:v>-0.10168067226890699</c:v>
                </c:pt>
                <c:pt idx="26230">
                  <c:v>-0.10168067226890699</c:v>
                </c:pt>
                <c:pt idx="26231">
                  <c:v>-0.10168067226890699</c:v>
                </c:pt>
                <c:pt idx="26232">
                  <c:v>-0.10168067226890699</c:v>
                </c:pt>
                <c:pt idx="26233">
                  <c:v>-0.10084033613445301</c:v>
                </c:pt>
                <c:pt idx="26234">
                  <c:v>-0.10084033613445301</c:v>
                </c:pt>
                <c:pt idx="26235">
                  <c:v>-0.10084033613445301</c:v>
                </c:pt>
                <c:pt idx="26236">
                  <c:v>-0.10084033613445301</c:v>
                </c:pt>
                <c:pt idx="26237">
                  <c:v>-0.10084033613445301</c:v>
                </c:pt>
                <c:pt idx="26238">
                  <c:v>-0.10084033613445301</c:v>
                </c:pt>
                <c:pt idx="26239">
                  <c:v>-0.10168067226890699</c:v>
                </c:pt>
                <c:pt idx="26240">
                  <c:v>-0.10168067226890699</c:v>
                </c:pt>
                <c:pt idx="26241">
                  <c:v>-0.10168067226890699</c:v>
                </c:pt>
                <c:pt idx="26242">
                  <c:v>-0.10168067226890699</c:v>
                </c:pt>
                <c:pt idx="26243">
                  <c:v>-0.10168067226890699</c:v>
                </c:pt>
                <c:pt idx="26244">
                  <c:v>-0.10168067226890699</c:v>
                </c:pt>
                <c:pt idx="26245">
                  <c:v>-0.10168067226890699</c:v>
                </c:pt>
                <c:pt idx="26246">
                  <c:v>-0.10168067226890699</c:v>
                </c:pt>
                <c:pt idx="26247">
                  <c:v>-0.10168067226890699</c:v>
                </c:pt>
                <c:pt idx="26248">
                  <c:v>-0.10168067226890699</c:v>
                </c:pt>
                <c:pt idx="26249">
                  <c:v>-0.10168067226890699</c:v>
                </c:pt>
                <c:pt idx="26250">
                  <c:v>-0.10168067226890699</c:v>
                </c:pt>
                <c:pt idx="26251">
                  <c:v>-0.10168067226890699</c:v>
                </c:pt>
                <c:pt idx="26252">
                  <c:v>-0.10168067226890699</c:v>
                </c:pt>
                <c:pt idx="26253">
                  <c:v>-0.10168067226890699</c:v>
                </c:pt>
                <c:pt idx="26254">
                  <c:v>-0.10168067226890699</c:v>
                </c:pt>
                <c:pt idx="26255">
                  <c:v>-0.10168067226890699</c:v>
                </c:pt>
                <c:pt idx="26256">
                  <c:v>-0.10168067226890699</c:v>
                </c:pt>
                <c:pt idx="26257">
                  <c:v>-0.10168067226890699</c:v>
                </c:pt>
                <c:pt idx="26258">
                  <c:v>-0.10168067226890699</c:v>
                </c:pt>
                <c:pt idx="26259">
                  <c:v>-0.10168067226890699</c:v>
                </c:pt>
                <c:pt idx="26260">
                  <c:v>-0.10168067226890699</c:v>
                </c:pt>
                <c:pt idx="26261">
                  <c:v>-0.10168067226890699</c:v>
                </c:pt>
                <c:pt idx="26262">
                  <c:v>-0.10084033613445301</c:v>
                </c:pt>
                <c:pt idx="26263">
                  <c:v>-0.10084033613445301</c:v>
                </c:pt>
                <c:pt idx="26264">
                  <c:v>-0.10084033613445301</c:v>
                </c:pt>
                <c:pt idx="26265">
                  <c:v>-0.10084033613445301</c:v>
                </c:pt>
                <c:pt idx="26266">
                  <c:v>-0.10084033613445301</c:v>
                </c:pt>
                <c:pt idx="26267">
                  <c:v>-0.10084033613445301</c:v>
                </c:pt>
                <c:pt idx="26268">
                  <c:v>-0.10084033613445301</c:v>
                </c:pt>
                <c:pt idx="26269">
                  <c:v>-0.10084033613445301</c:v>
                </c:pt>
                <c:pt idx="26270">
                  <c:v>-0.10084033613445301</c:v>
                </c:pt>
                <c:pt idx="26271">
                  <c:v>-0.10084033613445301</c:v>
                </c:pt>
                <c:pt idx="26272">
                  <c:v>-0.10084033613445301</c:v>
                </c:pt>
                <c:pt idx="26273">
                  <c:v>-0.10084033613445301</c:v>
                </c:pt>
                <c:pt idx="26274">
                  <c:v>-0.10084033613445301</c:v>
                </c:pt>
                <c:pt idx="26275">
                  <c:v>-0.10084033613445301</c:v>
                </c:pt>
                <c:pt idx="26276">
                  <c:v>-0.10084033613445301</c:v>
                </c:pt>
                <c:pt idx="26277">
                  <c:v>-0.10084033613445301</c:v>
                </c:pt>
                <c:pt idx="26278">
                  <c:v>-0.10084033613445301</c:v>
                </c:pt>
                <c:pt idx="26279">
                  <c:v>-0.10084033613445301</c:v>
                </c:pt>
                <c:pt idx="26280">
                  <c:v>-0.10084033613445301</c:v>
                </c:pt>
                <c:pt idx="26281">
                  <c:v>-0.10084033613445301</c:v>
                </c:pt>
                <c:pt idx="26282">
                  <c:v>-0.10084033613445301</c:v>
                </c:pt>
                <c:pt idx="26283">
                  <c:v>-0.10084033613445301</c:v>
                </c:pt>
                <c:pt idx="26284">
                  <c:v>-0.10084033613445301</c:v>
                </c:pt>
                <c:pt idx="26285">
                  <c:v>-0.10084033613445301</c:v>
                </c:pt>
                <c:pt idx="26286">
                  <c:v>-0.10084033613445301</c:v>
                </c:pt>
                <c:pt idx="26287">
                  <c:v>-0.10084033613445301</c:v>
                </c:pt>
                <c:pt idx="26288">
                  <c:v>-0.10084033613445301</c:v>
                </c:pt>
                <c:pt idx="26289">
                  <c:v>-0.10084033613445301</c:v>
                </c:pt>
                <c:pt idx="26290">
                  <c:v>-0.10084033613445301</c:v>
                </c:pt>
                <c:pt idx="26291">
                  <c:v>-0.10084033613445301</c:v>
                </c:pt>
                <c:pt idx="26292">
                  <c:v>-0.10084033613445301</c:v>
                </c:pt>
                <c:pt idx="26293">
                  <c:v>-0.10084033613445301</c:v>
                </c:pt>
                <c:pt idx="26294">
                  <c:v>-0.10084033613445301</c:v>
                </c:pt>
                <c:pt idx="26295">
                  <c:v>-0.10084033613445301</c:v>
                </c:pt>
                <c:pt idx="26296">
                  <c:v>-0.10084033613445301</c:v>
                </c:pt>
                <c:pt idx="26297">
                  <c:v>-0.10084033613445301</c:v>
                </c:pt>
                <c:pt idx="26298">
                  <c:v>-0.10084033613445301</c:v>
                </c:pt>
                <c:pt idx="26299">
                  <c:v>-0.10084033613445301</c:v>
                </c:pt>
                <c:pt idx="26300">
                  <c:v>-0.10084033613445301</c:v>
                </c:pt>
                <c:pt idx="26301">
                  <c:v>-0.10084033613445301</c:v>
                </c:pt>
                <c:pt idx="26302">
                  <c:v>-0.10084033613445301</c:v>
                </c:pt>
                <c:pt idx="26303">
                  <c:v>-0.10084033613445301</c:v>
                </c:pt>
                <c:pt idx="26304">
                  <c:v>-0.10084033613445301</c:v>
                </c:pt>
                <c:pt idx="26305">
                  <c:v>-0.10084033613445301</c:v>
                </c:pt>
                <c:pt idx="26306">
                  <c:v>-0.10084033613445301</c:v>
                </c:pt>
                <c:pt idx="26307">
                  <c:v>-0.10084033613445301</c:v>
                </c:pt>
                <c:pt idx="26308">
                  <c:v>-0.10084033613445301</c:v>
                </c:pt>
                <c:pt idx="26309">
                  <c:v>-0.10084033613445301</c:v>
                </c:pt>
                <c:pt idx="26310">
                  <c:v>-0.10084033613445301</c:v>
                </c:pt>
                <c:pt idx="26311">
                  <c:v>-0.10084033613445301</c:v>
                </c:pt>
                <c:pt idx="26312">
                  <c:v>-0.10084033613445301</c:v>
                </c:pt>
                <c:pt idx="26313">
                  <c:v>-0.10084033613445301</c:v>
                </c:pt>
                <c:pt idx="26314">
                  <c:v>-0.10084033613445301</c:v>
                </c:pt>
                <c:pt idx="26315">
                  <c:v>-0.10084033613445301</c:v>
                </c:pt>
                <c:pt idx="26316">
                  <c:v>-0.10084033613445301</c:v>
                </c:pt>
                <c:pt idx="26317">
                  <c:v>-0.10084033613445301</c:v>
                </c:pt>
                <c:pt idx="26318">
                  <c:v>-0.10084033613445301</c:v>
                </c:pt>
                <c:pt idx="26319">
                  <c:v>-0.10084033613445301</c:v>
                </c:pt>
                <c:pt idx="26320">
                  <c:v>-0.10084033613445301</c:v>
                </c:pt>
                <c:pt idx="26321">
                  <c:v>-0.10084033613445301</c:v>
                </c:pt>
                <c:pt idx="26322">
                  <c:v>-0.10084033613445301</c:v>
                </c:pt>
                <c:pt idx="26323">
                  <c:v>-0.10084033613445301</c:v>
                </c:pt>
                <c:pt idx="26324">
                  <c:v>-0.10084033613445301</c:v>
                </c:pt>
                <c:pt idx="26325">
                  <c:v>-0.10084033613445301</c:v>
                </c:pt>
                <c:pt idx="26326">
                  <c:v>-0.10084033613445301</c:v>
                </c:pt>
                <c:pt idx="26327">
                  <c:v>-0.10084033613445301</c:v>
                </c:pt>
                <c:pt idx="26328">
                  <c:v>-0.10084033613445301</c:v>
                </c:pt>
                <c:pt idx="26329">
                  <c:v>-0.10084033613445301</c:v>
                </c:pt>
                <c:pt idx="26330">
                  <c:v>-0.10084033613445301</c:v>
                </c:pt>
                <c:pt idx="26331">
                  <c:v>-0.10084033613445301</c:v>
                </c:pt>
                <c:pt idx="26332">
                  <c:v>-0.10084033613445301</c:v>
                </c:pt>
                <c:pt idx="26333">
                  <c:v>-0.10084033613445301</c:v>
                </c:pt>
                <c:pt idx="26334">
                  <c:v>-0.10084033613445301</c:v>
                </c:pt>
                <c:pt idx="26335">
                  <c:v>-0.10084033613445301</c:v>
                </c:pt>
                <c:pt idx="26336">
                  <c:v>-0.10084033613445301</c:v>
                </c:pt>
                <c:pt idx="26337">
                  <c:v>-0.10084033613445301</c:v>
                </c:pt>
                <c:pt idx="26338">
                  <c:v>-0.10084033613445301</c:v>
                </c:pt>
                <c:pt idx="26339">
                  <c:v>-0.10084033613445301</c:v>
                </c:pt>
                <c:pt idx="26340">
                  <c:v>-0.10084033613445301</c:v>
                </c:pt>
                <c:pt idx="26341">
                  <c:v>-0.10084033613445301</c:v>
                </c:pt>
                <c:pt idx="26342">
                  <c:v>-0.10084033613445301</c:v>
                </c:pt>
                <c:pt idx="26343">
                  <c:v>-0.10084033613445301</c:v>
                </c:pt>
                <c:pt idx="26344">
                  <c:v>-0.10084033613445301</c:v>
                </c:pt>
                <c:pt idx="26345">
                  <c:v>-0.10084033613445301</c:v>
                </c:pt>
                <c:pt idx="26346">
                  <c:v>-0.10084033613445301</c:v>
                </c:pt>
                <c:pt idx="26347">
                  <c:v>-0.10084033613445301</c:v>
                </c:pt>
                <c:pt idx="26348">
                  <c:v>-0.10084033613445301</c:v>
                </c:pt>
                <c:pt idx="26349">
                  <c:v>-0.10084033613445301</c:v>
                </c:pt>
                <c:pt idx="26350">
                  <c:v>-0.10084033613445301</c:v>
                </c:pt>
                <c:pt idx="26351">
                  <c:v>-0.10084033613445301</c:v>
                </c:pt>
                <c:pt idx="26352">
                  <c:v>-0.10084033613445301</c:v>
                </c:pt>
                <c:pt idx="26353">
                  <c:v>-0.10084033613445301</c:v>
                </c:pt>
                <c:pt idx="26354">
                  <c:v>-0.10084033613445301</c:v>
                </c:pt>
                <c:pt idx="26355">
                  <c:v>-0.10084033613445301</c:v>
                </c:pt>
                <c:pt idx="26356">
                  <c:v>-0.10084033613445301</c:v>
                </c:pt>
                <c:pt idx="26357">
                  <c:v>-0.10084033613445301</c:v>
                </c:pt>
                <c:pt idx="26358">
                  <c:v>-0.10084033613445301</c:v>
                </c:pt>
                <c:pt idx="26359">
                  <c:v>-0.10084033613445301</c:v>
                </c:pt>
                <c:pt idx="26360">
                  <c:v>-0.10084033613445301</c:v>
                </c:pt>
                <c:pt idx="26361">
                  <c:v>-0.10084033613445301</c:v>
                </c:pt>
                <c:pt idx="26362">
                  <c:v>-0.10084033613445301</c:v>
                </c:pt>
                <c:pt idx="26363">
                  <c:v>-0.10084033613445301</c:v>
                </c:pt>
                <c:pt idx="26364">
                  <c:v>-0.10084033613445301</c:v>
                </c:pt>
                <c:pt idx="26365">
                  <c:v>-0.10084033613445301</c:v>
                </c:pt>
                <c:pt idx="26366">
                  <c:v>-0.10084033613445301</c:v>
                </c:pt>
                <c:pt idx="26367">
                  <c:v>-0.10084033613445301</c:v>
                </c:pt>
                <c:pt idx="26368">
                  <c:v>-0.10084033613445301</c:v>
                </c:pt>
                <c:pt idx="26369">
                  <c:v>-0.10168067226890699</c:v>
                </c:pt>
                <c:pt idx="26370">
                  <c:v>-0.10168067226890699</c:v>
                </c:pt>
                <c:pt idx="26371">
                  <c:v>-0.10168067226890699</c:v>
                </c:pt>
                <c:pt idx="26372">
                  <c:v>-0.10168067226890699</c:v>
                </c:pt>
                <c:pt idx="26373">
                  <c:v>-0.10168067226890699</c:v>
                </c:pt>
                <c:pt idx="26374">
                  <c:v>-0.10168067226890699</c:v>
                </c:pt>
                <c:pt idx="26375">
                  <c:v>-0.10168067226890699</c:v>
                </c:pt>
                <c:pt idx="26376">
                  <c:v>-0.10168067226890699</c:v>
                </c:pt>
                <c:pt idx="26377">
                  <c:v>-0.10168067226890699</c:v>
                </c:pt>
                <c:pt idx="26378">
                  <c:v>-0.10168067226890699</c:v>
                </c:pt>
                <c:pt idx="26379">
                  <c:v>-0.10168067226890699</c:v>
                </c:pt>
                <c:pt idx="26380">
                  <c:v>-0.10168067226890699</c:v>
                </c:pt>
                <c:pt idx="26381">
                  <c:v>-0.10168067226890699</c:v>
                </c:pt>
                <c:pt idx="26382">
                  <c:v>-0.10168067226890699</c:v>
                </c:pt>
                <c:pt idx="26383">
                  <c:v>-0.10168067226890699</c:v>
                </c:pt>
                <c:pt idx="26384">
                  <c:v>-0.10168067226890699</c:v>
                </c:pt>
                <c:pt idx="26385">
                  <c:v>-0.10168067226890699</c:v>
                </c:pt>
                <c:pt idx="26386">
                  <c:v>-0.10168067226890699</c:v>
                </c:pt>
                <c:pt idx="26387">
                  <c:v>-0.10168067226890699</c:v>
                </c:pt>
                <c:pt idx="26388">
                  <c:v>-0.10168067226890699</c:v>
                </c:pt>
                <c:pt idx="26389">
                  <c:v>-0.10168067226890699</c:v>
                </c:pt>
                <c:pt idx="26390">
                  <c:v>-0.10168067226890699</c:v>
                </c:pt>
                <c:pt idx="26391">
                  <c:v>-0.10168067226890699</c:v>
                </c:pt>
                <c:pt idx="26392">
                  <c:v>-0.10168067226890699</c:v>
                </c:pt>
                <c:pt idx="26393">
                  <c:v>-0.10168067226890699</c:v>
                </c:pt>
                <c:pt idx="26394">
                  <c:v>-0.10168067226890699</c:v>
                </c:pt>
                <c:pt idx="26395">
                  <c:v>-0.10168067226890699</c:v>
                </c:pt>
                <c:pt idx="26396">
                  <c:v>-0.10168067226890699</c:v>
                </c:pt>
                <c:pt idx="26397">
                  <c:v>-0.10168067226890699</c:v>
                </c:pt>
                <c:pt idx="26398">
                  <c:v>-0.10168067226890699</c:v>
                </c:pt>
                <c:pt idx="26399">
                  <c:v>-0.10168067226890699</c:v>
                </c:pt>
                <c:pt idx="26400">
                  <c:v>-0.10168067226890699</c:v>
                </c:pt>
                <c:pt idx="26401">
                  <c:v>-0.10168067226890699</c:v>
                </c:pt>
                <c:pt idx="26402">
                  <c:v>-0.10168067226890699</c:v>
                </c:pt>
                <c:pt idx="26403">
                  <c:v>-0.10168067226890699</c:v>
                </c:pt>
                <c:pt idx="26404">
                  <c:v>-0.10168067226890699</c:v>
                </c:pt>
                <c:pt idx="26405">
                  <c:v>-0.10168067226890699</c:v>
                </c:pt>
                <c:pt idx="26406">
                  <c:v>-0.10168067226890699</c:v>
                </c:pt>
                <c:pt idx="26407">
                  <c:v>-0.10168067226890699</c:v>
                </c:pt>
                <c:pt idx="26408">
                  <c:v>-0.10168067226890699</c:v>
                </c:pt>
                <c:pt idx="26409">
                  <c:v>-0.10168067226890699</c:v>
                </c:pt>
                <c:pt idx="26410">
                  <c:v>-0.10168067226890699</c:v>
                </c:pt>
                <c:pt idx="26411">
                  <c:v>-0.10168067226890699</c:v>
                </c:pt>
                <c:pt idx="26412">
                  <c:v>-0.10168067226890699</c:v>
                </c:pt>
                <c:pt idx="26413">
                  <c:v>-0.10168067226890699</c:v>
                </c:pt>
                <c:pt idx="26414">
                  <c:v>-0.10168067226890699</c:v>
                </c:pt>
                <c:pt idx="26415">
                  <c:v>-0.10084033613445301</c:v>
                </c:pt>
                <c:pt idx="26416">
                  <c:v>-0.10084033613445301</c:v>
                </c:pt>
                <c:pt idx="26417">
                  <c:v>-0.10084033613445301</c:v>
                </c:pt>
                <c:pt idx="26418">
                  <c:v>-0.10084033613445301</c:v>
                </c:pt>
                <c:pt idx="26419">
                  <c:v>-0.10084033613445301</c:v>
                </c:pt>
                <c:pt idx="26420">
                  <c:v>-9.9999999999999895E-2</c:v>
                </c:pt>
                <c:pt idx="26421">
                  <c:v>-9.9999999999999895E-2</c:v>
                </c:pt>
                <c:pt idx="26422">
                  <c:v>-9.9999999999999895E-2</c:v>
                </c:pt>
                <c:pt idx="26423">
                  <c:v>-9.9999999999999895E-2</c:v>
                </c:pt>
                <c:pt idx="26424">
                  <c:v>-9.9999999999999895E-2</c:v>
                </c:pt>
                <c:pt idx="26425">
                  <c:v>-9.9999999999999895E-2</c:v>
                </c:pt>
                <c:pt idx="26426">
                  <c:v>-9.9999999999999895E-2</c:v>
                </c:pt>
                <c:pt idx="26427">
                  <c:v>-9.9999999999999895E-2</c:v>
                </c:pt>
                <c:pt idx="26428">
                  <c:v>-9.9999999999999895E-2</c:v>
                </c:pt>
                <c:pt idx="26429">
                  <c:v>-9.9999999999999895E-2</c:v>
                </c:pt>
                <c:pt idx="26430">
                  <c:v>-9.9999999999999895E-2</c:v>
                </c:pt>
                <c:pt idx="26431">
                  <c:v>-9.9999999999999895E-2</c:v>
                </c:pt>
                <c:pt idx="26432">
                  <c:v>-9.9999999999999895E-2</c:v>
                </c:pt>
                <c:pt idx="26433">
                  <c:v>-9.9999999999999895E-2</c:v>
                </c:pt>
                <c:pt idx="26434">
                  <c:v>-9.9999999999999895E-2</c:v>
                </c:pt>
                <c:pt idx="26435">
                  <c:v>-9.9999999999999895E-2</c:v>
                </c:pt>
                <c:pt idx="26436">
                  <c:v>-9.9999999999999895E-2</c:v>
                </c:pt>
                <c:pt idx="26437">
                  <c:v>-9.9999999999999895E-2</c:v>
                </c:pt>
                <c:pt idx="26438">
                  <c:v>-9.9999999999999895E-2</c:v>
                </c:pt>
                <c:pt idx="26439">
                  <c:v>-9.9999999999999895E-2</c:v>
                </c:pt>
                <c:pt idx="26440">
                  <c:v>-9.9999999999999895E-2</c:v>
                </c:pt>
                <c:pt idx="26441">
                  <c:v>-9.9999999999999895E-2</c:v>
                </c:pt>
                <c:pt idx="26442">
                  <c:v>-9.9999999999999895E-2</c:v>
                </c:pt>
                <c:pt idx="26443">
                  <c:v>-9.9999999999999895E-2</c:v>
                </c:pt>
                <c:pt idx="26444">
                  <c:v>-9.9999999999999895E-2</c:v>
                </c:pt>
                <c:pt idx="26445">
                  <c:v>-9.9999999999999895E-2</c:v>
                </c:pt>
                <c:pt idx="26446">
                  <c:v>-9.9999999999999895E-2</c:v>
                </c:pt>
                <c:pt idx="26447">
                  <c:v>-9.9999999999999895E-2</c:v>
                </c:pt>
                <c:pt idx="26448">
                  <c:v>-9.9999999999999895E-2</c:v>
                </c:pt>
                <c:pt idx="26449">
                  <c:v>-9.9999999999999895E-2</c:v>
                </c:pt>
                <c:pt idx="26450">
                  <c:v>-9.9999999999999895E-2</c:v>
                </c:pt>
                <c:pt idx="26451">
                  <c:v>-9.9999999999999895E-2</c:v>
                </c:pt>
                <c:pt idx="26452">
                  <c:v>-9.9999999999999895E-2</c:v>
                </c:pt>
                <c:pt idx="26453">
                  <c:v>-9.9999999999999895E-2</c:v>
                </c:pt>
                <c:pt idx="26454">
                  <c:v>-9.9999999999999895E-2</c:v>
                </c:pt>
                <c:pt idx="26455">
                  <c:v>-9.9999999999999895E-2</c:v>
                </c:pt>
                <c:pt idx="26456">
                  <c:v>-9.9999999999999895E-2</c:v>
                </c:pt>
                <c:pt idx="26457">
                  <c:v>-9.9999999999999895E-2</c:v>
                </c:pt>
                <c:pt idx="26458">
                  <c:v>-9.9999999999999895E-2</c:v>
                </c:pt>
                <c:pt idx="26459">
                  <c:v>-9.9999999999999895E-2</c:v>
                </c:pt>
                <c:pt idx="26460">
                  <c:v>-9.9999999999999895E-2</c:v>
                </c:pt>
                <c:pt idx="26461">
                  <c:v>-9.9999999999999895E-2</c:v>
                </c:pt>
                <c:pt idx="26462">
                  <c:v>-9.9999999999999895E-2</c:v>
                </c:pt>
                <c:pt idx="26463">
                  <c:v>-9.9999999999999895E-2</c:v>
                </c:pt>
                <c:pt idx="26464">
                  <c:v>-9.9999999999999895E-2</c:v>
                </c:pt>
                <c:pt idx="26465">
                  <c:v>-9.9999999999999895E-2</c:v>
                </c:pt>
                <c:pt idx="26466">
                  <c:v>-9.9999999999999895E-2</c:v>
                </c:pt>
                <c:pt idx="26467">
                  <c:v>-9.9999999999999895E-2</c:v>
                </c:pt>
                <c:pt idx="26468">
                  <c:v>-9.9999999999999895E-2</c:v>
                </c:pt>
                <c:pt idx="26469">
                  <c:v>-9.9999999999999895E-2</c:v>
                </c:pt>
                <c:pt idx="26470">
                  <c:v>-9.9999999999999895E-2</c:v>
                </c:pt>
                <c:pt idx="26471">
                  <c:v>-9.9999999999999895E-2</c:v>
                </c:pt>
                <c:pt idx="26472">
                  <c:v>-9.9999999999999895E-2</c:v>
                </c:pt>
                <c:pt idx="26473">
                  <c:v>-9.9999999999999895E-2</c:v>
                </c:pt>
                <c:pt idx="26474">
                  <c:v>-9.9999999999999895E-2</c:v>
                </c:pt>
                <c:pt idx="26475">
                  <c:v>-9.9999999999999895E-2</c:v>
                </c:pt>
                <c:pt idx="26476">
                  <c:v>-9.9999999999999895E-2</c:v>
                </c:pt>
                <c:pt idx="26477">
                  <c:v>-9.9999999999999895E-2</c:v>
                </c:pt>
                <c:pt idx="26478">
                  <c:v>-9.9999999999999895E-2</c:v>
                </c:pt>
                <c:pt idx="26479">
                  <c:v>-9.9999999999999895E-2</c:v>
                </c:pt>
                <c:pt idx="26480">
                  <c:v>-9.9999999999999895E-2</c:v>
                </c:pt>
                <c:pt idx="26481">
                  <c:v>-9.9999999999999895E-2</c:v>
                </c:pt>
                <c:pt idx="26482">
                  <c:v>-9.9999999999999895E-2</c:v>
                </c:pt>
                <c:pt idx="26483">
                  <c:v>-9.9999999999999895E-2</c:v>
                </c:pt>
                <c:pt idx="26484">
                  <c:v>-9.9999999999999895E-2</c:v>
                </c:pt>
                <c:pt idx="26485">
                  <c:v>-9.9999999999999895E-2</c:v>
                </c:pt>
                <c:pt idx="26486">
                  <c:v>-9.9999999999999895E-2</c:v>
                </c:pt>
                <c:pt idx="26487">
                  <c:v>-9.9999999999999895E-2</c:v>
                </c:pt>
                <c:pt idx="26488">
                  <c:v>-9.9999999999999895E-2</c:v>
                </c:pt>
                <c:pt idx="26489">
                  <c:v>-9.9999999999999895E-2</c:v>
                </c:pt>
                <c:pt idx="26490">
                  <c:v>-9.9999999999999895E-2</c:v>
                </c:pt>
                <c:pt idx="26491">
                  <c:v>-9.9999999999999895E-2</c:v>
                </c:pt>
                <c:pt idx="26492">
                  <c:v>-9.9999999999999895E-2</c:v>
                </c:pt>
                <c:pt idx="26493">
                  <c:v>-9.9999999999999895E-2</c:v>
                </c:pt>
                <c:pt idx="26494">
                  <c:v>-9.9999999999999895E-2</c:v>
                </c:pt>
                <c:pt idx="26495">
                  <c:v>-9.9999999999999895E-2</c:v>
                </c:pt>
                <c:pt idx="26496">
                  <c:v>-9.9999999999999895E-2</c:v>
                </c:pt>
                <c:pt idx="26497">
                  <c:v>-9.9999999999999895E-2</c:v>
                </c:pt>
                <c:pt idx="26498">
                  <c:v>-9.9999999999999895E-2</c:v>
                </c:pt>
                <c:pt idx="26499">
                  <c:v>-9.9999999999999895E-2</c:v>
                </c:pt>
                <c:pt idx="26500">
                  <c:v>-9.9999999999999895E-2</c:v>
                </c:pt>
                <c:pt idx="26501">
                  <c:v>-9.9999999999999895E-2</c:v>
                </c:pt>
                <c:pt idx="26502">
                  <c:v>-9.9999999999999895E-2</c:v>
                </c:pt>
                <c:pt idx="26503">
                  <c:v>-9.9999999999999895E-2</c:v>
                </c:pt>
                <c:pt idx="26504">
                  <c:v>-9.9999999999999895E-2</c:v>
                </c:pt>
                <c:pt idx="26505">
                  <c:v>-9.9999999999999895E-2</c:v>
                </c:pt>
                <c:pt idx="26506">
                  <c:v>-9.9999999999999895E-2</c:v>
                </c:pt>
                <c:pt idx="26507">
                  <c:v>-9.9999999999999895E-2</c:v>
                </c:pt>
                <c:pt idx="26508">
                  <c:v>-9.9999999999999895E-2</c:v>
                </c:pt>
                <c:pt idx="26509">
                  <c:v>-9.9159663865546199E-2</c:v>
                </c:pt>
                <c:pt idx="26510">
                  <c:v>-9.9159663865546199E-2</c:v>
                </c:pt>
                <c:pt idx="26511">
                  <c:v>-9.9159663865546199E-2</c:v>
                </c:pt>
                <c:pt idx="26512">
                  <c:v>-9.9159663865546199E-2</c:v>
                </c:pt>
                <c:pt idx="26513">
                  <c:v>-9.9159663865546199E-2</c:v>
                </c:pt>
                <c:pt idx="26514">
                  <c:v>-9.9159663865546199E-2</c:v>
                </c:pt>
                <c:pt idx="26515">
                  <c:v>-9.9159663865546199E-2</c:v>
                </c:pt>
                <c:pt idx="26516">
                  <c:v>-9.9159663865546199E-2</c:v>
                </c:pt>
                <c:pt idx="26517">
                  <c:v>-9.9159663865546199E-2</c:v>
                </c:pt>
                <c:pt idx="26518">
                  <c:v>-9.9159663865546199E-2</c:v>
                </c:pt>
                <c:pt idx="26519">
                  <c:v>-9.9159663865546199E-2</c:v>
                </c:pt>
                <c:pt idx="26520">
                  <c:v>-9.9159663865546199E-2</c:v>
                </c:pt>
                <c:pt idx="26521">
                  <c:v>-9.9159663865546199E-2</c:v>
                </c:pt>
                <c:pt idx="26522">
                  <c:v>-9.9159663865546199E-2</c:v>
                </c:pt>
                <c:pt idx="26523">
                  <c:v>-9.9159663865546199E-2</c:v>
                </c:pt>
                <c:pt idx="26524">
                  <c:v>-9.9159663865546199E-2</c:v>
                </c:pt>
                <c:pt idx="26525">
                  <c:v>-9.9159663865546199E-2</c:v>
                </c:pt>
                <c:pt idx="26526">
                  <c:v>-9.9159663865546199E-2</c:v>
                </c:pt>
                <c:pt idx="26527">
                  <c:v>-9.9159663865546199E-2</c:v>
                </c:pt>
                <c:pt idx="26528">
                  <c:v>-9.9159663865546199E-2</c:v>
                </c:pt>
                <c:pt idx="26529">
                  <c:v>-9.9159663865546199E-2</c:v>
                </c:pt>
                <c:pt idx="26530">
                  <c:v>-9.9159663865546199E-2</c:v>
                </c:pt>
                <c:pt idx="26531">
                  <c:v>-9.9159663865546199E-2</c:v>
                </c:pt>
                <c:pt idx="26532">
                  <c:v>-9.9999999999999895E-2</c:v>
                </c:pt>
                <c:pt idx="26533">
                  <c:v>-9.9999999999999895E-2</c:v>
                </c:pt>
                <c:pt idx="26534">
                  <c:v>-9.9999999999999895E-2</c:v>
                </c:pt>
                <c:pt idx="26535">
                  <c:v>-9.9999999999999895E-2</c:v>
                </c:pt>
                <c:pt idx="26536">
                  <c:v>-9.9999999999999895E-2</c:v>
                </c:pt>
                <c:pt idx="26537">
                  <c:v>-9.9999999999999895E-2</c:v>
                </c:pt>
                <c:pt idx="26538">
                  <c:v>-9.9999999999999895E-2</c:v>
                </c:pt>
                <c:pt idx="26539">
                  <c:v>-9.9999999999999895E-2</c:v>
                </c:pt>
                <c:pt idx="26540">
                  <c:v>-9.9999999999999895E-2</c:v>
                </c:pt>
                <c:pt idx="26541">
                  <c:v>-9.9999999999999895E-2</c:v>
                </c:pt>
                <c:pt idx="26542">
                  <c:v>-9.9999999999999895E-2</c:v>
                </c:pt>
                <c:pt idx="26543">
                  <c:v>-9.9999999999999895E-2</c:v>
                </c:pt>
                <c:pt idx="26544">
                  <c:v>-9.9999999999999895E-2</c:v>
                </c:pt>
                <c:pt idx="26545">
                  <c:v>-9.9999999999999895E-2</c:v>
                </c:pt>
                <c:pt idx="26546">
                  <c:v>-9.9999999999999895E-2</c:v>
                </c:pt>
                <c:pt idx="26547">
                  <c:v>-9.9999999999999895E-2</c:v>
                </c:pt>
                <c:pt idx="26548">
                  <c:v>-9.9999999999999895E-2</c:v>
                </c:pt>
                <c:pt idx="26549">
                  <c:v>-9.9999999999999895E-2</c:v>
                </c:pt>
                <c:pt idx="26550">
                  <c:v>-9.9999999999999895E-2</c:v>
                </c:pt>
                <c:pt idx="26551">
                  <c:v>-9.9999999999999895E-2</c:v>
                </c:pt>
                <c:pt idx="26552">
                  <c:v>-9.9999999999999895E-2</c:v>
                </c:pt>
                <c:pt idx="26553">
                  <c:v>-9.9999999999999895E-2</c:v>
                </c:pt>
                <c:pt idx="26554">
                  <c:v>-9.9999999999999895E-2</c:v>
                </c:pt>
                <c:pt idx="26555">
                  <c:v>-9.9999999999999895E-2</c:v>
                </c:pt>
                <c:pt idx="26556">
                  <c:v>-9.9999999999999895E-2</c:v>
                </c:pt>
                <c:pt idx="26557">
                  <c:v>-9.9999999999999895E-2</c:v>
                </c:pt>
                <c:pt idx="26558">
                  <c:v>-9.9159663865546199E-2</c:v>
                </c:pt>
                <c:pt idx="26559">
                  <c:v>-9.9159663865546199E-2</c:v>
                </c:pt>
                <c:pt idx="26560">
                  <c:v>-9.9159663865546199E-2</c:v>
                </c:pt>
                <c:pt idx="26561">
                  <c:v>-9.9159663865546199E-2</c:v>
                </c:pt>
                <c:pt idx="26562">
                  <c:v>-9.9159663865546199E-2</c:v>
                </c:pt>
                <c:pt idx="26563">
                  <c:v>-9.9159663865546199E-2</c:v>
                </c:pt>
                <c:pt idx="26564">
                  <c:v>-9.9159663865546199E-2</c:v>
                </c:pt>
                <c:pt idx="26565">
                  <c:v>-9.9159663865546199E-2</c:v>
                </c:pt>
                <c:pt idx="26566">
                  <c:v>-9.9159663865546199E-2</c:v>
                </c:pt>
                <c:pt idx="26567">
                  <c:v>-9.9159663865546199E-2</c:v>
                </c:pt>
                <c:pt idx="26568">
                  <c:v>-9.9159663865546199E-2</c:v>
                </c:pt>
                <c:pt idx="26569">
                  <c:v>-9.9159663865546199E-2</c:v>
                </c:pt>
                <c:pt idx="26570">
                  <c:v>-9.9159663865546199E-2</c:v>
                </c:pt>
                <c:pt idx="26571">
                  <c:v>-9.9159663865546199E-2</c:v>
                </c:pt>
                <c:pt idx="26572">
                  <c:v>-9.9159663865546199E-2</c:v>
                </c:pt>
                <c:pt idx="26573">
                  <c:v>-9.9159663865546199E-2</c:v>
                </c:pt>
                <c:pt idx="26574">
                  <c:v>-9.9159663865546199E-2</c:v>
                </c:pt>
                <c:pt idx="26575">
                  <c:v>-9.9159663865546199E-2</c:v>
                </c:pt>
                <c:pt idx="26576">
                  <c:v>-9.9159663865546199E-2</c:v>
                </c:pt>
                <c:pt idx="26577">
                  <c:v>-9.9159663865546199E-2</c:v>
                </c:pt>
                <c:pt idx="26578">
                  <c:v>-9.9159663865546199E-2</c:v>
                </c:pt>
                <c:pt idx="26579">
                  <c:v>-9.9159663865546199E-2</c:v>
                </c:pt>
                <c:pt idx="26580">
                  <c:v>-9.9159663865546199E-2</c:v>
                </c:pt>
                <c:pt idx="26581">
                  <c:v>-9.9159663865546199E-2</c:v>
                </c:pt>
                <c:pt idx="26582">
                  <c:v>-9.9159663865546199E-2</c:v>
                </c:pt>
                <c:pt idx="26583">
                  <c:v>-9.9159663865546199E-2</c:v>
                </c:pt>
                <c:pt idx="26584">
                  <c:v>-9.9159663865546199E-2</c:v>
                </c:pt>
                <c:pt idx="26585">
                  <c:v>-9.9159663865546199E-2</c:v>
                </c:pt>
                <c:pt idx="26586">
                  <c:v>-9.9159663865546199E-2</c:v>
                </c:pt>
                <c:pt idx="26587">
                  <c:v>-9.9159663865546199E-2</c:v>
                </c:pt>
                <c:pt idx="26588">
                  <c:v>-9.9159663865546199E-2</c:v>
                </c:pt>
                <c:pt idx="26589">
                  <c:v>-9.9159663865546199E-2</c:v>
                </c:pt>
                <c:pt idx="26590">
                  <c:v>-9.9159663865546199E-2</c:v>
                </c:pt>
                <c:pt idx="26591">
                  <c:v>-9.9159663865546199E-2</c:v>
                </c:pt>
                <c:pt idx="26592">
                  <c:v>-9.9159663865546199E-2</c:v>
                </c:pt>
                <c:pt idx="26593">
                  <c:v>-9.9159663865546199E-2</c:v>
                </c:pt>
                <c:pt idx="26594">
                  <c:v>-9.9159663865546199E-2</c:v>
                </c:pt>
                <c:pt idx="26595">
                  <c:v>-9.9159663865546199E-2</c:v>
                </c:pt>
                <c:pt idx="26596">
                  <c:v>-9.9159663865546199E-2</c:v>
                </c:pt>
                <c:pt idx="26597">
                  <c:v>-9.9159663865546199E-2</c:v>
                </c:pt>
                <c:pt idx="26598">
                  <c:v>-9.9159663865546199E-2</c:v>
                </c:pt>
                <c:pt idx="26599">
                  <c:v>-9.9159663865546199E-2</c:v>
                </c:pt>
                <c:pt idx="26600">
                  <c:v>-9.9159663865546199E-2</c:v>
                </c:pt>
                <c:pt idx="26601">
                  <c:v>-9.9159663865546199E-2</c:v>
                </c:pt>
                <c:pt idx="26602">
                  <c:v>-9.9159663865546199E-2</c:v>
                </c:pt>
                <c:pt idx="26603">
                  <c:v>-9.9159663865546199E-2</c:v>
                </c:pt>
                <c:pt idx="26604">
                  <c:v>-9.9159663865546199E-2</c:v>
                </c:pt>
                <c:pt idx="26605">
                  <c:v>-9.9159663865546199E-2</c:v>
                </c:pt>
                <c:pt idx="26606">
                  <c:v>-9.9999999999999895E-2</c:v>
                </c:pt>
                <c:pt idx="26607">
                  <c:v>-9.9999999999999895E-2</c:v>
                </c:pt>
                <c:pt idx="26608">
                  <c:v>-9.9999999999999895E-2</c:v>
                </c:pt>
                <c:pt idx="26609">
                  <c:v>-9.9159663865546199E-2</c:v>
                </c:pt>
                <c:pt idx="26610">
                  <c:v>-9.9999999999999895E-2</c:v>
                </c:pt>
                <c:pt idx="26611">
                  <c:v>-9.9999999999999895E-2</c:v>
                </c:pt>
                <c:pt idx="26612">
                  <c:v>-9.9999999999999895E-2</c:v>
                </c:pt>
                <c:pt idx="26613">
                  <c:v>-9.9999999999999895E-2</c:v>
                </c:pt>
                <c:pt idx="26614">
                  <c:v>-9.9999999999999895E-2</c:v>
                </c:pt>
                <c:pt idx="26615">
                  <c:v>-9.9999999999999895E-2</c:v>
                </c:pt>
                <c:pt idx="26616">
                  <c:v>-9.9999999999999895E-2</c:v>
                </c:pt>
                <c:pt idx="26617">
                  <c:v>-9.9999999999999895E-2</c:v>
                </c:pt>
                <c:pt idx="26618">
                  <c:v>-9.9999999999999895E-2</c:v>
                </c:pt>
                <c:pt idx="26619">
                  <c:v>-9.9999999999999895E-2</c:v>
                </c:pt>
                <c:pt idx="26620">
                  <c:v>-9.9999999999999895E-2</c:v>
                </c:pt>
                <c:pt idx="26621">
                  <c:v>-9.9999999999999895E-2</c:v>
                </c:pt>
                <c:pt idx="26622">
                  <c:v>-9.9999999999999895E-2</c:v>
                </c:pt>
                <c:pt idx="26623">
                  <c:v>-9.9999999999999895E-2</c:v>
                </c:pt>
                <c:pt idx="26624">
                  <c:v>-9.9999999999999895E-2</c:v>
                </c:pt>
                <c:pt idx="26625">
                  <c:v>-9.9999999999999895E-2</c:v>
                </c:pt>
                <c:pt idx="26626">
                  <c:v>-9.9999999999999895E-2</c:v>
                </c:pt>
                <c:pt idx="26627">
                  <c:v>-9.9999999999999895E-2</c:v>
                </c:pt>
                <c:pt idx="26628">
                  <c:v>-9.9999999999999895E-2</c:v>
                </c:pt>
                <c:pt idx="26629">
                  <c:v>-9.9999999999999895E-2</c:v>
                </c:pt>
                <c:pt idx="26630">
                  <c:v>-9.9999999999999895E-2</c:v>
                </c:pt>
                <c:pt idx="26631">
                  <c:v>-9.9999999999999895E-2</c:v>
                </c:pt>
                <c:pt idx="26632">
                  <c:v>-9.9999999999999895E-2</c:v>
                </c:pt>
                <c:pt idx="26633">
                  <c:v>-9.9999999999999895E-2</c:v>
                </c:pt>
                <c:pt idx="26634">
                  <c:v>-9.9999999999999895E-2</c:v>
                </c:pt>
                <c:pt idx="26635">
                  <c:v>-9.9999999999999895E-2</c:v>
                </c:pt>
                <c:pt idx="26636">
                  <c:v>-9.9999999999999895E-2</c:v>
                </c:pt>
                <c:pt idx="26637">
                  <c:v>-9.9999999999999895E-2</c:v>
                </c:pt>
                <c:pt idx="26638">
                  <c:v>-9.9999999999999895E-2</c:v>
                </c:pt>
                <c:pt idx="26639">
                  <c:v>-9.9999999999999895E-2</c:v>
                </c:pt>
                <c:pt idx="26640">
                  <c:v>-9.9999999999999895E-2</c:v>
                </c:pt>
                <c:pt idx="26641">
                  <c:v>-9.9999999999999895E-2</c:v>
                </c:pt>
                <c:pt idx="26642">
                  <c:v>-9.9999999999999895E-2</c:v>
                </c:pt>
                <c:pt idx="26643">
                  <c:v>-9.9999999999999895E-2</c:v>
                </c:pt>
                <c:pt idx="26644">
                  <c:v>-9.9999999999999895E-2</c:v>
                </c:pt>
                <c:pt idx="26645">
                  <c:v>-9.9999999999999895E-2</c:v>
                </c:pt>
                <c:pt idx="26646">
                  <c:v>-9.9999999999999895E-2</c:v>
                </c:pt>
                <c:pt idx="26647">
                  <c:v>-9.9999999999999895E-2</c:v>
                </c:pt>
                <c:pt idx="26648">
                  <c:v>-9.9999999999999895E-2</c:v>
                </c:pt>
                <c:pt idx="26649">
                  <c:v>-9.9999999999999895E-2</c:v>
                </c:pt>
                <c:pt idx="26650">
                  <c:v>-9.9999999999999895E-2</c:v>
                </c:pt>
                <c:pt idx="26651">
                  <c:v>-9.9999999999999895E-2</c:v>
                </c:pt>
                <c:pt idx="26652">
                  <c:v>-9.9999999999999895E-2</c:v>
                </c:pt>
                <c:pt idx="26653">
                  <c:v>-9.9999999999999895E-2</c:v>
                </c:pt>
                <c:pt idx="26654">
                  <c:v>-9.9999999999999895E-2</c:v>
                </c:pt>
                <c:pt idx="26655">
                  <c:v>-9.9999999999999895E-2</c:v>
                </c:pt>
                <c:pt idx="26656">
                  <c:v>-9.9999999999999895E-2</c:v>
                </c:pt>
                <c:pt idx="26657">
                  <c:v>-9.9999999999999895E-2</c:v>
                </c:pt>
                <c:pt idx="26658">
                  <c:v>-9.9999999999999895E-2</c:v>
                </c:pt>
                <c:pt idx="26659">
                  <c:v>-9.9999999999999895E-2</c:v>
                </c:pt>
                <c:pt idx="26660">
                  <c:v>-9.9999999999999895E-2</c:v>
                </c:pt>
                <c:pt idx="26661">
                  <c:v>-9.9999999999999895E-2</c:v>
                </c:pt>
                <c:pt idx="26662">
                  <c:v>-9.9999999999999895E-2</c:v>
                </c:pt>
                <c:pt idx="26663">
                  <c:v>-9.9999999999999895E-2</c:v>
                </c:pt>
                <c:pt idx="26664">
                  <c:v>-9.9999999999999895E-2</c:v>
                </c:pt>
                <c:pt idx="26665">
                  <c:v>-9.9999999999999895E-2</c:v>
                </c:pt>
                <c:pt idx="26666">
                  <c:v>-9.9999999999999895E-2</c:v>
                </c:pt>
                <c:pt idx="26667">
                  <c:v>-9.9999999999999895E-2</c:v>
                </c:pt>
                <c:pt idx="26668">
                  <c:v>-9.9999999999999895E-2</c:v>
                </c:pt>
                <c:pt idx="26669">
                  <c:v>-9.9999999999999895E-2</c:v>
                </c:pt>
                <c:pt idx="26670">
                  <c:v>-9.9999999999999895E-2</c:v>
                </c:pt>
                <c:pt idx="26671">
                  <c:v>-9.9999999999999895E-2</c:v>
                </c:pt>
                <c:pt idx="26672">
                  <c:v>-9.9159663865546199E-2</c:v>
                </c:pt>
                <c:pt idx="26673">
                  <c:v>-9.9159663865546199E-2</c:v>
                </c:pt>
                <c:pt idx="26674">
                  <c:v>-9.9159663865546199E-2</c:v>
                </c:pt>
                <c:pt idx="26675">
                  <c:v>-9.9159663865546199E-2</c:v>
                </c:pt>
                <c:pt idx="26676">
                  <c:v>-9.9159663865546199E-2</c:v>
                </c:pt>
                <c:pt idx="26677">
                  <c:v>-9.9159663865546199E-2</c:v>
                </c:pt>
                <c:pt idx="26678">
                  <c:v>-9.9159663865546199E-2</c:v>
                </c:pt>
                <c:pt idx="26679">
                  <c:v>-9.9159663865546199E-2</c:v>
                </c:pt>
                <c:pt idx="26680">
                  <c:v>-9.9159663865546199E-2</c:v>
                </c:pt>
                <c:pt idx="26681">
                  <c:v>-9.9159663865546199E-2</c:v>
                </c:pt>
                <c:pt idx="26682">
                  <c:v>-9.9159663865546199E-2</c:v>
                </c:pt>
                <c:pt idx="26683">
                  <c:v>-9.9159663865546199E-2</c:v>
                </c:pt>
                <c:pt idx="26684">
                  <c:v>-9.9159663865546199E-2</c:v>
                </c:pt>
                <c:pt idx="26685">
                  <c:v>-9.9159663865546199E-2</c:v>
                </c:pt>
                <c:pt idx="26686">
                  <c:v>-9.9159663865546199E-2</c:v>
                </c:pt>
                <c:pt idx="26687">
                  <c:v>-9.9159663865546199E-2</c:v>
                </c:pt>
                <c:pt idx="26688">
                  <c:v>-9.9159663865546199E-2</c:v>
                </c:pt>
                <c:pt idx="26689">
                  <c:v>-9.9159663865546199E-2</c:v>
                </c:pt>
                <c:pt idx="26690">
                  <c:v>-9.9159663865546199E-2</c:v>
                </c:pt>
                <c:pt idx="26691">
                  <c:v>-9.9159663865546199E-2</c:v>
                </c:pt>
                <c:pt idx="26692">
                  <c:v>-9.9159663865546199E-2</c:v>
                </c:pt>
                <c:pt idx="26693">
                  <c:v>-9.9159663865546199E-2</c:v>
                </c:pt>
                <c:pt idx="26694">
                  <c:v>-9.9159663865546199E-2</c:v>
                </c:pt>
                <c:pt idx="26695">
                  <c:v>-9.9159663865546199E-2</c:v>
                </c:pt>
                <c:pt idx="26696">
                  <c:v>-9.9159663865546199E-2</c:v>
                </c:pt>
                <c:pt idx="26697">
                  <c:v>-9.9159663865546199E-2</c:v>
                </c:pt>
                <c:pt idx="26698">
                  <c:v>-9.9159663865546199E-2</c:v>
                </c:pt>
                <c:pt idx="26699">
                  <c:v>-9.9999999999999895E-2</c:v>
                </c:pt>
                <c:pt idx="26700">
                  <c:v>-9.9999999999999895E-2</c:v>
                </c:pt>
                <c:pt idx="26701">
                  <c:v>-9.9999999999999895E-2</c:v>
                </c:pt>
                <c:pt idx="26702">
                  <c:v>-9.9999999999999895E-2</c:v>
                </c:pt>
                <c:pt idx="26703">
                  <c:v>-9.9999999999999895E-2</c:v>
                </c:pt>
                <c:pt idx="26704">
                  <c:v>-9.9999999999999895E-2</c:v>
                </c:pt>
                <c:pt idx="26705">
                  <c:v>-9.9999999999999895E-2</c:v>
                </c:pt>
                <c:pt idx="26706">
                  <c:v>-9.9999999999999895E-2</c:v>
                </c:pt>
                <c:pt idx="26707">
                  <c:v>-9.9999999999999895E-2</c:v>
                </c:pt>
                <c:pt idx="26708">
                  <c:v>-9.9999999999999895E-2</c:v>
                </c:pt>
                <c:pt idx="26709">
                  <c:v>-9.9999999999999895E-2</c:v>
                </c:pt>
                <c:pt idx="26710">
                  <c:v>-9.9999999999999895E-2</c:v>
                </c:pt>
                <c:pt idx="26711">
                  <c:v>-9.9999999999999895E-2</c:v>
                </c:pt>
                <c:pt idx="26712">
                  <c:v>-9.9999999999999895E-2</c:v>
                </c:pt>
                <c:pt idx="26713">
                  <c:v>-9.9999999999999895E-2</c:v>
                </c:pt>
                <c:pt idx="26714">
                  <c:v>-9.9999999999999895E-2</c:v>
                </c:pt>
                <c:pt idx="26715">
                  <c:v>-9.9999999999999895E-2</c:v>
                </c:pt>
                <c:pt idx="26716">
                  <c:v>-9.9999999999999895E-2</c:v>
                </c:pt>
                <c:pt idx="26717">
                  <c:v>-9.9999999999999895E-2</c:v>
                </c:pt>
                <c:pt idx="26718">
                  <c:v>-9.9999999999999895E-2</c:v>
                </c:pt>
                <c:pt idx="26719">
                  <c:v>-9.9999999999999895E-2</c:v>
                </c:pt>
                <c:pt idx="26720">
                  <c:v>-9.9999999999999895E-2</c:v>
                </c:pt>
                <c:pt idx="26721">
                  <c:v>-9.9999999999999895E-2</c:v>
                </c:pt>
                <c:pt idx="26722">
                  <c:v>-9.9999999999999895E-2</c:v>
                </c:pt>
                <c:pt idx="26723">
                  <c:v>-9.9999999999999895E-2</c:v>
                </c:pt>
                <c:pt idx="26724">
                  <c:v>-9.9999999999999895E-2</c:v>
                </c:pt>
                <c:pt idx="26725">
                  <c:v>-9.9999999999999895E-2</c:v>
                </c:pt>
                <c:pt idx="26726">
                  <c:v>-9.9999999999999895E-2</c:v>
                </c:pt>
                <c:pt idx="26727">
                  <c:v>-9.9999999999999895E-2</c:v>
                </c:pt>
                <c:pt idx="26728">
                  <c:v>-9.9999999999999895E-2</c:v>
                </c:pt>
                <c:pt idx="26729">
                  <c:v>-9.9999999999999895E-2</c:v>
                </c:pt>
                <c:pt idx="26730">
                  <c:v>-9.9999999999999895E-2</c:v>
                </c:pt>
                <c:pt idx="26731">
                  <c:v>-9.9999999999999895E-2</c:v>
                </c:pt>
                <c:pt idx="26732">
                  <c:v>-9.9159663865546199E-2</c:v>
                </c:pt>
                <c:pt idx="26733">
                  <c:v>-9.9159663865546199E-2</c:v>
                </c:pt>
                <c:pt idx="26734">
                  <c:v>-9.9159663865546199E-2</c:v>
                </c:pt>
                <c:pt idx="26735">
                  <c:v>-9.9159663865546199E-2</c:v>
                </c:pt>
                <c:pt idx="26736">
                  <c:v>-9.9159663865546199E-2</c:v>
                </c:pt>
                <c:pt idx="26737">
                  <c:v>-9.9159663865546199E-2</c:v>
                </c:pt>
                <c:pt idx="26738">
                  <c:v>-9.9159663865546199E-2</c:v>
                </c:pt>
                <c:pt idx="26739">
                  <c:v>-9.9159663865546199E-2</c:v>
                </c:pt>
                <c:pt idx="26740">
                  <c:v>-9.9159663865546199E-2</c:v>
                </c:pt>
                <c:pt idx="26741">
                  <c:v>-9.9159663865546199E-2</c:v>
                </c:pt>
                <c:pt idx="26742">
                  <c:v>-9.9159663865546199E-2</c:v>
                </c:pt>
                <c:pt idx="26743">
                  <c:v>-9.9159663865546199E-2</c:v>
                </c:pt>
                <c:pt idx="26744">
                  <c:v>-9.9159663865546199E-2</c:v>
                </c:pt>
                <c:pt idx="26745">
                  <c:v>-9.9159663865546199E-2</c:v>
                </c:pt>
                <c:pt idx="26746">
                  <c:v>-9.9159663865546199E-2</c:v>
                </c:pt>
                <c:pt idx="26747">
                  <c:v>-9.8319327731092407E-2</c:v>
                </c:pt>
                <c:pt idx="26748">
                  <c:v>-9.8319327731092407E-2</c:v>
                </c:pt>
                <c:pt idx="26749">
                  <c:v>-9.8319327731092407E-2</c:v>
                </c:pt>
                <c:pt idx="26750">
                  <c:v>-9.8319327731092407E-2</c:v>
                </c:pt>
                <c:pt idx="26751">
                  <c:v>-9.8319327731092407E-2</c:v>
                </c:pt>
                <c:pt idx="26752">
                  <c:v>-9.8319327731092407E-2</c:v>
                </c:pt>
                <c:pt idx="26753">
                  <c:v>-9.8319327731092407E-2</c:v>
                </c:pt>
                <c:pt idx="26754">
                  <c:v>-9.8319327731092407E-2</c:v>
                </c:pt>
                <c:pt idx="26755">
                  <c:v>-9.8319327731092407E-2</c:v>
                </c:pt>
                <c:pt idx="26756">
                  <c:v>-9.8319327731092407E-2</c:v>
                </c:pt>
                <c:pt idx="26757">
                  <c:v>-9.8319327731092407E-2</c:v>
                </c:pt>
                <c:pt idx="26758">
                  <c:v>-9.8319327731092407E-2</c:v>
                </c:pt>
                <c:pt idx="26759">
                  <c:v>-9.8319327731092407E-2</c:v>
                </c:pt>
                <c:pt idx="26760">
                  <c:v>-9.8319327731092407E-2</c:v>
                </c:pt>
                <c:pt idx="26761">
                  <c:v>-9.8319327731092407E-2</c:v>
                </c:pt>
                <c:pt idx="26762">
                  <c:v>-9.8319327731092407E-2</c:v>
                </c:pt>
                <c:pt idx="26763">
                  <c:v>-9.8319327731092407E-2</c:v>
                </c:pt>
                <c:pt idx="26764">
                  <c:v>-9.8319327731092407E-2</c:v>
                </c:pt>
                <c:pt idx="26765">
                  <c:v>-9.9159663865546199E-2</c:v>
                </c:pt>
                <c:pt idx="26766">
                  <c:v>-9.9159663865546199E-2</c:v>
                </c:pt>
                <c:pt idx="26767">
                  <c:v>-9.9159663865546199E-2</c:v>
                </c:pt>
                <c:pt idx="26768">
                  <c:v>-9.9159663865546199E-2</c:v>
                </c:pt>
                <c:pt idx="26769">
                  <c:v>-9.9159663865546199E-2</c:v>
                </c:pt>
                <c:pt idx="26770">
                  <c:v>-9.9159663865546199E-2</c:v>
                </c:pt>
                <c:pt idx="26771">
                  <c:v>-9.9159663865546199E-2</c:v>
                </c:pt>
                <c:pt idx="26772">
                  <c:v>-9.9159663865546199E-2</c:v>
                </c:pt>
                <c:pt idx="26773">
                  <c:v>-9.9159663865546199E-2</c:v>
                </c:pt>
                <c:pt idx="26774">
                  <c:v>-9.9159663865546199E-2</c:v>
                </c:pt>
                <c:pt idx="26775">
                  <c:v>-9.9159663865546199E-2</c:v>
                </c:pt>
                <c:pt idx="26776">
                  <c:v>-9.9159663865546199E-2</c:v>
                </c:pt>
                <c:pt idx="26777">
                  <c:v>-9.9159663865546199E-2</c:v>
                </c:pt>
                <c:pt idx="26778">
                  <c:v>-9.9159663865546199E-2</c:v>
                </c:pt>
                <c:pt idx="26779">
                  <c:v>-9.9159663865546199E-2</c:v>
                </c:pt>
                <c:pt idx="26780">
                  <c:v>-9.9159663865546199E-2</c:v>
                </c:pt>
                <c:pt idx="26781">
                  <c:v>-9.9159663865546199E-2</c:v>
                </c:pt>
                <c:pt idx="26782">
                  <c:v>-9.9159663865546199E-2</c:v>
                </c:pt>
                <c:pt idx="26783">
                  <c:v>-9.9159663865546199E-2</c:v>
                </c:pt>
                <c:pt idx="26784">
                  <c:v>-9.9159663865546199E-2</c:v>
                </c:pt>
                <c:pt idx="26785">
                  <c:v>-9.9159663865546199E-2</c:v>
                </c:pt>
                <c:pt idx="26786">
                  <c:v>-9.9159663865546199E-2</c:v>
                </c:pt>
                <c:pt idx="26787">
                  <c:v>-9.9159663865546199E-2</c:v>
                </c:pt>
                <c:pt idx="26788">
                  <c:v>-9.9159663865546199E-2</c:v>
                </c:pt>
                <c:pt idx="26789">
                  <c:v>-9.9159663865546199E-2</c:v>
                </c:pt>
                <c:pt idx="26790">
                  <c:v>-9.9159663865546199E-2</c:v>
                </c:pt>
                <c:pt idx="26791">
                  <c:v>-9.9159663865546199E-2</c:v>
                </c:pt>
                <c:pt idx="26792">
                  <c:v>-9.9159663865546199E-2</c:v>
                </c:pt>
                <c:pt idx="26793">
                  <c:v>-9.9159663865546199E-2</c:v>
                </c:pt>
                <c:pt idx="26794">
                  <c:v>-9.9159663865546199E-2</c:v>
                </c:pt>
                <c:pt idx="26795">
                  <c:v>-9.9159663865546199E-2</c:v>
                </c:pt>
                <c:pt idx="26796">
                  <c:v>-9.9159663865546199E-2</c:v>
                </c:pt>
                <c:pt idx="26797">
                  <c:v>-9.9159663865546199E-2</c:v>
                </c:pt>
                <c:pt idx="26798">
                  <c:v>-9.9159663865546199E-2</c:v>
                </c:pt>
                <c:pt idx="26799">
                  <c:v>-9.9159663865546199E-2</c:v>
                </c:pt>
                <c:pt idx="26800">
                  <c:v>-9.9159663865546199E-2</c:v>
                </c:pt>
                <c:pt idx="26801">
                  <c:v>-9.9159663865546199E-2</c:v>
                </c:pt>
                <c:pt idx="26802">
                  <c:v>-9.9159663865546199E-2</c:v>
                </c:pt>
                <c:pt idx="26803">
                  <c:v>-9.9159663865546199E-2</c:v>
                </c:pt>
                <c:pt idx="26804">
                  <c:v>-9.9159663865546199E-2</c:v>
                </c:pt>
                <c:pt idx="26805">
                  <c:v>-9.9159663865546199E-2</c:v>
                </c:pt>
                <c:pt idx="26806">
                  <c:v>-9.9159663865546199E-2</c:v>
                </c:pt>
                <c:pt idx="26807">
                  <c:v>-9.9159663865546199E-2</c:v>
                </c:pt>
                <c:pt idx="26808">
                  <c:v>-9.9159663865546199E-2</c:v>
                </c:pt>
                <c:pt idx="26809">
                  <c:v>-9.9159663865546199E-2</c:v>
                </c:pt>
                <c:pt idx="26810">
                  <c:v>-9.9159663865546199E-2</c:v>
                </c:pt>
                <c:pt idx="26811">
                  <c:v>-9.9159663865546199E-2</c:v>
                </c:pt>
                <c:pt idx="26812">
                  <c:v>-9.9159663865546199E-2</c:v>
                </c:pt>
                <c:pt idx="26813">
                  <c:v>-9.9159663865546199E-2</c:v>
                </c:pt>
                <c:pt idx="26814">
                  <c:v>-9.9159663865546199E-2</c:v>
                </c:pt>
                <c:pt idx="26815">
                  <c:v>-9.9159663865546199E-2</c:v>
                </c:pt>
                <c:pt idx="26816">
                  <c:v>-9.9159663865546199E-2</c:v>
                </c:pt>
                <c:pt idx="26817">
                  <c:v>-9.9159663865546199E-2</c:v>
                </c:pt>
                <c:pt idx="26818">
                  <c:v>-9.9159663865546199E-2</c:v>
                </c:pt>
                <c:pt idx="26819">
                  <c:v>-9.9159663865546199E-2</c:v>
                </c:pt>
                <c:pt idx="26820">
                  <c:v>-9.9999999999999895E-2</c:v>
                </c:pt>
                <c:pt idx="26821">
                  <c:v>-9.9999999999999895E-2</c:v>
                </c:pt>
                <c:pt idx="26822">
                  <c:v>-9.9999999999999895E-2</c:v>
                </c:pt>
                <c:pt idx="26823">
                  <c:v>-9.9999999999999895E-2</c:v>
                </c:pt>
                <c:pt idx="26824">
                  <c:v>-9.9999999999999895E-2</c:v>
                </c:pt>
                <c:pt idx="26825">
                  <c:v>-9.9999999999999895E-2</c:v>
                </c:pt>
                <c:pt idx="26826">
                  <c:v>-9.9999999999999895E-2</c:v>
                </c:pt>
                <c:pt idx="26827">
                  <c:v>-9.9999999999999895E-2</c:v>
                </c:pt>
                <c:pt idx="26828">
                  <c:v>-9.9999999999999895E-2</c:v>
                </c:pt>
                <c:pt idx="26829">
                  <c:v>-9.9999999999999895E-2</c:v>
                </c:pt>
                <c:pt idx="26830">
                  <c:v>-9.9999999999999895E-2</c:v>
                </c:pt>
                <c:pt idx="26831">
                  <c:v>-9.9999999999999895E-2</c:v>
                </c:pt>
                <c:pt idx="26832">
                  <c:v>-9.9999999999999895E-2</c:v>
                </c:pt>
                <c:pt idx="26833">
                  <c:v>-9.9999999999999895E-2</c:v>
                </c:pt>
                <c:pt idx="26834">
                  <c:v>-9.9999999999999895E-2</c:v>
                </c:pt>
                <c:pt idx="26835">
                  <c:v>-9.9999999999999895E-2</c:v>
                </c:pt>
                <c:pt idx="26836">
                  <c:v>-9.9999999999999895E-2</c:v>
                </c:pt>
                <c:pt idx="26837">
                  <c:v>-9.9999999999999895E-2</c:v>
                </c:pt>
                <c:pt idx="26838">
                  <c:v>-9.9999999999999895E-2</c:v>
                </c:pt>
                <c:pt idx="26839">
                  <c:v>-9.9999999999999895E-2</c:v>
                </c:pt>
                <c:pt idx="26840">
                  <c:v>-9.9999999999999895E-2</c:v>
                </c:pt>
                <c:pt idx="26841">
                  <c:v>-9.9999999999999895E-2</c:v>
                </c:pt>
                <c:pt idx="26842">
                  <c:v>-9.9999999999999895E-2</c:v>
                </c:pt>
                <c:pt idx="26843">
                  <c:v>-9.9999999999999895E-2</c:v>
                </c:pt>
                <c:pt idx="26844">
                  <c:v>-9.9999999999999895E-2</c:v>
                </c:pt>
                <c:pt idx="26845">
                  <c:v>-9.9159663865546199E-2</c:v>
                </c:pt>
                <c:pt idx="26846">
                  <c:v>-9.9159663865546199E-2</c:v>
                </c:pt>
                <c:pt idx="26847">
                  <c:v>-9.9159663865546199E-2</c:v>
                </c:pt>
                <c:pt idx="26848">
                  <c:v>-9.9159663865546199E-2</c:v>
                </c:pt>
                <c:pt idx="26849">
                  <c:v>-9.9159663865546199E-2</c:v>
                </c:pt>
                <c:pt idx="26850">
                  <c:v>-9.9159663865546199E-2</c:v>
                </c:pt>
                <c:pt idx="26851">
                  <c:v>-9.9159663865546199E-2</c:v>
                </c:pt>
                <c:pt idx="26852">
                  <c:v>-9.9159663865546199E-2</c:v>
                </c:pt>
                <c:pt idx="26853">
                  <c:v>-9.9159663865546199E-2</c:v>
                </c:pt>
                <c:pt idx="26854">
                  <c:v>-9.9999999999999895E-2</c:v>
                </c:pt>
                <c:pt idx="26855">
                  <c:v>-9.9999999999999895E-2</c:v>
                </c:pt>
                <c:pt idx="26856">
                  <c:v>-9.9999999999999895E-2</c:v>
                </c:pt>
                <c:pt idx="26857">
                  <c:v>-9.9999999999999895E-2</c:v>
                </c:pt>
                <c:pt idx="26858">
                  <c:v>-9.9999999999999895E-2</c:v>
                </c:pt>
                <c:pt idx="26859">
                  <c:v>-9.9999999999999895E-2</c:v>
                </c:pt>
                <c:pt idx="26860">
                  <c:v>-9.9999999999999895E-2</c:v>
                </c:pt>
                <c:pt idx="26861">
                  <c:v>-9.9999999999999895E-2</c:v>
                </c:pt>
                <c:pt idx="26862">
                  <c:v>-9.9999999999999895E-2</c:v>
                </c:pt>
                <c:pt idx="26863">
                  <c:v>-9.9999999999999895E-2</c:v>
                </c:pt>
                <c:pt idx="26864">
                  <c:v>-9.9999999999999895E-2</c:v>
                </c:pt>
                <c:pt idx="26865">
                  <c:v>-9.9999999999999895E-2</c:v>
                </c:pt>
                <c:pt idx="26866">
                  <c:v>-9.9999999999999895E-2</c:v>
                </c:pt>
                <c:pt idx="26867">
                  <c:v>-9.9999999999999895E-2</c:v>
                </c:pt>
                <c:pt idx="26868">
                  <c:v>-0.10084033613445301</c:v>
                </c:pt>
                <c:pt idx="26869">
                  <c:v>-0.10084033613445301</c:v>
                </c:pt>
                <c:pt idx="26870">
                  <c:v>-0.10084033613445301</c:v>
                </c:pt>
                <c:pt idx="26871">
                  <c:v>-0.10084033613445301</c:v>
                </c:pt>
                <c:pt idx="26872">
                  <c:v>-9.9999999999999895E-2</c:v>
                </c:pt>
                <c:pt idx="26873">
                  <c:v>-9.9999999999999895E-2</c:v>
                </c:pt>
                <c:pt idx="26874">
                  <c:v>-9.9999999999999895E-2</c:v>
                </c:pt>
                <c:pt idx="26875">
                  <c:v>-9.9999999999999895E-2</c:v>
                </c:pt>
                <c:pt idx="26876">
                  <c:v>-9.9999999999999895E-2</c:v>
                </c:pt>
                <c:pt idx="26877">
                  <c:v>-9.9999999999999895E-2</c:v>
                </c:pt>
                <c:pt idx="26878">
                  <c:v>-9.9999999999999895E-2</c:v>
                </c:pt>
                <c:pt idx="26879">
                  <c:v>-9.9999999999999895E-2</c:v>
                </c:pt>
                <c:pt idx="26880">
                  <c:v>-9.9999999999999895E-2</c:v>
                </c:pt>
                <c:pt idx="26881">
                  <c:v>-0.10084033613445301</c:v>
                </c:pt>
                <c:pt idx="26882">
                  <c:v>-0.10084033613445301</c:v>
                </c:pt>
                <c:pt idx="26883">
                  <c:v>-0.10084033613445301</c:v>
                </c:pt>
                <c:pt idx="26884">
                  <c:v>-0.10084033613445301</c:v>
                </c:pt>
                <c:pt idx="26885">
                  <c:v>-0.10084033613445301</c:v>
                </c:pt>
                <c:pt idx="26886">
                  <c:v>-0.10084033613445301</c:v>
                </c:pt>
                <c:pt idx="26887">
                  <c:v>-0.10084033613445301</c:v>
                </c:pt>
                <c:pt idx="26888">
                  <c:v>-0.10084033613445301</c:v>
                </c:pt>
                <c:pt idx="26889">
                  <c:v>-0.10084033613445301</c:v>
                </c:pt>
                <c:pt idx="26890">
                  <c:v>-0.10084033613445301</c:v>
                </c:pt>
                <c:pt idx="26891">
                  <c:v>-0.10084033613445301</c:v>
                </c:pt>
                <c:pt idx="26892">
                  <c:v>-0.10084033613445301</c:v>
                </c:pt>
                <c:pt idx="26893">
                  <c:v>-0.10084033613445301</c:v>
                </c:pt>
                <c:pt idx="26894">
                  <c:v>-0.10084033613445301</c:v>
                </c:pt>
                <c:pt idx="26895">
                  <c:v>-0.10084033613445301</c:v>
                </c:pt>
                <c:pt idx="26896">
                  <c:v>-0.10084033613445301</c:v>
                </c:pt>
                <c:pt idx="26897">
                  <c:v>-0.10084033613445301</c:v>
                </c:pt>
                <c:pt idx="26898">
                  <c:v>-0.10084033613445301</c:v>
                </c:pt>
                <c:pt idx="26899">
                  <c:v>-0.10084033613445301</c:v>
                </c:pt>
                <c:pt idx="26900">
                  <c:v>-9.9999999999999895E-2</c:v>
                </c:pt>
                <c:pt idx="26901">
                  <c:v>-9.9999999999999895E-2</c:v>
                </c:pt>
                <c:pt idx="26902">
                  <c:v>-9.9999999999999895E-2</c:v>
                </c:pt>
                <c:pt idx="26903">
                  <c:v>-9.9999999999999895E-2</c:v>
                </c:pt>
                <c:pt idx="26904">
                  <c:v>-9.9999999999999895E-2</c:v>
                </c:pt>
                <c:pt idx="26905">
                  <c:v>-9.9999999999999895E-2</c:v>
                </c:pt>
                <c:pt idx="26906">
                  <c:v>-9.9999999999999895E-2</c:v>
                </c:pt>
                <c:pt idx="26907">
                  <c:v>-9.9159663865546199E-2</c:v>
                </c:pt>
                <c:pt idx="26908">
                  <c:v>-9.9159663865546199E-2</c:v>
                </c:pt>
                <c:pt idx="26909">
                  <c:v>-9.9159663865546199E-2</c:v>
                </c:pt>
                <c:pt idx="26910">
                  <c:v>-9.9159663865546199E-2</c:v>
                </c:pt>
                <c:pt idx="26911">
                  <c:v>-9.9159663865546199E-2</c:v>
                </c:pt>
                <c:pt idx="26912">
                  <c:v>-9.9159663865546199E-2</c:v>
                </c:pt>
                <c:pt idx="26913">
                  <c:v>-9.9159663865546199E-2</c:v>
                </c:pt>
                <c:pt idx="26914">
                  <c:v>-9.9159663865546199E-2</c:v>
                </c:pt>
                <c:pt idx="26915">
                  <c:v>-9.9159663865546199E-2</c:v>
                </c:pt>
                <c:pt idx="26916">
                  <c:v>-9.9159663865546199E-2</c:v>
                </c:pt>
                <c:pt idx="26917">
                  <c:v>-9.9159663865546199E-2</c:v>
                </c:pt>
                <c:pt idx="26918">
                  <c:v>-9.9159663865546199E-2</c:v>
                </c:pt>
                <c:pt idx="26919">
                  <c:v>-9.9159663865546199E-2</c:v>
                </c:pt>
                <c:pt idx="26920">
                  <c:v>-9.9159663865546199E-2</c:v>
                </c:pt>
                <c:pt idx="26921">
                  <c:v>-9.9159663865546199E-2</c:v>
                </c:pt>
                <c:pt idx="26922">
                  <c:v>-9.9159663865546199E-2</c:v>
                </c:pt>
                <c:pt idx="26923">
                  <c:v>-9.9159663865546199E-2</c:v>
                </c:pt>
                <c:pt idx="26924">
                  <c:v>-9.9159663865546199E-2</c:v>
                </c:pt>
                <c:pt idx="26925">
                  <c:v>-9.9159663865546199E-2</c:v>
                </c:pt>
                <c:pt idx="26926">
                  <c:v>-9.9159663865546199E-2</c:v>
                </c:pt>
                <c:pt idx="26927">
                  <c:v>-9.9159663865546199E-2</c:v>
                </c:pt>
                <c:pt idx="26928">
                  <c:v>-9.9159663865546199E-2</c:v>
                </c:pt>
                <c:pt idx="26929">
                  <c:v>-9.9159663865546199E-2</c:v>
                </c:pt>
                <c:pt idx="26930">
                  <c:v>-9.9159663865546199E-2</c:v>
                </c:pt>
                <c:pt idx="26931">
                  <c:v>-9.9159663865546199E-2</c:v>
                </c:pt>
                <c:pt idx="26932">
                  <c:v>-9.9159663865546199E-2</c:v>
                </c:pt>
                <c:pt idx="26933">
                  <c:v>-9.9159663865546199E-2</c:v>
                </c:pt>
                <c:pt idx="26934">
                  <c:v>-9.9159663865546199E-2</c:v>
                </c:pt>
                <c:pt idx="26935">
                  <c:v>-9.8319327731092407E-2</c:v>
                </c:pt>
                <c:pt idx="26936">
                  <c:v>-9.8319327731092407E-2</c:v>
                </c:pt>
                <c:pt idx="26937">
                  <c:v>-9.8319327731092407E-2</c:v>
                </c:pt>
                <c:pt idx="26938">
                  <c:v>-9.8319327731092407E-2</c:v>
                </c:pt>
                <c:pt idx="26939">
                  <c:v>-9.8319327731092407E-2</c:v>
                </c:pt>
                <c:pt idx="26940">
                  <c:v>-9.8319327731092407E-2</c:v>
                </c:pt>
                <c:pt idx="26941">
                  <c:v>-9.8319327731092407E-2</c:v>
                </c:pt>
                <c:pt idx="26942">
                  <c:v>-9.8319327731092407E-2</c:v>
                </c:pt>
                <c:pt idx="26943">
                  <c:v>-9.8319327731092407E-2</c:v>
                </c:pt>
                <c:pt idx="26944">
                  <c:v>-9.8319327731092407E-2</c:v>
                </c:pt>
                <c:pt idx="26945">
                  <c:v>-9.8319327731092407E-2</c:v>
                </c:pt>
                <c:pt idx="26946">
                  <c:v>-9.8319327731092407E-2</c:v>
                </c:pt>
                <c:pt idx="26947">
                  <c:v>-9.8319327731092407E-2</c:v>
                </c:pt>
                <c:pt idx="26948">
                  <c:v>-9.8319327731092407E-2</c:v>
                </c:pt>
                <c:pt idx="26949">
                  <c:v>-9.8319327731092407E-2</c:v>
                </c:pt>
                <c:pt idx="26950">
                  <c:v>-9.8319327731092407E-2</c:v>
                </c:pt>
                <c:pt idx="26951">
                  <c:v>-9.8319327731092407E-2</c:v>
                </c:pt>
                <c:pt idx="26952">
                  <c:v>-9.8319327731092407E-2</c:v>
                </c:pt>
                <c:pt idx="26953">
                  <c:v>-9.8319327731092407E-2</c:v>
                </c:pt>
                <c:pt idx="26954">
                  <c:v>-9.8319327731092407E-2</c:v>
                </c:pt>
                <c:pt idx="26955">
                  <c:v>-9.8319327731092407E-2</c:v>
                </c:pt>
                <c:pt idx="26956">
                  <c:v>-9.8319327731092407E-2</c:v>
                </c:pt>
                <c:pt idx="26957">
                  <c:v>-9.8319327731092407E-2</c:v>
                </c:pt>
                <c:pt idx="26958">
                  <c:v>-9.8319327731092407E-2</c:v>
                </c:pt>
                <c:pt idx="26959">
                  <c:v>-9.8319327731092407E-2</c:v>
                </c:pt>
                <c:pt idx="26960">
                  <c:v>-9.8319327731092407E-2</c:v>
                </c:pt>
                <c:pt idx="26961">
                  <c:v>-9.8319327731092407E-2</c:v>
                </c:pt>
                <c:pt idx="26962">
                  <c:v>-9.8319327731092407E-2</c:v>
                </c:pt>
                <c:pt idx="26963">
                  <c:v>-9.8319327731092407E-2</c:v>
                </c:pt>
                <c:pt idx="26964">
                  <c:v>-9.8319327731092407E-2</c:v>
                </c:pt>
                <c:pt idx="26965">
                  <c:v>-9.8319327731092407E-2</c:v>
                </c:pt>
                <c:pt idx="26966">
                  <c:v>-9.8319327731092407E-2</c:v>
                </c:pt>
                <c:pt idx="26967">
                  <c:v>-9.8319327731092407E-2</c:v>
                </c:pt>
                <c:pt idx="26968">
                  <c:v>-9.8319327731092407E-2</c:v>
                </c:pt>
                <c:pt idx="26969">
                  <c:v>-9.8319327731092407E-2</c:v>
                </c:pt>
                <c:pt idx="26970">
                  <c:v>-9.8319327731092407E-2</c:v>
                </c:pt>
                <c:pt idx="26971">
                  <c:v>-9.8319327731092407E-2</c:v>
                </c:pt>
                <c:pt idx="26972">
                  <c:v>-9.8319327731092407E-2</c:v>
                </c:pt>
                <c:pt idx="26973">
                  <c:v>-9.9159663865546199E-2</c:v>
                </c:pt>
                <c:pt idx="26974">
                  <c:v>-9.9159663865546199E-2</c:v>
                </c:pt>
                <c:pt idx="26975">
                  <c:v>-9.9159663865546199E-2</c:v>
                </c:pt>
                <c:pt idx="26976">
                  <c:v>-9.9159663865546199E-2</c:v>
                </c:pt>
                <c:pt idx="26977">
                  <c:v>-9.9159663865546199E-2</c:v>
                </c:pt>
                <c:pt idx="26978">
                  <c:v>-9.9159663865546199E-2</c:v>
                </c:pt>
                <c:pt idx="26979">
                  <c:v>-9.9159663865546199E-2</c:v>
                </c:pt>
                <c:pt idx="26980">
                  <c:v>-9.9159663865546199E-2</c:v>
                </c:pt>
                <c:pt idx="26981">
                  <c:v>-9.9159663865546199E-2</c:v>
                </c:pt>
                <c:pt idx="26982">
                  <c:v>-9.9159663865546199E-2</c:v>
                </c:pt>
                <c:pt idx="26983">
                  <c:v>-9.9159663865546199E-2</c:v>
                </c:pt>
                <c:pt idx="26984">
                  <c:v>-9.9159663865546199E-2</c:v>
                </c:pt>
                <c:pt idx="26985">
                  <c:v>-9.9159663865546199E-2</c:v>
                </c:pt>
                <c:pt idx="26986">
                  <c:v>-9.9159663865546199E-2</c:v>
                </c:pt>
                <c:pt idx="26987">
                  <c:v>-9.9159663865546199E-2</c:v>
                </c:pt>
                <c:pt idx="26988">
                  <c:v>-9.9159663865546199E-2</c:v>
                </c:pt>
                <c:pt idx="26989">
                  <c:v>-9.9159663865546199E-2</c:v>
                </c:pt>
                <c:pt idx="26990">
                  <c:v>-9.9159663865546199E-2</c:v>
                </c:pt>
                <c:pt idx="26991">
                  <c:v>-9.9999999999999895E-2</c:v>
                </c:pt>
                <c:pt idx="26992">
                  <c:v>-9.9999999999999895E-2</c:v>
                </c:pt>
                <c:pt idx="26993">
                  <c:v>-9.9999999999999895E-2</c:v>
                </c:pt>
                <c:pt idx="26994">
                  <c:v>-9.9999999999999895E-2</c:v>
                </c:pt>
                <c:pt idx="26995">
                  <c:v>-9.9999999999999895E-2</c:v>
                </c:pt>
                <c:pt idx="26996">
                  <c:v>-9.9999999999999895E-2</c:v>
                </c:pt>
                <c:pt idx="26997">
                  <c:v>-9.9999999999999895E-2</c:v>
                </c:pt>
                <c:pt idx="26998">
                  <c:v>-9.9999999999999895E-2</c:v>
                </c:pt>
                <c:pt idx="26999">
                  <c:v>-9.9999999999999895E-2</c:v>
                </c:pt>
                <c:pt idx="27000">
                  <c:v>-9.9999999999999895E-2</c:v>
                </c:pt>
                <c:pt idx="27001">
                  <c:v>-9.9999999999999895E-2</c:v>
                </c:pt>
                <c:pt idx="27002">
                  <c:v>-9.9999999999999895E-2</c:v>
                </c:pt>
                <c:pt idx="27003">
                  <c:v>-9.9999999999999895E-2</c:v>
                </c:pt>
                <c:pt idx="27004">
                  <c:v>-9.9999999999999895E-2</c:v>
                </c:pt>
                <c:pt idx="27005">
                  <c:v>-9.9999999999999895E-2</c:v>
                </c:pt>
                <c:pt idx="27006">
                  <c:v>-9.9999999999999895E-2</c:v>
                </c:pt>
                <c:pt idx="27007">
                  <c:v>-9.9999999999999895E-2</c:v>
                </c:pt>
                <c:pt idx="27008">
                  <c:v>-9.9999999999999895E-2</c:v>
                </c:pt>
                <c:pt idx="27009">
                  <c:v>-9.9999999999999895E-2</c:v>
                </c:pt>
                <c:pt idx="27010">
                  <c:v>-9.9999999999999895E-2</c:v>
                </c:pt>
                <c:pt idx="27011">
                  <c:v>-9.9999999999999895E-2</c:v>
                </c:pt>
                <c:pt idx="27012">
                  <c:v>-9.9999999999999895E-2</c:v>
                </c:pt>
                <c:pt idx="27013">
                  <c:v>-9.9999999999999895E-2</c:v>
                </c:pt>
                <c:pt idx="27014">
                  <c:v>-9.9999999999999895E-2</c:v>
                </c:pt>
                <c:pt idx="27015">
                  <c:v>-9.9999999999999895E-2</c:v>
                </c:pt>
                <c:pt idx="27016">
                  <c:v>-9.9999999999999895E-2</c:v>
                </c:pt>
                <c:pt idx="27017">
                  <c:v>-9.9999999999999895E-2</c:v>
                </c:pt>
                <c:pt idx="27018">
                  <c:v>-9.9999999999999895E-2</c:v>
                </c:pt>
                <c:pt idx="27019">
                  <c:v>-9.9999999999999895E-2</c:v>
                </c:pt>
                <c:pt idx="27020">
                  <c:v>-9.9999999999999895E-2</c:v>
                </c:pt>
                <c:pt idx="27021">
                  <c:v>-9.9999999999999895E-2</c:v>
                </c:pt>
                <c:pt idx="27022">
                  <c:v>-9.9999999999999895E-2</c:v>
                </c:pt>
                <c:pt idx="27023">
                  <c:v>-9.9999999999999895E-2</c:v>
                </c:pt>
                <c:pt idx="27024">
                  <c:v>-9.9999999999999895E-2</c:v>
                </c:pt>
                <c:pt idx="27025">
                  <c:v>-9.9999999999999895E-2</c:v>
                </c:pt>
                <c:pt idx="27026">
                  <c:v>-9.9999999999999895E-2</c:v>
                </c:pt>
                <c:pt idx="27027">
                  <c:v>-9.9999999999999895E-2</c:v>
                </c:pt>
                <c:pt idx="27028">
                  <c:v>-9.9999999999999895E-2</c:v>
                </c:pt>
                <c:pt idx="27029">
                  <c:v>-9.9999999999999895E-2</c:v>
                </c:pt>
                <c:pt idx="27030">
                  <c:v>-9.9999999999999895E-2</c:v>
                </c:pt>
                <c:pt idx="27031">
                  <c:v>-9.9999999999999895E-2</c:v>
                </c:pt>
                <c:pt idx="27032">
                  <c:v>-9.9999999999999895E-2</c:v>
                </c:pt>
                <c:pt idx="27033">
                  <c:v>-9.9159663865546199E-2</c:v>
                </c:pt>
                <c:pt idx="27034">
                  <c:v>-9.9159663865546199E-2</c:v>
                </c:pt>
                <c:pt idx="27035">
                  <c:v>-9.9159663865546199E-2</c:v>
                </c:pt>
                <c:pt idx="27036">
                  <c:v>-9.9159663865546199E-2</c:v>
                </c:pt>
                <c:pt idx="27037">
                  <c:v>-9.9159663865546199E-2</c:v>
                </c:pt>
                <c:pt idx="27038">
                  <c:v>-9.9159663865546199E-2</c:v>
                </c:pt>
                <c:pt idx="27039">
                  <c:v>-9.9159663865546199E-2</c:v>
                </c:pt>
                <c:pt idx="27040">
                  <c:v>-9.9159663865546199E-2</c:v>
                </c:pt>
                <c:pt idx="27041">
                  <c:v>-9.9159663865546199E-2</c:v>
                </c:pt>
                <c:pt idx="27042">
                  <c:v>-9.9159663865546199E-2</c:v>
                </c:pt>
                <c:pt idx="27043">
                  <c:v>-9.9159663865546199E-2</c:v>
                </c:pt>
                <c:pt idx="27044">
                  <c:v>-9.9159663865546199E-2</c:v>
                </c:pt>
                <c:pt idx="27045">
                  <c:v>-9.9159663865546199E-2</c:v>
                </c:pt>
                <c:pt idx="27046">
                  <c:v>-9.9159663865546199E-2</c:v>
                </c:pt>
                <c:pt idx="27047">
                  <c:v>-9.9159663865546199E-2</c:v>
                </c:pt>
                <c:pt idx="27048">
                  <c:v>-9.9159663865546199E-2</c:v>
                </c:pt>
                <c:pt idx="27049">
                  <c:v>-9.9159663865546199E-2</c:v>
                </c:pt>
                <c:pt idx="27050">
                  <c:v>-9.9159663865546199E-2</c:v>
                </c:pt>
                <c:pt idx="27051">
                  <c:v>-9.9159663865546199E-2</c:v>
                </c:pt>
                <c:pt idx="27052">
                  <c:v>-9.9159663865546199E-2</c:v>
                </c:pt>
                <c:pt idx="27053">
                  <c:v>-9.9159663865546199E-2</c:v>
                </c:pt>
                <c:pt idx="27054">
                  <c:v>-9.9159663865546199E-2</c:v>
                </c:pt>
                <c:pt idx="27055">
                  <c:v>-9.9159663865546199E-2</c:v>
                </c:pt>
                <c:pt idx="27056">
                  <c:v>-9.9159663865546199E-2</c:v>
                </c:pt>
                <c:pt idx="27057">
                  <c:v>-9.9159663865546199E-2</c:v>
                </c:pt>
                <c:pt idx="27058">
                  <c:v>-9.9159663865546199E-2</c:v>
                </c:pt>
                <c:pt idx="27059">
                  <c:v>-9.8319327731092407E-2</c:v>
                </c:pt>
                <c:pt idx="27060">
                  <c:v>-9.8319327731092407E-2</c:v>
                </c:pt>
                <c:pt idx="27061">
                  <c:v>-9.8319327731092407E-2</c:v>
                </c:pt>
                <c:pt idx="27062">
                  <c:v>-9.8319327731092407E-2</c:v>
                </c:pt>
                <c:pt idx="27063">
                  <c:v>-9.8319327731092407E-2</c:v>
                </c:pt>
                <c:pt idx="27064">
                  <c:v>-9.8319327731092407E-2</c:v>
                </c:pt>
                <c:pt idx="27065">
                  <c:v>-9.8319327731092407E-2</c:v>
                </c:pt>
                <c:pt idx="27066">
                  <c:v>-9.8319327731092407E-2</c:v>
                </c:pt>
                <c:pt idx="27067">
                  <c:v>-9.8319327731092407E-2</c:v>
                </c:pt>
                <c:pt idx="27068">
                  <c:v>-9.8319327731092407E-2</c:v>
                </c:pt>
                <c:pt idx="27069">
                  <c:v>-9.8319327731092407E-2</c:v>
                </c:pt>
                <c:pt idx="27070">
                  <c:v>-9.8319327731092407E-2</c:v>
                </c:pt>
                <c:pt idx="27071">
                  <c:v>-9.8319327731092407E-2</c:v>
                </c:pt>
                <c:pt idx="27072">
                  <c:v>-9.8319327731092407E-2</c:v>
                </c:pt>
                <c:pt idx="27073">
                  <c:v>-9.8319327731092407E-2</c:v>
                </c:pt>
                <c:pt idx="27074">
                  <c:v>-9.8319327731092407E-2</c:v>
                </c:pt>
                <c:pt idx="27075">
                  <c:v>-9.8319327731092407E-2</c:v>
                </c:pt>
                <c:pt idx="27076">
                  <c:v>-9.8319327731092407E-2</c:v>
                </c:pt>
                <c:pt idx="27077">
                  <c:v>-9.8319327731092407E-2</c:v>
                </c:pt>
                <c:pt idx="27078">
                  <c:v>-9.8319327731092407E-2</c:v>
                </c:pt>
                <c:pt idx="27079">
                  <c:v>-9.8319327731092407E-2</c:v>
                </c:pt>
                <c:pt idx="27080">
                  <c:v>-9.8319327731092407E-2</c:v>
                </c:pt>
                <c:pt idx="27081">
                  <c:v>-9.8319327731092407E-2</c:v>
                </c:pt>
                <c:pt idx="27082">
                  <c:v>-9.8319327731092407E-2</c:v>
                </c:pt>
                <c:pt idx="27083">
                  <c:v>-9.8319327731092407E-2</c:v>
                </c:pt>
                <c:pt idx="27084">
                  <c:v>-9.8319327731092407E-2</c:v>
                </c:pt>
                <c:pt idx="27085">
                  <c:v>-9.8319327731092407E-2</c:v>
                </c:pt>
                <c:pt idx="27086">
                  <c:v>-9.8319327731092407E-2</c:v>
                </c:pt>
                <c:pt idx="27087">
                  <c:v>-9.8319327731092407E-2</c:v>
                </c:pt>
                <c:pt idx="27088">
                  <c:v>-9.8319327731092407E-2</c:v>
                </c:pt>
                <c:pt idx="27089">
                  <c:v>-9.7478991596638601E-2</c:v>
                </c:pt>
                <c:pt idx="27090">
                  <c:v>-9.7478991596638601E-2</c:v>
                </c:pt>
                <c:pt idx="27091">
                  <c:v>-9.7478991596638601E-2</c:v>
                </c:pt>
                <c:pt idx="27092">
                  <c:v>-9.7478991596638601E-2</c:v>
                </c:pt>
                <c:pt idx="27093">
                  <c:v>-9.7478991596638601E-2</c:v>
                </c:pt>
                <c:pt idx="27094">
                  <c:v>-9.7478991596638601E-2</c:v>
                </c:pt>
                <c:pt idx="27095">
                  <c:v>-9.7478991596638601E-2</c:v>
                </c:pt>
                <c:pt idx="27096">
                  <c:v>-9.7478991596638601E-2</c:v>
                </c:pt>
                <c:pt idx="27097">
                  <c:v>-9.6638655462184794E-2</c:v>
                </c:pt>
                <c:pt idx="27098">
                  <c:v>-9.6638655462184794E-2</c:v>
                </c:pt>
                <c:pt idx="27099">
                  <c:v>-9.6638655462184794E-2</c:v>
                </c:pt>
                <c:pt idx="27100">
                  <c:v>-9.6638655462184794E-2</c:v>
                </c:pt>
                <c:pt idx="27101">
                  <c:v>-9.6638655462184794E-2</c:v>
                </c:pt>
                <c:pt idx="27102">
                  <c:v>-9.6638655462184794E-2</c:v>
                </c:pt>
                <c:pt idx="27103">
                  <c:v>-9.6638655462184794E-2</c:v>
                </c:pt>
                <c:pt idx="27104">
                  <c:v>-9.6638655462184794E-2</c:v>
                </c:pt>
                <c:pt idx="27105">
                  <c:v>-9.6638655462184794E-2</c:v>
                </c:pt>
                <c:pt idx="27106">
                  <c:v>-9.6638655462184794E-2</c:v>
                </c:pt>
                <c:pt idx="27107">
                  <c:v>-9.7478991596638601E-2</c:v>
                </c:pt>
                <c:pt idx="27108">
                  <c:v>-9.7478991596638601E-2</c:v>
                </c:pt>
                <c:pt idx="27109">
                  <c:v>-9.7478991596638601E-2</c:v>
                </c:pt>
                <c:pt idx="27110">
                  <c:v>-9.7478991596638601E-2</c:v>
                </c:pt>
                <c:pt idx="27111">
                  <c:v>-9.7478991596638601E-2</c:v>
                </c:pt>
                <c:pt idx="27112">
                  <c:v>-9.7478991596638601E-2</c:v>
                </c:pt>
                <c:pt idx="27113">
                  <c:v>-9.7478991596638601E-2</c:v>
                </c:pt>
                <c:pt idx="27114">
                  <c:v>-9.7478991596638601E-2</c:v>
                </c:pt>
                <c:pt idx="27115">
                  <c:v>-9.7478991596638601E-2</c:v>
                </c:pt>
                <c:pt idx="27116">
                  <c:v>-9.7478991596638601E-2</c:v>
                </c:pt>
                <c:pt idx="27117">
                  <c:v>-9.7478991596638601E-2</c:v>
                </c:pt>
                <c:pt idx="27118">
                  <c:v>-9.7478991596638601E-2</c:v>
                </c:pt>
                <c:pt idx="27119">
                  <c:v>-9.7478991596638601E-2</c:v>
                </c:pt>
                <c:pt idx="27120">
                  <c:v>-9.7478991596638601E-2</c:v>
                </c:pt>
                <c:pt idx="27121">
                  <c:v>-9.7478991596638601E-2</c:v>
                </c:pt>
                <c:pt idx="27122">
                  <c:v>-9.7478991596638601E-2</c:v>
                </c:pt>
                <c:pt idx="27123">
                  <c:v>-9.7478991596638601E-2</c:v>
                </c:pt>
                <c:pt idx="27124">
                  <c:v>-9.7478991596638601E-2</c:v>
                </c:pt>
                <c:pt idx="27125">
                  <c:v>-9.7478991596638601E-2</c:v>
                </c:pt>
                <c:pt idx="27126">
                  <c:v>-9.7478991596638601E-2</c:v>
                </c:pt>
                <c:pt idx="27127">
                  <c:v>-9.7478991596638601E-2</c:v>
                </c:pt>
                <c:pt idx="27128">
                  <c:v>-9.7478991596638601E-2</c:v>
                </c:pt>
                <c:pt idx="27129">
                  <c:v>-9.7478991596638601E-2</c:v>
                </c:pt>
                <c:pt idx="27130">
                  <c:v>-9.7478991596638601E-2</c:v>
                </c:pt>
                <c:pt idx="27131">
                  <c:v>-9.7478991596638601E-2</c:v>
                </c:pt>
                <c:pt idx="27132">
                  <c:v>-9.7478991596638601E-2</c:v>
                </c:pt>
                <c:pt idx="27133">
                  <c:v>-9.7478991596638601E-2</c:v>
                </c:pt>
                <c:pt idx="27134">
                  <c:v>-9.7478991596638601E-2</c:v>
                </c:pt>
                <c:pt idx="27135">
                  <c:v>-9.7478991596638601E-2</c:v>
                </c:pt>
                <c:pt idx="27136">
                  <c:v>-9.7478991596638601E-2</c:v>
                </c:pt>
                <c:pt idx="27137">
                  <c:v>-9.7478991596638601E-2</c:v>
                </c:pt>
                <c:pt idx="27138">
                  <c:v>-9.7478991596638601E-2</c:v>
                </c:pt>
                <c:pt idx="27139">
                  <c:v>-9.7478991596638601E-2</c:v>
                </c:pt>
                <c:pt idx="27140">
                  <c:v>-9.7478991596638601E-2</c:v>
                </c:pt>
                <c:pt idx="27141">
                  <c:v>-9.7478991596638601E-2</c:v>
                </c:pt>
                <c:pt idx="27142">
                  <c:v>-9.7478991596638601E-2</c:v>
                </c:pt>
                <c:pt idx="27143">
                  <c:v>-9.7478991596638601E-2</c:v>
                </c:pt>
                <c:pt idx="27144">
                  <c:v>-9.7478991596638601E-2</c:v>
                </c:pt>
                <c:pt idx="27145">
                  <c:v>-9.7478991596638601E-2</c:v>
                </c:pt>
                <c:pt idx="27146">
                  <c:v>-9.7478991596638601E-2</c:v>
                </c:pt>
                <c:pt idx="27147">
                  <c:v>-9.7478991596638601E-2</c:v>
                </c:pt>
                <c:pt idx="27148">
                  <c:v>-9.6638655462184794E-2</c:v>
                </c:pt>
                <c:pt idx="27149">
                  <c:v>-9.6638655462184794E-2</c:v>
                </c:pt>
                <c:pt idx="27150">
                  <c:v>-9.6638655462184794E-2</c:v>
                </c:pt>
                <c:pt idx="27151">
                  <c:v>-9.6638655462184794E-2</c:v>
                </c:pt>
                <c:pt idx="27152">
                  <c:v>-9.6638655462184794E-2</c:v>
                </c:pt>
                <c:pt idx="27153">
                  <c:v>-9.6638655462184794E-2</c:v>
                </c:pt>
                <c:pt idx="27154">
                  <c:v>-9.6638655462184794E-2</c:v>
                </c:pt>
                <c:pt idx="27155">
                  <c:v>-9.6638655462184794E-2</c:v>
                </c:pt>
                <c:pt idx="27156">
                  <c:v>-9.6638655462184794E-2</c:v>
                </c:pt>
                <c:pt idx="27157">
                  <c:v>-9.6638655462184794E-2</c:v>
                </c:pt>
                <c:pt idx="27158">
                  <c:v>-9.6638655462184794E-2</c:v>
                </c:pt>
                <c:pt idx="27159">
                  <c:v>-9.6638655462184794E-2</c:v>
                </c:pt>
                <c:pt idx="27160">
                  <c:v>-9.6638655462184794E-2</c:v>
                </c:pt>
                <c:pt idx="27161">
                  <c:v>-9.6638655462184794E-2</c:v>
                </c:pt>
                <c:pt idx="27162">
                  <c:v>-9.6638655462184794E-2</c:v>
                </c:pt>
                <c:pt idx="27163">
                  <c:v>-9.6638655462184794E-2</c:v>
                </c:pt>
                <c:pt idx="27164">
                  <c:v>-9.6638655462184794E-2</c:v>
                </c:pt>
                <c:pt idx="27165">
                  <c:v>-9.6638655462184794E-2</c:v>
                </c:pt>
                <c:pt idx="27166">
                  <c:v>-9.6638655462184794E-2</c:v>
                </c:pt>
                <c:pt idx="27167">
                  <c:v>-9.6638655462184794E-2</c:v>
                </c:pt>
                <c:pt idx="27168">
                  <c:v>-9.6638655462184794E-2</c:v>
                </c:pt>
                <c:pt idx="27169">
                  <c:v>-9.6638655462184794E-2</c:v>
                </c:pt>
                <c:pt idx="27170">
                  <c:v>-9.6638655462184794E-2</c:v>
                </c:pt>
                <c:pt idx="27171">
                  <c:v>-9.6638655462184794E-2</c:v>
                </c:pt>
                <c:pt idx="27172">
                  <c:v>-9.6638655462184794E-2</c:v>
                </c:pt>
                <c:pt idx="27173">
                  <c:v>-9.6638655462184794E-2</c:v>
                </c:pt>
                <c:pt idx="27174">
                  <c:v>-9.7478991596638601E-2</c:v>
                </c:pt>
                <c:pt idx="27175">
                  <c:v>-9.7478991596638601E-2</c:v>
                </c:pt>
                <c:pt idx="27176">
                  <c:v>-9.7478991596638601E-2</c:v>
                </c:pt>
                <c:pt idx="27177">
                  <c:v>-9.7478991596638601E-2</c:v>
                </c:pt>
                <c:pt idx="27178">
                  <c:v>-9.7478991596638601E-2</c:v>
                </c:pt>
                <c:pt idx="27179">
                  <c:v>-9.7478991596638601E-2</c:v>
                </c:pt>
                <c:pt idx="27180">
                  <c:v>-9.7478991596638601E-2</c:v>
                </c:pt>
                <c:pt idx="27181">
                  <c:v>-9.7478991596638601E-2</c:v>
                </c:pt>
                <c:pt idx="27182">
                  <c:v>-9.7478991596638601E-2</c:v>
                </c:pt>
                <c:pt idx="27183">
                  <c:v>-9.7478991596638601E-2</c:v>
                </c:pt>
                <c:pt idx="27184">
                  <c:v>-9.7478991596638601E-2</c:v>
                </c:pt>
                <c:pt idx="27185">
                  <c:v>-9.7478991596638601E-2</c:v>
                </c:pt>
                <c:pt idx="27186">
                  <c:v>-9.7478991596638601E-2</c:v>
                </c:pt>
                <c:pt idx="27187">
                  <c:v>-9.7478991596638601E-2</c:v>
                </c:pt>
                <c:pt idx="27188">
                  <c:v>-9.6638655462184794E-2</c:v>
                </c:pt>
                <c:pt idx="27189">
                  <c:v>-9.7478991596638601E-2</c:v>
                </c:pt>
                <c:pt idx="27190">
                  <c:v>-9.7478991596638601E-2</c:v>
                </c:pt>
                <c:pt idx="27191">
                  <c:v>-9.7478991596638601E-2</c:v>
                </c:pt>
                <c:pt idx="27192">
                  <c:v>-9.6638655462184794E-2</c:v>
                </c:pt>
                <c:pt idx="27193">
                  <c:v>-9.6638655462184794E-2</c:v>
                </c:pt>
                <c:pt idx="27194">
                  <c:v>-9.6638655462184794E-2</c:v>
                </c:pt>
                <c:pt idx="27195">
                  <c:v>-9.6638655462184794E-2</c:v>
                </c:pt>
                <c:pt idx="27196">
                  <c:v>-9.6638655462184794E-2</c:v>
                </c:pt>
                <c:pt idx="27197">
                  <c:v>-9.6638655462184794E-2</c:v>
                </c:pt>
                <c:pt idx="27198">
                  <c:v>-9.6638655462184794E-2</c:v>
                </c:pt>
                <c:pt idx="27199">
                  <c:v>-9.6638655462184794E-2</c:v>
                </c:pt>
                <c:pt idx="27200">
                  <c:v>-9.6638655462184794E-2</c:v>
                </c:pt>
                <c:pt idx="27201">
                  <c:v>-9.6638655462184794E-2</c:v>
                </c:pt>
                <c:pt idx="27202">
                  <c:v>-9.6638655462184794E-2</c:v>
                </c:pt>
                <c:pt idx="27203">
                  <c:v>-9.6638655462184794E-2</c:v>
                </c:pt>
                <c:pt idx="27204">
                  <c:v>-9.7478991596638601E-2</c:v>
                </c:pt>
                <c:pt idx="27205">
                  <c:v>-9.7478991596638601E-2</c:v>
                </c:pt>
                <c:pt idx="27206">
                  <c:v>-9.7478991596638601E-2</c:v>
                </c:pt>
                <c:pt idx="27207">
                  <c:v>-9.7478991596638601E-2</c:v>
                </c:pt>
                <c:pt idx="27208">
                  <c:v>-9.7478991596638601E-2</c:v>
                </c:pt>
                <c:pt idx="27209">
                  <c:v>-9.7478991596638601E-2</c:v>
                </c:pt>
                <c:pt idx="27210">
                  <c:v>-9.7478991596638601E-2</c:v>
                </c:pt>
                <c:pt idx="27211">
                  <c:v>-9.7478991596638601E-2</c:v>
                </c:pt>
                <c:pt idx="27212">
                  <c:v>-9.7478991596638601E-2</c:v>
                </c:pt>
                <c:pt idx="27213">
                  <c:v>-9.7478991596638601E-2</c:v>
                </c:pt>
                <c:pt idx="27214">
                  <c:v>-9.7478991596638601E-2</c:v>
                </c:pt>
                <c:pt idx="27215">
                  <c:v>-9.7478991596638601E-2</c:v>
                </c:pt>
                <c:pt idx="27216">
                  <c:v>-9.7478991596638601E-2</c:v>
                </c:pt>
                <c:pt idx="27217">
                  <c:v>-9.7478991596638601E-2</c:v>
                </c:pt>
                <c:pt idx="27218">
                  <c:v>-9.7478991596638601E-2</c:v>
                </c:pt>
                <c:pt idx="27219">
                  <c:v>-9.7478991596638601E-2</c:v>
                </c:pt>
                <c:pt idx="27220">
                  <c:v>-9.7478991596638601E-2</c:v>
                </c:pt>
                <c:pt idx="27221">
                  <c:v>-9.7478991596638601E-2</c:v>
                </c:pt>
                <c:pt idx="27222">
                  <c:v>-9.7478991596638601E-2</c:v>
                </c:pt>
                <c:pt idx="27223">
                  <c:v>-9.7478991596638601E-2</c:v>
                </c:pt>
                <c:pt idx="27224">
                  <c:v>-9.7478991596638601E-2</c:v>
                </c:pt>
                <c:pt idx="27225">
                  <c:v>-9.7478991596638601E-2</c:v>
                </c:pt>
                <c:pt idx="27226">
                  <c:v>-9.7478991596638601E-2</c:v>
                </c:pt>
                <c:pt idx="27227">
                  <c:v>-9.7478991596638601E-2</c:v>
                </c:pt>
                <c:pt idx="27228">
                  <c:v>-9.7478991596638601E-2</c:v>
                </c:pt>
                <c:pt idx="27229">
                  <c:v>-9.7478991596638601E-2</c:v>
                </c:pt>
                <c:pt idx="27230">
                  <c:v>-9.7478991596638601E-2</c:v>
                </c:pt>
                <c:pt idx="27231">
                  <c:v>-9.7478991596638601E-2</c:v>
                </c:pt>
                <c:pt idx="27232">
                  <c:v>-9.7478991596638601E-2</c:v>
                </c:pt>
                <c:pt idx="27233">
                  <c:v>-9.7478991596638601E-2</c:v>
                </c:pt>
                <c:pt idx="27234">
                  <c:v>-9.7478991596638601E-2</c:v>
                </c:pt>
                <c:pt idx="27235">
                  <c:v>-9.7478991596638601E-2</c:v>
                </c:pt>
                <c:pt idx="27236">
                  <c:v>-9.7478991596638601E-2</c:v>
                </c:pt>
                <c:pt idx="27237">
                  <c:v>-9.7478991596638601E-2</c:v>
                </c:pt>
                <c:pt idx="27238">
                  <c:v>-9.7478991596638601E-2</c:v>
                </c:pt>
                <c:pt idx="27239">
                  <c:v>-9.7478991596638601E-2</c:v>
                </c:pt>
                <c:pt idx="27240">
                  <c:v>-9.7478991596638601E-2</c:v>
                </c:pt>
                <c:pt idx="27241">
                  <c:v>-9.7478991596638601E-2</c:v>
                </c:pt>
                <c:pt idx="27242">
                  <c:v>-9.7478991596638601E-2</c:v>
                </c:pt>
                <c:pt idx="27243">
                  <c:v>-9.7478991596638601E-2</c:v>
                </c:pt>
                <c:pt idx="27244">
                  <c:v>-9.7478991596638601E-2</c:v>
                </c:pt>
                <c:pt idx="27245">
                  <c:v>-9.7478991596638601E-2</c:v>
                </c:pt>
                <c:pt idx="27246">
                  <c:v>-9.7478991596638601E-2</c:v>
                </c:pt>
                <c:pt idx="27247">
                  <c:v>-9.7478991596638601E-2</c:v>
                </c:pt>
                <c:pt idx="27248">
                  <c:v>-9.7478991596638601E-2</c:v>
                </c:pt>
                <c:pt idx="27249">
                  <c:v>-9.7478991596638601E-2</c:v>
                </c:pt>
                <c:pt idx="27250">
                  <c:v>-9.7478991596638601E-2</c:v>
                </c:pt>
                <c:pt idx="27251">
                  <c:v>-9.7478991596638601E-2</c:v>
                </c:pt>
                <c:pt idx="27252">
                  <c:v>-9.7478991596638601E-2</c:v>
                </c:pt>
                <c:pt idx="27253">
                  <c:v>-9.7478991596638601E-2</c:v>
                </c:pt>
                <c:pt idx="27254">
                  <c:v>-9.7478991596638601E-2</c:v>
                </c:pt>
                <c:pt idx="27255">
                  <c:v>-9.8319327731092407E-2</c:v>
                </c:pt>
                <c:pt idx="27256">
                  <c:v>-9.8319327731092407E-2</c:v>
                </c:pt>
                <c:pt idx="27257">
                  <c:v>-9.8319327731092407E-2</c:v>
                </c:pt>
                <c:pt idx="27258">
                  <c:v>-9.8319327731092407E-2</c:v>
                </c:pt>
                <c:pt idx="27259">
                  <c:v>-9.8319327731092407E-2</c:v>
                </c:pt>
                <c:pt idx="27260">
                  <c:v>-9.8319327731092407E-2</c:v>
                </c:pt>
                <c:pt idx="27261">
                  <c:v>-9.8319327731092407E-2</c:v>
                </c:pt>
                <c:pt idx="27262">
                  <c:v>-9.8319327731092407E-2</c:v>
                </c:pt>
                <c:pt idx="27263">
                  <c:v>-9.8319327731092407E-2</c:v>
                </c:pt>
                <c:pt idx="27264">
                  <c:v>-9.8319327731092407E-2</c:v>
                </c:pt>
                <c:pt idx="27265">
                  <c:v>-9.8319327731092407E-2</c:v>
                </c:pt>
                <c:pt idx="27266">
                  <c:v>-9.8319327731092407E-2</c:v>
                </c:pt>
                <c:pt idx="27267">
                  <c:v>-9.8319327731092407E-2</c:v>
                </c:pt>
                <c:pt idx="27268">
                  <c:v>-9.9159663865546199E-2</c:v>
                </c:pt>
                <c:pt idx="27269">
                  <c:v>-9.9159663865546199E-2</c:v>
                </c:pt>
                <c:pt idx="27270">
                  <c:v>-9.9159663865546199E-2</c:v>
                </c:pt>
                <c:pt idx="27271">
                  <c:v>-9.9159663865546199E-2</c:v>
                </c:pt>
                <c:pt idx="27272">
                  <c:v>-9.9159663865546199E-2</c:v>
                </c:pt>
                <c:pt idx="27273">
                  <c:v>-9.9159663865546199E-2</c:v>
                </c:pt>
                <c:pt idx="27274">
                  <c:v>-9.9159663865546199E-2</c:v>
                </c:pt>
                <c:pt idx="27275">
                  <c:v>-9.9159663865546199E-2</c:v>
                </c:pt>
                <c:pt idx="27276">
                  <c:v>-9.9159663865546199E-2</c:v>
                </c:pt>
                <c:pt idx="27277">
                  <c:v>-9.9159663865546199E-2</c:v>
                </c:pt>
                <c:pt idx="27278">
                  <c:v>-9.9159663865546199E-2</c:v>
                </c:pt>
                <c:pt idx="27279">
                  <c:v>-9.9159663865546199E-2</c:v>
                </c:pt>
                <c:pt idx="27280">
                  <c:v>-9.9159663865546199E-2</c:v>
                </c:pt>
                <c:pt idx="27281">
                  <c:v>-9.9159663865546199E-2</c:v>
                </c:pt>
                <c:pt idx="27282">
                  <c:v>-9.9159663865546199E-2</c:v>
                </c:pt>
                <c:pt idx="27283">
                  <c:v>-9.9159663865546199E-2</c:v>
                </c:pt>
                <c:pt idx="27284">
                  <c:v>-9.9159663865546199E-2</c:v>
                </c:pt>
                <c:pt idx="27285">
                  <c:v>-9.9159663865546199E-2</c:v>
                </c:pt>
                <c:pt idx="27286">
                  <c:v>-9.9159663865546199E-2</c:v>
                </c:pt>
                <c:pt idx="27287">
                  <c:v>-9.9159663865546199E-2</c:v>
                </c:pt>
                <c:pt idx="27288">
                  <c:v>-9.9159663865546199E-2</c:v>
                </c:pt>
                <c:pt idx="27289">
                  <c:v>-9.9159663865546199E-2</c:v>
                </c:pt>
                <c:pt idx="27290">
                  <c:v>-9.9159663865546199E-2</c:v>
                </c:pt>
                <c:pt idx="27291">
                  <c:v>-9.9159663865546199E-2</c:v>
                </c:pt>
                <c:pt idx="27292">
                  <c:v>-9.9159663865546199E-2</c:v>
                </c:pt>
                <c:pt idx="27293">
                  <c:v>-9.9159663865546199E-2</c:v>
                </c:pt>
                <c:pt idx="27294">
                  <c:v>-9.8319327731092407E-2</c:v>
                </c:pt>
                <c:pt idx="27295">
                  <c:v>-9.8319327731092407E-2</c:v>
                </c:pt>
                <c:pt idx="27296">
                  <c:v>-9.8319327731092407E-2</c:v>
                </c:pt>
                <c:pt idx="27297">
                  <c:v>-9.8319327731092407E-2</c:v>
                </c:pt>
                <c:pt idx="27298">
                  <c:v>-9.8319327731092407E-2</c:v>
                </c:pt>
                <c:pt idx="27299">
                  <c:v>-9.8319327731092407E-2</c:v>
                </c:pt>
                <c:pt idx="27300">
                  <c:v>-9.8319327731092407E-2</c:v>
                </c:pt>
                <c:pt idx="27301">
                  <c:v>-9.8319327731092407E-2</c:v>
                </c:pt>
                <c:pt idx="27302">
                  <c:v>-9.8319327731092407E-2</c:v>
                </c:pt>
                <c:pt idx="27303">
                  <c:v>-9.8319327731092407E-2</c:v>
                </c:pt>
                <c:pt idx="27304">
                  <c:v>-9.8319327731092407E-2</c:v>
                </c:pt>
                <c:pt idx="27305">
                  <c:v>-9.8319327731092407E-2</c:v>
                </c:pt>
                <c:pt idx="27306">
                  <c:v>-9.8319327731092407E-2</c:v>
                </c:pt>
                <c:pt idx="27307">
                  <c:v>-9.8319327731092407E-2</c:v>
                </c:pt>
                <c:pt idx="27308">
                  <c:v>-9.8319327731092407E-2</c:v>
                </c:pt>
                <c:pt idx="27309">
                  <c:v>-9.8319327731092407E-2</c:v>
                </c:pt>
                <c:pt idx="27310">
                  <c:v>-9.8319327731092407E-2</c:v>
                </c:pt>
                <c:pt idx="27311">
                  <c:v>-9.8319327731092407E-2</c:v>
                </c:pt>
                <c:pt idx="27312">
                  <c:v>-9.8319327731092407E-2</c:v>
                </c:pt>
                <c:pt idx="27313">
                  <c:v>-9.8319327731092407E-2</c:v>
                </c:pt>
                <c:pt idx="27314">
                  <c:v>-9.8319327731092407E-2</c:v>
                </c:pt>
                <c:pt idx="27315">
                  <c:v>-9.8319327731092407E-2</c:v>
                </c:pt>
                <c:pt idx="27316">
                  <c:v>-9.8319327731092407E-2</c:v>
                </c:pt>
                <c:pt idx="27317">
                  <c:v>-9.8319327731092407E-2</c:v>
                </c:pt>
                <c:pt idx="27318">
                  <c:v>-9.8319327731092407E-2</c:v>
                </c:pt>
                <c:pt idx="27319">
                  <c:v>-9.8319327731092407E-2</c:v>
                </c:pt>
                <c:pt idx="27320">
                  <c:v>-9.8319327731092407E-2</c:v>
                </c:pt>
                <c:pt idx="27321">
                  <c:v>-9.9159663865546199E-2</c:v>
                </c:pt>
                <c:pt idx="27322">
                  <c:v>-9.9159663865546199E-2</c:v>
                </c:pt>
                <c:pt idx="27323">
                  <c:v>-9.9159663865546199E-2</c:v>
                </c:pt>
                <c:pt idx="27324">
                  <c:v>-9.9159663865546199E-2</c:v>
                </c:pt>
                <c:pt idx="27325">
                  <c:v>-9.9159663865546199E-2</c:v>
                </c:pt>
                <c:pt idx="27326">
                  <c:v>-9.9159663865546199E-2</c:v>
                </c:pt>
                <c:pt idx="27327">
                  <c:v>-9.9159663865546199E-2</c:v>
                </c:pt>
                <c:pt idx="27328">
                  <c:v>-9.9159663865546199E-2</c:v>
                </c:pt>
                <c:pt idx="27329">
                  <c:v>-9.9159663865546199E-2</c:v>
                </c:pt>
                <c:pt idx="27330">
                  <c:v>-9.9159663865546199E-2</c:v>
                </c:pt>
                <c:pt idx="27331">
                  <c:v>-9.9159663865546199E-2</c:v>
                </c:pt>
                <c:pt idx="27332">
                  <c:v>-9.9159663865546199E-2</c:v>
                </c:pt>
                <c:pt idx="27333">
                  <c:v>-9.9159663865546199E-2</c:v>
                </c:pt>
                <c:pt idx="27334">
                  <c:v>-9.9159663865546199E-2</c:v>
                </c:pt>
                <c:pt idx="27335">
                  <c:v>-9.9159663865546199E-2</c:v>
                </c:pt>
                <c:pt idx="27336">
                  <c:v>-9.9159663865546199E-2</c:v>
                </c:pt>
                <c:pt idx="27337">
                  <c:v>-9.9159663865546199E-2</c:v>
                </c:pt>
                <c:pt idx="27338">
                  <c:v>-9.9159663865546199E-2</c:v>
                </c:pt>
                <c:pt idx="27339">
                  <c:v>-9.9159663865546199E-2</c:v>
                </c:pt>
                <c:pt idx="27340">
                  <c:v>-9.9159663865546199E-2</c:v>
                </c:pt>
                <c:pt idx="27341">
                  <c:v>-9.9159663865546199E-2</c:v>
                </c:pt>
                <c:pt idx="27342">
                  <c:v>-9.9159663865546199E-2</c:v>
                </c:pt>
                <c:pt idx="27343">
                  <c:v>-9.9159663865546199E-2</c:v>
                </c:pt>
                <c:pt idx="27344">
                  <c:v>-9.9159663865546199E-2</c:v>
                </c:pt>
                <c:pt idx="27345">
                  <c:v>-9.9159663865546199E-2</c:v>
                </c:pt>
                <c:pt idx="27346">
                  <c:v>-9.9159663865546199E-2</c:v>
                </c:pt>
                <c:pt idx="27347">
                  <c:v>-9.9159663865546199E-2</c:v>
                </c:pt>
                <c:pt idx="27348">
                  <c:v>-9.9159663865546199E-2</c:v>
                </c:pt>
                <c:pt idx="27349">
                  <c:v>-9.9159663865546199E-2</c:v>
                </c:pt>
                <c:pt idx="27350">
                  <c:v>-9.9159663865546199E-2</c:v>
                </c:pt>
                <c:pt idx="27351">
                  <c:v>-9.9159663865546199E-2</c:v>
                </c:pt>
                <c:pt idx="27352">
                  <c:v>-9.9159663865546199E-2</c:v>
                </c:pt>
                <c:pt idx="27353">
                  <c:v>-9.9159663865546199E-2</c:v>
                </c:pt>
                <c:pt idx="27354">
                  <c:v>-9.9159663865546199E-2</c:v>
                </c:pt>
                <c:pt idx="27355">
                  <c:v>-9.9159663865546199E-2</c:v>
                </c:pt>
                <c:pt idx="27356">
                  <c:v>-9.9159663865546199E-2</c:v>
                </c:pt>
                <c:pt idx="27357">
                  <c:v>-9.9159663865546199E-2</c:v>
                </c:pt>
                <c:pt idx="27358">
                  <c:v>-9.9159663865546199E-2</c:v>
                </c:pt>
                <c:pt idx="27359">
                  <c:v>-9.9999999999999895E-2</c:v>
                </c:pt>
                <c:pt idx="27360">
                  <c:v>-9.9999999999999895E-2</c:v>
                </c:pt>
                <c:pt idx="27361">
                  <c:v>-9.9159663865546199E-2</c:v>
                </c:pt>
                <c:pt idx="27362">
                  <c:v>-9.9159663865546199E-2</c:v>
                </c:pt>
                <c:pt idx="27363">
                  <c:v>-9.9159663865546199E-2</c:v>
                </c:pt>
                <c:pt idx="27364">
                  <c:v>-9.9159663865546199E-2</c:v>
                </c:pt>
                <c:pt idx="27365">
                  <c:v>-9.9159663865546199E-2</c:v>
                </c:pt>
                <c:pt idx="27366">
                  <c:v>-9.9159663865546199E-2</c:v>
                </c:pt>
                <c:pt idx="27367">
                  <c:v>-9.9159663865546199E-2</c:v>
                </c:pt>
                <c:pt idx="27368">
                  <c:v>-9.9159663865546199E-2</c:v>
                </c:pt>
                <c:pt idx="27369">
                  <c:v>-9.9159663865546199E-2</c:v>
                </c:pt>
                <c:pt idx="27370">
                  <c:v>-9.9159663865546199E-2</c:v>
                </c:pt>
                <c:pt idx="27371">
                  <c:v>-9.9159663865546199E-2</c:v>
                </c:pt>
                <c:pt idx="27372">
                  <c:v>-9.9159663865546199E-2</c:v>
                </c:pt>
                <c:pt idx="27373">
                  <c:v>-9.9159663865546199E-2</c:v>
                </c:pt>
                <c:pt idx="27374">
                  <c:v>-9.9159663865546199E-2</c:v>
                </c:pt>
                <c:pt idx="27375">
                  <c:v>-9.9159663865546199E-2</c:v>
                </c:pt>
                <c:pt idx="27376">
                  <c:v>-9.9159663865546199E-2</c:v>
                </c:pt>
                <c:pt idx="27377">
                  <c:v>-9.9159663865546199E-2</c:v>
                </c:pt>
                <c:pt idx="27378">
                  <c:v>-9.9159663865546199E-2</c:v>
                </c:pt>
                <c:pt idx="27379">
                  <c:v>-9.9159663865546199E-2</c:v>
                </c:pt>
                <c:pt idx="27380">
                  <c:v>-9.9159663865546199E-2</c:v>
                </c:pt>
                <c:pt idx="27381">
                  <c:v>-9.8319327731092407E-2</c:v>
                </c:pt>
                <c:pt idx="27382">
                  <c:v>-9.8319327731092407E-2</c:v>
                </c:pt>
                <c:pt idx="27383">
                  <c:v>-9.8319327731092407E-2</c:v>
                </c:pt>
                <c:pt idx="27384">
                  <c:v>-9.8319327731092407E-2</c:v>
                </c:pt>
                <c:pt idx="27385">
                  <c:v>-9.8319327731092407E-2</c:v>
                </c:pt>
                <c:pt idx="27386">
                  <c:v>-9.8319327731092407E-2</c:v>
                </c:pt>
                <c:pt idx="27387">
                  <c:v>-9.8319327731092407E-2</c:v>
                </c:pt>
                <c:pt idx="27388">
                  <c:v>-9.8319327731092407E-2</c:v>
                </c:pt>
                <c:pt idx="27389">
                  <c:v>-9.8319327731092407E-2</c:v>
                </c:pt>
                <c:pt idx="27390">
                  <c:v>-9.8319327731092407E-2</c:v>
                </c:pt>
                <c:pt idx="27391">
                  <c:v>-9.8319327731092407E-2</c:v>
                </c:pt>
                <c:pt idx="27392">
                  <c:v>-9.8319327731092407E-2</c:v>
                </c:pt>
                <c:pt idx="27393">
                  <c:v>-9.8319327731092407E-2</c:v>
                </c:pt>
                <c:pt idx="27394">
                  <c:v>-9.8319327731092407E-2</c:v>
                </c:pt>
                <c:pt idx="27395">
                  <c:v>-9.8319327731092407E-2</c:v>
                </c:pt>
                <c:pt idx="27396">
                  <c:v>-9.8319327731092407E-2</c:v>
                </c:pt>
                <c:pt idx="27397">
                  <c:v>-9.8319327731092407E-2</c:v>
                </c:pt>
                <c:pt idx="27398">
                  <c:v>-9.8319327731092407E-2</c:v>
                </c:pt>
                <c:pt idx="27399">
                  <c:v>-9.8319327731092407E-2</c:v>
                </c:pt>
                <c:pt idx="27400">
                  <c:v>-9.8319327731092407E-2</c:v>
                </c:pt>
                <c:pt idx="27401">
                  <c:v>-9.8319327731092407E-2</c:v>
                </c:pt>
                <c:pt idx="27402">
                  <c:v>-9.8319327731092407E-2</c:v>
                </c:pt>
                <c:pt idx="27403">
                  <c:v>-9.8319327731092407E-2</c:v>
                </c:pt>
                <c:pt idx="27404">
                  <c:v>-9.8319327731092407E-2</c:v>
                </c:pt>
                <c:pt idx="27405">
                  <c:v>-9.8319327731092407E-2</c:v>
                </c:pt>
                <c:pt idx="27406">
                  <c:v>-9.8319327731092407E-2</c:v>
                </c:pt>
                <c:pt idx="27407">
                  <c:v>-9.8319327731092407E-2</c:v>
                </c:pt>
                <c:pt idx="27408">
                  <c:v>-9.8319327731092407E-2</c:v>
                </c:pt>
                <c:pt idx="27409">
                  <c:v>-9.8319327731092407E-2</c:v>
                </c:pt>
                <c:pt idx="27410">
                  <c:v>-9.8319327731092407E-2</c:v>
                </c:pt>
                <c:pt idx="27411">
                  <c:v>-9.8319327731092407E-2</c:v>
                </c:pt>
                <c:pt idx="27412">
                  <c:v>-9.8319327731092407E-2</c:v>
                </c:pt>
                <c:pt idx="27413">
                  <c:v>-9.8319327731092407E-2</c:v>
                </c:pt>
                <c:pt idx="27414">
                  <c:v>-9.8319327731092407E-2</c:v>
                </c:pt>
                <c:pt idx="27415">
                  <c:v>-9.8319327731092407E-2</c:v>
                </c:pt>
                <c:pt idx="27416">
                  <c:v>-9.8319327731092407E-2</c:v>
                </c:pt>
                <c:pt idx="27417">
                  <c:v>-9.8319327731092407E-2</c:v>
                </c:pt>
                <c:pt idx="27418">
                  <c:v>-9.8319327731092407E-2</c:v>
                </c:pt>
                <c:pt idx="27419">
                  <c:v>-9.8319327731092407E-2</c:v>
                </c:pt>
                <c:pt idx="27420">
                  <c:v>-9.8319327731092407E-2</c:v>
                </c:pt>
                <c:pt idx="27421">
                  <c:v>-9.8319327731092407E-2</c:v>
                </c:pt>
                <c:pt idx="27422">
                  <c:v>-9.8319327731092407E-2</c:v>
                </c:pt>
                <c:pt idx="27423">
                  <c:v>-9.9159663865546199E-2</c:v>
                </c:pt>
                <c:pt idx="27424">
                  <c:v>-9.9159663865546199E-2</c:v>
                </c:pt>
                <c:pt idx="27425">
                  <c:v>-9.9159663865546199E-2</c:v>
                </c:pt>
                <c:pt idx="27426">
                  <c:v>-9.9159663865546199E-2</c:v>
                </c:pt>
                <c:pt idx="27427">
                  <c:v>-9.9159663865546199E-2</c:v>
                </c:pt>
                <c:pt idx="27428">
                  <c:v>-9.9159663865546199E-2</c:v>
                </c:pt>
                <c:pt idx="27429">
                  <c:v>-9.9159663865546199E-2</c:v>
                </c:pt>
                <c:pt idx="27430">
                  <c:v>-9.9159663865546199E-2</c:v>
                </c:pt>
                <c:pt idx="27431">
                  <c:v>-9.9159663865546199E-2</c:v>
                </c:pt>
                <c:pt idx="27432">
                  <c:v>-9.9999999999999895E-2</c:v>
                </c:pt>
                <c:pt idx="27433">
                  <c:v>-9.9999999999999895E-2</c:v>
                </c:pt>
                <c:pt idx="27434">
                  <c:v>-9.9999999999999895E-2</c:v>
                </c:pt>
                <c:pt idx="27435">
                  <c:v>-9.9999999999999895E-2</c:v>
                </c:pt>
                <c:pt idx="27436">
                  <c:v>-9.9999999999999895E-2</c:v>
                </c:pt>
                <c:pt idx="27437">
                  <c:v>-9.9999999999999895E-2</c:v>
                </c:pt>
                <c:pt idx="27438">
                  <c:v>-9.9999999999999895E-2</c:v>
                </c:pt>
                <c:pt idx="27439">
                  <c:v>-9.9159663865546199E-2</c:v>
                </c:pt>
                <c:pt idx="27440">
                  <c:v>-9.8319327731092407E-2</c:v>
                </c:pt>
                <c:pt idx="27441">
                  <c:v>-9.8319327731092407E-2</c:v>
                </c:pt>
                <c:pt idx="27442">
                  <c:v>-9.8319327731092407E-2</c:v>
                </c:pt>
                <c:pt idx="27443">
                  <c:v>-9.8319327731092407E-2</c:v>
                </c:pt>
                <c:pt idx="27444">
                  <c:v>-9.8319327731092407E-2</c:v>
                </c:pt>
                <c:pt idx="27445">
                  <c:v>-9.8319327731092407E-2</c:v>
                </c:pt>
                <c:pt idx="27446">
                  <c:v>-9.8319327731092407E-2</c:v>
                </c:pt>
                <c:pt idx="27447">
                  <c:v>-9.8319327731092407E-2</c:v>
                </c:pt>
                <c:pt idx="27448">
                  <c:v>-9.8319327731092407E-2</c:v>
                </c:pt>
                <c:pt idx="27449">
                  <c:v>-9.8319327731092407E-2</c:v>
                </c:pt>
                <c:pt idx="27450">
                  <c:v>-9.8319327731092407E-2</c:v>
                </c:pt>
                <c:pt idx="27451">
                  <c:v>-9.8319327731092407E-2</c:v>
                </c:pt>
                <c:pt idx="27452">
                  <c:v>-9.8319327731092407E-2</c:v>
                </c:pt>
                <c:pt idx="27453">
                  <c:v>-9.8319327731092407E-2</c:v>
                </c:pt>
                <c:pt idx="27454">
                  <c:v>-9.8319327731092407E-2</c:v>
                </c:pt>
                <c:pt idx="27455">
                  <c:v>-9.8319327731092407E-2</c:v>
                </c:pt>
                <c:pt idx="27456">
                  <c:v>-9.8319327731092407E-2</c:v>
                </c:pt>
                <c:pt idx="27457">
                  <c:v>-9.8319327731092407E-2</c:v>
                </c:pt>
                <c:pt idx="27458">
                  <c:v>-9.8319327731092407E-2</c:v>
                </c:pt>
                <c:pt idx="27459">
                  <c:v>-9.8319327731092407E-2</c:v>
                </c:pt>
                <c:pt idx="27460">
                  <c:v>-9.8319327731092407E-2</c:v>
                </c:pt>
                <c:pt idx="27461">
                  <c:v>-9.8319327731092407E-2</c:v>
                </c:pt>
                <c:pt idx="27462">
                  <c:v>-9.8319327731092407E-2</c:v>
                </c:pt>
                <c:pt idx="27463">
                  <c:v>-9.8319327731092407E-2</c:v>
                </c:pt>
                <c:pt idx="27464">
                  <c:v>-9.8319327731092407E-2</c:v>
                </c:pt>
                <c:pt idx="27465">
                  <c:v>-9.8319327731092407E-2</c:v>
                </c:pt>
                <c:pt idx="27466">
                  <c:v>-9.8319327731092407E-2</c:v>
                </c:pt>
                <c:pt idx="27467">
                  <c:v>-9.8319327731092407E-2</c:v>
                </c:pt>
                <c:pt idx="27468">
                  <c:v>-9.8319327731092407E-2</c:v>
                </c:pt>
                <c:pt idx="27469">
                  <c:v>-9.8319327731092407E-2</c:v>
                </c:pt>
                <c:pt idx="27470">
                  <c:v>-9.8319327731092407E-2</c:v>
                </c:pt>
                <c:pt idx="27471">
                  <c:v>-9.8319327731092407E-2</c:v>
                </c:pt>
                <c:pt idx="27472">
                  <c:v>-9.8319327731092407E-2</c:v>
                </c:pt>
                <c:pt idx="27473">
                  <c:v>-9.8319327731092407E-2</c:v>
                </c:pt>
                <c:pt idx="27474">
                  <c:v>-9.8319327731092407E-2</c:v>
                </c:pt>
                <c:pt idx="27475">
                  <c:v>-9.8319327731092407E-2</c:v>
                </c:pt>
                <c:pt idx="27476">
                  <c:v>-9.9159663865546199E-2</c:v>
                </c:pt>
                <c:pt idx="27477">
                  <c:v>-9.9159663865546199E-2</c:v>
                </c:pt>
                <c:pt idx="27478">
                  <c:v>-9.9159663865546199E-2</c:v>
                </c:pt>
                <c:pt idx="27479">
                  <c:v>-9.9159663865546199E-2</c:v>
                </c:pt>
                <c:pt idx="27480">
                  <c:v>-9.9159663865546199E-2</c:v>
                </c:pt>
                <c:pt idx="27481">
                  <c:v>-9.9159663865546199E-2</c:v>
                </c:pt>
                <c:pt idx="27482">
                  <c:v>-9.9159663865546199E-2</c:v>
                </c:pt>
                <c:pt idx="27483">
                  <c:v>-9.9159663865546199E-2</c:v>
                </c:pt>
                <c:pt idx="27484">
                  <c:v>-9.9159663865546199E-2</c:v>
                </c:pt>
                <c:pt idx="27485">
                  <c:v>-9.9159663865546199E-2</c:v>
                </c:pt>
                <c:pt idx="27486">
                  <c:v>-9.9159663865546199E-2</c:v>
                </c:pt>
                <c:pt idx="27487">
                  <c:v>-9.9159663865546199E-2</c:v>
                </c:pt>
                <c:pt idx="27488">
                  <c:v>-9.9159663865546199E-2</c:v>
                </c:pt>
                <c:pt idx="27489">
                  <c:v>-9.9159663865546199E-2</c:v>
                </c:pt>
                <c:pt idx="27490">
                  <c:v>-9.9159663865546199E-2</c:v>
                </c:pt>
                <c:pt idx="27491">
                  <c:v>-9.9159663865546199E-2</c:v>
                </c:pt>
                <c:pt idx="27492">
                  <c:v>-9.9159663865546199E-2</c:v>
                </c:pt>
                <c:pt idx="27493">
                  <c:v>-9.9159663865546199E-2</c:v>
                </c:pt>
                <c:pt idx="27494">
                  <c:v>-9.9159663865546199E-2</c:v>
                </c:pt>
                <c:pt idx="27495">
                  <c:v>-9.9159663865546199E-2</c:v>
                </c:pt>
                <c:pt idx="27496">
                  <c:v>-9.9159663865546199E-2</c:v>
                </c:pt>
                <c:pt idx="27497">
                  <c:v>-9.9159663865546199E-2</c:v>
                </c:pt>
                <c:pt idx="27498">
                  <c:v>-9.9159663865546199E-2</c:v>
                </c:pt>
                <c:pt idx="27499">
                  <c:v>-9.9159663865546199E-2</c:v>
                </c:pt>
                <c:pt idx="27500">
                  <c:v>-9.9159663865546199E-2</c:v>
                </c:pt>
                <c:pt idx="27501">
                  <c:v>-9.9159663865546199E-2</c:v>
                </c:pt>
                <c:pt idx="27502">
                  <c:v>-9.8319327731092407E-2</c:v>
                </c:pt>
                <c:pt idx="27503">
                  <c:v>-9.8319327731092407E-2</c:v>
                </c:pt>
                <c:pt idx="27504">
                  <c:v>-9.8319327731092407E-2</c:v>
                </c:pt>
                <c:pt idx="27505">
                  <c:v>-9.8319327731092407E-2</c:v>
                </c:pt>
                <c:pt idx="27506">
                  <c:v>-9.8319327731092407E-2</c:v>
                </c:pt>
                <c:pt idx="27507">
                  <c:v>-9.8319327731092407E-2</c:v>
                </c:pt>
                <c:pt idx="27508">
                  <c:v>-9.8319327731092407E-2</c:v>
                </c:pt>
                <c:pt idx="27509">
                  <c:v>-9.8319327731092407E-2</c:v>
                </c:pt>
                <c:pt idx="27510">
                  <c:v>-9.8319327731092407E-2</c:v>
                </c:pt>
                <c:pt idx="27511">
                  <c:v>-9.8319327731092407E-2</c:v>
                </c:pt>
                <c:pt idx="27512">
                  <c:v>-9.8319327731092407E-2</c:v>
                </c:pt>
                <c:pt idx="27513">
                  <c:v>-9.8319327731092407E-2</c:v>
                </c:pt>
                <c:pt idx="27514">
                  <c:v>-9.8319327731092407E-2</c:v>
                </c:pt>
                <c:pt idx="27515">
                  <c:v>-9.8319327731092407E-2</c:v>
                </c:pt>
                <c:pt idx="27516">
                  <c:v>-9.8319327731092407E-2</c:v>
                </c:pt>
                <c:pt idx="27517">
                  <c:v>-9.8319327731092407E-2</c:v>
                </c:pt>
                <c:pt idx="27518">
                  <c:v>-9.8319327731092407E-2</c:v>
                </c:pt>
                <c:pt idx="27519">
                  <c:v>-9.8319327731092407E-2</c:v>
                </c:pt>
                <c:pt idx="27520">
                  <c:v>-9.8319327731092407E-2</c:v>
                </c:pt>
                <c:pt idx="27521">
                  <c:v>-9.8319327731092407E-2</c:v>
                </c:pt>
                <c:pt idx="27522">
                  <c:v>-9.8319327731092407E-2</c:v>
                </c:pt>
                <c:pt idx="27523">
                  <c:v>-9.8319327731092407E-2</c:v>
                </c:pt>
                <c:pt idx="27524">
                  <c:v>-9.8319327731092407E-2</c:v>
                </c:pt>
                <c:pt idx="27525">
                  <c:v>-9.8319327731092407E-2</c:v>
                </c:pt>
                <c:pt idx="27526">
                  <c:v>-9.8319327731092407E-2</c:v>
                </c:pt>
                <c:pt idx="27527">
                  <c:v>-9.8319327731092407E-2</c:v>
                </c:pt>
                <c:pt idx="27528">
                  <c:v>-9.8319327731092407E-2</c:v>
                </c:pt>
                <c:pt idx="27529">
                  <c:v>-9.8319327731092407E-2</c:v>
                </c:pt>
                <c:pt idx="27530">
                  <c:v>-9.9159663865546199E-2</c:v>
                </c:pt>
                <c:pt idx="27531">
                  <c:v>-9.9999999999999895E-2</c:v>
                </c:pt>
                <c:pt idx="27532">
                  <c:v>-9.9999999999999895E-2</c:v>
                </c:pt>
                <c:pt idx="27533">
                  <c:v>-9.9999999999999895E-2</c:v>
                </c:pt>
                <c:pt idx="27534">
                  <c:v>-9.9999999999999895E-2</c:v>
                </c:pt>
                <c:pt idx="27535">
                  <c:v>-9.9999999999999895E-2</c:v>
                </c:pt>
                <c:pt idx="27536">
                  <c:v>-9.9999999999999895E-2</c:v>
                </c:pt>
                <c:pt idx="27537">
                  <c:v>-9.9999999999999895E-2</c:v>
                </c:pt>
                <c:pt idx="27538">
                  <c:v>-9.9999999999999895E-2</c:v>
                </c:pt>
                <c:pt idx="27539">
                  <c:v>-9.9999999999999895E-2</c:v>
                </c:pt>
                <c:pt idx="27540">
                  <c:v>-9.9999999999999895E-2</c:v>
                </c:pt>
                <c:pt idx="27541">
                  <c:v>-9.9999999999999895E-2</c:v>
                </c:pt>
                <c:pt idx="27542">
                  <c:v>-9.9999999999999895E-2</c:v>
                </c:pt>
                <c:pt idx="27543">
                  <c:v>-9.9999999999999895E-2</c:v>
                </c:pt>
                <c:pt idx="27544">
                  <c:v>-9.9999999999999895E-2</c:v>
                </c:pt>
                <c:pt idx="27545">
                  <c:v>-9.9999999999999895E-2</c:v>
                </c:pt>
                <c:pt idx="27546">
                  <c:v>-9.9999999999999895E-2</c:v>
                </c:pt>
                <c:pt idx="27547">
                  <c:v>-9.9999999999999895E-2</c:v>
                </c:pt>
                <c:pt idx="27548">
                  <c:v>-9.9999999999999895E-2</c:v>
                </c:pt>
                <c:pt idx="27549">
                  <c:v>-9.9999999999999895E-2</c:v>
                </c:pt>
                <c:pt idx="27550">
                  <c:v>-9.9999999999999895E-2</c:v>
                </c:pt>
                <c:pt idx="27551">
                  <c:v>-0.10084033613445301</c:v>
                </c:pt>
                <c:pt idx="27552">
                  <c:v>-0.10084033613445301</c:v>
                </c:pt>
                <c:pt idx="27553">
                  <c:v>-0.10084033613445301</c:v>
                </c:pt>
                <c:pt idx="27554">
                  <c:v>-0.10084033613445301</c:v>
                </c:pt>
                <c:pt idx="27555">
                  <c:v>-0.10084033613445301</c:v>
                </c:pt>
                <c:pt idx="27556">
                  <c:v>-0.10084033613445301</c:v>
                </c:pt>
                <c:pt idx="27557">
                  <c:v>-0.10084033613445301</c:v>
                </c:pt>
                <c:pt idx="27558">
                  <c:v>-0.10084033613445301</c:v>
                </c:pt>
                <c:pt idx="27559">
                  <c:v>-0.10084033613445301</c:v>
                </c:pt>
                <c:pt idx="27560">
                  <c:v>-0.10084033613445301</c:v>
                </c:pt>
                <c:pt idx="27561">
                  <c:v>-0.10084033613445301</c:v>
                </c:pt>
                <c:pt idx="27562">
                  <c:v>-0.10084033613445301</c:v>
                </c:pt>
                <c:pt idx="27563">
                  <c:v>-0.10084033613445301</c:v>
                </c:pt>
                <c:pt idx="27564">
                  <c:v>-0.10084033613445301</c:v>
                </c:pt>
                <c:pt idx="27565">
                  <c:v>-0.10084033613445301</c:v>
                </c:pt>
                <c:pt idx="27566">
                  <c:v>-0.10084033613445301</c:v>
                </c:pt>
                <c:pt idx="27567">
                  <c:v>-0.10084033613445301</c:v>
                </c:pt>
                <c:pt idx="27568">
                  <c:v>-0.10084033613445301</c:v>
                </c:pt>
                <c:pt idx="27569">
                  <c:v>-0.10084033613445301</c:v>
                </c:pt>
                <c:pt idx="27570">
                  <c:v>-0.10084033613445301</c:v>
                </c:pt>
                <c:pt idx="27571">
                  <c:v>-0.10084033613445301</c:v>
                </c:pt>
                <c:pt idx="27572">
                  <c:v>-0.10084033613445301</c:v>
                </c:pt>
                <c:pt idx="27573">
                  <c:v>-0.10084033613445301</c:v>
                </c:pt>
                <c:pt idx="27574">
                  <c:v>-0.10084033613445301</c:v>
                </c:pt>
                <c:pt idx="27575">
                  <c:v>-0.10084033613445301</c:v>
                </c:pt>
                <c:pt idx="27576">
                  <c:v>-0.10084033613445301</c:v>
                </c:pt>
                <c:pt idx="27577">
                  <c:v>-0.10084033613445301</c:v>
                </c:pt>
                <c:pt idx="27578">
                  <c:v>-9.9999999999999895E-2</c:v>
                </c:pt>
                <c:pt idx="27579">
                  <c:v>-9.9999999999999895E-2</c:v>
                </c:pt>
                <c:pt idx="27580">
                  <c:v>-9.9999999999999895E-2</c:v>
                </c:pt>
                <c:pt idx="27581">
                  <c:v>-9.9999999999999895E-2</c:v>
                </c:pt>
                <c:pt idx="27582">
                  <c:v>-9.9999999999999895E-2</c:v>
                </c:pt>
                <c:pt idx="27583">
                  <c:v>-9.9999999999999895E-2</c:v>
                </c:pt>
                <c:pt idx="27584">
                  <c:v>-9.9999999999999895E-2</c:v>
                </c:pt>
                <c:pt idx="27585">
                  <c:v>-9.9999999999999895E-2</c:v>
                </c:pt>
                <c:pt idx="27586">
                  <c:v>-9.9999999999999895E-2</c:v>
                </c:pt>
                <c:pt idx="27587">
                  <c:v>-9.9999999999999895E-2</c:v>
                </c:pt>
                <c:pt idx="27588">
                  <c:v>-9.9999999999999895E-2</c:v>
                </c:pt>
                <c:pt idx="27589">
                  <c:v>-9.9999999999999895E-2</c:v>
                </c:pt>
                <c:pt idx="27590">
                  <c:v>-9.9999999999999895E-2</c:v>
                </c:pt>
                <c:pt idx="27591">
                  <c:v>-9.9999999999999895E-2</c:v>
                </c:pt>
                <c:pt idx="27592">
                  <c:v>-9.9999999999999895E-2</c:v>
                </c:pt>
                <c:pt idx="27593">
                  <c:v>-9.9999999999999895E-2</c:v>
                </c:pt>
                <c:pt idx="27594">
                  <c:v>-9.9999999999999895E-2</c:v>
                </c:pt>
                <c:pt idx="27595">
                  <c:v>-9.9999999999999895E-2</c:v>
                </c:pt>
                <c:pt idx="27596">
                  <c:v>-9.9999999999999895E-2</c:v>
                </c:pt>
                <c:pt idx="27597">
                  <c:v>-9.9999999999999895E-2</c:v>
                </c:pt>
                <c:pt idx="27598">
                  <c:v>-9.9999999999999895E-2</c:v>
                </c:pt>
                <c:pt idx="27599">
                  <c:v>-9.9999999999999895E-2</c:v>
                </c:pt>
                <c:pt idx="27600">
                  <c:v>-9.9999999999999895E-2</c:v>
                </c:pt>
                <c:pt idx="27601">
                  <c:v>-9.9999999999999895E-2</c:v>
                </c:pt>
                <c:pt idx="27602">
                  <c:v>-9.9999999999999895E-2</c:v>
                </c:pt>
                <c:pt idx="27603">
                  <c:v>-9.9999999999999895E-2</c:v>
                </c:pt>
                <c:pt idx="27604">
                  <c:v>-9.9999999999999895E-2</c:v>
                </c:pt>
                <c:pt idx="27605">
                  <c:v>-9.9999999999999895E-2</c:v>
                </c:pt>
                <c:pt idx="27606">
                  <c:v>-0.10084033613445301</c:v>
                </c:pt>
                <c:pt idx="27607">
                  <c:v>-0.10084033613445301</c:v>
                </c:pt>
                <c:pt idx="27608">
                  <c:v>-0.10084033613445301</c:v>
                </c:pt>
                <c:pt idx="27609">
                  <c:v>-0.10084033613445301</c:v>
                </c:pt>
                <c:pt idx="27610">
                  <c:v>-0.10084033613445301</c:v>
                </c:pt>
                <c:pt idx="27611">
                  <c:v>-0.10084033613445301</c:v>
                </c:pt>
                <c:pt idx="27612">
                  <c:v>-0.10084033613445301</c:v>
                </c:pt>
                <c:pt idx="27613">
                  <c:v>-0.10084033613445301</c:v>
                </c:pt>
                <c:pt idx="27614">
                  <c:v>-0.10084033613445301</c:v>
                </c:pt>
                <c:pt idx="27615">
                  <c:v>-0.10084033613445301</c:v>
                </c:pt>
                <c:pt idx="27616">
                  <c:v>-0.10084033613445301</c:v>
                </c:pt>
                <c:pt idx="27617">
                  <c:v>-0.10084033613445301</c:v>
                </c:pt>
                <c:pt idx="27618">
                  <c:v>-0.10084033613445301</c:v>
                </c:pt>
                <c:pt idx="27619">
                  <c:v>-0.10084033613445301</c:v>
                </c:pt>
                <c:pt idx="27620">
                  <c:v>-0.10084033613445301</c:v>
                </c:pt>
                <c:pt idx="27621">
                  <c:v>-0.10084033613445301</c:v>
                </c:pt>
                <c:pt idx="27622">
                  <c:v>-0.10084033613445301</c:v>
                </c:pt>
                <c:pt idx="27623">
                  <c:v>-0.10084033613445301</c:v>
                </c:pt>
                <c:pt idx="27624">
                  <c:v>-0.10084033613445301</c:v>
                </c:pt>
                <c:pt idx="27625">
                  <c:v>-0.10084033613445301</c:v>
                </c:pt>
                <c:pt idx="27626">
                  <c:v>-0.10084033613445301</c:v>
                </c:pt>
                <c:pt idx="27627">
                  <c:v>-0.10084033613445301</c:v>
                </c:pt>
                <c:pt idx="27628">
                  <c:v>-0.10084033613445301</c:v>
                </c:pt>
                <c:pt idx="27629">
                  <c:v>-0.10084033613445301</c:v>
                </c:pt>
                <c:pt idx="27630">
                  <c:v>-0.10084033613445301</c:v>
                </c:pt>
                <c:pt idx="27631">
                  <c:v>-0.10084033613445301</c:v>
                </c:pt>
                <c:pt idx="27632">
                  <c:v>-0.10084033613445301</c:v>
                </c:pt>
                <c:pt idx="27633">
                  <c:v>-0.10084033613445301</c:v>
                </c:pt>
                <c:pt idx="27634">
                  <c:v>-0.10084033613445301</c:v>
                </c:pt>
                <c:pt idx="27635">
                  <c:v>-0.10084033613445301</c:v>
                </c:pt>
                <c:pt idx="27636">
                  <c:v>-0.10084033613445301</c:v>
                </c:pt>
                <c:pt idx="27637">
                  <c:v>-0.10084033613445301</c:v>
                </c:pt>
                <c:pt idx="27638">
                  <c:v>-0.10084033613445301</c:v>
                </c:pt>
                <c:pt idx="27639">
                  <c:v>-0.10084033613445301</c:v>
                </c:pt>
                <c:pt idx="27640">
                  <c:v>-0.10084033613445301</c:v>
                </c:pt>
                <c:pt idx="27641">
                  <c:v>-0.10084033613445301</c:v>
                </c:pt>
                <c:pt idx="27642">
                  <c:v>-0.10084033613445301</c:v>
                </c:pt>
                <c:pt idx="27643">
                  <c:v>-0.10084033613445301</c:v>
                </c:pt>
                <c:pt idx="27644">
                  <c:v>-0.10084033613445301</c:v>
                </c:pt>
                <c:pt idx="27645">
                  <c:v>-0.10084033613445301</c:v>
                </c:pt>
                <c:pt idx="27646">
                  <c:v>-0.10084033613445301</c:v>
                </c:pt>
                <c:pt idx="27647">
                  <c:v>-0.10084033613445301</c:v>
                </c:pt>
                <c:pt idx="27648">
                  <c:v>-0.10084033613445301</c:v>
                </c:pt>
                <c:pt idx="27649">
                  <c:v>-0.10084033613445301</c:v>
                </c:pt>
                <c:pt idx="27650">
                  <c:v>-0.10084033613445301</c:v>
                </c:pt>
                <c:pt idx="27651">
                  <c:v>-0.10084033613445301</c:v>
                </c:pt>
                <c:pt idx="27652">
                  <c:v>-0.10084033613445301</c:v>
                </c:pt>
                <c:pt idx="27653">
                  <c:v>-0.10084033613445301</c:v>
                </c:pt>
                <c:pt idx="27654">
                  <c:v>-0.10084033613445301</c:v>
                </c:pt>
                <c:pt idx="27655">
                  <c:v>-0.10084033613445301</c:v>
                </c:pt>
                <c:pt idx="27656">
                  <c:v>-0.10084033613445301</c:v>
                </c:pt>
                <c:pt idx="27657">
                  <c:v>-0.10084033613445301</c:v>
                </c:pt>
                <c:pt idx="27658">
                  <c:v>-0.10084033613445301</c:v>
                </c:pt>
                <c:pt idx="27659">
                  <c:v>-0.10084033613445301</c:v>
                </c:pt>
                <c:pt idx="27660">
                  <c:v>-0.10084033613445301</c:v>
                </c:pt>
                <c:pt idx="27661">
                  <c:v>-0.10084033613445301</c:v>
                </c:pt>
                <c:pt idx="27662">
                  <c:v>-0.10084033613445301</c:v>
                </c:pt>
                <c:pt idx="27663">
                  <c:v>-0.10084033613445301</c:v>
                </c:pt>
                <c:pt idx="27664">
                  <c:v>-0.10084033613445301</c:v>
                </c:pt>
                <c:pt idx="27665">
                  <c:v>-0.10084033613445301</c:v>
                </c:pt>
                <c:pt idx="27666">
                  <c:v>-0.10084033613445301</c:v>
                </c:pt>
                <c:pt idx="27667">
                  <c:v>-0.10084033613445301</c:v>
                </c:pt>
                <c:pt idx="27668">
                  <c:v>-0.10084033613445301</c:v>
                </c:pt>
                <c:pt idx="27669">
                  <c:v>-0.10084033613445301</c:v>
                </c:pt>
                <c:pt idx="27670">
                  <c:v>-0.10084033613445301</c:v>
                </c:pt>
                <c:pt idx="27671">
                  <c:v>-0.10084033613445301</c:v>
                </c:pt>
                <c:pt idx="27672">
                  <c:v>-0.10084033613445301</c:v>
                </c:pt>
                <c:pt idx="27673">
                  <c:v>-0.10084033613445301</c:v>
                </c:pt>
                <c:pt idx="27674">
                  <c:v>-0.10084033613445301</c:v>
                </c:pt>
                <c:pt idx="27675">
                  <c:v>-0.10084033613445301</c:v>
                </c:pt>
                <c:pt idx="27676">
                  <c:v>-0.10084033613445301</c:v>
                </c:pt>
                <c:pt idx="27677">
                  <c:v>-0.10084033613445301</c:v>
                </c:pt>
                <c:pt idx="27678">
                  <c:v>-0.10084033613445301</c:v>
                </c:pt>
                <c:pt idx="27679">
                  <c:v>-0.10084033613445301</c:v>
                </c:pt>
                <c:pt idx="27680">
                  <c:v>-0.10084033613445301</c:v>
                </c:pt>
                <c:pt idx="27681">
                  <c:v>-0.10084033613445301</c:v>
                </c:pt>
                <c:pt idx="27682">
                  <c:v>-0.10084033613445301</c:v>
                </c:pt>
                <c:pt idx="27683">
                  <c:v>-0.10084033613445301</c:v>
                </c:pt>
                <c:pt idx="27684">
                  <c:v>-0.10084033613445301</c:v>
                </c:pt>
                <c:pt idx="27685">
                  <c:v>-0.10084033613445301</c:v>
                </c:pt>
                <c:pt idx="27686">
                  <c:v>-0.10084033613445301</c:v>
                </c:pt>
                <c:pt idx="27687">
                  <c:v>-0.10084033613445301</c:v>
                </c:pt>
                <c:pt idx="27688">
                  <c:v>-0.10084033613445301</c:v>
                </c:pt>
                <c:pt idx="27689">
                  <c:v>-0.10084033613445301</c:v>
                </c:pt>
                <c:pt idx="27690">
                  <c:v>-0.10084033613445301</c:v>
                </c:pt>
                <c:pt idx="27691">
                  <c:v>-0.10084033613445301</c:v>
                </c:pt>
                <c:pt idx="27692">
                  <c:v>-0.10084033613445301</c:v>
                </c:pt>
                <c:pt idx="27693">
                  <c:v>-0.10084033613445301</c:v>
                </c:pt>
                <c:pt idx="27694">
                  <c:v>-0.10084033613445301</c:v>
                </c:pt>
                <c:pt idx="27695">
                  <c:v>-0.10084033613445301</c:v>
                </c:pt>
                <c:pt idx="27696">
                  <c:v>-0.10084033613445301</c:v>
                </c:pt>
                <c:pt idx="27697">
                  <c:v>-0.10084033613445301</c:v>
                </c:pt>
                <c:pt idx="27698">
                  <c:v>-0.10084033613445301</c:v>
                </c:pt>
                <c:pt idx="27699">
                  <c:v>-0.10084033613445301</c:v>
                </c:pt>
                <c:pt idx="27700">
                  <c:v>-0.10084033613445301</c:v>
                </c:pt>
                <c:pt idx="27701">
                  <c:v>-0.10084033613445301</c:v>
                </c:pt>
                <c:pt idx="27702">
                  <c:v>-0.10084033613445301</c:v>
                </c:pt>
                <c:pt idx="27703">
                  <c:v>-0.10084033613445301</c:v>
                </c:pt>
                <c:pt idx="27704">
                  <c:v>-0.10084033613445301</c:v>
                </c:pt>
                <c:pt idx="27705">
                  <c:v>-0.10084033613445301</c:v>
                </c:pt>
                <c:pt idx="27706">
                  <c:v>-0.10084033613445301</c:v>
                </c:pt>
                <c:pt idx="27707">
                  <c:v>-0.10084033613445301</c:v>
                </c:pt>
                <c:pt idx="27708">
                  <c:v>-0.10084033613445301</c:v>
                </c:pt>
                <c:pt idx="27709">
                  <c:v>-0.10084033613445301</c:v>
                </c:pt>
                <c:pt idx="27710">
                  <c:v>-0.10084033613445301</c:v>
                </c:pt>
                <c:pt idx="27711">
                  <c:v>-0.10084033613445301</c:v>
                </c:pt>
                <c:pt idx="27712">
                  <c:v>-0.10084033613445301</c:v>
                </c:pt>
                <c:pt idx="27713">
                  <c:v>-0.10084033613445301</c:v>
                </c:pt>
                <c:pt idx="27714">
                  <c:v>-0.10084033613445301</c:v>
                </c:pt>
                <c:pt idx="27715">
                  <c:v>-0.10084033613445301</c:v>
                </c:pt>
                <c:pt idx="27716">
                  <c:v>-0.10084033613445301</c:v>
                </c:pt>
                <c:pt idx="27717">
                  <c:v>-0.10084033613445301</c:v>
                </c:pt>
                <c:pt idx="27718">
                  <c:v>-0.10084033613445301</c:v>
                </c:pt>
                <c:pt idx="27719">
                  <c:v>-0.10084033613445301</c:v>
                </c:pt>
                <c:pt idx="27720">
                  <c:v>-0.10084033613445301</c:v>
                </c:pt>
                <c:pt idx="27721">
                  <c:v>-0.10084033613445301</c:v>
                </c:pt>
                <c:pt idx="27722">
                  <c:v>-0.10084033613445301</c:v>
                </c:pt>
                <c:pt idx="27723">
                  <c:v>-0.10084033613445301</c:v>
                </c:pt>
                <c:pt idx="27724">
                  <c:v>-0.10084033613445301</c:v>
                </c:pt>
                <c:pt idx="27725">
                  <c:v>-0.10084033613445301</c:v>
                </c:pt>
                <c:pt idx="27726">
                  <c:v>-0.10084033613445301</c:v>
                </c:pt>
                <c:pt idx="27727">
                  <c:v>-0.10084033613445301</c:v>
                </c:pt>
                <c:pt idx="27728">
                  <c:v>-0.10084033613445301</c:v>
                </c:pt>
                <c:pt idx="27729">
                  <c:v>-0.10084033613445301</c:v>
                </c:pt>
                <c:pt idx="27730">
                  <c:v>-0.10084033613445301</c:v>
                </c:pt>
                <c:pt idx="27731">
                  <c:v>-0.10084033613445301</c:v>
                </c:pt>
                <c:pt idx="27732">
                  <c:v>-0.10084033613445301</c:v>
                </c:pt>
                <c:pt idx="27733">
                  <c:v>-0.10084033613445301</c:v>
                </c:pt>
                <c:pt idx="27734">
                  <c:v>-0.10084033613445301</c:v>
                </c:pt>
                <c:pt idx="27735">
                  <c:v>-0.10084033613445301</c:v>
                </c:pt>
                <c:pt idx="27736">
                  <c:v>-0.10084033613445301</c:v>
                </c:pt>
                <c:pt idx="27737">
                  <c:v>-0.10084033613445301</c:v>
                </c:pt>
                <c:pt idx="27738">
                  <c:v>-0.10084033613445301</c:v>
                </c:pt>
                <c:pt idx="27739">
                  <c:v>-0.10084033613445301</c:v>
                </c:pt>
                <c:pt idx="27740">
                  <c:v>-0.10084033613445301</c:v>
                </c:pt>
                <c:pt idx="27741">
                  <c:v>-0.10084033613445301</c:v>
                </c:pt>
                <c:pt idx="27742">
                  <c:v>-0.10084033613445301</c:v>
                </c:pt>
                <c:pt idx="27743">
                  <c:v>-0.10084033613445301</c:v>
                </c:pt>
                <c:pt idx="27744">
                  <c:v>-0.10084033613445301</c:v>
                </c:pt>
                <c:pt idx="27745">
                  <c:v>-0.10084033613445301</c:v>
                </c:pt>
                <c:pt idx="27746">
                  <c:v>-0.10084033613445301</c:v>
                </c:pt>
                <c:pt idx="27747">
                  <c:v>-0.10084033613445301</c:v>
                </c:pt>
                <c:pt idx="27748">
                  <c:v>-0.10084033613445301</c:v>
                </c:pt>
                <c:pt idx="27749">
                  <c:v>-0.10084033613445301</c:v>
                </c:pt>
                <c:pt idx="27750">
                  <c:v>-0.10084033613445301</c:v>
                </c:pt>
                <c:pt idx="27751">
                  <c:v>-0.10084033613445301</c:v>
                </c:pt>
                <c:pt idx="27752">
                  <c:v>-0.10084033613445301</c:v>
                </c:pt>
                <c:pt idx="27753">
                  <c:v>-0.10084033613445301</c:v>
                </c:pt>
                <c:pt idx="27754">
                  <c:v>-0.10084033613445301</c:v>
                </c:pt>
                <c:pt idx="27755">
                  <c:v>-0.10084033613445301</c:v>
                </c:pt>
                <c:pt idx="27756">
                  <c:v>-0.10084033613445301</c:v>
                </c:pt>
                <c:pt idx="27757">
                  <c:v>-0.10084033613445301</c:v>
                </c:pt>
                <c:pt idx="27758">
                  <c:v>-0.10084033613445301</c:v>
                </c:pt>
                <c:pt idx="27759">
                  <c:v>-0.10084033613445301</c:v>
                </c:pt>
                <c:pt idx="27760">
                  <c:v>-0.10084033613445301</c:v>
                </c:pt>
                <c:pt idx="27761">
                  <c:v>-0.10084033613445301</c:v>
                </c:pt>
                <c:pt idx="27762">
                  <c:v>-0.10168067226890699</c:v>
                </c:pt>
                <c:pt idx="27763">
                  <c:v>-0.10168067226890699</c:v>
                </c:pt>
                <c:pt idx="27764">
                  <c:v>-0.10168067226890699</c:v>
                </c:pt>
                <c:pt idx="27765">
                  <c:v>-0.10168067226890699</c:v>
                </c:pt>
                <c:pt idx="27766">
                  <c:v>-0.10168067226890699</c:v>
                </c:pt>
                <c:pt idx="27767">
                  <c:v>-0.10168067226890699</c:v>
                </c:pt>
                <c:pt idx="27768">
                  <c:v>-0.10168067226890699</c:v>
                </c:pt>
                <c:pt idx="27769">
                  <c:v>-0.10084033613445301</c:v>
                </c:pt>
                <c:pt idx="27770">
                  <c:v>-0.10084033613445301</c:v>
                </c:pt>
                <c:pt idx="27771">
                  <c:v>-0.10084033613445301</c:v>
                </c:pt>
                <c:pt idx="27772">
                  <c:v>-0.10084033613445301</c:v>
                </c:pt>
                <c:pt idx="27773">
                  <c:v>-0.10084033613445301</c:v>
                </c:pt>
                <c:pt idx="27774">
                  <c:v>-0.10084033613445301</c:v>
                </c:pt>
                <c:pt idx="27775">
                  <c:v>-0.10084033613445301</c:v>
                </c:pt>
                <c:pt idx="27776">
                  <c:v>-0.10084033613445301</c:v>
                </c:pt>
                <c:pt idx="27777">
                  <c:v>-0.10084033613445301</c:v>
                </c:pt>
                <c:pt idx="27778">
                  <c:v>-0.10084033613445301</c:v>
                </c:pt>
                <c:pt idx="27779">
                  <c:v>-0.10084033613445301</c:v>
                </c:pt>
                <c:pt idx="27780">
                  <c:v>-0.1</c:v>
                </c:pt>
                <c:pt idx="27781">
                  <c:v>-0.1</c:v>
                </c:pt>
                <c:pt idx="27782">
                  <c:v>-0.10084033613445301</c:v>
                </c:pt>
                <c:pt idx="27783">
                  <c:v>-0.10084033613445301</c:v>
                </c:pt>
                <c:pt idx="27784">
                  <c:v>-0.10084033613445301</c:v>
                </c:pt>
                <c:pt idx="27785">
                  <c:v>-0.10084033613445301</c:v>
                </c:pt>
                <c:pt idx="27786">
                  <c:v>-0.10084033613445301</c:v>
                </c:pt>
                <c:pt idx="27787">
                  <c:v>-0.10084033613445301</c:v>
                </c:pt>
                <c:pt idx="27788">
                  <c:v>-0.10084033613445301</c:v>
                </c:pt>
                <c:pt idx="27789">
                  <c:v>-0.10084033613445301</c:v>
                </c:pt>
                <c:pt idx="27790">
                  <c:v>-0.10084033613445301</c:v>
                </c:pt>
                <c:pt idx="27791">
                  <c:v>-0.10084033613445301</c:v>
                </c:pt>
                <c:pt idx="27792">
                  <c:v>-0.10084033613445301</c:v>
                </c:pt>
                <c:pt idx="27793">
                  <c:v>-0.10084033613445301</c:v>
                </c:pt>
                <c:pt idx="27794">
                  <c:v>-0.10084033613445301</c:v>
                </c:pt>
                <c:pt idx="27795">
                  <c:v>-0.10084033613445301</c:v>
                </c:pt>
                <c:pt idx="27796">
                  <c:v>-0.10084033613445301</c:v>
                </c:pt>
                <c:pt idx="27797">
                  <c:v>-0.10084033613445301</c:v>
                </c:pt>
                <c:pt idx="27798">
                  <c:v>-0.10084033613445301</c:v>
                </c:pt>
                <c:pt idx="27799">
                  <c:v>-0.10084033613445301</c:v>
                </c:pt>
                <c:pt idx="27800">
                  <c:v>-0.10084033613445301</c:v>
                </c:pt>
                <c:pt idx="27801">
                  <c:v>-0.10084033613445301</c:v>
                </c:pt>
                <c:pt idx="27802">
                  <c:v>-0.10084033613445301</c:v>
                </c:pt>
                <c:pt idx="27803">
                  <c:v>-0.10084033613445301</c:v>
                </c:pt>
                <c:pt idx="27804">
                  <c:v>-0.10084033613445301</c:v>
                </c:pt>
                <c:pt idx="27805">
                  <c:v>-0.1</c:v>
                </c:pt>
                <c:pt idx="27806">
                  <c:v>-0.1</c:v>
                </c:pt>
                <c:pt idx="27807">
                  <c:v>-0.1</c:v>
                </c:pt>
                <c:pt idx="27808">
                  <c:v>-0.1</c:v>
                </c:pt>
                <c:pt idx="27809">
                  <c:v>-0.1</c:v>
                </c:pt>
                <c:pt idx="27810">
                  <c:v>-0.1</c:v>
                </c:pt>
                <c:pt idx="27811">
                  <c:v>-0.1</c:v>
                </c:pt>
                <c:pt idx="27812">
                  <c:v>-0.1</c:v>
                </c:pt>
                <c:pt idx="27813">
                  <c:v>-0.1</c:v>
                </c:pt>
                <c:pt idx="27814">
                  <c:v>-0.1</c:v>
                </c:pt>
                <c:pt idx="27815">
                  <c:v>-9.9159663865546296E-2</c:v>
                </c:pt>
                <c:pt idx="27816">
                  <c:v>-9.9159663865546296E-2</c:v>
                </c:pt>
                <c:pt idx="27817">
                  <c:v>-9.9159663865546296E-2</c:v>
                </c:pt>
                <c:pt idx="27818">
                  <c:v>-9.9159663865546296E-2</c:v>
                </c:pt>
                <c:pt idx="27819">
                  <c:v>-9.9159663865546296E-2</c:v>
                </c:pt>
                <c:pt idx="27820">
                  <c:v>-9.9159663865546296E-2</c:v>
                </c:pt>
                <c:pt idx="27821">
                  <c:v>-9.9159663865546296E-2</c:v>
                </c:pt>
                <c:pt idx="27822">
                  <c:v>-9.9159663865546296E-2</c:v>
                </c:pt>
                <c:pt idx="27823">
                  <c:v>-9.9159663865546296E-2</c:v>
                </c:pt>
                <c:pt idx="27824">
                  <c:v>-9.9159663865546296E-2</c:v>
                </c:pt>
                <c:pt idx="27825">
                  <c:v>-9.9159663865546296E-2</c:v>
                </c:pt>
                <c:pt idx="27826">
                  <c:v>-9.9159663865546296E-2</c:v>
                </c:pt>
                <c:pt idx="27827">
                  <c:v>-9.9159663865546296E-2</c:v>
                </c:pt>
                <c:pt idx="27828">
                  <c:v>-9.9159663865546296E-2</c:v>
                </c:pt>
                <c:pt idx="27829">
                  <c:v>-9.9159663865546296E-2</c:v>
                </c:pt>
                <c:pt idx="27830">
                  <c:v>-9.9159663865546296E-2</c:v>
                </c:pt>
                <c:pt idx="27831">
                  <c:v>-9.9159663865546296E-2</c:v>
                </c:pt>
                <c:pt idx="27832">
                  <c:v>-9.9159663865546296E-2</c:v>
                </c:pt>
                <c:pt idx="27833">
                  <c:v>-9.9159663865546296E-2</c:v>
                </c:pt>
                <c:pt idx="27834">
                  <c:v>-9.9159663865546296E-2</c:v>
                </c:pt>
                <c:pt idx="27835">
                  <c:v>-9.9159663865546296E-2</c:v>
                </c:pt>
                <c:pt idx="27836">
                  <c:v>-9.9159663865546296E-2</c:v>
                </c:pt>
                <c:pt idx="27837">
                  <c:v>-9.9159663865546296E-2</c:v>
                </c:pt>
                <c:pt idx="27838">
                  <c:v>-9.9159663865546296E-2</c:v>
                </c:pt>
                <c:pt idx="27839">
                  <c:v>-9.9159663865546296E-2</c:v>
                </c:pt>
                <c:pt idx="27840">
                  <c:v>-9.9159663865546296E-2</c:v>
                </c:pt>
                <c:pt idx="27841">
                  <c:v>-9.9159663865546296E-2</c:v>
                </c:pt>
                <c:pt idx="27842">
                  <c:v>-9.9159663865546296E-2</c:v>
                </c:pt>
                <c:pt idx="27843">
                  <c:v>-9.9159663865546296E-2</c:v>
                </c:pt>
                <c:pt idx="27844">
                  <c:v>-9.9159663865546296E-2</c:v>
                </c:pt>
                <c:pt idx="27845">
                  <c:v>-9.9159663865546296E-2</c:v>
                </c:pt>
                <c:pt idx="27846">
                  <c:v>-9.9159663865546296E-2</c:v>
                </c:pt>
                <c:pt idx="27847">
                  <c:v>-9.9159663865546296E-2</c:v>
                </c:pt>
                <c:pt idx="27848">
                  <c:v>-9.9159663865546296E-2</c:v>
                </c:pt>
                <c:pt idx="27849">
                  <c:v>-9.9159663865546296E-2</c:v>
                </c:pt>
                <c:pt idx="27850">
                  <c:v>-9.9159663865546296E-2</c:v>
                </c:pt>
                <c:pt idx="27851">
                  <c:v>-9.9159663865546296E-2</c:v>
                </c:pt>
                <c:pt idx="27852">
                  <c:v>-9.9159663865546296E-2</c:v>
                </c:pt>
                <c:pt idx="27853">
                  <c:v>-9.9159663865546296E-2</c:v>
                </c:pt>
                <c:pt idx="27854">
                  <c:v>-9.9159663865546296E-2</c:v>
                </c:pt>
                <c:pt idx="27855">
                  <c:v>-0.1</c:v>
                </c:pt>
                <c:pt idx="27856">
                  <c:v>-0.1</c:v>
                </c:pt>
                <c:pt idx="27857">
                  <c:v>-0.1</c:v>
                </c:pt>
                <c:pt idx="27858">
                  <c:v>-0.1</c:v>
                </c:pt>
                <c:pt idx="27859">
                  <c:v>-0.1</c:v>
                </c:pt>
                <c:pt idx="27860">
                  <c:v>-0.1</c:v>
                </c:pt>
                <c:pt idx="27861">
                  <c:v>-0.1</c:v>
                </c:pt>
                <c:pt idx="27862">
                  <c:v>-0.1</c:v>
                </c:pt>
                <c:pt idx="27863">
                  <c:v>-0.1</c:v>
                </c:pt>
                <c:pt idx="27864">
                  <c:v>-0.1</c:v>
                </c:pt>
                <c:pt idx="27865">
                  <c:v>-0.1</c:v>
                </c:pt>
                <c:pt idx="27866">
                  <c:v>-0.1</c:v>
                </c:pt>
                <c:pt idx="27867">
                  <c:v>-9.9159663865546296E-2</c:v>
                </c:pt>
                <c:pt idx="27868">
                  <c:v>-9.9159663865546296E-2</c:v>
                </c:pt>
                <c:pt idx="27869">
                  <c:v>-9.9159663865546296E-2</c:v>
                </c:pt>
                <c:pt idx="27870">
                  <c:v>-9.9159663865546296E-2</c:v>
                </c:pt>
                <c:pt idx="27871">
                  <c:v>-9.9159663865546296E-2</c:v>
                </c:pt>
                <c:pt idx="27872">
                  <c:v>-9.9159663865546296E-2</c:v>
                </c:pt>
                <c:pt idx="27873">
                  <c:v>-9.9159663865546296E-2</c:v>
                </c:pt>
                <c:pt idx="27874">
                  <c:v>-9.9159663865546296E-2</c:v>
                </c:pt>
                <c:pt idx="27875">
                  <c:v>-9.9159663865546296E-2</c:v>
                </c:pt>
                <c:pt idx="27876">
                  <c:v>-9.9159663865546296E-2</c:v>
                </c:pt>
                <c:pt idx="27877">
                  <c:v>-9.9159663865546296E-2</c:v>
                </c:pt>
                <c:pt idx="27878">
                  <c:v>-9.9159663865546296E-2</c:v>
                </c:pt>
                <c:pt idx="27879">
                  <c:v>-9.9159663865546296E-2</c:v>
                </c:pt>
                <c:pt idx="27880">
                  <c:v>-0.1</c:v>
                </c:pt>
                <c:pt idx="27881">
                  <c:v>-0.1</c:v>
                </c:pt>
                <c:pt idx="27882">
                  <c:v>-0.1</c:v>
                </c:pt>
                <c:pt idx="27883">
                  <c:v>-0.1</c:v>
                </c:pt>
                <c:pt idx="27884">
                  <c:v>-0.1</c:v>
                </c:pt>
                <c:pt idx="27885">
                  <c:v>-9.9159663865546296E-2</c:v>
                </c:pt>
                <c:pt idx="27886">
                  <c:v>-9.9159663865546296E-2</c:v>
                </c:pt>
                <c:pt idx="27887">
                  <c:v>-9.9159663865546296E-2</c:v>
                </c:pt>
                <c:pt idx="27888">
                  <c:v>-9.9159663865546296E-2</c:v>
                </c:pt>
                <c:pt idx="27889">
                  <c:v>-9.9159663865546296E-2</c:v>
                </c:pt>
                <c:pt idx="27890">
                  <c:v>-9.9159663865546296E-2</c:v>
                </c:pt>
                <c:pt idx="27891">
                  <c:v>-9.9159663865546296E-2</c:v>
                </c:pt>
                <c:pt idx="27892">
                  <c:v>-9.9159663865546296E-2</c:v>
                </c:pt>
                <c:pt idx="27893">
                  <c:v>-9.9159663865546296E-2</c:v>
                </c:pt>
                <c:pt idx="27894">
                  <c:v>-9.9159663865546296E-2</c:v>
                </c:pt>
                <c:pt idx="27895">
                  <c:v>-9.9159663865546296E-2</c:v>
                </c:pt>
                <c:pt idx="27896">
                  <c:v>-9.9159663865546296E-2</c:v>
                </c:pt>
                <c:pt idx="27897">
                  <c:v>-9.9159663865546296E-2</c:v>
                </c:pt>
                <c:pt idx="27898">
                  <c:v>-9.9159663865546296E-2</c:v>
                </c:pt>
                <c:pt idx="27899">
                  <c:v>-9.9159663865546296E-2</c:v>
                </c:pt>
                <c:pt idx="27900">
                  <c:v>-9.9159663865546296E-2</c:v>
                </c:pt>
                <c:pt idx="27901">
                  <c:v>-9.9159663865546296E-2</c:v>
                </c:pt>
                <c:pt idx="27902">
                  <c:v>-9.9159663865546296E-2</c:v>
                </c:pt>
                <c:pt idx="27903">
                  <c:v>-9.9159663865546296E-2</c:v>
                </c:pt>
                <c:pt idx="27904">
                  <c:v>-9.9159663865546296E-2</c:v>
                </c:pt>
                <c:pt idx="27905">
                  <c:v>-9.9159663865546296E-2</c:v>
                </c:pt>
                <c:pt idx="27906">
                  <c:v>-9.9159663865546296E-2</c:v>
                </c:pt>
                <c:pt idx="27907">
                  <c:v>-9.9159663865546296E-2</c:v>
                </c:pt>
                <c:pt idx="27908">
                  <c:v>-9.9159663865546296E-2</c:v>
                </c:pt>
                <c:pt idx="27909">
                  <c:v>-9.9159663865546296E-2</c:v>
                </c:pt>
                <c:pt idx="27910">
                  <c:v>-9.9159663865546296E-2</c:v>
                </c:pt>
                <c:pt idx="27911">
                  <c:v>-9.9159663865546296E-2</c:v>
                </c:pt>
                <c:pt idx="27912">
                  <c:v>-9.9159663865546296E-2</c:v>
                </c:pt>
                <c:pt idx="27913">
                  <c:v>-9.9159663865546296E-2</c:v>
                </c:pt>
                <c:pt idx="27914">
                  <c:v>-9.9159663865546296E-2</c:v>
                </c:pt>
                <c:pt idx="27915">
                  <c:v>-9.9159663865546296E-2</c:v>
                </c:pt>
                <c:pt idx="27916">
                  <c:v>-9.9159663865546296E-2</c:v>
                </c:pt>
                <c:pt idx="27917">
                  <c:v>-9.9159663865546296E-2</c:v>
                </c:pt>
                <c:pt idx="27918">
                  <c:v>-9.9159663865546296E-2</c:v>
                </c:pt>
                <c:pt idx="27919">
                  <c:v>-9.9159663865546296E-2</c:v>
                </c:pt>
                <c:pt idx="27920">
                  <c:v>-9.9159663865546296E-2</c:v>
                </c:pt>
                <c:pt idx="27921">
                  <c:v>-9.9159663865546296E-2</c:v>
                </c:pt>
                <c:pt idx="27922">
                  <c:v>-9.9159663865546296E-2</c:v>
                </c:pt>
                <c:pt idx="27923">
                  <c:v>-9.9159663865546296E-2</c:v>
                </c:pt>
                <c:pt idx="27924">
                  <c:v>-9.9159663865546296E-2</c:v>
                </c:pt>
                <c:pt idx="27925">
                  <c:v>-9.9159663865546296E-2</c:v>
                </c:pt>
                <c:pt idx="27926">
                  <c:v>-9.9159663865546296E-2</c:v>
                </c:pt>
                <c:pt idx="27927">
                  <c:v>-9.9159663865546296E-2</c:v>
                </c:pt>
                <c:pt idx="27928">
                  <c:v>-9.9159663865546296E-2</c:v>
                </c:pt>
                <c:pt idx="27929">
                  <c:v>-9.9159663865546296E-2</c:v>
                </c:pt>
                <c:pt idx="27930">
                  <c:v>-9.9159663865546296E-2</c:v>
                </c:pt>
                <c:pt idx="27931">
                  <c:v>-9.9159663865546296E-2</c:v>
                </c:pt>
                <c:pt idx="27932">
                  <c:v>-9.9159663865546296E-2</c:v>
                </c:pt>
                <c:pt idx="27933">
                  <c:v>-9.9159663865546296E-2</c:v>
                </c:pt>
                <c:pt idx="27934">
                  <c:v>-9.9159663865546296E-2</c:v>
                </c:pt>
                <c:pt idx="27935">
                  <c:v>-9.9159663865546296E-2</c:v>
                </c:pt>
                <c:pt idx="27936">
                  <c:v>-9.9159663865546296E-2</c:v>
                </c:pt>
                <c:pt idx="27937">
                  <c:v>-9.9159663865546296E-2</c:v>
                </c:pt>
                <c:pt idx="27938">
                  <c:v>-9.9159663865546296E-2</c:v>
                </c:pt>
                <c:pt idx="27939">
                  <c:v>-9.9159663865546296E-2</c:v>
                </c:pt>
                <c:pt idx="27940">
                  <c:v>-9.9159663865546296E-2</c:v>
                </c:pt>
                <c:pt idx="27941">
                  <c:v>-9.9159663865546296E-2</c:v>
                </c:pt>
                <c:pt idx="27942">
                  <c:v>-9.9159663865546296E-2</c:v>
                </c:pt>
                <c:pt idx="27943">
                  <c:v>-9.9159663865546296E-2</c:v>
                </c:pt>
                <c:pt idx="27944">
                  <c:v>-9.9159663865546296E-2</c:v>
                </c:pt>
                <c:pt idx="27945">
                  <c:v>-9.9159663865546296E-2</c:v>
                </c:pt>
                <c:pt idx="27946">
                  <c:v>-0.1</c:v>
                </c:pt>
                <c:pt idx="27947">
                  <c:v>-0.1</c:v>
                </c:pt>
                <c:pt idx="27948">
                  <c:v>-0.1</c:v>
                </c:pt>
                <c:pt idx="27949">
                  <c:v>-0.1</c:v>
                </c:pt>
                <c:pt idx="27950">
                  <c:v>-0.1</c:v>
                </c:pt>
                <c:pt idx="27951">
                  <c:v>-0.1</c:v>
                </c:pt>
                <c:pt idx="27952">
                  <c:v>-0.1</c:v>
                </c:pt>
                <c:pt idx="27953">
                  <c:v>-0.1</c:v>
                </c:pt>
                <c:pt idx="27954">
                  <c:v>-0.1</c:v>
                </c:pt>
                <c:pt idx="27955">
                  <c:v>-0.1</c:v>
                </c:pt>
                <c:pt idx="27956">
                  <c:v>-0.1</c:v>
                </c:pt>
                <c:pt idx="27957">
                  <c:v>-0.1</c:v>
                </c:pt>
                <c:pt idx="27958">
                  <c:v>-0.1</c:v>
                </c:pt>
                <c:pt idx="27959">
                  <c:v>-0.1</c:v>
                </c:pt>
                <c:pt idx="27960">
                  <c:v>-0.1</c:v>
                </c:pt>
                <c:pt idx="27961">
                  <c:v>-0.1</c:v>
                </c:pt>
                <c:pt idx="27962">
                  <c:v>-0.1</c:v>
                </c:pt>
                <c:pt idx="27963">
                  <c:v>-0.1</c:v>
                </c:pt>
                <c:pt idx="27964">
                  <c:v>-0.1</c:v>
                </c:pt>
                <c:pt idx="27965">
                  <c:v>-0.1</c:v>
                </c:pt>
                <c:pt idx="27966">
                  <c:v>-0.1</c:v>
                </c:pt>
                <c:pt idx="27967">
                  <c:v>-0.1</c:v>
                </c:pt>
                <c:pt idx="27968">
                  <c:v>-0.1</c:v>
                </c:pt>
                <c:pt idx="27969">
                  <c:v>-0.1</c:v>
                </c:pt>
                <c:pt idx="27970">
                  <c:v>-0.1</c:v>
                </c:pt>
                <c:pt idx="27971">
                  <c:v>-0.1</c:v>
                </c:pt>
                <c:pt idx="27972">
                  <c:v>-0.1</c:v>
                </c:pt>
                <c:pt idx="27973">
                  <c:v>-0.1</c:v>
                </c:pt>
                <c:pt idx="27974">
                  <c:v>-0.1</c:v>
                </c:pt>
                <c:pt idx="27975">
                  <c:v>-0.1</c:v>
                </c:pt>
                <c:pt idx="27976">
                  <c:v>-0.1</c:v>
                </c:pt>
                <c:pt idx="27977">
                  <c:v>-0.1</c:v>
                </c:pt>
                <c:pt idx="27978">
                  <c:v>-0.1</c:v>
                </c:pt>
                <c:pt idx="27979">
                  <c:v>-0.1</c:v>
                </c:pt>
                <c:pt idx="27980">
                  <c:v>-0.1</c:v>
                </c:pt>
                <c:pt idx="27981">
                  <c:v>-0.1</c:v>
                </c:pt>
                <c:pt idx="27982">
                  <c:v>-0.1</c:v>
                </c:pt>
                <c:pt idx="27983">
                  <c:v>-0.1</c:v>
                </c:pt>
                <c:pt idx="27984">
                  <c:v>-0.1</c:v>
                </c:pt>
                <c:pt idx="27985">
                  <c:v>-0.1</c:v>
                </c:pt>
                <c:pt idx="27986">
                  <c:v>-0.1</c:v>
                </c:pt>
                <c:pt idx="27987">
                  <c:v>-0.1</c:v>
                </c:pt>
                <c:pt idx="27988">
                  <c:v>-0.1</c:v>
                </c:pt>
                <c:pt idx="27989">
                  <c:v>-0.1</c:v>
                </c:pt>
                <c:pt idx="27990">
                  <c:v>-0.1</c:v>
                </c:pt>
                <c:pt idx="27991">
                  <c:v>-0.1</c:v>
                </c:pt>
                <c:pt idx="27992">
                  <c:v>-0.1</c:v>
                </c:pt>
                <c:pt idx="27993">
                  <c:v>-0.1</c:v>
                </c:pt>
                <c:pt idx="27994">
                  <c:v>-0.1</c:v>
                </c:pt>
                <c:pt idx="27995">
                  <c:v>-0.1</c:v>
                </c:pt>
                <c:pt idx="27996">
                  <c:v>-0.1</c:v>
                </c:pt>
                <c:pt idx="27997">
                  <c:v>-0.1</c:v>
                </c:pt>
                <c:pt idx="27998">
                  <c:v>-0.1</c:v>
                </c:pt>
                <c:pt idx="27999">
                  <c:v>-0.1</c:v>
                </c:pt>
                <c:pt idx="28000">
                  <c:v>-0.1</c:v>
                </c:pt>
                <c:pt idx="28001">
                  <c:v>-0.1</c:v>
                </c:pt>
                <c:pt idx="28002">
                  <c:v>-0.1</c:v>
                </c:pt>
                <c:pt idx="28003">
                  <c:v>-0.1</c:v>
                </c:pt>
                <c:pt idx="28004">
                  <c:v>-0.1</c:v>
                </c:pt>
                <c:pt idx="28005">
                  <c:v>-0.1</c:v>
                </c:pt>
                <c:pt idx="28006">
                  <c:v>-0.1</c:v>
                </c:pt>
                <c:pt idx="28007">
                  <c:v>-0.1</c:v>
                </c:pt>
                <c:pt idx="28008">
                  <c:v>-0.1</c:v>
                </c:pt>
                <c:pt idx="28009">
                  <c:v>-0.1</c:v>
                </c:pt>
                <c:pt idx="28010">
                  <c:v>-0.1</c:v>
                </c:pt>
                <c:pt idx="28011">
                  <c:v>-0.1</c:v>
                </c:pt>
                <c:pt idx="28012">
                  <c:v>-0.1</c:v>
                </c:pt>
                <c:pt idx="28013">
                  <c:v>-0.1</c:v>
                </c:pt>
                <c:pt idx="28014">
                  <c:v>-0.1</c:v>
                </c:pt>
                <c:pt idx="28015">
                  <c:v>-0.1</c:v>
                </c:pt>
                <c:pt idx="28016">
                  <c:v>-0.1</c:v>
                </c:pt>
                <c:pt idx="28017">
                  <c:v>-0.1</c:v>
                </c:pt>
                <c:pt idx="28018">
                  <c:v>-0.1</c:v>
                </c:pt>
                <c:pt idx="28019">
                  <c:v>-0.1</c:v>
                </c:pt>
                <c:pt idx="28020">
                  <c:v>-0.1</c:v>
                </c:pt>
                <c:pt idx="28021">
                  <c:v>-0.1</c:v>
                </c:pt>
                <c:pt idx="28022">
                  <c:v>-0.1</c:v>
                </c:pt>
                <c:pt idx="28023">
                  <c:v>-0.1</c:v>
                </c:pt>
                <c:pt idx="28024">
                  <c:v>-0.1</c:v>
                </c:pt>
                <c:pt idx="28025">
                  <c:v>-0.1</c:v>
                </c:pt>
                <c:pt idx="28026">
                  <c:v>-0.1</c:v>
                </c:pt>
                <c:pt idx="28027">
                  <c:v>-0.1</c:v>
                </c:pt>
                <c:pt idx="28028">
                  <c:v>-0.1</c:v>
                </c:pt>
                <c:pt idx="28029">
                  <c:v>-0.1</c:v>
                </c:pt>
                <c:pt idx="28030">
                  <c:v>-0.1</c:v>
                </c:pt>
                <c:pt idx="28031">
                  <c:v>-0.1</c:v>
                </c:pt>
                <c:pt idx="28032">
                  <c:v>-0.1</c:v>
                </c:pt>
                <c:pt idx="28033">
                  <c:v>-0.1</c:v>
                </c:pt>
                <c:pt idx="28034">
                  <c:v>-0.1</c:v>
                </c:pt>
                <c:pt idx="28035">
                  <c:v>-0.1</c:v>
                </c:pt>
                <c:pt idx="28036">
                  <c:v>-0.1</c:v>
                </c:pt>
                <c:pt idx="28037">
                  <c:v>-0.1</c:v>
                </c:pt>
                <c:pt idx="28038">
                  <c:v>-0.1</c:v>
                </c:pt>
                <c:pt idx="28039">
                  <c:v>-0.1</c:v>
                </c:pt>
                <c:pt idx="28040">
                  <c:v>-0.1</c:v>
                </c:pt>
                <c:pt idx="28041">
                  <c:v>-0.1</c:v>
                </c:pt>
                <c:pt idx="28042">
                  <c:v>-0.1</c:v>
                </c:pt>
                <c:pt idx="28043">
                  <c:v>-0.1</c:v>
                </c:pt>
                <c:pt idx="28044">
                  <c:v>-0.1</c:v>
                </c:pt>
                <c:pt idx="28045">
                  <c:v>-0.1</c:v>
                </c:pt>
                <c:pt idx="28046">
                  <c:v>-0.1</c:v>
                </c:pt>
                <c:pt idx="28047">
                  <c:v>-0.1</c:v>
                </c:pt>
                <c:pt idx="28048">
                  <c:v>-0.1</c:v>
                </c:pt>
                <c:pt idx="28049">
                  <c:v>-0.1</c:v>
                </c:pt>
                <c:pt idx="28050">
                  <c:v>-0.1</c:v>
                </c:pt>
                <c:pt idx="28051">
                  <c:v>-0.1</c:v>
                </c:pt>
                <c:pt idx="28052">
                  <c:v>-0.1</c:v>
                </c:pt>
                <c:pt idx="28053">
                  <c:v>-0.1</c:v>
                </c:pt>
                <c:pt idx="28054">
                  <c:v>-0.1</c:v>
                </c:pt>
                <c:pt idx="28055">
                  <c:v>-0.1</c:v>
                </c:pt>
                <c:pt idx="28056">
                  <c:v>-0.1</c:v>
                </c:pt>
                <c:pt idx="28057">
                  <c:v>-0.1</c:v>
                </c:pt>
                <c:pt idx="28058">
                  <c:v>-0.1</c:v>
                </c:pt>
                <c:pt idx="28059">
                  <c:v>-0.1</c:v>
                </c:pt>
                <c:pt idx="28060">
                  <c:v>-0.1</c:v>
                </c:pt>
                <c:pt idx="28061">
                  <c:v>-0.1</c:v>
                </c:pt>
                <c:pt idx="28062">
                  <c:v>-0.1</c:v>
                </c:pt>
                <c:pt idx="28063">
                  <c:v>-0.1</c:v>
                </c:pt>
                <c:pt idx="28064">
                  <c:v>-0.1</c:v>
                </c:pt>
                <c:pt idx="28065">
                  <c:v>-0.1</c:v>
                </c:pt>
                <c:pt idx="28066">
                  <c:v>-0.1</c:v>
                </c:pt>
                <c:pt idx="28067">
                  <c:v>-0.1</c:v>
                </c:pt>
                <c:pt idx="28068">
                  <c:v>-0.1</c:v>
                </c:pt>
                <c:pt idx="28069">
                  <c:v>-0.1</c:v>
                </c:pt>
                <c:pt idx="28070">
                  <c:v>-0.1</c:v>
                </c:pt>
                <c:pt idx="28071">
                  <c:v>-0.1</c:v>
                </c:pt>
                <c:pt idx="28072">
                  <c:v>-0.1</c:v>
                </c:pt>
                <c:pt idx="28073">
                  <c:v>-0.1</c:v>
                </c:pt>
                <c:pt idx="28074">
                  <c:v>-0.1</c:v>
                </c:pt>
                <c:pt idx="28075">
                  <c:v>-0.1</c:v>
                </c:pt>
                <c:pt idx="28076">
                  <c:v>-0.1</c:v>
                </c:pt>
                <c:pt idx="28077">
                  <c:v>-0.1</c:v>
                </c:pt>
                <c:pt idx="28078">
                  <c:v>-0.1</c:v>
                </c:pt>
                <c:pt idx="28079">
                  <c:v>-0.1</c:v>
                </c:pt>
                <c:pt idx="28080">
                  <c:v>-9.9159663865546296E-2</c:v>
                </c:pt>
                <c:pt idx="28081">
                  <c:v>-9.9159663865546296E-2</c:v>
                </c:pt>
                <c:pt idx="28082">
                  <c:v>-9.9159663865546296E-2</c:v>
                </c:pt>
                <c:pt idx="28083">
                  <c:v>-9.9159663865546296E-2</c:v>
                </c:pt>
                <c:pt idx="28084">
                  <c:v>-9.9159663865546296E-2</c:v>
                </c:pt>
                <c:pt idx="28085">
                  <c:v>-9.9159663865546296E-2</c:v>
                </c:pt>
                <c:pt idx="28086">
                  <c:v>-9.9159663865546296E-2</c:v>
                </c:pt>
                <c:pt idx="28087">
                  <c:v>-9.9159663865546296E-2</c:v>
                </c:pt>
                <c:pt idx="28088">
                  <c:v>-9.9159663865546296E-2</c:v>
                </c:pt>
                <c:pt idx="28089">
                  <c:v>-9.9159663865546296E-2</c:v>
                </c:pt>
                <c:pt idx="28090">
                  <c:v>-9.9159663865546296E-2</c:v>
                </c:pt>
                <c:pt idx="28091">
                  <c:v>-9.9159663865546296E-2</c:v>
                </c:pt>
                <c:pt idx="28092">
                  <c:v>-9.9159663865546296E-2</c:v>
                </c:pt>
                <c:pt idx="28093">
                  <c:v>-9.9159663865546296E-2</c:v>
                </c:pt>
                <c:pt idx="28094">
                  <c:v>-9.9159663865546296E-2</c:v>
                </c:pt>
                <c:pt idx="28095">
                  <c:v>-9.9159663865546296E-2</c:v>
                </c:pt>
                <c:pt idx="28096">
                  <c:v>-9.9159663865546296E-2</c:v>
                </c:pt>
                <c:pt idx="28097">
                  <c:v>-9.9159663865546296E-2</c:v>
                </c:pt>
                <c:pt idx="28098">
                  <c:v>-9.9159663865546296E-2</c:v>
                </c:pt>
                <c:pt idx="28099">
                  <c:v>-9.9159663865546296E-2</c:v>
                </c:pt>
                <c:pt idx="28100">
                  <c:v>-9.9159663865546296E-2</c:v>
                </c:pt>
                <c:pt idx="28101">
                  <c:v>-9.9159663865546296E-2</c:v>
                </c:pt>
                <c:pt idx="28102">
                  <c:v>-9.9159663865546296E-2</c:v>
                </c:pt>
                <c:pt idx="28103">
                  <c:v>-9.9159663865546296E-2</c:v>
                </c:pt>
                <c:pt idx="28104">
                  <c:v>-9.9159663865546296E-2</c:v>
                </c:pt>
                <c:pt idx="28105">
                  <c:v>-9.9159663865546296E-2</c:v>
                </c:pt>
                <c:pt idx="28106">
                  <c:v>-9.9159663865546296E-2</c:v>
                </c:pt>
                <c:pt idx="28107">
                  <c:v>-9.9159663865546296E-2</c:v>
                </c:pt>
                <c:pt idx="28108">
                  <c:v>-9.9159663865546296E-2</c:v>
                </c:pt>
                <c:pt idx="28109">
                  <c:v>-9.9159663865546296E-2</c:v>
                </c:pt>
                <c:pt idx="28110">
                  <c:v>-9.9159663865546296E-2</c:v>
                </c:pt>
                <c:pt idx="28111">
                  <c:v>-9.9159663865546296E-2</c:v>
                </c:pt>
                <c:pt idx="28112">
                  <c:v>-9.9159663865546296E-2</c:v>
                </c:pt>
                <c:pt idx="28113">
                  <c:v>-9.9159663865546296E-2</c:v>
                </c:pt>
                <c:pt idx="28114">
                  <c:v>-9.9159663865546296E-2</c:v>
                </c:pt>
                <c:pt idx="28115">
                  <c:v>-9.9159663865546296E-2</c:v>
                </c:pt>
                <c:pt idx="28116">
                  <c:v>-9.9159663865546296E-2</c:v>
                </c:pt>
                <c:pt idx="28117">
                  <c:v>-9.9159663865546296E-2</c:v>
                </c:pt>
                <c:pt idx="28118">
                  <c:v>-9.9159663865546296E-2</c:v>
                </c:pt>
                <c:pt idx="28119">
                  <c:v>-9.9159663865546296E-2</c:v>
                </c:pt>
                <c:pt idx="28120">
                  <c:v>-9.9159663865546296E-2</c:v>
                </c:pt>
                <c:pt idx="28121">
                  <c:v>-9.9159663865546296E-2</c:v>
                </c:pt>
                <c:pt idx="28122">
                  <c:v>-9.9159663865546296E-2</c:v>
                </c:pt>
                <c:pt idx="28123">
                  <c:v>-9.9159663865546296E-2</c:v>
                </c:pt>
                <c:pt idx="28124">
                  <c:v>-9.9159663865546296E-2</c:v>
                </c:pt>
                <c:pt idx="28125">
                  <c:v>-9.9159663865546296E-2</c:v>
                </c:pt>
                <c:pt idx="28126">
                  <c:v>-9.9159663865546296E-2</c:v>
                </c:pt>
                <c:pt idx="28127">
                  <c:v>-9.9159663865546296E-2</c:v>
                </c:pt>
                <c:pt idx="28128">
                  <c:v>-9.9159663865546296E-2</c:v>
                </c:pt>
                <c:pt idx="28129">
                  <c:v>-9.9159663865546296E-2</c:v>
                </c:pt>
                <c:pt idx="28130">
                  <c:v>-9.9159663865546296E-2</c:v>
                </c:pt>
                <c:pt idx="28131">
                  <c:v>-9.9159663865546296E-2</c:v>
                </c:pt>
                <c:pt idx="28132">
                  <c:v>-9.9159663865546296E-2</c:v>
                </c:pt>
                <c:pt idx="28133">
                  <c:v>-9.9159663865546296E-2</c:v>
                </c:pt>
                <c:pt idx="28134">
                  <c:v>-9.9159663865546296E-2</c:v>
                </c:pt>
                <c:pt idx="28135">
                  <c:v>-9.9159663865546296E-2</c:v>
                </c:pt>
                <c:pt idx="28136">
                  <c:v>-9.9159663865546296E-2</c:v>
                </c:pt>
                <c:pt idx="28137">
                  <c:v>-9.9159663865546296E-2</c:v>
                </c:pt>
                <c:pt idx="28138">
                  <c:v>-9.9159663865546296E-2</c:v>
                </c:pt>
                <c:pt idx="28139">
                  <c:v>-9.9159663865546296E-2</c:v>
                </c:pt>
                <c:pt idx="28140">
                  <c:v>-9.9159663865546296E-2</c:v>
                </c:pt>
                <c:pt idx="28141">
                  <c:v>-9.9159663865546296E-2</c:v>
                </c:pt>
                <c:pt idx="28142">
                  <c:v>-9.9159663865546296E-2</c:v>
                </c:pt>
                <c:pt idx="28143">
                  <c:v>-9.9159663865546296E-2</c:v>
                </c:pt>
                <c:pt idx="28144">
                  <c:v>-9.9159663865546296E-2</c:v>
                </c:pt>
                <c:pt idx="28145">
                  <c:v>-9.9159663865546296E-2</c:v>
                </c:pt>
                <c:pt idx="28146">
                  <c:v>-9.9159663865546296E-2</c:v>
                </c:pt>
                <c:pt idx="28147">
                  <c:v>-9.9159663865546296E-2</c:v>
                </c:pt>
                <c:pt idx="28148">
                  <c:v>-9.9159663865546296E-2</c:v>
                </c:pt>
                <c:pt idx="28149">
                  <c:v>-9.9159663865546296E-2</c:v>
                </c:pt>
                <c:pt idx="28150">
                  <c:v>-9.9159663865546296E-2</c:v>
                </c:pt>
                <c:pt idx="28151">
                  <c:v>-9.9159663865546296E-2</c:v>
                </c:pt>
                <c:pt idx="28152">
                  <c:v>-9.9159663865546296E-2</c:v>
                </c:pt>
                <c:pt idx="28153">
                  <c:v>-9.9159663865546296E-2</c:v>
                </c:pt>
                <c:pt idx="28154">
                  <c:v>-9.9159663865546296E-2</c:v>
                </c:pt>
                <c:pt idx="28155">
                  <c:v>-9.9159663865546296E-2</c:v>
                </c:pt>
                <c:pt idx="28156">
                  <c:v>-9.9159663865546296E-2</c:v>
                </c:pt>
                <c:pt idx="28157">
                  <c:v>-9.9159663865546296E-2</c:v>
                </c:pt>
                <c:pt idx="28158">
                  <c:v>-9.9159663865546296E-2</c:v>
                </c:pt>
                <c:pt idx="28159">
                  <c:v>-9.9159663865546296E-2</c:v>
                </c:pt>
                <c:pt idx="28160">
                  <c:v>-9.9159663865546296E-2</c:v>
                </c:pt>
                <c:pt idx="28161">
                  <c:v>-9.9159663865546296E-2</c:v>
                </c:pt>
                <c:pt idx="28162">
                  <c:v>-9.9159663865546296E-2</c:v>
                </c:pt>
                <c:pt idx="28163">
                  <c:v>-9.9159663865546296E-2</c:v>
                </c:pt>
                <c:pt idx="28164">
                  <c:v>-9.9159663865546296E-2</c:v>
                </c:pt>
                <c:pt idx="28165">
                  <c:v>-9.9159663865546296E-2</c:v>
                </c:pt>
                <c:pt idx="28166">
                  <c:v>-9.9159663865546296E-2</c:v>
                </c:pt>
                <c:pt idx="28167">
                  <c:v>-0.1</c:v>
                </c:pt>
                <c:pt idx="28168">
                  <c:v>-0.1</c:v>
                </c:pt>
                <c:pt idx="28169">
                  <c:v>-0.1</c:v>
                </c:pt>
                <c:pt idx="28170">
                  <c:v>-0.1</c:v>
                </c:pt>
                <c:pt idx="28171">
                  <c:v>-0.1</c:v>
                </c:pt>
                <c:pt idx="28172">
                  <c:v>-0.1</c:v>
                </c:pt>
                <c:pt idx="28173">
                  <c:v>-0.1</c:v>
                </c:pt>
                <c:pt idx="28174">
                  <c:v>-0.1</c:v>
                </c:pt>
                <c:pt idx="28175">
                  <c:v>-0.1</c:v>
                </c:pt>
                <c:pt idx="28176">
                  <c:v>-0.1</c:v>
                </c:pt>
                <c:pt idx="28177">
                  <c:v>-0.1</c:v>
                </c:pt>
                <c:pt idx="28178">
                  <c:v>-0.1</c:v>
                </c:pt>
                <c:pt idx="28179">
                  <c:v>-0.1</c:v>
                </c:pt>
                <c:pt idx="28180">
                  <c:v>-0.1</c:v>
                </c:pt>
                <c:pt idx="28181">
                  <c:v>-0.1</c:v>
                </c:pt>
                <c:pt idx="28182">
                  <c:v>-0.1</c:v>
                </c:pt>
                <c:pt idx="28183">
                  <c:v>-0.1</c:v>
                </c:pt>
                <c:pt idx="28184">
                  <c:v>-0.1</c:v>
                </c:pt>
                <c:pt idx="28185">
                  <c:v>-0.1</c:v>
                </c:pt>
                <c:pt idx="28186">
                  <c:v>-0.1</c:v>
                </c:pt>
                <c:pt idx="28187">
                  <c:v>-0.1</c:v>
                </c:pt>
                <c:pt idx="28188">
                  <c:v>-0.1</c:v>
                </c:pt>
                <c:pt idx="28189">
                  <c:v>-0.1</c:v>
                </c:pt>
                <c:pt idx="28190">
                  <c:v>-0.1</c:v>
                </c:pt>
                <c:pt idx="28191">
                  <c:v>-0.1</c:v>
                </c:pt>
                <c:pt idx="28192">
                  <c:v>-0.1</c:v>
                </c:pt>
                <c:pt idx="28193">
                  <c:v>-0.1</c:v>
                </c:pt>
                <c:pt idx="28194">
                  <c:v>-0.1</c:v>
                </c:pt>
                <c:pt idx="28195">
                  <c:v>-0.1</c:v>
                </c:pt>
                <c:pt idx="28196">
                  <c:v>-0.1</c:v>
                </c:pt>
                <c:pt idx="28197">
                  <c:v>-0.1</c:v>
                </c:pt>
                <c:pt idx="28198">
                  <c:v>-0.1</c:v>
                </c:pt>
                <c:pt idx="28199">
                  <c:v>-0.1</c:v>
                </c:pt>
                <c:pt idx="28200">
                  <c:v>-0.1</c:v>
                </c:pt>
                <c:pt idx="28201">
                  <c:v>-0.1</c:v>
                </c:pt>
                <c:pt idx="28202">
                  <c:v>-0.1</c:v>
                </c:pt>
                <c:pt idx="28203">
                  <c:v>-0.1</c:v>
                </c:pt>
                <c:pt idx="28204">
                  <c:v>-0.1</c:v>
                </c:pt>
                <c:pt idx="28205">
                  <c:v>-0.1</c:v>
                </c:pt>
                <c:pt idx="28206">
                  <c:v>-0.1</c:v>
                </c:pt>
                <c:pt idx="28207">
                  <c:v>-0.1</c:v>
                </c:pt>
                <c:pt idx="28208">
                  <c:v>-0.1</c:v>
                </c:pt>
                <c:pt idx="28209">
                  <c:v>-0.1</c:v>
                </c:pt>
                <c:pt idx="28210">
                  <c:v>-0.1</c:v>
                </c:pt>
                <c:pt idx="28211">
                  <c:v>-0.1</c:v>
                </c:pt>
                <c:pt idx="28212">
                  <c:v>-0.1</c:v>
                </c:pt>
                <c:pt idx="28213">
                  <c:v>-0.1</c:v>
                </c:pt>
                <c:pt idx="28214">
                  <c:v>-0.1</c:v>
                </c:pt>
                <c:pt idx="28215">
                  <c:v>-0.1</c:v>
                </c:pt>
                <c:pt idx="28216">
                  <c:v>-0.1</c:v>
                </c:pt>
                <c:pt idx="28217">
                  <c:v>-9.9159663865546199E-2</c:v>
                </c:pt>
                <c:pt idx="28218">
                  <c:v>-9.9159663865546199E-2</c:v>
                </c:pt>
                <c:pt idx="28219">
                  <c:v>-9.9159663865546199E-2</c:v>
                </c:pt>
                <c:pt idx="28220">
                  <c:v>-9.9159663865546199E-2</c:v>
                </c:pt>
                <c:pt idx="28221">
                  <c:v>-9.8319327731092407E-2</c:v>
                </c:pt>
                <c:pt idx="28222">
                  <c:v>-9.8319327731092407E-2</c:v>
                </c:pt>
                <c:pt idx="28223">
                  <c:v>-9.8319327731092407E-2</c:v>
                </c:pt>
                <c:pt idx="28224">
                  <c:v>-9.8319327731092407E-2</c:v>
                </c:pt>
                <c:pt idx="28225">
                  <c:v>-9.8319327731092407E-2</c:v>
                </c:pt>
                <c:pt idx="28226">
                  <c:v>-9.8319327731092407E-2</c:v>
                </c:pt>
                <c:pt idx="28227">
                  <c:v>-9.8319327731092407E-2</c:v>
                </c:pt>
                <c:pt idx="28228">
                  <c:v>-9.8319327731092407E-2</c:v>
                </c:pt>
                <c:pt idx="28229">
                  <c:v>-9.8319327731092407E-2</c:v>
                </c:pt>
                <c:pt idx="28230">
                  <c:v>-9.8319327731092407E-2</c:v>
                </c:pt>
                <c:pt idx="28231">
                  <c:v>-9.8319327731092407E-2</c:v>
                </c:pt>
                <c:pt idx="28232">
                  <c:v>-9.8319327731092407E-2</c:v>
                </c:pt>
                <c:pt idx="28233">
                  <c:v>-9.8319327731092407E-2</c:v>
                </c:pt>
                <c:pt idx="28234">
                  <c:v>-9.8319327731092407E-2</c:v>
                </c:pt>
                <c:pt idx="28235">
                  <c:v>-9.9159663865546199E-2</c:v>
                </c:pt>
                <c:pt idx="28236">
                  <c:v>-9.9159663865546199E-2</c:v>
                </c:pt>
                <c:pt idx="28237">
                  <c:v>-9.9159663865546199E-2</c:v>
                </c:pt>
                <c:pt idx="28238">
                  <c:v>-9.9159663865546199E-2</c:v>
                </c:pt>
                <c:pt idx="28239">
                  <c:v>-9.8319327731092407E-2</c:v>
                </c:pt>
                <c:pt idx="28240">
                  <c:v>-9.8319327731092407E-2</c:v>
                </c:pt>
                <c:pt idx="28241">
                  <c:v>-9.8319327731092407E-2</c:v>
                </c:pt>
                <c:pt idx="28242">
                  <c:v>-9.8319327731092407E-2</c:v>
                </c:pt>
                <c:pt idx="28243">
                  <c:v>-9.8319327731092407E-2</c:v>
                </c:pt>
                <c:pt idx="28244">
                  <c:v>-9.8319327731092407E-2</c:v>
                </c:pt>
                <c:pt idx="28245">
                  <c:v>-9.8319327731092407E-2</c:v>
                </c:pt>
                <c:pt idx="28246">
                  <c:v>-9.8319327731092407E-2</c:v>
                </c:pt>
                <c:pt idx="28247">
                  <c:v>-9.8319327731092407E-2</c:v>
                </c:pt>
                <c:pt idx="28248">
                  <c:v>-9.8319327731092407E-2</c:v>
                </c:pt>
                <c:pt idx="28249">
                  <c:v>-9.8319327731092407E-2</c:v>
                </c:pt>
                <c:pt idx="28250">
                  <c:v>-9.8319327731092407E-2</c:v>
                </c:pt>
                <c:pt idx="28251">
                  <c:v>-9.9159663865546199E-2</c:v>
                </c:pt>
                <c:pt idx="28252">
                  <c:v>-9.9159663865546199E-2</c:v>
                </c:pt>
                <c:pt idx="28253">
                  <c:v>-9.9159663865546199E-2</c:v>
                </c:pt>
                <c:pt idx="28254">
                  <c:v>-9.9159663865546199E-2</c:v>
                </c:pt>
                <c:pt idx="28255">
                  <c:v>-9.9159663865546199E-2</c:v>
                </c:pt>
                <c:pt idx="28256">
                  <c:v>-9.9159663865546199E-2</c:v>
                </c:pt>
                <c:pt idx="28257">
                  <c:v>-9.9159663865546199E-2</c:v>
                </c:pt>
                <c:pt idx="28258">
                  <c:v>-9.9159663865546199E-2</c:v>
                </c:pt>
                <c:pt idx="28259">
                  <c:v>-9.9159663865546199E-2</c:v>
                </c:pt>
                <c:pt idx="28260">
                  <c:v>-9.9159663865546199E-2</c:v>
                </c:pt>
                <c:pt idx="28261">
                  <c:v>-9.9159663865546199E-2</c:v>
                </c:pt>
                <c:pt idx="28262">
                  <c:v>-9.9159663865546199E-2</c:v>
                </c:pt>
                <c:pt idx="28263">
                  <c:v>-9.9159663865546199E-2</c:v>
                </c:pt>
                <c:pt idx="28264">
                  <c:v>-9.9159663865546199E-2</c:v>
                </c:pt>
                <c:pt idx="28265">
                  <c:v>-9.9159663865546199E-2</c:v>
                </c:pt>
                <c:pt idx="28266">
                  <c:v>-9.9159663865546199E-2</c:v>
                </c:pt>
                <c:pt idx="28267">
                  <c:v>-9.9159663865546199E-2</c:v>
                </c:pt>
                <c:pt idx="28268">
                  <c:v>-9.9159663865546199E-2</c:v>
                </c:pt>
                <c:pt idx="28269">
                  <c:v>-9.9159663865546199E-2</c:v>
                </c:pt>
                <c:pt idx="28270">
                  <c:v>-9.9159663865546199E-2</c:v>
                </c:pt>
                <c:pt idx="28271">
                  <c:v>-9.9159663865546199E-2</c:v>
                </c:pt>
                <c:pt idx="28272">
                  <c:v>-9.9159663865546199E-2</c:v>
                </c:pt>
                <c:pt idx="28273">
                  <c:v>-9.9159663865546199E-2</c:v>
                </c:pt>
                <c:pt idx="28274">
                  <c:v>-9.9159663865546199E-2</c:v>
                </c:pt>
                <c:pt idx="28275">
                  <c:v>-9.9159663865546199E-2</c:v>
                </c:pt>
                <c:pt idx="28276">
                  <c:v>-9.9159663865546199E-2</c:v>
                </c:pt>
                <c:pt idx="28277">
                  <c:v>-9.9159663865546199E-2</c:v>
                </c:pt>
                <c:pt idx="28278">
                  <c:v>-9.9159663865546199E-2</c:v>
                </c:pt>
                <c:pt idx="28279">
                  <c:v>-9.9159663865546199E-2</c:v>
                </c:pt>
                <c:pt idx="28280">
                  <c:v>-9.9159663865546199E-2</c:v>
                </c:pt>
                <c:pt idx="28281">
                  <c:v>-9.9159663865546199E-2</c:v>
                </c:pt>
                <c:pt idx="28282">
                  <c:v>-9.9159663865546199E-2</c:v>
                </c:pt>
                <c:pt idx="28283">
                  <c:v>-9.9159663865546199E-2</c:v>
                </c:pt>
                <c:pt idx="28284">
                  <c:v>-9.9159663865546199E-2</c:v>
                </c:pt>
                <c:pt idx="28285">
                  <c:v>-9.9159663865546199E-2</c:v>
                </c:pt>
                <c:pt idx="28286">
                  <c:v>-9.9159663865546199E-2</c:v>
                </c:pt>
                <c:pt idx="28287">
                  <c:v>-9.9159663865546199E-2</c:v>
                </c:pt>
                <c:pt idx="28288">
                  <c:v>-9.9159663865546199E-2</c:v>
                </c:pt>
                <c:pt idx="28289">
                  <c:v>-9.9159663865546199E-2</c:v>
                </c:pt>
                <c:pt idx="28290">
                  <c:v>-9.9159663865546199E-2</c:v>
                </c:pt>
                <c:pt idx="28291">
                  <c:v>-9.9159663865546199E-2</c:v>
                </c:pt>
                <c:pt idx="28292">
                  <c:v>-9.9159663865546199E-2</c:v>
                </c:pt>
                <c:pt idx="28293">
                  <c:v>-9.9159663865546199E-2</c:v>
                </c:pt>
                <c:pt idx="28294">
                  <c:v>-9.9159663865546199E-2</c:v>
                </c:pt>
                <c:pt idx="28295">
                  <c:v>-9.9159663865546199E-2</c:v>
                </c:pt>
                <c:pt idx="28296">
                  <c:v>-9.9159663865546199E-2</c:v>
                </c:pt>
                <c:pt idx="28297">
                  <c:v>-9.9159663865546199E-2</c:v>
                </c:pt>
                <c:pt idx="28298">
                  <c:v>-9.9159663865546199E-2</c:v>
                </c:pt>
                <c:pt idx="28299">
                  <c:v>-9.9159663865546199E-2</c:v>
                </c:pt>
                <c:pt idx="28300">
                  <c:v>-9.9159663865546199E-2</c:v>
                </c:pt>
                <c:pt idx="28301">
                  <c:v>-9.9159663865546199E-2</c:v>
                </c:pt>
                <c:pt idx="28302">
                  <c:v>-9.9159663865546199E-2</c:v>
                </c:pt>
                <c:pt idx="28303">
                  <c:v>-9.9159663865546199E-2</c:v>
                </c:pt>
                <c:pt idx="28304">
                  <c:v>-9.9159663865546199E-2</c:v>
                </c:pt>
                <c:pt idx="28305">
                  <c:v>-9.9159663865546199E-2</c:v>
                </c:pt>
                <c:pt idx="28306">
                  <c:v>-9.9159663865546199E-2</c:v>
                </c:pt>
                <c:pt idx="28307">
                  <c:v>-9.9159663865546199E-2</c:v>
                </c:pt>
                <c:pt idx="28308">
                  <c:v>-9.9159663865546199E-2</c:v>
                </c:pt>
                <c:pt idx="28309">
                  <c:v>-9.9159663865546199E-2</c:v>
                </c:pt>
                <c:pt idx="28310">
                  <c:v>-9.9159663865546199E-2</c:v>
                </c:pt>
                <c:pt idx="28311">
                  <c:v>-9.9159663865546199E-2</c:v>
                </c:pt>
                <c:pt idx="28312">
                  <c:v>-9.9159663865546199E-2</c:v>
                </c:pt>
                <c:pt idx="28313">
                  <c:v>-9.9159663865546199E-2</c:v>
                </c:pt>
                <c:pt idx="28314">
                  <c:v>-9.9159663865546199E-2</c:v>
                </c:pt>
                <c:pt idx="28315">
                  <c:v>-9.9159663865546199E-2</c:v>
                </c:pt>
                <c:pt idx="28316">
                  <c:v>-9.9159663865546199E-2</c:v>
                </c:pt>
                <c:pt idx="28317">
                  <c:v>-9.9159663865546199E-2</c:v>
                </c:pt>
                <c:pt idx="28318">
                  <c:v>-9.8319327731092407E-2</c:v>
                </c:pt>
                <c:pt idx="28319">
                  <c:v>-9.8319327731092407E-2</c:v>
                </c:pt>
                <c:pt idx="28320">
                  <c:v>-9.8319327731092407E-2</c:v>
                </c:pt>
                <c:pt idx="28321">
                  <c:v>-9.8319327731092407E-2</c:v>
                </c:pt>
                <c:pt idx="28322">
                  <c:v>-9.8319327731092407E-2</c:v>
                </c:pt>
                <c:pt idx="28323">
                  <c:v>-9.8319327731092407E-2</c:v>
                </c:pt>
                <c:pt idx="28324">
                  <c:v>-9.8319327731092407E-2</c:v>
                </c:pt>
                <c:pt idx="28325">
                  <c:v>-9.8319327731092407E-2</c:v>
                </c:pt>
                <c:pt idx="28326">
                  <c:v>-9.8319327731092407E-2</c:v>
                </c:pt>
                <c:pt idx="28327">
                  <c:v>-9.8319327731092407E-2</c:v>
                </c:pt>
                <c:pt idx="28328">
                  <c:v>-9.8319327731092407E-2</c:v>
                </c:pt>
                <c:pt idx="28329">
                  <c:v>-9.8319327731092407E-2</c:v>
                </c:pt>
                <c:pt idx="28330">
                  <c:v>-9.8319327731092407E-2</c:v>
                </c:pt>
                <c:pt idx="28331">
                  <c:v>-9.8319327731092407E-2</c:v>
                </c:pt>
                <c:pt idx="28332">
                  <c:v>-9.8319327731092407E-2</c:v>
                </c:pt>
                <c:pt idx="28333">
                  <c:v>-9.8319327731092407E-2</c:v>
                </c:pt>
                <c:pt idx="28334">
                  <c:v>-9.8319327731092407E-2</c:v>
                </c:pt>
                <c:pt idx="28335">
                  <c:v>-9.8319327731092407E-2</c:v>
                </c:pt>
                <c:pt idx="28336">
                  <c:v>-9.8319327731092407E-2</c:v>
                </c:pt>
                <c:pt idx="28337">
                  <c:v>-9.8319327731092407E-2</c:v>
                </c:pt>
                <c:pt idx="28338">
                  <c:v>-9.8319327731092407E-2</c:v>
                </c:pt>
                <c:pt idx="28339">
                  <c:v>-9.8319327731092407E-2</c:v>
                </c:pt>
                <c:pt idx="28340">
                  <c:v>-9.8319327731092407E-2</c:v>
                </c:pt>
                <c:pt idx="28341">
                  <c:v>-9.8319327731092407E-2</c:v>
                </c:pt>
                <c:pt idx="28342">
                  <c:v>-9.8319327731092407E-2</c:v>
                </c:pt>
                <c:pt idx="28343">
                  <c:v>-9.8319327731092407E-2</c:v>
                </c:pt>
                <c:pt idx="28344">
                  <c:v>-9.8319327731092407E-2</c:v>
                </c:pt>
                <c:pt idx="28345">
                  <c:v>-9.8319327731092407E-2</c:v>
                </c:pt>
                <c:pt idx="28346">
                  <c:v>-9.8319327731092407E-2</c:v>
                </c:pt>
                <c:pt idx="28347">
                  <c:v>-9.8319327731092407E-2</c:v>
                </c:pt>
                <c:pt idx="28348">
                  <c:v>-9.8319327731092407E-2</c:v>
                </c:pt>
                <c:pt idx="28349">
                  <c:v>-9.8319327731092407E-2</c:v>
                </c:pt>
                <c:pt idx="28350">
                  <c:v>-9.8319327731092407E-2</c:v>
                </c:pt>
                <c:pt idx="28351">
                  <c:v>-9.8319327731092407E-2</c:v>
                </c:pt>
                <c:pt idx="28352">
                  <c:v>-9.8319327731092407E-2</c:v>
                </c:pt>
                <c:pt idx="28353">
                  <c:v>-9.8319327731092407E-2</c:v>
                </c:pt>
                <c:pt idx="28354">
                  <c:v>-9.8319327731092407E-2</c:v>
                </c:pt>
                <c:pt idx="28355">
                  <c:v>-9.8319327731092407E-2</c:v>
                </c:pt>
                <c:pt idx="28356">
                  <c:v>-9.8319327731092407E-2</c:v>
                </c:pt>
                <c:pt idx="28357">
                  <c:v>-9.8319327731092407E-2</c:v>
                </c:pt>
                <c:pt idx="28358">
                  <c:v>-9.8319327731092407E-2</c:v>
                </c:pt>
                <c:pt idx="28359">
                  <c:v>-9.8319327731092407E-2</c:v>
                </c:pt>
                <c:pt idx="28360">
                  <c:v>-9.8319327731092407E-2</c:v>
                </c:pt>
                <c:pt idx="28361">
                  <c:v>-9.8319327731092407E-2</c:v>
                </c:pt>
                <c:pt idx="28362">
                  <c:v>-9.8319327731092407E-2</c:v>
                </c:pt>
                <c:pt idx="28363">
                  <c:v>-9.8319327731092407E-2</c:v>
                </c:pt>
                <c:pt idx="28364">
                  <c:v>-9.8319327731092407E-2</c:v>
                </c:pt>
                <c:pt idx="28365">
                  <c:v>-9.8319327731092407E-2</c:v>
                </c:pt>
                <c:pt idx="28366">
                  <c:v>-9.8319327731092407E-2</c:v>
                </c:pt>
                <c:pt idx="28367">
                  <c:v>-9.8319327731092407E-2</c:v>
                </c:pt>
                <c:pt idx="28368">
                  <c:v>-9.8319327731092407E-2</c:v>
                </c:pt>
                <c:pt idx="28369">
                  <c:v>-9.8319327731092407E-2</c:v>
                </c:pt>
                <c:pt idx="28370">
                  <c:v>-9.8319327731092407E-2</c:v>
                </c:pt>
                <c:pt idx="28371">
                  <c:v>-9.8319327731092407E-2</c:v>
                </c:pt>
                <c:pt idx="28372">
                  <c:v>-9.8319327731092407E-2</c:v>
                </c:pt>
                <c:pt idx="28373">
                  <c:v>-9.8319327731092407E-2</c:v>
                </c:pt>
                <c:pt idx="28374">
                  <c:v>-9.8319327731092407E-2</c:v>
                </c:pt>
                <c:pt idx="28375">
                  <c:v>-9.7478991596638601E-2</c:v>
                </c:pt>
                <c:pt idx="28376">
                  <c:v>-9.7478991596638601E-2</c:v>
                </c:pt>
                <c:pt idx="28377">
                  <c:v>-9.7478991596638601E-2</c:v>
                </c:pt>
                <c:pt idx="28378">
                  <c:v>-9.7478991596638601E-2</c:v>
                </c:pt>
                <c:pt idx="28379">
                  <c:v>-9.7478991596638601E-2</c:v>
                </c:pt>
                <c:pt idx="28380">
                  <c:v>-9.7478991596638601E-2</c:v>
                </c:pt>
                <c:pt idx="28381">
                  <c:v>-9.7478991596638601E-2</c:v>
                </c:pt>
                <c:pt idx="28382">
                  <c:v>-9.7478991596638601E-2</c:v>
                </c:pt>
                <c:pt idx="28383">
                  <c:v>-9.8319327731092407E-2</c:v>
                </c:pt>
                <c:pt idx="28384">
                  <c:v>-9.8319327731092407E-2</c:v>
                </c:pt>
                <c:pt idx="28385">
                  <c:v>-9.8319327731092407E-2</c:v>
                </c:pt>
                <c:pt idx="28386">
                  <c:v>-9.8319327731092407E-2</c:v>
                </c:pt>
                <c:pt idx="28387">
                  <c:v>-9.8319327731092407E-2</c:v>
                </c:pt>
                <c:pt idx="28388">
                  <c:v>-9.8319327731092407E-2</c:v>
                </c:pt>
                <c:pt idx="28389">
                  <c:v>-9.8319327731092407E-2</c:v>
                </c:pt>
                <c:pt idx="28390">
                  <c:v>-9.8319327731092407E-2</c:v>
                </c:pt>
                <c:pt idx="28391">
                  <c:v>-9.8319327731092407E-2</c:v>
                </c:pt>
                <c:pt idx="28392">
                  <c:v>-9.8319327731092407E-2</c:v>
                </c:pt>
                <c:pt idx="28393">
                  <c:v>-9.8319327731092407E-2</c:v>
                </c:pt>
                <c:pt idx="28394">
                  <c:v>-9.8319327731092407E-2</c:v>
                </c:pt>
                <c:pt idx="28395">
                  <c:v>-9.8319327731092407E-2</c:v>
                </c:pt>
                <c:pt idx="28396">
                  <c:v>-9.8319327731092407E-2</c:v>
                </c:pt>
                <c:pt idx="28397">
                  <c:v>-9.8319327731092407E-2</c:v>
                </c:pt>
                <c:pt idx="28398">
                  <c:v>-9.8319327731092407E-2</c:v>
                </c:pt>
                <c:pt idx="28399">
                  <c:v>-9.8319327731092407E-2</c:v>
                </c:pt>
                <c:pt idx="28400">
                  <c:v>-9.8319327731092407E-2</c:v>
                </c:pt>
                <c:pt idx="28401">
                  <c:v>-9.8319327731092407E-2</c:v>
                </c:pt>
                <c:pt idx="28402">
                  <c:v>-9.9159663865546199E-2</c:v>
                </c:pt>
                <c:pt idx="28403">
                  <c:v>-9.9159663865546199E-2</c:v>
                </c:pt>
                <c:pt idx="28404">
                  <c:v>-9.9159663865546199E-2</c:v>
                </c:pt>
                <c:pt idx="28405">
                  <c:v>-9.9159663865546199E-2</c:v>
                </c:pt>
                <c:pt idx="28406">
                  <c:v>-9.9159663865546199E-2</c:v>
                </c:pt>
                <c:pt idx="28407">
                  <c:v>-9.9159663865546199E-2</c:v>
                </c:pt>
                <c:pt idx="28408">
                  <c:v>-9.8319327731092407E-2</c:v>
                </c:pt>
                <c:pt idx="28409">
                  <c:v>-9.8319327731092407E-2</c:v>
                </c:pt>
                <c:pt idx="28410">
                  <c:v>-9.7478991596638601E-2</c:v>
                </c:pt>
                <c:pt idx="28411">
                  <c:v>-9.7478991596638601E-2</c:v>
                </c:pt>
                <c:pt idx="28412">
                  <c:v>-9.7478991596638601E-2</c:v>
                </c:pt>
                <c:pt idx="28413">
                  <c:v>-9.7478991596638601E-2</c:v>
                </c:pt>
                <c:pt idx="28414">
                  <c:v>-9.7478991596638601E-2</c:v>
                </c:pt>
                <c:pt idx="28415">
                  <c:v>-9.7478991596638601E-2</c:v>
                </c:pt>
                <c:pt idx="28416">
                  <c:v>-9.7478991596638601E-2</c:v>
                </c:pt>
                <c:pt idx="28417">
                  <c:v>-9.7478991596638601E-2</c:v>
                </c:pt>
                <c:pt idx="28418">
                  <c:v>-9.8319327731092407E-2</c:v>
                </c:pt>
                <c:pt idx="28419">
                  <c:v>-9.8319327731092407E-2</c:v>
                </c:pt>
                <c:pt idx="28420">
                  <c:v>-9.8319327731092407E-2</c:v>
                </c:pt>
                <c:pt idx="28421">
                  <c:v>-9.8319327731092407E-2</c:v>
                </c:pt>
                <c:pt idx="28422">
                  <c:v>-9.8319327731092407E-2</c:v>
                </c:pt>
                <c:pt idx="28423">
                  <c:v>-9.8319327731092407E-2</c:v>
                </c:pt>
                <c:pt idx="28424">
                  <c:v>-9.9159663865546199E-2</c:v>
                </c:pt>
                <c:pt idx="28425">
                  <c:v>-9.9159663865546199E-2</c:v>
                </c:pt>
                <c:pt idx="28426">
                  <c:v>-9.9159663865546199E-2</c:v>
                </c:pt>
                <c:pt idx="28427">
                  <c:v>-9.9159663865546199E-2</c:v>
                </c:pt>
                <c:pt idx="28428">
                  <c:v>-9.9159663865546199E-2</c:v>
                </c:pt>
                <c:pt idx="28429">
                  <c:v>-9.9159663865546199E-2</c:v>
                </c:pt>
                <c:pt idx="28430">
                  <c:v>-9.9159663865546199E-2</c:v>
                </c:pt>
                <c:pt idx="28431">
                  <c:v>-9.9159663865546199E-2</c:v>
                </c:pt>
                <c:pt idx="28432">
                  <c:v>-9.9159663865546199E-2</c:v>
                </c:pt>
                <c:pt idx="28433">
                  <c:v>-9.9159663865546199E-2</c:v>
                </c:pt>
                <c:pt idx="28434">
                  <c:v>-9.9159663865546199E-2</c:v>
                </c:pt>
                <c:pt idx="28435">
                  <c:v>-9.9159663865546199E-2</c:v>
                </c:pt>
                <c:pt idx="28436">
                  <c:v>-9.9159663865546199E-2</c:v>
                </c:pt>
                <c:pt idx="28437">
                  <c:v>-9.9159663865546199E-2</c:v>
                </c:pt>
                <c:pt idx="28438">
                  <c:v>-9.9159663865546199E-2</c:v>
                </c:pt>
                <c:pt idx="28439">
                  <c:v>-9.9159663865546199E-2</c:v>
                </c:pt>
                <c:pt idx="28440">
                  <c:v>-9.9159663865546199E-2</c:v>
                </c:pt>
                <c:pt idx="28441">
                  <c:v>-9.9159663865546199E-2</c:v>
                </c:pt>
                <c:pt idx="28442">
                  <c:v>-9.9159663865546199E-2</c:v>
                </c:pt>
                <c:pt idx="28443">
                  <c:v>-9.9159663865546199E-2</c:v>
                </c:pt>
                <c:pt idx="28444">
                  <c:v>-9.9159663865546199E-2</c:v>
                </c:pt>
                <c:pt idx="28445">
                  <c:v>-9.9159663865546199E-2</c:v>
                </c:pt>
                <c:pt idx="28446">
                  <c:v>-9.9159663865546199E-2</c:v>
                </c:pt>
                <c:pt idx="28447">
                  <c:v>-9.9159663865546199E-2</c:v>
                </c:pt>
                <c:pt idx="28448">
                  <c:v>-9.9159663865546199E-2</c:v>
                </c:pt>
                <c:pt idx="28449">
                  <c:v>-9.9159663865546199E-2</c:v>
                </c:pt>
                <c:pt idx="28450">
                  <c:v>-9.9159663865546199E-2</c:v>
                </c:pt>
                <c:pt idx="28451">
                  <c:v>-9.9159663865546199E-2</c:v>
                </c:pt>
                <c:pt idx="28452">
                  <c:v>-9.9159663865546199E-2</c:v>
                </c:pt>
                <c:pt idx="28453">
                  <c:v>-9.9159663865546199E-2</c:v>
                </c:pt>
                <c:pt idx="28454">
                  <c:v>-9.9159663865546199E-2</c:v>
                </c:pt>
                <c:pt idx="28455">
                  <c:v>-9.9159663865546199E-2</c:v>
                </c:pt>
                <c:pt idx="28456">
                  <c:v>-9.9159663865546199E-2</c:v>
                </c:pt>
                <c:pt idx="28457">
                  <c:v>-9.9159663865546199E-2</c:v>
                </c:pt>
                <c:pt idx="28458">
                  <c:v>-9.9159663865546199E-2</c:v>
                </c:pt>
                <c:pt idx="28459">
                  <c:v>-9.9159663865546199E-2</c:v>
                </c:pt>
                <c:pt idx="28460">
                  <c:v>-9.9159663865546199E-2</c:v>
                </c:pt>
                <c:pt idx="28461">
                  <c:v>-9.8319327731092407E-2</c:v>
                </c:pt>
                <c:pt idx="28462">
                  <c:v>-9.8319327731092407E-2</c:v>
                </c:pt>
                <c:pt idx="28463">
                  <c:v>-9.8319327731092407E-2</c:v>
                </c:pt>
                <c:pt idx="28464">
                  <c:v>-9.8319327731092407E-2</c:v>
                </c:pt>
                <c:pt idx="28465">
                  <c:v>-9.8319327731092407E-2</c:v>
                </c:pt>
                <c:pt idx="28466">
                  <c:v>-9.8319327731092407E-2</c:v>
                </c:pt>
                <c:pt idx="28467">
                  <c:v>-9.8319327731092407E-2</c:v>
                </c:pt>
                <c:pt idx="28468">
                  <c:v>-9.9159663865546199E-2</c:v>
                </c:pt>
                <c:pt idx="28469">
                  <c:v>-9.9159663865546199E-2</c:v>
                </c:pt>
                <c:pt idx="28470">
                  <c:v>-9.9159663865546199E-2</c:v>
                </c:pt>
                <c:pt idx="28471">
                  <c:v>-9.9159663865546199E-2</c:v>
                </c:pt>
                <c:pt idx="28472">
                  <c:v>-9.9159663865546199E-2</c:v>
                </c:pt>
                <c:pt idx="28473">
                  <c:v>-9.9159663865546199E-2</c:v>
                </c:pt>
                <c:pt idx="28474">
                  <c:v>-9.9159663865546199E-2</c:v>
                </c:pt>
                <c:pt idx="28475">
                  <c:v>-9.9159663865546199E-2</c:v>
                </c:pt>
                <c:pt idx="28476">
                  <c:v>-9.9159663865546199E-2</c:v>
                </c:pt>
                <c:pt idx="28477">
                  <c:v>-9.9159663865546199E-2</c:v>
                </c:pt>
                <c:pt idx="28478">
                  <c:v>-9.9159663865546199E-2</c:v>
                </c:pt>
                <c:pt idx="28479">
                  <c:v>-9.9159663865546199E-2</c:v>
                </c:pt>
                <c:pt idx="28480">
                  <c:v>-9.9159663865546199E-2</c:v>
                </c:pt>
                <c:pt idx="28481">
                  <c:v>-9.9159663865546199E-2</c:v>
                </c:pt>
                <c:pt idx="28482">
                  <c:v>-9.9159663865546199E-2</c:v>
                </c:pt>
                <c:pt idx="28483">
                  <c:v>-9.9159663865546199E-2</c:v>
                </c:pt>
                <c:pt idx="28484">
                  <c:v>-9.9159663865546199E-2</c:v>
                </c:pt>
                <c:pt idx="28485">
                  <c:v>-9.9159663865546199E-2</c:v>
                </c:pt>
                <c:pt idx="28486">
                  <c:v>-9.9159663865546199E-2</c:v>
                </c:pt>
                <c:pt idx="28487">
                  <c:v>-9.9159663865546199E-2</c:v>
                </c:pt>
                <c:pt idx="28488">
                  <c:v>-9.9159663865546199E-2</c:v>
                </c:pt>
                <c:pt idx="28489">
                  <c:v>-9.9159663865546199E-2</c:v>
                </c:pt>
                <c:pt idx="28490">
                  <c:v>-9.9159663865546199E-2</c:v>
                </c:pt>
                <c:pt idx="28491">
                  <c:v>-9.9159663865546199E-2</c:v>
                </c:pt>
                <c:pt idx="28492">
                  <c:v>-9.9159663865546199E-2</c:v>
                </c:pt>
                <c:pt idx="28493">
                  <c:v>-9.9159663865546199E-2</c:v>
                </c:pt>
                <c:pt idx="28494">
                  <c:v>-9.9159663865546199E-2</c:v>
                </c:pt>
                <c:pt idx="28495">
                  <c:v>-9.9159663865546199E-2</c:v>
                </c:pt>
                <c:pt idx="28496">
                  <c:v>-9.9159663865546199E-2</c:v>
                </c:pt>
                <c:pt idx="28497">
                  <c:v>-9.9999999999999895E-2</c:v>
                </c:pt>
                <c:pt idx="28498">
                  <c:v>-9.9999999999999895E-2</c:v>
                </c:pt>
                <c:pt idx="28499">
                  <c:v>-9.9999999999999895E-2</c:v>
                </c:pt>
                <c:pt idx="28500">
                  <c:v>-9.9999999999999895E-2</c:v>
                </c:pt>
                <c:pt idx="28501">
                  <c:v>-9.9999999999999895E-2</c:v>
                </c:pt>
                <c:pt idx="28502">
                  <c:v>-9.9999999999999895E-2</c:v>
                </c:pt>
                <c:pt idx="28503">
                  <c:v>-9.9999999999999895E-2</c:v>
                </c:pt>
                <c:pt idx="28504">
                  <c:v>-9.9999999999999895E-2</c:v>
                </c:pt>
                <c:pt idx="28505">
                  <c:v>-9.9999999999999895E-2</c:v>
                </c:pt>
                <c:pt idx="28506">
                  <c:v>-9.9999999999999895E-2</c:v>
                </c:pt>
                <c:pt idx="28507">
                  <c:v>-9.9999999999999895E-2</c:v>
                </c:pt>
                <c:pt idx="28508">
                  <c:v>-9.9999999999999895E-2</c:v>
                </c:pt>
                <c:pt idx="28509">
                  <c:v>-9.9999999999999895E-2</c:v>
                </c:pt>
                <c:pt idx="28510">
                  <c:v>-9.9999999999999895E-2</c:v>
                </c:pt>
                <c:pt idx="28511">
                  <c:v>-9.9999999999999895E-2</c:v>
                </c:pt>
                <c:pt idx="28512">
                  <c:v>-9.9999999999999895E-2</c:v>
                </c:pt>
                <c:pt idx="28513">
                  <c:v>-9.9999999999999895E-2</c:v>
                </c:pt>
                <c:pt idx="28514">
                  <c:v>-9.9999999999999895E-2</c:v>
                </c:pt>
                <c:pt idx="28515">
                  <c:v>-9.9159663865546199E-2</c:v>
                </c:pt>
                <c:pt idx="28516">
                  <c:v>-9.9159663865546199E-2</c:v>
                </c:pt>
                <c:pt idx="28517">
                  <c:v>-9.9159663865546199E-2</c:v>
                </c:pt>
                <c:pt idx="28518">
                  <c:v>-9.9159663865546199E-2</c:v>
                </c:pt>
                <c:pt idx="28519">
                  <c:v>-9.9159663865546199E-2</c:v>
                </c:pt>
                <c:pt idx="28520">
                  <c:v>-9.9159663865546199E-2</c:v>
                </c:pt>
                <c:pt idx="28521">
                  <c:v>-9.9159663865546199E-2</c:v>
                </c:pt>
                <c:pt idx="28522">
                  <c:v>-9.9159663865546199E-2</c:v>
                </c:pt>
                <c:pt idx="28523">
                  <c:v>-9.9159663865546199E-2</c:v>
                </c:pt>
                <c:pt idx="28524">
                  <c:v>-9.9159663865546199E-2</c:v>
                </c:pt>
                <c:pt idx="28525">
                  <c:v>-9.9159663865546199E-2</c:v>
                </c:pt>
                <c:pt idx="28526">
                  <c:v>-9.9159663865546199E-2</c:v>
                </c:pt>
                <c:pt idx="28527">
                  <c:v>-9.9159663865546199E-2</c:v>
                </c:pt>
                <c:pt idx="28528">
                  <c:v>-9.9159663865546199E-2</c:v>
                </c:pt>
                <c:pt idx="28529">
                  <c:v>-9.9159663865546199E-2</c:v>
                </c:pt>
                <c:pt idx="28530">
                  <c:v>-9.9159663865546199E-2</c:v>
                </c:pt>
                <c:pt idx="28531">
                  <c:v>-9.9159663865546199E-2</c:v>
                </c:pt>
                <c:pt idx="28532">
                  <c:v>-9.9159663865546199E-2</c:v>
                </c:pt>
                <c:pt idx="28533">
                  <c:v>-9.9159663865546199E-2</c:v>
                </c:pt>
                <c:pt idx="28534">
                  <c:v>-9.9159663865546199E-2</c:v>
                </c:pt>
                <c:pt idx="28535">
                  <c:v>-9.9159663865546199E-2</c:v>
                </c:pt>
                <c:pt idx="28536">
                  <c:v>-9.9159663865546199E-2</c:v>
                </c:pt>
                <c:pt idx="28537">
                  <c:v>-9.9159663865546199E-2</c:v>
                </c:pt>
                <c:pt idx="28538">
                  <c:v>-9.9159663865546199E-2</c:v>
                </c:pt>
                <c:pt idx="28539">
                  <c:v>-9.9159663865546199E-2</c:v>
                </c:pt>
                <c:pt idx="28540">
                  <c:v>-9.9159663865546199E-2</c:v>
                </c:pt>
                <c:pt idx="28541">
                  <c:v>-9.9159663865546199E-2</c:v>
                </c:pt>
                <c:pt idx="28542">
                  <c:v>-9.9159663865546199E-2</c:v>
                </c:pt>
                <c:pt idx="28543">
                  <c:v>-9.9159663865546199E-2</c:v>
                </c:pt>
                <c:pt idx="28544">
                  <c:v>-9.9159663865546199E-2</c:v>
                </c:pt>
                <c:pt idx="28545">
                  <c:v>-9.9159663865546199E-2</c:v>
                </c:pt>
                <c:pt idx="28546">
                  <c:v>-9.9159663865546199E-2</c:v>
                </c:pt>
                <c:pt idx="28547">
                  <c:v>-9.9159663865546199E-2</c:v>
                </c:pt>
                <c:pt idx="28548">
                  <c:v>-9.9159663865546199E-2</c:v>
                </c:pt>
                <c:pt idx="28549">
                  <c:v>-9.9159663865546199E-2</c:v>
                </c:pt>
                <c:pt idx="28550">
                  <c:v>-9.9159663865546199E-2</c:v>
                </c:pt>
                <c:pt idx="28551">
                  <c:v>-9.9159663865546199E-2</c:v>
                </c:pt>
                <c:pt idx="28552">
                  <c:v>-9.9159663865546199E-2</c:v>
                </c:pt>
                <c:pt idx="28553">
                  <c:v>-9.9159663865546199E-2</c:v>
                </c:pt>
                <c:pt idx="28554">
                  <c:v>-9.9999999999999895E-2</c:v>
                </c:pt>
                <c:pt idx="28555">
                  <c:v>-9.9999999999999895E-2</c:v>
                </c:pt>
                <c:pt idx="28556">
                  <c:v>-9.9999999999999895E-2</c:v>
                </c:pt>
                <c:pt idx="28557">
                  <c:v>-9.9999999999999895E-2</c:v>
                </c:pt>
                <c:pt idx="28558">
                  <c:v>-9.9999999999999895E-2</c:v>
                </c:pt>
                <c:pt idx="28559">
                  <c:v>-9.9999999999999895E-2</c:v>
                </c:pt>
                <c:pt idx="28560">
                  <c:v>-9.9999999999999895E-2</c:v>
                </c:pt>
                <c:pt idx="28561">
                  <c:v>-9.9999999999999895E-2</c:v>
                </c:pt>
                <c:pt idx="28562">
                  <c:v>-9.9999999999999895E-2</c:v>
                </c:pt>
                <c:pt idx="28563">
                  <c:v>-9.9999999999999895E-2</c:v>
                </c:pt>
                <c:pt idx="28564">
                  <c:v>-9.9999999999999895E-2</c:v>
                </c:pt>
                <c:pt idx="28565">
                  <c:v>-9.9999999999999895E-2</c:v>
                </c:pt>
                <c:pt idx="28566">
                  <c:v>-9.9999999999999895E-2</c:v>
                </c:pt>
                <c:pt idx="28567">
                  <c:v>-9.9999999999999895E-2</c:v>
                </c:pt>
                <c:pt idx="28568">
                  <c:v>-9.9999999999999895E-2</c:v>
                </c:pt>
                <c:pt idx="28569">
                  <c:v>-9.9999999999999895E-2</c:v>
                </c:pt>
                <c:pt idx="28570">
                  <c:v>-9.9999999999999895E-2</c:v>
                </c:pt>
                <c:pt idx="28571">
                  <c:v>-9.9999999999999895E-2</c:v>
                </c:pt>
                <c:pt idx="28572">
                  <c:v>-9.9999999999999895E-2</c:v>
                </c:pt>
                <c:pt idx="28573">
                  <c:v>-9.9999999999999895E-2</c:v>
                </c:pt>
                <c:pt idx="28574">
                  <c:v>-9.9999999999999895E-2</c:v>
                </c:pt>
                <c:pt idx="28575">
                  <c:v>-0.10084033613445301</c:v>
                </c:pt>
                <c:pt idx="28576">
                  <c:v>-0.10084033613445301</c:v>
                </c:pt>
                <c:pt idx="28577">
                  <c:v>-0.10084033613445301</c:v>
                </c:pt>
                <c:pt idx="28578">
                  <c:v>-0.10168067226890699</c:v>
                </c:pt>
                <c:pt idx="28579">
                  <c:v>-0.10084033613445301</c:v>
                </c:pt>
                <c:pt idx="28580">
                  <c:v>-0.10084033613445301</c:v>
                </c:pt>
                <c:pt idx="28581">
                  <c:v>-0.10084033613445301</c:v>
                </c:pt>
                <c:pt idx="28582">
                  <c:v>-0.10084033613445301</c:v>
                </c:pt>
                <c:pt idx="28583">
                  <c:v>-0.10084033613445301</c:v>
                </c:pt>
                <c:pt idx="28584">
                  <c:v>-0.10084033613445301</c:v>
                </c:pt>
                <c:pt idx="28585">
                  <c:v>-0.10084033613445301</c:v>
                </c:pt>
                <c:pt idx="28586">
                  <c:v>-0.10084033613445301</c:v>
                </c:pt>
                <c:pt idx="28587">
                  <c:v>-0.10084033613445301</c:v>
                </c:pt>
                <c:pt idx="28588">
                  <c:v>-0.10084033613445301</c:v>
                </c:pt>
                <c:pt idx="28589">
                  <c:v>-0.10084033613445301</c:v>
                </c:pt>
                <c:pt idx="28590">
                  <c:v>-0.10084033613445301</c:v>
                </c:pt>
                <c:pt idx="28591">
                  <c:v>-0.10084033613445301</c:v>
                </c:pt>
                <c:pt idx="28592">
                  <c:v>-0.10084033613445301</c:v>
                </c:pt>
                <c:pt idx="28593">
                  <c:v>-0.10084033613445301</c:v>
                </c:pt>
                <c:pt idx="28594">
                  <c:v>-0.10084033613445301</c:v>
                </c:pt>
                <c:pt idx="28595">
                  <c:v>-0.10084033613445301</c:v>
                </c:pt>
                <c:pt idx="28596">
                  <c:v>-0.10084033613445301</c:v>
                </c:pt>
                <c:pt idx="28597">
                  <c:v>-0.10084033613445301</c:v>
                </c:pt>
                <c:pt idx="28598">
                  <c:v>-0.10084033613445301</c:v>
                </c:pt>
                <c:pt idx="28599">
                  <c:v>-0.10084033613445301</c:v>
                </c:pt>
                <c:pt idx="28600">
                  <c:v>-0.10084033613445301</c:v>
                </c:pt>
                <c:pt idx="28601">
                  <c:v>-0.10084033613445301</c:v>
                </c:pt>
                <c:pt idx="28602">
                  <c:v>-0.10084033613445301</c:v>
                </c:pt>
                <c:pt idx="28603">
                  <c:v>-0.10084033613445301</c:v>
                </c:pt>
                <c:pt idx="28604">
                  <c:v>-0.10084033613445301</c:v>
                </c:pt>
                <c:pt idx="28605">
                  <c:v>-0.10084033613445301</c:v>
                </c:pt>
                <c:pt idx="28606">
                  <c:v>-0.10084033613445301</c:v>
                </c:pt>
                <c:pt idx="28607">
                  <c:v>-0.10084033613445301</c:v>
                </c:pt>
                <c:pt idx="28608">
                  <c:v>-0.10084033613445301</c:v>
                </c:pt>
                <c:pt idx="28609">
                  <c:v>-0.10084033613445301</c:v>
                </c:pt>
                <c:pt idx="28610">
                  <c:v>-0.10084033613445301</c:v>
                </c:pt>
                <c:pt idx="28611">
                  <c:v>-0.10084033613445301</c:v>
                </c:pt>
                <c:pt idx="28612">
                  <c:v>-0.10084033613445301</c:v>
                </c:pt>
                <c:pt idx="28613">
                  <c:v>-0.10084033613445301</c:v>
                </c:pt>
                <c:pt idx="28614">
                  <c:v>-0.10084033613445301</c:v>
                </c:pt>
                <c:pt idx="28615">
                  <c:v>-0.10084033613445301</c:v>
                </c:pt>
                <c:pt idx="28616">
                  <c:v>-0.10084033613445301</c:v>
                </c:pt>
                <c:pt idx="28617">
                  <c:v>-0.10084033613445301</c:v>
                </c:pt>
                <c:pt idx="28618">
                  <c:v>-0.10084033613445301</c:v>
                </c:pt>
                <c:pt idx="28619">
                  <c:v>-0.10084033613445301</c:v>
                </c:pt>
                <c:pt idx="28620">
                  <c:v>-0.10084033613445301</c:v>
                </c:pt>
                <c:pt idx="28621">
                  <c:v>-0.10084033613445301</c:v>
                </c:pt>
                <c:pt idx="28622">
                  <c:v>-0.10084033613445301</c:v>
                </c:pt>
                <c:pt idx="28623">
                  <c:v>-0.10084033613445301</c:v>
                </c:pt>
                <c:pt idx="28624">
                  <c:v>-0.10084033613445301</c:v>
                </c:pt>
                <c:pt idx="28625">
                  <c:v>-0.10084033613445301</c:v>
                </c:pt>
                <c:pt idx="28626">
                  <c:v>-0.10084033613445301</c:v>
                </c:pt>
                <c:pt idx="28627">
                  <c:v>-0.10084033613445301</c:v>
                </c:pt>
                <c:pt idx="28628">
                  <c:v>-0.10084033613445301</c:v>
                </c:pt>
                <c:pt idx="28629">
                  <c:v>-0.10084033613445301</c:v>
                </c:pt>
                <c:pt idx="28630">
                  <c:v>-0.10084033613445301</c:v>
                </c:pt>
                <c:pt idx="28631">
                  <c:v>-0.10084033613445301</c:v>
                </c:pt>
                <c:pt idx="28632">
                  <c:v>-0.10084033613445301</c:v>
                </c:pt>
                <c:pt idx="28633">
                  <c:v>-0.10084033613445301</c:v>
                </c:pt>
                <c:pt idx="28634">
                  <c:v>-0.10084033613445301</c:v>
                </c:pt>
                <c:pt idx="28635">
                  <c:v>-0.10084033613445301</c:v>
                </c:pt>
                <c:pt idx="28636">
                  <c:v>-0.10084033613445301</c:v>
                </c:pt>
                <c:pt idx="28637">
                  <c:v>-0.10084033613445301</c:v>
                </c:pt>
                <c:pt idx="28638">
                  <c:v>-0.10084033613445301</c:v>
                </c:pt>
                <c:pt idx="28639">
                  <c:v>-0.10084033613445301</c:v>
                </c:pt>
                <c:pt idx="28640">
                  <c:v>-0.10084033613445301</c:v>
                </c:pt>
                <c:pt idx="28641">
                  <c:v>-0.10084033613445301</c:v>
                </c:pt>
                <c:pt idx="28642">
                  <c:v>-0.10084033613445301</c:v>
                </c:pt>
                <c:pt idx="28643">
                  <c:v>-0.10084033613445301</c:v>
                </c:pt>
                <c:pt idx="28644">
                  <c:v>-0.10084033613445301</c:v>
                </c:pt>
                <c:pt idx="28645">
                  <c:v>-0.10084033613445301</c:v>
                </c:pt>
                <c:pt idx="28646">
                  <c:v>-0.10084033613445301</c:v>
                </c:pt>
                <c:pt idx="28647">
                  <c:v>-0.10084033613445301</c:v>
                </c:pt>
                <c:pt idx="28648">
                  <c:v>-0.10084033613445301</c:v>
                </c:pt>
                <c:pt idx="28649">
                  <c:v>-0.10084033613445301</c:v>
                </c:pt>
                <c:pt idx="28650">
                  <c:v>-0.10084033613445301</c:v>
                </c:pt>
                <c:pt idx="28651">
                  <c:v>-0.10084033613445301</c:v>
                </c:pt>
                <c:pt idx="28652">
                  <c:v>-0.10084033613445301</c:v>
                </c:pt>
                <c:pt idx="28653">
                  <c:v>-0.10084033613445301</c:v>
                </c:pt>
                <c:pt idx="28654">
                  <c:v>-0.10084033613445301</c:v>
                </c:pt>
                <c:pt idx="28655">
                  <c:v>-0.10084033613445301</c:v>
                </c:pt>
                <c:pt idx="28656">
                  <c:v>-0.10084033613445301</c:v>
                </c:pt>
                <c:pt idx="28657">
                  <c:v>-0.10084033613445301</c:v>
                </c:pt>
                <c:pt idx="28658">
                  <c:v>-0.10084033613445301</c:v>
                </c:pt>
                <c:pt idx="28659">
                  <c:v>-0.10084033613445301</c:v>
                </c:pt>
                <c:pt idx="28660">
                  <c:v>-0.10084033613445301</c:v>
                </c:pt>
                <c:pt idx="28661">
                  <c:v>-0.10084033613445301</c:v>
                </c:pt>
                <c:pt idx="28662">
                  <c:v>-0.10084033613445301</c:v>
                </c:pt>
                <c:pt idx="28663">
                  <c:v>-0.10084033613445301</c:v>
                </c:pt>
                <c:pt idx="28664">
                  <c:v>-0.10084033613445301</c:v>
                </c:pt>
                <c:pt idx="28665">
                  <c:v>-0.10084033613445301</c:v>
                </c:pt>
                <c:pt idx="28666">
                  <c:v>-0.10084033613445301</c:v>
                </c:pt>
                <c:pt idx="28667">
                  <c:v>-9.9999999999999895E-2</c:v>
                </c:pt>
                <c:pt idx="28668">
                  <c:v>-9.9999999999999895E-2</c:v>
                </c:pt>
                <c:pt idx="28669">
                  <c:v>-9.9999999999999895E-2</c:v>
                </c:pt>
                <c:pt idx="28670">
                  <c:v>-9.9999999999999895E-2</c:v>
                </c:pt>
                <c:pt idx="28671">
                  <c:v>-9.9999999999999895E-2</c:v>
                </c:pt>
                <c:pt idx="28672">
                  <c:v>-9.9999999999999895E-2</c:v>
                </c:pt>
                <c:pt idx="28673">
                  <c:v>-9.9999999999999895E-2</c:v>
                </c:pt>
                <c:pt idx="28674">
                  <c:v>-9.9999999999999895E-2</c:v>
                </c:pt>
                <c:pt idx="28675">
                  <c:v>-9.9999999999999895E-2</c:v>
                </c:pt>
                <c:pt idx="28676">
                  <c:v>-9.9999999999999895E-2</c:v>
                </c:pt>
                <c:pt idx="28677">
                  <c:v>-9.9999999999999895E-2</c:v>
                </c:pt>
                <c:pt idx="28678">
                  <c:v>-9.9999999999999895E-2</c:v>
                </c:pt>
                <c:pt idx="28679">
                  <c:v>-9.9999999999999895E-2</c:v>
                </c:pt>
                <c:pt idx="28680">
                  <c:v>-9.9999999999999895E-2</c:v>
                </c:pt>
                <c:pt idx="28681">
                  <c:v>-9.9999999999999895E-2</c:v>
                </c:pt>
                <c:pt idx="28682">
                  <c:v>-9.9999999999999895E-2</c:v>
                </c:pt>
                <c:pt idx="28683">
                  <c:v>-9.9999999999999895E-2</c:v>
                </c:pt>
                <c:pt idx="28684">
                  <c:v>-9.9999999999999895E-2</c:v>
                </c:pt>
                <c:pt idx="28685">
                  <c:v>-9.9999999999999895E-2</c:v>
                </c:pt>
                <c:pt idx="28686">
                  <c:v>-9.9159663865546199E-2</c:v>
                </c:pt>
                <c:pt idx="28687">
                  <c:v>-9.9159663865546199E-2</c:v>
                </c:pt>
                <c:pt idx="28688">
                  <c:v>-9.9159663865546199E-2</c:v>
                </c:pt>
                <c:pt idx="28689">
                  <c:v>-9.9159663865546199E-2</c:v>
                </c:pt>
                <c:pt idx="28690">
                  <c:v>-9.9159663865546199E-2</c:v>
                </c:pt>
                <c:pt idx="28691">
                  <c:v>-9.9159663865546199E-2</c:v>
                </c:pt>
                <c:pt idx="28692">
                  <c:v>-9.9159663865546199E-2</c:v>
                </c:pt>
                <c:pt idx="28693">
                  <c:v>-9.9159663865546199E-2</c:v>
                </c:pt>
                <c:pt idx="28694">
                  <c:v>-9.9159663865546199E-2</c:v>
                </c:pt>
                <c:pt idx="28695">
                  <c:v>-9.9159663865546199E-2</c:v>
                </c:pt>
                <c:pt idx="28696">
                  <c:v>-9.9159663865546199E-2</c:v>
                </c:pt>
                <c:pt idx="28697">
                  <c:v>-9.9159663865546199E-2</c:v>
                </c:pt>
                <c:pt idx="28698">
                  <c:v>-9.9159663865546199E-2</c:v>
                </c:pt>
                <c:pt idx="28699">
                  <c:v>-9.9159663865546199E-2</c:v>
                </c:pt>
                <c:pt idx="28700">
                  <c:v>-9.9159663865546199E-2</c:v>
                </c:pt>
                <c:pt idx="28701">
                  <c:v>-9.9159663865546199E-2</c:v>
                </c:pt>
                <c:pt idx="28702">
                  <c:v>-9.9159663865546199E-2</c:v>
                </c:pt>
                <c:pt idx="28703">
                  <c:v>-9.9159663865546199E-2</c:v>
                </c:pt>
                <c:pt idx="28704">
                  <c:v>-9.9159663865546199E-2</c:v>
                </c:pt>
                <c:pt idx="28705">
                  <c:v>-9.9159663865546199E-2</c:v>
                </c:pt>
                <c:pt idx="28706">
                  <c:v>-9.9159663865546199E-2</c:v>
                </c:pt>
                <c:pt idx="28707">
                  <c:v>-9.9159663865546199E-2</c:v>
                </c:pt>
                <c:pt idx="28708">
                  <c:v>-9.9159663865546199E-2</c:v>
                </c:pt>
                <c:pt idx="28709">
                  <c:v>-9.9159663865546199E-2</c:v>
                </c:pt>
                <c:pt idx="28710">
                  <c:v>-9.9159663865546199E-2</c:v>
                </c:pt>
                <c:pt idx="28711">
                  <c:v>-9.9159663865546199E-2</c:v>
                </c:pt>
                <c:pt idx="28712">
                  <c:v>-9.9159663865546199E-2</c:v>
                </c:pt>
                <c:pt idx="28713">
                  <c:v>-9.9159663865546199E-2</c:v>
                </c:pt>
                <c:pt idx="28714">
                  <c:v>-9.9159663865546199E-2</c:v>
                </c:pt>
                <c:pt idx="28715">
                  <c:v>-9.9159663865546199E-2</c:v>
                </c:pt>
                <c:pt idx="28716">
                  <c:v>-9.9159663865546199E-2</c:v>
                </c:pt>
                <c:pt idx="28717">
                  <c:v>-9.9159663865546199E-2</c:v>
                </c:pt>
                <c:pt idx="28718">
                  <c:v>-9.9159663865546199E-2</c:v>
                </c:pt>
                <c:pt idx="28719">
                  <c:v>-9.9159663865546199E-2</c:v>
                </c:pt>
                <c:pt idx="28720">
                  <c:v>-9.9159663865546199E-2</c:v>
                </c:pt>
                <c:pt idx="28721">
                  <c:v>-9.9159663865546199E-2</c:v>
                </c:pt>
                <c:pt idx="28722">
                  <c:v>-9.9159663865546199E-2</c:v>
                </c:pt>
                <c:pt idx="28723">
                  <c:v>-9.9159663865546199E-2</c:v>
                </c:pt>
                <c:pt idx="28724">
                  <c:v>-9.9159663865546199E-2</c:v>
                </c:pt>
                <c:pt idx="28725">
                  <c:v>-9.9159663865546199E-2</c:v>
                </c:pt>
                <c:pt idx="28726">
                  <c:v>-9.9159663865546199E-2</c:v>
                </c:pt>
                <c:pt idx="28727">
                  <c:v>-9.9159663865546199E-2</c:v>
                </c:pt>
                <c:pt idx="28728">
                  <c:v>-9.9159663865546199E-2</c:v>
                </c:pt>
                <c:pt idx="28729">
                  <c:v>-9.9159663865546199E-2</c:v>
                </c:pt>
                <c:pt idx="28730">
                  <c:v>-9.9159663865546199E-2</c:v>
                </c:pt>
                <c:pt idx="28731">
                  <c:v>-9.9159663865546199E-2</c:v>
                </c:pt>
                <c:pt idx="28732">
                  <c:v>-9.9159663865546199E-2</c:v>
                </c:pt>
                <c:pt idx="28733">
                  <c:v>-9.9159663865546199E-2</c:v>
                </c:pt>
                <c:pt idx="28734">
                  <c:v>-9.9159663865546199E-2</c:v>
                </c:pt>
                <c:pt idx="28735">
                  <c:v>-9.9159663865546199E-2</c:v>
                </c:pt>
                <c:pt idx="28736">
                  <c:v>-9.9159663865546199E-2</c:v>
                </c:pt>
                <c:pt idx="28737">
                  <c:v>-9.9159663865546199E-2</c:v>
                </c:pt>
                <c:pt idx="28738">
                  <c:v>-9.9159663865546199E-2</c:v>
                </c:pt>
                <c:pt idx="28739">
                  <c:v>-9.9159663865546199E-2</c:v>
                </c:pt>
                <c:pt idx="28740">
                  <c:v>-9.9999999999999895E-2</c:v>
                </c:pt>
                <c:pt idx="28741">
                  <c:v>-9.9999999999999895E-2</c:v>
                </c:pt>
                <c:pt idx="28742">
                  <c:v>-9.9999999999999895E-2</c:v>
                </c:pt>
                <c:pt idx="28743">
                  <c:v>-9.9999999999999895E-2</c:v>
                </c:pt>
                <c:pt idx="28744">
                  <c:v>-9.9999999999999895E-2</c:v>
                </c:pt>
                <c:pt idx="28745">
                  <c:v>-9.9999999999999895E-2</c:v>
                </c:pt>
                <c:pt idx="28746">
                  <c:v>-9.9999999999999895E-2</c:v>
                </c:pt>
                <c:pt idx="28747">
                  <c:v>-9.9999999999999895E-2</c:v>
                </c:pt>
                <c:pt idx="28748">
                  <c:v>-9.9999999999999895E-2</c:v>
                </c:pt>
                <c:pt idx="28749">
                  <c:v>-9.9999999999999895E-2</c:v>
                </c:pt>
                <c:pt idx="28750">
                  <c:v>-9.9999999999999895E-2</c:v>
                </c:pt>
                <c:pt idx="28751">
                  <c:v>-9.9999999999999895E-2</c:v>
                </c:pt>
                <c:pt idx="28752">
                  <c:v>-9.9999999999999895E-2</c:v>
                </c:pt>
                <c:pt idx="28753">
                  <c:v>-9.9999999999999895E-2</c:v>
                </c:pt>
                <c:pt idx="28754">
                  <c:v>-9.9999999999999895E-2</c:v>
                </c:pt>
                <c:pt idx="28755">
                  <c:v>-9.9999999999999895E-2</c:v>
                </c:pt>
                <c:pt idx="28756">
                  <c:v>-9.9999999999999895E-2</c:v>
                </c:pt>
                <c:pt idx="28757">
                  <c:v>-9.9999999999999895E-2</c:v>
                </c:pt>
                <c:pt idx="28758">
                  <c:v>-9.9999999999999895E-2</c:v>
                </c:pt>
                <c:pt idx="28759">
                  <c:v>-0.10084033613445301</c:v>
                </c:pt>
                <c:pt idx="28760">
                  <c:v>-0.10084033613445301</c:v>
                </c:pt>
                <c:pt idx="28761">
                  <c:v>-0.10084033613445301</c:v>
                </c:pt>
                <c:pt idx="28762">
                  <c:v>-0.10084033613445301</c:v>
                </c:pt>
                <c:pt idx="28763">
                  <c:v>-0.10084033613445301</c:v>
                </c:pt>
                <c:pt idx="28764">
                  <c:v>-0.10084033613445301</c:v>
                </c:pt>
                <c:pt idx="28765">
                  <c:v>-0.10084033613445301</c:v>
                </c:pt>
                <c:pt idx="28766">
                  <c:v>-0.10084033613445301</c:v>
                </c:pt>
                <c:pt idx="28767">
                  <c:v>-0.10084033613445301</c:v>
                </c:pt>
                <c:pt idx="28768">
                  <c:v>-0.10084033613445301</c:v>
                </c:pt>
                <c:pt idx="28769">
                  <c:v>-0.10084033613445301</c:v>
                </c:pt>
                <c:pt idx="28770">
                  <c:v>-0.10084033613445301</c:v>
                </c:pt>
                <c:pt idx="28771">
                  <c:v>-0.10084033613445301</c:v>
                </c:pt>
                <c:pt idx="28772">
                  <c:v>-0.10084033613445301</c:v>
                </c:pt>
                <c:pt idx="28773">
                  <c:v>-0.10084033613445301</c:v>
                </c:pt>
                <c:pt idx="28774">
                  <c:v>-0.10084033613445301</c:v>
                </c:pt>
                <c:pt idx="28775">
                  <c:v>-0.10084033613445301</c:v>
                </c:pt>
                <c:pt idx="28776">
                  <c:v>-0.10084033613445301</c:v>
                </c:pt>
                <c:pt idx="28777">
                  <c:v>-0.10084033613445301</c:v>
                </c:pt>
                <c:pt idx="28778">
                  <c:v>-0.10084033613445301</c:v>
                </c:pt>
                <c:pt idx="28779">
                  <c:v>-0.10084033613445301</c:v>
                </c:pt>
                <c:pt idx="28780">
                  <c:v>-0.10084033613445301</c:v>
                </c:pt>
                <c:pt idx="28781">
                  <c:v>-0.10084033613445301</c:v>
                </c:pt>
                <c:pt idx="28782">
                  <c:v>-0.10084033613445301</c:v>
                </c:pt>
                <c:pt idx="28783">
                  <c:v>-0.10084033613445301</c:v>
                </c:pt>
                <c:pt idx="28784">
                  <c:v>-0.10084033613445301</c:v>
                </c:pt>
                <c:pt idx="28785">
                  <c:v>-0.10084033613445301</c:v>
                </c:pt>
                <c:pt idx="28786">
                  <c:v>-0.10084033613445301</c:v>
                </c:pt>
                <c:pt idx="28787">
                  <c:v>-0.10084033613445301</c:v>
                </c:pt>
                <c:pt idx="28788">
                  <c:v>-0.10084033613445301</c:v>
                </c:pt>
                <c:pt idx="28789">
                  <c:v>-0.10084033613445301</c:v>
                </c:pt>
                <c:pt idx="28790">
                  <c:v>-0.10084033613445301</c:v>
                </c:pt>
                <c:pt idx="28791">
                  <c:v>-0.10084033613445301</c:v>
                </c:pt>
                <c:pt idx="28792">
                  <c:v>-0.10084033613445301</c:v>
                </c:pt>
                <c:pt idx="28793">
                  <c:v>-0.10084033613445301</c:v>
                </c:pt>
                <c:pt idx="28794">
                  <c:v>-0.10084033613445301</c:v>
                </c:pt>
                <c:pt idx="28795">
                  <c:v>-0.10084033613445301</c:v>
                </c:pt>
                <c:pt idx="28796">
                  <c:v>-0.10084033613445301</c:v>
                </c:pt>
                <c:pt idx="28797">
                  <c:v>-0.10084033613445301</c:v>
                </c:pt>
                <c:pt idx="28798">
                  <c:v>-0.10084033613445301</c:v>
                </c:pt>
                <c:pt idx="28799">
                  <c:v>-0.10084033613445301</c:v>
                </c:pt>
                <c:pt idx="28800">
                  <c:v>-0.10084033613445301</c:v>
                </c:pt>
                <c:pt idx="28801">
                  <c:v>-0.10084033613445301</c:v>
                </c:pt>
                <c:pt idx="28802">
                  <c:v>-0.10084033613445301</c:v>
                </c:pt>
                <c:pt idx="28803">
                  <c:v>-0.10084033613445301</c:v>
                </c:pt>
                <c:pt idx="28804">
                  <c:v>-0.10084033613445301</c:v>
                </c:pt>
                <c:pt idx="28805">
                  <c:v>-0.10084033613445301</c:v>
                </c:pt>
                <c:pt idx="28806">
                  <c:v>-0.10084033613445301</c:v>
                </c:pt>
                <c:pt idx="28807">
                  <c:v>-0.10084033613445301</c:v>
                </c:pt>
                <c:pt idx="28808">
                  <c:v>-0.10084033613445301</c:v>
                </c:pt>
                <c:pt idx="28809">
                  <c:v>-0.10084033613445301</c:v>
                </c:pt>
                <c:pt idx="28810">
                  <c:v>-0.10084033613445301</c:v>
                </c:pt>
                <c:pt idx="28811">
                  <c:v>-0.10084033613445301</c:v>
                </c:pt>
                <c:pt idx="28812">
                  <c:v>-0.10084033613445301</c:v>
                </c:pt>
                <c:pt idx="28813">
                  <c:v>-0.10084033613445301</c:v>
                </c:pt>
                <c:pt idx="28814">
                  <c:v>-0.10084033613445301</c:v>
                </c:pt>
                <c:pt idx="28815">
                  <c:v>-0.10084033613445301</c:v>
                </c:pt>
                <c:pt idx="28816">
                  <c:v>-0.10084033613445301</c:v>
                </c:pt>
                <c:pt idx="28817">
                  <c:v>-0.10084033613445301</c:v>
                </c:pt>
                <c:pt idx="28818">
                  <c:v>-0.10084033613445301</c:v>
                </c:pt>
                <c:pt idx="28819">
                  <c:v>-0.10084033613445301</c:v>
                </c:pt>
                <c:pt idx="28820">
                  <c:v>-0.10084033613445301</c:v>
                </c:pt>
                <c:pt idx="28821">
                  <c:v>-9.9999999999999895E-2</c:v>
                </c:pt>
                <c:pt idx="28822">
                  <c:v>-9.9999999999999895E-2</c:v>
                </c:pt>
                <c:pt idx="28823">
                  <c:v>-9.9999999999999895E-2</c:v>
                </c:pt>
                <c:pt idx="28824">
                  <c:v>-9.9999999999999895E-2</c:v>
                </c:pt>
                <c:pt idx="28825">
                  <c:v>-9.9999999999999895E-2</c:v>
                </c:pt>
                <c:pt idx="28826">
                  <c:v>-9.9999999999999895E-2</c:v>
                </c:pt>
                <c:pt idx="28827">
                  <c:v>-9.9999999999999895E-2</c:v>
                </c:pt>
                <c:pt idx="28828">
                  <c:v>-9.9999999999999895E-2</c:v>
                </c:pt>
                <c:pt idx="28829">
                  <c:v>-9.9999999999999895E-2</c:v>
                </c:pt>
                <c:pt idx="28830">
                  <c:v>-9.9999999999999895E-2</c:v>
                </c:pt>
                <c:pt idx="28831">
                  <c:v>-9.9999999999999895E-2</c:v>
                </c:pt>
                <c:pt idx="28832">
                  <c:v>-9.9999999999999895E-2</c:v>
                </c:pt>
                <c:pt idx="28833">
                  <c:v>-9.9159663865546199E-2</c:v>
                </c:pt>
                <c:pt idx="28834">
                  <c:v>-9.9159663865546199E-2</c:v>
                </c:pt>
                <c:pt idx="28835">
                  <c:v>-9.9159663865546199E-2</c:v>
                </c:pt>
                <c:pt idx="28836">
                  <c:v>-9.9159663865546199E-2</c:v>
                </c:pt>
                <c:pt idx="28837">
                  <c:v>-9.9159663865546199E-2</c:v>
                </c:pt>
                <c:pt idx="28838">
                  <c:v>-9.9159663865546199E-2</c:v>
                </c:pt>
                <c:pt idx="28839">
                  <c:v>-9.9159663865546199E-2</c:v>
                </c:pt>
                <c:pt idx="28840">
                  <c:v>-9.9159663865546199E-2</c:v>
                </c:pt>
                <c:pt idx="28841">
                  <c:v>-9.9159663865546199E-2</c:v>
                </c:pt>
                <c:pt idx="28842">
                  <c:v>-9.9159663865546199E-2</c:v>
                </c:pt>
                <c:pt idx="28843">
                  <c:v>-9.9159663865546199E-2</c:v>
                </c:pt>
                <c:pt idx="28844">
                  <c:v>-9.9159663865546199E-2</c:v>
                </c:pt>
                <c:pt idx="28845">
                  <c:v>-9.9159663865546199E-2</c:v>
                </c:pt>
                <c:pt idx="28846">
                  <c:v>-9.9159663865546199E-2</c:v>
                </c:pt>
                <c:pt idx="28847">
                  <c:v>-9.9159663865546199E-2</c:v>
                </c:pt>
                <c:pt idx="28848">
                  <c:v>-9.9159663865546199E-2</c:v>
                </c:pt>
                <c:pt idx="28849">
                  <c:v>-9.9159663865546199E-2</c:v>
                </c:pt>
                <c:pt idx="28850">
                  <c:v>-9.9159663865546199E-2</c:v>
                </c:pt>
                <c:pt idx="28851">
                  <c:v>-9.9159663865546199E-2</c:v>
                </c:pt>
                <c:pt idx="28852">
                  <c:v>-9.9159663865546199E-2</c:v>
                </c:pt>
                <c:pt idx="28853">
                  <c:v>-9.9159663865546199E-2</c:v>
                </c:pt>
                <c:pt idx="28854">
                  <c:v>-9.9999999999999895E-2</c:v>
                </c:pt>
                <c:pt idx="28855">
                  <c:v>-9.9159663865546199E-2</c:v>
                </c:pt>
                <c:pt idx="28856">
                  <c:v>-9.9159663865546199E-2</c:v>
                </c:pt>
                <c:pt idx="28857">
                  <c:v>-9.9159663865546199E-2</c:v>
                </c:pt>
                <c:pt idx="28858">
                  <c:v>-9.9159663865546199E-2</c:v>
                </c:pt>
                <c:pt idx="28859">
                  <c:v>-9.9159663865546199E-2</c:v>
                </c:pt>
                <c:pt idx="28860">
                  <c:v>-9.9159663865546199E-2</c:v>
                </c:pt>
                <c:pt idx="28861">
                  <c:v>-9.9159663865546199E-2</c:v>
                </c:pt>
                <c:pt idx="28862">
                  <c:v>-9.9159663865546199E-2</c:v>
                </c:pt>
                <c:pt idx="28863">
                  <c:v>-9.9159663865546199E-2</c:v>
                </c:pt>
                <c:pt idx="28864">
                  <c:v>-9.9159663865546199E-2</c:v>
                </c:pt>
                <c:pt idx="28865">
                  <c:v>-9.9159663865546199E-2</c:v>
                </c:pt>
                <c:pt idx="28866">
                  <c:v>-9.9159663865546199E-2</c:v>
                </c:pt>
                <c:pt idx="28867">
                  <c:v>-9.9159663865546199E-2</c:v>
                </c:pt>
                <c:pt idx="28868">
                  <c:v>-9.9159663865546199E-2</c:v>
                </c:pt>
                <c:pt idx="28869">
                  <c:v>-9.9159663865546199E-2</c:v>
                </c:pt>
                <c:pt idx="28870">
                  <c:v>-9.9159663865546199E-2</c:v>
                </c:pt>
                <c:pt idx="28871">
                  <c:v>-9.9159663865546199E-2</c:v>
                </c:pt>
                <c:pt idx="28872">
                  <c:v>-9.9159663865546199E-2</c:v>
                </c:pt>
                <c:pt idx="28873">
                  <c:v>-9.9159663865546199E-2</c:v>
                </c:pt>
                <c:pt idx="28874">
                  <c:v>-9.9159663865546199E-2</c:v>
                </c:pt>
                <c:pt idx="28875">
                  <c:v>-9.9159663865546199E-2</c:v>
                </c:pt>
                <c:pt idx="28876">
                  <c:v>-9.9159663865546199E-2</c:v>
                </c:pt>
                <c:pt idx="28877">
                  <c:v>-9.9159663865546199E-2</c:v>
                </c:pt>
                <c:pt idx="28878">
                  <c:v>-9.9159663865546199E-2</c:v>
                </c:pt>
                <c:pt idx="28879">
                  <c:v>-9.9159663865546199E-2</c:v>
                </c:pt>
                <c:pt idx="28880">
                  <c:v>-9.9159663865546199E-2</c:v>
                </c:pt>
                <c:pt idx="28881">
                  <c:v>-9.9159663865546199E-2</c:v>
                </c:pt>
                <c:pt idx="28882">
                  <c:v>-9.9159663865546199E-2</c:v>
                </c:pt>
                <c:pt idx="28883">
                  <c:v>-9.9159663865546199E-2</c:v>
                </c:pt>
                <c:pt idx="28884">
                  <c:v>-9.9159663865546199E-2</c:v>
                </c:pt>
                <c:pt idx="28885">
                  <c:v>-9.9159663865546199E-2</c:v>
                </c:pt>
                <c:pt idx="28886">
                  <c:v>-9.9159663865546199E-2</c:v>
                </c:pt>
                <c:pt idx="28887">
                  <c:v>-9.9159663865546199E-2</c:v>
                </c:pt>
                <c:pt idx="28888">
                  <c:v>-9.9159663865546199E-2</c:v>
                </c:pt>
                <c:pt idx="28889">
                  <c:v>-9.9159663865546199E-2</c:v>
                </c:pt>
                <c:pt idx="28890">
                  <c:v>-9.9159663865546199E-2</c:v>
                </c:pt>
                <c:pt idx="28891">
                  <c:v>-9.9159663865546199E-2</c:v>
                </c:pt>
                <c:pt idx="28892">
                  <c:v>-9.9159663865546199E-2</c:v>
                </c:pt>
                <c:pt idx="28893">
                  <c:v>-9.9159663865546199E-2</c:v>
                </c:pt>
                <c:pt idx="28894">
                  <c:v>-9.9159663865546199E-2</c:v>
                </c:pt>
                <c:pt idx="28895">
                  <c:v>-9.9159663865546199E-2</c:v>
                </c:pt>
                <c:pt idx="28896">
                  <c:v>-9.9159663865546199E-2</c:v>
                </c:pt>
                <c:pt idx="28897">
                  <c:v>-9.9159663865546199E-2</c:v>
                </c:pt>
                <c:pt idx="28898">
                  <c:v>-9.9159663865546199E-2</c:v>
                </c:pt>
                <c:pt idx="28899">
                  <c:v>-9.9159663865546199E-2</c:v>
                </c:pt>
                <c:pt idx="28900">
                  <c:v>-9.9159663865546199E-2</c:v>
                </c:pt>
                <c:pt idx="28901">
                  <c:v>-9.9159663865546199E-2</c:v>
                </c:pt>
                <c:pt idx="28902">
                  <c:v>-9.9159663865546199E-2</c:v>
                </c:pt>
                <c:pt idx="28903">
                  <c:v>-9.9159663865546199E-2</c:v>
                </c:pt>
                <c:pt idx="28904">
                  <c:v>-9.9159663865546199E-2</c:v>
                </c:pt>
                <c:pt idx="28905">
                  <c:v>-9.9159663865546199E-2</c:v>
                </c:pt>
                <c:pt idx="28906">
                  <c:v>-9.9159663865546199E-2</c:v>
                </c:pt>
                <c:pt idx="28907">
                  <c:v>-9.9159663865546199E-2</c:v>
                </c:pt>
                <c:pt idx="28908">
                  <c:v>-9.9159663865546199E-2</c:v>
                </c:pt>
                <c:pt idx="28909">
                  <c:v>-9.9159663865546199E-2</c:v>
                </c:pt>
                <c:pt idx="28910">
                  <c:v>-9.8319327731092407E-2</c:v>
                </c:pt>
                <c:pt idx="28911">
                  <c:v>-9.8319327731092407E-2</c:v>
                </c:pt>
                <c:pt idx="28912">
                  <c:v>-9.8319327731092407E-2</c:v>
                </c:pt>
                <c:pt idx="28913">
                  <c:v>-9.8319327731092407E-2</c:v>
                </c:pt>
                <c:pt idx="28914">
                  <c:v>-9.8319327731092407E-2</c:v>
                </c:pt>
                <c:pt idx="28915">
                  <c:v>-9.8319327731092407E-2</c:v>
                </c:pt>
                <c:pt idx="28916">
                  <c:v>-9.8319327731092407E-2</c:v>
                </c:pt>
                <c:pt idx="28917">
                  <c:v>-9.8319327731092407E-2</c:v>
                </c:pt>
                <c:pt idx="28918">
                  <c:v>-9.8319327731092407E-2</c:v>
                </c:pt>
                <c:pt idx="28919">
                  <c:v>-9.8319327731092407E-2</c:v>
                </c:pt>
                <c:pt idx="28920">
                  <c:v>-9.8319327731092407E-2</c:v>
                </c:pt>
                <c:pt idx="28921">
                  <c:v>-9.8319327731092407E-2</c:v>
                </c:pt>
                <c:pt idx="28922">
                  <c:v>-9.7478991596638601E-2</c:v>
                </c:pt>
                <c:pt idx="28923">
                  <c:v>-9.7478991596638601E-2</c:v>
                </c:pt>
                <c:pt idx="28924">
                  <c:v>-9.7478991596638601E-2</c:v>
                </c:pt>
                <c:pt idx="28925">
                  <c:v>-9.7478991596638601E-2</c:v>
                </c:pt>
                <c:pt idx="28926">
                  <c:v>-9.7478991596638601E-2</c:v>
                </c:pt>
                <c:pt idx="28927">
                  <c:v>-9.7478991596638601E-2</c:v>
                </c:pt>
                <c:pt idx="28928">
                  <c:v>-9.7478991596638601E-2</c:v>
                </c:pt>
                <c:pt idx="28929">
                  <c:v>-9.7478991596638601E-2</c:v>
                </c:pt>
                <c:pt idx="28930">
                  <c:v>-9.7478991596638601E-2</c:v>
                </c:pt>
                <c:pt idx="28931">
                  <c:v>-9.7478991596638601E-2</c:v>
                </c:pt>
                <c:pt idx="28932">
                  <c:v>-9.7478991596638601E-2</c:v>
                </c:pt>
                <c:pt idx="28933">
                  <c:v>-9.7478991596638601E-2</c:v>
                </c:pt>
                <c:pt idx="28934">
                  <c:v>-9.7478991596638601E-2</c:v>
                </c:pt>
                <c:pt idx="28935">
                  <c:v>-9.7478991596638601E-2</c:v>
                </c:pt>
                <c:pt idx="28936">
                  <c:v>-9.7478991596638601E-2</c:v>
                </c:pt>
                <c:pt idx="28937">
                  <c:v>-9.7478991596638601E-2</c:v>
                </c:pt>
                <c:pt idx="28938">
                  <c:v>-9.7478991596638601E-2</c:v>
                </c:pt>
                <c:pt idx="28939">
                  <c:v>-9.7478991596638601E-2</c:v>
                </c:pt>
                <c:pt idx="28940">
                  <c:v>-9.7478991596638601E-2</c:v>
                </c:pt>
                <c:pt idx="28941">
                  <c:v>-9.7478991596638601E-2</c:v>
                </c:pt>
                <c:pt idx="28942">
                  <c:v>-9.7478991596638601E-2</c:v>
                </c:pt>
                <c:pt idx="28943">
                  <c:v>-9.7478991596638601E-2</c:v>
                </c:pt>
                <c:pt idx="28944">
                  <c:v>-9.7478991596638601E-2</c:v>
                </c:pt>
                <c:pt idx="28945">
                  <c:v>-9.7478991596638601E-2</c:v>
                </c:pt>
                <c:pt idx="28946">
                  <c:v>-9.7478991596638601E-2</c:v>
                </c:pt>
                <c:pt idx="28947">
                  <c:v>-9.7478991596638601E-2</c:v>
                </c:pt>
                <c:pt idx="28948">
                  <c:v>-9.7478991596638601E-2</c:v>
                </c:pt>
                <c:pt idx="28949">
                  <c:v>-9.7478991596638601E-2</c:v>
                </c:pt>
                <c:pt idx="28950">
                  <c:v>-9.7478991596638601E-2</c:v>
                </c:pt>
                <c:pt idx="28951">
                  <c:v>-9.7478991596638601E-2</c:v>
                </c:pt>
                <c:pt idx="28952">
                  <c:v>-9.7478991596638601E-2</c:v>
                </c:pt>
                <c:pt idx="28953">
                  <c:v>-9.7478991596638601E-2</c:v>
                </c:pt>
                <c:pt idx="28954">
                  <c:v>-9.7478991596638601E-2</c:v>
                </c:pt>
                <c:pt idx="28955">
                  <c:v>-9.7478991596638601E-2</c:v>
                </c:pt>
                <c:pt idx="28956">
                  <c:v>-9.7478991596638601E-2</c:v>
                </c:pt>
                <c:pt idx="28957">
                  <c:v>-9.7478991596638601E-2</c:v>
                </c:pt>
                <c:pt idx="28958">
                  <c:v>-9.7478991596638601E-2</c:v>
                </c:pt>
                <c:pt idx="28959">
                  <c:v>-9.7478991596638601E-2</c:v>
                </c:pt>
                <c:pt idx="28960">
                  <c:v>-9.7478991596638601E-2</c:v>
                </c:pt>
                <c:pt idx="28961">
                  <c:v>-9.7478991596638601E-2</c:v>
                </c:pt>
                <c:pt idx="28962">
                  <c:v>-9.7478991596638601E-2</c:v>
                </c:pt>
                <c:pt idx="28963">
                  <c:v>-9.7478991596638601E-2</c:v>
                </c:pt>
                <c:pt idx="28964">
                  <c:v>-9.7478991596638601E-2</c:v>
                </c:pt>
                <c:pt idx="28965">
                  <c:v>-9.7478991596638601E-2</c:v>
                </c:pt>
                <c:pt idx="28966">
                  <c:v>-9.7478991596638601E-2</c:v>
                </c:pt>
                <c:pt idx="28967">
                  <c:v>-9.7478991596638601E-2</c:v>
                </c:pt>
                <c:pt idx="28968">
                  <c:v>-9.7478991596638601E-2</c:v>
                </c:pt>
                <c:pt idx="28969">
                  <c:v>-9.7478991596638601E-2</c:v>
                </c:pt>
                <c:pt idx="28970">
                  <c:v>-9.7478991596638601E-2</c:v>
                </c:pt>
                <c:pt idx="28971">
                  <c:v>-9.7478991596638601E-2</c:v>
                </c:pt>
                <c:pt idx="28972">
                  <c:v>-9.7478991596638601E-2</c:v>
                </c:pt>
                <c:pt idx="28973">
                  <c:v>-9.7478991596638601E-2</c:v>
                </c:pt>
                <c:pt idx="28974">
                  <c:v>-9.7478991596638601E-2</c:v>
                </c:pt>
                <c:pt idx="28975">
                  <c:v>-9.7478991596638601E-2</c:v>
                </c:pt>
                <c:pt idx="28976">
                  <c:v>-9.7478991596638601E-2</c:v>
                </c:pt>
                <c:pt idx="28977">
                  <c:v>-9.7478991596638601E-2</c:v>
                </c:pt>
                <c:pt idx="28978">
                  <c:v>-9.7478991596638601E-2</c:v>
                </c:pt>
                <c:pt idx="28979">
                  <c:v>-9.7478991596638601E-2</c:v>
                </c:pt>
                <c:pt idx="28980">
                  <c:v>-9.7478991596638601E-2</c:v>
                </c:pt>
                <c:pt idx="28981">
                  <c:v>-9.7478991596638601E-2</c:v>
                </c:pt>
                <c:pt idx="28982">
                  <c:v>-9.7478991596638601E-2</c:v>
                </c:pt>
                <c:pt idx="28983">
                  <c:v>-9.7478991596638601E-2</c:v>
                </c:pt>
                <c:pt idx="28984">
                  <c:v>-9.6638655462184794E-2</c:v>
                </c:pt>
                <c:pt idx="28985">
                  <c:v>-9.6638655462184794E-2</c:v>
                </c:pt>
                <c:pt idx="28986">
                  <c:v>-9.6638655462184794E-2</c:v>
                </c:pt>
                <c:pt idx="28987">
                  <c:v>-9.6638655462184794E-2</c:v>
                </c:pt>
                <c:pt idx="28988">
                  <c:v>-9.6638655462184794E-2</c:v>
                </c:pt>
                <c:pt idx="28989">
                  <c:v>-9.6638655462184794E-2</c:v>
                </c:pt>
                <c:pt idx="28990">
                  <c:v>-9.6638655462184794E-2</c:v>
                </c:pt>
                <c:pt idx="28991">
                  <c:v>-9.6638655462184794E-2</c:v>
                </c:pt>
                <c:pt idx="28992">
                  <c:v>-9.6638655462184794E-2</c:v>
                </c:pt>
                <c:pt idx="28993">
                  <c:v>-9.6638655462184794E-2</c:v>
                </c:pt>
                <c:pt idx="28994">
                  <c:v>-9.6638655462184794E-2</c:v>
                </c:pt>
                <c:pt idx="28995">
                  <c:v>-9.6638655462184794E-2</c:v>
                </c:pt>
                <c:pt idx="28996">
                  <c:v>-9.6638655462184794E-2</c:v>
                </c:pt>
                <c:pt idx="28997">
                  <c:v>-9.6638655462184794E-2</c:v>
                </c:pt>
                <c:pt idx="28998">
                  <c:v>-9.6638655462184794E-2</c:v>
                </c:pt>
                <c:pt idx="28999">
                  <c:v>-9.6638655462184794E-2</c:v>
                </c:pt>
                <c:pt idx="29000">
                  <c:v>-9.6638655462184794E-2</c:v>
                </c:pt>
                <c:pt idx="29001">
                  <c:v>-9.6638655462184794E-2</c:v>
                </c:pt>
                <c:pt idx="29002">
                  <c:v>-9.6638655462184794E-2</c:v>
                </c:pt>
                <c:pt idx="29003">
                  <c:v>-9.6638655462184794E-2</c:v>
                </c:pt>
                <c:pt idx="29004">
                  <c:v>-9.6638655462184794E-2</c:v>
                </c:pt>
                <c:pt idx="29005">
                  <c:v>-9.6638655462184794E-2</c:v>
                </c:pt>
                <c:pt idx="29006">
                  <c:v>-9.6638655462184794E-2</c:v>
                </c:pt>
                <c:pt idx="29007">
                  <c:v>-9.6638655462184794E-2</c:v>
                </c:pt>
                <c:pt idx="29008">
                  <c:v>-9.6638655462184794E-2</c:v>
                </c:pt>
                <c:pt idx="29009">
                  <c:v>-9.6638655462184794E-2</c:v>
                </c:pt>
                <c:pt idx="29010">
                  <c:v>-9.7478991596638601E-2</c:v>
                </c:pt>
                <c:pt idx="29011">
                  <c:v>-9.7478991596638601E-2</c:v>
                </c:pt>
                <c:pt idx="29012">
                  <c:v>-9.7478991596638601E-2</c:v>
                </c:pt>
                <c:pt idx="29013">
                  <c:v>-9.7478991596638601E-2</c:v>
                </c:pt>
                <c:pt idx="29014">
                  <c:v>-9.7478991596638601E-2</c:v>
                </c:pt>
                <c:pt idx="29015">
                  <c:v>-9.7478991596638601E-2</c:v>
                </c:pt>
                <c:pt idx="29016">
                  <c:v>-9.7478991596638601E-2</c:v>
                </c:pt>
                <c:pt idx="29017">
                  <c:v>-9.7478991596638601E-2</c:v>
                </c:pt>
                <c:pt idx="29018">
                  <c:v>-9.7478991596638601E-2</c:v>
                </c:pt>
                <c:pt idx="29019">
                  <c:v>-9.7478991596638601E-2</c:v>
                </c:pt>
                <c:pt idx="29020">
                  <c:v>-9.7478991596638601E-2</c:v>
                </c:pt>
                <c:pt idx="29021">
                  <c:v>-9.7478991596638601E-2</c:v>
                </c:pt>
                <c:pt idx="29022">
                  <c:v>-9.7478991596638601E-2</c:v>
                </c:pt>
                <c:pt idx="29023">
                  <c:v>-9.7478991596638601E-2</c:v>
                </c:pt>
                <c:pt idx="29024">
                  <c:v>-9.7478991596638601E-2</c:v>
                </c:pt>
                <c:pt idx="29025">
                  <c:v>-9.7478991596638601E-2</c:v>
                </c:pt>
                <c:pt idx="29026">
                  <c:v>-9.7478991596638601E-2</c:v>
                </c:pt>
                <c:pt idx="29027">
                  <c:v>-9.7478991596638601E-2</c:v>
                </c:pt>
                <c:pt idx="29028">
                  <c:v>-9.7478991596638601E-2</c:v>
                </c:pt>
                <c:pt idx="29029">
                  <c:v>-9.7478991596638601E-2</c:v>
                </c:pt>
                <c:pt idx="29030">
                  <c:v>-9.7478991596638601E-2</c:v>
                </c:pt>
                <c:pt idx="29031">
                  <c:v>-9.7478991596638601E-2</c:v>
                </c:pt>
                <c:pt idx="29032">
                  <c:v>-9.7478991596638601E-2</c:v>
                </c:pt>
                <c:pt idx="29033">
                  <c:v>-9.7478991596638601E-2</c:v>
                </c:pt>
                <c:pt idx="29034">
                  <c:v>-9.7478991596638601E-2</c:v>
                </c:pt>
                <c:pt idx="29035">
                  <c:v>-9.6638655462184794E-2</c:v>
                </c:pt>
                <c:pt idx="29036">
                  <c:v>-9.6638655462184794E-2</c:v>
                </c:pt>
                <c:pt idx="29037">
                  <c:v>-9.6638655462184794E-2</c:v>
                </c:pt>
                <c:pt idx="29038">
                  <c:v>-9.6638655462184794E-2</c:v>
                </c:pt>
                <c:pt idx="29039">
                  <c:v>-9.6638655462184794E-2</c:v>
                </c:pt>
                <c:pt idx="29040">
                  <c:v>-9.7478991596638601E-2</c:v>
                </c:pt>
                <c:pt idx="29041">
                  <c:v>-9.7478991596638601E-2</c:v>
                </c:pt>
                <c:pt idx="29042">
                  <c:v>-9.6638655462184794E-2</c:v>
                </c:pt>
                <c:pt idx="29043">
                  <c:v>-9.6638655462184794E-2</c:v>
                </c:pt>
                <c:pt idx="29044">
                  <c:v>-9.6638655462184794E-2</c:v>
                </c:pt>
                <c:pt idx="29045">
                  <c:v>-9.6638655462184794E-2</c:v>
                </c:pt>
                <c:pt idx="29046">
                  <c:v>-9.6638655462184794E-2</c:v>
                </c:pt>
                <c:pt idx="29047">
                  <c:v>-9.6638655462184794E-2</c:v>
                </c:pt>
                <c:pt idx="29048">
                  <c:v>-9.6638655462184794E-2</c:v>
                </c:pt>
                <c:pt idx="29049">
                  <c:v>-9.6638655462184794E-2</c:v>
                </c:pt>
                <c:pt idx="29050">
                  <c:v>-9.6638655462184794E-2</c:v>
                </c:pt>
                <c:pt idx="29051">
                  <c:v>-9.6638655462184794E-2</c:v>
                </c:pt>
                <c:pt idx="29052">
                  <c:v>-9.6638655462184794E-2</c:v>
                </c:pt>
                <c:pt idx="29053">
                  <c:v>-9.6638655462184794E-2</c:v>
                </c:pt>
                <c:pt idx="29054">
                  <c:v>-9.6638655462184794E-2</c:v>
                </c:pt>
                <c:pt idx="29055">
                  <c:v>-9.6638655462184794E-2</c:v>
                </c:pt>
                <c:pt idx="29056">
                  <c:v>-9.6638655462184794E-2</c:v>
                </c:pt>
                <c:pt idx="29057">
                  <c:v>-9.6638655462184794E-2</c:v>
                </c:pt>
                <c:pt idx="29058">
                  <c:v>-9.6638655462184794E-2</c:v>
                </c:pt>
                <c:pt idx="29059">
                  <c:v>-9.6638655462184794E-2</c:v>
                </c:pt>
                <c:pt idx="29060">
                  <c:v>-9.7478991596638601E-2</c:v>
                </c:pt>
                <c:pt idx="29061">
                  <c:v>-9.7478991596638601E-2</c:v>
                </c:pt>
                <c:pt idx="29062">
                  <c:v>-9.7478991596638601E-2</c:v>
                </c:pt>
                <c:pt idx="29063">
                  <c:v>-9.7478991596638601E-2</c:v>
                </c:pt>
                <c:pt idx="29064">
                  <c:v>-9.7478991596638601E-2</c:v>
                </c:pt>
                <c:pt idx="29065">
                  <c:v>-9.7478991596638601E-2</c:v>
                </c:pt>
                <c:pt idx="29066">
                  <c:v>-9.7478991596638601E-2</c:v>
                </c:pt>
                <c:pt idx="29067">
                  <c:v>-9.7478991596638601E-2</c:v>
                </c:pt>
                <c:pt idx="29068">
                  <c:v>-9.7478991596638601E-2</c:v>
                </c:pt>
                <c:pt idx="29069">
                  <c:v>-9.7478991596638601E-2</c:v>
                </c:pt>
                <c:pt idx="29070">
                  <c:v>-9.7478991596638601E-2</c:v>
                </c:pt>
                <c:pt idx="29071">
                  <c:v>-9.7478991596638601E-2</c:v>
                </c:pt>
                <c:pt idx="29072">
                  <c:v>-9.7478991596638601E-2</c:v>
                </c:pt>
                <c:pt idx="29073">
                  <c:v>-9.7478991596638601E-2</c:v>
                </c:pt>
                <c:pt idx="29074">
                  <c:v>-9.7478991596638601E-2</c:v>
                </c:pt>
                <c:pt idx="29075">
                  <c:v>-9.7478991596638601E-2</c:v>
                </c:pt>
                <c:pt idx="29076">
                  <c:v>-9.7478991596638601E-2</c:v>
                </c:pt>
                <c:pt idx="29077">
                  <c:v>-9.7478991596638601E-2</c:v>
                </c:pt>
                <c:pt idx="29078">
                  <c:v>-9.7478991596638601E-2</c:v>
                </c:pt>
                <c:pt idx="29079">
                  <c:v>-9.7478991596638601E-2</c:v>
                </c:pt>
                <c:pt idx="29080">
                  <c:v>-9.7478991596638601E-2</c:v>
                </c:pt>
                <c:pt idx="29081">
                  <c:v>-9.7478991596638601E-2</c:v>
                </c:pt>
                <c:pt idx="29082">
                  <c:v>-9.7478991596638601E-2</c:v>
                </c:pt>
                <c:pt idx="29083">
                  <c:v>-9.7478991596638601E-2</c:v>
                </c:pt>
                <c:pt idx="29084">
                  <c:v>-9.7478991596638601E-2</c:v>
                </c:pt>
                <c:pt idx="29085">
                  <c:v>-9.7478991596638601E-2</c:v>
                </c:pt>
                <c:pt idx="29086">
                  <c:v>-9.7478991596638601E-2</c:v>
                </c:pt>
                <c:pt idx="29087">
                  <c:v>-9.7478991596638601E-2</c:v>
                </c:pt>
                <c:pt idx="29088">
                  <c:v>-9.7478991596638601E-2</c:v>
                </c:pt>
                <c:pt idx="29089">
                  <c:v>-9.7478991596638601E-2</c:v>
                </c:pt>
                <c:pt idx="29090">
                  <c:v>-9.7478991596638601E-2</c:v>
                </c:pt>
                <c:pt idx="29091">
                  <c:v>-9.7478991596638601E-2</c:v>
                </c:pt>
                <c:pt idx="29092">
                  <c:v>-9.7478991596638601E-2</c:v>
                </c:pt>
                <c:pt idx="29093">
                  <c:v>-9.7478991596638601E-2</c:v>
                </c:pt>
                <c:pt idx="29094">
                  <c:v>-9.7478991596638601E-2</c:v>
                </c:pt>
                <c:pt idx="29095">
                  <c:v>-9.7478991596638601E-2</c:v>
                </c:pt>
                <c:pt idx="29096">
                  <c:v>-9.7478991596638601E-2</c:v>
                </c:pt>
                <c:pt idx="29097">
                  <c:v>-9.7478991596638601E-2</c:v>
                </c:pt>
                <c:pt idx="29098">
                  <c:v>-9.7478991596638601E-2</c:v>
                </c:pt>
                <c:pt idx="29099">
                  <c:v>-9.7478991596638601E-2</c:v>
                </c:pt>
                <c:pt idx="29100">
                  <c:v>-9.7478991596638601E-2</c:v>
                </c:pt>
                <c:pt idx="29101">
                  <c:v>-9.7478991596638601E-2</c:v>
                </c:pt>
                <c:pt idx="29102">
                  <c:v>-9.7478991596638601E-2</c:v>
                </c:pt>
                <c:pt idx="29103">
                  <c:v>-9.7478991596638601E-2</c:v>
                </c:pt>
                <c:pt idx="29104">
                  <c:v>-9.7478991596638601E-2</c:v>
                </c:pt>
                <c:pt idx="29105">
                  <c:v>-9.7478991596638601E-2</c:v>
                </c:pt>
                <c:pt idx="29106">
                  <c:v>-9.7478991596638601E-2</c:v>
                </c:pt>
                <c:pt idx="29107">
                  <c:v>-9.7478991596638601E-2</c:v>
                </c:pt>
                <c:pt idx="29108">
                  <c:v>-9.7478991596638601E-2</c:v>
                </c:pt>
                <c:pt idx="29109">
                  <c:v>-9.7478991596638601E-2</c:v>
                </c:pt>
                <c:pt idx="29110">
                  <c:v>-9.7478991596638601E-2</c:v>
                </c:pt>
                <c:pt idx="29111">
                  <c:v>-9.7478991596638601E-2</c:v>
                </c:pt>
                <c:pt idx="29112">
                  <c:v>-9.7478991596638601E-2</c:v>
                </c:pt>
                <c:pt idx="29113">
                  <c:v>-9.7478991596638601E-2</c:v>
                </c:pt>
                <c:pt idx="29114">
                  <c:v>-9.7478991596638601E-2</c:v>
                </c:pt>
                <c:pt idx="29115">
                  <c:v>-9.7478991596638601E-2</c:v>
                </c:pt>
                <c:pt idx="29116">
                  <c:v>-9.7478991596638601E-2</c:v>
                </c:pt>
                <c:pt idx="29117">
                  <c:v>-9.7478991596638601E-2</c:v>
                </c:pt>
                <c:pt idx="29118">
                  <c:v>-9.7478991596638601E-2</c:v>
                </c:pt>
                <c:pt idx="29119">
                  <c:v>-9.7478991596638601E-2</c:v>
                </c:pt>
                <c:pt idx="29120">
                  <c:v>-9.7478991596638601E-2</c:v>
                </c:pt>
                <c:pt idx="29121">
                  <c:v>-9.8319327731092407E-2</c:v>
                </c:pt>
                <c:pt idx="29122">
                  <c:v>-9.8319327731092407E-2</c:v>
                </c:pt>
                <c:pt idx="29123">
                  <c:v>-9.8319327731092407E-2</c:v>
                </c:pt>
                <c:pt idx="29124">
                  <c:v>-9.8319327731092407E-2</c:v>
                </c:pt>
                <c:pt idx="29125">
                  <c:v>-9.8319327731092407E-2</c:v>
                </c:pt>
                <c:pt idx="29126">
                  <c:v>-9.8319327731092407E-2</c:v>
                </c:pt>
                <c:pt idx="29127">
                  <c:v>-9.8319327731092407E-2</c:v>
                </c:pt>
                <c:pt idx="29128">
                  <c:v>-9.8319327731092407E-2</c:v>
                </c:pt>
                <c:pt idx="29129">
                  <c:v>-9.8319327731092407E-2</c:v>
                </c:pt>
                <c:pt idx="29130">
                  <c:v>-9.8319327731092407E-2</c:v>
                </c:pt>
                <c:pt idx="29131">
                  <c:v>-9.8319327731092407E-2</c:v>
                </c:pt>
                <c:pt idx="29132">
                  <c:v>-9.8319327731092407E-2</c:v>
                </c:pt>
                <c:pt idx="29133">
                  <c:v>-9.8319327731092407E-2</c:v>
                </c:pt>
                <c:pt idx="29134">
                  <c:v>-9.8319327731092407E-2</c:v>
                </c:pt>
                <c:pt idx="29135">
                  <c:v>-9.8319327731092407E-2</c:v>
                </c:pt>
                <c:pt idx="29136">
                  <c:v>-9.8319327731092407E-2</c:v>
                </c:pt>
                <c:pt idx="29137">
                  <c:v>-9.8319327731092407E-2</c:v>
                </c:pt>
                <c:pt idx="29138">
                  <c:v>-9.8319327731092407E-2</c:v>
                </c:pt>
                <c:pt idx="29139">
                  <c:v>-9.8319327731092407E-2</c:v>
                </c:pt>
                <c:pt idx="29140">
                  <c:v>-9.8319327731092407E-2</c:v>
                </c:pt>
                <c:pt idx="29141">
                  <c:v>-9.8319327731092407E-2</c:v>
                </c:pt>
                <c:pt idx="29142">
                  <c:v>-9.8319327731092407E-2</c:v>
                </c:pt>
                <c:pt idx="29143">
                  <c:v>-9.8319327731092407E-2</c:v>
                </c:pt>
                <c:pt idx="29144">
                  <c:v>-9.8319327731092407E-2</c:v>
                </c:pt>
                <c:pt idx="29145">
                  <c:v>-9.8319327731092407E-2</c:v>
                </c:pt>
                <c:pt idx="29146">
                  <c:v>-9.8319327731092407E-2</c:v>
                </c:pt>
                <c:pt idx="29147">
                  <c:v>-9.8319327731092407E-2</c:v>
                </c:pt>
                <c:pt idx="29148">
                  <c:v>-9.8319327731092407E-2</c:v>
                </c:pt>
                <c:pt idx="29149">
                  <c:v>-9.8319327731092407E-2</c:v>
                </c:pt>
                <c:pt idx="29150">
                  <c:v>-9.8319327731092407E-2</c:v>
                </c:pt>
                <c:pt idx="29151">
                  <c:v>-9.8319327731092407E-2</c:v>
                </c:pt>
                <c:pt idx="29152">
                  <c:v>-9.8319327731092407E-2</c:v>
                </c:pt>
                <c:pt idx="29153">
                  <c:v>-9.8319327731092407E-2</c:v>
                </c:pt>
                <c:pt idx="29154">
                  <c:v>-9.8319327731092407E-2</c:v>
                </c:pt>
                <c:pt idx="29155">
                  <c:v>-9.8319327731092407E-2</c:v>
                </c:pt>
                <c:pt idx="29156">
                  <c:v>-9.9159663865546199E-2</c:v>
                </c:pt>
                <c:pt idx="29157">
                  <c:v>-9.9159663865546199E-2</c:v>
                </c:pt>
                <c:pt idx="29158">
                  <c:v>-9.9159663865546199E-2</c:v>
                </c:pt>
                <c:pt idx="29159">
                  <c:v>-9.9159663865546199E-2</c:v>
                </c:pt>
                <c:pt idx="29160">
                  <c:v>-9.9159663865546199E-2</c:v>
                </c:pt>
                <c:pt idx="29161">
                  <c:v>-9.9159663865546199E-2</c:v>
                </c:pt>
                <c:pt idx="29162">
                  <c:v>-9.9159663865546199E-2</c:v>
                </c:pt>
                <c:pt idx="29163">
                  <c:v>-9.9159663865546199E-2</c:v>
                </c:pt>
                <c:pt idx="29164">
                  <c:v>-9.9159663865546199E-2</c:v>
                </c:pt>
                <c:pt idx="29165">
                  <c:v>-9.9159663865546199E-2</c:v>
                </c:pt>
                <c:pt idx="29166">
                  <c:v>-9.9159663865546199E-2</c:v>
                </c:pt>
                <c:pt idx="29167">
                  <c:v>-9.9999999999999895E-2</c:v>
                </c:pt>
                <c:pt idx="29168">
                  <c:v>-9.9999999999999895E-2</c:v>
                </c:pt>
                <c:pt idx="29169">
                  <c:v>-9.9999999999999895E-2</c:v>
                </c:pt>
                <c:pt idx="29170">
                  <c:v>-9.9999999999999895E-2</c:v>
                </c:pt>
                <c:pt idx="29171">
                  <c:v>-9.9999999999999895E-2</c:v>
                </c:pt>
                <c:pt idx="29172">
                  <c:v>-9.9999999999999895E-2</c:v>
                </c:pt>
                <c:pt idx="29173">
                  <c:v>-9.9999999999999895E-2</c:v>
                </c:pt>
                <c:pt idx="29174">
                  <c:v>-9.9999999999999895E-2</c:v>
                </c:pt>
                <c:pt idx="29175">
                  <c:v>-9.9999999999999895E-2</c:v>
                </c:pt>
                <c:pt idx="29176">
                  <c:v>-9.9999999999999895E-2</c:v>
                </c:pt>
                <c:pt idx="29177">
                  <c:v>-9.9999999999999895E-2</c:v>
                </c:pt>
                <c:pt idx="29178">
                  <c:v>-9.9999999999999895E-2</c:v>
                </c:pt>
                <c:pt idx="29179">
                  <c:v>-9.9999999999999895E-2</c:v>
                </c:pt>
                <c:pt idx="29180">
                  <c:v>-9.9999999999999895E-2</c:v>
                </c:pt>
                <c:pt idx="29181">
                  <c:v>-9.9999999999999895E-2</c:v>
                </c:pt>
                <c:pt idx="29182">
                  <c:v>-0.10084033613445301</c:v>
                </c:pt>
                <c:pt idx="29183">
                  <c:v>-0.10168067226890699</c:v>
                </c:pt>
                <c:pt idx="29184">
                  <c:v>-0.10168067226890699</c:v>
                </c:pt>
                <c:pt idx="29185">
                  <c:v>-0.10168067226890699</c:v>
                </c:pt>
                <c:pt idx="29186">
                  <c:v>-0.10168067226890699</c:v>
                </c:pt>
                <c:pt idx="29187">
                  <c:v>-0.10168067226890699</c:v>
                </c:pt>
                <c:pt idx="29188">
                  <c:v>-0.10168067226890699</c:v>
                </c:pt>
                <c:pt idx="29189">
                  <c:v>-0.10168067226890699</c:v>
                </c:pt>
                <c:pt idx="29190">
                  <c:v>-0.10168067226890699</c:v>
                </c:pt>
                <c:pt idx="29191">
                  <c:v>-0.10168067226890699</c:v>
                </c:pt>
                <c:pt idx="29192">
                  <c:v>-0.10168067226890699</c:v>
                </c:pt>
                <c:pt idx="29193">
                  <c:v>-0.10168067226890699</c:v>
                </c:pt>
                <c:pt idx="29194">
                  <c:v>-0.10168067226890699</c:v>
                </c:pt>
                <c:pt idx="29195">
                  <c:v>-0.10168067226890699</c:v>
                </c:pt>
                <c:pt idx="29196">
                  <c:v>-0.10168067226890699</c:v>
                </c:pt>
                <c:pt idx="29197">
                  <c:v>-0.10168067226890699</c:v>
                </c:pt>
                <c:pt idx="29198">
                  <c:v>-0.10168067226890699</c:v>
                </c:pt>
                <c:pt idx="29199">
                  <c:v>-0.10168067226890699</c:v>
                </c:pt>
                <c:pt idx="29200">
                  <c:v>-0.10168067226890699</c:v>
                </c:pt>
                <c:pt idx="29201">
                  <c:v>-0.10168067226890699</c:v>
                </c:pt>
                <c:pt idx="29202">
                  <c:v>-0.10168067226890699</c:v>
                </c:pt>
                <c:pt idx="29203">
                  <c:v>-0.10168067226890699</c:v>
                </c:pt>
                <c:pt idx="29204">
                  <c:v>-0.10168067226890699</c:v>
                </c:pt>
                <c:pt idx="29205">
                  <c:v>-0.10084033613445301</c:v>
                </c:pt>
                <c:pt idx="29206">
                  <c:v>-0.10084033613445301</c:v>
                </c:pt>
                <c:pt idx="29207">
                  <c:v>-0.10084033613445301</c:v>
                </c:pt>
                <c:pt idx="29208">
                  <c:v>-0.10168067226890699</c:v>
                </c:pt>
                <c:pt idx="29209">
                  <c:v>-0.10168067226890699</c:v>
                </c:pt>
                <c:pt idx="29210">
                  <c:v>-0.10168067226890699</c:v>
                </c:pt>
                <c:pt idx="29211">
                  <c:v>-0.10168067226890699</c:v>
                </c:pt>
                <c:pt idx="29212">
                  <c:v>-0.10168067226890699</c:v>
                </c:pt>
                <c:pt idx="29213">
                  <c:v>-0.10168067226890699</c:v>
                </c:pt>
                <c:pt idx="29214">
                  <c:v>-0.10168067226890699</c:v>
                </c:pt>
                <c:pt idx="29215">
                  <c:v>-0.10168067226890699</c:v>
                </c:pt>
                <c:pt idx="29216">
                  <c:v>-0.10168067226890699</c:v>
                </c:pt>
                <c:pt idx="29217">
                  <c:v>-0.10168067226890699</c:v>
                </c:pt>
                <c:pt idx="29218">
                  <c:v>-0.10168067226890699</c:v>
                </c:pt>
                <c:pt idx="29219">
                  <c:v>-0.10168067226890699</c:v>
                </c:pt>
                <c:pt idx="29220">
                  <c:v>-0.10168067226890699</c:v>
                </c:pt>
                <c:pt idx="29221">
                  <c:v>-0.10168067226890699</c:v>
                </c:pt>
                <c:pt idx="29222">
                  <c:v>-0.10168067226890699</c:v>
                </c:pt>
                <c:pt idx="29223">
                  <c:v>-0.10168067226890699</c:v>
                </c:pt>
                <c:pt idx="29224">
                  <c:v>-0.10168067226890699</c:v>
                </c:pt>
                <c:pt idx="29225">
                  <c:v>-0.10168067226890699</c:v>
                </c:pt>
                <c:pt idx="29226">
                  <c:v>-0.10168067226890699</c:v>
                </c:pt>
                <c:pt idx="29227">
                  <c:v>-0.10168067226890699</c:v>
                </c:pt>
                <c:pt idx="29228">
                  <c:v>-0.10168067226890699</c:v>
                </c:pt>
                <c:pt idx="29229">
                  <c:v>-0.10168067226890699</c:v>
                </c:pt>
                <c:pt idx="29230">
                  <c:v>-0.10168067226890699</c:v>
                </c:pt>
                <c:pt idx="29231">
                  <c:v>-0.10168067226890699</c:v>
                </c:pt>
                <c:pt idx="29232">
                  <c:v>-0.10168067226890699</c:v>
                </c:pt>
                <c:pt idx="29233">
                  <c:v>-0.10168067226890699</c:v>
                </c:pt>
                <c:pt idx="29234">
                  <c:v>-0.10168067226890699</c:v>
                </c:pt>
                <c:pt idx="29235">
                  <c:v>-0.10168067226890699</c:v>
                </c:pt>
                <c:pt idx="29236">
                  <c:v>-0.10168067226890699</c:v>
                </c:pt>
                <c:pt idx="29237">
                  <c:v>-0.10168067226890699</c:v>
                </c:pt>
                <c:pt idx="29238">
                  <c:v>-0.10168067226890699</c:v>
                </c:pt>
                <c:pt idx="29239">
                  <c:v>-0.10168067226890699</c:v>
                </c:pt>
                <c:pt idx="29240">
                  <c:v>-0.10168067226890699</c:v>
                </c:pt>
                <c:pt idx="29241">
                  <c:v>-0.10168067226890699</c:v>
                </c:pt>
                <c:pt idx="29242">
                  <c:v>-0.10168067226890699</c:v>
                </c:pt>
                <c:pt idx="29243">
                  <c:v>-0.10168067226890699</c:v>
                </c:pt>
                <c:pt idx="29244">
                  <c:v>-0.10168067226890699</c:v>
                </c:pt>
                <c:pt idx="29245">
                  <c:v>-0.10168067226890699</c:v>
                </c:pt>
                <c:pt idx="29246">
                  <c:v>-0.10168067226890699</c:v>
                </c:pt>
                <c:pt idx="29247">
                  <c:v>-0.10168067226890699</c:v>
                </c:pt>
                <c:pt idx="29248">
                  <c:v>-0.10168067226890699</c:v>
                </c:pt>
                <c:pt idx="29249">
                  <c:v>-0.10168067226890699</c:v>
                </c:pt>
                <c:pt idx="29250">
                  <c:v>-0.10168067226890699</c:v>
                </c:pt>
                <c:pt idx="29251">
                  <c:v>-0.10168067226890699</c:v>
                </c:pt>
                <c:pt idx="29252">
                  <c:v>-0.10168067226890699</c:v>
                </c:pt>
                <c:pt idx="29253">
                  <c:v>-0.10252100840336099</c:v>
                </c:pt>
                <c:pt idx="29254">
                  <c:v>-0.10252100840336099</c:v>
                </c:pt>
                <c:pt idx="29255">
                  <c:v>-0.10252100840336099</c:v>
                </c:pt>
                <c:pt idx="29256">
                  <c:v>-0.10252100840336099</c:v>
                </c:pt>
                <c:pt idx="29257">
                  <c:v>-0.10252100840336099</c:v>
                </c:pt>
                <c:pt idx="29258">
                  <c:v>-0.10252100840336099</c:v>
                </c:pt>
                <c:pt idx="29259">
                  <c:v>-0.10252100840336099</c:v>
                </c:pt>
                <c:pt idx="29260">
                  <c:v>-0.10252100840336099</c:v>
                </c:pt>
                <c:pt idx="29261">
                  <c:v>-0.10252100840336099</c:v>
                </c:pt>
                <c:pt idx="29262">
                  <c:v>-0.10252100840336099</c:v>
                </c:pt>
                <c:pt idx="29263">
                  <c:v>-0.10252100840336099</c:v>
                </c:pt>
                <c:pt idx="29264">
                  <c:v>-0.10252100840336099</c:v>
                </c:pt>
                <c:pt idx="29265">
                  <c:v>-0.10252100840336099</c:v>
                </c:pt>
                <c:pt idx="29266">
                  <c:v>-0.10252100840336099</c:v>
                </c:pt>
                <c:pt idx="29267">
                  <c:v>-0.10252100840336099</c:v>
                </c:pt>
                <c:pt idx="29268">
                  <c:v>-0.10252100840336099</c:v>
                </c:pt>
                <c:pt idx="29269">
                  <c:v>-0.10252100840336099</c:v>
                </c:pt>
                <c:pt idx="29270">
                  <c:v>-0.10252100840336099</c:v>
                </c:pt>
                <c:pt idx="29271">
                  <c:v>-0.10252100840336099</c:v>
                </c:pt>
                <c:pt idx="29272">
                  <c:v>-0.10252100840336099</c:v>
                </c:pt>
                <c:pt idx="29273">
                  <c:v>-0.10252100840336099</c:v>
                </c:pt>
                <c:pt idx="29274">
                  <c:v>-0.10252100840336099</c:v>
                </c:pt>
                <c:pt idx="29275">
                  <c:v>-0.10252100840336099</c:v>
                </c:pt>
                <c:pt idx="29276">
                  <c:v>-0.10252100840336099</c:v>
                </c:pt>
                <c:pt idx="29277">
                  <c:v>-0.10252100840336099</c:v>
                </c:pt>
                <c:pt idx="29278">
                  <c:v>-0.10252100840336099</c:v>
                </c:pt>
                <c:pt idx="29279">
                  <c:v>-0.10252100840336099</c:v>
                </c:pt>
                <c:pt idx="29280">
                  <c:v>-0.10252100840336099</c:v>
                </c:pt>
                <c:pt idx="29281">
                  <c:v>-0.10252100840336099</c:v>
                </c:pt>
                <c:pt idx="29282">
                  <c:v>-0.10252100840336099</c:v>
                </c:pt>
                <c:pt idx="29283">
                  <c:v>-0.10252100840336099</c:v>
                </c:pt>
                <c:pt idx="29284">
                  <c:v>-0.10252100840336099</c:v>
                </c:pt>
                <c:pt idx="29285">
                  <c:v>-0.10252100840336099</c:v>
                </c:pt>
                <c:pt idx="29286">
                  <c:v>-0.10252100840336099</c:v>
                </c:pt>
                <c:pt idx="29287">
                  <c:v>-0.10252100840336099</c:v>
                </c:pt>
                <c:pt idx="29288">
                  <c:v>-0.10252100840336099</c:v>
                </c:pt>
                <c:pt idx="29289">
                  <c:v>-0.10252100840336099</c:v>
                </c:pt>
                <c:pt idx="29290">
                  <c:v>-0.10252100840336099</c:v>
                </c:pt>
                <c:pt idx="29291">
                  <c:v>-0.10252100840336099</c:v>
                </c:pt>
                <c:pt idx="29292">
                  <c:v>-0.10252100840336099</c:v>
                </c:pt>
                <c:pt idx="29293">
                  <c:v>-0.10252100840336099</c:v>
                </c:pt>
                <c:pt idx="29294">
                  <c:v>-0.10252100840336099</c:v>
                </c:pt>
                <c:pt idx="29295">
                  <c:v>-0.10252100840336099</c:v>
                </c:pt>
                <c:pt idx="29296">
                  <c:v>-0.10252100840336099</c:v>
                </c:pt>
                <c:pt idx="29297">
                  <c:v>-0.10252100840336099</c:v>
                </c:pt>
                <c:pt idx="29298">
                  <c:v>-0.10252100840336099</c:v>
                </c:pt>
                <c:pt idx="29299">
                  <c:v>-0.10252100840336099</c:v>
                </c:pt>
                <c:pt idx="29300">
                  <c:v>-0.10252100840336099</c:v>
                </c:pt>
                <c:pt idx="29301">
                  <c:v>-0.10252100840336099</c:v>
                </c:pt>
                <c:pt idx="29302">
                  <c:v>-0.10252100840336099</c:v>
                </c:pt>
                <c:pt idx="29303">
                  <c:v>-0.10252100840336099</c:v>
                </c:pt>
                <c:pt idx="29304">
                  <c:v>-0.10252100840336099</c:v>
                </c:pt>
                <c:pt idx="29305">
                  <c:v>-0.10252100840336099</c:v>
                </c:pt>
                <c:pt idx="29306">
                  <c:v>-0.10252100840336099</c:v>
                </c:pt>
                <c:pt idx="29307">
                  <c:v>-0.10252100840336099</c:v>
                </c:pt>
                <c:pt idx="29308">
                  <c:v>-0.10252100840336099</c:v>
                </c:pt>
                <c:pt idx="29309">
                  <c:v>-0.10252100840336099</c:v>
                </c:pt>
                <c:pt idx="29310">
                  <c:v>-0.10252100840336099</c:v>
                </c:pt>
                <c:pt idx="29311">
                  <c:v>-0.10252100840336099</c:v>
                </c:pt>
                <c:pt idx="29312">
                  <c:v>-0.10252100840336099</c:v>
                </c:pt>
                <c:pt idx="29313">
                  <c:v>-0.10252100840336099</c:v>
                </c:pt>
                <c:pt idx="29314">
                  <c:v>-0.10252100840336099</c:v>
                </c:pt>
                <c:pt idx="29315">
                  <c:v>-0.10168067226890699</c:v>
                </c:pt>
                <c:pt idx="29316">
                  <c:v>-0.10168067226890699</c:v>
                </c:pt>
                <c:pt idx="29317">
                  <c:v>-0.10168067226890699</c:v>
                </c:pt>
                <c:pt idx="29318">
                  <c:v>-0.10168067226890699</c:v>
                </c:pt>
                <c:pt idx="29319">
                  <c:v>-0.10168067226890699</c:v>
                </c:pt>
                <c:pt idx="29320">
                  <c:v>-0.10168067226890699</c:v>
                </c:pt>
                <c:pt idx="29321">
                  <c:v>-0.10168067226890699</c:v>
                </c:pt>
                <c:pt idx="29322">
                  <c:v>-0.10168067226890699</c:v>
                </c:pt>
                <c:pt idx="29323">
                  <c:v>-0.10168067226890699</c:v>
                </c:pt>
                <c:pt idx="29324">
                  <c:v>-0.10168067226890699</c:v>
                </c:pt>
                <c:pt idx="29325">
                  <c:v>-0.10168067226890699</c:v>
                </c:pt>
                <c:pt idx="29326">
                  <c:v>-0.10168067226890699</c:v>
                </c:pt>
                <c:pt idx="29327">
                  <c:v>-0.10168067226890699</c:v>
                </c:pt>
                <c:pt idx="29328">
                  <c:v>-0.10168067226890699</c:v>
                </c:pt>
                <c:pt idx="29329">
                  <c:v>-0.10168067226890699</c:v>
                </c:pt>
                <c:pt idx="29330">
                  <c:v>-0.10168067226890699</c:v>
                </c:pt>
                <c:pt idx="29331">
                  <c:v>-0.10168067226890699</c:v>
                </c:pt>
                <c:pt idx="29332">
                  <c:v>-0.10168067226890699</c:v>
                </c:pt>
                <c:pt idx="29333">
                  <c:v>-0.10168067226890699</c:v>
                </c:pt>
                <c:pt idx="29334">
                  <c:v>-0.10168067226890699</c:v>
                </c:pt>
                <c:pt idx="29335">
                  <c:v>-0.10168067226890699</c:v>
                </c:pt>
                <c:pt idx="29336">
                  <c:v>-0.10168067226890699</c:v>
                </c:pt>
                <c:pt idx="29337">
                  <c:v>-0.10168067226890699</c:v>
                </c:pt>
                <c:pt idx="29338">
                  <c:v>-0.10168067226890699</c:v>
                </c:pt>
                <c:pt idx="29339">
                  <c:v>-0.10168067226890699</c:v>
                </c:pt>
                <c:pt idx="29340">
                  <c:v>-0.10168067226890699</c:v>
                </c:pt>
                <c:pt idx="29341">
                  <c:v>-0.10168067226890699</c:v>
                </c:pt>
                <c:pt idx="29342">
                  <c:v>-0.10168067226890699</c:v>
                </c:pt>
                <c:pt idx="29343">
                  <c:v>-0.10168067226890699</c:v>
                </c:pt>
                <c:pt idx="29344">
                  <c:v>-0.10168067226890699</c:v>
                </c:pt>
                <c:pt idx="29345">
                  <c:v>-0.10168067226890699</c:v>
                </c:pt>
                <c:pt idx="29346">
                  <c:v>-0.10168067226890699</c:v>
                </c:pt>
                <c:pt idx="29347">
                  <c:v>-0.10168067226890699</c:v>
                </c:pt>
                <c:pt idx="29348">
                  <c:v>-0.10168067226890699</c:v>
                </c:pt>
                <c:pt idx="29349">
                  <c:v>-0.10168067226890699</c:v>
                </c:pt>
                <c:pt idx="29350">
                  <c:v>-0.10168067226890699</c:v>
                </c:pt>
                <c:pt idx="29351">
                  <c:v>-0.10168067226890699</c:v>
                </c:pt>
                <c:pt idx="29352">
                  <c:v>-0.10168067226890699</c:v>
                </c:pt>
                <c:pt idx="29353">
                  <c:v>-0.10168067226890699</c:v>
                </c:pt>
                <c:pt idx="29354">
                  <c:v>-0.10168067226890699</c:v>
                </c:pt>
                <c:pt idx="29355">
                  <c:v>-0.10168067226890699</c:v>
                </c:pt>
                <c:pt idx="29356">
                  <c:v>-0.10168067226890699</c:v>
                </c:pt>
                <c:pt idx="29357">
                  <c:v>-0.10168067226890699</c:v>
                </c:pt>
                <c:pt idx="29358">
                  <c:v>-0.10168067226890699</c:v>
                </c:pt>
                <c:pt idx="29359">
                  <c:v>-0.10168067226890699</c:v>
                </c:pt>
                <c:pt idx="29360">
                  <c:v>-0.10168067226890699</c:v>
                </c:pt>
                <c:pt idx="29361">
                  <c:v>-0.10168067226890699</c:v>
                </c:pt>
                <c:pt idx="29362">
                  <c:v>-0.10168067226890699</c:v>
                </c:pt>
                <c:pt idx="29363">
                  <c:v>-0.10168067226890699</c:v>
                </c:pt>
                <c:pt idx="29364">
                  <c:v>-0.10168067226890699</c:v>
                </c:pt>
                <c:pt idx="29365">
                  <c:v>-0.10168067226890699</c:v>
                </c:pt>
                <c:pt idx="29366">
                  <c:v>-0.10168067226890699</c:v>
                </c:pt>
                <c:pt idx="29367">
                  <c:v>-0.10168067226890699</c:v>
                </c:pt>
                <c:pt idx="29368">
                  <c:v>-0.10168067226890699</c:v>
                </c:pt>
                <c:pt idx="29369">
                  <c:v>-0.10168067226890699</c:v>
                </c:pt>
                <c:pt idx="29370">
                  <c:v>-0.10168067226890699</c:v>
                </c:pt>
                <c:pt idx="29371">
                  <c:v>-0.10168067226890699</c:v>
                </c:pt>
                <c:pt idx="29372">
                  <c:v>-0.10168067226890699</c:v>
                </c:pt>
                <c:pt idx="29373">
                  <c:v>-0.10168067226890699</c:v>
                </c:pt>
                <c:pt idx="29374">
                  <c:v>-0.10168067226890699</c:v>
                </c:pt>
                <c:pt idx="29375">
                  <c:v>-0.10168067226890699</c:v>
                </c:pt>
                <c:pt idx="29376">
                  <c:v>-0.10168067226890699</c:v>
                </c:pt>
                <c:pt idx="29377">
                  <c:v>-0.10168067226890699</c:v>
                </c:pt>
                <c:pt idx="29378">
                  <c:v>-0.10168067226890699</c:v>
                </c:pt>
                <c:pt idx="29379">
                  <c:v>-0.10168067226890699</c:v>
                </c:pt>
                <c:pt idx="29380">
                  <c:v>-0.10168067226890699</c:v>
                </c:pt>
                <c:pt idx="29381">
                  <c:v>-0.10168067226890699</c:v>
                </c:pt>
                <c:pt idx="29382">
                  <c:v>-0.10168067226890699</c:v>
                </c:pt>
                <c:pt idx="29383">
                  <c:v>-0.10168067226890699</c:v>
                </c:pt>
                <c:pt idx="29384">
                  <c:v>-0.10168067226890699</c:v>
                </c:pt>
                <c:pt idx="29385">
                  <c:v>-0.10252100840336099</c:v>
                </c:pt>
                <c:pt idx="29386">
                  <c:v>-0.10252100840336099</c:v>
                </c:pt>
                <c:pt idx="29387">
                  <c:v>-0.10252100840336099</c:v>
                </c:pt>
                <c:pt idx="29388">
                  <c:v>-0.10252100840336099</c:v>
                </c:pt>
                <c:pt idx="29389">
                  <c:v>-0.10252100840336099</c:v>
                </c:pt>
                <c:pt idx="29390">
                  <c:v>-0.10252100840336099</c:v>
                </c:pt>
                <c:pt idx="29391">
                  <c:v>-0.10252100840336099</c:v>
                </c:pt>
                <c:pt idx="29392">
                  <c:v>-0.10252100840336099</c:v>
                </c:pt>
                <c:pt idx="29393">
                  <c:v>-0.10252100840336099</c:v>
                </c:pt>
                <c:pt idx="29394">
                  <c:v>-0.10252100840336099</c:v>
                </c:pt>
                <c:pt idx="29395">
                  <c:v>-0.10252100840336099</c:v>
                </c:pt>
                <c:pt idx="29396">
                  <c:v>-0.10252100840336099</c:v>
                </c:pt>
                <c:pt idx="29397">
                  <c:v>-0.10252100840336099</c:v>
                </c:pt>
                <c:pt idx="29398">
                  <c:v>-0.10252100840336099</c:v>
                </c:pt>
                <c:pt idx="29399">
                  <c:v>-0.10252100840336099</c:v>
                </c:pt>
                <c:pt idx="29400">
                  <c:v>-0.10252100840336099</c:v>
                </c:pt>
                <c:pt idx="29401">
                  <c:v>-0.10252100840336099</c:v>
                </c:pt>
                <c:pt idx="29402">
                  <c:v>-0.10252100840336099</c:v>
                </c:pt>
                <c:pt idx="29403">
                  <c:v>-0.10252100840336099</c:v>
                </c:pt>
                <c:pt idx="29404">
                  <c:v>-0.10252100840336099</c:v>
                </c:pt>
                <c:pt idx="29405">
                  <c:v>-0.10252100840336099</c:v>
                </c:pt>
                <c:pt idx="29406">
                  <c:v>-0.10252100840336099</c:v>
                </c:pt>
                <c:pt idx="29407">
                  <c:v>-0.10252100840336099</c:v>
                </c:pt>
                <c:pt idx="29408">
                  <c:v>-0.10252100840336099</c:v>
                </c:pt>
                <c:pt idx="29409">
                  <c:v>-0.10252100840336099</c:v>
                </c:pt>
                <c:pt idx="29410">
                  <c:v>-0.10252100840336099</c:v>
                </c:pt>
                <c:pt idx="29411">
                  <c:v>-0.10252100840336099</c:v>
                </c:pt>
                <c:pt idx="29412">
                  <c:v>-0.10252100840336099</c:v>
                </c:pt>
                <c:pt idx="29413">
                  <c:v>-0.10252100840336099</c:v>
                </c:pt>
                <c:pt idx="29414">
                  <c:v>-0.10252100840336099</c:v>
                </c:pt>
                <c:pt idx="29415">
                  <c:v>-0.10252100840336099</c:v>
                </c:pt>
                <c:pt idx="29416">
                  <c:v>-0.10252100840336099</c:v>
                </c:pt>
                <c:pt idx="29417">
                  <c:v>-0.10252100840336099</c:v>
                </c:pt>
                <c:pt idx="29418">
                  <c:v>-0.10252100840336099</c:v>
                </c:pt>
                <c:pt idx="29419">
                  <c:v>-0.10252100840336099</c:v>
                </c:pt>
                <c:pt idx="29420">
                  <c:v>-0.10252100840336099</c:v>
                </c:pt>
                <c:pt idx="29421">
                  <c:v>-0.10252100840336099</c:v>
                </c:pt>
                <c:pt idx="29422">
                  <c:v>-0.10252100840336099</c:v>
                </c:pt>
                <c:pt idx="29423">
                  <c:v>-0.10252100840336099</c:v>
                </c:pt>
                <c:pt idx="29424">
                  <c:v>-0.10252100840336099</c:v>
                </c:pt>
                <c:pt idx="29425">
                  <c:v>-0.10252100840336099</c:v>
                </c:pt>
                <c:pt idx="29426">
                  <c:v>-0.10252100840336099</c:v>
                </c:pt>
                <c:pt idx="29427">
                  <c:v>-0.10252100840336099</c:v>
                </c:pt>
                <c:pt idx="29428">
                  <c:v>-0.10252100840336099</c:v>
                </c:pt>
                <c:pt idx="29429">
                  <c:v>-0.10252100840336099</c:v>
                </c:pt>
                <c:pt idx="29430">
                  <c:v>-0.10252100840336099</c:v>
                </c:pt>
                <c:pt idx="29431">
                  <c:v>-0.10252100840336099</c:v>
                </c:pt>
                <c:pt idx="29432">
                  <c:v>-0.10252100840336099</c:v>
                </c:pt>
                <c:pt idx="29433">
                  <c:v>-0.10252100840336099</c:v>
                </c:pt>
                <c:pt idx="29434">
                  <c:v>-0.10168067226890699</c:v>
                </c:pt>
                <c:pt idx="29435">
                  <c:v>-0.10168067226890699</c:v>
                </c:pt>
                <c:pt idx="29436">
                  <c:v>-0.10168067226890699</c:v>
                </c:pt>
                <c:pt idx="29437">
                  <c:v>-0.10168067226890699</c:v>
                </c:pt>
                <c:pt idx="29438">
                  <c:v>-0.10168067226890699</c:v>
                </c:pt>
                <c:pt idx="29439">
                  <c:v>-0.10168067226890699</c:v>
                </c:pt>
                <c:pt idx="29440">
                  <c:v>-0.10168067226890699</c:v>
                </c:pt>
                <c:pt idx="29441">
                  <c:v>-0.10168067226890699</c:v>
                </c:pt>
                <c:pt idx="29442">
                  <c:v>-0.10168067226890699</c:v>
                </c:pt>
                <c:pt idx="29443">
                  <c:v>-0.10168067226890699</c:v>
                </c:pt>
                <c:pt idx="29444">
                  <c:v>-0.10168067226890699</c:v>
                </c:pt>
                <c:pt idx="29445">
                  <c:v>-0.10168067226890699</c:v>
                </c:pt>
                <c:pt idx="29446">
                  <c:v>-0.10168067226890699</c:v>
                </c:pt>
                <c:pt idx="29447">
                  <c:v>-0.10168067226890699</c:v>
                </c:pt>
                <c:pt idx="29448">
                  <c:v>-0.10168067226890699</c:v>
                </c:pt>
                <c:pt idx="29449">
                  <c:v>-0.10168067226890699</c:v>
                </c:pt>
                <c:pt idx="29450">
                  <c:v>-0.10168067226890699</c:v>
                </c:pt>
                <c:pt idx="29451">
                  <c:v>-0.10168067226890699</c:v>
                </c:pt>
                <c:pt idx="29452">
                  <c:v>-0.10168067226890699</c:v>
                </c:pt>
                <c:pt idx="29453">
                  <c:v>-0.10168067226890699</c:v>
                </c:pt>
                <c:pt idx="29454">
                  <c:v>-0.10168067226890699</c:v>
                </c:pt>
                <c:pt idx="29455">
                  <c:v>-0.10168067226890699</c:v>
                </c:pt>
                <c:pt idx="29456">
                  <c:v>-0.10252100840336099</c:v>
                </c:pt>
                <c:pt idx="29457">
                  <c:v>-0.10168067226890699</c:v>
                </c:pt>
                <c:pt idx="29458">
                  <c:v>-0.10168067226890699</c:v>
                </c:pt>
                <c:pt idx="29459">
                  <c:v>-0.10168067226890699</c:v>
                </c:pt>
                <c:pt idx="29460">
                  <c:v>-0.10168067226890699</c:v>
                </c:pt>
                <c:pt idx="29461">
                  <c:v>-0.10168067226890699</c:v>
                </c:pt>
                <c:pt idx="29462">
                  <c:v>-0.10168067226890699</c:v>
                </c:pt>
                <c:pt idx="29463">
                  <c:v>-0.10168067226890699</c:v>
                </c:pt>
                <c:pt idx="29464">
                  <c:v>-0.10168067226890699</c:v>
                </c:pt>
                <c:pt idx="29465">
                  <c:v>-0.10168067226890699</c:v>
                </c:pt>
                <c:pt idx="29466">
                  <c:v>-0.10168067226890699</c:v>
                </c:pt>
                <c:pt idx="29467">
                  <c:v>-0.10168067226890699</c:v>
                </c:pt>
                <c:pt idx="29468">
                  <c:v>-0.10168067226890699</c:v>
                </c:pt>
                <c:pt idx="29469">
                  <c:v>-0.10168067226890699</c:v>
                </c:pt>
                <c:pt idx="29470">
                  <c:v>-0.10168067226890699</c:v>
                </c:pt>
                <c:pt idx="29471">
                  <c:v>-0.10168067226890699</c:v>
                </c:pt>
                <c:pt idx="29472">
                  <c:v>-0.10168067226890699</c:v>
                </c:pt>
                <c:pt idx="29473">
                  <c:v>-0.10168067226890699</c:v>
                </c:pt>
                <c:pt idx="29474">
                  <c:v>-0.10168067226890699</c:v>
                </c:pt>
                <c:pt idx="29475">
                  <c:v>-0.10168067226890699</c:v>
                </c:pt>
                <c:pt idx="29476">
                  <c:v>-0.10168067226890699</c:v>
                </c:pt>
                <c:pt idx="29477">
                  <c:v>-0.10168067226890699</c:v>
                </c:pt>
                <c:pt idx="29478">
                  <c:v>-0.10168067226890699</c:v>
                </c:pt>
                <c:pt idx="29479">
                  <c:v>-0.10168067226890699</c:v>
                </c:pt>
                <c:pt idx="29480">
                  <c:v>-0.10168067226890699</c:v>
                </c:pt>
                <c:pt idx="29481">
                  <c:v>-0.10168067226890699</c:v>
                </c:pt>
                <c:pt idx="29482">
                  <c:v>-0.10168067226890699</c:v>
                </c:pt>
                <c:pt idx="29483">
                  <c:v>-0.10168067226890699</c:v>
                </c:pt>
                <c:pt idx="29484">
                  <c:v>-0.10168067226890699</c:v>
                </c:pt>
                <c:pt idx="29485">
                  <c:v>-0.10168067226890699</c:v>
                </c:pt>
                <c:pt idx="29486">
                  <c:v>-0.10168067226890699</c:v>
                </c:pt>
                <c:pt idx="29487">
                  <c:v>-0.10168067226890699</c:v>
                </c:pt>
                <c:pt idx="29488">
                  <c:v>-0.10084033613445301</c:v>
                </c:pt>
                <c:pt idx="29489">
                  <c:v>-0.10084033613445301</c:v>
                </c:pt>
                <c:pt idx="29490">
                  <c:v>-0.10084033613445301</c:v>
                </c:pt>
                <c:pt idx="29491">
                  <c:v>-0.10084033613445301</c:v>
                </c:pt>
                <c:pt idx="29492">
                  <c:v>-0.10084033613445301</c:v>
                </c:pt>
                <c:pt idx="29493">
                  <c:v>-0.10084033613445301</c:v>
                </c:pt>
                <c:pt idx="29494">
                  <c:v>-0.10084033613445301</c:v>
                </c:pt>
                <c:pt idx="29495">
                  <c:v>-0.10084033613445301</c:v>
                </c:pt>
                <c:pt idx="29496">
                  <c:v>-0.10084033613445301</c:v>
                </c:pt>
                <c:pt idx="29497">
                  <c:v>-0.10084033613445301</c:v>
                </c:pt>
                <c:pt idx="29498">
                  <c:v>-0.10084033613445301</c:v>
                </c:pt>
                <c:pt idx="29499">
                  <c:v>-0.10084033613445301</c:v>
                </c:pt>
                <c:pt idx="29500">
                  <c:v>-0.10084033613445301</c:v>
                </c:pt>
                <c:pt idx="29501">
                  <c:v>-0.10084033613445301</c:v>
                </c:pt>
                <c:pt idx="29502">
                  <c:v>-0.10084033613445301</c:v>
                </c:pt>
                <c:pt idx="29503">
                  <c:v>-0.10084033613445301</c:v>
                </c:pt>
                <c:pt idx="29504">
                  <c:v>-9.9999999999999895E-2</c:v>
                </c:pt>
                <c:pt idx="29505">
                  <c:v>-9.9999999999999895E-2</c:v>
                </c:pt>
                <c:pt idx="29506">
                  <c:v>-9.9999999999999895E-2</c:v>
                </c:pt>
                <c:pt idx="29507">
                  <c:v>-9.9999999999999895E-2</c:v>
                </c:pt>
                <c:pt idx="29508">
                  <c:v>-9.9999999999999895E-2</c:v>
                </c:pt>
                <c:pt idx="29509">
                  <c:v>-9.9999999999999895E-2</c:v>
                </c:pt>
                <c:pt idx="29510">
                  <c:v>-9.9999999999999895E-2</c:v>
                </c:pt>
                <c:pt idx="29511">
                  <c:v>-9.9999999999999895E-2</c:v>
                </c:pt>
                <c:pt idx="29512">
                  <c:v>-9.9999999999999895E-2</c:v>
                </c:pt>
                <c:pt idx="29513">
                  <c:v>-9.9999999999999895E-2</c:v>
                </c:pt>
                <c:pt idx="29514">
                  <c:v>-9.9999999999999895E-2</c:v>
                </c:pt>
                <c:pt idx="29515">
                  <c:v>-9.9999999999999895E-2</c:v>
                </c:pt>
                <c:pt idx="29516">
                  <c:v>-9.9999999999999895E-2</c:v>
                </c:pt>
                <c:pt idx="29517">
                  <c:v>-9.9999999999999895E-2</c:v>
                </c:pt>
                <c:pt idx="29518">
                  <c:v>-9.9999999999999895E-2</c:v>
                </c:pt>
                <c:pt idx="29519">
                  <c:v>-9.9999999999999895E-2</c:v>
                </c:pt>
                <c:pt idx="29520">
                  <c:v>-9.9999999999999895E-2</c:v>
                </c:pt>
                <c:pt idx="29521">
                  <c:v>-9.9999999999999895E-2</c:v>
                </c:pt>
                <c:pt idx="29522">
                  <c:v>-9.9999999999999895E-2</c:v>
                </c:pt>
                <c:pt idx="29523">
                  <c:v>-9.9999999999999895E-2</c:v>
                </c:pt>
                <c:pt idx="29524">
                  <c:v>-9.9999999999999895E-2</c:v>
                </c:pt>
                <c:pt idx="29525">
                  <c:v>-9.9999999999999895E-2</c:v>
                </c:pt>
                <c:pt idx="29526">
                  <c:v>-9.9999999999999895E-2</c:v>
                </c:pt>
                <c:pt idx="29527">
                  <c:v>-9.9999999999999895E-2</c:v>
                </c:pt>
                <c:pt idx="29528">
                  <c:v>-9.9999999999999895E-2</c:v>
                </c:pt>
                <c:pt idx="29529">
                  <c:v>-9.9999999999999895E-2</c:v>
                </c:pt>
                <c:pt idx="29530">
                  <c:v>-9.9999999999999895E-2</c:v>
                </c:pt>
                <c:pt idx="29531">
                  <c:v>-9.9999999999999895E-2</c:v>
                </c:pt>
                <c:pt idx="29532">
                  <c:v>-9.9999999999999895E-2</c:v>
                </c:pt>
                <c:pt idx="29533">
                  <c:v>-9.9999999999999895E-2</c:v>
                </c:pt>
                <c:pt idx="29534">
                  <c:v>-9.9999999999999895E-2</c:v>
                </c:pt>
                <c:pt idx="29535">
                  <c:v>-9.9159663865546199E-2</c:v>
                </c:pt>
                <c:pt idx="29536">
                  <c:v>-9.9159663865546199E-2</c:v>
                </c:pt>
                <c:pt idx="29537">
                  <c:v>-9.9159663865546199E-2</c:v>
                </c:pt>
                <c:pt idx="29538">
                  <c:v>-9.9159663865546199E-2</c:v>
                </c:pt>
                <c:pt idx="29539">
                  <c:v>-9.9159663865546199E-2</c:v>
                </c:pt>
                <c:pt idx="29540">
                  <c:v>-9.9159663865546199E-2</c:v>
                </c:pt>
                <c:pt idx="29541">
                  <c:v>-9.9159663865546199E-2</c:v>
                </c:pt>
                <c:pt idx="29542">
                  <c:v>-9.9159663865546199E-2</c:v>
                </c:pt>
                <c:pt idx="29543">
                  <c:v>-9.9159663865546199E-2</c:v>
                </c:pt>
                <c:pt idx="29544">
                  <c:v>-9.9159663865546199E-2</c:v>
                </c:pt>
                <c:pt idx="29545">
                  <c:v>-9.9159663865546199E-2</c:v>
                </c:pt>
                <c:pt idx="29546">
                  <c:v>-9.9159663865546199E-2</c:v>
                </c:pt>
                <c:pt idx="29547">
                  <c:v>-9.9159663865546199E-2</c:v>
                </c:pt>
                <c:pt idx="29548">
                  <c:v>-9.9159663865546199E-2</c:v>
                </c:pt>
                <c:pt idx="29549">
                  <c:v>-9.9159663865546199E-2</c:v>
                </c:pt>
                <c:pt idx="29550">
                  <c:v>-9.9159663865546199E-2</c:v>
                </c:pt>
                <c:pt idx="29551">
                  <c:v>-9.9159663865546199E-2</c:v>
                </c:pt>
                <c:pt idx="29552">
                  <c:v>-9.9159663865546199E-2</c:v>
                </c:pt>
                <c:pt idx="29553">
                  <c:v>-9.9159663865546199E-2</c:v>
                </c:pt>
                <c:pt idx="29554">
                  <c:v>-9.9159663865546199E-2</c:v>
                </c:pt>
                <c:pt idx="29555">
                  <c:v>-9.9159663865546199E-2</c:v>
                </c:pt>
                <c:pt idx="29556">
                  <c:v>-9.9159663865546199E-2</c:v>
                </c:pt>
                <c:pt idx="29557">
                  <c:v>-9.9159663865546199E-2</c:v>
                </c:pt>
                <c:pt idx="29558">
                  <c:v>-9.9159663865546199E-2</c:v>
                </c:pt>
                <c:pt idx="29559">
                  <c:v>-9.8319327731092407E-2</c:v>
                </c:pt>
                <c:pt idx="29560">
                  <c:v>-9.8319327731092407E-2</c:v>
                </c:pt>
                <c:pt idx="29561">
                  <c:v>-9.8319327731092407E-2</c:v>
                </c:pt>
                <c:pt idx="29562">
                  <c:v>-9.7478991596638601E-2</c:v>
                </c:pt>
                <c:pt idx="29563">
                  <c:v>-9.7478991596638601E-2</c:v>
                </c:pt>
                <c:pt idx="29564">
                  <c:v>-9.7478991596638601E-2</c:v>
                </c:pt>
                <c:pt idx="29565">
                  <c:v>-9.7478991596638601E-2</c:v>
                </c:pt>
                <c:pt idx="29566">
                  <c:v>-9.7478991596638601E-2</c:v>
                </c:pt>
                <c:pt idx="29567">
                  <c:v>-9.7478991596638601E-2</c:v>
                </c:pt>
                <c:pt idx="29568">
                  <c:v>-9.7478991596638601E-2</c:v>
                </c:pt>
                <c:pt idx="29569">
                  <c:v>-9.7478991596638601E-2</c:v>
                </c:pt>
                <c:pt idx="29570">
                  <c:v>-9.7478991596638601E-2</c:v>
                </c:pt>
                <c:pt idx="29571">
                  <c:v>-9.7478991596638601E-2</c:v>
                </c:pt>
                <c:pt idx="29572">
                  <c:v>-9.7478991596638601E-2</c:v>
                </c:pt>
                <c:pt idx="29573">
                  <c:v>-9.7478991596638601E-2</c:v>
                </c:pt>
                <c:pt idx="29574">
                  <c:v>-9.7478991596638601E-2</c:v>
                </c:pt>
                <c:pt idx="29575">
                  <c:v>-9.7478991596638601E-2</c:v>
                </c:pt>
                <c:pt idx="29576">
                  <c:v>-9.7478991596638601E-2</c:v>
                </c:pt>
                <c:pt idx="29577">
                  <c:v>-9.7478991596638601E-2</c:v>
                </c:pt>
                <c:pt idx="29578">
                  <c:v>-9.7478991596638601E-2</c:v>
                </c:pt>
                <c:pt idx="29579">
                  <c:v>-9.7478991596638601E-2</c:v>
                </c:pt>
                <c:pt idx="29580">
                  <c:v>-9.7478991596638601E-2</c:v>
                </c:pt>
                <c:pt idx="29581">
                  <c:v>-9.6638655462184794E-2</c:v>
                </c:pt>
                <c:pt idx="29582">
                  <c:v>-9.6638655462184794E-2</c:v>
                </c:pt>
                <c:pt idx="29583">
                  <c:v>-9.6638655462184794E-2</c:v>
                </c:pt>
                <c:pt idx="29584">
                  <c:v>-9.6638655462184794E-2</c:v>
                </c:pt>
                <c:pt idx="29585">
                  <c:v>-9.6638655462184794E-2</c:v>
                </c:pt>
                <c:pt idx="29586">
                  <c:v>-9.6638655462184794E-2</c:v>
                </c:pt>
                <c:pt idx="29587">
                  <c:v>-9.6638655462184794E-2</c:v>
                </c:pt>
                <c:pt idx="29588">
                  <c:v>-9.6638655462184794E-2</c:v>
                </c:pt>
                <c:pt idx="29589">
                  <c:v>-9.6638655462184794E-2</c:v>
                </c:pt>
                <c:pt idx="29590">
                  <c:v>-9.6638655462184794E-2</c:v>
                </c:pt>
                <c:pt idx="29591">
                  <c:v>-9.6638655462184794E-2</c:v>
                </c:pt>
                <c:pt idx="29592">
                  <c:v>-9.6638655462184794E-2</c:v>
                </c:pt>
                <c:pt idx="29593">
                  <c:v>-9.6638655462184794E-2</c:v>
                </c:pt>
                <c:pt idx="29594">
                  <c:v>-9.6638655462184794E-2</c:v>
                </c:pt>
                <c:pt idx="29595">
                  <c:v>-9.6638655462184794E-2</c:v>
                </c:pt>
                <c:pt idx="29596">
                  <c:v>-9.6638655462184794E-2</c:v>
                </c:pt>
                <c:pt idx="29597">
                  <c:v>-9.6638655462184794E-2</c:v>
                </c:pt>
                <c:pt idx="29598">
                  <c:v>-9.6638655462184794E-2</c:v>
                </c:pt>
                <c:pt idx="29599">
                  <c:v>-9.6638655462184794E-2</c:v>
                </c:pt>
                <c:pt idx="29600">
                  <c:v>-9.6638655462184794E-2</c:v>
                </c:pt>
                <c:pt idx="29601">
                  <c:v>-9.6638655462184794E-2</c:v>
                </c:pt>
                <c:pt idx="29602">
                  <c:v>-9.5798319327731002E-2</c:v>
                </c:pt>
                <c:pt idx="29603">
                  <c:v>-9.5798319327731002E-2</c:v>
                </c:pt>
                <c:pt idx="29604">
                  <c:v>-9.5798319327731002E-2</c:v>
                </c:pt>
                <c:pt idx="29605">
                  <c:v>-9.5798319327731002E-2</c:v>
                </c:pt>
                <c:pt idx="29606">
                  <c:v>-9.5798319327731002E-2</c:v>
                </c:pt>
                <c:pt idx="29607">
                  <c:v>-9.5798319327731002E-2</c:v>
                </c:pt>
                <c:pt idx="29608">
                  <c:v>-9.5798319327731002E-2</c:v>
                </c:pt>
                <c:pt idx="29609">
                  <c:v>-9.5798319327731002E-2</c:v>
                </c:pt>
                <c:pt idx="29610">
                  <c:v>-9.4957983193277307E-2</c:v>
                </c:pt>
                <c:pt idx="29611">
                  <c:v>-9.4957983193277307E-2</c:v>
                </c:pt>
                <c:pt idx="29612">
                  <c:v>-9.4957983193277307E-2</c:v>
                </c:pt>
                <c:pt idx="29613">
                  <c:v>-9.4957983193277307E-2</c:v>
                </c:pt>
                <c:pt idx="29614">
                  <c:v>-9.4957983193277307E-2</c:v>
                </c:pt>
                <c:pt idx="29615">
                  <c:v>-9.5798319327731002E-2</c:v>
                </c:pt>
                <c:pt idx="29616">
                  <c:v>-9.5798319327731002E-2</c:v>
                </c:pt>
                <c:pt idx="29617">
                  <c:v>-9.5798319327731002E-2</c:v>
                </c:pt>
                <c:pt idx="29618">
                  <c:v>-9.5798319327731002E-2</c:v>
                </c:pt>
                <c:pt idx="29619">
                  <c:v>-9.5798319327731002E-2</c:v>
                </c:pt>
                <c:pt idx="29620">
                  <c:v>-9.5798319327731002E-2</c:v>
                </c:pt>
                <c:pt idx="29621">
                  <c:v>-9.5798319327731002E-2</c:v>
                </c:pt>
                <c:pt idx="29622">
                  <c:v>-9.5798319327731002E-2</c:v>
                </c:pt>
                <c:pt idx="29623">
                  <c:v>-9.5798319327731002E-2</c:v>
                </c:pt>
                <c:pt idx="29624">
                  <c:v>-9.5798319327731002E-2</c:v>
                </c:pt>
                <c:pt idx="29625">
                  <c:v>-9.5798319327731002E-2</c:v>
                </c:pt>
                <c:pt idx="29626">
                  <c:v>-9.5798319327731002E-2</c:v>
                </c:pt>
                <c:pt idx="29627">
                  <c:v>-9.5798319327731002E-2</c:v>
                </c:pt>
                <c:pt idx="29628">
                  <c:v>-9.5798319327731002E-2</c:v>
                </c:pt>
                <c:pt idx="29629">
                  <c:v>-9.5798319327731002E-2</c:v>
                </c:pt>
                <c:pt idx="29630">
                  <c:v>-9.5798319327731002E-2</c:v>
                </c:pt>
                <c:pt idx="29631">
                  <c:v>-9.5798319327731002E-2</c:v>
                </c:pt>
                <c:pt idx="29632">
                  <c:v>-9.5798319327731002E-2</c:v>
                </c:pt>
                <c:pt idx="29633">
                  <c:v>-9.5798319327731002E-2</c:v>
                </c:pt>
                <c:pt idx="29634">
                  <c:v>-9.5798319327731002E-2</c:v>
                </c:pt>
                <c:pt idx="29635">
                  <c:v>-9.5798319327731002E-2</c:v>
                </c:pt>
                <c:pt idx="29636">
                  <c:v>-9.5798319327731002E-2</c:v>
                </c:pt>
                <c:pt idx="29637">
                  <c:v>-9.5798319327731002E-2</c:v>
                </c:pt>
                <c:pt idx="29638">
                  <c:v>-9.5798319327731002E-2</c:v>
                </c:pt>
                <c:pt idx="29639">
                  <c:v>-9.5798319327731002E-2</c:v>
                </c:pt>
                <c:pt idx="29640">
                  <c:v>-9.5798319327731002E-2</c:v>
                </c:pt>
                <c:pt idx="29641">
                  <c:v>-9.5798319327731002E-2</c:v>
                </c:pt>
                <c:pt idx="29642">
                  <c:v>-9.5798319327731002E-2</c:v>
                </c:pt>
                <c:pt idx="29643">
                  <c:v>-9.5798319327731002E-2</c:v>
                </c:pt>
                <c:pt idx="29644">
                  <c:v>-9.5798319327731002E-2</c:v>
                </c:pt>
                <c:pt idx="29645">
                  <c:v>-9.5798319327731002E-2</c:v>
                </c:pt>
                <c:pt idx="29646">
                  <c:v>-9.5798319327731002E-2</c:v>
                </c:pt>
                <c:pt idx="29647">
                  <c:v>-9.6638655462184794E-2</c:v>
                </c:pt>
                <c:pt idx="29648">
                  <c:v>-9.6638655462184794E-2</c:v>
                </c:pt>
                <c:pt idx="29649">
                  <c:v>-9.6638655462184794E-2</c:v>
                </c:pt>
                <c:pt idx="29650">
                  <c:v>-9.6638655462184794E-2</c:v>
                </c:pt>
                <c:pt idx="29651">
                  <c:v>-9.6638655462184794E-2</c:v>
                </c:pt>
                <c:pt idx="29652">
                  <c:v>-9.6638655462184794E-2</c:v>
                </c:pt>
                <c:pt idx="29653">
                  <c:v>-9.6638655462184794E-2</c:v>
                </c:pt>
                <c:pt idx="29654">
                  <c:v>-9.6638655462184794E-2</c:v>
                </c:pt>
                <c:pt idx="29655">
                  <c:v>-9.7478991596638601E-2</c:v>
                </c:pt>
                <c:pt idx="29656">
                  <c:v>-9.8319327731092407E-2</c:v>
                </c:pt>
                <c:pt idx="29657">
                  <c:v>-9.8319327731092407E-2</c:v>
                </c:pt>
                <c:pt idx="29658">
                  <c:v>-9.8319327731092407E-2</c:v>
                </c:pt>
                <c:pt idx="29659">
                  <c:v>-9.8319327731092407E-2</c:v>
                </c:pt>
                <c:pt idx="29660">
                  <c:v>-9.8319327731092407E-2</c:v>
                </c:pt>
                <c:pt idx="29661">
                  <c:v>-9.8319327731092407E-2</c:v>
                </c:pt>
                <c:pt idx="29662">
                  <c:v>-9.8319327731092407E-2</c:v>
                </c:pt>
                <c:pt idx="29663">
                  <c:v>-9.8319327731092407E-2</c:v>
                </c:pt>
                <c:pt idx="29664">
                  <c:v>-9.8319327731092407E-2</c:v>
                </c:pt>
                <c:pt idx="29665">
                  <c:v>-9.8319327731092407E-2</c:v>
                </c:pt>
                <c:pt idx="29666">
                  <c:v>-9.8319327731092407E-2</c:v>
                </c:pt>
                <c:pt idx="29667">
                  <c:v>-9.8319327731092407E-2</c:v>
                </c:pt>
                <c:pt idx="29668">
                  <c:v>-9.8319327731092407E-2</c:v>
                </c:pt>
                <c:pt idx="29669">
                  <c:v>-9.8319327731092407E-2</c:v>
                </c:pt>
                <c:pt idx="29670">
                  <c:v>-9.8319327731092407E-2</c:v>
                </c:pt>
                <c:pt idx="29671">
                  <c:v>-9.8319327731092407E-2</c:v>
                </c:pt>
                <c:pt idx="29672">
                  <c:v>-9.8319327731092407E-2</c:v>
                </c:pt>
                <c:pt idx="29673">
                  <c:v>-9.8319327731092407E-2</c:v>
                </c:pt>
                <c:pt idx="29674">
                  <c:v>-9.8319327731092407E-2</c:v>
                </c:pt>
                <c:pt idx="29675">
                  <c:v>-9.8319327731092407E-2</c:v>
                </c:pt>
                <c:pt idx="29676">
                  <c:v>-9.8319327731092407E-2</c:v>
                </c:pt>
                <c:pt idx="29677">
                  <c:v>-9.8319327731092407E-2</c:v>
                </c:pt>
                <c:pt idx="29678">
                  <c:v>-9.8319327731092407E-2</c:v>
                </c:pt>
                <c:pt idx="29679">
                  <c:v>-9.8319327731092407E-2</c:v>
                </c:pt>
                <c:pt idx="29680">
                  <c:v>-9.8319327731092407E-2</c:v>
                </c:pt>
                <c:pt idx="29681">
                  <c:v>-9.9159663865546296E-2</c:v>
                </c:pt>
                <c:pt idx="29682">
                  <c:v>-9.9159663865546296E-2</c:v>
                </c:pt>
                <c:pt idx="29683">
                  <c:v>-9.9159663865546296E-2</c:v>
                </c:pt>
                <c:pt idx="29684">
                  <c:v>-9.9159663865546296E-2</c:v>
                </c:pt>
                <c:pt idx="29685">
                  <c:v>-9.9159663865546296E-2</c:v>
                </c:pt>
                <c:pt idx="29686">
                  <c:v>-9.9159663865546296E-2</c:v>
                </c:pt>
                <c:pt idx="29687">
                  <c:v>-9.9159663865546296E-2</c:v>
                </c:pt>
                <c:pt idx="29688">
                  <c:v>-9.9159663865546296E-2</c:v>
                </c:pt>
                <c:pt idx="29689">
                  <c:v>-9.9159663865546296E-2</c:v>
                </c:pt>
                <c:pt idx="29690">
                  <c:v>-9.9159663865546296E-2</c:v>
                </c:pt>
                <c:pt idx="29691">
                  <c:v>-9.9159663865546296E-2</c:v>
                </c:pt>
                <c:pt idx="29692">
                  <c:v>-9.9159663865546296E-2</c:v>
                </c:pt>
                <c:pt idx="29693">
                  <c:v>-9.9159663865546296E-2</c:v>
                </c:pt>
                <c:pt idx="29694">
                  <c:v>-9.9159663865546296E-2</c:v>
                </c:pt>
                <c:pt idx="29695">
                  <c:v>-9.9159663865546296E-2</c:v>
                </c:pt>
                <c:pt idx="29696">
                  <c:v>-9.9159663865546296E-2</c:v>
                </c:pt>
                <c:pt idx="29697">
                  <c:v>-9.9159663865546296E-2</c:v>
                </c:pt>
                <c:pt idx="29698">
                  <c:v>-9.9159663865546296E-2</c:v>
                </c:pt>
                <c:pt idx="29699">
                  <c:v>-9.9159663865546296E-2</c:v>
                </c:pt>
                <c:pt idx="29700">
                  <c:v>-9.9159663865546296E-2</c:v>
                </c:pt>
                <c:pt idx="29701">
                  <c:v>-9.9159663865546296E-2</c:v>
                </c:pt>
                <c:pt idx="29702">
                  <c:v>-9.9159663865546296E-2</c:v>
                </c:pt>
                <c:pt idx="29703">
                  <c:v>-9.9159663865546296E-2</c:v>
                </c:pt>
                <c:pt idx="29704">
                  <c:v>-9.9159663865546296E-2</c:v>
                </c:pt>
                <c:pt idx="29705">
                  <c:v>-9.9159663865546296E-2</c:v>
                </c:pt>
                <c:pt idx="29706">
                  <c:v>-9.9159663865546296E-2</c:v>
                </c:pt>
                <c:pt idx="29707">
                  <c:v>-9.9159663865546296E-2</c:v>
                </c:pt>
                <c:pt idx="29708">
                  <c:v>-9.9159663865546296E-2</c:v>
                </c:pt>
                <c:pt idx="29709">
                  <c:v>-9.9159663865546296E-2</c:v>
                </c:pt>
                <c:pt idx="29710">
                  <c:v>-9.9159663865546296E-2</c:v>
                </c:pt>
                <c:pt idx="29711">
                  <c:v>-9.9159663865546296E-2</c:v>
                </c:pt>
                <c:pt idx="29712">
                  <c:v>-9.9159663865546296E-2</c:v>
                </c:pt>
                <c:pt idx="29713">
                  <c:v>-9.9159663865546296E-2</c:v>
                </c:pt>
                <c:pt idx="29714">
                  <c:v>-9.9159663865546296E-2</c:v>
                </c:pt>
                <c:pt idx="29715">
                  <c:v>-9.9159663865546296E-2</c:v>
                </c:pt>
                <c:pt idx="29716">
                  <c:v>-9.9159663865546296E-2</c:v>
                </c:pt>
                <c:pt idx="29717">
                  <c:v>-9.9159663865546296E-2</c:v>
                </c:pt>
                <c:pt idx="29718">
                  <c:v>-9.9159663865546296E-2</c:v>
                </c:pt>
                <c:pt idx="29719">
                  <c:v>-9.9159663865546296E-2</c:v>
                </c:pt>
                <c:pt idx="29720">
                  <c:v>-9.9159663865546296E-2</c:v>
                </c:pt>
                <c:pt idx="29721">
                  <c:v>-9.9159663865546296E-2</c:v>
                </c:pt>
                <c:pt idx="29722">
                  <c:v>-9.9159663865546296E-2</c:v>
                </c:pt>
                <c:pt idx="29723">
                  <c:v>-9.9159663865546296E-2</c:v>
                </c:pt>
                <c:pt idx="29724">
                  <c:v>-9.9159663865546296E-2</c:v>
                </c:pt>
                <c:pt idx="29725">
                  <c:v>-9.9159663865546296E-2</c:v>
                </c:pt>
                <c:pt idx="29726">
                  <c:v>-9.9159663865546296E-2</c:v>
                </c:pt>
                <c:pt idx="29727">
                  <c:v>-9.9159663865546296E-2</c:v>
                </c:pt>
                <c:pt idx="29728">
                  <c:v>-9.9159663865546296E-2</c:v>
                </c:pt>
                <c:pt idx="29729">
                  <c:v>-9.9159663865546296E-2</c:v>
                </c:pt>
                <c:pt idx="29730">
                  <c:v>-9.9159663865546296E-2</c:v>
                </c:pt>
                <c:pt idx="29731">
                  <c:v>-9.9159663865546296E-2</c:v>
                </c:pt>
                <c:pt idx="29732">
                  <c:v>-9.9159663865546296E-2</c:v>
                </c:pt>
                <c:pt idx="29733">
                  <c:v>-9.9159663865546296E-2</c:v>
                </c:pt>
                <c:pt idx="29734">
                  <c:v>-9.9159663865546296E-2</c:v>
                </c:pt>
                <c:pt idx="29735">
                  <c:v>-9.9159663865546296E-2</c:v>
                </c:pt>
                <c:pt idx="29736">
                  <c:v>-9.9159663865546296E-2</c:v>
                </c:pt>
                <c:pt idx="29737">
                  <c:v>-9.9159663865546296E-2</c:v>
                </c:pt>
                <c:pt idx="29738">
                  <c:v>-9.9159663865546296E-2</c:v>
                </c:pt>
                <c:pt idx="29739">
                  <c:v>-9.9159663865546296E-2</c:v>
                </c:pt>
                <c:pt idx="29740">
                  <c:v>-9.9159663865546296E-2</c:v>
                </c:pt>
                <c:pt idx="29741">
                  <c:v>-9.9159663865546296E-2</c:v>
                </c:pt>
                <c:pt idx="29742">
                  <c:v>-9.9159663865546296E-2</c:v>
                </c:pt>
                <c:pt idx="29743">
                  <c:v>-9.9159663865546296E-2</c:v>
                </c:pt>
                <c:pt idx="29744">
                  <c:v>-9.9159663865546296E-2</c:v>
                </c:pt>
                <c:pt idx="29745">
                  <c:v>-9.9159663865546296E-2</c:v>
                </c:pt>
                <c:pt idx="29746">
                  <c:v>-9.9159663865546296E-2</c:v>
                </c:pt>
                <c:pt idx="29747">
                  <c:v>-9.9159663865546296E-2</c:v>
                </c:pt>
                <c:pt idx="29748">
                  <c:v>-0.1</c:v>
                </c:pt>
                <c:pt idx="29749">
                  <c:v>-0.1</c:v>
                </c:pt>
                <c:pt idx="29750">
                  <c:v>-0.1</c:v>
                </c:pt>
                <c:pt idx="29751">
                  <c:v>-0.1</c:v>
                </c:pt>
                <c:pt idx="29752">
                  <c:v>-0.1</c:v>
                </c:pt>
                <c:pt idx="29753">
                  <c:v>-0.1</c:v>
                </c:pt>
                <c:pt idx="29754">
                  <c:v>-0.1</c:v>
                </c:pt>
                <c:pt idx="29755">
                  <c:v>-0.1</c:v>
                </c:pt>
                <c:pt idx="29756">
                  <c:v>-0.1</c:v>
                </c:pt>
                <c:pt idx="29757">
                  <c:v>-0.1</c:v>
                </c:pt>
                <c:pt idx="29758">
                  <c:v>-0.1</c:v>
                </c:pt>
                <c:pt idx="29759">
                  <c:v>-0.1</c:v>
                </c:pt>
                <c:pt idx="29760">
                  <c:v>-0.1</c:v>
                </c:pt>
                <c:pt idx="29761">
                  <c:v>-0.1</c:v>
                </c:pt>
                <c:pt idx="29762">
                  <c:v>-0.1</c:v>
                </c:pt>
                <c:pt idx="29763">
                  <c:v>-0.1</c:v>
                </c:pt>
                <c:pt idx="29764">
                  <c:v>-0.1</c:v>
                </c:pt>
                <c:pt idx="29765">
                  <c:v>-0.1</c:v>
                </c:pt>
                <c:pt idx="29766">
                  <c:v>-0.1</c:v>
                </c:pt>
                <c:pt idx="29767">
                  <c:v>-0.10084033613445301</c:v>
                </c:pt>
                <c:pt idx="29768">
                  <c:v>-0.10084033613445301</c:v>
                </c:pt>
                <c:pt idx="29769">
                  <c:v>-0.10084033613445301</c:v>
                </c:pt>
                <c:pt idx="29770">
                  <c:v>-0.10084033613445301</c:v>
                </c:pt>
                <c:pt idx="29771">
                  <c:v>-0.10084033613445301</c:v>
                </c:pt>
                <c:pt idx="29772">
                  <c:v>-0.10168067226890699</c:v>
                </c:pt>
                <c:pt idx="29773">
                  <c:v>-0.10168067226890699</c:v>
                </c:pt>
                <c:pt idx="29774">
                  <c:v>-0.10168067226890699</c:v>
                </c:pt>
                <c:pt idx="29775">
                  <c:v>-0.10168067226890699</c:v>
                </c:pt>
                <c:pt idx="29776">
                  <c:v>-0.10168067226890699</c:v>
                </c:pt>
                <c:pt idx="29777">
                  <c:v>-0.10168067226890699</c:v>
                </c:pt>
                <c:pt idx="29778">
                  <c:v>-0.10168067226890699</c:v>
                </c:pt>
                <c:pt idx="29779">
                  <c:v>-0.10168067226890699</c:v>
                </c:pt>
                <c:pt idx="29780">
                  <c:v>-0.10168067226890699</c:v>
                </c:pt>
                <c:pt idx="29781">
                  <c:v>-0.10168067226890699</c:v>
                </c:pt>
                <c:pt idx="29782">
                  <c:v>-0.10168067226890699</c:v>
                </c:pt>
                <c:pt idx="29783">
                  <c:v>-0.10168067226890699</c:v>
                </c:pt>
                <c:pt idx="29784">
                  <c:v>-0.10168067226890699</c:v>
                </c:pt>
                <c:pt idx="29785">
                  <c:v>-0.10168067226890699</c:v>
                </c:pt>
                <c:pt idx="29786">
                  <c:v>-0.10168067226890699</c:v>
                </c:pt>
                <c:pt idx="29787">
                  <c:v>-0.10168067226890699</c:v>
                </c:pt>
                <c:pt idx="29788">
                  <c:v>-0.10168067226890699</c:v>
                </c:pt>
                <c:pt idx="29789">
                  <c:v>-0.10168067226890699</c:v>
                </c:pt>
                <c:pt idx="29790">
                  <c:v>-0.10168067226890699</c:v>
                </c:pt>
                <c:pt idx="29791">
                  <c:v>-0.10168067226890699</c:v>
                </c:pt>
                <c:pt idx="29792">
                  <c:v>-0.10168067226890699</c:v>
                </c:pt>
                <c:pt idx="29793">
                  <c:v>-0.10168067226890699</c:v>
                </c:pt>
                <c:pt idx="29794">
                  <c:v>-0.10168067226890699</c:v>
                </c:pt>
                <c:pt idx="29795">
                  <c:v>-0.10168067226890699</c:v>
                </c:pt>
                <c:pt idx="29796">
                  <c:v>-0.10168067226890699</c:v>
                </c:pt>
                <c:pt idx="29797">
                  <c:v>-0.10168067226890699</c:v>
                </c:pt>
                <c:pt idx="29798">
                  <c:v>-0.10168067226890699</c:v>
                </c:pt>
                <c:pt idx="29799">
                  <c:v>-0.10168067226890699</c:v>
                </c:pt>
                <c:pt idx="29800">
                  <c:v>-0.10168067226890699</c:v>
                </c:pt>
                <c:pt idx="29801">
                  <c:v>-0.10168067226890699</c:v>
                </c:pt>
                <c:pt idx="29802">
                  <c:v>-0.10168067226890699</c:v>
                </c:pt>
                <c:pt idx="29803">
                  <c:v>-0.10168067226890699</c:v>
                </c:pt>
                <c:pt idx="29804">
                  <c:v>-0.10168067226890699</c:v>
                </c:pt>
                <c:pt idx="29805">
                  <c:v>-0.10168067226890699</c:v>
                </c:pt>
                <c:pt idx="29806">
                  <c:v>-0.10168067226890699</c:v>
                </c:pt>
                <c:pt idx="29807">
                  <c:v>-0.10168067226890699</c:v>
                </c:pt>
                <c:pt idx="29808">
                  <c:v>-0.10168067226890699</c:v>
                </c:pt>
                <c:pt idx="29809">
                  <c:v>-0.10168067226890699</c:v>
                </c:pt>
                <c:pt idx="29810">
                  <c:v>-0.10252100840336099</c:v>
                </c:pt>
                <c:pt idx="29811">
                  <c:v>-0.10252100840336099</c:v>
                </c:pt>
                <c:pt idx="29812">
                  <c:v>-0.10252100840336099</c:v>
                </c:pt>
                <c:pt idx="29813">
                  <c:v>-0.10252100840336099</c:v>
                </c:pt>
                <c:pt idx="29814">
                  <c:v>-0.10252100840336099</c:v>
                </c:pt>
                <c:pt idx="29815">
                  <c:v>-0.10252100840336099</c:v>
                </c:pt>
                <c:pt idx="29816">
                  <c:v>-0.10252100840336099</c:v>
                </c:pt>
                <c:pt idx="29817">
                  <c:v>-0.10252100840336099</c:v>
                </c:pt>
                <c:pt idx="29818">
                  <c:v>-0.10252100840336099</c:v>
                </c:pt>
                <c:pt idx="29819">
                  <c:v>-0.10252100840336099</c:v>
                </c:pt>
                <c:pt idx="29820">
                  <c:v>-0.10252100840336099</c:v>
                </c:pt>
                <c:pt idx="29821">
                  <c:v>-0.10252100840336099</c:v>
                </c:pt>
                <c:pt idx="29822">
                  <c:v>-0.10252100840336099</c:v>
                </c:pt>
                <c:pt idx="29823">
                  <c:v>-0.10252100840336099</c:v>
                </c:pt>
                <c:pt idx="29824">
                  <c:v>-0.10252100840336099</c:v>
                </c:pt>
                <c:pt idx="29825">
                  <c:v>-0.10252100840336099</c:v>
                </c:pt>
                <c:pt idx="29826">
                  <c:v>-0.10252100840336099</c:v>
                </c:pt>
                <c:pt idx="29827">
                  <c:v>-0.10252100840336099</c:v>
                </c:pt>
                <c:pt idx="29828">
                  <c:v>-0.10252100840336099</c:v>
                </c:pt>
                <c:pt idx="29829">
                  <c:v>-0.10252100840336099</c:v>
                </c:pt>
                <c:pt idx="29830">
                  <c:v>-0.10252100840336099</c:v>
                </c:pt>
                <c:pt idx="29831">
                  <c:v>-0.10252100840336099</c:v>
                </c:pt>
                <c:pt idx="29832">
                  <c:v>-0.10336134453781499</c:v>
                </c:pt>
                <c:pt idx="29833">
                  <c:v>-0.10336134453781499</c:v>
                </c:pt>
                <c:pt idx="29834">
                  <c:v>-0.10336134453781499</c:v>
                </c:pt>
                <c:pt idx="29835">
                  <c:v>-0.10336134453781499</c:v>
                </c:pt>
                <c:pt idx="29836">
                  <c:v>-0.10336134453781499</c:v>
                </c:pt>
                <c:pt idx="29837">
                  <c:v>-0.10336134453781499</c:v>
                </c:pt>
                <c:pt idx="29838">
                  <c:v>-0.10336134453781499</c:v>
                </c:pt>
                <c:pt idx="29839">
                  <c:v>-0.10336134453781499</c:v>
                </c:pt>
                <c:pt idx="29840">
                  <c:v>-0.10336134453781499</c:v>
                </c:pt>
                <c:pt idx="29841">
                  <c:v>-0.10336134453781499</c:v>
                </c:pt>
                <c:pt idx="29842">
                  <c:v>-0.10336134453781499</c:v>
                </c:pt>
                <c:pt idx="29843">
                  <c:v>-0.10336134453781499</c:v>
                </c:pt>
                <c:pt idx="29844">
                  <c:v>-0.10336134453781499</c:v>
                </c:pt>
                <c:pt idx="29845">
                  <c:v>-0.10336134453781499</c:v>
                </c:pt>
                <c:pt idx="29846">
                  <c:v>-0.10336134453781499</c:v>
                </c:pt>
                <c:pt idx="29847">
                  <c:v>-0.10336134453781499</c:v>
                </c:pt>
                <c:pt idx="29848">
                  <c:v>-0.10336134453781499</c:v>
                </c:pt>
                <c:pt idx="29849">
                  <c:v>-0.10336134453781499</c:v>
                </c:pt>
                <c:pt idx="29850">
                  <c:v>-0.10336134453781499</c:v>
                </c:pt>
                <c:pt idx="29851">
                  <c:v>-0.10336134453781499</c:v>
                </c:pt>
                <c:pt idx="29852">
                  <c:v>-0.10336134453781499</c:v>
                </c:pt>
                <c:pt idx="29853">
                  <c:v>-0.10336134453781499</c:v>
                </c:pt>
                <c:pt idx="29854">
                  <c:v>-0.10336134453781499</c:v>
                </c:pt>
                <c:pt idx="29855">
                  <c:v>-0.10336134453781499</c:v>
                </c:pt>
                <c:pt idx="29856">
                  <c:v>-0.10336134453781499</c:v>
                </c:pt>
                <c:pt idx="29857">
                  <c:v>-0.10252100840336099</c:v>
                </c:pt>
                <c:pt idx="29858">
                  <c:v>-0.10252100840336099</c:v>
                </c:pt>
                <c:pt idx="29859">
                  <c:v>-0.10252100840336099</c:v>
                </c:pt>
                <c:pt idx="29860">
                  <c:v>-0.10252100840336099</c:v>
                </c:pt>
                <c:pt idx="29861">
                  <c:v>-0.10252100840336099</c:v>
                </c:pt>
                <c:pt idx="29862">
                  <c:v>-0.10252100840336099</c:v>
                </c:pt>
                <c:pt idx="29863">
                  <c:v>-0.10252100840336099</c:v>
                </c:pt>
                <c:pt idx="29864">
                  <c:v>-0.10252100840336099</c:v>
                </c:pt>
                <c:pt idx="29865">
                  <c:v>-0.10252100840336099</c:v>
                </c:pt>
                <c:pt idx="29866">
                  <c:v>-0.10252100840336099</c:v>
                </c:pt>
                <c:pt idx="29867">
                  <c:v>-0.10252100840336099</c:v>
                </c:pt>
                <c:pt idx="29868">
                  <c:v>-0.10252100840336099</c:v>
                </c:pt>
                <c:pt idx="29869">
                  <c:v>-0.10252100840336099</c:v>
                </c:pt>
                <c:pt idx="29870">
                  <c:v>-0.10252100840336099</c:v>
                </c:pt>
                <c:pt idx="29871">
                  <c:v>-0.10252100840336099</c:v>
                </c:pt>
                <c:pt idx="29872">
                  <c:v>-0.10252100840336099</c:v>
                </c:pt>
                <c:pt idx="29873">
                  <c:v>-0.10252100840336099</c:v>
                </c:pt>
                <c:pt idx="29874">
                  <c:v>-0.10252100840336099</c:v>
                </c:pt>
                <c:pt idx="29875">
                  <c:v>-0.10252100840336099</c:v>
                </c:pt>
                <c:pt idx="29876">
                  <c:v>-0.10252100840336099</c:v>
                </c:pt>
                <c:pt idx="29877">
                  <c:v>-0.10252100840336099</c:v>
                </c:pt>
                <c:pt idx="29878">
                  <c:v>-0.10252100840336099</c:v>
                </c:pt>
                <c:pt idx="29879">
                  <c:v>-0.10252100840336099</c:v>
                </c:pt>
                <c:pt idx="29880">
                  <c:v>-0.10252100840336099</c:v>
                </c:pt>
                <c:pt idx="29881">
                  <c:v>-0.10252100840336099</c:v>
                </c:pt>
                <c:pt idx="29882">
                  <c:v>-0.10252100840336099</c:v>
                </c:pt>
                <c:pt idx="29883">
                  <c:v>-0.10252100840336099</c:v>
                </c:pt>
                <c:pt idx="29884">
                  <c:v>-0.10252100840336099</c:v>
                </c:pt>
                <c:pt idx="29885">
                  <c:v>-0.10252100840336099</c:v>
                </c:pt>
                <c:pt idx="29886">
                  <c:v>-0.10252100840336099</c:v>
                </c:pt>
                <c:pt idx="29887">
                  <c:v>-0.10252100840336099</c:v>
                </c:pt>
                <c:pt idx="29888">
                  <c:v>-0.10252100840336099</c:v>
                </c:pt>
                <c:pt idx="29889">
                  <c:v>-0.10252100840336099</c:v>
                </c:pt>
                <c:pt idx="29890">
                  <c:v>-0.10252100840336099</c:v>
                </c:pt>
                <c:pt idx="29891">
                  <c:v>-0.10252100840336099</c:v>
                </c:pt>
                <c:pt idx="29892">
                  <c:v>-0.10252100840336099</c:v>
                </c:pt>
                <c:pt idx="29893">
                  <c:v>-0.10252100840336099</c:v>
                </c:pt>
                <c:pt idx="29894">
                  <c:v>-0.10252100840336099</c:v>
                </c:pt>
                <c:pt idx="29895">
                  <c:v>-0.10252100840336099</c:v>
                </c:pt>
                <c:pt idx="29896">
                  <c:v>-0.10252100840336099</c:v>
                </c:pt>
                <c:pt idx="29897">
                  <c:v>-0.10168067226890699</c:v>
                </c:pt>
                <c:pt idx="29898">
                  <c:v>-0.10168067226890699</c:v>
                </c:pt>
                <c:pt idx="29899">
                  <c:v>-0.10168067226890699</c:v>
                </c:pt>
                <c:pt idx="29900">
                  <c:v>-0.10168067226890699</c:v>
                </c:pt>
                <c:pt idx="29901">
                  <c:v>-0.10168067226890699</c:v>
                </c:pt>
                <c:pt idx="29902">
                  <c:v>-0.10168067226890699</c:v>
                </c:pt>
                <c:pt idx="29903">
                  <c:v>-0.10168067226890699</c:v>
                </c:pt>
                <c:pt idx="29904">
                  <c:v>-0.10084033613445301</c:v>
                </c:pt>
                <c:pt idx="29905">
                  <c:v>-0.10084033613445301</c:v>
                </c:pt>
                <c:pt idx="29906">
                  <c:v>-0.10084033613445301</c:v>
                </c:pt>
                <c:pt idx="29907">
                  <c:v>-0.10084033613445301</c:v>
                </c:pt>
                <c:pt idx="29908">
                  <c:v>-0.10084033613445301</c:v>
                </c:pt>
                <c:pt idx="29909">
                  <c:v>-0.10084033613445301</c:v>
                </c:pt>
                <c:pt idx="29910">
                  <c:v>-0.10084033613445301</c:v>
                </c:pt>
                <c:pt idx="29911">
                  <c:v>-0.10084033613445301</c:v>
                </c:pt>
                <c:pt idx="29912">
                  <c:v>-0.10084033613445301</c:v>
                </c:pt>
                <c:pt idx="29913">
                  <c:v>-0.10084033613445301</c:v>
                </c:pt>
                <c:pt idx="29914">
                  <c:v>-0.10084033613445301</c:v>
                </c:pt>
                <c:pt idx="29915">
                  <c:v>-0.10084033613445301</c:v>
                </c:pt>
                <c:pt idx="29916">
                  <c:v>-0.10084033613445301</c:v>
                </c:pt>
                <c:pt idx="29917">
                  <c:v>-0.10084033613445301</c:v>
                </c:pt>
                <c:pt idx="29918">
                  <c:v>-0.10084033613445301</c:v>
                </c:pt>
                <c:pt idx="29919">
                  <c:v>-0.10084033613445301</c:v>
                </c:pt>
                <c:pt idx="29920">
                  <c:v>-0.10084033613445301</c:v>
                </c:pt>
                <c:pt idx="29921">
                  <c:v>-0.10084033613445301</c:v>
                </c:pt>
                <c:pt idx="29922">
                  <c:v>-0.10084033613445301</c:v>
                </c:pt>
                <c:pt idx="29923">
                  <c:v>-0.10084033613445301</c:v>
                </c:pt>
                <c:pt idx="29924">
                  <c:v>-0.10084033613445301</c:v>
                </c:pt>
                <c:pt idx="29925">
                  <c:v>-0.10084033613445301</c:v>
                </c:pt>
                <c:pt idx="29926">
                  <c:v>-0.10084033613445301</c:v>
                </c:pt>
                <c:pt idx="29927">
                  <c:v>-0.10084033613445301</c:v>
                </c:pt>
                <c:pt idx="29928">
                  <c:v>-0.10084033613445301</c:v>
                </c:pt>
                <c:pt idx="29929">
                  <c:v>-0.10084033613445301</c:v>
                </c:pt>
                <c:pt idx="29930">
                  <c:v>-0.1</c:v>
                </c:pt>
                <c:pt idx="29931">
                  <c:v>-0.1</c:v>
                </c:pt>
                <c:pt idx="29932">
                  <c:v>-0.1</c:v>
                </c:pt>
                <c:pt idx="29933">
                  <c:v>-0.1</c:v>
                </c:pt>
                <c:pt idx="29934">
                  <c:v>-0.1</c:v>
                </c:pt>
                <c:pt idx="29935">
                  <c:v>-0.1</c:v>
                </c:pt>
                <c:pt idx="29936">
                  <c:v>-0.1</c:v>
                </c:pt>
                <c:pt idx="29937">
                  <c:v>-0.1</c:v>
                </c:pt>
                <c:pt idx="29938">
                  <c:v>-0.1</c:v>
                </c:pt>
                <c:pt idx="29939">
                  <c:v>-0.1</c:v>
                </c:pt>
                <c:pt idx="29940">
                  <c:v>-0.1</c:v>
                </c:pt>
                <c:pt idx="29941">
                  <c:v>-0.1</c:v>
                </c:pt>
                <c:pt idx="29942">
                  <c:v>-0.1</c:v>
                </c:pt>
                <c:pt idx="29943">
                  <c:v>-0.1</c:v>
                </c:pt>
                <c:pt idx="29944">
                  <c:v>-0.1</c:v>
                </c:pt>
                <c:pt idx="29945">
                  <c:v>-0.1</c:v>
                </c:pt>
                <c:pt idx="29946">
                  <c:v>-0.1</c:v>
                </c:pt>
                <c:pt idx="29947">
                  <c:v>-0.1</c:v>
                </c:pt>
                <c:pt idx="29948">
                  <c:v>-0.1</c:v>
                </c:pt>
                <c:pt idx="29949">
                  <c:v>-0.1</c:v>
                </c:pt>
                <c:pt idx="29950">
                  <c:v>-0.1</c:v>
                </c:pt>
                <c:pt idx="29951">
                  <c:v>-0.1</c:v>
                </c:pt>
                <c:pt idx="29952">
                  <c:v>-0.1</c:v>
                </c:pt>
                <c:pt idx="29953">
                  <c:v>-0.1</c:v>
                </c:pt>
                <c:pt idx="29954">
                  <c:v>-0.1</c:v>
                </c:pt>
                <c:pt idx="29955">
                  <c:v>-0.1</c:v>
                </c:pt>
                <c:pt idx="29956">
                  <c:v>-0.1</c:v>
                </c:pt>
                <c:pt idx="29957">
                  <c:v>-0.10084033613445301</c:v>
                </c:pt>
                <c:pt idx="29958">
                  <c:v>-0.10084033613445301</c:v>
                </c:pt>
                <c:pt idx="29959">
                  <c:v>-0.10084033613445301</c:v>
                </c:pt>
                <c:pt idx="29960">
                  <c:v>-0.10084033613445301</c:v>
                </c:pt>
                <c:pt idx="29961">
                  <c:v>-0.10084033613445301</c:v>
                </c:pt>
                <c:pt idx="29962">
                  <c:v>-0.10084033613445301</c:v>
                </c:pt>
                <c:pt idx="29963">
                  <c:v>-0.10084033613445301</c:v>
                </c:pt>
                <c:pt idx="29964">
                  <c:v>-0.10084033613445301</c:v>
                </c:pt>
                <c:pt idx="29965">
                  <c:v>-0.10084033613445301</c:v>
                </c:pt>
                <c:pt idx="29966">
                  <c:v>-0.10084033613445301</c:v>
                </c:pt>
                <c:pt idx="29967">
                  <c:v>-0.10084033613445301</c:v>
                </c:pt>
                <c:pt idx="29968">
                  <c:v>-0.10084033613445301</c:v>
                </c:pt>
                <c:pt idx="29969">
                  <c:v>-0.10084033613445301</c:v>
                </c:pt>
                <c:pt idx="29970">
                  <c:v>-0.10084033613445301</c:v>
                </c:pt>
                <c:pt idx="29971">
                  <c:v>-0.10084033613445301</c:v>
                </c:pt>
                <c:pt idx="29972">
                  <c:v>-0.10084033613445301</c:v>
                </c:pt>
                <c:pt idx="29973">
                  <c:v>-0.10084033613445301</c:v>
                </c:pt>
                <c:pt idx="29974">
                  <c:v>-0.10084033613445301</c:v>
                </c:pt>
                <c:pt idx="29975">
                  <c:v>-0.10084033613445301</c:v>
                </c:pt>
                <c:pt idx="29976">
                  <c:v>-0.10084033613445301</c:v>
                </c:pt>
                <c:pt idx="29977">
                  <c:v>-0.10084033613445301</c:v>
                </c:pt>
                <c:pt idx="29978">
                  <c:v>-0.10084033613445301</c:v>
                </c:pt>
                <c:pt idx="29979">
                  <c:v>-0.10084033613445301</c:v>
                </c:pt>
                <c:pt idx="29980">
                  <c:v>-0.10084033613445301</c:v>
                </c:pt>
                <c:pt idx="29981">
                  <c:v>-0.10084033613445301</c:v>
                </c:pt>
                <c:pt idx="29982">
                  <c:v>-0.10084033613445301</c:v>
                </c:pt>
                <c:pt idx="29983">
                  <c:v>-0.10084033613445301</c:v>
                </c:pt>
                <c:pt idx="29984">
                  <c:v>-0.10084033613445301</c:v>
                </c:pt>
                <c:pt idx="29985">
                  <c:v>-0.10084033613445301</c:v>
                </c:pt>
                <c:pt idx="29986">
                  <c:v>-0.1</c:v>
                </c:pt>
                <c:pt idx="29987">
                  <c:v>-0.1</c:v>
                </c:pt>
                <c:pt idx="29988">
                  <c:v>-0.1</c:v>
                </c:pt>
                <c:pt idx="29989">
                  <c:v>-0.1</c:v>
                </c:pt>
                <c:pt idx="29990">
                  <c:v>-0.1</c:v>
                </c:pt>
                <c:pt idx="29991">
                  <c:v>-0.10084033613445301</c:v>
                </c:pt>
                <c:pt idx="29992">
                  <c:v>-0.10168067226890699</c:v>
                </c:pt>
                <c:pt idx="29993">
                  <c:v>-0.10168067226890699</c:v>
                </c:pt>
                <c:pt idx="29994">
                  <c:v>-0.10168067226890699</c:v>
                </c:pt>
                <c:pt idx="29995">
                  <c:v>-0.10168067226890699</c:v>
                </c:pt>
                <c:pt idx="29996">
                  <c:v>-0.10168067226890699</c:v>
                </c:pt>
                <c:pt idx="29997">
                  <c:v>-0.10168067226890699</c:v>
                </c:pt>
                <c:pt idx="29998">
                  <c:v>-0.10168067226890699</c:v>
                </c:pt>
                <c:pt idx="29999">
                  <c:v>-0.10168067226890699</c:v>
                </c:pt>
                <c:pt idx="30000">
                  <c:v>-0.10168067226890699</c:v>
                </c:pt>
                <c:pt idx="30001">
                  <c:v>-0.10252100840336099</c:v>
                </c:pt>
                <c:pt idx="30002">
                  <c:v>-0.10252100840336099</c:v>
                </c:pt>
                <c:pt idx="30003">
                  <c:v>-0.10252100840336099</c:v>
                </c:pt>
                <c:pt idx="30004">
                  <c:v>-0.10252100840336099</c:v>
                </c:pt>
                <c:pt idx="30005">
                  <c:v>-0.10252100840336099</c:v>
                </c:pt>
                <c:pt idx="30006">
                  <c:v>-0.10252100840336099</c:v>
                </c:pt>
                <c:pt idx="30007">
                  <c:v>-0.10252100840336099</c:v>
                </c:pt>
                <c:pt idx="30008">
                  <c:v>-0.10252100840336099</c:v>
                </c:pt>
                <c:pt idx="30009">
                  <c:v>-0.10252100840336099</c:v>
                </c:pt>
                <c:pt idx="30010">
                  <c:v>-0.10252100840336099</c:v>
                </c:pt>
                <c:pt idx="30011">
                  <c:v>-0.10252100840336099</c:v>
                </c:pt>
                <c:pt idx="30012">
                  <c:v>-0.10252100840336099</c:v>
                </c:pt>
                <c:pt idx="30013">
                  <c:v>-0.10252100840336099</c:v>
                </c:pt>
                <c:pt idx="30014">
                  <c:v>-0.10252100840336099</c:v>
                </c:pt>
                <c:pt idx="30015">
                  <c:v>-0.10252100840336099</c:v>
                </c:pt>
                <c:pt idx="30016">
                  <c:v>-0.10168067226890699</c:v>
                </c:pt>
                <c:pt idx="30017">
                  <c:v>-0.10168067226890699</c:v>
                </c:pt>
                <c:pt idx="30018">
                  <c:v>-0.10168067226890699</c:v>
                </c:pt>
                <c:pt idx="30019">
                  <c:v>-0.10168067226890699</c:v>
                </c:pt>
                <c:pt idx="30020">
                  <c:v>-0.10168067226890699</c:v>
                </c:pt>
                <c:pt idx="30021">
                  <c:v>-0.10168067226890699</c:v>
                </c:pt>
                <c:pt idx="30022">
                  <c:v>-0.10168067226890699</c:v>
                </c:pt>
                <c:pt idx="30023">
                  <c:v>-0.10168067226890699</c:v>
                </c:pt>
                <c:pt idx="30024">
                  <c:v>-0.10252100840336099</c:v>
                </c:pt>
                <c:pt idx="30025">
                  <c:v>-0.10252100840336099</c:v>
                </c:pt>
                <c:pt idx="30026">
                  <c:v>-0.10252100840336099</c:v>
                </c:pt>
                <c:pt idx="30027">
                  <c:v>-0.10252100840336099</c:v>
                </c:pt>
                <c:pt idx="30028">
                  <c:v>-0.10252100840336099</c:v>
                </c:pt>
                <c:pt idx="30029">
                  <c:v>-0.10252100840336099</c:v>
                </c:pt>
                <c:pt idx="30030">
                  <c:v>-0.10252100840336099</c:v>
                </c:pt>
                <c:pt idx="30031">
                  <c:v>-0.10252100840336099</c:v>
                </c:pt>
                <c:pt idx="30032">
                  <c:v>-0.10252100840336099</c:v>
                </c:pt>
                <c:pt idx="30033">
                  <c:v>-0.10252100840336099</c:v>
                </c:pt>
                <c:pt idx="30034">
                  <c:v>-0.10252100840336099</c:v>
                </c:pt>
                <c:pt idx="30035">
                  <c:v>-0.10252100840336099</c:v>
                </c:pt>
                <c:pt idx="30036">
                  <c:v>-0.10252100840336099</c:v>
                </c:pt>
                <c:pt idx="30037">
                  <c:v>-0.10252100840336099</c:v>
                </c:pt>
                <c:pt idx="30038">
                  <c:v>-0.10252100840336099</c:v>
                </c:pt>
                <c:pt idx="30039">
                  <c:v>-0.10252100840336099</c:v>
                </c:pt>
                <c:pt idx="30040">
                  <c:v>-0.10252100840336099</c:v>
                </c:pt>
                <c:pt idx="30041">
                  <c:v>-0.10252100840336099</c:v>
                </c:pt>
                <c:pt idx="30042">
                  <c:v>-0.10252100840336099</c:v>
                </c:pt>
                <c:pt idx="30043">
                  <c:v>-0.10252100840336099</c:v>
                </c:pt>
                <c:pt idx="30044">
                  <c:v>-0.10252100840336099</c:v>
                </c:pt>
                <c:pt idx="30045">
                  <c:v>-0.10252100840336099</c:v>
                </c:pt>
                <c:pt idx="30046">
                  <c:v>-0.10252100840336099</c:v>
                </c:pt>
                <c:pt idx="30047">
                  <c:v>-0.10252100840336099</c:v>
                </c:pt>
                <c:pt idx="30048">
                  <c:v>-0.10252100840336099</c:v>
                </c:pt>
                <c:pt idx="30049">
                  <c:v>-0.10252100840336099</c:v>
                </c:pt>
                <c:pt idx="30050">
                  <c:v>-0.10252100840336099</c:v>
                </c:pt>
                <c:pt idx="30051">
                  <c:v>-0.10252100840336099</c:v>
                </c:pt>
                <c:pt idx="30052">
                  <c:v>-0.10252100840336099</c:v>
                </c:pt>
                <c:pt idx="30053">
                  <c:v>-0.10252100840336099</c:v>
                </c:pt>
                <c:pt idx="30054">
                  <c:v>-0.10252100840336099</c:v>
                </c:pt>
                <c:pt idx="30055">
                  <c:v>-0.10252100840336099</c:v>
                </c:pt>
                <c:pt idx="30056">
                  <c:v>-0.10252100840336099</c:v>
                </c:pt>
                <c:pt idx="30057">
                  <c:v>-0.10252100840336099</c:v>
                </c:pt>
                <c:pt idx="30058">
                  <c:v>-0.10252100840336099</c:v>
                </c:pt>
                <c:pt idx="30059">
                  <c:v>-0.10252100840336099</c:v>
                </c:pt>
                <c:pt idx="30060">
                  <c:v>-0.10252100840336099</c:v>
                </c:pt>
                <c:pt idx="30061">
                  <c:v>-0.10252100840336099</c:v>
                </c:pt>
                <c:pt idx="30062">
                  <c:v>-0.10252100840336099</c:v>
                </c:pt>
                <c:pt idx="30063">
                  <c:v>-0.10252100840336099</c:v>
                </c:pt>
                <c:pt idx="30064">
                  <c:v>-0.10252100840336099</c:v>
                </c:pt>
                <c:pt idx="30065">
                  <c:v>-0.10252100840336099</c:v>
                </c:pt>
                <c:pt idx="30066">
                  <c:v>-0.10252100840336099</c:v>
                </c:pt>
                <c:pt idx="30067">
                  <c:v>-0.10252100840336099</c:v>
                </c:pt>
                <c:pt idx="30068">
                  <c:v>-0.10252100840336099</c:v>
                </c:pt>
                <c:pt idx="30069">
                  <c:v>-0.10252100840336099</c:v>
                </c:pt>
                <c:pt idx="30070">
                  <c:v>-0.10252100840336099</c:v>
                </c:pt>
                <c:pt idx="30071">
                  <c:v>-0.10252100840336099</c:v>
                </c:pt>
                <c:pt idx="30072">
                  <c:v>-0.10252100840336099</c:v>
                </c:pt>
                <c:pt idx="30073">
                  <c:v>-0.10252100840336099</c:v>
                </c:pt>
                <c:pt idx="30074">
                  <c:v>-0.10252100840336099</c:v>
                </c:pt>
                <c:pt idx="30075">
                  <c:v>-0.10252100840336099</c:v>
                </c:pt>
                <c:pt idx="30076">
                  <c:v>-0.10252100840336099</c:v>
                </c:pt>
                <c:pt idx="30077">
                  <c:v>-0.10252100840336099</c:v>
                </c:pt>
                <c:pt idx="30078">
                  <c:v>-0.10252100840336099</c:v>
                </c:pt>
                <c:pt idx="30079">
                  <c:v>-0.10252100840336099</c:v>
                </c:pt>
                <c:pt idx="30080">
                  <c:v>-0.10252100840336099</c:v>
                </c:pt>
                <c:pt idx="30081">
                  <c:v>-0.10252100840336099</c:v>
                </c:pt>
                <c:pt idx="30082">
                  <c:v>-0.10252100840336099</c:v>
                </c:pt>
                <c:pt idx="30083">
                  <c:v>-0.10252100840336099</c:v>
                </c:pt>
                <c:pt idx="30084">
                  <c:v>-0.10252100840336099</c:v>
                </c:pt>
                <c:pt idx="30085">
                  <c:v>-0.10252100840336099</c:v>
                </c:pt>
                <c:pt idx="30086">
                  <c:v>-0.10252100840336099</c:v>
                </c:pt>
                <c:pt idx="30087">
                  <c:v>-0.10252100840336099</c:v>
                </c:pt>
                <c:pt idx="30088">
                  <c:v>-0.10252100840336099</c:v>
                </c:pt>
                <c:pt idx="30089">
                  <c:v>-0.10252100840336099</c:v>
                </c:pt>
                <c:pt idx="30090">
                  <c:v>-0.10252100840336099</c:v>
                </c:pt>
                <c:pt idx="30091">
                  <c:v>-0.10252100840336099</c:v>
                </c:pt>
                <c:pt idx="30092">
                  <c:v>-0.10252100840336099</c:v>
                </c:pt>
                <c:pt idx="30093">
                  <c:v>-0.10252100840336099</c:v>
                </c:pt>
                <c:pt idx="30094">
                  <c:v>-0.10252100840336099</c:v>
                </c:pt>
                <c:pt idx="30095">
                  <c:v>-0.10252100840336099</c:v>
                </c:pt>
                <c:pt idx="30096">
                  <c:v>-0.10252100840336099</c:v>
                </c:pt>
                <c:pt idx="30097">
                  <c:v>-0.10252100840336099</c:v>
                </c:pt>
                <c:pt idx="30098">
                  <c:v>-0.10252100840336099</c:v>
                </c:pt>
                <c:pt idx="30099">
                  <c:v>-0.10252100840336099</c:v>
                </c:pt>
                <c:pt idx="30100">
                  <c:v>-0.10252100840336099</c:v>
                </c:pt>
                <c:pt idx="30101">
                  <c:v>-0.10252100840336099</c:v>
                </c:pt>
                <c:pt idx="30102">
                  <c:v>-0.10252100840336099</c:v>
                </c:pt>
                <c:pt idx="30103">
                  <c:v>-0.10252100840336099</c:v>
                </c:pt>
                <c:pt idx="30104">
                  <c:v>-0.10252100840336099</c:v>
                </c:pt>
                <c:pt idx="30105">
                  <c:v>-0.10252100840336099</c:v>
                </c:pt>
                <c:pt idx="30106">
                  <c:v>-0.10252100840336099</c:v>
                </c:pt>
                <c:pt idx="30107">
                  <c:v>-0.10336134453781499</c:v>
                </c:pt>
                <c:pt idx="30108">
                  <c:v>-0.10336134453781499</c:v>
                </c:pt>
                <c:pt idx="30109">
                  <c:v>-0.10336134453781499</c:v>
                </c:pt>
                <c:pt idx="30110">
                  <c:v>-0.10336134453781499</c:v>
                </c:pt>
                <c:pt idx="30111">
                  <c:v>-0.10336134453781499</c:v>
                </c:pt>
                <c:pt idx="30112">
                  <c:v>-0.10336134453781499</c:v>
                </c:pt>
                <c:pt idx="30113">
                  <c:v>-0.10336134453781499</c:v>
                </c:pt>
                <c:pt idx="30114">
                  <c:v>-0.10336134453781499</c:v>
                </c:pt>
                <c:pt idx="30115">
                  <c:v>-0.10336134453781499</c:v>
                </c:pt>
                <c:pt idx="30116">
                  <c:v>-0.10336134453781499</c:v>
                </c:pt>
                <c:pt idx="30117">
                  <c:v>-0.10336134453781499</c:v>
                </c:pt>
                <c:pt idx="30118">
                  <c:v>-0.10336134453781499</c:v>
                </c:pt>
                <c:pt idx="30119">
                  <c:v>-0.10336134453781499</c:v>
                </c:pt>
                <c:pt idx="30120">
                  <c:v>-0.10336134453781499</c:v>
                </c:pt>
                <c:pt idx="30121">
                  <c:v>-0.10336134453781499</c:v>
                </c:pt>
                <c:pt idx="30122">
                  <c:v>-0.10336134453781499</c:v>
                </c:pt>
                <c:pt idx="30123">
                  <c:v>-0.10336134453781499</c:v>
                </c:pt>
                <c:pt idx="30124">
                  <c:v>-0.10336134453781499</c:v>
                </c:pt>
                <c:pt idx="30125">
                  <c:v>-0.10336134453781499</c:v>
                </c:pt>
                <c:pt idx="30126">
                  <c:v>-0.10336134453781499</c:v>
                </c:pt>
                <c:pt idx="30127">
                  <c:v>-0.10336134453781499</c:v>
                </c:pt>
                <c:pt idx="30128">
                  <c:v>-0.10336134453781499</c:v>
                </c:pt>
                <c:pt idx="30129">
                  <c:v>-0.10336134453781499</c:v>
                </c:pt>
                <c:pt idx="30130">
                  <c:v>-0.10336134453781499</c:v>
                </c:pt>
                <c:pt idx="30131">
                  <c:v>-0.10336134453781499</c:v>
                </c:pt>
                <c:pt idx="30132">
                  <c:v>-0.10336134453781499</c:v>
                </c:pt>
                <c:pt idx="30133">
                  <c:v>-0.10336134453781499</c:v>
                </c:pt>
                <c:pt idx="30134">
                  <c:v>-0.10336134453781499</c:v>
                </c:pt>
                <c:pt idx="30135">
                  <c:v>-0.10336134453781499</c:v>
                </c:pt>
                <c:pt idx="30136">
                  <c:v>-0.10336134453781499</c:v>
                </c:pt>
                <c:pt idx="30137">
                  <c:v>-0.10336134453781499</c:v>
                </c:pt>
                <c:pt idx="30138">
                  <c:v>-0.10252100840336099</c:v>
                </c:pt>
                <c:pt idx="30139">
                  <c:v>-0.10252100840336099</c:v>
                </c:pt>
                <c:pt idx="30140">
                  <c:v>-0.10252100840336099</c:v>
                </c:pt>
                <c:pt idx="30141">
                  <c:v>-0.10252100840336099</c:v>
                </c:pt>
                <c:pt idx="30142">
                  <c:v>-0.10252100840336099</c:v>
                </c:pt>
                <c:pt idx="30143">
                  <c:v>-0.10252100840336099</c:v>
                </c:pt>
                <c:pt idx="30144">
                  <c:v>-0.10252100840336099</c:v>
                </c:pt>
                <c:pt idx="30145">
                  <c:v>-0.10252100840336099</c:v>
                </c:pt>
                <c:pt idx="30146">
                  <c:v>-0.10252100840336099</c:v>
                </c:pt>
                <c:pt idx="30147">
                  <c:v>-0.10252100840336099</c:v>
                </c:pt>
                <c:pt idx="30148">
                  <c:v>-0.10252100840336099</c:v>
                </c:pt>
                <c:pt idx="30149">
                  <c:v>-0.10252100840336099</c:v>
                </c:pt>
                <c:pt idx="30150">
                  <c:v>-0.10252100840336099</c:v>
                </c:pt>
                <c:pt idx="30151">
                  <c:v>-0.10252100840336099</c:v>
                </c:pt>
                <c:pt idx="30152">
                  <c:v>-0.10252100840336099</c:v>
                </c:pt>
                <c:pt idx="30153">
                  <c:v>-0.10252100840336099</c:v>
                </c:pt>
                <c:pt idx="30154">
                  <c:v>-0.10252100840336099</c:v>
                </c:pt>
                <c:pt idx="30155">
                  <c:v>-0.10252100840336099</c:v>
                </c:pt>
                <c:pt idx="30156">
                  <c:v>-0.10252100840336099</c:v>
                </c:pt>
                <c:pt idx="30157">
                  <c:v>-0.10252100840336099</c:v>
                </c:pt>
                <c:pt idx="30158">
                  <c:v>-0.10252100840336099</c:v>
                </c:pt>
                <c:pt idx="30159">
                  <c:v>-0.10252100840336099</c:v>
                </c:pt>
                <c:pt idx="30160">
                  <c:v>-0.10252100840336099</c:v>
                </c:pt>
                <c:pt idx="30161">
                  <c:v>-0.10252100840336099</c:v>
                </c:pt>
                <c:pt idx="30162">
                  <c:v>-0.10252100840336099</c:v>
                </c:pt>
                <c:pt idx="30163">
                  <c:v>-0.10252100840336099</c:v>
                </c:pt>
                <c:pt idx="30164">
                  <c:v>-0.10252100840336099</c:v>
                </c:pt>
                <c:pt idx="30165">
                  <c:v>-0.10252100840336099</c:v>
                </c:pt>
                <c:pt idx="30166">
                  <c:v>-0.10252100840336099</c:v>
                </c:pt>
                <c:pt idx="30167">
                  <c:v>-0.10252100840336099</c:v>
                </c:pt>
                <c:pt idx="30168">
                  <c:v>-0.10252100840336099</c:v>
                </c:pt>
                <c:pt idx="30169">
                  <c:v>-0.10252100840336099</c:v>
                </c:pt>
                <c:pt idx="30170">
                  <c:v>-0.10252100840336099</c:v>
                </c:pt>
                <c:pt idx="30171">
                  <c:v>-0.10252100840336099</c:v>
                </c:pt>
                <c:pt idx="30172">
                  <c:v>-0.10252100840336099</c:v>
                </c:pt>
                <c:pt idx="30173">
                  <c:v>-0.10252100840336099</c:v>
                </c:pt>
                <c:pt idx="30174">
                  <c:v>-0.10252100840336099</c:v>
                </c:pt>
                <c:pt idx="30175">
                  <c:v>-0.10252100840336099</c:v>
                </c:pt>
                <c:pt idx="30176">
                  <c:v>-0.10252100840336099</c:v>
                </c:pt>
                <c:pt idx="30177">
                  <c:v>-0.10252100840336099</c:v>
                </c:pt>
                <c:pt idx="30178">
                  <c:v>-0.10252100840336099</c:v>
                </c:pt>
                <c:pt idx="30179">
                  <c:v>-0.10252100840336099</c:v>
                </c:pt>
                <c:pt idx="30180">
                  <c:v>-0.10252100840336099</c:v>
                </c:pt>
                <c:pt idx="30181">
                  <c:v>-0.10252100840336099</c:v>
                </c:pt>
                <c:pt idx="30182">
                  <c:v>-0.10252100840336099</c:v>
                </c:pt>
                <c:pt idx="30183">
                  <c:v>-0.10252100840336099</c:v>
                </c:pt>
                <c:pt idx="30184">
                  <c:v>-0.10252100840336099</c:v>
                </c:pt>
                <c:pt idx="30185">
                  <c:v>-0.10252100840336099</c:v>
                </c:pt>
                <c:pt idx="30186">
                  <c:v>-0.10252100840336099</c:v>
                </c:pt>
                <c:pt idx="30187">
                  <c:v>-0.10252100840336099</c:v>
                </c:pt>
                <c:pt idx="30188">
                  <c:v>-0.10252100840336099</c:v>
                </c:pt>
                <c:pt idx="30189">
                  <c:v>-0.10252100840336099</c:v>
                </c:pt>
                <c:pt idx="30190">
                  <c:v>-0.10252100840336099</c:v>
                </c:pt>
                <c:pt idx="30191">
                  <c:v>-0.10252100840336099</c:v>
                </c:pt>
                <c:pt idx="30192">
                  <c:v>-0.10252100840336099</c:v>
                </c:pt>
                <c:pt idx="30193">
                  <c:v>-0.10252100840336099</c:v>
                </c:pt>
                <c:pt idx="30194">
                  <c:v>-0.10252100840336099</c:v>
                </c:pt>
                <c:pt idx="30195">
                  <c:v>-0.10252100840336099</c:v>
                </c:pt>
                <c:pt idx="30196">
                  <c:v>-0.10252100840336099</c:v>
                </c:pt>
                <c:pt idx="30197">
                  <c:v>-0.10252100840336099</c:v>
                </c:pt>
                <c:pt idx="30198">
                  <c:v>-0.10252100840336099</c:v>
                </c:pt>
                <c:pt idx="30199">
                  <c:v>-0.10252100840336099</c:v>
                </c:pt>
                <c:pt idx="30200">
                  <c:v>-0.10252100840336099</c:v>
                </c:pt>
                <c:pt idx="30201">
                  <c:v>-0.10252100840336099</c:v>
                </c:pt>
                <c:pt idx="30202">
                  <c:v>-0.10252100840336099</c:v>
                </c:pt>
                <c:pt idx="30203">
                  <c:v>-0.10252100840336099</c:v>
                </c:pt>
                <c:pt idx="30204">
                  <c:v>-0.10336134453781499</c:v>
                </c:pt>
                <c:pt idx="30205">
                  <c:v>-0.10336134453781499</c:v>
                </c:pt>
                <c:pt idx="30206">
                  <c:v>-0.10336134453781499</c:v>
                </c:pt>
                <c:pt idx="30207">
                  <c:v>-0.10336134453781499</c:v>
                </c:pt>
                <c:pt idx="30208">
                  <c:v>-0.10336134453781499</c:v>
                </c:pt>
                <c:pt idx="30209">
                  <c:v>-0.10336134453781499</c:v>
                </c:pt>
                <c:pt idx="30210">
                  <c:v>-0.10336134453781499</c:v>
                </c:pt>
                <c:pt idx="30211">
                  <c:v>-0.10336134453781499</c:v>
                </c:pt>
                <c:pt idx="30212">
                  <c:v>-0.10336134453781499</c:v>
                </c:pt>
                <c:pt idx="30213">
                  <c:v>-0.10336134453781499</c:v>
                </c:pt>
                <c:pt idx="30214">
                  <c:v>-0.10336134453781499</c:v>
                </c:pt>
                <c:pt idx="30215">
                  <c:v>-0.10336134453781499</c:v>
                </c:pt>
                <c:pt idx="30216">
                  <c:v>-0.10336134453781499</c:v>
                </c:pt>
                <c:pt idx="30217">
                  <c:v>-0.10336134453781499</c:v>
                </c:pt>
                <c:pt idx="30218">
                  <c:v>-0.10336134453781499</c:v>
                </c:pt>
                <c:pt idx="30219">
                  <c:v>-0.10336134453781499</c:v>
                </c:pt>
                <c:pt idx="30220">
                  <c:v>-0.10336134453781499</c:v>
                </c:pt>
                <c:pt idx="30221">
                  <c:v>-0.10336134453781499</c:v>
                </c:pt>
                <c:pt idx="30222">
                  <c:v>-0.10336134453781499</c:v>
                </c:pt>
                <c:pt idx="30223">
                  <c:v>-0.10336134453781499</c:v>
                </c:pt>
                <c:pt idx="30224">
                  <c:v>-0.10336134453781499</c:v>
                </c:pt>
                <c:pt idx="30225">
                  <c:v>-0.10336134453781499</c:v>
                </c:pt>
                <c:pt idx="30226">
                  <c:v>-0.10336134453781499</c:v>
                </c:pt>
                <c:pt idx="30227">
                  <c:v>-0.10336134453781499</c:v>
                </c:pt>
                <c:pt idx="30228">
                  <c:v>-0.10336134453781499</c:v>
                </c:pt>
                <c:pt idx="30229">
                  <c:v>-0.10336134453781499</c:v>
                </c:pt>
                <c:pt idx="30230">
                  <c:v>-0.10336134453781499</c:v>
                </c:pt>
                <c:pt idx="30231">
                  <c:v>-0.10336134453781499</c:v>
                </c:pt>
                <c:pt idx="30232">
                  <c:v>-0.10336134453781499</c:v>
                </c:pt>
                <c:pt idx="30233">
                  <c:v>-0.10336134453781499</c:v>
                </c:pt>
                <c:pt idx="30234">
                  <c:v>-0.10336134453781499</c:v>
                </c:pt>
                <c:pt idx="30235">
                  <c:v>-0.10336134453781499</c:v>
                </c:pt>
                <c:pt idx="30236">
                  <c:v>-0.10336134453781499</c:v>
                </c:pt>
                <c:pt idx="30237">
                  <c:v>-0.10336134453781499</c:v>
                </c:pt>
                <c:pt idx="30238">
                  <c:v>-0.10336134453781499</c:v>
                </c:pt>
                <c:pt idx="30239">
                  <c:v>-0.10336134453781499</c:v>
                </c:pt>
                <c:pt idx="30240">
                  <c:v>-0.10336134453781499</c:v>
                </c:pt>
                <c:pt idx="30241">
                  <c:v>-0.10336134453781499</c:v>
                </c:pt>
                <c:pt idx="30242">
                  <c:v>-0.10336134453781499</c:v>
                </c:pt>
                <c:pt idx="30243">
                  <c:v>-0.10336134453781499</c:v>
                </c:pt>
                <c:pt idx="30244">
                  <c:v>-0.10336134453781499</c:v>
                </c:pt>
                <c:pt idx="30245">
                  <c:v>-0.10336134453781499</c:v>
                </c:pt>
                <c:pt idx="30246">
                  <c:v>-0.10336134453781499</c:v>
                </c:pt>
                <c:pt idx="30247">
                  <c:v>-0.10336134453781499</c:v>
                </c:pt>
                <c:pt idx="30248">
                  <c:v>-0.10336134453781499</c:v>
                </c:pt>
                <c:pt idx="30249">
                  <c:v>-0.10336134453781499</c:v>
                </c:pt>
                <c:pt idx="30250">
                  <c:v>-0.10336134453781499</c:v>
                </c:pt>
                <c:pt idx="30251">
                  <c:v>-0.10336134453781499</c:v>
                </c:pt>
                <c:pt idx="30252">
                  <c:v>-0.10336134453781499</c:v>
                </c:pt>
                <c:pt idx="30253">
                  <c:v>-0.10336134453781499</c:v>
                </c:pt>
                <c:pt idx="30254">
                  <c:v>-0.10336134453781499</c:v>
                </c:pt>
                <c:pt idx="30255">
                  <c:v>-0.10336134453781499</c:v>
                </c:pt>
                <c:pt idx="30256">
                  <c:v>-0.10336134453781499</c:v>
                </c:pt>
                <c:pt idx="30257">
                  <c:v>-0.10336134453781499</c:v>
                </c:pt>
                <c:pt idx="30258">
                  <c:v>-0.10336134453781499</c:v>
                </c:pt>
                <c:pt idx="30259">
                  <c:v>-0.10336134453781499</c:v>
                </c:pt>
                <c:pt idx="30260">
                  <c:v>-0.10336134453781499</c:v>
                </c:pt>
                <c:pt idx="30261">
                  <c:v>-0.10336134453781499</c:v>
                </c:pt>
                <c:pt idx="30262">
                  <c:v>-0.10336134453781499</c:v>
                </c:pt>
                <c:pt idx="30263">
                  <c:v>-0.10336134453781499</c:v>
                </c:pt>
                <c:pt idx="30264">
                  <c:v>-0.10336134453781499</c:v>
                </c:pt>
                <c:pt idx="30265">
                  <c:v>-0.10336134453781499</c:v>
                </c:pt>
                <c:pt idx="30266">
                  <c:v>-0.10336134453781499</c:v>
                </c:pt>
                <c:pt idx="30267">
                  <c:v>-0.10336134453781499</c:v>
                </c:pt>
                <c:pt idx="30268">
                  <c:v>-0.10336134453781499</c:v>
                </c:pt>
                <c:pt idx="30269">
                  <c:v>-0.10336134453781499</c:v>
                </c:pt>
                <c:pt idx="30270">
                  <c:v>-0.10336134453781499</c:v>
                </c:pt>
                <c:pt idx="30271">
                  <c:v>-0.10336134453781499</c:v>
                </c:pt>
                <c:pt idx="30272">
                  <c:v>-0.10336134453781499</c:v>
                </c:pt>
                <c:pt idx="30273">
                  <c:v>-0.10336134453781499</c:v>
                </c:pt>
                <c:pt idx="30274">
                  <c:v>-0.10336134453781499</c:v>
                </c:pt>
                <c:pt idx="30275">
                  <c:v>-0.10336134453781499</c:v>
                </c:pt>
                <c:pt idx="30276">
                  <c:v>-0.10336134453781499</c:v>
                </c:pt>
                <c:pt idx="30277">
                  <c:v>-0.10336134453781499</c:v>
                </c:pt>
                <c:pt idx="30278">
                  <c:v>-0.10336134453781499</c:v>
                </c:pt>
                <c:pt idx="30279">
                  <c:v>-0.10336134453781499</c:v>
                </c:pt>
                <c:pt idx="30280">
                  <c:v>-0.10336134453781499</c:v>
                </c:pt>
                <c:pt idx="30281">
                  <c:v>-0.10336134453781499</c:v>
                </c:pt>
                <c:pt idx="30282">
                  <c:v>-0.10336134453781499</c:v>
                </c:pt>
                <c:pt idx="30283">
                  <c:v>-0.10336134453781499</c:v>
                </c:pt>
                <c:pt idx="30284">
                  <c:v>-0.10336134453781499</c:v>
                </c:pt>
                <c:pt idx="30285">
                  <c:v>-0.10336134453781499</c:v>
                </c:pt>
                <c:pt idx="30286">
                  <c:v>-0.10336134453781499</c:v>
                </c:pt>
                <c:pt idx="30287">
                  <c:v>-0.10336134453781499</c:v>
                </c:pt>
                <c:pt idx="30288">
                  <c:v>-0.10336134453781499</c:v>
                </c:pt>
                <c:pt idx="30289">
                  <c:v>-0.10336134453781499</c:v>
                </c:pt>
                <c:pt idx="30290">
                  <c:v>-0.10336134453781499</c:v>
                </c:pt>
                <c:pt idx="30291">
                  <c:v>-0.10336134453781499</c:v>
                </c:pt>
                <c:pt idx="30292">
                  <c:v>-0.10336134453781499</c:v>
                </c:pt>
                <c:pt idx="30293">
                  <c:v>-0.10336134453781499</c:v>
                </c:pt>
                <c:pt idx="30294">
                  <c:v>-0.10336134453781499</c:v>
                </c:pt>
                <c:pt idx="30295">
                  <c:v>-0.10336134453781499</c:v>
                </c:pt>
                <c:pt idx="30296">
                  <c:v>-0.10336134453781499</c:v>
                </c:pt>
                <c:pt idx="30297">
                  <c:v>-0.10336134453781499</c:v>
                </c:pt>
                <c:pt idx="30298">
                  <c:v>-0.10336134453781499</c:v>
                </c:pt>
                <c:pt idx="30299">
                  <c:v>-0.10336134453781499</c:v>
                </c:pt>
                <c:pt idx="30300">
                  <c:v>-0.10336134453781499</c:v>
                </c:pt>
                <c:pt idx="30301">
                  <c:v>-0.10336134453781499</c:v>
                </c:pt>
                <c:pt idx="30302">
                  <c:v>-0.10336134453781499</c:v>
                </c:pt>
                <c:pt idx="30303">
                  <c:v>-0.10336134453781499</c:v>
                </c:pt>
                <c:pt idx="30304">
                  <c:v>-0.10336134453781499</c:v>
                </c:pt>
                <c:pt idx="30305">
                  <c:v>-0.10336134453781499</c:v>
                </c:pt>
                <c:pt idx="30306">
                  <c:v>-0.10336134453781499</c:v>
                </c:pt>
                <c:pt idx="30307">
                  <c:v>-0.10336134453781499</c:v>
                </c:pt>
                <c:pt idx="30308">
                  <c:v>-0.10336134453781499</c:v>
                </c:pt>
                <c:pt idx="30309">
                  <c:v>-0.10336134453781499</c:v>
                </c:pt>
                <c:pt idx="30310">
                  <c:v>-0.10336134453781499</c:v>
                </c:pt>
                <c:pt idx="30311">
                  <c:v>-0.10336134453781499</c:v>
                </c:pt>
                <c:pt idx="30312">
                  <c:v>-0.10336134453781499</c:v>
                </c:pt>
                <c:pt idx="30313">
                  <c:v>-0.10336134453781499</c:v>
                </c:pt>
                <c:pt idx="30314">
                  <c:v>-0.10336134453781499</c:v>
                </c:pt>
                <c:pt idx="30315">
                  <c:v>-0.10336134453781499</c:v>
                </c:pt>
                <c:pt idx="30316">
                  <c:v>-0.10336134453781499</c:v>
                </c:pt>
                <c:pt idx="30317">
                  <c:v>-0.10336134453781499</c:v>
                </c:pt>
                <c:pt idx="30318">
                  <c:v>-0.10336134453781499</c:v>
                </c:pt>
                <c:pt idx="30319">
                  <c:v>-0.10336134453781499</c:v>
                </c:pt>
                <c:pt idx="30320">
                  <c:v>-0.10336134453781499</c:v>
                </c:pt>
                <c:pt idx="30321">
                  <c:v>-0.10336134453781499</c:v>
                </c:pt>
                <c:pt idx="30322">
                  <c:v>-0.10336134453781499</c:v>
                </c:pt>
                <c:pt idx="30323">
                  <c:v>-0.10336134453781499</c:v>
                </c:pt>
                <c:pt idx="30324">
                  <c:v>-0.10336134453781499</c:v>
                </c:pt>
                <c:pt idx="30325">
                  <c:v>-0.10336134453781499</c:v>
                </c:pt>
                <c:pt idx="30326">
                  <c:v>-0.10252100840336099</c:v>
                </c:pt>
                <c:pt idx="30327">
                  <c:v>-0.10252100840336099</c:v>
                </c:pt>
                <c:pt idx="30328">
                  <c:v>-0.10252100840336099</c:v>
                </c:pt>
                <c:pt idx="30329">
                  <c:v>-0.10252100840336099</c:v>
                </c:pt>
                <c:pt idx="30330">
                  <c:v>-0.10252100840336099</c:v>
                </c:pt>
                <c:pt idx="30331">
                  <c:v>-0.10252100840336099</c:v>
                </c:pt>
                <c:pt idx="30332">
                  <c:v>-0.10252100840336099</c:v>
                </c:pt>
                <c:pt idx="30333">
                  <c:v>-0.10252100840336099</c:v>
                </c:pt>
                <c:pt idx="30334">
                  <c:v>-0.10252100840336099</c:v>
                </c:pt>
                <c:pt idx="30335">
                  <c:v>-0.10252100840336099</c:v>
                </c:pt>
                <c:pt idx="30336">
                  <c:v>-0.10252100840336099</c:v>
                </c:pt>
                <c:pt idx="30337">
                  <c:v>-0.10252100840336099</c:v>
                </c:pt>
                <c:pt idx="30338">
                  <c:v>-0.10252100840336099</c:v>
                </c:pt>
                <c:pt idx="30339">
                  <c:v>-0.10252100840336099</c:v>
                </c:pt>
                <c:pt idx="30340">
                  <c:v>-0.10252100840336099</c:v>
                </c:pt>
                <c:pt idx="30341">
                  <c:v>-0.10252100840336099</c:v>
                </c:pt>
                <c:pt idx="30342">
                  <c:v>-0.10252100840336099</c:v>
                </c:pt>
                <c:pt idx="30343">
                  <c:v>-0.10252100840336099</c:v>
                </c:pt>
                <c:pt idx="30344">
                  <c:v>-0.10252100840336099</c:v>
                </c:pt>
                <c:pt idx="30345">
                  <c:v>-0.10252100840336099</c:v>
                </c:pt>
                <c:pt idx="30346">
                  <c:v>-0.10252100840336099</c:v>
                </c:pt>
                <c:pt idx="30347">
                  <c:v>-0.10252100840336099</c:v>
                </c:pt>
                <c:pt idx="30348">
                  <c:v>-0.10252100840336099</c:v>
                </c:pt>
                <c:pt idx="30349">
                  <c:v>-0.10252100840336099</c:v>
                </c:pt>
                <c:pt idx="30350">
                  <c:v>-0.10252100840336099</c:v>
                </c:pt>
                <c:pt idx="30351">
                  <c:v>-0.10252100840336099</c:v>
                </c:pt>
                <c:pt idx="30352">
                  <c:v>-0.10252100840336099</c:v>
                </c:pt>
                <c:pt idx="30353">
                  <c:v>-0.10252100840336099</c:v>
                </c:pt>
                <c:pt idx="30354">
                  <c:v>-0.10252100840336099</c:v>
                </c:pt>
                <c:pt idx="30355">
                  <c:v>-0.10252100840336099</c:v>
                </c:pt>
                <c:pt idx="30356">
                  <c:v>-0.10252100840336099</c:v>
                </c:pt>
                <c:pt idx="30357">
                  <c:v>-0.10252100840336099</c:v>
                </c:pt>
                <c:pt idx="30358">
                  <c:v>-0.10252100840336099</c:v>
                </c:pt>
                <c:pt idx="30359">
                  <c:v>-0.10252100840336099</c:v>
                </c:pt>
                <c:pt idx="30360">
                  <c:v>-0.10252100840336099</c:v>
                </c:pt>
                <c:pt idx="30361">
                  <c:v>-0.10252100840336099</c:v>
                </c:pt>
                <c:pt idx="30362">
                  <c:v>-0.10252100840336099</c:v>
                </c:pt>
                <c:pt idx="30363">
                  <c:v>-0.10252100840336099</c:v>
                </c:pt>
                <c:pt idx="30364">
                  <c:v>-0.10252100840336099</c:v>
                </c:pt>
                <c:pt idx="30365">
                  <c:v>-0.10252100840336099</c:v>
                </c:pt>
                <c:pt idx="30366">
                  <c:v>-0.10252100840336099</c:v>
                </c:pt>
                <c:pt idx="30367">
                  <c:v>-0.10252100840336099</c:v>
                </c:pt>
                <c:pt idx="30368">
                  <c:v>-0.10252100840336099</c:v>
                </c:pt>
                <c:pt idx="30369">
                  <c:v>-0.10252100840336099</c:v>
                </c:pt>
                <c:pt idx="30370">
                  <c:v>-0.10252100840336099</c:v>
                </c:pt>
                <c:pt idx="30371">
                  <c:v>-0.10252100840336099</c:v>
                </c:pt>
                <c:pt idx="30372">
                  <c:v>-0.10252100840336099</c:v>
                </c:pt>
                <c:pt idx="30373">
                  <c:v>-0.10252100840336099</c:v>
                </c:pt>
                <c:pt idx="30374">
                  <c:v>-0.10252100840336099</c:v>
                </c:pt>
                <c:pt idx="30375">
                  <c:v>-0.10252100840336099</c:v>
                </c:pt>
                <c:pt idx="30376">
                  <c:v>-0.10252100840336099</c:v>
                </c:pt>
                <c:pt idx="30377">
                  <c:v>-0.10252100840336099</c:v>
                </c:pt>
                <c:pt idx="30378">
                  <c:v>-0.10252100840336099</c:v>
                </c:pt>
                <c:pt idx="30379">
                  <c:v>-0.10252100840336099</c:v>
                </c:pt>
                <c:pt idx="30380">
                  <c:v>-0.10252100840336099</c:v>
                </c:pt>
                <c:pt idx="30381">
                  <c:v>-0.10252100840336099</c:v>
                </c:pt>
                <c:pt idx="30382">
                  <c:v>-0.10252100840336099</c:v>
                </c:pt>
                <c:pt idx="30383">
                  <c:v>-0.10168067226890699</c:v>
                </c:pt>
                <c:pt idx="30384">
                  <c:v>-0.10168067226890699</c:v>
                </c:pt>
                <c:pt idx="30385">
                  <c:v>-0.10168067226890699</c:v>
                </c:pt>
                <c:pt idx="30386">
                  <c:v>-0.10168067226890699</c:v>
                </c:pt>
                <c:pt idx="30387">
                  <c:v>-0.10168067226890699</c:v>
                </c:pt>
                <c:pt idx="30388">
                  <c:v>-0.10168067226890699</c:v>
                </c:pt>
                <c:pt idx="30389">
                  <c:v>-0.10168067226890699</c:v>
                </c:pt>
                <c:pt idx="30390">
                  <c:v>-0.10168067226890699</c:v>
                </c:pt>
                <c:pt idx="30391">
                  <c:v>-0.10168067226890699</c:v>
                </c:pt>
                <c:pt idx="30392">
                  <c:v>-0.10168067226890699</c:v>
                </c:pt>
                <c:pt idx="30393">
                  <c:v>-0.10168067226890699</c:v>
                </c:pt>
                <c:pt idx="30394">
                  <c:v>-0.10168067226890699</c:v>
                </c:pt>
                <c:pt idx="30395">
                  <c:v>-0.10168067226890699</c:v>
                </c:pt>
                <c:pt idx="30396">
                  <c:v>-0.10168067226890699</c:v>
                </c:pt>
                <c:pt idx="30397">
                  <c:v>-0.10168067226890699</c:v>
                </c:pt>
                <c:pt idx="30398">
                  <c:v>-0.10168067226890699</c:v>
                </c:pt>
                <c:pt idx="30399">
                  <c:v>-0.10168067226890699</c:v>
                </c:pt>
                <c:pt idx="30400">
                  <c:v>-0.10168067226890699</c:v>
                </c:pt>
                <c:pt idx="30401">
                  <c:v>-0.10168067226890699</c:v>
                </c:pt>
                <c:pt idx="30402">
                  <c:v>-0.10168067226890699</c:v>
                </c:pt>
                <c:pt idx="30403">
                  <c:v>-0.10168067226890699</c:v>
                </c:pt>
                <c:pt idx="30404">
                  <c:v>-0.10168067226890699</c:v>
                </c:pt>
                <c:pt idx="30405">
                  <c:v>-0.10168067226890699</c:v>
                </c:pt>
                <c:pt idx="30406">
                  <c:v>-0.10168067226890699</c:v>
                </c:pt>
                <c:pt idx="30407">
                  <c:v>-0.10168067226890699</c:v>
                </c:pt>
                <c:pt idx="30408">
                  <c:v>-0.10168067226890699</c:v>
                </c:pt>
                <c:pt idx="30409">
                  <c:v>-0.10168067226890699</c:v>
                </c:pt>
                <c:pt idx="30410">
                  <c:v>-0.10168067226890699</c:v>
                </c:pt>
                <c:pt idx="30411">
                  <c:v>-0.10168067226890699</c:v>
                </c:pt>
                <c:pt idx="30412">
                  <c:v>-0.10168067226890699</c:v>
                </c:pt>
                <c:pt idx="30413">
                  <c:v>-0.10168067226890699</c:v>
                </c:pt>
                <c:pt idx="30414">
                  <c:v>-0.10168067226890699</c:v>
                </c:pt>
                <c:pt idx="30415">
                  <c:v>-0.10168067226890699</c:v>
                </c:pt>
                <c:pt idx="30416">
                  <c:v>-0.10168067226890699</c:v>
                </c:pt>
                <c:pt idx="30417">
                  <c:v>-0.10168067226890699</c:v>
                </c:pt>
                <c:pt idx="30418">
                  <c:v>-0.10168067226890699</c:v>
                </c:pt>
                <c:pt idx="30419">
                  <c:v>-0.10168067226890699</c:v>
                </c:pt>
                <c:pt idx="30420">
                  <c:v>-0.10168067226890699</c:v>
                </c:pt>
                <c:pt idx="30421">
                  <c:v>-0.10168067226890699</c:v>
                </c:pt>
                <c:pt idx="30422">
                  <c:v>-0.10168067226890699</c:v>
                </c:pt>
                <c:pt idx="30423">
                  <c:v>-0.10168067226890699</c:v>
                </c:pt>
                <c:pt idx="30424">
                  <c:v>-0.10168067226890699</c:v>
                </c:pt>
                <c:pt idx="30425">
                  <c:v>-0.10168067226890699</c:v>
                </c:pt>
                <c:pt idx="30426">
                  <c:v>-0.10168067226890699</c:v>
                </c:pt>
                <c:pt idx="30427">
                  <c:v>-0.10168067226890699</c:v>
                </c:pt>
                <c:pt idx="30428">
                  <c:v>-0.10168067226890699</c:v>
                </c:pt>
                <c:pt idx="30429">
                  <c:v>-0.10168067226890699</c:v>
                </c:pt>
                <c:pt idx="30430">
                  <c:v>-0.10168067226890699</c:v>
                </c:pt>
                <c:pt idx="30431">
                  <c:v>-0.10168067226890699</c:v>
                </c:pt>
                <c:pt idx="30432">
                  <c:v>-0.10168067226890699</c:v>
                </c:pt>
                <c:pt idx="30433">
                  <c:v>-0.10168067226890699</c:v>
                </c:pt>
                <c:pt idx="30434">
                  <c:v>-0.10168067226890699</c:v>
                </c:pt>
                <c:pt idx="30435">
                  <c:v>-0.10168067226890699</c:v>
                </c:pt>
                <c:pt idx="30436">
                  <c:v>-0.10168067226890699</c:v>
                </c:pt>
                <c:pt idx="30437">
                  <c:v>-0.10168067226890699</c:v>
                </c:pt>
                <c:pt idx="30438">
                  <c:v>-0.10168067226890699</c:v>
                </c:pt>
                <c:pt idx="30439">
                  <c:v>-0.10168067226890699</c:v>
                </c:pt>
                <c:pt idx="30440">
                  <c:v>-0.10168067226890699</c:v>
                </c:pt>
                <c:pt idx="30441">
                  <c:v>-0.10168067226890699</c:v>
                </c:pt>
                <c:pt idx="30442">
                  <c:v>-0.10168067226890699</c:v>
                </c:pt>
                <c:pt idx="30443">
                  <c:v>-0.10168067226890699</c:v>
                </c:pt>
                <c:pt idx="30444">
                  <c:v>-0.10168067226890699</c:v>
                </c:pt>
                <c:pt idx="30445">
                  <c:v>-0.10168067226890699</c:v>
                </c:pt>
                <c:pt idx="30446">
                  <c:v>-0.10168067226890699</c:v>
                </c:pt>
                <c:pt idx="30447">
                  <c:v>-0.10168067226890699</c:v>
                </c:pt>
                <c:pt idx="30448">
                  <c:v>-0.10168067226890699</c:v>
                </c:pt>
                <c:pt idx="30449">
                  <c:v>-0.10168067226890699</c:v>
                </c:pt>
                <c:pt idx="30450">
                  <c:v>-0.10168067226890699</c:v>
                </c:pt>
                <c:pt idx="30451">
                  <c:v>-0.10168067226890699</c:v>
                </c:pt>
                <c:pt idx="30452">
                  <c:v>-0.10168067226890699</c:v>
                </c:pt>
                <c:pt idx="30453">
                  <c:v>-0.10168067226890699</c:v>
                </c:pt>
                <c:pt idx="30454">
                  <c:v>-0.10168067226890699</c:v>
                </c:pt>
                <c:pt idx="30455">
                  <c:v>-0.10168067226890699</c:v>
                </c:pt>
                <c:pt idx="30456">
                  <c:v>-0.10168067226890699</c:v>
                </c:pt>
                <c:pt idx="30457">
                  <c:v>-0.10168067226890699</c:v>
                </c:pt>
                <c:pt idx="30458">
                  <c:v>-0.10168067226890699</c:v>
                </c:pt>
                <c:pt idx="30459">
                  <c:v>-0.10168067226890699</c:v>
                </c:pt>
                <c:pt idx="30460">
                  <c:v>-0.10168067226890699</c:v>
                </c:pt>
                <c:pt idx="30461">
                  <c:v>-0.10168067226890699</c:v>
                </c:pt>
                <c:pt idx="30462">
                  <c:v>-0.10168067226890699</c:v>
                </c:pt>
                <c:pt idx="30463">
                  <c:v>-0.10084033613445301</c:v>
                </c:pt>
                <c:pt idx="30464">
                  <c:v>-0.10084033613445301</c:v>
                </c:pt>
                <c:pt idx="30465">
                  <c:v>-0.10084033613445301</c:v>
                </c:pt>
                <c:pt idx="30466">
                  <c:v>-0.10084033613445301</c:v>
                </c:pt>
                <c:pt idx="30467">
                  <c:v>-0.10084033613445301</c:v>
                </c:pt>
                <c:pt idx="30468">
                  <c:v>-0.10084033613445301</c:v>
                </c:pt>
                <c:pt idx="30469">
                  <c:v>-0.10084033613445301</c:v>
                </c:pt>
                <c:pt idx="30470">
                  <c:v>-0.10084033613445301</c:v>
                </c:pt>
                <c:pt idx="30471">
                  <c:v>-0.10084033613445301</c:v>
                </c:pt>
                <c:pt idx="30472">
                  <c:v>-0.10084033613445301</c:v>
                </c:pt>
                <c:pt idx="30473">
                  <c:v>-0.10084033613445301</c:v>
                </c:pt>
                <c:pt idx="30474">
                  <c:v>-0.10084033613445301</c:v>
                </c:pt>
                <c:pt idx="30475">
                  <c:v>-0.10084033613445301</c:v>
                </c:pt>
                <c:pt idx="30476">
                  <c:v>-0.10084033613445301</c:v>
                </c:pt>
                <c:pt idx="30477">
                  <c:v>-0.10084033613445301</c:v>
                </c:pt>
                <c:pt idx="30478">
                  <c:v>-0.10084033613445301</c:v>
                </c:pt>
                <c:pt idx="30479">
                  <c:v>-0.10084033613445301</c:v>
                </c:pt>
                <c:pt idx="30480">
                  <c:v>-0.10084033613445301</c:v>
                </c:pt>
                <c:pt idx="30481">
                  <c:v>-0.10084033613445301</c:v>
                </c:pt>
                <c:pt idx="30482">
                  <c:v>-0.10084033613445301</c:v>
                </c:pt>
                <c:pt idx="30483">
                  <c:v>-0.10168067226890699</c:v>
                </c:pt>
                <c:pt idx="30484">
                  <c:v>-0.10168067226890699</c:v>
                </c:pt>
                <c:pt idx="30485">
                  <c:v>-0.10168067226890699</c:v>
                </c:pt>
                <c:pt idx="30486">
                  <c:v>-0.10168067226890699</c:v>
                </c:pt>
                <c:pt idx="30487">
                  <c:v>-0.10168067226890699</c:v>
                </c:pt>
                <c:pt idx="30488">
                  <c:v>-0.10168067226890699</c:v>
                </c:pt>
                <c:pt idx="30489">
                  <c:v>-0.10168067226890699</c:v>
                </c:pt>
                <c:pt idx="30490">
                  <c:v>-0.10168067226890699</c:v>
                </c:pt>
                <c:pt idx="30491">
                  <c:v>-0.10168067226890699</c:v>
                </c:pt>
                <c:pt idx="30492">
                  <c:v>-0.10168067226890699</c:v>
                </c:pt>
                <c:pt idx="30493">
                  <c:v>-0.10168067226890699</c:v>
                </c:pt>
                <c:pt idx="30494">
                  <c:v>-0.10168067226890699</c:v>
                </c:pt>
                <c:pt idx="30495">
                  <c:v>-0.10168067226890699</c:v>
                </c:pt>
                <c:pt idx="30496">
                  <c:v>-0.10168067226890699</c:v>
                </c:pt>
                <c:pt idx="30497">
                  <c:v>-0.10168067226890699</c:v>
                </c:pt>
                <c:pt idx="30498">
                  <c:v>-0.10168067226890699</c:v>
                </c:pt>
                <c:pt idx="30499">
                  <c:v>-0.10168067226890699</c:v>
                </c:pt>
                <c:pt idx="30500">
                  <c:v>-0.10168067226890699</c:v>
                </c:pt>
                <c:pt idx="30501">
                  <c:v>-0.10168067226890699</c:v>
                </c:pt>
                <c:pt idx="30502">
                  <c:v>-0.10168067226890699</c:v>
                </c:pt>
                <c:pt idx="30503">
                  <c:v>-0.10168067226890699</c:v>
                </c:pt>
                <c:pt idx="30504">
                  <c:v>-0.10168067226890699</c:v>
                </c:pt>
                <c:pt idx="30505">
                  <c:v>-0.10168067226890699</c:v>
                </c:pt>
                <c:pt idx="30506">
                  <c:v>-0.10168067226890699</c:v>
                </c:pt>
                <c:pt idx="30507">
                  <c:v>-0.10168067226890699</c:v>
                </c:pt>
                <c:pt idx="30508">
                  <c:v>-0.10168067226890699</c:v>
                </c:pt>
                <c:pt idx="30509">
                  <c:v>-0.10168067226890699</c:v>
                </c:pt>
                <c:pt idx="30510">
                  <c:v>-0.10168067226890699</c:v>
                </c:pt>
                <c:pt idx="30511">
                  <c:v>-0.10168067226890699</c:v>
                </c:pt>
                <c:pt idx="30512">
                  <c:v>-0.10168067226890699</c:v>
                </c:pt>
                <c:pt idx="30513">
                  <c:v>-0.10168067226890699</c:v>
                </c:pt>
                <c:pt idx="30514">
                  <c:v>-0.10168067226890699</c:v>
                </c:pt>
                <c:pt idx="30515">
                  <c:v>-0.10168067226890699</c:v>
                </c:pt>
                <c:pt idx="30516">
                  <c:v>-0.10168067226890699</c:v>
                </c:pt>
                <c:pt idx="30517">
                  <c:v>-0.10168067226890699</c:v>
                </c:pt>
                <c:pt idx="30518">
                  <c:v>-0.10168067226890699</c:v>
                </c:pt>
                <c:pt idx="30519">
                  <c:v>-0.10168067226890699</c:v>
                </c:pt>
                <c:pt idx="30520">
                  <c:v>-0.10168067226890699</c:v>
                </c:pt>
                <c:pt idx="30521">
                  <c:v>-0.10168067226890699</c:v>
                </c:pt>
                <c:pt idx="30522">
                  <c:v>-0.10168067226890699</c:v>
                </c:pt>
                <c:pt idx="30523">
                  <c:v>-0.10168067226890699</c:v>
                </c:pt>
                <c:pt idx="30524">
                  <c:v>-0.10168067226890699</c:v>
                </c:pt>
                <c:pt idx="30525">
                  <c:v>-0.10168067226890699</c:v>
                </c:pt>
                <c:pt idx="30526">
                  <c:v>-0.10252100840336099</c:v>
                </c:pt>
                <c:pt idx="30527">
                  <c:v>-0.10252100840336099</c:v>
                </c:pt>
                <c:pt idx="30528">
                  <c:v>-0.10252100840336099</c:v>
                </c:pt>
                <c:pt idx="30529">
                  <c:v>-0.10252100840336099</c:v>
                </c:pt>
                <c:pt idx="30530">
                  <c:v>-0.10252100840336099</c:v>
                </c:pt>
                <c:pt idx="30531">
                  <c:v>-0.10252100840336099</c:v>
                </c:pt>
                <c:pt idx="30532">
                  <c:v>-0.10252100840336099</c:v>
                </c:pt>
                <c:pt idx="30533">
                  <c:v>-0.10252100840336099</c:v>
                </c:pt>
                <c:pt idx="30534">
                  <c:v>-0.10252100840336099</c:v>
                </c:pt>
                <c:pt idx="30535">
                  <c:v>-0.10252100840336099</c:v>
                </c:pt>
                <c:pt idx="30536">
                  <c:v>-0.10252100840336099</c:v>
                </c:pt>
                <c:pt idx="30537">
                  <c:v>-0.10252100840336099</c:v>
                </c:pt>
                <c:pt idx="30538">
                  <c:v>-0.10252100840336099</c:v>
                </c:pt>
                <c:pt idx="30539">
                  <c:v>-0.10252100840336099</c:v>
                </c:pt>
                <c:pt idx="30540">
                  <c:v>-0.10252100840336099</c:v>
                </c:pt>
                <c:pt idx="30541">
                  <c:v>-0.10252100840336099</c:v>
                </c:pt>
                <c:pt idx="30542">
                  <c:v>-0.10252100840336099</c:v>
                </c:pt>
                <c:pt idx="30543">
                  <c:v>-0.10252100840336099</c:v>
                </c:pt>
                <c:pt idx="30544">
                  <c:v>-0.10252100840336099</c:v>
                </c:pt>
                <c:pt idx="30545">
                  <c:v>-0.10252100840336099</c:v>
                </c:pt>
                <c:pt idx="30546">
                  <c:v>-0.10252100840336099</c:v>
                </c:pt>
                <c:pt idx="30547">
                  <c:v>-0.10252100840336099</c:v>
                </c:pt>
                <c:pt idx="30548">
                  <c:v>-0.10252100840336099</c:v>
                </c:pt>
                <c:pt idx="30549">
                  <c:v>-0.10252100840336099</c:v>
                </c:pt>
                <c:pt idx="30550">
                  <c:v>-0.10252100840336099</c:v>
                </c:pt>
                <c:pt idx="30551">
                  <c:v>-0.10252100840336099</c:v>
                </c:pt>
                <c:pt idx="30552">
                  <c:v>-0.10252100840336099</c:v>
                </c:pt>
                <c:pt idx="30553">
                  <c:v>-0.10252100840336099</c:v>
                </c:pt>
                <c:pt idx="30554">
                  <c:v>-0.10336134453781499</c:v>
                </c:pt>
                <c:pt idx="30555">
                  <c:v>-0.10336134453781499</c:v>
                </c:pt>
                <c:pt idx="30556">
                  <c:v>-0.10336134453781499</c:v>
                </c:pt>
                <c:pt idx="30557">
                  <c:v>-0.10336134453781499</c:v>
                </c:pt>
                <c:pt idx="30558">
                  <c:v>-0.10336134453781499</c:v>
                </c:pt>
                <c:pt idx="30559">
                  <c:v>-0.10336134453781499</c:v>
                </c:pt>
                <c:pt idx="30560">
                  <c:v>-0.10336134453781499</c:v>
                </c:pt>
                <c:pt idx="30561">
                  <c:v>-0.10336134453781499</c:v>
                </c:pt>
                <c:pt idx="30562">
                  <c:v>-0.10336134453781499</c:v>
                </c:pt>
                <c:pt idx="30563">
                  <c:v>-0.10336134453781499</c:v>
                </c:pt>
                <c:pt idx="30564">
                  <c:v>-0.10336134453781499</c:v>
                </c:pt>
                <c:pt idx="30565">
                  <c:v>-0.10336134453781499</c:v>
                </c:pt>
                <c:pt idx="30566">
                  <c:v>-0.10336134453781499</c:v>
                </c:pt>
                <c:pt idx="30567">
                  <c:v>-0.10336134453781499</c:v>
                </c:pt>
                <c:pt idx="30568">
                  <c:v>-0.10336134453781499</c:v>
                </c:pt>
                <c:pt idx="30569">
                  <c:v>-0.10336134453781499</c:v>
                </c:pt>
                <c:pt idx="30570">
                  <c:v>-0.10336134453781499</c:v>
                </c:pt>
                <c:pt idx="30571">
                  <c:v>-0.10336134453781499</c:v>
                </c:pt>
                <c:pt idx="30572">
                  <c:v>-0.10336134453781499</c:v>
                </c:pt>
                <c:pt idx="30573">
                  <c:v>-0.10336134453781499</c:v>
                </c:pt>
                <c:pt idx="30574">
                  <c:v>-0.10336134453781499</c:v>
                </c:pt>
                <c:pt idx="30575">
                  <c:v>-0.10336134453781499</c:v>
                </c:pt>
                <c:pt idx="30576">
                  <c:v>-0.10336134453781499</c:v>
                </c:pt>
                <c:pt idx="30577">
                  <c:v>-0.10336134453781499</c:v>
                </c:pt>
                <c:pt idx="30578">
                  <c:v>-0.10336134453781499</c:v>
                </c:pt>
                <c:pt idx="30579">
                  <c:v>-0.10336134453781499</c:v>
                </c:pt>
                <c:pt idx="30580">
                  <c:v>-0.10336134453781499</c:v>
                </c:pt>
                <c:pt idx="30581">
                  <c:v>-0.10336134453781499</c:v>
                </c:pt>
                <c:pt idx="30582">
                  <c:v>-0.10336134453781499</c:v>
                </c:pt>
                <c:pt idx="30583">
                  <c:v>-0.10336134453781499</c:v>
                </c:pt>
                <c:pt idx="30584">
                  <c:v>-0.10336134453781499</c:v>
                </c:pt>
                <c:pt idx="30585">
                  <c:v>-0.10336134453781499</c:v>
                </c:pt>
                <c:pt idx="30586">
                  <c:v>-0.10336134453781499</c:v>
                </c:pt>
                <c:pt idx="30587">
                  <c:v>-0.10336134453781499</c:v>
                </c:pt>
                <c:pt idx="30588">
                  <c:v>-0.10336134453781499</c:v>
                </c:pt>
                <c:pt idx="30589">
                  <c:v>-0.10336134453781499</c:v>
                </c:pt>
                <c:pt idx="30590">
                  <c:v>-0.10336134453781499</c:v>
                </c:pt>
                <c:pt idx="30591">
                  <c:v>-0.10336134453781499</c:v>
                </c:pt>
                <c:pt idx="30592">
                  <c:v>-0.10336134453781499</c:v>
                </c:pt>
                <c:pt idx="30593">
                  <c:v>-0.10336134453781499</c:v>
                </c:pt>
                <c:pt idx="30594">
                  <c:v>-0.10336134453781499</c:v>
                </c:pt>
                <c:pt idx="30595">
                  <c:v>-0.10336134453781499</c:v>
                </c:pt>
                <c:pt idx="30596">
                  <c:v>-0.10336134453781499</c:v>
                </c:pt>
                <c:pt idx="30597">
                  <c:v>-0.10336134453781499</c:v>
                </c:pt>
                <c:pt idx="30598">
                  <c:v>-0.10336134453781499</c:v>
                </c:pt>
                <c:pt idx="30599">
                  <c:v>-0.10336134453781499</c:v>
                </c:pt>
                <c:pt idx="30600">
                  <c:v>-0.10336134453781499</c:v>
                </c:pt>
                <c:pt idx="30601">
                  <c:v>-0.10336134453781499</c:v>
                </c:pt>
                <c:pt idx="30602">
                  <c:v>-0.10336134453781499</c:v>
                </c:pt>
                <c:pt idx="30603">
                  <c:v>-0.10336134453781499</c:v>
                </c:pt>
                <c:pt idx="30604">
                  <c:v>-0.10336134453781499</c:v>
                </c:pt>
                <c:pt idx="30605">
                  <c:v>-0.10336134453781499</c:v>
                </c:pt>
                <c:pt idx="30606">
                  <c:v>-0.10336134453781499</c:v>
                </c:pt>
                <c:pt idx="30607">
                  <c:v>-0.10336134453781499</c:v>
                </c:pt>
                <c:pt idx="30608">
                  <c:v>-0.10336134453781499</c:v>
                </c:pt>
                <c:pt idx="30609">
                  <c:v>-0.10336134453781499</c:v>
                </c:pt>
                <c:pt idx="30610">
                  <c:v>-0.10336134453781499</c:v>
                </c:pt>
                <c:pt idx="30611">
                  <c:v>-0.10336134453781499</c:v>
                </c:pt>
                <c:pt idx="30612">
                  <c:v>-0.10336134453781499</c:v>
                </c:pt>
                <c:pt idx="30613">
                  <c:v>-0.10336134453781499</c:v>
                </c:pt>
                <c:pt idx="30614">
                  <c:v>-0.10336134453781499</c:v>
                </c:pt>
                <c:pt idx="30615">
                  <c:v>-0.10336134453781499</c:v>
                </c:pt>
                <c:pt idx="30616">
                  <c:v>-0.10336134453781499</c:v>
                </c:pt>
                <c:pt idx="30617">
                  <c:v>-0.10336134453781499</c:v>
                </c:pt>
                <c:pt idx="30618">
                  <c:v>-0.10336134453781499</c:v>
                </c:pt>
                <c:pt idx="30619">
                  <c:v>-0.10336134453781499</c:v>
                </c:pt>
                <c:pt idx="30620">
                  <c:v>-0.10336134453781499</c:v>
                </c:pt>
                <c:pt idx="30621">
                  <c:v>-0.10336134453781499</c:v>
                </c:pt>
                <c:pt idx="30622">
                  <c:v>-0.10336134453781499</c:v>
                </c:pt>
                <c:pt idx="30623">
                  <c:v>-0.10336134453781499</c:v>
                </c:pt>
                <c:pt idx="30624">
                  <c:v>-0.10336134453781499</c:v>
                </c:pt>
                <c:pt idx="30625">
                  <c:v>-0.10336134453781499</c:v>
                </c:pt>
                <c:pt idx="30626">
                  <c:v>-0.10336134453781499</c:v>
                </c:pt>
                <c:pt idx="30627">
                  <c:v>-0.10336134453781499</c:v>
                </c:pt>
                <c:pt idx="30628">
                  <c:v>-0.10336134453781499</c:v>
                </c:pt>
                <c:pt idx="30629">
                  <c:v>-0.10336134453781499</c:v>
                </c:pt>
                <c:pt idx="30630">
                  <c:v>-0.10336134453781499</c:v>
                </c:pt>
                <c:pt idx="30631">
                  <c:v>-0.10336134453781499</c:v>
                </c:pt>
                <c:pt idx="30632">
                  <c:v>-0.10336134453781499</c:v>
                </c:pt>
                <c:pt idx="30633">
                  <c:v>-0.10336134453781499</c:v>
                </c:pt>
                <c:pt idx="30634">
                  <c:v>-0.10336134453781499</c:v>
                </c:pt>
                <c:pt idx="30635">
                  <c:v>-0.10336134453781499</c:v>
                </c:pt>
                <c:pt idx="30636">
                  <c:v>-0.10336134453781499</c:v>
                </c:pt>
                <c:pt idx="30637">
                  <c:v>-0.10252100840336099</c:v>
                </c:pt>
                <c:pt idx="30638">
                  <c:v>-0.10252100840336099</c:v>
                </c:pt>
                <c:pt idx="30639">
                  <c:v>-0.10252100840336099</c:v>
                </c:pt>
                <c:pt idx="30640">
                  <c:v>-0.10252100840336099</c:v>
                </c:pt>
                <c:pt idx="30641">
                  <c:v>-0.10252100840336099</c:v>
                </c:pt>
                <c:pt idx="30642">
                  <c:v>-0.10252100840336099</c:v>
                </c:pt>
                <c:pt idx="30643">
                  <c:v>-0.10252100840336099</c:v>
                </c:pt>
                <c:pt idx="30644">
                  <c:v>-0.10252100840336099</c:v>
                </c:pt>
                <c:pt idx="30645">
                  <c:v>-0.10252100840336099</c:v>
                </c:pt>
                <c:pt idx="30646">
                  <c:v>-0.10252100840336099</c:v>
                </c:pt>
                <c:pt idx="30647">
                  <c:v>-0.10252100840336099</c:v>
                </c:pt>
                <c:pt idx="30648">
                  <c:v>-0.10252100840336099</c:v>
                </c:pt>
                <c:pt idx="30649">
                  <c:v>-0.10252100840336099</c:v>
                </c:pt>
                <c:pt idx="30650">
                  <c:v>-0.10252100840336099</c:v>
                </c:pt>
                <c:pt idx="30651">
                  <c:v>-0.10252100840336099</c:v>
                </c:pt>
                <c:pt idx="30652">
                  <c:v>-0.10252100840336099</c:v>
                </c:pt>
                <c:pt idx="30653">
                  <c:v>-0.10252100840336099</c:v>
                </c:pt>
                <c:pt idx="30654">
                  <c:v>-0.10252100840336099</c:v>
                </c:pt>
                <c:pt idx="30655">
                  <c:v>-0.10252100840336099</c:v>
                </c:pt>
                <c:pt idx="30656">
                  <c:v>-0.10252100840336099</c:v>
                </c:pt>
                <c:pt idx="30657">
                  <c:v>-0.10252100840336099</c:v>
                </c:pt>
                <c:pt idx="30658">
                  <c:v>-0.10252100840336099</c:v>
                </c:pt>
                <c:pt idx="30659">
                  <c:v>-0.10252100840336099</c:v>
                </c:pt>
                <c:pt idx="30660">
                  <c:v>-0.10252100840336099</c:v>
                </c:pt>
                <c:pt idx="30661">
                  <c:v>-0.10252100840336099</c:v>
                </c:pt>
                <c:pt idx="30662">
                  <c:v>-0.10168067226890699</c:v>
                </c:pt>
                <c:pt idx="30663">
                  <c:v>-0.10168067226890699</c:v>
                </c:pt>
                <c:pt idx="30664">
                  <c:v>-0.10168067226890699</c:v>
                </c:pt>
                <c:pt idx="30665">
                  <c:v>-0.10168067226890699</c:v>
                </c:pt>
                <c:pt idx="30666">
                  <c:v>-0.10168067226890699</c:v>
                </c:pt>
                <c:pt idx="30667">
                  <c:v>-0.10168067226890699</c:v>
                </c:pt>
                <c:pt idx="30668">
                  <c:v>-0.10168067226890699</c:v>
                </c:pt>
                <c:pt idx="30669">
                  <c:v>-0.10168067226890699</c:v>
                </c:pt>
                <c:pt idx="30670">
                  <c:v>-0.10168067226890699</c:v>
                </c:pt>
                <c:pt idx="30671">
                  <c:v>-0.10168067226890699</c:v>
                </c:pt>
                <c:pt idx="30672">
                  <c:v>-0.10168067226890699</c:v>
                </c:pt>
                <c:pt idx="30673">
                  <c:v>-0.10168067226890699</c:v>
                </c:pt>
                <c:pt idx="30674">
                  <c:v>-0.10168067226890699</c:v>
                </c:pt>
                <c:pt idx="30675">
                  <c:v>-0.10168067226890699</c:v>
                </c:pt>
                <c:pt idx="30676">
                  <c:v>-0.10168067226890699</c:v>
                </c:pt>
                <c:pt idx="30677">
                  <c:v>-0.10168067226890699</c:v>
                </c:pt>
                <c:pt idx="30678">
                  <c:v>-0.10168067226890699</c:v>
                </c:pt>
                <c:pt idx="30679">
                  <c:v>-0.10168067226890699</c:v>
                </c:pt>
                <c:pt idx="30680">
                  <c:v>-0.10168067226890699</c:v>
                </c:pt>
                <c:pt idx="30681">
                  <c:v>-0.10168067226890699</c:v>
                </c:pt>
                <c:pt idx="30682">
                  <c:v>-0.10252100840336099</c:v>
                </c:pt>
                <c:pt idx="30683">
                  <c:v>-0.10252100840336099</c:v>
                </c:pt>
                <c:pt idx="30684">
                  <c:v>-0.10252100840336099</c:v>
                </c:pt>
                <c:pt idx="30685">
                  <c:v>-0.10252100840336099</c:v>
                </c:pt>
                <c:pt idx="30686">
                  <c:v>-0.10252100840336099</c:v>
                </c:pt>
                <c:pt idx="30687">
                  <c:v>-0.10252100840336099</c:v>
                </c:pt>
                <c:pt idx="30688">
                  <c:v>-0.10252100840336099</c:v>
                </c:pt>
                <c:pt idx="30689">
                  <c:v>-0.10252100840336099</c:v>
                </c:pt>
                <c:pt idx="30690">
                  <c:v>-0.10252100840336099</c:v>
                </c:pt>
                <c:pt idx="30691">
                  <c:v>-0.10252100840336099</c:v>
                </c:pt>
                <c:pt idx="30692">
                  <c:v>-0.10252100840336099</c:v>
                </c:pt>
                <c:pt idx="30693">
                  <c:v>-0.10252100840336099</c:v>
                </c:pt>
                <c:pt idx="30694">
                  <c:v>-0.10252100840336099</c:v>
                </c:pt>
                <c:pt idx="30695">
                  <c:v>-0.10252100840336099</c:v>
                </c:pt>
                <c:pt idx="30696">
                  <c:v>-0.10252100840336099</c:v>
                </c:pt>
                <c:pt idx="30697">
                  <c:v>-0.10252100840336099</c:v>
                </c:pt>
                <c:pt idx="30698">
                  <c:v>-0.10252100840336099</c:v>
                </c:pt>
                <c:pt idx="30699">
                  <c:v>-0.10252100840336099</c:v>
                </c:pt>
                <c:pt idx="30700">
                  <c:v>-0.10252100840336099</c:v>
                </c:pt>
                <c:pt idx="30701">
                  <c:v>-0.10252100840336099</c:v>
                </c:pt>
                <c:pt idx="30702">
                  <c:v>-0.10252100840336099</c:v>
                </c:pt>
                <c:pt idx="30703">
                  <c:v>-0.10252100840336099</c:v>
                </c:pt>
                <c:pt idx="30704">
                  <c:v>-0.10252100840336099</c:v>
                </c:pt>
                <c:pt idx="30705">
                  <c:v>-0.10252100840336099</c:v>
                </c:pt>
                <c:pt idx="30706">
                  <c:v>-0.10252100840336099</c:v>
                </c:pt>
                <c:pt idx="30707">
                  <c:v>-0.10252100840336099</c:v>
                </c:pt>
                <c:pt idx="30708">
                  <c:v>-0.10252100840336099</c:v>
                </c:pt>
                <c:pt idx="30709">
                  <c:v>-0.10252100840336099</c:v>
                </c:pt>
                <c:pt idx="30710">
                  <c:v>-0.10252100840336099</c:v>
                </c:pt>
                <c:pt idx="30711">
                  <c:v>-0.10252100840336099</c:v>
                </c:pt>
                <c:pt idx="30712">
                  <c:v>-0.10252100840336099</c:v>
                </c:pt>
                <c:pt idx="30713">
                  <c:v>-0.10252100840336099</c:v>
                </c:pt>
                <c:pt idx="30714">
                  <c:v>-0.10252100840336099</c:v>
                </c:pt>
                <c:pt idx="30715">
                  <c:v>-0.10252100840336099</c:v>
                </c:pt>
                <c:pt idx="30716">
                  <c:v>-0.10252100840336099</c:v>
                </c:pt>
                <c:pt idx="30717">
                  <c:v>-0.10252100840336099</c:v>
                </c:pt>
                <c:pt idx="30718">
                  <c:v>-0.10252100840336099</c:v>
                </c:pt>
                <c:pt idx="30719">
                  <c:v>-0.10252100840336099</c:v>
                </c:pt>
                <c:pt idx="30720">
                  <c:v>-0.10252100840336099</c:v>
                </c:pt>
                <c:pt idx="30721">
                  <c:v>-0.10252100840336099</c:v>
                </c:pt>
                <c:pt idx="30722">
                  <c:v>-0.10252100840336099</c:v>
                </c:pt>
                <c:pt idx="30723">
                  <c:v>-0.10252100840336099</c:v>
                </c:pt>
                <c:pt idx="30724">
                  <c:v>-0.10252100840336099</c:v>
                </c:pt>
                <c:pt idx="30725">
                  <c:v>-0.10252100840336099</c:v>
                </c:pt>
                <c:pt idx="30726">
                  <c:v>-0.10252100840336099</c:v>
                </c:pt>
                <c:pt idx="30727">
                  <c:v>-0.10252100840336099</c:v>
                </c:pt>
                <c:pt idx="30728">
                  <c:v>-0.10252100840336099</c:v>
                </c:pt>
                <c:pt idx="30729">
                  <c:v>-0.10252100840336099</c:v>
                </c:pt>
                <c:pt idx="30730">
                  <c:v>-0.10252100840336099</c:v>
                </c:pt>
                <c:pt idx="30731">
                  <c:v>-0.10252100840336099</c:v>
                </c:pt>
                <c:pt idx="30732">
                  <c:v>-0.10252100840336099</c:v>
                </c:pt>
                <c:pt idx="30733">
                  <c:v>-0.10252100840336099</c:v>
                </c:pt>
                <c:pt idx="30734">
                  <c:v>-0.10252100840336099</c:v>
                </c:pt>
                <c:pt idx="30735">
                  <c:v>-0.10252100840336099</c:v>
                </c:pt>
                <c:pt idx="30736">
                  <c:v>-0.10252100840336099</c:v>
                </c:pt>
                <c:pt idx="30737">
                  <c:v>-0.10252100840336099</c:v>
                </c:pt>
                <c:pt idx="30738">
                  <c:v>-0.10252100840336099</c:v>
                </c:pt>
                <c:pt idx="30739">
                  <c:v>-0.10252100840336099</c:v>
                </c:pt>
                <c:pt idx="30740">
                  <c:v>-0.10252100840336099</c:v>
                </c:pt>
                <c:pt idx="30741">
                  <c:v>-0.10252100840336099</c:v>
                </c:pt>
                <c:pt idx="30742">
                  <c:v>-0.10168067226890699</c:v>
                </c:pt>
                <c:pt idx="30743">
                  <c:v>-0.10168067226890699</c:v>
                </c:pt>
                <c:pt idx="30744">
                  <c:v>-0.10168067226890699</c:v>
                </c:pt>
                <c:pt idx="30745">
                  <c:v>-0.10168067226890699</c:v>
                </c:pt>
                <c:pt idx="30746">
                  <c:v>-0.10168067226890699</c:v>
                </c:pt>
                <c:pt idx="30747">
                  <c:v>-0.10168067226890699</c:v>
                </c:pt>
                <c:pt idx="30748">
                  <c:v>-0.10168067226890699</c:v>
                </c:pt>
                <c:pt idx="30749">
                  <c:v>-0.10168067226890699</c:v>
                </c:pt>
                <c:pt idx="30750">
                  <c:v>-0.10168067226890699</c:v>
                </c:pt>
                <c:pt idx="30751">
                  <c:v>-0.10168067226890699</c:v>
                </c:pt>
                <c:pt idx="30752">
                  <c:v>-0.10168067226890699</c:v>
                </c:pt>
                <c:pt idx="30753">
                  <c:v>-0.10084033613445301</c:v>
                </c:pt>
                <c:pt idx="30754">
                  <c:v>-0.10084033613445301</c:v>
                </c:pt>
                <c:pt idx="30755">
                  <c:v>-0.10084033613445301</c:v>
                </c:pt>
                <c:pt idx="30756">
                  <c:v>-0.10168067226890699</c:v>
                </c:pt>
                <c:pt idx="30757">
                  <c:v>-0.10168067226890699</c:v>
                </c:pt>
                <c:pt idx="30758">
                  <c:v>-0.10168067226890699</c:v>
                </c:pt>
                <c:pt idx="30759">
                  <c:v>-0.10168067226890699</c:v>
                </c:pt>
                <c:pt idx="30760">
                  <c:v>-0.10168067226890699</c:v>
                </c:pt>
                <c:pt idx="30761">
                  <c:v>-0.10168067226890699</c:v>
                </c:pt>
                <c:pt idx="30762">
                  <c:v>-0.10168067226890699</c:v>
                </c:pt>
                <c:pt idx="30763">
                  <c:v>-0.10168067226890699</c:v>
                </c:pt>
                <c:pt idx="30764">
                  <c:v>-0.10168067226890699</c:v>
                </c:pt>
                <c:pt idx="30765">
                  <c:v>-0.10168067226890699</c:v>
                </c:pt>
                <c:pt idx="30766">
                  <c:v>-0.10252100840336099</c:v>
                </c:pt>
                <c:pt idx="30767">
                  <c:v>-0.10252100840336099</c:v>
                </c:pt>
                <c:pt idx="30768">
                  <c:v>-0.10252100840336099</c:v>
                </c:pt>
                <c:pt idx="30769">
                  <c:v>-0.10252100840336099</c:v>
                </c:pt>
                <c:pt idx="30770">
                  <c:v>-0.10252100840336099</c:v>
                </c:pt>
                <c:pt idx="30771">
                  <c:v>-0.10252100840336099</c:v>
                </c:pt>
                <c:pt idx="30772">
                  <c:v>-0.10252100840336099</c:v>
                </c:pt>
                <c:pt idx="30773">
                  <c:v>-0.10252100840336099</c:v>
                </c:pt>
                <c:pt idx="30774">
                  <c:v>-0.10252100840336099</c:v>
                </c:pt>
                <c:pt idx="30775">
                  <c:v>-0.10252100840336099</c:v>
                </c:pt>
                <c:pt idx="30776">
                  <c:v>-0.10252100840336099</c:v>
                </c:pt>
                <c:pt idx="30777">
                  <c:v>-0.10252100840336099</c:v>
                </c:pt>
                <c:pt idx="30778">
                  <c:v>-0.10252100840336099</c:v>
                </c:pt>
                <c:pt idx="30779">
                  <c:v>-0.10252100840336099</c:v>
                </c:pt>
                <c:pt idx="30780">
                  <c:v>-0.10252100840336099</c:v>
                </c:pt>
                <c:pt idx="30781">
                  <c:v>-0.10252100840336099</c:v>
                </c:pt>
                <c:pt idx="30782">
                  <c:v>-0.10252100840336099</c:v>
                </c:pt>
                <c:pt idx="30783">
                  <c:v>-0.10252100840336099</c:v>
                </c:pt>
                <c:pt idx="30784">
                  <c:v>-0.10252100840336099</c:v>
                </c:pt>
                <c:pt idx="30785">
                  <c:v>-0.10252100840336099</c:v>
                </c:pt>
                <c:pt idx="30786">
                  <c:v>-0.10252100840336099</c:v>
                </c:pt>
                <c:pt idx="30787">
                  <c:v>-0.10252100840336099</c:v>
                </c:pt>
                <c:pt idx="30788">
                  <c:v>-0.10252100840336099</c:v>
                </c:pt>
                <c:pt idx="30789">
                  <c:v>-0.10252100840336099</c:v>
                </c:pt>
                <c:pt idx="30790">
                  <c:v>-0.10252100840336099</c:v>
                </c:pt>
                <c:pt idx="30791">
                  <c:v>-0.10252100840336099</c:v>
                </c:pt>
                <c:pt idx="30792">
                  <c:v>-0.10252100840336099</c:v>
                </c:pt>
                <c:pt idx="30793">
                  <c:v>-0.10252100840336099</c:v>
                </c:pt>
                <c:pt idx="30794">
                  <c:v>-0.10252100840336099</c:v>
                </c:pt>
                <c:pt idx="30795">
                  <c:v>-0.10252100840336099</c:v>
                </c:pt>
                <c:pt idx="30796">
                  <c:v>-0.10252100840336099</c:v>
                </c:pt>
                <c:pt idx="30797">
                  <c:v>-0.10252100840336099</c:v>
                </c:pt>
                <c:pt idx="30798">
                  <c:v>-0.10252100840336099</c:v>
                </c:pt>
                <c:pt idx="30799">
                  <c:v>-0.10252100840336099</c:v>
                </c:pt>
                <c:pt idx="30800">
                  <c:v>-0.10252100840336099</c:v>
                </c:pt>
                <c:pt idx="30801">
                  <c:v>-0.10252100840336099</c:v>
                </c:pt>
                <c:pt idx="30802">
                  <c:v>-0.10252100840336099</c:v>
                </c:pt>
                <c:pt idx="30803">
                  <c:v>-0.10252100840336099</c:v>
                </c:pt>
                <c:pt idx="30804">
                  <c:v>-0.10252100840336099</c:v>
                </c:pt>
                <c:pt idx="30805">
                  <c:v>-0.10168067226890699</c:v>
                </c:pt>
                <c:pt idx="30806">
                  <c:v>-0.10168067226890699</c:v>
                </c:pt>
                <c:pt idx="30807">
                  <c:v>-0.10168067226890699</c:v>
                </c:pt>
                <c:pt idx="30808">
                  <c:v>-0.10168067226890699</c:v>
                </c:pt>
                <c:pt idx="30809">
                  <c:v>-0.10168067226890699</c:v>
                </c:pt>
                <c:pt idx="30810">
                  <c:v>-0.10168067226890699</c:v>
                </c:pt>
                <c:pt idx="30811">
                  <c:v>-0.10252100840336099</c:v>
                </c:pt>
                <c:pt idx="30812">
                  <c:v>-0.10252100840336099</c:v>
                </c:pt>
                <c:pt idx="30813">
                  <c:v>-0.10252100840336099</c:v>
                </c:pt>
                <c:pt idx="30814">
                  <c:v>-0.10252100840336099</c:v>
                </c:pt>
                <c:pt idx="30815">
                  <c:v>-0.10252100840336099</c:v>
                </c:pt>
                <c:pt idx="30816">
                  <c:v>-0.10252100840336099</c:v>
                </c:pt>
                <c:pt idx="30817">
                  <c:v>-0.10252100840336099</c:v>
                </c:pt>
                <c:pt idx="30818">
                  <c:v>-0.10252100840336099</c:v>
                </c:pt>
                <c:pt idx="30819">
                  <c:v>-0.10252100840336099</c:v>
                </c:pt>
                <c:pt idx="30820">
                  <c:v>-0.10252100840336099</c:v>
                </c:pt>
                <c:pt idx="30821">
                  <c:v>-0.10252100840336099</c:v>
                </c:pt>
                <c:pt idx="30822">
                  <c:v>-0.10252100840336099</c:v>
                </c:pt>
                <c:pt idx="30823">
                  <c:v>-0.10252100840336099</c:v>
                </c:pt>
                <c:pt idx="30824">
                  <c:v>-0.10252100840336099</c:v>
                </c:pt>
                <c:pt idx="30825">
                  <c:v>-0.10252100840336099</c:v>
                </c:pt>
                <c:pt idx="30826">
                  <c:v>-0.10252100840336099</c:v>
                </c:pt>
                <c:pt idx="30827">
                  <c:v>-0.10252100840336099</c:v>
                </c:pt>
                <c:pt idx="30828">
                  <c:v>-0.10252100840336099</c:v>
                </c:pt>
                <c:pt idx="30829">
                  <c:v>-0.10252100840336099</c:v>
                </c:pt>
                <c:pt idx="30830">
                  <c:v>-0.10252100840336099</c:v>
                </c:pt>
                <c:pt idx="30831">
                  <c:v>-0.10252100840336099</c:v>
                </c:pt>
                <c:pt idx="30832">
                  <c:v>-0.10252100840336099</c:v>
                </c:pt>
                <c:pt idx="30833">
                  <c:v>-0.10252100840336099</c:v>
                </c:pt>
                <c:pt idx="30834">
                  <c:v>-0.10252100840336099</c:v>
                </c:pt>
                <c:pt idx="30835">
                  <c:v>-0.10252100840336099</c:v>
                </c:pt>
                <c:pt idx="30836">
                  <c:v>-0.10252100840336099</c:v>
                </c:pt>
                <c:pt idx="30837">
                  <c:v>-0.10252100840336099</c:v>
                </c:pt>
                <c:pt idx="30838">
                  <c:v>-0.10252100840336099</c:v>
                </c:pt>
                <c:pt idx="30839">
                  <c:v>-0.10252100840336099</c:v>
                </c:pt>
                <c:pt idx="30840">
                  <c:v>-0.10252100840336099</c:v>
                </c:pt>
                <c:pt idx="30841">
                  <c:v>-0.10252100840336099</c:v>
                </c:pt>
                <c:pt idx="30842">
                  <c:v>-0.10252100840336099</c:v>
                </c:pt>
                <c:pt idx="30843">
                  <c:v>-0.10252100840336099</c:v>
                </c:pt>
                <c:pt idx="30844">
                  <c:v>-0.10252100840336099</c:v>
                </c:pt>
                <c:pt idx="30845">
                  <c:v>-0.10252100840336099</c:v>
                </c:pt>
                <c:pt idx="30846">
                  <c:v>-0.10252100840336099</c:v>
                </c:pt>
                <c:pt idx="30847">
                  <c:v>-0.10252100840336099</c:v>
                </c:pt>
                <c:pt idx="30848">
                  <c:v>-0.10252100840336099</c:v>
                </c:pt>
                <c:pt idx="30849">
                  <c:v>-0.10252100840336099</c:v>
                </c:pt>
                <c:pt idx="30850">
                  <c:v>-0.10252100840336099</c:v>
                </c:pt>
                <c:pt idx="30851">
                  <c:v>-0.10336134453781499</c:v>
                </c:pt>
                <c:pt idx="30852">
                  <c:v>-0.10336134453781499</c:v>
                </c:pt>
                <c:pt idx="30853">
                  <c:v>-0.10336134453781499</c:v>
                </c:pt>
                <c:pt idx="30854">
                  <c:v>-0.10336134453781499</c:v>
                </c:pt>
                <c:pt idx="30855">
                  <c:v>-0.10336134453781499</c:v>
                </c:pt>
                <c:pt idx="30856">
                  <c:v>-0.104201680672268</c:v>
                </c:pt>
                <c:pt idx="30857">
                  <c:v>-0.104201680672268</c:v>
                </c:pt>
                <c:pt idx="30858">
                  <c:v>-0.104201680672268</c:v>
                </c:pt>
                <c:pt idx="30859">
                  <c:v>-0.104201680672268</c:v>
                </c:pt>
                <c:pt idx="30860">
                  <c:v>-0.104201680672268</c:v>
                </c:pt>
                <c:pt idx="30861">
                  <c:v>-0.104201680672268</c:v>
                </c:pt>
                <c:pt idx="30862">
                  <c:v>-0.104201680672268</c:v>
                </c:pt>
                <c:pt idx="30863">
                  <c:v>-0.104201680672268</c:v>
                </c:pt>
                <c:pt idx="30864">
                  <c:v>-0.104201680672268</c:v>
                </c:pt>
                <c:pt idx="30865">
                  <c:v>-0.104201680672268</c:v>
                </c:pt>
                <c:pt idx="30866">
                  <c:v>-0.104201680672268</c:v>
                </c:pt>
                <c:pt idx="30867">
                  <c:v>-0.104201680672268</c:v>
                </c:pt>
                <c:pt idx="30868">
                  <c:v>-0.104201680672268</c:v>
                </c:pt>
                <c:pt idx="30869">
                  <c:v>-0.104201680672268</c:v>
                </c:pt>
                <c:pt idx="30870">
                  <c:v>-0.104201680672268</c:v>
                </c:pt>
                <c:pt idx="30871">
                  <c:v>-0.104201680672268</c:v>
                </c:pt>
                <c:pt idx="30872">
                  <c:v>-0.104201680672268</c:v>
                </c:pt>
                <c:pt idx="30873">
                  <c:v>-0.104201680672268</c:v>
                </c:pt>
                <c:pt idx="30874">
                  <c:v>-0.104201680672268</c:v>
                </c:pt>
                <c:pt idx="30875">
                  <c:v>-0.104201680672268</c:v>
                </c:pt>
                <c:pt idx="30876">
                  <c:v>-0.104201680672268</c:v>
                </c:pt>
                <c:pt idx="30877">
                  <c:v>-0.104201680672268</c:v>
                </c:pt>
                <c:pt idx="30878">
                  <c:v>-0.104201680672268</c:v>
                </c:pt>
                <c:pt idx="30879">
                  <c:v>-0.104201680672268</c:v>
                </c:pt>
                <c:pt idx="30880">
                  <c:v>-0.10336134453781499</c:v>
                </c:pt>
                <c:pt idx="30881">
                  <c:v>-0.10336134453781499</c:v>
                </c:pt>
                <c:pt idx="30882">
                  <c:v>-0.10336134453781499</c:v>
                </c:pt>
                <c:pt idx="30883">
                  <c:v>-0.10252100840336099</c:v>
                </c:pt>
                <c:pt idx="30884">
                  <c:v>-0.10252100840336099</c:v>
                </c:pt>
                <c:pt idx="30885">
                  <c:v>-0.10252100840336099</c:v>
                </c:pt>
                <c:pt idx="30886">
                  <c:v>-0.10252100840336099</c:v>
                </c:pt>
                <c:pt idx="30887">
                  <c:v>-0.10252100840336099</c:v>
                </c:pt>
                <c:pt idx="30888">
                  <c:v>-0.10252100840336099</c:v>
                </c:pt>
                <c:pt idx="30889">
                  <c:v>-0.10252100840336099</c:v>
                </c:pt>
                <c:pt idx="30890">
                  <c:v>-0.10252100840336099</c:v>
                </c:pt>
                <c:pt idx="30891">
                  <c:v>-0.10252100840336099</c:v>
                </c:pt>
                <c:pt idx="30892">
                  <c:v>-0.10252100840336099</c:v>
                </c:pt>
                <c:pt idx="30893">
                  <c:v>-0.10336134453781499</c:v>
                </c:pt>
                <c:pt idx="30894">
                  <c:v>-0.10336134453781499</c:v>
                </c:pt>
                <c:pt idx="30895">
                  <c:v>-0.10336134453781499</c:v>
                </c:pt>
                <c:pt idx="30896">
                  <c:v>-0.10336134453781499</c:v>
                </c:pt>
                <c:pt idx="30897">
                  <c:v>-0.10336134453781499</c:v>
                </c:pt>
                <c:pt idx="30898">
                  <c:v>-0.10336134453781499</c:v>
                </c:pt>
                <c:pt idx="30899">
                  <c:v>-0.10336134453781499</c:v>
                </c:pt>
                <c:pt idx="30900">
                  <c:v>-0.10336134453781499</c:v>
                </c:pt>
                <c:pt idx="30901">
                  <c:v>-0.10336134453781499</c:v>
                </c:pt>
                <c:pt idx="30902">
                  <c:v>-0.10336134453781499</c:v>
                </c:pt>
                <c:pt idx="30903">
                  <c:v>-0.10336134453781499</c:v>
                </c:pt>
                <c:pt idx="30904">
                  <c:v>-0.10336134453781499</c:v>
                </c:pt>
                <c:pt idx="30905">
                  <c:v>-0.10336134453781499</c:v>
                </c:pt>
                <c:pt idx="30906">
                  <c:v>-0.10336134453781499</c:v>
                </c:pt>
                <c:pt idx="30907">
                  <c:v>-0.10336134453781499</c:v>
                </c:pt>
                <c:pt idx="30908">
                  <c:v>-0.10336134453781499</c:v>
                </c:pt>
                <c:pt idx="30909">
                  <c:v>-0.10336134453781499</c:v>
                </c:pt>
                <c:pt idx="30910">
                  <c:v>-0.10336134453781499</c:v>
                </c:pt>
                <c:pt idx="30911">
                  <c:v>-0.10336134453781499</c:v>
                </c:pt>
                <c:pt idx="30912">
                  <c:v>-0.10336134453781499</c:v>
                </c:pt>
                <c:pt idx="30913">
                  <c:v>-0.10336134453781499</c:v>
                </c:pt>
                <c:pt idx="30914">
                  <c:v>-0.10336134453781499</c:v>
                </c:pt>
                <c:pt idx="30915">
                  <c:v>-0.10336134453781499</c:v>
                </c:pt>
                <c:pt idx="30916">
                  <c:v>-0.10336134453781499</c:v>
                </c:pt>
                <c:pt idx="30917">
                  <c:v>-0.10336134453781499</c:v>
                </c:pt>
                <c:pt idx="30918">
                  <c:v>-0.10336134453781499</c:v>
                </c:pt>
                <c:pt idx="30919">
                  <c:v>-0.10336134453781499</c:v>
                </c:pt>
                <c:pt idx="30920">
                  <c:v>-0.10336134453781499</c:v>
                </c:pt>
                <c:pt idx="30921">
                  <c:v>-0.10336134453781499</c:v>
                </c:pt>
                <c:pt idx="30922">
                  <c:v>-0.10336134453781499</c:v>
                </c:pt>
                <c:pt idx="30923">
                  <c:v>-0.10336134453781499</c:v>
                </c:pt>
                <c:pt idx="30924">
                  <c:v>-0.10336134453781499</c:v>
                </c:pt>
                <c:pt idx="30925">
                  <c:v>-0.10336134453781499</c:v>
                </c:pt>
                <c:pt idx="30926">
                  <c:v>-0.10336134453781499</c:v>
                </c:pt>
                <c:pt idx="30927">
                  <c:v>-0.10336134453781499</c:v>
                </c:pt>
                <c:pt idx="30928">
                  <c:v>-0.10336134453781499</c:v>
                </c:pt>
                <c:pt idx="30929">
                  <c:v>-0.10336134453781499</c:v>
                </c:pt>
                <c:pt idx="30930">
                  <c:v>-0.10336134453781499</c:v>
                </c:pt>
                <c:pt idx="30931">
                  <c:v>-0.10336134453781499</c:v>
                </c:pt>
                <c:pt idx="30932">
                  <c:v>-0.10336134453781499</c:v>
                </c:pt>
                <c:pt idx="30933">
                  <c:v>-0.10336134453781499</c:v>
                </c:pt>
                <c:pt idx="30934">
                  <c:v>-0.10336134453781499</c:v>
                </c:pt>
                <c:pt idx="30935">
                  <c:v>-0.10336134453781499</c:v>
                </c:pt>
                <c:pt idx="30936">
                  <c:v>-0.10336134453781499</c:v>
                </c:pt>
                <c:pt idx="30937">
                  <c:v>-0.10336134453781499</c:v>
                </c:pt>
                <c:pt idx="30938">
                  <c:v>-0.10336134453781499</c:v>
                </c:pt>
                <c:pt idx="30939">
                  <c:v>-0.10336134453781499</c:v>
                </c:pt>
                <c:pt idx="30940">
                  <c:v>-0.10336134453781499</c:v>
                </c:pt>
                <c:pt idx="30941">
                  <c:v>-0.10336134453781499</c:v>
                </c:pt>
                <c:pt idx="30942">
                  <c:v>-0.104201680672268</c:v>
                </c:pt>
                <c:pt idx="30943">
                  <c:v>-0.104201680672268</c:v>
                </c:pt>
                <c:pt idx="30944">
                  <c:v>-0.104201680672268</c:v>
                </c:pt>
                <c:pt idx="30945">
                  <c:v>-0.104201680672268</c:v>
                </c:pt>
                <c:pt idx="30946">
                  <c:v>-0.104201680672268</c:v>
                </c:pt>
                <c:pt idx="30947">
                  <c:v>-0.104201680672268</c:v>
                </c:pt>
                <c:pt idx="30948">
                  <c:v>-0.104201680672268</c:v>
                </c:pt>
                <c:pt idx="30949">
                  <c:v>-0.104201680672268</c:v>
                </c:pt>
                <c:pt idx="30950">
                  <c:v>-0.104201680672268</c:v>
                </c:pt>
                <c:pt idx="30951">
                  <c:v>-0.104201680672268</c:v>
                </c:pt>
                <c:pt idx="30952">
                  <c:v>-0.104201680672268</c:v>
                </c:pt>
                <c:pt idx="30953">
                  <c:v>-0.104201680672268</c:v>
                </c:pt>
                <c:pt idx="30954">
                  <c:v>-0.104201680672268</c:v>
                </c:pt>
                <c:pt idx="30955">
                  <c:v>-0.104201680672268</c:v>
                </c:pt>
                <c:pt idx="30956">
                  <c:v>-0.104201680672268</c:v>
                </c:pt>
                <c:pt idx="30957">
                  <c:v>-0.104201680672268</c:v>
                </c:pt>
                <c:pt idx="30958">
                  <c:v>-0.104201680672268</c:v>
                </c:pt>
                <c:pt idx="30959">
                  <c:v>-0.104201680672268</c:v>
                </c:pt>
                <c:pt idx="30960">
                  <c:v>-0.104201680672268</c:v>
                </c:pt>
                <c:pt idx="30961">
                  <c:v>-0.104201680672268</c:v>
                </c:pt>
                <c:pt idx="30962">
                  <c:v>-0.104201680672268</c:v>
                </c:pt>
                <c:pt idx="30963">
                  <c:v>-0.104201680672268</c:v>
                </c:pt>
                <c:pt idx="30964">
                  <c:v>-0.104201680672268</c:v>
                </c:pt>
                <c:pt idx="30965">
                  <c:v>-0.104201680672268</c:v>
                </c:pt>
                <c:pt idx="30966">
                  <c:v>-0.104201680672268</c:v>
                </c:pt>
                <c:pt idx="30967">
                  <c:v>-0.104201680672268</c:v>
                </c:pt>
                <c:pt idx="30968">
                  <c:v>-0.104201680672268</c:v>
                </c:pt>
                <c:pt idx="30969">
                  <c:v>-0.104201680672268</c:v>
                </c:pt>
                <c:pt idx="30970">
                  <c:v>-0.104201680672268</c:v>
                </c:pt>
                <c:pt idx="30971">
                  <c:v>-0.104201680672268</c:v>
                </c:pt>
                <c:pt idx="30972">
                  <c:v>-0.104201680672268</c:v>
                </c:pt>
                <c:pt idx="30973">
                  <c:v>-0.104201680672268</c:v>
                </c:pt>
                <c:pt idx="30974">
                  <c:v>-0.104201680672268</c:v>
                </c:pt>
                <c:pt idx="30975">
                  <c:v>-0.104201680672268</c:v>
                </c:pt>
                <c:pt idx="30976">
                  <c:v>-0.104201680672268</c:v>
                </c:pt>
                <c:pt idx="30977">
                  <c:v>-0.104201680672268</c:v>
                </c:pt>
                <c:pt idx="30978">
                  <c:v>-0.104201680672268</c:v>
                </c:pt>
                <c:pt idx="30979">
                  <c:v>-0.104201680672268</c:v>
                </c:pt>
                <c:pt idx="30980">
                  <c:v>-0.104201680672268</c:v>
                </c:pt>
                <c:pt idx="30981">
                  <c:v>-0.104201680672268</c:v>
                </c:pt>
                <c:pt idx="30982">
                  <c:v>-0.104201680672268</c:v>
                </c:pt>
                <c:pt idx="30983">
                  <c:v>-0.104201680672268</c:v>
                </c:pt>
                <c:pt idx="30984">
                  <c:v>-0.104201680672268</c:v>
                </c:pt>
                <c:pt idx="30985">
                  <c:v>-0.104201680672268</c:v>
                </c:pt>
                <c:pt idx="30986">
                  <c:v>-0.104201680672268</c:v>
                </c:pt>
                <c:pt idx="30987">
                  <c:v>-0.104201680672268</c:v>
                </c:pt>
                <c:pt idx="30988">
                  <c:v>-0.104201680672268</c:v>
                </c:pt>
                <c:pt idx="30989">
                  <c:v>-0.104201680672268</c:v>
                </c:pt>
                <c:pt idx="30990">
                  <c:v>-0.104201680672268</c:v>
                </c:pt>
                <c:pt idx="30991">
                  <c:v>-0.104201680672268</c:v>
                </c:pt>
                <c:pt idx="30992">
                  <c:v>-0.104201680672268</c:v>
                </c:pt>
                <c:pt idx="30993">
                  <c:v>-0.104201680672268</c:v>
                </c:pt>
                <c:pt idx="30994">
                  <c:v>-0.104201680672268</c:v>
                </c:pt>
                <c:pt idx="30995">
                  <c:v>-0.104201680672268</c:v>
                </c:pt>
                <c:pt idx="30996">
                  <c:v>-0.104201680672268</c:v>
                </c:pt>
                <c:pt idx="30997">
                  <c:v>-0.104201680672268</c:v>
                </c:pt>
                <c:pt idx="30998">
                  <c:v>-0.104201680672268</c:v>
                </c:pt>
                <c:pt idx="30999">
                  <c:v>-0.104201680672268</c:v>
                </c:pt>
                <c:pt idx="31000">
                  <c:v>-0.104201680672268</c:v>
                </c:pt>
                <c:pt idx="31001">
                  <c:v>-0.104201680672268</c:v>
                </c:pt>
                <c:pt idx="31002">
                  <c:v>-0.104201680672268</c:v>
                </c:pt>
                <c:pt idx="31003">
                  <c:v>-0.104201680672268</c:v>
                </c:pt>
                <c:pt idx="31004">
                  <c:v>-0.104201680672268</c:v>
                </c:pt>
                <c:pt idx="31005">
                  <c:v>-0.104201680672268</c:v>
                </c:pt>
                <c:pt idx="31006">
                  <c:v>-0.104201680672268</c:v>
                </c:pt>
                <c:pt idx="31007">
                  <c:v>-0.104201680672268</c:v>
                </c:pt>
                <c:pt idx="31008">
                  <c:v>-0.104201680672268</c:v>
                </c:pt>
                <c:pt idx="31009">
                  <c:v>-0.104201680672268</c:v>
                </c:pt>
                <c:pt idx="31010">
                  <c:v>-0.104201680672268</c:v>
                </c:pt>
                <c:pt idx="31011">
                  <c:v>-0.104201680672268</c:v>
                </c:pt>
                <c:pt idx="31012">
                  <c:v>-0.104201680672268</c:v>
                </c:pt>
                <c:pt idx="31013">
                  <c:v>-0.104201680672268</c:v>
                </c:pt>
                <c:pt idx="31014">
                  <c:v>-0.104201680672268</c:v>
                </c:pt>
                <c:pt idx="31015">
                  <c:v>-0.104201680672268</c:v>
                </c:pt>
                <c:pt idx="31016">
                  <c:v>-0.104201680672268</c:v>
                </c:pt>
                <c:pt idx="31017">
                  <c:v>-0.104201680672268</c:v>
                </c:pt>
                <c:pt idx="31018">
                  <c:v>-0.104201680672268</c:v>
                </c:pt>
                <c:pt idx="31019">
                  <c:v>-0.104201680672268</c:v>
                </c:pt>
                <c:pt idx="31020">
                  <c:v>-0.104201680672268</c:v>
                </c:pt>
                <c:pt idx="31021">
                  <c:v>-0.104201680672268</c:v>
                </c:pt>
                <c:pt idx="31022">
                  <c:v>-0.104201680672268</c:v>
                </c:pt>
                <c:pt idx="31023">
                  <c:v>-0.104201680672268</c:v>
                </c:pt>
                <c:pt idx="31024">
                  <c:v>-0.104201680672268</c:v>
                </c:pt>
                <c:pt idx="31025">
                  <c:v>-0.104201680672268</c:v>
                </c:pt>
                <c:pt idx="31026">
                  <c:v>-0.104201680672268</c:v>
                </c:pt>
                <c:pt idx="31027">
                  <c:v>-0.104201680672268</c:v>
                </c:pt>
                <c:pt idx="31028">
                  <c:v>-0.104201680672268</c:v>
                </c:pt>
                <c:pt idx="31029">
                  <c:v>-0.104201680672268</c:v>
                </c:pt>
                <c:pt idx="31030">
                  <c:v>-0.104201680672268</c:v>
                </c:pt>
                <c:pt idx="31031">
                  <c:v>-0.104201680672268</c:v>
                </c:pt>
                <c:pt idx="31032">
                  <c:v>-0.104201680672268</c:v>
                </c:pt>
                <c:pt idx="31033">
                  <c:v>-0.10336134453781499</c:v>
                </c:pt>
                <c:pt idx="31034">
                  <c:v>-0.10336134453781499</c:v>
                </c:pt>
                <c:pt idx="31035">
                  <c:v>-0.10336134453781499</c:v>
                </c:pt>
                <c:pt idx="31036">
                  <c:v>-0.10336134453781499</c:v>
                </c:pt>
                <c:pt idx="31037">
                  <c:v>-0.10336134453781499</c:v>
                </c:pt>
                <c:pt idx="31038">
                  <c:v>-0.10336134453781499</c:v>
                </c:pt>
                <c:pt idx="31039">
                  <c:v>-0.10336134453781499</c:v>
                </c:pt>
                <c:pt idx="31040">
                  <c:v>-0.10336134453781499</c:v>
                </c:pt>
                <c:pt idx="31041">
                  <c:v>-0.10252100840336099</c:v>
                </c:pt>
                <c:pt idx="31042">
                  <c:v>-0.10252100840336099</c:v>
                </c:pt>
                <c:pt idx="31043">
                  <c:v>-0.10252100840336099</c:v>
                </c:pt>
                <c:pt idx="31044">
                  <c:v>-0.10252100840336099</c:v>
                </c:pt>
                <c:pt idx="31045">
                  <c:v>-0.10252100840336099</c:v>
                </c:pt>
                <c:pt idx="31046">
                  <c:v>-0.10252100840336099</c:v>
                </c:pt>
                <c:pt idx="31047">
                  <c:v>-0.10252100840336099</c:v>
                </c:pt>
                <c:pt idx="31048">
                  <c:v>-0.10252100840336099</c:v>
                </c:pt>
                <c:pt idx="31049">
                  <c:v>-0.10252100840336099</c:v>
                </c:pt>
                <c:pt idx="31050">
                  <c:v>-0.10252100840336099</c:v>
                </c:pt>
                <c:pt idx="31051">
                  <c:v>-0.10252100840336099</c:v>
                </c:pt>
                <c:pt idx="31052">
                  <c:v>-0.10252100840336099</c:v>
                </c:pt>
                <c:pt idx="31053">
                  <c:v>-0.10252100840336099</c:v>
                </c:pt>
                <c:pt idx="31054">
                  <c:v>-0.10252100840336099</c:v>
                </c:pt>
                <c:pt idx="31055">
                  <c:v>-0.10252100840336099</c:v>
                </c:pt>
                <c:pt idx="31056">
                  <c:v>-0.10252100840336099</c:v>
                </c:pt>
                <c:pt idx="31057">
                  <c:v>-0.10252100840336099</c:v>
                </c:pt>
                <c:pt idx="31058">
                  <c:v>-0.10252100840336099</c:v>
                </c:pt>
                <c:pt idx="31059">
                  <c:v>-0.10252100840336099</c:v>
                </c:pt>
                <c:pt idx="31060">
                  <c:v>-0.10252100840336099</c:v>
                </c:pt>
                <c:pt idx="31061">
                  <c:v>-0.10252100840336099</c:v>
                </c:pt>
                <c:pt idx="31062">
                  <c:v>-0.10252100840336099</c:v>
                </c:pt>
                <c:pt idx="31063">
                  <c:v>-0.10252100840336099</c:v>
                </c:pt>
                <c:pt idx="31064">
                  <c:v>-0.10252100840336099</c:v>
                </c:pt>
                <c:pt idx="31065">
                  <c:v>-0.10252100840336099</c:v>
                </c:pt>
                <c:pt idx="31066">
                  <c:v>-0.10252100840336099</c:v>
                </c:pt>
                <c:pt idx="31067">
                  <c:v>-0.10252100840336099</c:v>
                </c:pt>
                <c:pt idx="31068">
                  <c:v>-0.10168067226890699</c:v>
                </c:pt>
                <c:pt idx="31069">
                  <c:v>-0.10168067226890699</c:v>
                </c:pt>
                <c:pt idx="31070">
                  <c:v>-0.10168067226890699</c:v>
                </c:pt>
                <c:pt idx="31071">
                  <c:v>-0.10168067226890699</c:v>
                </c:pt>
                <c:pt idx="31072">
                  <c:v>-0.10168067226890699</c:v>
                </c:pt>
                <c:pt idx="31073">
                  <c:v>-0.10168067226890699</c:v>
                </c:pt>
                <c:pt idx="31074">
                  <c:v>-0.10168067226890699</c:v>
                </c:pt>
                <c:pt idx="31075">
                  <c:v>-0.10084033613445301</c:v>
                </c:pt>
                <c:pt idx="31076">
                  <c:v>-9.9999999999999895E-2</c:v>
                </c:pt>
                <c:pt idx="31077">
                  <c:v>-9.9999999999999895E-2</c:v>
                </c:pt>
                <c:pt idx="31078">
                  <c:v>-9.9999999999999895E-2</c:v>
                </c:pt>
                <c:pt idx="31079">
                  <c:v>-9.9999999999999895E-2</c:v>
                </c:pt>
                <c:pt idx="31080">
                  <c:v>-9.9999999999999895E-2</c:v>
                </c:pt>
                <c:pt idx="31081">
                  <c:v>-9.9999999999999895E-2</c:v>
                </c:pt>
                <c:pt idx="31082">
                  <c:v>-9.9999999999999895E-2</c:v>
                </c:pt>
                <c:pt idx="31083">
                  <c:v>-9.9999999999999895E-2</c:v>
                </c:pt>
                <c:pt idx="31084">
                  <c:v>-9.9999999999999895E-2</c:v>
                </c:pt>
                <c:pt idx="31085">
                  <c:v>-9.9999999999999895E-2</c:v>
                </c:pt>
                <c:pt idx="31086">
                  <c:v>-9.9999999999999895E-2</c:v>
                </c:pt>
                <c:pt idx="31087">
                  <c:v>-9.9999999999999895E-2</c:v>
                </c:pt>
                <c:pt idx="31088">
                  <c:v>-9.9999999999999895E-2</c:v>
                </c:pt>
                <c:pt idx="31089">
                  <c:v>-9.9999999999999895E-2</c:v>
                </c:pt>
                <c:pt idx="31090">
                  <c:v>-9.9999999999999895E-2</c:v>
                </c:pt>
                <c:pt idx="31091">
                  <c:v>-9.9999999999999895E-2</c:v>
                </c:pt>
                <c:pt idx="31092">
                  <c:v>-9.9999999999999895E-2</c:v>
                </c:pt>
                <c:pt idx="31093">
                  <c:v>-9.9159663865546199E-2</c:v>
                </c:pt>
                <c:pt idx="31094">
                  <c:v>-9.9159663865546199E-2</c:v>
                </c:pt>
                <c:pt idx="31095">
                  <c:v>-9.9159663865546199E-2</c:v>
                </c:pt>
                <c:pt idx="31096">
                  <c:v>-9.9159663865546199E-2</c:v>
                </c:pt>
                <c:pt idx="31097">
                  <c:v>-9.9159663865546199E-2</c:v>
                </c:pt>
                <c:pt idx="31098">
                  <c:v>-9.9159663865546199E-2</c:v>
                </c:pt>
                <c:pt idx="31099">
                  <c:v>-9.9159663865546199E-2</c:v>
                </c:pt>
                <c:pt idx="31100">
                  <c:v>-9.9159663865546199E-2</c:v>
                </c:pt>
                <c:pt idx="31101">
                  <c:v>-9.9159663865546199E-2</c:v>
                </c:pt>
                <c:pt idx="31102">
                  <c:v>-9.9159663865546199E-2</c:v>
                </c:pt>
                <c:pt idx="31103">
                  <c:v>-9.9159663865546199E-2</c:v>
                </c:pt>
                <c:pt idx="31104">
                  <c:v>-9.9159663865546199E-2</c:v>
                </c:pt>
                <c:pt idx="31105">
                  <c:v>-9.9159663865546199E-2</c:v>
                </c:pt>
                <c:pt idx="31106">
                  <c:v>-9.9159663865546199E-2</c:v>
                </c:pt>
                <c:pt idx="31107">
                  <c:v>-9.9159663865546199E-2</c:v>
                </c:pt>
                <c:pt idx="31108">
                  <c:v>-9.9159663865546199E-2</c:v>
                </c:pt>
                <c:pt idx="31109">
                  <c:v>-9.9159663865546199E-2</c:v>
                </c:pt>
                <c:pt idx="31110">
                  <c:v>-9.9159663865546199E-2</c:v>
                </c:pt>
                <c:pt idx="31111">
                  <c:v>-9.9159663865546199E-2</c:v>
                </c:pt>
                <c:pt idx="31112">
                  <c:v>-9.9159663865546199E-2</c:v>
                </c:pt>
                <c:pt idx="31113">
                  <c:v>-9.9159663865546199E-2</c:v>
                </c:pt>
                <c:pt idx="31114">
                  <c:v>-9.9159663865546199E-2</c:v>
                </c:pt>
                <c:pt idx="31115">
                  <c:v>-9.9159663865546199E-2</c:v>
                </c:pt>
                <c:pt idx="31116">
                  <c:v>-9.9159663865546199E-2</c:v>
                </c:pt>
                <c:pt idx="31117">
                  <c:v>-9.9159663865546199E-2</c:v>
                </c:pt>
                <c:pt idx="31118">
                  <c:v>-9.9159663865546199E-2</c:v>
                </c:pt>
                <c:pt idx="31119">
                  <c:v>-9.9159663865546199E-2</c:v>
                </c:pt>
                <c:pt idx="31120">
                  <c:v>-9.9159663865546199E-2</c:v>
                </c:pt>
                <c:pt idx="31121">
                  <c:v>-9.9159663865546199E-2</c:v>
                </c:pt>
                <c:pt idx="31122">
                  <c:v>-9.9159663865546199E-2</c:v>
                </c:pt>
                <c:pt idx="31123">
                  <c:v>-9.9159663865546199E-2</c:v>
                </c:pt>
                <c:pt idx="31124">
                  <c:v>-9.9159663865546199E-2</c:v>
                </c:pt>
                <c:pt idx="31125">
                  <c:v>-9.9159663865546199E-2</c:v>
                </c:pt>
                <c:pt idx="31126">
                  <c:v>-9.9159663865546199E-2</c:v>
                </c:pt>
                <c:pt idx="31127">
                  <c:v>-9.9159663865546199E-2</c:v>
                </c:pt>
                <c:pt idx="31128">
                  <c:v>-9.9159663865546199E-2</c:v>
                </c:pt>
                <c:pt idx="31129">
                  <c:v>-9.9159663865546199E-2</c:v>
                </c:pt>
                <c:pt idx="31130">
                  <c:v>-9.9159663865546199E-2</c:v>
                </c:pt>
                <c:pt idx="31131">
                  <c:v>-9.9159663865546199E-2</c:v>
                </c:pt>
                <c:pt idx="31132">
                  <c:v>-9.9159663865546199E-2</c:v>
                </c:pt>
                <c:pt idx="31133">
                  <c:v>-9.9159663865546199E-2</c:v>
                </c:pt>
                <c:pt idx="31134">
                  <c:v>-9.9159663865546199E-2</c:v>
                </c:pt>
                <c:pt idx="31135">
                  <c:v>-9.9159663865546199E-2</c:v>
                </c:pt>
                <c:pt idx="31136">
                  <c:v>-9.9159663865546199E-2</c:v>
                </c:pt>
                <c:pt idx="31137">
                  <c:v>-9.9159663865546199E-2</c:v>
                </c:pt>
                <c:pt idx="31138">
                  <c:v>-9.9159663865546199E-2</c:v>
                </c:pt>
                <c:pt idx="31139">
                  <c:v>-9.9159663865546199E-2</c:v>
                </c:pt>
                <c:pt idx="31140">
                  <c:v>-9.8319327731092407E-2</c:v>
                </c:pt>
                <c:pt idx="31141">
                  <c:v>-9.8319327731092407E-2</c:v>
                </c:pt>
                <c:pt idx="31142">
                  <c:v>-9.8319327731092407E-2</c:v>
                </c:pt>
                <c:pt idx="31143">
                  <c:v>-9.8319327731092407E-2</c:v>
                </c:pt>
                <c:pt idx="31144">
                  <c:v>-9.8319327731092407E-2</c:v>
                </c:pt>
                <c:pt idx="31145">
                  <c:v>-9.8319327731092407E-2</c:v>
                </c:pt>
                <c:pt idx="31146">
                  <c:v>-9.8319327731092407E-2</c:v>
                </c:pt>
                <c:pt idx="31147">
                  <c:v>-9.8319327731092407E-2</c:v>
                </c:pt>
                <c:pt idx="31148">
                  <c:v>-9.8319327731092407E-2</c:v>
                </c:pt>
                <c:pt idx="31149">
                  <c:v>-9.8319327731092407E-2</c:v>
                </c:pt>
                <c:pt idx="31150">
                  <c:v>-9.8319327731092407E-2</c:v>
                </c:pt>
                <c:pt idx="31151">
                  <c:v>-9.8319327731092407E-2</c:v>
                </c:pt>
                <c:pt idx="31152">
                  <c:v>-9.8319327731092407E-2</c:v>
                </c:pt>
                <c:pt idx="31153">
                  <c:v>-9.8319327731092407E-2</c:v>
                </c:pt>
                <c:pt idx="31154">
                  <c:v>-9.8319327731092407E-2</c:v>
                </c:pt>
                <c:pt idx="31155">
                  <c:v>-9.8319327731092407E-2</c:v>
                </c:pt>
                <c:pt idx="31156">
                  <c:v>-9.8319327731092407E-2</c:v>
                </c:pt>
                <c:pt idx="31157">
                  <c:v>-9.7478991596638601E-2</c:v>
                </c:pt>
                <c:pt idx="31158">
                  <c:v>-9.7478991596638601E-2</c:v>
                </c:pt>
                <c:pt idx="31159">
                  <c:v>-9.7478991596638601E-2</c:v>
                </c:pt>
                <c:pt idx="31160">
                  <c:v>-9.7478991596638601E-2</c:v>
                </c:pt>
                <c:pt idx="31161">
                  <c:v>-9.7478991596638601E-2</c:v>
                </c:pt>
                <c:pt idx="31162">
                  <c:v>-9.7478991596638601E-2</c:v>
                </c:pt>
                <c:pt idx="31163">
                  <c:v>-9.7478991596638601E-2</c:v>
                </c:pt>
                <c:pt idx="31164">
                  <c:v>-9.7478991596638601E-2</c:v>
                </c:pt>
                <c:pt idx="31165">
                  <c:v>-9.7478991596638601E-2</c:v>
                </c:pt>
                <c:pt idx="31166">
                  <c:v>-9.7478991596638601E-2</c:v>
                </c:pt>
                <c:pt idx="31167">
                  <c:v>-9.7478991596638601E-2</c:v>
                </c:pt>
                <c:pt idx="31168">
                  <c:v>-9.7478991596638601E-2</c:v>
                </c:pt>
                <c:pt idx="31169">
                  <c:v>-9.7478991596638601E-2</c:v>
                </c:pt>
                <c:pt idx="31170">
                  <c:v>-9.7478991596638601E-2</c:v>
                </c:pt>
                <c:pt idx="31171">
                  <c:v>-9.7478991596638601E-2</c:v>
                </c:pt>
                <c:pt idx="31172">
                  <c:v>-9.7478991596638601E-2</c:v>
                </c:pt>
                <c:pt idx="31173">
                  <c:v>-9.7478991596638601E-2</c:v>
                </c:pt>
                <c:pt idx="31174">
                  <c:v>-9.7478991596638601E-2</c:v>
                </c:pt>
                <c:pt idx="31175">
                  <c:v>-9.7478991596638601E-2</c:v>
                </c:pt>
                <c:pt idx="31176">
                  <c:v>-9.7478991596638601E-2</c:v>
                </c:pt>
                <c:pt idx="31177">
                  <c:v>-9.7478991596638601E-2</c:v>
                </c:pt>
                <c:pt idx="31178">
                  <c:v>-9.7478991596638601E-2</c:v>
                </c:pt>
                <c:pt idx="31179">
                  <c:v>-9.7478991596638601E-2</c:v>
                </c:pt>
                <c:pt idx="31180">
                  <c:v>-9.7478991596638601E-2</c:v>
                </c:pt>
                <c:pt idx="31181">
                  <c:v>-9.7478991596638601E-2</c:v>
                </c:pt>
                <c:pt idx="31182">
                  <c:v>-9.7478991596638601E-2</c:v>
                </c:pt>
                <c:pt idx="31183">
                  <c:v>-9.7478991596638601E-2</c:v>
                </c:pt>
                <c:pt idx="31184">
                  <c:v>-9.7478991596638601E-2</c:v>
                </c:pt>
                <c:pt idx="31185">
                  <c:v>-9.7478991596638601E-2</c:v>
                </c:pt>
                <c:pt idx="31186">
                  <c:v>-9.7478991596638601E-2</c:v>
                </c:pt>
                <c:pt idx="31187">
                  <c:v>-9.7478991596638601E-2</c:v>
                </c:pt>
                <c:pt idx="31188">
                  <c:v>-9.7478991596638601E-2</c:v>
                </c:pt>
                <c:pt idx="31189">
                  <c:v>-9.7478991596638601E-2</c:v>
                </c:pt>
                <c:pt idx="31190">
                  <c:v>-9.7478991596638601E-2</c:v>
                </c:pt>
                <c:pt idx="31191">
                  <c:v>-9.7478991596638601E-2</c:v>
                </c:pt>
                <c:pt idx="31192">
                  <c:v>-9.7478991596638601E-2</c:v>
                </c:pt>
                <c:pt idx="31193">
                  <c:v>-9.7478991596638601E-2</c:v>
                </c:pt>
                <c:pt idx="31194">
                  <c:v>-9.7478991596638601E-2</c:v>
                </c:pt>
                <c:pt idx="31195">
                  <c:v>-9.7478991596638601E-2</c:v>
                </c:pt>
                <c:pt idx="31196">
                  <c:v>-9.7478991596638601E-2</c:v>
                </c:pt>
                <c:pt idx="31197">
                  <c:v>-9.7478991596638601E-2</c:v>
                </c:pt>
                <c:pt idx="31198">
                  <c:v>-9.7478991596638601E-2</c:v>
                </c:pt>
                <c:pt idx="31199">
                  <c:v>-9.7478991596638601E-2</c:v>
                </c:pt>
                <c:pt idx="31200">
                  <c:v>-9.7478991596638601E-2</c:v>
                </c:pt>
                <c:pt idx="31201">
                  <c:v>-9.7478991596638601E-2</c:v>
                </c:pt>
                <c:pt idx="31202">
                  <c:v>-9.7478991596638601E-2</c:v>
                </c:pt>
                <c:pt idx="31203">
                  <c:v>-9.7478991596638601E-2</c:v>
                </c:pt>
                <c:pt idx="31204">
                  <c:v>-9.7478991596638601E-2</c:v>
                </c:pt>
                <c:pt idx="31205">
                  <c:v>-9.7478991596638601E-2</c:v>
                </c:pt>
                <c:pt idx="31206">
                  <c:v>-9.7478991596638601E-2</c:v>
                </c:pt>
                <c:pt idx="31207">
                  <c:v>-9.7478991596638601E-2</c:v>
                </c:pt>
                <c:pt idx="31208">
                  <c:v>-9.7478991596638601E-2</c:v>
                </c:pt>
                <c:pt idx="31209">
                  <c:v>-9.7478991596638601E-2</c:v>
                </c:pt>
                <c:pt idx="31210">
                  <c:v>-9.7478991596638601E-2</c:v>
                </c:pt>
                <c:pt idx="31211">
                  <c:v>-9.7478991596638601E-2</c:v>
                </c:pt>
                <c:pt idx="31212">
                  <c:v>-9.7478991596638601E-2</c:v>
                </c:pt>
                <c:pt idx="31213">
                  <c:v>-9.7478991596638601E-2</c:v>
                </c:pt>
                <c:pt idx="31214">
                  <c:v>-9.7478991596638601E-2</c:v>
                </c:pt>
                <c:pt idx="31215">
                  <c:v>-9.7478991596638601E-2</c:v>
                </c:pt>
                <c:pt idx="31216">
                  <c:v>-9.7478991596638601E-2</c:v>
                </c:pt>
                <c:pt idx="31217">
                  <c:v>-9.7478991596638601E-2</c:v>
                </c:pt>
                <c:pt idx="31218">
                  <c:v>-9.7478991596638601E-2</c:v>
                </c:pt>
                <c:pt idx="31219">
                  <c:v>-9.7478991596638601E-2</c:v>
                </c:pt>
                <c:pt idx="31220">
                  <c:v>-9.6638655462184794E-2</c:v>
                </c:pt>
                <c:pt idx="31221">
                  <c:v>-9.6638655462184794E-2</c:v>
                </c:pt>
                <c:pt idx="31222">
                  <c:v>-9.6638655462184794E-2</c:v>
                </c:pt>
                <c:pt idx="31223">
                  <c:v>-9.6638655462184794E-2</c:v>
                </c:pt>
                <c:pt idx="31224">
                  <c:v>-9.6638655462184794E-2</c:v>
                </c:pt>
                <c:pt idx="31225">
                  <c:v>-9.6638655462184794E-2</c:v>
                </c:pt>
                <c:pt idx="31226">
                  <c:v>-9.5798319327731002E-2</c:v>
                </c:pt>
                <c:pt idx="31227">
                  <c:v>-9.5798319327731002E-2</c:v>
                </c:pt>
                <c:pt idx="31228">
                  <c:v>-9.5798319327731002E-2</c:v>
                </c:pt>
                <c:pt idx="31229">
                  <c:v>-9.5798319327731002E-2</c:v>
                </c:pt>
                <c:pt idx="31230">
                  <c:v>-9.5798319327731002E-2</c:v>
                </c:pt>
                <c:pt idx="31231">
                  <c:v>-9.5798319327731002E-2</c:v>
                </c:pt>
                <c:pt idx="31232">
                  <c:v>-9.5798319327731002E-2</c:v>
                </c:pt>
                <c:pt idx="31233">
                  <c:v>-9.5798319327731002E-2</c:v>
                </c:pt>
                <c:pt idx="31234">
                  <c:v>-9.5798319327731002E-2</c:v>
                </c:pt>
                <c:pt idx="31235">
                  <c:v>-9.5798319327731002E-2</c:v>
                </c:pt>
                <c:pt idx="31236">
                  <c:v>-9.5798319327731002E-2</c:v>
                </c:pt>
                <c:pt idx="31237">
                  <c:v>-9.5798319327731002E-2</c:v>
                </c:pt>
                <c:pt idx="31238">
                  <c:v>-9.5798319327731002E-2</c:v>
                </c:pt>
                <c:pt idx="31239">
                  <c:v>-9.5798319327731002E-2</c:v>
                </c:pt>
                <c:pt idx="31240">
                  <c:v>-9.5798319327731002E-2</c:v>
                </c:pt>
                <c:pt idx="31241">
                  <c:v>-9.5798319327731002E-2</c:v>
                </c:pt>
                <c:pt idx="31242">
                  <c:v>-9.5798319327731002E-2</c:v>
                </c:pt>
                <c:pt idx="31243">
                  <c:v>-9.5798319327731002E-2</c:v>
                </c:pt>
                <c:pt idx="31244">
                  <c:v>-9.5798319327731002E-2</c:v>
                </c:pt>
                <c:pt idx="31245">
                  <c:v>-9.5798319327731002E-2</c:v>
                </c:pt>
                <c:pt idx="31246">
                  <c:v>-9.5798319327731002E-2</c:v>
                </c:pt>
                <c:pt idx="31247">
                  <c:v>-9.5798319327731002E-2</c:v>
                </c:pt>
                <c:pt idx="31248">
                  <c:v>-9.5798319327731002E-2</c:v>
                </c:pt>
                <c:pt idx="31249">
                  <c:v>-9.5798319327731002E-2</c:v>
                </c:pt>
                <c:pt idx="31250">
                  <c:v>-9.5798319327731002E-2</c:v>
                </c:pt>
                <c:pt idx="31251">
                  <c:v>-9.5798319327731002E-2</c:v>
                </c:pt>
                <c:pt idx="31252">
                  <c:v>-9.5798319327731002E-2</c:v>
                </c:pt>
                <c:pt idx="31253">
                  <c:v>-9.5798319327731002E-2</c:v>
                </c:pt>
                <c:pt idx="31254">
                  <c:v>-9.5798319327731002E-2</c:v>
                </c:pt>
                <c:pt idx="31255">
                  <c:v>-9.5798319327731002E-2</c:v>
                </c:pt>
                <c:pt idx="31256">
                  <c:v>-9.5798319327731002E-2</c:v>
                </c:pt>
                <c:pt idx="31257">
                  <c:v>-9.5798319327731002E-2</c:v>
                </c:pt>
                <c:pt idx="31258">
                  <c:v>-9.5798319327731002E-2</c:v>
                </c:pt>
                <c:pt idx="31259">
                  <c:v>-9.5798319327731002E-2</c:v>
                </c:pt>
                <c:pt idx="31260">
                  <c:v>-9.5798319327731002E-2</c:v>
                </c:pt>
                <c:pt idx="31261">
                  <c:v>-9.5798319327731002E-2</c:v>
                </c:pt>
                <c:pt idx="31262">
                  <c:v>-9.5798319327731002E-2</c:v>
                </c:pt>
                <c:pt idx="31263">
                  <c:v>-9.5798319327731002E-2</c:v>
                </c:pt>
                <c:pt idx="31264">
                  <c:v>-9.5798319327731002E-2</c:v>
                </c:pt>
                <c:pt idx="31265">
                  <c:v>-9.5798319327731002E-2</c:v>
                </c:pt>
                <c:pt idx="31266">
                  <c:v>-9.5798319327731002E-2</c:v>
                </c:pt>
                <c:pt idx="31267">
                  <c:v>-9.5798319327731002E-2</c:v>
                </c:pt>
                <c:pt idx="31268">
                  <c:v>-9.5798319327731002E-2</c:v>
                </c:pt>
                <c:pt idx="31269">
                  <c:v>-9.5798319327731002E-2</c:v>
                </c:pt>
                <c:pt idx="31270">
                  <c:v>-9.5798319327731002E-2</c:v>
                </c:pt>
                <c:pt idx="31271">
                  <c:v>-9.5798319327731002E-2</c:v>
                </c:pt>
                <c:pt idx="31272">
                  <c:v>-9.5798319327731002E-2</c:v>
                </c:pt>
                <c:pt idx="31273">
                  <c:v>-9.5798319327731002E-2</c:v>
                </c:pt>
                <c:pt idx="31274">
                  <c:v>-9.5798319327731002E-2</c:v>
                </c:pt>
                <c:pt idx="31275">
                  <c:v>-9.5798319327731002E-2</c:v>
                </c:pt>
                <c:pt idx="31276">
                  <c:v>-9.4957983193277307E-2</c:v>
                </c:pt>
                <c:pt idx="31277">
                  <c:v>-9.4957983193277307E-2</c:v>
                </c:pt>
                <c:pt idx="31278">
                  <c:v>-9.5798319327731002E-2</c:v>
                </c:pt>
                <c:pt idx="31279">
                  <c:v>-9.5798319327731002E-2</c:v>
                </c:pt>
                <c:pt idx="31280">
                  <c:v>-9.5798319327731002E-2</c:v>
                </c:pt>
                <c:pt idx="31281">
                  <c:v>-9.5798319327731002E-2</c:v>
                </c:pt>
                <c:pt idx="31282">
                  <c:v>-9.5798319327731002E-2</c:v>
                </c:pt>
                <c:pt idx="31283">
                  <c:v>-9.5798319327731002E-2</c:v>
                </c:pt>
                <c:pt idx="31284">
                  <c:v>-9.5798319327731002E-2</c:v>
                </c:pt>
                <c:pt idx="31285">
                  <c:v>-9.5798319327731002E-2</c:v>
                </c:pt>
                <c:pt idx="31286">
                  <c:v>-9.5798319327731002E-2</c:v>
                </c:pt>
                <c:pt idx="31287">
                  <c:v>-9.5798319327731002E-2</c:v>
                </c:pt>
                <c:pt idx="31288">
                  <c:v>-9.5798319327731002E-2</c:v>
                </c:pt>
                <c:pt idx="31289">
                  <c:v>-9.5798319327731002E-2</c:v>
                </c:pt>
                <c:pt idx="31290">
                  <c:v>-9.5798319327731002E-2</c:v>
                </c:pt>
                <c:pt idx="31291">
                  <c:v>-9.5798319327731002E-2</c:v>
                </c:pt>
                <c:pt idx="31292">
                  <c:v>-9.5798319327731002E-2</c:v>
                </c:pt>
                <c:pt idx="31293">
                  <c:v>-9.5798319327731002E-2</c:v>
                </c:pt>
                <c:pt idx="31294">
                  <c:v>-9.5798319327731002E-2</c:v>
                </c:pt>
                <c:pt idx="31295">
                  <c:v>-9.5798319327731002E-2</c:v>
                </c:pt>
                <c:pt idx="31296">
                  <c:v>-9.5798319327731002E-2</c:v>
                </c:pt>
                <c:pt idx="31297">
                  <c:v>-9.5798319327731002E-2</c:v>
                </c:pt>
                <c:pt idx="31298">
                  <c:v>-9.5798319327731002E-2</c:v>
                </c:pt>
                <c:pt idx="31299">
                  <c:v>-9.5798319327731002E-2</c:v>
                </c:pt>
                <c:pt idx="31300">
                  <c:v>-9.5798319327731002E-2</c:v>
                </c:pt>
                <c:pt idx="31301">
                  <c:v>-9.5798319327731002E-2</c:v>
                </c:pt>
                <c:pt idx="31302">
                  <c:v>-9.5798319327731002E-2</c:v>
                </c:pt>
                <c:pt idx="31303">
                  <c:v>-9.5798319327731002E-2</c:v>
                </c:pt>
                <c:pt idx="31304">
                  <c:v>-9.5798319327731002E-2</c:v>
                </c:pt>
                <c:pt idx="31305">
                  <c:v>-9.5798319327731002E-2</c:v>
                </c:pt>
                <c:pt idx="31306">
                  <c:v>-9.5798319327731002E-2</c:v>
                </c:pt>
                <c:pt idx="31307">
                  <c:v>-9.5798319327731002E-2</c:v>
                </c:pt>
                <c:pt idx="31308">
                  <c:v>-9.5798319327731002E-2</c:v>
                </c:pt>
                <c:pt idx="31309">
                  <c:v>-9.5798319327731002E-2</c:v>
                </c:pt>
                <c:pt idx="31310">
                  <c:v>-9.5798319327731002E-2</c:v>
                </c:pt>
                <c:pt idx="31311">
                  <c:v>-9.5798319327731002E-2</c:v>
                </c:pt>
                <c:pt idx="31312">
                  <c:v>-9.5798319327731002E-2</c:v>
                </c:pt>
                <c:pt idx="31313">
                  <c:v>-9.5798319327731002E-2</c:v>
                </c:pt>
                <c:pt idx="31314">
                  <c:v>-9.5798319327731002E-2</c:v>
                </c:pt>
                <c:pt idx="31315">
                  <c:v>-9.5798319327731002E-2</c:v>
                </c:pt>
                <c:pt idx="31316">
                  <c:v>-9.5798319327731002E-2</c:v>
                </c:pt>
                <c:pt idx="31317">
                  <c:v>-9.5798319327731002E-2</c:v>
                </c:pt>
                <c:pt idx="31318">
                  <c:v>-9.5798319327731002E-2</c:v>
                </c:pt>
                <c:pt idx="31319">
                  <c:v>-9.5798319327731002E-2</c:v>
                </c:pt>
                <c:pt idx="31320">
                  <c:v>-9.5798319327731002E-2</c:v>
                </c:pt>
                <c:pt idx="31321">
                  <c:v>-9.5798319327731002E-2</c:v>
                </c:pt>
                <c:pt idx="31322">
                  <c:v>-9.5798319327731002E-2</c:v>
                </c:pt>
                <c:pt idx="31323">
                  <c:v>-9.5798319327731002E-2</c:v>
                </c:pt>
                <c:pt idx="31324">
                  <c:v>-9.5798319327731002E-2</c:v>
                </c:pt>
                <c:pt idx="31325">
                  <c:v>-9.5798319327731002E-2</c:v>
                </c:pt>
                <c:pt idx="31326">
                  <c:v>-9.5798319327731002E-2</c:v>
                </c:pt>
                <c:pt idx="31327">
                  <c:v>-9.5798319327731002E-2</c:v>
                </c:pt>
                <c:pt idx="31328">
                  <c:v>-9.5798319327731002E-2</c:v>
                </c:pt>
                <c:pt idx="31329">
                  <c:v>-9.5798319327731002E-2</c:v>
                </c:pt>
                <c:pt idx="31330">
                  <c:v>-9.5798319327731002E-2</c:v>
                </c:pt>
                <c:pt idx="31331">
                  <c:v>-9.5798319327731002E-2</c:v>
                </c:pt>
                <c:pt idx="31332">
                  <c:v>-9.5798319327731002E-2</c:v>
                </c:pt>
                <c:pt idx="31333">
                  <c:v>-9.5798319327731002E-2</c:v>
                </c:pt>
                <c:pt idx="31334">
                  <c:v>-9.5798319327731002E-2</c:v>
                </c:pt>
                <c:pt idx="31335">
                  <c:v>-9.5798319327731002E-2</c:v>
                </c:pt>
                <c:pt idx="31336">
                  <c:v>-9.4957983193277307E-2</c:v>
                </c:pt>
                <c:pt idx="31337">
                  <c:v>-9.41176470588235E-2</c:v>
                </c:pt>
                <c:pt idx="31338">
                  <c:v>-9.41176470588235E-2</c:v>
                </c:pt>
                <c:pt idx="31339">
                  <c:v>-9.41176470588235E-2</c:v>
                </c:pt>
                <c:pt idx="31340">
                  <c:v>-9.41176470588235E-2</c:v>
                </c:pt>
                <c:pt idx="31341">
                  <c:v>-9.41176470588235E-2</c:v>
                </c:pt>
                <c:pt idx="31342">
                  <c:v>-9.41176470588235E-2</c:v>
                </c:pt>
                <c:pt idx="31343">
                  <c:v>-9.41176470588235E-2</c:v>
                </c:pt>
                <c:pt idx="31344">
                  <c:v>-9.41176470588235E-2</c:v>
                </c:pt>
                <c:pt idx="31345">
                  <c:v>-9.41176470588235E-2</c:v>
                </c:pt>
                <c:pt idx="31346">
                  <c:v>-9.41176470588235E-2</c:v>
                </c:pt>
                <c:pt idx="31347">
                  <c:v>-9.41176470588235E-2</c:v>
                </c:pt>
                <c:pt idx="31348">
                  <c:v>-9.41176470588235E-2</c:v>
                </c:pt>
                <c:pt idx="31349">
                  <c:v>-9.41176470588235E-2</c:v>
                </c:pt>
                <c:pt idx="31350">
                  <c:v>-9.41176470588235E-2</c:v>
                </c:pt>
                <c:pt idx="31351">
                  <c:v>-9.41176470588235E-2</c:v>
                </c:pt>
                <c:pt idx="31352">
                  <c:v>-9.41176470588235E-2</c:v>
                </c:pt>
                <c:pt idx="31353">
                  <c:v>-9.41176470588235E-2</c:v>
                </c:pt>
                <c:pt idx="31354">
                  <c:v>-9.41176470588235E-2</c:v>
                </c:pt>
                <c:pt idx="31355">
                  <c:v>-9.41176470588235E-2</c:v>
                </c:pt>
                <c:pt idx="31356">
                  <c:v>-9.41176470588235E-2</c:v>
                </c:pt>
                <c:pt idx="31357">
                  <c:v>-9.41176470588235E-2</c:v>
                </c:pt>
                <c:pt idx="31358">
                  <c:v>-9.41176470588235E-2</c:v>
                </c:pt>
                <c:pt idx="31359">
                  <c:v>-9.41176470588235E-2</c:v>
                </c:pt>
                <c:pt idx="31360">
                  <c:v>-9.41176470588235E-2</c:v>
                </c:pt>
                <c:pt idx="31361">
                  <c:v>-9.41176470588235E-2</c:v>
                </c:pt>
                <c:pt idx="31362">
                  <c:v>-9.41176470588235E-2</c:v>
                </c:pt>
                <c:pt idx="31363">
                  <c:v>-9.41176470588235E-2</c:v>
                </c:pt>
                <c:pt idx="31364">
                  <c:v>-9.41176470588235E-2</c:v>
                </c:pt>
                <c:pt idx="31365">
                  <c:v>-9.41176470588235E-2</c:v>
                </c:pt>
                <c:pt idx="31366">
                  <c:v>-9.41176470588235E-2</c:v>
                </c:pt>
                <c:pt idx="31367">
                  <c:v>-9.41176470588235E-2</c:v>
                </c:pt>
                <c:pt idx="31368">
                  <c:v>-9.41176470588235E-2</c:v>
                </c:pt>
                <c:pt idx="31369">
                  <c:v>-9.41176470588235E-2</c:v>
                </c:pt>
                <c:pt idx="31370">
                  <c:v>-9.41176470588235E-2</c:v>
                </c:pt>
                <c:pt idx="31371">
                  <c:v>-9.41176470588235E-2</c:v>
                </c:pt>
                <c:pt idx="31372">
                  <c:v>-9.41176470588235E-2</c:v>
                </c:pt>
                <c:pt idx="31373">
                  <c:v>-9.41176470588235E-2</c:v>
                </c:pt>
                <c:pt idx="31374">
                  <c:v>-9.41176470588235E-2</c:v>
                </c:pt>
                <c:pt idx="31375">
                  <c:v>-9.41176470588235E-2</c:v>
                </c:pt>
                <c:pt idx="31376">
                  <c:v>-9.41176470588235E-2</c:v>
                </c:pt>
                <c:pt idx="31377">
                  <c:v>-9.41176470588235E-2</c:v>
                </c:pt>
                <c:pt idx="31378">
                  <c:v>-9.41176470588235E-2</c:v>
                </c:pt>
                <c:pt idx="31379">
                  <c:v>-9.41176470588235E-2</c:v>
                </c:pt>
                <c:pt idx="31380">
                  <c:v>-9.41176470588235E-2</c:v>
                </c:pt>
                <c:pt idx="31381">
                  <c:v>-9.41176470588235E-2</c:v>
                </c:pt>
                <c:pt idx="31382">
                  <c:v>-9.41176470588235E-2</c:v>
                </c:pt>
                <c:pt idx="31383">
                  <c:v>-9.41176470588235E-2</c:v>
                </c:pt>
                <c:pt idx="31384">
                  <c:v>-9.41176470588235E-2</c:v>
                </c:pt>
                <c:pt idx="31385">
                  <c:v>-9.41176470588235E-2</c:v>
                </c:pt>
                <c:pt idx="31386">
                  <c:v>-9.41176470588235E-2</c:v>
                </c:pt>
                <c:pt idx="31387">
                  <c:v>-9.41176470588235E-2</c:v>
                </c:pt>
                <c:pt idx="31388">
                  <c:v>-9.41176470588235E-2</c:v>
                </c:pt>
                <c:pt idx="31389">
                  <c:v>-9.41176470588235E-2</c:v>
                </c:pt>
                <c:pt idx="31390">
                  <c:v>-9.41176470588235E-2</c:v>
                </c:pt>
                <c:pt idx="31391">
                  <c:v>-9.41176470588235E-2</c:v>
                </c:pt>
                <c:pt idx="31392">
                  <c:v>-9.41176470588235E-2</c:v>
                </c:pt>
                <c:pt idx="31393">
                  <c:v>-9.41176470588235E-2</c:v>
                </c:pt>
                <c:pt idx="31394">
                  <c:v>-9.41176470588235E-2</c:v>
                </c:pt>
                <c:pt idx="31395">
                  <c:v>-9.41176470588235E-2</c:v>
                </c:pt>
                <c:pt idx="31396">
                  <c:v>-9.41176470588235E-2</c:v>
                </c:pt>
                <c:pt idx="31397">
                  <c:v>-9.41176470588235E-2</c:v>
                </c:pt>
                <c:pt idx="31398">
                  <c:v>-9.41176470588235E-2</c:v>
                </c:pt>
                <c:pt idx="31399">
                  <c:v>-9.41176470588235E-2</c:v>
                </c:pt>
                <c:pt idx="31400">
                  <c:v>-9.41176470588235E-2</c:v>
                </c:pt>
                <c:pt idx="31401">
                  <c:v>-9.41176470588235E-2</c:v>
                </c:pt>
                <c:pt idx="31402">
                  <c:v>-9.41176470588235E-2</c:v>
                </c:pt>
                <c:pt idx="31403">
                  <c:v>-9.41176470588235E-2</c:v>
                </c:pt>
                <c:pt idx="31404">
                  <c:v>-9.41176470588235E-2</c:v>
                </c:pt>
                <c:pt idx="31405">
                  <c:v>-9.41176470588235E-2</c:v>
                </c:pt>
                <c:pt idx="31406">
                  <c:v>-9.41176470588235E-2</c:v>
                </c:pt>
                <c:pt idx="31407">
                  <c:v>-9.41176470588235E-2</c:v>
                </c:pt>
                <c:pt idx="31408">
                  <c:v>-9.41176470588235E-2</c:v>
                </c:pt>
                <c:pt idx="31409">
                  <c:v>-9.41176470588235E-2</c:v>
                </c:pt>
                <c:pt idx="31410">
                  <c:v>-9.41176470588235E-2</c:v>
                </c:pt>
                <c:pt idx="31411">
                  <c:v>-9.41176470588235E-2</c:v>
                </c:pt>
                <c:pt idx="31412">
                  <c:v>-9.41176470588235E-2</c:v>
                </c:pt>
                <c:pt idx="31413">
                  <c:v>-9.41176470588235E-2</c:v>
                </c:pt>
                <c:pt idx="31414">
                  <c:v>-9.41176470588235E-2</c:v>
                </c:pt>
                <c:pt idx="31415">
                  <c:v>-9.4957983193277307E-2</c:v>
                </c:pt>
                <c:pt idx="31416">
                  <c:v>-9.4957983193277307E-2</c:v>
                </c:pt>
                <c:pt idx="31417">
                  <c:v>-9.4957983193277307E-2</c:v>
                </c:pt>
                <c:pt idx="31418">
                  <c:v>-9.4957983193277307E-2</c:v>
                </c:pt>
                <c:pt idx="31419">
                  <c:v>-9.4957983193277307E-2</c:v>
                </c:pt>
                <c:pt idx="31420">
                  <c:v>-9.4957983193277307E-2</c:v>
                </c:pt>
                <c:pt idx="31421">
                  <c:v>-9.4957983193277307E-2</c:v>
                </c:pt>
                <c:pt idx="31422">
                  <c:v>-9.4957983193277307E-2</c:v>
                </c:pt>
                <c:pt idx="31423">
                  <c:v>-9.4957983193277307E-2</c:v>
                </c:pt>
                <c:pt idx="31424">
                  <c:v>-9.4957983193277307E-2</c:v>
                </c:pt>
                <c:pt idx="31425">
                  <c:v>-9.4957983193277307E-2</c:v>
                </c:pt>
                <c:pt idx="31426">
                  <c:v>-9.4957983193277307E-2</c:v>
                </c:pt>
                <c:pt idx="31427">
                  <c:v>-9.4957983193277307E-2</c:v>
                </c:pt>
                <c:pt idx="31428">
                  <c:v>-9.4957983193277307E-2</c:v>
                </c:pt>
                <c:pt idx="31429">
                  <c:v>-9.4957983193277307E-2</c:v>
                </c:pt>
                <c:pt idx="31430">
                  <c:v>-9.4957983193277307E-2</c:v>
                </c:pt>
                <c:pt idx="31431">
                  <c:v>-9.4957983193277307E-2</c:v>
                </c:pt>
                <c:pt idx="31432">
                  <c:v>-9.4957983193277307E-2</c:v>
                </c:pt>
                <c:pt idx="31433">
                  <c:v>-9.4957983193277307E-2</c:v>
                </c:pt>
                <c:pt idx="31434">
                  <c:v>-9.4957983193277307E-2</c:v>
                </c:pt>
                <c:pt idx="31435">
                  <c:v>-9.4957983193277307E-2</c:v>
                </c:pt>
                <c:pt idx="31436">
                  <c:v>-9.4957983193277307E-2</c:v>
                </c:pt>
                <c:pt idx="31437">
                  <c:v>-9.4957983193277307E-2</c:v>
                </c:pt>
                <c:pt idx="31438">
                  <c:v>-9.4957983193277307E-2</c:v>
                </c:pt>
                <c:pt idx="31439">
                  <c:v>-9.4957983193277307E-2</c:v>
                </c:pt>
                <c:pt idx="31440">
                  <c:v>-9.4957983193277307E-2</c:v>
                </c:pt>
                <c:pt idx="31441">
                  <c:v>-9.4957983193277307E-2</c:v>
                </c:pt>
                <c:pt idx="31442">
                  <c:v>-9.4957983193277307E-2</c:v>
                </c:pt>
                <c:pt idx="31443">
                  <c:v>-9.4957983193277307E-2</c:v>
                </c:pt>
                <c:pt idx="31444">
                  <c:v>-9.4957983193277307E-2</c:v>
                </c:pt>
                <c:pt idx="31445">
                  <c:v>-9.4957983193277307E-2</c:v>
                </c:pt>
                <c:pt idx="31446">
                  <c:v>-9.4957983193277307E-2</c:v>
                </c:pt>
                <c:pt idx="31447">
                  <c:v>-9.4957983193277307E-2</c:v>
                </c:pt>
                <c:pt idx="31448">
                  <c:v>-9.4957983193277307E-2</c:v>
                </c:pt>
                <c:pt idx="31449">
                  <c:v>-9.4957983193277307E-2</c:v>
                </c:pt>
                <c:pt idx="31450">
                  <c:v>-9.4957983193277307E-2</c:v>
                </c:pt>
                <c:pt idx="31451">
                  <c:v>-9.4957983193277307E-2</c:v>
                </c:pt>
                <c:pt idx="31452">
                  <c:v>-9.4957983193277307E-2</c:v>
                </c:pt>
                <c:pt idx="31453">
                  <c:v>-9.4957983193277307E-2</c:v>
                </c:pt>
                <c:pt idx="31454">
                  <c:v>-9.4957983193277307E-2</c:v>
                </c:pt>
                <c:pt idx="31455">
                  <c:v>-9.4957983193277307E-2</c:v>
                </c:pt>
                <c:pt idx="31456">
                  <c:v>-9.4957983193277307E-2</c:v>
                </c:pt>
                <c:pt idx="31457">
                  <c:v>-9.4957983193277307E-2</c:v>
                </c:pt>
                <c:pt idx="31458">
                  <c:v>-9.4957983193277307E-2</c:v>
                </c:pt>
                <c:pt idx="31459">
                  <c:v>-9.4957983193277307E-2</c:v>
                </c:pt>
                <c:pt idx="31460">
                  <c:v>-9.4957983193277307E-2</c:v>
                </c:pt>
                <c:pt idx="31461">
                  <c:v>-9.4957983193277307E-2</c:v>
                </c:pt>
                <c:pt idx="31462">
                  <c:v>-9.4957983193277307E-2</c:v>
                </c:pt>
                <c:pt idx="31463">
                  <c:v>-9.4957983193277307E-2</c:v>
                </c:pt>
                <c:pt idx="31464">
                  <c:v>-9.4957983193277307E-2</c:v>
                </c:pt>
                <c:pt idx="31465">
                  <c:v>-9.41176470588235E-2</c:v>
                </c:pt>
                <c:pt idx="31466">
                  <c:v>-9.41176470588235E-2</c:v>
                </c:pt>
                <c:pt idx="31467">
                  <c:v>-9.41176470588235E-2</c:v>
                </c:pt>
                <c:pt idx="31468">
                  <c:v>-9.41176470588235E-2</c:v>
                </c:pt>
                <c:pt idx="31469">
                  <c:v>-9.41176470588235E-2</c:v>
                </c:pt>
                <c:pt idx="31470">
                  <c:v>-9.41176470588235E-2</c:v>
                </c:pt>
                <c:pt idx="31471">
                  <c:v>-9.41176470588235E-2</c:v>
                </c:pt>
                <c:pt idx="31472">
                  <c:v>-9.41176470588235E-2</c:v>
                </c:pt>
                <c:pt idx="31473">
                  <c:v>-9.41176470588235E-2</c:v>
                </c:pt>
                <c:pt idx="31474">
                  <c:v>-9.41176470588235E-2</c:v>
                </c:pt>
                <c:pt idx="31475">
                  <c:v>-9.41176470588235E-2</c:v>
                </c:pt>
                <c:pt idx="31476">
                  <c:v>-9.41176470588235E-2</c:v>
                </c:pt>
                <c:pt idx="31477">
                  <c:v>-9.41176470588235E-2</c:v>
                </c:pt>
                <c:pt idx="31478">
                  <c:v>-9.41176470588235E-2</c:v>
                </c:pt>
                <c:pt idx="31479">
                  <c:v>-9.41176470588235E-2</c:v>
                </c:pt>
                <c:pt idx="31480">
                  <c:v>-9.41176470588235E-2</c:v>
                </c:pt>
                <c:pt idx="31481">
                  <c:v>-9.41176470588235E-2</c:v>
                </c:pt>
                <c:pt idx="31482">
                  <c:v>-9.41176470588235E-2</c:v>
                </c:pt>
                <c:pt idx="31483">
                  <c:v>-9.41176470588235E-2</c:v>
                </c:pt>
                <c:pt idx="31484">
                  <c:v>-9.41176470588235E-2</c:v>
                </c:pt>
                <c:pt idx="31485">
                  <c:v>-9.41176470588235E-2</c:v>
                </c:pt>
                <c:pt idx="31486">
                  <c:v>-9.41176470588235E-2</c:v>
                </c:pt>
                <c:pt idx="31487">
                  <c:v>-9.41176470588235E-2</c:v>
                </c:pt>
                <c:pt idx="31488">
                  <c:v>-9.41176470588235E-2</c:v>
                </c:pt>
                <c:pt idx="31489">
                  <c:v>-9.41176470588235E-2</c:v>
                </c:pt>
                <c:pt idx="31490">
                  <c:v>-9.41176470588235E-2</c:v>
                </c:pt>
                <c:pt idx="31491">
                  <c:v>-9.41176470588235E-2</c:v>
                </c:pt>
                <c:pt idx="31492">
                  <c:v>-9.41176470588235E-2</c:v>
                </c:pt>
                <c:pt idx="31493">
                  <c:v>-9.41176470588235E-2</c:v>
                </c:pt>
                <c:pt idx="31494">
                  <c:v>-9.41176470588235E-2</c:v>
                </c:pt>
                <c:pt idx="31495">
                  <c:v>-9.41176470588235E-2</c:v>
                </c:pt>
                <c:pt idx="31496">
                  <c:v>-9.41176470588235E-2</c:v>
                </c:pt>
                <c:pt idx="31497">
                  <c:v>-9.41176470588235E-2</c:v>
                </c:pt>
                <c:pt idx="31498">
                  <c:v>-9.41176470588235E-2</c:v>
                </c:pt>
                <c:pt idx="31499">
                  <c:v>-9.41176470588235E-2</c:v>
                </c:pt>
                <c:pt idx="31500">
                  <c:v>-9.41176470588235E-2</c:v>
                </c:pt>
                <c:pt idx="31501">
                  <c:v>-9.41176470588235E-2</c:v>
                </c:pt>
                <c:pt idx="31502">
                  <c:v>-9.41176470588235E-2</c:v>
                </c:pt>
                <c:pt idx="31503">
                  <c:v>-9.41176470588235E-2</c:v>
                </c:pt>
                <c:pt idx="31504">
                  <c:v>-9.41176470588235E-2</c:v>
                </c:pt>
                <c:pt idx="31505">
                  <c:v>-9.41176470588235E-2</c:v>
                </c:pt>
                <c:pt idx="31506">
                  <c:v>-9.41176470588235E-2</c:v>
                </c:pt>
                <c:pt idx="31507">
                  <c:v>-9.41176470588235E-2</c:v>
                </c:pt>
                <c:pt idx="31508">
                  <c:v>-9.41176470588235E-2</c:v>
                </c:pt>
                <c:pt idx="31509">
                  <c:v>-9.41176470588235E-2</c:v>
                </c:pt>
                <c:pt idx="31510">
                  <c:v>-9.41176470588235E-2</c:v>
                </c:pt>
                <c:pt idx="31511">
                  <c:v>-9.41176470588235E-2</c:v>
                </c:pt>
                <c:pt idx="31512">
                  <c:v>-9.41176470588235E-2</c:v>
                </c:pt>
                <c:pt idx="31513">
                  <c:v>-9.41176470588235E-2</c:v>
                </c:pt>
                <c:pt idx="31514">
                  <c:v>-9.3277310924369694E-2</c:v>
                </c:pt>
                <c:pt idx="31515">
                  <c:v>-9.3277310924369694E-2</c:v>
                </c:pt>
                <c:pt idx="31516">
                  <c:v>-9.3277310924369694E-2</c:v>
                </c:pt>
                <c:pt idx="31517">
                  <c:v>-9.3277310924369694E-2</c:v>
                </c:pt>
                <c:pt idx="31518">
                  <c:v>-9.3277310924369694E-2</c:v>
                </c:pt>
                <c:pt idx="31519">
                  <c:v>-9.3277310924369694E-2</c:v>
                </c:pt>
                <c:pt idx="31520">
                  <c:v>-9.3277310924369694E-2</c:v>
                </c:pt>
                <c:pt idx="31521">
                  <c:v>-9.3277310924369694E-2</c:v>
                </c:pt>
                <c:pt idx="31522">
                  <c:v>-9.3277310924369694E-2</c:v>
                </c:pt>
                <c:pt idx="31523">
                  <c:v>-9.3277310924369694E-2</c:v>
                </c:pt>
                <c:pt idx="31524">
                  <c:v>-9.3277310924369694E-2</c:v>
                </c:pt>
                <c:pt idx="31525">
                  <c:v>-9.3277310924369694E-2</c:v>
                </c:pt>
                <c:pt idx="31526">
                  <c:v>-9.3277310924369694E-2</c:v>
                </c:pt>
                <c:pt idx="31527">
                  <c:v>-9.3277310924369694E-2</c:v>
                </c:pt>
                <c:pt idx="31528">
                  <c:v>-9.3277310924369694E-2</c:v>
                </c:pt>
                <c:pt idx="31529">
                  <c:v>-9.3277310924369694E-2</c:v>
                </c:pt>
                <c:pt idx="31530">
                  <c:v>-9.3277310924369694E-2</c:v>
                </c:pt>
                <c:pt idx="31531">
                  <c:v>-9.3277310924369694E-2</c:v>
                </c:pt>
                <c:pt idx="31532">
                  <c:v>-9.3277310924369694E-2</c:v>
                </c:pt>
                <c:pt idx="31533">
                  <c:v>-9.3277310924369694E-2</c:v>
                </c:pt>
                <c:pt idx="31534">
                  <c:v>-9.3277310924369694E-2</c:v>
                </c:pt>
                <c:pt idx="31535">
                  <c:v>-9.3277310924369694E-2</c:v>
                </c:pt>
                <c:pt idx="31536">
                  <c:v>-9.3277310924369694E-2</c:v>
                </c:pt>
                <c:pt idx="31537">
                  <c:v>-9.3277310924369694E-2</c:v>
                </c:pt>
                <c:pt idx="31538">
                  <c:v>-9.3277310924369694E-2</c:v>
                </c:pt>
                <c:pt idx="31539">
                  <c:v>-9.3277310924369694E-2</c:v>
                </c:pt>
                <c:pt idx="31540">
                  <c:v>-9.3277310924369694E-2</c:v>
                </c:pt>
                <c:pt idx="31541">
                  <c:v>-9.3277310924369694E-2</c:v>
                </c:pt>
                <c:pt idx="31542">
                  <c:v>-9.3277310924369694E-2</c:v>
                </c:pt>
                <c:pt idx="31543">
                  <c:v>-9.3277310924369694E-2</c:v>
                </c:pt>
                <c:pt idx="31544">
                  <c:v>-9.3277310924369694E-2</c:v>
                </c:pt>
                <c:pt idx="31545">
                  <c:v>-9.3277310924369694E-2</c:v>
                </c:pt>
                <c:pt idx="31546">
                  <c:v>-9.3277310924369694E-2</c:v>
                </c:pt>
                <c:pt idx="31547">
                  <c:v>-9.3277310924369694E-2</c:v>
                </c:pt>
                <c:pt idx="31548">
                  <c:v>-9.3277310924369694E-2</c:v>
                </c:pt>
                <c:pt idx="31549">
                  <c:v>-9.3277310924369694E-2</c:v>
                </c:pt>
                <c:pt idx="31550">
                  <c:v>-9.3277310924369694E-2</c:v>
                </c:pt>
                <c:pt idx="31551">
                  <c:v>-9.3277310924369694E-2</c:v>
                </c:pt>
                <c:pt idx="31552">
                  <c:v>-9.3277310924369694E-2</c:v>
                </c:pt>
                <c:pt idx="31553">
                  <c:v>-9.3277310924369694E-2</c:v>
                </c:pt>
                <c:pt idx="31554">
                  <c:v>-9.3277310924369694E-2</c:v>
                </c:pt>
                <c:pt idx="31555">
                  <c:v>-9.3277310924369694E-2</c:v>
                </c:pt>
                <c:pt idx="31556">
                  <c:v>-9.3277310924369694E-2</c:v>
                </c:pt>
                <c:pt idx="31557">
                  <c:v>-9.3277310924369694E-2</c:v>
                </c:pt>
                <c:pt idx="31558">
                  <c:v>-9.3277310924369694E-2</c:v>
                </c:pt>
                <c:pt idx="31559">
                  <c:v>-9.3277310924369694E-2</c:v>
                </c:pt>
                <c:pt idx="31560">
                  <c:v>-9.3277310924369694E-2</c:v>
                </c:pt>
                <c:pt idx="31561">
                  <c:v>-9.3277310924369694E-2</c:v>
                </c:pt>
                <c:pt idx="31562">
                  <c:v>-9.3277310924369694E-2</c:v>
                </c:pt>
                <c:pt idx="31563">
                  <c:v>-9.3277310924369694E-2</c:v>
                </c:pt>
                <c:pt idx="31564">
                  <c:v>-9.3277310924369694E-2</c:v>
                </c:pt>
                <c:pt idx="31565">
                  <c:v>-9.3277310924369694E-2</c:v>
                </c:pt>
                <c:pt idx="31566">
                  <c:v>-9.3277310924369694E-2</c:v>
                </c:pt>
                <c:pt idx="31567">
                  <c:v>-9.3277310924369694E-2</c:v>
                </c:pt>
                <c:pt idx="31568">
                  <c:v>-9.3277310924369694E-2</c:v>
                </c:pt>
                <c:pt idx="31569">
                  <c:v>-9.2436974789915902E-2</c:v>
                </c:pt>
                <c:pt idx="31570">
                  <c:v>-9.2436974789915902E-2</c:v>
                </c:pt>
                <c:pt idx="31571">
                  <c:v>-9.2436974789915902E-2</c:v>
                </c:pt>
                <c:pt idx="31572">
                  <c:v>-9.2436974789915902E-2</c:v>
                </c:pt>
                <c:pt idx="31573">
                  <c:v>-9.2436974789915902E-2</c:v>
                </c:pt>
                <c:pt idx="31574">
                  <c:v>-9.2436974789915902E-2</c:v>
                </c:pt>
                <c:pt idx="31575">
                  <c:v>-9.2436974789915902E-2</c:v>
                </c:pt>
                <c:pt idx="31576">
                  <c:v>-9.2436974789915902E-2</c:v>
                </c:pt>
                <c:pt idx="31577">
                  <c:v>-9.2436974789915902E-2</c:v>
                </c:pt>
                <c:pt idx="31578">
                  <c:v>-9.2436974789915902E-2</c:v>
                </c:pt>
                <c:pt idx="31579">
                  <c:v>-9.2436974789915902E-2</c:v>
                </c:pt>
                <c:pt idx="31580">
                  <c:v>-9.2436974789915902E-2</c:v>
                </c:pt>
                <c:pt idx="31581">
                  <c:v>-9.2436974789915902E-2</c:v>
                </c:pt>
                <c:pt idx="31582">
                  <c:v>-9.2436974789915902E-2</c:v>
                </c:pt>
                <c:pt idx="31583">
                  <c:v>-9.2436974789915902E-2</c:v>
                </c:pt>
                <c:pt idx="31584">
                  <c:v>-9.2436974789915902E-2</c:v>
                </c:pt>
                <c:pt idx="31585">
                  <c:v>-9.2436974789915902E-2</c:v>
                </c:pt>
                <c:pt idx="31586">
                  <c:v>-9.2436974789915902E-2</c:v>
                </c:pt>
                <c:pt idx="31587">
                  <c:v>-9.2436974789915902E-2</c:v>
                </c:pt>
                <c:pt idx="31588">
                  <c:v>-9.3277310924369694E-2</c:v>
                </c:pt>
                <c:pt idx="31589">
                  <c:v>-9.3277310924369694E-2</c:v>
                </c:pt>
                <c:pt idx="31590">
                  <c:v>-9.3277310924369694E-2</c:v>
                </c:pt>
                <c:pt idx="31591">
                  <c:v>-9.3277310924369694E-2</c:v>
                </c:pt>
                <c:pt idx="31592">
                  <c:v>-9.3277310924369694E-2</c:v>
                </c:pt>
                <c:pt idx="31593">
                  <c:v>-9.3277310924369694E-2</c:v>
                </c:pt>
                <c:pt idx="31594">
                  <c:v>-9.3277310924369694E-2</c:v>
                </c:pt>
                <c:pt idx="31595">
                  <c:v>-9.3277310924369694E-2</c:v>
                </c:pt>
                <c:pt idx="31596">
                  <c:v>-9.3277310924369694E-2</c:v>
                </c:pt>
                <c:pt idx="31597">
                  <c:v>-9.3277310924369694E-2</c:v>
                </c:pt>
                <c:pt idx="31598">
                  <c:v>-9.3277310924369694E-2</c:v>
                </c:pt>
                <c:pt idx="31599">
                  <c:v>-9.3277310924369694E-2</c:v>
                </c:pt>
                <c:pt idx="31600">
                  <c:v>-9.3277310924369694E-2</c:v>
                </c:pt>
                <c:pt idx="31601">
                  <c:v>-9.3277310924369694E-2</c:v>
                </c:pt>
                <c:pt idx="31602">
                  <c:v>-9.3277310924369694E-2</c:v>
                </c:pt>
                <c:pt idx="31603">
                  <c:v>-9.3277310924369694E-2</c:v>
                </c:pt>
                <c:pt idx="31604">
                  <c:v>-9.3277310924369694E-2</c:v>
                </c:pt>
                <c:pt idx="31605">
                  <c:v>-9.3277310924369694E-2</c:v>
                </c:pt>
                <c:pt idx="31606">
                  <c:v>-9.3277310924369694E-2</c:v>
                </c:pt>
                <c:pt idx="31607">
                  <c:v>-9.3277310924369694E-2</c:v>
                </c:pt>
                <c:pt idx="31608">
                  <c:v>-9.3277310924369694E-2</c:v>
                </c:pt>
                <c:pt idx="31609">
                  <c:v>-9.3277310924369694E-2</c:v>
                </c:pt>
                <c:pt idx="31610">
                  <c:v>-9.3277310924369694E-2</c:v>
                </c:pt>
                <c:pt idx="31611">
                  <c:v>-9.41176470588235E-2</c:v>
                </c:pt>
                <c:pt idx="31612">
                  <c:v>-9.41176470588235E-2</c:v>
                </c:pt>
                <c:pt idx="31613">
                  <c:v>-9.41176470588235E-2</c:v>
                </c:pt>
                <c:pt idx="31614">
                  <c:v>-9.41176470588235E-2</c:v>
                </c:pt>
                <c:pt idx="31615">
                  <c:v>-9.41176470588235E-2</c:v>
                </c:pt>
                <c:pt idx="31616">
                  <c:v>-9.41176470588235E-2</c:v>
                </c:pt>
                <c:pt idx="31617">
                  <c:v>-9.41176470588235E-2</c:v>
                </c:pt>
                <c:pt idx="31618">
                  <c:v>-9.41176470588235E-2</c:v>
                </c:pt>
                <c:pt idx="31619">
                  <c:v>-9.41176470588235E-2</c:v>
                </c:pt>
                <c:pt idx="31620">
                  <c:v>-9.41176470588235E-2</c:v>
                </c:pt>
                <c:pt idx="31621">
                  <c:v>-9.41176470588235E-2</c:v>
                </c:pt>
                <c:pt idx="31622">
                  <c:v>-9.41176470588235E-2</c:v>
                </c:pt>
                <c:pt idx="31623">
                  <c:v>-9.41176470588235E-2</c:v>
                </c:pt>
                <c:pt idx="31624">
                  <c:v>-9.41176470588235E-2</c:v>
                </c:pt>
                <c:pt idx="31625">
                  <c:v>-9.41176470588235E-2</c:v>
                </c:pt>
                <c:pt idx="31626">
                  <c:v>-9.41176470588235E-2</c:v>
                </c:pt>
                <c:pt idx="31627">
                  <c:v>-9.41176470588235E-2</c:v>
                </c:pt>
                <c:pt idx="31628">
                  <c:v>-9.41176470588235E-2</c:v>
                </c:pt>
                <c:pt idx="31629">
                  <c:v>-9.41176470588235E-2</c:v>
                </c:pt>
                <c:pt idx="31630">
                  <c:v>-9.41176470588235E-2</c:v>
                </c:pt>
                <c:pt idx="31631">
                  <c:v>-9.41176470588235E-2</c:v>
                </c:pt>
                <c:pt idx="31632">
                  <c:v>-9.41176470588235E-2</c:v>
                </c:pt>
                <c:pt idx="31633">
                  <c:v>-9.41176470588235E-2</c:v>
                </c:pt>
                <c:pt idx="31634">
                  <c:v>-9.41176470588235E-2</c:v>
                </c:pt>
                <c:pt idx="31635">
                  <c:v>-9.41176470588235E-2</c:v>
                </c:pt>
                <c:pt idx="31636">
                  <c:v>-9.41176470588235E-2</c:v>
                </c:pt>
                <c:pt idx="31637">
                  <c:v>-9.41176470588235E-2</c:v>
                </c:pt>
                <c:pt idx="31638">
                  <c:v>-9.41176470588235E-2</c:v>
                </c:pt>
                <c:pt idx="31639">
                  <c:v>-9.41176470588235E-2</c:v>
                </c:pt>
                <c:pt idx="31640">
                  <c:v>-9.3277310924369694E-2</c:v>
                </c:pt>
                <c:pt idx="31641">
                  <c:v>-9.3277310924369694E-2</c:v>
                </c:pt>
                <c:pt idx="31642">
                  <c:v>-9.3277310924369694E-2</c:v>
                </c:pt>
                <c:pt idx="31643">
                  <c:v>-9.3277310924369694E-2</c:v>
                </c:pt>
                <c:pt idx="31644">
                  <c:v>-9.3277310924369694E-2</c:v>
                </c:pt>
                <c:pt idx="31645">
                  <c:v>-9.3277310924369694E-2</c:v>
                </c:pt>
                <c:pt idx="31646">
                  <c:v>-9.3277310924369694E-2</c:v>
                </c:pt>
                <c:pt idx="31647">
                  <c:v>-9.3277310924369694E-2</c:v>
                </c:pt>
                <c:pt idx="31648">
                  <c:v>-9.3277310924369694E-2</c:v>
                </c:pt>
                <c:pt idx="31649">
                  <c:v>-9.3277310924369694E-2</c:v>
                </c:pt>
                <c:pt idx="31650">
                  <c:v>-9.3277310924369694E-2</c:v>
                </c:pt>
                <c:pt idx="31651">
                  <c:v>-9.3277310924369694E-2</c:v>
                </c:pt>
                <c:pt idx="31652">
                  <c:v>-9.3277310924369694E-2</c:v>
                </c:pt>
                <c:pt idx="31653">
                  <c:v>-9.3277310924369694E-2</c:v>
                </c:pt>
                <c:pt idx="31654">
                  <c:v>-9.3277310924369694E-2</c:v>
                </c:pt>
                <c:pt idx="31655">
                  <c:v>-9.3277310924369694E-2</c:v>
                </c:pt>
                <c:pt idx="31656">
                  <c:v>-9.3277310924369694E-2</c:v>
                </c:pt>
                <c:pt idx="31657">
                  <c:v>-9.3277310924369694E-2</c:v>
                </c:pt>
                <c:pt idx="31658">
                  <c:v>-9.3277310924369694E-2</c:v>
                </c:pt>
                <c:pt idx="31659">
                  <c:v>-9.41176470588235E-2</c:v>
                </c:pt>
                <c:pt idx="31660">
                  <c:v>-9.41176470588235E-2</c:v>
                </c:pt>
                <c:pt idx="31661">
                  <c:v>-9.41176470588235E-2</c:v>
                </c:pt>
                <c:pt idx="31662">
                  <c:v>-9.41176470588235E-2</c:v>
                </c:pt>
                <c:pt idx="31663">
                  <c:v>-9.41176470588235E-2</c:v>
                </c:pt>
                <c:pt idx="31664">
                  <c:v>-9.41176470588235E-2</c:v>
                </c:pt>
                <c:pt idx="31665">
                  <c:v>-9.41176470588235E-2</c:v>
                </c:pt>
                <c:pt idx="31666">
                  <c:v>-9.41176470588235E-2</c:v>
                </c:pt>
                <c:pt idx="31667">
                  <c:v>-9.41176470588235E-2</c:v>
                </c:pt>
                <c:pt idx="31668">
                  <c:v>-9.41176470588235E-2</c:v>
                </c:pt>
                <c:pt idx="31669">
                  <c:v>-9.41176470588235E-2</c:v>
                </c:pt>
                <c:pt idx="31670">
                  <c:v>-9.41176470588235E-2</c:v>
                </c:pt>
                <c:pt idx="31671">
                  <c:v>-9.41176470588235E-2</c:v>
                </c:pt>
                <c:pt idx="31672">
                  <c:v>-9.41176470588235E-2</c:v>
                </c:pt>
                <c:pt idx="31673">
                  <c:v>-9.41176470588235E-2</c:v>
                </c:pt>
                <c:pt idx="31674">
                  <c:v>-9.41176470588235E-2</c:v>
                </c:pt>
                <c:pt idx="31675">
                  <c:v>-9.41176470588235E-2</c:v>
                </c:pt>
                <c:pt idx="31676">
                  <c:v>-9.41176470588235E-2</c:v>
                </c:pt>
                <c:pt idx="31677">
                  <c:v>-9.41176470588235E-2</c:v>
                </c:pt>
                <c:pt idx="31678">
                  <c:v>-9.41176470588235E-2</c:v>
                </c:pt>
                <c:pt idx="31679">
                  <c:v>-9.41176470588235E-2</c:v>
                </c:pt>
                <c:pt idx="31680">
                  <c:v>-9.41176470588235E-2</c:v>
                </c:pt>
                <c:pt idx="31681">
                  <c:v>-9.41176470588235E-2</c:v>
                </c:pt>
                <c:pt idx="31682">
                  <c:v>-9.41176470588235E-2</c:v>
                </c:pt>
                <c:pt idx="31683">
                  <c:v>-9.3277310924369694E-2</c:v>
                </c:pt>
                <c:pt idx="31684">
                  <c:v>-9.3277310924369694E-2</c:v>
                </c:pt>
                <c:pt idx="31685">
                  <c:v>-9.2436974789915902E-2</c:v>
                </c:pt>
                <c:pt idx="31686">
                  <c:v>-9.2436974789915902E-2</c:v>
                </c:pt>
                <c:pt idx="31687">
                  <c:v>-9.2436974789915902E-2</c:v>
                </c:pt>
                <c:pt idx="31688">
                  <c:v>-9.2436974789915902E-2</c:v>
                </c:pt>
                <c:pt idx="31689">
                  <c:v>-9.2436974789915902E-2</c:v>
                </c:pt>
                <c:pt idx="31690">
                  <c:v>-9.2436974789915902E-2</c:v>
                </c:pt>
                <c:pt idx="31691">
                  <c:v>-9.2436974789915902E-2</c:v>
                </c:pt>
                <c:pt idx="31692">
                  <c:v>-9.2436974789915902E-2</c:v>
                </c:pt>
                <c:pt idx="31693">
                  <c:v>-9.2436974789915902E-2</c:v>
                </c:pt>
                <c:pt idx="31694">
                  <c:v>-9.2436974789915902E-2</c:v>
                </c:pt>
                <c:pt idx="31695">
                  <c:v>-9.2436974789915902E-2</c:v>
                </c:pt>
                <c:pt idx="31696">
                  <c:v>-9.2436974789915902E-2</c:v>
                </c:pt>
                <c:pt idx="31697">
                  <c:v>-9.2436974789915902E-2</c:v>
                </c:pt>
                <c:pt idx="31698">
                  <c:v>-9.2436974789915902E-2</c:v>
                </c:pt>
                <c:pt idx="31699">
                  <c:v>-9.2436974789915902E-2</c:v>
                </c:pt>
                <c:pt idx="31700">
                  <c:v>-9.2436974789915902E-2</c:v>
                </c:pt>
                <c:pt idx="31701">
                  <c:v>-9.2436974789915902E-2</c:v>
                </c:pt>
                <c:pt idx="31702">
                  <c:v>-9.2436974789915902E-2</c:v>
                </c:pt>
                <c:pt idx="31703">
                  <c:v>-9.2436974789915902E-2</c:v>
                </c:pt>
                <c:pt idx="31704">
                  <c:v>-9.2436974789915902E-2</c:v>
                </c:pt>
                <c:pt idx="31705">
                  <c:v>-9.2436974789915902E-2</c:v>
                </c:pt>
                <c:pt idx="31706">
                  <c:v>-9.2436974789915902E-2</c:v>
                </c:pt>
                <c:pt idx="31707">
                  <c:v>-9.2436974789915902E-2</c:v>
                </c:pt>
                <c:pt idx="31708">
                  <c:v>-9.2436974789915902E-2</c:v>
                </c:pt>
                <c:pt idx="31709">
                  <c:v>-9.2436974789915902E-2</c:v>
                </c:pt>
                <c:pt idx="31710">
                  <c:v>-9.2436974789915902E-2</c:v>
                </c:pt>
                <c:pt idx="31711">
                  <c:v>-9.2436974789915902E-2</c:v>
                </c:pt>
                <c:pt idx="31712">
                  <c:v>-9.2436974789915902E-2</c:v>
                </c:pt>
                <c:pt idx="31713">
                  <c:v>-9.2436974789915902E-2</c:v>
                </c:pt>
                <c:pt idx="31714">
                  <c:v>-9.2436974789915902E-2</c:v>
                </c:pt>
                <c:pt idx="31715">
                  <c:v>-9.2436974789915902E-2</c:v>
                </c:pt>
                <c:pt idx="31716">
                  <c:v>-9.2436974789915902E-2</c:v>
                </c:pt>
                <c:pt idx="31717">
                  <c:v>-9.2436974789915902E-2</c:v>
                </c:pt>
                <c:pt idx="31718">
                  <c:v>-9.2436974789915902E-2</c:v>
                </c:pt>
                <c:pt idx="31719">
                  <c:v>-9.2436974789915902E-2</c:v>
                </c:pt>
                <c:pt idx="31720">
                  <c:v>-9.2436974789915902E-2</c:v>
                </c:pt>
                <c:pt idx="31721">
                  <c:v>-9.2436974789915902E-2</c:v>
                </c:pt>
                <c:pt idx="31722">
                  <c:v>-9.2436974789915902E-2</c:v>
                </c:pt>
                <c:pt idx="31723">
                  <c:v>-9.2436974789915902E-2</c:v>
                </c:pt>
                <c:pt idx="31724">
                  <c:v>-9.2436974789915902E-2</c:v>
                </c:pt>
                <c:pt idx="31725">
                  <c:v>-9.2436974789915902E-2</c:v>
                </c:pt>
                <c:pt idx="31726">
                  <c:v>-9.2436974789915902E-2</c:v>
                </c:pt>
                <c:pt idx="31727">
                  <c:v>-9.2436974789915902E-2</c:v>
                </c:pt>
                <c:pt idx="31728">
                  <c:v>-9.2436974789915902E-2</c:v>
                </c:pt>
                <c:pt idx="31729">
                  <c:v>-9.2436974789915902E-2</c:v>
                </c:pt>
                <c:pt idx="31730">
                  <c:v>-9.2436974789915902E-2</c:v>
                </c:pt>
                <c:pt idx="31731">
                  <c:v>-9.2436974789915902E-2</c:v>
                </c:pt>
                <c:pt idx="31732">
                  <c:v>-9.2436974789915902E-2</c:v>
                </c:pt>
                <c:pt idx="31733">
                  <c:v>-9.2436974789915902E-2</c:v>
                </c:pt>
                <c:pt idx="31734">
                  <c:v>-9.2436974789915902E-2</c:v>
                </c:pt>
                <c:pt idx="31735">
                  <c:v>-9.2436974789915902E-2</c:v>
                </c:pt>
                <c:pt idx="31736">
                  <c:v>-9.2436974789915902E-2</c:v>
                </c:pt>
                <c:pt idx="31737">
                  <c:v>-9.2436974789915902E-2</c:v>
                </c:pt>
                <c:pt idx="31738">
                  <c:v>-9.2436974789915902E-2</c:v>
                </c:pt>
                <c:pt idx="31739">
                  <c:v>-9.2436974789915902E-2</c:v>
                </c:pt>
                <c:pt idx="31740">
                  <c:v>-9.2436974789915902E-2</c:v>
                </c:pt>
                <c:pt idx="31741">
                  <c:v>-9.2436974789915902E-2</c:v>
                </c:pt>
                <c:pt idx="31742">
                  <c:v>-9.2436974789915902E-2</c:v>
                </c:pt>
                <c:pt idx="31743">
                  <c:v>-9.2436974789915902E-2</c:v>
                </c:pt>
                <c:pt idx="31744">
                  <c:v>-9.2436974789915902E-2</c:v>
                </c:pt>
                <c:pt idx="31745">
                  <c:v>-9.2436974789915902E-2</c:v>
                </c:pt>
                <c:pt idx="31746">
                  <c:v>-9.2436974789915902E-2</c:v>
                </c:pt>
                <c:pt idx="31747">
                  <c:v>-9.2436974789915902E-2</c:v>
                </c:pt>
                <c:pt idx="31748">
                  <c:v>-9.2436974789915902E-2</c:v>
                </c:pt>
                <c:pt idx="31749">
                  <c:v>-9.1596638655462095E-2</c:v>
                </c:pt>
                <c:pt idx="31750">
                  <c:v>-9.1596638655462095E-2</c:v>
                </c:pt>
                <c:pt idx="31751">
                  <c:v>-9.1596638655462095E-2</c:v>
                </c:pt>
                <c:pt idx="31752">
                  <c:v>-9.1596638655462095E-2</c:v>
                </c:pt>
                <c:pt idx="31753">
                  <c:v>-9.1596638655462095E-2</c:v>
                </c:pt>
                <c:pt idx="31754">
                  <c:v>-9.1596638655462095E-2</c:v>
                </c:pt>
                <c:pt idx="31755">
                  <c:v>-9.1596638655462095E-2</c:v>
                </c:pt>
                <c:pt idx="31756">
                  <c:v>-9.1596638655462095E-2</c:v>
                </c:pt>
                <c:pt idx="31757">
                  <c:v>-9.1596638655462095E-2</c:v>
                </c:pt>
                <c:pt idx="31758">
                  <c:v>-9.1596638655462095E-2</c:v>
                </c:pt>
                <c:pt idx="31759">
                  <c:v>-9.1596638655462095E-2</c:v>
                </c:pt>
                <c:pt idx="31760">
                  <c:v>-9.1596638655462095E-2</c:v>
                </c:pt>
                <c:pt idx="31761">
                  <c:v>-9.1596638655462095E-2</c:v>
                </c:pt>
                <c:pt idx="31762">
                  <c:v>-9.1596638655462095E-2</c:v>
                </c:pt>
                <c:pt idx="31763">
                  <c:v>-9.1596638655462095E-2</c:v>
                </c:pt>
                <c:pt idx="31764">
                  <c:v>-9.1596638655462095E-2</c:v>
                </c:pt>
                <c:pt idx="31765">
                  <c:v>-9.1596638655462095E-2</c:v>
                </c:pt>
                <c:pt idx="31766">
                  <c:v>-9.1596638655462095E-2</c:v>
                </c:pt>
                <c:pt idx="31767">
                  <c:v>-9.1596638655462095E-2</c:v>
                </c:pt>
                <c:pt idx="31768">
                  <c:v>-9.1596638655462095E-2</c:v>
                </c:pt>
                <c:pt idx="31769">
                  <c:v>-9.1596638655462095E-2</c:v>
                </c:pt>
                <c:pt idx="31770">
                  <c:v>-9.1596638655462095E-2</c:v>
                </c:pt>
                <c:pt idx="31771">
                  <c:v>-9.1596638655462095E-2</c:v>
                </c:pt>
                <c:pt idx="31772">
                  <c:v>-9.07563025210084E-2</c:v>
                </c:pt>
                <c:pt idx="31773">
                  <c:v>-9.07563025210084E-2</c:v>
                </c:pt>
                <c:pt idx="31774">
                  <c:v>-9.07563025210084E-2</c:v>
                </c:pt>
                <c:pt idx="31775">
                  <c:v>-9.07563025210084E-2</c:v>
                </c:pt>
                <c:pt idx="31776">
                  <c:v>-8.9915966386554594E-2</c:v>
                </c:pt>
                <c:pt idx="31777">
                  <c:v>-8.9915966386554594E-2</c:v>
                </c:pt>
                <c:pt idx="31778">
                  <c:v>-8.9915966386554594E-2</c:v>
                </c:pt>
                <c:pt idx="31779">
                  <c:v>-8.9915966386554594E-2</c:v>
                </c:pt>
                <c:pt idx="31780">
                  <c:v>-8.9915966386554594E-2</c:v>
                </c:pt>
                <c:pt idx="31781">
                  <c:v>-8.9915966386554594E-2</c:v>
                </c:pt>
                <c:pt idx="31782">
                  <c:v>-8.9915966386554594E-2</c:v>
                </c:pt>
                <c:pt idx="31783">
                  <c:v>-8.9915966386554594E-2</c:v>
                </c:pt>
                <c:pt idx="31784">
                  <c:v>-8.9915966386554594E-2</c:v>
                </c:pt>
                <c:pt idx="31785">
                  <c:v>-8.9915966386554594E-2</c:v>
                </c:pt>
                <c:pt idx="31786">
                  <c:v>-8.9915966386554594E-2</c:v>
                </c:pt>
                <c:pt idx="31787">
                  <c:v>-8.9915966386554594E-2</c:v>
                </c:pt>
                <c:pt idx="31788">
                  <c:v>-8.9915966386554594E-2</c:v>
                </c:pt>
                <c:pt idx="31789">
                  <c:v>-8.9915966386554594E-2</c:v>
                </c:pt>
                <c:pt idx="31790">
                  <c:v>-8.9915966386554594E-2</c:v>
                </c:pt>
                <c:pt idx="31791">
                  <c:v>-8.9915966386554594E-2</c:v>
                </c:pt>
                <c:pt idx="31792">
                  <c:v>-8.9915966386554594E-2</c:v>
                </c:pt>
                <c:pt idx="31793">
                  <c:v>-8.9075630252100801E-2</c:v>
                </c:pt>
                <c:pt idx="31794">
                  <c:v>-8.9075630252100801E-2</c:v>
                </c:pt>
                <c:pt idx="31795">
                  <c:v>-8.9075630252100801E-2</c:v>
                </c:pt>
                <c:pt idx="31796">
                  <c:v>-8.9075630252100801E-2</c:v>
                </c:pt>
                <c:pt idx="31797">
                  <c:v>-8.9075630252100801E-2</c:v>
                </c:pt>
                <c:pt idx="31798">
                  <c:v>-8.9075630252100801E-2</c:v>
                </c:pt>
                <c:pt idx="31799">
                  <c:v>-8.9075630252100801E-2</c:v>
                </c:pt>
                <c:pt idx="31800">
                  <c:v>-8.8235294117646995E-2</c:v>
                </c:pt>
                <c:pt idx="31801">
                  <c:v>-8.8235294117646995E-2</c:v>
                </c:pt>
                <c:pt idx="31802">
                  <c:v>-8.9075630252100801E-2</c:v>
                </c:pt>
                <c:pt idx="31803">
                  <c:v>-8.9075630252100801E-2</c:v>
                </c:pt>
                <c:pt idx="31804">
                  <c:v>-8.9075630252100801E-2</c:v>
                </c:pt>
                <c:pt idx="31805">
                  <c:v>-8.9075630252100801E-2</c:v>
                </c:pt>
                <c:pt idx="31806">
                  <c:v>-8.9075630252100801E-2</c:v>
                </c:pt>
                <c:pt idx="31807">
                  <c:v>-8.9075630252100801E-2</c:v>
                </c:pt>
                <c:pt idx="31808">
                  <c:v>-8.9075630252100801E-2</c:v>
                </c:pt>
                <c:pt idx="31809">
                  <c:v>-8.9075630252100801E-2</c:v>
                </c:pt>
                <c:pt idx="31810">
                  <c:v>-8.9075630252100801E-2</c:v>
                </c:pt>
                <c:pt idx="31811">
                  <c:v>-8.9075630252100801E-2</c:v>
                </c:pt>
                <c:pt idx="31812">
                  <c:v>-8.9075630252100801E-2</c:v>
                </c:pt>
                <c:pt idx="31813">
                  <c:v>-8.9075630252100801E-2</c:v>
                </c:pt>
                <c:pt idx="31814">
                  <c:v>-8.9075630252100801E-2</c:v>
                </c:pt>
                <c:pt idx="31815">
                  <c:v>-8.9075630252100801E-2</c:v>
                </c:pt>
                <c:pt idx="31816">
                  <c:v>-8.9075630252100801E-2</c:v>
                </c:pt>
                <c:pt idx="31817">
                  <c:v>-8.9075630252100801E-2</c:v>
                </c:pt>
                <c:pt idx="31818">
                  <c:v>-8.9075630252100801E-2</c:v>
                </c:pt>
                <c:pt idx="31819">
                  <c:v>-8.9075630252100801E-2</c:v>
                </c:pt>
                <c:pt idx="31820">
                  <c:v>-8.9075630252100801E-2</c:v>
                </c:pt>
                <c:pt idx="31821">
                  <c:v>-8.9075630252100801E-2</c:v>
                </c:pt>
                <c:pt idx="31822">
                  <c:v>-8.9075630252100801E-2</c:v>
                </c:pt>
                <c:pt idx="31823">
                  <c:v>-8.8235294117646995E-2</c:v>
                </c:pt>
                <c:pt idx="31824">
                  <c:v>-8.8235294117646995E-2</c:v>
                </c:pt>
                <c:pt idx="31825">
                  <c:v>-8.8235294117646995E-2</c:v>
                </c:pt>
                <c:pt idx="31826">
                  <c:v>-8.8235294117646995E-2</c:v>
                </c:pt>
                <c:pt idx="31827">
                  <c:v>-8.8235294117646995E-2</c:v>
                </c:pt>
                <c:pt idx="31828">
                  <c:v>-8.8235294117646995E-2</c:v>
                </c:pt>
                <c:pt idx="31829">
                  <c:v>-8.8235294117646995E-2</c:v>
                </c:pt>
                <c:pt idx="31830">
                  <c:v>-8.8235294117646995E-2</c:v>
                </c:pt>
                <c:pt idx="31831">
                  <c:v>-8.8235294117646995E-2</c:v>
                </c:pt>
                <c:pt idx="31832">
                  <c:v>-8.8235294117646995E-2</c:v>
                </c:pt>
                <c:pt idx="31833">
                  <c:v>-8.8235294117646995E-2</c:v>
                </c:pt>
                <c:pt idx="31834">
                  <c:v>-8.8235294117646995E-2</c:v>
                </c:pt>
                <c:pt idx="31835">
                  <c:v>-8.8235294117646995E-2</c:v>
                </c:pt>
                <c:pt idx="31836">
                  <c:v>-8.8235294117646995E-2</c:v>
                </c:pt>
                <c:pt idx="31837">
                  <c:v>-8.8235294117646995E-2</c:v>
                </c:pt>
                <c:pt idx="31838">
                  <c:v>-8.8235294117646995E-2</c:v>
                </c:pt>
                <c:pt idx="31839">
                  <c:v>-8.8235294117646995E-2</c:v>
                </c:pt>
                <c:pt idx="31840">
                  <c:v>-8.8235294117646995E-2</c:v>
                </c:pt>
                <c:pt idx="31841">
                  <c:v>-8.8235294117646995E-2</c:v>
                </c:pt>
                <c:pt idx="31842">
                  <c:v>-8.8235294117646995E-2</c:v>
                </c:pt>
                <c:pt idx="31843">
                  <c:v>-8.8235294117646995E-2</c:v>
                </c:pt>
                <c:pt idx="31844">
                  <c:v>-8.8235294117646995E-2</c:v>
                </c:pt>
                <c:pt idx="31845">
                  <c:v>-8.8235294117646995E-2</c:v>
                </c:pt>
                <c:pt idx="31846">
                  <c:v>-8.73949579831933E-2</c:v>
                </c:pt>
                <c:pt idx="31847">
                  <c:v>-8.73949579831933E-2</c:v>
                </c:pt>
                <c:pt idx="31848">
                  <c:v>-8.73949579831933E-2</c:v>
                </c:pt>
                <c:pt idx="31849">
                  <c:v>-8.73949579831933E-2</c:v>
                </c:pt>
                <c:pt idx="31850">
                  <c:v>-8.73949579831933E-2</c:v>
                </c:pt>
                <c:pt idx="31851">
                  <c:v>-8.73949579831933E-2</c:v>
                </c:pt>
                <c:pt idx="31852">
                  <c:v>-8.73949579831933E-2</c:v>
                </c:pt>
                <c:pt idx="31853">
                  <c:v>-8.73949579831933E-2</c:v>
                </c:pt>
                <c:pt idx="31854">
                  <c:v>-8.73949579831933E-2</c:v>
                </c:pt>
                <c:pt idx="31855">
                  <c:v>-8.73949579831933E-2</c:v>
                </c:pt>
                <c:pt idx="31856">
                  <c:v>-8.73949579831933E-2</c:v>
                </c:pt>
                <c:pt idx="31857">
                  <c:v>-8.73949579831933E-2</c:v>
                </c:pt>
                <c:pt idx="31858">
                  <c:v>-8.73949579831933E-2</c:v>
                </c:pt>
                <c:pt idx="31859">
                  <c:v>-8.73949579831933E-2</c:v>
                </c:pt>
                <c:pt idx="31860">
                  <c:v>-8.73949579831933E-2</c:v>
                </c:pt>
                <c:pt idx="31861">
                  <c:v>-8.73949579831933E-2</c:v>
                </c:pt>
                <c:pt idx="31862">
                  <c:v>-8.73949579831933E-2</c:v>
                </c:pt>
                <c:pt idx="31863">
                  <c:v>-8.73949579831933E-2</c:v>
                </c:pt>
                <c:pt idx="31864">
                  <c:v>-8.73949579831933E-2</c:v>
                </c:pt>
                <c:pt idx="31865">
                  <c:v>-8.73949579831933E-2</c:v>
                </c:pt>
                <c:pt idx="31866">
                  <c:v>-8.73949579831933E-2</c:v>
                </c:pt>
                <c:pt idx="31867">
                  <c:v>-8.73949579831933E-2</c:v>
                </c:pt>
                <c:pt idx="31868">
                  <c:v>-8.73949579831933E-2</c:v>
                </c:pt>
                <c:pt idx="31869">
                  <c:v>-8.73949579831933E-2</c:v>
                </c:pt>
                <c:pt idx="31870">
                  <c:v>-8.73949579831933E-2</c:v>
                </c:pt>
                <c:pt idx="31871">
                  <c:v>-8.73949579831933E-2</c:v>
                </c:pt>
                <c:pt idx="31872">
                  <c:v>-8.73949579831933E-2</c:v>
                </c:pt>
                <c:pt idx="31873">
                  <c:v>-8.73949579831933E-2</c:v>
                </c:pt>
                <c:pt idx="31874">
                  <c:v>-8.73949579831933E-2</c:v>
                </c:pt>
                <c:pt idx="31875">
                  <c:v>-8.73949579831933E-2</c:v>
                </c:pt>
                <c:pt idx="31876">
                  <c:v>-8.73949579831933E-2</c:v>
                </c:pt>
                <c:pt idx="31877">
                  <c:v>-8.6554621848739396E-2</c:v>
                </c:pt>
                <c:pt idx="31878">
                  <c:v>-8.6554621848739396E-2</c:v>
                </c:pt>
                <c:pt idx="31879">
                  <c:v>-8.6554621848739396E-2</c:v>
                </c:pt>
                <c:pt idx="31880">
                  <c:v>-8.6554621848739396E-2</c:v>
                </c:pt>
                <c:pt idx="31881">
                  <c:v>-8.6554621848739396E-2</c:v>
                </c:pt>
                <c:pt idx="31882">
                  <c:v>-8.6554621848739396E-2</c:v>
                </c:pt>
                <c:pt idx="31883">
                  <c:v>-8.6554621848739396E-2</c:v>
                </c:pt>
                <c:pt idx="31884">
                  <c:v>-8.6554621848739396E-2</c:v>
                </c:pt>
                <c:pt idx="31885">
                  <c:v>-8.6554621848739396E-2</c:v>
                </c:pt>
                <c:pt idx="31886">
                  <c:v>-8.6554621848739396E-2</c:v>
                </c:pt>
                <c:pt idx="31887">
                  <c:v>-8.6554621848739396E-2</c:v>
                </c:pt>
                <c:pt idx="31888">
                  <c:v>-8.6554621848739396E-2</c:v>
                </c:pt>
                <c:pt idx="31889">
                  <c:v>-8.6554621848739396E-2</c:v>
                </c:pt>
                <c:pt idx="31890">
                  <c:v>-8.6554621848739396E-2</c:v>
                </c:pt>
                <c:pt idx="31891">
                  <c:v>-8.6554621848739396E-2</c:v>
                </c:pt>
                <c:pt idx="31892">
                  <c:v>-8.6554621848739396E-2</c:v>
                </c:pt>
                <c:pt idx="31893">
                  <c:v>-8.6554621848739396E-2</c:v>
                </c:pt>
                <c:pt idx="31894">
                  <c:v>-8.6554621848739396E-2</c:v>
                </c:pt>
                <c:pt idx="31895">
                  <c:v>-8.6554621848739396E-2</c:v>
                </c:pt>
                <c:pt idx="31896">
                  <c:v>-8.6554621848739396E-2</c:v>
                </c:pt>
                <c:pt idx="31897">
                  <c:v>-8.5714285714285604E-2</c:v>
                </c:pt>
                <c:pt idx="31898">
                  <c:v>-8.5714285714285604E-2</c:v>
                </c:pt>
                <c:pt idx="31899">
                  <c:v>-8.5714285714285604E-2</c:v>
                </c:pt>
                <c:pt idx="31900">
                  <c:v>-8.5714285714285604E-2</c:v>
                </c:pt>
                <c:pt idx="31901">
                  <c:v>-8.5714285714285604E-2</c:v>
                </c:pt>
                <c:pt idx="31902">
                  <c:v>-8.5714285714285604E-2</c:v>
                </c:pt>
                <c:pt idx="31903">
                  <c:v>-8.5714285714285604E-2</c:v>
                </c:pt>
                <c:pt idx="31904">
                  <c:v>-8.5714285714285604E-2</c:v>
                </c:pt>
                <c:pt idx="31905">
                  <c:v>-8.5714285714285604E-2</c:v>
                </c:pt>
                <c:pt idx="31906">
                  <c:v>-8.5714285714285604E-2</c:v>
                </c:pt>
                <c:pt idx="31907">
                  <c:v>-8.5714285714285604E-2</c:v>
                </c:pt>
                <c:pt idx="31908">
                  <c:v>-8.5714285714285604E-2</c:v>
                </c:pt>
                <c:pt idx="31909">
                  <c:v>-8.5714285714285604E-2</c:v>
                </c:pt>
                <c:pt idx="31910">
                  <c:v>-8.5714285714285604E-2</c:v>
                </c:pt>
                <c:pt idx="31911">
                  <c:v>-8.5714285714285604E-2</c:v>
                </c:pt>
                <c:pt idx="31912">
                  <c:v>-8.5714285714285604E-2</c:v>
                </c:pt>
                <c:pt idx="31913">
                  <c:v>-8.5714285714285604E-2</c:v>
                </c:pt>
                <c:pt idx="31914">
                  <c:v>-8.5714285714285604E-2</c:v>
                </c:pt>
                <c:pt idx="31915">
                  <c:v>-8.5714285714285604E-2</c:v>
                </c:pt>
                <c:pt idx="31916">
                  <c:v>-8.5714285714285604E-2</c:v>
                </c:pt>
                <c:pt idx="31917">
                  <c:v>-8.5714285714285604E-2</c:v>
                </c:pt>
                <c:pt idx="31918">
                  <c:v>-8.5714285714285604E-2</c:v>
                </c:pt>
                <c:pt idx="31919">
                  <c:v>-8.5714285714285604E-2</c:v>
                </c:pt>
                <c:pt idx="31920">
                  <c:v>-8.5714285714285604E-2</c:v>
                </c:pt>
                <c:pt idx="31921">
                  <c:v>-8.5714285714285604E-2</c:v>
                </c:pt>
                <c:pt idx="31922">
                  <c:v>-8.5714285714285604E-2</c:v>
                </c:pt>
                <c:pt idx="31923">
                  <c:v>-8.5714285714285604E-2</c:v>
                </c:pt>
                <c:pt idx="31924">
                  <c:v>-8.5714285714285604E-2</c:v>
                </c:pt>
                <c:pt idx="31925">
                  <c:v>-8.5714285714285604E-2</c:v>
                </c:pt>
                <c:pt idx="31926">
                  <c:v>-8.5714285714285604E-2</c:v>
                </c:pt>
                <c:pt idx="31927">
                  <c:v>-8.5714285714285604E-2</c:v>
                </c:pt>
                <c:pt idx="31928">
                  <c:v>-8.5714285714285604E-2</c:v>
                </c:pt>
                <c:pt idx="31929">
                  <c:v>-8.5714285714285604E-2</c:v>
                </c:pt>
                <c:pt idx="31930">
                  <c:v>-8.5714285714285604E-2</c:v>
                </c:pt>
                <c:pt idx="31931">
                  <c:v>-8.5714285714285604E-2</c:v>
                </c:pt>
                <c:pt idx="31932">
                  <c:v>-8.5714285714285604E-2</c:v>
                </c:pt>
                <c:pt idx="31933">
                  <c:v>-8.4873949579831798E-2</c:v>
                </c:pt>
                <c:pt idx="31934">
                  <c:v>-8.4873949579831798E-2</c:v>
                </c:pt>
                <c:pt idx="31935">
                  <c:v>-8.4873949579831798E-2</c:v>
                </c:pt>
                <c:pt idx="31936">
                  <c:v>-8.4873949579831798E-2</c:v>
                </c:pt>
                <c:pt idx="31937">
                  <c:v>-8.4873949579831798E-2</c:v>
                </c:pt>
                <c:pt idx="31938">
                  <c:v>-8.4873949579831798E-2</c:v>
                </c:pt>
                <c:pt idx="31939">
                  <c:v>-8.4873949579831798E-2</c:v>
                </c:pt>
                <c:pt idx="31940">
                  <c:v>-8.4873949579831798E-2</c:v>
                </c:pt>
                <c:pt idx="31941">
                  <c:v>-8.4873949579831798E-2</c:v>
                </c:pt>
                <c:pt idx="31942">
                  <c:v>-8.4873949579831798E-2</c:v>
                </c:pt>
                <c:pt idx="31943">
                  <c:v>-8.4873949579831798E-2</c:v>
                </c:pt>
                <c:pt idx="31944">
                  <c:v>-8.4873949579831798E-2</c:v>
                </c:pt>
                <c:pt idx="31945">
                  <c:v>-8.4873949579831798E-2</c:v>
                </c:pt>
                <c:pt idx="31946">
                  <c:v>-8.4873949579831798E-2</c:v>
                </c:pt>
                <c:pt idx="31947">
                  <c:v>-8.4873949579831798E-2</c:v>
                </c:pt>
                <c:pt idx="31948">
                  <c:v>-8.4873949579831798E-2</c:v>
                </c:pt>
                <c:pt idx="31949">
                  <c:v>-8.4873949579831798E-2</c:v>
                </c:pt>
                <c:pt idx="31950">
                  <c:v>-8.4873949579831798E-2</c:v>
                </c:pt>
                <c:pt idx="31951">
                  <c:v>-8.4873949579831798E-2</c:v>
                </c:pt>
                <c:pt idx="31952">
                  <c:v>-8.4873949579831798E-2</c:v>
                </c:pt>
                <c:pt idx="31953">
                  <c:v>-8.4873949579831798E-2</c:v>
                </c:pt>
                <c:pt idx="31954">
                  <c:v>-8.4873949579831798E-2</c:v>
                </c:pt>
                <c:pt idx="31955">
                  <c:v>-8.4873949579831798E-2</c:v>
                </c:pt>
                <c:pt idx="31956">
                  <c:v>-8.4873949579831798E-2</c:v>
                </c:pt>
                <c:pt idx="31957">
                  <c:v>-8.4873949579831798E-2</c:v>
                </c:pt>
                <c:pt idx="31958">
                  <c:v>-8.4873949579831798E-2</c:v>
                </c:pt>
                <c:pt idx="31959">
                  <c:v>-8.4873949579831798E-2</c:v>
                </c:pt>
                <c:pt idx="31960">
                  <c:v>-8.4873949579831798E-2</c:v>
                </c:pt>
                <c:pt idx="31961">
                  <c:v>-8.4873949579831798E-2</c:v>
                </c:pt>
                <c:pt idx="31962">
                  <c:v>-8.4873949579831798E-2</c:v>
                </c:pt>
                <c:pt idx="31963">
                  <c:v>-8.4873949579831798E-2</c:v>
                </c:pt>
                <c:pt idx="31964">
                  <c:v>-8.4873949579831798E-2</c:v>
                </c:pt>
                <c:pt idx="31965">
                  <c:v>-8.4873949579831798E-2</c:v>
                </c:pt>
                <c:pt idx="31966">
                  <c:v>-8.4873949579831798E-2</c:v>
                </c:pt>
                <c:pt idx="31967">
                  <c:v>-8.4873949579831798E-2</c:v>
                </c:pt>
                <c:pt idx="31968">
                  <c:v>-8.4873949579831798E-2</c:v>
                </c:pt>
                <c:pt idx="31969">
                  <c:v>-8.4873949579831798E-2</c:v>
                </c:pt>
                <c:pt idx="31970">
                  <c:v>-8.4873949579831798E-2</c:v>
                </c:pt>
                <c:pt idx="31971">
                  <c:v>-8.4873949579831798E-2</c:v>
                </c:pt>
                <c:pt idx="31972">
                  <c:v>-8.4873949579831798E-2</c:v>
                </c:pt>
                <c:pt idx="31973">
                  <c:v>-8.4873949579831798E-2</c:v>
                </c:pt>
                <c:pt idx="31974">
                  <c:v>-8.4873949579831798E-2</c:v>
                </c:pt>
                <c:pt idx="31975">
                  <c:v>-8.4873949579831798E-2</c:v>
                </c:pt>
                <c:pt idx="31976">
                  <c:v>-8.4873949579831798E-2</c:v>
                </c:pt>
                <c:pt idx="31977">
                  <c:v>-8.4873949579831798E-2</c:v>
                </c:pt>
                <c:pt idx="31978">
                  <c:v>-8.4873949579831798E-2</c:v>
                </c:pt>
                <c:pt idx="31979">
                  <c:v>-8.4873949579831798E-2</c:v>
                </c:pt>
                <c:pt idx="31980">
                  <c:v>-8.4873949579831798E-2</c:v>
                </c:pt>
                <c:pt idx="31981">
                  <c:v>-8.4873949579831798E-2</c:v>
                </c:pt>
                <c:pt idx="31982">
                  <c:v>-8.4873949579831798E-2</c:v>
                </c:pt>
                <c:pt idx="31983">
                  <c:v>-8.4873949579831798E-2</c:v>
                </c:pt>
                <c:pt idx="31984">
                  <c:v>-8.4873949579831798E-2</c:v>
                </c:pt>
                <c:pt idx="31985">
                  <c:v>-8.4873949579831798E-2</c:v>
                </c:pt>
                <c:pt idx="31986">
                  <c:v>-8.4873949579831798E-2</c:v>
                </c:pt>
                <c:pt idx="31987">
                  <c:v>-8.4873949579831798E-2</c:v>
                </c:pt>
                <c:pt idx="31988">
                  <c:v>-8.4873949579831798E-2</c:v>
                </c:pt>
                <c:pt idx="31989">
                  <c:v>-8.4873949579831798E-2</c:v>
                </c:pt>
                <c:pt idx="31990">
                  <c:v>-8.4873949579831798E-2</c:v>
                </c:pt>
                <c:pt idx="31991">
                  <c:v>-8.4873949579831798E-2</c:v>
                </c:pt>
                <c:pt idx="31992">
                  <c:v>-8.4873949579831798E-2</c:v>
                </c:pt>
                <c:pt idx="31993">
                  <c:v>-8.4873949579831798E-2</c:v>
                </c:pt>
                <c:pt idx="31994">
                  <c:v>-8.4873949579831798E-2</c:v>
                </c:pt>
                <c:pt idx="31995">
                  <c:v>-8.4873949579831798E-2</c:v>
                </c:pt>
                <c:pt idx="31996">
                  <c:v>-8.4873949579831798E-2</c:v>
                </c:pt>
                <c:pt idx="31997">
                  <c:v>-8.4873949579831798E-2</c:v>
                </c:pt>
                <c:pt idx="31998">
                  <c:v>-8.4873949579831798E-2</c:v>
                </c:pt>
                <c:pt idx="31999">
                  <c:v>-8.4873949579831798E-2</c:v>
                </c:pt>
                <c:pt idx="32000">
                  <c:v>-8.4873949579831798E-2</c:v>
                </c:pt>
                <c:pt idx="32001">
                  <c:v>-8.4873949579831798E-2</c:v>
                </c:pt>
                <c:pt idx="32002">
                  <c:v>-8.4873949579831798E-2</c:v>
                </c:pt>
                <c:pt idx="32003">
                  <c:v>-8.4873949579831798E-2</c:v>
                </c:pt>
                <c:pt idx="32004">
                  <c:v>-8.4873949579831798E-2</c:v>
                </c:pt>
                <c:pt idx="32005">
                  <c:v>-8.4873949579831798E-2</c:v>
                </c:pt>
                <c:pt idx="32006">
                  <c:v>-8.4873949579831798E-2</c:v>
                </c:pt>
                <c:pt idx="32007">
                  <c:v>-8.4873949579831798E-2</c:v>
                </c:pt>
                <c:pt idx="32008">
                  <c:v>-8.4873949579831798E-2</c:v>
                </c:pt>
                <c:pt idx="32009">
                  <c:v>-8.4873949579831798E-2</c:v>
                </c:pt>
                <c:pt idx="32010">
                  <c:v>-8.4873949579831798E-2</c:v>
                </c:pt>
                <c:pt idx="32011">
                  <c:v>-8.4873949579831798E-2</c:v>
                </c:pt>
                <c:pt idx="32012">
                  <c:v>-8.4873949579831798E-2</c:v>
                </c:pt>
                <c:pt idx="32013">
                  <c:v>-8.4873949579831798E-2</c:v>
                </c:pt>
                <c:pt idx="32014">
                  <c:v>-8.4873949579831798E-2</c:v>
                </c:pt>
                <c:pt idx="32015">
                  <c:v>-8.4873949579831798E-2</c:v>
                </c:pt>
                <c:pt idx="32016">
                  <c:v>-8.4873949579831798E-2</c:v>
                </c:pt>
                <c:pt idx="32017">
                  <c:v>-8.4873949579831798E-2</c:v>
                </c:pt>
                <c:pt idx="32018">
                  <c:v>-8.4873949579831798E-2</c:v>
                </c:pt>
                <c:pt idx="32019">
                  <c:v>-8.4873949579831798E-2</c:v>
                </c:pt>
                <c:pt idx="32020">
                  <c:v>-8.4873949579831798E-2</c:v>
                </c:pt>
                <c:pt idx="32021">
                  <c:v>-8.4873949579831798E-2</c:v>
                </c:pt>
                <c:pt idx="32022">
                  <c:v>-8.4873949579831798E-2</c:v>
                </c:pt>
                <c:pt idx="32023">
                  <c:v>-8.4873949579831798E-2</c:v>
                </c:pt>
                <c:pt idx="32024">
                  <c:v>-8.4873949579831798E-2</c:v>
                </c:pt>
                <c:pt idx="32025">
                  <c:v>-8.4873949579831798E-2</c:v>
                </c:pt>
                <c:pt idx="32026">
                  <c:v>-8.5714285714285604E-2</c:v>
                </c:pt>
                <c:pt idx="32027">
                  <c:v>-8.5714285714285604E-2</c:v>
                </c:pt>
                <c:pt idx="32028">
                  <c:v>-8.5714285714285604E-2</c:v>
                </c:pt>
                <c:pt idx="32029">
                  <c:v>-8.5714285714285604E-2</c:v>
                </c:pt>
                <c:pt idx="32030">
                  <c:v>-8.5714285714285604E-2</c:v>
                </c:pt>
                <c:pt idx="32031">
                  <c:v>-8.5714285714285604E-2</c:v>
                </c:pt>
                <c:pt idx="32032">
                  <c:v>-8.5714285714285604E-2</c:v>
                </c:pt>
                <c:pt idx="32033">
                  <c:v>-8.5714285714285604E-2</c:v>
                </c:pt>
                <c:pt idx="32034">
                  <c:v>-8.5714285714285604E-2</c:v>
                </c:pt>
                <c:pt idx="32035">
                  <c:v>-8.4873949579831798E-2</c:v>
                </c:pt>
                <c:pt idx="32036">
                  <c:v>-8.4873949579831798E-2</c:v>
                </c:pt>
                <c:pt idx="32037">
                  <c:v>-8.4873949579831798E-2</c:v>
                </c:pt>
                <c:pt idx="32038">
                  <c:v>-8.4873949579831798E-2</c:v>
                </c:pt>
                <c:pt idx="32039">
                  <c:v>-8.4873949579831798E-2</c:v>
                </c:pt>
                <c:pt idx="32040">
                  <c:v>-8.4873949579831798E-2</c:v>
                </c:pt>
                <c:pt idx="32041">
                  <c:v>-8.4873949579831798E-2</c:v>
                </c:pt>
                <c:pt idx="32042">
                  <c:v>-8.4873949579831798E-2</c:v>
                </c:pt>
                <c:pt idx="32043">
                  <c:v>-8.4873949579831798E-2</c:v>
                </c:pt>
                <c:pt idx="32044">
                  <c:v>-8.4873949579831798E-2</c:v>
                </c:pt>
                <c:pt idx="32045">
                  <c:v>-8.4873949579831798E-2</c:v>
                </c:pt>
                <c:pt idx="32046">
                  <c:v>-8.4873949579831798E-2</c:v>
                </c:pt>
                <c:pt idx="32047">
                  <c:v>-8.4873949579831798E-2</c:v>
                </c:pt>
                <c:pt idx="32048">
                  <c:v>-8.4873949579831798E-2</c:v>
                </c:pt>
                <c:pt idx="32049">
                  <c:v>-8.4873949579831798E-2</c:v>
                </c:pt>
                <c:pt idx="32050">
                  <c:v>-8.4873949579831798E-2</c:v>
                </c:pt>
                <c:pt idx="32051">
                  <c:v>-8.4873949579831798E-2</c:v>
                </c:pt>
                <c:pt idx="32052">
                  <c:v>-8.4873949579831798E-2</c:v>
                </c:pt>
                <c:pt idx="32053">
                  <c:v>-8.4033613445378005E-2</c:v>
                </c:pt>
                <c:pt idx="32054">
                  <c:v>-8.4033613445378005E-2</c:v>
                </c:pt>
                <c:pt idx="32055">
                  <c:v>-8.4033613445378005E-2</c:v>
                </c:pt>
                <c:pt idx="32056">
                  <c:v>-8.4033613445378005E-2</c:v>
                </c:pt>
                <c:pt idx="32057">
                  <c:v>-8.4033613445378005E-2</c:v>
                </c:pt>
                <c:pt idx="32058">
                  <c:v>-8.4033613445378005E-2</c:v>
                </c:pt>
                <c:pt idx="32059">
                  <c:v>-8.4033613445378005E-2</c:v>
                </c:pt>
                <c:pt idx="32060">
                  <c:v>-8.4033613445378005E-2</c:v>
                </c:pt>
                <c:pt idx="32061">
                  <c:v>-8.4033613445378005E-2</c:v>
                </c:pt>
                <c:pt idx="32062">
                  <c:v>-8.4033613445378005E-2</c:v>
                </c:pt>
                <c:pt idx="32063">
                  <c:v>-8.4033613445378005E-2</c:v>
                </c:pt>
                <c:pt idx="32064">
                  <c:v>-8.4033613445378005E-2</c:v>
                </c:pt>
                <c:pt idx="32065">
                  <c:v>-8.4033613445378005E-2</c:v>
                </c:pt>
                <c:pt idx="32066">
                  <c:v>-8.4033613445378005E-2</c:v>
                </c:pt>
                <c:pt idx="32067">
                  <c:v>-8.4033613445378005E-2</c:v>
                </c:pt>
                <c:pt idx="32068">
                  <c:v>-8.4033613445378005E-2</c:v>
                </c:pt>
                <c:pt idx="32069">
                  <c:v>-8.4033613445378005E-2</c:v>
                </c:pt>
                <c:pt idx="32070">
                  <c:v>-8.4033613445378005E-2</c:v>
                </c:pt>
                <c:pt idx="32071">
                  <c:v>-8.4033613445378005E-2</c:v>
                </c:pt>
                <c:pt idx="32072">
                  <c:v>-8.4033613445378005E-2</c:v>
                </c:pt>
                <c:pt idx="32073">
                  <c:v>-8.4033613445378005E-2</c:v>
                </c:pt>
                <c:pt idx="32074">
                  <c:v>-8.4033613445378005E-2</c:v>
                </c:pt>
                <c:pt idx="32075">
                  <c:v>-8.4033613445378005E-2</c:v>
                </c:pt>
                <c:pt idx="32076">
                  <c:v>-8.4033613445378005E-2</c:v>
                </c:pt>
                <c:pt idx="32077">
                  <c:v>-8.4033613445378005E-2</c:v>
                </c:pt>
                <c:pt idx="32078">
                  <c:v>-8.4033613445378005E-2</c:v>
                </c:pt>
                <c:pt idx="32079">
                  <c:v>-8.4033613445378005E-2</c:v>
                </c:pt>
                <c:pt idx="32080">
                  <c:v>-8.4033613445378005E-2</c:v>
                </c:pt>
                <c:pt idx="32081">
                  <c:v>-8.4033613445378005E-2</c:v>
                </c:pt>
                <c:pt idx="32082">
                  <c:v>-8.4033613445378005E-2</c:v>
                </c:pt>
                <c:pt idx="32083">
                  <c:v>-8.4033613445378005E-2</c:v>
                </c:pt>
                <c:pt idx="32084">
                  <c:v>-8.4033613445378005E-2</c:v>
                </c:pt>
                <c:pt idx="32085">
                  <c:v>-8.4033613445378005E-2</c:v>
                </c:pt>
                <c:pt idx="32086">
                  <c:v>-8.4033613445378005E-2</c:v>
                </c:pt>
                <c:pt idx="32087">
                  <c:v>-8.4033613445378005E-2</c:v>
                </c:pt>
                <c:pt idx="32088">
                  <c:v>-8.4033613445378005E-2</c:v>
                </c:pt>
                <c:pt idx="32089">
                  <c:v>-8.4033613445378005E-2</c:v>
                </c:pt>
                <c:pt idx="32090">
                  <c:v>-8.4033613445378005E-2</c:v>
                </c:pt>
                <c:pt idx="32091">
                  <c:v>-8.4033613445378005E-2</c:v>
                </c:pt>
                <c:pt idx="32092">
                  <c:v>-8.4033613445378005E-2</c:v>
                </c:pt>
                <c:pt idx="32093">
                  <c:v>-8.4033613445378005E-2</c:v>
                </c:pt>
                <c:pt idx="32094">
                  <c:v>-8.4033613445378005E-2</c:v>
                </c:pt>
                <c:pt idx="32095">
                  <c:v>-8.4033613445378005E-2</c:v>
                </c:pt>
                <c:pt idx="32096">
                  <c:v>-8.4033613445378005E-2</c:v>
                </c:pt>
                <c:pt idx="32097">
                  <c:v>-8.4033613445378005E-2</c:v>
                </c:pt>
                <c:pt idx="32098">
                  <c:v>-8.4033613445378005E-2</c:v>
                </c:pt>
                <c:pt idx="32099">
                  <c:v>-8.4033613445378005E-2</c:v>
                </c:pt>
                <c:pt idx="32100">
                  <c:v>-8.4033613445378005E-2</c:v>
                </c:pt>
                <c:pt idx="32101">
                  <c:v>-8.4033613445378005E-2</c:v>
                </c:pt>
                <c:pt idx="32102">
                  <c:v>-8.4033613445378005E-2</c:v>
                </c:pt>
                <c:pt idx="32103">
                  <c:v>-8.4033613445378005E-2</c:v>
                </c:pt>
                <c:pt idx="32104">
                  <c:v>-8.4033613445378005E-2</c:v>
                </c:pt>
                <c:pt idx="32105">
                  <c:v>-8.4033613445378005E-2</c:v>
                </c:pt>
                <c:pt idx="32106">
                  <c:v>-8.4033613445378005E-2</c:v>
                </c:pt>
                <c:pt idx="32107">
                  <c:v>-8.4033613445378005E-2</c:v>
                </c:pt>
                <c:pt idx="32108">
                  <c:v>-8.4033613445378005E-2</c:v>
                </c:pt>
                <c:pt idx="32109">
                  <c:v>-8.4033613445378005E-2</c:v>
                </c:pt>
                <c:pt idx="32110">
                  <c:v>-8.4033613445378005E-2</c:v>
                </c:pt>
                <c:pt idx="32111">
                  <c:v>-8.4033613445378005E-2</c:v>
                </c:pt>
                <c:pt idx="32112">
                  <c:v>-8.4033613445378005E-2</c:v>
                </c:pt>
                <c:pt idx="32113">
                  <c:v>-8.4033613445378005E-2</c:v>
                </c:pt>
                <c:pt idx="32114">
                  <c:v>-8.4033613445378005E-2</c:v>
                </c:pt>
                <c:pt idx="32115">
                  <c:v>-8.4033613445378005E-2</c:v>
                </c:pt>
                <c:pt idx="32116">
                  <c:v>-8.4033613445378005E-2</c:v>
                </c:pt>
                <c:pt idx="32117">
                  <c:v>-8.4033613445378005E-2</c:v>
                </c:pt>
                <c:pt idx="32118">
                  <c:v>-8.4033613445378005E-2</c:v>
                </c:pt>
                <c:pt idx="32119">
                  <c:v>-8.4033613445378005E-2</c:v>
                </c:pt>
                <c:pt idx="32120">
                  <c:v>-8.4033613445378005E-2</c:v>
                </c:pt>
                <c:pt idx="32121">
                  <c:v>-8.4033613445378005E-2</c:v>
                </c:pt>
                <c:pt idx="32122">
                  <c:v>-8.4033613445378005E-2</c:v>
                </c:pt>
                <c:pt idx="32123">
                  <c:v>-8.4033613445378005E-2</c:v>
                </c:pt>
                <c:pt idx="32124">
                  <c:v>-8.4033613445378005E-2</c:v>
                </c:pt>
                <c:pt idx="32125">
                  <c:v>-8.4033613445378005E-2</c:v>
                </c:pt>
                <c:pt idx="32126">
                  <c:v>-8.4033613445378005E-2</c:v>
                </c:pt>
                <c:pt idx="32127">
                  <c:v>-8.4033613445378005E-2</c:v>
                </c:pt>
                <c:pt idx="32128">
                  <c:v>-8.4033613445378005E-2</c:v>
                </c:pt>
                <c:pt idx="32129">
                  <c:v>-8.4033613445378005E-2</c:v>
                </c:pt>
                <c:pt idx="32130">
                  <c:v>-8.4033613445378005E-2</c:v>
                </c:pt>
                <c:pt idx="32131">
                  <c:v>-8.4033613445378005E-2</c:v>
                </c:pt>
                <c:pt idx="32132">
                  <c:v>-8.4033613445378005E-2</c:v>
                </c:pt>
                <c:pt idx="32133">
                  <c:v>-8.3193277310924296E-2</c:v>
                </c:pt>
                <c:pt idx="32134">
                  <c:v>-8.3193277310924296E-2</c:v>
                </c:pt>
                <c:pt idx="32135">
                  <c:v>-8.3193277310924296E-2</c:v>
                </c:pt>
                <c:pt idx="32136">
                  <c:v>-8.3193277310924296E-2</c:v>
                </c:pt>
                <c:pt idx="32137">
                  <c:v>-8.3193277310924296E-2</c:v>
                </c:pt>
                <c:pt idx="32138">
                  <c:v>-8.3193277310924296E-2</c:v>
                </c:pt>
                <c:pt idx="32139">
                  <c:v>-8.3193277310924296E-2</c:v>
                </c:pt>
                <c:pt idx="32140">
                  <c:v>-8.3193277310924296E-2</c:v>
                </c:pt>
                <c:pt idx="32141">
                  <c:v>-8.3193277310924296E-2</c:v>
                </c:pt>
                <c:pt idx="32142">
                  <c:v>-8.3193277310924296E-2</c:v>
                </c:pt>
                <c:pt idx="32143">
                  <c:v>-8.3193277310924296E-2</c:v>
                </c:pt>
                <c:pt idx="32144">
                  <c:v>-8.3193277310924296E-2</c:v>
                </c:pt>
                <c:pt idx="32145">
                  <c:v>-8.3193277310924296E-2</c:v>
                </c:pt>
                <c:pt idx="32146">
                  <c:v>-8.3193277310924296E-2</c:v>
                </c:pt>
                <c:pt idx="32147">
                  <c:v>-8.3193277310924296E-2</c:v>
                </c:pt>
                <c:pt idx="32148">
                  <c:v>-8.3193277310924296E-2</c:v>
                </c:pt>
                <c:pt idx="32149">
                  <c:v>-8.3193277310924296E-2</c:v>
                </c:pt>
                <c:pt idx="32150">
                  <c:v>-8.3193277310924296E-2</c:v>
                </c:pt>
                <c:pt idx="32151">
                  <c:v>-8.3193277310924296E-2</c:v>
                </c:pt>
                <c:pt idx="32152">
                  <c:v>-8.3193277310924296E-2</c:v>
                </c:pt>
                <c:pt idx="32153">
                  <c:v>-8.3193277310924296E-2</c:v>
                </c:pt>
                <c:pt idx="32154">
                  <c:v>-8.3193277310924296E-2</c:v>
                </c:pt>
                <c:pt idx="32155">
                  <c:v>-8.3193277310924296E-2</c:v>
                </c:pt>
                <c:pt idx="32156">
                  <c:v>-8.3193277310924296E-2</c:v>
                </c:pt>
                <c:pt idx="32157">
                  <c:v>-8.3193277310924296E-2</c:v>
                </c:pt>
                <c:pt idx="32158">
                  <c:v>-8.3193277310924296E-2</c:v>
                </c:pt>
                <c:pt idx="32159">
                  <c:v>-8.3193277310924296E-2</c:v>
                </c:pt>
                <c:pt idx="32160">
                  <c:v>-8.3193277310924296E-2</c:v>
                </c:pt>
                <c:pt idx="32161">
                  <c:v>-8.3193277310924296E-2</c:v>
                </c:pt>
                <c:pt idx="32162">
                  <c:v>-8.3193277310924296E-2</c:v>
                </c:pt>
                <c:pt idx="32163">
                  <c:v>-8.3193277310924296E-2</c:v>
                </c:pt>
                <c:pt idx="32164">
                  <c:v>-8.3193277310924296E-2</c:v>
                </c:pt>
                <c:pt idx="32165">
                  <c:v>-8.3193277310924296E-2</c:v>
                </c:pt>
                <c:pt idx="32166">
                  <c:v>-8.3193277310924296E-2</c:v>
                </c:pt>
                <c:pt idx="32167">
                  <c:v>-8.3193277310924296E-2</c:v>
                </c:pt>
                <c:pt idx="32168">
                  <c:v>-8.3193277310924296E-2</c:v>
                </c:pt>
                <c:pt idx="32169">
                  <c:v>-8.4033613445378005E-2</c:v>
                </c:pt>
                <c:pt idx="32170">
                  <c:v>-8.4033613445378005E-2</c:v>
                </c:pt>
                <c:pt idx="32171">
                  <c:v>-8.4033613445378005E-2</c:v>
                </c:pt>
                <c:pt idx="32172">
                  <c:v>-8.4033613445378005E-2</c:v>
                </c:pt>
                <c:pt idx="32173">
                  <c:v>-8.4033613445378005E-2</c:v>
                </c:pt>
                <c:pt idx="32174">
                  <c:v>-8.4033613445378005E-2</c:v>
                </c:pt>
                <c:pt idx="32175">
                  <c:v>-8.4033613445378005E-2</c:v>
                </c:pt>
                <c:pt idx="32176">
                  <c:v>-8.4033613445378005E-2</c:v>
                </c:pt>
                <c:pt idx="32177">
                  <c:v>-8.4033613445378005E-2</c:v>
                </c:pt>
                <c:pt idx="32178">
                  <c:v>-8.4033613445378005E-2</c:v>
                </c:pt>
                <c:pt idx="32179">
                  <c:v>-8.3193277310924296E-2</c:v>
                </c:pt>
                <c:pt idx="32180">
                  <c:v>-8.3193277310924296E-2</c:v>
                </c:pt>
                <c:pt idx="32181">
                  <c:v>-8.3193277310924296E-2</c:v>
                </c:pt>
                <c:pt idx="32182">
                  <c:v>-8.3193277310924296E-2</c:v>
                </c:pt>
                <c:pt idx="32183">
                  <c:v>-8.3193277310924296E-2</c:v>
                </c:pt>
                <c:pt idx="32184">
                  <c:v>-8.3193277310924296E-2</c:v>
                </c:pt>
                <c:pt idx="32185">
                  <c:v>-8.3193277310924296E-2</c:v>
                </c:pt>
                <c:pt idx="32186">
                  <c:v>-8.3193277310924296E-2</c:v>
                </c:pt>
                <c:pt idx="32187">
                  <c:v>-8.3193277310924296E-2</c:v>
                </c:pt>
                <c:pt idx="32188">
                  <c:v>-8.3193277310924296E-2</c:v>
                </c:pt>
                <c:pt idx="32189">
                  <c:v>-8.3193277310924296E-2</c:v>
                </c:pt>
                <c:pt idx="32190">
                  <c:v>-8.3193277310924296E-2</c:v>
                </c:pt>
                <c:pt idx="32191">
                  <c:v>-8.3193277310924296E-2</c:v>
                </c:pt>
                <c:pt idx="32192">
                  <c:v>-8.3193277310924296E-2</c:v>
                </c:pt>
                <c:pt idx="32193">
                  <c:v>-8.3193277310924296E-2</c:v>
                </c:pt>
                <c:pt idx="32194">
                  <c:v>-8.3193277310924296E-2</c:v>
                </c:pt>
                <c:pt idx="32195">
                  <c:v>-8.3193277310924296E-2</c:v>
                </c:pt>
                <c:pt idx="32196">
                  <c:v>-8.3193277310924296E-2</c:v>
                </c:pt>
                <c:pt idx="32197">
                  <c:v>-8.3193277310924296E-2</c:v>
                </c:pt>
                <c:pt idx="32198">
                  <c:v>-8.3193277310924296E-2</c:v>
                </c:pt>
                <c:pt idx="32199">
                  <c:v>-8.3193277310924296E-2</c:v>
                </c:pt>
                <c:pt idx="32200">
                  <c:v>-8.3193277310924296E-2</c:v>
                </c:pt>
                <c:pt idx="32201">
                  <c:v>-8.3193277310924296E-2</c:v>
                </c:pt>
                <c:pt idx="32202">
                  <c:v>-8.3193277310924296E-2</c:v>
                </c:pt>
                <c:pt idx="32203">
                  <c:v>-8.3193277310924296E-2</c:v>
                </c:pt>
                <c:pt idx="32204">
                  <c:v>-8.3193277310924296E-2</c:v>
                </c:pt>
                <c:pt idx="32205">
                  <c:v>-8.3193277310924296E-2</c:v>
                </c:pt>
                <c:pt idx="32206">
                  <c:v>-8.3193277310924296E-2</c:v>
                </c:pt>
                <c:pt idx="32207">
                  <c:v>-8.3193277310924296E-2</c:v>
                </c:pt>
                <c:pt idx="32208">
                  <c:v>-8.3193277310924296E-2</c:v>
                </c:pt>
                <c:pt idx="32209">
                  <c:v>-8.3193277310924296E-2</c:v>
                </c:pt>
                <c:pt idx="32210">
                  <c:v>-8.3193277310924296E-2</c:v>
                </c:pt>
                <c:pt idx="32211">
                  <c:v>-8.3193277310924296E-2</c:v>
                </c:pt>
                <c:pt idx="32212">
                  <c:v>-8.3193277310924296E-2</c:v>
                </c:pt>
                <c:pt idx="32213">
                  <c:v>-8.3193277310924296E-2</c:v>
                </c:pt>
                <c:pt idx="32214">
                  <c:v>-8.3193277310924296E-2</c:v>
                </c:pt>
                <c:pt idx="32215">
                  <c:v>-8.3193277310924296E-2</c:v>
                </c:pt>
                <c:pt idx="32216">
                  <c:v>-8.3193277310924296E-2</c:v>
                </c:pt>
                <c:pt idx="32217">
                  <c:v>-8.3193277310924296E-2</c:v>
                </c:pt>
                <c:pt idx="32218">
                  <c:v>-8.3193277310924296E-2</c:v>
                </c:pt>
                <c:pt idx="32219">
                  <c:v>-8.3193277310924296E-2</c:v>
                </c:pt>
                <c:pt idx="32220">
                  <c:v>-8.3193277310924296E-2</c:v>
                </c:pt>
                <c:pt idx="32221">
                  <c:v>-8.3193277310924296E-2</c:v>
                </c:pt>
                <c:pt idx="32222">
                  <c:v>-8.3193277310924296E-2</c:v>
                </c:pt>
                <c:pt idx="32223">
                  <c:v>-8.3193277310924296E-2</c:v>
                </c:pt>
                <c:pt idx="32224">
                  <c:v>-8.3193277310924296E-2</c:v>
                </c:pt>
                <c:pt idx="32225">
                  <c:v>-8.3193277310924296E-2</c:v>
                </c:pt>
                <c:pt idx="32226">
                  <c:v>-8.3193277310924296E-2</c:v>
                </c:pt>
                <c:pt idx="32227">
                  <c:v>-8.3193277310924296E-2</c:v>
                </c:pt>
                <c:pt idx="32228">
                  <c:v>-8.3193277310924296E-2</c:v>
                </c:pt>
                <c:pt idx="32229">
                  <c:v>-8.3193277310924296E-2</c:v>
                </c:pt>
                <c:pt idx="32230">
                  <c:v>-8.3193277310924296E-2</c:v>
                </c:pt>
                <c:pt idx="32231">
                  <c:v>-8.3193277310924296E-2</c:v>
                </c:pt>
                <c:pt idx="32232">
                  <c:v>-8.3193277310924296E-2</c:v>
                </c:pt>
                <c:pt idx="32233">
                  <c:v>-8.3193277310924296E-2</c:v>
                </c:pt>
                <c:pt idx="32234">
                  <c:v>-8.3193277310924296E-2</c:v>
                </c:pt>
                <c:pt idx="32235">
                  <c:v>-8.3193277310924296E-2</c:v>
                </c:pt>
                <c:pt idx="32236">
                  <c:v>-8.3193277310924296E-2</c:v>
                </c:pt>
                <c:pt idx="32237">
                  <c:v>-8.3193277310924296E-2</c:v>
                </c:pt>
                <c:pt idx="32238">
                  <c:v>-8.3193277310924296E-2</c:v>
                </c:pt>
                <c:pt idx="32239">
                  <c:v>-8.3193277310924296E-2</c:v>
                </c:pt>
                <c:pt idx="32240">
                  <c:v>-8.3193277310924296E-2</c:v>
                </c:pt>
                <c:pt idx="32241">
                  <c:v>-8.3193277310924296E-2</c:v>
                </c:pt>
                <c:pt idx="32242">
                  <c:v>-8.3193277310924296E-2</c:v>
                </c:pt>
                <c:pt idx="32243">
                  <c:v>-8.3193277310924296E-2</c:v>
                </c:pt>
                <c:pt idx="32244">
                  <c:v>-8.3193277310924296E-2</c:v>
                </c:pt>
                <c:pt idx="32245">
                  <c:v>-8.3193277310924296E-2</c:v>
                </c:pt>
                <c:pt idx="32246">
                  <c:v>-8.3193277310924296E-2</c:v>
                </c:pt>
                <c:pt idx="32247">
                  <c:v>-8.3193277310924296E-2</c:v>
                </c:pt>
                <c:pt idx="32248">
                  <c:v>-8.3193277310924296E-2</c:v>
                </c:pt>
                <c:pt idx="32249">
                  <c:v>-8.3193277310924296E-2</c:v>
                </c:pt>
                <c:pt idx="32250">
                  <c:v>-8.3193277310924296E-2</c:v>
                </c:pt>
                <c:pt idx="32251">
                  <c:v>-8.3193277310924296E-2</c:v>
                </c:pt>
                <c:pt idx="32252">
                  <c:v>-8.3193277310924296E-2</c:v>
                </c:pt>
                <c:pt idx="32253">
                  <c:v>-8.3193277310924296E-2</c:v>
                </c:pt>
                <c:pt idx="32254">
                  <c:v>-8.4033613445378005E-2</c:v>
                </c:pt>
                <c:pt idx="32255">
                  <c:v>-8.4033613445378005E-2</c:v>
                </c:pt>
                <c:pt idx="32256">
                  <c:v>-8.4033613445378005E-2</c:v>
                </c:pt>
                <c:pt idx="32257">
                  <c:v>-8.4033613445378005E-2</c:v>
                </c:pt>
                <c:pt idx="32258">
                  <c:v>-8.4033613445378005E-2</c:v>
                </c:pt>
                <c:pt idx="32259">
                  <c:v>-8.4873949579831798E-2</c:v>
                </c:pt>
                <c:pt idx="32260">
                  <c:v>-8.4873949579831798E-2</c:v>
                </c:pt>
                <c:pt idx="32261">
                  <c:v>-8.4873949579831798E-2</c:v>
                </c:pt>
                <c:pt idx="32262">
                  <c:v>-8.4873949579831798E-2</c:v>
                </c:pt>
                <c:pt idx="32263">
                  <c:v>-8.4873949579831798E-2</c:v>
                </c:pt>
                <c:pt idx="32264">
                  <c:v>-8.4873949579831798E-2</c:v>
                </c:pt>
                <c:pt idx="32265">
                  <c:v>-8.4873949579831798E-2</c:v>
                </c:pt>
                <c:pt idx="32266">
                  <c:v>-8.4873949579831798E-2</c:v>
                </c:pt>
                <c:pt idx="32267">
                  <c:v>-8.4873949579831798E-2</c:v>
                </c:pt>
                <c:pt idx="32268">
                  <c:v>-8.4873949579831798E-2</c:v>
                </c:pt>
                <c:pt idx="32269">
                  <c:v>-8.4873949579831798E-2</c:v>
                </c:pt>
                <c:pt idx="32270">
                  <c:v>-8.4873949579831798E-2</c:v>
                </c:pt>
                <c:pt idx="32271">
                  <c:v>-8.4873949579831798E-2</c:v>
                </c:pt>
                <c:pt idx="32272">
                  <c:v>-8.4873949579831798E-2</c:v>
                </c:pt>
                <c:pt idx="32273">
                  <c:v>-8.4873949579831798E-2</c:v>
                </c:pt>
                <c:pt idx="32274">
                  <c:v>-8.4873949579831798E-2</c:v>
                </c:pt>
                <c:pt idx="32275">
                  <c:v>-8.4873949579831798E-2</c:v>
                </c:pt>
                <c:pt idx="32276">
                  <c:v>-8.4873949579831798E-2</c:v>
                </c:pt>
                <c:pt idx="32277">
                  <c:v>-8.4873949579831798E-2</c:v>
                </c:pt>
                <c:pt idx="32278">
                  <c:v>-8.4873949579831798E-2</c:v>
                </c:pt>
                <c:pt idx="32279">
                  <c:v>-8.4873949579831798E-2</c:v>
                </c:pt>
                <c:pt idx="32280">
                  <c:v>-8.4873949579831798E-2</c:v>
                </c:pt>
                <c:pt idx="32281">
                  <c:v>-8.4873949579831798E-2</c:v>
                </c:pt>
                <c:pt idx="32282">
                  <c:v>-8.4873949579831798E-2</c:v>
                </c:pt>
                <c:pt idx="32283">
                  <c:v>-8.4873949579831798E-2</c:v>
                </c:pt>
                <c:pt idx="32284">
                  <c:v>-8.4873949579831798E-2</c:v>
                </c:pt>
                <c:pt idx="32285">
                  <c:v>-8.4873949579831798E-2</c:v>
                </c:pt>
                <c:pt idx="32286">
                  <c:v>-8.4873949579831798E-2</c:v>
                </c:pt>
                <c:pt idx="32287">
                  <c:v>-8.4873949579831798E-2</c:v>
                </c:pt>
                <c:pt idx="32288">
                  <c:v>-8.4873949579831798E-2</c:v>
                </c:pt>
                <c:pt idx="32289">
                  <c:v>-8.4873949579831798E-2</c:v>
                </c:pt>
                <c:pt idx="32290">
                  <c:v>-8.4873949579831798E-2</c:v>
                </c:pt>
                <c:pt idx="32291">
                  <c:v>-8.4873949579831798E-2</c:v>
                </c:pt>
                <c:pt idx="32292">
                  <c:v>-8.4873949579831798E-2</c:v>
                </c:pt>
                <c:pt idx="32293">
                  <c:v>-8.4873949579831798E-2</c:v>
                </c:pt>
                <c:pt idx="32294">
                  <c:v>-8.4873949579831798E-2</c:v>
                </c:pt>
                <c:pt idx="32295">
                  <c:v>-8.4873949579831798E-2</c:v>
                </c:pt>
                <c:pt idx="32296">
                  <c:v>-8.4873949579831798E-2</c:v>
                </c:pt>
                <c:pt idx="32297">
                  <c:v>-8.4873949579831798E-2</c:v>
                </c:pt>
                <c:pt idx="32298">
                  <c:v>-8.4873949579831798E-2</c:v>
                </c:pt>
                <c:pt idx="32299">
                  <c:v>-8.4033613445378005E-2</c:v>
                </c:pt>
                <c:pt idx="32300">
                  <c:v>-8.4033613445378005E-2</c:v>
                </c:pt>
                <c:pt idx="32301">
                  <c:v>-8.3193277310924296E-2</c:v>
                </c:pt>
                <c:pt idx="32302">
                  <c:v>-8.3193277310924296E-2</c:v>
                </c:pt>
                <c:pt idx="32303">
                  <c:v>-8.3193277310924296E-2</c:v>
                </c:pt>
                <c:pt idx="32304">
                  <c:v>-8.3193277310924296E-2</c:v>
                </c:pt>
                <c:pt idx="32305">
                  <c:v>-8.3193277310924296E-2</c:v>
                </c:pt>
                <c:pt idx="32306">
                  <c:v>-8.3193277310924296E-2</c:v>
                </c:pt>
                <c:pt idx="32307">
                  <c:v>-8.3193277310924296E-2</c:v>
                </c:pt>
                <c:pt idx="32308">
                  <c:v>-8.3193277310924296E-2</c:v>
                </c:pt>
                <c:pt idx="32309">
                  <c:v>-8.3193277310924296E-2</c:v>
                </c:pt>
                <c:pt idx="32310">
                  <c:v>-8.3193277310924296E-2</c:v>
                </c:pt>
                <c:pt idx="32311">
                  <c:v>-8.3193277310924296E-2</c:v>
                </c:pt>
                <c:pt idx="32312">
                  <c:v>-8.3193277310924296E-2</c:v>
                </c:pt>
                <c:pt idx="32313">
                  <c:v>-8.3193277310924296E-2</c:v>
                </c:pt>
                <c:pt idx="32314">
                  <c:v>-8.3193277310924296E-2</c:v>
                </c:pt>
                <c:pt idx="32315">
                  <c:v>-8.3193277310924296E-2</c:v>
                </c:pt>
                <c:pt idx="32316">
                  <c:v>-8.3193277310924296E-2</c:v>
                </c:pt>
                <c:pt idx="32317">
                  <c:v>-8.3193277310924296E-2</c:v>
                </c:pt>
                <c:pt idx="32318">
                  <c:v>-8.3193277310924296E-2</c:v>
                </c:pt>
                <c:pt idx="32319">
                  <c:v>-8.3193277310924296E-2</c:v>
                </c:pt>
                <c:pt idx="32320">
                  <c:v>-8.3193277310924296E-2</c:v>
                </c:pt>
                <c:pt idx="32321">
                  <c:v>-8.3193277310924296E-2</c:v>
                </c:pt>
                <c:pt idx="32322">
                  <c:v>-8.3193277310924296E-2</c:v>
                </c:pt>
                <c:pt idx="32323">
                  <c:v>-8.2352941176470504E-2</c:v>
                </c:pt>
                <c:pt idx="32324">
                  <c:v>-8.2352941176470504E-2</c:v>
                </c:pt>
                <c:pt idx="32325">
                  <c:v>-8.2352941176470504E-2</c:v>
                </c:pt>
                <c:pt idx="32326">
                  <c:v>-8.2352941176470504E-2</c:v>
                </c:pt>
                <c:pt idx="32327">
                  <c:v>-8.2352941176470504E-2</c:v>
                </c:pt>
                <c:pt idx="32328">
                  <c:v>-8.2352941176470504E-2</c:v>
                </c:pt>
                <c:pt idx="32329">
                  <c:v>-8.2352941176470504E-2</c:v>
                </c:pt>
                <c:pt idx="32330">
                  <c:v>-8.2352941176470504E-2</c:v>
                </c:pt>
                <c:pt idx="32331">
                  <c:v>-8.2352941176470504E-2</c:v>
                </c:pt>
                <c:pt idx="32332">
                  <c:v>-8.2352941176470504E-2</c:v>
                </c:pt>
                <c:pt idx="32333">
                  <c:v>-8.2352941176470504E-2</c:v>
                </c:pt>
                <c:pt idx="32334">
                  <c:v>-8.2352941176470504E-2</c:v>
                </c:pt>
                <c:pt idx="32335">
                  <c:v>-8.2352941176470504E-2</c:v>
                </c:pt>
                <c:pt idx="32336">
                  <c:v>-8.2352941176470504E-2</c:v>
                </c:pt>
                <c:pt idx="32337">
                  <c:v>-8.2352941176470504E-2</c:v>
                </c:pt>
                <c:pt idx="32338">
                  <c:v>-8.2352941176470504E-2</c:v>
                </c:pt>
                <c:pt idx="32339">
                  <c:v>-8.2352941176470504E-2</c:v>
                </c:pt>
                <c:pt idx="32340">
                  <c:v>-8.2352941176470504E-2</c:v>
                </c:pt>
                <c:pt idx="32341">
                  <c:v>-8.2352941176470504E-2</c:v>
                </c:pt>
                <c:pt idx="32342">
                  <c:v>-8.2352941176470504E-2</c:v>
                </c:pt>
                <c:pt idx="32343">
                  <c:v>-8.2352941176470504E-2</c:v>
                </c:pt>
                <c:pt idx="32344">
                  <c:v>-8.2352941176470504E-2</c:v>
                </c:pt>
                <c:pt idx="32345">
                  <c:v>-8.2352941176470504E-2</c:v>
                </c:pt>
                <c:pt idx="32346">
                  <c:v>-8.2352941176470504E-2</c:v>
                </c:pt>
                <c:pt idx="32347">
                  <c:v>-8.2352941176470504E-2</c:v>
                </c:pt>
                <c:pt idx="32348">
                  <c:v>-8.2352941176470504E-2</c:v>
                </c:pt>
                <c:pt idx="32349">
                  <c:v>-8.2352941176470504E-2</c:v>
                </c:pt>
                <c:pt idx="32350">
                  <c:v>-8.2352941176470504E-2</c:v>
                </c:pt>
                <c:pt idx="32351">
                  <c:v>-8.2352941176470504E-2</c:v>
                </c:pt>
                <c:pt idx="32352">
                  <c:v>-8.2352941176470504E-2</c:v>
                </c:pt>
                <c:pt idx="32353">
                  <c:v>-8.2352941176470504E-2</c:v>
                </c:pt>
                <c:pt idx="32354">
                  <c:v>-8.2352941176470504E-2</c:v>
                </c:pt>
                <c:pt idx="32355">
                  <c:v>-8.2352941176470504E-2</c:v>
                </c:pt>
                <c:pt idx="32356">
                  <c:v>-8.2352941176470504E-2</c:v>
                </c:pt>
                <c:pt idx="32357">
                  <c:v>-8.2352941176470504E-2</c:v>
                </c:pt>
                <c:pt idx="32358">
                  <c:v>-8.2352941176470504E-2</c:v>
                </c:pt>
                <c:pt idx="32359">
                  <c:v>-8.2352941176470504E-2</c:v>
                </c:pt>
                <c:pt idx="32360">
                  <c:v>-8.2352941176470504E-2</c:v>
                </c:pt>
                <c:pt idx="32361">
                  <c:v>-8.2352941176470504E-2</c:v>
                </c:pt>
                <c:pt idx="32362">
                  <c:v>-8.2352941176470504E-2</c:v>
                </c:pt>
                <c:pt idx="32363">
                  <c:v>-8.2352941176470504E-2</c:v>
                </c:pt>
                <c:pt idx="32364">
                  <c:v>-8.2352941176470504E-2</c:v>
                </c:pt>
                <c:pt idx="32365">
                  <c:v>-8.2352941176470504E-2</c:v>
                </c:pt>
                <c:pt idx="32366">
                  <c:v>-8.2352941176470504E-2</c:v>
                </c:pt>
                <c:pt idx="32367">
                  <c:v>-8.2352941176470504E-2</c:v>
                </c:pt>
                <c:pt idx="32368">
                  <c:v>-8.2352941176470504E-2</c:v>
                </c:pt>
                <c:pt idx="32369">
                  <c:v>-8.2352941176470504E-2</c:v>
                </c:pt>
                <c:pt idx="32370">
                  <c:v>-8.2352941176470504E-2</c:v>
                </c:pt>
                <c:pt idx="32371">
                  <c:v>-8.2352941176470504E-2</c:v>
                </c:pt>
                <c:pt idx="32372">
                  <c:v>-8.2352941176470504E-2</c:v>
                </c:pt>
                <c:pt idx="32373">
                  <c:v>-8.2352941176470504E-2</c:v>
                </c:pt>
                <c:pt idx="32374">
                  <c:v>-8.2352941176470504E-2</c:v>
                </c:pt>
                <c:pt idx="32375">
                  <c:v>-8.2352941176470504E-2</c:v>
                </c:pt>
                <c:pt idx="32376">
                  <c:v>-8.2352941176470504E-2</c:v>
                </c:pt>
                <c:pt idx="32377">
                  <c:v>-8.2352941176470504E-2</c:v>
                </c:pt>
                <c:pt idx="32378">
                  <c:v>-8.2352941176470504E-2</c:v>
                </c:pt>
                <c:pt idx="32379">
                  <c:v>-8.2352941176470504E-2</c:v>
                </c:pt>
                <c:pt idx="32380">
                  <c:v>-8.2352941176470504E-2</c:v>
                </c:pt>
                <c:pt idx="32381">
                  <c:v>-8.2352941176470504E-2</c:v>
                </c:pt>
                <c:pt idx="32382">
                  <c:v>-8.2352941176470504E-2</c:v>
                </c:pt>
                <c:pt idx="32383">
                  <c:v>-8.2352941176470504E-2</c:v>
                </c:pt>
                <c:pt idx="32384">
                  <c:v>-8.2352941176470504E-2</c:v>
                </c:pt>
                <c:pt idx="32385">
                  <c:v>-8.2352941176470504E-2</c:v>
                </c:pt>
                <c:pt idx="32386">
                  <c:v>-8.2352941176470504E-2</c:v>
                </c:pt>
                <c:pt idx="32387">
                  <c:v>-8.2352941176470504E-2</c:v>
                </c:pt>
                <c:pt idx="32388">
                  <c:v>-8.2352941176470504E-2</c:v>
                </c:pt>
                <c:pt idx="32389">
                  <c:v>-8.2352941176470504E-2</c:v>
                </c:pt>
                <c:pt idx="32390">
                  <c:v>-8.2352941176470504E-2</c:v>
                </c:pt>
                <c:pt idx="32391">
                  <c:v>-8.2352941176470504E-2</c:v>
                </c:pt>
                <c:pt idx="32392">
                  <c:v>-8.2352941176470504E-2</c:v>
                </c:pt>
                <c:pt idx="32393">
                  <c:v>-8.2352941176470504E-2</c:v>
                </c:pt>
                <c:pt idx="32394">
                  <c:v>-8.2352941176470504E-2</c:v>
                </c:pt>
                <c:pt idx="32395">
                  <c:v>-8.2352941176470504E-2</c:v>
                </c:pt>
                <c:pt idx="32396">
                  <c:v>-8.2352941176470504E-2</c:v>
                </c:pt>
                <c:pt idx="32397">
                  <c:v>-8.2352941176470504E-2</c:v>
                </c:pt>
                <c:pt idx="32398">
                  <c:v>-8.2352941176470504E-2</c:v>
                </c:pt>
                <c:pt idx="32399">
                  <c:v>-8.2352941176470504E-2</c:v>
                </c:pt>
                <c:pt idx="32400">
                  <c:v>-8.2352941176470504E-2</c:v>
                </c:pt>
                <c:pt idx="32401">
                  <c:v>-8.2352941176470504E-2</c:v>
                </c:pt>
                <c:pt idx="32402">
                  <c:v>-8.2352941176470504E-2</c:v>
                </c:pt>
                <c:pt idx="32403">
                  <c:v>-8.2352941176470504E-2</c:v>
                </c:pt>
                <c:pt idx="32404">
                  <c:v>-8.2352941176470504E-2</c:v>
                </c:pt>
                <c:pt idx="32405">
                  <c:v>-8.2352941176470504E-2</c:v>
                </c:pt>
                <c:pt idx="32406">
                  <c:v>-8.2352941176470504E-2</c:v>
                </c:pt>
                <c:pt idx="32407">
                  <c:v>-8.2352941176470504E-2</c:v>
                </c:pt>
                <c:pt idx="32408">
                  <c:v>-8.2352941176470504E-2</c:v>
                </c:pt>
                <c:pt idx="32409">
                  <c:v>-8.2352941176470504E-2</c:v>
                </c:pt>
                <c:pt idx="32410">
                  <c:v>-8.2352941176470504E-2</c:v>
                </c:pt>
                <c:pt idx="32411">
                  <c:v>-8.2352941176470504E-2</c:v>
                </c:pt>
                <c:pt idx="32412">
                  <c:v>-8.2352941176470504E-2</c:v>
                </c:pt>
                <c:pt idx="32413">
                  <c:v>-8.2352941176470504E-2</c:v>
                </c:pt>
                <c:pt idx="32414">
                  <c:v>-8.2352941176470504E-2</c:v>
                </c:pt>
                <c:pt idx="32415">
                  <c:v>-8.2352941176470504E-2</c:v>
                </c:pt>
                <c:pt idx="32416">
                  <c:v>-8.1512605042016698E-2</c:v>
                </c:pt>
                <c:pt idx="32417">
                  <c:v>-8.2352941176470504E-2</c:v>
                </c:pt>
                <c:pt idx="32418">
                  <c:v>-8.2352941176470504E-2</c:v>
                </c:pt>
                <c:pt idx="32419">
                  <c:v>-8.2352941176470504E-2</c:v>
                </c:pt>
                <c:pt idx="32420">
                  <c:v>-8.2352941176470504E-2</c:v>
                </c:pt>
                <c:pt idx="32421">
                  <c:v>-8.2352941176470504E-2</c:v>
                </c:pt>
                <c:pt idx="32422">
                  <c:v>-8.2352941176470504E-2</c:v>
                </c:pt>
                <c:pt idx="32423">
                  <c:v>-8.1512605042016698E-2</c:v>
                </c:pt>
                <c:pt idx="32424">
                  <c:v>-8.1512605042016698E-2</c:v>
                </c:pt>
                <c:pt idx="32425">
                  <c:v>-8.1512605042016698E-2</c:v>
                </c:pt>
                <c:pt idx="32426">
                  <c:v>-8.1512605042016698E-2</c:v>
                </c:pt>
                <c:pt idx="32427">
                  <c:v>-8.1512605042016698E-2</c:v>
                </c:pt>
                <c:pt idx="32428">
                  <c:v>-8.1512605042016698E-2</c:v>
                </c:pt>
                <c:pt idx="32429">
                  <c:v>-8.1512605042016698E-2</c:v>
                </c:pt>
                <c:pt idx="32430">
                  <c:v>-8.1512605042016698E-2</c:v>
                </c:pt>
                <c:pt idx="32431">
                  <c:v>-8.1512605042016698E-2</c:v>
                </c:pt>
                <c:pt idx="32432">
                  <c:v>-8.1512605042016698E-2</c:v>
                </c:pt>
                <c:pt idx="32433">
                  <c:v>-8.1512605042016698E-2</c:v>
                </c:pt>
                <c:pt idx="32434">
                  <c:v>-8.1512605042016698E-2</c:v>
                </c:pt>
                <c:pt idx="32435">
                  <c:v>-8.1512605042016698E-2</c:v>
                </c:pt>
                <c:pt idx="32436">
                  <c:v>-8.1512605042016698E-2</c:v>
                </c:pt>
                <c:pt idx="32437">
                  <c:v>-8.1512605042016698E-2</c:v>
                </c:pt>
                <c:pt idx="32438">
                  <c:v>-8.2352941176470504E-2</c:v>
                </c:pt>
                <c:pt idx="32439">
                  <c:v>-8.2352941176470504E-2</c:v>
                </c:pt>
                <c:pt idx="32440">
                  <c:v>-8.2352941176470504E-2</c:v>
                </c:pt>
                <c:pt idx="32441">
                  <c:v>-8.2352941176470504E-2</c:v>
                </c:pt>
                <c:pt idx="32442">
                  <c:v>-8.2352941176470504E-2</c:v>
                </c:pt>
                <c:pt idx="32443">
                  <c:v>-8.2352941176470504E-2</c:v>
                </c:pt>
                <c:pt idx="32444">
                  <c:v>-8.2352941176470504E-2</c:v>
                </c:pt>
                <c:pt idx="32445">
                  <c:v>-8.2352941176470504E-2</c:v>
                </c:pt>
                <c:pt idx="32446">
                  <c:v>-8.2352941176470504E-2</c:v>
                </c:pt>
                <c:pt idx="32447">
                  <c:v>-8.2352941176470504E-2</c:v>
                </c:pt>
                <c:pt idx="32448">
                  <c:v>-8.3193277310924296E-2</c:v>
                </c:pt>
                <c:pt idx="32449">
                  <c:v>-8.3193277310924296E-2</c:v>
                </c:pt>
                <c:pt idx="32450">
                  <c:v>-8.3193277310924296E-2</c:v>
                </c:pt>
                <c:pt idx="32451">
                  <c:v>-8.3193277310924296E-2</c:v>
                </c:pt>
                <c:pt idx="32452">
                  <c:v>-8.3193277310924296E-2</c:v>
                </c:pt>
                <c:pt idx="32453">
                  <c:v>-8.3193277310924296E-2</c:v>
                </c:pt>
                <c:pt idx="32454">
                  <c:v>-8.3193277310924296E-2</c:v>
                </c:pt>
                <c:pt idx="32455">
                  <c:v>-8.3193277310924296E-2</c:v>
                </c:pt>
                <c:pt idx="32456">
                  <c:v>-8.3193277310924296E-2</c:v>
                </c:pt>
                <c:pt idx="32457">
                  <c:v>-8.3193277310924296E-2</c:v>
                </c:pt>
                <c:pt idx="32458">
                  <c:v>-8.3193277310924296E-2</c:v>
                </c:pt>
                <c:pt idx="32459">
                  <c:v>-8.3193277310924296E-2</c:v>
                </c:pt>
                <c:pt idx="32460">
                  <c:v>-8.3193277310924296E-2</c:v>
                </c:pt>
                <c:pt idx="32461">
                  <c:v>-8.3193277310924296E-2</c:v>
                </c:pt>
                <c:pt idx="32462">
                  <c:v>-8.3193277310924296E-2</c:v>
                </c:pt>
                <c:pt idx="32463">
                  <c:v>-8.3193277310924296E-2</c:v>
                </c:pt>
                <c:pt idx="32464">
                  <c:v>-8.3193277310924296E-2</c:v>
                </c:pt>
                <c:pt idx="32465">
                  <c:v>-8.3193277310924296E-2</c:v>
                </c:pt>
                <c:pt idx="32466">
                  <c:v>-8.3193277310924296E-2</c:v>
                </c:pt>
                <c:pt idx="32467">
                  <c:v>-8.3193277310924296E-2</c:v>
                </c:pt>
                <c:pt idx="32468">
                  <c:v>-8.3193277310924296E-2</c:v>
                </c:pt>
                <c:pt idx="32469">
                  <c:v>-8.3193277310924296E-2</c:v>
                </c:pt>
                <c:pt idx="32470">
                  <c:v>-8.3193277310924296E-2</c:v>
                </c:pt>
                <c:pt idx="32471">
                  <c:v>-8.3193277310924296E-2</c:v>
                </c:pt>
                <c:pt idx="32472">
                  <c:v>-8.3193277310924296E-2</c:v>
                </c:pt>
                <c:pt idx="32473">
                  <c:v>-8.3193277310924296E-2</c:v>
                </c:pt>
                <c:pt idx="32474">
                  <c:v>-8.3193277310924296E-2</c:v>
                </c:pt>
                <c:pt idx="32475">
                  <c:v>-8.3193277310924296E-2</c:v>
                </c:pt>
                <c:pt idx="32476">
                  <c:v>-8.3193277310924296E-2</c:v>
                </c:pt>
                <c:pt idx="32477">
                  <c:v>-8.3193277310924296E-2</c:v>
                </c:pt>
                <c:pt idx="32478">
                  <c:v>-8.3193277310924296E-2</c:v>
                </c:pt>
                <c:pt idx="32479">
                  <c:v>-8.3193277310924296E-2</c:v>
                </c:pt>
                <c:pt idx="32480">
                  <c:v>-8.3193277310924296E-2</c:v>
                </c:pt>
                <c:pt idx="32481">
                  <c:v>-8.3193277310924296E-2</c:v>
                </c:pt>
                <c:pt idx="32482">
                  <c:v>-8.3193277310924296E-2</c:v>
                </c:pt>
                <c:pt idx="32483">
                  <c:v>-8.3193277310924296E-2</c:v>
                </c:pt>
                <c:pt idx="32484">
                  <c:v>-8.3193277310924296E-2</c:v>
                </c:pt>
                <c:pt idx="32485">
                  <c:v>-8.3193277310924296E-2</c:v>
                </c:pt>
                <c:pt idx="32486">
                  <c:v>-8.3193277310924296E-2</c:v>
                </c:pt>
                <c:pt idx="32487">
                  <c:v>-8.3193277310924296E-2</c:v>
                </c:pt>
                <c:pt idx="32488">
                  <c:v>-8.3193277310924296E-2</c:v>
                </c:pt>
                <c:pt idx="32489">
                  <c:v>-8.3193277310924296E-2</c:v>
                </c:pt>
                <c:pt idx="32490">
                  <c:v>-8.3193277310924296E-2</c:v>
                </c:pt>
                <c:pt idx="32491">
                  <c:v>-8.3193277310924296E-2</c:v>
                </c:pt>
                <c:pt idx="32492">
                  <c:v>-8.3193277310924296E-2</c:v>
                </c:pt>
                <c:pt idx="32493">
                  <c:v>-8.3193277310924296E-2</c:v>
                </c:pt>
                <c:pt idx="32494">
                  <c:v>-8.3193277310924296E-2</c:v>
                </c:pt>
                <c:pt idx="32495">
                  <c:v>-8.3193277310924296E-2</c:v>
                </c:pt>
                <c:pt idx="32496">
                  <c:v>-8.3193277310924296E-2</c:v>
                </c:pt>
                <c:pt idx="32497">
                  <c:v>-8.3193277310924296E-2</c:v>
                </c:pt>
                <c:pt idx="32498">
                  <c:v>-8.3193277310924296E-2</c:v>
                </c:pt>
                <c:pt idx="32499">
                  <c:v>-8.3193277310924296E-2</c:v>
                </c:pt>
                <c:pt idx="32500">
                  <c:v>-8.3193277310924296E-2</c:v>
                </c:pt>
                <c:pt idx="32501">
                  <c:v>-8.3193277310924296E-2</c:v>
                </c:pt>
                <c:pt idx="32502">
                  <c:v>-8.3193277310924296E-2</c:v>
                </c:pt>
                <c:pt idx="32503">
                  <c:v>-8.3193277310924296E-2</c:v>
                </c:pt>
                <c:pt idx="32504">
                  <c:v>-8.3193277310924296E-2</c:v>
                </c:pt>
                <c:pt idx="32505">
                  <c:v>-8.3193277310924296E-2</c:v>
                </c:pt>
                <c:pt idx="32506">
                  <c:v>-8.3193277310924296E-2</c:v>
                </c:pt>
                <c:pt idx="32507">
                  <c:v>-8.3193277310924296E-2</c:v>
                </c:pt>
                <c:pt idx="32508">
                  <c:v>-8.3193277310924296E-2</c:v>
                </c:pt>
                <c:pt idx="32509">
                  <c:v>-8.3193277310924296E-2</c:v>
                </c:pt>
                <c:pt idx="32510">
                  <c:v>-8.3193277310924296E-2</c:v>
                </c:pt>
                <c:pt idx="32511">
                  <c:v>-8.3193277310924296E-2</c:v>
                </c:pt>
                <c:pt idx="32512">
                  <c:v>-8.3193277310924296E-2</c:v>
                </c:pt>
                <c:pt idx="32513">
                  <c:v>-8.3193277310924296E-2</c:v>
                </c:pt>
                <c:pt idx="32514">
                  <c:v>-8.3193277310924296E-2</c:v>
                </c:pt>
                <c:pt idx="32515">
                  <c:v>-8.3193277310924296E-2</c:v>
                </c:pt>
                <c:pt idx="32516">
                  <c:v>-8.3193277310924296E-2</c:v>
                </c:pt>
                <c:pt idx="32517">
                  <c:v>-8.3193277310924296E-2</c:v>
                </c:pt>
                <c:pt idx="32518">
                  <c:v>-8.3193277310924296E-2</c:v>
                </c:pt>
                <c:pt idx="32519">
                  <c:v>-8.3193277310924296E-2</c:v>
                </c:pt>
                <c:pt idx="32520">
                  <c:v>-8.3193277310924296E-2</c:v>
                </c:pt>
                <c:pt idx="32521">
                  <c:v>-8.3193277310924296E-2</c:v>
                </c:pt>
                <c:pt idx="32522">
                  <c:v>-8.3193277310924296E-2</c:v>
                </c:pt>
                <c:pt idx="32523">
                  <c:v>-8.3193277310924296E-2</c:v>
                </c:pt>
                <c:pt idx="32524">
                  <c:v>-8.3193277310924296E-2</c:v>
                </c:pt>
                <c:pt idx="32525">
                  <c:v>-8.3193277310924296E-2</c:v>
                </c:pt>
                <c:pt idx="32526">
                  <c:v>-8.3193277310924296E-2</c:v>
                </c:pt>
                <c:pt idx="32527">
                  <c:v>-8.3193277310924296E-2</c:v>
                </c:pt>
                <c:pt idx="32528">
                  <c:v>-8.3193277310924296E-2</c:v>
                </c:pt>
                <c:pt idx="32529">
                  <c:v>-8.3193277310924296E-2</c:v>
                </c:pt>
                <c:pt idx="32530">
                  <c:v>-8.3193277310924296E-2</c:v>
                </c:pt>
                <c:pt idx="32531">
                  <c:v>-8.3193277310924296E-2</c:v>
                </c:pt>
                <c:pt idx="32532">
                  <c:v>-8.3193277310924296E-2</c:v>
                </c:pt>
                <c:pt idx="32533">
                  <c:v>-8.3193277310924296E-2</c:v>
                </c:pt>
                <c:pt idx="32534">
                  <c:v>-8.3193277310924296E-2</c:v>
                </c:pt>
                <c:pt idx="32535">
                  <c:v>-8.3193277310924296E-2</c:v>
                </c:pt>
                <c:pt idx="32536">
                  <c:v>-8.3193277310924296E-2</c:v>
                </c:pt>
                <c:pt idx="32537">
                  <c:v>-8.3193277310924296E-2</c:v>
                </c:pt>
                <c:pt idx="32538">
                  <c:v>-8.3193277310924296E-2</c:v>
                </c:pt>
                <c:pt idx="32539">
                  <c:v>-8.3193277310924296E-2</c:v>
                </c:pt>
                <c:pt idx="32540">
                  <c:v>-8.3193277310924296E-2</c:v>
                </c:pt>
                <c:pt idx="32541">
                  <c:v>-8.3193277310924296E-2</c:v>
                </c:pt>
                <c:pt idx="32542">
                  <c:v>-8.3193277310924296E-2</c:v>
                </c:pt>
                <c:pt idx="32543">
                  <c:v>-8.3193277310924296E-2</c:v>
                </c:pt>
                <c:pt idx="32544">
                  <c:v>-8.3193277310924296E-2</c:v>
                </c:pt>
                <c:pt idx="32545">
                  <c:v>-8.3193277310924296E-2</c:v>
                </c:pt>
                <c:pt idx="32546">
                  <c:v>-8.3193277310924296E-2</c:v>
                </c:pt>
                <c:pt idx="32547">
                  <c:v>-8.3193277310924296E-2</c:v>
                </c:pt>
                <c:pt idx="32548">
                  <c:v>-8.3193277310924296E-2</c:v>
                </c:pt>
                <c:pt idx="32549">
                  <c:v>-8.3193277310924296E-2</c:v>
                </c:pt>
                <c:pt idx="32550">
                  <c:v>-8.3193277310924296E-2</c:v>
                </c:pt>
                <c:pt idx="32551">
                  <c:v>-8.3193277310924296E-2</c:v>
                </c:pt>
                <c:pt idx="32552">
                  <c:v>-8.3193277310924296E-2</c:v>
                </c:pt>
                <c:pt idx="32553">
                  <c:v>-8.3193277310924296E-2</c:v>
                </c:pt>
                <c:pt idx="32554">
                  <c:v>-8.3193277310924296E-2</c:v>
                </c:pt>
                <c:pt idx="32555">
                  <c:v>-8.3193277310924296E-2</c:v>
                </c:pt>
                <c:pt idx="32556">
                  <c:v>-8.3193277310924296E-2</c:v>
                </c:pt>
                <c:pt idx="32557">
                  <c:v>-8.3193277310924296E-2</c:v>
                </c:pt>
                <c:pt idx="32558">
                  <c:v>-8.3193277310924296E-2</c:v>
                </c:pt>
                <c:pt idx="32559">
                  <c:v>-8.3193277310924296E-2</c:v>
                </c:pt>
                <c:pt idx="32560">
                  <c:v>-8.3193277310924296E-2</c:v>
                </c:pt>
                <c:pt idx="32561">
                  <c:v>-8.3193277310924296E-2</c:v>
                </c:pt>
                <c:pt idx="32562">
                  <c:v>-8.3193277310924296E-2</c:v>
                </c:pt>
                <c:pt idx="32563">
                  <c:v>-8.3193277310924296E-2</c:v>
                </c:pt>
                <c:pt idx="32564">
                  <c:v>-8.3193277310924296E-2</c:v>
                </c:pt>
                <c:pt idx="32565">
                  <c:v>-8.3193277310924296E-2</c:v>
                </c:pt>
                <c:pt idx="32566">
                  <c:v>-8.3193277310924296E-2</c:v>
                </c:pt>
                <c:pt idx="32567">
                  <c:v>-8.3193277310924296E-2</c:v>
                </c:pt>
                <c:pt idx="32568">
                  <c:v>-8.3193277310924296E-2</c:v>
                </c:pt>
                <c:pt idx="32569">
                  <c:v>-8.3193277310924296E-2</c:v>
                </c:pt>
                <c:pt idx="32570">
                  <c:v>-8.3193277310924296E-2</c:v>
                </c:pt>
                <c:pt idx="32571">
                  <c:v>-8.3193277310924296E-2</c:v>
                </c:pt>
                <c:pt idx="32572">
                  <c:v>-8.3193277310924296E-2</c:v>
                </c:pt>
                <c:pt idx="32573">
                  <c:v>-8.3193277310924296E-2</c:v>
                </c:pt>
                <c:pt idx="32574">
                  <c:v>-8.3193277310924296E-2</c:v>
                </c:pt>
                <c:pt idx="32575">
                  <c:v>-8.3193277310924296E-2</c:v>
                </c:pt>
                <c:pt idx="32576">
                  <c:v>-8.3193277310924296E-2</c:v>
                </c:pt>
                <c:pt idx="32577">
                  <c:v>-8.3193277310924296E-2</c:v>
                </c:pt>
                <c:pt idx="32578">
                  <c:v>-8.4033613445378103E-2</c:v>
                </c:pt>
                <c:pt idx="32579">
                  <c:v>-8.4033613445378103E-2</c:v>
                </c:pt>
                <c:pt idx="32580">
                  <c:v>-8.4033613445378103E-2</c:v>
                </c:pt>
                <c:pt idx="32581">
                  <c:v>-8.4033613445378103E-2</c:v>
                </c:pt>
                <c:pt idx="32582">
                  <c:v>-8.4033613445378103E-2</c:v>
                </c:pt>
                <c:pt idx="32583">
                  <c:v>-8.4033613445378103E-2</c:v>
                </c:pt>
                <c:pt idx="32584">
                  <c:v>-8.4033613445378103E-2</c:v>
                </c:pt>
                <c:pt idx="32585">
                  <c:v>-8.4033613445378103E-2</c:v>
                </c:pt>
                <c:pt idx="32586">
                  <c:v>-8.4033613445378103E-2</c:v>
                </c:pt>
                <c:pt idx="32587">
                  <c:v>-8.4033613445378103E-2</c:v>
                </c:pt>
                <c:pt idx="32588">
                  <c:v>-8.4033613445378103E-2</c:v>
                </c:pt>
                <c:pt idx="32589">
                  <c:v>-8.4033613445378103E-2</c:v>
                </c:pt>
                <c:pt idx="32590">
                  <c:v>-8.4033613445378103E-2</c:v>
                </c:pt>
                <c:pt idx="32591">
                  <c:v>-8.4033613445378103E-2</c:v>
                </c:pt>
                <c:pt idx="32592">
                  <c:v>-8.4033613445378103E-2</c:v>
                </c:pt>
                <c:pt idx="32593">
                  <c:v>-8.4033613445378103E-2</c:v>
                </c:pt>
                <c:pt idx="32594">
                  <c:v>-8.4033613445378103E-2</c:v>
                </c:pt>
                <c:pt idx="32595">
                  <c:v>-8.4033613445378103E-2</c:v>
                </c:pt>
                <c:pt idx="32596">
                  <c:v>-8.3193277310924393E-2</c:v>
                </c:pt>
                <c:pt idx="32597">
                  <c:v>-8.3193277310924393E-2</c:v>
                </c:pt>
                <c:pt idx="32598">
                  <c:v>-8.3193277310924393E-2</c:v>
                </c:pt>
                <c:pt idx="32599">
                  <c:v>-8.3193277310924393E-2</c:v>
                </c:pt>
                <c:pt idx="32600">
                  <c:v>-8.3193277310924393E-2</c:v>
                </c:pt>
                <c:pt idx="32601">
                  <c:v>-8.3193277310924393E-2</c:v>
                </c:pt>
                <c:pt idx="32602">
                  <c:v>-8.3193277310924393E-2</c:v>
                </c:pt>
                <c:pt idx="32603">
                  <c:v>-8.3193277310924393E-2</c:v>
                </c:pt>
                <c:pt idx="32604">
                  <c:v>-8.3193277310924393E-2</c:v>
                </c:pt>
                <c:pt idx="32605">
                  <c:v>-8.3193277310924393E-2</c:v>
                </c:pt>
                <c:pt idx="32606">
                  <c:v>-8.3193277310924393E-2</c:v>
                </c:pt>
                <c:pt idx="32607">
                  <c:v>-8.3193277310924393E-2</c:v>
                </c:pt>
                <c:pt idx="32608">
                  <c:v>-8.3193277310924393E-2</c:v>
                </c:pt>
                <c:pt idx="32609">
                  <c:v>-8.3193277310924393E-2</c:v>
                </c:pt>
                <c:pt idx="32610">
                  <c:v>-8.3193277310924393E-2</c:v>
                </c:pt>
                <c:pt idx="32611">
                  <c:v>-8.3193277310924393E-2</c:v>
                </c:pt>
                <c:pt idx="32612">
                  <c:v>-8.3193277310924393E-2</c:v>
                </c:pt>
                <c:pt idx="32613">
                  <c:v>-8.3193277310924393E-2</c:v>
                </c:pt>
                <c:pt idx="32614">
                  <c:v>-8.3193277310924393E-2</c:v>
                </c:pt>
                <c:pt idx="32615">
                  <c:v>-8.3193277310924393E-2</c:v>
                </c:pt>
                <c:pt idx="32616">
                  <c:v>-8.3193277310924393E-2</c:v>
                </c:pt>
                <c:pt idx="32617">
                  <c:v>-8.3193277310924393E-2</c:v>
                </c:pt>
                <c:pt idx="32618">
                  <c:v>-8.3193277310924393E-2</c:v>
                </c:pt>
                <c:pt idx="32619">
                  <c:v>-8.3193277310924393E-2</c:v>
                </c:pt>
                <c:pt idx="32620">
                  <c:v>-8.3193277310924393E-2</c:v>
                </c:pt>
                <c:pt idx="32621">
                  <c:v>-8.3193277310924393E-2</c:v>
                </c:pt>
                <c:pt idx="32622">
                  <c:v>-8.3193277310924393E-2</c:v>
                </c:pt>
                <c:pt idx="32623">
                  <c:v>-8.3193277310924393E-2</c:v>
                </c:pt>
                <c:pt idx="32624">
                  <c:v>-8.3193277310924393E-2</c:v>
                </c:pt>
                <c:pt idx="32625">
                  <c:v>-8.3193277310924393E-2</c:v>
                </c:pt>
                <c:pt idx="32626">
                  <c:v>-8.3193277310924393E-2</c:v>
                </c:pt>
                <c:pt idx="32627">
                  <c:v>-8.3193277310924393E-2</c:v>
                </c:pt>
                <c:pt idx="32628">
                  <c:v>-8.3193277310924393E-2</c:v>
                </c:pt>
                <c:pt idx="32629">
                  <c:v>-8.3193277310924393E-2</c:v>
                </c:pt>
                <c:pt idx="32630">
                  <c:v>-8.3193277310924393E-2</c:v>
                </c:pt>
                <c:pt idx="32631">
                  <c:v>-8.3193277310924393E-2</c:v>
                </c:pt>
                <c:pt idx="32632">
                  <c:v>-8.3193277310924393E-2</c:v>
                </c:pt>
                <c:pt idx="32633">
                  <c:v>-8.3193277310924393E-2</c:v>
                </c:pt>
                <c:pt idx="32634">
                  <c:v>-8.3193277310924393E-2</c:v>
                </c:pt>
                <c:pt idx="32635">
                  <c:v>-8.3193277310924393E-2</c:v>
                </c:pt>
                <c:pt idx="32636">
                  <c:v>-8.3193277310924393E-2</c:v>
                </c:pt>
                <c:pt idx="32637">
                  <c:v>-8.3193277310924393E-2</c:v>
                </c:pt>
                <c:pt idx="32638">
                  <c:v>-8.4033613445378103E-2</c:v>
                </c:pt>
                <c:pt idx="32639">
                  <c:v>-8.4033613445378103E-2</c:v>
                </c:pt>
                <c:pt idx="32640">
                  <c:v>-8.4033613445378103E-2</c:v>
                </c:pt>
                <c:pt idx="32641">
                  <c:v>-8.4033613445378103E-2</c:v>
                </c:pt>
                <c:pt idx="32642">
                  <c:v>-8.4033613445378103E-2</c:v>
                </c:pt>
                <c:pt idx="32643">
                  <c:v>-8.4033613445378103E-2</c:v>
                </c:pt>
                <c:pt idx="32644">
                  <c:v>-8.4033613445378103E-2</c:v>
                </c:pt>
                <c:pt idx="32645">
                  <c:v>-8.4033613445378103E-2</c:v>
                </c:pt>
                <c:pt idx="32646">
                  <c:v>-8.4033613445378103E-2</c:v>
                </c:pt>
                <c:pt idx="32647">
                  <c:v>-8.4033613445378103E-2</c:v>
                </c:pt>
                <c:pt idx="32648">
                  <c:v>-8.4033613445378103E-2</c:v>
                </c:pt>
                <c:pt idx="32649">
                  <c:v>-8.4033613445378103E-2</c:v>
                </c:pt>
                <c:pt idx="32650">
                  <c:v>-8.4033613445378103E-2</c:v>
                </c:pt>
                <c:pt idx="32651">
                  <c:v>-8.4033613445378103E-2</c:v>
                </c:pt>
                <c:pt idx="32652">
                  <c:v>-8.4033613445378103E-2</c:v>
                </c:pt>
                <c:pt idx="32653">
                  <c:v>-8.4033613445378103E-2</c:v>
                </c:pt>
                <c:pt idx="32654">
                  <c:v>-8.4033613445378103E-2</c:v>
                </c:pt>
                <c:pt idx="32655">
                  <c:v>-8.4033613445378103E-2</c:v>
                </c:pt>
                <c:pt idx="32656">
                  <c:v>-8.4033613445378103E-2</c:v>
                </c:pt>
                <c:pt idx="32657">
                  <c:v>-8.4033613445378103E-2</c:v>
                </c:pt>
                <c:pt idx="32658">
                  <c:v>-8.4033613445378103E-2</c:v>
                </c:pt>
                <c:pt idx="32659">
                  <c:v>-8.4033613445378103E-2</c:v>
                </c:pt>
                <c:pt idx="32660">
                  <c:v>-8.4033613445378103E-2</c:v>
                </c:pt>
                <c:pt idx="32661">
                  <c:v>-8.4033613445378103E-2</c:v>
                </c:pt>
                <c:pt idx="32662">
                  <c:v>-8.4033613445378103E-2</c:v>
                </c:pt>
                <c:pt idx="32663">
                  <c:v>-8.4033613445378103E-2</c:v>
                </c:pt>
                <c:pt idx="32664">
                  <c:v>-8.4033613445378103E-2</c:v>
                </c:pt>
                <c:pt idx="32665">
                  <c:v>-8.4033613445378103E-2</c:v>
                </c:pt>
                <c:pt idx="32666">
                  <c:v>-8.4033613445378103E-2</c:v>
                </c:pt>
                <c:pt idx="32667">
                  <c:v>-8.4033613445378103E-2</c:v>
                </c:pt>
                <c:pt idx="32668">
                  <c:v>-8.4033613445378103E-2</c:v>
                </c:pt>
                <c:pt idx="32669">
                  <c:v>-8.4033613445378103E-2</c:v>
                </c:pt>
                <c:pt idx="32670">
                  <c:v>-8.4033613445378103E-2</c:v>
                </c:pt>
                <c:pt idx="32671">
                  <c:v>-8.4033613445378103E-2</c:v>
                </c:pt>
                <c:pt idx="32672">
                  <c:v>-8.4033613445378103E-2</c:v>
                </c:pt>
                <c:pt idx="32673">
                  <c:v>-8.4033613445378103E-2</c:v>
                </c:pt>
                <c:pt idx="32674">
                  <c:v>-8.4033613445378103E-2</c:v>
                </c:pt>
                <c:pt idx="32675">
                  <c:v>-8.4033613445378103E-2</c:v>
                </c:pt>
                <c:pt idx="32676">
                  <c:v>-8.4033613445378103E-2</c:v>
                </c:pt>
                <c:pt idx="32677">
                  <c:v>-8.4033613445378103E-2</c:v>
                </c:pt>
                <c:pt idx="32678">
                  <c:v>-8.4033613445378103E-2</c:v>
                </c:pt>
                <c:pt idx="32679">
                  <c:v>-8.4033613445378103E-2</c:v>
                </c:pt>
                <c:pt idx="32680">
                  <c:v>-8.4033613445378103E-2</c:v>
                </c:pt>
                <c:pt idx="32681">
                  <c:v>-8.4033613445378103E-2</c:v>
                </c:pt>
                <c:pt idx="32682">
                  <c:v>-8.4033613445378103E-2</c:v>
                </c:pt>
                <c:pt idx="32683">
                  <c:v>-8.4033613445378103E-2</c:v>
                </c:pt>
                <c:pt idx="32684">
                  <c:v>-8.4033613445378103E-2</c:v>
                </c:pt>
                <c:pt idx="32685">
                  <c:v>-8.4033613445378103E-2</c:v>
                </c:pt>
                <c:pt idx="32686">
                  <c:v>-8.4033613445378103E-2</c:v>
                </c:pt>
                <c:pt idx="32687">
                  <c:v>-8.4033613445378103E-2</c:v>
                </c:pt>
                <c:pt idx="32688">
                  <c:v>-8.4033613445378103E-2</c:v>
                </c:pt>
                <c:pt idx="32689">
                  <c:v>-8.4033613445378103E-2</c:v>
                </c:pt>
                <c:pt idx="32690">
                  <c:v>-8.4033613445378103E-2</c:v>
                </c:pt>
                <c:pt idx="32691">
                  <c:v>-8.4033613445378103E-2</c:v>
                </c:pt>
                <c:pt idx="32692">
                  <c:v>-8.4033613445378103E-2</c:v>
                </c:pt>
                <c:pt idx="32693">
                  <c:v>-8.4033613445378103E-2</c:v>
                </c:pt>
                <c:pt idx="32694">
                  <c:v>-8.4033613445378103E-2</c:v>
                </c:pt>
                <c:pt idx="32695">
                  <c:v>-8.4033613445378103E-2</c:v>
                </c:pt>
                <c:pt idx="32696">
                  <c:v>-8.4033613445378103E-2</c:v>
                </c:pt>
                <c:pt idx="32697">
                  <c:v>-8.4033613445378103E-2</c:v>
                </c:pt>
                <c:pt idx="32698">
                  <c:v>-8.4033613445378103E-2</c:v>
                </c:pt>
                <c:pt idx="32699">
                  <c:v>-8.4033613445378103E-2</c:v>
                </c:pt>
                <c:pt idx="32700">
                  <c:v>-8.4033613445378103E-2</c:v>
                </c:pt>
                <c:pt idx="32701">
                  <c:v>-8.4033613445378103E-2</c:v>
                </c:pt>
                <c:pt idx="32702">
                  <c:v>-8.4033613445378103E-2</c:v>
                </c:pt>
                <c:pt idx="32703">
                  <c:v>-8.4033613445378103E-2</c:v>
                </c:pt>
                <c:pt idx="32704">
                  <c:v>-8.4033613445378103E-2</c:v>
                </c:pt>
                <c:pt idx="32705">
                  <c:v>-8.4033613445378103E-2</c:v>
                </c:pt>
                <c:pt idx="32706">
                  <c:v>-8.4033613445378103E-2</c:v>
                </c:pt>
                <c:pt idx="32707">
                  <c:v>-8.4033613445378103E-2</c:v>
                </c:pt>
                <c:pt idx="32708">
                  <c:v>-8.4033613445378103E-2</c:v>
                </c:pt>
                <c:pt idx="32709">
                  <c:v>-8.4033613445378103E-2</c:v>
                </c:pt>
                <c:pt idx="32710">
                  <c:v>-8.4033613445378103E-2</c:v>
                </c:pt>
                <c:pt idx="32711">
                  <c:v>-8.4033613445378103E-2</c:v>
                </c:pt>
                <c:pt idx="32712">
                  <c:v>-8.4033613445378103E-2</c:v>
                </c:pt>
                <c:pt idx="32713">
                  <c:v>-8.4033613445378103E-2</c:v>
                </c:pt>
                <c:pt idx="32714">
                  <c:v>-8.4033613445378103E-2</c:v>
                </c:pt>
                <c:pt idx="32715">
                  <c:v>-8.4033613445378103E-2</c:v>
                </c:pt>
                <c:pt idx="32716">
                  <c:v>-8.4033613445378103E-2</c:v>
                </c:pt>
                <c:pt idx="32717">
                  <c:v>-8.4033613445378103E-2</c:v>
                </c:pt>
                <c:pt idx="32718">
                  <c:v>-8.4033613445378103E-2</c:v>
                </c:pt>
                <c:pt idx="32719">
                  <c:v>-8.4033613445378103E-2</c:v>
                </c:pt>
                <c:pt idx="32720">
                  <c:v>-8.4033613445378103E-2</c:v>
                </c:pt>
                <c:pt idx="32721">
                  <c:v>-8.4033613445378103E-2</c:v>
                </c:pt>
                <c:pt idx="32722">
                  <c:v>-8.4033613445378103E-2</c:v>
                </c:pt>
                <c:pt idx="32723">
                  <c:v>-8.4033613445378103E-2</c:v>
                </c:pt>
                <c:pt idx="32724">
                  <c:v>-8.4033613445378103E-2</c:v>
                </c:pt>
                <c:pt idx="32725">
                  <c:v>-8.4033613445378103E-2</c:v>
                </c:pt>
                <c:pt idx="32726">
                  <c:v>-8.3193277310924393E-2</c:v>
                </c:pt>
                <c:pt idx="32727">
                  <c:v>-8.3193277310924393E-2</c:v>
                </c:pt>
                <c:pt idx="32728">
                  <c:v>-8.3193277310924393E-2</c:v>
                </c:pt>
                <c:pt idx="32729">
                  <c:v>-8.3193277310924393E-2</c:v>
                </c:pt>
                <c:pt idx="32730">
                  <c:v>-8.3193277310924393E-2</c:v>
                </c:pt>
                <c:pt idx="32731">
                  <c:v>-8.3193277310924393E-2</c:v>
                </c:pt>
                <c:pt idx="32732">
                  <c:v>-8.3193277310924393E-2</c:v>
                </c:pt>
                <c:pt idx="32733">
                  <c:v>-8.3193277310924393E-2</c:v>
                </c:pt>
                <c:pt idx="32734">
                  <c:v>-8.3193277310924393E-2</c:v>
                </c:pt>
                <c:pt idx="32735">
                  <c:v>-8.3193277310924393E-2</c:v>
                </c:pt>
                <c:pt idx="32736">
                  <c:v>-8.3193277310924393E-2</c:v>
                </c:pt>
                <c:pt idx="32737">
                  <c:v>-8.3193277310924393E-2</c:v>
                </c:pt>
                <c:pt idx="32738">
                  <c:v>-8.3193277310924393E-2</c:v>
                </c:pt>
                <c:pt idx="32739">
                  <c:v>-8.3193277310924393E-2</c:v>
                </c:pt>
                <c:pt idx="32740">
                  <c:v>-8.3193277310924393E-2</c:v>
                </c:pt>
                <c:pt idx="32741">
                  <c:v>-8.3193277310924393E-2</c:v>
                </c:pt>
                <c:pt idx="32742">
                  <c:v>-8.3193277310924393E-2</c:v>
                </c:pt>
                <c:pt idx="32743">
                  <c:v>-8.3193277310924393E-2</c:v>
                </c:pt>
                <c:pt idx="32744">
                  <c:v>-8.3193277310924393E-2</c:v>
                </c:pt>
                <c:pt idx="32745">
                  <c:v>-8.3193277310924393E-2</c:v>
                </c:pt>
                <c:pt idx="32746">
                  <c:v>-8.3193277310924393E-2</c:v>
                </c:pt>
                <c:pt idx="32747">
                  <c:v>-8.3193277310924393E-2</c:v>
                </c:pt>
                <c:pt idx="32748">
                  <c:v>-8.3193277310924393E-2</c:v>
                </c:pt>
                <c:pt idx="32749">
                  <c:v>-8.3193277310924393E-2</c:v>
                </c:pt>
                <c:pt idx="32750">
                  <c:v>-8.3193277310924393E-2</c:v>
                </c:pt>
                <c:pt idx="32751">
                  <c:v>-8.3193277310924393E-2</c:v>
                </c:pt>
                <c:pt idx="32752">
                  <c:v>-8.3193277310924393E-2</c:v>
                </c:pt>
                <c:pt idx="32753">
                  <c:v>-8.3193277310924393E-2</c:v>
                </c:pt>
                <c:pt idx="32754">
                  <c:v>-8.3193277310924393E-2</c:v>
                </c:pt>
                <c:pt idx="32755">
                  <c:v>-8.3193277310924393E-2</c:v>
                </c:pt>
                <c:pt idx="32756">
                  <c:v>-8.3193277310924393E-2</c:v>
                </c:pt>
                <c:pt idx="32757">
                  <c:v>-8.3193277310924393E-2</c:v>
                </c:pt>
                <c:pt idx="32758">
                  <c:v>-8.3193277310924393E-2</c:v>
                </c:pt>
                <c:pt idx="32759">
                  <c:v>-8.4033613445378103E-2</c:v>
                </c:pt>
                <c:pt idx="32760">
                  <c:v>-8.4033613445378103E-2</c:v>
                </c:pt>
                <c:pt idx="32761">
                  <c:v>-8.4033613445378103E-2</c:v>
                </c:pt>
                <c:pt idx="32762">
                  <c:v>-8.4033613445378103E-2</c:v>
                </c:pt>
                <c:pt idx="32763">
                  <c:v>-8.4033613445378103E-2</c:v>
                </c:pt>
                <c:pt idx="32764">
                  <c:v>-8.4033613445378103E-2</c:v>
                </c:pt>
                <c:pt idx="32765">
                  <c:v>-8.4033613445378103E-2</c:v>
                </c:pt>
                <c:pt idx="32766">
                  <c:v>-8.4033613445378103E-2</c:v>
                </c:pt>
                <c:pt idx="32767">
                  <c:v>-8.4033613445378103E-2</c:v>
                </c:pt>
                <c:pt idx="32768">
                  <c:v>-8.4033613445378103E-2</c:v>
                </c:pt>
                <c:pt idx="32769">
                  <c:v>-8.4033613445378103E-2</c:v>
                </c:pt>
                <c:pt idx="32770">
                  <c:v>-8.3193277310924393E-2</c:v>
                </c:pt>
                <c:pt idx="32771">
                  <c:v>-8.3193277310924393E-2</c:v>
                </c:pt>
                <c:pt idx="32772">
                  <c:v>-8.3193277310924393E-2</c:v>
                </c:pt>
                <c:pt idx="32773">
                  <c:v>-8.3193277310924393E-2</c:v>
                </c:pt>
                <c:pt idx="32774">
                  <c:v>-8.3193277310924393E-2</c:v>
                </c:pt>
                <c:pt idx="32775">
                  <c:v>-8.3193277310924393E-2</c:v>
                </c:pt>
                <c:pt idx="32776">
                  <c:v>-8.3193277310924393E-2</c:v>
                </c:pt>
                <c:pt idx="32777">
                  <c:v>-8.3193277310924393E-2</c:v>
                </c:pt>
                <c:pt idx="32778">
                  <c:v>-8.3193277310924393E-2</c:v>
                </c:pt>
                <c:pt idx="32779">
                  <c:v>-8.3193277310924393E-2</c:v>
                </c:pt>
                <c:pt idx="32780">
                  <c:v>-8.3193277310924393E-2</c:v>
                </c:pt>
                <c:pt idx="32781">
                  <c:v>-8.3193277310924393E-2</c:v>
                </c:pt>
                <c:pt idx="32782">
                  <c:v>-8.3193277310924393E-2</c:v>
                </c:pt>
                <c:pt idx="32783">
                  <c:v>-8.3193277310924393E-2</c:v>
                </c:pt>
                <c:pt idx="32784">
                  <c:v>-8.3193277310924393E-2</c:v>
                </c:pt>
                <c:pt idx="32785">
                  <c:v>-8.3193277310924393E-2</c:v>
                </c:pt>
                <c:pt idx="32786">
                  <c:v>-8.3193277310924393E-2</c:v>
                </c:pt>
                <c:pt idx="32787">
                  <c:v>-8.3193277310924393E-2</c:v>
                </c:pt>
                <c:pt idx="32788">
                  <c:v>-8.3193277310924393E-2</c:v>
                </c:pt>
                <c:pt idx="32789">
                  <c:v>-8.3193277310924393E-2</c:v>
                </c:pt>
                <c:pt idx="32790">
                  <c:v>-8.3193277310924393E-2</c:v>
                </c:pt>
                <c:pt idx="32791">
                  <c:v>-8.3193277310924393E-2</c:v>
                </c:pt>
                <c:pt idx="32792">
                  <c:v>-8.3193277310924393E-2</c:v>
                </c:pt>
                <c:pt idx="32793">
                  <c:v>-8.3193277310924393E-2</c:v>
                </c:pt>
                <c:pt idx="32794">
                  <c:v>-8.3193277310924393E-2</c:v>
                </c:pt>
                <c:pt idx="32795">
                  <c:v>-8.3193277310924393E-2</c:v>
                </c:pt>
                <c:pt idx="32796">
                  <c:v>-8.3193277310924393E-2</c:v>
                </c:pt>
                <c:pt idx="32797">
                  <c:v>-8.3193277310924393E-2</c:v>
                </c:pt>
                <c:pt idx="32798">
                  <c:v>-8.3193277310924393E-2</c:v>
                </c:pt>
                <c:pt idx="32799">
                  <c:v>-8.3193277310924393E-2</c:v>
                </c:pt>
                <c:pt idx="32800">
                  <c:v>-8.3193277310924393E-2</c:v>
                </c:pt>
                <c:pt idx="32801">
                  <c:v>-8.3193277310924393E-2</c:v>
                </c:pt>
                <c:pt idx="32802">
                  <c:v>-8.3193277310924393E-2</c:v>
                </c:pt>
                <c:pt idx="32803">
                  <c:v>-8.4033613445378103E-2</c:v>
                </c:pt>
                <c:pt idx="32804">
                  <c:v>-8.4033613445378103E-2</c:v>
                </c:pt>
                <c:pt idx="32805">
                  <c:v>-8.4033613445378103E-2</c:v>
                </c:pt>
                <c:pt idx="32806">
                  <c:v>-8.4033613445378103E-2</c:v>
                </c:pt>
                <c:pt idx="32807">
                  <c:v>-8.4033613445378103E-2</c:v>
                </c:pt>
                <c:pt idx="32808">
                  <c:v>-8.4033613445378103E-2</c:v>
                </c:pt>
                <c:pt idx="32809">
                  <c:v>-8.4033613445378103E-2</c:v>
                </c:pt>
                <c:pt idx="32810">
                  <c:v>-8.4033613445378103E-2</c:v>
                </c:pt>
                <c:pt idx="32811">
                  <c:v>-8.4033613445378103E-2</c:v>
                </c:pt>
                <c:pt idx="32812">
                  <c:v>-8.4033613445378103E-2</c:v>
                </c:pt>
                <c:pt idx="32813">
                  <c:v>-8.4033613445378103E-2</c:v>
                </c:pt>
                <c:pt idx="32814">
                  <c:v>-8.4033613445378103E-2</c:v>
                </c:pt>
                <c:pt idx="32815">
                  <c:v>-8.4033613445378103E-2</c:v>
                </c:pt>
                <c:pt idx="32816">
                  <c:v>-8.4033613445378103E-2</c:v>
                </c:pt>
                <c:pt idx="32817">
                  <c:v>-8.4033613445378103E-2</c:v>
                </c:pt>
                <c:pt idx="32818">
                  <c:v>-8.4033613445378103E-2</c:v>
                </c:pt>
                <c:pt idx="32819">
                  <c:v>-8.4033613445378103E-2</c:v>
                </c:pt>
                <c:pt idx="32820">
                  <c:v>-8.4033613445378103E-2</c:v>
                </c:pt>
                <c:pt idx="32821">
                  <c:v>-8.4873949579831895E-2</c:v>
                </c:pt>
                <c:pt idx="32822">
                  <c:v>-8.4873949579831895E-2</c:v>
                </c:pt>
                <c:pt idx="32823">
                  <c:v>-8.4873949579831895E-2</c:v>
                </c:pt>
                <c:pt idx="32824">
                  <c:v>-8.4873949579831895E-2</c:v>
                </c:pt>
                <c:pt idx="32825">
                  <c:v>-8.4873949579831895E-2</c:v>
                </c:pt>
                <c:pt idx="32826">
                  <c:v>-8.4873949579831895E-2</c:v>
                </c:pt>
                <c:pt idx="32827">
                  <c:v>-8.4873949579831895E-2</c:v>
                </c:pt>
                <c:pt idx="32828">
                  <c:v>-8.4873949579831895E-2</c:v>
                </c:pt>
                <c:pt idx="32829">
                  <c:v>-8.4873949579831895E-2</c:v>
                </c:pt>
                <c:pt idx="32830">
                  <c:v>-8.4873949579831895E-2</c:v>
                </c:pt>
                <c:pt idx="32831">
                  <c:v>-8.4873949579831895E-2</c:v>
                </c:pt>
                <c:pt idx="32832">
                  <c:v>-8.4873949579831895E-2</c:v>
                </c:pt>
                <c:pt idx="32833">
                  <c:v>-8.4873949579831895E-2</c:v>
                </c:pt>
                <c:pt idx="32834">
                  <c:v>-8.4873949579831895E-2</c:v>
                </c:pt>
                <c:pt idx="32835">
                  <c:v>-8.4873949579831895E-2</c:v>
                </c:pt>
                <c:pt idx="32836">
                  <c:v>-8.4873949579831895E-2</c:v>
                </c:pt>
                <c:pt idx="32837">
                  <c:v>-8.4873949579831895E-2</c:v>
                </c:pt>
                <c:pt idx="32838">
                  <c:v>-8.4873949579831895E-2</c:v>
                </c:pt>
                <c:pt idx="32839">
                  <c:v>-8.4873949579831895E-2</c:v>
                </c:pt>
                <c:pt idx="32840">
                  <c:v>-8.4873949579831895E-2</c:v>
                </c:pt>
                <c:pt idx="32841">
                  <c:v>-8.4873949579831895E-2</c:v>
                </c:pt>
                <c:pt idx="32842">
                  <c:v>-8.4873949579831895E-2</c:v>
                </c:pt>
                <c:pt idx="32843">
                  <c:v>-8.4033613445378103E-2</c:v>
                </c:pt>
                <c:pt idx="32844">
                  <c:v>-8.4033613445378103E-2</c:v>
                </c:pt>
                <c:pt idx="32845">
                  <c:v>-8.4033613445378103E-2</c:v>
                </c:pt>
                <c:pt idx="32846">
                  <c:v>-8.4033613445378103E-2</c:v>
                </c:pt>
                <c:pt idx="32847">
                  <c:v>-8.4873949579831895E-2</c:v>
                </c:pt>
                <c:pt idx="32848">
                  <c:v>-8.4873949579831895E-2</c:v>
                </c:pt>
                <c:pt idx="32849">
                  <c:v>-8.4873949579831895E-2</c:v>
                </c:pt>
                <c:pt idx="32850">
                  <c:v>-8.4873949579831895E-2</c:v>
                </c:pt>
                <c:pt idx="32851">
                  <c:v>-8.4873949579831895E-2</c:v>
                </c:pt>
                <c:pt idx="32852">
                  <c:v>-8.4873949579831895E-2</c:v>
                </c:pt>
                <c:pt idx="32853">
                  <c:v>-8.4873949579831895E-2</c:v>
                </c:pt>
                <c:pt idx="32854">
                  <c:v>-8.4873949579831895E-2</c:v>
                </c:pt>
                <c:pt idx="32855">
                  <c:v>-8.4873949579831895E-2</c:v>
                </c:pt>
                <c:pt idx="32856">
                  <c:v>-8.4873949579831895E-2</c:v>
                </c:pt>
                <c:pt idx="32857">
                  <c:v>-8.4873949579831895E-2</c:v>
                </c:pt>
                <c:pt idx="32858">
                  <c:v>-8.4873949579831895E-2</c:v>
                </c:pt>
                <c:pt idx="32859">
                  <c:v>-8.4873949579831895E-2</c:v>
                </c:pt>
                <c:pt idx="32860">
                  <c:v>-8.4873949579831895E-2</c:v>
                </c:pt>
                <c:pt idx="32861">
                  <c:v>-8.4873949579831895E-2</c:v>
                </c:pt>
                <c:pt idx="32862">
                  <c:v>-8.4873949579831895E-2</c:v>
                </c:pt>
                <c:pt idx="32863">
                  <c:v>-8.4033613445378103E-2</c:v>
                </c:pt>
                <c:pt idx="32864">
                  <c:v>-8.4033613445378103E-2</c:v>
                </c:pt>
                <c:pt idx="32865">
                  <c:v>-8.4033613445378103E-2</c:v>
                </c:pt>
                <c:pt idx="32866">
                  <c:v>-8.4033613445378103E-2</c:v>
                </c:pt>
                <c:pt idx="32867">
                  <c:v>-8.4033613445378103E-2</c:v>
                </c:pt>
                <c:pt idx="32868">
                  <c:v>-8.4033613445378103E-2</c:v>
                </c:pt>
                <c:pt idx="32869">
                  <c:v>-8.4033613445378103E-2</c:v>
                </c:pt>
                <c:pt idx="32870">
                  <c:v>-8.4033613445378103E-2</c:v>
                </c:pt>
                <c:pt idx="32871">
                  <c:v>-8.4033613445378103E-2</c:v>
                </c:pt>
                <c:pt idx="32872">
                  <c:v>-8.4033613445378103E-2</c:v>
                </c:pt>
                <c:pt idx="32873">
                  <c:v>-8.4033613445378103E-2</c:v>
                </c:pt>
                <c:pt idx="32874">
                  <c:v>-8.4033613445378103E-2</c:v>
                </c:pt>
                <c:pt idx="32875">
                  <c:v>-8.4033613445378103E-2</c:v>
                </c:pt>
                <c:pt idx="32876">
                  <c:v>-8.3193277310924393E-2</c:v>
                </c:pt>
                <c:pt idx="32877">
                  <c:v>-8.3193277310924393E-2</c:v>
                </c:pt>
                <c:pt idx="32878">
                  <c:v>-8.3193277310924393E-2</c:v>
                </c:pt>
                <c:pt idx="32879">
                  <c:v>-8.3193277310924393E-2</c:v>
                </c:pt>
                <c:pt idx="32880">
                  <c:v>-8.3193277310924393E-2</c:v>
                </c:pt>
                <c:pt idx="32881">
                  <c:v>-8.3193277310924393E-2</c:v>
                </c:pt>
                <c:pt idx="32882">
                  <c:v>-8.3193277310924393E-2</c:v>
                </c:pt>
                <c:pt idx="32883">
                  <c:v>-8.3193277310924393E-2</c:v>
                </c:pt>
                <c:pt idx="32884">
                  <c:v>-8.3193277310924393E-2</c:v>
                </c:pt>
                <c:pt idx="32885">
                  <c:v>-8.3193277310924393E-2</c:v>
                </c:pt>
                <c:pt idx="32886">
                  <c:v>-8.3193277310924393E-2</c:v>
                </c:pt>
                <c:pt idx="32887">
                  <c:v>-8.4033613445378103E-2</c:v>
                </c:pt>
                <c:pt idx="32888">
                  <c:v>-8.4033613445378103E-2</c:v>
                </c:pt>
                <c:pt idx="32889">
                  <c:v>-8.4033613445378103E-2</c:v>
                </c:pt>
                <c:pt idx="32890">
                  <c:v>-8.4033613445378103E-2</c:v>
                </c:pt>
                <c:pt idx="32891">
                  <c:v>-8.4033613445378103E-2</c:v>
                </c:pt>
                <c:pt idx="32892">
                  <c:v>-8.4033613445378103E-2</c:v>
                </c:pt>
                <c:pt idx="32893">
                  <c:v>-8.4033613445378103E-2</c:v>
                </c:pt>
                <c:pt idx="32894">
                  <c:v>-8.4033613445378103E-2</c:v>
                </c:pt>
                <c:pt idx="32895">
                  <c:v>-8.4033613445378103E-2</c:v>
                </c:pt>
                <c:pt idx="32896">
                  <c:v>-8.4033613445378103E-2</c:v>
                </c:pt>
                <c:pt idx="32897">
                  <c:v>-8.4033613445378103E-2</c:v>
                </c:pt>
                <c:pt idx="32898">
                  <c:v>-8.4033613445378103E-2</c:v>
                </c:pt>
                <c:pt idx="32899">
                  <c:v>-8.4033613445378103E-2</c:v>
                </c:pt>
                <c:pt idx="32900">
                  <c:v>-8.4033613445378103E-2</c:v>
                </c:pt>
                <c:pt idx="32901">
                  <c:v>-8.4033613445378103E-2</c:v>
                </c:pt>
                <c:pt idx="32902">
                  <c:v>-8.4033613445378103E-2</c:v>
                </c:pt>
                <c:pt idx="32903">
                  <c:v>-8.4033613445378103E-2</c:v>
                </c:pt>
                <c:pt idx="32904">
                  <c:v>-8.4033613445378103E-2</c:v>
                </c:pt>
                <c:pt idx="32905">
                  <c:v>-8.4033613445378103E-2</c:v>
                </c:pt>
                <c:pt idx="32906">
                  <c:v>-8.4033613445378103E-2</c:v>
                </c:pt>
                <c:pt idx="32907">
                  <c:v>-8.4033613445378103E-2</c:v>
                </c:pt>
                <c:pt idx="32908">
                  <c:v>-8.4033613445378103E-2</c:v>
                </c:pt>
                <c:pt idx="32909">
                  <c:v>-8.4033613445378103E-2</c:v>
                </c:pt>
                <c:pt idx="32910">
                  <c:v>-8.4033613445378103E-2</c:v>
                </c:pt>
                <c:pt idx="32911">
                  <c:v>-8.4033613445378103E-2</c:v>
                </c:pt>
                <c:pt idx="32912">
                  <c:v>-8.4033613445378103E-2</c:v>
                </c:pt>
                <c:pt idx="32913">
                  <c:v>-8.4033613445378103E-2</c:v>
                </c:pt>
                <c:pt idx="32914">
                  <c:v>-8.4033613445378103E-2</c:v>
                </c:pt>
                <c:pt idx="32915">
                  <c:v>-8.4033613445378103E-2</c:v>
                </c:pt>
                <c:pt idx="32916">
                  <c:v>-8.4033613445378103E-2</c:v>
                </c:pt>
                <c:pt idx="32917">
                  <c:v>-8.4033613445378103E-2</c:v>
                </c:pt>
                <c:pt idx="32918">
                  <c:v>-8.4033613445378103E-2</c:v>
                </c:pt>
                <c:pt idx="32919">
                  <c:v>-8.4033613445378103E-2</c:v>
                </c:pt>
                <c:pt idx="32920">
                  <c:v>-8.4033613445378103E-2</c:v>
                </c:pt>
                <c:pt idx="32921">
                  <c:v>-8.4033613445378103E-2</c:v>
                </c:pt>
                <c:pt idx="32922">
                  <c:v>-8.4033613445378103E-2</c:v>
                </c:pt>
                <c:pt idx="32923">
                  <c:v>-8.4033613445378103E-2</c:v>
                </c:pt>
                <c:pt idx="32924">
                  <c:v>-8.4033613445378103E-2</c:v>
                </c:pt>
                <c:pt idx="32925">
                  <c:v>-8.4033613445378103E-2</c:v>
                </c:pt>
                <c:pt idx="32926">
                  <c:v>-8.4033613445378103E-2</c:v>
                </c:pt>
                <c:pt idx="32927">
                  <c:v>-8.4033613445378103E-2</c:v>
                </c:pt>
                <c:pt idx="32928">
                  <c:v>-8.4033613445378103E-2</c:v>
                </c:pt>
                <c:pt idx="32929">
                  <c:v>-8.4033613445378103E-2</c:v>
                </c:pt>
                <c:pt idx="32930">
                  <c:v>-8.4033613445378103E-2</c:v>
                </c:pt>
                <c:pt idx="32931">
                  <c:v>-8.4033613445378103E-2</c:v>
                </c:pt>
                <c:pt idx="32932">
                  <c:v>-8.4033613445378103E-2</c:v>
                </c:pt>
                <c:pt idx="32933">
                  <c:v>-8.4033613445378103E-2</c:v>
                </c:pt>
                <c:pt idx="32934">
                  <c:v>-8.4033613445378103E-2</c:v>
                </c:pt>
                <c:pt idx="32935">
                  <c:v>-8.4033613445378103E-2</c:v>
                </c:pt>
                <c:pt idx="32936">
                  <c:v>-8.4033613445378103E-2</c:v>
                </c:pt>
                <c:pt idx="32937">
                  <c:v>-8.4033613445378103E-2</c:v>
                </c:pt>
                <c:pt idx="32938">
                  <c:v>-8.4033613445378103E-2</c:v>
                </c:pt>
                <c:pt idx="32939">
                  <c:v>-8.4033613445378103E-2</c:v>
                </c:pt>
                <c:pt idx="32940">
                  <c:v>-8.4033613445378103E-2</c:v>
                </c:pt>
                <c:pt idx="32941">
                  <c:v>-8.4033613445378103E-2</c:v>
                </c:pt>
                <c:pt idx="32942">
                  <c:v>-8.4033613445378103E-2</c:v>
                </c:pt>
                <c:pt idx="32943">
                  <c:v>-8.4033613445378103E-2</c:v>
                </c:pt>
                <c:pt idx="32944">
                  <c:v>-8.4033613445378103E-2</c:v>
                </c:pt>
                <c:pt idx="32945">
                  <c:v>-8.4033613445378103E-2</c:v>
                </c:pt>
                <c:pt idx="32946">
                  <c:v>-8.4033613445378103E-2</c:v>
                </c:pt>
                <c:pt idx="32947">
                  <c:v>-8.4033613445378103E-2</c:v>
                </c:pt>
                <c:pt idx="32948">
                  <c:v>-8.4033613445378103E-2</c:v>
                </c:pt>
                <c:pt idx="32949">
                  <c:v>-8.4033613445378103E-2</c:v>
                </c:pt>
                <c:pt idx="32950">
                  <c:v>-8.4033613445378103E-2</c:v>
                </c:pt>
                <c:pt idx="32951">
                  <c:v>-8.4033613445378103E-2</c:v>
                </c:pt>
                <c:pt idx="32952">
                  <c:v>-8.4033613445378103E-2</c:v>
                </c:pt>
                <c:pt idx="32953">
                  <c:v>-8.4033613445378103E-2</c:v>
                </c:pt>
                <c:pt idx="32954">
                  <c:v>-8.4033613445378103E-2</c:v>
                </c:pt>
                <c:pt idx="32955">
                  <c:v>-8.4033613445378103E-2</c:v>
                </c:pt>
                <c:pt idx="32956">
                  <c:v>-8.4033613445378103E-2</c:v>
                </c:pt>
                <c:pt idx="32957">
                  <c:v>-8.4033613445378103E-2</c:v>
                </c:pt>
                <c:pt idx="32958">
                  <c:v>-8.4033613445378103E-2</c:v>
                </c:pt>
                <c:pt idx="32959">
                  <c:v>-8.4033613445378103E-2</c:v>
                </c:pt>
                <c:pt idx="32960">
                  <c:v>-8.4033613445378103E-2</c:v>
                </c:pt>
                <c:pt idx="32961">
                  <c:v>-8.4033613445378103E-2</c:v>
                </c:pt>
                <c:pt idx="32962">
                  <c:v>-8.4033613445378103E-2</c:v>
                </c:pt>
                <c:pt idx="32963">
                  <c:v>-8.4033613445378103E-2</c:v>
                </c:pt>
                <c:pt idx="32964">
                  <c:v>-8.4033613445378103E-2</c:v>
                </c:pt>
                <c:pt idx="32965">
                  <c:v>-8.4033613445378103E-2</c:v>
                </c:pt>
                <c:pt idx="32966">
                  <c:v>-8.4033613445378103E-2</c:v>
                </c:pt>
                <c:pt idx="32967">
                  <c:v>-8.4033613445378103E-2</c:v>
                </c:pt>
                <c:pt idx="32968">
                  <c:v>-8.4033613445378103E-2</c:v>
                </c:pt>
                <c:pt idx="32969">
                  <c:v>-8.4033613445378103E-2</c:v>
                </c:pt>
                <c:pt idx="32970">
                  <c:v>-8.4033613445378103E-2</c:v>
                </c:pt>
                <c:pt idx="32971">
                  <c:v>-8.4033613445378103E-2</c:v>
                </c:pt>
                <c:pt idx="32972">
                  <c:v>-8.4033613445378103E-2</c:v>
                </c:pt>
                <c:pt idx="32973">
                  <c:v>-8.4033613445378103E-2</c:v>
                </c:pt>
                <c:pt idx="32974">
                  <c:v>-8.4033613445378103E-2</c:v>
                </c:pt>
                <c:pt idx="32975">
                  <c:v>-8.4033613445378103E-2</c:v>
                </c:pt>
                <c:pt idx="32976">
                  <c:v>-8.4033613445378103E-2</c:v>
                </c:pt>
                <c:pt idx="32977">
                  <c:v>-8.4033613445378103E-2</c:v>
                </c:pt>
                <c:pt idx="32978">
                  <c:v>-8.4033613445378103E-2</c:v>
                </c:pt>
                <c:pt idx="32979">
                  <c:v>-8.4033613445378103E-2</c:v>
                </c:pt>
                <c:pt idx="32980">
                  <c:v>-8.4033613445378103E-2</c:v>
                </c:pt>
                <c:pt idx="32981">
                  <c:v>-8.4033613445378103E-2</c:v>
                </c:pt>
                <c:pt idx="32982">
                  <c:v>-8.4033613445378103E-2</c:v>
                </c:pt>
                <c:pt idx="32983">
                  <c:v>-8.4033613445378103E-2</c:v>
                </c:pt>
                <c:pt idx="32984">
                  <c:v>-8.4033613445378103E-2</c:v>
                </c:pt>
                <c:pt idx="32985">
                  <c:v>-8.4033613445378103E-2</c:v>
                </c:pt>
                <c:pt idx="32986">
                  <c:v>-8.4033613445378103E-2</c:v>
                </c:pt>
                <c:pt idx="32987">
                  <c:v>-8.4033613445378103E-2</c:v>
                </c:pt>
                <c:pt idx="32988">
                  <c:v>-8.4033613445378103E-2</c:v>
                </c:pt>
                <c:pt idx="32989">
                  <c:v>-8.4033613445378103E-2</c:v>
                </c:pt>
                <c:pt idx="32990">
                  <c:v>-8.4033613445378103E-2</c:v>
                </c:pt>
                <c:pt idx="32991">
                  <c:v>-8.4033613445378103E-2</c:v>
                </c:pt>
                <c:pt idx="32992">
                  <c:v>-8.4033613445378103E-2</c:v>
                </c:pt>
                <c:pt idx="32993">
                  <c:v>-8.4033613445378103E-2</c:v>
                </c:pt>
                <c:pt idx="32994">
                  <c:v>-8.4033613445378103E-2</c:v>
                </c:pt>
                <c:pt idx="32995">
                  <c:v>-8.4033613445378103E-2</c:v>
                </c:pt>
                <c:pt idx="32996">
                  <c:v>-8.4033613445378103E-2</c:v>
                </c:pt>
                <c:pt idx="32997">
                  <c:v>-8.4033613445378103E-2</c:v>
                </c:pt>
                <c:pt idx="32998">
                  <c:v>-8.4033613445378103E-2</c:v>
                </c:pt>
                <c:pt idx="32999">
                  <c:v>-8.3193277310924393E-2</c:v>
                </c:pt>
                <c:pt idx="33000">
                  <c:v>-8.3193277310924393E-2</c:v>
                </c:pt>
                <c:pt idx="33001">
                  <c:v>-8.3193277310924393E-2</c:v>
                </c:pt>
                <c:pt idx="33002">
                  <c:v>-8.2352941176470601E-2</c:v>
                </c:pt>
                <c:pt idx="33003">
                  <c:v>-8.2352941176470601E-2</c:v>
                </c:pt>
                <c:pt idx="33004">
                  <c:v>-8.2352941176470601E-2</c:v>
                </c:pt>
                <c:pt idx="33005">
                  <c:v>-8.1512605042016795E-2</c:v>
                </c:pt>
                <c:pt idx="33006">
                  <c:v>-8.1512605042016795E-2</c:v>
                </c:pt>
                <c:pt idx="33007">
                  <c:v>-8.2352941176470601E-2</c:v>
                </c:pt>
                <c:pt idx="33008">
                  <c:v>-8.2352941176470601E-2</c:v>
                </c:pt>
                <c:pt idx="33009">
                  <c:v>-8.2352941176470601E-2</c:v>
                </c:pt>
                <c:pt idx="33010">
                  <c:v>-8.2352941176470601E-2</c:v>
                </c:pt>
                <c:pt idx="33011">
                  <c:v>-8.2352941176470601E-2</c:v>
                </c:pt>
                <c:pt idx="33012">
                  <c:v>-8.2352941176470601E-2</c:v>
                </c:pt>
                <c:pt idx="33013">
                  <c:v>-8.2352941176470601E-2</c:v>
                </c:pt>
                <c:pt idx="33014">
                  <c:v>-8.2352941176470601E-2</c:v>
                </c:pt>
                <c:pt idx="33015">
                  <c:v>-8.2352941176470601E-2</c:v>
                </c:pt>
                <c:pt idx="33016">
                  <c:v>-8.2352941176470601E-2</c:v>
                </c:pt>
                <c:pt idx="33017">
                  <c:v>-8.2352941176470601E-2</c:v>
                </c:pt>
                <c:pt idx="33018">
                  <c:v>-8.2352941176470601E-2</c:v>
                </c:pt>
                <c:pt idx="33019">
                  <c:v>-8.2352941176470601E-2</c:v>
                </c:pt>
                <c:pt idx="33020">
                  <c:v>-8.2352941176470601E-2</c:v>
                </c:pt>
                <c:pt idx="33021">
                  <c:v>-8.2352941176470601E-2</c:v>
                </c:pt>
                <c:pt idx="33022">
                  <c:v>-8.2352941176470601E-2</c:v>
                </c:pt>
                <c:pt idx="33023">
                  <c:v>-8.2352941176470601E-2</c:v>
                </c:pt>
                <c:pt idx="33024">
                  <c:v>-8.2352941176470601E-2</c:v>
                </c:pt>
                <c:pt idx="33025">
                  <c:v>-8.2352941176470601E-2</c:v>
                </c:pt>
                <c:pt idx="33026">
                  <c:v>-8.2352941176470601E-2</c:v>
                </c:pt>
                <c:pt idx="33027">
                  <c:v>-8.2352941176470601E-2</c:v>
                </c:pt>
                <c:pt idx="33028">
                  <c:v>-8.2352941176470601E-2</c:v>
                </c:pt>
                <c:pt idx="33029">
                  <c:v>-8.2352941176470601E-2</c:v>
                </c:pt>
                <c:pt idx="33030">
                  <c:v>-8.2352941176470601E-2</c:v>
                </c:pt>
                <c:pt idx="33031">
                  <c:v>-8.2352941176470601E-2</c:v>
                </c:pt>
                <c:pt idx="33032">
                  <c:v>-8.2352941176470601E-2</c:v>
                </c:pt>
                <c:pt idx="33033">
                  <c:v>-8.2352941176470601E-2</c:v>
                </c:pt>
                <c:pt idx="33034">
                  <c:v>-8.2352941176470601E-2</c:v>
                </c:pt>
                <c:pt idx="33035">
                  <c:v>-8.2352941176470601E-2</c:v>
                </c:pt>
                <c:pt idx="33036">
                  <c:v>-8.2352941176470601E-2</c:v>
                </c:pt>
                <c:pt idx="33037">
                  <c:v>-8.2352941176470601E-2</c:v>
                </c:pt>
                <c:pt idx="33038">
                  <c:v>-8.2352941176470601E-2</c:v>
                </c:pt>
                <c:pt idx="33039">
                  <c:v>-8.2352941176470601E-2</c:v>
                </c:pt>
                <c:pt idx="33040">
                  <c:v>-8.2352941176470601E-2</c:v>
                </c:pt>
                <c:pt idx="33041">
                  <c:v>-8.2352941176470601E-2</c:v>
                </c:pt>
                <c:pt idx="33042">
                  <c:v>-8.2352941176470601E-2</c:v>
                </c:pt>
                <c:pt idx="33043">
                  <c:v>-8.2352941176470601E-2</c:v>
                </c:pt>
                <c:pt idx="33044">
                  <c:v>-8.2352941176470601E-2</c:v>
                </c:pt>
                <c:pt idx="33045">
                  <c:v>-8.2352941176470601E-2</c:v>
                </c:pt>
                <c:pt idx="33046">
                  <c:v>-8.2352941176470601E-2</c:v>
                </c:pt>
                <c:pt idx="33047">
                  <c:v>-8.2352941176470601E-2</c:v>
                </c:pt>
                <c:pt idx="33048">
                  <c:v>-8.2352941176470601E-2</c:v>
                </c:pt>
                <c:pt idx="33049">
                  <c:v>-8.2352941176470601E-2</c:v>
                </c:pt>
                <c:pt idx="33050">
                  <c:v>-8.2352941176470601E-2</c:v>
                </c:pt>
                <c:pt idx="33051">
                  <c:v>-8.2352941176470601E-2</c:v>
                </c:pt>
                <c:pt idx="33052">
                  <c:v>-8.2352941176470601E-2</c:v>
                </c:pt>
                <c:pt idx="33053">
                  <c:v>-8.2352941176470601E-2</c:v>
                </c:pt>
                <c:pt idx="33054">
                  <c:v>-8.2352941176470601E-2</c:v>
                </c:pt>
                <c:pt idx="33055">
                  <c:v>-8.2352941176470601E-2</c:v>
                </c:pt>
                <c:pt idx="33056">
                  <c:v>-8.2352941176470601E-2</c:v>
                </c:pt>
                <c:pt idx="33057">
                  <c:v>-8.2352941176470601E-2</c:v>
                </c:pt>
                <c:pt idx="33058">
                  <c:v>-8.2352941176470601E-2</c:v>
                </c:pt>
                <c:pt idx="33059">
                  <c:v>-8.2352941176470601E-2</c:v>
                </c:pt>
                <c:pt idx="33060">
                  <c:v>-8.2352941176470601E-2</c:v>
                </c:pt>
                <c:pt idx="33061">
                  <c:v>-8.2352941176470601E-2</c:v>
                </c:pt>
                <c:pt idx="33062">
                  <c:v>-8.2352941176470601E-2</c:v>
                </c:pt>
                <c:pt idx="33063">
                  <c:v>-8.2352941176470601E-2</c:v>
                </c:pt>
                <c:pt idx="33064">
                  <c:v>-8.2352941176470601E-2</c:v>
                </c:pt>
                <c:pt idx="33065">
                  <c:v>-8.2352941176470601E-2</c:v>
                </c:pt>
                <c:pt idx="33066">
                  <c:v>-8.2352941176470601E-2</c:v>
                </c:pt>
                <c:pt idx="33067">
                  <c:v>-8.2352941176470601E-2</c:v>
                </c:pt>
                <c:pt idx="33068">
                  <c:v>-8.2352941176470601E-2</c:v>
                </c:pt>
                <c:pt idx="33069">
                  <c:v>-8.2352941176470601E-2</c:v>
                </c:pt>
                <c:pt idx="33070">
                  <c:v>-8.2352941176470601E-2</c:v>
                </c:pt>
                <c:pt idx="33071">
                  <c:v>-8.2352941176470601E-2</c:v>
                </c:pt>
                <c:pt idx="33072">
                  <c:v>-8.2352941176470601E-2</c:v>
                </c:pt>
                <c:pt idx="33073">
                  <c:v>-8.2352941176470601E-2</c:v>
                </c:pt>
                <c:pt idx="33074">
                  <c:v>-8.2352941176470601E-2</c:v>
                </c:pt>
                <c:pt idx="33075">
                  <c:v>-8.2352941176470601E-2</c:v>
                </c:pt>
                <c:pt idx="33076">
                  <c:v>-8.2352941176470601E-2</c:v>
                </c:pt>
                <c:pt idx="33077">
                  <c:v>-8.2352941176470601E-2</c:v>
                </c:pt>
                <c:pt idx="33078">
                  <c:v>-8.2352941176470601E-2</c:v>
                </c:pt>
                <c:pt idx="33079">
                  <c:v>-8.2352941176470601E-2</c:v>
                </c:pt>
                <c:pt idx="33080">
                  <c:v>-8.2352941176470601E-2</c:v>
                </c:pt>
                <c:pt idx="33081">
                  <c:v>-8.2352941176470601E-2</c:v>
                </c:pt>
                <c:pt idx="33082">
                  <c:v>-8.2352941176470601E-2</c:v>
                </c:pt>
                <c:pt idx="33083">
                  <c:v>-8.2352941176470601E-2</c:v>
                </c:pt>
                <c:pt idx="33084">
                  <c:v>-8.3193277310924393E-2</c:v>
                </c:pt>
                <c:pt idx="33085">
                  <c:v>-8.3193277310924393E-2</c:v>
                </c:pt>
                <c:pt idx="33086">
                  <c:v>-8.3193277310924393E-2</c:v>
                </c:pt>
                <c:pt idx="33087">
                  <c:v>-8.3193277310924393E-2</c:v>
                </c:pt>
                <c:pt idx="33088">
                  <c:v>-8.2352941176470601E-2</c:v>
                </c:pt>
                <c:pt idx="33089">
                  <c:v>-8.2352941176470601E-2</c:v>
                </c:pt>
                <c:pt idx="33090">
                  <c:v>-8.2352941176470601E-2</c:v>
                </c:pt>
                <c:pt idx="33091">
                  <c:v>-8.2352941176470601E-2</c:v>
                </c:pt>
                <c:pt idx="33092">
                  <c:v>-8.2352941176470601E-2</c:v>
                </c:pt>
                <c:pt idx="33093">
                  <c:v>-8.2352941176470601E-2</c:v>
                </c:pt>
                <c:pt idx="33094">
                  <c:v>-8.2352941176470601E-2</c:v>
                </c:pt>
                <c:pt idx="33095">
                  <c:v>-8.2352941176470601E-2</c:v>
                </c:pt>
                <c:pt idx="33096">
                  <c:v>-8.2352941176470601E-2</c:v>
                </c:pt>
                <c:pt idx="33097">
                  <c:v>-8.2352941176470601E-2</c:v>
                </c:pt>
                <c:pt idx="33098">
                  <c:v>-8.2352941176470601E-2</c:v>
                </c:pt>
                <c:pt idx="33099">
                  <c:v>-8.2352941176470601E-2</c:v>
                </c:pt>
                <c:pt idx="33100">
                  <c:v>-8.2352941176470601E-2</c:v>
                </c:pt>
                <c:pt idx="33101">
                  <c:v>-8.2352941176470601E-2</c:v>
                </c:pt>
                <c:pt idx="33102">
                  <c:v>-8.2352941176470601E-2</c:v>
                </c:pt>
                <c:pt idx="33103">
                  <c:v>-8.2352941176470601E-2</c:v>
                </c:pt>
                <c:pt idx="33104">
                  <c:v>-8.2352941176470601E-2</c:v>
                </c:pt>
                <c:pt idx="33105">
                  <c:v>-8.2352941176470601E-2</c:v>
                </c:pt>
                <c:pt idx="33106">
                  <c:v>-8.2352941176470601E-2</c:v>
                </c:pt>
                <c:pt idx="33107">
                  <c:v>-8.2352941176470601E-2</c:v>
                </c:pt>
                <c:pt idx="33108">
                  <c:v>-8.2352941176470601E-2</c:v>
                </c:pt>
                <c:pt idx="33109">
                  <c:v>-8.2352941176470601E-2</c:v>
                </c:pt>
                <c:pt idx="33110">
                  <c:v>-8.2352941176470601E-2</c:v>
                </c:pt>
                <c:pt idx="33111">
                  <c:v>-8.2352941176470601E-2</c:v>
                </c:pt>
                <c:pt idx="33112">
                  <c:v>-8.2352941176470601E-2</c:v>
                </c:pt>
                <c:pt idx="33113">
                  <c:v>-8.2352941176470601E-2</c:v>
                </c:pt>
                <c:pt idx="33114">
                  <c:v>-8.2352941176470601E-2</c:v>
                </c:pt>
                <c:pt idx="33115">
                  <c:v>-8.2352941176470601E-2</c:v>
                </c:pt>
                <c:pt idx="33116">
                  <c:v>-8.2352941176470601E-2</c:v>
                </c:pt>
                <c:pt idx="33117">
                  <c:v>-8.2352941176470601E-2</c:v>
                </c:pt>
                <c:pt idx="33118">
                  <c:v>-8.2352941176470601E-2</c:v>
                </c:pt>
                <c:pt idx="33119">
                  <c:v>-8.2352941176470601E-2</c:v>
                </c:pt>
                <c:pt idx="33120">
                  <c:v>-8.2352941176470601E-2</c:v>
                </c:pt>
                <c:pt idx="33121">
                  <c:v>-8.3193277310924393E-2</c:v>
                </c:pt>
                <c:pt idx="33122">
                  <c:v>-8.3193277310924393E-2</c:v>
                </c:pt>
                <c:pt idx="33123">
                  <c:v>-8.3193277310924393E-2</c:v>
                </c:pt>
                <c:pt idx="33124">
                  <c:v>-8.3193277310924393E-2</c:v>
                </c:pt>
                <c:pt idx="33125">
                  <c:v>-8.3193277310924393E-2</c:v>
                </c:pt>
                <c:pt idx="33126">
                  <c:v>-8.3193277310924393E-2</c:v>
                </c:pt>
                <c:pt idx="33127">
                  <c:v>-8.3193277310924393E-2</c:v>
                </c:pt>
                <c:pt idx="33128">
                  <c:v>-8.3193277310924393E-2</c:v>
                </c:pt>
                <c:pt idx="33129">
                  <c:v>-8.3193277310924393E-2</c:v>
                </c:pt>
                <c:pt idx="33130">
                  <c:v>-8.3193277310924393E-2</c:v>
                </c:pt>
                <c:pt idx="33131">
                  <c:v>-8.3193277310924393E-2</c:v>
                </c:pt>
                <c:pt idx="33132">
                  <c:v>-8.3193277310924393E-2</c:v>
                </c:pt>
                <c:pt idx="33133">
                  <c:v>-8.3193277310924393E-2</c:v>
                </c:pt>
                <c:pt idx="33134">
                  <c:v>-8.3193277310924393E-2</c:v>
                </c:pt>
                <c:pt idx="33135">
                  <c:v>-8.3193277310924393E-2</c:v>
                </c:pt>
                <c:pt idx="33136">
                  <c:v>-8.3193277310924393E-2</c:v>
                </c:pt>
                <c:pt idx="33137">
                  <c:v>-8.3193277310924393E-2</c:v>
                </c:pt>
                <c:pt idx="33138">
                  <c:v>-8.3193277310924393E-2</c:v>
                </c:pt>
                <c:pt idx="33139">
                  <c:v>-8.3193277310924393E-2</c:v>
                </c:pt>
                <c:pt idx="33140">
                  <c:v>-8.3193277310924393E-2</c:v>
                </c:pt>
                <c:pt idx="33141">
                  <c:v>-8.3193277310924393E-2</c:v>
                </c:pt>
                <c:pt idx="33142">
                  <c:v>-8.3193277310924393E-2</c:v>
                </c:pt>
                <c:pt idx="33143">
                  <c:v>-8.3193277310924393E-2</c:v>
                </c:pt>
                <c:pt idx="33144">
                  <c:v>-8.3193277310924393E-2</c:v>
                </c:pt>
                <c:pt idx="33145">
                  <c:v>-8.3193277310924393E-2</c:v>
                </c:pt>
                <c:pt idx="33146">
                  <c:v>-8.3193277310924393E-2</c:v>
                </c:pt>
                <c:pt idx="33147">
                  <c:v>-8.3193277310924393E-2</c:v>
                </c:pt>
                <c:pt idx="33148">
                  <c:v>-8.3193277310924393E-2</c:v>
                </c:pt>
                <c:pt idx="33149">
                  <c:v>-8.3193277310924393E-2</c:v>
                </c:pt>
                <c:pt idx="33150">
                  <c:v>-8.3193277310924393E-2</c:v>
                </c:pt>
                <c:pt idx="33151">
                  <c:v>-8.3193277310924393E-2</c:v>
                </c:pt>
                <c:pt idx="33152">
                  <c:v>-8.3193277310924393E-2</c:v>
                </c:pt>
                <c:pt idx="33153">
                  <c:v>-8.3193277310924393E-2</c:v>
                </c:pt>
                <c:pt idx="33154">
                  <c:v>-8.3193277310924393E-2</c:v>
                </c:pt>
                <c:pt idx="33155">
                  <c:v>-8.3193277310924393E-2</c:v>
                </c:pt>
                <c:pt idx="33156">
                  <c:v>-8.3193277310924393E-2</c:v>
                </c:pt>
                <c:pt idx="33157">
                  <c:v>-8.3193277310924393E-2</c:v>
                </c:pt>
                <c:pt idx="33158">
                  <c:v>-8.3193277310924393E-2</c:v>
                </c:pt>
                <c:pt idx="33159">
                  <c:v>-8.3193277310924393E-2</c:v>
                </c:pt>
                <c:pt idx="33160">
                  <c:v>-8.3193277310924393E-2</c:v>
                </c:pt>
                <c:pt idx="33161">
                  <c:v>-8.3193277310924393E-2</c:v>
                </c:pt>
                <c:pt idx="33162">
                  <c:v>-8.3193277310924393E-2</c:v>
                </c:pt>
                <c:pt idx="33163">
                  <c:v>-8.3193277310924393E-2</c:v>
                </c:pt>
                <c:pt idx="33164">
                  <c:v>-8.3193277310924393E-2</c:v>
                </c:pt>
                <c:pt idx="33165">
                  <c:v>-8.3193277310924393E-2</c:v>
                </c:pt>
                <c:pt idx="33166">
                  <c:v>-8.3193277310924393E-2</c:v>
                </c:pt>
                <c:pt idx="33167">
                  <c:v>-8.3193277310924393E-2</c:v>
                </c:pt>
                <c:pt idx="33168">
                  <c:v>-8.3193277310924393E-2</c:v>
                </c:pt>
                <c:pt idx="33169">
                  <c:v>-8.3193277310924393E-2</c:v>
                </c:pt>
                <c:pt idx="33170">
                  <c:v>-8.3193277310924393E-2</c:v>
                </c:pt>
                <c:pt idx="33171">
                  <c:v>-8.2352941176470601E-2</c:v>
                </c:pt>
                <c:pt idx="33172">
                  <c:v>-8.2352941176470601E-2</c:v>
                </c:pt>
                <c:pt idx="33173">
                  <c:v>-8.2352941176470601E-2</c:v>
                </c:pt>
                <c:pt idx="33174">
                  <c:v>-8.2352941176470601E-2</c:v>
                </c:pt>
                <c:pt idx="33175">
                  <c:v>-8.2352941176470601E-2</c:v>
                </c:pt>
                <c:pt idx="33176">
                  <c:v>-8.2352941176470601E-2</c:v>
                </c:pt>
                <c:pt idx="33177">
                  <c:v>-8.2352941176470601E-2</c:v>
                </c:pt>
                <c:pt idx="33178">
                  <c:v>-8.1512605042016795E-2</c:v>
                </c:pt>
                <c:pt idx="33179">
                  <c:v>-8.1512605042016795E-2</c:v>
                </c:pt>
                <c:pt idx="33180">
                  <c:v>-8.1512605042016795E-2</c:v>
                </c:pt>
                <c:pt idx="33181">
                  <c:v>-8.1512605042016795E-2</c:v>
                </c:pt>
                <c:pt idx="33182">
                  <c:v>-8.1512605042016795E-2</c:v>
                </c:pt>
                <c:pt idx="33183">
                  <c:v>-8.1512605042016795E-2</c:v>
                </c:pt>
                <c:pt idx="33184">
                  <c:v>-8.1512605042016795E-2</c:v>
                </c:pt>
                <c:pt idx="33185">
                  <c:v>-8.1512605042016795E-2</c:v>
                </c:pt>
                <c:pt idx="33186">
                  <c:v>-8.1512605042016795E-2</c:v>
                </c:pt>
                <c:pt idx="33187">
                  <c:v>-8.1512605042016795E-2</c:v>
                </c:pt>
                <c:pt idx="33188">
                  <c:v>-8.1512605042016795E-2</c:v>
                </c:pt>
                <c:pt idx="33189">
                  <c:v>-8.1512605042016795E-2</c:v>
                </c:pt>
                <c:pt idx="33190">
                  <c:v>-8.1512605042016795E-2</c:v>
                </c:pt>
                <c:pt idx="33191">
                  <c:v>-8.1512605042016795E-2</c:v>
                </c:pt>
                <c:pt idx="33192">
                  <c:v>-8.1512605042016795E-2</c:v>
                </c:pt>
                <c:pt idx="33193">
                  <c:v>-8.1512605042016795E-2</c:v>
                </c:pt>
                <c:pt idx="33194">
                  <c:v>-8.1512605042016795E-2</c:v>
                </c:pt>
                <c:pt idx="33195">
                  <c:v>-8.1512605042016795E-2</c:v>
                </c:pt>
                <c:pt idx="33196">
                  <c:v>-8.1512605042016795E-2</c:v>
                </c:pt>
                <c:pt idx="33197">
                  <c:v>-8.1512605042016795E-2</c:v>
                </c:pt>
                <c:pt idx="33198">
                  <c:v>-8.1512605042016795E-2</c:v>
                </c:pt>
                <c:pt idx="33199">
                  <c:v>-8.1512605042016795E-2</c:v>
                </c:pt>
                <c:pt idx="33200">
                  <c:v>-8.1512605042016795E-2</c:v>
                </c:pt>
                <c:pt idx="33201">
                  <c:v>-8.1512605042016795E-2</c:v>
                </c:pt>
                <c:pt idx="33202">
                  <c:v>-8.1512605042016795E-2</c:v>
                </c:pt>
                <c:pt idx="33203">
                  <c:v>-8.0672268907563002E-2</c:v>
                </c:pt>
                <c:pt idx="33204">
                  <c:v>-8.0672268907563002E-2</c:v>
                </c:pt>
                <c:pt idx="33205">
                  <c:v>-8.0672268907563002E-2</c:v>
                </c:pt>
                <c:pt idx="33206">
                  <c:v>-8.0672268907563002E-2</c:v>
                </c:pt>
                <c:pt idx="33207">
                  <c:v>-8.0672268907563002E-2</c:v>
                </c:pt>
                <c:pt idx="33208">
                  <c:v>-8.0672268907563002E-2</c:v>
                </c:pt>
                <c:pt idx="33209">
                  <c:v>-8.0672268907563002E-2</c:v>
                </c:pt>
                <c:pt idx="33210">
                  <c:v>-8.0672268907563002E-2</c:v>
                </c:pt>
                <c:pt idx="33211">
                  <c:v>-8.0672268907563002E-2</c:v>
                </c:pt>
                <c:pt idx="33212">
                  <c:v>-8.0672268907563002E-2</c:v>
                </c:pt>
                <c:pt idx="33213">
                  <c:v>-8.0672268907563002E-2</c:v>
                </c:pt>
                <c:pt idx="33214">
                  <c:v>-8.0672268907563002E-2</c:v>
                </c:pt>
                <c:pt idx="33215">
                  <c:v>-8.0672268907563002E-2</c:v>
                </c:pt>
                <c:pt idx="33216">
                  <c:v>-8.0672268907563002E-2</c:v>
                </c:pt>
                <c:pt idx="33217">
                  <c:v>-8.0672268907563002E-2</c:v>
                </c:pt>
                <c:pt idx="33218">
                  <c:v>-8.0672268907563002E-2</c:v>
                </c:pt>
                <c:pt idx="33219">
                  <c:v>-8.1512605042016795E-2</c:v>
                </c:pt>
                <c:pt idx="33220">
                  <c:v>-8.1512605042016795E-2</c:v>
                </c:pt>
                <c:pt idx="33221">
                  <c:v>-8.1512605042016795E-2</c:v>
                </c:pt>
                <c:pt idx="33222">
                  <c:v>-8.1512605042016795E-2</c:v>
                </c:pt>
                <c:pt idx="33223">
                  <c:v>-8.1512605042016795E-2</c:v>
                </c:pt>
                <c:pt idx="33224">
                  <c:v>-8.1512605042016795E-2</c:v>
                </c:pt>
                <c:pt idx="33225">
                  <c:v>-8.1512605042016795E-2</c:v>
                </c:pt>
                <c:pt idx="33226">
                  <c:v>-8.1512605042016795E-2</c:v>
                </c:pt>
                <c:pt idx="33227">
                  <c:v>-8.1512605042016795E-2</c:v>
                </c:pt>
                <c:pt idx="33228">
                  <c:v>-8.1512605042016795E-2</c:v>
                </c:pt>
                <c:pt idx="33229">
                  <c:v>-8.1512605042016795E-2</c:v>
                </c:pt>
                <c:pt idx="33230">
                  <c:v>-8.1512605042016795E-2</c:v>
                </c:pt>
                <c:pt idx="33231">
                  <c:v>-8.1512605042016795E-2</c:v>
                </c:pt>
                <c:pt idx="33232">
                  <c:v>-8.1512605042016795E-2</c:v>
                </c:pt>
                <c:pt idx="33233">
                  <c:v>-8.1512605042016795E-2</c:v>
                </c:pt>
                <c:pt idx="33234">
                  <c:v>-8.1512605042016795E-2</c:v>
                </c:pt>
                <c:pt idx="33235">
                  <c:v>-8.1512605042016795E-2</c:v>
                </c:pt>
                <c:pt idx="33236">
                  <c:v>-8.1512605042016795E-2</c:v>
                </c:pt>
                <c:pt idx="33237">
                  <c:v>-8.1512605042016795E-2</c:v>
                </c:pt>
                <c:pt idx="33238">
                  <c:v>-8.1512605042016795E-2</c:v>
                </c:pt>
                <c:pt idx="33239">
                  <c:v>-8.1512605042016795E-2</c:v>
                </c:pt>
                <c:pt idx="33240">
                  <c:v>-8.1512605042016795E-2</c:v>
                </c:pt>
                <c:pt idx="33241">
                  <c:v>-8.1512605042016795E-2</c:v>
                </c:pt>
                <c:pt idx="33242">
                  <c:v>-8.1512605042016795E-2</c:v>
                </c:pt>
                <c:pt idx="33243">
                  <c:v>-8.1512605042016795E-2</c:v>
                </c:pt>
                <c:pt idx="33244">
                  <c:v>-8.1512605042016795E-2</c:v>
                </c:pt>
                <c:pt idx="33245">
                  <c:v>-8.1512605042016795E-2</c:v>
                </c:pt>
                <c:pt idx="33246">
                  <c:v>-8.1512605042016795E-2</c:v>
                </c:pt>
                <c:pt idx="33247">
                  <c:v>-8.1512605042016795E-2</c:v>
                </c:pt>
                <c:pt idx="33248">
                  <c:v>-8.1512605042016795E-2</c:v>
                </c:pt>
                <c:pt idx="33249">
                  <c:v>-8.1512605042016795E-2</c:v>
                </c:pt>
                <c:pt idx="33250">
                  <c:v>-8.0672268907563002E-2</c:v>
                </c:pt>
                <c:pt idx="33251">
                  <c:v>-8.0672268907563002E-2</c:v>
                </c:pt>
                <c:pt idx="33252">
                  <c:v>-8.0672268907563002E-2</c:v>
                </c:pt>
                <c:pt idx="33253">
                  <c:v>-8.0672268907563002E-2</c:v>
                </c:pt>
                <c:pt idx="33254">
                  <c:v>-8.0672268907563002E-2</c:v>
                </c:pt>
                <c:pt idx="33255">
                  <c:v>-8.0672268907563002E-2</c:v>
                </c:pt>
                <c:pt idx="33256">
                  <c:v>-8.0672268907563002E-2</c:v>
                </c:pt>
                <c:pt idx="33257">
                  <c:v>-8.0672268907563002E-2</c:v>
                </c:pt>
                <c:pt idx="33258">
                  <c:v>-8.1512605042016795E-2</c:v>
                </c:pt>
                <c:pt idx="33259">
                  <c:v>-8.1512605042016795E-2</c:v>
                </c:pt>
                <c:pt idx="33260">
                  <c:v>-8.1512605042016795E-2</c:v>
                </c:pt>
                <c:pt idx="33261">
                  <c:v>-8.1512605042016795E-2</c:v>
                </c:pt>
                <c:pt idx="33262">
                  <c:v>-8.1512605042016795E-2</c:v>
                </c:pt>
                <c:pt idx="33263">
                  <c:v>-8.1512605042016795E-2</c:v>
                </c:pt>
                <c:pt idx="33264">
                  <c:v>-8.1512605042016795E-2</c:v>
                </c:pt>
                <c:pt idx="33265">
                  <c:v>-8.1512605042016795E-2</c:v>
                </c:pt>
                <c:pt idx="33266">
                  <c:v>-8.1512605042016795E-2</c:v>
                </c:pt>
                <c:pt idx="33267">
                  <c:v>-8.1512605042016795E-2</c:v>
                </c:pt>
                <c:pt idx="33268">
                  <c:v>-8.1512605042016795E-2</c:v>
                </c:pt>
                <c:pt idx="33269">
                  <c:v>-8.1512605042016795E-2</c:v>
                </c:pt>
                <c:pt idx="33270">
                  <c:v>-8.2352941176470601E-2</c:v>
                </c:pt>
                <c:pt idx="33271">
                  <c:v>-8.2352941176470601E-2</c:v>
                </c:pt>
                <c:pt idx="33272">
                  <c:v>-8.1512605042016795E-2</c:v>
                </c:pt>
                <c:pt idx="33273">
                  <c:v>-8.1512605042016795E-2</c:v>
                </c:pt>
                <c:pt idx="33274">
                  <c:v>-8.2352941176470601E-2</c:v>
                </c:pt>
                <c:pt idx="33275">
                  <c:v>-8.2352941176470601E-2</c:v>
                </c:pt>
                <c:pt idx="33276">
                  <c:v>-8.2352941176470601E-2</c:v>
                </c:pt>
                <c:pt idx="33277">
                  <c:v>-8.2352941176470601E-2</c:v>
                </c:pt>
                <c:pt idx="33278">
                  <c:v>-8.2352941176470601E-2</c:v>
                </c:pt>
                <c:pt idx="33279">
                  <c:v>-8.2352941176470601E-2</c:v>
                </c:pt>
                <c:pt idx="33280">
                  <c:v>-8.2352941176470601E-2</c:v>
                </c:pt>
                <c:pt idx="33281">
                  <c:v>-8.2352941176470601E-2</c:v>
                </c:pt>
                <c:pt idx="33282">
                  <c:v>-8.2352941176470601E-2</c:v>
                </c:pt>
                <c:pt idx="33283">
                  <c:v>-8.2352941176470601E-2</c:v>
                </c:pt>
                <c:pt idx="33284">
                  <c:v>-8.2352941176470601E-2</c:v>
                </c:pt>
                <c:pt idx="33285">
                  <c:v>-8.2352941176470601E-2</c:v>
                </c:pt>
                <c:pt idx="33286">
                  <c:v>-8.2352941176470601E-2</c:v>
                </c:pt>
                <c:pt idx="33287">
                  <c:v>-8.2352941176470601E-2</c:v>
                </c:pt>
                <c:pt idx="33288">
                  <c:v>-8.2352941176470601E-2</c:v>
                </c:pt>
                <c:pt idx="33289">
                  <c:v>-8.2352941176470601E-2</c:v>
                </c:pt>
                <c:pt idx="33290">
                  <c:v>-8.2352941176470601E-2</c:v>
                </c:pt>
                <c:pt idx="33291">
                  <c:v>-8.2352941176470601E-2</c:v>
                </c:pt>
                <c:pt idx="33292">
                  <c:v>-8.2352941176470601E-2</c:v>
                </c:pt>
                <c:pt idx="33293">
                  <c:v>-8.2352941176470601E-2</c:v>
                </c:pt>
                <c:pt idx="33294">
                  <c:v>-8.2352941176470601E-2</c:v>
                </c:pt>
                <c:pt idx="33295">
                  <c:v>-8.2352941176470601E-2</c:v>
                </c:pt>
                <c:pt idx="33296">
                  <c:v>-8.2352941176470601E-2</c:v>
                </c:pt>
                <c:pt idx="33297">
                  <c:v>-8.2352941176470601E-2</c:v>
                </c:pt>
                <c:pt idx="33298">
                  <c:v>-8.2352941176470601E-2</c:v>
                </c:pt>
                <c:pt idx="33299">
                  <c:v>-8.2352941176470601E-2</c:v>
                </c:pt>
                <c:pt idx="33300">
                  <c:v>-8.2352941176470601E-2</c:v>
                </c:pt>
                <c:pt idx="33301">
                  <c:v>-8.2352941176470601E-2</c:v>
                </c:pt>
                <c:pt idx="33302">
                  <c:v>-8.2352941176470601E-2</c:v>
                </c:pt>
                <c:pt idx="33303">
                  <c:v>-8.2352941176470601E-2</c:v>
                </c:pt>
                <c:pt idx="33304">
                  <c:v>-8.2352941176470601E-2</c:v>
                </c:pt>
                <c:pt idx="33305">
                  <c:v>-8.2352941176470601E-2</c:v>
                </c:pt>
                <c:pt idx="33306">
                  <c:v>-8.1512605042016795E-2</c:v>
                </c:pt>
                <c:pt idx="33307">
                  <c:v>-8.1512605042016795E-2</c:v>
                </c:pt>
                <c:pt idx="33308">
                  <c:v>-8.1512605042016795E-2</c:v>
                </c:pt>
                <c:pt idx="33309">
                  <c:v>-8.1512605042016795E-2</c:v>
                </c:pt>
                <c:pt idx="33310">
                  <c:v>-8.1512605042016795E-2</c:v>
                </c:pt>
                <c:pt idx="33311">
                  <c:v>-8.1512605042016795E-2</c:v>
                </c:pt>
                <c:pt idx="33312">
                  <c:v>-8.1512605042016795E-2</c:v>
                </c:pt>
                <c:pt idx="33313">
                  <c:v>-8.1512605042016795E-2</c:v>
                </c:pt>
                <c:pt idx="33314">
                  <c:v>-8.1512605042016795E-2</c:v>
                </c:pt>
                <c:pt idx="33315">
                  <c:v>-8.1512605042016795E-2</c:v>
                </c:pt>
                <c:pt idx="33316">
                  <c:v>-8.1512605042016795E-2</c:v>
                </c:pt>
                <c:pt idx="33317">
                  <c:v>-8.1512605042016795E-2</c:v>
                </c:pt>
                <c:pt idx="33318">
                  <c:v>-8.1512605042016795E-2</c:v>
                </c:pt>
                <c:pt idx="33319">
                  <c:v>-8.1512605042016795E-2</c:v>
                </c:pt>
                <c:pt idx="33320">
                  <c:v>-8.1512605042016795E-2</c:v>
                </c:pt>
                <c:pt idx="33321">
                  <c:v>-8.1512605042016795E-2</c:v>
                </c:pt>
                <c:pt idx="33322">
                  <c:v>-8.1512605042016795E-2</c:v>
                </c:pt>
                <c:pt idx="33323">
                  <c:v>-8.1512605042016795E-2</c:v>
                </c:pt>
                <c:pt idx="33324">
                  <c:v>-8.1512605042016795E-2</c:v>
                </c:pt>
                <c:pt idx="33325">
                  <c:v>-8.1512605042016795E-2</c:v>
                </c:pt>
                <c:pt idx="33326">
                  <c:v>-8.1512605042016795E-2</c:v>
                </c:pt>
                <c:pt idx="33327">
                  <c:v>-8.1512605042016795E-2</c:v>
                </c:pt>
                <c:pt idx="33328">
                  <c:v>-8.0672268907563002E-2</c:v>
                </c:pt>
                <c:pt idx="33329">
                  <c:v>-8.0672268907563002E-2</c:v>
                </c:pt>
                <c:pt idx="33330">
                  <c:v>-8.0672268907563002E-2</c:v>
                </c:pt>
                <c:pt idx="33331">
                  <c:v>-8.0672268907563002E-2</c:v>
                </c:pt>
                <c:pt idx="33332">
                  <c:v>-8.0672268907563002E-2</c:v>
                </c:pt>
                <c:pt idx="33333">
                  <c:v>-8.0672268907563002E-2</c:v>
                </c:pt>
                <c:pt idx="33334">
                  <c:v>-8.1512605042016795E-2</c:v>
                </c:pt>
                <c:pt idx="33335">
                  <c:v>-8.1512605042016795E-2</c:v>
                </c:pt>
                <c:pt idx="33336">
                  <c:v>-8.1512605042016795E-2</c:v>
                </c:pt>
                <c:pt idx="33337">
                  <c:v>-8.0672268907563002E-2</c:v>
                </c:pt>
                <c:pt idx="33338">
                  <c:v>-8.0672268907563002E-2</c:v>
                </c:pt>
                <c:pt idx="33339">
                  <c:v>-8.0672268907563002E-2</c:v>
                </c:pt>
                <c:pt idx="33340">
                  <c:v>-8.0672268907563002E-2</c:v>
                </c:pt>
                <c:pt idx="33341">
                  <c:v>-8.0672268907563002E-2</c:v>
                </c:pt>
                <c:pt idx="33342">
                  <c:v>-8.0672268907563002E-2</c:v>
                </c:pt>
                <c:pt idx="33343">
                  <c:v>-8.0672268907563002E-2</c:v>
                </c:pt>
                <c:pt idx="33344">
                  <c:v>-8.0672268907563002E-2</c:v>
                </c:pt>
                <c:pt idx="33345">
                  <c:v>-8.0672268907563002E-2</c:v>
                </c:pt>
                <c:pt idx="33346">
                  <c:v>-8.0672268907563002E-2</c:v>
                </c:pt>
                <c:pt idx="33347">
                  <c:v>-8.0672268907563002E-2</c:v>
                </c:pt>
                <c:pt idx="33348">
                  <c:v>-8.0672268907563002E-2</c:v>
                </c:pt>
                <c:pt idx="33349">
                  <c:v>-8.0672268907563002E-2</c:v>
                </c:pt>
                <c:pt idx="33350">
                  <c:v>-8.0672268907563002E-2</c:v>
                </c:pt>
                <c:pt idx="33351">
                  <c:v>-8.0672268907563002E-2</c:v>
                </c:pt>
                <c:pt idx="33352">
                  <c:v>-8.0672268907563002E-2</c:v>
                </c:pt>
                <c:pt idx="33353">
                  <c:v>-8.0672268907563002E-2</c:v>
                </c:pt>
                <c:pt idx="33354">
                  <c:v>-8.0672268907563002E-2</c:v>
                </c:pt>
                <c:pt idx="33355">
                  <c:v>-8.0672268907563002E-2</c:v>
                </c:pt>
                <c:pt idx="33356">
                  <c:v>-8.0672268907563002E-2</c:v>
                </c:pt>
                <c:pt idx="33357">
                  <c:v>-8.0672268907563002E-2</c:v>
                </c:pt>
                <c:pt idx="33358">
                  <c:v>-8.0672268907563002E-2</c:v>
                </c:pt>
                <c:pt idx="33359">
                  <c:v>-8.1512605042016795E-2</c:v>
                </c:pt>
                <c:pt idx="33360">
                  <c:v>-8.1512605042016795E-2</c:v>
                </c:pt>
                <c:pt idx="33361">
                  <c:v>-8.1512605042016795E-2</c:v>
                </c:pt>
                <c:pt idx="33362">
                  <c:v>-8.1512605042016795E-2</c:v>
                </c:pt>
                <c:pt idx="33363">
                  <c:v>-8.1512605042016795E-2</c:v>
                </c:pt>
                <c:pt idx="33364">
                  <c:v>-8.1512605042016795E-2</c:v>
                </c:pt>
                <c:pt idx="33365">
                  <c:v>-8.1512605042016795E-2</c:v>
                </c:pt>
                <c:pt idx="33366">
                  <c:v>-8.1512605042016795E-2</c:v>
                </c:pt>
                <c:pt idx="33367">
                  <c:v>-8.1512605042016795E-2</c:v>
                </c:pt>
                <c:pt idx="33368">
                  <c:v>-8.1512605042016795E-2</c:v>
                </c:pt>
                <c:pt idx="33369">
                  <c:v>-8.1512605042016795E-2</c:v>
                </c:pt>
                <c:pt idx="33370">
                  <c:v>-8.1512605042016795E-2</c:v>
                </c:pt>
                <c:pt idx="33371">
                  <c:v>-8.1512605042016795E-2</c:v>
                </c:pt>
                <c:pt idx="33372">
                  <c:v>-8.1512605042016795E-2</c:v>
                </c:pt>
                <c:pt idx="33373">
                  <c:v>-8.1512605042016795E-2</c:v>
                </c:pt>
                <c:pt idx="33374">
                  <c:v>-8.1512605042016795E-2</c:v>
                </c:pt>
                <c:pt idx="33375">
                  <c:v>-8.1512605042016795E-2</c:v>
                </c:pt>
                <c:pt idx="33376">
                  <c:v>-8.1512605042016795E-2</c:v>
                </c:pt>
                <c:pt idx="33377">
                  <c:v>-8.1512605042016795E-2</c:v>
                </c:pt>
                <c:pt idx="33378">
                  <c:v>-8.1512605042016795E-2</c:v>
                </c:pt>
                <c:pt idx="33379">
                  <c:v>-8.1512605042016795E-2</c:v>
                </c:pt>
                <c:pt idx="33380">
                  <c:v>-8.1512605042016795E-2</c:v>
                </c:pt>
                <c:pt idx="33381">
                  <c:v>-8.1512605042016795E-2</c:v>
                </c:pt>
                <c:pt idx="33382">
                  <c:v>-8.1512605042016795E-2</c:v>
                </c:pt>
                <c:pt idx="33383">
                  <c:v>-8.1512605042016795E-2</c:v>
                </c:pt>
                <c:pt idx="33384">
                  <c:v>-8.1512605042016795E-2</c:v>
                </c:pt>
                <c:pt idx="33385">
                  <c:v>-8.1512605042016795E-2</c:v>
                </c:pt>
                <c:pt idx="33386">
                  <c:v>-8.1512605042016795E-2</c:v>
                </c:pt>
                <c:pt idx="33387">
                  <c:v>-8.1512605042016795E-2</c:v>
                </c:pt>
                <c:pt idx="33388">
                  <c:v>-8.1512605042016795E-2</c:v>
                </c:pt>
                <c:pt idx="33389">
                  <c:v>-8.0672268907563002E-2</c:v>
                </c:pt>
                <c:pt idx="33390">
                  <c:v>-8.0672268907563002E-2</c:v>
                </c:pt>
                <c:pt idx="33391">
                  <c:v>-8.0672268907563002E-2</c:v>
                </c:pt>
                <c:pt idx="33392">
                  <c:v>-8.0672268907563002E-2</c:v>
                </c:pt>
                <c:pt idx="33393">
                  <c:v>-8.0672268907563002E-2</c:v>
                </c:pt>
                <c:pt idx="33394">
                  <c:v>-8.0672268907563002E-2</c:v>
                </c:pt>
                <c:pt idx="33395">
                  <c:v>-8.0672268907563002E-2</c:v>
                </c:pt>
                <c:pt idx="33396">
                  <c:v>-8.0672268907563002E-2</c:v>
                </c:pt>
                <c:pt idx="33397">
                  <c:v>-8.0672268907563002E-2</c:v>
                </c:pt>
                <c:pt idx="33398">
                  <c:v>-8.0672268907563002E-2</c:v>
                </c:pt>
                <c:pt idx="33399">
                  <c:v>-8.0672268907563002E-2</c:v>
                </c:pt>
                <c:pt idx="33400">
                  <c:v>-8.0672268907563002E-2</c:v>
                </c:pt>
                <c:pt idx="33401">
                  <c:v>-8.0672268907563002E-2</c:v>
                </c:pt>
                <c:pt idx="33402">
                  <c:v>-8.0672268907563002E-2</c:v>
                </c:pt>
                <c:pt idx="33403">
                  <c:v>-8.0672268907563002E-2</c:v>
                </c:pt>
                <c:pt idx="33404">
                  <c:v>-8.0672268907563002E-2</c:v>
                </c:pt>
                <c:pt idx="33405">
                  <c:v>-8.0672268907563002E-2</c:v>
                </c:pt>
                <c:pt idx="33406">
                  <c:v>-8.0672268907563002E-2</c:v>
                </c:pt>
                <c:pt idx="33407">
                  <c:v>-8.0672268907563002E-2</c:v>
                </c:pt>
                <c:pt idx="33408">
                  <c:v>-8.0672268907563002E-2</c:v>
                </c:pt>
                <c:pt idx="33409">
                  <c:v>-8.0672268907563002E-2</c:v>
                </c:pt>
                <c:pt idx="33410">
                  <c:v>-8.0672268907563002E-2</c:v>
                </c:pt>
                <c:pt idx="33411">
                  <c:v>-8.0672268907563002E-2</c:v>
                </c:pt>
                <c:pt idx="33412">
                  <c:v>-8.0672268907563002E-2</c:v>
                </c:pt>
                <c:pt idx="33413">
                  <c:v>-8.0672268907563002E-2</c:v>
                </c:pt>
                <c:pt idx="33414">
                  <c:v>-8.0672268907563002E-2</c:v>
                </c:pt>
                <c:pt idx="33415">
                  <c:v>-8.0672268907563002E-2</c:v>
                </c:pt>
                <c:pt idx="33416">
                  <c:v>-8.0672268907563002E-2</c:v>
                </c:pt>
                <c:pt idx="33417">
                  <c:v>-8.0672268907563002E-2</c:v>
                </c:pt>
                <c:pt idx="33418">
                  <c:v>-8.0672268907563002E-2</c:v>
                </c:pt>
                <c:pt idx="33419">
                  <c:v>-8.0672268907563002E-2</c:v>
                </c:pt>
                <c:pt idx="33420">
                  <c:v>-8.0672268907563002E-2</c:v>
                </c:pt>
                <c:pt idx="33421">
                  <c:v>-8.0672268907563002E-2</c:v>
                </c:pt>
                <c:pt idx="33422">
                  <c:v>-8.0672268907563002E-2</c:v>
                </c:pt>
                <c:pt idx="33423">
                  <c:v>-8.0672268907563002E-2</c:v>
                </c:pt>
                <c:pt idx="33424">
                  <c:v>-8.0672268907563002E-2</c:v>
                </c:pt>
                <c:pt idx="33425">
                  <c:v>-8.0672268907563002E-2</c:v>
                </c:pt>
                <c:pt idx="33426">
                  <c:v>-8.0672268907563002E-2</c:v>
                </c:pt>
                <c:pt idx="33427">
                  <c:v>-8.0672268907563002E-2</c:v>
                </c:pt>
                <c:pt idx="33428">
                  <c:v>-8.0672268907563002E-2</c:v>
                </c:pt>
                <c:pt idx="33429">
                  <c:v>-8.0672268907563002E-2</c:v>
                </c:pt>
                <c:pt idx="33430">
                  <c:v>-8.0672268907563002E-2</c:v>
                </c:pt>
                <c:pt idx="33431">
                  <c:v>-8.0672268907563002E-2</c:v>
                </c:pt>
                <c:pt idx="33432">
                  <c:v>-8.0672268907563002E-2</c:v>
                </c:pt>
                <c:pt idx="33433">
                  <c:v>-8.0672268907563002E-2</c:v>
                </c:pt>
                <c:pt idx="33434">
                  <c:v>-8.0672268907563002E-2</c:v>
                </c:pt>
                <c:pt idx="33435">
                  <c:v>-8.0672268907563002E-2</c:v>
                </c:pt>
                <c:pt idx="33436">
                  <c:v>-8.0672268907563002E-2</c:v>
                </c:pt>
                <c:pt idx="33437">
                  <c:v>-8.0672268907563002E-2</c:v>
                </c:pt>
                <c:pt idx="33438">
                  <c:v>-8.0672268907563002E-2</c:v>
                </c:pt>
                <c:pt idx="33439">
                  <c:v>-8.0672268907563002E-2</c:v>
                </c:pt>
                <c:pt idx="33440">
                  <c:v>-8.0672268907563002E-2</c:v>
                </c:pt>
                <c:pt idx="33441">
                  <c:v>-8.0672268907563002E-2</c:v>
                </c:pt>
                <c:pt idx="33442">
                  <c:v>-8.0672268907563002E-2</c:v>
                </c:pt>
                <c:pt idx="33443">
                  <c:v>-8.0672268907563002E-2</c:v>
                </c:pt>
                <c:pt idx="33444">
                  <c:v>-8.0672268907563002E-2</c:v>
                </c:pt>
                <c:pt idx="33445">
                  <c:v>-8.0672268907563002E-2</c:v>
                </c:pt>
                <c:pt idx="33446">
                  <c:v>-8.0672268907563002E-2</c:v>
                </c:pt>
                <c:pt idx="33447">
                  <c:v>-8.0672268907563002E-2</c:v>
                </c:pt>
                <c:pt idx="33448">
                  <c:v>-8.0672268907563002E-2</c:v>
                </c:pt>
                <c:pt idx="33449">
                  <c:v>-8.0672268907563002E-2</c:v>
                </c:pt>
                <c:pt idx="33450">
                  <c:v>-8.0672268907563002E-2</c:v>
                </c:pt>
                <c:pt idx="33451">
                  <c:v>-8.0672268907563002E-2</c:v>
                </c:pt>
                <c:pt idx="33452">
                  <c:v>-8.0672268907563002E-2</c:v>
                </c:pt>
                <c:pt idx="33453">
                  <c:v>-8.0672268907563002E-2</c:v>
                </c:pt>
                <c:pt idx="33454">
                  <c:v>-8.0672268907563002E-2</c:v>
                </c:pt>
                <c:pt idx="33455">
                  <c:v>-8.0672268907563002E-2</c:v>
                </c:pt>
                <c:pt idx="33456">
                  <c:v>-8.0672268907563002E-2</c:v>
                </c:pt>
                <c:pt idx="33457">
                  <c:v>-8.0672268907563002E-2</c:v>
                </c:pt>
                <c:pt idx="33458">
                  <c:v>-8.0672268907563002E-2</c:v>
                </c:pt>
                <c:pt idx="33459">
                  <c:v>-8.0672268907563002E-2</c:v>
                </c:pt>
                <c:pt idx="33460">
                  <c:v>-8.0672268907563002E-2</c:v>
                </c:pt>
                <c:pt idx="33461">
                  <c:v>-8.0672268907563002E-2</c:v>
                </c:pt>
                <c:pt idx="33462">
                  <c:v>-8.0672268907563002E-2</c:v>
                </c:pt>
                <c:pt idx="33463">
                  <c:v>-8.0672268907563002E-2</c:v>
                </c:pt>
                <c:pt idx="33464">
                  <c:v>-8.0672268907563002E-2</c:v>
                </c:pt>
                <c:pt idx="33465">
                  <c:v>-8.0672268907563002E-2</c:v>
                </c:pt>
                <c:pt idx="33466">
                  <c:v>-8.0672268907563002E-2</c:v>
                </c:pt>
                <c:pt idx="33467">
                  <c:v>-8.0672268907563002E-2</c:v>
                </c:pt>
                <c:pt idx="33468">
                  <c:v>-8.0672268907563002E-2</c:v>
                </c:pt>
                <c:pt idx="33469">
                  <c:v>-8.0672268907563002E-2</c:v>
                </c:pt>
                <c:pt idx="33470">
                  <c:v>-8.0672268907563002E-2</c:v>
                </c:pt>
                <c:pt idx="33471">
                  <c:v>-8.0672268907563002E-2</c:v>
                </c:pt>
                <c:pt idx="33472">
                  <c:v>-8.0672268907563002E-2</c:v>
                </c:pt>
                <c:pt idx="33473">
                  <c:v>-8.0672268907563002E-2</c:v>
                </c:pt>
                <c:pt idx="33474">
                  <c:v>-8.0672268907563002E-2</c:v>
                </c:pt>
                <c:pt idx="33475">
                  <c:v>-8.0672268907563002E-2</c:v>
                </c:pt>
                <c:pt idx="33476">
                  <c:v>-8.0672268907563002E-2</c:v>
                </c:pt>
                <c:pt idx="33477">
                  <c:v>-8.0672268907563002E-2</c:v>
                </c:pt>
                <c:pt idx="33478">
                  <c:v>-8.0672268907563002E-2</c:v>
                </c:pt>
                <c:pt idx="33479">
                  <c:v>-8.0672268907563002E-2</c:v>
                </c:pt>
                <c:pt idx="33480">
                  <c:v>-8.0672268907563002E-2</c:v>
                </c:pt>
                <c:pt idx="33481">
                  <c:v>-8.0672268907563002E-2</c:v>
                </c:pt>
                <c:pt idx="33482">
                  <c:v>-8.0672268907563002E-2</c:v>
                </c:pt>
                <c:pt idx="33483">
                  <c:v>-8.0672268907563002E-2</c:v>
                </c:pt>
                <c:pt idx="33484">
                  <c:v>-8.0672268907563002E-2</c:v>
                </c:pt>
                <c:pt idx="33485">
                  <c:v>-8.0672268907563002E-2</c:v>
                </c:pt>
                <c:pt idx="33486">
                  <c:v>-8.0672268907563002E-2</c:v>
                </c:pt>
                <c:pt idx="33487">
                  <c:v>-8.0672268907563002E-2</c:v>
                </c:pt>
                <c:pt idx="33488">
                  <c:v>-8.0672268907563002E-2</c:v>
                </c:pt>
                <c:pt idx="33489">
                  <c:v>-8.0672268907563002E-2</c:v>
                </c:pt>
                <c:pt idx="33490">
                  <c:v>-8.0672268907563002E-2</c:v>
                </c:pt>
                <c:pt idx="33491">
                  <c:v>-8.0672268907563002E-2</c:v>
                </c:pt>
                <c:pt idx="33492">
                  <c:v>-8.0672268907563002E-2</c:v>
                </c:pt>
                <c:pt idx="33493">
                  <c:v>-8.0672268907563002E-2</c:v>
                </c:pt>
                <c:pt idx="33494">
                  <c:v>-8.0672268907563002E-2</c:v>
                </c:pt>
                <c:pt idx="33495">
                  <c:v>-8.0672268907563002E-2</c:v>
                </c:pt>
                <c:pt idx="33496">
                  <c:v>-8.0672268907563002E-2</c:v>
                </c:pt>
                <c:pt idx="33497">
                  <c:v>-8.0672268907563002E-2</c:v>
                </c:pt>
                <c:pt idx="33498">
                  <c:v>-8.0672268907563002E-2</c:v>
                </c:pt>
                <c:pt idx="33499">
                  <c:v>-8.0672268907563002E-2</c:v>
                </c:pt>
                <c:pt idx="33500">
                  <c:v>-8.0672268907563002E-2</c:v>
                </c:pt>
                <c:pt idx="33501">
                  <c:v>-8.0672268907563002E-2</c:v>
                </c:pt>
                <c:pt idx="33502">
                  <c:v>-8.0672268907563002E-2</c:v>
                </c:pt>
                <c:pt idx="33503">
                  <c:v>-8.0672268907563002E-2</c:v>
                </c:pt>
                <c:pt idx="33504">
                  <c:v>-8.0672268907563002E-2</c:v>
                </c:pt>
                <c:pt idx="33505">
                  <c:v>-8.0672268907563002E-2</c:v>
                </c:pt>
                <c:pt idx="33506">
                  <c:v>-8.0672268907563002E-2</c:v>
                </c:pt>
                <c:pt idx="33507">
                  <c:v>-8.0672268907563002E-2</c:v>
                </c:pt>
                <c:pt idx="33508">
                  <c:v>-8.0672268907563002E-2</c:v>
                </c:pt>
                <c:pt idx="33509">
                  <c:v>-8.0672268907563002E-2</c:v>
                </c:pt>
                <c:pt idx="33510">
                  <c:v>-8.0672268907563002E-2</c:v>
                </c:pt>
                <c:pt idx="33511">
                  <c:v>-8.0672268907563002E-2</c:v>
                </c:pt>
                <c:pt idx="33512">
                  <c:v>-8.0672268907563002E-2</c:v>
                </c:pt>
                <c:pt idx="33513">
                  <c:v>-8.0672268907563002E-2</c:v>
                </c:pt>
                <c:pt idx="33514">
                  <c:v>-8.0672268907563002E-2</c:v>
                </c:pt>
                <c:pt idx="33515">
                  <c:v>-8.0672268907563002E-2</c:v>
                </c:pt>
                <c:pt idx="33516">
                  <c:v>-8.0672268907563002E-2</c:v>
                </c:pt>
                <c:pt idx="33517">
                  <c:v>-8.0672268907563002E-2</c:v>
                </c:pt>
                <c:pt idx="33518">
                  <c:v>-8.0672268907563002E-2</c:v>
                </c:pt>
                <c:pt idx="33519">
                  <c:v>-8.1512605042016795E-2</c:v>
                </c:pt>
                <c:pt idx="33520">
                  <c:v>-8.1512605042016795E-2</c:v>
                </c:pt>
                <c:pt idx="33521">
                  <c:v>-8.1512605042016795E-2</c:v>
                </c:pt>
                <c:pt idx="33522">
                  <c:v>-8.1512605042016795E-2</c:v>
                </c:pt>
                <c:pt idx="33523">
                  <c:v>-8.1512605042016795E-2</c:v>
                </c:pt>
                <c:pt idx="33524">
                  <c:v>-8.1512605042016795E-2</c:v>
                </c:pt>
                <c:pt idx="33525">
                  <c:v>-8.1512605042016795E-2</c:v>
                </c:pt>
                <c:pt idx="33526">
                  <c:v>-8.1512605042016795E-2</c:v>
                </c:pt>
                <c:pt idx="33527">
                  <c:v>-8.1512605042016795E-2</c:v>
                </c:pt>
                <c:pt idx="33528">
                  <c:v>-8.1512605042016795E-2</c:v>
                </c:pt>
                <c:pt idx="33529">
                  <c:v>-8.1512605042016795E-2</c:v>
                </c:pt>
                <c:pt idx="33530">
                  <c:v>-8.1512605042016795E-2</c:v>
                </c:pt>
                <c:pt idx="33531">
                  <c:v>-8.1512605042016795E-2</c:v>
                </c:pt>
                <c:pt idx="33532">
                  <c:v>-8.1512605042016795E-2</c:v>
                </c:pt>
                <c:pt idx="33533">
                  <c:v>-8.1512605042016795E-2</c:v>
                </c:pt>
                <c:pt idx="33534">
                  <c:v>-8.1512605042016795E-2</c:v>
                </c:pt>
                <c:pt idx="33535">
                  <c:v>-8.1512605042016795E-2</c:v>
                </c:pt>
                <c:pt idx="33536">
                  <c:v>-8.1512605042016795E-2</c:v>
                </c:pt>
                <c:pt idx="33537">
                  <c:v>-8.1512605042016795E-2</c:v>
                </c:pt>
                <c:pt idx="33538">
                  <c:v>-8.1512605042016795E-2</c:v>
                </c:pt>
                <c:pt idx="33539">
                  <c:v>-8.1512605042016795E-2</c:v>
                </c:pt>
                <c:pt idx="33540">
                  <c:v>-8.1512605042016795E-2</c:v>
                </c:pt>
                <c:pt idx="33541">
                  <c:v>-8.1512605042016795E-2</c:v>
                </c:pt>
                <c:pt idx="33542">
                  <c:v>-8.1512605042016795E-2</c:v>
                </c:pt>
                <c:pt idx="33543">
                  <c:v>-8.1512605042016795E-2</c:v>
                </c:pt>
                <c:pt idx="33544">
                  <c:v>-8.1512605042016795E-2</c:v>
                </c:pt>
                <c:pt idx="33545">
                  <c:v>-8.1512605042016795E-2</c:v>
                </c:pt>
                <c:pt idx="33546">
                  <c:v>-8.1512605042016795E-2</c:v>
                </c:pt>
                <c:pt idx="33547">
                  <c:v>-8.1512605042016795E-2</c:v>
                </c:pt>
                <c:pt idx="33548">
                  <c:v>-8.1512605042016795E-2</c:v>
                </c:pt>
                <c:pt idx="33549">
                  <c:v>-8.1512605042016795E-2</c:v>
                </c:pt>
                <c:pt idx="33550">
                  <c:v>-8.1512605042016795E-2</c:v>
                </c:pt>
                <c:pt idx="33551">
                  <c:v>-8.1512605042016795E-2</c:v>
                </c:pt>
                <c:pt idx="33552">
                  <c:v>-8.1512605042016795E-2</c:v>
                </c:pt>
                <c:pt idx="33553">
                  <c:v>-8.1512605042016795E-2</c:v>
                </c:pt>
                <c:pt idx="33554">
                  <c:v>-8.1512605042016795E-2</c:v>
                </c:pt>
                <c:pt idx="33555">
                  <c:v>-8.1512605042016795E-2</c:v>
                </c:pt>
                <c:pt idx="33556">
                  <c:v>-8.1512605042016795E-2</c:v>
                </c:pt>
                <c:pt idx="33557">
                  <c:v>-8.1512605042016795E-2</c:v>
                </c:pt>
                <c:pt idx="33558">
                  <c:v>-8.1512605042016795E-2</c:v>
                </c:pt>
                <c:pt idx="33559">
                  <c:v>-8.1512605042016795E-2</c:v>
                </c:pt>
                <c:pt idx="33560">
                  <c:v>-8.1512605042016795E-2</c:v>
                </c:pt>
                <c:pt idx="33561">
                  <c:v>-8.1512605042016795E-2</c:v>
                </c:pt>
                <c:pt idx="33562">
                  <c:v>-8.1512605042016795E-2</c:v>
                </c:pt>
                <c:pt idx="33563">
                  <c:v>-8.1512605042016795E-2</c:v>
                </c:pt>
                <c:pt idx="33564">
                  <c:v>-8.1512605042016795E-2</c:v>
                </c:pt>
                <c:pt idx="33565">
                  <c:v>-8.1512605042016795E-2</c:v>
                </c:pt>
                <c:pt idx="33566">
                  <c:v>-8.1512605042016795E-2</c:v>
                </c:pt>
                <c:pt idx="33567">
                  <c:v>-8.1512605042016795E-2</c:v>
                </c:pt>
                <c:pt idx="33568">
                  <c:v>-8.1512605042016795E-2</c:v>
                </c:pt>
                <c:pt idx="33569">
                  <c:v>-8.1512605042016795E-2</c:v>
                </c:pt>
                <c:pt idx="33570">
                  <c:v>-8.1512605042016795E-2</c:v>
                </c:pt>
                <c:pt idx="33571">
                  <c:v>-8.1512605042016795E-2</c:v>
                </c:pt>
                <c:pt idx="33572">
                  <c:v>-8.1512605042016795E-2</c:v>
                </c:pt>
                <c:pt idx="33573">
                  <c:v>-8.1512605042016795E-2</c:v>
                </c:pt>
                <c:pt idx="33574">
                  <c:v>-8.1512605042016795E-2</c:v>
                </c:pt>
                <c:pt idx="33575">
                  <c:v>-8.1512605042016795E-2</c:v>
                </c:pt>
                <c:pt idx="33576">
                  <c:v>-8.1512605042016795E-2</c:v>
                </c:pt>
                <c:pt idx="33577">
                  <c:v>-8.1512605042016795E-2</c:v>
                </c:pt>
                <c:pt idx="33578">
                  <c:v>-8.1512605042016795E-2</c:v>
                </c:pt>
                <c:pt idx="33579">
                  <c:v>-8.0672268907563002E-2</c:v>
                </c:pt>
                <c:pt idx="33580">
                  <c:v>-8.0672268907563002E-2</c:v>
                </c:pt>
                <c:pt idx="33581">
                  <c:v>-8.0672268907563002E-2</c:v>
                </c:pt>
                <c:pt idx="33582">
                  <c:v>-8.0672268907563002E-2</c:v>
                </c:pt>
                <c:pt idx="33583">
                  <c:v>-8.0672268907563002E-2</c:v>
                </c:pt>
                <c:pt idx="33584">
                  <c:v>-8.0672268907563002E-2</c:v>
                </c:pt>
                <c:pt idx="33585">
                  <c:v>-8.0672268907563002E-2</c:v>
                </c:pt>
                <c:pt idx="33586">
                  <c:v>-8.0672268907563002E-2</c:v>
                </c:pt>
                <c:pt idx="33587">
                  <c:v>-8.0672268907563002E-2</c:v>
                </c:pt>
                <c:pt idx="33588">
                  <c:v>-8.0672268907563002E-2</c:v>
                </c:pt>
                <c:pt idx="33589">
                  <c:v>-8.0672268907563002E-2</c:v>
                </c:pt>
                <c:pt idx="33590">
                  <c:v>-8.0672268907563002E-2</c:v>
                </c:pt>
                <c:pt idx="33591">
                  <c:v>-8.0672268907563002E-2</c:v>
                </c:pt>
                <c:pt idx="33592">
                  <c:v>-8.0672268907563002E-2</c:v>
                </c:pt>
                <c:pt idx="33593">
                  <c:v>-8.0672268907563002E-2</c:v>
                </c:pt>
                <c:pt idx="33594">
                  <c:v>-8.0672268907563002E-2</c:v>
                </c:pt>
                <c:pt idx="33595">
                  <c:v>-8.0672268907563002E-2</c:v>
                </c:pt>
                <c:pt idx="33596">
                  <c:v>-8.0672268907563002E-2</c:v>
                </c:pt>
                <c:pt idx="33597">
                  <c:v>-8.0672268907563002E-2</c:v>
                </c:pt>
                <c:pt idx="33598">
                  <c:v>-8.0672268907563002E-2</c:v>
                </c:pt>
                <c:pt idx="33599">
                  <c:v>-8.0672268907563002E-2</c:v>
                </c:pt>
                <c:pt idx="33600">
                  <c:v>-8.0672268907563002E-2</c:v>
                </c:pt>
                <c:pt idx="33601">
                  <c:v>-8.0672268907563002E-2</c:v>
                </c:pt>
                <c:pt idx="33602">
                  <c:v>-8.0672268907563002E-2</c:v>
                </c:pt>
                <c:pt idx="33603">
                  <c:v>-8.0672268907563002E-2</c:v>
                </c:pt>
                <c:pt idx="33604">
                  <c:v>-8.0672268907563002E-2</c:v>
                </c:pt>
                <c:pt idx="33605">
                  <c:v>-8.0672268907563002E-2</c:v>
                </c:pt>
                <c:pt idx="33606">
                  <c:v>-8.0672268907563002E-2</c:v>
                </c:pt>
                <c:pt idx="33607">
                  <c:v>-8.0672268907563002E-2</c:v>
                </c:pt>
                <c:pt idx="33608">
                  <c:v>-8.0672268907563002E-2</c:v>
                </c:pt>
                <c:pt idx="33609">
                  <c:v>-8.0672268907563002E-2</c:v>
                </c:pt>
                <c:pt idx="33610">
                  <c:v>-8.0672268907563002E-2</c:v>
                </c:pt>
                <c:pt idx="33611">
                  <c:v>-8.0672268907563002E-2</c:v>
                </c:pt>
                <c:pt idx="33612">
                  <c:v>-8.0672268907563002E-2</c:v>
                </c:pt>
                <c:pt idx="33613">
                  <c:v>-8.0672268907563002E-2</c:v>
                </c:pt>
                <c:pt idx="33614">
                  <c:v>-8.0672268907563002E-2</c:v>
                </c:pt>
                <c:pt idx="33615">
                  <c:v>-8.0672268907563002E-2</c:v>
                </c:pt>
                <c:pt idx="33616">
                  <c:v>-8.0672268907563002E-2</c:v>
                </c:pt>
                <c:pt idx="33617">
                  <c:v>-7.9831932773109293E-2</c:v>
                </c:pt>
                <c:pt idx="33618">
                  <c:v>-7.9831932773109293E-2</c:v>
                </c:pt>
                <c:pt idx="33619">
                  <c:v>-7.9831932773109293E-2</c:v>
                </c:pt>
                <c:pt idx="33620">
                  <c:v>-7.9831932773109293E-2</c:v>
                </c:pt>
                <c:pt idx="33621">
                  <c:v>-7.9831932773109293E-2</c:v>
                </c:pt>
                <c:pt idx="33622">
                  <c:v>-7.9831932773109293E-2</c:v>
                </c:pt>
                <c:pt idx="33623">
                  <c:v>-7.9831932773109293E-2</c:v>
                </c:pt>
                <c:pt idx="33624">
                  <c:v>-7.9831932773109293E-2</c:v>
                </c:pt>
                <c:pt idx="33625">
                  <c:v>-7.9831932773109293E-2</c:v>
                </c:pt>
                <c:pt idx="33626">
                  <c:v>-7.9831932773109293E-2</c:v>
                </c:pt>
                <c:pt idx="33627">
                  <c:v>-7.9831932773109293E-2</c:v>
                </c:pt>
                <c:pt idx="33628">
                  <c:v>-7.9831932773109293E-2</c:v>
                </c:pt>
                <c:pt idx="33629">
                  <c:v>-7.9831932773109293E-2</c:v>
                </c:pt>
                <c:pt idx="33630">
                  <c:v>-7.9831932773109293E-2</c:v>
                </c:pt>
                <c:pt idx="33631">
                  <c:v>-7.9831932773109293E-2</c:v>
                </c:pt>
                <c:pt idx="33632">
                  <c:v>-7.9831932773109293E-2</c:v>
                </c:pt>
                <c:pt idx="33633">
                  <c:v>-7.9831932773109293E-2</c:v>
                </c:pt>
                <c:pt idx="33634">
                  <c:v>-7.9831932773109293E-2</c:v>
                </c:pt>
                <c:pt idx="33635">
                  <c:v>-7.9831932773109293E-2</c:v>
                </c:pt>
                <c:pt idx="33636">
                  <c:v>-7.9831932773109293E-2</c:v>
                </c:pt>
                <c:pt idx="33637">
                  <c:v>-7.9831932773109293E-2</c:v>
                </c:pt>
                <c:pt idx="33638">
                  <c:v>-7.9831932773109293E-2</c:v>
                </c:pt>
                <c:pt idx="33639">
                  <c:v>-7.9831932773109293E-2</c:v>
                </c:pt>
                <c:pt idx="33640">
                  <c:v>-7.9831932773109293E-2</c:v>
                </c:pt>
                <c:pt idx="33641">
                  <c:v>-7.9831932773109293E-2</c:v>
                </c:pt>
                <c:pt idx="33642">
                  <c:v>-7.9831932773109293E-2</c:v>
                </c:pt>
                <c:pt idx="33643">
                  <c:v>-7.9831932773109293E-2</c:v>
                </c:pt>
                <c:pt idx="33644">
                  <c:v>-7.9831932773109293E-2</c:v>
                </c:pt>
                <c:pt idx="33645">
                  <c:v>-7.9831932773109293E-2</c:v>
                </c:pt>
                <c:pt idx="33646">
                  <c:v>-7.9831932773109293E-2</c:v>
                </c:pt>
                <c:pt idx="33647">
                  <c:v>-7.9831932773109293E-2</c:v>
                </c:pt>
                <c:pt idx="33648">
                  <c:v>-7.9831932773109293E-2</c:v>
                </c:pt>
                <c:pt idx="33649">
                  <c:v>-7.9831932773109293E-2</c:v>
                </c:pt>
                <c:pt idx="33650">
                  <c:v>-7.9831932773109293E-2</c:v>
                </c:pt>
                <c:pt idx="33651">
                  <c:v>-7.9831932773109293E-2</c:v>
                </c:pt>
                <c:pt idx="33652">
                  <c:v>-7.9831932773109293E-2</c:v>
                </c:pt>
                <c:pt idx="33653">
                  <c:v>-7.9831932773109293E-2</c:v>
                </c:pt>
                <c:pt idx="33654">
                  <c:v>-7.8991596638655501E-2</c:v>
                </c:pt>
                <c:pt idx="33655">
                  <c:v>-7.8991596638655501E-2</c:v>
                </c:pt>
                <c:pt idx="33656">
                  <c:v>-7.8991596638655501E-2</c:v>
                </c:pt>
                <c:pt idx="33657">
                  <c:v>-7.8991596638655501E-2</c:v>
                </c:pt>
                <c:pt idx="33658">
                  <c:v>-7.8991596638655501E-2</c:v>
                </c:pt>
                <c:pt idx="33659">
                  <c:v>-7.8991596638655501E-2</c:v>
                </c:pt>
                <c:pt idx="33660">
                  <c:v>-7.8991596638655501E-2</c:v>
                </c:pt>
                <c:pt idx="33661">
                  <c:v>-7.8991596638655501E-2</c:v>
                </c:pt>
                <c:pt idx="33662">
                  <c:v>-7.8991596638655501E-2</c:v>
                </c:pt>
                <c:pt idx="33663">
                  <c:v>-7.8991596638655501E-2</c:v>
                </c:pt>
                <c:pt idx="33664">
                  <c:v>-7.8991596638655501E-2</c:v>
                </c:pt>
                <c:pt idx="33665">
                  <c:v>-7.8991596638655501E-2</c:v>
                </c:pt>
                <c:pt idx="33666">
                  <c:v>-7.8991596638655501E-2</c:v>
                </c:pt>
                <c:pt idx="33667">
                  <c:v>-7.8991596638655501E-2</c:v>
                </c:pt>
                <c:pt idx="33668">
                  <c:v>-7.8991596638655501E-2</c:v>
                </c:pt>
                <c:pt idx="33669">
                  <c:v>-7.8991596638655501E-2</c:v>
                </c:pt>
                <c:pt idx="33670">
                  <c:v>-7.8991596638655501E-2</c:v>
                </c:pt>
                <c:pt idx="33671">
                  <c:v>-7.8991596638655501E-2</c:v>
                </c:pt>
                <c:pt idx="33672">
                  <c:v>-7.8991596638655501E-2</c:v>
                </c:pt>
                <c:pt idx="33673">
                  <c:v>-7.8991596638655501E-2</c:v>
                </c:pt>
                <c:pt idx="33674">
                  <c:v>-7.8991596638655501E-2</c:v>
                </c:pt>
                <c:pt idx="33675">
                  <c:v>-7.8991596638655501E-2</c:v>
                </c:pt>
                <c:pt idx="33676">
                  <c:v>-7.8991596638655501E-2</c:v>
                </c:pt>
                <c:pt idx="33677">
                  <c:v>-7.8991596638655501E-2</c:v>
                </c:pt>
                <c:pt idx="33678">
                  <c:v>-7.8991596638655501E-2</c:v>
                </c:pt>
                <c:pt idx="33679">
                  <c:v>-7.8991596638655501E-2</c:v>
                </c:pt>
                <c:pt idx="33680">
                  <c:v>-7.8991596638655501E-2</c:v>
                </c:pt>
                <c:pt idx="33681">
                  <c:v>-7.8991596638655501E-2</c:v>
                </c:pt>
                <c:pt idx="33682">
                  <c:v>-7.8991596638655501E-2</c:v>
                </c:pt>
                <c:pt idx="33683">
                  <c:v>-7.8991596638655501E-2</c:v>
                </c:pt>
                <c:pt idx="33684">
                  <c:v>-7.8991596638655501E-2</c:v>
                </c:pt>
                <c:pt idx="33685">
                  <c:v>-7.8991596638655501E-2</c:v>
                </c:pt>
                <c:pt idx="33686">
                  <c:v>-7.8991596638655501E-2</c:v>
                </c:pt>
                <c:pt idx="33687">
                  <c:v>-7.8991596638655501E-2</c:v>
                </c:pt>
                <c:pt idx="33688">
                  <c:v>-7.8991596638655501E-2</c:v>
                </c:pt>
                <c:pt idx="33689">
                  <c:v>-7.8991596638655501E-2</c:v>
                </c:pt>
                <c:pt idx="33690">
                  <c:v>-7.8151260504201694E-2</c:v>
                </c:pt>
                <c:pt idx="33691">
                  <c:v>-7.8151260504201694E-2</c:v>
                </c:pt>
                <c:pt idx="33692">
                  <c:v>-7.8151260504201694E-2</c:v>
                </c:pt>
                <c:pt idx="33693">
                  <c:v>-7.8151260504201694E-2</c:v>
                </c:pt>
                <c:pt idx="33694">
                  <c:v>-7.8151260504201694E-2</c:v>
                </c:pt>
                <c:pt idx="33695">
                  <c:v>-7.8151260504201694E-2</c:v>
                </c:pt>
                <c:pt idx="33696">
                  <c:v>-7.8151260504201694E-2</c:v>
                </c:pt>
                <c:pt idx="33697">
                  <c:v>-7.8151260504201694E-2</c:v>
                </c:pt>
                <c:pt idx="33698">
                  <c:v>-7.8151260504201694E-2</c:v>
                </c:pt>
                <c:pt idx="33699">
                  <c:v>-7.8151260504201694E-2</c:v>
                </c:pt>
                <c:pt idx="33700">
                  <c:v>-7.8151260504201694E-2</c:v>
                </c:pt>
                <c:pt idx="33701">
                  <c:v>-7.8151260504201694E-2</c:v>
                </c:pt>
                <c:pt idx="33702">
                  <c:v>-7.8151260504201694E-2</c:v>
                </c:pt>
                <c:pt idx="33703">
                  <c:v>-7.8151260504201694E-2</c:v>
                </c:pt>
                <c:pt idx="33704">
                  <c:v>-7.8151260504201694E-2</c:v>
                </c:pt>
                <c:pt idx="33705">
                  <c:v>-7.8151260504201694E-2</c:v>
                </c:pt>
                <c:pt idx="33706">
                  <c:v>-7.8151260504201694E-2</c:v>
                </c:pt>
                <c:pt idx="33707">
                  <c:v>-7.8151260504201694E-2</c:v>
                </c:pt>
                <c:pt idx="33708">
                  <c:v>-7.8151260504201694E-2</c:v>
                </c:pt>
                <c:pt idx="33709">
                  <c:v>-7.8151260504201694E-2</c:v>
                </c:pt>
                <c:pt idx="33710">
                  <c:v>-7.8151260504201694E-2</c:v>
                </c:pt>
                <c:pt idx="33711">
                  <c:v>-7.8151260504201694E-2</c:v>
                </c:pt>
                <c:pt idx="33712">
                  <c:v>-7.8151260504201694E-2</c:v>
                </c:pt>
                <c:pt idx="33713">
                  <c:v>-7.8151260504201694E-2</c:v>
                </c:pt>
                <c:pt idx="33714">
                  <c:v>-7.8151260504201694E-2</c:v>
                </c:pt>
                <c:pt idx="33715">
                  <c:v>-7.8151260504201694E-2</c:v>
                </c:pt>
                <c:pt idx="33716">
                  <c:v>-7.8151260504201694E-2</c:v>
                </c:pt>
                <c:pt idx="33717">
                  <c:v>-7.8151260504201694E-2</c:v>
                </c:pt>
                <c:pt idx="33718">
                  <c:v>-7.8151260504201694E-2</c:v>
                </c:pt>
                <c:pt idx="33719">
                  <c:v>-7.8151260504201694E-2</c:v>
                </c:pt>
                <c:pt idx="33720">
                  <c:v>-7.8151260504201694E-2</c:v>
                </c:pt>
                <c:pt idx="33721">
                  <c:v>-7.8151260504201694E-2</c:v>
                </c:pt>
                <c:pt idx="33722">
                  <c:v>-7.8991596638655501E-2</c:v>
                </c:pt>
                <c:pt idx="33723">
                  <c:v>-7.8991596638655501E-2</c:v>
                </c:pt>
                <c:pt idx="33724">
                  <c:v>-7.8991596638655501E-2</c:v>
                </c:pt>
                <c:pt idx="33725">
                  <c:v>-7.8991596638655501E-2</c:v>
                </c:pt>
                <c:pt idx="33726">
                  <c:v>-7.8991596638655501E-2</c:v>
                </c:pt>
                <c:pt idx="33727">
                  <c:v>-7.8991596638655501E-2</c:v>
                </c:pt>
                <c:pt idx="33728">
                  <c:v>-7.8991596638655501E-2</c:v>
                </c:pt>
                <c:pt idx="33729">
                  <c:v>-7.8991596638655501E-2</c:v>
                </c:pt>
                <c:pt idx="33730">
                  <c:v>-7.8991596638655501E-2</c:v>
                </c:pt>
                <c:pt idx="33731">
                  <c:v>-7.8991596638655501E-2</c:v>
                </c:pt>
                <c:pt idx="33732">
                  <c:v>-7.8151260504201694E-2</c:v>
                </c:pt>
                <c:pt idx="33733">
                  <c:v>-7.8151260504201694E-2</c:v>
                </c:pt>
                <c:pt idx="33734">
                  <c:v>-7.8151260504201694E-2</c:v>
                </c:pt>
                <c:pt idx="33735">
                  <c:v>-7.8151260504201694E-2</c:v>
                </c:pt>
                <c:pt idx="33736">
                  <c:v>-7.8151260504201694E-2</c:v>
                </c:pt>
                <c:pt idx="33737">
                  <c:v>-7.8151260504201694E-2</c:v>
                </c:pt>
                <c:pt idx="33738">
                  <c:v>-7.8151260504201694E-2</c:v>
                </c:pt>
                <c:pt idx="33739">
                  <c:v>-7.7310924369747902E-2</c:v>
                </c:pt>
                <c:pt idx="33740">
                  <c:v>-7.7310924369747902E-2</c:v>
                </c:pt>
                <c:pt idx="33741">
                  <c:v>-7.7310924369747902E-2</c:v>
                </c:pt>
                <c:pt idx="33742">
                  <c:v>-7.7310924369747902E-2</c:v>
                </c:pt>
                <c:pt idx="33743">
                  <c:v>-7.7310924369747902E-2</c:v>
                </c:pt>
                <c:pt idx="33744">
                  <c:v>-7.7310924369747902E-2</c:v>
                </c:pt>
                <c:pt idx="33745">
                  <c:v>-7.7310924369747902E-2</c:v>
                </c:pt>
                <c:pt idx="33746">
                  <c:v>-7.7310924369747902E-2</c:v>
                </c:pt>
                <c:pt idx="33747">
                  <c:v>-7.7310924369747902E-2</c:v>
                </c:pt>
                <c:pt idx="33748">
                  <c:v>-7.7310924369747902E-2</c:v>
                </c:pt>
                <c:pt idx="33749">
                  <c:v>-7.7310924369747902E-2</c:v>
                </c:pt>
                <c:pt idx="33750">
                  <c:v>-7.7310924369747902E-2</c:v>
                </c:pt>
                <c:pt idx="33751">
                  <c:v>-7.8151260504201694E-2</c:v>
                </c:pt>
                <c:pt idx="33752">
                  <c:v>-7.8151260504201694E-2</c:v>
                </c:pt>
                <c:pt idx="33753">
                  <c:v>-7.8151260504201694E-2</c:v>
                </c:pt>
                <c:pt idx="33754">
                  <c:v>-7.8151260504201694E-2</c:v>
                </c:pt>
                <c:pt idx="33755">
                  <c:v>-7.8151260504201694E-2</c:v>
                </c:pt>
                <c:pt idx="33756">
                  <c:v>-7.8151260504201694E-2</c:v>
                </c:pt>
                <c:pt idx="33757">
                  <c:v>-7.8151260504201694E-2</c:v>
                </c:pt>
                <c:pt idx="33758">
                  <c:v>-7.8151260504201694E-2</c:v>
                </c:pt>
                <c:pt idx="33759">
                  <c:v>-7.8151260504201694E-2</c:v>
                </c:pt>
                <c:pt idx="33760">
                  <c:v>-7.8151260504201694E-2</c:v>
                </c:pt>
                <c:pt idx="33761">
                  <c:v>-7.8151260504201694E-2</c:v>
                </c:pt>
                <c:pt idx="33762">
                  <c:v>-7.8151260504201694E-2</c:v>
                </c:pt>
                <c:pt idx="33763">
                  <c:v>-7.8151260504201694E-2</c:v>
                </c:pt>
                <c:pt idx="33764">
                  <c:v>-7.8151260504201694E-2</c:v>
                </c:pt>
                <c:pt idx="33765">
                  <c:v>-7.8151260504201694E-2</c:v>
                </c:pt>
                <c:pt idx="33766">
                  <c:v>-7.8151260504201694E-2</c:v>
                </c:pt>
                <c:pt idx="33767">
                  <c:v>-7.8151260504201694E-2</c:v>
                </c:pt>
                <c:pt idx="33768">
                  <c:v>-7.8151260504201694E-2</c:v>
                </c:pt>
                <c:pt idx="33769">
                  <c:v>-7.8151260504201694E-2</c:v>
                </c:pt>
                <c:pt idx="33770">
                  <c:v>-7.7310924369747805E-2</c:v>
                </c:pt>
                <c:pt idx="33771">
                  <c:v>-7.7310924369747805E-2</c:v>
                </c:pt>
                <c:pt idx="33772">
                  <c:v>-7.6470588235293999E-2</c:v>
                </c:pt>
                <c:pt idx="33773">
                  <c:v>-7.6470588235293999E-2</c:v>
                </c:pt>
                <c:pt idx="33774">
                  <c:v>-7.6470588235293999E-2</c:v>
                </c:pt>
                <c:pt idx="33775">
                  <c:v>-7.6470588235293999E-2</c:v>
                </c:pt>
                <c:pt idx="33776">
                  <c:v>-7.6470588235293999E-2</c:v>
                </c:pt>
                <c:pt idx="33777">
                  <c:v>-7.6470588235293999E-2</c:v>
                </c:pt>
                <c:pt idx="33778">
                  <c:v>-7.6470588235293999E-2</c:v>
                </c:pt>
                <c:pt idx="33779">
                  <c:v>-7.6470588235293999E-2</c:v>
                </c:pt>
                <c:pt idx="33780">
                  <c:v>-7.6470588235293999E-2</c:v>
                </c:pt>
                <c:pt idx="33781">
                  <c:v>-7.6470588235293999E-2</c:v>
                </c:pt>
                <c:pt idx="33782">
                  <c:v>-7.6470588235293999E-2</c:v>
                </c:pt>
                <c:pt idx="33783">
                  <c:v>-7.6470588235293999E-2</c:v>
                </c:pt>
                <c:pt idx="33784">
                  <c:v>-7.6470588235293999E-2</c:v>
                </c:pt>
                <c:pt idx="33785">
                  <c:v>-7.6470588235293999E-2</c:v>
                </c:pt>
                <c:pt idx="33786">
                  <c:v>-7.6470588235293999E-2</c:v>
                </c:pt>
                <c:pt idx="33787">
                  <c:v>-7.6470588235293999E-2</c:v>
                </c:pt>
                <c:pt idx="33788">
                  <c:v>-7.6470588235293999E-2</c:v>
                </c:pt>
                <c:pt idx="33789">
                  <c:v>-7.6470588235293999E-2</c:v>
                </c:pt>
                <c:pt idx="33790">
                  <c:v>-7.6470588235293999E-2</c:v>
                </c:pt>
                <c:pt idx="33791">
                  <c:v>-7.6470588235293999E-2</c:v>
                </c:pt>
                <c:pt idx="33792">
                  <c:v>-7.6470588235293999E-2</c:v>
                </c:pt>
                <c:pt idx="33793">
                  <c:v>-7.6470588235293999E-2</c:v>
                </c:pt>
                <c:pt idx="33794">
                  <c:v>-7.6470588235293999E-2</c:v>
                </c:pt>
                <c:pt idx="33795">
                  <c:v>-7.6470588235293999E-2</c:v>
                </c:pt>
                <c:pt idx="33796">
                  <c:v>-7.6470588235293999E-2</c:v>
                </c:pt>
                <c:pt idx="33797">
                  <c:v>-7.7310924369747805E-2</c:v>
                </c:pt>
                <c:pt idx="33798">
                  <c:v>-7.7310924369747805E-2</c:v>
                </c:pt>
                <c:pt idx="33799">
                  <c:v>-7.7310924369747805E-2</c:v>
                </c:pt>
                <c:pt idx="33800">
                  <c:v>-7.7310924369747805E-2</c:v>
                </c:pt>
                <c:pt idx="33801">
                  <c:v>-7.7310924369747805E-2</c:v>
                </c:pt>
                <c:pt idx="33802">
                  <c:v>-7.7310924369747805E-2</c:v>
                </c:pt>
                <c:pt idx="33803">
                  <c:v>-7.7310924369747805E-2</c:v>
                </c:pt>
                <c:pt idx="33804">
                  <c:v>-7.8151260504201597E-2</c:v>
                </c:pt>
                <c:pt idx="33805">
                  <c:v>-7.8151260504201597E-2</c:v>
                </c:pt>
                <c:pt idx="33806">
                  <c:v>-7.8151260504201597E-2</c:v>
                </c:pt>
                <c:pt idx="33807">
                  <c:v>-7.8151260504201597E-2</c:v>
                </c:pt>
                <c:pt idx="33808">
                  <c:v>-7.8151260504201597E-2</c:v>
                </c:pt>
                <c:pt idx="33809">
                  <c:v>-7.8151260504201597E-2</c:v>
                </c:pt>
                <c:pt idx="33810">
                  <c:v>-7.8991596638655404E-2</c:v>
                </c:pt>
                <c:pt idx="33811">
                  <c:v>-7.8991596638655404E-2</c:v>
                </c:pt>
                <c:pt idx="33812">
                  <c:v>-7.8991596638655404E-2</c:v>
                </c:pt>
                <c:pt idx="33813">
                  <c:v>-7.8991596638655404E-2</c:v>
                </c:pt>
                <c:pt idx="33814">
                  <c:v>-7.8991596638655404E-2</c:v>
                </c:pt>
                <c:pt idx="33815">
                  <c:v>-7.8991596638655404E-2</c:v>
                </c:pt>
                <c:pt idx="33816">
                  <c:v>-7.8991596638655404E-2</c:v>
                </c:pt>
                <c:pt idx="33817">
                  <c:v>-7.8991596638655404E-2</c:v>
                </c:pt>
                <c:pt idx="33818">
                  <c:v>-7.8991596638655404E-2</c:v>
                </c:pt>
                <c:pt idx="33819">
                  <c:v>-7.8991596638655404E-2</c:v>
                </c:pt>
                <c:pt idx="33820">
                  <c:v>-7.8991596638655404E-2</c:v>
                </c:pt>
                <c:pt idx="33821">
                  <c:v>-7.8991596638655404E-2</c:v>
                </c:pt>
                <c:pt idx="33822">
                  <c:v>-7.8991596638655404E-2</c:v>
                </c:pt>
                <c:pt idx="33823">
                  <c:v>-7.8991596638655404E-2</c:v>
                </c:pt>
                <c:pt idx="33824">
                  <c:v>-7.8991596638655404E-2</c:v>
                </c:pt>
                <c:pt idx="33825">
                  <c:v>-7.8991596638655404E-2</c:v>
                </c:pt>
                <c:pt idx="33826">
                  <c:v>-7.8991596638655404E-2</c:v>
                </c:pt>
                <c:pt idx="33827">
                  <c:v>-7.8991596638655404E-2</c:v>
                </c:pt>
                <c:pt idx="33828">
                  <c:v>-7.8991596638655404E-2</c:v>
                </c:pt>
                <c:pt idx="33829">
                  <c:v>-7.8991596638655404E-2</c:v>
                </c:pt>
                <c:pt idx="33830">
                  <c:v>-7.8991596638655404E-2</c:v>
                </c:pt>
                <c:pt idx="33831">
                  <c:v>-7.8991596638655404E-2</c:v>
                </c:pt>
                <c:pt idx="33832">
                  <c:v>-7.8991596638655404E-2</c:v>
                </c:pt>
                <c:pt idx="33833">
                  <c:v>-7.8991596638655404E-2</c:v>
                </c:pt>
                <c:pt idx="33834">
                  <c:v>-7.8991596638655404E-2</c:v>
                </c:pt>
                <c:pt idx="33835">
                  <c:v>-7.8991596638655404E-2</c:v>
                </c:pt>
                <c:pt idx="33836">
                  <c:v>-7.8991596638655404E-2</c:v>
                </c:pt>
                <c:pt idx="33837">
                  <c:v>-7.8991596638655404E-2</c:v>
                </c:pt>
                <c:pt idx="33838">
                  <c:v>-7.8991596638655404E-2</c:v>
                </c:pt>
                <c:pt idx="33839">
                  <c:v>-7.8991596638655404E-2</c:v>
                </c:pt>
                <c:pt idx="33840">
                  <c:v>-7.8991596638655404E-2</c:v>
                </c:pt>
                <c:pt idx="33841">
                  <c:v>-7.8991596638655404E-2</c:v>
                </c:pt>
                <c:pt idx="33842">
                  <c:v>-7.8991596638655404E-2</c:v>
                </c:pt>
                <c:pt idx="33843">
                  <c:v>-7.8991596638655404E-2</c:v>
                </c:pt>
                <c:pt idx="33844">
                  <c:v>-7.8991596638655404E-2</c:v>
                </c:pt>
                <c:pt idx="33845">
                  <c:v>-7.8991596638655404E-2</c:v>
                </c:pt>
                <c:pt idx="33846">
                  <c:v>-7.8991596638655404E-2</c:v>
                </c:pt>
                <c:pt idx="33847">
                  <c:v>-7.8991596638655404E-2</c:v>
                </c:pt>
                <c:pt idx="33848">
                  <c:v>-7.8991596638655404E-2</c:v>
                </c:pt>
                <c:pt idx="33849">
                  <c:v>-7.8991596638655404E-2</c:v>
                </c:pt>
                <c:pt idx="33850">
                  <c:v>-7.8991596638655404E-2</c:v>
                </c:pt>
                <c:pt idx="33851">
                  <c:v>-7.8991596638655404E-2</c:v>
                </c:pt>
                <c:pt idx="33852">
                  <c:v>-7.8991596638655404E-2</c:v>
                </c:pt>
                <c:pt idx="33853">
                  <c:v>-7.8991596638655404E-2</c:v>
                </c:pt>
                <c:pt idx="33854">
                  <c:v>-7.8991596638655404E-2</c:v>
                </c:pt>
                <c:pt idx="33855">
                  <c:v>-7.8991596638655404E-2</c:v>
                </c:pt>
                <c:pt idx="33856">
                  <c:v>-7.8991596638655404E-2</c:v>
                </c:pt>
                <c:pt idx="33857">
                  <c:v>-7.8991596638655404E-2</c:v>
                </c:pt>
                <c:pt idx="33858">
                  <c:v>-7.8991596638655404E-2</c:v>
                </c:pt>
                <c:pt idx="33859">
                  <c:v>-7.8991596638655404E-2</c:v>
                </c:pt>
                <c:pt idx="33860">
                  <c:v>-7.8991596638655404E-2</c:v>
                </c:pt>
                <c:pt idx="33861">
                  <c:v>-7.8991596638655404E-2</c:v>
                </c:pt>
                <c:pt idx="33862">
                  <c:v>-7.8991596638655404E-2</c:v>
                </c:pt>
                <c:pt idx="33863">
                  <c:v>-7.8991596638655404E-2</c:v>
                </c:pt>
                <c:pt idx="33864">
                  <c:v>-7.8991596638655404E-2</c:v>
                </c:pt>
                <c:pt idx="33865">
                  <c:v>-7.8991596638655404E-2</c:v>
                </c:pt>
                <c:pt idx="33866">
                  <c:v>-7.8991596638655404E-2</c:v>
                </c:pt>
                <c:pt idx="33867">
                  <c:v>-7.8991596638655404E-2</c:v>
                </c:pt>
                <c:pt idx="33868">
                  <c:v>-7.8991596638655404E-2</c:v>
                </c:pt>
                <c:pt idx="33869">
                  <c:v>-7.8991596638655404E-2</c:v>
                </c:pt>
                <c:pt idx="33870">
                  <c:v>-7.8991596638655404E-2</c:v>
                </c:pt>
                <c:pt idx="33871">
                  <c:v>-7.8991596638655404E-2</c:v>
                </c:pt>
                <c:pt idx="33872">
                  <c:v>-7.8991596638655404E-2</c:v>
                </c:pt>
                <c:pt idx="33873">
                  <c:v>-7.8991596638655404E-2</c:v>
                </c:pt>
                <c:pt idx="33874">
                  <c:v>-7.8991596638655404E-2</c:v>
                </c:pt>
                <c:pt idx="33875">
                  <c:v>-7.8991596638655404E-2</c:v>
                </c:pt>
                <c:pt idx="33876">
                  <c:v>-7.8991596638655404E-2</c:v>
                </c:pt>
                <c:pt idx="33877">
                  <c:v>-7.8991596638655404E-2</c:v>
                </c:pt>
                <c:pt idx="33878">
                  <c:v>-7.8991596638655404E-2</c:v>
                </c:pt>
                <c:pt idx="33879">
                  <c:v>-7.8991596638655404E-2</c:v>
                </c:pt>
                <c:pt idx="33880">
                  <c:v>-7.8991596638655404E-2</c:v>
                </c:pt>
                <c:pt idx="33881">
                  <c:v>-7.8991596638655404E-2</c:v>
                </c:pt>
                <c:pt idx="33882">
                  <c:v>-7.8991596638655404E-2</c:v>
                </c:pt>
                <c:pt idx="33883">
                  <c:v>-7.8991596638655404E-2</c:v>
                </c:pt>
                <c:pt idx="33884">
                  <c:v>-7.8991596638655404E-2</c:v>
                </c:pt>
                <c:pt idx="33885">
                  <c:v>-7.8991596638655404E-2</c:v>
                </c:pt>
                <c:pt idx="33886">
                  <c:v>-7.8991596638655404E-2</c:v>
                </c:pt>
                <c:pt idx="33887">
                  <c:v>-7.8991596638655404E-2</c:v>
                </c:pt>
                <c:pt idx="33888">
                  <c:v>-7.8991596638655404E-2</c:v>
                </c:pt>
                <c:pt idx="33889">
                  <c:v>-7.8991596638655404E-2</c:v>
                </c:pt>
                <c:pt idx="33890">
                  <c:v>-7.8991596638655404E-2</c:v>
                </c:pt>
                <c:pt idx="33891">
                  <c:v>-7.8991596638655404E-2</c:v>
                </c:pt>
                <c:pt idx="33892">
                  <c:v>-7.8991596638655404E-2</c:v>
                </c:pt>
                <c:pt idx="33893">
                  <c:v>-7.8991596638655404E-2</c:v>
                </c:pt>
                <c:pt idx="33894">
                  <c:v>-7.8991596638655404E-2</c:v>
                </c:pt>
                <c:pt idx="33895">
                  <c:v>-7.8151260504201597E-2</c:v>
                </c:pt>
                <c:pt idx="33896">
                  <c:v>-7.8151260504201597E-2</c:v>
                </c:pt>
                <c:pt idx="33897">
                  <c:v>-7.8151260504201597E-2</c:v>
                </c:pt>
                <c:pt idx="33898">
                  <c:v>-7.8151260504201597E-2</c:v>
                </c:pt>
                <c:pt idx="33899">
                  <c:v>-7.8151260504201597E-2</c:v>
                </c:pt>
                <c:pt idx="33900">
                  <c:v>-7.8151260504201597E-2</c:v>
                </c:pt>
                <c:pt idx="33901">
                  <c:v>-7.8151260504201597E-2</c:v>
                </c:pt>
                <c:pt idx="33902">
                  <c:v>-7.8151260504201597E-2</c:v>
                </c:pt>
                <c:pt idx="33903">
                  <c:v>-7.8151260504201597E-2</c:v>
                </c:pt>
                <c:pt idx="33904">
                  <c:v>-7.8151260504201597E-2</c:v>
                </c:pt>
                <c:pt idx="33905">
                  <c:v>-7.8151260504201597E-2</c:v>
                </c:pt>
                <c:pt idx="33906">
                  <c:v>-7.8151260504201597E-2</c:v>
                </c:pt>
                <c:pt idx="33907">
                  <c:v>-7.8151260504201597E-2</c:v>
                </c:pt>
                <c:pt idx="33908">
                  <c:v>-7.8151260504201597E-2</c:v>
                </c:pt>
                <c:pt idx="33909">
                  <c:v>-7.8151260504201597E-2</c:v>
                </c:pt>
                <c:pt idx="33910">
                  <c:v>-7.8151260504201597E-2</c:v>
                </c:pt>
                <c:pt idx="33911">
                  <c:v>-7.8151260504201597E-2</c:v>
                </c:pt>
                <c:pt idx="33912">
                  <c:v>-7.8151260504201597E-2</c:v>
                </c:pt>
                <c:pt idx="33913">
                  <c:v>-7.8151260504201597E-2</c:v>
                </c:pt>
                <c:pt idx="33914">
                  <c:v>-7.8151260504201597E-2</c:v>
                </c:pt>
                <c:pt idx="33915">
                  <c:v>-7.8151260504201597E-2</c:v>
                </c:pt>
                <c:pt idx="33916">
                  <c:v>-7.8151260504201597E-2</c:v>
                </c:pt>
                <c:pt idx="33917">
                  <c:v>-7.8151260504201597E-2</c:v>
                </c:pt>
                <c:pt idx="33918">
                  <c:v>-7.8151260504201597E-2</c:v>
                </c:pt>
                <c:pt idx="33919">
                  <c:v>-7.8151260504201597E-2</c:v>
                </c:pt>
                <c:pt idx="33920">
                  <c:v>-7.8151260504201597E-2</c:v>
                </c:pt>
                <c:pt idx="33921">
                  <c:v>-7.8151260504201597E-2</c:v>
                </c:pt>
                <c:pt idx="33922">
                  <c:v>-7.8151260504201597E-2</c:v>
                </c:pt>
                <c:pt idx="33923">
                  <c:v>-7.8151260504201597E-2</c:v>
                </c:pt>
                <c:pt idx="33924">
                  <c:v>-7.8151260504201597E-2</c:v>
                </c:pt>
                <c:pt idx="33925">
                  <c:v>-7.8151260504201597E-2</c:v>
                </c:pt>
                <c:pt idx="33926">
                  <c:v>-7.8151260504201597E-2</c:v>
                </c:pt>
                <c:pt idx="33927">
                  <c:v>-7.8151260504201597E-2</c:v>
                </c:pt>
                <c:pt idx="33928">
                  <c:v>-7.8151260504201597E-2</c:v>
                </c:pt>
                <c:pt idx="33929">
                  <c:v>-7.8151260504201597E-2</c:v>
                </c:pt>
                <c:pt idx="33930">
                  <c:v>-7.8151260504201597E-2</c:v>
                </c:pt>
                <c:pt idx="33931">
                  <c:v>-7.8151260504201597E-2</c:v>
                </c:pt>
                <c:pt idx="33932">
                  <c:v>-7.8151260504201597E-2</c:v>
                </c:pt>
                <c:pt idx="33933">
                  <c:v>-7.8151260504201597E-2</c:v>
                </c:pt>
                <c:pt idx="33934">
                  <c:v>-7.8151260504201597E-2</c:v>
                </c:pt>
                <c:pt idx="33935">
                  <c:v>-7.8151260504201597E-2</c:v>
                </c:pt>
                <c:pt idx="33936">
                  <c:v>-7.8151260504201597E-2</c:v>
                </c:pt>
                <c:pt idx="33937">
                  <c:v>-7.8151260504201597E-2</c:v>
                </c:pt>
                <c:pt idx="33938">
                  <c:v>-7.8151260504201597E-2</c:v>
                </c:pt>
                <c:pt idx="33939">
                  <c:v>-7.8151260504201597E-2</c:v>
                </c:pt>
                <c:pt idx="33940">
                  <c:v>-7.8151260504201597E-2</c:v>
                </c:pt>
                <c:pt idx="33941">
                  <c:v>-7.8151260504201597E-2</c:v>
                </c:pt>
                <c:pt idx="33942">
                  <c:v>-7.8151260504201597E-2</c:v>
                </c:pt>
                <c:pt idx="33943">
                  <c:v>-7.8151260504201597E-2</c:v>
                </c:pt>
                <c:pt idx="33944">
                  <c:v>-7.8151260504201597E-2</c:v>
                </c:pt>
                <c:pt idx="33945">
                  <c:v>-7.8151260504201597E-2</c:v>
                </c:pt>
                <c:pt idx="33946">
                  <c:v>-7.8151260504201597E-2</c:v>
                </c:pt>
                <c:pt idx="33947">
                  <c:v>-7.8151260504201597E-2</c:v>
                </c:pt>
                <c:pt idx="33948">
                  <c:v>-7.8151260504201597E-2</c:v>
                </c:pt>
                <c:pt idx="33949">
                  <c:v>-7.8151260504201597E-2</c:v>
                </c:pt>
                <c:pt idx="33950">
                  <c:v>-7.8151260504201597E-2</c:v>
                </c:pt>
                <c:pt idx="33951">
                  <c:v>-7.8151260504201597E-2</c:v>
                </c:pt>
                <c:pt idx="33952">
                  <c:v>-7.8151260504201597E-2</c:v>
                </c:pt>
                <c:pt idx="33953">
                  <c:v>-7.8151260504201597E-2</c:v>
                </c:pt>
                <c:pt idx="33954">
                  <c:v>-7.8151260504201597E-2</c:v>
                </c:pt>
                <c:pt idx="33955">
                  <c:v>-7.8151260504201597E-2</c:v>
                </c:pt>
                <c:pt idx="33956">
                  <c:v>-7.8151260504201597E-2</c:v>
                </c:pt>
                <c:pt idx="33957">
                  <c:v>-7.8151260504201597E-2</c:v>
                </c:pt>
                <c:pt idx="33958">
                  <c:v>-7.8151260504201597E-2</c:v>
                </c:pt>
                <c:pt idx="33959">
                  <c:v>-7.8151260504201597E-2</c:v>
                </c:pt>
                <c:pt idx="33960">
                  <c:v>-7.8151260504201597E-2</c:v>
                </c:pt>
                <c:pt idx="33961">
                  <c:v>-7.8151260504201597E-2</c:v>
                </c:pt>
                <c:pt idx="33962">
                  <c:v>-7.8151260504201597E-2</c:v>
                </c:pt>
                <c:pt idx="33963">
                  <c:v>-7.8151260504201597E-2</c:v>
                </c:pt>
                <c:pt idx="33964">
                  <c:v>-7.8151260504201597E-2</c:v>
                </c:pt>
                <c:pt idx="33965">
                  <c:v>-7.8151260504201597E-2</c:v>
                </c:pt>
                <c:pt idx="33966">
                  <c:v>-7.8151260504201597E-2</c:v>
                </c:pt>
                <c:pt idx="33967">
                  <c:v>-7.8151260504201597E-2</c:v>
                </c:pt>
                <c:pt idx="33968">
                  <c:v>-7.8151260504201597E-2</c:v>
                </c:pt>
                <c:pt idx="33969">
                  <c:v>-7.8151260504201597E-2</c:v>
                </c:pt>
                <c:pt idx="33970">
                  <c:v>-7.8151260504201597E-2</c:v>
                </c:pt>
                <c:pt idx="33971">
                  <c:v>-7.8151260504201597E-2</c:v>
                </c:pt>
                <c:pt idx="33972">
                  <c:v>-7.8151260504201597E-2</c:v>
                </c:pt>
                <c:pt idx="33973">
                  <c:v>-7.8151260504201597E-2</c:v>
                </c:pt>
                <c:pt idx="33974">
                  <c:v>-7.8151260504201597E-2</c:v>
                </c:pt>
                <c:pt idx="33975">
                  <c:v>-7.8151260504201597E-2</c:v>
                </c:pt>
                <c:pt idx="33976">
                  <c:v>-7.8151260504201597E-2</c:v>
                </c:pt>
                <c:pt idx="33977">
                  <c:v>-7.8151260504201597E-2</c:v>
                </c:pt>
                <c:pt idx="33978">
                  <c:v>-7.8991596638655404E-2</c:v>
                </c:pt>
                <c:pt idx="33979">
                  <c:v>-7.8991596638655404E-2</c:v>
                </c:pt>
                <c:pt idx="33980">
                  <c:v>-7.8991596638655404E-2</c:v>
                </c:pt>
                <c:pt idx="33981">
                  <c:v>-7.8991596638655404E-2</c:v>
                </c:pt>
                <c:pt idx="33982">
                  <c:v>-7.8151260504201597E-2</c:v>
                </c:pt>
                <c:pt idx="33983">
                  <c:v>-7.8151260504201597E-2</c:v>
                </c:pt>
                <c:pt idx="33984">
                  <c:v>-7.8151260504201597E-2</c:v>
                </c:pt>
                <c:pt idx="33985">
                  <c:v>-7.8151260504201597E-2</c:v>
                </c:pt>
                <c:pt idx="33986">
                  <c:v>-7.8151260504201597E-2</c:v>
                </c:pt>
                <c:pt idx="33987">
                  <c:v>-7.7310924369747805E-2</c:v>
                </c:pt>
                <c:pt idx="33988">
                  <c:v>-7.7310924369747805E-2</c:v>
                </c:pt>
                <c:pt idx="33989">
                  <c:v>-7.6470588235293999E-2</c:v>
                </c:pt>
                <c:pt idx="33990">
                  <c:v>-7.6470588235293999E-2</c:v>
                </c:pt>
                <c:pt idx="33991">
                  <c:v>-7.6470588235293999E-2</c:v>
                </c:pt>
                <c:pt idx="33992">
                  <c:v>-7.6470588235293999E-2</c:v>
                </c:pt>
                <c:pt idx="33993">
                  <c:v>-7.6470588235293999E-2</c:v>
                </c:pt>
                <c:pt idx="33994">
                  <c:v>-7.6470588235293999E-2</c:v>
                </c:pt>
                <c:pt idx="33995">
                  <c:v>-7.6470588235293999E-2</c:v>
                </c:pt>
                <c:pt idx="33996">
                  <c:v>-7.6470588235293999E-2</c:v>
                </c:pt>
                <c:pt idx="33997">
                  <c:v>-7.6470588235293999E-2</c:v>
                </c:pt>
                <c:pt idx="33998">
                  <c:v>-7.6470588235293999E-2</c:v>
                </c:pt>
                <c:pt idx="33999">
                  <c:v>-7.6470588235293999E-2</c:v>
                </c:pt>
                <c:pt idx="34000">
                  <c:v>-7.6470588235293999E-2</c:v>
                </c:pt>
                <c:pt idx="34001">
                  <c:v>-7.6470588235293999E-2</c:v>
                </c:pt>
                <c:pt idx="34002">
                  <c:v>-7.6470588235293999E-2</c:v>
                </c:pt>
                <c:pt idx="34003">
                  <c:v>-7.6470588235293999E-2</c:v>
                </c:pt>
                <c:pt idx="34004">
                  <c:v>-7.6470588235293999E-2</c:v>
                </c:pt>
                <c:pt idx="34005">
                  <c:v>-7.6470588235293999E-2</c:v>
                </c:pt>
                <c:pt idx="34006">
                  <c:v>-7.6470588235293999E-2</c:v>
                </c:pt>
                <c:pt idx="34007">
                  <c:v>-7.6470588235293999E-2</c:v>
                </c:pt>
                <c:pt idx="34008">
                  <c:v>-7.7310924369747805E-2</c:v>
                </c:pt>
                <c:pt idx="34009">
                  <c:v>-7.7310924369747805E-2</c:v>
                </c:pt>
                <c:pt idx="34010">
                  <c:v>-7.7310924369747805E-2</c:v>
                </c:pt>
                <c:pt idx="34011">
                  <c:v>-7.7310924369747805E-2</c:v>
                </c:pt>
                <c:pt idx="34012">
                  <c:v>-7.7310924369747805E-2</c:v>
                </c:pt>
                <c:pt idx="34013">
                  <c:v>-7.7310924369747805E-2</c:v>
                </c:pt>
                <c:pt idx="34014">
                  <c:v>-7.7310924369747805E-2</c:v>
                </c:pt>
                <c:pt idx="34015">
                  <c:v>-7.7310924369747805E-2</c:v>
                </c:pt>
                <c:pt idx="34016">
                  <c:v>-7.7310924369747805E-2</c:v>
                </c:pt>
                <c:pt idx="34017">
                  <c:v>-7.7310924369747805E-2</c:v>
                </c:pt>
                <c:pt idx="34018">
                  <c:v>-7.7310924369747805E-2</c:v>
                </c:pt>
                <c:pt idx="34019">
                  <c:v>-7.7310924369747805E-2</c:v>
                </c:pt>
                <c:pt idx="34020">
                  <c:v>-7.7310924369747805E-2</c:v>
                </c:pt>
                <c:pt idx="34021">
                  <c:v>-7.7310924369747805E-2</c:v>
                </c:pt>
                <c:pt idx="34022">
                  <c:v>-7.7310924369747805E-2</c:v>
                </c:pt>
                <c:pt idx="34023">
                  <c:v>-7.7310924369747805E-2</c:v>
                </c:pt>
                <c:pt idx="34024">
                  <c:v>-7.7310924369747805E-2</c:v>
                </c:pt>
                <c:pt idx="34025">
                  <c:v>-7.7310924369747805E-2</c:v>
                </c:pt>
                <c:pt idx="34026">
                  <c:v>-7.7310924369747805E-2</c:v>
                </c:pt>
                <c:pt idx="34027">
                  <c:v>-7.7310924369747805E-2</c:v>
                </c:pt>
                <c:pt idx="34028">
                  <c:v>-7.7310924369747805E-2</c:v>
                </c:pt>
                <c:pt idx="34029">
                  <c:v>-7.7310924369747805E-2</c:v>
                </c:pt>
                <c:pt idx="34030">
                  <c:v>-7.7310924369747805E-2</c:v>
                </c:pt>
                <c:pt idx="34031">
                  <c:v>-7.7310924369747805E-2</c:v>
                </c:pt>
                <c:pt idx="34032">
                  <c:v>-7.7310924369747805E-2</c:v>
                </c:pt>
                <c:pt idx="34033">
                  <c:v>-7.7310924369747805E-2</c:v>
                </c:pt>
                <c:pt idx="34034">
                  <c:v>-7.7310924369747805E-2</c:v>
                </c:pt>
                <c:pt idx="34035">
                  <c:v>-7.7310924369747805E-2</c:v>
                </c:pt>
                <c:pt idx="34036">
                  <c:v>-7.7310924369747805E-2</c:v>
                </c:pt>
                <c:pt idx="34037">
                  <c:v>-7.7310924369747805E-2</c:v>
                </c:pt>
                <c:pt idx="34038">
                  <c:v>-7.7310924369747805E-2</c:v>
                </c:pt>
                <c:pt idx="34039">
                  <c:v>-7.7310924369747805E-2</c:v>
                </c:pt>
                <c:pt idx="34040">
                  <c:v>-7.7310924369747805E-2</c:v>
                </c:pt>
                <c:pt idx="34041">
                  <c:v>-7.7310924369747805E-2</c:v>
                </c:pt>
                <c:pt idx="34042">
                  <c:v>-7.7310924369747805E-2</c:v>
                </c:pt>
                <c:pt idx="34043">
                  <c:v>-7.7310924369747805E-2</c:v>
                </c:pt>
                <c:pt idx="34044">
                  <c:v>-7.7310924369747805E-2</c:v>
                </c:pt>
                <c:pt idx="34045">
                  <c:v>-7.7310924369747805E-2</c:v>
                </c:pt>
                <c:pt idx="34046">
                  <c:v>-7.7310924369747805E-2</c:v>
                </c:pt>
                <c:pt idx="34047">
                  <c:v>-7.7310924369747805E-2</c:v>
                </c:pt>
                <c:pt idx="34048">
                  <c:v>-7.7310924369747805E-2</c:v>
                </c:pt>
                <c:pt idx="34049">
                  <c:v>-7.7310924369747805E-2</c:v>
                </c:pt>
                <c:pt idx="34050">
                  <c:v>-7.7310924369747805E-2</c:v>
                </c:pt>
                <c:pt idx="34051">
                  <c:v>-7.7310924369747805E-2</c:v>
                </c:pt>
                <c:pt idx="34052">
                  <c:v>-7.7310924369747805E-2</c:v>
                </c:pt>
                <c:pt idx="34053">
                  <c:v>-7.7310924369747805E-2</c:v>
                </c:pt>
                <c:pt idx="34054">
                  <c:v>-7.7310924369747805E-2</c:v>
                </c:pt>
                <c:pt idx="34055">
                  <c:v>-7.7310924369747805E-2</c:v>
                </c:pt>
                <c:pt idx="34056">
                  <c:v>-7.7310924369747805E-2</c:v>
                </c:pt>
                <c:pt idx="34057">
                  <c:v>-7.7310924369747805E-2</c:v>
                </c:pt>
                <c:pt idx="34058">
                  <c:v>-7.8151260504201597E-2</c:v>
                </c:pt>
                <c:pt idx="34059">
                  <c:v>-7.8151260504201597E-2</c:v>
                </c:pt>
                <c:pt idx="34060">
                  <c:v>-7.8151260504201597E-2</c:v>
                </c:pt>
                <c:pt idx="34061">
                  <c:v>-7.8151260504201597E-2</c:v>
                </c:pt>
                <c:pt idx="34062">
                  <c:v>-7.8151260504201597E-2</c:v>
                </c:pt>
                <c:pt idx="34063">
                  <c:v>-7.8151260504201597E-2</c:v>
                </c:pt>
                <c:pt idx="34064">
                  <c:v>-7.8151260504201597E-2</c:v>
                </c:pt>
                <c:pt idx="34065">
                  <c:v>-7.8151260504201597E-2</c:v>
                </c:pt>
                <c:pt idx="34066">
                  <c:v>-7.8151260504201597E-2</c:v>
                </c:pt>
                <c:pt idx="34067">
                  <c:v>-7.8151260504201597E-2</c:v>
                </c:pt>
                <c:pt idx="34068">
                  <c:v>-7.8151260504201597E-2</c:v>
                </c:pt>
                <c:pt idx="34069">
                  <c:v>-7.8151260504201597E-2</c:v>
                </c:pt>
                <c:pt idx="34070">
                  <c:v>-7.8151260504201597E-2</c:v>
                </c:pt>
                <c:pt idx="34071">
                  <c:v>-7.8151260504201597E-2</c:v>
                </c:pt>
                <c:pt idx="34072">
                  <c:v>-7.8151260504201597E-2</c:v>
                </c:pt>
                <c:pt idx="34073">
                  <c:v>-7.8151260504201597E-2</c:v>
                </c:pt>
                <c:pt idx="34074">
                  <c:v>-7.8151260504201597E-2</c:v>
                </c:pt>
                <c:pt idx="34075">
                  <c:v>-7.8151260504201597E-2</c:v>
                </c:pt>
                <c:pt idx="34076">
                  <c:v>-7.8151260504201597E-2</c:v>
                </c:pt>
                <c:pt idx="34077">
                  <c:v>-7.8151260504201597E-2</c:v>
                </c:pt>
                <c:pt idx="34078">
                  <c:v>-7.8151260504201597E-2</c:v>
                </c:pt>
                <c:pt idx="34079">
                  <c:v>-7.8151260504201597E-2</c:v>
                </c:pt>
                <c:pt idx="34080">
                  <c:v>-7.8151260504201597E-2</c:v>
                </c:pt>
                <c:pt idx="34081">
                  <c:v>-7.8151260504201597E-2</c:v>
                </c:pt>
                <c:pt idx="34082">
                  <c:v>-7.8151260504201597E-2</c:v>
                </c:pt>
                <c:pt idx="34083">
                  <c:v>-7.8151260504201597E-2</c:v>
                </c:pt>
                <c:pt idx="34084">
                  <c:v>-7.8151260504201597E-2</c:v>
                </c:pt>
                <c:pt idx="34085">
                  <c:v>-7.8151260504201597E-2</c:v>
                </c:pt>
                <c:pt idx="34086">
                  <c:v>-7.8151260504201597E-2</c:v>
                </c:pt>
                <c:pt idx="34087">
                  <c:v>-7.8151260504201597E-2</c:v>
                </c:pt>
                <c:pt idx="34088">
                  <c:v>-7.8151260504201597E-2</c:v>
                </c:pt>
                <c:pt idx="34089">
                  <c:v>-7.8151260504201597E-2</c:v>
                </c:pt>
                <c:pt idx="34090">
                  <c:v>-7.8151260504201597E-2</c:v>
                </c:pt>
                <c:pt idx="34091">
                  <c:v>-7.8151260504201597E-2</c:v>
                </c:pt>
                <c:pt idx="34092">
                  <c:v>-7.8151260504201597E-2</c:v>
                </c:pt>
                <c:pt idx="34093">
                  <c:v>-7.8151260504201597E-2</c:v>
                </c:pt>
                <c:pt idx="34094">
                  <c:v>-7.8151260504201597E-2</c:v>
                </c:pt>
                <c:pt idx="34095">
                  <c:v>-7.8151260504201597E-2</c:v>
                </c:pt>
                <c:pt idx="34096">
                  <c:v>-7.8151260504201597E-2</c:v>
                </c:pt>
                <c:pt idx="34097">
                  <c:v>-7.8991596638655404E-2</c:v>
                </c:pt>
                <c:pt idx="34098">
                  <c:v>-7.8991596638655404E-2</c:v>
                </c:pt>
                <c:pt idx="34099">
                  <c:v>-7.8991596638655404E-2</c:v>
                </c:pt>
                <c:pt idx="34100">
                  <c:v>-7.8991596638655404E-2</c:v>
                </c:pt>
                <c:pt idx="34101">
                  <c:v>-7.8991596638655404E-2</c:v>
                </c:pt>
                <c:pt idx="34102">
                  <c:v>-7.8991596638655404E-2</c:v>
                </c:pt>
                <c:pt idx="34103">
                  <c:v>-7.8991596638655404E-2</c:v>
                </c:pt>
                <c:pt idx="34104">
                  <c:v>-7.8991596638655404E-2</c:v>
                </c:pt>
                <c:pt idx="34105">
                  <c:v>-7.8991596638655404E-2</c:v>
                </c:pt>
                <c:pt idx="34106">
                  <c:v>-7.8991596638655404E-2</c:v>
                </c:pt>
                <c:pt idx="34107">
                  <c:v>-7.8991596638655404E-2</c:v>
                </c:pt>
                <c:pt idx="34108">
                  <c:v>-7.8991596638655404E-2</c:v>
                </c:pt>
                <c:pt idx="34109">
                  <c:v>-7.8991596638655404E-2</c:v>
                </c:pt>
                <c:pt idx="34110">
                  <c:v>-7.8991596638655404E-2</c:v>
                </c:pt>
                <c:pt idx="34111">
                  <c:v>-7.8991596638655404E-2</c:v>
                </c:pt>
                <c:pt idx="34112">
                  <c:v>-7.8991596638655404E-2</c:v>
                </c:pt>
                <c:pt idx="34113">
                  <c:v>-7.8991596638655404E-2</c:v>
                </c:pt>
                <c:pt idx="34114">
                  <c:v>-7.8991596638655404E-2</c:v>
                </c:pt>
                <c:pt idx="34115">
                  <c:v>-7.8991596638655404E-2</c:v>
                </c:pt>
                <c:pt idx="34116">
                  <c:v>-7.8991596638655404E-2</c:v>
                </c:pt>
                <c:pt idx="34117">
                  <c:v>-7.8991596638655404E-2</c:v>
                </c:pt>
                <c:pt idx="34118">
                  <c:v>-7.8991596638655404E-2</c:v>
                </c:pt>
                <c:pt idx="34119">
                  <c:v>-7.8991596638655404E-2</c:v>
                </c:pt>
                <c:pt idx="34120">
                  <c:v>-7.8991596638655404E-2</c:v>
                </c:pt>
                <c:pt idx="34121">
                  <c:v>-7.8991596638655404E-2</c:v>
                </c:pt>
                <c:pt idx="34122">
                  <c:v>-7.8991596638655404E-2</c:v>
                </c:pt>
                <c:pt idx="34123">
                  <c:v>-7.8991596638655404E-2</c:v>
                </c:pt>
                <c:pt idx="34124">
                  <c:v>-7.8991596638655404E-2</c:v>
                </c:pt>
                <c:pt idx="34125">
                  <c:v>-7.8991596638655404E-2</c:v>
                </c:pt>
                <c:pt idx="34126">
                  <c:v>-7.8991596638655404E-2</c:v>
                </c:pt>
                <c:pt idx="34127">
                  <c:v>-7.8991596638655404E-2</c:v>
                </c:pt>
                <c:pt idx="34128">
                  <c:v>-7.8991596638655404E-2</c:v>
                </c:pt>
                <c:pt idx="34129">
                  <c:v>-7.8991596638655404E-2</c:v>
                </c:pt>
                <c:pt idx="34130">
                  <c:v>-7.8991596638655404E-2</c:v>
                </c:pt>
                <c:pt idx="34131">
                  <c:v>-7.8991596638655404E-2</c:v>
                </c:pt>
                <c:pt idx="34132">
                  <c:v>-7.8991596638655404E-2</c:v>
                </c:pt>
                <c:pt idx="34133">
                  <c:v>-7.8991596638655404E-2</c:v>
                </c:pt>
                <c:pt idx="34134">
                  <c:v>-7.8991596638655404E-2</c:v>
                </c:pt>
                <c:pt idx="34135">
                  <c:v>-7.8991596638655404E-2</c:v>
                </c:pt>
                <c:pt idx="34136">
                  <c:v>-7.8991596638655404E-2</c:v>
                </c:pt>
                <c:pt idx="34137">
                  <c:v>-7.8991596638655404E-2</c:v>
                </c:pt>
                <c:pt idx="34138">
                  <c:v>-7.8991596638655404E-2</c:v>
                </c:pt>
                <c:pt idx="34139">
                  <c:v>-7.8991596638655404E-2</c:v>
                </c:pt>
                <c:pt idx="34140">
                  <c:v>-7.8991596638655404E-2</c:v>
                </c:pt>
                <c:pt idx="34141">
                  <c:v>-7.8991596638655404E-2</c:v>
                </c:pt>
                <c:pt idx="34142">
                  <c:v>-7.8991596638655404E-2</c:v>
                </c:pt>
                <c:pt idx="34143">
                  <c:v>-7.8991596638655404E-2</c:v>
                </c:pt>
                <c:pt idx="34144">
                  <c:v>-7.8991596638655404E-2</c:v>
                </c:pt>
                <c:pt idx="34145">
                  <c:v>-7.8991596638655404E-2</c:v>
                </c:pt>
                <c:pt idx="34146">
                  <c:v>-7.8991596638655404E-2</c:v>
                </c:pt>
                <c:pt idx="34147">
                  <c:v>-7.8991596638655404E-2</c:v>
                </c:pt>
                <c:pt idx="34148">
                  <c:v>-7.8991596638655404E-2</c:v>
                </c:pt>
                <c:pt idx="34149">
                  <c:v>-7.8991596638655404E-2</c:v>
                </c:pt>
                <c:pt idx="34150">
                  <c:v>-7.8991596638655404E-2</c:v>
                </c:pt>
                <c:pt idx="34151">
                  <c:v>-7.8991596638655404E-2</c:v>
                </c:pt>
                <c:pt idx="34152">
                  <c:v>-7.8991596638655404E-2</c:v>
                </c:pt>
                <c:pt idx="34153">
                  <c:v>-7.8991596638655404E-2</c:v>
                </c:pt>
                <c:pt idx="34154">
                  <c:v>-7.8991596638655404E-2</c:v>
                </c:pt>
                <c:pt idx="34155">
                  <c:v>-7.8991596638655404E-2</c:v>
                </c:pt>
                <c:pt idx="34156">
                  <c:v>-7.8991596638655404E-2</c:v>
                </c:pt>
                <c:pt idx="34157">
                  <c:v>-7.8991596638655404E-2</c:v>
                </c:pt>
                <c:pt idx="34158">
                  <c:v>-7.8991596638655404E-2</c:v>
                </c:pt>
                <c:pt idx="34159">
                  <c:v>-7.8991596638655404E-2</c:v>
                </c:pt>
                <c:pt idx="34160">
                  <c:v>-7.8991596638655404E-2</c:v>
                </c:pt>
                <c:pt idx="34161">
                  <c:v>-7.8991596638655404E-2</c:v>
                </c:pt>
                <c:pt idx="34162">
                  <c:v>-7.8991596638655404E-2</c:v>
                </c:pt>
                <c:pt idx="34163">
                  <c:v>-7.8991596638655404E-2</c:v>
                </c:pt>
                <c:pt idx="34164">
                  <c:v>-7.8991596638655404E-2</c:v>
                </c:pt>
                <c:pt idx="34165">
                  <c:v>-7.8991596638655404E-2</c:v>
                </c:pt>
                <c:pt idx="34166">
                  <c:v>-7.8991596638655404E-2</c:v>
                </c:pt>
                <c:pt idx="34167">
                  <c:v>-7.8991596638655404E-2</c:v>
                </c:pt>
                <c:pt idx="34168">
                  <c:v>-7.8991596638655404E-2</c:v>
                </c:pt>
                <c:pt idx="34169">
                  <c:v>-7.8991596638655404E-2</c:v>
                </c:pt>
                <c:pt idx="34170">
                  <c:v>-7.8991596638655404E-2</c:v>
                </c:pt>
                <c:pt idx="34171">
                  <c:v>-7.8991596638655404E-2</c:v>
                </c:pt>
                <c:pt idx="34172">
                  <c:v>-7.8991596638655404E-2</c:v>
                </c:pt>
                <c:pt idx="34173">
                  <c:v>-7.8991596638655404E-2</c:v>
                </c:pt>
                <c:pt idx="34174">
                  <c:v>-7.8991596638655404E-2</c:v>
                </c:pt>
                <c:pt idx="34175">
                  <c:v>-7.8991596638655404E-2</c:v>
                </c:pt>
                <c:pt idx="34176">
                  <c:v>-7.8991596638655404E-2</c:v>
                </c:pt>
                <c:pt idx="34177">
                  <c:v>-7.8991596638655404E-2</c:v>
                </c:pt>
                <c:pt idx="34178">
                  <c:v>-7.8991596638655404E-2</c:v>
                </c:pt>
                <c:pt idx="34179">
                  <c:v>-7.8991596638655404E-2</c:v>
                </c:pt>
                <c:pt idx="34180">
                  <c:v>-7.8991596638655404E-2</c:v>
                </c:pt>
                <c:pt idx="34181">
                  <c:v>-7.8991596638655404E-2</c:v>
                </c:pt>
                <c:pt idx="34182">
                  <c:v>-7.8991596638655404E-2</c:v>
                </c:pt>
                <c:pt idx="34183">
                  <c:v>-7.8991596638655404E-2</c:v>
                </c:pt>
                <c:pt idx="34184">
                  <c:v>-7.8991596638655404E-2</c:v>
                </c:pt>
                <c:pt idx="34185">
                  <c:v>-7.8991596638655404E-2</c:v>
                </c:pt>
                <c:pt idx="34186">
                  <c:v>-7.8991596638655404E-2</c:v>
                </c:pt>
                <c:pt idx="34187">
                  <c:v>-7.8991596638655404E-2</c:v>
                </c:pt>
                <c:pt idx="34188">
                  <c:v>-7.8991596638655404E-2</c:v>
                </c:pt>
                <c:pt idx="34189">
                  <c:v>-7.8991596638655404E-2</c:v>
                </c:pt>
                <c:pt idx="34190">
                  <c:v>-7.8991596638655404E-2</c:v>
                </c:pt>
                <c:pt idx="34191">
                  <c:v>-7.8991596638655404E-2</c:v>
                </c:pt>
                <c:pt idx="34192">
                  <c:v>-7.8991596638655404E-2</c:v>
                </c:pt>
                <c:pt idx="34193">
                  <c:v>-7.8991596638655404E-2</c:v>
                </c:pt>
                <c:pt idx="34194">
                  <c:v>-7.8991596638655404E-2</c:v>
                </c:pt>
                <c:pt idx="34195">
                  <c:v>-7.8991596638655404E-2</c:v>
                </c:pt>
                <c:pt idx="34196">
                  <c:v>-7.8991596638655404E-2</c:v>
                </c:pt>
                <c:pt idx="34197">
                  <c:v>-7.8991596638655404E-2</c:v>
                </c:pt>
                <c:pt idx="34198">
                  <c:v>-7.8991596638655404E-2</c:v>
                </c:pt>
                <c:pt idx="34199">
                  <c:v>-7.8991596638655404E-2</c:v>
                </c:pt>
                <c:pt idx="34200">
                  <c:v>-7.8991596638655404E-2</c:v>
                </c:pt>
                <c:pt idx="34201">
                  <c:v>-7.8991596638655404E-2</c:v>
                </c:pt>
                <c:pt idx="34202">
                  <c:v>-7.8991596638655404E-2</c:v>
                </c:pt>
                <c:pt idx="34203">
                  <c:v>-7.8991596638655404E-2</c:v>
                </c:pt>
                <c:pt idx="34204">
                  <c:v>-7.8991596638655404E-2</c:v>
                </c:pt>
                <c:pt idx="34205">
                  <c:v>-7.8991596638655404E-2</c:v>
                </c:pt>
                <c:pt idx="34206">
                  <c:v>-7.8991596638655404E-2</c:v>
                </c:pt>
                <c:pt idx="34207">
                  <c:v>-7.8991596638655404E-2</c:v>
                </c:pt>
                <c:pt idx="34208">
                  <c:v>-7.8991596638655404E-2</c:v>
                </c:pt>
                <c:pt idx="34209">
                  <c:v>-7.8991596638655404E-2</c:v>
                </c:pt>
                <c:pt idx="34210">
                  <c:v>-7.8991596638655404E-2</c:v>
                </c:pt>
                <c:pt idx="34211">
                  <c:v>-7.8991596638655404E-2</c:v>
                </c:pt>
                <c:pt idx="34212">
                  <c:v>-7.8991596638655404E-2</c:v>
                </c:pt>
                <c:pt idx="34213">
                  <c:v>-7.8991596638655404E-2</c:v>
                </c:pt>
                <c:pt idx="34214">
                  <c:v>-7.8991596638655404E-2</c:v>
                </c:pt>
                <c:pt idx="34215">
                  <c:v>-7.8991596638655404E-2</c:v>
                </c:pt>
                <c:pt idx="34216">
                  <c:v>-7.8991596638655404E-2</c:v>
                </c:pt>
                <c:pt idx="34217">
                  <c:v>-7.8151260504201597E-2</c:v>
                </c:pt>
                <c:pt idx="34218">
                  <c:v>-7.8151260504201597E-2</c:v>
                </c:pt>
                <c:pt idx="34219">
                  <c:v>-7.8151260504201597E-2</c:v>
                </c:pt>
                <c:pt idx="34220">
                  <c:v>-7.8151260504201597E-2</c:v>
                </c:pt>
                <c:pt idx="34221">
                  <c:v>-7.8151260504201597E-2</c:v>
                </c:pt>
                <c:pt idx="34222">
                  <c:v>-7.8151260504201597E-2</c:v>
                </c:pt>
                <c:pt idx="34223">
                  <c:v>-7.7310924369747805E-2</c:v>
                </c:pt>
                <c:pt idx="34224">
                  <c:v>-7.6470588235293999E-2</c:v>
                </c:pt>
                <c:pt idx="34225">
                  <c:v>-7.6470588235293999E-2</c:v>
                </c:pt>
                <c:pt idx="34226">
                  <c:v>-7.6470588235293999E-2</c:v>
                </c:pt>
                <c:pt idx="34227">
                  <c:v>-7.6470588235293999E-2</c:v>
                </c:pt>
                <c:pt idx="34228">
                  <c:v>-7.6470588235293999E-2</c:v>
                </c:pt>
                <c:pt idx="34229">
                  <c:v>-7.6470588235293999E-2</c:v>
                </c:pt>
                <c:pt idx="34230">
                  <c:v>-7.5630252100840206E-2</c:v>
                </c:pt>
                <c:pt idx="34231">
                  <c:v>-7.5630252100840206E-2</c:v>
                </c:pt>
                <c:pt idx="34232">
                  <c:v>-7.5630252100840206E-2</c:v>
                </c:pt>
                <c:pt idx="34233">
                  <c:v>-7.5630252100840206E-2</c:v>
                </c:pt>
                <c:pt idx="34234">
                  <c:v>-7.5630252100840206E-2</c:v>
                </c:pt>
                <c:pt idx="34235">
                  <c:v>-7.5630252100840206E-2</c:v>
                </c:pt>
                <c:pt idx="34236">
                  <c:v>-7.5630252100840206E-2</c:v>
                </c:pt>
                <c:pt idx="34237">
                  <c:v>-7.5630252100840206E-2</c:v>
                </c:pt>
                <c:pt idx="34238">
                  <c:v>-7.5630252100840206E-2</c:v>
                </c:pt>
                <c:pt idx="34239">
                  <c:v>-7.5630252100840206E-2</c:v>
                </c:pt>
                <c:pt idx="34240">
                  <c:v>-7.5630252100840206E-2</c:v>
                </c:pt>
                <c:pt idx="34241">
                  <c:v>-7.5630252100840206E-2</c:v>
                </c:pt>
                <c:pt idx="34242">
                  <c:v>-7.5630252100840206E-2</c:v>
                </c:pt>
                <c:pt idx="34243">
                  <c:v>-7.5630252100840206E-2</c:v>
                </c:pt>
                <c:pt idx="34244">
                  <c:v>-7.5630252100840206E-2</c:v>
                </c:pt>
                <c:pt idx="34245">
                  <c:v>-7.5630252100840206E-2</c:v>
                </c:pt>
                <c:pt idx="34246">
                  <c:v>-7.5630252100840206E-2</c:v>
                </c:pt>
                <c:pt idx="34247">
                  <c:v>-7.5630252100840206E-2</c:v>
                </c:pt>
                <c:pt idx="34248">
                  <c:v>-7.5630252100840206E-2</c:v>
                </c:pt>
                <c:pt idx="34249">
                  <c:v>-7.5630252100840206E-2</c:v>
                </c:pt>
                <c:pt idx="34250">
                  <c:v>-7.5630252100840206E-2</c:v>
                </c:pt>
                <c:pt idx="34251">
                  <c:v>-7.5630252100840206E-2</c:v>
                </c:pt>
                <c:pt idx="34252">
                  <c:v>-7.5630252100840206E-2</c:v>
                </c:pt>
                <c:pt idx="34253">
                  <c:v>-7.5630252100840206E-2</c:v>
                </c:pt>
                <c:pt idx="34254">
                  <c:v>-7.5630252100840206E-2</c:v>
                </c:pt>
                <c:pt idx="34255">
                  <c:v>-7.5630252100840206E-2</c:v>
                </c:pt>
                <c:pt idx="34256">
                  <c:v>-7.5630252100840206E-2</c:v>
                </c:pt>
                <c:pt idx="34257">
                  <c:v>-7.5630252100840206E-2</c:v>
                </c:pt>
                <c:pt idx="34258">
                  <c:v>-7.5630252100840206E-2</c:v>
                </c:pt>
                <c:pt idx="34259">
                  <c:v>-7.5630252100840206E-2</c:v>
                </c:pt>
                <c:pt idx="34260">
                  <c:v>-7.5630252100840206E-2</c:v>
                </c:pt>
                <c:pt idx="34261">
                  <c:v>-7.5630252100840206E-2</c:v>
                </c:pt>
                <c:pt idx="34262">
                  <c:v>-7.5630252100840206E-2</c:v>
                </c:pt>
                <c:pt idx="34263">
                  <c:v>-7.5630252100840206E-2</c:v>
                </c:pt>
                <c:pt idx="34264">
                  <c:v>-7.5630252100840206E-2</c:v>
                </c:pt>
                <c:pt idx="34265">
                  <c:v>-7.5630252100840206E-2</c:v>
                </c:pt>
                <c:pt idx="34266">
                  <c:v>-7.5630252100840206E-2</c:v>
                </c:pt>
                <c:pt idx="34267">
                  <c:v>-7.5630252100840206E-2</c:v>
                </c:pt>
                <c:pt idx="34268">
                  <c:v>-7.5630252100840206E-2</c:v>
                </c:pt>
                <c:pt idx="34269">
                  <c:v>-7.5630252100840206E-2</c:v>
                </c:pt>
                <c:pt idx="34270">
                  <c:v>-7.5630252100840206E-2</c:v>
                </c:pt>
                <c:pt idx="34271">
                  <c:v>-7.5630252100840206E-2</c:v>
                </c:pt>
                <c:pt idx="34272">
                  <c:v>-7.5630252100840206E-2</c:v>
                </c:pt>
                <c:pt idx="34273">
                  <c:v>-7.5630252100840206E-2</c:v>
                </c:pt>
                <c:pt idx="34274">
                  <c:v>-7.5630252100840206E-2</c:v>
                </c:pt>
                <c:pt idx="34275">
                  <c:v>-7.5630252100840206E-2</c:v>
                </c:pt>
                <c:pt idx="34276">
                  <c:v>-7.5630252100840206E-2</c:v>
                </c:pt>
                <c:pt idx="34277">
                  <c:v>-7.5630252100840206E-2</c:v>
                </c:pt>
                <c:pt idx="34278">
                  <c:v>-7.5630252100840206E-2</c:v>
                </c:pt>
                <c:pt idx="34279">
                  <c:v>-7.5630252100840206E-2</c:v>
                </c:pt>
                <c:pt idx="34280">
                  <c:v>-7.5630252100840206E-2</c:v>
                </c:pt>
                <c:pt idx="34281">
                  <c:v>-7.5630252100840206E-2</c:v>
                </c:pt>
                <c:pt idx="34282">
                  <c:v>-7.5630252100840206E-2</c:v>
                </c:pt>
                <c:pt idx="34283">
                  <c:v>-7.5630252100840206E-2</c:v>
                </c:pt>
                <c:pt idx="34284">
                  <c:v>-7.5630252100840206E-2</c:v>
                </c:pt>
                <c:pt idx="34285">
                  <c:v>-7.5630252100840206E-2</c:v>
                </c:pt>
                <c:pt idx="34286">
                  <c:v>-7.5630252100840206E-2</c:v>
                </c:pt>
                <c:pt idx="34287">
                  <c:v>-7.5630252100840206E-2</c:v>
                </c:pt>
                <c:pt idx="34288">
                  <c:v>-7.5630252100840206E-2</c:v>
                </c:pt>
                <c:pt idx="34289">
                  <c:v>-7.5630252100840206E-2</c:v>
                </c:pt>
                <c:pt idx="34290">
                  <c:v>-7.5630252100840206E-2</c:v>
                </c:pt>
                <c:pt idx="34291">
                  <c:v>-7.5630252100840206E-2</c:v>
                </c:pt>
                <c:pt idx="34292">
                  <c:v>-7.5630252100840206E-2</c:v>
                </c:pt>
                <c:pt idx="34293">
                  <c:v>-7.5630252100840206E-2</c:v>
                </c:pt>
                <c:pt idx="34294">
                  <c:v>-7.5630252100840206E-2</c:v>
                </c:pt>
                <c:pt idx="34295">
                  <c:v>-7.5630252100840206E-2</c:v>
                </c:pt>
                <c:pt idx="34296">
                  <c:v>-7.5630252100840206E-2</c:v>
                </c:pt>
                <c:pt idx="34297">
                  <c:v>-7.5630252100840206E-2</c:v>
                </c:pt>
                <c:pt idx="34298">
                  <c:v>-7.5630252100840206E-2</c:v>
                </c:pt>
                <c:pt idx="34299">
                  <c:v>-7.5630252100840206E-2</c:v>
                </c:pt>
                <c:pt idx="34300">
                  <c:v>-7.5630252100840206E-2</c:v>
                </c:pt>
                <c:pt idx="34301">
                  <c:v>-7.5630252100840206E-2</c:v>
                </c:pt>
                <c:pt idx="34302">
                  <c:v>-7.5630252100840206E-2</c:v>
                </c:pt>
                <c:pt idx="34303">
                  <c:v>-7.5630252100840206E-2</c:v>
                </c:pt>
                <c:pt idx="34304">
                  <c:v>-7.5630252100840206E-2</c:v>
                </c:pt>
                <c:pt idx="34305">
                  <c:v>-7.5630252100840206E-2</c:v>
                </c:pt>
                <c:pt idx="34306">
                  <c:v>-7.5630252100840206E-2</c:v>
                </c:pt>
                <c:pt idx="34307">
                  <c:v>-7.5630252100840206E-2</c:v>
                </c:pt>
                <c:pt idx="34308">
                  <c:v>-7.5630252100840206E-2</c:v>
                </c:pt>
                <c:pt idx="34309">
                  <c:v>-7.5630252100840206E-2</c:v>
                </c:pt>
                <c:pt idx="34310">
                  <c:v>-7.5630252100840206E-2</c:v>
                </c:pt>
                <c:pt idx="34311">
                  <c:v>-7.5630252100840206E-2</c:v>
                </c:pt>
                <c:pt idx="34312">
                  <c:v>-7.5630252100840206E-2</c:v>
                </c:pt>
                <c:pt idx="34313">
                  <c:v>-7.5630252100840206E-2</c:v>
                </c:pt>
                <c:pt idx="34314">
                  <c:v>-7.5630252100840206E-2</c:v>
                </c:pt>
                <c:pt idx="34315">
                  <c:v>-7.5630252100840206E-2</c:v>
                </c:pt>
                <c:pt idx="34316">
                  <c:v>-7.5630252100840206E-2</c:v>
                </c:pt>
                <c:pt idx="34317">
                  <c:v>-7.5630252100840206E-2</c:v>
                </c:pt>
                <c:pt idx="34318">
                  <c:v>-7.5630252100840206E-2</c:v>
                </c:pt>
                <c:pt idx="34319">
                  <c:v>-7.5630252100840206E-2</c:v>
                </c:pt>
                <c:pt idx="34320">
                  <c:v>-7.5630252100840206E-2</c:v>
                </c:pt>
                <c:pt idx="34321">
                  <c:v>-7.5630252100840206E-2</c:v>
                </c:pt>
                <c:pt idx="34322">
                  <c:v>-7.5630252100840206E-2</c:v>
                </c:pt>
                <c:pt idx="34323">
                  <c:v>-7.5630252100840206E-2</c:v>
                </c:pt>
                <c:pt idx="34324">
                  <c:v>-7.5630252100840206E-2</c:v>
                </c:pt>
                <c:pt idx="34325">
                  <c:v>-7.5630252100840206E-2</c:v>
                </c:pt>
                <c:pt idx="34326">
                  <c:v>-7.4789915966386497E-2</c:v>
                </c:pt>
                <c:pt idx="34327">
                  <c:v>-7.4789915966386497E-2</c:v>
                </c:pt>
                <c:pt idx="34328">
                  <c:v>-7.4789915966386497E-2</c:v>
                </c:pt>
                <c:pt idx="34329">
                  <c:v>-7.4789915966386497E-2</c:v>
                </c:pt>
                <c:pt idx="34330">
                  <c:v>-7.4789915966386497E-2</c:v>
                </c:pt>
                <c:pt idx="34331">
                  <c:v>-7.4789915966386497E-2</c:v>
                </c:pt>
                <c:pt idx="34332">
                  <c:v>-7.4789915966386497E-2</c:v>
                </c:pt>
                <c:pt idx="34333">
                  <c:v>-7.4789915966386497E-2</c:v>
                </c:pt>
                <c:pt idx="34334">
                  <c:v>-7.4789915966386497E-2</c:v>
                </c:pt>
                <c:pt idx="34335">
                  <c:v>-7.4789915966386497E-2</c:v>
                </c:pt>
                <c:pt idx="34336">
                  <c:v>-7.4789915966386497E-2</c:v>
                </c:pt>
                <c:pt idx="34337">
                  <c:v>-7.4789915966386497E-2</c:v>
                </c:pt>
                <c:pt idx="34338">
                  <c:v>-7.4789915966386497E-2</c:v>
                </c:pt>
                <c:pt idx="34339">
                  <c:v>-7.4789915966386497E-2</c:v>
                </c:pt>
                <c:pt idx="34340">
                  <c:v>-7.4789915966386497E-2</c:v>
                </c:pt>
                <c:pt idx="34341">
                  <c:v>-7.4789915966386497E-2</c:v>
                </c:pt>
                <c:pt idx="34342">
                  <c:v>-7.4789915966386497E-2</c:v>
                </c:pt>
                <c:pt idx="34343">
                  <c:v>-7.4789915966386497E-2</c:v>
                </c:pt>
                <c:pt idx="34344">
                  <c:v>-7.4789915966386497E-2</c:v>
                </c:pt>
                <c:pt idx="34345">
                  <c:v>-7.4789915966386497E-2</c:v>
                </c:pt>
                <c:pt idx="34346">
                  <c:v>-7.4789915966386497E-2</c:v>
                </c:pt>
                <c:pt idx="34347">
                  <c:v>-7.4789915966386497E-2</c:v>
                </c:pt>
                <c:pt idx="34348">
                  <c:v>-7.4789915966386497E-2</c:v>
                </c:pt>
                <c:pt idx="34349">
                  <c:v>-7.4789915966386497E-2</c:v>
                </c:pt>
                <c:pt idx="34350">
                  <c:v>-7.4789915966386497E-2</c:v>
                </c:pt>
                <c:pt idx="34351">
                  <c:v>-7.4789915966386497E-2</c:v>
                </c:pt>
                <c:pt idx="34352">
                  <c:v>-7.4789915966386497E-2</c:v>
                </c:pt>
                <c:pt idx="34353">
                  <c:v>-7.4789915966386497E-2</c:v>
                </c:pt>
                <c:pt idx="34354">
                  <c:v>-7.4789915966386497E-2</c:v>
                </c:pt>
                <c:pt idx="34355">
                  <c:v>-7.4789915966386497E-2</c:v>
                </c:pt>
                <c:pt idx="34356">
                  <c:v>-7.4789915966386497E-2</c:v>
                </c:pt>
                <c:pt idx="34357">
                  <c:v>-7.4789915966386497E-2</c:v>
                </c:pt>
                <c:pt idx="34358">
                  <c:v>-7.4789915966386497E-2</c:v>
                </c:pt>
                <c:pt idx="34359">
                  <c:v>-7.4789915966386497E-2</c:v>
                </c:pt>
                <c:pt idx="34360">
                  <c:v>-7.4789915966386497E-2</c:v>
                </c:pt>
                <c:pt idx="34361">
                  <c:v>-7.4789915966386497E-2</c:v>
                </c:pt>
                <c:pt idx="34362">
                  <c:v>-7.4789915966386497E-2</c:v>
                </c:pt>
                <c:pt idx="34363">
                  <c:v>-7.4789915966386497E-2</c:v>
                </c:pt>
                <c:pt idx="34364">
                  <c:v>-7.4789915966386497E-2</c:v>
                </c:pt>
                <c:pt idx="34365">
                  <c:v>-7.4789915966386497E-2</c:v>
                </c:pt>
                <c:pt idx="34366">
                  <c:v>-7.4789915966386497E-2</c:v>
                </c:pt>
                <c:pt idx="34367">
                  <c:v>-7.4789915966386497E-2</c:v>
                </c:pt>
                <c:pt idx="34368">
                  <c:v>-7.4789915966386497E-2</c:v>
                </c:pt>
                <c:pt idx="34369">
                  <c:v>-7.4789915966386497E-2</c:v>
                </c:pt>
                <c:pt idx="34370">
                  <c:v>-7.4789915966386497E-2</c:v>
                </c:pt>
                <c:pt idx="34371">
                  <c:v>-7.5630252100840206E-2</c:v>
                </c:pt>
                <c:pt idx="34372">
                  <c:v>-7.5630252100840206E-2</c:v>
                </c:pt>
                <c:pt idx="34373">
                  <c:v>-7.5630252100840206E-2</c:v>
                </c:pt>
                <c:pt idx="34374">
                  <c:v>-7.5630252100840206E-2</c:v>
                </c:pt>
                <c:pt idx="34375">
                  <c:v>-7.5630252100840206E-2</c:v>
                </c:pt>
                <c:pt idx="34376">
                  <c:v>-7.5630252100840206E-2</c:v>
                </c:pt>
                <c:pt idx="34377">
                  <c:v>-7.5630252100840206E-2</c:v>
                </c:pt>
                <c:pt idx="34378">
                  <c:v>-7.5630252100840206E-2</c:v>
                </c:pt>
                <c:pt idx="34379">
                  <c:v>-7.5630252100840206E-2</c:v>
                </c:pt>
                <c:pt idx="34380">
                  <c:v>-7.5630252100840206E-2</c:v>
                </c:pt>
                <c:pt idx="34381">
                  <c:v>-7.5630252100840206E-2</c:v>
                </c:pt>
                <c:pt idx="34382">
                  <c:v>-7.5630252100840206E-2</c:v>
                </c:pt>
                <c:pt idx="34383">
                  <c:v>-7.5630252100840206E-2</c:v>
                </c:pt>
                <c:pt idx="34384">
                  <c:v>-7.5630252100840206E-2</c:v>
                </c:pt>
                <c:pt idx="34385">
                  <c:v>-7.5630252100840206E-2</c:v>
                </c:pt>
                <c:pt idx="34386">
                  <c:v>-7.5630252100840206E-2</c:v>
                </c:pt>
                <c:pt idx="34387">
                  <c:v>-7.5630252100840206E-2</c:v>
                </c:pt>
                <c:pt idx="34388">
                  <c:v>-7.5630252100840206E-2</c:v>
                </c:pt>
                <c:pt idx="34389">
                  <c:v>-7.5630252100840206E-2</c:v>
                </c:pt>
                <c:pt idx="34390">
                  <c:v>-7.5630252100840206E-2</c:v>
                </c:pt>
                <c:pt idx="34391">
                  <c:v>-7.5630252100840206E-2</c:v>
                </c:pt>
                <c:pt idx="34392">
                  <c:v>-7.5630252100840206E-2</c:v>
                </c:pt>
                <c:pt idx="34393">
                  <c:v>-7.5630252100840206E-2</c:v>
                </c:pt>
                <c:pt idx="34394">
                  <c:v>-7.5630252100840206E-2</c:v>
                </c:pt>
                <c:pt idx="34395">
                  <c:v>-7.5630252100840206E-2</c:v>
                </c:pt>
                <c:pt idx="34396">
                  <c:v>-7.5630252100840206E-2</c:v>
                </c:pt>
                <c:pt idx="34397">
                  <c:v>-7.5630252100840206E-2</c:v>
                </c:pt>
                <c:pt idx="34398">
                  <c:v>-7.5630252100840206E-2</c:v>
                </c:pt>
                <c:pt idx="34399">
                  <c:v>-7.5630252100840206E-2</c:v>
                </c:pt>
                <c:pt idx="34400">
                  <c:v>-7.5630252100840206E-2</c:v>
                </c:pt>
                <c:pt idx="34401">
                  <c:v>-7.5630252100840206E-2</c:v>
                </c:pt>
                <c:pt idx="34402">
                  <c:v>-7.5630252100840206E-2</c:v>
                </c:pt>
                <c:pt idx="34403">
                  <c:v>-7.5630252100840206E-2</c:v>
                </c:pt>
                <c:pt idx="34404">
                  <c:v>-7.5630252100840206E-2</c:v>
                </c:pt>
                <c:pt idx="34405">
                  <c:v>-7.5630252100840206E-2</c:v>
                </c:pt>
                <c:pt idx="34406">
                  <c:v>-7.5630252100840206E-2</c:v>
                </c:pt>
                <c:pt idx="34407">
                  <c:v>-7.4789915966386497E-2</c:v>
                </c:pt>
                <c:pt idx="34408">
                  <c:v>-7.4789915966386497E-2</c:v>
                </c:pt>
                <c:pt idx="34409">
                  <c:v>-7.4789915966386497E-2</c:v>
                </c:pt>
                <c:pt idx="34410">
                  <c:v>-7.4789915966386497E-2</c:v>
                </c:pt>
                <c:pt idx="34411">
                  <c:v>-7.4789915966386497E-2</c:v>
                </c:pt>
                <c:pt idx="34412">
                  <c:v>-7.4789915966386497E-2</c:v>
                </c:pt>
                <c:pt idx="34413">
                  <c:v>-7.3949579831932705E-2</c:v>
                </c:pt>
                <c:pt idx="34414">
                  <c:v>-7.3949579831932705E-2</c:v>
                </c:pt>
                <c:pt idx="34415">
                  <c:v>-7.3949579831932705E-2</c:v>
                </c:pt>
                <c:pt idx="34416">
                  <c:v>-7.3949579831932705E-2</c:v>
                </c:pt>
                <c:pt idx="34417">
                  <c:v>-7.3949579831932705E-2</c:v>
                </c:pt>
                <c:pt idx="34418">
                  <c:v>-7.3949579831932705E-2</c:v>
                </c:pt>
                <c:pt idx="34419">
                  <c:v>-7.3949579831932705E-2</c:v>
                </c:pt>
                <c:pt idx="34420">
                  <c:v>-7.3949579831932705E-2</c:v>
                </c:pt>
                <c:pt idx="34421">
                  <c:v>-7.3949579831932705E-2</c:v>
                </c:pt>
                <c:pt idx="34422">
                  <c:v>-7.3949579831932705E-2</c:v>
                </c:pt>
                <c:pt idx="34423">
                  <c:v>-7.3949579831932705E-2</c:v>
                </c:pt>
                <c:pt idx="34424">
                  <c:v>-7.3949579831932705E-2</c:v>
                </c:pt>
                <c:pt idx="34425">
                  <c:v>-7.3949579831932705E-2</c:v>
                </c:pt>
                <c:pt idx="34426">
                  <c:v>-7.3949579831932705E-2</c:v>
                </c:pt>
                <c:pt idx="34427">
                  <c:v>-7.3949579831932705E-2</c:v>
                </c:pt>
                <c:pt idx="34428">
                  <c:v>-7.3949579831932705E-2</c:v>
                </c:pt>
                <c:pt idx="34429">
                  <c:v>-7.3949579831932705E-2</c:v>
                </c:pt>
                <c:pt idx="34430">
                  <c:v>-7.3949579831932705E-2</c:v>
                </c:pt>
                <c:pt idx="34431">
                  <c:v>-7.3949579831932705E-2</c:v>
                </c:pt>
                <c:pt idx="34432">
                  <c:v>-7.3949579831932705E-2</c:v>
                </c:pt>
                <c:pt idx="34433">
                  <c:v>-7.3949579831932705E-2</c:v>
                </c:pt>
                <c:pt idx="34434">
                  <c:v>-7.3109243697478898E-2</c:v>
                </c:pt>
                <c:pt idx="34435">
                  <c:v>-7.3109243697478898E-2</c:v>
                </c:pt>
                <c:pt idx="34436">
                  <c:v>-7.3109243697478898E-2</c:v>
                </c:pt>
                <c:pt idx="34437">
                  <c:v>-7.3109243697478898E-2</c:v>
                </c:pt>
                <c:pt idx="34438">
                  <c:v>-7.3109243697478898E-2</c:v>
                </c:pt>
                <c:pt idx="34439">
                  <c:v>-7.3109243697478898E-2</c:v>
                </c:pt>
                <c:pt idx="34440">
                  <c:v>-7.3109243697478898E-2</c:v>
                </c:pt>
                <c:pt idx="34441">
                  <c:v>-7.3109243697478898E-2</c:v>
                </c:pt>
                <c:pt idx="34442">
                  <c:v>-7.3109243697478898E-2</c:v>
                </c:pt>
                <c:pt idx="34443">
                  <c:v>-7.3109243697478898E-2</c:v>
                </c:pt>
                <c:pt idx="34444">
                  <c:v>-7.3109243697478898E-2</c:v>
                </c:pt>
                <c:pt idx="34445">
                  <c:v>-7.3109243697478898E-2</c:v>
                </c:pt>
                <c:pt idx="34446">
                  <c:v>-7.3109243697478898E-2</c:v>
                </c:pt>
                <c:pt idx="34447">
                  <c:v>-7.3109243697478898E-2</c:v>
                </c:pt>
                <c:pt idx="34448">
                  <c:v>-7.3109243697478898E-2</c:v>
                </c:pt>
                <c:pt idx="34449">
                  <c:v>-7.3109243697478898E-2</c:v>
                </c:pt>
                <c:pt idx="34450">
                  <c:v>-7.3109243697478898E-2</c:v>
                </c:pt>
                <c:pt idx="34451">
                  <c:v>-7.3109243697478898E-2</c:v>
                </c:pt>
                <c:pt idx="34452">
                  <c:v>-7.3109243697478898E-2</c:v>
                </c:pt>
                <c:pt idx="34453">
                  <c:v>-7.3109243697478898E-2</c:v>
                </c:pt>
                <c:pt idx="34454">
                  <c:v>-7.3109243697478898E-2</c:v>
                </c:pt>
                <c:pt idx="34455">
                  <c:v>-7.3109243697478898E-2</c:v>
                </c:pt>
                <c:pt idx="34456">
                  <c:v>-7.3109243697478898E-2</c:v>
                </c:pt>
                <c:pt idx="34457">
                  <c:v>-7.3109243697478898E-2</c:v>
                </c:pt>
                <c:pt idx="34458">
                  <c:v>-7.3109243697478898E-2</c:v>
                </c:pt>
                <c:pt idx="34459">
                  <c:v>-7.3109243697478898E-2</c:v>
                </c:pt>
                <c:pt idx="34460">
                  <c:v>-7.3109243697478898E-2</c:v>
                </c:pt>
                <c:pt idx="34461">
                  <c:v>-7.3109243697478898E-2</c:v>
                </c:pt>
                <c:pt idx="34462">
                  <c:v>-7.3109243697478898E-2</c:v>
                </c:pt>
                <c:pt idx="34463">
                  <c:v>-7.3949579831932705E-2</c:v>
                </c:pt>
                <c:pt idx="34464">
                  <c:v>-7.3949579831932705E-2</c:v>
                </c:pt>
                <c:pt idx="34465">
                  <c:v>-7.3949579831932705E-2</c:v>
                </c:pt>
                <c:pt idx="34466">
                  <c:v>-7.3949579831932705E-2</c:v>
                </c:pt>
                <c:pt idx="34467">
                  <c:v>-7.3949579831932705E-2</c:v>
                </c:pt>
                <c:pt idx="34468">
                  <c:v>-7.3949579831932705E-2</c:v>
                </c:pt>
                <c:pt idx="34469">
                  <c:v>-7.3949579831932705E-2</c:v>
                </c:pt>
                <c:pt idx="34470">
                  <c:v>-7.3949579831932705E-2</c:v>
                </c:pt>
                <c:pt idx="34471">
                  <c:v>-7.3949579831932705E-2</c:v>
                </c:pt>
                <c:pt idx="34472">
                  <c:v>-7.3949579831932705E-2</c:v>
                </c:pt>
                <c:pt idx="34473">
                  <c:v>-7.3949579831932705E-2</c:v>
                </c:pt>
                <c:pt idx="34474">
                  <c:v>-7.3949579831932705E-2</c:v>
                </c:pt>
                <c:pt idx="34475">
                  <c:v>-7.3949579831932705E-2</c:v>
                </c:pt>
                <c:pt idx="34476">
                  <c:v>-7.3949579831932705E-2</c:v>
                </c:pt>
                <c:pt idx="34477">
                  <c:v>-7.3949579831932705E-2</c:v>
                </c:pt>
                <c:pt idx="34478">
                  <c:v>-7.3949579831932705E-2</c:v>
                </c:pt>
                <c:pt idx="34479">
                  <c:v>-7.3949579831932705E-2</c:v>
                </c:pt>
                <c:pt idx="34480">
                  <c:v>-7.3949579831932705E-2</c:v>
                </c:pt>
                <c:pt idx="34481">
                  <c:v>-7.3949579831932705E-2</c:v>
                </c:pt>
                <c:pt idx="34482">
                  <c:v>-7.3949579831932705E-2</c:v>
                </c:pt>
                <c:pt idx="34483">
                  <c:v>-7.3949579831932705E-2</c:v>
                </c:pt>
                <c:pt idx="34484">
                  <c:v>-7.3949579831932705E-2</c:v>
                </c:pt>
                <c:pt idx="34485">
                  <c:v>-7.3949579831932705E-2</c:v>
                </c:pt>
                <c:pt idx="34486">
                  <c:v>-7.3949579831932705E-2</c:v>
                </c:pt>
                <c:pt idx="34487">
                  <c:v>-7.3949579831932705E-2</c:v>
                </c:pt>
                <c:pt idx="34488">
                  <c:v>-7.3949579831932705E-2</c:v>
                </c:pt>
                <c:pt idx="34489">
                  <c:v>-7.3949579831932705E-2</c:v>
                </c:pt>
                <c:pt idx="34490">
                  <c:v>-7.3949579831932705E-2</c:v>
                </c:pt>
                <c:pt idx="34491">
                  <c:v>-7.3949579831932705E-2</c:v>
                </c:pt>
                <c:pt idx="34492">
                  <c:v>-7.3949579831932705E-2</c:v>
                </c:pt>
                <c:pt idx="34493">
                  <c:v>-7.3949579831932705E-2</c:v>
                </c:pt>
                <c:pt idx="34494">
                  <c:v>-7.3109243697478898E-2</c:v>
                </c:pt>
                <c:pt idx="34495">
                  <c:v>-7.3109243697478898E-2</c:v>
                </c:pt>
                <c:pt idx="34496">
                  <c:v>-7.3109243697478898E-2</c:v>
                </c:pt>
                <c:pt idx="34497">
                  <c:v>-7.3109243697478898E-2</c:v>
                </c:pt>
                <c:pt idx="34498">
                  <c:v>-7.2268907563025106E-2</c:v>
                </c:pt>
                <c:pt idx="34499">
                  <c:v>-7.2268907563025106E-2</c:v>
                </c:pt>
                <c:pt idx="34500">
                  <c:v>-7.2268907563025106E-2</c:v>
                </c:pt>
                <c:pt idx="34501">
                  <c:v>-7.2268907563025106E-2</c:v>
                </c:pt>
                <c:pt idx="34502">
                  <c:v>-7.2268907563025106E-2</c:v>
                </c:pt>
                <c:pt idx="34503">
                  <c:v>-7.2268907563025106E-2</c:v>
                </c:pt>
                <c:pt idx="34504">
                  <c:v>-7.2268907563025106E-2</c:v>
                </c:pt>
                <c:pt idx="34505">
                  <c:v>-7.2268907563025106E-2</c:v>
                </c:pt>
                <c:pt idx="34506">
                  <c:v>-7.2268907563025106E-2</c:v>
                </c:pt>
                <c:pt idx="34507">
                  <c:v>-7.2268907563025106E-2</c:v>
                </c:pt>
                <c:pt idx="34508">
                  <c:v>-7.2268907563025106E-2</c:v>
                </c:pt>
                <c:pt idx="34509">
                  <c:v>-7.2268907563025106E-2</c:v>
                </c:pt>
                <c:pt idx="34510">
                  <c:v>-7.2268907563025106E-2</c:v>
                </c:pt>
                <c:pt idx="34511">
                  <c:v>-7.2268907563025106E-2</c:v>
                </c:pt>
                <c:pt idx="34512">
                  <c:v>-7.2268907563025106E-2</c:v>
                </c:pt>
                <c:pt idx="34513">
                  <c:v>-7.2268907563025106E-2</c:v>
                </c:pt>
                <c:pt idx="34514">
                  <c:v>-7.2268907563025106E-2</c:v>
                </c:pt>
                <c:pt idx="34515">
                  <c:v>-7.2268907563025106E-2</c:v>
                </c:pt>
                <c:pt idx="34516">
                  <c:v>-7.2268907563025106E-2</c:v>
                </c:pt>
                <c:pt idx="34517">
                  <c:v>-7.2268907563025106E-2</c:v>
                </c:pt>
                <c:pt idx="34518">
                  <c:v>-7.2268907563025106E-2</c:v>
                </c:pt>
                <c:pt idx="34519">
                  <c:v>-7.2268907563025106E-2</c:v>
                </c:pt>
                <c:pt idx="34520">
                  <c:v>-7.2268907563025106E-2</c:v>
                </c:pt>
                <c:pt idx="34521">
                  <c:v>-7.2268907563025106E-2</c:v>
                </c:pt>
                <c:pt idx="34522">
                  <c:v>-7.2268907563025106E-2</c:v>
                </c:pt>
                <c:pt idx="34523">
                  <c:v>-7.2268907563025106E-2</c:v>
                </c:pt>
                <c:pt idx="34524">
                  <c:v>-7.2268907563025106E-2</c:v>
                </c:pt>
                <c:pt idx="34525">
                  <c:v>-7.2268907563025106E-2</c:v>
                </c:pt>
                <c:pt idx="34526">
                  <c:v>-7.2268907563025106E-2</c:v>
                </c:pt>
                <c:pt idx="34527">
                  <c:v>-7.2268907563025106E-2</c:v>
                </c:pt>
                <c:pt idx="34528">
                  <c:v>-7.2268907563025106E-2</c:v>
                </c:pt>
                <c:pt idx="34529">
                  <c:v>-7.2268907563025106E-2</c:v>
                </c:pt>
                <c:pt idx="34530">
                  <c:v>-7.2268907563025106E-2</c:v>
                </c:pt>
                <c:pt idx="34531">
                  <c:v>-7.2268907563025106E-2</c:v>
                </c:pt>
                <c:pt idx="34532">
                  <c:v>-7.2268907563025106E-2</c:v>
                </c:pt>
                <c:pt idx="34533">
                  <c:v>-7.2268907563025106E-2</c:v>
                </c:pt>
                <c:pt idx="34534">
                  <c:v>-7.2268907563025106E-2</c:v>
                </c:pt>
                <c:pt idx="34535">
                  <c:v>-7.2268907563025106E-2</c:v>
                </c:pt>
                <c:pt idx="34536">
                  <c:v>-7.2268907563025106E-2</c:v>
                </c:pt>
                <c:pt idx="34537">
                  <c:v>-7.2268907563025106E-2</c:v>
                </c:pt>
                <c:pt idx="34538">
                  <c:v>-7.2268907563025106E-2</c:v>
                </c:pt>
                <c:pt idx="34539">
                  <c:v>-7.2268907563025106E-2</c:v>
                </c:pt>
                <c:pt idx="34540">
                  <c:v>-7.2268907563025106E-2</c:v>
                </c:pt>
                <c:pt idx="34541">
                  <c:v>-7.2268907563025106E-2</c:v>
                </c:pt>
                <c:pt idx="34542">
                  <c:v>-7.2268907563025106E-2</c:v>
                </c:pt>
                <c:pt idx="34543">
                  <c:v>-7.2268907563025106E-2</c:v>
                </c:pt>
                <c:pt idx="34544">
                  <c:v>-7.2268907563025106E-2</c:v>
                </c:pt>
                <c:pt idx="34545">
                  <c:v>-7.2268907563025106E-2</c:v>
                </c:pt>
                <c:pt idx="34546">
                  <c:v>-7.2268907563025106E-2</c:v>
                </c:pt>
                <c:pt idx="34547">
                  <c:v>-7.2268907563025106E-2</c:v>
                </c:pt>
                <c:pt idx="34548">
                  <c:v>-7.1428571428571397E-2</c:v>
                </c:pt>
                <c:pt idx="34549">
                  <c:v>-7.1428571428571397E-2</c:v>
                </c:pt>
                <c:pt idx="34550">
                  <c:v>-7.1428571428571397E-2</c:v>
                </c:pt>
                <c:pt idx="34551">
                  <c:v>-7.0588235294117604E-2</c:v>
                </c:pt>
                <c:pt idx="34552">
                  <c:v>-7.0588235294117604E-2</c:v>
                </c:pt>
                <c:pt idx="34553">
                  <c:v>-7.0588235294117604E-2</c:v>
                </c:pt>
                <c:pt idx="34554">
                  <c:v>-7.0588235294117604E-2</c:v>
                </c:pt>
                <c:pt idx="34555">
                  <c:v>-7.0588235294117604E-2</c:v>
                </c:pt>
                <c:pt idx="34556">
                  <c:v>-7.0588235294117604E-2</c:v>
                </c:pt>
                <c:pt idx="34557">
                  <c:v>-7.0588235294117604E-2</c:v>
                </c:pt>
                <c:pt idx="34558">
                  <c:v>-7.0588235294117604E-2</c:v>
                </c:pt>
                <c:pt idx="34559">
                  <c:v>-7.0588235294117604E-2</c:v>
                </c:pt>
                <c:pt idx="34560">
                  <c:v>-6.9747899159663798E-2</c:v>
                </c:pt>
                <c:pt idx="34561">
                  <c:v>-6.9747899159663798E-2</c:v>
                </c:pt>
                <c:pt idx="34562">
                  <c:v>-6.9747899159663798E-2</c:v>
                </c:pt>
                <c:pt idx="34563">
                  <c:v>-6.9747899159663798E-2</c:v>
                </c:pt>
                <c:pt idx="34564">
                  <c:v>-6.9747899159663798E-2</c:v>
                </c:pt>
                <c:pt idx="34565">
                  <c:v>-6.9747899159663798E-2</c:v>
                </c:pt>
                <c:pt idx="34566">
                  <c:v>-6.9747899159663798E-2</c:v>
                </c:pt>
                <c:pt idx="34567">
                  <c:v>-6.9747899159663798E-2</c:v>
                </c:pt>
                <c:pt idx="34568">
                  <c:v>-6.9747899159663798E-2</c:v>
                </c:pt>
                <c:pt idx="34569">
                  <c:v>-6.9747899159663798E-2</c:v>
                </c:pt>
                <c:pt idx="34570">
                  <c:v>-6.8907563025210006E-2</c:v>
                </c:pt>
                <c:pt idx="34571">
                  <c:v>-6.8907563025210006E-2</c:v>
                </c:pt>
                <c:pt idx="34572">
                  <c:v>-6.8907563025210006E-2</c:v>
                </c:pt>
                <c:pt idx="34573">
                  <c:v>-6.8907563025210006E-2</c:v>
                </c:pt>
                <c:pt idx="34574">
                  <c:v>-6.8907563025210006E-2</c:v>
                </c:pt>
                <c:pt idx="34575">
                  <c:v>-6.8907563025210006E-2</c:v>
                </c:pt>
                <c:pt idx="34576">
                  <c:v>-6.8907563025210006E-2</c:v>
                </c:pt>
                <c:pt idx="34577">
                  <c:v>-6.8907563025210006E-2</c:v>
                </c:pt>
                <c:pt idx="34578">
                  <c:v>-6.8907563025210006E-2</c:v>
                </c:pt>
                <c:pt idx="34579">
                  <c:v>-6.8907563025210006E-2</c:v>
                </c:pt>
                <c:pt idx="34580">
                  <c:v>-6.8907563025210006E-2</c:v>
                </c:pt>
                <c:pt idx="34581">
                  <c:v>-6.8907563025210006E-2</c:v>
                </c:pt>
                <c:pt idx="34582">
                  <c:v>-6.8907563025210006E-2</c:v>
                </c:pt>
                <c:pt idx="34583">
                  <c:v>-6.8907563025210006E-2</c:v>
                </c:pt>
                <c:pt idx="34584">
                  <c:v>-6.8907563025210006E-2</c:v>
                </c:pt>
                <c:pt idx="34585">
                  <c:v>-6.8907563025210006E-2</c:v>
                </c:pt>
                <c:pt idx="34586">
                  <c:v>-6.8907563025210006E-2</c:v>
                </c:pt>
                <c:pt idx="34587">
                  <c:v>-6.8907563025210006E-2</c:v>
                </c:pt>
                <c:pt idx="34588">
                  <c:v>-6.8907563025210006E-2</c:v>
                </c:pt>
                <c:pt idx="34589">
                  <c:v>-6.8907563025210006E-2</c:v>
                </c:pt>
                <c:pt idx="34590">
                  <c:v>-6.8907563025210006E-2</c:v>
                </c:pt>
                <c:pt idx="34591">
                  <c:v>-6.8907563025210006E-2</c:v>
                </c:pt>
                <c:pt idx="34592">
                  <c:v>-6.8907563025210006E-2</c:v>
                </c:pt>
                <c:pt idx="34593">
                  <c:v>-6.8907563025210006E-2</c:v>
                </c:pt>
                <c:pt idx="34594">
                  <c:v>-6.8907563025210006E-2</c:v>
                </c:pt>
                <c:pt idx="34595">
                  <c:v>-6.8907563025210006E-2</c:v>
                </c:pt>
                <c:pt idx="34596">
                  <c:v>-6.8907563025210006E-2</c:v>
                </c:pt>
                <c:pt idx="34597">
                  <c:v>-6.8907563025210006E-2</c:v>
                </c:pt>
                <c:pt idx="34598">
                  <c:v>-6.8907563025210006E-2</c:v>
                </c:pt>
                <c:pt idx="34599">
                  <c:v>-6.8907563025210006E-2</c:v>
                </c:pt>
                <c:pt idx="34600">
                  <c:v>-6.8907563025210006E-2</c:v>
                </c:pt>
                <c:pt idx="34601">
                  <c:v>-6.8907563025210006E-2</c:v>
                </c:pt>
                <c:pt idx="34602">
                  <c:v>-6.8907563025210006E-2</c:v>
                </c:pt>
                <c:pt idx="34603">
                  <c:v>-6.8907563025210006E-2</c:v>
                </c:pt>
                <c:pt idx="34604">
                  <c:v>-6.8907563025210006E-2</c:v>
                </c:pt>
                <c:pt idx="34605">
                  <c:v>-6.8907563025210006E-2</c:v>
                </c:pt>
                <c:pt idx="34606">
                  <c:v>-6.8907563025210006E-2</c:v>
                </c:pt>
                <c:pt idx="34607">
                  <c:v>-6.8907563025210006E-2</c:v>
                </c:pt>
                <c:pt idx="34608">
                  <c:v>-6.8907563025210006E-2</c:v>
                </c:pt>
                <c:pt idx="34609">
                  <c:v>-6.8907563025210006E-2</c:v>
                </c:pt>
                <c:pt idx="34610">
                  <c:v>-6.8907563025210006E-2</c:v>
                </c:pt>
                <c:pt idx="34611">
                  <c:v>-6.8907563025210006E-2</c:v>
                </c:pt>
                <c:pt idx="34612">
                  <c:v>-6.8907563025210006E-2</c:v>
                </c:pt>
                <c:pt idx="34613">
                  <c:v>-6.8907563025210006E-2</c:v>
                </c:pt>
                <c:pt idx="34614">
                  <c:v>-6.8907563025210006E-2</c:v>
                </c:pt>
                <c:pt idx="34615">
                  <c:v>-6.8907563025210006E-2</c:v>
                </c:pt>
                <c:pt idx="34616">
                  <c:v>-6.8067226890756199E-2</c:v>
                </c:pt>
                <c:pt idx="34617">
                  <c:v>-6.8067226890756199E-2</c:v>
                </c:pt>
                <c:pt idx="34618">
                  <c:v>-6.8067226890756199E-2</c:v>
                </c:pt>
                <c:pt idx="34619">
                  <c:v>-6.8067226890756199E-2</c:v>
                </c:pt>
                <c:pt idx="34620">
                  <c:v>-6.8067226890756199E-2</c:v>
                </c:pt>
                <c:pt idx="34621">
                  <c:v>-6.8067226890756199E-2</c:v>
                </c:pt>
                <c:pt idx="34622">
                  <c:v>-6.8067226890756199E-2</c:v>
                </c:pt>
                <c:pt idx="34623">
                  <c:v>-6.8067226890756199E-2</c:v>
                </c:pt>
                <c:pt idx="34624">
                  <c:v>-6.8067226890756199E-2</c:v>
                </c:pt>
                <c:pt idx="34625">
                  <c:v>-6.8067226890756199E-2</c:v>
                </c:pt>
                <c:pt idx="34626">
                  <c:v>-6.8067226890756199E-2</c:v>
                </c:pt>
                <c:pt idx="34627">
                  <c:v>-6.8067226890756199E-2</c:v>
                </c:pt>
                <c:pt idx="34628">
                  <c:v>-6.8067226890756199E-2</c:v>
                </c:pt>
                <c:pt idx="34629">
                  <c:v>-6.8067226890756199E-2</c:v>
                </c:pt>
                <c:pt idx="34630">
                  <c:v>-6.8067226890756199E-2</c:v>
                </c:pt>
                <c:pt idx="34631">
                  <c:v>-6.8067226890756199E-2</c:v>
                </c:pt>
                <c:pt idx="34632">
                  <c:v>-6.8067226890756199E-2</c:v>
                </c:pt>
                <c:pt idx="34633">
                  <c:v>-6.8067226890756199E-2</c:v>
                </c:pt>
                <c:pt idx="34634">
                  <c:v>-6.8067226890756199E-2</c:v>
                </c:pt>
                <c:pt idx="34635">
                  <c:v>-6.8067226890756199E-2</c:v>
                </c:pt>
                <c:pt idx="34636">
                  <c:v>-6.8067226890756199E-2</c:v>
                </c:pt>
                <c:pt idx="34637">
                  <c:v>-6.8067226890756199E-2</c:v>
                </c:pt>
                <c:pt idx="34638">
                  <c:v>-6.8067226890756199E-2</c:v>
                </c:pt>
                <c:pt idx="34639">
                  <c:v>-6.8067226890756199E-2</c:v>
                </c:pt>
                <c:pt idx="34640">
                  <c:v>-6.8067226890756199E-2</c:v>
                </c:pt>
                <c:pt idx="34641">
                  <c:v>-6.8067226890756199E-2</c:v>
                </c:pt>
                <c:pt idx="34642">
                  <c:v>-6.8067226890756199E-2</c:v>
                </c:pt>
                <c:pt idx="34643">
                  <c:v>-6.8067226890756199E-2</c:v>
                </c:pt>
                <c:pt idx="34644">
                  <c:v>-6.8067226890756199E-2</c:v>
                </c:pt>
                <c:pt idx="34645">
                  <c:v>-6.8067226890756199E-2</c:v>
                </c:pt>
                <c:pt idx="34646">
                  <c:v>-6.8067226890756199E-2</c:v>
                </c:pt>
                <c:pt idx="34647">
                  <c:v>-6.8067226890756199E-2</c:v>
                </c:pt>
                <c:pt idx="34648">
                  <c:v>-6.8067226890756199E-2</c:v>
                </c:pt>
                <c:pt idx="34649">
                  <c:v>-6.8067226890756199E-2</c:v>
                </c:pt>
                <c:pt idx="34650">
                  <c:v>-6.8067226890756199E-2</c:v>
                </c:pt>
                <c:pt idx="34651">
                  <c:v>-6.8067226890756199E-2</c:v>
                </c:pt>
                <c:pt idx="34652">
                  <c:v>-6.8067226890756199E-2</c:v>
                </c:pt>
                <c:pt idx="34653">
                  <c:v>-6.8067226890756199E-2</c:v>
                </c:pt>
                <c:pt idx="34654">
                  <c:v>-6.8067226890756199E-2</c:v>
                </c:pt>
                <c:pt idx="34655">
                  <c:v>-6.8067226890756199E-2</c:v>
                </c:pt>
                <c:pt idx="34656">
                  <c:v>-6.8067226890756199E-2</c:v>
                </c:pt>
                <c:pt idx="34657">
                  <c:v>-6.8067226890756199E-2</c:v>
                </c:pt>
                <c:pt idx="34658">
                  <c:v>-6.8067226890756199E-2</c:v>
                </c:pt>
                <c:pt idx="34659">
                  <c:v>-6.8067226890756199E-2</c:v>
                </c:pt>
                <c:pt idx="34660">
                  <c:v>-6.8907563025210006E-2</c:v>
                </c:pt>
                <c:pt idx="34661">
                  <c:v>-6.8907563025210006E-2</c:v>
                </c:pt>
                <c:pt idx="34662">
                  <c:v>-6.8907563025210006E-2</c:v>
                </c:pt>
                <c:pt idx="34663">
                  <c:v>-6.8907563025210006E-2</c:v>
                </c:pt>
                <c:pt idx="34664">
                  <c:v>-6.8907563025210006E-2</c:v>
                </c:pt>
                <c:pt idx="34665">
                  <c:v>-6.8907563025210006E-2</c:v>
                </c:pt>
                <c:pt idx="34666">
                  <c:v>-6.8907563025210006E-2</c:v>
                </c:pt>
                <c:pt idx="34667">
                  <c:v>-6.8907563025210006E-2</c:v>
                </c:pt>
                <c:pt idx="34668">
                  <c:v>-6.8907563025210006E-2</c:v>
                </c:pt>
                <c:pt idx="34669">
                  <c:v>-6.8907563025210006E-2</c:v>
                </c:pt>
                <c:pt idx="34670">
                  <c:v>-6.8907563025210006E-2</c:v>
                </c:pt>
                <c:pt idx="34671">
                  <c:v>-6.8907563025210006E-2</c:v>
                </c:pt>
                <c:pt idx="34672">
                  <c:v>-6.8907563025210006E-2</c:v>
                </c:pt>
                <c:pt idx="34673">
                  <c:v>-6.8907563025210006E-2</c:v>
                </c:pt>
                <c:pt idx="34674">
                  <c:v>-6.8907563025210006E-2</c:v>
                </c:pt>
                <c:pt idx="34675">
                  <c:v>-6.8907563025210006E-2</c:v>
                </c:pt>
                <c:pt idx="34676">
                  <c:v>-6.8907563025210006E-2</c:v>
                </c:pt>
                <c:pt idx="34677">
                  <c:v>-6.8907563025210006E-2</c:v>
                </c:pt>
                <c:pt idx="34678">
                  <c:v>-6.8907563025210006E-2</c:v>
                </c:pt>
                <c:pt idx="34679">
                  <c:v>-6.8907563025210006E-2</c:v>
                </c:pt>
                <c:pt idx="34680">
                  <c:v>-6.8907563025210006E-2</c:v>
                </c:pt>
                <c:pt idx="34681">
                  <c:v>-6.8907563025210006E-2</c:v>
                </c:pt>
                <c:pt idx="34682">
                  <c:v>-6.8907563025210006E-2</c:v>
                </c:pt>
                <c:pt idx="34683">
                  <c:v>-6.8907563025210006E-2</c:v>
                </c:pt>
                <c:pt idx="34684">
                  <c:v>-6.8907563025210006E-2</c:v>
                </c:pt>
                <c:pt idx="34685">
                  <c:v>-6.8907563025210006E-2</c:v>
                </c:pt>
                <c:pt idx="34686">
                  <c:v>-6.8907563025210006E-2</c:v>
                </c:pt>
                <c:pt idx="34687">
                  <c:v>-6.8907563025210006E-2</c:v>
                </c:pt>
                <c:pt idx="34688">
                  <c:v>-6.8907563025210006E-2</c:v>
                </c:pt>
                <c:pt idx="34689">
                  <c:v>-6.8907563025210006E-2</c:v>
                </c:pt>
                <c:pt idx="34690">
                  <c:v>-6.8907563025210006E-2</c:v>
                </c:pt>
                <c:pt idx="34691">
                  <c:v>-6.8907563025210006E-2</c:v>
                </c:pt>
                <c:pt idx="34692">
                  <c:v>-6.8907563025210006E-2</c:v>
                </c:pt>
                <c:pt idx="34693">
                  <c:v>-6.8907563025210006E-2</c:v>
                </c:pt>
                <c:pt idx="34694">
                  <c:v>-6.8907563025210006E-2</c:v>
                </c:pt>
                <c:pt idx="34695">
                  <c:v>-6.8907563025210006E-2</c:v>
                </c:pt>
                <c:pt idx="34696">
                  <c:v>-6.8907563025210006E-2</c:v>
                </c:pt>
                <c:pt idx="34697">
                  <c:v>-6.8907563025210006E-2</c:v>
                </c:pt>
                <c:pt idx="34698">
                  <c:v>-6.8907563025210006E-2</c:v>
                </c:pt>
                <c:pt idx="34699">
                  <c:v>-6.8907563025210006E-2</c:v>
                </c:pt>
                <c:pt idx="34700">
                  <c:v>-6.8907563025210006E-2</c:v>
                </c:pt>
                <c:pt idx="34701">
                  <c:v>-6.8907563025210006E-2</c:v>
                </c:pt>
                <c:pt idx="34702">
                  <c:v>-6.8907563025210006E-2</c:v>
                </c:pt>
                <c:pt idx="34703">
                  <c:v>-6.8907563025210006E-2</c:v>
                </c:pt>
                <c:pt idx="34704">
                  <c:v>-6.8907563025210006E-2</c:v>
                </c:pt>
                <c:pt idx="34705">
                  <c:v>-6.8907563025210006E-2</c:v>
                </c:pt>
                <c:pt idx="34706">
                  <c:v>-6.8907563025210006E-2</c:v>
                </c:pt>
                <c:pt idx="34707">
                  <c:v>-6.8907563025210006E-2</c:v>
                </c:pt>
                <c:pt idx="34708">
                  <c:v>-6.8907563025210006E-2</c:v>
                </c:pt>
                <c:pt idx="34709">
                  <c:v>-6.8907563025210006E-2</c:v>
                </c:pt>
                <c:pt idx="34710">
                  <c:v>-6.8907563025210006E-2</c:v>
                </c:pt>
                <c:pt idx="34711">
                  <c:v>-6.8907563025210006E-2</c:v>
                </c:pt>
                <c:pt idx="34712">
                  <c:v>-6.8907563025210006E-2</c:v>
                </c:pt>
                <c:pt idx="34713">
                  <c:v>-6.8907563025210006E-2</c:v>
                </c:pt>
                <c:pt idx="34714">
                  <c:v>-6.8907563025210006E-2</c:v>
                </c:pt>
                <c:pt idx="34715">
                  <c:v>-6.8907563025210006E-2</c:v>
                </c:pt>
                <c:pt idx="34716">
                  <c:v>-6.8907563025210006E-2</c:v>
                </c:pt>
                <c:pt idx="34717">
                  <c:v>-6.8907563025210006E-2</c:v>
                </c:pt>
                <c:pt idx="34718">
                  <c:v>-6.8907563025210006E-2</c:v>
                </c:pt>
                <c:pt idx="34719">
                  <c:v>-6.8907563025210006E-2</c:v>
                </c:pt>
                <c:pt idx="34720">
                  <c:v>-6.8907563025210006E-2</c:v>
                </c:pt>
                <c:pt idx="34721">
                  <c:v>-6.8907563025210006E-2</c:v>
                </c:pt>
                <c:pt idx="34722">
                  <c:v>-6.8907563025210006E-2</c:v>
                </c:pt>
                <c:pt idx="34723">
                  <c:v>-6.8907563025210006E-2</c:v>
                </c:pt>
                <c:pt idx="34724">
                  <c:v>-6.8907563025210006E-2</c:v>
                </c:pt>
                <c:pt idx="34725">
                  <c:v>-6.8907563025210006E-2</c:v>
                </c:pt>
                <c:pt idx="34726">
                  <c:v>-6.8907563025210006E-2</c:v>
                </c:pt>
                <c:pt idx="34727">
                  <c:v>-6.8907563025210006E-2</c:v>
                </c:pt>
                <c:pt idx="34728">
                  <c:v>-6.8907563025210006E-2</c:v>
                </c:pt>
                <c:pt idx="34729">
                  <c:v>-6.8907563025210006E-2</c:v>
                </c:pt>
                <c:pt idx="34730">
                  <c:v>-6.8907563025210006E-2</c:v>
                </c:pt>
                <c:pt idx="34731">
                  <c:v>-6.8907563025210006E-2</c:v>
                </c:pt>
                <c:pt idx="34732">
                  <c:v>-6.8907563025210006E-2</c:v>
                </c:pt>
                <c:pt idx="34733">
                  <c:v>-6.8907563025210006E-2</c:v>
                </c:pt>
                <c:pt idx="34734">
                  <c:v>-6.8907563025210006E-2</c:v>
                </c:pt>
                <c:pt idx="34735">
                  <c:v>-6.8907563025210006E-2</c:v>
                </c:pt>
                <c:pt idx="34736">
                  <c:v>-6.8067226890756199E-2</c:v>
                </c:pt>
                <c:pt idx="34737">
                  <c:v>-6.8067226890756199E-2</c:v>
                </c:pt>
                <c:pt idx="34738">
                  <c:v>-6.8067226890756199E-2</c:v>
                </c:pt>
                <c:pt idx="34739">
                  <c:v>-6.8067226890756199E-2</c:v>
                </c:pt>
                <c:pt idx="34740">
                  <c:v>-6.8067226890756199E-2</c:v>
                </c:pt>
                <c:pt idx="34741">
                  <c:v>-6.8067226890756199E-2</c:v>
                </c:pt>
                <c:pt idx="34742">
                  <c:v>-6.8067226890756199E-2</c:v>
                </c:pt>
                <c:pt idx="34743">
                  <c:v>-6.8067226890756199E-2</c:v>
                </c:pt>
                <c:pt idx="34744">
                  <c:v>-6.8067226890756199E-2</c:v>
                </c:pt>
                <c:pt idx="34745">
                  <c:v>-6.8067226890756199E-2</c:v>
                </c:pt>
                <c:pt idx="34746">
                  <c:v>-6.8067226890756199E-2</c:v>
                </c:pt>
                <c:pt idx="34747">
                  <c:v>-6.8067226890756199E-2</c:v>
                </c:pt>
                <c:pt idx="34748">
                  <c:v>-6.8067226890756199E-2</c:v>
                </c:pt>
                <c:pt idx="34749">
                  <c:v>-6.7226890756302504E-2</c:v>
                </c:pt>
                <c:pt idx="34750">
                  <c:v>-6.7226890756302504E-2</c:v>
                </c:pt>
                <c:pt idx="34751">
                  <c:v>-6.7226890756302504E-2</c:v>
                </c:pt>
                <c:pt idx="34752">
                  <c:v>-6.7226890756302504E-2</c:v>
                </c:pt>
                <c:pt idx="34753">
                  <c:v>-6.7226890756302504E-2</c:v>
                </c:pt>
                <c:pt idx="34754">
                  <c:v>-6.7226890756302504E-2</c:v>
                </c:pt>
                <c:pt idx="34755">
                  <c:v>-6.7226890756302504E-2</c:v>
                </c:pt>
                <c:pt idx="34756">
                  <c:v>-6.7226890756302504E-2</c:v>
                </c:pt>
                <c:pt idx="34757">
                  <c:v>-6.7226890756302504E-2</c:v>
                </c:pt>
                <c:pt idx="34758">
                  <c:v>-6.7226890756302504E-2</c:v>
                </c:pt>
                <c:pt idx="34759">
                  <c:v>-6.7226890756302504E-2</c:v>
                </c:pt>
                <c:pt idx="34760">
                  <c:v>-6.7226890756302504E-2</c:v>
                </c:pt>
                <c:pt idx="34761">
                  <c:v>-6.7226890756302504E-2</c:v>
                </c:pt>
                <c:pt idx="34762">
                  <c:v>-6.7226890756302504E-2</c:v>
                </c:pt>
                <c:pt idx="34763">
                  <c:v>-6.7226890756302504E-2</c:v>
                </c:pt>
                <c:pt idx="34764">
                  <c:v>-6.7226890756302504E-2</c:v>
                </c:pt>
                <c:pt idx="34765">
                  <c:v>-6.7226890756302504E-2</c:v>
                </c:pt>
                <c:pt idx="34766">
                  <c:v>-6.7226890756302504E-2</c:v>
                </c:pt>
                <c:pt idx="34767">
                  <c:v>-6.7226890756302504E-2</c:v>
                </c:pt>
                <c:pt idx="34768">
                  <c:v>-6.7226890756302504E-2</c:v>
                </c:pt>
                <c:pt idx="34769">
                  <c:v>-6.7226890756302504E-2</c:v>
                </c:pt>
                <c:pt idx="34770">
                  <c:v>-6.7226890756302504E-2</c:v>
                </c:pt>
                <c:pt idx="34771">
                  <c:v>-6.7226890756302504E-2</c:v>
                </c:pt>
                <c:pt idx="34772">
                  <c:v>-6.7226890756302504E-2</c:v>
                </c:pt>
                <c:pt idx="34773">
                  <c:v>-6.7226890756302504E-2</c:v>
                </c:pt>
                <c:pt idx="34774">
                  <c:v>-6.7226890756302504E-2</c:v>
                </c:pt>
                <c:pt idx="34775">
                  <c:v>-6.7226890756302504E-2</c:v>
                </c:pt>
                <c:pt idx="34776">
                  <c:v>-6.7226890756302504E-2</c:v>
                </c:pt>
                <c:pt idx="34777">
                  <c:v>-6.7226890756302504E-2</c:v>
                </c:pt>
                <c:pt idx="34778">
                  <c:v>-6.7226890756302504E-2</c:v>
                </c:pt>
                <c:pt idx="34779">
                  <c:v>-6.7226890756302504E-2</c:v>
                </c:pt>
                <c:pt idx="34780">
                  <c:v>-6.7226890756302504E-2</c:v>
                </c:pt>
                <c:pt idx="34781">
                  <c:v>-6.7226890756302504E-2</c:v>
                </c:pt>
                <c:pt idx="34782">
                  <c:v>-6.7226890756302504E-2</c:v>
                </c:pt>
                <c:pt idx="34783">
                  <c:v>-6.7226890756302504E-2</c:v>
                </c:pt>
                <c:pt idx="34784">
                  <c:v>-6.7226890756302504E-2</c:v>
                </c:pt>
                <c:pt idx="34785">
                  <c:v>-6.7226890756302504E-2</c:v>
                </c:pt>
                <c:pt idx="34786">
                  <c:v>-6.7226890756302504E-2</c:v>
                </c:pt>
                <c:pt idx="34787">
                  <c:v>-6.7226890756302504E-2</c:v>
                </c:pt>
                <c:pt idx="34788">
                  <c:v>-6.7226890756302504E-2</c:v>
                </c:pt>
                <c:pt idx="34789">
                  <c:v>-6.7226890756302504E-2</c:v>
                </c:pt>
                <c:pt idx="34790">
                  <c:v>-6.7226890756302504E-2</c:v>
                </c:pt>
                <c:pt idx="34791">
                  <c:v>-6.7226890756302504E-2</c:v>
                </c:pt>
                <c:pt idx="34792">
                  <c:v>-6.7226890756302504E-2</c:v>
                </c:pt>
                <c:pt idx="34793">
                  <c:v>-6.7226890756302504E-2</c:v>
                </c:pt>
                <c:pt idx="34794">
                  <c:v>-6.7226890756302504E-2</c:v>
                </c:pt>
                <c:pt idx="34795">
                  <c:v>-6.7226890756302504E-2</c:v>
                </c:pt>
                <c:pt idx="34796">
                  <c:v>-6.7226890756302504E-2</c:v>
                </c:pt>
                <c:pt idx="34797">
                  <c:v>-6.7226890756302504E-2</c:v>
                </c:pt>
                <c:pt idx="34798">
                  <c:v>-6.7226890756302504E-2</c:v>
                </c:pt>
                <c:pt idx="34799">
                  <c:v>-6.7226890756302504E-2</c:v>
                </c:pt>
                <c:pt idx="34800">
                  <c:v>-6.7226890756302504E-2</c:v>
                </c:pt>
                <c:pt idx="34801">
                  <c:v>-6.7226890756302504E-2</c:v>
                </c:pt>
                <c:pt idx="34802">
                  <c:v>-6.7226890756302504E-2</c:v>
                </c:pt>
                <c:pt idx="34803">
                  <c:v>-6.7226890756302504E-2</c:v>
                </c:pt>
                <c:pt idx="34804">
                  <c:v>-6.7226890756302504E-2</c:v>
                </c:pt>
                <c:pt idx="34805">
                  <c:v>-6.6386554621848698E-2</c:v>
                </c:pt>
                <c:pt idx="34806">
                  <c:v>-6.6386554621848698E-2</c:v>
                </c:pt>
                <c:pt idx="34807">
                  <c:v>-6.6386554621848698E-2</c:v>
                </c:pt>
                <c:pt idx="34808">
                  <c:v>-6.6386554621848698E-2</c:v>
                </c:pt>
                <c:pt idx="34809">
                  <c:v>-6.6386554621848698E-2</c:v>
                </c:pt>
                <c:pt idx="34810">
                  <c:v>-6.6386554621848698E-2</c:v>
                </c:pt>
                <c:pt idx="34811">
                  <c:v>-6.6386554621848698E-2</c:v>
                </c:pt>
                <c:pt idx="34812">
                  <c:v>-6.6386554621848698E-2</c:v>
                </c:pt>
                <c:pt idx="34813">
                  <c:v>-6.6386554621848698E-2</c:v>
                </c:pt>
                <c:pt idx="34814">
                  <c:v>-6.6386554621848698E-2</c:v>
                </c:pt>
                <c:pt idx="34815">
                  <c:v>-6.6386554621848698E-2</c:v>
                </c:pt>
                <c:pt idx="34816">
                  <c:v>-6.6386554621848698E-2</c:v>
                </c:pt>
                <c:pt idx="34817">
                  <c:v>-6.6386554621848698E-2</c:v>
                </c:pt>
                <c:pt idx="34818">
                  <c:v>-6.6386554621848698E-2</c:v>
                </c:pt>
                <c:pt idx="34819">
                  <c:v>-6.6386554621848698E-2</c:v>
                </c:pt>
                <c:pt idx="34820">
                  <c:v>-6.6386554621848698E-2</c:v>
                </c:pt>
                <c:pt idx="34821">
                  <c:v>-6.7226890756302504E-2</c:v>
                </c:pt>
                <c:pt idx="34822">
                  <c:v>-6.7226890756302504E-2</c:v>
                </c:pt>
                <c:pt idx="34823">
                  <c:v>-6.7226890756302504E-2</c:v>
                </c:pt>
                <c:pt idx="34824">
                  <c:v>-6.7226890756302504E-2</c:v>
                </c:pt>
                <c:pt idx="34825">
                  <c:v>-6.7226890756302504E-2</c:v>
                </c:pt>
                <c:pt idx="34826">
                  <c:v>-6.7226890756302504E-2</c:v>
                </c:pt>
                <c:pt idx="34827">
                  <c:v>-6.6386554621848698E-2</c:v>
                </c:pt>
                <c:pt idx="34828">
                  <c:v>-6.6386554621848698E-2</c:v>
                </c:pt>
                <c:pt idx="34829">
                  <c:v>-6.6386554621848698E-2</c:v>
                </c:pt>
                <c:pt idx="34830">
                  <c:v>-6.6386554621848698E-2</c:v>
                </c:pt>
                <c:pt idx="34831">
                  <c:v>-6.6386554621848698E-2</c:v>
                </c:pt>
                <c:pt idx="34832">
                  <c:v>-6.6386554621848698E-2</c:v>
                </c:pt>
                <c:pt idx="34833">
                  <c:v>-6.6386554621848698E-2</c:v>
                </c:pt>
                <c:pt idx="34834">
                  <c:v>-6.6386554621848698E-2</c:v>
                </c:pt>
                <c:pt idx="34835">
                  <c:v>-6.6386554621848698E-2</c:v>
                </c:pt>
                <c:pt idx="34836">
                  <c:v>-6.6386554621848698E-2</c:v>
                </c:pt>
                <c:pt idx="34837">
                  <c:v>-6.6386554621848698E-2</c:v>
                </c:pt>
                <c:pt idx="34838">
                  <c:v>-6.6386554621848698E-2</c:v>
                </c:pt>
                <c:pt idx="34839">
                  <c:v>-6.6386554621848698E-2</c:v>
                </c:pt>
                <c:pt idx="34840">
                  <c:v>-6.6386554621848698E-2</c:v>
                </c:pt>
                <c:pt idx="34841">
                  <c:v>-6.6386554621848698E-2</c:v>
                </c:pt>
                <c:pt idx="34842">
                  <c:v>-6.6386554621848698E-2</c:v>
                </c:pt>
                <c:pt idx="34843">
                  <c:v>-6.6386554621848698E-2</c:v>
                </c:pt>
                <c:pt idx="34844">
                  <c:v>-6.6386554621848698E-2</c:v>
                </c:pt>
                <c:pt idx="34845">
                  <c:v>-6.6386554621848698E-2</c:v>
                </c:pt>
                <c:pt idx="34846">
                  <c:v>-6.6386554621848698E-2</c:v>
                </c:pt>
                <c:pt idx="34847">
                  <c:v>-6.6386554621848698E-2</c:v>
                </c:pt>
                <c:pt idx="34848">
                  <c:v>-6.6386554621848698E-2</c:v>
                </c:pt>
                <c:pt idx="34849">
                  <c:v>-6.6386554621848698E-2</c:v>
                </c:pt>
                <c:pt idx="34850">
                  <c:v>-6.6386554621848698E-2</c:v>
                </c:pt>
                <c:pt idx="34851">
                  <c:v>-6.6386554621848698E-2</c:v>
                </c:pt>
                <c:pt idx="34852">
                  <c:v>-6.6386554621848698E-2</c:v>
                </c:pt>
                <c:pt idx="34853">
                  <c:v>-6.6386554621848698E-2</c:v>
                </c:pt>
                <c:pt idx="34854">
                  <c:v>-6.6386554621848698E-2</c:v>
                </c:pt>
                <c:pt idx="34855">
                  <c:v>-6.6386554621848698E-2</c:v>
                </c:pt>
                <c:pt idx="34856">
                  <c:v>-6.6386554621848698E-2</c:v>
                </c:pt>
                <c:pt idx="34857">
                  <c:v>-6.6386554621848698E-2</c:v>
                </c:pt>
                <c:pt idx="34858">
                  <c:v>-6.6386554621848698E-2</c:v>
                </c:pt>
                <c:pt idx="34859">
                  <c:v>-6.6386554621848698E-2</c:v>
                </c:pt>
                <c:pt idx="34860">
                  <c:v>-6.6386554621848698E-2</c:v>
                </c:pt>
                <c:pt idx="34861">
                  <c:v>-6.6386554621848698E-2</c:v>
                </c:pt>
                <c:pt idx="34862">
                  <c:v>-6.6386554621848698E-2</c:v>
                </c:pt>
                <c:pt idx="34863">
                  <c:v>-6.6386554621848698E-2</c:v>
                </c:pt>
                <c:pt idx="34864">
                  <c:v>-6.6386554621848698E-2</c:v>
                </c:pt>
                <c:pt idx="34865">
                  <c:v>-6.6386554621848698E-2</c:v>
                </c:pt>
                <c:pt idx="34866">
                  <c:v>-6.6386554621848698E-2</c:v>
                </c:pt>
                <c:pt idx="34867">
                  <c:v>-6.6386554621848698E-2</c:v>
                </c:pt>
                <c:pt idx="34868">
                  <c:v>-6.6386554621848698E-2</c:v>
                </c:pt>
                <c:pt idx="34869">
                  <c:v>-6.6386554621848698E-2</c:v>
                </c:pt>
                <c:pt idx="34870">
                  <c:v>-6.6386554621848698E-2</c:v>
                </c:pt>
                <c:pt idx="34871">
                  <c:v>-6.6386554621848698E-2</c:v>
                </c:pt>
                <c:pt idx="34872">
                  <c:v>-6.6386554621848698E-2</c:v>
                </c:pt>
                <c:pt idx="34873">
                  <c:v>-6.6386554621848698E-2</c:v>
                </c:pt>
                <c:pt idx="34874">
                  <c:v>-6.6386554621848698E-2</c:v>
                </c:pt>
                <c:pt idx="34875">
                  <c:v>-6.6386554621848698E-2</c:v>
                </c:pt>
                <c:pt idx="34876">
                  <c:v>-6.6386554621848698E-2</c:v>
                </c:pt>
                <c:pt idx="34877">
                  <c:v>-6.6386554621848698E-2</c:v>
                </c:pt>
                <c:pt idx="34878">
                  <c:v>-6.6386554621848698E-2</c:v>
                </c:pt>
                <c:pt idx="34879">
                  <c:v>-6.6386554621848698E-2</c:v>
                </c:pt>
                <c:pt idx="34880">
                  <c:v>-6.6386554621848698E-2</c:v>
                </c:pt>
                <c:pt idx="34881">
                  <c:v>-6.6386554621848698E-2</c:v>
                </c:pt>
                <c:pt idx="34882">
                  <c:v>-6.6386554621848698E-2</c:v>
                </c:pt>
                <c:pt idx="34883">
                  <c:v>-6.6386554621848698E-2</c:v>
                </c:pt>
                <c:pt idx="34884">
                  <c:v>-6.6386554621848698E-2</c:v>
                </c:pt>
                <c:pt idx="34885">
                  <c:v>-6.6386554621848698E-2</c:v>
                </c:pt>
                <c:pt idx="34886">
                  <c:v>-6.6386554621848698E-2</c:v>
                </c:pt>
                <c:pt idx="34887">
                  <c:v>-6.6386554621848698E-2</c:v>
                </c:pt>
                <c:pt idx="34888">
                  <c:v>-6.6386554621848698E-2</c:v>
                </c:pt>
                <c:pt idx="34889">
                  <c:v>-6.6386554621848698E-2</c:v>
                </c:pt>
                <c:pt idx="34890">
                  <c:v>-6.6386554621848698E-2</c:v>
                </c:pt>
                <c:pt idx="34891">
                  <c:v>-6.6386554621848698E-2</c:v>
                </c:pt>
                <c:pt idx="34892">
                  <c:v>-6.6386554621848698E-2</c:v>
                </c:pt>
                <c:pt idx="34893">
                  <c:v>-6.6386554621848698E-2</c:v>
                </c:pt>
                <c:pt idx="34894">
                  <c:v>-6.6386554621848698E-2</c:v>
                </c:pt>
                <c:pt idx="34895">
                  <c:v>-6.6386554621848698E-2</c:v>
                </c:pt>
                <c:pt idx="34896">
                  <c:v>-6.5546218487394906E-2</c:v>
                </c:pt>
                <c:pt idx="34897">
                  <c:v>-6.5546218487394906E-2</c:v>
                </c:pt>
                <c:pt idx="34898">
                  <c:v>-6.5546218487394906E-2</c:v>
                </c:pt>
                <c:pt idx="34899">
                  <c:v>-6.5546218487394906E-2</c:v>
                </c:pt>
                <c:pt idx="34900">
                  <c:v>-6.5546218487394906E-2</c:v>
                </c:pt>
                <c:pt idx="34901">
                  <c:v>-6.4705882352941099E-2</c:v>
                </c:pt>
                <c:pt idx="34902">
                  <c:v>-6.4705882352941099E-2</c:v>
                </c:pt>
                <c:pt idx="34903">
                  <c:v>-6.4705882352941099E-2</c:v>
                </c:pt>
                <c:pt idx="34904">
                  <c:v>-6.4705882352941099E-2</c:v>
                </c:pt>
                <c:pt idx="34905">
                  <c:v>-6.4705882352941099E-2</c:v>
                </c:pt>
                <c:pt idx="34906">
                  <c:v>-6.4705882352941099E-2</c:v>
                </c:pt>
                <c:pt idx="34907">
                  <c:v>-6.4705882352941099E-2</c:v>
                </c:pt>
                <c:pt idx="34908">
                  <c:v>-6.4705882352941099E-2</c:v>
                </c:pt>
                <c:pt idx="34909">
                  <c:v>-6.4705882352941099E-2</c:v>
                </c:pt>
                <c:pt idx="34910">
                  <c:v>-6.4705882352941099E-2</c:v>
                </c:pt>
                <c:pt idx="34911">
                  <c:v>-6.4705882352941099E-2</c:v>
                </c:pt>
                <c:pt idx="34912">
                  <c:v>-6.4705882352941099E-2</c:v>
                </c:pt>
                <c:pt idx="34913">
                  <c:v>-6.4705882352941099E-2</c:v>
                </c:pt>
                <c:pt idx="34914">
                  <c:v>-6.4705882352941099E-2</c:v>
                </c:pt>
                <c:pt idx="34915">
                  <c:v>-6.4705882352941099E-2</c:v>
                </c:pt>
                <c:pt idx="34916">
                  <c:v>-6.4705882352941099E-2</c:v>
                </c:pt>
                <c:pt idx="34917">
                  <c:v>-6.4705882352941099E-2</c:v>
                </c:pt>
                <c:pt idx="34918">
                  <c:v>-6.4705882352941099E-2</c:v>
                </c:pt>
                <c:pt idx="34919">
                  <c:v>-6.4705882352941099E-2</c:v>
                </c:pt>
                <c:pt idx="34920">
                  <c:v>-6.4705882352941099E-2</c:v>
                </c:pt>
                <c:pt idx="34921">
                  <c:v>-6.4705882352941099E-2</c:v>
                </c:pt>
                <c:pt idx="34922">
                  <c:v>-6.4705882352941099E-2</c:v>
                </c:pt>
                <c:pt idx="34923">
                  <c:v>-6.5546218487394906E-2</c:v>
                </c:pt>
                <c:pt idx="34924">
                  <c:v>-6.5546218487394906E-2</c:v>
                </c:pt>
                <c:pt idx="34925">
                  <c:v>-6.5546218487394906E-2</c:v>
                </c:pt>
                <c:pt idx="34926">
                  <c:v>-6.5546218487394906E-2</c:v>
                </c:pt>
                <c:pt idx="34927">
                  <c:v>-6.5546218487394906E-2</c:v>
                </c:pt>
                <c:pt idx="34928">
                  <c:v>-6.5546218487394906E-2</c:v>
                </c:pt>
                <c:pt idx="34929">
                  <c:v>-6.5546218487394906E-2</c:v>
                </c:pt>
                <c:pt idx="34930">
                  <c:v>-6.5546218487394906E-2</c:v>
                </c:pt>
                <c:pt idx="34931">
                  <c:v>-6.5546218487394906E-2</c:v>
                </c:pt>
                <c:pt idx="34932">
                  <c:v>-6.5546218487394906E-2</c:v>
                </c:pt>
                <c:pt idx="34933">
                  <c:v>-6.5546218487394906E-2</c:v>
                </c:pt>
                <c:pt idx="34934">
                  <c:v>-6.5546218487394906E-2</c:v>
                </c:pt>
                <c:pt idx="34935">
                  <c:v>-6.5546218487394906E-2</c:v>
                </c:pt>
                <c:pt idx="34936">
                  <c:v>-6.5546218487394906E-2</c:v>
                </c:pt>
                <c:pt idx="34937">
                  <c:v>-6.5546218487394906E-2</c:v>
                </c:pt>
                <c:pt idx="34938">
                  <c:v>-6.6386554621848698E-2</c:v>
                </c:pt>
                <c:pt idx="34939">
                  <c:v>-6.6386554621848698E-2</c:v>
                </c:pt>
                <c:pt idx="34940">
                  <c:v>-6.6386554621848698E-2</c:v>
                </c:pt>
                <c:pt idx="34941">
                  <c:v>-6.6386554621848698E-2</c:v>
                </c:pt>
                <c:pt idx="34942">
                  <c:v>-6.6386554621848698E-2</c:v>
                </c:pt>
                <c:pt idx="34943">
                  <c:v>-6.6386554621848698E-2</c:v>
                </c:pt>
                <c:pt idx="34944">
                  <c:v>-6.6386554621848698E-2</c:v>
                </c:pt>
                <c:pt idx="34945">
                  <c:v>-6.6386554621848698E-2</c:v>
                </c:pt>
                <c:pt idx="34946">
                  <c:v>-6.6386554621848698E-2</c:v>
                </c:pt>
                <c:pt idx="34947">
                  <c:v>-6.6386554621848698E-2</c:v>
                </c:pt>
                <c:pt idx="34948">
                  <c:v>-6.6386554621848698E-2</c:v>
                </c:pt>
                <c:pt idx="34949">
                  <c:v>-6.6386554621848698E-2</c:v>
                </c:pt>
                <c:pt idx="34950">
                  <c:v>-6.6386554621848698E-2</c:v>
                </c:pt>
                <c:pt idx="34951">
                  <c:v>-6.6386554621848698E-2</c:v>
                </c:pt>
                <c:pt idx="34952">
                  <c:v>-6.6386554621848698E-2</c:v>
                </c:pt>
                <c:pt idx="34953">
                  <c:v>-6.6386554621848698E-2</c:v>
                </c:pt>
                <c:pt idx="34954">
                  <c:v>-6.6386554621848698E-2</c:v>
                </c:pt>
                <c:pt idx="34955">
                  <c:v>-6.7226890756302504E-2</c:v>
                </c:pt>
                <c:pt idx="34956">
                  <c:v>-6.7226890756302504E-2</c:v>
                </c:pt>
                <c:pt idx="34957">
                  <c:v>-6.7226890756302504E-2</c:v>
                </c:pt>
                <c:pt idx="34958">
                  <c:v>-6.7226890756302504E-2</c:v>
                </c:pt>
                <c:pt idx="34959">
                  <c:v>-6.7226890756302504E-2</c:v>
                </c:pt>
                <c:pt idx="34960">
                  <c:v>-6.7226890756302504E-2</c:v>
                </c:pt>
                <c:pt idx="34961">
                  <c:v>-6.7226890756302504E-2</c:v>
                </c:pt>
                <c:pt idx="34962">
                  <c:v>-6.7226890756302504E-2</c:v>
                </c:pt>
                <c:pt idx="34963">
                  <c:v>-6.7226890756302504E-2</c:v>
                </c:pt>
                <c:pt idx="34964">
                  <c:v>-6.7226890756302504E-2</c:v>
                </c:pt>
                <c:pt idx="34965">
                  <c:v>-6.7226890756302504E-2</c:v>
                </c:pt>
                <c:pt idx="34966">
                  <c:v>-6.7226890756302504E-2</c:v>
                </c:pt>
                <c:pt idx="34967">
                  <c:v>-6.7226890756302504E-2</c:v>
                </c:pt>
                <c:pt idx="34968">
                  <c:v>-6.7226890756302504E-2</c:v>
                </c:pt>
                <c:pt idx="34969">
                  <c:v>-6.7226890756302504E-2</c:v>
                </c:pt>
                <c:pt idx="34970">
                  <c:v>-6.7226890756302504E-2</c:v>
                </c:pt>
                <c:pt idx="34971">
                  <c:v>-6.8067226890756199E-2</c:v>
                </c:pt>
                <c:pt idx="34972">
                  <c:v>-6.8067226890756199E-2</c:v>
                </c:pt>
                <c:pt idx="34973">
                  <c:v>-6.8907563025210006E-2</c:v>
                </c:pt>
                <c:pt idx="34974">
                  <c:v>-6.8907563025210006E-2</c:v>
                </c:pt>
                <c:pt idx="34975">
                  <c:v>-6.8907563025210006E-2</c:v>
                </c:pt>
                <c:pt idx="34976">
                  <c:v>-6.8907563025210006E-2</c:v>
                </c:pt>
                <c:pt idx="34977">
                  <c:v>-6.8907563025210006E-2</c:v>
                </c:pt>
                <c:pt idx="34978">
                  <c:v>-6.8907563025210006E-2</c:v>
                </c:pt>
                <c:pt idx="34979">
                  <c:v>-6.8907563025210006E-2</c:v>
                </c:pt>
                <c:pt idx="34980">
                  <c:v>-6.8907563025210006E-2</c:v>
                </c:pt>
                <c:pt idx="34981">
                  <c:v>-6.8907563025210006E-2</c:v>
                </c:pt>
                <c:pt idx="34982">
                  <c:v>-6.8907563025210006E-2</c:v>
                </c:pt>
                <c:pt idx="34983">
                  <c:v>-6.8907563025210006E-2</c:v>
                </c:pt>
                <c:pt idx="34984">
                  <c:v>-6.8907563025210006E-2</c:v>
                </c:pt>
                <c:pt idx="34985">
                  <c:v>-6.8907563025210006E-2</c:v>
                </c:pt>
                <c:pt idx="34986">
                  <c:v>-6.8907563025210006E-2</c:v>
                </c:pt>
                <c:pt idx="34987">
                  <c:v>-6.8907563025210006E-2</c:v>
                </c:pt>
                <c:pt idx="34988">
                  <c:v>-6.8907563025210006E-2</c:v>
                </c:pt>
                <c:pt idx="34989">
                  <c:v>-6.8907563025210006E-2</c:v>
                </c:pt>
                <c:pt idx="34990">
                  <c:v>-6.8907563025210006E-2</c:v>
                </c:pt>
                <c:pt idx="34991">
                  <c:v>-6.8907563025210006E-2</c:v>
                </c:pt>
                <c:pt idx="34992">
                  <c:v>-6.8907563025210006E-2</c:v>
                </c:pt>
                <c:pt idx="34993">
                  <c:v>-6.8907563025210006E-2</c:v>
                </c:pt>
                <c:pt idx="34994">
                  <c:v>-6.8907563025210006E-2</c:v>
                </c:pt>
                <c:pt idx="34995">
                  <c:v>-6.8907563025210006E-2</c:v>
                </c:pt>
                <c:pt idx="34996">
                  <c:v>-6.8067226890756199E-2</c:v>
                </c:pt>
                <c:pt idx="34997">
                  <c:v>-6.8067226890756199E-2</c:v>
                </c:pt>
                <c:pt idx="34998">
                  <c:v>-6.7226890756302504E-2</c:v>
                </c:pt>
                <c:pt idx="34999">
                  <c:v>-6.7226890756302504E-2</c:v>
                </c:pt>
                <c:pt idx="35000">
                  <c:v>-6.7226890756302504E-2</c:v>
                </c:pt>
                <c:pt idx="35001">
                  <c:v>-6.7226890756302504E-2</c:v>
                </c:pt>
                <c:pt idx="35002">
                  <c:v>-6.7226890756302504E-2</c:v>
                </c:pt>
                <c:pt idx="35003">
                  <c:v>-6.7226890756302504E-2</c:v>
                </c:pt>
                <c:pt idx="35004">
                  <c:v>-6.7226890756302504E-2</c:v>
                </c:pt>
                <c:pt idx="35005">
                  <c:v>-6.7226890756302504E-2</c:v>
                </c:pt>
                <c:pt idx="35006">
                  <c:v>-6.7226890756302504E-2</c:v>
                </c:pt>
                <c:pt idx="35007">
                  <c:v>-6.7226890756302504E-2</c:v>
                </c:pt>
                <c:pt idx="35008">
                  <c:v>-6.7226890756302504E-2</c:v>
                </c:pt>
                <c:pt idx="35009">
                  <c:v>-6.7226890756302504E-2</c:v>
                </c:pt>
                <c:pt idx="35010">
                  <c:v>-6.7226890756302504E-2</c:v>
                </c:pt>
                <c:pt idx="35011">
                  <c:v>-6.7226890756302504E-2</c:v>
                </c:pt>
                <c:pt idx="35012">
                  <c:v>-6.7226890756302504E-2</c:v>
                </c:pt>
                <c:pt idx="35013">
                  <c:v>-6.7226890756302504E-2</c:v>
                </c:pt>
                <c:pt idx="35014">
                  <c:v>-6.7226890756302504E-2</c:v>
                </c:pt>
                <c:pt idx="35015">
                  <c:v>-6.7226890756302504E-2</c:v>
                </c:pt>
                <c:pt idx="35016">
                  <c:v>-6.7226890756302504E-2</c:v>
                </c:pt>
                <c:pt idx="35017">
                  <c:v>-6.7226890756302504E-2</c:v>
                </c:pt>
                <c:pt idx="35018">
                  <c:v>-6.6386554621848698E-2</c:v>
                </c:pt>
                <c:pt idx="35019">
                  <c:v>-6.6386554621848698E-2</c:v>
                </c:pt>
                <c:pt idx="35020">
                  <c:v>-6.6386554621848698E-2</c:v>
                </c:pt>
                <c:pt idx="35021">
                  <c:v>-6.6386554621848698E-2</c:v>
                </c:pt>
                <c:pt idx="35022">
                  <c:v>-6.6386554621848698E-2</c:v>
                </c:pt>
                <c:pt idx="35023">
                  <c:v>-6.6386554621848698E-2</c:v>
                </c:pt>
                <c:pt idx="35024">
                  <c:v>-6.6386554621848698E-2</c:v>
                </c:pt>
                <c:pt idx="35025">
                  <c:v>-6.6386554621848698E-2</c:v>
                </c:pt>
                <c:pt idx="35026">
                  <c:v>-6.6386554621848698E-2</c:v>
                </c:pt>
                <c:pt idx="35027">
                  <c:v>-6.5546218487394906E-2</c:v>
                </c:pt>
                <c:pt idx="35028">
                  <c:v>-6.5546218487394906E-2</c:v>
                </c:pt>
                <c:pt idx="35029">
                  <c:v>-6.5546218487394906E-2</c:v>
                </c:pt>
                <c:pt idx="35030">
                  <c:v>-6.5546218487394906E-2</c:v>
                </c:pt>
                <c:pt idx="35031">
                  <c:v>-6.5546218487394906E-2</c:v>
                </c:pt>
                <c:pt idx="35032">
                  <c:v>-6.5546218487394906E-2</c:v>
                </c:pt>
                <c:pt idx="35033">
                  <c:v>-6.5546218487394906E-2</c:v>
                </c:pt>
                <c:pt idx="35034">
                  <c:v>-6.5546218487394906E-2</c:v>
                </c:pt>
                <c:pt idx="35035">
                  <c:v>-6.5546218487394906E-2</c:v>
                </c:pt>
                <c:pt idx="35036">
                  <c:v>-6.5546218487394906E-2</c:v>
                </c:pt>
                <c:pt idx="35037">
                  <c:v>-6.5546218487394906E-2</c:v>
                </c:pt>
                <c:pt idx="35038">
                  <c:v>-6.5546218487394906E-2</c:v>
                </c:pt>
                <c:pt idx="35039">
                  <c:v>-6.5546218487394906E-2</c:v>
                </c:pt>
                <c:pt idx="35040">
                  <c:v>-6.5546218487394906E-2</c:v>
                </c:pt>
                <c:pt idx="35041">
                  <c:v>-6.5546218487394906E-2</c:v>
                </c:pt>
                <c:pt idx="35042">
                  <c:v>-6.5546218487394906E-2</c:v>
                </c:pt>
                <c:pt idx="35043">
                  <c:v>-6.5546218487394906E-2</c:v>
                </c:pt>
                <c:pt idx="35044">
                  <c:v>-6.5546218487394906E-2</c:v>
                </c:pt>
                <c:pt idx="35045">
                  <c:v>-6.5546218487394906E-2</c:v>
                </c:pt>
                <c:pt idx="35046">
                  <c:v>-6.5546218487394906E-2</c:v>
                </c:pt>
                <c:pt idx="35047">
                  <c:v>-6.5546218487394906E-2</c:v>
                </c:pt>
                <c:pt idx="35048">
                  <c:v>-6.5546218487394906E-2</c:v>
                </c:pt>
                <c:pt idx="35049">
                  <c:v>-6.5546218487394906E-2</c:v>
                </c:pt>
                <c:pt idx="35050">
                  <c:v>-6.5546218487394906E-2</c:v>
                </c:pt>
                <c:pt idx="35051">
                  <c:v>-6.5546218487394906E-2</c:v>
                </c:pt>
                <c:pt idx="35052">
                  <c:v>-6.5546218487394906E-2</c:v>
                </c:pt>
                <c:pt idx="35053">
                  <c:v>-6.5546218487394906E-2</c:v>
                </c:pt>
                <c:pt idx="35054">
                  <c:v>-6.5546218487394906E-2</c:v>
                </c:pt>
                <c:pt idx="35055">
                  <c:v>-6.5546218487394906E-2</c:v>
                </c:pt>
                <c:pt idx="35056">
                  <c:v>-6.5546218487394906E-2</c:v>
                </c:pt>
                <c:pt idx="35057">
                  <c:v>-6.5546218487394906E-2</c:v>
                </c:pt>
                <c:pt idx="35058">
                  <c:v>-6.5546218487394906E-2</c:v>
                </c:pt>
                <c:pt idx="35059">
                  <c:v>-6.5546218487394906E-2</c:v>
                </c:pt>
                <c:pt idx="35060">
                  <c:v>-6.5546218487394906E-2</c:v>
                </c:pt>
                <c:pt idx="35061">
                  <c:v>-6.5546218487394906E-2</c:v>
                </c:pt>
                <c:pt idx="35062">
                  <c:v>-6.6386554621848698E-2</c:v>
                </c:pt>
                <c:pt idx="35063">
                  <c:v>-6.6386554621848698E-2</c:v>
                </c:pt>
                <c:pt idx="35064">
                  <c:v>-6.6386554621848698E-2</c:v>
                </c:pt>
                <c:pt idx="35065">
                  <c:v>-6.6386554621848698E-2</c:v>
                </c:pt>
                <c:pt idx="35066">
                  <c:v>-6.6386554621848698E-2</c:v>
                </c:pt>
                <c:pt idx="35067">
                  <c:v>-6.6386554621848698E-2</c:v>
                </c:pt>
                <c:pt idx="35068">
                  <c:v>-6.6386554621848698E-2</c:v>
                </c:pt>
                <c:pt idx="35069">
                  <c:v>-6.6386554621848698E-2</c:v>
                </c:pt>
                <c:pt idx="35070">
                  <c:v>-6.6386554621848698E-2</c:v>
                </c:pt>
                <c:pt idx="35071">
                  <c:v>-6.6386554621848698E-2</c:v>
                </c:pt>
                <c:pt idx="35072">
                  <c:v>-6.6386554621848698E-2</c:v>
                </c:pt>
                <c:pt idx="35073">
                  <c:v>-6.6386554621848698E-2</c:v>
                </c:pt>
                <c:pt idx="35074">
                  <c:v>-6.6386554621848698E-2</c:v>
                </c:pt>
                <c:pt idx="35075">
                  <c:v>-6.6386554621848698E-2</c:v>
                </c:pt>
                <c:pt idx="35076">
                  <c:v>-6.6386554621848698E-2</c:v>
                </c:pt>
                <c:pt idx="35077">
                  <c:v>-6.6386554621848698E-2</c:v>
                </c:pt>
                <c:pt idx="35078">
                  <c:v>-6.6386554621848698E-2</c:v>
                </c:pt>
                <c:pt idx="35079">
                  <c:v>-6.6386554621848698E-2</c:v>
                </c:pt>
                <c:pt idx="35080">
                  <c:v>-6.6386554621848698E-2</c:v>
                </c:pt>
                <c:pt idx="35081">
                  <c:v>-6.7226890756302504E-2</c:v>
                </c:pt>
                <c:pt idx="35082">
                  <c:v>-6.7226890756302504E-2</c:v>
                </c:pt>
                <c:pt idx="35083">
                  <c:v>-6.7226890756302504E-2</c:v>
                </c:pt>
                <c:pt idx="35084">
                  <c:v>-6.7226890756302504E-2</c:v>
                </c:pt>
                <c:pt idx="35085">
                  <c:v>-6.7226890756302504E-2</c:v>
                </c:pt>
                <c:pt idx="35086">
                  <c:v>-6.7226890756302504E-2</c:v>
                </c:pt>
                <c:pt idx="35087">
                  <c:v>-6.7226890756302504E-2</c:v>
                </c:pt>
                <c:pt idx="35088">
                  <c:v>-6.7226890756302504E-2</c:v>
                </c:pt>
                <c:pt idx="35089">
                  <c:v>-6.7226890756302504E-2</c:v>
                </c:pt>
                <c:pt idx="35090">
                  <c:v>-6.7226890756302504E-2</c:v>
                </c:pt>
                <c:pt idx="35091">
                  <c:v>-6.7226890756302504E-2</c:v>
                </c:pt>
                <c:pt idx="35092">
                  <c:v>-6.7226890756302504E-2</c:v>
                </c:pt>
                <c:pt idx="35093">
                  <c:v>-6.7226890756302504E-2</c:v>
                </c:pt>
                <c:pt idx="35094">
                  <c:v>-6.7226890756302504E-2</c:v>
                </c:pt>
                <c:pt idx="35095">
                  <c:v>-6.7226890756302504E-2</c:v>
                </c:pt>
                <c:pt idx="35096">
                  <c:v>-6.7226890756302504E-2</c:v>
                </c:pt>
                <c:pt idx="35097">
                  <c:v>-6.7226890756302504E-2</c:v>
                </c:pt>
                <c:pt idx="35098">
                  <c:v>-6.7226890756302504E-2</c:v>
                </c:pt>
                <c:pt idx="35099">
                  <c:v>-6.7226890756302504E-2</c:v>
                </c:pt>
                <c:pt idx="35100">
                  <c:v>-6.7226890756302504E-2</c:v>
                </c:pt>
                <c:pt idx="35101">
                  <c:v>-6.7226890756302504E-2</c:v>
                </c:pt>
                <c:pt idx="35102">
                  <c:v>-6.7226890756302504E-2</c:v>
                </c:pt>
                <c:pt idx="35103">
                  <c:v>-6.7226890756302504E-2</c:v>
                </c:pt>
                <c:pt idx="35104">
                  <c:v>-6.7226890756302504E-2</c:v>
                </c:pt>
                <c:pt idx="35105">
                  <c:v>-6.7226890756302504E-2</c:v>
                </c:pt>
                <c:pt idx="35106">
                  <c:v>-6.7226890756302504E-2</c:v>
                </c:pt>
                <c:pt idx="35107">
                  <c:v>-6.7226890756302504E-2</c:v>
                </c:pt>
                <c:pt idx="35108">
                  <c:v>-6.7226890756302504E-2</c:v>
                </c:pt>
                <c:pt idx="35109">
                  <c:v>-6.7226890756302504E-2</c:v>
                </c:pt>
                <c:pt idx="35110">
                  <c:v>-6.7226890756302504E-2</c:v>
                </c:pt>
                <c:pt idx="35111">
                  <c:v>-6.7226890756302504E-2</c:v>
                </c:pt>
                <c:pt idx="35112">
                  <c:v>-6.7226890756302504E-2</c:v>
                </c:pt>
                <c:pt idx="35113">
                  <c:v>-6.7226890756302504E-2</c:v>
                </c:pt>
                <c:pt idx="35114">
                  <c:v>-6.7226890756302504E-2</c:v>
                </c:pt>
                <c:pt idx="35115">
                  <c:v>-6.7226890756302504E-2</c:v>
                </c:pt>
                <c:pt idx="35116">
                  <c:v>-6.7226890756302504E-2</c:v>
                </c:pt>
                <c:pt idx="35117">
                  <c:v>-6.7226890756302504E-2</c:v>
                </c:pt>
                <c:pt idx="35118">
                  <c:v>-6.7226890756302504E-2</c:v>
                </c:pt>
                <c:pt idx="35119">
                  <c:v>-6.7226890756302504E-2</c:v>
                </c:pt>
                <c:pt idx="35120">
                  <c:v>-6.7226890756302504E-2</c:v>
                </c:pt>
                <c:pt idx="35121">
                  <c:v>-6.7226890756302504E-2</c:v>
                </c:pt>
                <c:pt idx="35122">
                  <c:v>-6.7226890756302504E-2</c:v>
                </c:pt>
                <c:pt idx="35123">
                  <c:v>-6.7226890756302504E-2</c:v>
                </c:pt>
                <c:pt idx="35124">
                  <c:v>-6.7226890756302504E-2</c:v>
                </c:pt>
                <c:pt idx="35125">
                  <c:v>-6.7226890756302504E-2</c:v>
                </c:pt>
                <c:pt idx="35126">
                  <c:v>-6.7226890756302504E-2</c:v>
                </c:pt>
                <c:pt idx="35127">
                  <c:v>-6.7226890756302504E-2</c:v>
                </c:pt>
                <c:pt idx="35128">
                  <c:v>-6.7226890756302504E-2</c:v>
                </c:pt>
                <c:pt idx="35129">
                  <c:v>-6.7226890756302504E-2</c:v>
                </c:pt>
                <c:pt idx="35130">
                  <c:v>-6.7226890756302504E-2</c:v>
                </c:pt>
                <c:pt idx="35131">
                  <c:v>-6.7226890756302504E-2</c:v>
                </c:pt>
                <c:pt idx="35132">
                  <c:v>-6.7226890756302504E-2</c:v>
                </c:pt>
                <c:pt idx="35133">
                  <c:v>-6.7226890756302504E-2</c:v>
                </c:pt>
                <c:pt idx="35134">
                  <c:v>-6.7226890756302504E-2</c:v>
                </c:pt>
                <c:pt idx="35135">
                  <c:v>-6.7226890756302504E-2</c:v>
                </c:pt>
                <c:pt idx="35136">
                  <c:v>-6.7226890756302504E-2</c:v>
                </c:pt>
                <c:pt idx="35137">
                  <c:v>-6.7226890756302504E-2</c:v>
                </c:pt>
                <c:pt idx="35138">
                  <c:v>-6.7226890756302504E-2</c:v>
                </c:pt>
                <c:pt idx="35139">
                  <c:v>-6.7226890756302504E-2</c:v>
                </c:pt>
                <c:pt idx="35140">
                  <c:v>-6.7226890756302504E-2</c:v>
                </c:pt>
                <c:pt idx="35141">
                  <c:v>-6.7226890756302504E-2</c:v>
                </c:pt>
                <c:pt idx="35142">
                  <c:v>-6.7226890756302504E-2</c:v>
                </c:pt>
                <c:pt idx="35143">
                  <c:v>-6.7226890756302504E-2</c:v>
                </c:pt>
                <c:pt idx="35144">
                  <c:v>-6.7226890756302504E-2</c:v>
                </c:pt>
                <c:pt idx="35145">
                  <c:v>-6.7226890756302504E-2</c:v>
                </c:pt>
                <c:pt idx="35146">
                  <c:v>-6.7226890756302504E-2</c:v>
                </c:pt>
                <c:pt idx="35147">
                  <c:v>-6.7226890756302504E-2</c:v>
                </c:pt>
                <c:pt idx="35148">
                  <c:v>-6.7226890756302504E-2</c:v>
                </c:pt>
                <c:pt idx="35149">
                  <c:v>-6.7226890756302504E-2</c:v>
                </c:pt>
                <c:pt idx="35150">
                  <c:v>-6.7226890756302504E-2</c:v>
                </c:pt>
                <c:pt idx="35151">
                  <c:v>-6.7226890756302504E-2</c:v>
                </c:pt>
                <c:pt idx="35152">
                  <c:v>-6.7226890756302504E-2</c:v>
                </c:pt>
                <c:pt idx="35153">
                  <c:v>-6.7226890756302504E-2</c:v>
                </c:pt>
                <c:pt idx="35154">
                  <c:v>-6.7226890756302504E-2</c:v>
                </c:pt>
                <c:pt idx="35155">
                  <c:v>-6.8067226890756394E-2</c:v>
                </c:pt>
                <c:pt idx="35156">
                  <c:v>-6.8067226890756394E-2</c:v>
                </c:pt>
                <c:pt idx="35157">
                  <c:v>-6.8067226890756394E-2</c:v>
                </c:pt>
                <c:pt idx="35158">
                  <c:v>-6.8067226890756394E-2</c:v>
                </c:pt>
                <c:pt idx="35159">
                  <c:v>-6.8067226890756394E-2</c:v>
                </c:pt>
                <c:pt idx="35160">
                  <c:v>-6.8067226890756394E-2</c:v>
                </c:pt>
                <c:pt idx="35161">
                  <c:v>-6.8067226890756394E-2</c:v>
                </c:pt>
                <c:pt idx="35162">
                  <c:v>-6.8067226890756394E-2</c:v>
                </c:pt>
                <c:pt idx="35163">
                  <c:v>-6.8067226890756394E-2</c:v>
                </c:pt>
                <c:pt idx="35164">
                  <c:v>-6.8067226890756394E-2</c:v>
                </c:pt>
                <c:pt idx="35165">
                  <c:v>-6.8067226890756394E-2</c:v>
                </c:pt>
                <c:pt idx="35166">
                  <c:v>-6.8067226890756394E-2</c:v>
                </c:pt>
                <c:pt idx="35167">
                  <c:v>-6.8067226890756394E-2</c:v>
                </c:pt>
                <c:pt idx="35168">
                  <c:v>-6.8067226890756394E-2</c:v>
                </c:pt>
                <c:pt idx="35169">
                  <c:v>-6.8067226890756394E-2</c:v>
                </c:pt>
                <c:pt idx="35170">
                  <c:v>-6.8067226890756394E-2</c:v>
                </c:pt>
                <c:pt idx="35171">
                  <c:v>-6.8067226890756394E-2</c:v>
                </c:pt>
                <c:pt idx="35172">
                  <c:v>-6.8067226890756394E-2</c:v>
                </c:pt>
                <c:pt idx="35173">
                  <c:v>-6.8067226890756394E-2</c:v>
                </c:pt>
                <c:pt idx="35174">
                  <c:v>-6.8067226890756394E-2</c:v>
                </c:pt>
                <c:pt idx="35175">
                  <c:v>-6.8067226890756394E-2</c:v>
                </c:pt>
                <c:pt idx="35176">
                  <c:v>-6.8067226890756394E-2</c:v>
                </c:pt>
                <c:pt idx="35177">
                  <c:v>-6.8067226890756394E-2</c:v>
                </c:pt>
                <c:pt idx="35178">
                  <c:v>-6.8067226890756394E-2</c:v>
                </c:pt>
                <c:pt idx="35179">
                  <c:v>-6.8067226890756394E-2</c:v>
                </c:pt>
                <c:pt idx="35180">
                  <c:v>-6.8067226890756394E-2</c:v>
                </c:pt>
                <c:pt idx="35181">
                  <c:v>-6.8067226890756394E-2</c:v>
                </c:pt>
                <c:pt idx="35182">
                  <c:v>-6.8067226890756394E-2</c:v>
                </c:pt>
                <c:pt idx="35183">
                  <c:v>-6.8067226890756394E-2</c:v>
                </c:pt>
                <c:pt idx="35184">
                  <c:v>-6.8067226890756394E-2</c:v>
                </c:pt>
                <c:pt idx="35185">
                  <c:v>-6.8907563025210103E-2</c:v>
                </c:pt>
                <c:pt idx="35186">
                  <c:v>-6.8907563025210103E-2</c:v>
                </c:pt>
                <c:pt idx="35187">
                  <c:v>-6.8907563025210103E-2</c:v>
                </c:pt>
                <c:pt idx="35188">
                  <c:v>-6.8907563025210103E-2</c:v>
                </c:pt>
                <c:pt idx="35189">
                  <c:v>-6.8907563025210103E-2</c:v>
                </c:pt>
                <c:pt idx="35190">
                  <c:v>-6.8907563025210103E-2</c:v>
                </c:pt>
                <c:pt idx="35191">
                  <c:v>-6.8907563025210103E-2</c:v>
                </c:pt>
                <c:pt idx="35192">
                  <c:v>-6.8907563025210103E-2</c:v>
                </c:pt>
                <c:pt idx="35193">
                  <c:v>-6.8907563025210103E-2</c:v>
                </c:pt>
                <c:pt idx="35194">
                  <c:v>-6.8907563025210103E-2</c:v>
                </c:pt>
                <c:pt idx="35195">
                  <c:v>-6.8907563025210103E-2</c:v>
                </c:pt>
                <c:pt idx="35196">
                  <c:v>-6.8907563025210103E-2</c:v>
                </c:pt>
                <c:pt idx="35197">
                  <c:v>-6.8907563025210103E-2</c:v>
                </c:pt>
                <c:pt idx="35198">
                  <c:v>-6.8907563025210103E-2</c:v>
                </c:pt>
                <c:pt idx="35199">
                  <c:v>-6.8907563025210103E-2</c:v>
                </c:pt>
                <c:pt idx="35200">
                  <c:v>-6.8907563025210103E-2</c:v>
                </c:pt>
                <c:pt idx="35201">
                  <c:v>-6.8907563025210103E-2</c:v>
                </c:pt>
                <c:pt idx="35202">
                  <c:v>-6.8907563025210103E-2</c:v>
                </c:pt>
                <c:pt idx="35203">
                  <c:v>-6.8907563025210103E-2</c:v>
                </c:pt>
                <c:pt idx="35204">
                  <c:v>-6.8907563025210103E-2</c:v>
                </c:pt>
                <c:pt idx="35205">
                  <c:v>-6.8907563025210103E-2</c:v>
                </c:pt>
                <c:pt idx="35206">
                  <c:v>-6.8907563025210103E-2</c:v>
                </c:pt>
                <c:pt idx="35207">
                  <c:v>-6.8907563025210103E-2</c:v>
                </c:pt>
                <c:pt idx="35208">
                  <c:v>-6.8907563025210103E-2</c:v>
                </c:pt>
                <c:pt idx="35209">
                  <c:v>-6.8907563025210103E-2</c:v>
                </c:pt>
                <c:pt idx="35210">
                  <c:v>-6.8907563025210103E-2</c:v>
                </c:pt>
                <c:pt idx="35211">
                  <c:v>-6.8907563025210103E-2</c:v>
                </c:pt>
                <c:pt idx="35212">
                  <c:v>-6.8907563025210103E-2</c:v>
                </c:pt>
                <c:pt idx="35213">
                  <c:v>-6.8907563025210103E-2</c:v>
                </c:pt>
                <c:pt idx="35214">
                  <c:v>-6.8907563025210103E-2</c:v>
                </c:pt>
                <c:pt idx="35215">
                  <c:v>-6.8907563025210103E-2</c:v>
                </c:pt>
                <c:pt idx="35216">
                  <c:v>-6.8907563025210103E-2</c:v>
                </c:pt>
                <c:pt idx="35217">
                  <c:v>-6.8907563025210103E-2</c:v>
                </c:pt>
                <c:pt idx="35218">
                  <c:v>-6.8907563025210103E-2</c:v>
                </c:pt>
                <c:pt idx="35219">
                  <c:v>-6.8907563025210103E-2</c:v>
                </c:pt>
                <c:pt idx="35220">
                  <c:v>-6.8907563025210103E-2</c:v>
                </c:pt>
                <c:pt idx="35221">
                  <c:v>-6.8907563025210103E-2</c:v>
                </c:pt>
                <c:pt idx="35222">
                  <c:v>-6.8907563025210103E-2</c:v>
                </c:pt>
                <c:pt idx="35223">
                  <c:v>-6.8907563025210103E-2</c:v>
                </c:pt>
                <c:pt idx="35224">
                  <c:v>-6.8907563025210103E-2</c:v>
                </c:pt>
                <c:pt idx="35225">
                  <c:v>-6.8907563025210103E-2</c:v>
                </c:pt>
                <c:pt idx="35226">
                  <c:v>-6.8907563025210103E-2</c:v>
                </c:pt>
                <c:pt idx="35227">
                  <c:v>-6.8907563025210103E-2</c:v>
                </c:pt>
                <c:pt idx="35228">
                  <c:v>-6.8907563025210103E-2</c:v>
                </c:pt>
                <c:pt idx="35229">
                  <c:v>-6.8907563025210103E-2</c:v>
                </c:pt>
                <c:pt idx="35230">
                  <c:v>-6.8907563025210103E-2</c:v>
                </c:pt>
                <c:pt idx="35231">
                  <c:v>-6.8907563025210103E-2</c:v>
                </c:pt>
                <c:pt idx="35232">
                  <c:v>-6.8907563025210103E-2</c:v>
                </c:pt>
                <c:pt idx="35233">
                  <c:v>-6.8907563025210103E-2</c:v>
                </c:pt>
                <c:pt idx="35234">
                  <c:v>-6.8907563025210103E-2</c:v>
                </c:pt>
                <c:pt idx="35235">
                  <c:v>-6.8907563025210103E-2</c:v>
                </c:pt>
                <c:pt idx="35236">
                  <c:v>-6.8907563025210103E-2</c:v>
                </c:pt>
                <c:pt idx="35237">
                  <c:v>-6.8907563025210103E-2</c:v>
                </c:pt>
                <c:pt idx="35238">
                  <c:v>-6.8907563025210103E-2</c:v>
                </c:pt>
                <c:pt idx="35239">
                  <c:v>-6.8907563025210103E-2</c:v>
                </c:pt>
                <c:pt idx="35240">
                  <c:v>-6.8907563025210103E-2</c:v>
                </c:pt>
                <c:pt idx="35241">
                  <c:v>-6.8907563025210103E-2</c:v>
                </c:pt>
                <c:pt idx="35242">
                  <c:v>-6.8907563025210103E-2</c:v>
                </c:pt>
                <c:pt idx="35243">
                  <c:v>-6.8907563025210103E-2</c:v>
                </c:pt>
                <c:pt idx="35244">
                  <c:v>-6.8907563025210103E-2</c:v>
                </c:pt>
                <c:pt idx="35245">
                  <c:v>-6.8907563025210103E-2</c:v>
                </c:pt>
                <c:pt idx="35246">
                  <c:v>-6.8907563025210103E-2</c:v>
                </c:pt>
                <c:pt idx="35247">
                  <c:v>-6.8907563025210103E-2</c:v>
                </c:pt>
                <c:pt idx="35248">
                  <c:v>-6.8907563025210103E-2</c:v>
                </c:pt>
                <c:pt idx="35249">
                  <c:v>-6.8907563025210103E-2</c:v>
                </c:pt>
                <c:pt idx="35250">
                  <c:v>-6.8907563025210103E-2</c:v>
                </c:pt>
                <c:pt idx="35251">
                  <c:v>-6.8907563025210103E-2</c:v>
                </c:pt>
                <c:pt idx="35252">
                  <c:v>-6.8907563025210103E-2</c:v>
                </c:pt>
                <c:pt idx="35253">
                  <c:v>-6.9747899159663895E-2</c:v>
                </c:pt>
                <c:pt idx="35254">
                  <c:v>-6.9747899159663895E-2</c:v>
                </c:pt>
                <c:pt idx="35255">
                  <c:v>-6.9747899159663895E-2</c:v>
                </c:pt>
                <c:pt idx="35256">
                  <c:v>-6.9747899159663895E-2</c:v>
                </c:pt>
                <c:pt idx="35257">
                  <c:v>-6.9747899159663895E-2</c:v>
                </c:pt>
                <c:pt idx="35258">
                  <c:v>-6.9747899159663895E-2</c:v>
                </c:pt>
                <c:pt idx="35259">
                  <c:v>-6.9747899159663895E-2</c:v>
                </c:pt>
                <c:pt idx="35260">
                  <c:v>-6.9747899159663895E-2</c:v>
                </c:pt>
                <c:pt idx="35261">
                  <c:v>-6.9747899159663895E-2</c:v>
                </c:pt>
                <c:pt idx="35262">
                  <c:v>-6.9747899159663895E-2</c:v>
                </c:pt>
                <c:pt idx="35263">
                  <c:v>-6.9747899159663895E-2</c:v>
                </c:pt>
                <c:pt idx="35264">
                  <c:v>-6.9747899159663895E-2</c:v>
                </c:pt>
                <c:pt idx="35265">
                  <c:v>-6.9747899159663895E-2</c:v>
                </c:pt>
                <c:pt idx="35266">
                  <c:v>-6.9747899159663895E-2</c:v>
                </c:pt>
                <c:pt idx="35267">
                  <c:v>-6.9747899159663895E-2</c:v>
                </c:pt>
                <c:pt idx="35268">
                  <c:v>-6.9747899159663895E-2</c:v>
                </c:pt>
                <c:pt idx="35269">
                  <c:v>-6.9747899159663895E-2</c:v>
                </c:pt>
                <c:pt idx="35270">
                  <c:v>-6.9747899159663895E-2</c:v>
                </c:pt>
                <c:pt idx="35271">
                  <c:v>-6.9747899159663895E-2</c:v>
                </c:pt>
                <c:pt idx="35272">
                  <c:v>-6.9747899159663895E-2</c:v>
                </c:pt>
                <c:pt idx="35273">
                  <c:v>-6.9747899159663895E-2</c:v>
                </c:pt>
                <c:pt idx="35274">
                  <c:v>-6.9747899159663895E-2</c:v>
                </c:pt>
                <c:pt idx="35275">
                  <c:v>-6.9747899159663895E-2</c:v>
                </c:pt>
                <c:pt idx="35276">
                  <c:v>-6.9747899159663895E-2</c:v>
                </c:pt>
                <c:pt idx="35277">
                  <c:v>-6.9747899159663895E-2</c:v>
                </c:pt>
                <c:pt idx="35278">
                  <c:v>-6.9747899159663895E-2</c:v>
                </c:pt>
                <c:pt idx="35279">
                  <c:v>-6.9747899159663895E-2</c:v>
                </c:pt>
                <c:pt idx="35280">
                  <c:v>-6.9747899159663895E-2</c:v>
                </c:pt>
                <c:pt idx="35281">
                  <c:v>-6.9747899159663895E-2</c:v>
                </c:pt>
                <c:pt idx="35282">
                  <c:v>-6.9747899159663895E-2</c:v>
                </c:pt>
                <c:pt idx="35283">
                  <c:v>-6.9747899159663895E-2</c:v>
                </c:pt>
                <c:pt idx="35284">
                  <c:v>-6.9747899159663895E-2</c:v>
                </c:pt>
                <c:pt idx="35285">
                  <c:v>-6.9747899159663895E-2</c:v>
                </c:pt>
                <c:pt idx="35286">
                  <c:v>-6.9747899159663895E-2</c:v>
                </c:pt>
                <c:pt idx="35287">
                  <c:v>-6.9747899159663895E-2</c:v>
                </c:pt>
                <c:pt idx="35288">
                  <c:v>-6.9747899159663895E-2</c:v>
                </c:pt>
                <c:pt idx="35289">
                  <c:v>-6.9747899159663895E-2</c:v>
                </c:pt>
                <c:pt idx="35290">
                  <c:v>-6.9747899159663895E-2</c:v>
                </c:pt>
                <c:pt idx="35291">
                  <c:v>-6.9747899159663895E-2</c:v>
                </c:pt>
                <c:pt idx="35292">
                  <c:v>-6.9747899159663895E-2</c:v>
                </c:pt>
                <c:pt idx="35293">
                  <c:v>-6.9747899159663895E-2</c:v>
                </c:pt>
                <c:pt idx="35294">
                  <c:v>-6.9747899159663895E-2</c:v>
                </c:pt>
                <c:pt idx="35295">
                  <c:v>-6.9747899159663895E-2</c:v>
                </c:pt>
                <c:pt idx="35296">
                  <c:v>-6.9747899159663895E-2</c:v>
                </c:pt>
                <c:pt idx="35297">
                  <c:v>-6.9747899159663895E-2</c:v>
                </c:pt>
                <c:pt idx="35298">
                  <c:v>-6.9747899159663895E-2</c:v>
                </c:pt>
                <c:pt idx="35299">
                  <c:v>-7.0588235294117702E-2</c:v>
                </c:pt>
                <c:pt idx="35300">
                  <c:v>-7.0588235294117702E-2</c:v>
                </c:pt>
                <c:pt idx="35301">
                  <c:v>-7.0588235294117702E-2</c:v>
                </c:pt>
                <c:pt idx="35302">
                  <c:v>-7.0588235294117702E-2</c:v>
                </c:pt>
                <c:pt idx="35303">
                  <c:v>-7.0588235294117702E-2</c:v>
                </c:pt>
                <c:pt idx="35304">
                  <c:v>-7.0588235294117702E-2</c:v>
                </c:pt>
                <c:pt idx="35305">
                  <c:v>-7.0588235294117702E-2</c:v>
                </c:pt>
                <c:pt idx="35306">
                  <c:v>-7.0588235294117702E-2</c:v>
                </c:pt>
                <c:pt idx="35307">
                  <c:v>-7.0588235294117702E-2</c:v>
                </c:pt>
                <c:pt idx="35308">
                  <c:v>-7.0588235294117702E-2</c:v>
                </c:pt>
                <c:pt idx="35309">
                  <c:v>-7.0588235294117702E-2</c:v>
                </c:pt>
                <c:pt idx="35310">
                  <c:v>-7.0588235294117702E-2</c:v>
                </c:pt>
                <c:pt idx="35311">
                  <c:v>-7.0588235294117702E-2</c:v>
                </c:pt>
                <c:pt idx="35312">
                  <c:v>-7.0588235294117702E-2</c:v>
                </c:pt>
                <c:pt idx="35313">
                  <c:v>-7.0588235294117702E-2</c:v>
                </c:pt>
                <c:pt idx="35314">
                  <c:v>-7.0588235294117702E-2</c:v>
                </c:pt>
                <c:pt idx="35315">
                  <c:v>-7.0588235294117702E-2</c:v>
                </c:pt>
                <c:pt idx="35316">
                  <c:v>-7.0588235294117702E-2</c:v>
                </c:pt>
                <c:pt idx="35317">
                  <c:v>-7.0588235294117702E-2</c:v>
                </c:pt>
                <c:pt idx="35318">
                  <c:v>-7.0588235294117702E-2</c:v>
                </c:pt>
                <c:pt idx="35319">
                  <c:v>-7.0588235294117702E-2</c:v>
                </c:pt>
                <c:pt idx="35320">
                  <c:v>-7.0588235294117702E-2</c:v>
                </c:pt>
                <c:pt idx="35321">
                  <c:v>-7.0588235294117702E-2</c:v>
                </c:pt>
                <c:pt idx="35322">
                  <c:v>-7.0588235294117702E-2</c:v>
                </c:pt>
                <c:pt idx="35323">
                  <c:v>-7.0588235294117702E-2</c:v>
                </c:pt>
                <c:pt idx="35324">
                  <c:v>-7.0588235294117702E-2</c:v>
                </c:pt>
                <c:pt idx="35325">
                  <c:v>-7.1428571428571494E-2</c:v>
                </c:pt>
                <c:pt idx="35326">
                  <c:v>-7.1428571428571494E-2</c:v>
                </c:pt>
                <c:pt idx="35327">
                  <c:v>-7.1428571428571494E-2</c:v>
                </c:pt>
                <c:pt idx="35328">
                  <c:v>-7.1428571428571494E-2</c:v>
                </c:pt>
                <c:pt idx="35329">
                  <c:v>-7.1428571428571494E-2</c:v>
                </c:pt>
                <c:pt idx="35330">
                  <c:v>-7.1428571428571494E-2</c:v>
                </c:pt>
                <c:pt idx="35331">
                  <c:v>-7.1428571428571494E-2</c:v>
                </c:pt>
                <c:pt idx="35332">
                  <c:v>-7.1428571428571494E-2</c:v>
                </c:pt>
                <c:pt idx="35333">
                  <c:v>-7.1428571428571494E-2</c:v>
                </c:pt>
                <c:pt idx="35334">
                  <c:v>-7.1428571428571494E-2</c:v>
                </c:pt>
                <c:pt idx="35335">
                  <c:v>-7.1428571428571494E-2</c:v>
                </c:pt>
                <c:pt idx="35336">
                  <c:v>-7.1428571428571494E-2</c:v>
                </c:pt>
                <c:pt idx="35337">
                  <c:v>-7.1428571428571494E-2</c:v>
                </c:pt>
                <c:pt idx="35338">
                  <c:v>-7.1428571428571494E-2</c:v>
                </c:pt>
                <c:pt idx="35339">
                  <c:v>-7.1428571428571494E-2</c:v>
                </c:pt>
                <c:pt idx="35340">
                  <c:v>-7.1428571428571494E-2</c:v>
                </c:pt>
                <c:pt idx="35341">
                  <c:v>-7.1428571428571494E-2</c:v>
                </c:pt>
                <c:pt idx="35342">
                  <c:v>-7.1428571428571494E-2</c:v>
                </c:pt>
                <c:pt idx="35343">
                  <c:v>-7.1428571428571494E-2</c:v>
                </c:pt>
                <c:pt idx="35344">
                  <c:v>-7.1428571428571494E-2</c:v>
                </c:pt>
                <c:pt idx="35345">
                  <c:v>-7.1428571428571494E-2</c:v>
                </c:pt>
                <c:pt idx="35346">
                  <c:v>-7.1428571428571494E-2</c:v>
                </c:pt>
                <c:pt idx="35347">
                  <c:v>-7.1428571428571494E-2</c:v>
                </c:pt>
                <c:pt idx="35348">
                  <c:v>-7.1428571428571494E-2</c:v>
                </c:pt>
                <c:pt idx="35349">
                  <c:v>-7.1428571428571494E-2</c:v>
                </c:pt>
                <c:pt idx="35350">
                  <c:v>-7.2268907563025203E-2</c:v>
                </c:pt>
                <c:pt idx="35351">
                  <c:v>-7.2268907563025203E-2</c:v>
                </c:pt>
                <c:pt idx="35352">
                  <c:v>-7.2268907563025203E-2</c:v>
                </c:pt>
                <c:pt idx="35353">
                  <c:v>-7.2268907563025203E-2</c:v>
                </c:pt>
                <c:pt idx="35354">
                  <c:v>-7.2268907563025203E-2</c:v>
                </c:pt>
                <c:pt idx="35355">
                  <c:v>-7.2268907563025203E-2</c:v>
                </c:pt>
                <c:pt idx="35356">
                  <c:v>-7.2268907563025203E-2</c:v>
                </c:pt>
                <c:pt idx="35357">
                  <c:v>-7.2268907563025203E-2</c:v>
                </c:pt>
                <c:pt idx="35358">
                  <c:v>-7.3109243697478996E-2</c:v>
                </c:pt>
                <c:pt idx="35359">
                  <c:v>-7.3109243697478996E-2</c:v>
                </c:pt>
                <c:pt idx="35360">
                  <c:v>-7.3109243697478996E-2</c:v>
                </c:pt>
                <c:pt idx="35361">
                  <c:v>-7.3109243697478996E-2</c:v>
                </c:pt>
                <c:pt idx="35362">
                  <c:v>-7.3109243697478996E-2</c:v>
                </c:pt>
                <c:pt idx="35363">
                  <c:v>-7.3109243697478996E-2</c:v>
                </c:pt>
                <c:pt idx="35364">
                  <c:v>-7.3109243697478996E-2</c:v>
                </c:pt>
                <c:pt idx="35365">
                  <c:v>-7.3109243697478996E-2</c:v>
                </c:pt>
                <c:pt idx="35366">
                  <c:v>-7.3109243697478996E-2</c:v>
                </c:pt>
                <c:pt idx="35367">
                  <c:v>-7.3109243697478996E-2</c:v>
                </c:pt>
                <c:pt idx="35368">
                  <c:v>-7.3109243697478996E-2</c:v>
                </c:pt>
                <c:pt idx="35369">
                  <c:v>-7.3109243697478996E-2</c:v>
                </c:pt>
                <c:pt idx="35370">
                  <c:v>-7.3109243697478996E-2</c:v>
                </c:pt>
                <c:pt idx="35371">
                  <c:v>-7.3109243697478996E-2</c:v>
                </c:pt>
                <c:pt idx="35372">
                  <c:v>-7.3109243697478996E-2</c:v>
                </c:pt>
                <c:pt idx="35373">
                  <c:v>-7.3109243697478996E-2</c:v>
                </c:pt>
                <c:pt idx="35374">
                  <c:v>-7.3109243697478996E-2</c:v>
                </c:pt>
                <c:pt idx="35375">
                  <c:v>-7.3109243697478996E-2</c:v>
                </c:pt>
                <c:pt idx="35376">
                  <c:v>-7.3109243697478996E-2</c:v>
                </c:pt>
                <c:pt idx="35377">
                  <c:v>-7.3109243697478996E-2</c:v>
                </c:pt>
                <c:pt idx="35378">
                  <c:v>-7.3109243697478996E-2</c:v>
                </c:pt>
                <c:pt idx="35379">
                  <c:v>-7.3109243697478996E-2</c:v>
                </c:pt>
                <c:pt idx="35380">
                  <c:v>-7.3949579831932802E-2</c:v>
                </c:pt>
                <c:pt idx="35381">
                  <c:v>-7.3949579831932802E-2</c:v>
                </c:pt>
                <c:pt idx="35382">
                  <c:v>-7.3949579831932802E-2</c:v>
                </c:pt>
                <c:pt idx="35383">
                  <c:v>-7.3949579831932802E-2</c:v>
                </c:pt>
                <c:pt idx="35384">
                  <c:v>-7.3949579831932802E-2</c:v>
                </c:pt>
                <c:pt idx="35385">
                  <c:v>-7.3949579831932802E-2</c:v>
                </c:pt>
                <c:pt idx="35386">
                  <c:v>-7.3949579831932802E-2</c:v>
                </c:pt>
                <c:pt idx="35387">
                  <c:v>-7.3949579831932802E-2</c:v>
                </c:pt>
                <c:pt idx="35388">
                  <c:v>-7.3949579831932802E-2</c:v>
                </c:pt>
                <c:pt idx="35389">
                  <c:v>-7.3949579831932802E-2</c:v>
                </c:pt>
                <c:pt idx="35390">
                  <c:v>-7.3949579831932802E-2</c:v>
                </c:pt>
                <c:pt idx="35391">
                  <c:v>-7.3949579831932802E-2</c:v>
                </c:pt>
                <c:pt idx="35392">
                  <c:v>-7.3949579831932802E-2</c:v>
                </c:pt>
                <c:pt idx="35393">
                  <c:v>-7.3949579831932802E-2</c:v>
                </c:pt>
                <c:pt idx="35394">
                  <c:v>-7.3949579831932802E-2</c:v>
                </c:pt>
                <c:pt idx="35395">
                  <c:v>-7.3949579831932802E-2</c:v>
                </c:pt>
                <c:pt idx="35396">
                  <c:v>-7.3949579831932802E-2</c:v>
                </c:pt>
                <c:pt idx="35397">
                  <c:v>-7.3949579831932802E-2</c:v>
                </c:pt>
                <c:pt idx="35398">
                  <c:v>-7.3949579831932802E-2</c:v>
                </c:pt>
                <c:pt idx="35399">
                  <c:v>-7.3949579831932802E-2</c:v>
                </c:pt>
                <c:pt idx="35400">
                  <c:v>-7.3949579831932802E-2</c:v>
                </c:pt>
                <c:pt idx="35401">
                  <c:v>-7.3949579831932802E-2</c:v>
                </c:pt>
                <c:pt idx="35402">
                  <c:v>-7.3949579831932802E-2</c:v>
                </c:pt>
                <c:pt idx="35403">
                  <c:v>-7.3949579831932802E-2</c:v>
                </c:pt>
                <c:pt idx="35404">
                  <c:v>-7.3949579831932802E-2</c:v>
                </c:pt>
                <c:pt idx="35405">
                  <c:v>-7.3949579831932802E-2</c:v>
                </c:pt>
                <c:pt idx="35406">
                  <c:v>-7.3949579831932802E-2</c:v>
                </c:pt>
                <c:pt idx="35407">
                  <c:v>-7.3949579831932802E-2</c:v>
                </c:pt>
                <c:pt idx="35408">
                  <c:v>-7.3949579831932802E-2</c:v>
                </c:pt>
                <c:pt idx="35409">
                  <c:v>-7.3949579831932802E-2</c:v>
                </c:pt>
                <c:pt idx="35410">
                  <c:v>-7.3949579831932802E-2</c:v>
                </c:pt>
                <c:pt idx="35411">
                  <c:v>-7.3949579831932802E-2</c:v>
                </c:pt>
                <c:pt idx="35412">
                  <c:v>-7.3949579831932802E-2</c:v>
                </c:pt>
                <c:pt idx="35413">
                  <c:v>-7.3949579831932802E-2</c:v>
                </c:pt>
                <c:pt idx="35414">
                  <c:v>-7.3949579831932802E-2</c:v>
                </c:pt>
                <c:pt idx="35415">
                  <c:v>-7.3949579831932802E-2</c:v>
                </c:pt>
                <c:pt idx="35416">
                  <c:v>-7.3949579831932802E-2</c:v>
                </c:pt>
                <c:pt idx="35417">
                  <c:v>-7.3949579831932802E-2</c:v>
                </c:pt>
                <c:pt idx="35418">
                  <c:v>-7.4789915966386594E-2</c:v>
                </c:pt>
                <c:pt idx="35419">
                  <c:v>-7.4789915966386594E-2</c:v>
                </c:pt>
                <c:pt idx="35420">
                  <c:v>-7.4789915966386594E-2</c:v>
                </c:pt>
                <c:pt idx="35421">
                  <c:v>-7.4789915966386594E-2</c:v>
                </c:pt>
                <c:pt idx="35422">
                  <c:v>-7.4789915966386594E-2</c:v>
                </c:pt>
                <c:pt idx="35423">
                  <c:v>-7.4789915966386594E-2</c:v>
                </c:pt>
                <c:pt idx="35424">
                  <c:v>-7.4789915966386594E-2</c:v>
                </c:pt>
                <c:pt idx="35425">
                  <c:v>-7.4789915966386594E-2</c:v>
                </c:pt>
                <c:pt idx="35426">
                  <c:v>-7.4789915966386594E-2</c:v>
                </c:pt>
                <c:pt idx="35427">
                  <c:v>-7.4789915966386594E-2</c:v>
                </c:pt>
                <c:pt idx="35428">
                  <c:v>-7.4789915966386594E-2</c:v>
                </c:pt>
                <c:pt idx="35429">
                  <c:v>-7.4789915966386594E-2</c:v>
                </c:pt>
                <c:pt idx="35430">
                  <c:v>-7.4789915966386594E-2</c:v>
                </c:pt>
                <c:pt idx="35431">
                  <c:v>-7.4789915966386594E-2</c:v>
                </c:pt>
                <c:pt idx="35432">
                  <c:v>-7.4789915966386594E-2</c:v>
                </c:pt>
                <c:pt idx="35433">
                  <c:v>-7.4789915966386594E-2</c:v>
                </c:pt>
                <c:pt idx="35434">
                  <c:v>-7.4789915966386594E-2</c:v>
                </c:pt>
                <c:pt idx="35435">
                  <c:v>-7.4789915966386594E-2</c:v>
                </c:pt>
                <c:pt idx="35436">
                  <c:v>-7.4789915966386594E-2</c:v>
                </c:pt>
                <c:pt idx="35437">
                  <c:v>-7.4789915966386594E-2</c:v>
                </c:pt>
                <c:pt idx="35438">
                  <c:v>-7.4789915966386594E-2</c:v>
                </c:pt>
                <c:pt idx="35439">
                  <c:v>-7.4789915966386594E-2</c:v>
                </c:pt>
                <c:pt idx="35440">
                  <c:v>-7.4789915966386594E-2</c:v>
                </c:pt>
                <c:pt idx="35441">
                  <c:v>-7.4789915966386594E-2</c:v>
                </c:pt>
                <c:pt idx="35442">
                  <c:v>-7.4789915966386594E-2</c:v>
                </c:pt>
                <c:pt idx="35443">
                  <c:v>-7.4789915966386594E-2</c:v>
                </c:pt>
                <c:pt idx="35444">
                  <c:v>-7.4789915966386594E-2</c:v>
                </c:pt>
                <c:pt idx="35445">
                  <c:v>-7.4789915966386594E-2</c:v>
                </c:pt>
                <c:pt idx="35446">
                  <c:v>-7.4789915966386594E-2</c:v>
                </c:pt>
                <c:pt idx="35447">
                  <c:v>-7.4789915966386594E-2</c:v>
                </c:pt>
                <c:pt idx="35448">
                  <c:v>-7.4789915966386594E-2</c:v>
                </c:pt>
                <c:pt idx="35449">
                  <c:v>-7.4789915966386594E-2</c:v>
                </c:pt>
                <c:pt idx="35450">
                  <c:v>-7.4789915966386594E-2</c:v>
                </c:pt>
                <c:pt idx="35451">
                  <c:v>-7.4789915966386594E-2</c:v>
                </c:pt>
                <c:pt idx="35452">
                  <c:v>-7.4789915966386594E-2</c:v>
                </c:pt>
                <c:pt idx="35453">
                  <c:v>-7.4789915966386594E-2</c:v>
                </c:pt>
                <c:pt idx="35454">
                  <c:v>-7.4789915966386594E-2</c:v>
                </c:pt>
                <c:pt idx="35455">
                  <c:v>-7.4789915966386594E-2</c:v>
                </c:pt>
                <c:pt idx="35456">
                  <c:v>-7.4789915966386594E-2</c:v>
                </c:pt>
                <c:pt idx="35457">
                  <c:v>-7.5630252100840401E-2</c:v>
                </c:pt>
                <c:pt idx="35458">
                  <c:v>-7.5630252100840401E-2</c:v>
                </c:pt>
                <c:pt idx="35459">
                  <c:v>-7.5630252100840401E-2</c:v>
                </c:pt>
                <c:pt idx="35460">
                  <c:v>-7.5630252100840401E-2</c:v>
                </c:pt>
                <c:pt idx="35461">
                  <c:v>-7.5630252100840401E-2</c:v>
                </c:pt>
                <c:pt idx="35462">
                  <c:v>-7.5630252100840401E-2</c:v>
                </c:pt>
                <c:pt idx="35463">
                  <c:v>-7.5630252100840401E-2</c:v>
                </c:pt>
                <c:pt idx="35464">
                  <c:v>-7.5630252100840401E-2</c:v>
                </c:pt>
                <c:pt idx="35465">
                  <c:v>-7.5630252100840401E-2</c:v>
                </c:pt>
                <c:pt idx="35466">
                  <c:v>-7.5630252100840401E-2</c:v>
                </c:pt>
                <c:pt idx="35467">
                  <c:v>-7.5630252100840401E-2</c:v>
                </c:pt>
                <c:pt idx="35468">
                  <c:v>-7.5630252100840401E-2</c:v>
                </c:pt>
                <c:pt idx="35469">
                  <c:v>-7.5630252100840401E-2</c:v>
                </c:pt>
                <c:pt idx="35470">
                  <c:v>-7.5630252100840401E-2</c:v>
                </c:pt>
                <c:pt idx="35471">
                  <c:v>-7.4789915966386594E-2</c:v>
                </c:pt>
                <c:pt idx="35472">
                  <c:v>-7.4789915966386594E-2</c:v>
                </c:pt>
                <c:pt idx="35473">
                  <c:v>-7.4789915966386594E-2</c:v>
                </c:pt>
                <c:pt idx="35474">
                  <c:v>-7.4789915966386594E-2</c:v>
                </c:pt>
                <c:pt idx="35475">
                  <c:v>-7.4789915966386594E-2</c:v>
                </c:pt>
                <c:pt idx="35476">
                  <c:v>-7.4789915966386594E-2</c:v>
                </c:pt>
                <c:pt idx="35477">
                  <c:v>-7.4789915966386594E-2</c:v>
                </c:pt>
                <c:pt idx="35478">
                  <c:v>-7.4789915966386594E-2</c:v>
                </c:pt>
                <c:pt idx="35479">
                  <c:v>-7.4789915966386594E-2</c:v>
                </c:pt>
                <c:pt idx="35480">
                  <c:v>-7.4789915966386594E-2</c:v>
                </c:pt>
                <c:pt idx="35481">
                  <c:v>-7.4789915966386594E-2</c:v>
                </c:pt>
                <c:pt idx="35482">
                  <c:v>-7.4789915966386594E-2</c:v>
                </c:pt>
                <c:pt idx="35483">
                  <c:v>-7.4789915966386594E-2</c:v>
                </c:pt>
                <c:pt idx="35484">
                  <c:v>-7.4789915966386594E-2</c:v>
                </c:pt>
                <c:pt idx="35485">
                  <c:v>-7.4789915966386594E-2</c:v>
                </c:pt>
                <c:pt idx="35486">
                  <c:v>-7.4789915966386594E-2</c:v>
                </c:pt>
                <c:pt idx="35487">
                  <c:v>-7.4789915966386594E-2</c:v>
                </c:pt>
                <c:pt idx="35488">
                  <c:v>-7.4789915966386594E-2</c:v>
                </c:pt>
                <c:pt idx="35489">
                  <c:v>-7.4789915966386594E-2</c:v>
                </c:pt>
                <c:pt idx="35490">
                  <c:v>-7.4789915966386594E-2</c:v>
                </c:pt>
                <c:pt idx="35491">
                  <c:v>-7.4789915966386594E-2</c:v>
                </c:pt>
                <c:pt idx="35492">
                  <c:v>-7.4789915966386594E-2</c:v>
                </c:pt>
                <c:pt idx="35493">
                  <c:v>-7.4789915966386594E-2</c:v>
                </c:pt>
                <c:pt idx="35494">
                  <c:v>-7.4789915966386594E-2</c:v>
                </c:pt>
                <c:pt idx="35495">
                  <c:v>-7.4789915966386594E-2</c:v>
                </c:pt>
                <c:pt idx="35496">
                  <c:v>-7.4789915966386594E-2</c:v>
                </c:pt>
                <c:pt idx="35497">
                  <c:v>-7.4789915966386594E-2</c:v>
                </c:pt>
                <c:pt idx="35498">
                  <c:v>-7.4789915966386594E-2</c:v>
                </c:pt>
                <c:pt idx="35499">
                  <c:v>-7.4789915966386594E-2</c:v>
                </c:pt>
                <c:pt idx="35500">
                  <c:v>-7.4789915966386594E-2</c:v>
                </c:pt>
                <c:pt idx="35501">
                  <c:v>-7.4789915966386594E-2</c:v>
                </c:pt>
                <c:pt idx="35502">
                  <c:v>-7.4789915966386594E-2</c:v>
                </c:pt>
                <c:pt idx="35503">
                  <c:v>-7.4789915966386594E-2</c:v>
                </c:pt>
                <c:pt idx="35504">
                  <c:v>-7.4789915966386594E-2</c:v>
                </c:pt>
                <c:pt idx="35505">
                  <c:v>-7.4789915966386594E-2</c:v>
                </c:pt>
                <c:pt idx="35506">
                  <c:v>-7.4789915966386594E-2</c:v>
                </c:pt>
                <c:pt idx="35507">
                  <c:v>-7.4789915966386594E-2</c:v>
                </c:pt>
                <c:pt idx="35508">
                  <c:v>-7.4789915966386594E-2</c:v>
                </c:pt>
                <c:pt idx="35509">
                  <c:v>-7.4789915966386594E-2</c:v>
                </c:pt>
                <c:pt idx="35510">
                  <c:v>-7.4789915966386594E-2</c:v>
                </c:pt>
                <c:pt idx="35511">
                  <c:v>-7.4789915966386594E-2</c:v>
                </c:pt>
                <c:pt idx="35512">
                  <c:v>-7.4789915966386594E-2</c:v>
                </c:pt>
                <c:pt idx="35513">
                  <c:v>-7.4789915966386594E-2</c:v>
                </c:pt>
                <c:pt idx="35514">
                  <c:v>-7.4789915966386594E-2</c:v>
                </c:pt>
                <c:pt idx="35515">
                  <c:v>-7.4789915966386594E-2</c:v>
                </c:pt>
                <c:pt idx="35516">
                  <c:v>-7.4789915966386594E-2</c:v>
                </c:pt>
                <c:pt idx="35517">
                  <c:v>-7.4789915966386594E-2</c:v>
                </c:pt>
                <c:pt idx="35518">
                  <c:v>-7.4789915966386594E-2</c:v>
                </c:pt>
                <c:pt idx="35519">
                  <c:v>-7.4789915966386594E-2</c:v>
                </c:pt>
                <c:pt idx="35520">
                  <c:v>-7.4789915966386594E-2</c:v>
                </c:pt>
                <c:pt idx="35521">
                  <c:v>-7.4789915966386594E-2</c:v>
                </c:pt>
                <c:pt idx="35522">
                  <c:v>-7.4789915966386594E-2</c:v>
                </c:pt>
                <c:pt idx="35523">
                  <c:v>-7.4789915966386594E-2</c:v>
                </c:pt>
                <c:pt idx="35524">
                  <c:v>-7.4789915966386594E-2</c:v>
                </c:pt>
                <c:pt idx="35525">
                  <c:v>-7.3949579831932802E-2</c:v>
                </c:pt>
                <c:pt idx="35526">
                  <c:v>-7.3949579831932802E-2</c:v>
                </c:pt>
                <c:pt idx="35527">
                  <c:v>-7.3949579831932802E-2</c:v>
                </c:pt>
                <c:pt idx="35528">
                  <c:v>-7.3949579831932802E-2</c:v>
                </c:pt>
                <c:pt idx="35529">
                  <c:v>-7.3949579831932802E-2</c:v>
                </c:pt>
                <c:pt idx="35530">
                  <c:v>-7.3949579831932802E-2</c:v>
                </c:pt>
                <c:pt idx="35531">
                  <c:v>-7.3949579831932802E-2</c:v>
                </c:pt>
                <c:pt idx="35532">
                  <c:v>-7.3949579831932802E-2</c:v>
                </c:pt>
                <c:pt idx="35533">
                  <c:v>-7.3949579831932802E-2</c:v>
                </c:pt>
                <c:pt idx="35534">
                  <c:v>-7.3109243697478996E-2</c:v>
                </c:pt>
                <c:pt idx="35535">
                  <c:v>-7.3109243697478996E-2</c:v>
                </c:pt>
                <c:pt idx="35536">
                  <c:v>-7.2268907563025203E-2</c:v>
                </c:pt>
                <c:pt idx="35537">
                  <c:v>-7.2268907563025203E-2</c:v>
                </c:pt>
                <c:pt idx="35538">
                  <c:v>-7.2268907563025203E-2</c:v>
                </c:pt>
                <c:pt idx="35539">
                  <c:v>-7.2268907563025203E-2</c:v>
                </c:pt>
                <c:pt idx="35540">
                  <c:v>-7.2268907563025203E-2</c:v>
                </c:pt>
                <c:pt idx="35541">
                  <c:v>-7.2268907563025203E-2</c:v>
                </c:pt>
                <c:pt idx="35542">
                  <c:v>-7.2268907563025203E-2</c:v>
                </c:pt>
                <c:pt idx="35543">
                  <c:v>-7.2268907563025203E-2</c:v>
                </c:pt>
                <c:pt idx="35544">
                  <c:v>-7.2268907563025203E-2</c:v>
                </c:pt>
                <c:pt idx="35545">
                  <c:v>-7.2268907563025203E-2</c:v>
                </c:pt>
                <c:pt idx="35546">
                  <c:v>-7.2268907563025203E-2</c:v>
                </c:pt>
                <c:pt idx="35547">
                  <c:v>-7.2268907563025203E-2</c:v>
                </c:pt>
                <c:pt idx="35548">
                  <c:v>-7.2268907563025203E-2</c:v>
                </c:pt>
                <c:pt idx="35549">
                  <c:v>-7.2268907563025203E-2</c:v>
                </c:pt>
                <c:pt idx="35550">
                  <c:v>-7.1428571428571397E-2</c:v>
                </c:pt>
                <c:pt idx="35551">
                  <c:v>-7.1428571428571397E-2</c:v>
                </c:pt>
                <c:pt idx="35552">
                  <c:v>-7.1428571428571397E-2</c:v>
                </c:pt>
                <c:pt idx="35553">
                  <c:v>-7.1428571428571397E-2</c:v>
                </c:pt>
                <c:pt idx="35554">
                  <c:v>-7.1428571428571397E-2</c:v>
                </c:pt>
                <c:pt idx="35555">
                  <c:v>-7.1428571428571397E-2</c:v>
                </c:pt>
                <c:pt idx="35556">
                  <c:v>-7.1428571428571397E-2</c:v>
                </c:pt>
                <c:pt idx="35557">
                  <c:v>-7.1428571428571397E-2</c:v>
                </c:pt>
                <c:pt idx="35558">
                  <c:v>-7.1428571428571397E-2</c:v>
                </c:pt>
                <c:pt idx="35559">
                  <c:v>-7.1428571428571397E-2</c:v>
                </c:pt>
                <c:pt idx="35560">
                  <c:v>-7.1428571428571397E-2</c:v>
                </c:pt>
                <c:pt idx="35561">
                  <c:v>-7.1428571428571397E-2</c:v>
                </c:pt>
                <c:pt idx="35562">
                  <c:v>-7.1428571428571397E-2</c:v>
                </c:pt>
                <c:pt idx="35563">
                  <c:v>-7.1428571428571397E-2</c:v>
                </c:pt>
                <c:pt idx="35564">
                  <c:v>-7.1428571428571397E-2</c:v>
                </c:pt>
                <c:pt idx="35565">
                  <c:v>-7.1428571428571397E-2</c:v>
                </c:pt>
                <c:pt idx="35566">
                  <c:v>-7.1428571428571397E-2</c:v>
                </c:pt>
                <c:pt idx="35567">
                  <c:v>-7.1428571428571397E-2</c:v>
                </c:pt>
                <c:pt idx="35568">
                  <c:v>-7.1428571428571397E-2</c:v>
                </c:pt>
                <c:pt idx="35569">
                  <c:v>-7.1428571428571397E-2</c:v>
                </c:pt>
                <c:pt idx="35570">
                  <c:v>-7.1428571428571397E-2</c:v>
                </c:pt>
                <c:pt idx="35571">
                  <c:v>-7.1428571428571397E-2</c:v>
                </c:pt>
                <c:pt idx="35572">
                  <c:v>-7.1428571428571397E-2</c:v>
                </c:pt>
                <c:pt idx="35573">
                  <c:v>-7.1428571428571397E-2</c:v>
                </c:pt>
                <c:pt idx="35574">
                  <c:v>-7.1428571428571397E-2</c:v>
                </c:pt>
                <c:pt idx="35575">
                  <c:v>-7.1428571428571397E-2</c:v>
                </c:pt>
                <c:pt idx="35576">
                  <c:v>-7.1428571428571397E-2</c:v>
                </c:pt>
                <c:pt idx="35577">
                  <c:v>-7.1428571428571397E-2</c:v>
                </c:pt>
                <c:pt idx="35578">
                  <c:v>-7.0588235294117604E-2</c:v>
                </c:pt>
                <c:pt idx="35579">
                  <c:v>-7.0588235294117604E-2</c:v>
                </c:pt>
                <c:pt idx="35580">
                  <c:v>-7.0588235294117604E-2</c:v>
                </c:pt>
                <c:pt idx="35581">
                  <c:v>-7.0588235294117604E-2</c:v>
                </c:pt>
                <c:pt idx="35582">
                  <c:v>-7.0588235294117604E-2</c:v>
                </c:pt>
                <c:pt idx="35583">
                  <c:v>-7.0588235294117604E-2</c:v>
                </c:pt>
                <c:pt idx="35584">
                  <c:v>-7.0588235294117604E-2</c:v>
                </c:pt>
                <c:pt idx="35585">
                  <c:v>-7.0588235294117604E-2</c:v>
                </c:pt>
                <c:pt idx="35586">
                  <c:v>-7.0588235294117604E-2</c:v>
                </c:pt>
                <c:pt idx="35587">
                  <c:v>-7.0588235294117604E-2</c:v>
                </c:pt>
                <c:pt idx="35588">
                  <c:v>-7.0588235294117604E-2</c:v>
                </c:pt>
                <c:pt idx="35589">
                  <c:v>-7.0588235294117604E-2</c:v>
                </c:pt>
                <c:pt idx="35590">
                  <c:v>-7.0588235294117604E-2</c:v>
                </c:pt>
                <c:pt idx="35591">
                  <c:v>-7.0588235294117604E-2</c:v>
                </c:pt>
                <c:pt idx="35592">
                  <c:v>-7.0588235294117604E-2</c:v>
                </c:pt>
                <c:pt idx="35593">
                  <c:v>-7.0588235294117604E-2</c:v>
                </c:pt>
                <c:pt idx="35594">
                  <c:v>-7.0588235294117604E-2</c:v>
                </c:pt>
                <c:pt idx="35595">
                  <c:v>-7.0588235294117604E-2</c:v>
                </c:pt>
                <c:pt idx="35596">
                  <c:v>-7.0588235294117604E-2</c:v>
                </c:pt>
                <c:pt idx="35597">
                  <c:v>-7.0588235294117604E-2</c:v>
                </c:pt>
                <c:pt idx="35598">
                  <c:v>-7.0588235294117604E-2</c:v>
                </c:pt>
                <c:pt idx="35599">
                  <c:v>-7.0588235294117604E-2</c:v>
                </c:pt>
                <c:pt idx="35600">
                  <c:v>-7.0588235294117604E-2</c:v>
                </c:pt>
                <c:pt idx="35601">
                  <c:v>-7.0588235294117604E-2</c:v>
                </c:pt>
                <c:pt idx="35602">
                  <c:v>-7.0588235294117604E-2</c:v>
                </c:pt>
                <c:pt idx="35603">
                  <c:v>-7.0588235294117604E-2</c:v>
                </c:pt>
                <c:pt idx="35604">
                  <c:v>-7.0588235294117604E-2</c:v>
                </c:pt>
                <c:pt idx="35605">
                  <c:v>-7.0588235294117604E-2</c:v>
                </c:pt>
                <c:pt idx="35606">
                  <c:v>-7.0588235294117604E-2</c:v>
                </c:pt>
                <c:pt idx="35607">
                  <c:v>-7.0588235294117604E-2</c:v>
                </c:pt>
                <c:pt idx="35608">
                  <c:v>-7.0588235294117604E-2</c:v>
                </c:pt>
                <c:pt idx="35609">
                  <c:v>-7.0588235294117604E-2</c:v>
                </c:pt>
                <c:pt idx="35610">
                  <c:v>-7.0588235294117604E-2</c:v>
                </c:pt>
                <c:pt idx="35611">
                  <c:v>-7.0588235294117604E-2</c:v>
                </c:pt>
                <c:pt idx="35612">
                  <c:v>-7.0588235294117604E-2</c:v>
                </c:pt>
                <c:pt idx="35613">
                  <c:v>-7.0588235294117604E-2</c:v>
                </c:pt>
                <c:pt idx="35614">
                  <c:v>-7.0588235294117604E-2</c:v>
                </c:pt>
                <c:pt idx="35615">
                  <c:v>-7.0588235294117604E-2</c:v>
                </c:pt>
                <c:pt idx="35616">
                  <c:v>-7.0588235294117604E-2</c:v>
                </c:pt>
                <c:pt idx="35617">
                  <c:v>-7.0588235294117604E-2</c:v>
                </c:pt>
                <c:pt idx="35618">
                  <c:v>-7.0588235294117604E-2</c:v>
                </c:pt>
                <c:pt idx="35619">
                  <c:v>-7.0588235294117604E-2</c:v>
                </c:pt>
                <c:pt idx="35620">
                  <c:v>-7.0588235294117604E-2</c:v>
                </c:pt>
                <c:pt idx="35621">
                  <c:v>-7.1428571428571397E-2</c:v>
                </c:pt>
                <c:pt idx="35622">
                  <c:v>-7.1428571428571397E-2</c:v>
                </c:pt>
                <c:pt idx="35623">
                  <c:v>-7.1428571428571397E-2</c:v>
                </c:pt>
                <c:pt idx="35624">
                  <c:v>-7.1428571428571397E-2</c:v>
                </c:pt>
                <c:pt idx="35625">
                  <c:v>-7.1428571428571397E-2</c:v>
                </c:pt>
                <c:pt idx="35626">
                  <c:v>-7.1428571428571397E-2</c:v>
                </c:pt>
                <c:pt idx="35627">
                  <c:v>-7.1428571428571397E-2</c:v>
                </c:pt>
                <c:pt idx="35628">
                  <c:v>-7.1428571428571397E-2</c:v>
                </c:pt>
                <c:pt idx="35629">
                  <c:v>-7.1428571428571397E-2</c:v>
                </c:pt>
                <c:pt idx="35630">
                  <c:v>-7.1428571428571397E-2</c:v>
                </c:pt>
                <c:pt idx="35631">
                  <c:v>-7.1428571428571397E-2</c:v>
                </c:pt>
                <c:pt idx="35632">
                  <c:v>-7.1428571428571397E-2</c:v>
                </c:pt>
                <c:pt idx="35633">
                  <c:v>-7.1428571428571397E-2</c:v>
                </c:pt>
                <c:pt idx="35634">
                  <c:v>-7.1428571428571397E-2</c:v>
                </c:pt>
                <c:pt idx="35635">
                  <c:v>-7.1428571428571397E-2</c:v>
                </c:pt>
                <c:pt idx="35636">
                  <c:v>-7.1428571428571397E-2</c:v>
                </c:pt>
                <c:pt idx="35637">
                  <c:v>-7.1428571428571397E-2</c:v>
                </c:pt>
                <c:pt idx="35638">
                  <c:v>-7.1428571428571397E-2</c:v>
                </c:pt>
                <c:pt idx="35639">
                  <c:v>-7.1428571428571397E-2</c:v>
                </c:pt>
                <c:pt idx="35640">
                  <c:v>-7.1428571428571397E-2</c:v>
                </c:pt>
                <c:pt idx="35641">
                  <c:v>-7.1428571428571397E-2</c:v>
                </c:pt>
                <c:pt idx="35642">
                  <c:v>-7.1428571428571397E-2</c:v>
                </c:pt>
                <c:pt idx="35643">
                  <c:v>-7.1428571428571397E-2</c:v>
                </c:pt>
                <c:pt idx="35644">
                  <c:v>-7.1428571428571397E-2</c:v>
                </c:pt>
                <c:pt idx="35645">
                  <c:v>-7.1428571428571397E-2</c:v>
                </c:pt>
                <c:pt idx="35646">
                  <c:v>-7.1428571428571397E-2</c:v>
                </c:pt>
                <c:pt idx="35647">
                  <c:v>-7.1428571428571397E-2</c:v>
                </c:pt>
                <c:pt idx="35648">
                  <c:v>-7.1428571428571397E-2</c:v>
                </c:pt>
                <c:pt idx="35649">
                  <c:v>-7.1428571428571397E-2</c:v>
                </c:pt>
                <c:pt idx="35650">
                  <c:v>-7.1428571428571397E-2</c:v>
                </c:pt>
                <c:pt idx="35651">
                  <c:v>-7.1428571428571397E-2</c:v>
                </c:pt>
                <c:pt idx="35652">
                  <c:v>-7.1428571428571397E-2</c:v>
                </c:pt>
                <c:pt idx="35653">
                  <c:v>-7.1428571428571397E-2</c:v>
                </c:pt>
                <c:pt idx="35654">
                  <c:v>-7.1428571428571397E-2</c:v>
                </c:pt>
                <c:pt idx="35655">
                  <c:v>-7.1428571428571397E-2</c:v>
                </c:pt>
                <c:pt idx="35656">
                  <c:v>-7.1428571428571397E-2</c:v>
                </c:pt>
                <c:pt idx="35657">
                  <c:v>-7.1428571428571397E-2</c:v>
                </c:pt>
                <c:pt idx="35658">
                  <c:v>-7.1428571428571397E-2</c:v>
                </c:pt>
                <c:pt idx="35659">
                  <c:v>-7.1428571428571397E-2</c:v>
                </c:pt>
                <c:pt idx="35660">
                  <c:v>-7.1428571428571397E-2</c:v>
                </c:pt>
                <c:pt idx="35661">
                  <c:v>-7.1428571428571397E-2</c:v>
                </c:pt>
                <c:pt idx="35662">
                  <c:v>-7.1428571428571397E-2</c:v>
                </c:pt>
                <c:pt idx="35663">
                  <c:v>-7.1428571428571397E-2</c:v>
                </c:pt>
                <c:pt idx="35664">
                  <c:v>-7.1428571428571397E-2</c:v>
                </c:pt>
                <c:pt idx="35665">
                  <c:v>-7.1428571428571397E-2</c:v>
                </c:pt>
                <c:pt idx="35666">
                  <c:v>-7.1428571428571397E-2</c:v>
                </c:pt>
                <c:pt idx="35667">
                  <c:v>-7.1428571428571397E-2</c:v>
                </c:pt>
                <c:pt idx="35668">
                  <c:v>-7.1428571428571397E-2</c:v>
                </c:pt>
                <c:pt idx="35669">
                  <c:v>-7.1428571428571397E-2</c:v>
                </c:pt>
                <c:pt idx="35670">
                  <c:v>-7.1428571428571397E-2</c:v>
                </c:pt>
                <c:pt idx="35671">
                  <c:v>-7.1428571428571397E-2</c:v>
                </c:pt>
                <c:pt idx="35672">
                  <c:v>-7.1428571428571397E-2</c:v>
                </c:pt>
                <c:pt idx="35673">
                  <c:v>-7.1428571428571397E-2</c:v>
                </c:pt>
                <c:pt idx="35674">
                  <c:v>-7.1428571428571397E-2</c:v>
                </c:pt>
                <c:pt idx="35675">
                  <c:v>-7.1428571428571397E-2</c:v>
                </c:pt>
                <c:pt idx="35676">
                  <c:v>-7.1428571428571397E-2</c:v>
                </c:pt>
                <c:pt idx="35677">
                  <c:v>-7.1428571428571397E-2</c:v>
                </c:pt>
                <c:pt idx="35678">
                  <c:v>-7.1428571428571397E-2</c:v>
                </c:pt>
                <c:pt idx="35679">
                  <c:v>-7.1428571428571397E-2</c:v>
                </c:pt>
                <c:pt idx="35680">
                  <c:v>-7.1428571428571397E-2</c:v>
                </c:pt>
                <c:pt idx="35681">
                  <c:v>-7.1428571428571397E-2</c:v>
                </c:pt>
                <c:pt idx="35682">
                  <c:v>-7.1428571428571397E-2</c:v>
                </c:pt>
                <c:pt idx="35683">
                  <c:v>-7.1428571428571397E-2</c:v>
                </c:pt>
                <c:pt idx="35684">
                  <c:v>-7.1428571428571397E-2</c:v>
                </c:pt>
                <c:pt idx="35685">
                  <c:v>-7.1428571428571397E-2</c:v>
                </c:pt>
                <c:pt idx="35686">
                  <c:v>-7.1428571428571397E-2</c:v>
                </c:pt>
                <c:pt idx="35687">
                  <c:v>-7.1428571428571397E-2</c:v>
                </c:pt>
                <c:pt idx="35688">
                  <c:v>-7.1428571428571397E-2</c:v>
                </c:pt>
                <c:pt idx="35689">
                  <c:v>-7.1428571428571397E-2</c:v>
                </c:pt>
                <c:pt idx="35690">
                  <c:v>-7.1428571428571397E-2</c:v>
                </c:pt>
                <c:pt idx="35691">
                  <c:v>-7.1428571428571397E-2</c:v>
                </c:pt>
                <c:pt idx="35692">
                  <c:v>-7.1428571428571397E-2</c:v>
                </c:pt>
                <c:pt idx="35693">
                  <c:v>-7.1428571428571397E-2</c:v>
                </c:pt>
                <c:pt idx="35694">
                  <c:v>-7.1428571428571397E-2</c:v>
                </c:pt>
                <c:pt idx="35695">
                  <c:v>-7.1428571428571397E-2</c:v>
                </c:pt>
                <c:pt idx="35696">
                  <c:v>-7.1428571428571397E-2</c:v>
                </c:pt>
                <c:pt idx="35697">
                  <c:v>-7.1428571428571397E-2</c:v>
                </c:pt>
                <c:pt idx="35698">
                  <c:v>-7.1428571428571397E-2</c:v>
                </c:pt>
                <c:pt idx="35699">
                  <c:v>-7.1428571428571397E-2</c:v>
                </c:pt>
                <c:pt idx="35700">
                  <c:v>-7.1428571428571397E-2</c:v>
                </c:pt>
                <c:pt idx="35701">
                  <c:v>-7.1428571428571397E-2</c:v>
                </c:pt>
                <c:pt idx="35702">
                  <c:v>-7.1428571428571397E-2</c:v>
                </c:pt>
                <c:pt idx="35703">
                  <c:v>-7.1428571428571397E-2</c:v>
                </c:pt>
                <c:pt idx="35704">
                  <c:v>-7.1428571428571397E-2</c:v>
                </c:pt>
                <c:pt idx="35705">
                  <c:v>-7.1428571428571397E-2</c:v>
                </c:pt>
                <c:pt idx="35706">
                  <c:v>-7.1428571428571397E-2</c:v>
                </c:pt>
                <c:pt idx="35707">
                  <c:v>-7.1428571428571397E-2</c:v>
                </c:pt>
                <c:pt idx="35708">
                  <c:v>-7.1428571428571397E-2</c:v>
                </c:pt>
                <c:pt idx="35709">
                  <c:v>-7.1428571428571397E-2</c:v>
                </c:pt>
                <c:pt idx="35710">
                  <c:v>-7.1428571428571397E-2</c:v>
                </c:pt>
                <c:pt idx="35711">
                  <c:v>-7.1428571428571397E-2</c:v>
                </c:pt>
                <c:pt idx="35712">
                  <c:v>-7.1428571428571397E-2</c:v>
                </c:pt>
                <c:pt idx="35713">
                  <c:v>-7.1428571428571397E-2</c:v>
                </c:pt>
                <c:pt idx="35714">
                  <c:v>-7.1428571428571397E-2</c:v>
                </c:pt>
                <c:pt idx="35715">
                  <c:v>-7.1428571428571397E-2</c:v>
                </c:pt>
                <c:pt idx="35716">
                  <c:v>-7.1428571428571397E-2</c:v>
                </c:pt>
                <c:pt idx="35717">
                  <c:v>-7.1428571428571397E-2</c:v>
                </c:pt>
                <c:pt idx="35718">
                  <c:v>-7.1428571428571397E-2</c:v>
                </c:pt>
                <c:pt idx="35719">
                  <c:v>-7.1428571428571397E-2</c:v>
                </c:pt>
                <c:pt idx="35720">
                  <c:v>-7.1428571428571397E-2</c:v>
                </c:pt>
                <c:pt idx="35721">
                  <c:v>-7.1428571428571397E-2</c:v>
                </c:pt>
                <c:pt idx="35722">
                  <c:v>-7.1428571428571397E-2</c:v>
                </c:pt>
                <c:pt idx="35723">
                  <c:v>-7.1428571428571397E-2</c:v>
                </c:pt>
                <c:pt idx="35724">
                  <c:v>-7.1428571428571397E-2</c:v>
                </c:pt>
                <c:pt idx="35725">
                  <c:v>-7.1428571428571397E-2</c:v>
                </c:pt>
                <c:pt idx="35726">
                  <c:v>-7.2268907563025106E-2</c:v>
                </c:pt>
                <c:pt idx="35727">
                  <c:v>-7.2268907563025106E-2</c:v>
                </c:pt>
                <c:pt idx="35728">
                  <c:v>-7.2268907563025106E-2</c:v>
                </c:pt>
                <c:pt idx="35729">
                  <c:v>-7.2268907563025106E-2</c:v>
                </c:pt>
                <c:pt idx="35730">
                  <c:v>-7.1428571428571397E-2</c:v>
                </c:pt>
                <c:pt idx="35731">
                  <c:v>-7.1428571428571397E-2</c:v>
                </c:pt>
                <c:pt idx="35732">
                  <c:v>-7.1428571428571397E-2</c:v>
                </c:pt>
                <c:pt idx="35733">
                  <c:v>-7.1428571428571397E-2</c:v>
                </c:pt>
                <c:pt idx="35734">
                  <c:v>-7.1428571428571397E-2</c:v>
                </c:pt>
                <c:pt idx="35735">
                  <c:v>-7.1428571428571397E-2</c:v>
                </c:pt>
                <c:pt idx="35736">
                  <c:v>-7.1428571428571397E-2</c:v>
                </c:pt>
                <c:pt idx="35737">
                  <c:v>-7.1428571428571397E-2</c:v>
                </c:pt>
                <c:pt idx="35738">
                  <c:v>-7.1428571428571397E-2</c:v>
                </c:pt>
                <c:pt idx="35739">
                  <c:v>-7.1428571428571397E-2</c:v>
                </c:pt>
                <c:pt idx="35740">
                  <c:v>-7.1428571428571397E-2</c:v>
                </c:pt>
                <c:pt idx="35741">
                  <c:v>-7.1428571428571397E-2</c:v>
                </c:pt>
                <c:pt idx="35742">
                  <c:v>-7.1428571428571397E-2</c:v>
                </c:pt>
                <c:pt idx="35743">
                  <c:v>-7.1428571428571397E-2</c:v>
                </c:pt>
                <c:pt idx="35744">
                  <c:v>-7.1428571428571397E-2</c:v>
                </c:pt>
                <c:pt idx="35745">
                  <c:v>-7.1428571428571397E-2</c:v>
                </c:pt>
                <c:pt idx="35746">
                  <c:v>-7.1428571428571397E-2</c:v>
                </c:pt>
                <c:pt idx="35747">
                  <c:v>-7.1428571428571397E-2</c:v>
                </c:pt>
                <c:pt idx="35748">
                  <c:v>-7.1428571428571397E-2</c:v>
                </c:pt>
                <c:pt idx="35749">
                  <c:v>-7.1428571428571397E-2</c:v>
                </c:pt>
                <c:pt idx="35750">
                  <c:v>-7.1428571428571397E-2</c:v>
                </c:pt>
                <c:pt idx="35751">
                  <c:v>-7.1428571428571397E-2</c:v>
                </c:pt>
                <c:pt idx="35752">
                  <c:v>-7.1428571428571397E-2</c:v>
                </c:pt>
                <c:pt idx="35753">
                  <c:v>-7.1428571428571397E-2</c:v>
                </c:pt>
                <c:pt idx="35754">
                  <c:v>-7.1428571428571397E-2</c:v>
                </c:pt>
                <c:pt idx="35755">
                  <c:v>-7.1428571428571397E-2</c:v>
                </c:pt>
                <c:pt idx="35756">
                  <c:v>-7.1428571428571397E-2</c:v>
                </c:pt>
                <c:pt idx="35757">
                  <c:v>-7.1428571428571397E-2</c:v>
                </c:pt>
                <c:pt idx="35758">
                  <c:v>-7.1428571428571397E-2</c:v>
                </c:pt>
                <c:pt idx="35759">
                  <c:v>-7.1428571428571397E-2</c:v>
                </c:pt>
                <c:pt idx="35760">
                  <c:v>-7.1428571428571397E-2</c:v>
                </c:pt>
                <c:pt idx="35761">
                  <c:v>-7.1428571428571397E-2</c:v>
                </c:pt>
                <c:pt idx="35762">
                  <c:v>-7.1428571428571397E-2</c:v>
                </c:pt>
                <c:pt idx="35763">
                  <c:v>-7.1428571428571397E-2</c:v>
                </c:pt>
                <c:pt idx="35764">
                  <c:v>-7.1428571428571397E-2</c:v>
                </c:pt>
                <c:pt idx="35765">
                  <c:v>-7.1428571428571397E-2</c:v>
                </c:pt>
                <c:pt idx="35766">
                  <c:v>-7.1428571428571397E-2</c:v>
                </c:pt>
                <c:pt idx="35767">
                  <c:v>-7.1428571428571397E-2</c:v>
                </c:pt>
                <c:pt idx="35768">
                  <c:v>-7.2268907563025106E-2</c:v>
                </c:pt>
                <c:pt idx="35769">
                  <c:v>-7.2268907563025106E-2</c:v>
                </c:pt>
                <c:pt idx="35770">
                  <c:v>-7.2268907563025106E-2</c:v>
                </c:pt>
                <c:pt idx="35771">
                  <c:v>-7.2268907563025106E-2</c:v>
                </c:pt>
                <c:pt idx="35772">
                  <c:v>-7.2268907563025106E-2</c:v>
                </c:pt>
                <c:pt idx="35773">
                  <c:v>-7.2268907563025106E-2</c:v>
                </c:pt>
                <c:pt idx="35774">
                  <c:v>-7.2268907563025106E-2</c:v>
                </c:pt>
                <c:pt idx="35775">
                  <c:v>-7.2268907563025106E-2</c:v>
                </c:pt>
                <c:pt idx="35776">
                  <c:v>-7.2268907563025106E-2</c:v>
                </c:pt>
                <c:pt idx="35777">
                  <c:v>-7.2268907563025106E-2</c:v>
                </c:pt>
                <c:pt idx="35778">
                  <c:v>-7.2268907563025106E-2</c:v>
                </c:pt>
                <c:pt idx="35779">
                  <c:v>-7.2268907563025106E-2</c:v>
                </c:pt>
                <c:pt idx="35780">
                  <c:v>-7.2268907563025106E-2</c:v>
                </c:pt>
                <c:pt idx="35781">
                  <c:v>-7.2268907563025106E-2</c:v>
                </c:pt>
                <c:pt idx="35782">
                  <c:v>-7.2268907563025106E-2</c:v>
                </c:pt>
                <c:pt idx="35783">
                  <c:v>-7.2268907563025106E-2</c:v>
                </c:pt>
                <c:pt idx="35784">
                  <c:v>-7.2268907563025106E-2</c:v>
                </c:pt>
                <c:pt idx="35785">
                  <c:v>-7.2268907563025106E-2</c:v>
                </c:pt>
                <c:pt idx="35786">
                  <c:v>-7.2268907563025106E-2</c:v>
                </c:pt>
                <c:pt idx="35787">
                  <c:v>-7.2268907563025106E-2</c:v>
                </c:pt>
                <c:pt idx="35788">
                  <c:v>-7.2268907563025106E-2</c:v>
                </c:pt>
                <c:pt idx="35789">
                  <c:v>-7.2268907563025106E-2</c:v>
                </c:pt>
                <c:pt idx="35790">
                  <c:v>-7.2268907563025106E-2</c:v>
                </c:pt>
                <c:pt idx="35791">
                  <c:v>-7.2268907563025106E-2</c:v>
                </c:pt>
                <c:pt idx="35792">
                  <c:v>-7.3109243697478898E-2</c:v>
                </c:pt>
                <c:pt idx="35793">
                  <c:v>-7.3109243697478898E-2</c:v>
                </c:pt>
                <c:pt idx="35794">
                  <c:v>-7.3109243697478898E-2</c:v>
                </c:pt>
                <c:pt idx="35795">
                  <c:v>-7.3109243697478898E-2</c:v>
                </c:pt>
                <c:pt idx="35796">
                  <c:v>-7.3109243697478898E-2</c:v>
                </c:pt>
                <c:pt idx="35797">
                  <c:v>-7.3109243697478898E-2</c:v>
                </c:pt>
                <c:pt idx="35798">
                  <c:v>-7.3109243697478898E-2</c:v>
                </c:pt>
                <c:pt idx="35799">
                  <c:v>-7.3109243697478898E-2</c:v>
                </c:pt>
                <c:pt idx="35800">
                  <c:v>-7.3109243697478898E-2</c:v>
                </c:pt>
                <c:pt idx="35801">
                  <c:v>-7.3109243697478898E-2</c:v>
                </c:pt>
                <c:pt idx="35802">
                  <c:v>-7.3109243697478898E-2</c:v>
                </c:pt>
                <c:pt idx="35803">
                  <c:v>-7.3109243697478898E-2</c:v>
                </c:pt>
                <c:pt idx="35804">
                  <c:v>-7.3109243697478898E-2</c:v>
                </c:pt>
                <c:pt idx="35805">
                  <c:v>-7.3109243697478898E-2</c:v>
                </c:pt>
                <c:pt idx="35806">
                  <c:v>-7.3109243697478898E-2</c:v>
                </c:pt>
                <c:pt idx="35807">
                  <c:v>-7.3109243697478898E-2</c:v>
                </c:pt>
                <c:pt idx="35808">
                  <c:v>-7.3109243697478898E-2</c:v>
                </c:pt>
                <c:pt idx="35809">
                  <c:v>-7.3109243697478898E-2</c:v>
                </c:pt>
                <c:pt idx="35810">
                  <c:v>-7.3109243697478898E-2</c:v>
                </c:pt>
                <c:pt idx="35811">
                  <c:v>-7.3109243697478898E-2</c:v>
                </c:pt>
                <c:pt idx="35812">
                  <c:v>-7.3109243697478898E-2</c:v>
                </c:pt>
                <c:pt idx="35813">
                  <c:v>-7.3109243697478898E-2</c:v>
                </c:pt>
                <c:pt idx="35814">
                  <c:v>-7.3109243697478898E-2</c:v>
                </c:pt>
                <c:pt idx="35815">
                  <c:v>-7.3109243697478898E-2</c:v>
                </c:pt>
                <c:pt idx="35816">
                  <c:v>-7.3109243697478898E-2</c:v>
                </c:pt>
                <c:pt idx="35817">
                  <c:v>-7.3109243697478898E-2</c:v>
                </c:pt>
                <c:pt idx="35818">
                  <c:v>-7.3109243697478898E-2</c:v>
                </c:pt>
                <c:pt idx="35819">
                  <c:v>-7.3109243697478898E-2</c:v>
                </c:pt>
                <c:pt idx="35820">
                  <c:v>-7.3109243697478898E-2</c:v>
                </c:pt>
                <c:pt idx="35821">
                  <c:v>-7.3109243697478898E-2</c:v>
                </c:pt>
                <c:pt idx="35822">
                  <c:v>-7.3109243697478898E-2</c:v>
                </c:pt>
                <c:pt idx="35823">
                  <c:v>-7.3109243697478898E-2</c:v>
                </c:pt>
                <c:pt idx="35824">
                  <c:v>-7.3109243697478898E-2</c:v>
                </c:pt>
                <c:pt idx="35825">
                  <c:v>-7.3109243697478898E-2</c:v>
                </c:pt>
                <c:pt idx="35826">
                  <c:v>-7.3109243697478898E-2</c:v>
                </c:pt>
                <c:pt idx="35827">
                  <c:v>-7.3109243697478898E-2</c:v>
                </c:pt>
                <c:pt idx="35828">
                  <c:v>-7.3109243697478898E-2</c:v>
                </c:pt>
                <c:pt idx="35829">
                  <c:v>-7.3109243697478898E-2</c:v>
                </c:pt>
                <c:pt idx="35830">
                  <c:v>-7.3109243697478898E-2</c:v>
                </c:pt>
                <c:pt idx="35831">
                  <c:v>-7.3109243697478898E-2</c:v>
                </c:pt>
                <c:pt idx="35832">
                  <c:v>-7.3109243697478898E-2</c:v>
                </c:pt>
                <c:pt idx="35833">
                  <c:v>-7.3109243697478898E-2</c:v>
                </c:pt>
                <c:pt idx="35834">
                  <c:v>-7.3109243697478898E-2</c:v>
                </c:pt>
                <c:pt idx="35835">
                  <c:v>-7.3109243697478898E-2</c:v>
                </c:pt>
                <c:pt idx="35836">
                  <c:v>-7.3109243697478898E-2</c:v>
                </c:pt>
                <c:pt idx="35837">
                  <c:v>-7.3109243697478898E-2</c:v>
                </c:pt>
                <c:pt idx="35838">
                  <c:v>-7.3109243697478898E-2</c:v>
                </c:pt>
                <c:pt idx="35839">
                  <c:v>-7.3109243697478898E-2</c:v>
                </c:pt>
                <c:pt idx="35840">
                  <c:v>-7.3109243697478898E-2</c:v>
                </c:pt>
                <c:pt idx="35841">
                  <c:v>-7.3109243697478898E-2</c:v>
                </c:pt>
                <c:pt idx="35842">
                  <c:v>-7.3109243697478898E-2</c:v>
                </c:pt>
                <c:pt idx="35843">
                  <c:v>-7.3109243697478898E-2</c:v>
                </c:pt>
                <c:pt idx="35844">
                  <c:v>-7.3109243697478898E-2</c:v>
                </c:pt>
                <c:pt idx="35845">
                  <c:v>-7.3109243697478898E-2</c:v>
                </c:pt>
                <c:pt idx="35846">
                  <c:v>-7.3109243697478898E-2</c:v>
                </c:pt>
                <c:pt idx="35847">
                  <c:v>-7.3949579831932705E-2</c:v>
                </c:pt>
                <c:pt idx="35848">
                  <c:v>-7.3949579831932705E-2</c:v>
                </c:pt>
                <c:pt idx="35849">
                  <c:v>-7.3949579831932705E-2</c:v>
                </c:pt>
                <c:pt idx="35850">
                  <c:v>-7.3949579831932705E-2</c:v>
                </c:pt>
                <c:pt idx="35851">
                  <c:v>-7.3949579831932705E-2</c:v>
                </c:pt>
                <c:pt idx="35852">
                  <c:v>-7.3949579831932705E-2</c:v>
                </c:pt>
                <c:pt idx="35853">
                  <c:v>-7.3949579831932705E-2</c:v>
                </c:pt>
                <c:pt idx="35854">
                  <c:v>-7.3949579831932705E-2</c:v>
                </c:pt>
                <c:pt idx="35855">
                  <c:v>-7.3949579831932705E-2</c:v>
                </c:pt>
                <c:pt idx="35856">
                  <c:v>-7.3949579831932705E-2</c:v>
                </c:pt>
                <c:pt idx="35857">
                  <c:v>-7.3949579831932705E-2</c:v>
                </c:pt>
                <c:pt idx="35858">
                  <c:v>-7.3949579831932705E-2</c:v>
                </c:pt>
                <c:pt idx="35859">
                  <c:v>-7.3949579831932705E-2</c:v>
                </c:pt>
                <c:pt idx="35860">
                  <c:v>-7.3949579831932705E-2</c:v>
                </c:pt>
                <c:pt idx="35861">
                  <c:v>-7.3949579831932705E-2</c:v>
                </c:pt>
                <c:pt idx="35862">
                  <c:v>-7.3949579831932705E-2</c:v>
                </c:pt>
                <c:pt idx="35863">
                  <c:v>-7.3949579831932705E-2</c:v>
                </c:pt>
                <c:pt idx="35864">
                  <c:v>-7.3949579831932705E-2</c:v>
                </c:pt>
                <c:pt idx="35865">
                  <c:v>-7.3949579831932705E-2</c:v>
                </c:pt>
                <c:pt idx="35866">
                  <c:v>-7.3949579831932705E-2</c:v>
                </c:pt>
                <c:pt idx="35867">
                  <c:v>-7.3949579831932705E-2</c:v>
                </c:pt>
                <c:pt idx="35868">
                  <c:v>-7.3949579831932705E-2</c:v>
                </c:pt>
                <c:pt idx="35869">
                  <c:v>-7.3949579831932705E-2</c:v>
                </c:pt>
                <c:pt idx="35870">
                  <c:v>-7.3949579831932705E-2</c:v>
                </c:pt>
                <c:pt idx="35871">
                  <c:v>-7.3949579831932705E-2</c:v>
                </c:pt>
                <c:pt idx="35872">
                  <c:v>-7.3949579831932705E-2</c:v>
                </c:pt>
                <c:pt idx="35873">
                  <c:v>-7.3949579831932705E-2</c:v>
                </c:pt>
                <c:pt idx="35874">
                  <c:v>-7.3949579831932705E-2</c:v>
                </c:pt>
                <c:pt idx="35875">
                  <c:v>-7.3949579831932705E-2</c:v>
                </c:pt>
                <c:pt idx="35876">
                  <c:v>-7.3949579831932705E-2</c:v>
                </c:pt>
                <c:pt idx="35877">
                  <c:v>-7.3949579831932705E-2</c:v>
                </c:pt>
                <c:pt idx="35878">
                  <c:v>-7.3949579831932705E-2</c:v>
                </c:pt>
                <c:pt idx="35879">
                  <c:v>-7.3949579831932705E-2</c:v>
                </c:pt>
                <c:pt idx="35880">
                  <c:v>-7.3949579831932705E-2</c:v>
                </c:pt>
                <c:pt idx="35881">
                  <c:v>-7.3949579831932705E-2</c:v>
                </c:pt>
                <c:pt idx="35882">
                  <c:v>-7.3949579831932705E-2</c:v>
                </c:pt>
                <c:pt idx="35883">
                  <c:v>-7.3949579831932705E-2</c:v>
                </c:pt>
                <c:pt idx="35884">
                  <c:v>-7.3949579831932705E-2</c:v>
                </c:pt>
                <c:pt idx="35885">
                  <c:v>-7.3949579831932705E-2</c:v>
                </c:pt>
                <c:pt idx="35886">
                  <c:v>-7.3949579831932705E-2</c:v>
                </c:pt>
                <c:pt idx="35887">
                  <c:v>-7.3949579831932705E-2</c:v>
                </c:pt>
                <c:pt idx="35888">
                  <c:v>-7.3949579831932705E-2</c:v>
                </c:pt>
                <c:pt idx="35889">
                  <c:v>-7.3949579831932705E-2</c:v>
                </c:pt>
                <c:pt idx="35890">
                  <c:v>-7.3949579831932705E-2</c:v>
                </c:pt>
                <c:pt idx="35891">
                  <c:v>-7.3949579831932705E-2</c:v>
                </c:pt>
                <c:pt idx="35892">
                  <c:v>-7.3949579831932705E-2</c:v>
                </c:pt>
                <c:pt idx="35893">
                  <c:v>-7.3949579831932705E-2</c:v>
                </c:pt>
                <c:pt idx="35894">
                  <c:v>-7.3949579831932705E-2</c:v>
                </c:pt>
                <c:pt idx="35895">
                  <c:v>-7.3949579831932705E-2</c:v>
                </c:pt>
                <c:pt idx="35896">
                  <c:v>-7.3949579831932705E-2</c:v>
                </c:pt>
                <c:pt idx="35897">
                  <c:v>-7.3949579831932705E-2</c:v>
                </c:pt>
                <c:pt idx="35898">
                  <c:v>-7.3949579831932705E-2</c:v>
                </c:pt>
                <c:pt idx="35899">
                  <c:v>-7.3949579831932705E-2</c:v>
                </c:pt>
                <c:pt idx="35900">
                  <c:v>-7.3949579831932705E-2</c:v>
                </c:pt>
                <c:pt idx="35901">
                  <c:v>-7.3949579831932705E-2</c:v>
                </c:pt>
                <c:pt idx="35902">
                  <c:v>-7.3949579831932705E-2</c:v>
                </c:pt>
                <c:pt idx="35903">
                  <c:v>-7.3949579831932705E-2</c:v>
                </c:pt>
                <c:pt idx="35904">
                  <c:v>-7.3949579831932705E-2</c:v>
                </c:pt>
                <c:pt idx="35905">
                  <c:v>-7.3949579831932705E-2</c:v>
                </c:pt>
                <c:pt idx="35906">
                  <c:v>-7.3949579831932705E-2</c:v>
                </c:pt>
                <c:pt idx="35907">
                  <c:v>-7.3949579831932705E-2</c:v>
                </c:pt>
                <c:pt idx="35908">
                  <c:v>-7.3949579831932705E-2</c:v>
                </c:pt>
                <c:pt idx="35909">
                  <c:v>-7.3949579831932705E-2</c:v>
                </c:pt>
                <c:pt idx="35910">
                  <c:v>-7.3949579831932705E-2</c:v>
                </c:pt>
                <c:pt idx="35911">
                  <c:v>-7.3949579831932705E-2</c:v>
                </c:pt>
                <c:pt idx="35912">
                  <c:v>-7.3949579831932705E-2</c:v>
                </c:pt>
                <c:pt idx="35913">
                  <c:v>-7.3949579831932705E-2</c:v>
                </c:pt>
                <c:pt idx="35914">
                  <c:v>-7.3949579831932705E-2</c:v>
                </c:pt>
                <c:pt idx="35915">
                  <c:v>-7.3949579831932705E-2</c:v>
                </c:pt>
                <c:pt idx="35916">
                  <c:v>-7.3949579831932705E-2</c:v>
                </c:pt>
                <c:pt idx="35917">
                  <c:v>-7.3949579831932705E-2</c:v>
                </c:pt>
                <c:pt idx="35918">
                  <c:v>-7.3949579831932705E-2</c:v>
                </c:pt>
                <c:pt idx="35919">
                  <c:v>-7.3949579831932705E-2</c:v>
                </c:pt>
                <c:pt idx="35920">
                  <c:v>-7.3949579831932705E-2</c:v>
                </c:pt>
                <c:pt idx="35921">
                  <c:v>-7.3949579831932705E-2</c:v>
                </c:pt>
                <c:pt idx="35922">
                  <c:v>-7.3949579831932705E-2</c:v>
                </c:pt>
                <c:pt idx="35923">
                  <c:v>-7.3949579831932705E-2</c:v>
                </c:pt>
                <c:pt idx="35924">
                  <c:v>-7.3949579831932705E-2</c:v>
                </c:pt>
                <c:pt idx="35925">
                  <c:v>-7.3949579831932705E-2</c:v>
                </c:pt>
                <c:pt idx="35926">
                  <c:v>-7.3949579831932705E-2</c:v>
                </c:pt>
                <c:pt idx="35927">
                  <c:v>-7.3949579831932705E-2</c:v>
                </c:pt>
                <c:pt idx="35928">
                  <c:v>-7.3949579831932705E-2</c:v>
                </c:pt>
                <c:pt idx="35929">
                  <c:v>-7.3949579831932705E-2</c:v>
                </c:pt>
                <c:pt idx="35930">
                  <c:v>-7.3949579831932705E-2</c:v>
                </c:pt>
                <c:pt idx="35931">
                  <c:v>-7.3949579831932705E-2</c:v>
                </c:pt>
                <c:pt idx="35932">
                  <c:v>-7.3949579831932705E-2</c:v>
                </c:pt>
                <c:pt idx="35933">
                  <c:v>-7.4789915966386497E-2</c:v>
                </c:pt>
                <c:pt idx="35934">
                  <c:v>-7.4789915966386497E-2</c:v>
                </c:pt>
                <c:pt idx="35935">
                  <c:v>-7.4789915966386497E-2</c:v>
                </c:pt>
                <c:pt idx="35936">
                  <c:v>-7.4789915966386497E-2</c:v>
                </c:pt>
                <c:pt idx="35937">
                  <c:v>-7.4789915966386497E-2</c:v>
                </c:pt>
                <c:pt idx="35938">
                  <c:v>-7.4789915966386497E-2</c:v>
                </c:pt>
                <c:pt idx="35939">
                  <c:v>-7.4789915966386497E-2</c:v>
                </c:pt>
                <c:pt idx="35940">
                  <c:v>-7.4789915966386497E-2</c:v>
                </c:pt>
                <c:pt idx="35941">
                  <c:v>-7.4789915966386497E-2</c:v>
                </c:pt>
                <c:pt idx="35942">
                  <c:v>-7.4789915966386497E-2</c:v>
                </c:pt>
                <c:pt idx="35943">
                  <c:v>-7.4789915966386497E-2</c:v>
                </c:pt>
                <c:pt idx="35944">
                  <c:v>-7.4789915966386497E-2</c:v>
                </c:pt>
                <c:pt idx="35945">
                  <c:v>-7.4789915966386497E-2</c:v>
                </c:pt>
                <c:pt idx="35946">
                  <c:v>-7.4789915966386497E-2</c:v>
                </c:pt>
                <c:pt idx="35947">
                  <c:v>-7.3949579831932705E-2</c:v>
                </c:pt>
                <c:pt idx="35948">
                  <c:v>-7.3949579831932705E-2</c:v>
                </c:pt>
                <c:pt idx="35949">
                  <c:v>-7.3949579831932705E-2</c:v>
                </c:pt>
                <c:pt idx="35950">
                  <c:v>-7.3949579831932705E-2</c:v>
                </c:pt>
                <c:pt idx="35951">
                  <c:v>-7.3949579831932705E-2</c:v>
                </c:pt>
                <c:pt idx="35952">
                  <c:v>-7.3949579831932705E-2</c:v>
                </c:pt>
                <c:pt idx="35953">
                  <c:v>-7.3949579831932705E-2</c:v>
                </c:pt>
                <c:pt idx="35954">
                  <c:v>-7.3949579831932705E-2</c:v>
                </c:pt>
                <c:pt idx="35955">
                  <c:v>-7.3949579831932705E-2</c:v>
                </c:pt>
                <c:pt idx="35956">
                  <c:v>-7.3949579831932705E-2</c:v>
                </c:pt>
                <c:pt idx="35957">
                  <c:v>-7.3949579831932705E-2</c:v>
                </c:pt>
                <c:pt idx="35958">
                  <c:v>-7.3949579831932705E-2</c:v>
                </c:pt>
                <c:pt idx="35959">
                  <c:v>-7.3949579831932705E-2</c:v>
                </c:pt>
                <c:pt idx="35960">
                  <c:v>-7.3949579831932705E-2</c:v>
                </c:pt>
                <c:pt idx="35961">
                  <c:v>-7.3949579831932705E-2</c:v>
                </c:pt>
                <c:pt idx="35962">
                  <c:v>-7.3949579831932705E-2</c:v>
                </c:pt>
                <c:pt idx="35963">
                  <c:v>-7.3949579831932705E-2</c:v>
                </c:pt>
                <c:pt idx="35964">
                  <c:v>-7.3949579831932705E-2</c:v>
                </c:pt>
                <c:pt idx="35965">
                  <c:v>-7.3949579831932705E-2</c:v>
                </c:pt>
                <c:pt idx="35966">
                  <c:v>-7.3949579831932705E-2</c:v>
                </c:pt>
                <c:pt idx="35967">
                  <c:v>-7.3949579831932705E-2</c:v>
                </c:pt>
                <c:pt idx="35968">
                  <c:v>-7.3949579831932705E-2</c:v>
                </c:pt>
                <c:pt idx="35969">
                  <c:v>-7.3949579831932705E-2</c:v>
                </c:pt>
                <c:pt idx="35970">
                  <c:v>-7.3949579831932705E-2</c:v>
                </c:pt>
                <c:pt idx="35971">
                  <c:v>-7.3949579831932705E-2</c:v>
                </c:pt>
                <c:pt idx="35972">
                  <c:v>-7.3949579831932705E-2</c:v>
                </c:pt>
                <c:pt idx="35973">
                  <c:v>-7.3949579831932705E-2</c:v>
                </c:pt>
                <c:pt idx="35974">
                  <c:v>-7.3949579831932705E-2</c:v>
                </c:pt>
                <c:pt idx="35975">
                  <c:v>-7.3949579831932705E-2</c:v>
                </c:pt>
                <c:pt idx="35976">
                  <c:v>-7.3949579831932705E-2</c:v>
                </c:pt>
                <c:pt idx="35977">
                  <c:v>-7.3949579831932705E-2</c:v>
                </c:pt>
                <c:pt idx="35978">
                  <c:v>-7.3949579831932705E-2</c:v>
                </c:pt>
                <c:pt idx="35979">
                  <c:v>-7.3949579831932705E-2</c:v>
                </c:pt>
                <c:pt idx="35980">
                  <c:v>-7.3949579831932705E-2</c:v>
                </c:pt>
                <c:pt idx="35981">
                  <c:v>-7.3949579831932705E-2</c:v>
                </c:pt>
                <c:pt idx="35982">
                  <c:v>-7.3949579831932705E-2</c:v>
                </c:pt>
                <c:pt idx="35983">
                  <c:v>-7.3949579831932705E-2</c:v>
                </c:pt>
                <c:pt idx="35984">
                  <c:v>-7.3109243697478898E-2</c:v>
                </c:pt>
                <c:pt idx="35985">
                  <c:v>-7.3109243697478898E-2</c:v>
                </c:pt>
                <c:pt idx="35986">
                  <c:v>-7.3109243697478898E-2</c:v>
                </c:pt>
                <c:pt idx="35987">
                  <c:v>-7.3109243697478898E-2</c:v>
                </c:pt>
                <c:pt idx="35988">
                  <c:v>-7.2268907563025106E-2</c:v>
                </c:pt>
                <c:pt idx="35989">
                  <c:v>-7.2268907563025106E-2</c:v>
                </c:pt>
                <c:pt idx="35990">
                  <c:v>-7.2268907563025106E-2</c:v>
                </c:pt>
                <c:pt idx="35991">
                  <c:v>-7.2268907563025106E-2</c:v>
                </c:pt>
                <c:pt idx="35992">
                  <c:v>-7.2268907563025106E-2</c:v>
                </c:pt>
                <c:pt idx="35993">
                  <c:v>-7.2268907563025106E-2</c:v>
                </c:pt>
                <c:pt idx="35994">
                  <c:v>-7.2268907563025106E-2</c:v>
                </c:pt>
                <c:pt idx="35995">
                  <c:v>-7.2268907563025106E-2</c:v>
                </c:pt>
                <c:pt idx="35996">
                  <c:v>-7.2268907563025106E-2</c:v>
                </c:pt>
                <c:pt idx="35997">
                  <c:v>-7.2268907563025106E-2</c:v>
                </c:pt>
                <c:pt idx="35998">
                  <c:v>-7.2268907563025106E-2</c:v>
                </c:pt>
                <c:pt idx="35999">
                  <c:v>-7.2268907563025106E-2</c:v>
                </c:pt>
                <c:pt idx="36000">
                  <c:v>-7.2268907563025106E-2</c:v>
                </c:pt>
                <c:pt idx="36001">
                  <c:v>-7.2268907563025106E-2</c:v>
                </c:pt>
                <c:pt idx="36002">
                  <c:v>-7.2268907563025106E-2</c:v>
                </c:pt>
                <c:pt idx="36003">
                  <c:v>-7.2268907563025106E-2</c:v>
                </c:pt>
                <c:pt idx="36004">
                  <c:v>-7.2268907563025106E-2</c:v>
                </c:pt>
                <c:pt idx="36005">
                  <c:v>-7.2268907563025106E-2</c:v>
                </c:pt>
                <c:pt idx="36006">
                  <c:v>-7.2268907563025106E-2</c:v>
                </c:pt>
                <c:pt idx="36007">
                  <c:v>-7.2268907563025106E-2</c:v>
                </c:pt>
                <c:pt idx="36008">
                  <c:v>-7.2268907563025106E-2</c:v>
                </c:pt>
                <c:pt idx="36009">
                  <c:v>-7.2268907563025106E-2</c:v>
                </c:pt>
                <c:pt idx="36010">
                  <c:v>-7.1428571428571397E-2</c:v>
                </c:pt>
                <c:pt idx="36011">
                  <c:v>-7.1428571428571397E-2</c:v>
                </c:pt>
                <c:pt idx="36012">
                  <c:v>-7.1428571428571397E-2</c:v>
                </c:pt>
                <c:pt idx="36013">
                  <c:v>-7.1428571428571397E-2</c:v>
                </c:pt>
                <c:pt idx="36014">
                  <c:v>-7.1428571428571397E-2</c:v>
                </c:pt>
                <c:pt idx="36015">
                  <c:v>-7.1428571428571397E-2</c:v>
                </c:pt>
                <c:pt idx="36016">
                  <c:v>-7.1428571428571397E-2</c:v>
                </c:pt>
                <c:pt idx="36017">
                  <c:v>-7.1428571428571397E-2</c:v>
                </c:pt>
                <c:pt idx="36018">
                  <c:v>-7.1428571428571397E-2</c:v>
                </c:pt>
                <c:pt idx="36019">
                  <c:v>-7.1428571428571397E-2</c:v>
                </c:pt>
                <c:pt idx="36020">
                  <c:v>-7.1428571428571397E-2</c:v>
                </c:pt>
                <c:pt idx="36021">
                  <c:v>-7.1428571428571397E-2</c:v>
                </c:pt>
                <c:pt idx="36022">
                  <c:v>-7.1428571428571397E-2</c:v>
                </c:pt>
                <c:pt idx="36023">
                  <c:v>-7.1428571428571397E-2</c:v>
                </c:pt>
                <c:pt idx="36024">
                  <c:v>-7.1428571428571397E-2</c:v>
                </c:pt>
                <c:pt idx="36025">
                  <c:v>-7.1428571428571397E-2</c:v>
                </c:pt>
                <c:pt idx="36026">
                  <c:v>-7.1428571428571397E-2</c:v>
                </c:pt>
                <c:pt idx="36027">
                  <c:v>-7.0588235294117604E-2</c:v>
                </c:pt>
                <c:pt idx="36028">
                  <c:v>-7.0588235294117604E-2</c:v>
                </c:pt>
                <c:pt idx="36029">
                  <c:v>-7.0588235294117604E-2</c:v>
                </c:pt>
                <c:pt idx="36030">
                  <c:v>-7.0588235294117604E-2</c:v>
                </c:pt>
                <c:pt idx="36031">
                  <c:v>-7.0588235294117604E-2</c:v>
                </c:pt>
                <c:pt idx="36032">
                  <c:v>-7.0588235294117604E-2</c:v>
                </c:pt>
                <c:pt idx="36033">
                  <c:v>-7.0588235294117604E-2</c:v>
                </c:pt>
                <c:pt idx="36034">
                  <c:v>-7.0588235294117604E-2</c:v>
                </c:pt>
                <c:pt idx="36035">
                  <c:v>-7.0588235294117604E-2</c:v>
                </c:pt>
                <c:pt idx="36036">
                  <c:v>-7.0588235294117604E-2</c:v>
                </c:pt>
                <c:pt idx="36037">
                  <c:v>-7.0588235294117604E-2</c:v>
                </c:pt>
                <c:pt idx="36038">
                  <c:v>-7.1428571428571397E-2</c:v>
                </c:pt>
                <c:pt idx="36039">
                  <c:v>-7.1428571428571397E-2</c:v>
                </c:pt>
                <c:pt idx="36040">
                  <c:v>-7.1428571428571397E-2</c:v>
                </c:pt>
                <c:pt idx="36041">
                  <c:v>-7.1428571428571397E-2</c:v>
                </c:pt>
                <c:pt idx="36042">
                  <c:v>-7.1428571428571397E-2</c:v>
                </c:pt>
                <c:pt idx="36043">
                  <c:v>-7.1428571428571397E-2</c:v>
                </c:pt>
                <c:pt idx="36044">
                  <c:v>-7.1428571428571397E-2</c:v>
                </c:pt>
                <c:pt idx="36045">
                  <c:v>-7.1428571428571397E-2</c:v>
                </c:pt>
                <c:pt idx="36046">
                  <c:v>-7.1428571428571397E-2</c:v>
                </c:pt>
                <c:pt idx="36047">
                  <c:v>-7.1428571428571397E-2</c:v>
                </c:pt>
                <c:pt idx="36048">
                  <c:v>-7.2268907563025106E-2</c:v>
                </c:pt>
                <c:pt idx="36049">
                  <c:v>-7.2268907563025106E-2</c:v>
                </c:pt>
                <c:pt idx="36050">
                  <c:v>-7.2268907563025106E-2</c:v>
                </c:pt>
                <c:pt idx="36051">
                  <c:v>-7.2268907563025106E-2</c:v>
                </c:pt>
                <c:pt idx="36052">
                  <c:v>-7.2268907563025106E-2</c:v>
                </c:pt>
                <c:pt idx="36053">
                  <c:v>-7.2268907563025106E-2</c:v>
                </c:pt>
                <c:pt idx="36054">
                  <c:v>-7.2268907563025106E-2</c:v>
                </c:pt>
                <c:pt idx="36055">
                  <c:v>-7.2268907563025106E-2</c:v>
                </c:pt>
                <c:pt idx="36056">
                  <c:v>-7.2268907563025106E-2</c:v>
                </c:pt>
                <c:pt idx="36057">
                  <c:v>-7.2268907563025106E-2</c:v>
                </c:pt>
                <c:pt idx="36058">
                  <c:v>-7.2268907563025106E-2</c:v>
                </c:pt>
                <c:pt idx="36059">
                  <c:v>-7.2268907563025106E-2</c:v>
                </c:pt>
                <c:pt idx="36060">
                  <c:v>-7.2268907563025106E-2</c:v>
                </c:pt>
                <c:pt idx="36061">
                  <c:v>-7.2268907563025106E-2</c:v>
                </c:pt>
                <c:pt idx="36062">
                  <c:v>-7.2268907563025106E-2</c:v>
                </c:pt>
                <c:pt idx="36063">
                  <c:v>-7.2268907563025106E-2</c:v>
                </c:pt>
                <c:pt idx="36064">
                  <c:v>-7.2268907563025106E-2</c:v>
                </c:pt>
                <c:pt idx="36065">
                  <c:v>-7.2268907563025106E-2</c:v>
                </c:pt>
                <c:pt idx="36066">
                  <c:v>-7.2268907563025106E-2</c:v>
                </c:pt>
                <c:pt idx="36067">
                  <c:v>-7.2268907563025106E-2</c:v>
                </c:pt>
                <c:pt idx="36068">
                  <c:v>-7.2268907563025106E-2</c:v>
                </c:pt>
                <c:pt idx="36069">
                  <c:v>-7.2268907563025106E-2</c:v>
                </c:pt>
                <c:pt idx="36070">
                  <c:v>-7.1428571428571397E-2</c:v>
                </c:pt>
                <c:pt idx="36071">
                  <c:v>-7.1428571428571397E-2</c:v>
                </c:pt>
                <c:pt idx="36072">
                  <c:v>-7.1428571428571397E-2</c:v>
                </c:pt>
                <c:pt idx="36073">
                  <c:v>-7.1428571428571397E-2</c:v>
                </c:pt>
                <c:pt idx="36074">
                  <c:v>-7.1428571428571397E-2</c:v>
                </c:pt>
                <c:pt idx="36075">
                  <c:v>-7.1428571428571397E-2</c:v>
                </c:pt>
                <c:pt idx="36076">
                  <c:v>-7.1428571428571397E-2</c:v>
                </c:pt>
                <c:pt idx="36077">
                  <c:v>-7.1428571428571397E-2</c:v>
                </c:pt>
                <c:pt idx="36078">
                  <c:v>-7.1428571428571397E-2</c:v>
                </c:pt>
                <c:pt idx="36079">
                  <c:v>-7.1428571428571397E-2</c:v>
                </c:pt>
                <c:pt idx="36080">
                  <c:v>-7.0588235294117604E-2</c:v>
                </c:pt>
                <c:pt idx="36081">
                  <c:v>-7.0588235294117604E-2</c:v>
                </c:pt>
                <c:pt idx="36082">
                  <c:v>-7.0588235294117604E-2</c:v>
                </c:pt>
                <c:pt idx="36083">
                  <c:v>-7.0588235294117604E-2</c:v>
                </c:pt>
                <c:pt idx="36084">
                  <c:v>-7.0588235294117604E-2</c:v>
                </c:pt>
                <c:pt idx="36085">
                  <c:v>-7.0588235294117604E-2</c:v>
                </c:pt>
                <c:pt idx="36086">
                  <c:v>-7.0588235294117604E-2</c:v>
                </c:pt>
                <c:pt idx="36087">
                  <c:v>-7.0588235294117604E-2</c:v>
                </c:pt>
                <c:pt idx="36088">
                  <c:v>-7.0588235294117604E-2</c:v>
                </c:pt>
                <c:pt idx="36089">
                  <c:v>-7.0588235294117604E-2</c:v>
                </c:pt>
                <c:pt idx="36090">
                  <c:v>-7.0588235294117604E-2</c:v>
                </c:pt>
                <c:pt idx="36091">
                  <c:v>-7.0588235294117604E-2</c:v>
                </c:pt>
                <c:pt idx="36092">
                  <c:v>-7.0588235294117604E-2</c:v>
                </c:pt>
                <c:pt idx="36093">
                  <c:v>-7.0588235294117604E-2</c:v>
                </c:pt>
                <c:pt idx="36094">
                  <c:v>-7.0588235294117604E-2</c:v>
                </c:pt>
                <c:pt idx="36095">
                  <c:v>-7.0588235294117604E-2</c:v>
                </c:pt>
                <c:pt idx="36096">
                  <c:v>-7.0588235294117604E-2</c:v>
                </c:pt>
                <c:pt idx="36097">
                  <c:v>-7.0588235294117604E-2</c:v>
                </c:pt>
                <c:pt idx="36098">
                  <c:v>-7.0588235294117604E-2</c:v>
                </c:pt>
                <c:pt idx="36099">
                  <c:v>-7.0588235294117604E-2</c:v>
                </c:pt>
                <c:pt idx="36100">
                  <c:v>-7.0588235294117604E-2</c:v>
                </c:pt>
                <c:pt idx="36101">
                  <c:v>-7.0588235294117604E-2</c:v>
                </c:pt>
                <c:pt idx="36102">
                  <c:v>-7.0588235294117604E-2</c:v>
                </c:pt>
                <c:pt idx="36103">
                  <c:v>-7.0588235294117604E-2</c:v>
                </c:pt>
                <c:pt idx="36104">
                  <c:v>-7.0588235294117604E-2</c:v>
                </c:pt>
                <c:pt idx="36105">
                  <c:v>-7.0588235294117604E-2</c:v>
                </c:pt>
                <c:pt idx="36106">
                  <c:v>-7.0588235294117604E-2</c:v>
                </c:pt>
                <c:pt idx="36107">
                  <c:v>-7.0588235294117604E-2</c:v>
                </c:pt>
                <c:pt idx="36108">
                  <c:v>-7.1428571428571397E-2</c:v>
                </c:pt>
                <c:pt idx="36109">
                  <c:v>-7.1428571428571397E-2</c:v>
                </c:pt>
                <c:pt idx="36110">
                  <c:v>-7.1428571428571397E-2</c:v>
                </c:pt>
                <c:pt idx="36111">
                  <c:v>-7.1428571428571397E-2</c:v>
                </c:pt>
                <c:pt idx="36112">
                  <c:v>-7.1428571428571397E-2</c:v>
                </c:pt>
                <c:pt idx="36113">
                  <c:v>-7.1428571428571397E-2</c:v>
                </c:pt>
                <c:pt idx="36114">
                  <c:v>-7.1428571428571397E-2</c:v>
                </c:pt>
                <c:pt idx="36115">
                  <c:v>-7.1428571428571397E-2</c:v>
                </c:pt>
                <c:pt idx="36116">
                  <c:v>-7.1428571428571397E-2</c:v>
                </c:pt>
                <c:pt idx="36117">
                  <c:v>-7.1428571428571397E-2</c:v>
                </c:pt>
                <c:pt idx="36118">
                  <c:v>-7.1428571428571397E-2</c:v>
                </c:pt>
                <c:pt idx="36119">
                  <c:v>-7.1428571428571397E-2</c:v>
                </c:pt>
                <c:pt idx="36120">
                  <c:v>-7.1428571428571397E-2</c:v>
                </c:pt>
                <c:pt idx="36121">
                  <c:v>-7.1428571428571397E-2</c:v>
                </c:pt>
                <c:pt idx="36122">
                  <c:v>-7.1428571428571397E-2</c:v>
                </c:pt>
                <c:pt idx="36123">
                  <c:v>-7.1428571428571397E-2</c:v>
                </c:pt>
                <c:pt idx="36124">
                  <c:v>-7.1428571428571397E-2</c:v>
                </c:pt>
                <c:pt idx="36125">
                  <c:v>-7.1428571428571397E-2</c:v>
                </c:pt>
                <c:pt idx="36126">
                  <c:v>-7.1428571428571397E-2</c:v>
                </c:pt>
                <c:pt idx="36127">
                  <c:v>-7.1428571428571397E-2</c:v>
                </c:pt>
                <c:pt idx="36128">
                  <c:v>-7.1428571428571397E-2</c:v>
                </c:pt>
                <c:pt idx="36129">
                  <c:v>-7.1428571428571397E-2</c:v>
                </c:pt>
                <c:pt idx="36130">
                  <c:v>-7.1428571428571397E-2</c:v>
                </c:pt>
                <c:pt idx="36131">
                  <c:v>-7.1428571428571397E-2</c:v>
                </c:pt>
                <c:pt idx="36132">
                  <c:v>-7.1428571428571397E-2</c:v>
                </c:pt>
                <c:pt idx="36133">
                  <c:v>-7.1428571428571397E-2</c:v>
                </c:pt>
                <c:pt idx="36134">
                  <c:v>-7.2268907563025106E-2</c:v>
                </c:pt>
                <c:pt idx="36135">
                  <c:v>-7.2268907563025106E-2</c:v>
                </c:pt>
                <c:pt idx="36136">
                  <c:v>-7.2268907563025106E-2</c:v>
                </c:pt>
                <c:pt idx="36137">
                  <c:v>-7.2268907563025106E-2</c:v>
                </c:pt>
                <c:pt idx="36138">
                  <c:v>-7.2268907563025106E-2</c:v>
                </c:pt>
                <c:pt idx="36139">
                  <c:v>-7.2268907563025106E-2</c:v>
                </c:pt>
                <c:pt idx="36140">
                  <c:v>-7.2268907563025106E-2</c:v>
                </c:pt>
                <c:pt idx="36141">
                  <c:v>-7.2268907563025106E-2</c:v>
                </c:pt>
                <c:pt idx="36142">
                  <c:v>-7.2268907563025106E-2</c:v>
                </c:pt>
                <c:pt idx="36143">
                  <c:v>-7.2268907563025106E-2</c:v>
                </c:pt>
                <c:pt idx="36144">
                  <c:v>-7.2268907563025106E-2</c:v>
                </c:pt>
                <c:pt idx="36145">
                  <c:v>-7.2268907563025106E-2</c:v>
                </c:pt>
                <c:pt idx="36146">
                  <c:v>-7.2268907563025106E-2</c:v>
                </c:pt>
                <c:pt idx="36147">
                  <c:v>-7.2268907563025106E-2</c:v>
                </c:pt>
                <c:pt idx="36148">
                  <c:v>-7.2268907563025106E-2</c:v>
                </c:pt>
                <c:pt idx="36149">
                  <c:v>-7.2268907563025106E-2</c:v>
                </c:pt>
                <c:pt idx="36150">
                  <c:v>-7.2268907563025106E-2</c:v>
                </c:pt>
                <c:pt idx="36151">
                  <c:v>-7.2268907563025106E-2</c:v>
                </c:pt>
                <c:pt idx="36152">
                  <c:v>-7.2268907563025106E-2</c:v>
                </c:pt>
                <c:pt idx="36153">
                  <c:v>-7.2268907563025106E-2</c:v>
                </c:pt>
                <c:pt idx="36154">
                  <c:v>-7.2268907563025106E-2</c:v>
                </c:pt>
                <c:pt idx="36155">
                  <c:v>-7.2268907563025106E-2</c:v>
                </c:pt>
                <c:pt idx="36156">
                  <c:v>-7.2268907563025106E-2</c:v>
                </c:pt>
                <c:pt idx="36157">
                  <c:v>-7.2268907563025106E-2</c:v>
                </c:pt>
                <c:pt idx="36158">
                  <c:v>-7.2268907563025106E-2</c:v>
                </c:pt>
                <c:pt idx="36159">
                  <c:v>-7.2268907563025106E-2</c:v>
                </c:pt>
                <c:pt idx="36160">
                  <c:v>-7.2268907563025106E-2</c:v>
                </c:pt>
                <c:pt idx="36161">
                  <c:v>-7.2268907563025106E-2</c:v>
                </c:pt>
                <c:pt idx="36162">
                  <c:v>-7.2268907563025106E-2</c:v>
                </c:pt>
                <c:pt idx="36163">
                  <c:v>-7.2268907563025106E-2</c:v>
                </c:pt>
                <c:pt idx="36164">
                  <c:v>-7.2268907563025106E-2</c:v>
                </c:pt>
                <c:pt idx="36165">
                  <c:v>-7.2268907563025106E-2</c:v>
                </c:pt>
                <c:pt idx="36166">
                  <c:v>-7.2268907563025106E-2</c:v>
                </c:pt>
                <c:pt idx="36167">
                  <c:v>-7.2268907563025106E-2</c:v>
                </c:pt>
                <c:pt idx="36168">
                  <c:v>-7.2268907563025106E-2</c:v>
                </c:pt>
                <c:pt idx="36169">
                  <c:v>-7.2268907563025106E-2</c:v>
                </c:pt>
                <c:pt idx="36170">
                  <c:v>-7.2268907563025106E-2</c:v>
                </c:pt>
                <c:pt idx="36171">
                  <c:v>-7.2268907563025106E-2</c:v>
                </c:pt>
                <c:pt idx="36172">
                  <c:v>-7.2268907563025106E-2</c:v>
                </c:pt>
                <c:pt idx="36173">
                  <c:v>-7.2268907563025106E-2</c:v>
                </c:pt>
                <c:pt idx="36174">
                  <c:v>-7.2268907563025106E-2</c:v>
                </c:pt>
                <c:pt idx="36175">
                  <c:v>-7.2268907563025106E-2</c:v>
                </c:pt>
                <c:pt idx="36176">
                  <c:v>-7.2268907563025106E-2</c:v>
                </c:pt>
                <c:pt idx="36177">
                  <c:v>-7.2268907563025106E-2</c:v>
                </c:pt>
                <c:pt idx="36178">
                  <c:v>-7.2268907563025106E-2</c:v>
                </c:pt>
                <c:pt idx="36179">
                  <c:v>-7.2268907563025106E-2</c:v>
                </c:pt>
                <c:pt idx="36180">
                  <c:v>-7.2268907563025106E-2</c:v>
                </c:pt>
                <c:pt idx="36181">
                  <c:v>-7.2268907563025106E-2</c:v>
                </c:pt>
                <c:pt idx="36182">
                  <c:v>-7.2268907563025106E-2</c:v>
                </c:pt>
                <c:pt idx="36183">
                  <c:v>-7.2268907563025106E-2</c:v>
                </c:pt>
                <c:pt idx="36184">
                  <c:v>-7.2268907563025106E-2</c:v>
                </c:pt>
                <c:pt idx="36185">
                  <c:v>-7.2268907563025106E-2</c:v>
                </c:pt>
                <c:pt idx="36186">
                  <c:v>-7.2268907563025106E-2</c:v>
                </c:pt>
                <c:pt idx="36187">
                  <c:v>-7.2268907563025106E-2</c:v>
                </c:pt>
                <c:pt idx="36188">
                  <c:v>-7.2268907563025106E-2</c:v>
                </c:pt>
                <c:pt idx="36189">
                  <c:v>-7.2268907563025106E-2</c:v>
                </c:pt>
                <c:pt idx="36190">
                  <c:v>-7.2268907563025106E-2</c:v>
                </c:pt>
                <c:pt idx="36191">
                  <c:v>-7.2268907563025106E-2</c:v>
                </c:pt>
                <c:pt idx="36192">
                  <c:v>-7.2268907563025106E-2</c:v>
                </c:pt>
                <c:pt idx="36193">
                  <c:v>-7.2268907563025106E-2</c:v>
                </c:pt>
                <c:pt idx="36194">
                  <c:v>-7.2268907563025106E-2</c:v>
                </c:pt>
                <c:pt idx="36195">
                  <c:v>-7.2268907563025106E-2</c:v>
                </c:pt>
                <c:pt idx="36196">
                  <c:v>-7.2268907563025106E-2</c:v>
                </c:pt>
                <c:pt idx="36197">
                  <c:v>-7.2268907563025106E-2</c:v>
                </c:pt>
                <c:pt idx="36198">
                  <c:v>-7.2268907563025106E-2</c:v>
                </c:pt>
                <c:pt idx="36199">
                  <c:v>-7.2268907563025106E-2</c:v>
                </c:pt>
                <c:pt idx="36200">
                  <c:v>-7.2268907563025106E-2</c:v>
                </c:pt>
                <c:pt idx="36201">
                  <c:v>-7.2268907563025106E-2</c:v>
                </c:pt>
                <c:pt idx="36202">
                  <c:v>-7.2268907563025106E-2</c:v>
                </c:pt>
                <c:pt idx="36203">
                  <c:v>-7.2268907563025106E-2</c:v>
                </c:pt>
                <c:pt idx="36204">
                  <c:v>-7.2268907563025106E-2</c:v>
                </c:pt>
                <c:pt idx="36205">
                  <c:v>-7.2268907563025106E-2</c:v>
                </c:pt>
                <c:pt idx="36206">
                  <c:v>-7.2268907563025106E-2</c:v>
                </c:pt>
                <c:pt idx="36207">
                  <c:v>-7.2268907563025106E-2</c:v>
                </c:pt>
                <c:pt idx="36208">
                  <c:v>-7.2268907563025106E-2</c:v>
                </c:pt>
                <c:pt idx="36209">
                  <c:v>-7.2268907563025106E-2</c:v>
                </c:pt>
                <c:pt idx="36210">
                  <c:v>-7.2268907563025106E-2</c:v>
                </c:pt>
                <c:pt idx="36211">
                  <c:v>-7.2268907563025106E-2</c:v>
                </c:pt>
                <c:pt idx="36212">
                  <c:v>-7.2268907563025106E-2</c:v>
                </c:pt>
                <c:pt idx="36213">
                  <c:v>-7.2268907563025106E-2</c:v>
                </c:pt>
                <c:pt idx="36214">
                  <c:v>-7.2268907563025106E-2</c:v>
                </c:pt>
                <c:pt idx="36215">
                  <c:v>-7.2268907563025106E-2</c:v>
                </c:pt>
                <c:pt idx="36216">
                  <c:v>-7.2268907563025106E-2</c:v>
                </c:pt>
                <c:pt idx="36217">
                  <c:v>-7.2268907563025106E-2</c:v>
                </c:pt>
                <c:pt idx="36218">
                  <c:v>-7.2268907563025106E-2</c:v>
                </c:pt>
                <c:pt idx="36219">
                  <c:v>-7.2268907563025106E-2</c:v>
                </c:pt>
                <c:pt idx="36220">
                  <c:v>-7.2268907563025106E-2</c:v>
                </c:pt>
                <c:pt idx="36221">
                  <c:v>-7.2268907563025106E-2</c:v>
                </c:pt>
                <c:pt idx="36222">
                  <c:v>-7.2268907563025106E-2</c:v>
                </c:pt>
                <c:pt idx="36223">
                  <c:v>-7.2268907563025106E-2</c:v>
                </c:pt>
                <c:pt idx="36224">
                  <c:v>-7.2268907563025106E-2</c:v>
                </c:pt>
                <c:pt idx="36225">
                  <c:v>-7.2268907563025106E-2</c:v>
                </c:pt>
                <c:pt idx="36226">
                  <c:v>-7.2268907563025106E-2</c:v>
                </c:pt>
                <c:pt idx="36227">
                  <c:v>-7.2268907563025106E-2</c:v>
                </c:pt>
                <c:pt idx="36228">
                  <c:v>-7.2268907563025106E-2</c:v>
                </c:pt>
                <c:pt idx="36229">
                  <c:v>-7.2268907563025106E-2</c:v>
                </c:pt>
                <c:pt idx="36230">
                  <c:v>-7.2268907563025106E-2</c:v>
                </c:pt>
                <c:pt idx="36231">
                  <c:v>-7.2268907563025106E-2</c:v>
                </c:pt>
                <c:pt idx="36232">
                  <c:v>-7.2268907563025106E-2</c:v>
                </c:pt>
                <c:pt idx="36233">
                  <c:v>-7.2268907563025106E-2</c:v>
                </c:pt>
                <c:pt idx="36234">
                  <c:v>-7.2268907563025106E-2</c:v>
                </c:pt>
                <c:pt idx="36235">
                  <c:v>-7.2268907563025106E-2</c:v>
                </c:pt>
                <c:pt idx="36236">
                  <c:v>-7.2268907563025106E-2</c:v>
                </c:pt>
                <c:pt idx="36237">
                  <c:v>-7.2268907563025106E-2</c:v>
                </c:pt>
                <c:pt idx="36238">
                  <c:v>-7.2268907563025106E-2</c:v>
                </c:pt>
                <c:pt idx="36239">
                  <c:v>-7.2268907563025106E-2</c:v>
                </c:pt>
                <c:pt idx="36240">
                  <c:v>-7.2268907563025106E-2</c:v>
                </c:pt>
                <c:pt idx="36241">
                  <c:v>-7.2268907563025106E-2</c:v>
                </c:pt>
                <c:pt idx="36242">
                  <c:v>-7.2268907563025106E-2</c:v>
                </c:pt>
                <c:pt idx="36243">
                  <c:v>-7.2268907563025106E-2</c:v>
                </c:pt>
                <c:pt idx="36244">
                  <c:v>-7.2268907563025106E-2</c:v>
                </c:pt>
                <c:pt idx="36245">
                  <c:v>-7.2268907563025106E-2</c:v>
                </c:pt>
                <c:pt idx="36246">
                  <c:v>-7.2268907563025106E-2</c:v>
                </c:pt>
                <c:pt idx="36247">
                  <c:v>-7.2268907563025106E-2</c:v>
                </c:pt>
                <c:pt idx="36248">
                  <c:v>-7.2268907563025106E-2</c:v>
                </c:pt>
                <c:pt idx="36249">
                  <c:v>-7.2268907563025106E-2</c:v>
                </c:pt>
                <c:pt idx="36250">
                  <c:v>-7.2268907563025106E-2</c:v>
                </c:pt>
                <c:pt idx="36251">
                  <c:v>-7.2268907563025106E-2</c:v>
                </c:pt>
                <c:pt idx="36252">
                  <c:v>-7.2268907563025106E-2</c:v>
                </c:pt>
                <c:pt idx="36253">
                  <c:v>-7.2268907563025106E-2</c:v>
                </c:pt>
                <c:pt idx="36254">
                  <c:v>-7.2268907563025106E-2</c:v>
                </c:pt>
                <c:pt idx="36255">
                  <c:v>-7.2268907563025106E-2</c:v>
                </c:pt>
                <c:pt idx="36256">
                  <c:v>-7.2268907563025106E-2</c:v>
                </c:pt>
                <c:pt idx="36257">
                  <c:v>-7.2268907563025106E-2</c:v>
                </c:pt>
                <c:pt idx="36258">
                  <c:v>-7.2268907563025106E-2</c:v>
                </c:pt>
                <c:pt idx="36259">
                  <c:v>-7.2268907563025106E-2</c:v>
                </c:pt>
                <c:pt idx="36260">
                  <c:v>-7.2268907563025106E-2</c:v>
                </c:pt>
                <c:pt idx="36261">
                  <c:v>-7.2268907563025106E-2</c:v>
                </c:pt>
                <c:pt idx="36262">
                  <c:v>-7.2268907563025106E-2</c:v>
                </c:pt>
                <c:pt idx="36263">
                  <c:v>-7.2268907563025106E-2</c:v>
                </c:pt>
                <c:pt idx="36264">
                  <c:v>-7.2268907563025106E-2</c:v>
                </c:pt>
                <c:pt idx="36265">
                  <c:v>-7.2268907563025106E-2</c:v>
                </c:pt>
                <c:pt idx="36266">
                  <c:v>-7.2268907563025106E-2</c:v>
                </c:pt>
                <c:pt idx="36267">
                  <c:v>-7.2268907563025106E-2</c:v>
                </c:pt>
                <c:pt idx="36268">
                  <c:v>-7.2268907563025106E-2</c:v>
                </c:pt>
                <c:pt idx="36269">
                  <c:v>-7.2268907563025106E-2</c:v>
                </c:pt>
                <c:pt idx="36270">
                  <c:v>-7.2268907563025106E-2</c:v>
                </c:pt>
                <c:pt idx="36271">
                  <c:v>-7.2268907563025106E-2</c:v>
                </c:pt>
                <c:pt idx="36272">
                  <c:v>-7.2268907563025106E-2</c:v>
                </c:pt>
                <c:pt idx="36273">
                  <c:v>-7.2268907563025106E-2</c:v>
                </c:pt>
                <c:pt idx="36274">
                  <c:v>-7.2268907563025106E-2</c:v>
                </c:pt>
                <c:pt idx="36275">
                  <c:v>-7.2268907563025106E-2</c:v>
                </c:pt>
                <c:pt idx="36276">
                  <c:v>-7.2268907563025106E-2</c:v>
                </c:pt>
                <c:pt idx="36277">
                  <c:v>-7.1428571428571397E-2</c:v>
                </c:pt>
                <c:pt idx="36278">
                  <c:v>-7.1428571428571397E-2</c:v>
                </c:pt>
                <c:pt idx="36279">
                  <c:v>-7.1428571428571397E-2</c:v>
                </c:pt>
                <c:pt idx="36280">
                  <c:v>-7.1428571428571397E-2</c:v>
                </c:pt>
                <c:pt idx="36281">
                  <c:v>-7.1428571428571397E-2</c:v>
                </c:pt>
                <c:pt idx="36282">
                  <c:v>-7.1428571428571397E-2</c:v>
                </c:pt>
                <c:pt idx="36283">
                  <c:v>-7.1428571428571397E-2</c:v>
                </c:pt>
                <c:pt idx="36284">
                  <c:v>-7.1428571428571397E-2</c:v>
                </c:pt>
                <c:pt idx="36285">
                  <c:v>-7.1428571428571397E-2</c:v>
                </c:pt>
                <c:pt idx="36286">
                  <c:v>-7.1428571428571397E-2</c:v>
                </c:pt>
                <c:pt idx="36287">
                  <c:v>-7.1428571428571397E-2</c:v>
                </c:pt>
                <c:pt idx="36288">
                  <c:v>-7.1428571428571397E-2</c:v>
                </c:pt>
                <c:pt idx="36289">
                  <c:v>-7.1428571428571397E-2</c:v>
                </c:pt>
                <c:pt idx="36290">
                  <c:v>-7.1428571428571397E-2</c:v>
                </c:pt>
                <c:pt idx="36291">
                  <c:v>-7.1428571428571397E-2</c:v>
                </c:pt>
                <c:pt idx="36292">
                  <c:v>-7.1428571428571397E-2</c:v>
                </c:pt>
                <c:pt idx="36293">
                  <c:v>-7.1428571428571397E-2</c:v>
                </c:pt>
                <c:pt idx="36294">
                  <c:v>-7.1428571428571397E-2</c:v>
                </c:pt>
                <c:pt idx="36295">
                  <c:v>-7.1428571428571397E-2</c:v>
                </c:pt>
                <c:pt idx="36296">
                  <c:v>-7.1428571428571397E-2</c:v>
                </c:pt>
                <c:pt idx="36297">
                  <c:v>-7.1428571428571397E-2</c:v>
                </c:pt>
                <c:pt idx="36298">
                  <c:v>-7.1428571428571397E-2</c:v>
                </c:pt>
                <c:pt idx="36299">
                  <c:v>-7.1428571428571397E-2</c:v>
                </c:pt>
                <c:pt idx="36300">
                  <c:v>-7.1428571428571397E-2</c:v>
                </c:pt>
                <c:pt idx="36301">
                  <c:v>-7.1428571428571397E-2</c:v>
                </c:pt>
                <c:pt idx="36302">
                  <c:v>-7.1428571428571397E-2</c:v>
                </c:pt>
                <c:pt idx="36303">
                  <c:v>-7.1428571428571397E-2</c:v>
                </c:pt>
                <c:pt idx="36304">
                  <c:v>-7.1428571428571397E-2</c:v>
                </c:pt>
                <c:pt idx="36305">
                  <c:v>-7.1428571428571397E-2</c:v>
                </c:pt>
                <c:pt idx="36306">
                  <c:v>-7.1428571428571397E-2</c:v>
                </c:pt>
                <c:pt idx="36307">
                  <c:v>-7.1428571428571397E-2</c:v>
                </c:pt>
                <c:pt idx="36308">
                  <c:v>-7.1428571428571397E-2</c:v>
                </c:pt>
                <c:pt idx="36309">
                  <c:v>-7.1428571428571397E-2</c:v>
                </c:pt>
                <c:pt idx="36310">
                  <c:v>-7.1428571428571397E-2</c:v>
                </c:pt>
                <c:pt idx="36311">
                  <c:v>-7.1428571428571397E-2</c:v>
                </c:pt>
                <c:pt idx="36312">
                  <c:v>-7.1428571428571397E-2</c:v>
                </c:pt>
                <c:pt idx="36313">
                  <c:v>-7.1428571428571397E-2</c:v>
                </c:pt>
                <c:pt idx="36314">
                  <c:v>-7.1428571428571397E-2</c:v>
                </c:pt>
                <c:pt idx="36315">
                  <c:v>-7.1428571428571397E-2</c:v>
                </c:pt>
                <c:pt idx="36316">
                  <c:v>-7.1428571428571397E-2</c:v>
                </c:pt>
                <c:pt idx="36317">
                  <c:v>-7.1428571428571397E-2</c:v>
                </c:pt>
                <c:pt idx="36318">
                  <c:v>-7.1428571428571397E-2</c:v>
                </c:pt>
                <c:pt idx="36319">
                  <c:v>-7.1428571428571397E-2</c:v>
                </c:pt>
                <c:pt idx="36320">
                  <c:v>-7.1428571428571397E-2</c:v>
                </c:pt>
                <c:pt idx="36321">
                  <c:v>-7.1428571428571397E-2</c:v>
                </c:pt>
                <c:pt idx="36322">
                  <c:v>-7.1428571428571397E-2</c:v>
                </c:pt>
                <c:pt idx="36323">
                  <c:v>-7.1428571428571397E-2</c:v>
                </c:pt>
                <c:pt idx="36324">
                  <c:v>-7.1428571428571397E-2</c:v>
                </c:pt>
                <c:pt idx="36325">
                  <c:v>-7.1428571428571397E-2</c:v>
                </c:pt>
                <c:pt idx="36326">
                  <c:v>-7.1428571428571397E-2</c:v>
                </c:pt>
                <c:pt idx="36327">
                  <c:v>-7.1428571428571397E-2</c:v>
                </c:pt>
                <c:pt idx="36328">
                  <c:v>-7.1428571428571397E-2</c:v>
                </c:pt>
                <c:pt idx="36329">
                  <c:v>-7.1428571428571397E-2</c:v>
                </c:pt>
                <c:pt idx="36330">
                  <c:v>-7.1428571428571397E-2</c:v>
                </c:pt>
                <c:pt idx="36331">
                  <c:v>-7.1428571428571397E-2</c:v>
                </c:pt>
                <c:pt idx="36332">
                  <c:v>-7.1428571428571397E-2</c:v>
                </c:pt>
                <c:pt idx="36333">
                  <c:v>-7.1428571428571397E-2</c:v>
                </c:pt>
                <c:pt idx="36334">
                  <c:v>-7.1428571428571397E-2</c:v>
                </c:pt>
                <c:pt idx="36335">
                  <c:v>-7.1428571428571397E-2</c:v>
                </c:pt>
                <c:pt idx="36336">
                  <c:v>-7.1428571428571397E-2</c:v>
                </c:pt>
                <c:pt idx="36337">
                  <c:v>-7.1428571428571397E-2</c:v>
                </c:pt>
                <c:pt idx="36338">
                  <c:v>-7.1428571428571397E-2</c:v>
                </c:pt>
                <c:pt idx="36339">
                  <c:v>-7.1428571428571397E-2</c:v>
                </c:pt>
                <c:pt idx="36340">
                  <c:v>-7.1428571428571397E-2</c:v>
                </c:pt>
                <c:pt idx="36341">
                  <c:v>-7.1428571428571397E-2</c:v>
                </c:pt>
                <c:pt idx="36342">
                  <c:v>-7.1428571428571397E-2</c:v>
                </c:pt>
                <c:pt idx="36343">
                  <c:v>-7.1428571428571397E-2</c:v>
                </c:pt>
                <c:pt idx="36344">
                  <c:v>-7.1428571428571397E-2</c:v>
                </c:pt>
                <c:pt idx="36345">
                  <c:v>-7.1428571428571397E-2</c:v>
                </c:pt>
                <c:pt idx="36346">
                  <c:v>-7.1428571428571397E-2</c:v>
                </c:pt>
                <c:pt idx="36347">
                  <c:v>-7.1428571428571397E-2</c:v>
                </c:pt>
                <c:pt idx="36348">
                  <c:v>-7.1428571428571397E-2</c:v>
                </c:pt>
                <c:pt idx="36349">
                  <c:v>-7.1428571428571397E-2</c:v>
                </c:pt>
                <c:pt idx="36350">
                  <c:v>-7.1428571428571397E-2</c:v>
                </c:pt>
                <c:pt idx="36351">
                  <c:v>-7.1428571428571397E-2</c:v>
                </c:pt>
                <c:pt idx="36352">
                  <c:v>-7.0588235294117604E-2</c:v>
                </c:pt>
                <c:pt idx="36353">
                  <c:v>-7.0588235294117604E-2</c:v>
                </c:pt>
                <c:pt idx="36354">
                  <c:v>-7.0588235294117604E-2</c:v>
                </c:pt>
                <c:pt idx="36355">
                  <c:v>-7.0588235294117604E-2</c:v>
                </c:pt>
                <c:pt idx="36356">
                  <c:v>-7.0588235294117604E-2</c:v>
                </c:pt>
                <c:pt idx="36357">
                  <c:v>-7.0588235294117604E-2</c:v>
                </c:pt>
                <c:pt idx="36358">
                  <c:v>-7.0588235294117604E-2</c:v>
                </c:pt>
                <c:pt idx="36359">
                  <c:v>-7.0588235294117604E-2</c:v>
                </c:pt>
                <c:pt idx="36360">
                  <c:v>-7.0588235294117604E-2</c:v>
                </c:pt>
                <c:pt idx="36361">
                  <c:v>-7.0588235294117604E-2</c:v>
                </c:pt>
                <c:pt idx="36362">
                  <c:v>-7.0588235294117604E-2</c:v>
                </c:pt>
                <c:pt idx="36363">
                  <c:v>-7.0588235294117604E-2</c:v>
                </c:pt>
                <c:pt idx="36364">
                  <c:v>-7.0588235294117604E-2</c:v>
                </c:pt>
                <c:pt idx="36365">
                  <c:v>-7.0588235294117604E-2</c:v>
                </c:pt>
                <c:pt idx="36366">
                  <c:v>-7.0588235294117604E-2</c:v>
                </c:pt>
                <c:pt idx="36367">
                  <c:v>-7.0588235294117604E-2</c:v>
                </c:pt>
                <c:pt idx="36368">
                  <c:v>-7.0588235294117604E-2</c:v>
                </c:pt>
                <c:pt idx="36369">
                  <c:v>-7.0588235294117604E-2</c:v>
                </c:pt>
                <c:pt idx="36370">
                  <c:v>-7.0588235294117604E-2</c:v>
                </c:pt>
                <c:pt idx="36371">
                  <c:v>-7.0588235294117604E-2</c:v>
                </c:pt>
                <c:pt idx="36372">
                  <c:v>-7.0588235294117604E-2</c:v>
                </c:pt>
                <c:pt idx="36373">
                  <c:v>-7.0588235294117604E-2</c:v>
                </c:pt>
                <c:pt idx="36374">
                  <c:v>-7.0588235294117604E-2</c:v>
                </c:pt>
                <c:pt idx="36375">
                  <c:v>-7.0588235294117604E-2</c:v>
                </c:pt>
                <c:pt idx="36376">
                  <c:v>-7.0588235294117604E-2</c:v>
                </c:pt>
                <c:pt idx="36377">
                  <c:v>-7.0588235294117604E-2</c:v>
                </c:pt>
                <c:pt idx="36378">
                  <c:v>-7.0588235294117604E-2</c:v>
                </c:pt>
                <c:pt idx="36379">
                  <c:v>-7.0588235294117604E-2</c:v>
                </c:pt>
                <c:pt idx="36380">
                  <c:v>-7.0588235294117604E-2</c:v>
                </c:pt>
                <c:pt idx="36381">
                  <c:v>-7.0588235294117604E-2</c:v>
                </c:pt>
                <c:pt idx="36382">
                  <c:v>-7.0588235294117604E-2</c:v>
                </c:pt>
                <c:pt idx="36383">
                  <c:v>-7.0588235294117604E-2</c:v>
                </c:pt>
                <c:pt idx="36384">
                  <c:v>-7.0588235294117604E-2</c:v>
                </c:pt>
                <c:pt idx="36385">
                  <c:v>-7.0588235294117604E-2</c:v>
                </c:pt>
                <c:pt idx="36386">
                  <c:v>-7.0588235294117604E-2</c:v>
                </c:pt>
                <c:pt idx="36387">
                  <c:v>-7.0588235294117604E-2</c:v>
                </c:pt>
                <c:pt idx="36388">
                  <c:v>-7.0588235294117604E-2</c:v>
                </c:pt>
                <c:pt idx="36389">
                  <c:v>-7.0588235294117604E-2</c:v>
                </c:pt>
                <c:pt idx="36390">
                  <c:v>-7.0588235294117604E-2</c:v>
                </c:pt>
                <c:pt idx="36391">
                  <c:v>-7.0588235294117604E-2</c:v>
                </c:pt>
                <c:pt idx="36392">
                  <c:v>-7.0588235294117604E-2</c:v>
                </c:pt>
                <c:pt idx="36393">
                  <c:v>-7.0588235294117604E-2</c:v>
                </c:pt>
                <c:pt idx="36394">
                  <c:v>-7.0588235294117604E-2</c:v>
                </c:pt>
                <c:pt idx="36395">
                  <c:v>-7.0588235294117604E-2</c:v>
                </c:pt>
                <c:pt idx="36396">
                  <c:v>-7.0588235294117604E-2</c:v>
                </c:pt>
                <c:pt idx="36397">
                  <c:v>-7.0588235294117604E-2</c:v>
                </c:pt>
                <c:pt idx="36398">
                  <c:v>-7.0588235294117604E-2</c:v>
                </c:pt>
                <c:pt idx="36399">
                  <c:v>-7.0588235294117604E-2</c:v>
                </c:pt>
                <c:pt idx="36400">
                  <c:v>-7.0588235294117604E-2</c:v>
                </c:pt>
                <c:pt idx="36401">
                  <c:v>-7.0588235294117604E-2</c:v>
                </c:pt>
                <c:pt idx="36402">
                  <c:v>-7.0588235294117604E-2</c:v>
                </c:pt>
                <c:pt idx="36403">
                  <c:v>-7.0588235294117604E-2</c:v>
                </c:pt>
                <c:pt idx="36404">
                  <c:v>-7.0588235294117604E-2</c:v>
                </c:pt>
                <c:pt idx="36405">
                  <c:v>-7.0588235294117604E-2</c:v>
                </c:pt>
                <c:pt idx="36406">
                  <c:v>-7.0588235294117604E-2</c:v>
                </c:pt>
                <c:pt idx="36407">
                  <c:v>-7.0588235294117604E-2</c:v>
                </c:pt>
                <c:pt idx="36408">
                  <c:v>-7.0588235294117604E-2</c:v>
                </c:pt>
                <c:pt idx="36409">
                  <c:v>-7.0588235294117604E-2</c:v>
                </c:pt>
                <c:pt idx="36410">
                  <c:v>-7.0588235294117604E-2</c:v>
                </c:pt>
                <c:pt idx="36411">
                  <c:v>-7.0588235294117604E-2</c:v>
                </c:pt>
                <c:pt idx="36412">
                  <c:v>-7.0588235294117604E-2</c:v>
                </c:pt>
                <c:pt idx="36413">
                  <c:v>-7.0588235294117604E-2</c:v>
                </c:pt>
                <c:pt idx="36414">
                  <c:v>-7.0588235294117604E-2</c:v>
                </c:pt>
                <c:pt idx="36415">
                  <c:v>-7.0588235294117604E-2</c:v>
                </c:pt>
                <c:pt idx="36416">
                  <c:v>-7.0588235294117604E-2</c:v>
                </c:pt>
                <c:pt idx="36417">
                  <c:v>-7.0588235294117604E-2</c:v>
                </c:pt>
                <c:pt idx="36418">
                  <c:v>-7.0588235294117604E-2</c:v>
                </c:pt>
                <c:pt idx="36419">
                  <c:v>-7.0588235294117604E-2</c:v>
                </c:pt>
                <c:pt idx="36420">
                  <c:v>-7.0588235294117604E-2</c:v>
                </c:pt>
                <c:pt idx="36421">
                  <c:v>-6.9747899159663798E-2</c:v>
                </c:pt>
                <c:pt idx="36422">
                  <c:v>-6.9747899159663798E-2</c:v>
                </c:pt>
                <c:pt idx="36423">
                  <c:v>-6.9747899159663798E-2</c:v>
                </c:pt>
                <c:pt idx="36424">
                  <c:v>-6.9747899159663798E-2</c:v>
                </c:pt>
                <c:pt idx="36425">
                  <c:v>-6.9747899159663798E-2</c:v>
                </c:pt>
                <c:pt idx="36426">
                  <c:v>-6.9747899159663798E-2</c:v>
                </c:pt>
                <c:pt idx="36427">
                  <c:v>-6.9747899159663798E-2</c:v>
                </c:pt>
                <c:pt idx="36428">
                  <c:v>-6.9747899159663798E-2</c:v>
                </c:pt>
                <c:pt idx="36429">
                  <c:v>-6.9747899159663798E-2</c:v>
                </c:pt>
                <c:pt idx="36430">
                  <c:v>-6.9747899159663798E-2</c:v>
                </c:pt>
                <c:pt idx="36431">
                  <c:v>-6.9747899159663798E-2</c:v>
                </c:pt>
                <c:pt idx="36432">
                  <c:v>-6.9747899159663798E-2</c:v>
                </c:pt>
                <c:pt idx="36433">
                  <c:v>-6.9747899159663798E-2</c:v>
                </c:pt>
                <c:pt idx="36434">
                  <c:v>-6.9747899159663798E-2</c:v>
                </c:pt>
                <c:pt idx="36435">
                  <c:v>-6.9747899159663798E-2</c:v>
                </c:pt>
                <c:pt idx="36436">
                  <c:v>-6.9747899159663798E-2</c:v>
                </c:pt>
                <c:pt idx="36437">
                  <c:v>-6.9747899159663798E-2</c:v>
                </c:pt>
                <c:pt idx="36438">
                  <c:v>-6.9747899159663798E-2</c:v>
                </c:pt>
                <c:pt idx="36439">
                  <c:v>-6.9747899159663798E-2</c:v>
                </c:pt>
                <c:pt idx="36440">
                  <c:v>-6.9747899159663798E-2</c:v>
                </c:pt>
                <c:pt idx="36441">
                  <c:v>-6.9747899159663798E-2</c:v>
                </c:pt>
                <c:pt idx="36442">
                  <c:v>-6.9747899159663798E-2</c:v>
                </c:pt>
                <c:pt idx="36443">
                  <c:v>-6.9747899159663798E-2</c:v>
                </c:pt>
                <c:pt idx="36444">
                  <c:v>-6.9747899159663798E-2</c:v>
                </c:pt>
                <c:pt idx="36445">
                  <c:v>-6.9747899159663798E-2</c:v>
                </c:pt>
                <c:pt idx="36446">
                  <c:v>-6.9747899159663798E-2</c:v>
                </c:pt>
                <c:pt idx="36447">
                  <c:v>-6.9747899159663798E-2</c:v>
                </c:pt>
                <c:pt idx="36448">
                  <c:v>-6.9747899159663798E-2</c:v>
                </c:pt>
                <c:pt idx="36449">
                  <c:v>-6.9747899159663798E-2</c:v>
                </c:pt>
                <c:pt idx="36450">
                  <c:v>-6.9747899159663798E-2</c:v>
                </c:pt>
                <c:pt idx="36451">
                  <c:v>-6.9747899159663798E-2</c:v>
                </c:pt>
                <c:pt idx="36452">
                  <c:v>-6.9747899159663798E-2</c:v>
                </c:pt>
                <c:pt idx="36453">
                  <c:v>-6.9747899159663798E-2</c:v>
                </c:pt>
                <c:pt idx="36454">
                  <c:v>-6.9747899159663798E-2</c:v>
                </c:pt>
                <c:pt idx="36455">
                  <c:v>-6.9747899159663798E-2</c:v>
                </c:pt>
                <c:pt idx="36456">
                  <c:v>-6.9747899159663798E-2</c:v>
                </c:pt>
                <c:pt idx="36457">
                  <c:v>-6.9747899159663798E-2</c:v>
                </c:pt>
                <c:pt idx="36458">
                  <c:v>-6.9747899159663798E-2</c:v>
                </c:pt>
                <c:pt idx="36459">
                  <c:v>-6.9747899159663798E-2</c:v>
                </c:pt>
                <c:pt idx="36460">
                  <c:v>-6.9747899159663798E-2</c:v>
                </c:pt>
                <c:pt idx="36461">
                  <c:v>-6.9747899159663798E-2</c:v>
                </c:pt>
                <c:pt idx="36462">
                  <c:v>-6.9747899159663798E-2</c:v>
                </c:pt>
                <c:pt idx="36463">
                  <c:v>-6.9747899159663798E-2</c:v>
                </c:pt>
                <c:pt idx="36464">
                  <c:v>-6.9747899159663798E-2</c:v>
                </c:pt>
                <c:pt idx="36465">
                  <c:v>-6.9747899159663798E-2</c:v>
                </c:pt>
                <c:pt idx="36466">
                  <c:v>-6.9747899159663798E-2</c:v>
                </c:pt>
                <c:pt idx="36467">
                  <c:v>-6.9747899159663798E-2</c:v>
                </c:pt>
                <c:pt idx="36468">
                  <c:v>-6.9747899159663798E-2</c:v>
                </c:pt>
                <c:pt idx="36469">
                  <c:v>-6.9747899159663798E-2</c:v>
                </c:pt>
                <c:pt idx="36470">
                  <c:v>-6.9747899159663798E-2</c:v>
                </c:pt>
                <c:pt idx="36471">
                  <c:v>-6.9747899159663798E-2</c:v>
                </c:pt>
                <c:pt idx="36472">
                  <c:v>-6.9747899159663798E-2</c:v>
                </c:pt>
                <c:pt idx="36473">
                  <c:v>-6.9747899159663798E-2</c:v>
                </c:pt>
                <c:pt idx="36474">
                  <c:v>-6.9747899159663798E-2</c:v>
                </c:pt>
                <c:pt idx="36475">
                  <c:v>-6.9747899159663798E-2</c:v>
                </c:pt>
                <c:pt idx="36476">
                  <c:v>-6.9747899159663798E-2</c:v>
                </c:pt>
                <c:pt idx="36477">
                  <c:v>-6.9747899159663798E-2</c:v>
                </c:pt>
                <c:pt idx="36478">
                  <c:v>-6.9747899159663798E-2</c:v>
                </c:pt>
                <c:pt idx="36479">
                  <c:v>-6.9747899159663798E-2</c:v>
                </c:pt>
                <c:pt idx="36480">
                  <c:v>-6.9747899159663798E-2</c:v>
                </c:pt>
                <c:pt idx="36481">
                  <c:v>-6.9747899159663798E-2</c:v>
                </c:pt>
                <c:pt idx="36482">
                  <c:v>-6.9747899159663798E-2</c:v>
                </c:pt>
                <c:pt idx="36483">
                  <c:v>-6.9747899159663798E-2</c:v>
                </c:pt>
                <c:pt idx="36484">
                  <c:v>-6.9747899159663798E-2</c:v>
                </c:pt>
                <c:pt idx="36485">
                  <c:v>-6.9747899159663798E-2</c:v>
                </c:pt>
                <c:pt idx="36486">
                  <c:v>-6.9747899159663798E-2</c:v>
                </c:pt>
                <c:pt idx="36487">
                  <c:v>-6.8907563025210006E-2</c:v>
                </c:pt>
                <c:pt idx="36488">
                  <c:v>-6.8907563025210006E-2</c:v>
                </c:pt>
                <c:pt idx="36489">
                  <c:v>-6.8907563025210006E-2</c:v>
                </c:pt>
                <c:pt idx="36490">
                  <c:v>-6.8907563025210006E-2</c:v>
                </c:pt>
                <c:pt idx="36491">
                  <c:v>-6.8907563025210006E-2</c:v>
                </c:pt>
                <c:pt idx="36492">
                  <c:v>-6.8907563025210006E-2</c:v>
                </c:pt>
                <c:pt idx="36493">
                  <c:v>-6.8907563025210006E-2</c:v>
                </c:pt>
                <c:pt idx="36494">
                  <c:v>-6.8907563025210006E-2</c:v>
                </c:pt>
                <c:pt idx="36495">
                  <c:v>-6.8907563025210006E-2</c:v>
                </c:pt>
                <c:pt idx="36496">
                  <c:v>-6.8907563025210006E-2</c:v>
                </c:pt>
                <c:pt idx="36497">
                  <c:v>-6.8907563025210006E-2</c:v>
                </c:pt>
                <c:pt idx="36498">
                  <c:v>-6.8067226890756199E-2</c:v>
                </c:pt>
                <c:pt idx="36499">
                  <c:v>-6.8067226890756199E-2</c:v>
                </c:pt>
                <c:pt idx="36500">
                  <c:v>-6.8067226890756199E-2</c:v>
                </c:pt>
                <c:pt idx="36501">
                  <c:v>-6.8067226890756199E-2</c:v>
                </c:pt>
                <c:pt idx="36502">
                  <c:v>-6.8067226890756199E-2</c:v>
                </c:pt>
                <c:pt idx="36503">
                  <c:v>-6.8067226890756199E-2</c:v>
                </c:pt>
                <c:pt idx="36504">
                  <c:v>-6.8067226890756199E-2</c:v>
                </c:pt>
                <c:pt idx="36505">
                  <c:v>-6.8067226890756199E-2</c:v>
                </c:pt>
                <c:pt idx="36506">
                  <c:v>-6.8907563025210006E-2</c:v>
                </c:pt>
                <c:pt idx="36507">
                  <c:v>-6.8907563025210006E-2</c:v>
                </c:pt>
                <c:pt idx="36508">
                  <c:v>-6.8907563025210006E-2</c:v>
                </c:pt>
                <c:pt idx="36509">
                  <c:v>-6.8907563025210006E-2</c:v>
                </c:pt>
                <c:pt idx="36510">
                  <c:v>-6.8907563025210006E-2</c:v>
                </c:pt>
                <c:pt idx="36511">
                  <c:v>-6.8907563025210006E-2</c:v>
                </c:pt>
                <c:pt idx="36512">
                  <c:v>-6.8907563025210006E-2</c:v>
                </c:pt>
                <c:pt idx="36513">
                  <c:v>-6.8907563025210006E-2</c:v>
                </c:pt>
                <c:pt idx="36514">
                  <c:v>-6.8907563025210006E-2</c:v>
                </c:pt>
                <c:pt idx="36515">
                  <c:v>-6.8907563025210006E-2</c:v>
                </c:pt>
                <c:pt idx="36516">
                  <c:v>-6.8907563025210006E-2</c:v>
                </c:pt>
                <c:pt idx="36517">
                  <c:v>-6.8907563025210006E-2</c:v>
                </c:pt>
                <c:pt idx="36518">
                  <c:v>-6.8907563025210006E-2</c:v>
                </c:pt>
                <c:pt idx="36519">
                  <c:v>-6.8907563025210006E-2</c:v>
                </c:pt>
                <c:pt idx="36520">
                  <c:v>-6.8907563025210006E-2</c:v>
                </c:pt>
                <c:pt idx="36521">
                  <c:v>-6.8907563025210006E-2</c:v>
                </c:pt>
                <c:pt idx="36522">
                  <c:v>-6.8907563025210006E-2</c:v>
                </c:pt>
                <c:pt idx="36523">
                  <c:v>-6.8907563025210006E-2</c:v>
                </c:pt>
                <c:pt idx="36524">
                  <c:v>-6.8907563025210006E-2</c:v>
                </c:pt>
                <c:pt idx="36525">
                  <c:v>-6.8907563025210006E-2</c:v>
                </c:pt>
                <c:pt idx="36526">
                  <c:v>-6.8907563025210006E-2</c:v>
                </c:pt>
                <c:pt idx="36527">
                  <c:v>-6.8907563025210006E-2</c:v>
                </c:pt>
                <c:pt idx="36528">
                  <c:v>-6.8907563025210006E-2</c:v>
                </c:pt>
                <c:pt idx="36529">
                  <c:v>-6.8907563025210006E-2</c:v>
                </c:pt>
                <c:pt idx="36530">
                  <c:v>-6.8907563025210006E-2</c:v>
                </c:pt>
                <c:pt idx="36531">
                  <c:v>-6.8907563025210006E-2</c:v>
                </c:pt>
                <c:pt idx="36532">
                  <c:v>-6.8907563025210006E-2</c:v>
                </c:pt>
                <c:pt idx="36533">
                  <c:v>-6.8907563025210006E-2</c:v>
                </c:pt>
                <c:pt idx="36534">
                  <c:v>-6.8907563025210006E-2</c:v>
                </c:pt>
                <c:pt idx="36535">
                  <c:v>-6.8907563025210006E-2</c:v>
                </c:pt>
                <c:pt idx="36536">
                  <c:v>-6.8907563025210006E-2</c:v>
                </c:pt>
                <c:pt idx="36537">
                  <c:v>-6.8907563025210006E-2</c:v>
                </c:pt>
                <c:pt idx="36538">
                  <c:v>-6.8907563025210006E-2</c:v>
                </c:pt>
                <c:pt idx="36539">
                  <c:v>-6.8907563025210006E-2</c:v>
                </c:pt>
                <c:pt idx="36540">
                  <c:v>-6.8907563025210006E-2</c:v>
                </c:pt>
                <c:pt idx="36541">
                  <c:v>-6.8907563025210006E-2</c:v>
                </c:pt>
                <c:pt idx="36542">
                  <c:v>-6.8907563025210006E-2</c:v>
                </c:pt>
                <c:pt idx="36543">
                  <c:v>-6.8907563025210006E-2</c:v>
                </c:pt>
                <c:pt idx="36544">
                  <c:v>-6.8907563025210006E-2</c:v>
                </c:pt>
                <c:pt idx="36545">
                  <c:v>-6.8907563025210006E-2</c:v>
                </c:pt>
                <c:pt idx="36546">
                  <c:v>-6.8907563025210006E-2</c:v>
                </c:pt>
                <c:pt idx="36547">
                  <c:v>-6.8907563025210006E-2</c:v>
                </c:pt>
                <c:pt idx="36548">
                  <c:v>-6.8907563025210006E-2</c:v>
                </c:pt>
                <c:pt idx="36549">
                  <c:v>-6.8907563025210006E-2</c:v>
                </c:pt>
                <c:pt idx="36550">
                  <c:v>-6.8907563025210006E-2</c:v>
                </c:pt>
                <c:pt idx="36551">
                  <c:v>-6.8907563025210006E-2</c:v>
                </c:pt>
                <c:pt idx="36552">
                  <c:v>-6.8907563025210006E-2</c:v>
                </c:pt>
                <c:pt idx="36553">
                  <c:v>-6.8907563025210006E-2</c:v>
                </c:pt>
                <c:pt idx="36554">
                  <c:v>-6.8907563025210006E-2</c:v>
                </c:pt>
                <c:pt idx="36555">
                  <c:v>-6.8907563025210006E-2</c:v>
                </c:pt>
                <c:pt idx="36556">
                  <c:v>-6.8907563025210006E-2</c:v>
                </c:pt>
                <c:pt idx="36557">
                  <c:v>-6.8907563025210006E-2</c:v>
                </c:pt>
                <c:pt idx="36558">
                  <c:v>-6.8907563025210006E-2</c:v>
                </c:pt>
                <c:pt idx="36559">
                  <c:v>-6.8907563025210006E-2</c:v>
                </c:pt>
                <c:pt idx="36560">
                  <c:v>-6.8907563025210006E-2</c:v>
                </c:pt>
                <c:pt idx="36561">
                  <c:v>-6.8907563025210006E-2</c:v>
                </c:pt>
                <c:pt idx="36562">
                  <c:v>-6.8907563025210006E-2</c:v>
                </c:pt>
                <c:pt idx="36563">
                  <c:v>-6.8907563025210006E-2</c:v>
                </c:pt>
                <c:pt idx="36564">
                  <c:v>-6.8907563025210006E-2</c:v>
                </c:pt>
                <c:pt idx="36565">
                  <c:v>-6.8907563025210006E-2</c:v>
                </c:pt>
                <c:pt idx="36566">
                  <c:v>-6.8907563025210006E-2</c:v>
                </c:pt>
                <c:pt idx="36567">
                  <c:v>-6.8907563025210006E-2</c:v>
                </c:pt>
                <c:pt idx="36568">
                  <c:v>-6.8907563025210006E-2</c:v>
                </c:pt>
                <c:pt idx="36569">
                  <c:v>-6.8907563025210006E-2</c:v>
                </c:pt>
                <c:pt idx="36570">
                  <c:v>-6.8907563025210006E-2</c:v>
                </c:pt>
                <c:pt idx="36571">
                  <c:v>-6.8907563025210006E-2</c:v>
                </c:pt>
                <c:pt idx="36572">
                  <c:v>-6.8907563025210006E-2</c:v>
                </c:pt>
                <c:pt idx="36573">
                  <c:v>-6.8907563025210006E-2</c:v>
                </c:pt>
                <c:pt idx="36574">
                  <c:v>-6.8907563025210006E-2</c:v>
                </c:pt>
                <c:pt idx="36575">
                  <c:v>-6.8907563025210006E-2</c:v>
                </c:pt>
                <c:pt idx="36576">
                  <c:v>-6.8907563025210006E-2</c:v>
                </c:pt>
                <c:pt idx="36577">
                  <c:v>-6.8907563025210006E-2</c:v>
                </c:pt>
                <c:pt idx="36578">
                  <c:v>-6.8907563025210006E-2</c:v>
                </c:pt>
                <c:pt idx="36579">
                  <c:v>-6.8907563025210006E-2</c:v>
                </c:pt>
                <c:pt idx="36580">
                  <c:v>-6.8907563025210006E-2</c:v>
                </c:pt>
                <c:pt idx="36581">
                  <c:v>-6.8907563025210006E-2</c:v>
                </c:pt>
                <c:pt idx="36582">
                  <c:v>-6.8907563025210006E-2</c:v>
                </c:pt>
                <c:pt idx="36583">
                  <c:v>-6.8907563025210006E-2</c:v>
                </c:pt>
                <c:pt idx="36584">
                  <c:v>-6.8907563025210006E-2</c:v>
                </c:pt>
                <c:pt idx="36585">
                  <c:v>-6.8907563025210006E-2</c:v>
                </c:pt>
                <c:pt idx="36586">
                  <c:v>-6.8907563025210006E-2</c:v>
                </c:pt>
                <c:pt idx="36587">
                  <c:v>-6.8907563025210006E-2</c:v>
                </c:pt>
                <c:pt idx="36588">
                  <c:v>-6.8907563025210006E-2</c:v>
                </c:pt>
                <c:pt idx="36589">
                  <c:v>-6.8907563025210006E-2</c:v>
                </c:pt>
                <c:pt idx="36590">
                  <c:v>-6.8907563025210006E-2</c:v>
                </c:pt>
                <c:pt idx="36591">
                  <c:v>-6.8907563025210006E-2</c:v>
                </c:pt>
                <c:pt idx="36592">
                  <c:v>-6.8907563025210006E-2</c:v>
                </c:pt>
                <c:pt idx="36593">
                  <c:v>-6.8907563025210006E-2</c:v>
                </c:pt>
                <c:pt idx="36594">
                  <c:v>-6.8907563025210006E-2</c:v>
                </c:pt>
                <c:pt idx="36595">
                  <c:v>-6.8907563025210006E-2</c:v>
                </c:pt>
                <c:pt idx="36596">
                  <c:v>-6.8907563025210006E-2</c:v>
                </c:pt>
                <c:pt idx="36597">
                  <c:v>-6.8907563025210006E-2</c:v>
                </c:pt>
                <c:pt idx="36598">
                  <c:v>-6.8907563025210006E-2</c:v>
                </c:pt>
                <c:pt idx="36599">
                  <c:v>-6.8907563025210006E-2</c:v>
                </c:pt>
                <c:pt idx="36600">
                  <c:v>-6.8907563025210006E-2</c:v>
                </c:pt>
                <c:pt idx="36601">
                  <c:v>-6.8907563025210006E-2</c:v>
                </c:pt>
                <c:pt idx="36602">
                  <c:v>-6.8907563025210006E-2</c:v>
                </c:pt>
                <c:pt idx="36603">
                  <c:v>-6.8907563025210006E-2</c:v>
                </c:pt>
                <c:pt idx="36604">
                  <c:v>-6.8907563025210006E-2</c:v>
                </c:pt>
                <c:pt idx="36605">
                  <c:v>-6.8907563025210006E-2</c:v>
                </c:pt>
                <c:pt idx="36606">
                  <c:v>-6.8907563025210006E-2</c:v>
                </c:pt>
                <c:pt idx="36607">
                  <c:v>-6.8907563025210006E-2</c:v>
                </c:pt>
                <c:pt idx="36608">
                  <c:v>-6.8907563025210006E-2</c:v>
                </c:pt>
                <c:pt idx="36609">
                  <c:v>-6.8907563025210006E-2</c:v>
                </c:pt>
                <c:pt idx="36610">
                  <c:v>-6.8907563025210006E-2</c:v>
                </c:pt>
                <c:pt idx="36611">
                  <c:v>-6.8907563025210006E-2</c:v>
                </c:pt>
                <c:pt idx="36612">
                  <c:v>-6.8907563025210006E-2</c:v>
                </c:pt>
                <c:pt idx="36613">
                  <c:v>-6.8907563025210006E-2</c:v>
                </c:pt>
                <c:pt idx="36614">
                  <c:v>-6.8907563025210006E-2</c:v>
                </c:pt>
                <c:pt idx="36615">
                  <c:v>-6.8907563025210006E-2</c:v>
                </c:pt>
                <c:pt idx="36616">
                  <c:v>-6.9747899159663798E-2</c:v>
                </c:pt>
                <c:pt idx="36617">
                  <c:v>-6.9747899159663798E-2</c:v>
                </c:pt>
                <c:pt idx="36618">
                  <c:v>-6.9747899159663798E-2</c:v>
                </c:pt>
                <c:pt idx="36619">
                  <c:v>-6.9747899159663798E-2</c:v>
                </c:pt>
                <c:pt idx="36620">
                  <c:v>-6.9747899159663798E-2</c:v>
                </c:pt>
                <c:pt idx="36621">
                  <c:v>-6.9747899159663798E-2</c:v>
                </c:pt>
                <c:pt idx="36622">
                  <c:v>-6.9747899159663798E-2</c:v>
                </c:pt>
                <c:pt idx="36623">
                  <c:v>-6.9747899159663798E-2</c:v>
                </c:pt>
                <c:pt idx="36624">
                  <c:v>-6.9747899159663798E-2</c:v>
                </c:pt>
                <c:pt idx="36625">
                  <c:v>-6.9747899159663798E-2</c:v>
                </c:pt>
                <c:pt idx="36626">
                  <c:v>-6.9747899159663798E-2</c:v>
                </c:pt>
                <c:pt idx="36627">
                  <c:v>-6.9747899159663798E-2</c:v>
                </c:pt>
                <c:pt idx="36628">
                  <c:v>-6.9747899159663798E-2</c:v>
                </c:pt>
                <c:pt idx="36629">
                  <c:v>-6.9747899159663798E-2</c:v>
                </c:pt>
                <c:pt idx="36630">
                  <c:v>-6.9747899159663798E-2</c:v>
                </c:pt>
                <c:pt idx="36631">
                  <c:v>-6.9747899159663798E-2</c:v>
                </c:pt>
                <c:pt idx="36632">
                  <c:v>-6.9747899159663798E-2</c:v>
                </c:pt>
                <c:pt idx="36633">
                  <c:v>-6.9747899159663798E-2</c:v>
                </c:pt>
                <c:pt idx="36634">
                  <c:v>-6.9747899159663798E-2</c:v>
                </c:pt>
                <c:pt idx="36635">
                  <c:v>-6.9747899159663798E-2</c:v>
                </c:pt>
                <c:pt idx="36636">
                  <c:v>-6.9747899159663798E-2</c:v>
                </c:pt>
                <c:pt idx="36637">
                  <c:v>-6.9747899159663798E-2</c:v>
                </c:pt>
                <c:pt idx="36638">
                  <c:v>-6.8907563025210006E-2</c:v>
                </c:pt>
                <c:pt idx="36639">
                  <c:v>-6.8907563025210006E-2</c:v>
                </c:pt>
                <c:pt idx="36640">
                  <c:v>-6.8907563025210006E-2</c:v>
                </c:pt>
                <c:pt idx="36641">
                  <c:v>-6.8907563025210006E-2</c:v>
                </c:pt>
                <c:pt idx="36642">
                  <c:v>-6.8907563025210006E-2</c:v>
                </c:pt>
                <c:pt idx="36643">
                  <c:v>-6.8907563025210006E-2</c:v>
                </c:pt>
                <c:pt idx="36644">
                  <c:v>-6.8907563025210006E-2</c:v>
                </c:pt>
                <c:pt idx="36645">
                  <c:v>-6.8907563025210006E-2</c:v>
                </c:pt>
                <c:pt idx="36646">
                  <c:v>-6.8907563025210006E-2</c:v>
                </c:pt>
                <c:pt idx="36647">
                  <c:v>-6.8907563025210006E-2</c:v>
                </c:pt>
                <c:pt idx="36648">
                  <c:v>-6.8907563025210006E-2</c:v>
                </c:pt>
                <c:pt idx="36649">
                  <c:v>-6.8067226890756199E-2</c:v>
                </c:pt>
                <c:pt idx="36650">
                  <c:v>-6.8067226890756199E-2</c:v>
                </c:pt>
                <c:pt idx="36651">
                  <c:v>-6.8067226890756199E-2</c:v>
                </c:pt>
                <c:pt idx="36652">
                  <c:v>-6.8067226890756199E-2</c:v>
                </c:pt>
                <c:pt idx="36653">
                  <c:v>-6.8067226890756199E-2</c:v>
                </c:pt>
                <c:pt idx="36654">
                  <c:v>-6.8067226890756199E-2</c:v>
                </c:pt>
                <c:pt idx="36655">
                  <c:v>-6.8067226890756199E-2</c:v>
                </c:pt>
                <c:pt idx="36656">
                  <c:v>-6.8067226890756199E-2</c:v>
                </c:pt>
                <c:pt idx="36657">
                  <c:v>-6.8067226890756199E-2</c:v>
                </c:pt>
                <c:pt idx="36658">
                  <c:v>-6.8067226890756199E-2</c:v>
                </c:pt>
                <c:pt idx="36659">
                  <c:v>-6.8067226890756199E-2</c:v>
                </c:pt>
                <c:pt idx="36660">
                  <c:v>-6.8067226890756199E-2</c:v>
                </c:pt>
                <c:pt idx="36661">
                  <c:v>-6.8067226890756199E-2</c:v>
                </c:pt>
                <c:pt idx="36662">
                  <c:v>-6.8067226890756199E-2</c:v>
                </c:pt>
                <c:pt idx="36663">
                  <c:v>-6.8067226890756199E-2</c:v>
                </c:pt>
                <c:pt idx="36664">
                  <c:v>-6.8067226890756199E-2</c:v>
                </c:pt>
                <c:pt idx="36665">
                  <c:v>-6.8067226890756199E-2</c:v>
                </c:pt>
                <c:pt idx="36666">
                  <c:v>-6.8067226890756199E-2</c:v>
                </c:pt>
                <c:pt idx="36667">
                  <c:v>-6.8067226890756199E-2</c:v>
                </c:pt>
                <c:pt idx="36668">
                  <c:v>-6.8067226890756199E-2</c:v>
                </c:pt>
                <c:pt idx="36669">
                  <c:v>-6.8067226890756199E-2</c:v>
                </c:pt>
                <c:pt idx="36670">
                  <c:v>-6.8067226890756199E-2</c:v>
                </c:pt>
                <c:pt idx="36671">
                  <c:v>-6.8067226890756199E-2</c:v>
                </c:pt>
                <c:pt idx="36672">
                  <c:v>-6.8067226890756199E-2</c:v>
                </c:pt>
                <c:pt idx="36673">
                  <c:v>-6.8067226890756199E-2</c:v>
                </c:pt>
                <c:pt idx="36674">
                  <c:v>-6.8067226890756199E-2</c:v>
                </c:pt>
                <c:pt idx="36675">
                  <c:v>-6.8067226890756199E-2</c:v>
                </c:pt>
                <c:pt idx="36676">
                  <c:v>-6.8067226890756199E-2</c:v>
                </c:pt>
                <c:pt idx="36677">
                  <c:v>-6.8067226890756199E-2</c:v>
                </c:pt>
                <c:pt idx="36678">
                  <c:v>-6.8067226890756199E-2</c:v>
                </c:pt>
                <c:pt idx="36679">
                  <c:v>-6.8067226890756199E-2</c:v>
                </c:pt>
                <c:pt idx="36680">
                  <c:v>-6.8067226890756199E-2</c:v>
                </c:pt>
                <c:pt idx="36681">
                  <c:v>-6.8067226890756199E-2</c:v>
                </c:pt>
                <c:pt idx="36682">
                  <c:v>-6.8067226890756199E-2</c:v>
                </c:pt>
                <c:pt idx="36683">
                  <c:v>-6.8067226890756199E-2</c:v>
                </c:pt>
                <c:pt idx="36684">
                  <c:v>-6.8067226890756199E-2</c:v>
                </c:pt>
                <c:pt idx="36685">
                  <c:v>-6.8067226890756199E-2</c:v>
                </c:pt>
                <c:pt idx="36686">
                  <c:v>-6.8067226890756199E-2</c:v>
                </c:pt>
                <c:pt idx="36687">
                  <c:v>-6.7226890756302504E-2</c:v>
                </c:pt>
                <c:pt idx="36688">
                  <c:v>-6.7226890756302504E-2</c:v>
                </c:pt>
                <c:pt idx="36689">
                  <c:v>-6.8067226890756199E-2</c:v>
                </c:pt>
                <c:pt idx="36690">
                  <c:v>-6.8067226890756199E-2</c:v>
                </c:pt>
                <c:pt idx="36691">
                  <c:v>-6.7226890756302504E-2</c:v>
                </c:pt>
                <c:pt idx="36692">
                  <c:v>-6.6386554621848698E-2</c:v>
                </c:pt>
                <c:pt idx="36693">
                  <c:v>-6.6386554621848698E-2</c:v>
                </c:pt>
                <c:pt idx="36694">
                  <c:v>-6.6386554621848698E-2</c:v>
                </c:pt>
                <c:pt idx="36695">
                  <c:v>-6.6386554621848698E-2</c:v>
                </c:pt>
                <c:pt idx="36696">
                  <c:v>-6.6386554621848698E-2</c:v>
                </c:pt>
                <c:pt idx="36697">
                  <c:v>-6.6386554621848698E-2</c:v>
                </c:pt>
                <c:pt idx="36698">
                  <c:v>-6.6386554621848698E-2</c:v>
                </c:pt>
                <c:pt idx="36699">
                  <c:v>-6.6386554621848698E-2</c:v>
                </c:pt>
                <c:pt idx="36700">
                  <c:v>-6.6386554621848698E-2</c:v>
                </c:pt>
                <c:pt idx="36701">
                  <c:v>-6.6386554621848698E-2</c:v>
                </c:pt>
                <c:pt idx="36702">
                  <c:v>-6.6386554621848698E-2</c:v>
                </c:pt>
                <c:pt idx="36703">
                  <c:v>-6.6386554621848698E-2</c:v>
                </c:pt>
                <c:pt idx="36704">
                  <c:v>-6.6386554621848698E-2</c:v>
                </c:pt>
                <c:pt idx="36705">
                  <c:v>-6.6386554621848698E-2</c:v>
                </c:pt>
                <c:pt idx="36706">
                  <c:v>-6.6386554621848698E-2</c:v>
                </c:pt>
                <c:pt idx="36707">
                  <c:v>-6.6386554621848698E-2</c:v>
                </c:pt>
                <c:pt idx="36708">
                  <c:v>-6.6386554621848698E-2</c:v>
                </c:pt>
                <c:pt idx="36709">
                  <c:v>-6.6386554621848698E-2</c:v>
                </c:pt>
                <c:pt idx="36710">
                  <c:v>-6.6386554621848698E-2</c:v>
                </c:pt>
                <c:pt idx="36711">
                  <c:v>-6.6386554621848698E-2</c:v>
                </c:pt>
                <c:pt idx="36712">
                  <c:v>-6.6386554621848698E-2</c:v>
                </c:pt>
                <c:pt idx="36713">
                  <c:v>-6.6386554621848698E-2</c:v>
                </c:pt>
                <c:pt idx="36714">
                  <c:v>-6.6386554621848698E-2</c:v>
                </c:pt>
                <c:pt idx="36715">
                  <c:v>-6.6386554621848698E-2</c:v>
                </c:pt>
                <c:pt idx="36716">
                  <c:v>-6.6386554621848698E-2</c:v>
                </c:pt>
                <c:pt idx="36717">
                  <c:v>-6.6386554621848698E-2</c:v>
                </c:pt>
                <c:pt idx="36718">
                  <c:v>-6.6386554621848698E-2</c:v>
                </c:pt>
                <c:pt idx="36719">
                  <c:v>-6.6386554621848698E-2</c:v>
                </c:pt>
                <c:pt idx="36720">
                  <c:v>-6.6386554621848698E-2</c:v>
                </c:pt>
                <c:pt idx="36721">
                  <c:v>-6.6386554621848698E-2</c:v>
                </c:pt>
                <c:pt idx="36722">
                  <c:v>-6.6386554621848698E-2</c:v>
                </c:pt>
                <c:pt idx="36723">
                  <c:v>-6.7226890756302504E-2</c:v>
                </c:pt>
                <c:pt idx="36724">
                  <c:v>-6.7226890756302504E-2</c:v>
                </c:pt>
                <c:pt idx="36725">
                  <c:v>-6.7226890756302504E-2</c:v>
                </c:pt>
                <c:pt idx="36726">
                  <c:v>-6.7226890756302504E-2</c:v>
                </c:pt>
                <c:pt idx="36727">
                  <c:v>-6.7226890756302504E-2</c:v>
                </c:pt>
                <c:pt idx="36728">
                  <c:v>-6.7226890756302504E-2</c:v>
                </c:pt>
                <c:pt idx="36729">
                  <c:v>-6.7226890756302504E-2</c:v>
                </c:pt>
                <c:pt idx="36730">
                  <c:v>-6.7226890756302504E-2</c:v>
                </c:pt>
                <c:pt idx="36731">
                  <c:v>-6.7226890756302504E-2</c:v>
                </c:pt>
                <c:pt idx="36732">
                  <c:v>-6.7226890756302504E-2</c:v>
                </c:pt>
                <c:pt idx="36733">
                  <c:v>-6.7226890756302504E-2</c:v>
                </c:pt>
                <c:pt idx="36734">
                  <c:v>-6.7226890756302504E-2</c:v>
                </c:pt>
                <c:pt idx="36735">
                  <c:v>-6.7226890756302504E-2</c:v>
                </c:pt>
                <c:pt idx="36736">
                  <c:v>-6.7226890756302504E-2</c:v>
                </c:pt>
                <c:pt idx="36737">
                  <c:v>-6.7226890756302504E-2</c:v>
                </c:pt>
                <c:pt idx="36738">
                  <c:v>-6.7226890756302504E-2</c:v>
                </c:pt>
                <c:pt idx="36739">
                  <c:v>-6.7226890756302504E-2</c:v>
                </c:pt>
                <c:pt idx="36740">
                  <c:v>-6.7226890756302504E-2</c:v>
                </c:pt>
                <c:pt idx="36741">
                  <c:v>-6.7226890756302504E-2</c:v>
                </c:pt>
                <c:pt idx="36742">
                  <c:v>-6.7226890756302504E-2</c:v>
                </c:pt>
                <c:pt idx="36743">
                  <c:v>-6.8067226890756199E-2</c:v>
                </c:pt>
                <c:pt idx="36744">
                  <c:v>-6.8067226890756199E-2</c:v>
                </c:pt>
                <c:pt idx="36745">
                  <c:v>-6.8067226890756199E-2</c:v>
                </c:pt>
                <c:pt idx="36746">
                  <c:v>-6.8067226890756199E-2</c:v>
                </c:pt>
                <c:pt idx="36747">
                  <c:v>-6.8067226890756199E-2</c:v>
                </c:pt>
                <c:pt idx="36748">
                  <c:v>-6.8067226890756199E-2</c:v>
                </c:pt>
                <c:pt idx="36749">
                  <c:v>-6.8067226890756199E-2</c:v>
                </c:pt>
                <c:pt idx="36750">
                  <c:v>-6.8067226890756199E-2</c:v>
                </c:pt>
                <c:pt idx="36751">
                  <c:v>-6.8067226890756199E-2</c:v>
                </c:pt>
                <c:pt idx="36752">
                  <c:v>-6.8067226890756199E-2</c:v>
                </c:pt>
                <c:pt idx="36753">
                  <c:v>-6.8067226890756199E-2</c:v>
                </c:pt>
                <c:pt idx="36754">
                  <c:v>-6.8067226890756199E-2</c:v>
                </c:pt>
                <c:pt idx="36755">
                  <c:v>-6.8067226890756199E-2</c:v>
                </c:pt>
                <c:pt idx="36756">
                  <c:v>-6.8067226890756199E-2</c:v>
                </c:pt>
                <c:pt idx="36757">
                  <c:v>-6.8067226890756199E-2</c:v>
                </c:pt>
                <c:pt idx="36758">
                  <c:v>-6.8067226890756199E-2</c:v>
                </c:pt>
                <c:pt idx="36759">
                  <c:v>-6.8067226890756199E-2</c:v>
                </c:pt>
                <c:pt idx="36760">
                  <c:v>-6.8067226890756199E-2</c:v>
                </c:pt>
                <c:pt idx="36761">
                  <c:v>-6.8067226890756199E-2</c:v>
                </c:pt>
                <c:pt idx="36762">
                  <c:v>-6.8067226890756199E-2</c:v>
                </c:pt>
                <c:pt idx="36763">
                  <c:v>-6.8067226890756199E-2</c:v>
                </c:pt>
                <c:pt idx="36764">
                  <c:v>-6.8067226890756199E-2</c:v>
                </c:pt>
                <c:pt idx="36765">
                  <c:v>-6.8067226890756199E-2</c:v>
                </c:pt>
                <c:pt idx="36766">
                  <c:v>-6.8067226890756199E-2</c:v>
                </c:pt>
                <c:pt idx="36767">
                  <c:v>-6.8067226890756199E-2</c:v>
                </c:pt>
                <c:pt idx="36768">
                  <c:v>-6.8067226890756199E-2</c:v>
                </c:pt>
                <c:pt idx="36769">
                  <c:v>-6.8067226890756199E-2</c:v>
                </c:pt>
                <c:pt idx="36770">
                  <c:v>-6.8067226890756199E-2</c:v>
                </c:pt>
                <c:pt idx="36771">
                  <c:v>-6.8067226890756199E-2</c:v>
                </c:pt>
                <c:pt idx="36772">
                  <c:v>-6.8067226890756199E-2</c:v>
                </c:pt>
                <c:pt idx="36773">
                  <c:v>-6.8067226890756199E-2</c:v>
                </c:pt>
                <c:pt idx="36774">
                  <c:v>-6.7226890756302504E-2</c:v>
                </c:pt>
                <c:pt idx="36775">
                  <c:v>-6.7226890756302504E-2</c:v>
                </c:pt>
                <c:pt idx="36776">
                  <c:v>-6.7226890756302504E-2</c:v>
                </c:pt>
                <c:pt idx="36777">
                  <c:v>-6.7226890756302504E-2</c:v>
                </c:pt>
                <c:pt idx="36778">
                  <c:v>-6.7226890756302504E-2</c:v>
                </c:pt>
                <c:pt idx="36779">
                  <c:v>-6.7226890756302504E-2</c:v>
                </c:pt>
                <c:pt idx="36780">
                  <c:v>-6.7226890756302504E-2</c:v>
                </c:pt>
                <c:pt idx="36781">
                  <c:v>-6.7226890756302504E-2</c:v>
                </c:pt>
                <c:pt idx="36782">
                  <c:v>-6.7226890756302504E-2</c:v>
                </c:pt>
                <c:pt idx="36783">
                  <c:v>-6.7226890756302504E-2</c:v>
                </c:pt>
                <c:pt idx="36784">
                  <c:v>-6.7226890756302504E-2</c:v>
                </c:pt>
                <c:pt idx="36785">
                  <c:v>-6.7226890756302504E-2</c:v>
                </c:pt>
                <c:pt idx="36786">
                  <c:v>-6.7226890756302504E-2</c:v>
                </c:pt>
                <c:pt idx="36787">
                  <c:v>-6.7226890756302504E-2</c:v>
                </c:pt>
                <c:pt idx="36788">
                  <c:v>-6.7226890756302504E-2</c:v>
                </c:pt>
                <c:pt idx="36789">
                  <c:v>-6.7226890756302504E-2</c:v>
                </c:pt>
                <c:pt idx="36790">
                  <c:v>-6.7226890756302504E-2</c:v>
                </c:pt>
                <c:pt idx="36791">
                  <c:v>-6.7226890756302504E-2</c:v>
                </c:pt>
                <c:pt idx="36792">
                  <c:v>-6.7226890756302504E-2</c:v>
                </c:pt>
                <c:pt idx="36793">
                  <c:v>-6.7226890756302504E-2</c:v>
                </c:pt>
                <c:pt idx="36794">
                  <c:v>-6.7226890756302504E-2</c:v>
                </c:pt>
                <c:pt idx="36795">
                  <c:v>-6.7226890756302504E-2</c:v>
                </c:pt>
                <c:pt idx="36796">
                  <c:v>-6.7226890756302504E-2</c:v>
                </c:pt>
                <c:pt idx="36797">
                  <c:v>-6.7226890756302504E-2</c:v>
                </c:pt>
                <c:pt idx="36798">
                  <c:v>-6.7226890756302504E-2</c:v>
                </c:pt>
                <c:pt idx="36799">
                  <c:v>-6.7226890756302504E-2</c:v>
                </c:pt>
                <c:pt idx="36800">
                  <c:v>-6.7226890756302504E-2</c:v>
                </c:pt>
                <c:pt idx="36801">
                  <c:v>-6.7226890756302504E-2</c:v>
                </c:pt>
                <c:pt idx="36802">
                  <c:v>-6.7226890756302504E-2</c:v>
                </c:pt>
                <c:pt idx="36803">
                  <c:v>-6.7226890756302504E-2</c:v>
                </c:pt>
                <c:pt idx="36804">
                  <c:v>-6.7226890756302504E-2</c:v>
                </c:pt>
                <c:pt idx="36805">
                  <c:v>-6.7226890756302504E-2</c:v>
                </c:pt>
                <c:pt idx="36806">
                  <c:v>-6.7226890756302504E-2</c:v>
                </c:pt>
                <c:pt idx="36807">
                  <c:v>-6.7226890756302504E-2</c:v>
                </c:pt>
                <c:pt idx="36808">
                  <c:v>-6.7226890756302504E-2</c:v>
                </c:pt>
                <c:pt idx="36809">
                  <c:v>-6.7226890756302504E-2</c:v>
                </c:pt>
                <c:pt idx="36810">
                  <c:v>-6.7226890756302504E-2</c:v>
                </c:pt>
                <c:pt idx="36811">
                  <c:v>-6.7226890756302504E-2</c:v>
                </c:pt>
                <c:pt idx="36812">
                  <c:v>-6.7226890756302504E-2</c:v>
                </c:pt>
                <c:pt idx="36813">
                  <c:v>-6.7226890756302504E-2</c:v>
                </c:pt>
                <c:pt idx="36814">
                  <c:v>-6.7226890756302504E-2</c:v>
                </c:pt>
                <c:pt idx="36815">
                  <c:v>-6.6386554621848698E-2</c:v>
                </c:pt>
                <c:pt idx="36816">
                  <c:v>-6.6386554621848698E-2</c:v>
                </c:pt>
                <c:pt idx="36817">
                  <c:v>-6.6386554621848698E-2</c:v>
                </c:pt>
                <c:pt idx="36818">
                  <c:v>-6.6386554621848698E-2</c:v>
                </c:pt>
                <c:pt idx="36819">
                  <c:v>-6.6386554621848698E-2</c:v>
                </c:pt>
                <c:pt idx="36820">
                  <c:v>-6.6386554621848698E-2</c:v>
                </c:pt>
                <c:pt idx="36821">
                  <c:v>-6.6386554621848698E-2</c:v>
                </c:pt>
                <c:pt idx="36822">
                  <c:v>-6.6386554621848698E-2</c:v>
                </c:pt>
                <c:pt idx="36823">
                  <c:v>-6.6386554621848698E-2</c:v>
                </c:pt>
                <c:pt idx="36824">
                  <c:v>-6.6386554621848698E-2</c:v>
                </c:pt>
                <c:pt idx="36825">
                  <c:v>-6.6386554621848698E-2</c:v>
                </c:pt>
                <c:pt idx="36826">
                  <c:v>-6.6386554621848698E-2</c:v>
                </c:pt>
                <c:pt idx="36827">
                  <c:v>-6.6386554621848698E-2</c:v>
                </c:pt>
                <c:pt idx="36828">
                  <c:v>-6.6386554621848698E-2</c:v>
                </c:pt>
                <c:pt idx="36829">
                  <c:v>-6.6386554621848698E-2</c:v>
                </c:pt>
                <c:pt idx="36830">
                  <c:v>-6.6386554621848698E-2</c:v>
                </c:pt>
                <c:pt idx="36831">
                  <c:v>-6.6386554621848698E-2</c:v>
                </c:pt>
                <c:pt idx="36832">
                  <c:v>-6.6386554621848698E-2</c:v>
                </c:pt>
                <c:pt idx="36833">
                  <c:v>-6.6386554621848698E-2</c:v>
                </c:pt>
                <c:pt idx="36834">
                  <c:v>-6.6386554621848698E-2</c:v>
                </c:pt>
                <c:pt idx="36835">
                  <c:v>-6.6386554621848698E-2</c:v>
                </c:pt>
                <c:pt idx="36836">
                  <c:v>-6.6386554621848698E-2</c:v>
                </c:pt>
                <c:pt idx="36837">
                  <c:v>-6.6386554621848698E-2</c:v>
                </c:pt>
                <c:pt idx="36838">
                  <c:v>-6.6386554621848698E-2</c:v>
                </c:pt>
                <c:pt idx="36839">
                  <c:v>-6.6386554621848698E-2</c:v>
                </c:pt>
                <c:pt idx="36840">
                  <c:v>-6.6386554621848698E-2</c:v>
                </c:pt>
                <c:pt idx="36841">
                  <c:v>-6.6386554621848698E-2</c:v>
                </c:pt>
                <c:pt idx="36842">
                  <c:v>-6.6386554621848698E-2</c:v>
                </c:pt>
                <c:pt idx="36843">
                  <c:v>-6.6386554621848698E-2</c:v>
                </c:pt>
                <c:pt idx="36844">
                  <c:v>-6.6386554621848698E-2</c:v>
                </c:pt>
                <c:pt idx="36845">
                  <c:v>-6.6386554621848698E-2</c:v>
                </c:pt>
                <c:pt idx="36846">
                  <c:v>-6.6386554621848698E-2</c:v>
                </c:pt>
                <c:pt idx="36847">
                  <c:v>-6.6386554621848698E-2</c:v>
                </c:pt>
                <c:pt idx="36848">
                  <c:v>-6.6386554621848698E-2</c:v>
                </c:pt>
                <c:pt idx="36849">
                  <c:v>-6.6386554621848698E-2</c:v>
                </c:pt>
                <c:pt idx="36850">
                  <c:v>-6.6386554621848698E-2</c:v>
                </c:pt>
                <c:pt idx="36851">
                  <c:v>-6.6386554621848698E-2</c:v>
                </c:pt>
                <c:pt idx="36852">
                  <c:v>-6.6386554621848698E-2</c:v>
                </c:pt>
                <c:pt idx="36853">
                  <c:v>-6.6386554621848698E-2</c:v>
                </c:pt>
                <c:pt idx="36854">
                  <c:v>-6.6386554621848698E-2</c:v>
                </c:pt>
                <c:pt idx="36855">
                  <c:v>-6.6386554621848698E-2</c:v>
                </c:pt>
                <c:pt idx="36856">
                  <c:v>-6.6386554621848698E-2</c:v>
                </c:pt>
                <c:pt idx="36857">
                  <c:v>-6.6386554621848698E-2</c:v>
                </c:pt>
                <c:pt idx="36858">
                  <c:v>-6.6386554621848698E-2</c:v>
                </c:pt>
                <c:pt idx="36859">
                  <c:v>-6.6386554621848698E-2</c:v>
                </c:pt>
                <c:pt idx="36860">
                  <c:v>-6.6386554621848698E-2</c:v>
                </c:pt>
                <c:pt idx="36861">
                  <c:v>-6.6386554621848698E-2</c:v>
                </c:pt>
                <c:pt idx="36862">
                  <c:v>-6.6386554621848698E-2</c:v>
                </c:pt>
                <c:pt idx="36863">
                  <c:v>-6.6386554621848698E-2</c:v>
                </c:pt>
                <c:pt idx="36864">
                  <c:v>-6.6386554621848698E-2</c:v>
                </c:pt>
                <c:pt idx="36865">
                  <c:v>-6.6386554621848698E-2</c:v>
                </c:pt>
                <c:pt idx="36866">
                  <c:v>-6.6386554621848698E-2</c:v>
                </c:pt>
                <c:pt idx="36867">
                  <c:v>-6.6386554621848698E-2</c:v>
                </c:pt>
                <c:pt idx="36868">
                  <c:v>-6.6386554621848698E-2</c:v>
                </c:pt>
                <c:pt idx="36869">
                  <c:v>-6.6386554621848698E-2</c:v>
                </c:pt>
                <c:pt idx="36870">
                  <c:v>-6.6386554621848698E-2</c:v>
                </c:pt>
                <c:pt idx="36871">
                  <c:v>-6.6386554621848698E-2</c:v>
                </c:pt>
                <c:pt idx="36872">
                  <c:v>-6.6386554621848698E-2</c:v>
                </c:pt>
                <c:pt idx="36873">
                  <c:v>-6.6386554621848698E-2</c:v>
                </c:pt>
                <c:pt idx="36874">
                  <c:v>-6.6386554621848698E-2</c:v>
                </c:pt>
                <c:pt idx="36875">
                  <c:v>-6.6386554621848698E-2</c:v>
                </c:pt>
                <c:pt idx="36876">
                  <c:v>-6.6386554621848698E-2</c:v>
                </c:pt>
                <c:pt idx="36877">
                  <c:v>-6.6386554621848698E-2</c:v>
                </c:pt>
                <c:pt idx="36878">
                  <c:v>-6.6386554621848698E-2</c:v>
                </c:pt>
                <c:pt idx="36879">
                  <c:v>-6.6386554621848698E-2</c:v>
                </c:pt>
                <c:pt idx="36880">
                  <c:v>-6.6386554621848698E-2</c:v>
                </c:pt>
                <c:pt idx="36881">
                  <c:v>-6.6386554621848698E-2</c:v>
                </c:pt>
                <c:pt idx="36882">
                  <c:v>-6.6386554621848698E-2</c:v>
                </c:pt>
                <c:pt idx="36883">
                  <c:v>-6.6386554621848698E-2</c:v>
                </c:pt>
                <c:pt idx="36884">
                  <c:v>-6.6386554621848698E-2</c:v>
                </c:pt>
                <c:pt idx="36885">
                  <c:v>-6.6386554621848698E-2</c:v>
                </c:pt>
                <c:pt idx="36886">
                  <c:v>-6.6386554621848698E-2</c:v>
                </c:pt>
                <c:pt idx="36887">
                  <c:v>-6.6386554621848698E-2</c:v>
                </c:pt>
                <c:pt idx="36888">
                  <c:v>-6.6386554621848698E-2</c:v>
                </c:pt>
                <c:pt idx="36889">
                  <c:v>-6.6386554621848698E-2</c:v>
                </c:pt>
                <c:pt idx="36890">
                  <c:v>-6.6386554621848698E-2</c:v>
                </c:pt>
                <c:pt idx="36891">
                  <c:v>-6.6386554621848698E-2</c:v>
                </c:pt>
                <c:pt idx="36892">
                  <c:v>-6.6386554621848698E-2</c:v>
                </c:pt>
                <c:pt idx="36893">
                  <c:v>-6.6386554621848698E-2</c:v>
                </c:pt>
                <c:pt idx="36894">
                  <c:v>-6.6386554621848698E-2</c:v>
                </c:pt>
                <c:pt idx="36895">
                  <c:v>-6.6386554621848698E-2</c:v>
                </c:pt>
                <c:pt idx="36896">
                  <c:v>-6.6386554621848698E-2</c:v>
                </c:pt>
                <c:pt idx="36897">
                  <c:v>-6.6386554621848698E-2</c:v>
                </c:pt>
                <c:pt idx="36898">
                  <c:v>-6.6386554621848698E-2</c:v>
                </c:pt>
                <c:pt idx="36899">
                  <c:v>-6.7226890756302504E-2</c:v>
                </c:pt>
                <c:pt idx="36900">
                  <c:v>-6.7226890756302504E-2</c:v>
                </c:pt>
                <c:pt idx="36901">
                  <c:v>-6.7226890756302504E-2</c:v>
                </c:pt>
                <c:pt idx="36902">
                  <c:v>-6.7226890756302504E-2</c:v>
                </c:pt>
                <c:pt idx="36903">
                  <c:v>-6.7226890756302504E-2</c:v>
                </c:pt>
                <c:pt idx="36904">
                  <c:v>-6.7226890756302504E-2</c:v>
                </c:pt>
                <c:pt idx="36905">
                  <c:v>-6.7226890756302504E-2</c:v>
                </c:pt>
                <c:pt idx="36906">
                  <c:v>-6.7226890756302504E-2</c:v>
                </c:pt>
                <c:pt idx="36907">
                  <c:v>-6.7226890756302504E-2</c:v>
                </c:pt>
                <c:pt idx="36908">
                  <c:v>-6.7226890756302504E-2</c:v>
                </c:pt>
                <c:pt idx="36909">
                  <c:v>-6.7226890756302504E-2</c:v>
                </c:pt>
                <c:pt idx="36910">
                  <c:v>-6.7226890756302504E-2</c:v>
                </c:pt>
                <c:pt idx="36911">
                  <c:v>-6.7226890756302504E-2</c:v>
                </c:pt>
                <c:pt idx="36912">
                  <c:v>-6.7226890756302504E-2</c:v>
                </c:pt>
                <c:pt idx="36913">
                  <c:v>-6.7226890756302504E-2</c:v>
                </c:pt>
                <c:pt idx="36914">
                  <c:v>-6.7226890756302504E-2</c:v>
                </c:pt>
                <c:pt idx="36915">
                  <c:v>-6.7226890756302504E-2</c:v>
                </c:pt>
                <c:pt idx="36916">
                  <c:v>-6.7226890756302504E-2</c:v>
                </c:pt>
                <c:pt idx="36917">
                  <c:v>-6.7226890756302504E-2</c:v>
                </c:pt>
                <c:pt idx="36918">
                  <c:v>-6.7226890756302504E-2</c:v>
                </c:pt>
                <c:pt idx="36919">
                  <c:v>-6.7226890756302504E-2</c:v>
                </c:pt>
                <c:pt idx="36920">
                  <c:v>-6.8067226890756199E-2</c:v>
                </c:pt>
                <c:pt idx="36921">
                  <c:v>-6.8067226890756199E-2</c:v>
                </c:pt>
                <c:pt idx="36922">
                  <c:v>-6.8067226890756199E-2</c:v>
                </c:pt>
                <c:pt idx="36923">
                  <c:v>-6.8067226890756199E-2</c:v>
                </c:pt>
                <c:pt idx="36924">
                  <c:v>-6.8067226890756199E-2</c:v>
                </c:pt>
                <c:pt idx="36925">
                  <c:v>-6.8067226890756199E-2</c:v>
                </c:pt>
                <c:pt idx="36926">
                  <c:v>-6.8067226890756199E-2</c:v>
                </c:pt>
                <c:pt idx="36927">
                  <c:v>-6.8067226890756199E-2</c:v>
                </c:pt>
                <c:pt idx="36928">
                  <c:v>-6.8067226890756199E-2</c:v>
                </c:pt>
                <c:pt idx="36929">
                  <c:v>-6.8067226890756199E-2</c:v>
                </c:pt>
                <c:pt idx="36930">
                  <c:v>-6.8067226890756199E-2</c:v>
                </c:pt>
                <c:pt idx="36931">
                  <c:v>-6.8067226890756199E-2</c:v>
                </c:pt>
                <c:pt idx="36932">
                  <c:v>-6.8067226890756199E-2</c:v>
                </c:pt>
                <c:pt idx="36933">
                  <c:v>-6.8067226890756199E-2</c:v>
                </c:pt>
                <c:pt idx="36934">
                  <c:v>-6.8067226890756199E-2</c:v>
                </c:pt>
                <c:pt idx="36935">
                  <c:v>-6.8067226890756199E-2</c:v>
                </c:pt>
                <c:pt idx="36936">
                  <c:v>-6.8067226890756199E-2</c:v>
                </c:pt>
                <c:pt idx="36937">
                  <c:v>-6.8067226890756199E-2</c:v>
                </c:pt>
                <c:pt idx="36938">
                  <c:v>-6.8067226890756199E-2</c:v>
                </c:pt>
                <c:pt idx="36939">
                  <c:v>-6.8067226890756199E-2</c:v>
                </c:pt>
                <c:pt idx="36940">
                  <c:v>-6.8067226890756199E-2</c:v>
                </c:pt>
                <c:pt idx="36941">
                  <c:v>-6.8067226890756199E-2</c:v>
                </c:pt>
                <c:pt idx="36942">
                  <c:v>-6.8067226890756199E-2</c:v>
                </c:pt>
                <c:pt idx="36943">
                  <c:v>-6.8067226890756199E-2</c:v>
                </c:pt>
                <c:pt idx="36944">
                  <c:v>-6.8067226890756199E-2</c:v>
                </c:pt>
                <c:pt idx="36945">
                  <c:v>-6.8067226890756199E-2</c:v>
                </c:pt>
                <c:pt idx="36946">
                  <c:v>-6.8067226890756199E-2</c:v>
                </c:pt>
                <c:pt idx="36947">
                  <c:v>-6.8067226890756199E-2</c:v>
                </c:pt>
                <c:pt idx="36948">
                  <c:v>-6.7226890756302504E-2</c:v>
                </c:pt>
                <c:pt idx="36949">
                  <c:v>-6.7226890756302504E-2</c:v>
                </c:pt>
                <c:pt idx="36950">
                  <c:v>-6.7226890756302504E-2</c:v>
                </c:pt>
                <c:pt idx="36951">
                  <c:v>-6.7226890756302504E-2</c:v>
                </c:pt>
                <c:pt idx="36952">
                  <c:v>-6.7226890756302504E-2</c:v>
                </c:pt>
                <c:pt idx="36953">
                  <c:v>-6.7226890756302504E-2</c:v>
                </c:pt>
                <c:pt idx="36954">
                  <c:v>-6.7226890756302504E-2</c:v>
                </c:pt>
                <c:pt idx="36955">
                  <c:v>-6.7226890756302504E-2</c:v>
                </c:pt>
                <c:pt idx="36956">
                  <c:v>-6.7226890756302504E-2</c:v>
                </c:pt>
                <c:pt idx="36957">
                  <c:v>-6.7226890756302504E-2</c:v>
                </c:pt>
                <c:pt idx="36958">
                  <c:v>-6.7226890756302504E-2</c:v>
                </c:pt>
                <c:pt idx="36959">
                  <c:v>-6.7226890756302504E-2</c:v>
                </c:pt>
                <c:pt idx="36960">
                  <c:v>-6.7226890756302504E-2</c:v>
                </c:pt>
                <c:pt idx="36961">
                  <c:v>-6.7226890756302504E-2</c:v>
                </c:pt>
                <c:pt idx="36962">
                  <c:v>-6.7226890756302504E-2</c:v>
                </c:pt>
                <c:pt idx="36963">
                  <c:v>-6.7226890756302504E-2</c:v>
                </c:pt>
                <c:pt idx="36964">
                  <c:v>-6.7226890756302504E-2</c:v>
                </c:pt>
                <c:pt idx="36965">
                  <c:v>-6.7226890756302504E-2</c:v>
                </c:pt>
                <c:pt idx="36966">
                  <c:v>-6.7226890756302504E-2</c:v>
                </c:pt>
                <c:pt idx="36967">
                  <c:v>-6.7226890756302504E-2</c:v>
                </c:pt>
                <c:pt idx="36968">
                  <c:v>-6.7226890756302504E-2</c:v>
                </c:pt>
                <c:pt idx="36969">
                  <c:v>-6.7226890756302504E-2</c:v>
                </c:pt>
                <c:pt idx="36970">
                  <c:v>-6.7226890756302504E-2</c:v>
                </c:pt>
                <c:pt idx="36971">
                  <c:v>-6.7226890756302504E-2</c:v>
                </c:pt>
                <c:pt idx="36972">
                  <c:v>-6.7226890756302504E-2</c:v>
                </c:pt>
                <c:pt idx="36973">
                  <c:v>-6.8067226890756199E-2</c:v>
                </c:pt>
                <c:pt idx="36974">
                  <c:v>-6.8067226890756199E-2</c:v>
                </c:pt>
                <c:pt idx="36975">
                  <c:v>-6.8067226890756199E-2</c:v>
                </c:pt>
                <c:pt idx="36976">
                  <c:v>-6.8067226890756199E-2</c:v>
                </c:pt>
                <c:pt idx="36977">
                  <c:v>-6.8067226890756199E-2</c:v>
                </c:pt>
                <c:pt idx="36978">
                  <c:v>-6.8067226890756199E-2</c:v>
                </c:pt>
                <c:pt idx="36979">
                  <c:v>-6.8067226890756199E-2</c:v>
                </c:pt>
                <c:pt idx="36980">
                  <c:v>-6.8067226890756199E-2</c:v>
                </c:pt>
                <c:pt idx="36981">
                  <c:v>-6.8067226890756199E-2</c:v>
                </c:pt>
                <c:pt idx="36982">
                  <c:v>-6.8067226890756199E-2</c:v>
                </c:pt>
                <c:pt idx="36983">
                  <c:v>-6.8067226890756199E-2</c:v>
                </c:pt>
                <c:pt idx="36984">
                  <c:v>-6.8067226890756199E-2</c:v>
                </c:pt>
                <c:pt idx="36985">
                  <c:v>-6.8067226890756199E-2</c:v>
                </c:pt>
                <c:pt idx="36986">
                  <c:v>-6.8067226890756199E-2</c:v>
                </c:pt>
                <c:pt idx="36987">
                  <c:v>-6.8067226890756199E-2</c:v>
                </c:pt>
                <c:pt idx="36988">
                  <c:v>-6.8067226890756199E-2</c:v>
                </c:pt>
                <c:pt idx="36989">
                  <c:v>-6.8067226890756199E-2</c:v>
                </c:pt>
                <c:pt idx="36990">
                  <c:v>-6.8067226890756199E-2</c:v>
                </c:pt>
                <c:pt idx="36991">
                  <c:v>-6.8067226890756199E-2</c:v>
                </c:pt>
                <c:pt idx="36992">
                  <c:v>-6.8067226890756199E-2</c:v>
                </c:pt>
                <c:pt idx="36993">
                  <c:v>-6.8067226890756199E-2</c:v>
                </c:pt>
                <c:pt idx="36994">
                  <c:v>-6.8067226890756199E-2</c:v>
                </c:pt>
                <c:pt idx="36995">
                  <c:v>-6.8067226890756199E-2</c:v>
                </c:pt>
                <c:pt idx="36996">
                  <c:v>-6.8067226890756199E-2</c:v>
                </c:pt>
                <c:pt idx="36997">
                  <c:v>-6.8067226890756199E-2</c:v>
                </c:pt>
                <c:pt idx="36998">
                  <c:v>-6.8067226890756199E-2</c:v>
                </c:pt>
                <c:pt idx="36999">
                  <c:v>-6.8067226890756199E-2</c:v>
                </c:pt>
                <c:pt idx="37000">
                  <c:v>-6.8067226890756199E-2</c:v>
                </c:pt>
                <c:pt idx="37001">
                  <c:v>-6.8067226890756199E-2</c:v>
                </c:pt>
                <c:pt idx="37002">
                  <c:v>-6.8067226890756199E-2</c:v>
                </c:pt>
                <c:pt idx="37003">
                  <c:v>-6.8067226890756199E-2</c:v>
                </c:pt>
                <c:pt idx="37004">
                  <c:v>-6.8067226890756199E-2</c:v>
                </c:pt>
                <c:pt idx="37005">
                  <c:v>-6.8067226890756199E-2</c:v>
                </c:pt>
                <c:pt idx="37006">
                  <c:v>-6.8907563025210006E-2</c:v>
                </c:pt>
                <c:pt idx="37007">
                  <c:v>-6.8907563025210006E-2</c:v>
                </c:pt>
                <c:pt idx="37008">
                  <c:v>-6.8907563025210006E-2</c:v>
                </c:pt>
                <c:pt idx="37009">
                  <c:v>-6.8907563025210006E-2</c:v>
                </c:pt>
                <c:pt idx="37010">
                  <c:v>-6.8907563025210006E-2</c:v>
                </c:pt>
                <c:pt idx="37011">
                  <c:v>-6.8907563025210006E-2</c:v>
                </c:pt>
                <c:pt idx="37012">
                  <c:v>-6.8907563025210006E-2</c:v>
                </c:pt>
                <c:pt idx="37013">
                  <c:v>-6.8907563025210006E-2</c:v>
                </c:pt>
                <c:pt idx="37014">
                  <c:v>-6.8907563025210006E-2</c:v>
                </c:pt>
                <c:pt idx="37015">
                  <c:v>-6.8907563025210006E-2</c:v>
                </c:pt>
                <c:pt idx="37016">
                  <c:v>-6.8907563025210006E-2</c:v>
                </c:pt>
                <c:pt idx="37017">
                  <c:v>-6.8907563025210006E-2</c:v>
                </c:pt>
                <c:pt idx="37018">
                  <c:v>-6.8907563025210006E-2</c:v>
                </c:pt>
                <c:pt idx="37019">
                  <c:v>-6.8907563025210006E-2</c:v>
                </c:pt>
                <c:pt idx="37020">
                  <c:v>-6.8907563025210006E-2</c:v>
                </c:pt>
                <c:pt idx="37021">
                  <c:v>-6.8907563025210006E-2</c:v>
                </c:pt>
                <c:pt idx="37022">
                  <c:v>-6.8067226890756199E-2</c:v>
                </c:pt>
                <c:pt idx="37023">
                  <c:v>-6.8067226890756199E-2</c:v>
                </c:pt>
                <c:pt idx="37024">
                  <c:v>-6.8067226890756199E-2</c:v>
                </c:pt>
                <c:pt idx="37025">
                  <c:v>-6.8067226890756199E-2</c:v>
                </c:pt>
                <c:pt idx="37026">
                  <c:v>-6.8067226890756199E-2</c:v>
                </c:pt>
                <c:pt idx="37027">
                  <c:v>-6.8067226890756199E-2</c:v>
                </c:pt>
                <c:pt idx="37028">
                  <c:v>-6.8067226890756199E-2</c:v>
                </c:pt>
                <c:pt idx="37029">
                  <c:v>-6.8067226890756199E-2</c:v>
                </c:pt>
                <c:pt idx="37030">
                  <c:v>-6.8067226890756199E-2</c:v>
                </c:pt>
                <c:pt idx="37031">
                  <c:v>-6.8067226890756199E-2</c:v>
                </c:pt>
                <c:pt idx="37032">
                  <c:v>-6.8067226890756199E-2</c:v>
                </c:pt>
                <c:pt idx="37033">
                  <c:v>-6.8067226890756199E-2</c:v>
                </c:pt>
                <c:pt idx="37034">
                  <c:v>-6.8067226890756199E-2</c:v>
                </c:pt>
                <c:pt idx="37035">
                  <c:v>-6.8067226890756199E-2</c:v>
                </c:pt>
                <c:pt idx="37036">
                  <c:v>-6.8067226890756199E-2</c:v>
                </c:pt>
                <c:pt idx="37037">
                  <c:v>-6.8067226890756199E-2</c:v>
                </c:pt>
                <c:pt idx="37038">
                  <c:v>-6.8067226890756199E-2</c:v>
                </c:pt>
                <c:pt idx="37039">
                  <c:v>-6.8067226890756199E-2</c:v>
                </c:pt>
                <c:pt idx="37040">
                  <c:v>-6.8067226890756199E-2</c:v>
                </c:pt>
                <c:pt idx="37041">
                  <c:v>-6.8067226890756199E-2</c:v>
                </c:pt>
                <c:pt idx="37042">
                  <c:v>-6.8067226890756199E-2</c:v>
                </c:pt>
                <c:pt idx="37043">
                  <c:v>-6.8067226890756199E-2</c:v>
                </c:pt>
                <c:pt idx="37044">
                  <c:v>-6.8067226890756199E-2</c:v>
                </c:pt>
                <c:pt idx="37045">
                  <c:v>-6.8067226890756199E-2</c:v>
                </c:pt>
                <c:pt idx="37046">
                  <c:v>-6.8067226890756199E-2</c:v>
                </c:pt>
                <c:pt idx="37047">
                  <c:v>-6.8067226890756199E-2</c:v>
                </c:pt>
                <c:pt idx="37048">
                  <c:v>-6.8067226890756199E-2</c:v>
                </c:pt>
                <c:pt idx="37049">
                  <c:v>-6.8067226890756199E-2</c:v>
                </c:pt>
                <c:pt idx="37050">
                  <c:v>-6.8067226890756199E-2</c:v>
                </c:pt>
                <c:pt idx="37051">
                  <c:v>-6.8067226890756199E-2</c:v>
                </c:pt>
                <c:pt idx="37052">
                  <c:v>-6.8067226890756199E-2</c:v>
                </c:pt>
                <c:pt idx="37053">
                  <c:v>-6.8067226890756199E-2</c:v>
                </c:pt>
                <c:pt idx="37054">
                  <c:v>-6.8067226890756199E-2</c:v>
                </c:pt>
                <c:pt idx="37055">
                  <c:v>-6.8067226890756199E-2</c:v>
                </c:pt>
                <c:pt idx="37056">
                  <c:v>-6.8067226890756199E-2</c:v>
                </c:pt>
                <c:pt idx="37057">
                  <c:v>-6.8067226890756199E-2</c:v>
                </c:pt>
                <c:pt idx="37058">
                  <c:v>-6.8067226890756199E-2</c:v>
                </c:pt>
                <c:pt idx="37059">
                  <c:v>-6.8067226890756199E-2</c:v>
                </c:pt>
                <c:pt idx="37060">
                  <c:v>-6.8067226890756199E-2</c:v>
                </c:pt>
                <c:pt idx="37061">
                  <c:v>-6.8067226890756199E-2</c:v>
                </c:pt>
                <c:pt idx="37062">
                  <c:v>-6.8067226890756199E-2</c:v>
                </c:pt>
                <c:pt idx="37063">
                  <c:v>-6.8067226890756199E-2</c:v>
                </c:pt>
                <c:pt idx="37064">
                  <c:v>-6.8067226890756199E-2</c:v>
                </c:pt>
                <c:pt idx="37065">
                  <c:v>-6.8067226890756199E-2</c:v>
                </c:pt>
                <c:pt idx="37066">
                  <c:v>-6.8067226890756199E-2</c:v>
                </c:pt>
                <c:pt idx="37067">
                  <c:v>-6.8067226890756199E-2</c:v>
                </c:pt>
                <c:pt idx="37068">
                  <c:v>-6.8067226890756199E-2</c:v>
                </c:pt>
                <c:pt idx="37069">
                  <c:v>-6.8067226890756199E-2</c:v>
                </c:pt>
                <c:pt idx="37070">
                  <c:v>-6.8067226890756199E-2</c:v>
                </c:pt>
                <c:pt idx="37071">
                  <c:v>-6.8067226890756199E-2</c:v>
                </c:pt>
                <c:pt idx="37072">
                  <c:v>-6.8067226890756199E-2</c:v>
                </c:pt>
                <c:pt idx="37073">
                  <c:v>-6.8067226890756199E-2</c:v>
                </c:pt>
                <c:pt idx="37074">
                  <c:v>-6.8067226890756199E-2</c:v>
                </c:pt>
                <c:pt idx="37075">
                  <c:v>-6.8067226890756199E-2</c:v>
                </c:pt>
                <c:pt idx="37076">
                  <c:v>-6.8067226890756199E-2</c:v>
                </c:pt>
                <c:pt idx="37077">
                  <c:v>-6.8067226890756199E-2</c:v>
                </c:pt>
                <c:pt idx="37078">
                  <c:v>-6.8067226890756199E-2</c:v>
                </c:pt>
                <c:pt idx="37079">
                  <c:v>-6.8067226890756199E-2</c:v>
                </c:pt>
                <c:pt idx="37080">
                  <c:v>-6.8067226890756199E-2</c:v>
                </c:pt>
                <c:pt idx="37081">
                  <c:v>-6.8067226890756199E-2</c:v>
                </c:pt>
                <c:pt idx="37082">
                  <c:v>-6.8067226890756199E-2</c:v>
                </c:pt>
                <c:pt idx="37083">
                  <c:v>-6.8067226890756199E-2</c:v>
                </c:pt>
                <c:pt idx="37084">
                  <c:v>-6.8067226890756199E-2</c:v>
                </c:pt>
                <c:pt idx="37085">
                  <c:v>-6.8067226890756199E-2</c:v>
                </c:pt>
                <c:pt idx="37086">
                  <c:v>-6.8067226890756199E-2</c:v>
                </c:pt>
                <c:pt idx="37087">
                  <c:v>-6.8067226890756199E-2</c:v>
                </c:pt>
                <c:pt idx="37088">
                  <c:v>-6.8067226890756199E-2</c:v>
                </c:pt>
                <c:pt idx="37089">
                  <c:v>-6.8067226890756199E-2</c:v>
                </c:pt>
                <c:pt idx="37090">
                  <c:v>-6.8067226890756199E-2</c:v>
                </c:pt>
                <c:pt idx="37091">
                  <c:v>-6.8067226890756199E-2</c:v>
                </c:pt>
                <c:pt idx="37092">
                  <c:v>-6.8067226890756199E-2</c:v>
                </c:pt>
                <c:pt idx="37093">
                  <c:v>-6.8067226890756199E-2</c:v>
                </c:pt>
                <c:pt idx="37094">
                  <c:v>-6.8067226890756199E-2</c:v>
                </c:pt>
                <c:pt idx="37095">
                  <c:v>-6.8067226890756199E-2</c:v>
                </c:pt>
                <c:pt idx="37096">
                  <c:v>-6.8067226890756199E-2</c:v>
                </c:pt>
                <c:pt idx="37097">
                  <c:v>-6.8067226890756199E-2</c:v>
                </c:pt>
                <c:pt idx="37098">
                  <c:v>-6.8067226890756199E-2</c:v>
                </c:pt>
                <c:pt idx="37099">
                  <c:v>-6.8067226890756199E-2</c:v>
                </c:pt>
                <c:pt idx="37100">
                  <c:v>-6.8067226890756199E-2</c:v>
                </c:pt>
                <c:pt idx="37101">
                  <c:v>-6.8067226890756199E-2</c:v>
                </c:pt>
                <c:pt idx="37102">
                  <c:v>-6.8067226890756199E-2</c:v>
                </c:pt>
                <c:pt idx="37103">
                  <c:v>-6.8067226890756199E-2</c:v>
                </c:pt>
                <c:pt idx="37104">
                  <c:v>-6.8067226890756199E-2</c:v>
                </c:pt>
                <c:pt idx="37105">
                  <c:v>-6.8067226890756199E-2</c:v>
                </c:pt>
                <c:pt idx="37106">
                  <c:v>-6.8067226890756199E-2</c:v>
                </c:pt>
                <c:pt idx="37107">
                  <c:v>-6.8067226890756199E-2</c:v>
                </c:pt>
                <c:pt idx="37108">
                  <c:v>-6.8067226890756199E-2</c:v>
                </c:pt>
                <c:pt idx="37109">
                  <c:v>-6.8067226890756199E-2</c:v>
                </c:pt>
                <c:pt idx="37110">
                  <c:v>-6.8067226890756199E-2</c:v>
                </c:pt>
                <c:pt idx="37111">
                  <c:v>-6.8067226890756199E-2</c:v>
                </c:pt>
                <c:pt idx="37112">
                  <c:v>-6.8067226890756199E-2</c:v>
                </c:pt>
                <c:pt idx="37113">
                  <c:v>-6.8067226890756199E-2</c:v>
                </c:pt>
                <c:pt idx="37114">
                  <c:v>-6.8067226890756199E-2</c:v>
                </c:pt>
                <c:pt idx="37115">
                  <c:v>-6.8067226890756199E-2</c:v>
                </c:pt>
                <c:pt idx="37116">
                  <c:v>-6.8067226890756199E-2</c:v>
                </c:pt>
                <c:pt idx="37117">
                  <c:v>-6.8067226890756199E-2</c:v>
                </c:pt>
                <c:pt idx="37118">
                  <c:v>-6.8067226890756199E-2</c:v>
                </c:pt>
                <c:pt idx="37119">
                  <c:v>-6.8067226890756199E-2</c:v>
                </c:pt>
                <c:pt idx="37120">
                  <c:v>-6.8067226890756199E-2</c:v>
                </c:pt>
                <c:pt idx="37121">
                  <c:v>-6.8067226890756199E-2</c:v>
                </c:pt>
                <c:pt idx="37122">
                  <c:v>-6.8067226890756199E-2</c:v>
                </c:pt>
                <c:pt idx="37123">
                  <c:v>-6.8067226890756199E-2</c:v>
                </c:pt>
                <c:pt idx="37124">
                  <c:v>-6.8067226890756199E-2</c:v>
                </c:pt>
                <c:pt idx="37125">
                  <c:v>-6.8067226890756199E-2</c:v>
                </c:pt>
                <c:pt idx="37126">
                  <c:v>-6.8067226890756199E-2</c:v>
                </c:pt>
                <c:pt idx="37127">
                  <c:v>-6.8067226890756199E-2</c:v>
                </c:pt>
                <c:pt idx="37128">
                  <c:v>-6.8067226890756199E-2</c:v>
                </c:pt>
                <c:pt idx="37129">
                  <c:v>-6.8067226890756199E-2</c:v>
                </c:pt>
                <c:pt idx="37130">
                  <c:v>-6.8067226890756199E-2</c:v>
                </c:pt>
                <c:pt idx="37131">
                  <c:v>-6.8067226890756199E-2</c:v>
                </c:pt>
                <c:pt idx="37132">
                  <c:v>-6.8067226890756199E-2</c:v>
                </c:pt>
                <c:pt idx="37133">
                  <c:v>-6.8067226890756199E-2</c:v>
                </c:pt>
                <c:pt idx="37134">
                  <c:v>-6.8067226890756199E-2</c:v>
                </c:pt>
                <c:pt idx="37135">
                  <c:v>-6.8067226890756199E-2</c:v>
                </c:pt>
                <c:pt idx="37136">
                  <c:v>-6.8067226890756199E-2</c:v>
                </c:pt>
                <c:pt idx="37137">
                  <c:v>-6.8067226890756199E-2</c:v>
                </c:pt>
                <c:pt idx="37138">
                  <c:v>-6.8067226890756199E-2</c:v>
                </c:pt>
                <c:pt idx="37139">
                  <c:v>-6.8067226890756199E-2</c:v>
                </c:pt>
                <c:pt idx="37140">
                  <c:v>-6.8067226890756199E-2</c:v>
                </c:pt>
                <c:pt idx="37141">
                  <c:v>-6.8067226890756199E-2</c:v>
                </c:pt>
                <c:pt idx="37142">
                  <c:v>-6.8067226890756199E-2</c:v>
                </c:pt>
                <c:pt idx="37143">
                  <c:v>-6.8067226890756199E-2</c:v>
                </c:pt>
                <c:pt idx="37144">
                  <c:v>-6.8067226890756199E-2</c:v>
                </c:pt>
                <c:pt idx="37145">
                  <c:v>-6.8067226890756199E-2</c:v>
                </c:pt>
                <c:pt idx="37146">
                  <c:v>-6.8067226890756199E-2</c:v>
                </c:pt>
                <c:pt idx="37147">
                  <c:v>-6.8067226890756199E-2</c:v>
                </c:pt>
                <c:pt idx="37148">
                  <c:v>-6.8067226890756199E-2</c:v>
                </c:pt>
                <c:pt idx="37149">
                  <c:v>-6.8067226890756199E-2</c:v>
                </c:pt>
                <c:pt idx="37150">
                  <c:v>-6.8067226890756199E-2</c:v>
                </c:pt>
                <c:pt idx="37151">
                  <c:v>-6.8067226890756199E-2</c:v>
                </c:pt>
                <c:pt idx="37152">
                  <c:v>-6.8067226890756199E-2</c:v>
                </c:pt>
                <c:pt idx="37153">
                  <c:v>-6.8067226890756199E-2</c:v>
                </c:pt>
                <c:pt idx="37154">
                  <c:v>-6.8067226890756199E-2</c:v>
                </c:pt>
                <c:pt idx="37155">
                  <c:v>-6.8067226890756199E-2</c:v>
                </c:pt>
                <c:pt idx="37156">
                  <c:v>-6.8067226890756199E-2</c:v>
                </c:pt>
                <c:pt idx="37157">
                  <c:v>-6.8067226890756199E-2</c:v>
                </c:pt>
                <c:pt idx="37158">
                  <c:v>-6.8067226890756199E-2</c:v>
                </c:pt>
                <c:pt idx="37159">
                  <c:v>-6.8067226890756199E-2</c:v>
                </c:pt>
                <c:pt idx="37160">
                  <c:v>-6.8067226890756199E-2</c:v>
                </c:pt>
                <c:pt idx="37161">
                  <c:v>-6.8067226890756199E-2</c:v>
                </c:pt>
                <c:pt idx="37162">
                  <c:v>-6.8067226890756199E-2</c:v>
                </c:pt>
                <c:pt idx="37163">
                  <c:v>-6.8067226890756199E-2</c:v>
                </c:pt>
                <c:pt idx="37164">
                  <c:v>-6.8067226890756199E-2</c:v>
                </c:pt>
                <c:pt idx="37165">
                  <c:v>-6.8067226890756199E-2</c:v>
                </c:pt>
                <c:pt idx="37166">
                  <c:v>-6.8067226890756199E-2</c:v>
                </c:pt>
                <c:pt idx="37167">
                  <c:v>-6.8067226890756199E-2</c:v>
                </c:pt>
                <c:pt idx="37168">
                  <c:v>-6.8067226890756199E-2</c:v>
                </c:pt>
                <c:pt idx="37169">
                  <c:v>-6.8067226890756199E-2</c:v>
                </c:pt>
                <c:pt idx="37170">
                  <c:v>-6.8067226890756199E-2</c:v>
                </c:pt>
                <c:pt idx="37171">
                  <c:v>-6.8067226890756199E-2</c:v>
                </c:pt>
                <c:pt idx="37172">
                  <c:v>-6.8067226890756199E-2</c:v>
                </c:pt>
                <c:pt idx="37173">
                  <c:v>-6.8067226890756199E-2</c:v>
                </c:pt>
                <c:pt idx="37174">
                  <c:v>-6.8067226890756199E-2</c:v>
                </c:pt>
                <c:pt idx="37175">
                  <c:v>-6.8067226890756199E-2</c:v>
                </c:pt>
                <c:pt idx="37176">
                  <c:v>-6.8067226890756199E-2</c:v>
                </c:pt>
                <c:pt idx="37177">
                  <c:v>-6.8067226890756199E-2</c:v>
                </c:pt>
                <c:pt idx="37178">
                  <c:v>-6.8067226890756199E-2</c:v>
                </c:pt>
                <c:pt idx="37179">
                  <c:v>-6.8067226890756199E-2</c:v>
                </c:pt>
                <c:pt idx="37180">
                  <c:v>-6.8067226890756199E-2</c:v>
                </c:pt>
                <c:pt idx="37181">
                  <c:v>-6.8067226890756199E-2</c:v>
                </c:pt>
                <c:pt idx="37182">
                  <c:v>-6.8067226890756199E-2</c:v>
                </c:pt>
                <c:pt idx="37183">
                  <c:v>-6.8067226890756199E-2</c:v>
                </c:pt>
                <c:pt idx="37184">
                  <c:v>-6.8067226890756199E-2</c:v>
                </c:pt>
                <c:pt idx="37185">
                  <c:v>-6.8067226890756199E-2</c:v>
                </c:pt>
                <c:pt idx="37186">
                  <c:v>-6.8067226890756199E-2</c:v>
                </c:pt>
                <c:pt idx="37187">
                  <c:v>-6.8067226890756199E-2</c:v>
                </c:pt>
                <c:pt idx="37188">
                  <c:v>-6.8067226890756199E-2</c:v>
                </c:pt>
                <c:pt idx="37189">
                  <c:v>-6.8067226890756199E-2</c:v>
                </c:pt>
                <c:pt idx="37190">
                  <c:v>-6.8067226890756199E-2</c:v>
                </c:pt>
                <c:pt idx="37191">
                  <c:v>-6.8067226890756199E-2</c:v>
                </c:pt>
                <c:pt idx="37192">
                  <c:v>-6.8067226890756199E-2</c:v>
                </c:pt>
                <c:pt idx="37193">
                  <c:v>-6.8067226890756199E-2</c:v>
                </c:pt>
                <c:pt idx="37194">
                  <c:v>-6.8067226890756199E-2</c:v>
                </c:pt>
                <c:pt idx="37195">
                  <c:v>-6.8067226890756199E-2</c:v>
                </c:pt>
                <c:pt idx="37196">
                  <c:v>-6.8067226890756199E-2</c:v>
                </c:pt>
                <c:pt idx="37197">
                  <c:v>-6.8067226890756199E-2</c:v>
                </c:pt>
                <c:pt idx="37198">
                  <c:v>-6.8067226890756199E-2</c:v>
                </c:pt>
                <c:pt idx="37199">
                  <c:v>-6.8067226890756199E-2</c:v>
                </c:pt>
                <c:pt idx="37200">
                  <c:v>-6.8067226890756199E-2</c:v>
                </c:pt>
                <c:pt idx="37201">
                  <c:v>-6.8067226890756199E-2</c:v>
                </c:pt>
                <c:pt idx="37202">
                  <c:v>-6.8067226890756199E-2</c:v>
                </c:pt>
                <c:pt idx="37203">
                  <c:v>-6.8067226890756199E-2</c:v>
                </c:pt>
                <c:pt idx="37204">
                  <c:v>-6.8067226890756199E-2</c:v>
                </c:pt>
                <c:pt idx="37205">
                  <c:v>-6.8067226890756199E-2</c:v>
                </c:pt>
                <c:pt idx="37206">
                  <c:v>-6.8067226890756199E-2</c:v>
                </c:pt>
                <c:pt idx="37207">
                  <c:v>-6.8067226890756199E-2</c:v>
                </c:pt>
                <c:pt idx="37208">
                  <c:v>-6.8067226890756199E-2</c:v>
                </c:pt>
                <c:pt idx="37209">
                  <c:v>-6.8067226890756199E-2</c:v>
                </c:pt>
                <c:pt idx="37210">
                  <c:v>-6.8067226890756199E-2</c:v>
                </c:pt>
                <c:pt idx="37211">
                  <c:v>-6.8067226890756199E-2</c:v>
                </c:pt>
                <c:pt idx="37212">
                  <c:v>-6.8067226890756199E-2</c:v>
                </c:pt>
                <c:pt idx="37213">
                  <c:v>-6.8067226890756199E-2</c:v>
                </c:pt>
                <c:pt idx="37214">
                  <c:v>-6.8067226890756199E-2</c:v>
                </c:pt>
                <c:pt idx="37215">
                  <c:v>-6.8067226890756199E-2</c:v>
                </c:pt>
                <c:pt idx="37216">
                  <c:v>-6.8067226890756199E-2</c:v>
                </c:pt>
                <c:pt idx="37217">
                  <c:v>-6.8067226890756199E-2</c:v>
                </c:pt>
                <c:pt idx="37218">
                  <c:v>-6.8067226890756199E-2</c:v>
                </c:pt>
                <c:pt idx="37219">
                  <c:v>-6.8067226890756199E-2</c:v>
                </c:pt>
                <c:pt idx="37220">
                  <c:v>-6.8067226890756199E-2</c:v>
                </c:pt>
                <c:pt idx="37221">
                  <c:v>-6.8067226890756199E-2</c:v>
                </c:pt>
                <c:pt idx="37222">
                  <c:v>-6.8067226890756199E-2</c:v>
                </c:pt>
                <c:pt idx="37223">
                  <c:v>-6.8067226890756199E-2</c:v>
                </c:pt>
                <c:pt idx="37224">
                  <c:v>-6.8067226890756199E-2</c:v>
                </c:pt>
                <c:pt idx="37225">
                  <c:v>-6.8067226890756199E-2</c:v>
                </c:pt>
                <c:pt idx="37226">
                  <c:v>-6.8067226890756199E-2</c:v>
                </c:pt>
                <c:pt idx="37227">
                  <c:v>-6.8067226890756199E-2</c:v>
                </c:pt>
                <c:pt idx="37228">
                  <c:v>-6.8067226890756199E-2</c:v>
                </c:pt>
                <c:pt idx="37229">
                  <c:v>-6.8067226890756199E-2</c:v>
                </c:pt>
                <c:pt idx="37230">
                  <c:v>-6.8067226890756199E-2</c:v>
                </c:pt>
                <c:pt idx="37231">
                  <c:v>-6.8067226890756199E-2</c:v>
                </c:pt>
                <c:pt idx="37232">
                  <c:v>-6.8067226890756199E-2</c:v>
                </c:pt>
                <c:pt idx="37233">
                  <c:v>-6.8067226890756199E-2</c:v>
                </c:pt>
                <c:pt idx="37234">
                  <c:v>-6.8067226890756199E-2</c:v>
                </c:pt>
                <c:pt idx="37235">
                  <c:v>-6.8067226890756199E-2</c:v>
                </c:pt>
                <c:pt idx="37236">
                  <c:v>-6.8067226890756199E-2</c:v>
                </c:pt>
                <c:pt idx="37237">
                  <c:v>-6.8067226890756199E-2</c:v>
                </c:pt>
                <c:pt idx="37238">
                  <c:v>-6.8067226890756199E-2</c:v>
                </c:pt>
                <c:pt idx="37239">
                  <c:v>-6.8067226890756199E-2</c:v>
                </c:pt>
                <c:pt idx="37240">
                  <c:v>-6.8067226890756199E-2</c:v>
                </c:pt>
                <c:pt idx="37241">
                  <c:v>-6.8067226890756199E-2</c:v>
                </c:pt>
                <c:pt idx="37242">
                  <c:v>-6.8067226890756199E-2</c:v>
                </c:pt>
                <c:pt idx="37243">
                  <c:v>-6.8067226890756199E-2</c:v>
                </c:pt>
                <c:pt idx="37244">
                  <c:v>-6.8067226890756199E-2</c:v>
                </c:pt>
                <c:pt idx="37245">
                  <c:v>-6.8067226890756199E-2</c:v>
                </c:pt>
                <c:pt idx="37246">
                  <c:v>-6.8067226890756199E-2</c:v>
                </c:pt>
                <c:pt idx="37247">
                  <c:v>-6.8067226890756199E-2</c:v>
                </c:pt>
                <c:pt idx="37248">
                  <c:v>-6.8067226890756199E-2</c:v>
                </c:pt>
                <c:pt idx="37249">
                  <c:v>-6.8067226890756199E-2</c:v>
                </c:pt>
                <c:pt idx="37250">
                  <c:v>-6.8067226890756199E-2</c:v>
                </c:pt>
                <c:pt idx="37251">
                  <c:v>-6.8067226890756199E-2</c:v>
                </c:pt>
                <c:pt idx="37252">
                  <c:v>-6.8067226890756199E-2</c:v>
                </c:pt>
                <c:pt idx="37253">
                  <c:v>-6.8067226890756199E-2</c:v>
                </c:pt>
                <c:pt idx="37254">
                  <c:v>-6.8067226890756199E-2</c:v>
                </c:pt>
                <c:pt idx="37255">
                  <c:v>-6.8067226890756199E-2</c:v>
                </c:pt>
                <c:pt idx="37256">
                  <c:v>-6.8067226890756199E-2</c:v>
                </c:pt>
                <c:pt idx="37257">
                  <c:v>-6.8067226890756199E-2</c:v>
                </c:pt>
                <c:pt idx="37258">
                  <c:v>-6.8067226890756199E-2</c:v>
                </c:pt>
                <c:pt idx="37259">
                  <c:v>-6.8067226890756199E-2</c:v>
                </c:pt>
                <c:pt idx="37260">
                  <c:v>-6.8907563025210006E-2</c:v>
                </c:pt>
                <c:pt idx="37261">
                  <c:v>-6.8907563025210006E-2</c:v>
                </c:pt>
                <c:pt idx="37262">
                  <c:v>-6.8907563025210006E-2</c:v>
                </c:pt>
                <c:pt idx="37263">
                  <c:v>-6.8907563025210006E-2</c:v>
                </c:pt>
                <c:pt idx="37264">
                  <c:v>-6.8907563025210006E-2</c:v>
                </c:pt>
                <c:pt idx="37265">
                  <c:v>-6.8907563025210006E-2</c:v>
                </c:pt>
                <c:pt idx="37266">
                  <c:v>-6.8907563025210006E-2</c:v>
                </c:pt>
                <c:pt idx="37267">
                  <c:v>-6.8907563025210006E-2</c:v>
                </c:pt>
                <c:pt idx="37268">
                  <c:v>-6.8907563025210006E-2</c:v>
                </c:pt>
                <c:pt idx="37269">
                  <c:v>-6.8907563025210006E-2</c:v>
                </c:pt>
                <c:pt idx="37270">
                  <c:v>-6.8907563025210006E-2</c:v>
                </c:pt>
                <c:pt idx="37271">
                  <c:v>-6.8907563025210006E-2</c:v>
                </c:pt>
                <c:pt idx="37272">
                  <c:v>-6.8907563025210006E-2</c:v>
                </c:pt>
                <c:pt idx="37273">
                  <c:v>-6.8907563025210006E-2</c:v>
                </c:pt>
                <c:pt idx="37274">
                  <c:v>-6.8907563025210006E-2</c:v>
                </c:pt>
                <c:pt idx="37275">
                  <c:v>-6.8907563025210006E-2</c:v>
                </c:pt>
                <c:pt idx="37276">
                  <c:v>-6.8907563025210006E-2</c:v>
                </c:pt>
                <c:pt idx="37277">
                  <c:v>-6.8907563025210006E-2</c:v>
                </c:pt>
                <c:pt idx="37278">
                  <c:v>-6.8907563025210006E-2</c:v>
                </c:pt>
                <c:pt idx="37279">
                  <c:v>-6.8907563025210006E-2</c:v>
                </c:pt>
                <c:pt idx="37280">
                  <c:v>-6.8907563025210006E-2</c:v>
                </c:pt>
                <c:pt idx="37281">
                  <c:v>-6.8907563025210006E-2</c:v>
                </c:pt>
                <c:pt idx="37282">
                  <c:v>-6.8907563025210006E-2</c:v>
                </c:pt>
                <c:pt idx="37283">
                  <c:v>-6.8907563025210006E-2</c:v>
                </c:pt>
                <c:pt idx="37284">
                  <c:v>-6.8907563025210006E-2</c:v>
                </c:pt>
                <c:pt idx="37285">
                  <c:v>-6.8907563025210006E-2</c:v>
                </c:pt>
                <c:pt idx="37286">
                  <c:v>-6.8907563025210006E-2</c:v>
                </c:pt>
                <c:pt idx="37287">
                  <c:v>-6.8907563025210006E-2</c:v>
                </c:pt>
                <c:pt idx="37288">
                  <c:v>-6.8907563025210006E-2</c:v>
                </c:pt>
                <c:pt idx="37289">
                  <c:v>-6.8907563025210006E-2</c:v>
                </c:pt>
                <c:pt idx="37290">
                  <c:v>-6.8907563025210006E-2</c:v>
                </c:pt>
                <c:pt idx="37291">
                  <c:v>-6.8907563025210006E-2</c:v>
                </c:pt>
                <c:pt idx="37292">
                  <c:v>-6.8907563025210006E-2</c:v>
                </c:pt>
                <c:pt idx="37293">
                  <c:v>-6.8907563025210006E-2</c:v>
                </c:pt>
                <c:pt idx="37294">
                  <c:v>-6.8907563025210006E-2</c:v>
                </c:pt>
                <c:pt idx="37295">
                  <c:v>-6.8067226890756199E-2</c:v>
                </c:pt>
                <c:pt idx="37296">
                  <c:v>-6.8067226890756199E-2</c:v>
                </c:pt>
                <c:pt idx="37297">
                  <c:v>-6.8067226890756199E-2</c:v>
                </c:pt>
                <c:pt idx="37298">
                  <c:v>-6.8067226890756199E-2</c:v>
                </c:pt>
                <c:pt idx="37299">
                  <c:v>-6.8067226890756199E-2</c:v>
                </c:pt>
                <c:pt idx="37300">
                  <c:v>-6.8067226890756199E-2</c:v>
                </c:pt>
                <c:pt idx="37301">
                  <c:v>-6.8067226890756199E-2</c:v>
                </c:pt>
                <c:pt idx="37302">
                  <c:v>-6.8067226890756199E-2</c:v>
                </c:pt>
                <c:pt idx="37303">
                  <c:v>-6.8067226890756199E-2</c:v>
                </c:pt>
                <c:pt idx="37304">
                  <c:v>-6.8067226890756199E-2</c:v>
                </c:pt>
                <c:pt idx="37305">
                  <c:v>-6.8067226890756199E-2</c:v>
                </c:pt>
                <c:pt idx="37306">
                  <c:v>-6.8067226890756199E-2</c:v>
                </c:pt>
                <c:pt idx="37307">
                  <c:v>-6.8067226890756199E-2</c:v>
                </c:pt>
                <c:pt idx="37308">
                  <c:v>-6.8067226890756199E-2</c:v>
                </c:pt>
                <c:pt idx="37309">
                  <c:v>-6.8067226890756199E-2</c:v>
                </c:pt>
                <c:pt idx="37310">
                  <c:v>-6.8067226890756199E-2</c:v>
                </c:pt>
                <c:pt idx="37311">
                  <c:v>-6.8067226890756199E-2</c:v>
                </c:pt>
                <c:pt idx="37312">
                  <c:v>-6.8067226890756199E-2</c:v>
                </c:pt>
                <c:pt idx="37313">
                  <c:v>-6.8067226890756199E-2</c:v>
                </c:pt>
                <c:pt idx="37314">
                  <c:v>-6.8067226890756199E-2</c:v>
                </c:pt>
                <c:pt idx="37315">
                  <c:v>-6.8067226890756199E-2</c:v>
                </c:pt>
                <c:pt idx="37316">
                  <c:v>-6.8067226890756199E-2</c:v>
                </c:pt>
                <c:pt idx="37317">
                  <c:v>-6.8067226890756199E-2</c:v>
                </c:pt>
                <c:pt idx="37318">
                  <c:v>-6.8067226890756199E-2</c:v>
                </c:pt>
                <c:pt idx="37319">
                  <c:v>-6.8067226890756199E-2</c:v>
                </c:pt>
                <c:pt idx="37320">
                  <c:v>-6.8067226890756199E-2</c:v>
                </c:pt>
                <c:pt idx="37321">
                  <c:v>-6.8067226890756199E-2</c:v>
                </c:pt>
                <c:pt idx="37322">
                  <c:v>-6.8067226890756199E-2</c:v>
                </c:pt>
                <c:pt idx="37323">
                  <c:v>-6.8067226890756199E-2</c:v>
                </c:pt>
                <c:pt idx="37324">
                  <c:v>-6.8067226890756199E-2</c:v>
                </c:pt>
                <c:pt idx="37325">
                  <c:v>-6.8067226890756199E-2</c:v>
                </c:pt>
                <c:pt idx="37326">
                  <c:v>-6.8067226890756199E-2</c:v>
                </c:pt>
                <c:pt idx="37327">
                  <c:v>-6.8067226890756199E-2</c:v>
                </c:pt>
                <c:pt idx="37328">
                  <c:v>-6.8067226890756199E-2</c:v>
                </c:pt>
                <c:pt idx="37329">
                  <c:v>-6.8067226890756199E-2</c:v>
                </c:pt>
                <c:pt idx="37330">
                  <c:v>-6.8067226890756199E-2</c:v>
                </c:pt>
                <c:pt idx="37331">
                  <c:v>-6.8067226890756199E-2</c:v>
                </c:pt>
                <c:pt idx="37332">
                  <c:v>-6.8067226890756199E-2</c:v>
                </c:pt>
                <c:pt idx="37333">
                  <c:v>-6.8067226890756199E-2</c:v>
                </c:pt>
                <c:pt idx="37334">
                  <c:v>-6.8067226890756199E-2</c:v>
                </c:pt>
                <c:pt idx="37335">
                  <c:v>-6.8067226890756199E-2</c:v>
                </c:pt>
                <c:pt idx="37336">
                  <c:v>-6.8067226890756199E-2</c:v>
                </c:pt>
                <c:pt idx="37337">
                  <c:v>-6.8067226890756199E-2</c:v>
                </c:pt>
                <c:pt idx="37338">
                  <c:v>-6.8067226890756199E-2</c:v>
                </c:pt>
                <c:pt idx="37339">
                  <c:v>-6.8067226890756199E-2</c:v>
                </c:pt>
                <c:pt idx="37340">
                  <c:v>-6.8067226890756199E-2</c:v>
                </c:pt>
                <c:pt idx="37341">
                  <c:v>-6.8067226890756199E-2</c:v>
                </c:pt>
                <c:pt idx="37342">
                  <c:v>-6.8067226890756199E-2</c:v>
                </c:pt>
                <c:pt idx="37343">
                  <c:v>-6.8067226890756199E-2</c:v>
                </c:pt>
                <c:pt idx="37344">
                  <c:v>-6.8067226890756199E-2</c:v>
                </c:pt>
                <c:pt idx="37345">
                  <c:v>-6.8067226890756199E-2</c:v>
                </c:pt>
                <c:pt idx="37346">
                  <c:v>-6.8067226890756199E-2</c:v>
                </c:pt>
                <c:pt idx="37347">
                  <c:v>-6.8067226890756199E-2</c:v>
                </c:pt>
                <c:pt idx="37348">
                  <c:v>-6.8067226890756199E-2</c:v>
                </c:pt>
                <c:pt idx="37349">
                  <c:v>-6.8067226890756199E-2</c:v>
                </c:pt>
                <c:pt idx="37350">
                  <c:v>-6.8067226890756199E-2</c:v>
                </c:pt>
                <c:pt idx="37351">
                  <c:v>-6.8067226890756199E-2</c:v>
                </c:pt>
                <c:pt idx="37352">
                  <c:v>-6.8067226890756199E-2</c:v>
                </c:pt>
                <c:pt idx="37353">
                  <c:v>-6.8067226890756199E-2</c:v>
                </c:pt>
                <c:pt idx="37354">
                  <c:v>-6.8067226890756199E-2</c:v>
                </c:pt>
                <c:pt idx="37355">
                  <c:v>-6.8067226890756199E-2</c:v>
                </c:pt>
                <c:pt idx="37356">
                  <c:v>-6.8067226890756199E-2</c:v>
                </c:pt>
                <c:pt idx="37357">
                  <c:v>-6.8067226890756199E-2</c:v>
                </c:pt>
                <c:pt idx="37358">
                  <c:v>-6.8067226890756199E-2</c:v>
                </c:pt>
                <c:pt idx="37359">
                  <c:v>-6.8067226890756199E-2</c:v>
                </c:pt>
                <c:pt idx="37360">
                  <c:v>-6.8067226890756199E-2</c:v>
                </c:pt>
                <c:pt idx="37361">
                  <c:v>-6.8067226890756199E-2</c:v>
                </c:pt>
                <c:pt idx="37362">
                  <c:v>-6.8067226890756199E-2</c:v>
                </c:pt>
                <c:pt idx="37363">
                  <c:v>-6.8067226890756199E-2</c:v>
                </c:pt>
                <c:pt idx="37364">
                  <c:v>-6.8067226890756199E-2</c:v>
                </c:pt>
                <c:pt idx="37365">
                  <c:v>-6.8067226890756199E-2</c:v>
                </c:pt>
                <c:pt idx="37366">
                  <c:v>-6.8067226890756199E-2</c:v>
                </c:pt>
                <c:pt idx="37367">
                  <c:v>-6.8067226890756199E-2</c:v>
                </c:pt>
                <c:pt idx="37368">
                  <c:v>-6.8067226890756199E-2</c:v>
                </c:pt>
                <c:pt idx="37369">
                  <c:v>-6.8067226890756199E-2</c:v>
                </c:pt>
                <c:pt idx="37370">
                  <c:v>-6.8067226890756199E-2</c:v>
                </c:pt>
                <c:pt idx="37371">
                  <c:v>-6.8067226890756199E-2</c:v>
                </c:pt>
                <c:pt idx="37372">
                  <c:v>-6.8067226890756199E-2</c:v>
                </c:pt>
                <c:pt idx="37373">
                  <c:v>-6.8067226890756199E-2</c:v>
                </c:pt>
                <c:pt idx="37374">
                  <c:v>-6.8067226890756199E-2</c:v>
                </c:pt>
                <c:pt idx="37375">
                  <c:v>-6.8067226890756199E-2</c:v>
                </c:pt>
                <c:pt idx="37376">
                  <c:v>-6.8067226890756199E-2</c:v>
                </c:pt>
                <c:pt idx="37377">
                  <c:v>-6.8067226890756199E-2</c:v>
                </c:pt>
                <c:pt idx="37378">
                  <c:v>-6.8067226890756199E-2</c:v>
                </c:pt>
                <c:pt idx="37379">
                  <c:v>-6.8067226890756199E-2</c:v>
                </c:pt>
                <c:pt idx="37380">
                  <c:v>-6.8067226890756199E-2</c:v>
                </c:pt>
                <c:pt idx="37381">
                  <c:v>-6.8067226890756199E-2</c:v>
                </c:pt>
                <c:pt idx="37382">
                  <c:v>-6.8067226890756199E-2</c:v>
                </c:pt>
                <c:pt idx="37383">
                  <c:v>-6.8067226890756199E-2</c:v>
                </c:pt>
                <c:pt idx="37384">
                  <c:v>-6.8067226890756199E-2</c:v>
                </c:pt>
                <c:pt idx="37385">
                  <c:v>-6.8067226890756199E-2</c:v>
                </c:pt>
                <c:pt idx="37386">
                  <c:v>-6.8067226890756199E-2</c:v>
                </c:pt>
                <c:pt idx="37387">
                  <c:v>-6.8907563025210006E-2</c:v>
                </c:pt>
                <c:pt idx="37388">
                  <c:v>-6.8907563025210006E-2</c:v>
                </c:pt>
                <c:pt idx="37389">
                  <c:v>-6.8907563025210006E-2</c:v>
                </c:pt>
                <c:pt idx="37390">
                  <c:v>-6.8907563025210006E-2</c:v>
                </c:pt>
                <c:pt idx="37391">
                  <c:v>-6.8907563025210006E-2</c:v>
                </c:pt>
                <c:pt idx="37392">
                  <c:v>-6.8907563025210006E-2</c:v>
                </c:pt>
                <c:pt idx="37393">
                  <c:v>-6.8907563025210006E-2</c:v>
                </c:pt>
                <c:pt idx="37394">
                  <c:v>-6.8907563025210006E-2</c:v>
                </c:pt>
                <c:pt idx="37395">
                  <c:v>-6.8907563025210006E-2</c:v>
                </c:pt>
                <c:pt idx="37396">
                  <c:v>-6.8907563025210006E-2</c:v>
                </c:pt>
                <c:pt idx="37397">
                  <c:v>-6.8907563025210006E-2</c:v>
                </c:pt>
                <c:pt idx="37398">
                  <c:v>-6.8907563025210006E-2</c:v>
                </c:pt>
                <c:pt idx="37399">
                  <c:v>-6.8907563025210006E-2</c:v>
                </c:pt>
                <c:pt idx="37400">
                  <c:v>-6.8907563025210006E-2</c:v>
                </c:pt>
                <c:pt idx="37401">
                  <c:v>-6.8907563025210006E-2</c:v>
                </c:pt>
                <c:pt idx="37402">
                  <c:v>-6.8907563025210006E-2</c:v>
                </c:pt>
                <c:pt idx="37403">
                  <c:v>-6.8907563025210006E-2</c:v>
                </c:pt>
                <c:pt idx="37404">
                  <c:v>-6.8907563025210006E-2</c:v>
                </c:pt>
                <c:pt idx="37405">
                  <c:v>-6.8907563025210006E-2</c:v>
                </c:pt>
                <c:pt idx="37406">
                  <c:v>-6.8907563025210006E-2</c:v>
                </c:pt>
                <c:pt idx="37407">
                  <c:v>-6.8907563025210006E-2</c:v>
                </c:pt>
                <c:pt idx="37408">
                  <c:v>-6.8907563025210006E-2</c:v>
                </c:pt>
                <c:pt idx="37409">
                  <c:v>-6.8907563025210006E-2</c:v>
                </c:pt>
                <c:pt idx="37410">
                  <c:v>-6.8907563025210006E-2</c:v>
                </c:pt>
                <c:pt idx="37411">
                  <c:v>-6.8907563025210006E-2</c:v>
                </c:pt>
                <c:pt idx="37412">
                  <c:v>-6.8907563025210006E-2</c:v>
                </c:pt>
                <c:pt idx="37413">
                  <c:v>-6.8907563025210006E-2</c:v>
                </c:pt>
                <c:pt idx="37414">
                  <c:v>-6.8907563025210006E-2</c:v>
                </c:pt>
                <c:pt idx="37415">
                  <c:v>-6.8907563025210006E-2</c:v>
                </c:pt>
                <c:pt idx="37416">
                  <c:v>-6.8907563025210006E-2</c:v>
                </c:pt>
                <c:pt idx="37417">
                  <c:v>-6.8067226890756199E-2</c:v>
                </c:pt>
                <c:pt idx="37418">
                  <c:v>-6.8067226890756199E-2</c:v>
                </c:pt>
                <c:pt idx="37419">
                  <c:v>-6.8067226890756199E-2</c:v>
                </c:pt>
                <c:pt idx="37420">
                  <c:v>-6.8067226890756199E-2</c:v>
                </c:pt>
                <c:pt idx="37421">
                  <c:v>-6.8067226890756199E-2</c:v>
                </c:pt>
                <c:pt idx="37422">
                  <c:v>-6.8067226890756199E-2</c:v>
                </c:pt>
                <c:pt idx="37423">
                  <c:v>-6.8067226890756199E-2</c:v>
                </c:pt>
                <c:pt idx="37424">
                  <c:v>-6.8067226890756199E-2</c:v>
                </c:pt>
                <c:pt idx="37425">
                  <c:v>-6.8067226890756199E-2</c:v>
                </c:pt>
                <c:pt idx="37426">
                  <c:v>-6.8067226890756199E-2</c:v>
                </c:pt>
                <c:pt idx="37427">
                  <c:v>-6.8067226890756199E-2</c:v>
                </c:pt>
                <c:pt idx="37428">
                  <c:v>-6.8067226890756199E-2</c:v>
                </c:pt>
                <c:pt idx="37429">
                  <c:v>-6.8067226890756199E-2</c:v>
                </c:pt>
                <c:pt idx="37430">
                  <c:v>-6.8067226890756199E-2</c:v>
                </c:pt>
                <c:pt idx="37431">
                  <c:v>-6.8067226890756199E-2</c:v>
                </c:pt>
                <c:pt idx="37432">
                  <c:v>-6.8067226890756199E-2</c:v>
                </c:pt>
                <c:pt idx="37433">
                  <c:v>-6.8067226890756199E-2</c:v>
                </c:pt>
                <c:pt idx="37434">
                  <c:v>-6.8067226890756199E-2</c:v>
                </c:pt>
                <c:pt idx="37435">
                  <c:v>-6.8067226890756199E-2</c:v>
                </c:pt>
                <c:pt idx="37436">
                  <c:v>-6.8067226890756199E-2</c:v>
                </c:pt>
                <c:pt idx="37437">
                  <c:v>-6.8067226890756199E-2</c:v>
                </c:pt>
                <c:pt idx="37438">
                  <c:v>-6.8067226890756199E-2</c:v>
                </c:pt>
                <c:pt idx="37439">
                  <c:v>-6.8067226890756199E-2</c:v>
                </c:pt>
                <c:pt idx="37440">
                  <c:v>-6.8067226890756199E-2</c:v>
                </c:pt>
                <c:pt idx="37441">
                  <c:v>-6.8067226890756199E-2</c:v>
                </c:pt>
                <c:pt idx="37442">
                  <c:v>-6.8067226890756199E-2</c:v>
                </c:pt>
                <c:pt idx="37443">
                  <c:v>-6.8067226890756199E-2</c:v>
                </c:pt>
                <c:pt idx="37444">
                  <c:v>-6.8067226890756199E-2</c:v>
                </c:pt>
                <c:pt idx="37445">
                  <c:v>-6.8067226890756199E-2</c:v>
                </c:pt>
                <c:pt idx="37446">
                  <c:v>-6.8067226890756199E-2</c:v>
                </c:pt>
                <c:pt idx="37447">
                  <c:v>-6.8067226890756199E-2</c:v>
                </c:pt>
                <c:pt idx="37448">
                  <c:v>-6.8067226890756199E-2</c:v>
                </c:pt>
                <c:pt idx="37449">
                  <c:v>-6.8067226890756199E-2</c:v>
                </c:pt>
                <c:pt idx="37450">
                  <c:v>-6.8067226890756199E-2</c:v>
                </c:pt>
                <c:pt idx="37451">
                  <c:v>-6.8067226890756199E-2</c:v>
                </c:pt>
                <c:pt idx="37452">
                  <c:v>-6.8067226890756199E-2</c:v>
                </c:pt>
                <c:pt idx="37453">
                  <c:v>-6.8067226890756199E-2</c:v>
                </c:pt>
                <c:pt idx="37454">
                  <c:v>-6.8067226890756199E-2</c:v>
                </c:pt>
                <c:pt idx="37455">
                  <c:v>-6.8067226890756199E-2</c:v>
                </c:pt>
                <c:pt idx="37456">
                  <c:v>-6.8067226890756199E-2</c:v>
                </c:pt>
                <c:pt idx="37457">
                  <c:v>-6.8067226890756199E-2</c:v>
                </c:pt>
                <c:pt idx="37458">
                  <c:v>-6.8067226890756199E-2</c:v>
                </c:pt>
                <c:pt idx="37459">
                  <c:v>-6.8067226890756199E-2</c:v>
                </c:pt>
                <c:pt idx="37460">
                  <c:v>-6.8067226890756199E-2</c:v>
                </c:pt>
                <c:pt idx="37461">
                  <c:v>-6.8067226890756199E-2</c:v>
                </c:pt>
                <c:pt idx="37462">
                  <c:v>-6.8067226890756199E-2</c:v>
                </c:pt>
                <c:pt idx="37463">
                  <c:v>-6.8067226890756199E-2</c:v>
                </c:pt>
                <c:pt idx="37464">
                  <c:v>-6.8067226890756199E-2</c:v>
                </c:pt>
                <c:pt idx="37465">
                  <c:v>-6.8067226890756199E-2</c:v>
                </c:pt>
                <c:pt idx="37466">
                  <c:v>-6.8067226890756199E-2</c:v>
                </c:pt>
                <c:pt idx="37467">
                  <c:v>-6.8067226890756199E-2</c:v>
                </c:pt>
                <c:pt idx="37468">
                  <c:v>-6.8067226890756199E-2</c:v>
                </c:pt>
                <c:pt idx="37469">
                  <c:v>-6.8067226890756199E-2</c:v>
                </c:pt>
                <c:pt idx="37470">
                  <c:v>-6.8067226890756199E-2</c:v>
                </c:pt>
                <c:pt idx="37471">
                  <c:v>-6.8067226890756199E-2</c:v>
                </c:pt>
                <c:pt idx="37472">
                  <c:v>-6.8067226890756199E-2</c:v>
                </c:pt>
                <c:pt idx="37473">
                  <c:v>-6.8067226890756199E-2</c:v>
                </c:pt>
                <c:pt idx="37474">
                  <c:v>-6.8067226890756199E-2</c:v>
                </c:pt>
                <c:pt idx="37475">
                  <c:v>-6.8067226890756199E-2</c:v>
                </c:pt>
                <c:pt idx="37476">
                  <c:v>-6.8067226890756199E-2</c:v>
                </c:pt>
                <c:pt idx="37477">
                  <c:v>-6.8067226890756199E-2</c:v>
                </c:pt>
                <c:pt idx="37478">
                  <c:v>-6.8067226890756199E-2</c:v>
                </c:pt>
                <c:pt idx="37479">
                  <c:v>-6.8067226890756199E-2</c:v>
                </c:pt>
                <c:pt idx="37480">
                  <c:v>-6.8067226890756199E-2</c:v>
                </c:pt>
                <c:pt idx="37481">
                  <c:v>-6.8067226890756199E-2</c:v>
                </c:pt>
                <c:pt idx="37482">
                  <c:v>-6.8067226890756199E-2</c:v>
                </c:pt>
                <c:pt idx="37483">
                  <c:v>-6.8067226890756199E-2</c:v>
                </c:pt>
                <c:pt idx="37484">
                  <c:v>-6.8067226890756199E-2</c:v>
                </c:pt>
                <c:pt idx="37485">
                  <c:v>-6.8067226890756199E-2</c:v>
                </c:pt>
                <c:pt idx="37486">
                  <c:v>-6.8067226890756199E-2</c:v>
                </c:pt>
                <c:pt idx="37487">
                  <c:v>-6.8067226890756199E-2</c:v>
                </c:pt>
                <c:pt idx="37488">
                  <c:v>-6.8067226890756199E-2</c:v>
                </c:pt>
                <c:pt idx="37489">
                  <c:v>-6.8067226890756199E-2</c:v>
                </c:pt>
                <c:pt idx="37490">
                  <c:v>-6.8067226890756199E-2</c:v>
                </c:pt>
                <c:pt idx="37491">
                  <c:v>-6.8067226890756199E-2</c:v>
                </c:pt>
                <c:pt idx="37492">
                  <c:v>-6.8067226890756199E-2</c:v>
                </c:pt>
                <c:pt idx="37493">
                  <c:v>-6.8067226890756199E-2</c:v>
                </c:pt>
                <c:pt idx="37494">
                  <c:v>-6.8067226890756199E-2</c:v>
                </c:pt>
                <c:pt idx="37495">
                  <c:v>-6.8067226890756199E-2</c:v>
                </c:pt>
                <c:pt idx="37496">
                  <c:v>-6.8067226890756199E-2</c:v>
                </c:pt>
                <c:pt idx="37497">
                  <c:v>-6.8067226890756199E-2</c:v>
                </c:pt>
                <c:pt idx="37498">
                  <c:v>-6.8067226890756199E-2</c:v>
                </c:pt>
                <c:pt idx="37499">
                  <c:v>-6.7226890756302504E-2</c:v>
                </c:pt>
                <c:pt idx="37500">
                  <c:v>-6.7226890756302504E-2</c:v>
                </c:pt>
                <c:pt idx="37501">
                  <c:v>-6.7226890756302504E-2</c:v>
                </c:pt>
                <c:pt idx="37502">
                  <c:v>-6.7226890756302504E-2</c:v>
                </c:pt>
                <c:pt idx="37503">
                  <c:v>-6.7226890756302504E-2</c:v>
                </c:pt>
                <c:pt idx="37504">
                  <c:v>-6.7226890756302504E-2</c:v>
                </c:pt>
                <c:pt idx="37505">
                  <c:v>-6.7226890756302504E-2</c:v>
                </c:pt>
                <c:pt idx="37506">
                  <c:v>-6.7226890756302504E-2</c:v>
                </c:pt>
                <c:pt idx="37507">
                  <c:v>-6.7226890756302504E-2</c:v>
                </c:pt>
                <c:pt idx="37508">
                  <c:v>-6.7226890756302504E-2</c:v>
                </c:pt>
                <c:pt idx="37509">
                  <c:v>-6.7226890756302504E-2</c:v>
                </c:pt>
                <c:pt idx="37510">
                  <c:v>-6.7226890756302504E-2</c:v>
                </c:pt>
                <c:pt idx="37511">
                  <c:v>-6.7226890756302504E-2</c:v>
                </c:pt>
                <c:pt idx="37512">
                  <c:v>-6.7226890756302504E-2</c:v>
                </c:pt>
                <c:pt idx="37513">
                  <c:v>-6.7226890756302504E-2</c:v>
                </c:pt>
                <c:pt idx="37514">
                  <c:v>-6.7226890756302504E-2</c:v>
                </c:pt>
                <c:pt idx="37515">
                  <c:v>-6.7226890756302504E-2</c:v>
                </c:pt>
                <c:pt idx="37516">
                  <c:v>-6.7226890756302504E-2</c:v>
                </c:pt>
                <c:pt idx="37517">
                  <c:v>-6.6386554621848698E-2</c:v>
                </c:pt>
                <c:pt idx="37518">
                  <c:v>-6.6386554621848698E-2</c:v>
                </c:pt>
                <c:pt idx="37519">
                  <c:v>-6.6386554621848698E-2</c:v>
                </c:pt>
                <c:pt idx="37520">
                  <c:v>-6.6386554621848698E-2</c:v>
                </c:pt>
                <c:pt idx="37521">
                  <c:v>-6.6386554621848698E-2</c:v>
                </c:pt>
                <c:pt idx="37522">
                  <c:v>-6.6386554621848698E-2</c:v>
                </c:pt>
                <c:pt idx="37523">
                  <c:v>-6.6386554621848698E-2</c:v>
                </c:pt>
                <c:pt idx="37524">
                  <c:v>-6.6386554621848698E-2</c:v>
                </c:pt>
                <c:pt idx="37525">
                  <c:v>-6.6386554621848698E-2</c:v>
                </c:pt>
                <c:pt idx="37526">
                  <c:v>-6.6386554621848698E-2</c:v>
                </c:pt>
                <c:pt idx="37527">
                  <c:v>-6.6386554621848698E-2</c:v>
                </c:pt>
                <c:pt idx="37528">
                  <c:v>-6.6386554621848698E-2</c:v>
                </c:pt>
                <c:pt idx="37529">
                  <c:v>-6.6386554621848698E-2</c:v>
                </c:pt>
                <c:pt idx="37530">
                  <c:v>-6.6386554621848698E-2</c:v>
                </c:pt>
                <c:pt idx="37531">
                  <c:v>-6.6386554621848698E-2</c:v>
                </c:pt>
                <c:pt idx="37532">
                  <c:v>-6.6386554621848698E-2</c:v>
                </c:pt>
                <c:pt idx="37533">
                  <c:v>-6.6386554621848698E-2</c:v>
                </c:pt>
                <c:pt idx="37534">
                  <c:v>-6.6386554621848698E-2</c:v>
                </c:pt>
                <c:pt idx="37535">
                  <c:v>-6.7226890756302504E-2</c:v>
                </c:pt>
                <c:pt idx="37536">
                  <c:v>-6.7226890756302504E-2</c:v>
                </c:pt>
                <c:pt idx="37537">
                  <c:v>-6.7226890756302504E-2</c:v>
                </c:pt>
                <c:pt idx="37538">
                  <c:v>-6.7226890756302504E-2</c:v>
                </c:pt>
                <c:pt idx="37539">
                  <c:v>-6.7226890756302504E-2</c:v>
                </c:pt>
                <c:pt idx="37540">
                  <c:v>-6.7226890756302504E-2</c:v>
                </c:pt>
                <c:pt idx="37541">
                  <c:v>-6.7226890756302504E-2</c:v>
                </c:pt>
                <c:pt idx="37542">
                  <c:v>-6.7226890756302504E-2</c:v>
                </c:pt>
                <c:pt idx="37543">
                  <c:v>-6.7226890756302504E-2</c:v>
                </c:pt>
                <c:pt idx="37544">
                  <c:v>-6.7226890756302504E-2</c:v>
                </c:pt>
                <c:pt idx="37545">
                  <c:v>-6.7226890756302504E-2</c:v>
                </c:pt>
                <c:pt idx="37546">
                  <c:v>-6.7226890756302504E-2</c:v>
                </c:pt>
                <c:pt idx="37547">
                  <c:v>-6.7226890756302504E-2</c:v>
                </c:pt>
                <c:pt idx="37548">
                  <c:v>-6.7226890756302504E-2</c:v>
                </c:pt>
                <c:pt idx="37549">
                  <c:v>-6.7226890756302504E-2</c:v>
                </c:pt>
                <c:pt idx="37550">
                  <c:v>-6.7226890756302504E-2</c:v>
                </c:pt>
                <c:pt idx="37551">
                  <c:v>-6.7226890756302504E-2</c:v>
                </c:pt>
                <c:pt idx="37552">
                  <c:v>-6.7226890756302504E-2</c:v>
                </c:pt>
                <c:pt idx="37553">
                  <c:v>-6.7226890756302504E-2</c:v>
                </c:pt>
                <c:pt idx="37554">
                  <c:v>-6.7226890756302504E-2</c:v>
                </c:pt>
                <c:pt idx="37555">
                  <c:v>-6.8067226890756199E-2</c:v>
                </c:pt>
                <c:pt idx="37556">
                  <c:v>-6.8067226890756199E-2</c:v>
                </c:pt>
                <c:pt idx="37557">
                  <c:v>-6.8067226890756199E-2</c:v>
                </c:pt>
                <c:pt idx="37558">
                  <c:v>-6.8067226890756199E-2</c:v>
                </c:pt>
                <c:pt idx="37559">
                  <c:v>-6.8067226890756199E-2</c:v>
                </c:pt>
                <c:pt idx="37560">
                  <c:v>-6.8067226890756199E-2</c:v>
                </c:pt>
                <c:pt idx="37561">
                  <c:v>-6.8067226890756199E-2</c:v>
                </c:pt>
                <c:pt idx="37562">
                  <c:v>-6.8067226890756199E-2</c:v>
                </c:pt>
                <c:pt idx="37563">
                  <c:v>-6.8067226890756199E-2</c:v>
                </c:pt>
                <c:pt idx="37564">
                  <c:v>-6.8067226890756199E-2</c:v>
                </c:pt>
                <c:pt idx="37565">
                  <c:v>-6.8067226890756199E-2</c:v>
                </c:pt>
                <c:pt idx="37566">
                  <c:v>-6.8067226890756199E-2</c:v>
                </c:pt>
                <c:pt idx="37567">
                  <c:v>-6.8067226890756199E-2</c:v>
                </c:pt>
                <c:pt idx="37568">
                  <c:v>-6.8067226890756199E-2</c:v>
                </c:pt>
                <c:pt idx="37569">
                  <c:v>-6.8067226890756199E-2</c:v>
                </c:pt>
                <c:pt idx="37570">
                  <c:v>-6.8067226890756199E-2</c:v>
                </c:pt>
                <c:pt idx="37571">
                  <c:v>-6.8067226890756199E-2</c:v>
                </c:pt>
                <c:pt idx="37572">
                  <c:v>-6.8067226890756199E-2</c:v>
                </c:pt>
                <c:pt idx="37573">
                  <c:v>-6.8067226890756199E-2</c:v>
                </c:pt>
                <c:pt idx="37574">
                  <c:v>-6.8067226890756199E-2</c:v>
                </c:pt>
                <c:pt idx="37575">
                  <c:v>-6.8067226890756199E-2</c:v>
                </c:pt>
                <c:pt idx="37576">
                  <c:v>-6.8067226890756199E-2</c:v>
                </c:pt>
                <c:pt idx="37577">
                  <c:v>-6.8067226890756199E-2</c:v>
                </c:pt>
                <c:pt idx="37578">
                  <c:v>-6.8067226890756199E-2</c:v>
                </c:pt>
                <c:pt idx="37579">
                  <c:v>-6.8067226890756199E-2</c:v>
                </c:pt>
                <c:pt idx="37580">
                  <c:v>-6.8067226890756199E-2</c:v>
                </c:pt>
                <c:pt idx="37581">
                  <c:v>-6.8067226890756199E-2</c:v>
                </c:pt>
                <c:pt idx="37582">
                  <c:v>-6.8067226890756199E-2</c:v>
                </c:pt>
                <c:pt idx="37583">
                  <c:v>-6.8067226890756199E-2</c:v>
                </c:pt>
                <c:pt idx="37584">
                  <c:v>-6.8067226890756199E-2</c:v>
                </c:pt>
                <c:pt idx="37585">
                  <c:v>-6.8067226890756199E-2</c:v>
                </c:pt>
                <c:pt idx="37586">
                  <c:v>-6.8067226890756199E-2</c:v>
                </c:pt>
                <c:pt idx="37587">
                  <c:v>-6.8067226890756199E-2</c:v>
                </c:pt>
                <c:pt idx="37588">
                  <c:v>-6.8067226890756199E-2</c:v>
                </c:pt>
                <c:pt idx="37589">
                  <c:v>-6.8067226890756199E-2</c:v>
                </c:pt>
                <c:pt idx="37590">
                  <c:v>-6.8067226890756199E-2</c:v>
                </c:pt>
                <c:pt idx="37591">
                  <c:v>-6.8067226890756199E-2</c:v>
                </c:pt>
                <c:pt idx="37592">
                  <c:v>-6.8067226890756199E-2</c:v>
                </c:pt>
                <c:pt idx="37593">
                  <c:v>-6.8067226890756199E-2</c:v>
                </c:pt>
                <c:pt idx="37594">
                  <c:v>-6.8067226890756199E-2</c:v>
                </c:pt>
                <c:pt idx="37595">
                  <c:v>-6.8067226890756199E-2</c:v>
                </c:pt>
                <c:pt idx="37596">
                  <c:v>-6.8067226890756199E-2</c:v>
                </c:pt>
                <c:pt idx="37597">
                  <c:v>-6.8067226890756199E-2</c:v>
                </c:pt>
                <c:pt idx="37598">
                  <c:v>-6.8067226890756199E-2</c:v>
                </c:pt>
                <c:pt idx="37599">
                  <c:v>-6.8067226890756199E-2</c:v>
                </c:pt>
                <c:pt idx="37600">
                  <c:v>-6.8067226890756199E-2</c:v>
                </c:pt>
                <c:pt idx="37601">
                  <c:v>-6.8067226890756199E-2</c:v>
                </c:pt>
                <c:pt idx="37602">
                  <c:v>-6.8067226890756199E-2</c:v>
                </c:pt>
                <c:pt idx="37603">
                  <c:v>-6.8067226890756199E-2</c:v>
                </c:pt>
                <c:pt idx="37604">
                  <c:v>-6.8067226890756199E-2</c:v>
                </c:pt>
                <c:pt idx="37605">
                  <c:v>-6.8067226890756199E-2</c:v>
                </c:pt>
                <c:pt idx="37606">
                  <c:v>-6.8067226890756199E-2</c:v>
                </c:pt>
                <c:pt idx="37607">
                  <c:v>-6.8067226890756199E-2</c:v>
                </c:pt>
                <c:pt idx="37608">
                  <c:v>-6.8067226890756199E-2</c:v>
                </c:pt>
                <c:pt idx="37609">
                  <c:v>-6.8067226890756199E-2</c:v>
                </c:pt>
                <c:pt idx="37610">
                  <c:v>-6.8067226890756199E-2</c:v>
                </c:pt>
                <c:pt idx="37611">
                  <c:v>-6.8067226890756199E-2</c:v>
                </c:pt>
                <c:pt idx="37612">
                  <c:v>-6.8067226890756199E-2</c:v>
                </c:pt>
                <c:pt idx="37613">
                  <c:v>-6.8067226890756199E-2</c:v>
                </c:pt>
                <c:pt idx="37614">
                  <c:v>-6.8067226890756199E-2</c:v>
                </c:pt>
                <c:pt idx="37615">
                  <c:v>-6.8067226890756199E-2</c:v>
                </c:pt>
                <c:pt idx="37616">
                  <c:v>-6.8067226890756199E-2</c:v>
                </c:pt>
                <c:pt idx="37617">
                  <c:v>-6.8067226890756199E-2</c:v>
                </c:pt>
                <c:pt idx="37618">
                  <c:v>-6.8067226890756199E-2</c:v>
                </c:pt>
                <c:pt idx="37619">
                  <c:v>-6.8067226890756199E-2</c:v>
                </c:pt>
                <c:pt idx="37620">
                  <c:v>-6.8067226890756199E-2</c:v>
                </c:pt>
                <c:pt idx="37621">
                  <c:v>-6.8067226890756199E-2</c:v>
                </c:pt>
                <c:pt idx="37622">
                  <c:v>-6.8067226890756199E-2</c:v>
                </c:pt>
                <c:pt idx="37623">
                  <c:v>-6.8067226890756199E-2</c:v>
                </c:pt>
                <c:pt idx="37624">
                  <c:v>-6.8067226890756199E-2</c:v>
                </c:pt>
                <c:pt idx="37625">
                  <c:v>-6.8067226890756199E-2</c:v>
                </c:pt>
                <c:pt idx="37626">
                  <c:v>-6.7226890756302504E-2</c:v>
                </c:pt>
                <c:pt idx="37627">
                  <c:v>-6.7226890756302504E-2</c:v>
                </c:pt>
                <c:pt idx="37628">
                  <c:v>-6.7226890756302504E-2</c:v>
                </c:pt>
                <c:pt idx="37629">
                  <c:v>-6.7226890756302504E-2</c:v>
                </c:pt>
                <c:pt idx="37630">
                  <c:v>-6.7226890756302504E-2</c:v>
                </c:pt>
                <c:pt idx="37631">
                  <c:v>-6.7226890756302504E-2</c:v>
                </c:pt>
                <c:pt idx="37632">
                  <c:v>-6.7226890756302504E-2</c:v>
                </c:pt>
                <c:pt idx="37633">
                  <c:v>-6.7226890756302504E-2</c:v>
                </c:pt>
                <c:pt idx="37634">
                  <c:v>-6.7226890756302504E-2</c:v>
                </c:pt>
                <c:pt idx="37635">
                  <c:v>-6.7226890756302504E-2</c:v>
                </c:pt>
                <c:pt idx="37636">
                  <c:v>-6.7226890756302504E-2</c:v>
                </c:pt>
                <c:pt idx="37637">
                  <c:v>-6.7226890756302504E-2</c:v>
                </c:pt>
                <c:pt idx="37638">
                  <c:v>-6.7226890756302504E-2</c:v>
                </c:pt>
                <c:pt idx="37639">
                  <c:v>-6.7226890756302504E-2</c:v>
                </c:pt>
                <c:pt idx="37640">
                  <c:v>-6.7226890756302504E-2</c:v>
                </c:pt>
                <c:pt idx="37641">
                  <c:v>-6.7226890756302504E-2</c:v>
                </c:pt>
                <c:pt idx="37642">
                  <c:v>-6.7226890756302504E-2</c:v>
                </c:pt>
                <c:pt idx="37643">
                  <c:v>-6.7226890756302504E-2</c:v>
                </c:pt>
                <c:pt idx="37644">
                  <c:v>-6.7226890756302504E-2</c:v>
                </c:pt>
                <c:pt idx="37645">
                  <c:v>-6.7226890756302504E-2</c:v>
                </c:pt>
                <c:pt idx="37646">
                  <c:v>-6.7226890756302504E-2</c:v>
                </c:pt>
                <c:pt idx="37647">
                  <c:v>-6.7226890756302504E-2</c:v>
                </c:pt>
                <c:pt idx="37648">
                  <c:v>-6.7226890756302504E-2</c:v>
                </c:pt>
                <c:pt idx="37649">
                  <c:v>-6.7226890756302504E-2</c:v>
                </c:pt>
                <c:pt idx="37650">
                  <c:v>-6.7226890756302504E-2</c:v>
                </c:pt>
                <c:pt idx="37651">
                  <c:v>-6.7226890756302504E-2</c:v>
                </c:pt>
                <c:pt idx="37652">
                  <c:v>-6.7226890756302504E-2</c:v>
                </c:pt>
                <c:pt idx="37653">
                  <c:v>-6.7226890756302504E-2</c:v>
                </c:pt>
                <c:pt idx="37654">
                  <c:v>-6.7226890756302504E-2</c:v>
                </c:pt>
                <c:pt idx="37655">
                  <c:v>-6.7226890756302504E-2</c:v>
                </c:pt>
                <c:pt idx="37656">
                  <c:v>-6.7226890756302504E-2</c:v>
                </c:pt>
                <c:pt idx="37657">
                  <c:v>-6.7226890756302504E-2</c:v>
                </c:pt>
                <c:pt idx="37658">
                  <c:v>-6.7226890756302504E-2</c:v>
                </c:pt>
                <c:pt idx="37659">
                  <c:v>-6.7226890756302504E-2</c:v>
                </c:pt>
                <c:pt idx="37660">
                  <c:v>-6.7226890756302504E-2</c:v>
                </c:pt>
                <c:pt idx="37661">
                  <c:v>-6.7226890756302504E-2</c:v>
                </c:pt>
                <c:pt idx="37662">
                  <c:v>-6.7226890756302504E-2</c:v>
                </c:pt>
                <c:pt idx="37663">
                  <c:v>-6.7226890756302504E-2</c:v>
                </c:pt>
                <c:pt idx="37664">
                  <c:v>-6.7226890756302504E-2</c:v>
                </c:pt>
                <c:pt idx="37665">
                  <c:v>-6.7226890756302504E-2</c:v>
                </c:pt>
                <c:pt idx="37666">
                  <c:v>-6.7226890756302504E-2</c:v>
                </c:pt>
                <c:pt idx="37667">
                  <c:v>-6.7226890756302504E-2</c:v>
                </c:pt>
                <c:pt idx="37668">
                  <c:v>-6.7226890756302504E-2</c:v>
                </c:pt>
                <c:pt idx="37669">
                  <c:v>-6.7226890756302504E-2</c:v>
                </c:pt>
                <c:pt idx="37670">
                  <c:v>-6.7226890756302504E-2</c:v>
                </c:pt>
                <c:pt idx="37671">
                  <c:v>-6.7226890756302504E-2</c:v>
                </c:pt>
                <c:pt idx="37672">
                  <c:v>-6.7226890756302504E-2</c:v>
                </c:pt>
                <c:pt idx="37673">
                  <c:v>-6.7226890756302504E-2</c:v>
                </c:pt>
                <c:pt idx="37674">
                  <c:v>-6.7226890756302504E-2</c:v>
                </c:pt>
                <c:pt idx="37675">
                  <c:v>-6.7226890756302504E-2</c:v>
                </c:pt>
                <c:pt idx="37676">
                  <c:v>-6.7226890756302504E-2</c:v>
                </c:pt>
                <c:pt idx="37677">
                  <c:v>-6.7226890756302504E-2</c:v>
                </c:pt>
                <c:pt idx="37678">
                  <c:v>-6.7226890756302504E-2</c:v>
                </c:pt>
                <c:pt idx="37679">
                  <c:v>-6.7226890756302504E-2</c:v>
                </c:pt>
                <c:pt idx="37680">
                  <c:v>-6.7226890756302504E-2</c:v>
                </c:pt>
                <c:pt idx="37681">
                  <c:v>-6.7226890756302504E-2</c:v>
                </c:pt>
                <c:pt idx="37682">
                  <c:v>-6.7226890756302504E-2</c:v>
                </c:pt>
                <c:pt idx="37683">
                  <c:v>-6.7226890756302504E-2</c:v>
                </c:pt>
                <c:pt idx="37684">
                  <c:v>-6.7226890756302504E-2</c:v>
                </c:pt>
                <c:pt idx="37685">
                  <c:v>-6.7226890756302504E-2</c:v>
                </c:pt>
                <c:pt idx="37686">
                  <c:v>-6.7226890756302504E-2</c:v>
                </c:pt>
                <c:pt idx="37687">
                  <c:v>-6.7226890756302504E-2</c:v>
                </c:pt>
                <c:pt idx="37688">
                  <c:v>-6.7226890756302504E-2</c:v>
                </c:pt>
                <c:pt idx="37689">
                  <c:v>-6.7226890756302504E-2</c:v>
                </c:pt>
                <c:pt idx="37690">
                  <c:v>-6.7226890756302504E-2</c:v>
                </c:pt>
                <c:pt idx="37691">
                  <c:v>-6.7226890756302504E-2</c:v>
                </c:pt>
                <c:pt idx="37692">
                  <c:v>-6.7226890756302504E-2</c:v>
                </c:pt>
                <c:pt idx="37693">
                  <c:v>-6.7226890756302504E-2</c:v>
                </c:pt>
                <c:pt idx="37694">
                  <c:v>-6.7226890756302504E-2</c:v>
                </c:pt>
                <c:pt idx="37695">
                  <c:v>-6.7226890756302504E-2</c:v>
                </c:pt>
                <c:pt idx="37696">
                  <c:v>-6.7226890756302504E-2</c:v>
                </c:pt>
                <c:pt idx="37697">
                  <c:v>-6.7226890756302504E-2</c:v>
                </c:pt>
                <c:pt idx="37698">
                  <c:v>-6.7226890756302504E-2</c:v>
                </c:pt>
                <c:pt idx="37699">
                  <c:v>-6.7226890756302504E-2</c:v>
                </c:pt>
                <c:pt idx="37700">
                  <c:v>-6.7226890756302504E-2</c:v>
                </c:pt>
                <c:pt idx="37701">
                  <c:v>-6.7226890756302504E-2</c:v>
                </c:pt>
                <c:pt idx="37702">
                  <c:v>-6.7226890756302504E-2</c:v>
                </c:pt>
                <c:pt idx="37703">
                  <c:v>-6.7226890756302504E-2</c:v>
                </c:pt>
                <c:pt idx="37704">
                  <c:v>-6.7226890756302504E-2</c:v>
                </c:pt>
                <c:pt idx="37705">
                  <c:v>-6.7226890756302504E-2</c:v>
                </c:pt>
                <c:pt idx="37706">
                  <c:v>-6.7226890756302504E-2</c:v>
                </c:pt>
                <c:pt idx="37707">
                  <c:v>-6.7226890756302504E-2</c:v>
                </c:pt>
                <c:pt idx="37708">
                  <c:v>-6.7226890756302504E-2</c:v>
                </c:pt>
                <c:pt idx="37709">
                  <c:v>-6.7226890756302504E-2</c:v>
                </c:pt>
                <c:pt idx="37710">
                  <c:v>-6.7226890756302504E-2</c:v>
                </c:pt>
                <c:pt idx="37711">
                  <c:v>-6.7226890756302504E-2</c:v>
                </c:pt>
                <c:pt idx="37712">
                  <c:v>-6.7226890756302504E-2</c:v>
                </c:pt>
                <c:pt idx="37713">
                  <c:v>-6.7226890756302504E-2</c:v>
                </c:pt>
                <c:pt idx="37714">
                  <c:v>-6.7226890756302504E-2</c:v>
                </c:pt>
                <c:pt idx="37715">
                  <c:v>-6.7226890756302504E-2</c:v>
                </c:pt>
                <c:pt idx="37716">
                  <c:v>-6.7226890756302504E-2</c:v>
                </c:pt>
                <c:pt idx="37717">
                  <c:v>-6.7226890756302504E-2</c:v>
                </c:pt>
                <c:pt idx="37718">
                  <c:v>-6.7226890756302504E-2</c:v>
                </c:pt>
                <c:pt idx="37719">
                  <c:v>-6.7226890756302504E-2</c:v>
                </c:pt>
                <c:pt idx="37720">
                  <c:v>-6.7226890756302504E-2</c:v>
                </c:pt>
                <c:pt idx="37721">
                  <c:v>-6.7226890756302504E-2</c:v>
                </c:pt>
                <c:pt idx="37722">
                  <c:v>-6.7226890756302504E-2</c:v>
                </c:pt>
                <c:pt idx="37723">
                  <c:v>-6.7226890756302504E-2</c:v>
                </c:pt>
                <c:pt idx="37724">
                  <c:v>-6.7226890756302504E-2</c:v>
                </c:pt>
                <c:pt idx="37725">
                  <c:v>-6.7226890756302504E-2</c:v>
                </c:pt>
                <c:pt idx="37726">
                  <c:v>-6.7226890756302504E-2</c:v>
                </c:pt>
                <c:pt idx="37727">
                  <c:v>-6.7226890756302504E-2</c:v>
                </c:pt>
                <c:pt idx="37728">
                  <c:v>-6.7226890756302504E-2</c:v>
                </c:pt>
                <c:pt idx="37729">
                  <c:v>-6.7226890756302504E-2</c:v>
                </c:pt>
                <c:pt idx="37730">
                  <c:v>-6.7226890756302504E-2</c:v>
                </c:pt>
                <c:pt idx="37731">
                  <c:v>-6.7226890756302504E-2</c:v>
                </c:pt>
                <c:pt idx="37732">
                  <c:v>-6.7226890756302504E-2</c:v>
                </c:pt>
                <c:pt idx="37733">
                  <c:v>-6.7226890756302504E-2</c:v>
                </c:pt>
                <c:pt idx="37734">
                  <c:v>-6.7226890756302504E-2</c:v>
                </c:pt>
                <c:pt idx="37735">
                  <c:v>-6.7226890756302504E-2</c:v>
                </c:pt>
                <c:pt idx="37736">
                  <c:v>-6.7226890756302504E-2</c:v>
                </c:pt>
                <c:pt idx="37737">
                  <c:v>-6.7226890756302504E-2</c:v>
                </c:pt>
                <c:pt idx="37738">
                  <c:v>-6.7226890756302504E-2</c:v>
                </c:pt>
                <c:pt idx="37739">
                  <c:v>-6.7226890756302504E-2</c:v>
                </c:pt>
                <c:pt idx="37740">
                  <c:v>-6.7226890756302504E-2</c:v>
                </c:pt>
                <c:pt idx="37741">
                  <c:v>-6.7226890756302504E-2</c:v>
                </c:pt>
                <c:pt idx="37742">
                  <c:v>-6.7226890756302504E-2</c:v>
                </c:pt>
                <c:pt idx="37743">
                  <c:v>-6.7226890756302504E-2</c:v>
                </c:pt>
                <c:pt idx="37744">
                  <c:v>-6.7226890756302504E-2</c:v>
                </c:pt>
                <c:pt idx="37745">
                  <c:v>-6.7226890756302504E-2</c:v>
                </c:pt>
                <c:pt idx="37746">
                  <c:v>-6.7226890756302504E-2</c:v>
                </c:pt>
                <c:pt idx="37747">
                  <c:v>-6.7226890756302504E-2</c:v>
                </c:pt>
                <c:pt idx="37748">
                  <c:v>-6.7226890756302504E-2</c:v>
                </c:pt>
                <c:pt idx="37749">
                  <c:v>-6.7226890756302504E-2</c:v>
                </c:pt>
                <c:pt idx="37750">
                  <c:v>-6.7226890756302504E-2</c:v>
                </c:pt>
                <c:pt idx="37751">
                  <c:v>-6.7226890756302504E-2</c:v>
                </c:pt>
                <c:pt idx="37752">
                  <c:v>-6.7226890756302504E-2</c:v>
                </c:pt>
                <c:pt idx="37753">
                  <c:v>-6.7226890756302504E-2</c:v>
                </c:pt>
                <c:pt idx="37754">
                  <c:v>-6.7226890756302504E-2</c:v>
                </c:pt>
                <c:pt idx="37755">
                  <c:v>-6.7226890756302504E-2</c:v>
                </c:pt>
                <c:pt idx="37756">
                  <c:v>-6.7226890756302504E-2</c:v>
                </c:pt>
                <c:pt idx="37757">
                  <c:v>-6.7226890756302504E-2</c:v>
                </c:pt>
                <c:pt idx="37758">
                  <c:v>-6.7226890756302504E-2</c:v>
                </c:pt>
                <c:pt idx="37759">
                  <c:v>-6.7226890756302504E-2</c:v>
                </c:pt>
                <c:pt idx="37760">
                  <c:v>-6.7226890756302504E-2</c:v>
                </c:pt>
                <c:pt idx="37761">
                  <c:v>-6.7226890756302504E-2</c:v>
                </c:pt>
                <c:pt idx="37762">
                  <c:v>-6.7226890756302504E-2</c:v>
                </c:pt>
                <c:pt idx="37763">
                  <c:v>-6.7226890756302504E-2</c:v>
                </c:pt>
                <c:pt idx="37764">
                  <c:v>-6.7226890756302504E-2</c:v>
                </c:pt>
                <c:pt idx="37765">
                  <c:v>-6.7226890756302504E-2</c:v>
                </c:pt>
                <c:pt idx="37766">
                  <c:v>-6.7226890756302504E-2</c:v>
                </c:pt>
                <c:pt idx="37767">
                  <c:v>-6.7226890756302504E-2</c:v>
                </c:pt>
                <c:pt idx="37768">
                  <c:v>-6.7226890756302504E-2</c:v>
                </c:pt>
                <c:pt idx="37769">
                  <c:v>-6.7226890756302504E-2</c:v>
                </c:pt>
                <c:pt idx="37770">
                  <c:v>-6.7226890756302504E-2</c:v>
                </c:pt>
                <c:pt idx="37771">
                  <c:v>-6.7226890756302504E-2</c:v>
                </c:pt>
                <c:pt idx="37772">
                  <c:v>-6.7226890756302504E-2</c:v>
                </c:pt>
                <c:pt idx="37773">
                  <c:v>-6.7226890756302504E-2</c:v>
                </c:pt>
                <c:pt idx="37774">
                  <c:v>-6.7226890756302504E-2</c:v>
                </c:pt>
                <c:pt idx="37775">
                  <c:v>-6.7226890756302504E-2</c:v>
                </c:pt>
                <c:pt idx="37776">
                  <c:v>-6.7226890756302504E-2</c:v>
                </c:pt>
                <c:pt idx="37777">
                  <c:v>-6.7226890756302504E-2</c:v>
                </c:pt>
                <c:pt idx="37778">
                  <c:v>-6.7226890756302504E-2</c:v>
                </c:pt>
                <c:pt idx="37779">
                  <c:v>-6.7226890756302504E-2</c:v>
                </c:pt>
                <c:pt idx="37780">
                  <c:v>-6.7226890756302504E-2</c:v>
                </c:pt>
                <c:pt idx="37781">
                  <c:v>-6.7226890756302504E-2</c:v>
                </c:pt>
                <c:pt idx="37782">
                  <c:v>-6.7226890756302504E-2</c:v>
                </c:pt>
                <c:pt idx="37783">
                  <c:v>-6.7226890756302504E-2</c:v>
                </c:pt>
                <c:pt idx="37784">
                  <c:v>-6.7226890756302504E-2</c:v>
                </c:pt>
                <c:pt idx="37785">
                  <c:v>-6.7226890756302504E-2</c:v>
                </c:pt>
                <c:pt idx="37786">
                  <c:v>-6.7226890756302504E-2</c:v>
                </c:pt>
                <c:pt idx="37787">
                  <c:v>-6.7226890756302504E-2</c:v>
                </c:pt>
                <c:pt idx="37788">
                  <c:v>-6.6386554621848698E-2</c:v>
                </c:pt>
                <c:pt idx="37789">
                  <c:v>-6.6386554621848698E-2</c:v>
                </c:pt>
                <c:pt idx="37790">
                  <c:v>-6.6386554621848698E-2</c:v>
                </c:pt>
                <c:pt idx="37791">
                  <c:v>-6.6386554621848698E-2</c:v>
                </c:pt>
                <c:pt idx="37792">
                  <c:v>-6.6386554621848698E-2</c:v>
                </c:pt>
                <c:pt idx="37793">
                  <c:v>-6.6386554621848698E-2</c:v>
                </c:pt>
                <c:pt idx="37794">
                  <c:v>-6.6386554621848698E-2</c:v>
                </c:pt>
                <c:pt idx="37795">
                  <c:v>-6.6386554621848698E-2</c:v>
                </c:pt>
                <c:pt idx="37796">
                  <c:v>-6.6386554621848698E-2</c:v>
                </c:pt>
                <c:pt idx="37797">
                  <c:v>-6.6386554621848698E-2</c:v>
                </c:pt>
                <c:pt idx="37798">
                  <c:v>-6.6386554621848698E-2</c:v>
                </c:pt>
                <c:pt idx="37799">
                  <c:v>-6.6386554621848698E-2</c:v>
                </c:pt>
                <c:pt idx="37800">
                  <c:v>-6.6386554621848698E-2</c:v>
                </c:pt>
                <c:pt idx="37801">
                  <c:v>-6.6386554621848698E-2</c:v>
                </c:pt>
                <c:pt idx="37802">
                  <c:v>-6.6386554621848698E-2</c:v>
                </c:pt>
                <c:pt idx="37803">
                  <c:v>-6.6386554621848698E-2</c:v>
                </c:pt>
                <c:pt idx="37804">
                  <c:v>-6.6386554621848698E-2</c:v>
                </c:pt>
                <c:pt idx="37805">
                  <c:v>-6.6386554621848698E-2</c:v>
                </c:pt>
                <c:pt idx="37806">
                  <c:v>-6.6386554621848698E-2</c:v>
                </c:pt>
                <c:pt idx="37807">
                  <c:v>-6.6386554621848698E-2</c:v>
                </c:pt>
                <c:pt idx="37808">
                  <c:v>-6.6386554621848698E-2</c:v>
                </c:pt>
                <c:pt idx="37809">
                  <c:v>-6.6386554621848698E-2</c:v>
                </c:pt>
                <c:pt idx="37810">
                  <c:v>-6.6386554621848698E-2</c:v>
                </c:pt>
                <c:pt idx="37811">
                  <c:v>-6.6386554621848698E-2</c:v>
                </c:pt>
                <c:pt idx="37812">
                  <c:v>-6.6386554621848698E-2</c:v>
                </c:pt>
                <c:pt idx="37813">
                  <c:v>-6.6386554621848698E-2</c:v>
                </c:pt>
                <c:pt idx="37814">
                  <c:v>-6.6386554621848698E-2</c:v>
                </c:pt>
                <c:pt idx="37815">
                  <c:v>-6.6386554621848698E-2</c:v>
                </c:pt>
                <c:pt idx="37816">
                  <c:v>-6.6386554621848698E-2</c:v>
                </c:pt>
                <c:pt idx="37817">
                  <c:v>-6.6386554621848698E-2</c:v>
                </c:pt>
                <c:pt idx="37818">
                  <c:v>-6.6386554621848698E-2</c:v>
                </c:pt>
                <c:pt idx="37819">
                  <c:v>-6.5546218487394906E-2</c:v>
                </c:pt>
                <c:pt idx="37820">
                  <c:v>-6.5546218487394906E-2</c:v>
                </c:pt>
                <c:pt idx="37821">
                  <c:v>-6.5546218487394906E-2</c:v>
                </c:pt>
                <c:pt idx="37822">
                  <c:v>-6.5546218487394906E-2</c:v>
                </c:pt>
                <c:pt idx="37823">
                  <c:v>-6.5546218487394906E-2</c:v>
                </c:pt>
                <c:pt idx="37824">
                  <c:v>-6.5546218487394906E-2</c:v>
                </c:pt>
                <c:pt idx="37825">
                  <c:v>-6.5546218487394906E-2</c:v>
                </c:pt>
                <c:pt idx="37826">
                  <c:v>-6.5546218487394906E-2</c:v>
                </c:pt>
                <c:pt idx="37827">
                  <c:v>-6.5546218487394906E-2</c:v>
                </c:pt>
                <c:pt idx="37828">
                  <c:v>-6.5546218487394906E-2</c:v>
                </c:pt>
                <c:pt idx="37829">
                  <c:v>-6.5546218487394906E-2</c:v>
                </c:pt>
                <c:pt idx="37830">
                  <c:v>-6.5546218487394906E-2</c:v>
                </c:pt>
                <c:pt idx="37831">
                  <c:v>-6.5546218487394906E-2</c:v>
                </c:pt>
                <c:pt idx="37832">
                  <c:v>-6.5546218487394906E-2</c:v>
                </c:pt>
                <c:pt idx="37833">
                  <c:v>-6.5546218487394906E-2</c:v>
                </c:pt>
                <c:pt idx="37834">
                  <c:v>-6.5546218487394906E-2</c:v>
                </c:pt>
                <c:pt idx="37835">
                  <c:v>-6.5546218487394906E-2</c:v>
                </c:pt>
                <c:pt idx="37836">
                  <c:v>-6.5546218487394906E-2</c:v>
                </c:pt>
                <c:pt idx="37837">
                  <c:v>-6.5546218487394906E-2</c:v>
                </c:pt>
                <c:pt idx="37838">
                  <c:v>-6.5546218487394906E-2</c:v>
                </c:pt>
                <c:pt idx="37839">
                  <c:v>-6.5546218487394906E-2</c:v>
                </c:pt>
                <c:pt idx="37840">
                  <c:v>-6.5546218487394906E-2</c:v>
                </c:pt>
                <c:pt idx="37841">
                  <c:v>-6.5546218487394906E-2</c:v>
                </c:pt>
                <c:pt idx="37842">
                  <c:v>-6.5546218487394906E-2</c:v>
                </c:pt>
                <c:pt idx="37843">
                  <c:v>-6.5546218487394906E-2</c:v>
                </c:pt>
                <c:pt idx="37844">
                  <c:v>-6.5546218487394906E-2</c:v>
                </c:pt>
                <c:pt idx="37845">
                  <c:v>-6.5546218487394906E-2</c:v>
                </c:pt>
                <c:pt idx="37846">
                  <c:v>-6.5546218487394906E-2</c:v>
                </c:pt>
                <c:pt idx="37847">
                  <c:v>-6.5546218487394906E-2</c:v>
                </c:pt>
                <c:pt idx="37848">
                  <c:v>-6.5546218487394906E-2</c:v>
                </c:pt>
                <c:pt idx="37849">
                  <c:v>-6.5546218487394906E-2</c:v>
                </c:pt>
                <c:pt idx="37850">
                  <c:v>-6.5546218487394906E-2</c:v>
                </c:pt>
                <c:pt idx="37851">
                  <c:v>-6.5546218487394906E-2</c:v>
                </c:pt>
                <c:pt idx="37852">
                  <c:v>-6.5546218487394906E-2</c:v>
                </c:pt>
                <c:pt idx="37853">
                  <c:v>-6.5546218487394906E-2</c:v>
                </c:pt>
                <c:pt idx="37854">
                  <c:v>-6.5546218487394906E-2</c:v>
                </c:pt>
                <c:pt idx="37855">
                  <c:v>-6.5546218487394906E-2</c:v>
                </c:pt>
                <c:pt idx="37856">
                  <c:v>-6.5546218487394906E-2</c:v>
                </c:pt>
                <c:pt idx="37857">
                  <c:v>-6.5546218487394906E-2</c:v>
                </c:pt>
                <c:pt idx="37858">
                  <c:v>-6.5546218487394906E-2</c:v>
                </c:pt>
                <c:pt idx="37859">
                  <c:v>-6.5546218487394906E-2</c:v>
                </c:pt>
                <c:pt idx="37860">
                  <c:v>-6.5546218487394906E-2</c:v>
                </c:pt>
                <c:pt idx="37861">
                  <c:v>-6.5546218487394906E-2</c:v>
                </c:pt>
                <c:pt idx="37862">
                  <c:v>-6.5546218487394906E-2</c:v>
                </c:pt>
                <c:pt idx="37863">
                  <c:v>-6.5546218487394906E-2</c:v>
                </c:pt>
                <c:pt idx="37864">
                  <c:v>-6.5546218487394906E-2</c:v>
                </c:pt>
                <c:pt idx="37865">
                  <c:v>-6.5546218487394906E-2</c:v>
                </c:pt>
                <c:pt idx="37866">
                  <c:v>-6.5546218487394906E-2</c:v>
                </c:pt>
                <c:pt idx="37867">
                  <c:v>-6.5546218487394906E-2</c:v>
                </c:pt>
                <c:pt idx="37868">
                  <c:v>-6.5546218487394906E-2</c:v>
                </c:pt>
                <c:pt idx="37869">
                  <c:v>-6.5546218487394906E-2</c:v>
                </c:pt>
                <c:pt idx="37870">
                  <c:v>-6.5546218487394906E-2</c:v>
                </c:pt>
                <c:pt idx="37871">
                  <c:v>-6.5546218487394906E-2</c:v>
                </c:pt>
                <c:pt idx="37872">
                  <c:v>-6.5546218487394906E-2</c:v>
                </c:pt>
                <c:pt idx="37873">
                  <c:v>-6.5546218487394906E-2</c:v>
                </c:pt>
                <c:pt idx="37874">
                  <c:v>-6.5546218487394906E-2</c:v>
                </c:pt>
                <c:pt idx="37875">
                  <c:v>-6.5546218487394906E-2</c:v>
                </c:pt>
                <c:pt idx="37876">
                  <c:v>-6.5546218487394906E-2</c:v>
                </c:pt>
                <c:pt idx="37877">
                  <c:v>-6.5546218487394906E-2</c:v>
                </c:pt>
                <c:pt idx="37878">
                  <c:v>-6.5546218487394906E-2</c:v>
                </c:pt>
                <c:pt idx="37879">
                  <c:v>-6.5546218487394906E-2</c:v>
                </c:pt>
                <c:pt idx="37880">
                  <c:v>-6.5546218487394906E-2</c:v>
                </c:pt>
                <c:pt idx="37881">
                  <c:v>-6.5546218487394906E-2</c:v>
                </c:pt>
                <c:pt idx="37882">
                  <c:v>-6.5546218487394906E-2</c:v>
                </c:pt>
                <c:pt idx="37883">
                  <c:v>-6.5546218487394906E-2</c:v>
                </c:pt>
                <c:pt idx="37884">
                  <c:v>-6.5546218487394906E-2</c:v>
                </c:pt>
                <c:pt idx="37885">
                  <c:v>-6.5546218487394906E-2</c:v>
                </c:pt>
                <c:pt idx="37886">
                  <c:v>-6.5546218487394906E-2</c:v>
                </c:pt>
                <c:pt idx="37887">
                  <c:v>-6.5546218487394906E-2</c:v>
                </c:pt>
                <c:pt idx="37888">
                  <c:v>-6.5546218487394906E-2</c:v>
                </c:pt>
                <c:pt idx="37889">
                  <c:v>-6.5546218487394906E-2</c:v>
                </c:pt>
                <c:pt idx="37890">
                  <c:v>-6.5546218487394906E-2</c:v>
                </c:pt>
                <c:pt idx="37891">
                  <c:v>-6.5546218487394906E-2</c:v>
                </c:pt>
                <c:pt idx="37892">
                  <c:v>-6.5546218487394906E-2</c:v>
                </c:pt>
                <c:pt idx="37893">
                  <c:v>-6.5546218487394906E-2</c:v>
                </c:pt>
                <c:pt idx="37894">
                  <c:v>-6.5546218487394906E-2</c:v>
                </c:pt>
                <c:pt idx="37895">
                  <c:v>-6.5546218487394906E-2</c:v>
                </c:pt>
                <c:pt idx="37896">
                  <c:v>-6.5546218487394906E-2</c:v>
                </c:pt>
                <c:pt idx="37897">
                  <c:v>-6.5546218487394906E-2</c:v>
                </c:pt>
                <c:pt idx="37898">
                  <c:v>-6.5546218487394906E-2</c:v>
                </c:pt>
                <c:pt idx="37899">
                  <c:v>-6.5546218487394906E-2</c:v>
                </c:pt>
                <c:pt idx="37900">
                  <c:v>-6.5546218487394906E-2</c:v>
                </c:pt>
                <c:pt idx="37901">
                  <c:v>-6.5546218487394906E-2</c:v>
                </c:pt>
                <c:pt idx="37902">
                  <c:v>-6.5546218487394906E-2</c:v>
                </c:pt>
                <c:pt idx="37903">
                  <c:v>-6.5546218487394906E-2</c:v>
                </c:pt>
                <c:pt idx="37904">
                  <c:v>-6.5546218487394906E-2</c:v>
                </c:pt>
                <c:pt idx="37905">
                  <c:v>-6.5546218487394906E-2</c:v>
                </c:pt>
                <c:pt idx="37906">
                  <c:v>-6.5546218487394906E-2</c:v>
                </c:pt>
                <c:pt idx="37907">
                  <c:v>-6.5546218487394906E-2</c:v>
                </c:pt>
                <c:pt idx="37908">
                  <c:v>-6.5546218487394906E-2</c:v>
                </c:pt>
                <c:pt idx="37909">
                  <c:v>-6.5546218487394906E-2</c:v>
                </c:pt>
                <c:pt idx="37910">
                  <c:v>-6.5546218487394906E-2</c:v>
                </c:pt>
                <c:pt idx="37911">
                  <c:v>-6.5546218487394906E-2</c:v>
                </c:pt>
                <c:pt idx="37912">
                  <c:v>-6.5546218487394906E-2</c:v>
                </c:pt>
                <c:pt idx="37913">
                  <c:v>-6.5546218487394906E-2</c:v>
                </c:pt>
                <c:pt idx="37914">
                  <c:v>-6.5546218487394906E-2</c:v>
                </c:pt>
                <c:pt idx="37915">
                  <c:v>-6.5546218487394906E-2</c:v>
                </c:pt>
                <c:pt idx="37916">
                  <c:v>-6.6386554621848698E-2</c:v>
                </c:pt>
                <c:pt idx="37917">
                  <c:v>-6.6386554621848698E-2</c:v>
                </c:pt>
                <c:pt idx="37918">
                  <c:v>-6.6386554621848698E-2</c:v>
                </c:pt>
                <c:pt idx="37919">
                  <c:v>-6.6386554621848698E-2</c:v>
                </c:pt>
                <c:pt idx="37920">
                  <c:v>-6.6386554621848698E-2</c:v>
                </c:pt>
                <c:pt idx="37921">
                  <c:v>-6.6386554621848698E-2</c:v>
                </c:pt>
                <c:pt idx="37922">
                  <c:v>-6.6386554621848698E-2</c:v>
                </c:pt>
                <c:pt idx="37923">
                  <c:v>-6.6386554621848698E-2</c:v>
                </c:pt>
                <c:pt idx="37924">
                  <c:v>-6.6386554621848698E-2</c:v>
                </c:pt>
                <c:pt idx="37925">
                  <c:v>-6.5546218487394906E-2</c:v>
                </c:pt>
                <c:pt idx="37926">
                  <c:v>-6.5546218487394906E-2</c:v>
                </c:pt>
                <c:pt idx="37927">
                  <c:v>-6.6386554621848698E-2</c:v>
                </c:pt>
                <c:pt idx="37928">
                  <c:v>-6.6386554621848698E-2</c:v>
                </c:pt>
                <c:pt idx="37929">
                  <c:v>-6.6386554621848698E-2</c:v>
                </c:pt>
                <c:pt idx="37930">
                  <c:v>-6.6386554621848698E-2</c:v>
                </c:pt>
                <c:pt idx="37931">
                  <c:v>-6.6386554621848698E-2</c:v>
                </c:pt>
                <c:pt idx="37932">
                  <c:v>-6.6386554621848698E-2</c:v>
                </c:pt>
                <c:pt idx="37933">
                  <c:v>-6.6386554621848698E-2</c:v>
                </c:pt>
                <c:pt idx="37934">
                  <c:v>-6.6386554621848698E-2</c:v>
                </c:pt>
                <c:pt idx="37935">
                  <c:v>-6.7226890756302601E-2</c:v>
                </c:pt>
                <c:pt idx="37936">
                  <c:v>-6.6386554621848795E-2</c:v>
                </c:pt>
                <c:pt idx="37937">
                  <c:v>-6.6386554621848795E-2</c:v>
                </c:pt>
                <c:pt idx="37938">
                  <c:v>-6.6386554621848795E-2</c:v>
                </c:pt>
                <c:pt idx="37939">
                  <c:v>-6.6386554621848795E-2</c:v>
                </c:pt>
                <c:pt idx="37940">
                  <c:v>-6.6386554621848795E-2</c:v>
                </c:pt>
                <c:pt idx="37941">
                  <c:v>-6.6386554621848795E-2</c:v>
                </c:pt>
                <c:pt idx="37942">
                  <c:v>-6.6386554621848795E-2</c:v>
                </c:pt>
                <c:pt idx="37943">
                  <c:v>-6.6386554621848795E-2</c:v>
                </c:pt>
                <c:pt idx="37944">
                  <c:v>-6.6386554621848795E-2</c:v>
                </c:pt>
                <c:pt idx="37945">
                  <c:v>-6.6386554621848795E-2</c:v>
                </c:pt>
                <c:pt idx="37946">
                  <c:v>-6.6386554621848795E-2</c:v>
                </c:pt>
                <c:pt idx="37947">
                  <c:v>-6.5546218487395003E-2</c:v>
                </c:pt>
                <c:pt idx="37948">
                  <c:v>-6.5546218487395003E-2</c:v>
                </c:pt>
                <c:pt idx="37949">
                  <c:v>-6.5546218487395003E-2</c:v>
                </c:pt>
                <c:pt idx="37950">
                  <c:v>-6.5546218487395003E-2</c:v>
                </c:pt>
                <c:pt idx="37951">
                  <c:v>-6.5546218487395003E-2</c:v>
                </c:pt>
                <c:pt idx="37952">
                  <c:v>-6.5546218487395003E-2</c:v>
                </c:pt>
                <c:pt idx="37953">
                  <c:v>-6.5546218487395003E-2</c:v>
                </c:pt>
                <c:pt idx="37954">
                  <c:v>-6.5546218487395003E-2</c:v>
                </c:pt>
                <c:pt idx="37955">
                  <c:v>-6.5546218487395003E-2</c:v>
                </c:pt>
                <c:pt idx="37956">
                  <c:v>-6.5546218487395003E-2</c:v>
                </c:pt>
                <c:pt idx="37957">
                  <c:v>-6.5546218487395003E-2</c:v>
                </c:pt>
                <c:pt idx="37958">
                  <c:v>-6.5546218487395003E-2</c:v>
                </c:pt>
                <c:pt idx="37959">
                  <c:v>-6.5546218487395003E-2</c:v>
                </c:pt>
                <c:pt idx="37960">
                  <c:v>-6.5546218487395003E-2</c:v>
                </c:pt>
                <c:pt idx="37961">
                  <c:v>-6.4705882352941196E-2</c:v>
                </c:pt>
                <c:pt idx="37962">
                  <c:v>-6.3865546218487501E-2</c:v>
                </c:pt>
                <c:pt idx="37963">
                  <c:v>-6.3865546218487501E-2</c:v>
                </c:pt>
                <c:pt idx="37964">
                  <c:v>-6.3865546218487501E-2</c:v>
                </c:pt>
                <c:pt idx="37965">
                  <c:v>-6.3865546218487501E-2</c:v>
                </c:pt>
                <c:pt idx="37966">
                  <c:v>-6.3865546218487501E-2</c:v>
                </c:pt>
                <c:pt idx="37967">
                  <c:v>-6.3865546218487501E-2</c:v>
                </c:pt>
                <c:pt idx="37968">
                  <c:v>-6.3865546218487501E-2</c:v>
                </c:pt>
                <c:pt idx="37969">
                  <c:v>-6.3865546218487501E-2</c:v>
                </c:pt>
                <c:pt idx="37970">
                  <c:v>-6.3865546218487501E-2</c:v>
                </c:pt>
                <c:pt idx="37971">
                  <c:v>-6.3865546218487501E-2</c:v>
                </c:pt>
                <c:pt idx="37972">
                  <c:v>-6.3865546218487501E-2</c:v>
                </c:pt>
                <c:pt idx="37973">
                  <c:v>-6.3865546218487501E-2</c:v>
                </c:pt>
                <c:pt idx="37974">
                  <c:v>-6.3865546218487501E-2</c:v>
                </c:pt>
                <c:pt idx="37975">
                  <c:v>-6.3865546218487501E-2</c:v>
                </c:pt>
                <c:pt idx="37976">
                  <c:v>-6.3865546218487501E-2</c:v>
                </c:pt>
                <c:pt idx="37977">
                  <c:v>-6.3865546218487501E-2</c:v>
                </c:pt>
                <c:pt idx="37978">
                  <c:v>-6.4705882352941196E-2</c:v>
                </c:pt>
                <c:pt idx="37979">
                  <c:v>-6.4705882352941196E-2</c:v>
                </c:pt>
                <c:pt idx="37980">
                  <c:v>-6.4705882352941196E-2</c:v>
                </c:pt>
                <c:pt idx="37981">
                  <c:v>-6.4705882352941196E-2</c:v>
                </c:pt>
                <c:pt idx="37982">
                  <c:v>-6.4705882352941196E-2</c:v>
                </c:pt>
                <c:pt idx="37983">
                  <c:v>-6.4705882352941196E-2</c:v>
                </c:pt>
                <c:pt idx="37984">
                  <c:v>-6.4705882352941196E-2</c:v>
                </c:pt>
                <c:pt idx="37985">
                  <c:v>-6.4705882352941196E-2</c:v>
                </c:pt>
                <c:pt idx="37986">
                  <c:v>-6.4705882352941196E-2</c:v>
                </c:pt>
                <c:pt idx="37987">
                  <c:v>-6.4705882352941196E-2</c:v>
                </c:pt>
                <c:pt idx="37988">
                  <c:v>-6.4705882352941196E-2</c:v>
                </c:pt>
                <c:pt idx="37989">
                  <c:v>-6.4705882352941196E-2</c:v>
                </c:pt>
                <c:pt idx="37990">
                  <c:v>-6.4705882352941196E-2</c:v>
                </c:pt>
                <c:pt idx="37991">
                  <c:v>-6.4705882352941196E-2</c:v>
                </c:pt>
                <c:pt idx="37992">
                  <c:v>-6.4705882352941196E-2</c:v>
                </c:pt>
                <c:pt idx="37993">
                  <c:v>-6.4705882352941196E-2</c:v>
                </c:pt>
                <c:pt idx="37994">
                  <c:v>-6.4705882352941196E-2</c:v>
                </c:pt>
                <c:pt idx="37995">
                  <c:v>-6.4705882352941196E-2</c:v>
                </c:pt>
                <c:pt idx="37996">
                  <c:v>-6.4705882352941196E-2</c:v>
                </c:pt>
                <c:pt idx="37997">
                  <c:v>-6.4705882352941196E-2</c:v>
                </c:pt>
                <c:pt idx="37998">
                  <c:v>-6.4705882352941196E-2</c:v>
                </c:pt>
                <c:pt idx="37999">
                  <c:v>-6.4705882352941196E-2</c:v>
                </c:pt>
                <c:pt idx="38000">
                  <c:v>-6.4705882352941196E-2</c:v>
                </c:pt>
                <c:pt idx="38001">
                  <c:v>-6.4705882352941196E-2</c:v>
                </c:pt>
                <c:pt idx="38002">
                  <c:v>-6.4705882352941196E-2</c:v>
                </c:pt>
                <c:pt idx="38003">
                  <c:v>-6.4705882352941196E-2</c:v>
                </c:pt>
                <c:pt idx="38004">
                  <c:v>-6.4705882352941196E-2</c:v>
                </c:pt>
                <c:pt idx="38005">
                  <c:v>-6.4705882352941196E-2</c:v>
                </c:pt>
                <c:pt idx="38006">
                  <c:v>-6.4705882352941196E-2</c:v>
                </c:pt>
                <c:pt idx="38007">
                  <c:v>-6.4705882352941196E-2</c:v>
                </c:pt>
                <c:pt idx="38008">
                  <c:v>-6.4705882352941196E-2</c:v>
                </c:pt>
                <c:pt idx="38009">
                  <c:v>-6.4705882352941196E-2</c:v>
                </c:pt>
                <c:pt idx="38010">
                  <c:v>-6.4705882352941196E-2</c:v>
                </c:pt>
                <c:pt idx="38011">
                  <c:v>-6.4705882352941196E-2</c:v>
                </c:pt>
                <c:pt idx="38012">
                  <c:v>-6.4705882352941196E-2</c:v>
                </c:pt>
                <c:pt idx="38013">
                  <c:v>-6.4705882352941196E-2</c:v>
                </c:pt>
                <c:pt idx="38014">
                  <c:v>-6.4705882352941196E-2</c:v>
                </c:pt>
                <c:pt idx="38015">
                  <c:v>-6.4705882352941196E-2</c:v>
                </c:pt>
                <c:pt idx="38016">
                  <c:v>-6.4705882352941196E-2</c:v>
                </c:pt>
                <c:pt idx="38017">
                  <c:v>-6.4705882352941196E-2</c:v>
                </c:pt>
                <c:pt idx="38018">
                  <c:v>-6.4705882352941196E-2</c:v>
                </c:pt>
                <c:pt idx="38019">
                  <c:v>-6.4705882352941196E-2</c:v>
                </c:pt>
                <c:pt idx="38020">
                  <c:v>-6.4705882352941196E-2</c:v>
                </c:pt>
                <c:pt idx="38021">
                  <c:v>-6.4705882352941196E-2</c:v>
                </c:pt>
                <c:pt idx="38022">
                  <c:v>-6.4705882352941196E-2</c:v>
                </c:pt>
                <c:pt idx="38023">
                  <c:v>-6.4705882352941196E-2</c:v>
                </c:pt>
                <c:pt idx="38024">
                  <c:v>-6.4705882352941196E-2</c:v>
                </c:pt>
                <c:pt idx="38025">
                  <c:v>-6.4705882352941196E-2</c:v>
                </c:pt>
                <c:pt idx="38026">
                  <c:v>-6.4705882352941196E-2</c:v>
                </c:pt>
                <c:pt idx="38027">
                  <c:v>-6.4705882352941196E-2</c:v>
                </c:pt>
                <c:pt idx="38028">
                  <c:v>-6.4705882352941196E-2</c:v>
                </c:pt>
                <c:pt idx="38029">
                  <c:v>-6.4705882352941196E-2</c:v>
                </c:pt>
                <c:pt idx="38030">
                  <c:v>-6.4705882352941196E-2</c:v>
                </c:pt>
                <c:pt idx="38031">
                  <c:v>-6.4705882352941196E-2</c:v>
                </c:pt>
                <c:pt idx="38032">
                  <c:v>-6.4705882352941196E-2</c:v>
                </c:pt>
                <c:pt idx="38033">
                  <c:v>-6.4705882352941196E-2</c:v>
                </c:pt>
                <c:pt idx="38034">
                  <c:v>-6.4705882352941196E-2</c:v>
                </c:pt>
                <c:pt idx="38035">
                  <c:v>-6.4705882352941196E-2</c:v>
                </c:pt>
                <c:pt idx="38036">
                  <c:v>-6.3865546218487307E-2</c:v>
                </c:pt>
                <c:pt idx="38037">
                  <c:v>-6.3865546218487307E-2</c:v>
                </c:pt>
                <c:pt idx="38038">
                  <c:v>-6.3865546218487307E-2</c:v>
                </c:pt>
                <c:pt idx="38039">
                  <c:v>-6.3865546218487307E-2</c:v>
                </c:pt>
                <c:pt idx="38040">
                  <c:v>-6.3865546218487307E-2</c:v>
                </c:pt>
                <c:pt idx="38041">
                  <c:v>-6.3865546218487307E-2</c:v>
                </c:pt>
                <c:pt idx="38042">
                  <c:v>-6.3865546218487307E-2</c:v>
                </c:pt>
                <c:pt idx="38043">
                  <c:v>-6.3865546218487307E-2</c:v>
                </c:pt>
                <c:pt idx="38044">
                  <c:v>-6.3865546218487307E-2</c:v>
                </c:pt>
                <c:pt idx="38045">
                  <c:v>-6.3865546218487307E-2</c:v>
                </c:pt>
                <c:pt idx="38046">
                  <c:v>-6.3865546218487307E-2</c:v>
                </c:pt>
                <c:pt idx="38047">
                  <c:v>-6.3865546218487307E-2</c:v>
                </c:pt>
                <c:pt idx="38048">
                  <c:v>-6.3865546218487307E-2</c:v>
                </c:pt>
                <c:pt idx="38049">
                  <c:v>-6.3865546218487307E-2</c:v>
                </c:pt>
                <c:pt idx="38050">
                  <c:v>-6.3865546218487307E-2</c:v>
                </c:pt>
                <c:pt idx="38051">
                  <c:v>-6.3865546218487307E-2</c:v>
                </c:pt>
                <c:pt idx="38052">
                  <c:v>-6.3865546218487307E-2</c:v>
                </c:pt>
                <c:pt idx="38053">
                  <c:v>-6.3865546218487307E-2</c:v>
                </c:pt>
                <c:pt idx="38054">
                  <c:v>-6.3865546218487307E-2</c:v>
                </c:pt>
                <c:pt idx="38055">
                  <c:v>-6.3865546218487307E-2</c:v>
                </c:pt>
                <c:pt idx="38056">
                  <c:v>-6.3865546218487307E-2</c:v>
                </c:pt>
                <c:pt idx="38057">
                  <c:v>-6.3865546218487307E-2</c:v>
                </c:pt>
                <c:pt idx="38058">
                  <c:v>-6.3865546218487307E-2</c:v>
                </c:pt>
                <c:pt idx="38059">
                  <c:v>-6.3865546218487307E-2</c:v>
                </c:pt>
                <c:pt idx="38060">
                  <c:v>-6.3865546218487307E-2</c:v>
                </c:pt>
                <c:pt idx="38061">
                  <c:v>-6.3865546218487307E-2</c:v>
                </c:pt>
                <c:pt idx="38062">
                  <c:v>-6.3865546218487307E-2</c:v>
                </c:pt>
                <c:pt idx="38063">
                  <c:v>-6.3865546218487307E-2</c:v>
                </c:pt>
                <c:pt idx="38064">
                  <c:v>-6.3865546218487307E-2</c:v>
                </c:pt>
                <c:pt idx="38065">
                  <c:v>-6.3865546218487307E-2</c:v>
                </c:pt>
                <c:pt idx="38066">
                  <c:v>-6.3865546218487307E-2</c:v>
                </c:pt>
                <c:pt idx="38067">
                  <c:v>-6.3865546218487307E-2</c:v>
                </c:pt>
                <c:pt idx="38068">
                  <c:v>-6.3865546218487307E-2</c:v>
                </c:pt>
                <c:pt idx="38069">
                  <c:v>-6.3865546218487307E-2</c:v>
                </c:pt>
                <c:pt idx="38070">
                  <c:v>-6.3865546218487307E-2</c:v>
                </c:pt>
                <c:pt idx="38071">
                  <c:v>-6.3865546218487307E-2</c:v>
                </c:pt>
                <c:pt idx="38072">
                  <c:v>-6.3865546218487307E-2</c:v>
                </c:pt>
                <c:pt idx="38073">
                  <c:v>-6.3865546218487307E-2</c:v>
                </c:pt>
                <c:pt idx="38074">
                  <c:v>-6.3865546218487307E-2</c:v>
                </c:pt>
                <c:pt idx="38075">
                  <c:v>-6.3865546218487307E-2</c:v>
                </c:pt>
                <c:pt idx="38076">
                  <c:v>-6.3865546218487307E-2</c:v>
                </c:pt>
                <c:pt idx="38077">
                  <c:v>-6.3865546218487307E-2</c:v>
                </c:pt>
                <c:pt idx="38078">
                  <c:v>-6.3865546218487307E-2</c:v>
                </c:pt>
                <c:pt idx="38079">
                  <c:v>-6.3865546218487307E-2</c:v>
                </c:pt>
                <c:pt idx="38080">
                  <c:v>-6.3865546218487307E-2</c:v>
                </c:pt>
                <c:pt idx="38081">
                  <c:v>-6.3865546218487307E-2</c:v>
                </c:pt>
                <c:pt idx="38082">
                  <c:v>-6.3865546218487307E-2</c:v>
                </c:pt>
                <c:pt idx="38083">
                  <c:v>-6.3865546218487307E-2</c:v>
                </c:pt>
                <c:pt idx="38084">
                  <c:v>-6.3865546218487307E-2</c:v>
                </c:pt>
                <c:pt idx="38085">
                  <c:v>-6.3865546218487307E-2</c:v>
                </c:pt>
                <c:pt idx="38086">
                  <c:v>-6.3865546218487307E-2</c:v>
                </c:pt>
                <c:pt idx="38087">
                  <c:v>-6.3865546218487307E-2</c:v>
                </c:pt>
                <c:pt idx="38088">
                  <c:v>-6.3865546218487307E-2</c:v>
                </c:pt>
                <c:pt idx="38089">
                  <c:v>-6.3865546218487307E-2</c:v>
                </c:pt>
                <c:pt idx="38090">
                  <c:v>-6.3865546218487307E-2</c:v>
                </c:pt>
                <c:pt idx="38091">
                  <c:v>-6.3865546218487307E-2</c:v>
                </c:pt>
                <c:pt idx="38092">
                  <c:v>-6.3865546218487307E-2</c:v>
                </c:pt>
                <c:pt idx="38093">
                  <c:v>-6.3865546218487307E-2</c:v>
                </c:pt>
                <c:pt idx="38094">
                  <c:v>-6.3865546218487307E-2</c:v>
                </c:pt>
                <c:pt idx="38095">
                  <c:v>-6.3865546218487307E-2</c:v>
                </c:pt>
                <c:pt idx="38096">
                  <c:v>-6.3865546218487307E-2</c:v>
                </c:pt>
                <c:pt idx="38097">
                  <c:v>-6.3865546218487307E-2</c:v>
                </c:pt>
                <c:pt idx="38098">
                  <c:v>-6.3865546218487307E-2</c:v>
                </c:pt>
                <c:pt idx="38099">
                  <c:v>-6.3865546218487307E-2</c:v>
                </c:pt>
                <c:pt idx="38100">
                  <c:v>-6.4705882352941099E-2</c:v>
                </c:pt>
                <c:pt idx="38101">
                  <c:v>-6.4705882352941099E-2</c:v>
                </c:pt>
                <c:pt idx="38102">
                  <c:v>-6.4705882352941099E-2</c:v>
                </c:pt>
                <c:pt idx="38103">
                  <c:v>-6.4705882352941099E-2</c:v>
                </c:pt>
                <c:pt idx="38104">
                  <c:v>-6.4705882352941099E-2</c:v>
                </c:pt>
                <c:pt idx="38105">
                  <c:v>-6.4705882352941099E-2</c:v>
                </c:pt>
                <c:pt idx="38106">
                  <c:v>-6.4705882352941099E-2</c:v>
                </c:pt>
                <c:pt idx="38107">
                  <c:v>-6.4705882352941099E-2</c:v>
                </c:pt>
                <c:pt idx="38108">
                  <c:v>-6.4705882352941099E-2</c:v>
                </c:pt>
                <c:pt idx="38109">
                  <c:v>-6.4705882352941099E-2</c:v>
                </c:pt>
                <c:pt idx="38110">
                  <c:v>-6.4705882352941099E-2</c:v>
                </c:pt>
                <c:pt idx="38111">
                  <c:v>-6.4705882352941099E-2</c:v>
                </c:pt>
                <c:pt idx="38112">
                  <c:v>-6.4705882352941099E-2</c:v>
                </c:pt>
                <c:pt idx="38113">
                  <c:v>-6.4705882352941099E-2</c:v>
                </c:pt>
                <c:pt idx="38114">
                  <c:v>-6.4705882352941099E-2</c:v>
                </c:pt>
                <c:pt idx="38115">
                  <c:v>-6.4705882352941099E-2</c:v>
                </c:pt>
                <c:pt idx="38116">
                  <c:v>-6.4705882352941099E-2</c:v>
                </c:pt>
                <c:pt idx="38117">
                  <c:v>-6.4705882352941099E-2</c:v>
                </c:pt>
                <c:pt idx="38118">
                  <c:v>-6.4705882352941099E-2</c:v>
                </c:pt>
                <c:pt idx="38119">
                  <c:v>-6.4705882352941099E-2</c:v>
                </c:pt>
                <c:pt idx="38120">
                  <c:v>-6.4705882352941099E-2</c:v>
                </c:pt>
                <c:pt idx="38121">
                  <c:v>-6.4705882352941099E-2</c:v>
                </c:pt>
                <c:pt idx="38122">
                  <c:v>-6.4705882352941099E-2</c:v>
                </c:pt>
                <c:pt idx="38123">
                  <c:v>-6.4705882352941099E-2</c:v>
                </c:pt>
                <c:pt idx="38124">
                  <c:v>-6.4705882352941099E-2</c:v>
                </c:pt>
                <c:pt idx="38125">
                  <c:v>-6.4705882352941099E-2</c:v>
                </c:pt>
                <c:pt idx="38126">
                  <c:v>-6.4705882352941099E-2</c:v>
                </c:pt>
                <c:pt idx="38127">
                  <c:v>-6.4705882352941099E-2</c:v>
                </c:pt>
                <c:pt idx="38128">
                  <c:v>-6.4705882352941099E-2</c:v>
                </c:pt>
                <c:pt idx="38129">
                  <c:v>-6.4705882352941099E-2</c:v>
                </c:pt>
                <c:pt idx="38130">
                  <c:v>-6.4705882352941099E-2</c:v>
                </c:pt>
                <c:pt idx="38131">
                  <c:v>-6.4705882352941099E-2</c:v>
                </c:pt>
                <c:pt idx="38132">
                  <c:v>-6.4705882352941099E-2</c:v>
                </c:pt>
                <c:pt idx="38133">
                  <c:v>-6.4705882352941099E-2</c:v>
                </c:pt>
                <c:pt idx="38134">
                  <c:v>-6.4705882352941099E-2</c:v>
                </c:pt>
                <c:pt idx="38135">
                  <c:v>-6.4705882352941099E-2</c:v>
                </c:pt>
                <c:pt idx="38136">
                  <c:v>-6.4705882352941099E-2</c:v>
                </c:pt>
                <c:pt idx="38137">
                  <c:v>-6.4705882352941099E-2</c:v>
                </c:pt>
                <c:pt idx="38138">
                  <c:v>-6.4705882352941099E-2</c:v>
                </c:pt>
                <c:pt idx="38139">
                  <c:v>-6.4705882352941099E-2</c:v>
                </c:pt>
                <c:pt idx="38140">
                  <c:v>-6.4705882352941099E-2</c:v>
                </c:pt>
                <c:pt idx="38141">
                  <c:v>-6.4705882352941099E-2</c:v>
                </c:pt>
                <c:pt idx="38142">
                  <c:v>-6.4705882352941099E-2</c:v>
                </c:pt>
                <c:pt idx="38143">
                  <c:v>-6.4705882352941099E-2</c:v>
                </c:pt>
                <c:pt idx="38144">
                  <c:v>-6.4705882352941099E-2</c:v>
                </c:pt>
                <c:pt idx="38145">
                  <c:v>-6.4705882352941099E-2</c:v>
                </c:pt>
                <c:pt idx="38146">
                  <c:v>-6.4705882352941099E-2</c:v>
                </c:pt>
                <c:pt idx="38147">
                  <c:v>-6.4705882352941099E-2</c:v>
                </c:pt>
                <c:pt idx="38148">
                  <c:v>-6.4705882352941099E-2</c:v>
                </c:pt>
                <c:pt idx="38149">
                  <c:v>-6.4705882352941099E-2</c:v>
                </c:pt>
                <c:pt idx="38150">
                  <c:v>-6.4705882352941099E-2</c:v>
                </c:pt>
                <c:pt idx="38151">
                  <c:v>-6.4705882352941099E-2</c:v>
                </c:pt>
                <c:pt idx="38152">
                  <c:v>-6.4705882352941099E-2</c:v>
                </c:pt>
                <c:pt idx="38153">
                  <c:v>-6.4705882352941099E-2</c:v>
                </c:pt>
                <c:pt idx="38154">
                  <c:v>-6.4705882352941099E-2</c:v>
                </c:pt>
                <c:pt idx="38155">
                  <c:v>-6.4705882352941099E-2</c:v>
                </c:pt>
                <c:pt idx="38156">
                  <c:v>-6.4705882352941099E-2</c:v>
                </c:pt>
                <c:pt idx="38157">
                  <c:v>-6.4705882352941099E-2</c:v>
                </c:pt>
                <c:pt idx="38158">
                  <c:v>-6.4705882352941099E-2</c:v>
                </c:pt>
                <c:pt idx="38159">
                  <c:v>-6.4705882352941099E-2</c:v>
                </c:pt>
                <c:pt idx="38160">
                  <c:v>-6.4705882352941099E-2</c:v>
                </c:pt>
                <c:pt idx="38161">
                  <c:v>-6.4705882352941099E-2</c:v>
                </c:pt>
                <c:pt idx="38162">
                  <c:v>-6.4705882352941099E-2</c:v>
                </c:pt>
                <c:pt idx="38163">
                  <c:v>-6.4705882352941099E-2</c:v>
                </c:pt>
                <c:pt idx="38164">
                  <c:v>-6.4705882352941099E-2</c:v>
                </c:pt>
                <c:pt idx="38165">
                  <c:v>-6.4705882352941099E-2</c:v>
                </c:pt>
                <c:pt idx="38166">
                  <c:v>-6.4705882352941099E-2</c:v>
                </c:pt>
                <c:pt idx="38167">
                  <c:v>-6.4705882352941099E-2</c:v>
                </c:pt>
                <c:pt idx="38168">
                  <c:v>-6.4705882352941099E-2</c:v>
                </c:pt>
                <c:pt idx="38169">
                  <c:v>-6.4705882352941099E-2</c:v>
                </c:pt>
                <c:pt idx="38170">
                  <c:v>-6.3865546218487307E-2</c:v>
                </c:pt>
                <c:pt idx="38171">
                  <c:v>-6.3865546218487307E-2</c:v>
                </c:pt>
                <c:pt idx="38172">
                  <c:v>-6.3865546218487307E-2</c:v>
                </c:pt>
                <c:pt idx="38173">
                  <c:v>-6.3865546218487307E-2</c:v>
                </c:pt>
                <c:pt idx="38174">
                  <c:v>-6.3865546218487307E-2</c:v>
                </c:pt>
                <c:pt idx="38175">
                  <c:v>-6.3865546218487307E-2</c:v>
                </c:pt>
                <c:pt idx="38176">
                  <c:v>-6.3865546218487307E-2</c:v>
                </c:pt>
                <c:pt idx="38177">
                  <c:v>-6.3865546218487307E-2</c:v>
                </c:pt>
                <c:pt idx="38178">
                  <c:v>-6.3865546218487307E-2</c:v>
                </c:pt>
                <c:pt idx="38179">
                  <c:v>-6.3865546218487307E-2</c:v>
                </c:pt>
                <c:pt idx="38180">
                  <c:v>-6.3865546218487307E-2</c:v>
                </c:pt>
                <c:pt idx="38181">
                  <c:v>-6.3865546218487307E-2</c:v>
                </c:pt>
                <c:pt idx="38182">
                  <c:v>-6.3865546218487307E-2</c:v>
                </c:pt>
                <c:pt idx="38183">
                  <c:v>-6.3865546218487307E-2</c:v>
                </c:pt>
                <c:pt idx="38184">
                  <c:v>-6.3865546218487307E-2</c:v>
                </c:pt>
                <c:pt idx="38185">
                  <c:v>-6.3865546218487307E-2</c:v>
                </c:pt>
                <c:pt idx="38186">
                  <c:v>-6.3865546218487307E-2</c:v>
                </c:pt>
                <c:pt idx="38187">
                  <c:v>-6.3865546218487307E-2</c:v>
                </c:pt>
                <c:pt idx="38188">
                  <c:v>-6.3865546218487307E-2</c:v>
                </c:pt>
                <c:pt idx="38189">
                  <c:v>-6.3865546218487307E-2</c:v>
                </c:pt>
                <c:pt idx="38190">
                  <c:v>-6.3865546218487307E-2</c:v>
                </c:pt>
                <c:pt idx="38191">
                  <c:v>-6.3865546218487307E-2</c:v>
                </c:pt>
                <c:pt idx="38192">
                  <c:v>-6.3865546218487307E-2</c:v>
                </c:pt>
                <c:pt idx="38193">
                  <c:v>-6.3865546218487307E-2</c:v>
                </c:pt>
                <c:pt idx="38194">
                  <c:v>-6.3865546218487307E-2</c:v>
                </c:pt>
                <c:pt idx="38195">
                  <c:v>-6.3865546218487307E-2</c:v>
                </c:pt>
                <c:pt idx="38196">
                  <c:v>-6.3865546218487307E-2</c:v>
                </c:pt>
                <c:pt idx="38197">
                  <c:v>-6.3865546218487307E-2</c:v>
                </c:pt>
                <c:pt idx="38198">
                  <c:v>-6.3865546218487307E-2</c:v>
                </c:pt>
                <c:pt idx="38199">
                  <c:v>-6.3865546218487307E-2</c:v>
                </c:pt>
                <c:pt idx="38200">
                  <c:v>-6.3865546218487307E-2</c:v>
                </c:pt>
                <c:pt idx="38201">
                  <c:v>-6.3865546218487307E-2</c:v>
                </c:pt>
                <c:pt idx="38202">
                  <c:v>-6.4705882352941099E-2</c:v>
                </c:pt>
                <c:pt idx="38203">
                  <c:v>-6.4705882352941099E-2</c:v>
                </c:pt>
                <c:pt idx="38204">
                  <c:v>-6.4705882352941099E-2</c:v>
                </c:pt>
                <c:pt idx="38205">
                  <c:v>-6.4705882352941099E-2</c:v>
                </c:pt>
                <c:pt idx="38206">
                  <c:v>-6.4705882352941099E-2</c:v>
                </c:pt>
                <c:pt idx="38207">
                  <c:v>-6.4705882352941099E-2</c:v>
                </c:pt>
                <c:pt idx="38208">
                  <c:v>-6.4705882352941099E-2</c:v>
                </c:pt>
                <c:pt idx="38209">
                  <c:v>-6.4705882352941099E-2</c:v>
                </c:pt>
                <c:pt idx="38210">
                  <c:v>-6.4705882352941099E-2</c:v>
                </c:pt>
                <c:pt idx="38211">
                  <c:v>-6.4705882352941099E-2</c:v>
                </c:pt>
                <c:pt idx="38212">
                  <c:v>-6.4705882352941099E-2</c:v>
                </c:pt>
                <c:pt idx="38213">
                  <c:v>-6.4705882352941099E-2</c:v>
                </c:pt>
                <c:pt idx="38214">
                  <c:v>-6.4705882352941099E-2</c:v>
                </c:pt>
                <c:pt idx="38215">
                  <c:v>-6.4705882352941099E-2</c:v>
                </c:pt>
                <c:pt idx="38216">
                  <c:v>-6.4705882352941099E-2</c:v>
                </c:pt>
                <c:pt idx="38217">
                  <c:v>-6.4705882352941099E-2</c:v>
                </c:pt>
                <c:pt idx="38218">
                  <c:v>-6.4705882352941099E-2</c:v>
                </c:pt>
                <c:pt idx="38219">
                  <c:v>-6.4705882352941099E-2</c:v>
                </c:pt>
                <c:pt idx="38220">
                  <c:v>-6.4705882352941099E-2</c:v>
                </c:pt>
                <c:pt idx="38221">
                  <c:v>-6.4705882352941099E-2</c:v>
                </c:pt>
                <c:pt idx="38222">
                  <c:v>-6.4705882352941099E-2</c:v>
                </c:pt>
                <c:pt idx="38223">
                  <c:v>-6.4705882352941099E-2</c:v>
                </c:pt>
                <c:pt idx="38224">
                  <c:v>-6.4705882352941099E-2</c:v>
                </c:pt>
                <c:pt idx="38225">
                  <c:v>-6.4705882352941099E-2</c:v>
                </c:pt>
                <c:pt idx="38226">
                  <c:v>-6.4705882352941099E-2</c:v>
                </c:pt>
                <c:pt idx="38227">
                  <c:v>-6.4705882352941099E-2</c:v>
                </c:pt>
                <c:pt idx="38228">
                  <c:v>-6.4705882352941099E-2</c:v>
                </c:pt>
                <c:pt idx="38229">
                  <c:v>-6.4705882352941099E-2</c:v>
                </c:pt>
                <c:pt idx="38230">
                  <c:v>-6.4705882352941099E-2</c:v>
                </c:pt>
                <c:pt idx="38231">
                  <c:v>-6.4705882352941099E-2</c:v>
                </c:pt>
                <c:pt idx="38232">
                  <c:v>-6.4705882352941099E-2</c:v>
                </c:pt>
                <c:pt idx="38233">
                  <c:v>-6.4705882352941099E-2</c:v>
                </c:pt>
                <c:pt idx="38234">
                  <c:v>-6.4705882352941099E-2</c:v>
                </c:pt>
                <c:pt idx="38235">
                  <c:v>-6.4705882352941099E-2</c:v>
                </c:pt>
                <c:pt idx="38236">
                  <c:v>-6.4705882352941099E-2</c:v>
                </c:pt>
                <c:pt idx="38237">
                  <c:v>-6.4705882352941099E-2</c:v>
                </c:pt>
                <c:pt idx="38238">
                  <c:v>-6.4705882352941099E-2</c:v>
                </c:pt>
                <c:pt idx="38239">
                  <c:v>-6.4705882352941099E-2</c:v>
                </c:pt>
                <c:pt idx="38240">
                  <c:v>-6.4705882352941099E-2</c:v>
                </c:pt>
                <c:pt idx="38241">
                  <c:v>-6.4705882352941099E-2</c:v>
                </c:pt>
                <c:pt idx="38242">
                  <c:v>-6.4705882352941099E-2</c:v>
                </c:pt>
                <c:pt idx="38243">
                  <c:v>-6.4705882352941099E-2</c:v>
                </c:pt>
                <c:pt idx="38244">
                  <c:v>-6.4705882352941099E-2</c:v>
                </c:pt>
                <c:pt idx="38245">
                  <c:v>-6.4705882352941099E-2</c:v>
                </c:pt>
                <c:pt idx="38246">
                  <c:v>-6.4705882352941099E-2</c:v>
                </c:pt>
                <c:pt idx="38247">
                  <c:v>-6.4705882352941099E-2</c:v>
                </c:pt>
                <c:pt idx="38248">
                  <c:v>-6.4705882352941099E-2</c:v>
                </c:pt>
                <c:pt idx="38249">
                  <c:v>-6.4705882352941099E-2</c:v>
                </c:pt>
                <c:pt idx="38250">
                  <c:v>-6.4705882352941099E-2</c:v>
                </c:pt>
                <c:pt idx="38251">
                  <c:v>-6.4705882352941099E-2</c:v>
                </c:pt>
                <c:pt idx="38252">
                  <c:v>-6.3865546218487307E-2</c:v>
                </c:pt>
                <c:pt idx="38253">
                  <c:v>-6.3865546218487307E-2</c:v>
                </c:pt>
                <c:pt idx="38254">
                  <c:v>-6.3865546218487307E-2</c:v>
                </c:pt>
                <c:pt idx="38255">
                  <c:v>-6.3865546218487307E-2</c:v>
                </c:pt>
                <c:pt idx="38256">
                  <c:v>-6.3865546218487307E-2</c:v>
                </c:pt>
                <c:pt idx="38257">
                  <c:v>-6.3865546218487307E-2</c:v>
                </c:pt>
                <c:pt idx="38258">
                  <c:v>-6.3865546218487307E-2</c:v>
                </c:pt>
                <c:pt idx="38259">
                  <c:v>-6.3865546218487307E-2</c:v>
                </c:pt>
                <c:pt idx="38260">
                  <c:v>-6.3865546218487307E-2</c:v>
                </c:pt>
                <c:pt idx="38261">
                  <c:v>-6.3865546218487307E-2</c:v>
                </c:pt>
                <c:pt idx="38262">
                  <c:v>-6.3865546218487307E-2</c:v>
                </c:pt>
                <c:pt idx="38263">
                  <c:v>-6.3865546218487307E-2</c:v>
                </c:pt>
                <c:pt idx="38264">
                  <c:v>-6.3865546218487307E-2</c:v>
                </c:pt>
                <c:pt idx="38265">
                  <c:v>-6.3865546218487307E-2</c:v>
                </c:pt>
                <c:pt idx="38266">
                  <c:v>-6.3865546218487307E-2</c:v>
                </c:pt>
                <c:pt idx="38267">
                  <c:v>-6.3865546218487307E-2</c:v>
                </c:pt>
                <c:pt idx="38268">
                  <c:v>-6.3865546218487307E-2</c:v>
                </c:pt>
                <c:pt idx="38269">
                  <c:v>-6.3865546218487307E-2</c:v>
                </c:pt>
                <c:pt idx="38270">
                  <c:v>-6.3865546218487307E-2</c:v>
                </c:pt>
                <c:pt idx="38271">
                  <c:v>-6.3865546218487307E-2</c:v>
                </c:pt>
                <c:pt idx="38272">
                  <c:v>-6.3865546218487307E-2</c:v>
                </c:pt>
                <c:pt idx="38273">
                  <c:v>-6.3865546218487307E-2</c:v>
                </c:pt>
                <c:pt idx="38274">
                  <c:v>-6.3865546218487307E-2</c:v>
                </c:pt>
                <c:pt idx="38275">
                  <c:v>-6.3865546218487307E-2</c:v>
                </c:pt>
                <c:pt idx="38276">
                  <c:v>-6.3865546218487307E-2</c:v>
                </c:pt>
                <c:pt idx="38277">
                  <c:v>-6.3865546218487307E-2</c:v>
                </c:pt>
                <c:pt idx="38278">
                  <c:v>-6.3865546218487307E-2</c:v>
                </c:pt>
                <c:pt idx="38279">
                  <c:v>-6.3865546218487307E-2</c:v>
                </c:pt>
                <c:pt idx="38280">
                  <c:v>-6.3865546218487307E-2</c:v>
                </c:pt>
                <c:pt idx="38281">
                  <c:v>-6.3865546218487307E-2</c:v>
                </c:pt>
                <c:pt idx="38282">
                  <c:v>-6.3865546218487307E-2</c:v>
                </c:pt>
                <c:pt idx="38283">
                  <c:v>-6.3865546218487307E-2</c:v>
                </c:pt>
                <c:pt idx="38284">
                  <c:v>-6.3865546218487307E-2</c:v>
                </c:pt>
                <c:pt idx="38285">
                  <c:v>-6.3865546218487307E-2</c:v>
                </c:pt>
                <c:pt idx="38286">
                  <c:v>-6.3865546218487307E-2</c:v>
                </c:pt>
                <c:pt idx="38287">
                  <c:v>-6.3865546218487307E-2</c:v>
                </c:pt>
                <c:pt idx="38288">
                  <c:v>-6.3865546218487307E-2</c:v>
                </c:pt>
                <c:pt idx="38289">
                  <c:v>-6.3865546218487307E-2</c:v>
                </c:pt>
                <c:pt idx="38290">
                  <c:v>-6.3865546218487307E-2</c:v>
                </c:pt>
                <c:pt idx="38291">
                  <c:v>-6.3865546218487307E-2</c:v>
                </c:pt>
                <c:pt idx="38292">
                  <c:v>-6.3865546218487307E-2</c:v>
                </c:pt>
                <c:pt idx="38293">
                  <c:v>-6.3865546218487307E-2</c:v>
                </c:pt>
                <c:pt idx="38294">
                  <c:v>-6.3865546218487307E-2</c:v>
                </c:pt>
                <c:pt idx="38295">
                  <c:v>-6.3865546218487307E-2</c:v>
                </c:pt>
                <c:pt idx="38296">
                  <c:v>-6.3865546218487307E-2</c:v>
                </c:pt>
                <c:pt idx="38297">
                  <c:v>-6.3865546218487307E-2</c:v>
                </c:pt>
                <c:pt idx="38298">
                  <c:v>-6.3865546218487307E-2</c:v>
                </c:pt>
                <c:pt idx="38299">
                  <c:v>-6.3865546218487307E-2</c:v>
                </c:pt>
                <c:pt idx="38300">
                  <c:v>-6.3865546218487307E-2</c:v>
                </c:pt>
                <c:pt idx="38301">
                  <c:v>-6.3865546218487307E-2</c:v>
                </c:pt>
                <c:pt idx="38302">
                  <c:v>-6.3865546218487307E-2</c:v>
                </c:pt>
                <c:pt idx="38303">
                  <c:v>-6.3865546218487307E-2</c:v>
                </c:pt>
                <c:pt idx="38304">
                  <c:v>-6.3865546218487307E-2</c:v>
                </c:pt>
                <c:pt idx="38305">
                  <c:v>-6.3865546218487307E-2</c:v>
                </c:pt>
                <c:pt idx="38306">
                  <c:v>-6.3865546218487307E-2</c:v>
                </c:pt>
                <c:pt idx="38307">
                  <c:v>-6.3865546218487307E-2</c:v>
                </c:pt>
                <c:pt idx="38308">
                  <c:v>-6.3865546218487307E-2</c:v>
                </c:pt>
                <c:pt idx="38309">
                  <c:v>-6.3865546218487307E-2</c:v>
                </c:pt>
                <c:pt idx="38310">
                  <c:v>-6.3865546218487307E-2</c:v>
                </c:pt>
                <c:pt idx="38311">
                  <c:v>-6.3865546218487307E-2</c:v>
                </c:pt>
                <c:pt idx="38312">
                  <c:v>-6.3865546218487307E-2</c:v>
                </c:pt>
                <c:pt idx="38313">
                  <c:v>-6.3865546218487307E-2</c:v>
                </c:pt>
                <c:pt idx="38314">
                  <c:v>-6.3865546218487307E-2</c:v>
                </c:pt>
                <c:pt idx="38315">
                  <c:v>-6.3865546218487307E-2</c:v>
                </c:pt>
                <c:pt idx="38316">
                  <c:v>-6.3865546218487307E-2</c:v>
                </c:pt>
                <c:pt idx="38317">
                  <c:v>-6.3865546218487307E-2</c:v>
                </c:pt>
                <c:pt idx="38318">
                  <c:v>-6.3865546218487307E-2</c:v>
                </c:pt>
                <c:pt idx="38319">
                  <c:v>-6.3865546218487307E-2</c:v>
                </c:pt>
                <c:pt idx="38320">
                  <c:v>-6.3865546218487307E-2</c:v>
                </c:pt>
                <c:pt idx="38321">
                  <c:v>-6.3865546218487307E-2</c:v>
                </c:pt>
                <c:pt idx="38322">
                  <c:v>-6.3865546218487307E-2</c:v>
                </c:pt>
                <c:pt idx="38323">
                  <c:v>-6.3865546218487307E-2</c:v>
                </c:pt>
                <c:pt idx="38324">
                  <c:v>-6.3865546218487307E-2</c:v>
                </c:pt>
                <c:pt idx="38325">
                  <c:v>-6.3865546218487307E-2</c:v>
                </c:pt>
                <c:pt idx="38326">
                  <c:v>-6.3865546218487307E-2</c:v>
                </c:pt>
                <c:pt idx="38327">
                  <c:v>-6.3865546218487307E-2</c:v>
                </c:pt>
                <c:pt idx="38328">
                  <c:v>-6.3865546218487307E-2</c:v>
                </c:pt>
                <c:pt idx="38329">
                  <c:v>-6.3865546218487307E-2</c:v>
                </c:pt>
                <c:pt idx="38330">
                  <c:v>-6.3865546218487307E-2</c:v>
                </c:pt>
                <c:pt idx="38331">
                  <c:v>-6.3865546218487307E-2</c:v>
                </c:pt>
                <c:pt idx="38332">
                  <c:v>-6.3865546218487307E-2</c:v>
                </c:pt>
                <c:pt idx="38333">
                  <c:v>-6.3865546218487307E-2</c:v>
                </c:pt>
                <c:pt idx="38334">
                  <c:v>-6.3865546218487307E-2</c:v>
                </c:pt>
                <c:pt idx="38335">
                  <c:v>-6.3865546218487307E-2</c:v>
                </c:pt>
                <c:pt idx="38336">
                  <c:v>-6.3865546218487307E-2</c:v>
                </c:pt>
                <c:pt idx="38337">
                  <c:v>-6.3865546218487307E-2</c:v>
                </c:pt>
                <c:pt idx="38338">
                  <c:v>-6.3865546218487307E-2</c:v>
                </c:pt>
                <c:pt idx="38339">
                  <c:v>-6.3865546218487307E-2</c:v>
                </c:pt>
                <c:pt idx="38340">
                  <c:v>-6.3865546218487307E-2</c:v>
                </c:pt>
                <c:pt idx="38341">
                  <c:v>-6.3865546218487307E-2</c:v>
                </c:pt>
                <c:pt idx="38342">
                  <c:v>-6.3865546218487307E-2</c:v>
                </c:pt>
                <c:pt idx="38343">
                  <c:v>-6.3865546218487307E-2</c:v>
                </c:pt>
                <c:pt idx="38344">
                  <c:v>-6.3865546218487307E-2</c:v>
                </c:pt>
                <c:pt idx="38345">
                  <c:v>-6.3865546218487307E-2</c:v>
                </c:pt>
                <c:pt idx="38346">
                  <c:v>-6.3865546218487307E-2</c:v>
                </c:pt>
                <c:pt idx="38347">
                  <c:v>-6.3865546218487307E-2</c:v>
                </c:pt>
                <c:pt idx="38348">
                  <c:v>-6.3865546218487307E-2</c:v>
                </c:pt>
                <c:pt idx="38349">
                  <c:v>-6.3865546218487307E-2</c:v>
                </c:pt>
                <c:pt idx="38350">
                  <c:v>-6.3865546218487307E-2</c:v>
                </c:pt>
                <c:pt idx="38351">
                  <c:v>-6.3865546218487307E-2</c:v>
                </c:pt>
                <c:pt idx="38352">
                  <c:v>-6.3865546218487307E-2</c:v>
                </c:pt>
                <c:pt idx="38353">
                  <c:v>-6.3865546218487307E-2</c:v>
                </c:pt>
                <c:pt idx="38354">
                  <c:v>-6.3865546218487307E-2</c:v>
                </c:pt>
                <c:pt idx="38355">
                  <c:v>-6.3865546218487307E-2</c:v>
                </c:pt>
                <c:pt idx="38356">
                  <c:v>-6.3865546218487307E-2</c:v>
                </c:pt>
                <c:pt idx="38357">
                  <c:v>-6.3865546218487307E-2</c:v>
                </c:pt>
                <c:pt idx="38358">
                  <c:v>-6.3865546218487307E-2</c:v>
                </c:pt>
                <c:pt idx="38359">
                  <c:v>-6.3865546218487307E-2</c:v>
                </c:pt>
                <c:pt idx="38360">
                  <c:v>-6.3865546218487307E-2</c:v>
                </c:pt>
                <c:pt idx="38361">
                  <c:v>-6.3865546218487307E-2</c:v>
                </c:pt>
                <c:pt idx="38362">
                  <c:v>-6.3025210084033598E-2</c:v>
                </c:pt>
                <c:pt idx="38363">
                  <c:v>-6.3025210084033598E-2</c:v>
                </c:pt>
                <c:pt idx="38364">
                  <c:v>-6.3025210084033598E-2</c:v>
                </c:pt>
                <c:pt idx="38365">
                  <c:v>-6.3025210084033598E-2</c:v>
                </c:pt>
                <c:pt idx="38366">
                  <c:v>-6.3025210084033598E-2</c:v>
                </c:pt>
                <c:pt idx="38367">
                  <c:v>-6.3025210084033598E-2</c:v>
                </c:pt>
                <c:pt idx="38368">
                  <c:v>-6.3025210084033598E-2</c:v>
                </c:pt>
                <c:pt idx="38369">
                  <c:v>-6.3025210084033598E-2</c:v>
                </c:pt>
                <c:pt idx="38370">
                  <c:v>-6.3025210084033598E-2</c:v>
                </c:pt>
                <c:pt idx="38371">
                  <c:v>-6.3025210084033598E-2</c:v>
                </c:pt>
                <c:pt idx="38372">
                  <c:v>-6.3025210084033598E-2</c:v>
                </c:pt>
                <c:pt idx="38373">
                  <c:v>-6.3025210084033598E-2</c:v>
                </c:pt>
                <c:pt idx="38374">
                  <c:v>-6.3025210084033598E-2</c:v>
                </c:pt>
                <c:pt idx="38375">
                  <c:v>-6.3025210084033598E-2</c:v>
                </c:pt>
                <c:pt idx="38376">
                  <c:v>-6.3025210084033598E-2</c:v>
                </c:pt>
                <c:pt idx="38377">
                  <c:v>-6.3025210084033598E-2</c:v>
                </c:pt>
                <c:pt idx="38378">
                  <c:v>-6.3025210084033598E-2</c:v>
                </c:pt>
                <c:pt idx="38379">
                  <c:v>-6.3025210084033598E-2</c:v>
                </c:pt>
                <c:pt idx="38380">
                  <c:v>-6.3025210084033598E-2</c:v>
                </c:pt>
                <c:pt idx="38381">
                  <c:v>-6.3025210084033598E-2</c:v>
                </c:pt>
                <c:pt idx="38382">
                  <c:v>-6.3025210084033598E-2</c:v>
                </c:pt>
                <c:pt idx="38383">
                  <c:v>-6.3025210084033598E-2</c:v>
                </c:pt>
                <c:pt idx="38384">
                  <c:v>-6.3025210084033598E-2</c:v>
                </c:pt>
                <c:pt idx="38385">
                  <c:v>-6.3025210084033598E-2</c:v>
                </c:pt>
                <c:pt idx="38386">
                  <c:v>-6.3025210084033598E-2</c:v>
                </c:pt>
                <c:pt idx="38387">
                  <c:v>-6.3025210084033598E-2</c:v>
                </c:pt>
                <c:pt idx="38388">
                  <c:v>-6.3025210084033598E-2</c:v>
                </c:pt>
                <c:pt idx="38389">
                  <c:v>-6.3025210084033598E-2</c:v>
                </c:pt>
                <c:pt idx="38390">
                  <c:v>-6.3025210084033598E-2</c:v>
                </c:pt>
                <c:pt idx="38391">
                  <c:v>-6.3025210084033598E-2</c:v>
                </c:pt>
                <c:pt idx="38392">
                  <c:v>-6.3025210084033598E-2</c:v>
                </c:pt>
                <c:pt idx="38393">
                  <c:v>-6.3025210084033598E-2</c:v>
                </c:pt>
                <c:pt idx="38394">
                  <c:v>-6.3025210084033598E-2</c:v>
                </c:pt>
                <c:pt idx="38395">
                  <c:v>-6.3025210084033598E-2</c:v>
                </c:pt>
                <c:pt idx="38396">
                  <c:v>-6.3025210084033598E-2</c:v>
                </c:pt>
                <c:pt idx="38397">
                  <c:v>-6.3865546218487307E-2</c:v>
                </c:pt>
                <c:pt idx="38398">
                  <c:v>-6.3865546218487307E-2</c:v>
                </c:pt>
                <c:pt idx="38399">
                  <c:v>-6.3865546218487307E-2</c:v>
                </c:pt>
                <c:pt idx="38400">
                  <c:v>-6.3865546218487307E-2</c:v>
                </c:pt>
                <c:pt idx="38401">
                  <c:v>-6.3865546218487307E-2</c:v>
                </c:pt>
                <c:pt idx="38402">
                  <c:v>-6.3865546218487307E-2</c:v>
                </c:pt>
                <c:pt idx="38403">
                  <c:v>-6.3865546218487307E-2</c:v>
                </c:pt>
                <c:pt idx="38404">
                  <c:v>-6.3865546218487307E-2</c:v>
                </c:pt>
                <c:pt idx="38405">
                  <c:v>-6.3865546218487307E-2</c:v>
                </c:pt>
                <c:pt idx="38406">
                  <c:v>-6.3865546218487307E-2</c:v>
                </c:pt>
                <c:pt idx="38407">
                  <c:v>-6.3865546218487307E-2</c:v>
                </c:pt>
                <c:pt idx="38408">
                  <c:v>-6.3865546218487307E-2</c:v>
                </c:pt>
                <c:pt idx="38409">
                  <c:v>-6.3865546218487307E-2</c:v>
                </c:pt>
                <c:pt idx="38410">
                  <c:v>-6.3865546218487307E-2</c:v>
                </c:pt>
                <c:pt idx="38411">
                  <c:v>-6.3865546218487307E-2</c:v>
                </c:pt>
                <c:pt idx="38412">
                  <c:v>-6.3865546218487307E-2</c:v>
                </c:pt>
                <c:pt idx="38413">
                  <c:v>-6.3865546218487307E-2</c:v>
                </c:pt>
                <c:pt idx="38414">
                  <c:v>-6.3865546218487307E-2</c:v>
                </c:pt>
                <c:pt idx="38415">
                  <c:v>-6.3865546218487307E-2</c:v>
                </c:pt>
                <c:pt idx="38416">
                  <c:v>-6.3865546218487307E-2</c:v>
                </c:pt>
                <c:pt idx="38417">
                  <c:v>-6.3025210084033598E-2</c:v>
                </c:pt>
                <c:pt idx="38418">
                  <c:v>-6.3025210084033598E-2</c:v>
                </c:pt>
                <c:pt idx="38419">
                  <c:v>-6.3025210084033598E-2</c:v>
                </c:pt>
                <c:pt idx="38420">
                  <c:v>-6.3025210084033598E-2</c:v>
                </c:pt>
                <c:pt idx="38421">
                  <c:v>-6.3025210084033598E-2</c:v>
                </c:pt>
                <c:pt idx="38422">
                  <c:v>-6.3025210084033598E-2</c:v>
                </c:pt>
                <c:pt idx="38423">
                  <c:v>-6.3025210084033598E-2</c:v>
                </c:pt>
                <c:pt idx="38424">
                  <c:v>-6.3025210084033598E-2</c:v>
                </c:pt>
                <c:pt idx="38425">
                  <c:v>-6.3025210084033598E-2</c:v>
                </c:pt>
                <c:pt idx="38426">
                  <c:v>-6.3025210084033598E-2</c:v>
                </c:pt>
                <c:pt idx="38427">
                  <c:v>-6.3025210084033598E-2</c:v>
                </c:pt>
                <c:pt idx="38428">
                  <c:v>-6.3025210084033598E-2</c:v>
                </c:pt>
                <c:pt idx="38429">
                  <c:v>-6.3025210084033598E-2</c:v>
                </c:pt>
                <c:pt idx="38430">
                  <c:v>-6.3025210084033598E-2</c:v>
                </c:pt>
                <c:pt idx="38431">
                  <c:v>-6.3025210084033598E-2</c:v>
                </c:pt>
                <c:pt idx="38432">
                  <c:v>-6.3025210084033598E-2</c:v>
                </c:pt>
                <c:pt idx="38433">
                  <c:v>-6.3025210084033598E-2</c:v>
                </c:pt>
                <c:pt idx="38434">
                  <c:v>-6.3025210084033598E-2</c:v>
                </c:pt>
                <c:pt idx="38435">
                  <c:v>-6.3025210084033598E-2</c:v>
                </c:pt>
                <c:pt idx="38436">
                  <c:v>-6.3025210084033598E-2</c:v>
                </c:pt>
                <c:pt idx="38437">
                  <c:v>-6.3025210084033598E-2</c:v>
                </c:pt>
                <c:pt idx="38438">
                  <c:v>-6.3025210084033598E-2</c:v>
                </c:pt>
                <c:pt idx="38439">
                  <c:v>-6.3025210084033598E-2</c:v>
                </c:pt>
                <c:pt idx="38440">
                  <c:v>-6.3025210084033598E-2</c:v>
                </c:pt>
                <c:pt idx="38441">
                  <c:v>-6.3025210084033598E-2</c:v>
                </c:pt>
                <c:pt idx="38442">
                  <c:v>-6.3025210084033598E-2</c:v>
                </c:pt>
                <c:pt idx="38443">
                  <c:v>-6.3025210084033598E-2</c:v>
                </c:pt>
                <c:pt idx="38444">
                  <c:v>-6.3025210084033598E-2</c:v>
                </c:pt>
                <c:pt idx="38445">
                  <c:v>-6.3025210084033598E-2</c:v>
                </c:pt>
                <c:pt idx="38446">
                  <c:v>-6.3025210084033598E-2</c:v>
                </c:pt>
                <c:pt idx="38447">
                  <c:v>-6.3025210084033598E-2</c:v>
                </c:pt>
                <c:pt idx="38448">
                  <c:v>-6.3025210084033598E-2</c:v>
                </c:pt>
                <c:pt idx="38449">
                  <c:v>-6.2184873949579798E-2</c:v>
                </c:pt>
                <c:pt idx="38450">
                  <c:v>-6.2184873949579798E-2</c:v>
                </c:pt>
                <c:pt idx="38451">
                  <c:v>-6.2184873949579798E-2</c:v>
                </c:pt>
                <c:pt idx="38452">
                  <c:v>-6.2184873949579798E-2</c:v>
                </c:pt>
                <c:pt idx="38453">
                  <c:v>-6.2184873949579798E-2</c:v>
                </c:pt>
                <c:pt idx="38454">
                  <c:v>-6.2184873949579798E-2</c:v>
                </c:pt>
                <c:pt idx="38455">
                  <c:v>-6.2184873949579798E-2</c:v>
                </c:pt>
                <c:pt idx="38456">
                  <c:v>-6.1344537815125999E-2</c:v>
                </c:pt>
                <c:pt idx="38457">
                  <c:v>-6.05042016806722E-2</c:v>
                </c:pt>
                <c:pt idx="38458">
                  <c:v>-6.05042016806722E-2</c:v>
                </c:pt>
                <c:pt idx="38459">
                  <c:v>-6.05042016806722E-2</c:v>
                </c:pt>
                <c:pt idx="38460">
                  <c:v>-6.05042016806722E-2</c:v>
                </c:pt>
                <c:pt idx="38461">
                  <c:v>-6.05042016806722E-2</c:v>
                </c:pt>
                <c:pt idx="38462">
                  <c:v>-6.05042016806722E-2</c:v>
                </c:pt>
                <c:pt idx="38463">
                  <c:v>-6.05042016806722E-2</c:v>
                </c:pt>
                <c:pt idx="38464">
                  <c:v>-6.05042016806722E-2</c:v>
                </c:pt>
                <c:pt idx="38465">
                  <c:v>-6.05042016806722E-2</c:v>
                </c:pt>
                <c:pt idx="38466">
                  <c:v>-6.05042016806722E-2</c:v>
                </c:pt>
                <c:pt idx="38467">
                  <c:v>-6.05042016806722E-2</c:v>
                </c:pt>
                <c:pt idx="38468">
                  <c:v>-6.05042016806722E-2</c:v>
                </c:pt>
                <c:pt idx="38469">
                  <c:v>-6.05042016806722E-2</c:v>
                </c:pt>
                <c:pt idx="38470">
                  <c:v>-6.05042016806722E-2</c:v>
                </c:pt>
                <c:pt idx="38471">
                  <c:v>-6.05042016806722E-2</c:v>
                </c:pt>
                <c:pt idx="38472">
                  <c:v>-6.05042016806722E-2</c:v>
                </c:pt>
                <c:pt idx="38473">
                  <c:v>-6.05042016806722E-2</c:v>
                </c:pt>
                <c:pt idx="38474">
                  <c:v>-6.05042016806722E-2</c:v>
                </c:pt>
                <c:pt idx="38475">
                  <c:v>-6.05042016806722E-2</c:v>
                </c:pt>
                <c:pt idx="38476">
                  <c:v>-6.05042016806722E-2</c:v>
                </c:pt>
                <c:pt idx="38477">
                  <c:v>-6.05042016806722E-2</c:v>
                </c:pt>
                <c:pt idx="38478">
                  <c:v>-6.05042016806722E-2</c:v>
                </c:pt>
                <c:pt idx="38479">
                  <c:v>-6.05042016806722E-2</c:v>
                </c:pt>
                <c:pt idx="38480">
                  <c:v>-6.05042016806722E-2</c:v>
                </c:pt>
                <c:pt idx="38481">
                  <c:v>-6.05042016806722E-2</c:v>
                </c:pt>
                <c:pt idx="38482">
                  <c:v>-5.9663865546218497E-2</c:v>
                </c:pt>
                <c:pt idx="38483">
                  <c:v>-5.9663865546218497E-2</c:v>
                </c:pt>
                <c:pt idx="38484">
                  <c:v>-5.9663865546218497E-2</c:v>
                </c:pt>
                <c:pt idx="38485">
                  <c:v>-5.9663865546218497E-2</c:v>
                </c:pt>
                <c:pt idx="38486">
                  <c:v>-5.9663865546218497E-2</c:v>
                </c:pt>
                <c:pt idx="38487">
                  <c:v>-5.9663865546218497E-2</c:v>
                </c:pt>
                <c:pt idx="38488">
                  <c:v>-5.9663865546218497E-2</c:v>
                </c:pt>
                <c:pt idx="38489">
                  <c:v>-5.9663865546218497E-2</c:v>
                </c:pt>
                <c:pt idx="38490">
                  <c:v>-5.9663865546218497E-2</c:v>
                </c:pt>
                <c:pt idx="38491">
                  <c:v>-5.9663865546218497E-2</c:v>
                </c:pt>
                <c:pt idx="38492">
                  <c:v>-5.9663865546218497E-2</c:v>
                </c:pt>
                <c:pt idx="38493">
                  <c:v>-5.9663865546218497E-2</c:v>
                </c:pt>
                <c:pt idx="38494">
                  <c:v>-5.9663865546218497E-2</c:v>
                </c:pt>
                <c:pt idx="38495">
                  <c:v>-5.9663865546218497E-2</c:v>
                </c:pt>
                <c:pt idx="38496">
                  <c:v>-5.9663865546218497E-2</c:v>
                </c:pt>
                <c:pt idx="38497">
                  <c:v>-5.9663865546218497E-2</c:v>
                </c:pt>
                <c:pt idx="38498">
                  <c:v>-5.9663865546218497E-2</c:v>
                </c:pt>
                <c:pt idx="38499">
                  <c:v>-5.9663865546218497E-2</c:v>
                </c:pt>
                <c:pt idx="38500">
                  <c:v>-5.9663865546218497E-2</c:v>
                </c:pt>
                <c:pt idx="38501">
                  <c:v>-5.9663865546218497E-2</c:v>
                </c:pt>
                <c:pt idx="38502">
                  <c:v>-5.9663865546218497E-2</c:v>
                </c:pt>
                <c:pt idx="38503">
                  <c:v>-5.9663865546218497E-2</c:v>
                </c:pt>
                <c:pt idx="38504">
                  <c:v>-5.9663865546218497E-2</c:v>
                </c:pt>
                <c:pt idx="38505">
                  <c:v>-5.9663865546218497E-2</c:v>
                </c:pt>
                <c:pt idx="38506">
                  <c:v>-5.9663865546218497E-2</c:v>
                </c:pt>
                <c:pt idx="38507">
                  <c:v>-5.9663865546218497E-2</c:v>
                </c:pt>
                <c:pt idx="38508">
                  <c:v>-5.9663865546218497E-2</c:v>
                </c:pt>
                <c:pt idx="38509">
                  <c:v>-5.9663865546218497E-2</c:v>
                </c:pt>
                <c:pt idx="38510">
                  <c:v>-5.9663865546218497E-2</c:v>
                </c:pt>
                <c:pt idx="38511">
                  <c:v>-5.9663865546218497E-2</c:v>
                </c:pt>
                <c:pt idx="38512">
                  <c:v>-5.9663865546218497E-2</c:v>
                </c:pt>
                <c:pt idx="38513">
                  <c:v>-5.9663865546218497E-2</c:v>
                </c:pt>
                <c:pt idx="38514">
                  <c:v>-5.9663865546218497E-2</c:v>
                </c:pt>
                <c:pt idx="38515">
                  <c:v>-5.9663865546218497E-2</c:v>
                </c:pt>
                <c:pt idx="38516">
                  <c:v>-5.9663865546218497E-2</c:v>
                </c:pt>
                <c:pt idx="38517">
                  <c:v>-5.9663865546218497E-2</c:v>
                </c:pt>
                <c:pt idx="38518">
                  <c:v>-5.9663865546218497E-2</c:v>
                </c:pt>
                <c:pt idx="38519">
                  <c:v>-5.9663865546218497E-2</c:v>
                </c:pt>
                <c:pt idx="38520">
                  <c:v>-5.9663865546218497E-2</c:v>
                </c:pt>
                <c:pt idx="38521">
                  <c:v>-5.9663865546218497E-2</c:v>
                </c:pt>
                <c:pt idx="38522">
                  <c:v>-5.9663865546218497E-2</c:v>
                </c:pt>
                <c:pt idx="38523">
                  <c:v>-5.9663865546218497E-2</c:v>
                </c:pt>
                <c:pt idx="38524">
                  <c:v>-5.9663865546218497E-2</c:v>
                </c:pt>
                <c:pt idx="38525">
                  <c:v>-5.9663865546218497E-2</c:v>
                </c:pt>
                <c:pt idx="38526">
                  <c:v>-5.9663865546218497E-2</c:v>
                </c:pt>
                <c:pt idx="38527">
                  <c:v>-5.9663865546218497E-2</c:v>
                </c:pt>
                <c:pt idx="38528">
                  <c:v>-5.9663865546218497E-2</c:v>
                </c:pt>
                <c:pt idx="38529">
                  <c:v>-5.9663865546218497E-2</c:v>
                </c:pt>
                <c:pt idx="38530">
                  <c:v>-5.9663865546218497E-2</c:v>
                </c:pt>
                <c:pt idx="38531">
                  <c:v>-5.9663865546218497E-2</c:v>
                </c:pt>
                <c:pt idx="38532">
                  <c:v>-5.9663865546218497E-2</c:v>
                </c:pt>
                <c:pt idx="38533">
                  <c:v>-5.9663865546218497E-2</c:v>
                </c:pt>
                <c:pt idx="38534">
                  <c:v>-5.9663865546218497E-2</c:v>
                </c:pt>
                <c:pt idx="38535">
                  <c:v>-5.9663865546218497E-2</c:v>
                </c:pt>
                <c:pt idx="38536">
                  <c:v>-5.9663865546218497E-2</c:v>
                </c:pt>
                <c:pt idx="38537">
                  <c:v>-5.9663865546218497E-2</c:v>
                </c:pt>
                <c:pt idx="38538">
                  <c:v>-5.9663865546218497E-2</c:v>
                </c:pt>
                <c:pt idx="38539">
                  <c:v>-5.9663865546218497E-2</c:v>
                </c:pt>
                <c:pt idx="38540">
                  <c:v>-5.9663865546218497E-2</c:v>
                </c:pt>
                <c:pt idx="38541">
                  <c:v>-5.9663865546218497E-2</c:v>
                </c:pt>
                <c:pt idx="38542">
                  <c:v>-5.9663865546218497E-2</c:v>
                </c:pt>
                <c:pt idx="38543">
                  <c:v>-5.9663865546218497E-2</c:v>
                </c:pt>
                <c:pt idx="38544">
                  <c:v>-5.9663865546218497E-2</c:v>
                </c:pt>
                <c:pt idx="38545">
                  <c:v>-5.9663865546218497E-2</c:v>
                </c:pt>
                <c:pt idx="38546">
                  <c:v>-5.9663865546218497E-2</c:v>
                </c:pt>
                <c:pt idx="38547">
                  <c:v>-5.9663865546218497E-2</c:v>
                </c:pt>
                <c:pt idx="38548">
                  <c:v>-5.9663865546218497E-2</c:v>
                </c:pt>
                <c:pt idx="38549">
                  <c:v>-5.9663865546218497E-2</c:v>
                </c:pt>
                <c:pt idx="38550">
                  <c:v>-5.9663865546218497E-2</c:v>
                </c:pt>
                <c:pt idx="38551">
                  <c:v>-5.9663865546218497E-2</c:v>
                </c:pt>
                <c:pt idx="38552">
                  <c:v>-5.9663865546218497E-2</c:v>
                </c:pt>
                <c:pt idx="38553">
                  <c:v>-5.9663865546218497E-2</c:v>
                </c:pt>
                <c:pt idx="38554">
                  <c:v>-5.9663865546218497E-2</c:v>
                </c:pt>
                <c:pt idx="38555">
                  <c:v>-5.8823529411764698E-2</c:v>
                </c:pt>
                <c:pt idx="38556">
                  <c:v>-5.8823529411764698E-2</c:v>
                </c:pt>
                <c:pt idx="38557">
                  <c:v>-5.8823529411764698E-2</c:v>
                </c:pt>
                <c:pt idx="38558">
                  <c:v>-5.8823529411764698E-2</c:v>
                </c:pt>
                <c:pt idx="38559">
                  <c:v>-5.8823529411764698E-2</c:v>
                </c:pt>
                <c:pt idx="38560">
                  <c:v>-5.8823529411764698E-2</c:v>
                </c:pt>
                <c:pt idx="38561">
                  <c:v>-5.8823529411764698E-2</c:v>
                </c:pt>
                <c:pt idx="38562">
                  <c:v>-5.8823529411764698E-2</c:v>
                </c:pt>
                <c:pt idx="38563">
                  <c:v>-5.8823529411764698E-2</c:v>
                </c:pt>
                <c:pt idx="38564">
                  <c:v>-5.8823529411764698E-2</c:v>
                </c:pt>
                <c:pt idx="38565">
                  <c:v>-5.8823529411764698E-2</c:v>
                </c:pt>
                <c:pt idx="38566">
                  <c:v>-5.8823529411764698E-2</c:v>
                </c:pt>
                <c:pt idx="38567">
                  <c:v>-5.8823529411764698E-2</c:v>
                </c:pt>
                <c:pt idx="38568">
                  <c:v>-5.8823529411764698E-2</c:v>
                </c:pt>
                <c:pt idx="38569">
                  <c:v>-5.8823529411764698E-2</c:v>
                </c:pt>
                <c:pt idx="38570">
                  <c:v>-5.8823529411764698E-2</c:v>
                </c:pt>
                <c:pt idx="38571">
                  <c:v>-5.9663865546218497E-2</c:v>
                </c:pt>
                <c:pt idx="38572">
                  <c:v>-5.9663865546218497E-2</c:v>
                </c:pt>
                <c:pt idx="38573">
                  <c:v>-5.9663865546218497E-2</c:v>
                </c:pt>
                <c:pt idx="38574">
                  <c:v>-5.9663865546218497E-2</c:v>
                </c:pt>
                <c:pt idx="38575">
                  <c:v>-5.9663865546218497E-2</c:v>
                </c:pt>
                <c:pt idx="38576">
                  <c:v>-5.8823529411764698E-2</c:v>
                </c:pt>
                <c:pt idx="38577">
                  <c:v>-5.8823529411764698E-2</c:v>
                </c:pt>
                <c:pt idx="38578">
                  <c:v>-5.8823529411764698E-2</c:v>
                </c:pt>
                <c:pt idx="38579">
                  <c:v>-5.9663865546218497E-2</c:v>
                </c:pt>
                <c:pt idx="38580">
                  <c:v>-5.9663865546218497E-2</c:v>
                </c:pt>
                <c:pt idx="38581">
                  <c:v>-5.9663865546218497E-2</c:v>
                </c:pt>
                <c:pt idx="38582">
                  <c:v>-5.8823529411764698E-2</c:v>
                </c:pt>
                <c:pt idx="38583">
                  <c:v>-5.8823529411764698E-2</c:v>
                </c:pt>
                <c:pt idx="38584">
                  <c:v>-5.8823529411764698E-2</c:v>
                </c:pt>
                <c:pt idx="38585">
                  <c:v>-5.8823529411764698E-2</c:v>
                </c:pt>
                <c:pt idx="38586">
                  <c:v>-5.8823529411764698E-2</c:v>
                </c:pt>
                <c:pt idx="38587">
                  <c:v>-5.8823529411764698E-2</c:v>
                </c:pt>
                <c:pt idx="38588">
                  <c:v>-5.8823529411764698E-2</c:v>
                </c:pt>
                <c:pt idx="38589">
                  <c:v>-5.8823529411764698E-2</c:v>
                </c:pt>
                <c:pt idx="38590">
                  <c:v>-5.8823529411764698E-2</c:v>
                </c:pt>
                <c:pt idx="38591">
                  <c:v>-5.8823529411764698E-2</c:v>
                </c:pt>
                <c:pt idx="38592">
                  <c:v>-5.8823529411764698E-2</c:v>
                </c:pt>
                <c:pt idx="38593">
                  <c:v>-5.8823529411764698E-2</c:v>
                </c:pt>
                <c:pt idx="38594">
                  <c:v>-5.8823529411764698E-2</c:v>
                </c:pt>
                <c:pt idx="38595">
                  <c:v>-5.8823529411764698E-2</c:v>
                </c:pt>
                <c:pt idx="38596">
                  <c:v>-5.7983193277310899E-2</c:v>
                </c:pt>
                <c:pt idx="38597">
                  <c:v>-5.7983193277310899E-2</c:v>
                </c:pt>
                <c:pt idx="38598">
                  <c:v>-5.7983193277310899E-2</c:v>
                </c:pt>
                <c:pt idx="38599">
                  <c:v>-5.7983193277310899E-2</c:v>
                </c:pt>
                <c:pt idx="38600">
                  <c:v>-5.7983193277310899E-2</c:v>
                </c:pt>
                <c:pt idx="38601">
                  <c:v>-5.7983193277310899E-2</c:v>
                </c:pt>
                <c:pt idx="38602">
                  <c:v>-5.7983193277310899E-2</c:v>
                </c:pt>
                <c:pt idx="38603">
                  <c:v>-5.7983193277310899E-2</c:v>
                </c:pt>
                <c:pt idx="38604">
                  <c:v>-5.7983193277310899E-2</c:v>
                </c:pt>
                <c:pt idx="38605">
                  <c:v>-5.7983193277310899E-2</c:v>
                </c:pt>
                <c:pt idx="38606">
                  <c:v>-5.7983193277310899E-2</c:v>
                </c:pt>
                <c:pt idx="38607">
                  <c:v>-5.7983193277310899E-2</c:v>
                </c:pt>
                <c:pt idx="38608">
                  <c:v>-5.7983193277310899E-2</c:v>
                </c:pt>
                <c:pt idx="38609">
                  <c:v>-5.7983193277310899E-2</c:v>
                </c:pt>
                <c:pt idx="38610">
                  <c:v>-5.7983193277310899E-2</c:v>
                </c:pt>
                <c:pt idx="38611">
                  <c:v>-5.7983193277310899E-2</c:v>
                </c:pt>
                <c:pt idx="38612">
                  <c:v>-5.7983193277310899E-2</c:v>
                </c:pt>
                <c:pt idx="38613">
                  <c:v>-5.7983193277310899E-2</c:v>
                </c:pt>
                <c:pt idx="38614">
                  <c:v>-5.7983193277310899E-2</c:v>
                </c:pt>
                <c:pt idx="38615">
                  <c:v>-5.7983193277310899E-2</c:v>
                </c:pt>
                <c:pt idx="38616">
                  <c:v>-5.7983193277310899E-2</c:v>
                </c:pt>
                <c:pt idx="38617">
                  <c:v>-5.7983193277310899E-2</c:v>
                </c:pt>
                <c:pt idx="38618">
                  <c:v>-5.7983193277310899E-2</c:v>
                </c:pt>
                <c:pt idx="38619">
                  <c:v>-5.7983193277310899E-2</c:v>
                </c:pt>
                <c:pt idx="38620">
                  <c:v>-5.7983193277310899E-2</c:v>
                </c:pt>
                <c:pt idx="38621">
                  <c:v>-5.7983193277310899E-2</c:v>
                </c:pt>
                <c:pt idx="38622">
                  <c:v>-5.7983193277310899E-2</c:v>
                </c:pt>
                <c:pt idx="38623">
                  <c:v>-5.7142857142857099E-2</c:v>
                </c:pt>
                <c:pt idx="38624">
                  <c:v>-5.7142857142857099E-2</c:v>
                </c:pt>
                <c:pt idx="38625">
                  <c:v>-5.7142857142857099E-2</c:v>
                </c:pt>
                <c:pt idx="38626">
                  <c:v>-5.7142857142857099E-2</c:v>
                </c:pt>
                <c:pt idx="38627">
                  <c:v>-5.7142857142857099E-2</c:v>
                </c:pt>
                <c:pt idx="38628">
                  <c:v>-5.7142857142857099E-2</c:v>
                </c:pt>
                <c:pt idx="38629">
                  <c:v>-5.7142857142857099E-2</c:v>
                </c:pt>
                <c:pt idx="38630">
                  <c:v>-5.7142857142857099E-2</c:v>
                </c:pt>
                <c:pt idx="38631">
                  <c:v>-5.7142857142857099E-2</c:v>
                </c:pt>
                <c:pt idx="38632">
                  <c:v>-5.7142857142857099E-2</c:v>
                </c:pt>
                <c:pt idx="38633">
                  <c:v>-5.7142857142857099E-2</c:v>
                </c:pt>
                <c:pt idx="38634">
                  <c:v>-5.7142857142857099E-2</c:v>
                </c:pt>
                <c:pt idx="38635">
                  <c:v>-5.7142857142857099E-2</c:v>
                </c:pt>
                <c:pt idx="38636">
                  <c:v>-5.7142857142857099E-2</c:v>
                </c:pt>
                <c:pt idx="38637">
                  <c:v>-5.7983193277310899E-2</c:v>
                </c:pt>
                <c:pt idx="38638">
                  <c:v>-5.7983193277310899E-2</c:v>
                </c:pt>
                <c:pt idx="38639">
                  <c:v>-5.7983193277310899E-2</c:v>
                </c:pt>
                <c:pt idx="38640">
                  <c:v>-5.7983193277310899E-2</c:v>
                </c:pt>
                <c:pt idx="38641">
                  <c:v>-5.7983193277310899E-2</c:v>
                </c:pt>
                <c:pt idx="38642">
                  <c:v>-5.7983193277310899E-2</c:v>
                </c:pt>
                <c:pt idx="38643">
                  <c:v>-5.7983193277310899E-2</c:v>
                </c:pt>
                <c:pt idx="38644">
                  <c:v>-5.7983193277310899E-2</c:v>
                </c:pt>
                <c:pt idx="38645">
                  <c:v>-5.7983193277310899E-2</c:v>
                </c:pt>
                <c:pt idx="38646">
                  <c:v>-5.7142857142857099E-2</c:v>
                </c:pt>
                <c:pt idx="38647">
                  <c:v>-5.7142857142857099E-2</c:v>
                </c:pt>
                <c:pt idx="38648">
                  <c:v>-5.7142857142857099E-2</c:v>
                </c:pt>
                <c:pt idx="38649">
                  <c:v>-5.7142857142857099E-2</c:v>
                </c:pt>
                <c:pt idx="38650">
                  <c:v>-5.7142857142857099E-2</c:v>
                </c:pt>
                <c:pt idx="38651">
                  <c:v>-5.7142857142857099E-2</c:v>
                </c:pt>
                <c:pt idx="38652">
                  <c:v>-5.7142857142857099E-2</c:v>
                </c:pt>
                <c:pt idx="38653">
                  <c:v>-5.7142857142857099E-2</c:v>
                </c:pt>
                <c:pt idx="38654">
                  <c:v>-5.7142857142857099E-2</c:v>
                </c:pt>
                <c:pt idx="38655">
                  <c:v>-5.7142857142857099E-2</c:v>
                </c:pt>
                <c:pt idx="38656">
                  <c:v>-5.7142857142857099E-2</c:v>
                </c:pt>
                <c:pt idx="38657">
                  <c:v>-5.7142857142857099E-2</c:v>
                </c:pt>
                <c:pt idx="38658">
                  <c:v>-5.7142857142857099E-2</c:v>
                </c:pt>
                <c:pt idx="38659">
                  <c:v>-5.7142857142857099E-2</c:v>
                </c:pt>
                <c:pt idx="38660">
                  <c:v>-5.7142857142857099E-2</c:v>
                </c:pt>
                <c:pt idx="38661">
                  <c:v>-5.7142857142857099E-2</c:v>
                </c:pt>
                <c:pt idx="38662">
                  <c:v>-5.7142857142857099E-2</c:v>
                </c:pt>
                <c:pt idx="38663">
                  <c:v>-5.7142857142857099E-2</c:v>
                </c:pt>
                <c:pt idx="38664">
                  <c:v>-5.7142857142857099E-2</c:v>
                </c:pt>
                <c:pt idx="38665">
                  <c:v>-5.7142857142857099E-2</c:v>
                </c:pt>
                <c:pt idx="38666">
                  <c:v>-5.63025210084033E-2</c:v>
                </c:pt>
                <c:pt idx="38667">
                  <c:v>-5.63025210084033E-2</c:v>
                </c:pt>
                <c:pt idx="38668">
                  <c:v>-5.63025210084033E-2</c:v>
                </c:pt>
                <c:pt idx="38669">
                  <c:v>-5.63025210084033E-2</c:v>
                </c:pt>
                <c:pt idx="38670">
                  <c:v>-5.63025210084033E-2</c:v>
                </c:pt>
                <c:pt idx="38671">
                  <c:v>-5.63025210084033E-2</c:v>
                </c:pt>
                <c:pt idx="38672">
                  <c:v>-5.63025210084033E-2</c:v>
                </c:pt>
                <c:pt idx="38673">
                  <c:v>-5.63025210084033E-2</c:v>
                </c:pt>
                <c:pt idx="38674">
                  <c:v>-5.63025210084033E-2</c:v>
                </c:pt>
                <c:pt idx="38675">
                  <c:v>-5.63025210084033E-2</c:v>
                </c:pt>
                <c:pt idx="38676">
                  <c:v>-5.63025210084033E-2</c:v>
                </c:pt>
                <c:pt idx="38677">
                  <c:v>-5.63025210084033E-2</c:v>
                </c:pt>
                <c:pt idx="38678">
                  <c:v>-5.63025210084033E-2</c:v>
                </c:pt>
                <c:pt idx="38679">
                  <c:v>-5.63025210084033E-2</c:v>
                </c:pt>
                <c:pt idx="38680">
                  <c:v>-5.63025210084033E-2</c:v>
                </c:pt>
                <c:pt idx="38681">
                  <c:v>-5.63025210084033E-2</c:v>
                </c:pt>
                <c:pt idx="38682">
                  <c:v>-5.63025210084033E-2</c:v>
                </c:pt>
                <c:pt idx="38683">
                  <c:v>-5.63025210084033E-2</c:v>
                </c:pt>
                <c:pt idx="38684">
                  <c:v>-5.63025210084033E-2</c:v>
                </c:pt>
                <c:pt idx="38685">
                  <c:v>-5.63025210084033E-2</c:v>
                </c:pt>
                <c:pt idx="38686">
                  <c:v>-5.63025210084033E-2</c:v>
                </c:pt>
                <c:pt idx="38687">
                  <c:v>-5.63025210084033E-2</c:v>
                </c:pt>
                <c:pt idx="38688">
                  <c:v>-5.63025210084033E-2</c:v>
                </c:pt>
                <c:pt idx="38689">
                  <c:v>-5.63025210084033E-2</c:v>
                </c:pt>
                <c:pt idx="38690">
                  <c:v>-5.63025210084033E-2</c:v>
                </c:pt>
                <c:pt idx="38691">
                  <c:v>-5.63025210084033E-2</c:v>
                </c:pt>
                <c:pt idx="38692">
                  <c:v>-5.63025210084033E-2</c:v>
                </c:pt>
                <c:pt idx="38693">
                  <c:v>-5.63025210084033E-2</c:v>
                </c:pt>
                <c:pt idx="38694">
                  <c:v>-5.63025210084033E-2</c:v>
                </c:pt>
                <c:pt idx="38695">
                  <c:v>-5.63025210084033E-2</c:v>
                </c:pt>
                <c:pt idx="38696">
                  <c:v>-5.63025210084033E-2</c:v>
                </c:pt>
                <c:pt idx="38697">
                  <c:v>-5.63025210084033E-2</c:v>
                </c:pt>
                <c:pt idx="38698">
                  <c:v>-5.63025210084033E-2</c:v>
                </c:pt>
                <c:pt idx="38699">
                  <c:v>-5.63025210084033E-2</c:v>
                </c:pt>
                <c:pt idx="38700">
                  <c:v>-5.63025210084033E-2</c:v>
                </c:pt>
                <c:pt idx="38701">
                  <c:v>-5.63025210084033E-2</c:v>
                </c:pt>
                <c:pt idx="38702">
                  <c:v>-5.63025210084033E-2</c:v>
                </c:pt>
                <c:pt idx="38703">
                  <c:v>-5.63025210084033E-2</c:v>
                </c:pt>
                <c:pt idx="38704">
                  <c:v>-5.63025210084033E-2</c:v>
                </c:pt>
                <c:pt idx="38705">
                  <c:v>-5.63025210084033E-2</c:v>
                </c:pt>
                <c:pt idx="38706">
                  <c:v>-5.63025210084033E-2</c:v>
                </c:pt>
                <c:pt idx="38707">
                  <c:v>-5.63025210084033E-2</c:v>
                </c:pt>
                <c:pt idx="38708">
                  <c:v>-5.63025210084033E-2</c:v>
                </c:pt>
                <c:pt idx="38709">
                  <c:v>-5.63025210084033E-2</c:v>
                </c:pt>
                <c:pt idx="38710">
                  <c:v>-5.63025210084033E-2</c:v>
                </c:pt>
                <c:pt idx="38711">
                  <c:v>-5.63025210084033E-2</c:v>
                </c:pt>
                <c:pt idx="38712">
                  <c:v>-5.63025210084033E-2</c:v>
                </c:pt>
                <c:pt idx="38713">
                  <c:v>-5.63025210084033E-2</c:v>
                </c:pt>
                <c:pt idx="38714">
                  <c:v>-5.63025210084033E-2</c:v>
                </c:pt>
                <c:pt idx="38715">
                  <c:v>-5.63025210084033E-2</c:v>
                </c:pt>
                <c:pt idx="38716">
                  <c:v>-5.63025210084033E-2</c:v>
                </c:pt>
                <c:pt idx="38717">
                  <c:v>-5.63025210084033E-2</c:v>
                </c:pt>
                <c:pt idx="38718">
                  <c:v>-5.63025210084033E-2</c:v>
                </c:pt>
                <c:pt idx="38719">
                  <c:v>-5.63025210084033E-2</c:v>
                </c:pt>
                <c:pt idx="38720">
                  <c:v>-5.63025210084033E-2</c:v>
                </c:pt>
                <c:pt idx="38721">
                  <c:v>-5.63025210084033E-2</c:v>
                </c:pt>
                <c:pt idx="38722">
                  <c:v>-5.63025210084033E-2</c:v>
                </c:pt>
                <c:pt idx="38723">
                  <c:v>-5.63025210084033E-2</c:v>
                </c:pt>
                <c:pt idx="38724">
                  <c:v>-5.63025210084033E-2</c:v>
                </c:pt>
                <c:pt idx="38725">
                  <c:v>-5.63025210084033E-2</c:v>
                </c:pt>
                <c:pt idx="38726">
                  <c:v>-5.63025210084033E-2</c:v>
                </c:pt>
                <c:pt idx="38727">
                  <c:v>-5.63025210084033E-2</c:v>
                </c:pt>
                <c:pt idx="38728">
                  <c:v>-5.63025210084033E-2</c:v>
                </c:pt>
                <c:pt idx="38729">
                  <c:v>-5.63025210084033E-2</c:v>
                </c:pt>
                <c:pt idx="38730">
                  <c:v>-5.63025210084033E-2</c:v>
                </c:pt>
                <c:pt idx="38731">
                  <c:v>-5.63025210084033E-2</c:v>
                </c:pt>
                <c:pt idx="38732">
                  <c:v>-5.63025210084033E-2</c:v>
                </c:pt>
                <c:pt idx="38733">
                  <c:v>-5.63025210084033E-2</c:v>
                </c:pt>
                <c:pt idx="38734">
                  <c:v>-5.63025210084033E-2</c:v>
                </c:pt>
                <c:pt idx="38735">
                  <c:v>-5.63025210084033E-2</c:v>
                </c:pt>
                <c:pt idx="38736">
                  <c:v>-5.63025210084033E-2</c:v>
                </c:pt>
                <c:pt idx="38737">
                  <c:v>-5.63025210084033E-2</c:v>
                </c:pt>
                <c:pt idx="38738">
                  <c:v>-5.63025210084033E-2</c:v>
                </c:pt>
                <c:pt idx="38739">
                  <c:v>-5.63025210084033E-2</c:v>
                </c:pt>
                <c:pt idx="38740">
                  <c:v>-5.63025210084033E-2</c:v>
                </c:pt>
                <c:pt idx="38741">
                  <c:v>-5.63025210084033E-2</c:v>
                </c:pt>
                <c:pt idx="38742">
                  <c:v>-5.63025210084033E-2</c:v>
                </c:pt>
                <c:pt idx="38743">
                  <c:v>-5.63025210084033E-2</c:v>
                </c:pt>
                <c:pt idx="38744">
                  <c:v>-5.63025210084033E-2</c:v>
                </c:pt>
                <c:pt idx="38745">
                  <c:v>-5.63025210084033E-2</c:v>
                </c:pt>
                <c:pt idx="38746">
                  <c:v>-5.63025210084033E-2</c:v>
                </c:pt>
                <c:pt idx="38747">
                  <c:v>-5.63025210084033E-2</c:v>
                </c:pt>
                <c:pt idx="38748">
                  <c:v>-5.63025210084033E-2</c:v>
                </c:pt>
                <c:pt idx="38749">
                  <c:v>-5.63025210084033E-2</c:v>
                </c:pt>
                <c:pt idx="38750">
                  <c:v>-5.63025210084033E-2</c:v>
                </c:pt>
                <c:pt idx="38751">
                  <c:v>-5.63025210084033E-2</c:v>
                </c:pt>
                <c:pt idx="38752">
                  <c:v>-5.63025210084033E-2</c:v>
                </c:pt>
                <c:pt idx="38753">
                  <c:v>-5.63025210084033E-2</c:v>
                </c:pt>
                <c:pt idx="38754">
                  <c:v>-5.63025210084033E-2</c:v>
                </c:pt>
                <c:pt idx="38755">
                  <c:v>-5.63025210084033E-2</c:v>
                </c:pt>
                <c:pt idx="38756">
                  <c:v>-5.63025210084033E-2</c:v>
                </c:pt>
                <c:pt idx="38757">
                  <c:v>-5.63025210084033E-2</c:v>
                </c:pt>
                <c:pt idx="38758">
                  <c:v>-5.63025210084033E-2</c:v>
                </c:pt>
                <c:pt idx="38759">
                  <c:v>-5.63025210084033E-2</c:v>
                </c:pt>
                <c:pt idx="38760">
                  <c:v>-5.63025210084033E-2</c:v>
                </c:pt>
                <c:pt idx="38761">
                  <c:v>-5.63025210084033E-2</c:v>
                </c:pt>
                <c:pt idx="38762">
                  <c:v>-5.63025210084033E-2</c:v>
                </c:pt>
                <c:pt idx="38763">
                  <c:v>-5.63025210084033E-2</c:v>
                </c:pt>
                <c:pt idx="38764">
                  <c:v>-5.63025210084033E-2</c:v>
                </c:pt>
                <c:pt idx="38765">
                  <c:v>-5.63025210084033E-2</c:v>
                </c:pt>
                <c:pt idx="38766">
                  <c:v>-5.63025210084033E-2</c:v>
                </c:pt>
                <c:pt idx="38767">
                  <c:v>-5.63025210084033E-2</c:v>
                </c:pt>
                <c:pt idx="38768">
                  <c:v>-5.63025210084033E-2</c:v>
                </c:pt>
                <c:pt idx="38769">
                  <c:v>-5.63025210084033E-2</c:v>
                </c:pt>
                <c:pt idx="38770">
                  <c:v>-5.5462184873949598E-2</c:v>
                </c:pt>
                <c:pt idx="38771">
                  <c:v>-5.5462184873949598E-2</c:v>
                </c:pt>
                <c:pt idx="38772">
                  <c:v>-5.5462184873949598E-2</c:v>
                </c:pt>
                <c:pt idx="38773">
                  <c:v>-5.5462184873949598E-2</c:v>
                </c:pt>
                <c:pt idx="38774">
                  <c:v>-5.5462184873949598E-2</c:v>
                </c:pt>
                <c:pt idx="38775">
                  <c:v>-5.5462184873949598E-2</c:v>
                </c:pt>
                <c:pt idx="38776">
                  <c:v>-5.5462184873949598E-2</c:v>
                </c:pt>
                <c:pt idx="38777">
                  <c:v>-5.5462184873949598E-2</c:v>
                </c:pt>
                <c:pt idx="38778">
                  <c:v>-5.5462184873949598E-2</c:v>
                </c:pt>
                <c:pt idx="38779">
                  <c:v>-5.5462184873949598E-2</c:v>
                </c:pt>
                <c:pt idx="38780">
                  <c:v>-5.4621848739495799E-2</c:v>
                </c:pt>
                <c:pt idx="38781">
                  <c:v>-5.4621848739495799E-2</c:v>
                </c:pt>
                <c:pt idx="38782">
                  <c:v>-5.4621848739495799E-2</c:v>
                </c:pt>
                <c:pt idx="38783">
                  <c:v>-5.4621848739495799E-2</c:v>
                </c:pt>
                <c:pt idx="38784">
                  <c:v>-5.4621848739495799E-2</c:v>
                </c:pt>
                <c:pt idx="38785">
                  <c:v>-5.4621848739495799E-2</c:v>
                </c:pt>
                <c:pt idx="38786">
                  <c:v>-5.4621848739495799E-2</c:v>
                </c:pt>
                <c:pt idx="38787">
                  <c:v>-5.4621848739495799E-2</c:v>
                </c:pt>
                <c:pt idx="38788">
                  <c:v>-5.4621848739495799E-2</c:v>
                </c:pt>
                <c:pt idx="38789">
                  <c:v>-5.4621848739495799E-2</c:v>
                </c:pt>
                <c:pt idx="38790">
                  <c:v>-5.4621848739495799E-2</c:v>
                </c:pt>
                <c:pt idx="38791">
                  <c:v>-5.4621848739495799E-2</c:v>
                </c:pt>
                <c:pt idx="38792">
                  <c:v>-5.4621848739495799E-2</c:v>
                </c:pt>
                <c:pt idx="38793">
                  <c:v>-5.4621848739495799E-2</c:v>
                </c:pt>
                <c:pt idx="38794">
                  <c:v>-5.4621848739495799E-2</c:v>
                </c:pt>
                <c:pt idx="38795">
                  <c:v>-5.4621848739495799E-2</c:v>
                </c:pt>
                <c:pt idx="38796">
                  <c:v>-5.4621848739495799E-2</c:v>
                </c:pt>
                <c:pt idx="38797">
                  <c:v>-5.4621848739495799E-2</c:v>
                </c:pt>
                <c:pt idx="38798">
                  <c:v>-5.4621848739495799E-2</c:v>
                </c:pt>
                <c:pt idx="38799">
                  <c:v>-5.4621848739495799E-2</c:v>
                </c:pt>
                <c:pt idx="38800">
                  <c:v>-5.4621848739495799E-2</c:v>
                </c:pt>
                <c:pt idx="38801">
                  <c:v>-5.4621848739495799E-2</c:v>
                </c:pt>
                <c:pt idx="38802">
                  <c:v>-5.4621848739495799E-2</c:v>
                </c:pt>
                <c:pt idx="38803">
                  <c:v>-5.4621848739495799E-2</c:v>
                </c:pt>
                <c:pt idx="38804">
                  <c:v>-5.4621848739495799E-2</c:v>
                </c:pt>
                <c:pt idx="38805">
                  <c:v>-5.4621848739495799E-2</c:v>
                </c:pt>
                <c:pt idx="38806">
                  <c:v>-5.4621848739495799E-2</c:v>
                </c:pt>
                <c:pt idx="38807">
                  <c:v>-5.4621848739495799E-2</c:v>
                </c:pt>
                <c:pt idx="38808">
                  <c:v>-5.4621848739495799E-2</c:v>
                </c:pt>
                <c:pt idx="38809">
                  <c:v>-5.4621848739495799E-2</c:v>
                </c:pt>
                <c:pt idx="38810">
                  <c:v>-5.4621848739495799E-2</c:v>
                </c:pt>
                <c:pt idx="38811">
                  <c:v>-5.4621848739495799E-2</c:v>
                </c:pt>
                <c:pt idx="38812">
                  <c:v>-5.4621848739495799E-2</c:v>
                </c:pt>
                <c:pt idx="38813">
                  <c:v>-5.4621848739495799E-2</c:v>
                </c:pt>
                <c:pt idx="38814">
                  <c:v>-5.4621848739495799E-2</c:v>
                </c:pt>
                <c:pt idx="38815">
                  <c:v>-5.4621848739495799E-2</c:v>
                </c:pt>
                <c:pt idx="38816">
                  <c:v>-5.4621848739495799E-2</c:v>
                </c:pt>
                <c:pt idx="38817">
                  <c:v>-5.3781512605041999E-2</c:v>
                </c:pt>
                <c:pt idx="38818">
                  <c:v>-5.29411764705882E-2</c:v>
                </c:pt>
                <c:pt idx="38819">
                  <c:v>-5.29411764705882E-2</c:v>
                </c:pt>
                <c:pt idx="38820">
                  <c:v>-5.29411764705882E-2</c:v>
                </c:pt>
                <c:pt idx="38821">
                  <c:v>-5.29411764705882E-2</c:v>
                </c:pt>
                <c:pt idx="38822">
                  <c:v>-5.29411764705882E-2</c:v>
                </c:pt>
                <c:pt idx="38823">
                  <c:v>-5.29411764705882E-2</c:v>
                </c:pt>
                <c:pt idx="38824">
                  <c:v>-5.29411764705882E-2</c:v>
                </c:pt>
                <c:pt idx="38825">
                  <c:v>-5.29411764705882E-2</c:v>
                </c:pt>
                <c:pt idx="38826">
                  <c:v>-5.29411764705882E-2</c:v>
                </c:pt>
                <c:pt idx="38827">
                  <c:v>-5.29411764705882E-2</c:v>
                </c:pt>
                <c:pt idx="38828">
                  <c:v>-5.29411764705882E-2</c:v>
                </c:pt>
                <c:pt idx="38829">
                  <c:v>-5.29411764705882E-2</c:v>
                </c:pt>
                <c:pt idx="38830">
                  <c:v>-5.29411764705882E-2</c:v>
                </c:pt>
                <c:pt idx="38831">
                  <c:v>-5.29411764705882E-2</c:v>
                </c:pt>
                <c:pt idx="38832">
                  <c:v>-5.29411764705882E-2</c:v>
                </c:pt>
                <c:pt idx="38833">
                  <c:v>-5.29411764705882E-2</c:v>
                </c:pt>
                <c:pt idx="38834">
                  <c:v>-5.29411764705882E-2</c:v>
                </c:pt>
                <c:pt idx="38835">
                  <c:v>-5.29411764705882E-2</c:v>
                </c:pt>
                <c:pt idx="38836">
                  <c:v>-5.29411764705882E-2</c:v>
                </c:pt>
                <c:pt idx="38837">
                  <c:v>-5.29411764705882E-2</c:v>
                </c:pt>
                <c:pt idx="38838">
                  <c:v>-5.29411764705882E-2</c:v>
                </c:pt>
                <c:pt idx="38839">
                  <c:v>-5.29411764705882E-2</c:v>
                </c:pt>
                <c:pt idx="38840">
                  <c:v>-5.29411764705882E-2</c:v>
                </c:pt>
                <c:pt idx="38841">
                  <c:v>-5.29411764705882E-2</c:v>
                </c:pt>
                <c:pt idx="38842">
                  <c:v>-5.29411764705882E-2</c:v>
                </c:pt>
                <c:pt idx="38843">
                  <c:v>-5.29411764705882E-2</c:v>
                </c:pt>
                <c:pt idx="38844">
                  <c:v>-5.29411764705882E-2</c:v>
                </c:pt>
                <c:pt idx="38845">
                  <c:v>-5.29411764705882E-2</c:v>
                </c:pt>
                <c:pt idx="38846">
                  <c:v>-5.29411764705882E-2</c:v>
                </c:pt>
                <c:pt idx="38847">
                  <c:v>-5.29411764705882E-2</c:v>
                </c:pt>
                <c:pt idx="38848">
                  <c:v>-5.29411764705882E-2</c:v>
                </c:pt>
                <c:pt idx="38849">
                  <c:v>-5.29411764705882E-2</c:v>
                </c:pt>
                <c:pt idx="38850">
                  <c:v>-5.29411764705882E-2</c:v>
                </c:pt>
                <c:pt idx="38851">
                  <c:v>-5.29411764705882E-2</c:v>
                </c:pt>
                <c:pt idx="38852">
                  <c:v>-5.29411764705882E-2</c:v>
                </c:pt>
                <c:pt idx="38853">
                  <c:v>-5.29411764705882E-2</c:v>
                </c:pt>
                <c:pt idx="38854">
                  <c:v>-5.29411764705882E-2</c:v>
                </c:pt>
                <c:pt idx="38855">
                  <c:v>-5.29411764705882E-2</c:v>
                </c:pt>
                <c:pt idx="38856">
                  <c:v>-5.29411764705882E-2</c:v>
                </c:pt>
                <c:pt idx="38857">
                  <c:v>-5.29411764705882E-2</c:v>
                </c:pt>
                <c:pt idx="38858">
                  <c:v>-5.29411764705882E-2</c:v>
                </c:pt>
                <c:pt idx="38859">
                  <c:v>-5.2100840336134401E-2</c:v>
                </c:pt>
                <c:pt idx="38860">
                  <c:v>-5.2100840336134401E-2</c:v>
                </c:pt>
                <c:pt idx="38861">
                  <c:v>-5.2100840336134401E-2</c:v>
                </c:pt>
                <c:pt idx="38862">
                  <c:v>-5.2100840336134401E-2</c:v>
                </c:pt>
                <c:pt idx="38863">
                  <c:v>-5.2100840336134401E-2</c:v>
                </c:pt>
                <c:pt idx="38864">
                  <c:v>-5.2100840336134401E-2</c:v>
                </c:pt>
                <c:pt idx="38865">
                  <c:v>-5.2100840336134401E-2</c:v>
                </c:pt>
                <c:pt idx="38866">
                  <c:v>-5.2100840336134401E-2</c:v>
                </c:pt>
                <c:pt idx="38867">
                  <c:v>-5.2100840336134401E-2</c:v>
                </c:pt>
                <c:pt idx="38868">
                  <c:v>-5.2100840336134401E-2</c:v>
                </c:pt>
                <c:pt idx="38869">
                  <c:v>-5.2100840336134401E-2</c:v>
                </c:pt>
                <c:pt idx="38870">
                  <c:v>-5.2100840336134401E-2</c:v>
                </c:pt>
                <c:pt idx="38871">
                  <c:v>-5.2100840336134401E-2</c:v>
                </c:pt>
                <c:pt idx="38872">
                  <c:v>-5.2100840336134401E-2</c:v>
                </c:pt>
                <c:pt idx="38873">
                  <c:v>-5.2100840336134401E-2</c:v>
                </c:pt>
                <c:pt idx="38874">
                  <c:v>-5.2100840336134401E-2</c:v>
                </c:pt>
                <c:pt idx="38875">
                  <c:v>-5.2100840336134401E-2</c:v>
                </c:pt>
                <c:pt idx="38876">
                  <c:v>-5.2100840336134401E-2</c:v>
                </c:pt>
                <c:pt idx="38877">
                  <c:v>-5.2100840336134401E-2</c:v>
                </c:pt>
                <c:pt idx="38878">
                  <c:v>-5.2100840336134401E-2</c:v>
                </c:pt>
                <c:pt idx="38879">
                  <c:v>-5.2100840336134401E-2</c:v>
                </c:pt>
                <c:pt idx="38880">
                  <c:v>-5.2100840336134401E-2</c:v>
                </c:pt>
                <c:pt idx="38881">
                  <c:v>-5.2100840336134401E-2</c:v>
                </c:pt>
                <c:pt idx="38882">
                  <c:v>-5.2100840336134401E-2</c:v>
                </c:pt>
                <c:pt idx="38883">
                  <c:v>-5.2100840336134401E-2</c:v>
                </c:pt>
                <c:pt idx="38884">
                  <c:v>-5.2100840336134401E-2</c:v>
                </c:pt>
                <c:pt idx="38885">
                  <c:v>-5.2100840336134401E-2</c:v>
                </c:pt>
                <c:pt idx="38886">
                  <c:v>-5.2100840336134401E-2</c:v>
                </c:pt>
                <c:pt idx="38887">
                  <c:v>-5.2100840336134401E-2</c:v>
                </c:pt>
                <c:pt idx="38888">
                  <c:v>-5.2100840336134401E-2</c:v>
                </c:pt>
                <c:pt idx="38889">
                  <c:v>-5.2100840336134401E-2</c:v>
                </c:pt>
                <c:pt idx="38890">
                  <c:v>-5.2100840336134401E-2</c:v>
                </c:pt>
                <c:pt idx="38891">
                  <c:v>-5.1260504201680698E-2</c:v>
                </c:pt>
                <c:pt idx="38892">
                  <c:v>-5.1260504201680698E-2</c:v>
                </c:pt>
                <c:pt idx="38893">
                  <c:v>-5.1260504201680698E-2</c:v>
                </c:pt>
                <c:pt idx="38894">
                  <c:v>-5.1260504201680698E-2</c:v>
                </c:pt>
                <c:pt idx="38895">
                  <c:v>-5.1260504201680698E-2</c:v>
                </c:pt>
                <c:pt idx="38896">
                  <c:v>-5.2100840336134401E-2</c:v>
                </c:pt>
                <c:pt idx="38897">
                  <c:v>-5.2100840336134401E-2</c:v>
                </c:pt>
                <c:pt idx="38898">
                  <c:v>-5.1260504201680698E-2</c:v>
                </c:pt>
                <c:pt idx="38899">
                  <c:v>-5.1260504201680698E-2</c:v>
                </c:pt>
                <c:pt idx="38900">
                  <c:v>-5.1260504201680698E-2</c:v>
                </c:pt>
                <c:pt idx="38901">
                  <c:v>-5.1260504201680698E-2</c:v>
                </c:pt>
                <c:pt idx="38902">
                  <c:v>-5.1260504201680698E-2</c:v>
                </c:pt>
                <c:pt idx="38903">
                  <c:v>-5.1260504201680698E-2</c:v>
                </c:pt>
                <c:pt idx="38904">
                  <c:v>-5.1260504201680698E-2</c:v>
                </c:pt>
                <c:pt idx="38905">
                  <c:v>-5.1260504201680698E-2</c:v>
                </c:pt>
                <c:pt idx="38906">
                  <c:v>-5.1260504201680698E-2</c:v>
                </c:pt>
                <c:pt idx="38907">
                  <c:v>-5.1260504201680698E-2</c:v>
                </c:pt>
                <c:pt idx="38908">
                  <c:v>-5.1260504201680698E-2</c:v>
                </c:pt>
                <c:pt idx="38909">
                  <c:v>-5.1260504201680698E-2</c:v>
                </c:pt>
                <c:pt idx="38910">
                  <c:v>-5.1260504201680698E-2</c:v>
                </c:pt>
                <c:pt idx="38911">
                  <c:v>-5.1260504201680698E-2</c:v>
                </c:pt>
                <c:pt idx="38912">
                  <c:v>-5.1260504201680698E-2</c:v>
                </c:pt>
                <c:pt idx="38913">
                  <c:v>-5.1260504201680698E-2</c:v>
                </c:pt>
                <c:pt idx="38914">
                  <c:v>-5.1260504201680698E-2</c:v>
                </c:pt>
                <c:pt idx="38915">
                  <c:v>-5.1260504201680698E-2</c:v>
                </c:pt>
                <c:pt idx="38916">
                  <c:v>-5.1260504201680698E-2</c:v>
                </c:pt>
                <c:pt idx="38917">
                  <c:v>-5.1260504201680698E-2</c:v>
                </c:pt>
                <c:pt idx="38918">
                  <c:v>-5.1260504201680698E-2</c:v>
                </c:pt>
                <c:pt idx="38919">
                  <c:v>-5.1260504201680698E-2</c:v>
                </c:pt>
                <c:pt idx="38920">
                  <c:v>-5.1260504201680698E-2</c:v>
                </c:pt>
                <c:pt idx="38921">
                  <c:v>-5.1260504201680698E-2</c:v>
                </c:pt>
                <c:pt idx="38922">
                  <c:v>-5.1260504201680698E-2</c:v>
                </c:pt>
                <c:pt idx="38923">
                  <c:v>-5.1260504201680698E-2</c:v>
                </c:pt>
                <c:pt idx="38924">
                  <c:v>-5.1260504201680698E-2</c:v>
                </c:pt>
                <c:pt idx="38925">
                  <c:v>-5.1260504201680698E-2</c:v>
                </c:pt>
                <c:pt idx="38926">
                  <c:v>-5.1260504201680698E-2</c:v>
                </c:pt>
                <c:pt idx="38927">
                  <c:v>-5.1260504201680698E-2</c:v>
                </c:pt>
                <c:pt idx="38928">
                  <c:v>-5.1260504201680698E-2</c:v>
                </c:pt>
                <c:pt idx="38929">
                  <c:v>-5.1260504201680698E-2</c:v>
                </c:pt>
                <c:pt idx="38930">
                  <c:v>-5.1260504201680698E-2</c:v>
                </c:pt>
                <c:pt idx="38931">
                  <c:v>-5.1260504201680698E-2</c:v>
                </c:pt>
                <c:pt idx="38932">
                  <c:v>-5.1260504201680698E-2</c:v>
                </c:pt>
                <c:pt idx="38933">
                  <c:v>-5.1260504201680698E-2</c:v>
                </c:pt>
                <c:pt idx="38934">
                  <c:v>-5.1260504201680698E-2</c:v>
                </c:pt>
                <c:pt idx="38935">
                  <c:v>-5.1260504201680698E-2</c:v>
                </c:pt>
                <c:pt idx="38936">
                  <c:v>-5.1260504201680698E-2</c:v>
                </c:pt>
                <c:pt idx="38937">
                  <c:v>-5.1260504201680698E-2</c:v>
                </c:pt>
                <c:pt idx="38938">
                  <c:v>-5.1260504201680698E-2</c:v>
                </c:pt>
                <c:pt idx="38939">
                  <c:v>-5.1260504201680698E-2</c:v>
                </c:pt>
                <c:pt idx="38940">
                  <c:v>-5.2100840336134401E-2</c:v>
                </c:pt>
                <c:pt idx="38941">
                  <c:v>-5.2100840336134401E-2</c:v>
                </c:pt>
                <c:pt idx="38942">
                  <c:v>-5.2100840336134401E-2</c:v>
                </c:pt>
                <c:pt idx="38943">
                  <c:v>-5.2100840336134401E-2</c:v>
                </c:pt>
                <c:pt idx="38944">
                  <c:v>-5.2100840336134401E-2</c:v>
                </c:pt>
                <c:pt idx="38945">
                  <c:v>-5.2100840336134401E-2</c:v>
                </c:pt>
                <c:pt idx="38946">
                  <c:v>-5.2100840336134401E-2</c:v>
                </c:pt>
                <c:pt idx="38947">
                  <c:v>-5.2100840336134401E-2</c:v>
                </c:pt>
                <c:pt idx="38948">
                  <c:v>-5.2100840336134401E-2</c:v>
                </c:pt>
                <c:pt idx="38949">
                  <c:v>-5.2100840336134401E-2</c:v>
                </c:pt>
                <c:pt idx="38950">
                  <c:v>-5.2100840336134401E-2</c:v>
                </c:pt>
                <c:pt idx="38951">
                  <c:v>-5.2100840336134401E-2</c:v>
                </c:pt>
                <c:pt idx="38952">
                  <c:v>-5.2100840336134401E-2</c:v>
                </c:pt>
                <c:pt idx="38953">
                  <c:v>-5.2100840336134401E-2</c:v>
                </c:pt>
                <c:pt idx="38954">
                  <c:v>-5.2100840336134401E-2</c:v>
                </c:pt>
                <c:pt idx="38955">
                  <c:v>-5.2100840336134401E-2</c:v>
                </c:pt>
                <c:pt idx="38956">
                  <c:v>-5.2100840336134401E-2</c:v>
                </c:pt>
                <c:pt idx="38957">
                  <c:v>-5.1260504201680698E-2</c:v>
                </c:pt>
                <c:pt idx="38958">
                  <c:v>-5.1260504201680698E-2</c:v>
                </c:pt>
                <c:pt idx="38959">
                  <c:v>-5.1260504201680698E-2</c:v>
                </c:pt>
                <c:pt idx="38960">
                  <c:v>-5.1260504201680698E-2</c:v>
                </c:pt>
                <c:pt idx="38961">
                  <c:v>-5.1260504201680698E-2</c:v>
                </c:pt>
                <c:pt idx="38962">
                  <c:v>-5.1260504201680698E-2</c:v>
                </c:pt>
                <c:pt idx="38963">
                  <c:v>-5.1260504201680698E-2</c:v>
                </c:pt>
                <c:pt idx="38964">
                  <c:v>-5.1260504201680698E-2</c:v>
                </c:pt>
                <c:pt idx="38965">
                  <c:v>-5.1260504201680698E-2</c:v>
                </c:pt>
                <c:pt idx="38966">
                  <c:v>-5.1260504201680698E-2</c:v>
                </c:pt>
                <c:pt idx="38967">
                  <c:v>-5.1260504201680698E-2</c:v>
                </c:pt>
                <c:pt idx="38968">
                  <c:v>-5.1260504201680698E-2</c:v>
                </c:pt>
                <c:pt idx="38969">
                  <c:v>-5.1260504201680698E-2</c:v>
                </c:pt>
                <c:pt idx="38970">
                  <c:v>-5.1260504201680698E-2</c:v>
                </c:pt>
                <c:pt idx="38971">
                  <c:v>-5.1260504201680698E-2</c:v>
                </c:pt>
                <c:pt idx="38972">
                  <c:v>-5.1260504201680698E-2</c:v>
                </c:pt>
                <c:pt idx="38973">
                  <c:v>-5.1260504201680698E-2</c:v>
                </c:pt>
                <c:pt idx="38974">
                  <c:v>-5.1260504201680698E-2</c:v>
                </c:pt>
                <c:pt idx="38975">
                  <c:v>-5.1260504201680698E-2</c:v>
                </c:pt>
                <c:pt idx="38976">
                  <c:v>-5.1260504201680698E-2</c:v>
                </c:pt>
                <c:pt idx="38977">
                  <c:v>-5.1260504201680698E-2</c:v>
                </c:pt>
                <c:pt idx="38978">
                  <c:v>-5.1260504201680698E-2</c:v>
                </c:pt>
                <c:pt idx="38979">
                  <c:v>-5.1260504201680698E-2</c:v>
                </c:pt>
                <c:pt idx="38980">
                  <c:v>-5.1260504201680698E-2</c:v>
                </c:pt>
                <c:pt idx="38981">
                  <c:v>-5.1260504201680698E-2</c:v>
                </c:pt>
                <c:pt idx="38982">
                  <c:v>-5.1260504201680698E-2</c:v>
                </c:pt>
                <c:pt idx="38983">
                  <c:v>-5.1260504201680698E-2</c:v>
                </c:pt>
                <c:pt idx="38984">
                  <c:v>-5.1260504201680698E-2</c:v>
                </c:pt>
                <c:pt idx="38985">
                  <c:v>-5.1260504201680698E-2</c:v>
                </c:pt>
                <c:pt idx="38986">
                  <c:v>-5.1260504201680698E-2</c:v>
                </c:pt>
                <c:pt idx="38987">
                  <c:v>-5.1260504201680698E-2</c:v>
                </c:pt>
                <c:pt idx="38988">
                  <c:v>-5.1260504201680698E-2</c:v>
                </c:pt>
                <c:pt idx="38989">
                  <c:v>-5.1260504201680698E-2</c:v>
                </c:pt>
                <c:pt idx="38990">
                  <c:v>-5.1260504201680698E-2</c:v>
                </c:pt>
                <c:pt idx="38991">
                  <c:v>-5.1260504201680698E-2</c:v>
                </c:pt>
                <c:pt idx="38992">
                  <c:v>-5.1260504201680698E-2</c:v>
                </c:pt>
                <c:pt idx="38993">
                  <c:v>-5.1260504201680698E-2</c:v>
                </c:pt>
                <c:pt idx="38994">
                  <c:v>-5.1260504201680698E-2</c:v>
                </c:pt>
                <c:pt idx="38995">
                  <c:v>-5.1260504201680698E-2</c:v>
                </c:pt>
                <c:pt idx="38996">
                  <c:v>-5.1260504201680698E-2</c:v>
                </c:pt>
                <c:pt idx="38997">
                  <c:v>-5.1260504201680698E-2</c:v>
                </c:pt>
                <c:pt idx="38998">
                  <c:v>-5.1260504201680698E-2</c:v>
                </c:pt>
                <c:pt idx="38999">
                  <c:v>-5.1260504201680698E-2</c:v>
                </c:pt>
                <c:pt idx="39000">
                  <c:v>-5.1260504201680698E-2</c:v>
                </c:pt>
                <c:pt idx="39001">
                  <c:v>-5.1260504201680698E-2</c:v>
                </c:pt>
                <c:pt idx="39002">
                  <c:v>-5.1260504201680698E-2</c:v>
                </c:pt>
                <c:pt idx="39003">
                  <c:v>-5.1260504201680698E-2</c:v>
                </c:pt>
                <c:pt idx="39004">
                  <c:v>-5.1260504201680698E-2</c:v>
                </c:pt>
                <c:pt idx="39005">
                  <c:v>-5.1260504201680698E-2</c:v>
                </c:pt>
                <c:pt idx="39006">
                  <c:v>-5.1260504201680698E-2</c:v>
                </c:pt>
                <c:pt idx="39007">
                  <c:v>-5.1260504201680698E-2</c:v>
                </c:pt>
                <c:pt idx="39008">
                  <c:v>-5.1260504201680698E-2</c:v>
                </c:pt>
                <c:pt idx="39009">
                  <c:v>-5.1260504201680698E-2</c:v>
                </c:pt>
                <c:pt idx="39010">
                  <c:v>-5.1260504201680698E-2</c:v>
                </c:pt>
                <c:pt idx="39011">
                  <c:v>-5.1260504201680698E-2</c:v>
                </c:pt>
                <c:pt idx="39012">
                  <c:v>-5.1260504201680698E-2</c:v>
                </c:pt>
                <c:pt idx="39013">
                  <c:v>-5.1260504201680698E-2</c:v>
                </c:pt>
                <c:pt idx="39014">
                  <c:v>-5.1260504201680698E-2</c:v>
                </c:pt>
                <c:pt idx="39015">
                  <c:v>-5.1260504201680698E-2</c:v>
                </c:pt>
                <c:pt idx="39016">
                  <c:v>-5.1260504201680698E-2</c:v>
                </c:pt>
                <c:pt idx="39017">
                  <c:v>-5.1260504201680698E-2</c:v>
                </c:pt>
                <c:pt idx="39018">
                  <c:v>-5.1260504201680698E-2</c:v>
                </c:pt>
                <c:pt idx="39019">
                  <c:v>-5.1260504201680698E-2</c:v>
                </c:pt>
                <c:pt idx="39020">
                  <c:v>-5.1260504201680698E-2</c:v>
                </c:pt>
                <c:pt idx="39021">
                  <c:v>-5.1260504201680698E-2</c:v>
                </c:pt>
                <c:pt idx="39022">
                  <c:v>-5.1260504201680698E-2</c:v>
                </c:pt>
                <c:pt idx="39023">
                  <c:v>-5.1260504201680698E-2</c:v>
                </c:pt>
                <c:pt idx="39024">
                  <c:v>-5.0420168067226899E-2</c:v>
                </c:pt>
                <c:pt idx="39025">
                  <c:v>-5.0420168067226899E-2</c:v>
                </c:pt>
                <c:pt idx="39026">
                  <c:v>-5.0420168067226899E-2</c:v>
                </c:pt>
                <c:pt idx="39027">
                  <c:v>-5.0420168067226899E-2</c:v>
                </c:pt>
                <c:pt idx="39028">
                  <c:v>-5.0420168067226899E-2</c:v>
                </c:pt>
                <c:pt idx="39029">
                  <c:v>-5.0420168067226899E-2</c:v>
                </c:pt>
                <c:pt idx="39030">
                  <c:v>-5.0420168067226899E-2</c:v>
                </c:pt>
                <c:pt idx="39031">
                  <c:v>-5.0420168067226899E-2</c:v>
                </c:pt>
                <c:pt idx="39032">
                  <c:v>-5.0420168067226899E-2</c:v>
                </c:pt>
                <c:pt idx="39033">
                  <c:v>-5.0420168067226899E-2</c:v>
                </c:pt>
                <c:pt idx="39034">
                  <c:v>-5.0420168067226899E-2</c:v>
                </c:pt>
                <c:pt idx="39035">
                  <c:v>-5.0420168067226899E-2</c:v>
                </c:pt>
                <c:pt idx="39036">
                  <c:v>-5.0420168067226899E-2</c:v>
                </c:pt>
                <c:pt idx="39037">
                  <c:v>-5.0420168067226899E-2</c:v>
                </c:pt>
                <c:pt idx="39038">
                  <c:v>-5.0420168067226899E-2</c:v>
                </c:pt>
                <c:pt idx="39039">
                  <c:v>-5.0420168067226899E-2</c:v>
                </c:pt>
                <c:pt idx="39040">
                  <c:v>-5.0420168067226899E-2</c:v>
                </c:pt>
                <c:pt idx="39041">
                  <c:v>-5.0420168067226899E-2</c:v>
                </c:pt>
                <c:pt idx="39042">
                  <c:v>-5.0420168067226899E-2</c:v>
                </c:pt>
                <c:pt idx="39043">
                  <c:v>-5.0420168067226899E-2</c:v>
                </c:pt>
                <c:pt idx="39044">
                  <c:v>-5.0420168067226899E-2</c:v>
                </c:pt>
                <c:pt idx="39045">
                  <c:v>-5.0420168067226899E-2</c:v>
                </c:pt>
                <c:pt idx="39046">
                  <c:v>-5.0420168067226899E-2</c:v>
                </c:pt>
                <c:pt idx="39047">
                  <c:v>-5.0420168067226899E-2</c:v>
                </c:pt>
                <c:pt idx="39048">
                  <c:v>-5.0420168067226899E-2</c:v>
                </c:pt>
                <c:pt idx="39049">
                  <c:v>-5.0420168067226899E-2</c:v>
                </c:pt>
                <c:pt idx="39050">
                  <c:v>-5.0420168067226899E-2</c:v>
                </c:pt>
                <c:pt idx="39051">
                  <c:v>-5.0420168067226899E-2</c:v>
                </c:pt>
                <c:pt idx="39052">
                  <c:v>-5.0420168067226899E-2</c:v>
                </c:pt>
                <c:pt idx="39053">
                  <c:v>-5.0420168067226899E-2</c:v>
                </c:pt>
                <c:pt idx="39054">
                  <c:v>-5.0420168067226899E-2</c:v>
                </c:pt>
                <c:pt idx="39055">
                  <c:v>-5.0420168067226899E-2</c:v>
                </c:pt>
                <c:pt idx="39056">
                  <c:v>-5.0420168067226899E-2</c:v>
                </c:pt>
                <c:pt idx="39057">
                  <c:v>-5.0420168067226899E-2</c:v>
                </c:pt>
                <c:pt idx="39058">
                  <c:v>-5.0420168067226899E-2</c:v>
                </c:pt>
                <c:pt idx="39059">
                  <c:v>-5.0420168067226899E-2</c:v>
                </c:pt>
                <c:pt idx="39060">
                  <c:v>-5.0420168067226899E-2</c:v>
                </c:pt>
                <c:pt idx="39061">
                  <c:v>-5.0420168067226899E-2</c:v>
                </c:pt>
                <c:pt idx="39062">
                  <c:v>-5.0420168067226899E-2</c:v>
                </c:pt>
                <c:pt idx="39063">
                  <c:v>-5.0420168067226899E-2</c:v>
                </c:pt>
                <c:pt idx="39064">
                  <c:v>-5.0420168067226899E-2</c:v>
                </c:pt>
                <c:pt idx="39065">
                  <c:v>-5.0420168067226899E-2</c:v>
                </c:pt>
                <c:pt idx="39066">
                  <c:v>-5.0420168067226899E-2</c:v>
                </c:pt>
                <c:pt idx="39067">
                  <c:v>-5.0420168067226899E-2</c:v>
                </c:pt>
                <c:pt idx="39068">
                  <c:v>-5.0420168067226899E-2</c:v>
                </c:pt>
                <c:pt idx="39069">
                  <c:v>-5.0420168067226899E-2</c:v>
                </c:pt>
                <c:pt idx="39070">
                  <c:v>-4.95798319327731E-2</c:v>
                </c:pt>
                <c:pt idx="39071">
                  <c:v>-4.95798319327731E-2</c:v>
                </c:pt>
                <c:pt idx="39072">
                  <c:v>-4.95798319327731E-2</c:v>
                </c:pt>
                <c:pt idx="39073">
                  <c:v>-4.95798319327731E-2</c:v>
                </c:pt>
                <c:pt idx="39074">
                  <c:v>-4.95798319327731E-2</c:v>
                </c:pt>
                <c:pt idx="39075">
                  <c:v>-4.95798319327731E-2</c:v>
                </c:pt>
                <c:pt idx="39076">
                  <c:v>-4.95798319327731E-2</c:v>
                </c:pt>
                <c:pt idx="39077">
                  <c:v>-4.95798319327731E-2</c:v>
                </c:pt>
                <c:pt idx="39078">
                  <c:v>-4.95798319327731E-2</c:v>
                </c:pt>
                <c:pt idx="39079">
                  <c:v>-4.95798319327731E-2</c:v>
                </c:pt>
                <c:pt idx="39080">
                  <c:v>-4.95798319327731E-2</c:v>
                </c:pt>
                <c:pt idx="39081">
                  <c:v>-4.95798319327731E-2</c:v>
                </c:pt>
                <c:pt idx="39082">
                  <c:v>-4.95798319327731E-2</c:v>
                </c:pt>
                <c:pt idx="39083">
                  <c:v>-4.95798319327731E-2</c:v>
                </c:pt>
                <c:pt idx="39084">
                  <c:v>-4.95798319327731E-2</c:v>
                </c:pt>
                <c:pt idx="39085">
                  <c:v>-4.95798319327731E-2</c:v>
                </c:pt>
                <c:pt idx="39086">
                  <c:v>-4.95798319327731E-2</c:v>
                </c:pt>
                <c:pt idx="39087">
                  <c:v>-4.95798319327731E-2</c:v>
                </c:pt>
                <c:pt idx="39088">
                  <c:v>-4.95798319327731E-2</c:v>
                </c:pt>
                <c:pt idx="39089">
                  <c:v>-4.95798319327731E-2</c:v>
                </c:pt>
                <c:pt idx="39090">
                  <c:v>-4.95798319327731E-2</c:v>
                </c:pt>
                <c:pt idx="39091">
                  <c:v>-4.95798319327731E-2</c:v>
                </c:pt>
                <c:pt idx="39092">
                  <c:v>-4.95798319327731E-2</c:v>
                </c:pt>
                <c:pt idx="39093">
                  <c:v>-4.95798319327731E-2</c:v>
                </c:pt>
                <c:pt idx="39094">
                  <c:v>-4.95798319327731E-2</c:v>
                </c:pt>
                <c:pt idx="39095">
                  <c:v>-4.95798319327731E-2</c:v>
                </c:pt>
                <c:pt idx="39096">
                  <c:v>-4.95798319327731E-2</c:v>
                </c:pt>
                <c:pt idx="39097">
                  <c:v>-4.95798319327731E-2</c:v>
                </c:pt>
                <c:pt idx="39098">
                  <c:v>-4.95798319327731E-2</c:v>
                </c:pt>
                <c:pt idx="39099">
                  <c:v>-4.95798319327731E-2</c:v>
                </c:pt>
                <c:pt idx="39100">
                  <c:v>-4.95798319327731E-2</c:v>
                </c:pt>
                <c:pt idx="39101">
                  <c:v>-4.95798319327731E-2</c:v>
                </c:pt>
                <c:pt idx="39102">
                  <c:v>-4.95798319327731E-2</c:v>
                </c:pt>
                <c:pt idx="39103">
                  <c:v>-4.95798319327731E-2</c:v>
                </c:pt>
                <c:pt idx="39104">
                  <c:v>-4.95798319327731E-2</c:v>
                </c:pt>
                <c:pt idx="39105">
                  <c:v>-4.95798319327731E-2</c:v>
                </c:pt>
                <c:pt idx="39106">
                  <c:v>-4.95798319327731E-2</c:v>
                </c:pt>
                <c:pt idx="39107">
                  <c:v>-4.95798319327731E-2</c:v>
                </c:pt>
                <c:pt idx="39108">
                  <c:v>-4.95798319327731E-2</c:v>
                </c:pt>
                <c:pt idx="39109">
                  <c:v>-4.95798319327731E-2</c:v>
                </c:pt>
                <c:pt idx="39110">
                  <c:v>-4.95798319327731E-2</c:v>
                </c:pt>
                <c:pt idx="39111">
                  <c:v>-4.95798319327731E-2</c:v>
                </c:pt>
                <c:pt idx="39112">
                  <c:v>-4.95798319327731E-2</c:v>
                </c:pt>
                <c:pt idx="39113">
                  <c:v>-4.95798319327731E-2</c:v>
                </c:pt>
                <c:pt idx="39114">
                  <c:v>-4.95798319327731E-2</c:v>
                </c:pt>
                <c:pt idx="39115">
                  <c:v>-4.95798319327731E-2</c:v>
                </c:pt>
                <c:pt idx="39116">
                  <c:v>-4.95798319327731E-2</c:v>
                </c:pt>
                <c:pt idx="39117">
                  <c:v>-4.95798319327731E-2</c:v>
                </c:pt>
                <c:pt idx="39118">
                  <c:v>-4.95798319327731E-2</c:v>
                </c:pt>
                <c:pt idx="39119">
                  <c:v>-4.95798319327731E-2</c:v>
                </c:pt>
                <c:pt idx="39120">
                  <c:v>-4.95798319327731E-2</c:v>
                </c:pt>
                <c:pt idx="39121">
                  <c:v>-4.95798319327731E-2</c:v>
                </c:pt>
                <c:pt idx="39122">
                  <c:v>-4.95798319327731E-2</c:v>
                </c:pt>
                <c:pt idx="39123">
                  <c:v>-4.95798319327731E-2</c:v>
                </c:pt>
                <c:pt idx="39124">
                  <c:v>-4.95798319327731E-2</c:v>
                </c:pt>
                <c:pt idx="39125">
                  <c:v>-4.95798319327731E-2</c:v>
                </c:pt>
                <c:pt idx="39126">
                  <c:v>-4.95798319327731E-2</c:v>
                </c:pt>
                <c:pt idx="39127">
                  <c:v>-4.95798319327731E-2</c:v>
                </c:pt>
                <c:pt idx="39128">
                  <c:v>-4.95798319327731E-2</c:v>
                </c:pt>
                <c:pt idx="39129">
                  <c:v>-4.95798319327731E-2</c:v>
                </c:pt>
                <c:pt idx="39130">
                  <c:v>-4.95798319327731E-2</c:v>
                </c:pt>
                <c:pt idx="39131">
                  <c:v>-4.95798319327731E-2</c:v>
                </c:pt>
                <c:pt idx="39132">
                  <c:v>-4.95798319327731E-2</c:v>
                </c:pt>
                <c:pt idx="39133">
                  <c:v>-4.95798319327731E-2</c:v>
                </c:pt>
                <c:pt idx="39134">
                  <c:v>-4.95798319327731E-2</c:v>
                </c:pt>
                <c:pt idx="39135">
                  <c:v>-4.95798319327731E-2</c:v>
                </c:pt>
                <c:pt idx="39136">
                  <c:v>-4.95798319327731E-2</c:v>
                </c:pt>
                <c:pt idx="39137">
                  <c:v>-4.95798319327731E-2</c:v>
                </c:pt>
                <c:pt idx="39138">
                  <c:v>-4.95798319327731E-2</c:v>
                </c:pt>
                <c:pt idx="39139">
                  <c:v>-4.95798319327731E-2</c:v>
                </c:pt>
                <c:pt idx="39140">
                  <c:v>-4.95798319327731E-2</c:v>
                </c:pt>
                <c:pt idx="39141">
                  <c:v>-4.95798319327731E-2</c:v>
                </c:pt>
                <c:pt idx="39142">
                  <c:v>-4.95798319327731E-2</c:v>
                </c:pt>
                <c:pt idx="39143">
                  <c:v>-4.95798319327731E-2</c:v>
                </c:pt>
                <c:pt idx="39144">
                  <c:v>-4.95798319327731E-2</c:v>
                </c:pt>
                <c:pt idx="39145">
                  <c:v>-4.95798319327731E-2</c:v>
                </c:pt>
                <c:pt idx="39146">
                  <c:v>-4.95798319327731E-2</c:v>
                </c:pt>
                <c:pt idx="39147">
                  <c:v>-4.95798319327731E-2</c:v>
                </c:pt>
                <c:pt idx="39148">
                  <c:v>-4.95798319327731E-2</c:v>
                </c:pt>
                <c:pt idx="39149">
                  <c:v>-4.95798319327731E-2</c:v>
                </c:pt>
                <c:pt idx="39150">
                  <c:v>-4.95798319327731E-2</c:v>
                </c:pt>
                <c:pt idx="39151">
                  <c:v>-4.95798319327731E-2</c:v>
                </c:pt>
                <c:pt idx="39152">
                  <c:v>-4.95798319327731E-2</c:v>
                </c:pt>
                <c:pt idx="39153">
                  <c:v>-4.95798319327731E-2</c:v>
                </c:pt>
                <c:pt idx="39154">
                  <c:v>-4.95798319327731E-2</c:v>
                </c:pt>
                <c:pt idx="39155">
                  <c:v>-4.95798319327731E-2</c:v>
                </c:pt>
                <c:pt idx="39156">
                  <c:v>-4.95798319327731E-2</c:v>
                </c:pt>
                <c:pt idx="39157">
                  <c:v>-4.95798319327731E-2</c:v>
                </c:pt>
                <c:pt idx="39158">
                  <c:v>-4.95798319327731E-2</c:v>
                </c:pt>
                <c:pt idx="39159">
                  <c:v>-4.95798319327731E-2</c:v>
                </c:pt>
                <c:pt idx="39160">
                  <c:v>-4.95798319327731E-2</c:v>
                </c:pt>
                <c:pt idx="39161">
                  <c:v>-4.95798319327731E-2</c:v>
                </c:pt>
                <c:pt idx="39162">
                  <c:v>-4.95798319327731E-2</c:v>
                </c:pt>
                <c:pt idx="39163">
                  <c:v>-4.95798319327731E-2</c:v>
                </c:pt>
                <c:pt idx="39164">
                  <c:v>-4.95798319327731E-2</c:v>
                </c:pt>
                <c:pt idx="39165">
                  <c:v>-4.95798319327731E-2</c:v>
                </c:pt>
                <c:pt idx="39166">
                  <c:v>-4.95798319327731E-2</c:v>
                </c:pt>
                <c:pt idx="39167">
                  <c:v>-4.95798319327731E-2</c:v>
                </c:pt>
                <c:pt idx="39168">
                  <c:v>-4.95798319327731E-2</c:v>
                </c:pt>
                <c:pt idx="39169">
                  <c:v>-4.95798319327731E-2</c:v>
                </c:pt>
                <c:pt idx="39170">
                  <c:v>-4.95798319327731E-2</c:v>
                </c:pt>
                <c:pt idx="39171">
                  <c:v>-4.95798319327731E-2</c:v>
                </c:pt>
                <c:pt idx="39172">
                  <c:v>-5.0420168067226899E-2</c:v>
                </c:pt>
                <c:pt idx="39173">
                  <c:v>-4.95798319327731E-2</c:v>
                </c:pt>
                <c:pt idx="39174">
                  <c:v>-4.95798319327731E-2</c:v>
                </c:pt>
                <c:pt idx="39175">
                  <c:v>-4.95798319327731E-2</c:v>
                </c:pt>
                <c:pt idx="39176">
                  <c:v>-4.95798319327731E-2</c:v>
                </c:pt>
                <c:pt idx="39177">
                  <c:v>-4.95798319327731E-2</c:v>
                </c:pt>
                <c:pt idx="39178">
                  <c:v>-4.95798319327731E-2</c:v>
                </c:pt>
                <c:pt idx="39179">
                  <c:v>-4.95798319327731E-2</c:v>
                </c:pt>
                <c:pt idx="39180">
                  <c:v>-4.95798319327731E-2</c:v>
                </c:pt>
                <c:pt idx="39181">
                  <c:v>-4.95798319327731E-2</c:v>
                </c:pt>
                <c:pt idx="39182">
                  <c:v>-4.95798319327731E-2</c:v>
                </c:pt>
                <c:pt idx="39183">
                  <c:v>-4.95798319327731E-2</c:v>
                </c:pt>
                <c:pt idx="39184">
                  <c:v>-4.95798319327731E-2</c:v>
                </c:pt>
                <c:pt idx="39185">
                  <c:v>-4.95798319327731E-2</c:v>
                </c:pt>
                <c:pt idx="39186">
                  <c:v>-4.95798319327731E-2</c:v>
                </c:pt>
                <c:pt idx="39187">
                  <c:v>-4.95798319327731E-2</c:v>
                </c:pt>
                <c:pt idx="39188">
                  <c:v>-4.95798319327731E-2</c:v>
                </c:pt>
                <c:pt idx="39189">
                  <c:v>-4.95798319327731E-2</c:v>
                </c:pt>
                <c:pt idx="39190">
                  <c:v>-4.95798319327731E-2</c:v>
                </c:pt>
                <c:pt idx="39191">
                  <c:v>-4.95798319327731E-2</c:v>
                </c:pt>
                <c:pt idx="39192">
                  <c:v>-4.95798319327731E-2</c:v>
                </c:pt>
                <c:pt idx="39193">
                  <c:v>-4.95798319327731E-2</c:v>
                </c:pt>
                <c:pt idx="39194">
                  <c:v>-4.95798319327731E-2</c:v>
                </c:pt>
                <c:pt idx="39195">
                  <c:v>-4.95798319327731E-2</c:v>
                </c:pt>
                <c:pt idx="39196">
                  <c:v>-4.95798319327731E-2</c:v>
                </c:pt>
                <c:pt idx="39197">
                  <c:v>-4.95798319327731E-2</c:v>
                </c:pt>
                <c:pt idx="39198">
                  <c:v>-4.95798319327731E-2</c:v>
                </c:pt>
                <c:pt idx="39199">
                  <c:v>-4.95798319327731E-2</c:v>
                </c:pt>
                <c:pt idx="39200">
                  <c:v>-4.95798319327731E-2</c:v>
                </c:pt>
                <c:pt idx="39201">
                  <c:v>-4.95798319327731E-2</c:v>
                </c:pt>
                <c:pt idx="39202">
                  <c:v>-5.0420168067226899E-2</c:v>
                </c:pt>
                <c:pt idx="39203">
                  <c:v>-5.0420168067226899E-2</c:v>
                </c:pt>
                <c:pt idx="39204">
                  <c:v>-5.0420168067226899E-2</c:v>
                </c:pt>
                <c:pt idx="39205">
                  <c:v>-5.0420168067226899E-2</c:v>
                </c:pt>
                <c:pt idx="39206">
                  <c:v>-5.0420168067226899E-2</c:v>
                </c:pt>
                <c:pt idx="39207">
                  <c:v>-5.0420168067226899E-2</c:v>
                </c:pt>
                <c:pt idx="39208">
                  <c:v>-5.0420168067226899E-2</c:v>
                </c:pt>
                <c:pt idx="39209">
                  <c:v>-5.0420168067226899E-2</c:v>
                </c:pt>
                <c:pt idx="39210">
                  <c:v>-5.0420168067226899E-2</c:v>
                </c:pt>
                <c:pt idx="39211">
                  <c:v>-5.0420168067226899E-2</c:v>
                </c:pt>
                <c:pt idx="39212">
                  <c:v>-5.0420168067226899E-2</c:v>
                </c:pt>
                <c:pt idx="39213">
                  <c:v>-5.0420168067226899E-2</c:v>
                </c:pt>
                <c:pt idx="39214">
                  <c:v>-5.0420168067226899E-2</c:v>
                </c:pt>
                <c:pt idx="39215">
                  <c:v>-5.0420168067226899E-2</c:v>
                </c:pt>
                <c:pt idx="39216">
                  <c:v>-5.1260504201680698E-2</c:v>
                </c:pt>
                <c:pt idx="39217">
                  <c:v>-5.1260504201680698E-2</c:v>
                </c:pt>
                <c:pt idx="39218">
                  <c:v>-5.1260504201680698E-2</c:v>
                </c:pt>
                <c:pt idx="39219">
                  <c:v>-5.1260504201680698E-2</c:v>
                </c:pt>
                <c:pt idx="39220">
                  <c:v>-5.1260504201680698E-2</c:v>
                </c:pt>
                <c:pt idx="39221">
                  <c:v>-5.1260504201680698E-2</c:v>
                </c:pt>
                <c:pt idx="39222">
                  <c:v>-5.1260504201680698E-2</c:v>
                </c:pt>
                <c:pt idx="39223">
                  <c:v>-5.1260504201680698E-2</c:v>
                </c:pt>
                <c:pt idx="39224">
                  <c:v>-5.1260504201680698E-2</c:v>
                </c:pt>
                <c:pt idx="39225">
                  <c:v>-5.1260504201680698E-2</c:v>
                </c:pt>
                <c:pt idx="39226">
                  <c:v>-5.1260504201680698E-2</c:v>
                </c:pt>
                <c:pt idx="39227">
                  <c:v>-5.1260504201680698E-2</c:v>
                </c:pt>
                <c:pt idx="39228">
                  <c:v>-5.1260504201680698E-2</c:v>
                </c:pt>
                <c:pt idx="39229">
                  <c:v>-5.1260504201680698E-2</c:v>
                </c:pt>
                <c:pt idx="39230">
                  <c:v>-5.1260504201680698E-2</c:v>
                </c:pt>
                <c:pt idx="39231">
                  <c:v>-5.1260504201680698E-2</c:v>
                </c:pt>
                <c:pt idx="39232">
                  <c:v>-5.1260504201680698E-2</c:v>
                </c:pt>
                <c:pt idx="39233">
                  <c:v>-5.1260504201680698E-2</c:v>
                </c:pt>
                <c:pt idx="39234">
                  <c:v>-5.1260504201680698E-2</c:v>
                </c:pt>
                <c:pt idx="39235">
                  <c:v>-5.1260504201680698E-2</c:v>
                </c:pt>
                <c:pt idx="39236">
                  <c:v>-5.1260504201680698E-2</c:v>
                </c:pt>
                <c:pt idx="39237">
                  <c:v>-5.1260504201680698E-2</c:v>
                </c:pt>
                <c:pt idx="39238">
                  <c:v>-5.1260504201680698E-2</c:v>
                </c:pt>
                <c:pt idx="39239">
                  <c:v>-5.1260504201680698E-2</c:v>
                </c:pt>
                <c:pt idx="39240">
                  <c:v>-5.1260504201680698E-2</c:v>
                </c:pt>
                <c:pt idx="39241">
                  <c:v>-5.1260504201680698E-2</c:v>
                </c:pt>
                <c:pt idx="39242">
                  <c:v>-5.1260504201680698E-2</c:v>
                </c:pt>
                <c:pt idx="39243">
                  <c:v>-5.1260504201680698E-2</c:v>
                </c:pt>
                <c:pt idx="39244">
                  <c:v>-5.1260504201680698E-2</c:v>
                </c:pt>
                <c:pt idx="39245">
                  <c:v>-5.1260504201680698E-2</c:v>
                </c:pt>
                <c:pt idx="39246">
                  <c:v>-5.1260504201680698E-2</c:v>
                </c:pt>
                <c:pt idx="39247">
                  <c:v>-5.1260504201680698E-2</c:v>
                </c:pt>
                <c:pt idx="39248">
                  <c:v>-5.1260504201680698E-2</c:v>
                </c:pt>
                <c:pt idx="39249">
                  <c:v>-5.1260504201680698E-2</c:v>
                </c:pt>
                <c:pt idx="39250">
                  <c:v>-5.1260504201680698E-2</c:v>
                </c:pt>
                <c:pt idx="39251">
                  <c:v>-5.1260504201680698E-2</c:v>
                </c:pt>
                <c:pt idx="39252">
                  <c:v>-5.1260504201680698E-2</c:v>
                </c:pt>
                <c:pt idx="39253">
                  <c:v>-5.1260504201680698E-2</c:v>
                </c:pt>
                <c:pt idx="39254">
                  <c:v>-5.1260504201680698E-2</c:v>
                </c:pt>
                <c:pt idx="39255">
                  <c:v>-5.1260504201680698E-2</c:v>
                </c:pt>
                <c:pt idx="39256">
                  <c:v>-5.1260504201680698E-2</c:v>
                </c:pt>
                <c:pt idx="39257">
                  <c:v>-5.1260504201680698E-2</c:v>
                </c:pt>
                <c:pt idx="39258">
                  <c:v>-5.1260504201680698E-2</c:v>
                </c:pt>
                <c:pt idx="39259">
                  <c:v>-5.1260504201680698E-2</c:v>
                </c:pt>
                <c:pt idx="39260">
                  <c:v>-5.1260504201680698E-2</c:v>
                </c:pt>
                <c:pt idx="39261">
                  <c:v>-5.1260504201680698E-2</c:v>
                </c:pt>
                <c:pt idx="39262">
                  <c:v>-5.1260504201680698E-2</c:v>
                </c:pt>
                <c:pt idx="39263">
                  <c:v>-5.1260504201680698E-2</c:v>
                </c:pt>
                <c:pt idx="39264">
                  <c:v>-5.1260504201680698E-2</c:v>
                </c:pt>
                <c:pt idx="39265">
                  <c:v>-5.1260504201680698E-2</c:v>
                </c:pt>
                <c:pt idx="39266">
                  <c:v>-5.1260504201680698E-2</c:v>
                </c:pt>
                <c:pt idx="39267">
                  <c:v>-5.1260504201680698E-2</c:v>
                </c:pt>
                <c:pt idx="39268">
                  <c:v>-5.1260504201680698E-2</c:v>
                </c:pt>
                <c:pt idx="39269">
                  <c:v>-5.1260504201680698E-2</c:v>
                </c:pt>
                <c:pt idx="39270">
                  <c:v>-5.1260504201680698E-2</c:v>
                </c:pt>
                <c:pt idx="39271">
                  <c:v>-5.1260504201680698E-2</c:v>
                </c:pt>
                <c:pt idx="39272">
                  <c:v>-5.1260504201680698E-2</c:v>
                </c:pt>
                <c:pt idx="39273">
                  <c:v>-5.1260504201680698E-2</c:v>
                </c:pt>
                <c:pt idx="39274">
                  <c:v>-5.1260504201680698E-2</c:v>
                </c:pt>
                <c:pt idx="39275">
                  <c:v>-5.1260504201680698E-2</c:v>
                </c:pt>
                <c:pt idx="39276">
                  <c:v>-5.1260504201680698E-2</c:v>
                </c:pt>
                <c:pt idx="39277">
                  <c:v>-5.1260504201680698E-2</c:v>
                </c:pt>
                <c:pt idx="39278">
                  <c:v>-5.1260504201680698E-2</c:v>
                </c:pt>
                <c:pt idx="39279">
                  <c:v>-5.1260504201680698E-2</c:v>
                </c:pt>
                <c:pt idx="39280">
                  <c:v>-5.1260504201680698E-2</c:v>
                </c:pt>
                <c:pt idx="39281">
                  <c:v>-5.1260504201680698E-2</c:v>
                </c:pt>
                <c:pt idx="39282">
                  <c:v>-5.1260504201680698E-2</c:v>
                </c:pt>
                <c:pt idx="39283">
                  <c:v>-5.1260504201680698E-2</c:v>
                </c:pt>
                <c:pt idx="39284">
                  <c:v>-5.1260504201680698E-2</c:v>
                </c:pt>
                <c:pt idx="39285">
                  <c:v>-5.1260504201680698E-2</c:v>
                </c:pt>
                <c:pt idx="39286">
                  <c:v>-5.1260504201680698E-2</c:v>
                </c:pt>
                <c:pt idx="39287">
                  <c:v>-5.1260504201680698E-2</c:v>
                </c:pt>
                <c:pt idx="39288">
                  <c:v>-5.1260504201680698E-2</c:v>
                </c:pt>
                <c:pt idx="39289">
                  <c:v>-5.1260504201680698E-2</c:v>
                </c:pt>
                <c:pt idx="39290">
                  <c:v>-5.1260504201680698E-2</c:v>
                </c:pt>
                <c:pt idx="39291">
                  <c:v>-5.1260504201680698E-2</c:v>
                </c:pt>
                <c:pt idx="39292">
                  <c:v>-5.1260504201680698E-2</c:v>
                </c:pt>
                <c:pt idx="39293">
                  <c:v>-5.1260504201680698E-2</c:v>
                </c:pt>
                <c:pt idx="39294">
                  <c:v>-5.1260504201680698E-2</c:v>
                </c:pt>
                <c:pt idx="39295">
                  <c:v>-5.1260504201680698E-2</c:v>
                </c:pt>
                <c:pt idx="39296">
                  <c:v>-5.1260504201680698E-2</c:v>
                </c:pt>
                <c:pt idx="39297">
                  <c:v>-5.1260504201680698E-2</c:v>
                </c:pt>
                <c:pt idx="39298">
                  <c:v>-5.1260504201680698E-2</c:v>
                </c:pt>
                <c:pt idx="39299">
                  <c:v>-5.1260504201680698E-2</c:v>
                </c:pt>
                <c:pt idx="39300">
                  <c:v>-5.1260504201680698E-2</c:v>
                </c:pt>
                <c:pt idx="39301">
                  <c:v>-5.1260504201680698E-2</c:v>
                </c:pt>
                <c:pt idx="39302">
                  <c:v>-5.1260504201680698E-2</c:v>
                </c:pt>
                <c:pt idx="39303">
                  <c:v>-5.1260504201680698E-2</c:v>
                </c:pt>
                <c:pt idx="39304">
                  <c:v>-5.1260504201680698E-2</c:v>
                </c:pt>
                <c:pt idx="39305">
                  <c:v>-5.0420168067226899E-2</c:v>
                </c:pt>
                <c:pt idx="39306">
                  <c:v>-5.0420168067226899E-2</c:v>
                </c:pt>
                <c:pt idx="39307">
                  <c:v>-5.0420168067226899E-2</c:v>
                </c:pt>
                <c:pt idx="39308">
                  <c:v>-5.0420168067226899E-2</c:v>
                </c:pt>
                <c:pt idx="39309">
                  <c:v>-5.0420168067226899E-2</c:v>
                </c:pt>
                <c:pt idx="39310">
                  <c:v>-5.0420168067226899E-2</c:v>
                </c:pt>
                <c:pt idx="39311">
                  <c:v>-5.0420168067226899E-2</c:v>
                </c:pt>
                <c:pt idx="39312">
                  <c:v>-5.0420168067226899E-2</c:v>
                </c:pt>
                <c:pt idx="39313">
                  <c:v>-5.0420168067226899E-2</c:v>
                </c:pt>
                <c:pt idx="39314">
                  <c:v>-5.0420168067226899E-2</c:v>
                </c:pt>
                <c:pt idx="39315">
                  <c:v>-5.0420168067226899E-2</c:v>
                </c:pt>
                <c:pt idx="39316">
                  <c:v>-5.0420168067226899E-2</c:v>
                </c:pt>
                <c:pt idx="39317">
                  <c:v>-5.0420168067226899E-2</c:v>
                </c:pt>
                <c:pt idx="39318">
                  <c:v>-5.0420168067226899E-2</c:v>
                </c:pt>
                <c:pt idx="39319">
                  <c:v>-5.0420168067226899E-2</c:v>
                </c:pt>
                <c:pt idx="39320">
                  <c:v>-5.0420168067226899E-2</c:v>
                </c:pt>
                <c:pt idx="39321">
                  <c:v>-5.0420168067226899E-2</c:v>
                </c:pt>
                <c:pt idx="39322">
                  <c:v>-5.0420168067226899E-2</c:v>
                </c:pt>
                <c:pt idx="39323">
                  <c:v>-5.0420168067226899E-2</c:v>
                </c:pt>
                <c:pt idx="39324">
                  <c:v>-5.0420168067226899E-2</c:v>
                </c:pt>
                <c:pt idx="39325">
                  <c:v>-5.0420168067226899E-2</c:v>
                </c:pt>
                <c:pt idx="39326">
                  <c:v>-5.0420168067226899E-2</c:v>
                </c:pt>
                <c:pt idx="39327">
                  <c:v>-5.0420168067226899E-2</c:v>
                </c:pt>
                <c:pt idx="39328">
                  <c:v>-5.0420168067226899E-2</c:v>
                </c:pt>
                <c:pt idx="39329">
                  <c:v>-5.0420168067226899E-2</c:v>
                </c:pt>
                <c:pt idx="39330">
                  <c:v>-5.0420168067226899E-2</c:v>
                </c:pt>
                <c:pt idx="39331">
                  <c:v>-5.0420168067226899E-2</c:v>
                </c:pt>
                <c:pt idx="39332">
                  <c:v>-4.95798319327731E-2</c:v>
                </c:pt>
                <c:pt idx="39333">
                  <c:v>-4.95798319327731E-2</c:v>
                </c:pt>
                <c:pt idx="39334">
                  <c:v>-4.95798319327731E-2</c:v>
                </c:pt>
                <c:pt idx="39335">
                  <c:v>-4.95798319327731E-2</c:v>
                </c:pt>
                <c:pt idx="39336">
                  <c:v>-4.87394957983193E-2</c:v>
                </c:pt>
                <c:pt idx="39337">
                  <c:v>-4.87394957983193E-2</c:v>
                </c:pt>
                <c:pt idx="39338">
                  <c:v>-4.87394957983193E-2</c:v>
                </c:pt>
                <c:pt idx="39339">
                  <c:v>-4.87394957983193E-2</c:v>
                </c:pt>
                <c:pt idx="39340">
                  <c:v>-4.87394957983193E-2</c:v>
                </c:pt>
                <c:pt idx="39341">
                  <c:v>-4.87394957983193E-2</c:v>
                </c:pt>
                <c:pt idx="39342">
                  <c:v>-4.87394957983193E-2</c:v>
                </c:pt>
                <c:pt idx="39343">
                  <c:v>-4.87394957983193E-2</c:v>
                </c:pt>
                <c:pt idx="39344">
                  <c:v>-4.87394957983193E-2</c:v>
                </c:pt>
                <c:pt idx="39345">
                  <c:v>-4.87394957983193E-2</c:v>
                </c:pt>
                <c:pt idx="39346">
                  <c:v>-4.87394957983193E-2</c:v>
                </c:pt>
                <c:pt idx="39347">
                  <c:v>-4.87394957983193E-2</c:v>
                </c:pt>
                <c:pt idx="39348">
                  <c:v>-4.87394957983193E-2</c:v>
                </c:pt>
                <c:pt idx="39349">
                  <c:v>-4.87394957983193E-2</c:v>
                </c:pt>
                <c:pt idx="39350">
                  <c:v>-4.87394957983193E-2</c:v>
                </c:pt>
                <c:pt idx="39351">
                  <c:v>-4.95798319327731E-2</c:v>
                </c:pt>
                <c:pt idx="39352">
                  <c:v>-4.95798319327731E-2</c:v>
                </c:pt>
                <c:pt idx="39353">
                  <c:v>-4.95798319327731E-2</c:v>
                </c:pt>
                <c:pt idx="39354">
                  <c:v>-4.95798319327731E-2</c:v>
                </c:pt>
                <c:pt idx="39355">
                  <c:v>-4.95798319327731E-2</c:v>
                </c:pt>
                <c:pt idx="39356">
                  <c:v>-4.95798319327731E-2</c:v>
                </c:pt>
                <c:pt idx="39357">
                  <c:v>-4.95798319327731E-2</c:v>
                </c:pt>
                <c:pt idx="39358">
                  <c:v>-4.95798319327731E-2</c:v>
                </c:pt>
                <c:pt idx="39359">
                  <c:v>-4.95798319327731E-2</c:v>
                </c:pt>
                <c:pt idx="39360">
                  <c:v>-4.95798319327731E-2</c:v>
                </c:pt>
                <c:pt idx="39361">
                  <c:v>-4.95798319327731E-2</c:v>
                </c:pt>
                <c:pt idx="39362">
                  <c:v>-4.95798319327731E-2</c:v>
                </c:pt>
                <c:pt idx="39363">
                  <c:v>-4.95798319327731E-2</c:v>
                </c:pt>
                <c:pt idx="39364">
                  <c:v>-4.95798319327731E-2</c:v>
                </c:pt>
                <c:pt idx="39365">
                  <c:v>-4.95798319327731E-2</c:v>
                </c:pt>
                <c:pt idx="39366">
                  <c:v>-4.95798319327731E-2</c:v>
                </c:pt>
                <c:pt idx="39367">
                  <c:v>-4.95798319327731E-2</c:v>
                </c:pt>
                <c:pt idx="39368">
                  <c:v>-4.95798319327731E-2</c:v>
                </c:pt>
                <c:pt idx="39369">
                  <c:v>-4.95798319327731E-2</c:v>
                </c:pt>
                <c:pt idx="39370">
                  <c:v>-4.95798319327731E-2</c:v>
                </c:pt>
                <c:pt idx="39371">
                  <c:v>-4.95798319327731E-2</c:v>
                </c:pt>
                <c:pt idx="39372">
                  <c:v>-4.95798319327731E-2</c:v>
                </c:pt>
                <c:pt idx="39373">
                  <c:v>-4.95798319327731E-2</c:v>
                </c:pt>
                <c:pt idx="39374">
                  <c:v>-4.95798319327731E-2</c:v>
                </c:pt>
                <c:pt idx="39375">
                  <c:v>-4.95798319327731E-2</c:v>
                </c:pt>
                <c:pt idx="39376">
                  <c:v>-4.95798319327731E-2</c:v>
                </c:pt>
                <c:pt idx="39377">
                  <c:v>-4.95798319327731E-2</c:v>
                </c:pt>
                <c:pt idx="39378">
                  <c:v>-4.95798319327731E-2</c:v>
                </c:pt>
                <c:pt idx="39379">
                  <c:v>-4.95798319327731E-2</c:v>
                </c:pt>
                <c:pt idx="39380">
                  <c:v>-4.95798319327731E-2</c:v>
                </c:pt>
                <c:pt idx="39381">
                  <c:v>-4.95798319327731E-2</c:v>
                </c:pt>
                <c:pt idx="39382">
                  <c:v>-4.95798319327731E-2</c:v>
                </c:pt>
                <c:pt idx="39383">
                  <c:v>-4.95798319327731E-2</c:v>
                </c:pt>
                <c:pt idx="39384">
                  <c:v>-4.95798319327731E-2</c:v>
                </c:pt>
                <c:pt idx="39385">
                  <c:v>-4.95798319327731E-2</c:v>
                </c:pt>
                <c:pt idx="39386">
                  <c:v>-4.95798319327731E-2</c:v>
                </c:pt>
                <c:pt idx="39387">
                  <c:v>-4.95798319327731E-2</c:v>
                </c:pt>
                <c:pt idx="39388">
                  <c:v>-4.95798319327731E-2</c:v>
                </c:pt>
                <c:pt idx="39389">
                  <c:v>-4.95798319327731E-2</c:v>
                </c:pt>
                <c:pt idx="39390">
                  <c:v>-4.95798319327731E-2</c:v>
                </c:pt>
                <c:pt idx="39391">
                  <c:v>-4.95798319327731E-2</c:v>
                </c:pt>
                <c:pt idx="39392">
                  <c:v>-4.95798319327731E-2</c:v>
                </c:pt>
                <c:pt idx="39393">
                  <c:v>-4.95798319327731E-2</c:v>
                </c:pt>
                <c:pt idx="39394">
                  <c:v>-4.95798319327731E-2</c:v>
                </c:pt>
                <c:pt idx="39395">
                  <c:v>-4.95798319327731E-2</c:v>
                </c:pt>
                <c:pt idx="39396">
                  <c:v>-4.95798319327731E-2</c:v>
                </c:pt>
                <c:pt idx="39397">
                  <c:v>-4.95798319327731E-2</c:v>
                </c:pt>
                <c:pt idx="39398">
                  <c:v>-4.95798319327731E-2</c:v>
                </c:pt>
                <c:pt idx="39399">
                  <c:v>-4.95798319327731E-2</c:v>
                </c:pt>
                <c:pt idx="39400">
                  <c:v>-4.95798319327731E-2</c:v>
                </c:pt>
                <c:pt idx="39401">
                  <c:v>-4.95798319327731E-2</c:v>
                </c:pt>
                <c:pt idx="39402">
                  <c:v>-4.95798319327731E-2</c:v>
                </c:pt>
                <c:pt idx="39403">
                  <c:v>-4.95798319327731E-2</c:v>
                </c:pt>
                <c:pt idx="39404">
                  <c:v>-4.95798319327731E-2</c:v>
                </c:pt>
                <c:pt idx="39405">
                  <c:v>-4.95798319327731E-2</c:v>
                </c:pt>
                <c:pt idx="39406">
                  <c:v>-4.95798319327731E-2</c:v>
                </c:pt>
                <c:pt idx="39407">
                  <c:v>-4.95798319327731E-2</c:v>
                </c:pt>
                <c:pt idx="39408">
                  <c:v>-4.95798319327731E-2</c:v>
                </c:pt>
                <c:pt idx="39409">
                  <c:v>-4.95798319327731E-2</c:v>
                </c:pt>
                <c:pt idx="39410">
                  <c:v>-4.95798319327731E-2</c:v>
                </c:pt>
                <c:pt idx="39411">
                  <c:v>-4.95798319327731E-2</c:v>
                </c:pt>
                <c:pt idx="39412">
                  <c:v>-4.95798319327731E-2</c:v>
                </c:pt>
                <c:pt idx="39413">
                  <c:v>-4.95798319327731E-2</c:v>
                </c:pt>
                <c:pt idx="39414">
                  <c:v>-4.95798319327731E-2</c:v>
                </c:pt>
                <c:pt idx="39415">
                  <c:v>-4.95798319327731E-2</c:v>
                </c:pt>
                <c:pt idx="39416">
                  <c:v>-4.95798319327731E-2</c:v>
                </c:pt>
                <c:pt idx="39417">
                  <c:v>-4.95798319327731E-2</c:v>
                </c:pt>
                <c:pt idx="39418">
                  <c:v>-4.95798319327731E-2</c:v>
                </c:pt>
                <c:pt idx="39419">
                  <c:v>-4.95798319327731E-2</c:v>
                </c:pt>
                <c:pt idx="39420">
                  <c:v>-4.95798319327731E-2</c:v>
                </c:pt>
                <c:pt idx="39421">
                  <c:v>-4.95798319327731E-2</c:v>
                </c:pt>
                <c:pt idx="39422">
                  <c:v>-4.95798319327731E-2</c:v>
                </c:pt>
                <c:pt idx="39423">
                  <c:v>-4.95798319327731E-2</c:v>
                </c:pt>
                <c:pt idx="39424">
                  <c:v>-4.95798319327731E-2</c:v>
                </c:pt>
                <c:pt idx="39425">
                  <c:v>-4.95798319327731E-2</c:v>
                </c:pt>
                <c:pt idx="39426">
                  <c:v>-4.95798319327731E-2</c:v>
                </c:pt>
                <c:pt idx="39427">
                  <c:v>-4.95798319327731E-2</c:v>
                </c:pt>
                <c:pt idx="39428">
                  <c:v>-4.95798319327731E-2</c:v>
                </c:pt>
                <c:pt idx="39429">
                  <c:v>-4.87394957983193E-2</c:v>
                </c:pt>
                <c:pt idx="39430">
                  <c:v>-4.87394957983193E-2</c:v>
                </c:pt>
                <c:pt idx="39431">
                  <c:v>-4.87394957983193E-2</c:v>
                </c:pt>
                <c:pt idx="39432">
                  <c:v>-4.87394957983193E-2</c:v>
                </c:pt>
                <c:pt idx="39433">
                  <c:v>-4.87394957983193E-2</c:v>
                </c:pt>
                <c:pt idx="39434">
                  <c:v>-4.87394957983193E-2</c:v>
                </c:pt>
                <c:pt idx="39435">
                  <c:v>-4.87394957983193E-2</c:v>
                </c:pt>
                <c:pt idx="39436">
                  <c:v>-4.87394957983193E-2</c:v>
                </c:pt>
                <c:pt idx="39437">
                  <c:v>-4.87394957983193E-2</c:v>
                </c:pt>
                <c:pt idx="39438">
                  <c:v>-4.87394957983193E-2</c:v>
                </c:pt>
                <c:pt idx="39439">
                  <c:v>-4.87394957983193E-2</c:v>
                </c:pt>
                <c:pt idx="39440">
                  <c:v>-4.87394957983193E-2</c:v>
                </c:pt>
                <c:pt idx="39441">
                  <c:v>-4.95798319327731E-2</c:v>
                </c:pt>
                <c:pt idx="39442">
                  <c:v>-4.95798319327731E-2</c:v>
                </c:pt>
                <c:pt idx="39443">
                  <c:v>-4.95798319327731E-2</c:v>
                </c:pt>
                <c:pt idx="39444">
                  <c:v>-4.95798319327731E-2</c:v>
                </c:pt>
                <c:pt idx="39445">
                  <c:v>-4.95798319327731E-2</c:v>
                </c:pt>
                <c:pt idx="39446">
                  <c:v>-4.95798319327731E-2</c:v>
                </c:pt>
                <c:pt idx="39447">
                  <c:v>-4.95798319327731E-2</c:v>
                </c:pt>
                <c:pt idx="39448">
                  <c:v>-4.95798319327731E-2</c:v>
                </c:pt>
                <c:pt idx="39449">
                  <c:v>-4.95798319327731E-2</c:v>
                </c:pt>
                <c:pt idx="39450">
                  <c:v>-4.95798319327731E-2</c:v>
                </c:pt>
                <c:pt idx="39451">
                  <c:v>-4.95798319327731E-2</c:v>
                </c:pt>
                <c:pt idx="39452">
                  <c:v>-4.95798319327731E-2</c:v>
                </c:pt>
                <c:pt idx="39453">
                  <c:v>-4.95798319327731E-2</c:v>
                </c:pt>
                <c:pt idx="39454">
                  <c:v>-4.95798319327731E-2</c:v>
                </c:pt>
                <c:pt idx="39455">
                  <c:v>-4.95798319327731E-2</c:v>
                </c:pt>
                <c:pt idx="39456">
                  <c:v>-4.95798319327731E-2</c:v>
                </c:pt>
                <c:pt idx="39457">
                  <c:v>-4.95798319327731E-2</c:v>
                </c:pt>
                <c:pt idx="39458">
                  <c:v>-4.95798319327731E-2</c:v>
                </c:pt>
                <c:pt idx="39459">
                  <c:v>-4.95798319327731E-2</c:v>
                </c:pt>
                <c:pt idx="39460">
                  <c:v>-4.95798319327731E-2</c:v>
                </c:pt>
                <c:pt idx="39461">
                  <c:v>-5.0420168067226899E-2</c:v>
                </c:pt>
                <c:pt idx="39462">
                  <c:v>-5.0420168067226899E-2</c:v>
                </c:pt>
                <c:pt idx="39463">
                  <c:v>-5.0420168067226899E-2</c:v>
                </c:pt>
                <c:pt idx="39464">
                  <c:v>-5.0420168067226899E-2</c:v>
                </c:pt>
                <c:pt idx="39465">
                  <c:v>-5.0420168067226899E-2</c:v>
                </c:pt>
                <c:pt idx="39466">
                  <c:v>-5.0420168067226899E-2</c:v>
                </c:pt>
                <c:pt idx="39467">
                  <c:v>-5.0420168067226899E-2</c:v>
                </c:pt>
                <c:pt idx="39468">
                  <c:v>-5.0420168067226899E-2</c:v>
                </c:pt>
                <c:pt idx="39469">
                  <c:v>-5.0420168067226899E-2</c:v>
                </c:pt>
                <c:pt idx="39470">
                  <c:v>-5.0420168067226899E-2</c:v>
                </c:pt>
                <c:pt idx="39471">
                  <c:v>-5.0420168067226899E-2</c:v>
                </c:pt>
                <c:pt idx="39472">
                  <c:v>-5.0420168067226899E-2</c:v>
                </c:pt>
                <c:pt idx="39473">
                  <c:v>-5.0420168067226899E-2</c:v>
                </c:pt>
                <c:pt idx="39474">
                  <c:v>-5.0420168067226899E-2</c:v>
                </c:pt>
                <c:pt idx="39475">
                  <c:v>-5.0420168067226899E-2</c:v>
                </c:pt>
                <c:pt idx="39476">
                  <c:v>-5.0420168067226899E-2</c:v>
                </c:pt>
                <c:pt idx="39477">
                  <c:v>-5.0420168067226899E-2</c:v>
                </c:pt>
                <c:pt idx="39478">
                  <c:v>-5.0420168067226899E-2</c:v>
                </c:pt>
                <c:pt idx="39479">
                  <c:v>-5.0420168067226899E-2</c:v>
                </c:pt>
                <c:pt idx="39480">
                  <c:v>-5.0420168067226899E-2</c:v>
                </c:pt>
                <c:pt idx="39481">
                  <c:v>-5.0420168067226899E-2</c:v>
                </c:pt>
                <c:pt idx="39482">
                  <c:v>-5.0420168067226899E-2</c:v>
                </c:pt>
                <c:pt idx="39483">
                  <c:v>-5.0420168067226899E-2</c:v>
                </c:pt>
                <c:pt idx="39484">
                  <c:v>-5.0420168067226899E-2</c:v>
                </c:pt>
                <c:pt idx="39485">
                  <c:v>-5.0420168067226899E-2</c:v>
                </c:pt>
                <c:pt idx="39486">
                  <c:v>-5.0420168067226899E-2</c:v>
                </c:pt>
                <c:pt idx="39487">
                  <c:v>-5.0420168067226899E-2</c:v>
                </c:pt>
                <c:pt idx="39488">
                  <c:v>-5.0420168067226899E-2</c:v>
                </c:pt>
                <c:pt idx="39489">
                  <c:v>-5.0420168067226899E-2</c:v>
                </c:pt>
                <c:pt idx="39490">
                  <c:v>-5.0420168067226899E-2</c:v>
                </c:pt>
                <c:pt idx="39491">
                  <c:v>-5.0420168067226899E-2</c:v>
                </c:pt>
                <c:pt idx="39492">
                  <c:v>-5.0420168067226899E-2</c:v>
                </c:pt>
                <c:pt idx="39493">
                  <c:v>-5.0420168067226899E-2</c:v>
                </c:pt>
                <c:pt idx="39494">
                  <c:v>-5.0420168067226899E-2</c:v>
                </c:pt>
                <c:pt idx="39495">
                  <c:v>-5.0420168067226899E-2</c:v>
                </c:pt>
                <c:pt idx="39496">
                  <c:v>-5.0420168067226899E-2</c:v>
                </c:pt>
                <c:pt idx="39497">
                  <c:v>-5.0420168067226899E-2</c:v>
                </c:pt>
                <c:pt idx="39498">
                  <c:v>-5.0420168067226899E-2</c:v>
                </c:pt>
                <c:pt idx="39499">
                  <c:v>-5.0420168067226899E-2</c:v>
                </c:pt>
                <c:pt idx="39500">
                  <c:v>-5.0420168067226899E-2</c:v>
                </c:pt>
                <c:pt idx="39501">
                  <c:v>-5.0420168067226899E-2</c:v>
                </c:pt>
                <c:pt idx="39502">
                  <c:v>-5.0420168067226899E-2</c:v>
                </c:pt>
                <c:pt idx="39503">
                  <c:v>-5.0420168067226899E-2</c:v>
                </c:pt>
                <c:pt idx="39504">
                  <c:v>-5.0420168067226899E-2</c:v>
                </c:pt>
                <c:pt idx="39505">
                  <c:v>-5.0420168067226899E-2</c:v>
                </c:pt>
                <c:pt idx="39506">
                  <c:v>-5.0420168067226899E-2</c:v>
                </c:pt>
                <c:pt idx="39507">
                  <c:v>-5.0420168067226899E-2</c:v>
                </c:pt>
                <c:pt idx="39508">
                  <c:v>-5.0420168067226899E-2</c:v>
                </c:pt>
                <c:pt idx="39509">
                  <c:v>-5.1260504201680698E-2</c:v>
                </c:pt>
                <c:pt idx="39510">
                  <c:v>-5.1260504201680698E-2</c:v>
                </c:pt>
                <c:pt idx="39511">
                  <c:v>-5.1260504201680698E-2</c:v>
                </c:pt>
                <c:pt idx="39512">
                  <c:v>-5.1260504201680698E-2</c:v>
                </c:pt>
                <c:pt idx="39513">
                  <c:v>-5.1260504201680698E-2</c:v>
                </c:pt>
                <c:pt idx="39514">
                  <c:v>-5.1260504201680698E-2</c:v>
                </c:pt>
                <c:pt idx="39515">
                  <c:v>-5.1260504201680698E-2</c:v>
                </c:pt>
                <c:pt idx="39516">
                  <c:v>-5.1260504201680698E-2</c:v>
                </c:pt>
                <c:pt idx="39517">
                  <c:v>-5.1260504201680698E-2</c:v>
                </c:pt>
                <c:pt idx="39518">
                  <c:v>-5.1260504201680698E-2</c:v>
                </c:pt>
                <c:pt idx="39519">
                  <c:v>-5.1260504201680698E-2</c:v>
                </c:pt>
                <c:pt idx="39520">
                  <c:v>-5.1260504201680698E-2</c:v>
                </c:pt>
                <c:pt idx="39521">
                  <c:v>-5.1260504201680698E-2</c:v>
                </c:pt>
                <c:pt idx="39522">
                  <c:v>-5.1260504201680698E-2</c:v>
                </c:pt>
                <c:pt idx="39523">
                  <c:v>-5.1260504201680698E-2</c:v>
                </c:pt>
                <c:pt idx="39524">
                  <c:v>-5.1260504201680698E-2</c:v>
                </c:pt>
                <c:pt idx="39525">
                  <c:v>-5.1260504201680698E-2</c:v>
                </c:pt>
                <c:pt idx="39526">
                  <c:v>-5.1260504201680698E-2</c:v>
                </c:pt>
                <c:pt idx="39527">
                  <c:v>-5.0420168067226899E-2</c:v>
                </c:pt>
                <c:pt idx="39528">
                  <c:v>-5.0420168067226899E-2</c:v>
                </c:pt>
                <c:pt idx="39529">
                  <c:v>-5.0420168067226899E-2</c:v>
                </c:pt>
                <c:pt idx="39530">
                  <c:v>-5.0420168067226899E-2</c:v>
                </c:pt>
                <c:pt idx="39531">
                  <c:v>-5.0420168067226899E-2</c:v>
                </c:pt>
                <c:pt idx="39532">
                  <c:v>-5.0420168067226899E-2</c:v>
                </c:pt>
                <c:pt idx="39533">
                  <c:v>-5.0420168067226899E-2</c:v>
                </c:pt>
                <c:pt idx="39534">
                  <c:v>-5.0420168067226899E-2</c:v>
                </c:pt>
                <c:pt idx="39535">
                  <c:v>-5.0420168067226899E-2</c:v>
                </c:pt>
                <c:pt idx="39536">
                  <c:v>-5.0420168067226899E-2</c:v>
                </c:pt>
                <c:pt idx="39537">
                  <c:v>-5.0420168067226899E-2</c:v>
                </c:pt>
                <c:pt idx="39538">
                  <c:v>-5.0420168067226899E-2</c:v>
                </c:pt>
                <c:pt idx="39539">
                  <c:v>-5.0420168067226899E-2</c:v>
                </c:pt>
                <c:pt idx="39540">
                  <c:v>-5.0420168067226899E-2</c:v>
                </c:pt>
                <c:pt idx="39541">
                  <c:v>-5.0420168067226899E-2</c:v>
                </c:pt>
                <c:pt idx="39542">
                  <c:v>-5.0420168067226899E-2</c:v>
                </c:pt>
                <c:pt idx="39543">
                  <c:v>-5.0420168067226899E-2</c:v>
                </c:pt>
                <c:pt idx="39544">
                  <c:v>-4.95798319327731E-2</c:v>
                </c:pt>
                <c:pt idx="39545">
                  <c:v>-4.95798319327731E-2</c:v>
                </c:pt>
                <c:pt idx="39546">
                  <c:v>-4.95798319327731E-2</c:v>
                </c:pt>
                <c:pt idx="39547">
                  <c:v>-4.95798319327731E-2</c:v>
                </c:pt>
                <c:pt idx="39548">
                  <c:v>-4.95798319327731E-2</c:v>
                </c:pt>
                <c:pt idx="39549">
                  <c:v>-4.95798319327731E-2</c:v>
                </c:pt>
                <c:pt idx="39550">
                  <c:v>-4.95798319327731E-2</c:v>
                </c:pt>
                <c:pt idx="39551">
                  <c:v>-4.95798319327731E-2</c:v>
                </c:pt>
                <c:pt idx="39552">
                  <c:v>-4.95798319327731E-2</c:v>
                </c:pt>
                <c:pt idx="39553">
                  <c:v>-4.95798319327731E-2</c:v>
                </c:pt>
                <c:pt idx="39554">
                  <c:v>-4.95798319327731E-2</c:v>
                </c:pt>
                <c:pt idx="39555">
                  <c:v>-4.95798319327731E-2</c:v>
                </c:pt>
                <c:pt idx="39556">
                  <c:v>-4.95798319327731E-2</c:v>
                </c:pt>
                <c:pt idx="39557">
                  <c:v>-4.95798319327731E-2</c:v>
                </c:pt>
                <c:pt idx="39558">
                  <c:v>-4.95798319327731E-2</c:v>
                </c:pt>
                <c:pt idx="39559">
                  <c:v>-4.95798319327731E-2</c:v>
                </c:pt>
                <c:pt idx="39560">
                  <c:v>-4.95798319327731E-2</c:v>
                </c:pt>
                <c:pt idx="39561">
                  <c:v>-4.95798319327731E-2</c:v>
                </c:pt>
                <c:pt idx="39562">
                  <c:v>-4.95798319327731E-2</c:v>
                </c:pt>
                <c:pt idx="39563">
                  <c:v>-4.95798319327731E-2</c:v>
                </c:pt>
                <c:pt idx="39564">
                  <c:v>-4.95798319327731E-2</c:v>
                </c:pt>
                <c:pt idx="39565">
                  <c:v>-4.95798319327731E-2</c:v>
                </c:pt>
                <c:pt idx="39566">
                  <c:v>-4.95798319327731E-2</c:v>
                </c:pt>
                <c:pt idx="39567">
                  <c:v>-4.95798319327731E-2</c:v>
                </c:pt>
                <c:pt idx="39568">
                  <c:v>-4.95798319327731E-2</c:v>
                </c:pt>
                <c:pt idx="39569">
                  <c:v>-4.87394957983193E-2</c:v>
                </c:pt>
                <c:pt idx="39570">
                  <c:v>-4.87394957983193E-2</c:v>
                </c:pt>
                <c:pt idx="39571">
                  <c:v>-4.87394957983193E-2</c:v>
                </c:pt>
                <c:pt idx="39572">
                  <c:v>-4.87394957983193E-2</c:v>
                </c:pt>
                <c:pt idx="39573">
                  <c:v>-4.87394957983193E-2</c:v>
                </c:pt>
                <c:pt idx="39574">
                  <c:v>-4.87394957983193E-2</c:v>
                </c:pt>
                <c:pt idx="39575">
                  <c:v>-4.87394957983193E-2</c:v>
                </c:pt>
                <c:pt idx="39576">
                  <c:v>-4.87394957983193E-2</c:v>
                </c:pt>
                <c:pt idx="39577">
                  <c:v>-4.87394957983193E-2</c:v>
                </c:pt>
                <c:pt idx="39578">
                  <c:v>-4.87394957983193E-2</c:v>
                </c:pt>
                <c:pt idx="39579">
                  <c:v>-4.87394957983193E-2</c:v>
                </c:pt>
                <c:pt idx="39580">
                  <c:v>-4.87394957983193E-2</c:v>
                </c:pt>
                <c:pt idx="39581">
                  <c:v>-4.87394957983193E-2</c:v>
                </c:pt>
                <c:pt idx="39582">
                  <c:v>-4.87394957983193E-2</c:v>
                </c:pt>
                <c:pt idx="39583">
                  <c:v>-4.87394957983193E-2</c:v>
                </c:pt>
                <c:pt idx="39584">
                  <c:v>-4.87394957983193E-2</c:v>
                </c:pt>
                <c:pt idx="39585">
                  <c:v>-4.87394957983193E-2</c:v>
                </c:pt>
                <c:pt idx="39586">
                  <c:v>-4.87394957983193E-2</c:v>
                </c:pt>
                <c:pt idx="39587">
                  <c:v>-4.87394957983193E-2</c:v>
                </c:pt>
                <c:pt idx="39588">
                  <c:v>-4.87394957983193E-2</c:v>
                </c:pt>
                <c:pt idx="39589">
                  <c:v>-4.87394957983193E-2</c:v>
                </c:pt>
                <c:pt idx="39590">
                  <c:v>-4.87394957983193E-2</c:v>
                </c:pt>
                <c:pt idx="39591">
                  <c:v>-4.87394957983193E-2</c:v>
                </c:pt>
                <c:pt idx="39592">
                  <c:v>-4.87394957983193E-2</c:v>
                </c:pt>
                <c:pt idx="39593">
                  <c:v>-4.87394957983193E-2</c:v>
                </c:pt>
                <c:pt idx="39594">
                  <c:v>-4.87394957983193E-2</c:v>
                </c:pt>
                <c:pt idx="39595">
                  <c:v>-4.87394957983193E-2</c:v>
                </c:pt>
                <c:pt idx="39596">
                  <c:v>-4.87394957983193E-2</c:v>
                </c:pt>
                <c:pt idx="39597">
                  <c:v>-4.87394957983193E-2</c:v>
                </c:pt>
                <c:pt idx="39598">
                  <c:v>-4.87394957983193E-2</c:v>
                </c:pt>
                <c:pt idx="39599">
                  <c:v>-4.87394957983193E-2</c:v>
                </c:pt>
                <c:pt idx="39600">
                  <c:v>-4.87394957983193E-2</c:v>
                </c:pt>
                <c:pt idx="39601">
                  <c:v>-4.87394957983193E-2</c:v>
                </c:pt>
                <c:pt idx="39602">
                  <c:v>-4.87394957983193E-2</c:v>
                </c:pt>
                <c:pt idx="39603">
                  <c:v>-4.87394957983193E-2</c:v>
                </c:pt>
                <c:pt idx="39604">
                  <c:v>-4.87394957983193E-2</c:v>
                </c:pt>
                <c:pt idx="39605">
                  <c:v>-4.87394957983193E-2</c:v>
                </c:pt>
                <c:pt idx="39606">
                  <c:v>-4.87394957983193E-2</c:v>
                </c:pt>
                <c:pt idx="39607">
                  <c:v>-4.87394957983193E-2</c:v>
                </c:pt>
                <c:pt idx="39608">
                  <c:v>-4.87394957983193E-2</c:v>
                </c:pt>
                <c:pt idx="39609">
                  <c:v>-4.87394957983193E-2</c:v>
                </c:pt>
                <c:pt idx="39610">
                  <c:v>-4.87394957983193E-2</c:v>
                </c:pt>
                <c:pt idx="39611">
                  <c:v>-4.87394957983193E-2</c:v>
                </c:pt>
                <c:pt idx="39612">
                  <c:v>-4.87394957983193E-2</c:v>
                </c:pt>
                <c:pt idx="39613">
                  <c:v>-4.87394957983193E-2</c:v>
                </c:pt>
                <c:pt idx="39614">
                  <c:v>-4.87394957983193E-2</c:v>
                </c:pt>
                <c:pt idx="39615">
                  <c:v>-4.87394957983193E-2</c:v>
                </c:pt>
                <c:pt idx="39616">
                  <c:v>-4.87394957983193E-2</c:v>
                </c:pt>
                <c:pt idx="39617">
                  <c:v>-4.87394957983193E-2</c:v>
                </c:pt>
                <c:pt idx="39618">
                  <c:v>-4.87394957983193E-2</c:v>
                </c:pt>
                <c:pt idx="39619">
                  <c:v>-4.87394957983193E-2</c:v>
                </c:pt>
                <c:pt idx="39620">
                  <c:v>-4.87394957983193E-2</c:v>
                </c:pt>
                <c:pt idx="39621">
                  <c:v>-4.87394957983193E-2</c:v>
                </c:pt>
                <c:pt idx="39622">
                  <c:v>-4.87394957983193E-2</c:v>
                </c:pt>
                <c:pt idx="39623">
                  <c:v>-4.87394957983193E-2</c:v>
                </c:pt>
                <c:pt idx="39624">
                  <c:v>-4.87394957983193E-2</c:v>
                </c:pt>
                <c:pt idx="39625">
                  <c:v>-4.87394957983193E-2</c:v>
                </c:pt>
                <c:pt idx="39626">
                  <c:v>-4.87394957983193E-2</c:v>
                </c:pt>
                <c:pt idx="39627">
                  <c:v>-4.87394957983193E-2</c:v>
                </c:pt>
                <c:pt idx="39628">
                  <c:v>-4.87394957983193E-2</c:v>
                </c:pt>
                <c:pt idx="39629">
                  <c:v>-4.95798319327731E-2</c:v>
                </c:pt>
                <c:pt idx="39630">
                  <c:v>-4.95798319327731E-2</c:v>
                </c:pt>
                <c:pt idx="39631">
                  <c:v>-4.95798319327731E-2</c:v>
                </c:pt>
                <c:pt idx="39632">
                  <c:v>-4.95798319327731E-2</c:v>
                </c:pt>
                <c:pt idx="39633">
                  <c:v>-4.95798319327731E-2</c:v>
                </c:pt>
                <c:pt idx="39634">
                  <c:v>-4.95798319327731E-2</c:v>
                </c:pt>
                <c:pt idx="39635">
                  <c:v>-4.95798319327731E-2</c:v>
                </c:pt>
                <c:pt idx="39636">
                  <c:v>-4.95798319327731E-2</c:v>
                </c:pt>
                <c:pt idx="39637">
                  <c:v>-4.87394957983193E-2</c:v>
                </c:pt>
                <c:pt idx="39638">
                  <c:v>-4.7899159663865598E-2</c:v>
                </c:pt>
                <c:pt idx="39639">
                  <c:v>-4.7899159663865598E-2</c:v>
                </c:pt>
                <c:pt idx="39640">
                  <c:v>-4.7899159663865598E-2</c:v>
                </c:pt>
                <c:pt idx="39641">
                  <c:v>-4.7899159663865598E-2</c:v>
                </c:pt>
                <c:pt idx="39642">
                  <c:v>-4.7899159663865598E-2</c:v>
                </c:pt>
                <c:pt idx="39643">
                  <c:v>-4.7899159663865598E-2</c:v>
                </c:pt>
                <c:pt idx="39644">
                  <c:v>-4.7899159663865598E-2</c:v>
                </c:pt>
                <c:pt idx="39645">
                  <c:v>-4.7899159663865598E-2</c:v>
                </c:pt>
                <c:pt idx="39646">
                  <c:v>-4.7899159663865598E-2</c:v>
                </c:pt>
                <c:pt idx="39647">
                  <c:v>-4.7899159663865598E-2</c:v>
                </c:pt>
                <c:pt idx="39648">
                  <c:v>-4.7899159663865598E-2</c:v>
                </c:pt>
                <c:pt idx="39649">
                  <c:v>-4.7899159663865598E-2</c:v>
                </c:pt>
                <c:pt idx="39650">
                  <c:v>-4.7899159663865598E-2</c:v>
                </c:pt>
                <c:pt idx="39651">
                  <c:v>-4.7899159663865598E-2</c:v>
                </c:pt>
                <c:pt idx="39652">
                  <c:v>-4.7899159663865598E-2</c:v>
                </c:pt>
                <c:pt idx="39653">
                  <c:v>-4.7899159663865598E-2</c:v>
                </c:pt>
                <c:pt idx="39654">
                  <c:v>-4.7899159663865598E-2</c:v>
                </c:pt>
                <c:pt idx="39655">
                  <c:v>-4.7899159663865598E-2</c:v>
                </c:pt>
                <c:pt idx="39656">
                  <c:v>-4.7899159663865598E-2</c:v>
                </c:pt>
                <c:pt idx="39657">
                  <c:v>-4.7899159663865598E-2</c:v>
                </c:pt>
                <c:pt idx="39658">
                  <c:v>-4.7899159663865598E-2</c:v>
                </c:pt>
                <c:pt idx="39659">
                  <c:v>-4.7899159663865598E-2</c:v>
                </c:pt>
                <c:pt idx="39660">
                  <c:v>-4.7899159663865598E-2</c:v>
                </c:pt>
                <c:pt idx="39661">
                  <c:v>-4.7899159663865598E-2</c:v>
                </c:pt>
                <c:pt idx="39662">
                  <c:v>-4.7899159663865598E-2</c:v>
                </c:pt>
                <c:pt idx="39663">
                  <c:v>-4.7899159663865598E-2</c:v>
                </c:pt>
                <c:pt idx="39664">
                  <c:v>-4.87394957983193E-2</c:v>
                </c:pt>
                <c:pt idx="39665">
                  <c:v>-4.87394957983193E-2</c:v>
                </c:pt>
                <c:pt idx="39666">
                  <c:v>-4.87394957983193E-2</c:v>
                </c:pt>
                <c:pt idx="39667">
                  <c:v>-4.87394957983193E-2</c:v>
                </c:pt>
                <c:pt idx="39668">
                  <c:v>-4.87394957983193E-2</c:v>
                </c:pt>
                <c:pt idx="39669">
                  <c:v>-4.87394957983193E-2</c:v>
                </c:pt>
                <c:pt idx="39670">
                  <c:v>-4.87394957983193E-2</c:v>
                </c:pt>
                <c:pt idx="39671">
                  <c:v>-4.87394957983193E-2</c:v>
                </c:pt>
                <c:pt idx="39672">
                  <c:v>-4.87394957983193E-2</c:v>
                </c:pt>
                <c:pt idx="39673">
                  <c:v>-4.87394957983193E-2</c:v>
                </c:pt>
                <c:pt idx="39674">
                  <c:v>-4.87394957983193E-2</c:v>
                </c:pt>
                <c:pt idx="39675">
                  <c:v>-4.7899159663865598E-2</c:v>
                </c:pt>
                <c:pt idx="39676">
                  <c:v>-4.7899159663865598E-2</c:v>
                </c:pt>
                <c:pt idx="39677">
                  <c:v>-4.7899159663865598E-2</c:v>
                </c:pt>
                <c:pt idx="39678">
                  <c:v>-4.7899159663865598E-2</c:v>
                </c:pt>
                <c:pt idx="39679">
                  <c:v>-4.7899159663865598E-2</c:v>
                </c:pt>
                <c:pt idx="39680">
                  <c:v>-4.7899159663865598E-2</c:v>
                </c:pt>
                <c:pt idx="39681">
                  <c:v>-4.7899159663865598E-2</c:v>
                </c:pt>
                <c:pt idx="39682">
                  <c:v>-4.7899159663865598E-2</c:v>
                </c:pt>
                <c:pt idx="39683">
                  <c:v>-4.7899159663865598E-2</c:v>
                </c:pt>
                <c:pt idx="39684">
                  <c:v>-4.7899159663865598E-2</c:v>
                </c:pt>
                <c:pt idx="39685">
                  <c:v>-4.7899159663865598E-2</c:v>
                </c:pt>
                <c:pt idx="39686">
                  <c:v>-4.7899159663865598E-2</c:v>
                </c:pt>
                <c:pt idx="39687">
                  <c:v>-4.7899159663865598E-2</c:v>
                </c:pt>
                <c:pt idx="39688">
                  <c:v>-4.7899159663865598E-2</c:v>
                </c:pt>
                <c:pt idx="39689">
                  <c:v>-4.7899159663865598E-2</c:v>
                </c:pt>
                <c:pt idx="39690">
                  <c:v>-4.7899159663865598E-2</c:v>
                </c:pt>
                <c:pt idx="39691">
                  <c:v>-4.7899159663865598E-2</c:v>
                </c:pt>
                <c:pt idx="39692">
                  <c:v>-4.7899159663865598E-2</c:v>
                </c:pt>
                <c:pt idx="39693">
                  <c:v>-4.7899159663865598E-2</c:v>
                </c:pt>
                <c:pt idx="39694">
                  <c:v>-4.7899159663865598E-2</c:v>
                </c:pt>
                <c:pt idx="39695">
                  <c:v>-4.7899159663865598E-2</c:v>
                </c:pt>
                <c:pt idx="39696">
                  <c:v>-4.7058823529411702E-2</c:v>
                </c:pt>
                <c:pt idx="39697">
                  <c:v>-4.7058823529411702E-2</c:v>
                </c:pt>
                <c:pt idx="39698">
                  <c:v>-4.7058823529411702E-2</c:v>
                </c:pt>
                <c:pt idx="39699">
                  <c:v>-4.7058823529411702E-2</c:v>
                </c:pt>
                <c:pt idx="39700">
                  <c:v>-4.7058823529411702E-2</c:v>
                </c:pt>
                <c:pt idx="39701">
                  <c:v>-4.7058823529411702E-2</c:v>
                </c:pt>
                <c:pt idx="39702">
                  <c:v>-4.7058823529411702E-2</c:v>
                </c:pt>
                <c:pt idx="39703">
                  <c:v>-4.7058823529411702E-2</c:v>
                </c:pt>
                <c:pt idx="39704">
                  <c:v>-4.7058823529411702E-2</c:v>
                </c:pt>
                <c:pt idx="39705">
                  <c:v>-4.7058823529411702E-2</c:v>
                </c:pt>
                <c:pt idx="39706">
                  <c:v>-4.7058823529411702E-2</c:v>
                </c:pt>
                <c:pt idx="39707">
                  <c:v>-4.7058823529411702E-2</c:v>
                </c:pt>
                <c:pt idx="39708">
                  <c:v>-4.7058823529411702E-2</c:v>
                </c:pt>
                <c:pt idx="39709">
                  <c:v>-4.7058823529411702E-2</c:v>
                </c:pt>
                <c:pt idx="39710">
                  <c:v>-4.7058823529411702E-2</c:v>
                </c:pt>
                <c:pt idx="39711">
                  <c:v>-4.7058823529411702E-2</c:v>
                </c:pt>
                <c:pt idx="39712">
                  <c:v>-4.7058823529411702E-2</c:v>
                </c:pt>
                <c:pt idx="39713">
                  <c:v>-4.7058823529411702E-2</c:v>
                </c:pt>
                <c:pt idx="39714">
                  <c:v>-4.7058823529411702E-2</c:v>
                </c:pt>
                <c:pt idx="39715">
                  <c:v>-4.7058823529411702E-2</c:v>
                </c:pt>
                <c:pt idx="39716">
                  <c:v>-4.7058823529411702E-2</c:v>
                </c:pt>
                <c:pt idx="39717">
                  <c:v>-4.7058823529411702E-2</c:v>
                </c:pt>
                <c:pt idx="39718">
                  <c:v>-4.7058823529411702E-2</c:v>
                </c:pt>
                <c:pt idx="39719">
                  <c:v>-4.7058823529411702E-2</c:v>
                </c:pt>
                <c:pt idx="39720">
                  <c:v>-4.7058823529411702E-2</c:v>
                </c:pt>
                <c:pt idx="39721">
                  <c:v>-4.7058823529411702E-2</c:v>
                </c:pt>
                <c:pt idx="39722">
                  <c:v>-4.7058823529411702E-2</c:v>
                </c:pt>
                <c:pt idx="39723">
                  <c:v>-4.7058823529411702E-2</c:v>
                </c:pt>
                <c:pt idx="39724">
                  <c:v>-4.7058823529411702E-2</c:v>
                </c:pt>
                <c:pt idx="39725">
                  <c:v>-4.7058823529411702E-2</c:v>
                </c:pt>
                <c:pt idx="39726">
                  <c:v>-4.7058823529411702E-2</c:v>
                </c:pt>
                <c:pt idx="39727">
                  <c:v>-4.7058823529411702E-2</c:v>
                </c:pt>
                <c:pt idx="39728">
                  <c:v>-4.6218487394957902E-2</c:v>
                </c:pt>
                <c:pt idx="39729">
                  <c:v>-4.6218487394957902E-2</c:v>
                </c:pt>
                <c:pt idx="39730">
                  <c:v>-4.6218487394957902E-2</c:v>
                </c:pt>
                <c:pt idx="39731">
                  <c:v>-4.6218487394957902E-2</c:v>
                </c:pt>
                <c:pt idx="39732">
                  <c:v>-4.6218487394957902E-2</c:v>
                </c:pt>
                <c:pt idx="39733">
                  <c:v>-4.6218487394957902E-2</c:v>
                </c:pt>
                <c:pt idx="39734">
                  <c:v>-4.6218487394957902E-2</c:v>
                </c:pt>
                <c:pt idx="39735">
                  <c:v>-4.6218487394957902E-2</c:v>
                </c:pt>
                <c:pt idx="39736">
                  <c:v>-4.6218487394957902E-2</c:v>
                </c:pt>
                <c:pt idx="39737">
                  <c:v>-4.6218487394957902E-2</c:v>
                </c:pt>
                <c:pt idx="39738">
                  <c:v>-4.6218487394957902E-2</c:v>
                </c:pt>
                <c:pt idx="39739">
                  <c:v>-4.6218487394957902E-2</c:v>
                </c:pt>
                <c:pt idx="39740">
                  <c:v>-4.6218487394957902E-2</c:v>
                </c:pt>
                <c:pt idx="39741">
                  <c:v>-4.6218487394957902E-2</c:v>
                </c:pt>
                <c:pt idx="39742">
                  <c:v>-4.6218487394957902E-2</c:v>
                </c:pt>
                <c:pt idx="39743">
                  <c:v>-4.6218487394957902E-2</c:v>
                </c:pt>
                <c:pt idx="39744">
                  <c:v>-4.6218487394957902E-2</c:v>
                </c:pt>
                <c:pt idx="39745">
                  <c:v>-4.6218487394957902E-2</c:v>
                </c:pt>
                <c:pt idx="39746">
                  <c:v>-4.6218487394957902E-2</c:v>
                </c:pt>
                <c:pt idx="39747">
                  <c:v>-4.6218487394957902E-2</c:v>
                </c:pt>
                <c:pt idx="39748">
                  <c:v>-4.6218487394957902E-2</c:v>
                </c:pt>
                <c:pt idx="39749">
                  <c:v>-4.6218487394957902E-2</c:v>
                </c:pt>
                <c:pt idx="39750">
                  <c:v>-4.6218487394957902E-2</c:v>
                </c:pt>
                <c:pt idx="39751">
                  <c:v>-4.6218487394957902E-2</c:v>
                </c:pt>
                <c:pt idx="39752">
                  <c:v>-4.6218487394957902E-2</c:v>
                </c:pt>
                <c:pt idx="39753">
                  <c:v>-4.6218487394957902E-2</c:v>
                </c:pt>
                <c:pt idx="39754">
                  <c:v>-4.6218487394957902E-2</c:v>
                </c:pt>
                <c:pt idx="39755">
                  <c:v>-4.6218487394957902E-2</c:v>
                </c:pt>
                <c:pt idx="39756">
                  <c:v>-4.6218487394957902E-2</c:v>
                </c:pt>
                <c:pt idx="39757">
                  <c:v>-4.6218487394957902E-2</c:v>
                </c:pt>
                <c:pt idx="39758">
                  <c:v>-4.6218487394957902E-2</c:v>
                </c:pt>
                <c:pt idx="39759">
                  <c:v>-4.6218487394957902E-2</c:v>
                </c:pt>
                <c:pt idx="39760">
                  <c:v>-4.6218487394957902E-2</c:v>
                </c:pt>
                <c:pt idx="39761">
                  <c:v>-4.6218487394957902E-2</c:v>
                </c:pt>
                <c:pt idx="39762">
                  <c:v>-4.6218487394957902E-2</c:v>
                </c:pt>
                <c:pt idx="39763">
                  <c:v>-4.6218487394957902E-2</c:v>
                </c:pt>
                <c:pt idx="39764">
                  <c:v>-4.6218487394957902E-2</c:v>
                </c:pt>
                <c:pt idx="39765">
                  <c:v>-4.6218487394957902E-2</c:v>
                </c:pt>
                <c:pt idx="39766">
                  <c:v>-4.6218487394957902E-2</c:v>
                </c:pt>
                <c:pt idx="39767">
                  <c:v>-4.6218487394957902E-2</c:v>
                </c:pt>
                <c:pt idx="39768">
                  <c:v>-4.6218487394957902E-2</c:v>
                </c:pt>
                <c:pt idx="39769">
                  <c:v>-4.6218487394957902E-2</c:v>
                </c:pt>
                <c:pt idx="39770">
                  <c:v>-4.6218487394957902E-2</c:v>
                </c:pt>
                <c:pt idx="39771">
                  <c:v>-4.6218487394957902E-2</c:v>
                </c:pt>
                <c:pt idx="39772">
                  <c:v>-4.6218487394957902E-2</c:v>
                </c:pt>
                <c:pt idx="39773">
                  <c:v>-4.6218487394957902E-2</c:v>
                </c:pt>
                <c:pt idx="39774">
                  <c:v>-4.6218487394957902E-2</c:v>
                </c:pt>
                <c:pt idx="39775">
                  <c:v>-4.6218487394957902E-2</c:v>
                </c:pt>
                <c:pt idx="39776">
                  <c:v>-4.6218487394957902E-2</c:v>
                </c:pt>
                <c:pt idx="39777">
                  <c:v>-4.6218487394957902E-2</c:v>
                </c:pt>
                <c:pt idx="39778">
                  <c:v>-4.6218487394957902E-2</c:v>
                </c:pt>
                <c:pt idx="39779">
                  <c:v>-4.6218487394957902E-2</c:v>
                </c:pt>
                <c:pt idx="39780">
                  <c:v>-4.6218487394957902E-2</c:v>
                </c:pt>
                <c:pt idx="39781">
                  <c:v>-4.6218487394957902E-2</c:v>
                </c:pt>
                <c:pt idx="39782">
                  <c:v>-4.6218487394957902E-2</c:v>
                </c:pt>
                <c:pt idx="39783">
                  <c:v>-4.6218487394957902E-2</c:v>
                </c:pt>
                <c:pt idx="39784">
                  <c:v>-4.6218487394957902E-2</c:v>
                </c:pt>
                <c:pt idx="39785">
                  <c:v>-4.7058823529411702E-2</c:v>
                </c:pt>
                <c:pt idx="39786">
                  <c:v>-4.7058823529411702E-2</c:v>
                </c:pt>
                <c:pt idx="39787">
                  <c:v>-4.7058823529411702E-2</c:v>
                </c:pt>
                <c:pt idx="39788">
                  <c:v>-4.7058823529411702E-2</c:v>
                </c:pt>
                <c:pt idx="39789">
                  <c:v>-4.7058823529411702E-2</c:v>
                </c:pt>
                <c:pt idx="39790">
                  <c:v>-4.7058823529411702E-2</c:v>
                </c:pt>
                <c:pt idx="39791">
                  <c:v>-4.7058823529411702E-2</c:v>
                </c:pt>
                <c:pt idx="39792">
                  <c:v>-4.7058823529411702E-2</c:v>
                </c:pt>
                <c:pt idx="39793">
                  <c:v>-4.7058823529411702E-2</c:v>
                </c:pt>
                <c:pt idx="39794">
                  <c:v>-4.7058823529411702E-2</c:v>
                </c:pt>
                <c:pt idx="39795">
                  <c:v>-4.7058823529411702E-2</c:v>
                </c:pt>
                <c:pt idx="39796">
                  <c:v>-4.7058823529411702E-2</c:v>
                </c:pt>
                <c:pt idx="39797">
                  <c:v>-4.7058823529411702E-2</c:v>
                </c:pt>
                <c:pt idx="39798">
                  <c:v>-4.7058823529411702E-2</c:v>
                </c:pt>
                <c:pt idx="39799">
                  <c:v>-4.7058823529411702E-2</c:v>
                </c:pt>
                <c:pt idx="39800">
                  <c:v>-4.7058823529411702E-2</c:v>
                </c:pt>
                <c:pt idx="39801">
                  <c:v>-4.7058823529411702E-2</c:v>
                </c:pt>
                <c:pt idx="39802">
                  <c:v>-4.7058823529411702E-2</c:v>
                </c:pt>
                <c:pt idx="39803">
                  <c:v>-4.7058823529411702E-2</c:v>
                </c:pt>
                <c:pt idx="39804">
                  <c:v>-4.7058823529411702E-2</c:v>
                </c:pt>
                <c:pt idx="39805">
                  <c:v>-4.7058823529411702E-2</c:v>
                </c:pt>
                <c:pt idx="39806">
                  <c:v>-4.7058823529411702E-2</c:v>
                </c:pt>
                <c:pt idx="39807">
                  <c:v>-4.7058823529411702E-2</c:v>
                </c:pt>
                <c:pt idx="39808">
                  <c:v>-4.7058823529411702E-2</c:v>
                </c:pt>
                <c:pt idx="39809">
                  <c:v>-4.7058823529411702E-2</c:v>
                </c:pt>
                <c:pt idx="39810">
                  <c:v>-4.7058823529411702E-2</c:v>
                </c:pt>
                <c:pt idx="39811">
                  <c:v>-4.7058823529411702E-2</c:v>
                </c:pt>
                <c:pt idx="39812">
                  <c:v>-4.7058823529411702E-2</c:v>
                </c:pt>
                <c:pt idx="39813">
                  <c:v>-4.7058823529411702E-2</c:v>
                </c:pt>
                <c:pt idx="39814">
                  <c:v>-4.7058823529411702E-2</c:v>
                </c:pt>
                <c:pt idx="39815">
                  <c:v>-4.7058823529411702E-2</c:v>
                </c:pt>
                <c:pt idx="39816">
                  <c:v>-4.7058823529411702E-2</c:v>
                </c:pt>
                <c:pt idx="39817">
                  <c:v>-4.7058823529411702E-2</c:v>
                </c:pt>
                <c:pt idx="39818">
                  <c:v>-4.7058823529411702E-2</c:v>
                </c:pt>
                <c:pt idx="39819">
                  <c:v>-4.7058823529411702E-2</c:v>
                </c:pt>
                <c:pt idx="39820">
                  <c:v>-4.7058823529411702E-2</c:v>
                </c:pt>
                <c:pt idx="39821">
                  <c:v>-4.6218487394957902E-2</c:v>
                </c:pt>
                <c:pt idx="39822">
                  <c:v>-4.6218487394957902E-2</c:v>
                </c:pt>
                <c:pt idx="39823">
                  <c:v>-4.6218487394957902E-2</c:v>
                </c:pt>
                <c:pt idx="39824">
                  <c:v>-4.6218487394957902E-2</c:v>
                </c:pt>
                <c:pt idx="39825">
                  <c:v>-4.6218487394957902E-2</c:v>
                </c:pt>
                <c:pt idx="39826">
                  <c:v>-4.6218487394957902E-2</c:v>
                </c:pt>
                <c:pt idx="39827">
                  <c:v>-4.6218487394957902E-2</c:v>
                </c:pt>
                <c:pt idx="39828">
                  <c:v>-4.6218487394957902E-2</c:v>
                </c:pt>
                <c:pt idx="39829">
                  <c:v>-4.6218487394957902E-2</c:v>
                </c:pt>
                <c:pt idx="39830">
                  <c:v>-4.6218487394957902E-2</c:v>
                </c:pt>
                <c:pt idx="39831">
                  <c:v>-4.6218487394957902E-2</c:v>
                </c:pt>
                <c:pt idx="39832">
                  <c:v>-4.6218487394957902E-2</c:v>
                </c:pt>
                <c:pt idx="39833">
                  <c:v>-4.7058823529411702E-2</c:v>
                </c:pt>
                <c:pt idx="39834">
                  <c:v>-4.7058823529411702E-2</c:v>
                </c:pt>
                <c:pt idx="39835">
                  <c:v>-4.7058823529411702E-2</c:v>
                </c:pt>
                <c:pt idx="39836">
                  <c:v>-4.6218487394957902E-2</c:v>
                </c:pt>
                <c:pt idx="39837">
                  <c:v>-4.6218487394957902E-2</c:v>
                </c:pt>
                <c:pt idx="39838">
                  <c:v>-4.6218487394957902E-2</c:v>
                </c:pt>
                <c:pt idx="39839">
                  <c:v>-4.6218487394957902E-2</c:v>
                </c:pt>
                <c:pt idx="39840">
                  <c:v>-4.6218487394957902E-2</c:v>
                </c:pt>
                <c:pt idx="39841">
                  <c:v>-4.6218487394957902E-2</c:v>
                </c:pt>
                <c:pt idx="39842">
                  <c:v>-4.6218487394957902E-2</c:v>
                </c:pt>
                <c:pt idx="39843">
                  <c:v>-4.6218487394957902E-2</c:v>
                </c:pt>
                <c:pt idx="39844">
                  <c:v>-4.6218487394957902E-2</c:v>
                </c:pt>
                <c:pt idx="39845">
                  <c:v>-4.6218487394957902E-2</c:v>
                </c:pt>
                <c:pt idx="39846">
                  <c:v>-4.6218487394957902E-2</c:v>
                </c:pt>
                <c:pt idx="39847">
                  <c:v>-4.6218487394957902E-2</c:v>
                </c:pt>
                <c:pt idx="39848">
                  <c:v>-4.6218487394957902E-2</c:v>
                </c:pt>
                <c:pt idx="39849">
                  <c:v>-4.6218487394957902E-2</c:v>
                </c:pt>
                <c:pt idx="39850">
                  <c:v>-4.6218487394957902E-2</c:v>
                </c:pt>
                <c:pt idx="39851">
                  <c:v>-4.6218487394957902E-2</c:v>
                </c:pt>
                <c:pt idx="39852">
                  <c:v>-4.6218487394957902E-2</c:v>
                </c:pt>
                <c:pt idx="39853">
                  <c:v>-4.6218487394957902E-2</c:v>
                </c:pt>
                <c:pt idx="39854">
                  <c:v>-4.6218487394957902E-2</c:v>
                </c:pt>
                <c:pt idx="39855">
                  <c:v>-4.6218487394957902E-2</c:v>
                </c:pt>
                <c:pt idx="39856">
                  <c:v>-4.6218487394957902E-2</c:v>
                </c:pt>
                <c:pt idx="39857">
                  <c:v>-4.6218487394957902E-2</c:v>
                </c:pt>
                <c:pt idx="39858">
                  <c:v>-4.6218487394957902E-2</c:v>
                </c:pt>
                <c:pt idx="39859">
                  <c:v>-4.6218487394957902E-2</c:v>
                </c:pt>
                <c:pt idx="39860">
                  <c:v>-4.6218487394957902E-2</c:v>
                </c:pt>
                <c:pt idx="39861">
                  <c:v>-4.6218487394957902E-2</c:v>
                </c:pt>
                <c:pt idx="39862">
                  <c:v>-4.6218487394957902E-2</c:v>
                </c:pt>
                <c:pt idx="39863">
                  <c:v>-4.6218487394957902E-2</c:v>
                </c:pt>
                <c:pt idx="39864">
                  <c:v>-4.6218487394957902E-2</c:v>
                </c:pt>
                <c:pt idx="39865">
                  <c:v>-4.6218487394957902E-2</c:v>
                </c:pt>
                <c:pt idx="39866">
                  <c:v>-4.6218487394957902E-2</c:v>
                </c:pt>
                <c:pt idx="39867">
                  <c:v>-4.6218487394957902E-2</c:v>
                </c:pt>
                <c:pt idx="39868">
                  <c:v>-4.6218487394957902E-2</c:v>
                </c:pt>
                <c:pt idx="39869">
                  <c:v>-4.6218487394957902E-2</c:v>
                </c:pt>
                <c:pt idx="39870">
                  <c:v>-4.6218487394957902E-2</c:v>
                </c:pt>
                <c:pt idx="39871">
                  <c:v>-4.6218487394957902E-2</c:v>
                </c:pt>
                <c:pt idx="39872">
                  <c:v>-4.6218487394957902E-2</c:v>
                </c:pt>
                <c:pt idx="39873">
                  <c:v>-4.6218487394957902E-2</c:v>
                </c:pt>
                <c:pt idx="39874">
                  <c:v>-4.6218487394957902E-2</c:v>
                </c:pt>
                <c:pt idx="39875">
                  <c:v>-4.6218487394957902E-2</c:v>
                </c:pt>
                <c:pt idx="39876">
                  <c:v>-4.6218487394957902E-2</c:v>
                </c:pt>
                <c:pt idx="39877">
                  <c:v>-4.6218487394957902E-2</c:v>
                </c:pt>
                <c:pt idx="39878">
                  <c:v>-4.6218487394957902E-2</c:v>
                </c:pt>
                <c:pt idx="39879">
                  <c:v>-4.6218487394957902E-2</c:v>
                </c:pt>
                <c:pt idx="39880">
                  <c:v>-4.6218487394957902E-2</c:v>
                </c:pt>
                <c:pt idx="39881">
                  <c:v>-4.6218487394957902E-2</c:v>
                </c:pt>
                <c:pt idx="39882">
                  <c:v>-4.6218487394957902E-2</c:v>
                </c:pt>
                <c:pt idx="39883">
                  <c:v>-4.6218487394957902E-2</c:v>
                </c:pt>
                <c:pt idx="39884">
                  <c:v>-4.6218487394957902E-2</c:v>
                </c:pt>
                <c:pt idx="39885">
                  <c:v>-4.6218487394957902E-2</c:v>
                </c:pt>
                <c:pt idx="39886">
                  <c:v>-4.6218487394957902E-2</c:v>
                </c:pt>
                <c:pt idx="39887">
                  <c:v>-4.6218487394957902E-2</c:v>
                </c:pt>
                <c:pt idx="39888">
                  <c:v>-4.6218487394957902E-2</c:v>
                </c:pt>
                <c:pt idx="39889">
                  <c:v>-4.5378151260504103E-2</c:v>
                </c:pt>
                <c:pt idx="39890">
                  <c:v>-4.5378151260504103E-2</c:v>
                </c:pt>
                <c:pt idx="39891">
                  <c:v>-4.5378151260504103E-2</c:v>
                </c:pt>
                <c:pt idx="39892">
                  <c:v>-4.5378151260504103E-2</c:v>
                </c:pt>
                <c:pt idx="39893">
                  <c:v>-4.5378151260504103E-2</c:v>
                </c:pt>
                <c:pt idx="39894">
                  <c:v>-4.5378151260504103E-2</c:v>
                </c:pt>
                <c:pt idx="39895">
                  <c:v>-4.5378151260504103E-2</c:v>
                </c:pt>
                <c:pt idx="39896">
                  <c:v>-4.5378151260504103E-2</c:v>
                </c:pt>
                <c:pt idx="39897">
                  <c:v>-4.5378151260504103E-2</c:v>
                </c:pt>
                <c:pt idx="39898">
                  <c:v>-4.5378151260504103E-2</c:v>
                </c:pt>
                <c:pt idx="39899">
                  <c:v>-4.5378151260504103E-2</c:v>
                </c:pt>
                <c:pt idx="39900">
                  <c:v>-4.5378151260504103E-2</c:v>
                </c:pt>
                <c:pt idx="39901">
                  <c:v>-4.5378151260504103E-2</c:v>
                </c:pt>
                <c:pt idx="39902">
                  <c:v>-4.5378151260504103E-2</c:v>
                </c:pt>
                <c:pt idx="39903">
                  <c:v>-4.5378151260504103E-2</c:v>
                </c:pt>
                <c:pt idx="39904">
                  <c:v>-4.5378151260504103E-2</c:v>
                </c:pt>
                <c:pt idx="39905">
                  <c:v>-4.5378151260504103E-2</c:v>
                </c:pt>
                <c:pt idx="39906">
                  <c:v>-4.5378151260504103E-2</c:v>
                </c:pt>
                <c:pt idx="39907">
                  <c:v>-4.5378151260504103E-2</c:v>
                </c:pt>
                <c:pt idx="39908">
                  <c:v>-4.5378151260504103E-2</c:v>
                </c:pt>
                <c:pt idx="39909">
                  <c:v>-4.5378151260504103E-2</c:v>
                </c:pt>
                <c:pt idx="39910">
                  <c:v>-4.5378151260504103E-2</c:v>
                </c:pt>
                <c:pt idx="39911">
                  <c:v>-4.5378151260504103E-2</c:v>
                </c:pt>
                <c:pt idx="39912">
                  <c:v>-4.5378151260504103E-2</c:v>
                </c:pt>
                <c:pt idx="39913">
                  <c:v>-4.5378151260504103E-2</c:v>
                </c:pt>
                <c:pt idx="39914">
                  <c:v>-4.5378151260504103E-2</c:v>
                </c:pt>
                <c:pt idx="39915">
                  <c:v>-4.5378151260504103E-2</c:v>
                </c:pt>
                <c:pt idx="39916">
                  <c:v>-4.5378151260504103E-2</c:v>
                </c:pt>
                <c:pt idx="39917">
                  <c:v>-4.5378151260504103E-2</c:v>
                </c:pt>
                <c:pt idx="39918">
                  <c:v>-4.5378151260504103E-2</c:v>
                </c:pt>
                <c:pt idx="39919">
                  <c:v>-4.5378151260504103E-2</c:v>
                </c:pt>
                <c:pt idx="39920">
                  <c:v>-4.5378151260504103E-2</c:v>
                </c:pt>
                <c:pt idx="39921">
                  <c:v>-4.5378151260504103E-2</c:v>
                </c:pt>
                <c:pt idx="39922">
                  <c:v>-4.5378151260504103E-2</c:v>
                </c:pt>
                <c:pt idx="39923">
                  <c:v>-4.5378151260504103E-2</c:v>
                </c:pt>
                <c:pt idx="39924">
                  <c:v>-4.5378151260504103E-2</c:v>
                </c:pt>
                <c:pt idx="39925">
                  <c:v>-4.5378151260504103E-2</c:v>
                </c:pt>
                <c:pt idx="39926">
                  <c:v>-4.5378151260504103E-2</c:v>
                </c:pt>
                <c:pt idx="39927">
                  <c:v>-4.5378151260504103E-2</c:v>
                </c:pt>
                <c:pt idx="39928">
                  <c:v>-4.5378151260504103E-2</c:v>
                </c:pt>
                <c:pt idx="39929">
                  <c:v>-4.5378151260504103E-2</c:v>
                </c:pt>
                <c:pt idx="39930">
                  <c:v>-4.5378151260504103E-2</c:v>
                </c:pt>
                <c:pt idx="39931">
                  <c:v>-4.5378151260504103E-2</c:v>
                </c:pt>
                <c:pt idx="39932">
                  <c:v>-4.4537815126050297E-2</c:v>
                </c:pt>
                <c:pt idx="39933">
                  <c:v>-4.4537815126050297E-2</c:v>
                </c:pt>
                <c:pt idx="39934">
                  <c:v>-4.3697478991596497E-2</c:v>
                </c:pt>
                <c:pt idx="39935">
                  <c:v>-4.3697478991596497E-2</c:v>
                </c:pt>
                <c:pt idx="39936">
                  <c:v>-4.3697478991596497E-2</c:v>
                </c:pt>
                <c:pt idx="39937">
                  <c:v>-4.3697478991596497E-2</c:v>
                </c:pt>
                <c:pt idx="39938">
                  <c:v>-4.3697478991596497E-2</c:v>
                </c:pt>
                <c:pt idx="39939">
                  <c:v>-4.3697478991596497E-2</c:v>
                </c:pt>
                <c:pt idx="39940">
                  <c:v>-4.3697478991596497E-2</c:v>
                </c:pt>
                <c:pt idx="39941">
                  <c:v>-4.3697478991596497E-2</c:v>
                </c:pt>
                <c:pt idx="39942">
                  <c:v>-4.3697478991596497E-2</c:v>
                </c:pt>
                <c:pt idx="39943">
                  <c:v>-4.3697478991596497E-2</c:v>
                </c:pt>
                <c:pt idx="39944">
                  <c:v>-4.3697478991596497E-2</c:v>
                </c:pt>
                <c:pt idx="39945">
                  <c:v>-4.3697478991596497E-2</c:v>
                </c:pt>
                <c:pt idx="39946">
                  <c:v>-4.3697478991596497E-2</c:v>
                </c:pt>
                <c:pt idx="39947">
                  <c:v>-4.3697478991596497E-2</c:v>
                </c:pt>
                <c:pt idx="39948">
                  <c:v>-4.3697478991596497E-2</c:v>
                </c:pt>
                <c:pt idx="39949">
                  <c:v>-4.3697478991596497E-2</c:v>
                </c:pt>
                <c:pt idx="39950">
                  <c:v>-4.3697478991596497E-2</c:v>
                </c:pt>
                <c:pt idx="39951">
                  <c:v>-4.3697478991596497E-2</c:v>
                </c:pt>
                <c:pt idx="39952">
                  <c:v>-4.3697478991596497E-2</c:v>
                </c:pt>
                <c:pt idx="39953">
                  <c:v>-4.3697478991596497E-2</c:v>
                </c:pt>
                <c:pt idx="39954">
                  <c:v>-4.3697478991596497E-2</c:v>
                </c:pt>
                <c:pt idx="39955">
                  <c:v>-4.3697478991596497E-2</c:v>
                </c:pt>
                <c:pt idx="39956">
                  <c:v>-4.3697478991596497E-2</c:v>
                </c:pt>
                <c:pt idx="39957">
                  <c:v>-4.3697478991596497E-2</c:v>
                </c:pt>
                <c:pt idx="39958">
                  <c:v>-4.3697478991596497E-2</c:v>
                </c:pt>
                <c:pt idx="39959">
                  <c:v>-4.3697478991596497E-2</c:v>
                </c:pt>
                <c:pt idx="39960">
                  <c:v>-4.3697478991596497E-2</c:v>
                </c:pt>
                <c:pt idx="39961">
                  <c:v>-4.3697478991596497E-2</c:v>
                </c:pt>
                <c:pt idx="39962">
                  <c:v>-4.3697478991596497E-2</c:v>
                </c:pt>
                <c:pt idx="39963">
                  <c:v>-4.3697478991596497E-2</c:v>
                </c:pt>
                <c:pt idx="39964">
                  <c:v>-4.3697478991596497E-2</c:v>
                </c:pt>
                <c:pt idx="39965">
                  <c:v>-4.3697478991596497E-2</c:v>
                </c:pt>
                <c:pt idx="39966">
                  <c:v>-4.3697478991596497E-2</c:v>
                </c:pt>
                <c:pt idx="39967">
                  <c:v>-4.3697478991596497E-2</c:v>
                </c:pt>
                <c:pt idx="39968">
                  <c:v>-4.3697478991596497E-2</c:v>
                </c:pt>
                <c:pt idx="39969">
                  <c:v>-4.3697478991596497E-2</c:v>
                </c:pt>
                <c:pt idx="39970">
                  <c:v>-4.3697478991596497E-2</c:v>
                </c:pt>
                <c:pt idx="39971">
                  <c:v>-4.3697478991596497E-2</c:v>
                </c:pt>
                <c:pt idx="39972">
                  <c:v>-4.3697478991596497E-2</c:v>
                </c:pt>
                <c:pt idx="39973">
                  <c:v>-4.3697478991596497E-2</c:v>
                </c:pt>
                <c:pt idx="39974">
                  <c:v>-4.4537815126050297E-2</c:v>
                </c:pt>
                <c:pt idx="39975">
                  <c:v>-4.4537815126050297E-2</c:v>
                </c:pt>
                <c:pt idx="39976">
                  <c:v>-4.4537815126050297E-2</c:v>
                </c:pt>
                <c:pt idx="39977">
                  <c:v>-4.4537815126050297E-2</c:v>
                </c:pt>
                <c:pt idx="39978">
                  <c:v>-4.4537815126050297E-2</c:v>
                </c:pt>
                <c:pt idx="39979">
                  <c:v>-4.4537815126050297E-2</c:v>
                </c:pt>
                <c:pt idx="39980">
                  <c:v>-4.4537815126050297E-2</c:v>
                </c:pt>
                <c:pt idx="39981">
                  <c:v>-4.4537815126050297E-2</c:v>
                </c:pt>
                <c:pt idx="39982">
                  <c:v>-4.4537815126050297E-2</c:v>
                </c:pt>
                <c:pt idx="39983">
                  <c:v>-4.4537815126050297E-2</c:v>
                </c:pt>
                <c:pt idx="39984">
                  <c:v>-4.4537815126050297E-2</c:v>
                </c:pt>
                <c:pt idx="39985">
                  <c:v>-4.4537815126050297E-2</c:v>
                </c:pt>
                <c:pt idx="39986">
                  <c:v>-4.4537815126050297E-2</c:v>
                </c:pt>
                <c:pt idx="39987">
                  <c:v>-4.4537815126050297E-2</c:v>
                </c:pt>
                <c:pt idx="39988">
                  <c:v>-4.4537815126050297E-2</c:v>
                </c:pt>
                <c:pt idx="39989">
                  <c:v>-4.4537815126050297E-2</c:v>
                </c:pt>
                <c:pt idx="39990">
                  <c:v>-4.4537815126050297E-2</c:v>
                </c:pt>
                <c:pt idx="39991">
                  <c:v>-4.4537815126050297E-2</c:v>
                </c:pt>
                <c:pt idx="39992">
                  <c:v>-4.4537815126050297E-2</c:v>
                </c:pt>
                <c:pt idx="39993">
                  <c:v>-4.4537815126050297E-2</c:v>
                </c:pt>
                <c:pt idx="39994">
                  <c:v>-4.4537815126050297E-2</c:v>
                </c:pt>
                <c:pt idx="39995">
                  <c:v>-4.4537815126050297E-2</c:v>
                </c:pt>
                <c:pt idx="39996">
                  <c:v>-4.4537815126050297E-2</c:v>
                </c:pt>
                <c:pt idx="39997">
                  <c:v>-4.4537815126050297E-2</c:v>
                </c:pt>
                <c:pt idx="39998">
                  <c:v>-4.4537815126050297E-2</c:v>
                </c:pt>
                <c:pt idx="39999">
                  <c:v>-4.4537815126050297E-2</c:v>
                </c:pt>
                <c:pt idx="40000">
                  <c:v>-4.4537815126050297E-2</c:v>
                </c:pt>
                <c:pt idx="40001">
                  <c:v>-4.4537815126050297E-2</c:v>
                </c:pt>
                <c:pt idx="40002">
                  <c:v>-4.4537815126050297E-2</c:v>
                </c:pt>
                <c:pt idx="40003">
                  <c:v>-4.4537815126050297E-2</c:v>
                </c:pt>
                <c:pt idx="40004">
                  <c:v>-4.4537815126050297E-2</c:v>
                </c:pt>
                <c:pt idx="40005">
                  <c:v>-4.4537815126050297E-2</c:v>
                </c:pt>
                <c:pt idx="40006">
                  <c:v>-4.4537815126050297E-2</c:v>
                </c:pt>
                <c:pt idx="40007">
                  <c:v>-4.4537815126050297E-2</c:v>
                </c:pt>
                <c:pt idx="40008">
                  <c:v>-4.4537815126050297E-2</c:v>
                </c:pt>
                <c:pt idx="40009">
                  <c:v>-4.4537815126050297E-2</c:v>
                </c:pt>
                <c:pt idx="40010">
                  <c:v>-4.4537815126050297E-2</c:v>
                </c:pt>
                <c:pt idx="40011">
                  <c:v>-4.4537815126050297E-2</c:v>
                </c:pt>
                <c:pt idx="40012">
                  <c:v>-4.4537815126050297E-2</c:v>
                </c:pt>
                <c:pt idx="40013">
                  <c:v>-4.4537815126050297E-2</c:v>
                </c:pt>
                <c:pt idx="40014">
                  <c:v>-4.4537815126050297E-2</c:v>
                </c:pt>
                <c:pt idx="40015">
                  <c:v>-4.4537815126050297E-2</c:v>
                </c:pt>
                <c:pt idx="40016">
                  <c:v>-4.4537815126050297E-2</c:v>
                </c:pt>
                <c:pt idx="40017">
                  <c:v>-4.4537815126050297E-2</c:v>
                </c:pt>
                <c:pt idx="40018">
                  <c:v>-4.4537815126050297E-2</c:v>
                </c:pt>
                <c:pt idx="40019">
                  <c:v>-4.4537815126050297E-2</c:v>
                </c:pt>
                <c:pt idx="40020">
                  <c:v>-4.4537815126050297E-2</c:v>
                </c:pt>
                <c:pt idx="40021">
                  <c:v>-4.4537815126050297E-2</c:v>
                </c:pt>
                <c:pt idx="40022">
                  <c:v>-4.4537815126050297E-2</c:v>
                </c:pt>
                <c:pt idx="40023">
                  <c:v>-4.4537815126050297E-2</c:v>
                </c:pt>
                <c:pt idx="40024">
                  <c:v>-4.4537815126050297E-2</c:v>
                </c:pt>
                <c:pt idx="40025">
                  <c:v>-4.3697478991596497E-2</c:v>
                </c:pt>
                <c:pt idx="40026">
                  <c:v>-4.3697478991596497E-2</c:v>
                </c:pt>
                <c:pt idx="40027">
                  <c:v>-4.3697478991596497E-2</c:v>
                </c:pt>
                <c:pt idx="40028">
                  <c:v>-4.3697478991596497E-2</c:v>
                </c:pt>
                <c:pt idx="40029">
                  <c:v>-4.3697478991596497E-2</c:v>
                </c:pt>
                <c:pt idx="40030">
                  <c:v>-4.2857142857142802E-2</c:v>
                </c:pt>
                <c:pt idx="40031">
                  <c:v>-4.2857142857142802E-2</c:v>
                </c:pt>
                <c:pt idx="40032">
                  <c:v>-4.2857142857142802E-2</c:v>
                </c:pt>
                <c:pt idx="40033">
                  <c:v>-4.2857142857142802E-2</c:v>
                </c:pt>
                <c:pt idx="40034">
                  <c:v>-4.2857142857142802E-2</c:v>
                </c:pt>
                <c:pt idx="40035">
                  <c:v>-4.2857142857142802E-2</c:v>
                </c:pt>
                <c:pt idx="40036">
                  <c:v>-4.2857142857142802E-2</c:v>
                </c:pt>
                <c:pt idx="40037">
                  <c:v>-4.2857142857142802E-2</c:v>
                </c:pt>
                <c:pt idx="40038">
                  <c:v>-4.2857142857142802E-2</c:v>
                </c:pt>
                <c:pt idx="40039">
                  <c:v>-4.2857142857142802E-2</c:v>
                </c:pt>
                <c:pt idx="40040">
                  <c:v>-4.2857142857142802E-2</c:v>
                </c:pt>
                <c:pt idx="40041">
                  <c:v>-4.2857142857142802E-2</c:v>
                </c:pt>
                <c:pt idx="40042">
                  <c:v>-4.2857142857142802E-2</c:v>
                </c:pt>
                <c:pt idx="40043">
                  <c:v>-4.2857142857142802E-2</c:v>
                </c:pt>
                <c:pt idx="40044">
                  <c:v>-4.2857142857142802E-2</c:v>
                </c:pt>
                <c:pt idx="40045">
                  <c:v>-4.2857142857142802E-2</c:v>
                </c:pt>
                <c:pt idx="40046">
                  <c:v>-4.2857142857142802E-2</c:v>
                </c:pt>
                <c:pt idx="40047">
                  <c:v>-4.2857142857142802E-2</c:v>
                </c:pt>
                <c:pt idx="40048">
                  <c:v>-4.2857142857142802E-2</c:v>
                </c:pt>
                <c:pt idx="40049">
                  <c:v>-4.2857142857142802E-2</c:v>
                </c:pt>
                <c:pt idx="40050">
                  <c:v>-4.2857142857142802E-2</c:v>
                </c:pt>
                <c:pt idx="40051">
                  <c:v>-4.2857142857142802E-2</c:v>
                </c:pt>
                <c:pt idx="40052">
                  <c:v>-4.2857142857142802E-2</c:v>
                </c:pt>
                <c:pt idx="40053">
                  <c:v>-4.2857142857142802E-2</c:v>
                </c:pt>
                <c:pt idx="40054">
                  <c:v>-4.2857142857142802E-2</c:v>
                </c:pt>
                <c:pt idx="40055">
                  <c:v>-4.2857142857142802E-2</c:v>
                </c:pt>
                <c:pt idx="40056">
                  <c:v>-4.2857142857142802E-2</c:v>
                </c:pt>
                <c:pt idx="40057">
                  <c:v>-4.2857142857142802E-2</c:v>
                </c:pt>
                <c:pt idx="40058">
                  <c:v>-4.2857142857142802E-2</c:v>
                </c:pt>
                <c:pt idx="40059">
                  <c:v>-4.2857142857142802E-2</c:v>
                </c:pt>
                <c:pt idx="40060">
                  <c:v>-4.2857142857142802E-2</c:v>
                </c:pt>
                <c:pt idx="40061">
                  <c:v>-4.2857142857142802E-2</c:v>
                </c:pt>
                <c:pt idx="40062">
                  <c:v>-4.2857142857142802E-2</c:v>
                </c:pt>
                <c:pt idx="40063">
                  <c:v>-4.2857142857142802E-2</c:v>
                </c:pt>
                <c:pt idx="40064">
                  <c:v>-4.2857142857142802E-2</c:v>
                </c:pt>
                <c:pt idx="40065">
                  <c:v>-4.2857142857142802E-2</c:v>
                </c:pt>
                <c:pt idx="40066">
                  <c:v>-4.2857142857142802E-2</c:v>
                </c:pt>
                <c:pt idx="40067">
                  <c:v>-4.2857142857142802E-2</c:v>
                </c:pt>
                <c:pt idx="40068">
                  <c:v>-4.2857142857142802E-2</c:v>
                </c:pt>
                <c:pt idx="40069">
                  <c:v>-4.2857142857142802E-2</c:v>
                </c:pt>
                <c:pt idx="40070">
                  <c:v>-4.2857142857142802E-2</c:v>
                </c:pt>
                <c:pt idx="40071">
                  <c:v>-4.2857142857142802E-2</c:v>
                </c:pt>
                <c:pt idx="40072">
                  <c:v>-4.2857142857142802E-2</c:v>
                </c:pt>
                <c:pt idx="40073">
                  <c:v>-4.2857142857142802E-2</c:v>
                </c:pt>
                <c:pt idx="40074">
                  <c:v>-4.2857142857142802E-2</c:v>
                </c:pt>
                <c:pt idx="40075">
                  <c:v>-4.2016806722689003E-2</c:v>
                </c:pt>
                <c:pt idx="40076">
                  <c:v>-4.2016806722689003E-2</c:v>
                </c:pt>
                <c:pt idx="40077">
                  <c:v>-4.2016806722689003E-2</c:v>
                </c:pt>
                <c:pt idx="40078">
                  <c:v>-4.2016806722689003E-2</c:v>
                </c:pt>
                <c:pt idx="40079">
                  <c:v>-4.2016806722689003E-2</c:v>
                </c:pt>
                <c:pt idx="40080">
                  <c:v>-4.2016806722689003E-2</c:v>
                </c:pt>
                <c:pt idx="40081">
                  <c:v>-4.2016806722689003E-2</c:v>
                </c:pt>
                <c:pt idx="40082">
                  <c:v>-4.2016806722689003E-2</c:v>
                </c:pt>
                <c:pt idx="40083">
                  <c:v>-4.2016806722689003E-2</c:v>
                </c:pt>
                <c:pt idx="40084">
                  <c:v>-4.2016806722689003E-2</c:v>
                </c:pt>
                <c:pt idx="40085">
                  <c:v>-4.2016806722689003E-2</c:v>
                </c:pt>
                <c:pt idx="40086">
                  <c:v>-4.2016806722689003E-2</c:v>
                </c:pt>
                <c:pt idx="40087">
                  <c:v>-4.2016806722689003E-2</c:v>
                </c:pt>
                <c:pt idx="40088">
                  <c:v>-4.2016806722689003E-2</c:v>
                </c:pt>
                <c:pt idx="40089">
                  <c:v>-4.2016806722689003E-2</c:v>
                </c:pt>
                <c:pt idx="40090">
                  <c:v>-4.2016806722689003E-2</c:v>
                </c:pt>
                <c:pt idx="40091">
                  <c:v>-4.2016806722689003E-2</c:v>
                </c:pt>
                <c:pt idx="40092">
                  <c:v>-4.2016806722689003E-2</c:v>
                </c:pt>
                <c:pt idx="40093">
                  <c:v>-4.2016806722689003E-2</c:v>
                </c:pt>
                <c:pt idx="40094">
                  <c:v>-4.2016806722689003E-2</c:v>
                </c:pt>
                <c:pt idx="40095">
                  <c:v>-4.2016806722689003E-2</c:v>
                </c:pt>
                <c:pt idx="40096">
                  <c:v>-4.2016806722689003E-2</c:v>
                </c:pt>
                <c:pt idx="40097">
                  <c:v>-4.2016806722689003E-2</c:v>
                </c:pt>
                <c:pt idx="40098">
                  <c:v>-4.2016806722689003E-2</c:v>
                </c:pt>
                <c:pt idx="40099">
                  <c:v>-4.2016806722689003E-2</c:v>
                </c:pt>
                <c:pt idx="40100">
                  <c:v>-4.2016806722689003E-2</c:v>
                </c:pt>
                <c:pt idx="40101">
                  <c:v>-4.2016806722689003E-2</c:v>
                </c:pt>
                <c:pt idx="40102">
                  <c:v>-4.1176470588235203E-2</c:v>
                </c:pt>
                <c:pt idx="40103">
                  <c:v>-4.1176470588235203E-2</c:v>
                </c:pt>
                <c:pt idx="40104">
                  <c:v>-4.1176470588235203E-2</c:v>
                </c:pt>
                <c:pt idx="40105">
                  <c:v>-4.1176470588235203E-2</c:v>
                </c:pt>
                <c:pt idx="40106">
                  <c:v>-4.1176470588235203E-2</c:v>
                </c:pt>
                <c:pt idx="40107">
                  <c:v>-4.1176470588235203E-2</c:v>
                </c:pt>
                <c:pt idx="40108">
                  <c:v>-4.1176470588235203E-2</c:v>
                </c:pt>
                <c:pt idx="40109">
                  <c:v>-4.1176470588235203E-2</c:v>
                </c:pt>
                <c:pt idx="40110">
                  <c:v>-4.1176470588235203E-2</c:v>
                </c:pt>
                <c:pt idx="40111">
                  <c:v>-4.1176470588235203E-2</c:v>
                </c:pt>
                <c:pt idx="40112">
                  <c:v>-4.1176470588235203E-2</c:v>
                </c:pt>
                <c:pt idx="40113">
                  <c:v>-4.1176470588235203E-2</c:v>
                </c:pt>
                <c:pt idx="40114">
                  <c:v>-4.1176470588235203E-2</c:v>
                </c:pt>
                <c:pt idx="40115">
                  <c:v>-4.1176470588235203E-2</c:v>
                </c:pt>
                <c:pt idx="40116">
                  <c:v>-4.1176470588235203E-2</c:v>
                </c:pt>
                <c:pt idx="40117">
                  <c:v>-4.1176470588235203E-2</c:v>
                </c:pt>
                <c:pt idx="40118">
                  <c:v>-4.1176470588235203E-2</c:v>
                </c:pt>
                <c:pt idx="40119">
                  <c:v>-4.1176470588235203E-2</c:v>
                </c:pt>
                <c:pt idx="40120">
                  <c:v>-4.1176470588235203E-2</c:v>
                </c:pt>
                <c:pt idx="40121">
                  <c:v>-4.1176470588235203E-2</c:v>
                </c:pt>
                <c:pt idx="40122">
                  <c:v>-4.1176470588235203E-2</c:v>
                </c:pt>
                <c:pt idx="40123">
                  <c:v>-4.1176470588235203E-2</c:v>
                </c:pt>
                <c:pt idx="40124">
                  <c:v>-4.1176470588235203E-2</c:v>
                </c:pt>
                <c:pt idx="40125">
                  <c:v>-4.1176470588235203E-2</c:v>
                </c:pt>
                <c:pt idx="40126">
                  <c:v>-4.1176470588235203E-2</c:v>
                </c:pt>
                <c:pt idx="40127">
                  <c:v>-4.1176470588235203E-2</c:v>
                </c:pt>
                <c:pt idx="40128">
                  <c:v>-4.1176470588235203E-2</c:v>
                </c:pt>
                <c:pt idx="40129">
                  <c:v>-4.1176470588235203E-2</c:v>
                </c:pt>
                <c:pt idx="40130">
                  <c:v>-4.1176470588235203E-2</c:v>
                </c:pt>
                <c:pt idx="40131">
                  <c:v>-4.1176470588235203E-2</c:v>
                </c:pt>
                <c:pt idx="40132">
                  <c:v>-4.1176470588235203E-2</c:v>
                </c:pt>
                <c:pt idx="40133">
                  <c:v>-4.1176470588235203E-2</c:v>
                </c:pt>
                <c:pt idx="40134">
                  <c:v>-4.1176470588235203E-2</c:v>
                </c:pt>
                <c:pt idx="40135">
                  <c:v>-4.1176470588235203E-2</c:v>
                </c:pt>
                <c:pt idx="40136">
                  <c:v>-4.1176470588235203E-2</c:v>
                </c:pt>
                <c:pt idx="40137">
                  <c:v>-4.1176470588235203E-2</c:v>
                </c:pt>
                <c:pt idx="40138">
                  <c:v>-4.1176470588235203E-2</c:v>
                </c:pt>
                <c:pt idx="40139">
                  <c:v>-4.1176470588235203E-2</c:v>
                </c:pt>
                <c:pt idx="40140">
                  <c:v>-4.1176470588235203E-2</c:v>
                </c:pt>
                <c:pt idx="40141">
                  <c:v>-4.1176470588235203E-2</c:v>
                </c:pt>
                <c:pt idx="40142">
                  <c:v>-4.1176470588235203E-2</c:v>
                </c:pt>
                <c:pt idx="40143">
                  <c:v>-4.1176470588235203E-2</c:v>
                </c:pt>
                <c:pt idx="40144">
                  <c:v>-4.1176470588235203E-2</c:v>
                </c:pt>
                <c:pt idx="40145">
                  <c:v>-4.1176470588235203E-2</c:v>
                </c:pt>
                <c:pt idx="40146">
                  <c:v>-4.1176470588235203E-2</c:v>
                </c:pt>
                <c:pt idx="40147">
                  <c:v>-4.1176470588235203E-2</c:v>
                </c:pt>
                <c:pt idx="40148">
                  <c:v>-4.1176470588235203E-2</c:v>
                </c:pt>
                <c:pt idx="40149">
                  <c:v>-4.1176470588235203E-2</c:v>
                </c:pt>
                <c:pt idx="40150">
                  <c:v>-4.1176470588235203E-2</c:v>
                </c:pt>
                <c:pt idx="40151">
                  <c:v>-4.1176470588235203E-2</c:v>
                </c:pt>
                <c:pt idx="40152">
                  <c:v>-4.1176470588235203E-2</c:v>
                </c:pt>
                <c:pt idx="40153">
                  <c:v>-4.1176470588235203E-2</c:v>
                </c:pt>
                <c:pt idx="40154">
                  <c:v>-4.1176470588235203E-2</c:v>
                </c:pt>
                <c:pt idx="40155">
                  <c:v>-4.1176470588235203E-2</c:v>
                </c:pt>
                <c:pt idx="40156">
                  <c:v>-4.1176470588235203E-2</c:v>
                </c:pt>
                <c:pt idx="40157">
                  <c:v>-4.1176470588235203E-2</c:v>
                </c:pt>
                <c:pt idx="40158">
                  <c:v>-4.1176470588235203E-2</c:v>
                </c:pt>
                <c:pt idx="40159">
                  <c:v>-4.1176470588235203E-2</c:v>
                </c:pt>
                <c:pt idx="40160">
                  <c:v>-4.2016806722689003E-2</c:v>
                </c:pt>
                <c:pt idx="40161">
                  <c:v>-4.2016806722689003E-2</c:v>
                </c:pt>
                <c:pt idx="40162">
                  <c:v>-4.2016806722689003E-2</c:v>
                </c:pt>
                <c:pt idx="40163">
                  <c:v>-4.2016806722689003E-2</c:v>
                </c:pt>
                <c:pt idx="40164">
                  <c:v>-4.2016806722689003E-2</c:v>
                </c:pt>
                <c:pt idx="40165">
                  <c:v>-4.2016806722689003E-2</c:v>
                </c:pt>
                <c:pt idx="40166">
                  <c:v>-4.2016806722689003E-2</c:v>
                </c:pt>
                <c:pt idx="40167">
                  <c:v>-4.2016806722689003E-2</c:v>
                </c:pt>
                <c:pt idx="40168">
                  <c:v>-4.2016806722689003E-2</c:v>
                </c:pt>
                <c:pt idx="40169">
                  <c:v>-4.2016806722689003E-2</c:v>
                </c:pt>
                <c:pt idx="40170">
                  <c:v>-4.2016806722689003E-2</c:v>
                </c:pt>
                <c:pt idx="40171">
                  <c:v>-4.2016806722689003E-2</c:v>
                </c:pt>
                <c:pt idx="40172">
                  <c:v>-4.2016806722689003E-2</c:v>
                </c:pt>
                <c:pt idx="40173">
                  <c:v>-4.2016806722689003E-2</c:v>
                </c:pt>
                <c:pt idx="40174">
                  <c:v>-4.2016806722689003E-2</c:v>
                </c:pt>
                <c:pt idx="40175">
                  <c:v>-4.2016806722689003E-2</c:v>
                </c:pt>
                <c:pt idx="40176">
                  <c:v>-4.2016806722689003E-2</c:v>
                </c:pt>
                <c:pt idx="40177">
                  <c:v>-4.2016806722689003E-2</c:v>
                </c:pt>
                <c:pt idx="40178">
                  <c:v>-4.2016806722689003E-2</c:v>
                </c:pt>
                <c:pt idx="40179">
                  <c:v>-4.2016806722689003E-2</c:v>
                </c:pt>
                <c:pt idx="40180">
                  <c:v>-4.2016806722689003E-2</c:v>
                </c:pt>
                <c:pt idx="40181">
                  <c:v>-4.2016806722689003E-2</c:v>
                </c:pt>
                <c:pt idx="40182">
                  <c:v>-4.2016806722689003E-2</c:v>
                </c:pt>
                <c:pt idx="40183">
                  <c:v>-4.2016806722689003E-2</c:v>
                </c:pt>
                <c:pt idx="40184">
                  <c:v>-4.2016806722689003E-2</c:v>
                </c:pt>
                <c:pt idx="40185">
                  <c:v>-4.2016806722689003E-2</c:v>
                </c:pt>
                <c:pt idx="40186">
                  <c:v>-4.2016806722689003E-2</c:v>
                </c:pt>
                <c:pt idx="40187">
                  <c:v>-4.2016806722689003E-2</c:v>
                </c:pt>
                <c:pt idx="40188">
                  <c:v>-4.2016806722689003E-2</c:v>
                </c:pt>
                <c:pt idx="40189">
                  <c:v>-4.2016806722689003E-2</c:v>
                </c:pt>
                <c:pt idx="40190">
                  <c:v>-4.2016806722689003E-2</c:v>
                </c:pt>
                <c:pt idx="40191">
                  <c:v>-4.2016806722689003E-2</c:v>
                </c:pt>
                <c:pt idx="40192">
                  <c:v>-4.2016806722689003E-2</c:v>
                </c:pt>
                <c:pt idx="40193">
                  <c:v>-4.2016806722689003E-2</c:v>
                </c:pt>
                <c:pt idx="40194">
                  <c:v>-4.2016806722689003E-2</c:v>
                </c:pt>
                <c:pt idx="40195">
                  <c:v>-4.2016806722689003E-2</c:v>
                </c:pt>
                <c:pt idx="40196">
                  <c:v>-4.2016806722689003E-2</c:v>
                </c:pt>
                <c:pt idx="40197">
                  <c:v>-4.2016806722689003E-2</c:v>
                </c:pt>
                <c:pt idx="40198">
                  <c:v>-4.2016806722689003E-2</c:v>
                </c:pt>
                <c:pt idx="40199">
                  <c:v>-4.2016806722689003E-2</c:v>
                </c:pt>
                <c:pt idx="40200">
                  <c:v>-4.2016806722689003E-2</c:v>
                </c:pt>
                <c:pt idx="40201">
                  <c:v>-4.2016806722689003E-2</c:v>
                </c:pt>
                <c:pt idx="40202">
                  <c:v>-4.2016806722689003E-2</c:v>
                </c:pt>
                <c:pt idx="40203">
                  <c:v>-4.2016806722689003E-2</c:v>
                </c:pt>
                <c:pt idx="40204">
                  <c:v>-4.2016806722689003E-2</c:v>
                </c:pt>
                <c:pt idx="40205">
                  <c:v>-4.2016806722689003E-2</c:v>
                </c:pt>
                <c:pt idx="40206">
                  <c:v>-4.2016806722689003E-2</c:v>
                </c:pt>
                <c:pt idx="40207">
                  <c:v>-4.2016806722689003E-2</c:v>
                </c:pt>
                <c:pt idx="40208">
                  <c:v>-4.2016806722689003E-2</c:v>
                </c:pt>
                <c:pt idx="40209">
                  <c:v>-4.2016806722689003E-2</c:v>
                </c:pt>
                <c:pt idx="40210">
                  <c:v>-4.2016806722689003E-2</c:v>
                </c:pt>
                <c:pt idx="40211">
                  <c:v>-4.2016806722689003E-2</c:v>
                </c:pt>
                <c:pt idx="40212">
                  <c:v>-4.2016806722689003E-2</c:v>
                </c:pt>
                <c:pt idx="40213">
                  <c:v>-4.2016806722689003E-2</c:v>
                </c:pt>
                <c:pt idx="40214">
                  <c:v>-4.2016806722689003E-2</c:v>
                </c:pt>
                <c:pt idx="40215">
                  <c:v>-4.2016806722689003E-2</c:v>
                </c:pt>
                <c:pt idx="40216">
                  <c:v>-4.2016806722689003E-2</c:v>
                </c:pt>
                <c:pt idx="40217">
                  <c:v>-4.2016806722689003E-2</c:v>
                </c:pt>
                <c:pt idx="40218">
                  <c:v>-4.2016806722689003E-2</c:v>
                </c:pt>
                <c:pt idx="40219">
                  <c:v>-4.2016806722689003E-2</c:v>
                </c:pt>
                <c:pt idx="40220">
                  <c:v>-4.2016806722689003E-2</c:v>
                </c:pt>
                <c:pt idx="40221">
                  <c:v>-4.2016806722689003E-2</c:v>
                </c:pt>
                <c:pt idx="40222">
                  <c:v>-4.2016806722689003E-2</c:v>
                </c:pt>
                <c:pt idx="40223">
                  <c:v>-4.2016806722689003E-2</c:v>
                </c:pt>
                <c:pt idx="40224">
                  <c:v>-4.2016806722689003E-2</c:v>
                </c:pt>
                <c:pt idx="40225">
                  <c:v>-4.2016806722689003E-2</c:v>
                </c:pt>
                <c:pt idx="40226">
                  <c:v>-4.2016806722689003E-2</c:v>
                </c:pt>
                <c:pt idx="40227">
                  <c:v>-4.2016806722689003E-2</c:v>
                </c:pt>
                <c:pt idx="40228">
                  <c:v>-4.2016806722689003E-2</c:v>
                </c:pt>
                <c:pt idx="40229">
                  <c:v>-4.2016806722689003E-2</c:v>
                </c:pt>
                <c:pt idx="40230">
                  <c:v>-4.2016806722689003E-2</c:v>
                </c:pt>
                <c:pt idx="40231">
                  <c:v>-4.2016806722689003E-2</c:v>
                </c:pt>
                <c:pt idx="40232">
                  <c:v>-4.2016806722689003E-2</c:v>
                </c:pt>
                <c:pt idx="40233">
                  <c:v>-4.2016806722689003E-2</c:v>
                </c:pt>
                <c:pt idx="40234">
                  <c:v>-4.2016806722689003E-2</c:v>
                </c:pt>
                <c:pt idx="40235">
                  <c:v>-4.2016806722689003E-2</c:v>
                </c:pt>
                <c:pt idx="40236">
                  <c:v>-4.2016806722689003E-2</c:v>
                </c:pt>
                <c:pt idx="40237">
                  <c:v>-4.2016806722689003E-2</c:v>
                </c:pt>
                <c:pt idx="40238">
                  <c:v>-4.2016806722689003E-2</c:v>
                </c:pt>
                <c:pt idx="40239">
                  <c:v>-4.2016806722689003E-2</c:v>
                </c:pt>
                <c:pt idx="40240">
                  <c:v>-4.2016806722689003E-2</c:v>
                </c:pt>
                <c:pt idx="40241">
                  <c:v>-4.2016806722689003E-2</c:v>
                </c:pt>
                <c:pt idx="40242">
                  <c:v>-4.2016806722689003E-2</c:v>
                </c:pt>
                <c:pt idx="40243">
                  <c:v>-4.2016806722689003E-2</c:v>
                </c:pt>
                <c:pt idx="40244">
                  <c:v>-4.2016806722689003E-2</c:v>
                </c:pt>
                <c:pt idx="40245">
                  <c:v>-4.2016806722689003E-2</c:v>
                </c:pt>
                <c:pt idx="40246">
                  <c:v>-4.2016806722689003E-2</c:v>
                </c:pt>
                <c:pt idx="40247">
                  <c:v>-4.2016806722689003E-2</c:v>
                </c:pt>
                <c:pt idx="40248">
                  <c:v>-4.2016806722689003E-2</c:v>
                </c:pt>
                <c:pt idx="40249">
                  <c:v>-4.2016806722689003E-2</c:v>
                </c:pt>
                <c:pt idx="40250">
                  <c:v>-4.2016806722689003E-2</c:v>
                </c:pt>
                <c:pt idx="40251">
                  <c:v>-4.2016806722689003E-2</c:v>
                </c:pt>
                <c:pt idx="40252">
                  <c:v>-4.2016806722689003E-2</c:v>
                </c:pt>
                <c:pt idx="40253">
                  <c:v>-4.2016806722689003E-2</c:v>
                </c:pt>
                <c:pt idx="40254">
                  <c:v>-4.2016806722689003E-2</c:v>
                </c:pt>
                <c:pt idx="40255">
                  <c:v>-4.2016806722689003E-2</c:v>
                </c:pt>
                <c:pt idx="40256">
                  <c:v>-4.2016806722689003E-2</c:v>
                </c:pt>
                <c:pt idx="40257">
                  <c:v>-4.2016806722689003E-2</c:v>
                </c:pt>
                <c:pt idx="40258">
                  <c:v>-4.2016806722689003E-2</c:v>
                </c:pt>
                <c:pt idx="40259">
                  <c:v>-4.2016806722689003E-2</c:v>
                </c:pt>
                <c:pt idx="40260">
                  <c:v>-4.2016806722689003E-2</c:v>
                </c:pt>
                <c:pt idx="40261">
                  <c:v>-4.2016806722689003E-2</c:v>
                </c:pt>
                <c:pt idx="40262">
                  <c:v>-4.2016806722689003E-2</c:v>
                </c:pt>
                <c:pt idx="40263">
                  <c:v>-4.2016806722689003E-2</c:v>
                </c:pt>
                <c:pt idx="40264">
                  <c:v>-4.2016806722689003E-2</c:v>
                </c:pt>
                <c:pt idx="40265">
                  <c:v>-4.2016806722689003E-2</c:v>
                </c:pt>
                <c:pt idx="40266">
                  <c:v>-4.2016806722689003E-2</c:v>
                </c:pt>
                <c:pt idx="40267">
                  <c:v>-4.2016806722689003E-2</c:v>
                </c:pt>
                <c:pt idx="40268">
                  <c:v>-4.2016806722689003E-2</c:v>
                </c:pt>
                <c:pt idx="40269">
                  <c:v>-4.2857142857142802E-2</c:v>
                </c:pt>
                <c:pt idx="40270">
                  <c:v>-4.2857142857142802E-2</c:v>
                </c:pt>
                <c:pt idx="40271">
                  <c:v>-4.2857142857142802E-2</c:v>
                </c:pt>
                <c:pt idx="40272">
                  <c:v>-4.2857142857142802E-2</c:v>
                </c:pt>
                <c:pt idx="40273">
                  <c:v>-4.2857142857142802E-2</c:v>
                </c:pt>
                <c:pt idx="40274">
                  <c:v>-4.2857142857142802E-2</c:v>
                </c:pt>
                <c:pt idx="40275">
                  <c:v>-4.2857142857142802E-2</c:v>
                </c:pt>
                <c:pt idx="40276">
                  <c:v>-4.2857142857142802E-2</c:v>
                </c:pt>
                <c:pt idx="40277">
                  <c:v>-4.2857142857142802E-2</c:v>
                </c:pt>
                <c:pt idx="40278">
                  <c:v>-4.2857142857142802E-2</c:v>
                </c:pt>
                <c:pt idx="40279">
                  <c:v>-4.2857142857142802E-2</c:v>
                </c:pt>
                <c:pt idx="40280">
                  <c:v>-4.2857142857142802E-2</c:v>
                </c:pt>
                <c:pt idx="40281">
                  <c:v>-4.2857142857142802E-2</c:v>
                </c:pt>
                <c:pt idx="40282">
                  <c:v>-4.2857142857142802E-2</c:v>
                </c:pt>
                <c:pt idx="40283">
                  <c:v>-4.2857142857142802E-2</c:v>
                </c:pt>
                <c:pt idx="40284">
                  <c:v>-4.2857142857142802E-2</c:v>
                </c:pt>
                <c:pt idx="40285">
                  <c:v>-4.2857142857142802E-2</c:v>
                </c:pt>
                <c:pt idx="40286">
                  <c:v>-4.2857142857142802E-2</c:v>
                </c:pt>
                <c:pt idx="40287">
                  <c:v>-4.2857142857142802E-2</c:v>
                </c:pt>
                <c:pt idx="40288">
                  <c:v>-4.2857142857142802E-2</c:v>
                </c:pt>
                <c:pt idx="40289">
                  <c:v>-4.2857142857142802E-2</c:v>
                </c:pt>
                <c:pt idx="40290">
                  <c:v>-4.2857142857142802E-2</c:v>
                </c:pt>
                <c:pt idx="40291">
                  <c:v>-4.2857142857142802E-2</c:v>
                </c:pt>
                <c:pt idx="40292">
                  <c:v>-4.2857142857142802E-2</c:v>
                </c:pt>
                <c:pt idx="40293">
                  <c:v>-4.2857142857142802E-2</c:v>
                </c:pt>
                <c:pt idx="40294">
                  <c:v>-4.2857142857142802E-2</c:v>
                </c:pt>
                <c:pt idx="40295">
                  <c:v>-4.2857142857142802E-2</c:v>
                </c:pt>
                <c:pt idx="40296">
                  <c:v>-4.2857142857142802E-2</c:v>
                </c:pt>
                <c:pt idx="40297">
                  <c:v>-4.2857142857142802E-2</c:v>
                </c:pt>
                <c:pt idx="40298">
                  <c:v>-4.2016806722689003E-2</c:v>
                </c:pt>
                <c:pt idx="40299">
                  <c:v>-4.2016806722689003E-2</c:v>
                </c:pt>
                <c:pt idx="40300">
                  <c:v>-4.1176470588235203E-2</c:v>
                </c:pt>
                <c:pt idx="40301">
                  <c:v>-4.1176470588235203E-2</c:v>
                </c:pt>
                <c:pt idx="40302">
                  <c:v>-4.1176470588235203E-2</c:v>
                </c:pt>
                <c:pt idx="40303">
                  <c:v>-4.1176470588235203E-2</c:v>
                </c:pt>
                <c:pt idx="40304">
                  <c:v>-4.1176470588235203E-2</c:v>
                </c:pt>
                <c:pt idx="40305">
                  <c:v>-4.1176470588235203E-2</c:v>
                </c:pt>
                <c:pt idx="40306">
                  <c:v>-4.1176470588235203E-2</c:v>
                </c:pt>
                <c:pt idx="40307">
                  <c:v>-4.1176470588235203E-2</c:v>
                </c:pt>
                <c:pt idx="40308">
                  <c:v>-4.1176470588235203E-2</c:v>
                </c:pt>
                <c:pt idx="40309">
                  <c:v>-4.1176470588235203E-2</c:v>
                </c:pt>
                <c:pt idx="40310">
                  <c:v>-4.1176470588235203E-2</c:v>
                </c:pt>
                <c:pt idx="40311">
                  <c:v>-4.1176470588235203E-2</c:v>
                </c:pt>
                <c:pt idx="40312">
                  <c:v>-4.1176470588235203E-2</c:v>
                </c:pt>
                <c:pt idx="40313">
                  <c:v>-4.1176470588235203E-2</c:v>
                </c:pt>
                <c:pt idx="40314">
                  <c:v>-4.1176470588235203E-2</c:v>
                </c:pt>
                <c:pt idx="40315">
                  <c:v>-4.1176470588235203E-2</c:v>
                </c:pt>
                <c:pt idx="40316">
                  <c:v>-4.1176470588235203E-2</c:v>
                </c:pt>
                <c:pt idx="40317">
                  <c:v>-4.1176470588235203E-2</c:v>
                </c:pt>
                <c:pt idx="40318">
                  <c:v>-4.1176470588235203E-2</c:v>
                </c:pt>
                <c:pt idx="40319">
                  <c:v>-4.1176470588235203E-2</c:v>
                </c:pt>
                <c:pt idx="40320">
                  <c:v>-4.1176470588235203E-2</c:v>
                </c:pt>
                <c:pt idx="40321">
                  <c:v>-4.1176470588235203E-2</c:v>
                </c:pt>
                <c:pt idx="40322">
                  <c:v>-4.1176470588235203E-2</c:v>
                </c:pt>
                <c:pt idx="40323">
                  <c:v>-4.1176470588235203E-2</c:v>
                </c:pt>
                <c:pt idx="40324">
                  <c:v>-4.1176470588235203E-2</c:v>
                </c:pt>
                <c:pt idx="40325">
                  <c:v>-4.1176470588235203E-2</c:v>
                </c:pt>
                <c:pt idx="40326">
                  <c:v>-4.1176470588235203E-2</c:v>
                </c:pt>
                <c:pt idx="40327">
                  <c:v>-4.1176470588235203E-2</c:v>
                </c:pt>
                <c:pt idx="40328">
                  <c:v>-4.2016806722689003E-2</c:v>
                </c:pt>
                <c:pt idx="40329">
                  <c:v>-4.2016806722689003E-2</c:v>
                </c:pt>
                <c:pt idx="40330">
                  <c:v>-4.2016806722689003E-2</c:v>
                </c:pt>
                <c:pt idx="40331">
                  <c:v>-4.2016806722689003E-2</c:v>
                </c:pt>
                <c:pt idx="40332">
                  <c:v>-4.2016806722689003E-2</c:v>
                </c:pt>
                <c:pt idx="40333">
                  <c:v>-4.2016806722689003E-2</c:v>
                </c:pt>
                <c:pt idx="40334">
                  <c:v>-4.2016806722689003E-2</c:v>
                </c:pt>
                <c:pt idx="40335">
                  <c:v>-4.2016806722689003E-2</c:v>
                </c:pt>
                <c:pt idx="40336">
                  <c:v>-4.2016806722689003E-2</c:v>
                </c:pt>
                <c:pt idx="40337">
                  <c:v>-4.2016806722689003E-2</c:v>
                </c:pt>
                <c:pt idx="40338">
                  <c:v>-4.2016806722689003E-2</c:v>
                </c:pt>
                <c:pt idx="40339">
                  <c:v>-4.2016806722689003E-2</c:v>
                </c:pt>
                <c:pt idx="40340">
                  <c:v>-4.2016806722689003E-2</c:v>
                </c:pt>
                <c:pt idx="40341">
                  <c:v>-4.2016806722689003E-2</c:v>
                </c:pt>
                <c:pt idx="40342">
                  <c:v>-4.2016806722689003E-2</c:v>
                </c:pt>
                <c:pt idx="40343">
                  <c:v>-4.2016806722689003E-2</c:v>
                </c:pt>
                <c:pt idx="40344">
                  <c:v>-4.2016806722689003E-2</c:v>
                </c:pt>
                <c:pt idx="40345">
                  <c:v>-4.2016806722689003E-2</c:v>
                </c:pt>
                <c:pt idx="40346">
                  <c:v>-4.2016806722689003E-2</c:v>
                </c:pt>
                <c:pt idx="40347">
                  <c:v>-4.2016806722689003E-2</c:v>
                </c:pt>
                <c:pt idx="40348">
                  <c:v>-4.2016806722689003E-2</c:v>
                </c:pt>
                <c:pt idx="40349">
                  <c:v>-4.2016806722689003E-2</c:v>
                </c:pt>
                <c:pt idx="40350">
                  <c:v>-4.2016806722689003E-2</c:v>
                </c:pt>
                <c:pt idx="40351">
                  <c:v>-4.2016806722689003E-2</c:v>
                </c:pt>
                <c:pt idx="40352">
                  <c:v>-4.2016806722689003E-2</c:v>
                </c:pt>
                <c:pt idx="40353">
                  <c:v>-4.2016806722689003E-2</c:v>
                </c:pt>
                <c:pt idx="40354">
                  <c:v>-4.2016806722689003E-2</c:v>
                </c:pt>
                <c:pt idx="40355">
                  <c:v>-4.2016806722689003E-2</c:v>
                </c:pt>
                <c:pt idx="40356">
                  <c:v>-4.2016806722689003E-2</c:v>
                </c:pt>
                <c:pt idx="40357">
                  <c:v>-4.2016806722689003E-2</c:v>
                </c:pt>
                <c:pt idx="40358">
                  <c:v>-4.2016806722689003E-2</c:v>
                </c:pt>
                <c:pt idx="40359">
                  <c:v>-4.2016806722689003E-2</c:v>
                </c:pt>
                <c:pt idx="40360">
                  <c:v>-4.2016806722689003E-2</c:v>
                </c:pt>
                <c:pt idx="40361">
                  <c:v>-4.2016806722689003E-2</c:v>
                </c:pt>
                <c:pt idx="40362">
                  <c:v>-4.2016806722689003E-2</c:v>
                </c:pt>
                <c:pt idx="40363">
                  <c:v>-4.2016806722689003E-2</c:v>
                </c:pt>
                <c:pt idx="40364">
                  <c:v>-4.2016806722689003E-2</c:v>
                </c:pt>
                <c:pt idx="40365">
                  <c:v>-4.2016806722689003E-2</c:v>
                </c:pt>
                <c:pt idx="40366">
                  <c:v>-4.2016806722689003E-2</c:v>
                </c:pt>
                <c:pt idx="40367">
                  <c:v>-4.2016806722689003E-2</c:v>
                </c:pt>
                <c:pt idx="40368">
                  <c:v>-4.2016806722689003E-2</c:v>
                </c:pt>
                <c:pt idx="40369">
                  <c:v>-4.2016806722689003E-2</c:v>
                </c:pt>
                <c:pt idx="40370">
                  <c:v>-4.2016806722689003E-2</c:v>
                </c:pt>
                <c:pt idx="40371">
                  <c:v>-4.2016806722689003E-2</c:v>
                </c:pt>
                <c:pt idx="40372">
                  <c:v>-4.2016806722689003E-2</c:v>
                </c:pt>
                <c:pt idx="40373">
                  <c:v>-4.2016806722689003E-2</c:v>
                </c:pt>
                <c:pt idx="40374">
                  <c:v>-4.2016806722689003E-2</c:v>
                </c:pt>
                <c:pt idx="40375">
                  <c:v>-4.2016806722689003E-2</c:v>
                </c:pt>
                <c:pt idx="40376">
                  <c:v>-4.2016806722689003E-2</c:v>
                </c:pt>
                <c:pt idx="40377">
                  <c:v>-4.2016806722689003E-2</c:v>
                </c:pt>
                <c:pt idx="40378">
                  <c:v>-4.2016806722689003E-2</c:v>
                </c:pt>
                <c:pt idx="40379">
                  <c:v>-4.2016806722689003E-2</c:v>
                </c:pt>
                <c:pt idx="40380">
                  <c:v>-4.2016806722689003E-2</c:v>
                </c:pt>
                <c:pt idx="40381">
                  <c:v>-4.2016806722689003E-2</c:v>
                </c:pt>
                <c:pt idx="40382">
                  <c:v>-4.2016806722689003E-2</c:v>
                </c:pt>
                <c:pt idx="40383">
                  <c:v>-4.2016806722689003E-2</c:v>
                </c:pt>
                <c:pt idx="40384">
                  <c:v>-4.2016806722689003E-2</c:v>
                </c:pt>
                <c:pt idx="40385">
                  <c:v>-4.2016806722689003E-2</c:v>
                </c:pt>
                <c:pt idx="40386">
                  <c:v>-4.2016806722689003E-2</c:v>
                </c:pt>
                <c:pt idx="40387">
                  <c:v>-4.2016806722689003E-2</c:v>
                </c:pt>
                <c:pt idx="40388">
                  <c:v>-4.2016806722689003E-2</c:v>
                </c:pt>
                <c:pt idx="40389">
                  <c:v>-4.2016806722689003E-2</c:v>
                </c:pt>
                <c:pt idx="40390">
                  <c:v>-4.2016806722689003E-2</c:v>
                </c:pt>
                <c:pt idx="40391">
                  <c:v>-4.2016806722689003E-2</c:v>
                </c:pt>
                <c:pt idx="40392">
                  <c:v>-4.2016806722689003E-2</c:v>
                </c:pt>
                <c:pt idx="40393">
                  <c:v>-4.2016806722689003E-2</c:v>
                </c:pt>
                <c:pt idx="40394">
                  <c:v>-4.2016806722689003E-2</c:v>
                </c:pt>
                <c:pt idx="40395">
                  <c:v>-4.2016806722689003E-2</c:v>
                </c:pt>
                <c:pt idx="40396">
                  <c:v>-4.2016806722689003E-2</c:v>
                </c:pt>
                <c:pt idx="40397">
                  <c:v>-4.2016806722689003E-2</c:v>
                </c:pt>
                <c:pt idx="40398">
                  <c:v>-4.2016806722689003E-2</c:v>
                </c:pt>
                <c:pt idx="40399">
                  <c:v>-4.2016806722689003E-2</c:v>
                </c:pt>
                <c:pt idx="40400">
                  <c:v>-4.2016806722689003E-2</c:v>
                </c:pt>
                <c:pt idx="40401">
                  <c:v>-4.2016806722689003E-2</c:v>
                </c:pt>
                <c:pt idx="40402">
                  <c:v>-4.2016806722689003E-2</c:v>
                </c:pt>
                <c:pt idx="40403">
                  <c:v>-4.1176470588235203E-2</c:v>
                </c:pt>
                <c:pt idx="40404">
                  <c:v>-4.1176470588235203E-2</c:v>
                </c:pt>
                <c:pt idx="40405">
                  <c:v>-4.1176470588235203E-2</c:v>
                </c:pt>
                <c:pt idx="40406">
                  <c:v>-4.1176470588235203E-2</c:v>
                </c:pt>
                <c:pt idx="40407">
                  <c:v>-4.1176470588235203E-2</c:v>
                </c:pt>
                <c:pt idx="40408">
                  <c:v>-4.1176470588235203E-2</c:v>
                </c:pt>
                <c:pt idx="40409">
                  <c:v>-4.1176470588235203E-2</c:v>
                </c:pt>
                <c:pt idx="40410">
                  <c:v>-4.1176470588235203E-2</c:v>
                </c:pt>
                <c:pt idx="40411">
                  <c:v>-4.1176470588235203E-2</c:v>
                </c:pt>
                <c:pt idx="40412">
                  <c:v>-4.1176470588235203E-2</c:v>
                </c:pt>
                <c:pt idx="40413">
                  <c:v>-4.1176470588235203E-2</c:v>
                </c:pt>
                <c:pt idx="40414">
                  <c:v>-4.1176470588235203E-2</c:v>
                </c:pt>
                <c:pt idx="40415">
                  <c:v>-4.1176470588235203E-2</c:v>
                </c:pt>
                <c:pt idx="40416">
                  <c:v>-4.1176470588235203E-2</c:v>
                </c:pt>
                <c:pt idx="40417">
                  <c:v>-4.1176470588235203E-2</c:v>
                </c:pt>
                <c:pt idx="40418">
                  <c:v>-4.1176470588235203E-2</c:v>
                </c:pt>
                <c:pt idx="40419">
                  <c:v>-4.1176470588235203E-2</c:v>
                </c:pt>
                <c:pt idx="40420">
                  <c:v>-4.1176470588235203E-2</c:v>
                </c:pt>
                <c:pt idx="40421">
                  <c:v>-4.1176470588235203E-2</c:v>
                </c:pt>
                <c:pt idx="40422">
                  <c:v>-4.1176470588235203E-2</c:v>
                </c:pt>
                <c:pt idx="40423">
                  <c:v>-4.1176470588235203E-2</c:v>
                </c:pt>
                <c:pt idx="40424">
                  <c:v>-4.1176470588235203E-2</c:v>
                </c:pt>
                <c:pt idx="40425">
                  <c:v>-4.1176470588235203E-2</c:v>
                </c:pt>
                <c:pt idx="40426">
                  <c:v>-4.1176470588235203E-2</c:v>
                </c:pt>
                <c:pt idx="40427">
                  <c:v>-4.1176470588235203E-2</c:v>
                </c:pt>
                <c:pt idx="40428">
                  <c:v>-4.1176470588235203E-2</c:v>
                </c:pt>
                <c:pt idx="40429">
                  <c:v>-4.1176470588235203E-2</c:v>
                </c:pt>
                <c:pt idx="40430">
                  <c:v>-4.1176470588235203E-2</c:v>
                </c:pt>
                <c:pt idx="40431">
                  <c:v>-4.1176470588235203E-2</c:v>
                </c:pt>
                <c:pt idx="40432">
                  <c:v>-4.1176470588235203E-2</c:v>
                </c:pt>
                <c:pt idx="40433">
                  <c:v>-4.1176470588235203E-2</c:v>
                </c:pt>
                <c:pt idx="40434">
                  <c:v>-4.1176470588235203E-2</c:v>
                </c:pt>
                <c:pt idx="40435">
                  <c:v>-4.1176470588235203E-2</c:v>
                </c:pt>
                <c:pt idx="40436">
                  <c:v>-4.1176470588235203E-2</c:v>
                </c:pt>
                <c:pt idx="40437">
                  <c:v>-4.1176470588235203E-2</c:v>
                </c:pt>
                <c:pt idx="40438">
                  <c:v>-4.1176470588235203E-2</c:v>
                </c:pt>
                <c:pt idx="40439">
                  <c:v>-4.0336134453781397E-2</c:v>
                </c:pt>
                <c:pt idx="40440">
                  <c:v>-4.1176470588235203E-2</c:v>
                </c:pt>
                <c:pt idx="40441">
                  <c:v>-4.1176470588235203E-2</c:v>
                </c:pt>
                <c:pt idx="40442">
                  <c:v>-4.1176470588235203E-2</c:v>
                </c:pt>
                <c:pt idx="40443">
                  <c:v>-4.1176470588235203E-2</c:v>
                </c:pt>
                <c:pt idx="40444">
                  <c:v>-4.1176470588235203E-2</c:v>
                </c:pt>
                <c:pt idx="40445">
                  <c:v>-4.1176470588235203E-2</c:v>
                </c:pt>
                <c:pt idx="40446">
                  <c:v>-4.1176470588235203E-2</c:v>
                </c:pt>
                <c:pt idx="40447">
                  <c:v>-4.1176470588235203E-2</c:v>
                </c:pt>
                <c:pt idx="40448">
                  <c:v>-4.1176470588235203E-2</c:v>
                </c:pt>
                <c:pt idx="40449">
                  <c:v>-4.1176470588235203E-2</c:v>
                </c:pt>
                <c:pt idx="40450">
                  <c:v>-4.1176470588235203E-2</c:v>
                </c:pt>
                <c:pt idx="40451">
                  <c:v>-4.1176470588235203E-2</c:v>
                </c:pt>
                <c:pt idx="40452">
                  <c:v>-4.1176470588235203E-2</c:v>
                </c:pt>
                <c:pt idx="40453">
                  <c:v>-4.1176470588235203E-2</c:v>
                </c:pt>
                <c:pt idx="40454">
                  <c:v>-4.1176470588235203E-2</c:v>
                </c:pt>
                <c:pt idx="40455">
                  <c:v>-4.1176470588235203E-2</c:v>
                </c:pt>
                <c:pt idx="40456">
                  <c:v>-4.1176470588235203E-2</c:v>
                </c:pt>
                <c:pt idx="40457">
                  <c:v>-4.1176470588235203E-2</c:v>
                </c:pt>
                <c:pt idx="40458">
                  <c:v>-4.1176470588235203E-2</c:v>
                </c:pt>
                <c:pt idx="40459">
                  <c:v>-4.1176470588235203E-2</c:v>
                </c:pt>
                <c:pt idx="40460">
                  <c:v>-4.1176470588235203E-2</c:v>
                </c:pt>
                <c:pt idx="40461">
                  <c:v>-4.1176470588235203E-2</c:v>
                </c:pt>
                <c:pt idx="40462">
                  <c:v>-4.1176470588235203E-2</c:v>
                </c:pt>
                <c:pt idx="40463">
                  <c:v>-4.1176470588235203E-2</c:v>
                </c:pt>
                <c:pt idx="40464">
                  <c:v>-4.1176470588235203E-2</c:v>
                </c:pt>
                <c:pt idx="40465">
                  <c:v>-4.1176470588235203E-2</c:v>
                </c:pt>
                <c:pt idx="40466">
                  <c:v>-4.1176470588235203E-2</c:v>
                </c:pt>
                <c:pt idx="40467">
                  <c:v>-4.1176470588235203E-2</c:v>
                </c:pt>
                <c:pt idx="40468">
                  <c:v>-4.1176470588235203E-2</c:v>
                </c:pt>
                <c:pt idx="40469">
                  <c:v>-4.1176470588235203E-2</c:v>
                </c:pt>
                <c:pt idx="40470">
                  <c:v>-4.1176470588235203E-2</c:v>
                </c:pt>
                <c:pt idx="40471">
                  <c:v>-4.1176470588235203E-2</c:v>
                </c:pt>
                <c:pt idx="40472">
                  <c:v>-4.1176470588235203E-2</c:v>
                </c:pt>
                <c:pt idx="40473">
                  <c:v>-4.1176470588235203E-2</c:v>
                </c:pt>
                <c:pt idx="40474">
                  <c:v>-4.1176470588235203E-2</c:v>
                </c:pt>
                <c:pt idx="40475">
                  <c:v>-4.1176470588235203E-2</c:v>
                </c:pt>
                <c:pt idx="40476">
                  <c:v>-4.1176470588235203E-2</c:v>
                </c:pt>
                <c:pt idx="40477">
                  <c:v>-4.1176470588235203E-2</c:v>
                </c:pt>
                <c:pt idx="40478">
                  <c:v>-4.1176470588235203E-2</c:v>
                </c:pt>
                <c:pt idx="40479">
                  <c:v>-4.1176470588235203E-2</c:v>
                </c:pt>
                <c:pt idx="40480">
                  <c:v>-4.1176470588235203E-2</c:v>
                </c:pt>
                <c:pt idx="40481">
                  <c:v>-4.1176470588235203E-2</c:v>
                </c:pt>
                <c:pt idx="40482">
                  <c:v>-4.1176470588235203E-2</c:v>
                </c:pt>
                <c:pt idx="40483">
                  <c:v>-4.1176470588235203E-2</c:v>
                </c:pt>
                <c:pt idx="40484">
                  <c:v>-4.1176470588235203E-2</c:v>
                </c:pt>
                <c:pt idx="40485">
                  <c:v>-4.1176470588235203E-2</c:v>
                </c:pt>
                <c:pt idx="40486">
                  <c:v>-4.1176470588235203E-2</c:v>
                </c:pt>
                <c:pt idx="40487">
                  <c:v>-4.1176470588235203E-2</c:v>
                </c:pt>
                <c:pt idx="40488">
                  <c:v>-4.1176470588235203E-2</c:v>
                </c:pt>
                <c:pt idx="40489">
                  <c:v>-4.0336134453781397E-2</c:v>
                </c:pt>
                <c:pt idx="40490">
                  <c:v>-3.9495798319327702E-2</c:v>
                </c:pt>
                <c:pt idx="40491">
                  <c:v>-3.9495798319327702E-2</c:v>
                </c:pt>
                <c:pt idx="40492">
                  <c:v>-3.9495798319327702E-2</c:v>
                </c:pt>
                <c:pt idx="40493">
                  <c:v>-3.9495798319327702E-2</c:v>
                </c:pt>
                <c:pt idx="40494">
                  <c:v>-3.9495798319327702E-2</c:v>
                </c:pt>
                <c:pt idx="40495">
                  <c:v>-3.9495798319327702E-2</c:v>
                </c:pt>
                <c:pt idx="40496">
                  <c:v>-3.9495798319327702E-2</c:v>
                </c:pt>
                <c:pt idx="40497">
                  <c:v>-3.9495798319327702E-2</c:v>
                </c:pt>
                <c:pt idx="40498">
                  <c:v>-3.9495798319327702E-2</c:v>
                </c:pt>
                <c:pt idx="40499">
                  <c:v>-3.9495798319327702E-2</c:v>
                </c:pt>
                <c:pt idx="40500">
                  <c:v>-3.9495798319327702E-2</c:v>
                </c:pt>
                <c:pt idx="40501">
                  <c:v>-3.9495798319327702E-2</c:v>
                </c:pt>
                <c:pt idx="40502">
                  <c:v>-3.9495798319327702E-2</c:v>
                </c:pt>
                <c:pt idx="40503">
                  <c:v>-3.9495798319327702E-2</c:v>
                </c:pt>
                <c:pt idx="40504">
                  <c:v>-3.9495798319327702E-2</c:v>
                </c:pt>
                <c:pt idx="40505">
                  <c:v>-3.9495798319327702E-2</c:v>
                </c:pt>
                <c:pt idx="40506">
                  <c:v>-3.9495798319327702E-2</c:v>
                </c:pt>
                <c:pt idx="40507">
                  <c:v>-3.9495798319327702E-2</c:v>
                </c:pt>
                <c:pt idx="40508">
                  <c:v>-3.9495798319327702E-2</c:v>
                </c:pt>
                <c:pt idx="40509">
                  <c:v>-3.9495798319327702E-2</c:v>
                </c:pt>
                <c:pt idx="40510">
                  <c:v>-3.9495798319327702E-2</c:v>
                </c:pt>
                <c:pt idx="40511">
                  <c:v>-3.9495798319327702E-2</c:v>
                </c:pt>
                <c:pt idx="40512">
                  <c:v>-3.9495798319327702E-2</c:v>
                </c:pt>
                <c:pt idx="40513">
                  <c:v>-3.9495798319327702E-2</c:v>
                </c:pt>
                <c:pt idx="40514">
                  <c:v>-3.9495798319327702E-2</c:v>
                </c:pt>
                <c:pt idx="40515">
                  <c:v>-3.9495798319327702E-2</c:v>
                </c:pt>
                <c:pt idx="40516">
                  <c:v>-3.9495798319327702E-2</c:v>
                </c:pt>
                <c:pt idx="40517">
                  <c:v>-3.9495798319327702E-2</c:v>
                </c:pt>
                <c:pt idx="40518">
                  <c:v>-3.9495798319327702E-2</c:v>
                </c:pt>
                <c:pt idx="40519">
                  <c:v>-3.9495798319327702E-2</c:v>
                </c:pt>
                <c:pt idx="40520">
                  <c:v>-3.9495798319327702E-2</c:v>
                </c:pt>
                <c:pt idx="40521">
                  <c:v>-3.9495798319327702E-2</c:v>
                </c:pt>
                <c:pt idx="40522">
                  <c:v>-3.9495798319327702E-2</c:v>
                </c:pt>
                <c:pt idx="40523">
                  <c:v>-3.9495798319327702E-2</c:v>
                </c:pt>
                <c:pt idx="40524">
                  <c:v>-3.9495798319327702E-2</c:v>
                </c:pt>
                <c:pt idx="40525">
                  <c:v>-3.9495798319327702E-2</c:v>
                </c:pt>
                <c:pt idx="40526">
                  <c:v>-3.9495798319327702E-2</c:v>
                </c:pt>
                <c:pt idx="40527">
                  <c:v>-3.9495798319327702E-2</c:v>
                </c:pt>
                <c:pt idx="40528">
                  <c:v>-3.9495798319327702E-2</c:v>
                </c:pt>
                <c:pt idx="40529">
                  <c:v>-3.9495798319327702E-2</c:v>
                </c:pt>
                <c:pt idx="40530">
                  <c:v>-3.9495798319327702E-2</c:v>
                </c:pt>
                <c:pt idx="40531">
                  <c:v>-3.9495798319327702E-2</c:v>
                </c:pt>
                <c:pt idx="40532">
                  <c:v>-3.9495798319327702E-2</c:v>
                </c:pt>
                <c:pt idx="40533">
                  <c:v>-3.9495798319327702E-2</c:v>
                </c:pt>
                <c:pt idx="40534">
                  <c:v>-3.9495798319327702E-2</c:v>
                </c:pt>
                <c:pt idx="40535">
                  <c:v>-3.9495798319327702E-2</c:v>
                </c:pt>
                <c:pt idx="40536">
                  <c:v>-3.9495798319327702E-2</c:v>
                </c:pt>
                <c:pt idx="40537">
                  <c:v>-3.9495798319327702E-2</c:v>
                </c:pt>
                <c:pt idx="40538">
                  <c:v>-3.8655462184873902E-2</c:v>
                </c:pt>
                <c:pt idx="40539">
                  <c:v>-3.8655462184873902E-2</c:v>
                </c:pt>
                <c:pt idx="40540">
                  <c:v>-3.8655462184873902E-2</c:v>
                </c:pt>
                <c:pt idx="40541">
                  <c:v>-3.8655462184873902E-2</c:v>
                </c:pt>
                <c:pt idx="40542">
                  <c:v>-3.8655462184873902E-2</c:v>
                </c:pt>
                <c:pt idx="40543">
                  <c:v>-3.8655462184873902E-2</c:v>
                </c:pt>
                <c:pt idx="40544">
                  <c:v>-3.8655462184873902E-2</c:v>
                </c:pt>
                <c:pt idx="40545">
                  <c:v>-3.8655462184873902E-2</c:v>
                </c:pt>
                <c:pt idx="40546">
                  <c:v>-3.8655462184873902E-2</c:v>
                </c:pt>
                <c:pt idx="40547">
                  <c:v>-3.8655462184873902E-2</c:v>
                </c:pt>
                <c:pt idx="40548">
                  <c:v>-3.8655462184873902E-2</c:v>
                </c:pt>
                <c:pt idx="40549">
                  <c:v>-3.8655462184873902E-2</c:v>
                </c:pt>
                <c:pt idx="40550">
                  <c:v>-3.8655462184873902E-2</c:v>
                </c:pt>
                <c:pt idx="40551">
                  <c:v>-3.8655462184873902E-2</c:v>
                </c:pt>
                <c:pt idx="40552">
                  <c:v>-3.8655462184873902E-2</c:v>
                </c:pt>
                <c:pt idx="40553">
                  <c:v>-3.8655462184873902E-2</c:v>
                </c:pt>
                <c:pt idx="40554">
                  <c:v>-3.8655462184873902E-2</c:v>
                </c:pt>
                <c:pt idx="40555">
                  <c:v>-3.8655462184873902E-2</c:v>
                </c:pt>
                <c:pt idx="40556">
                  <c:v>-3.8655462184873902E-2</c:v>
                </c:pt>
                <c:pt idx="40557">
                  <c:v>-3.8655462184873902E-2</c:v>
                </c:pt>
                <c:pt idx="40558">
                  <c:v>-3.8655462184873902E-2</c:v>
                </c:pt>
                <c:pt idx="40559">
                  <c:v>-3.8655462184873902E-2</c:v>
                </c:pt>
                <c:pt idx="40560">
                  <c:v>-3.8655462184873902E-2</c:v>
                </c:pt>
                <c:pt idx="40561">
                  <c:v>-3.8655462184873902E-2</c:v>
                </c:pt>
                <c:pt idx="40562">
                  <c:v>-3.8655462184873902E-2</c:v>
                </c:pt>
                <c:pt idx="40563">
                  <c:v>-3.8655462184873902E-2</c:v>
                </c:pt>
                <c:pt idx="40564">
                  <c:v>-3.8655462184873902E-2</c:v>
                </c:pt>
                <c:pt idx="40565">
                  <c:v>-3.8655462184873902E-2</c:v>
                </c:pt>
                <c:pt idx="40566">
                  <c:v>-3.8655462184873902E-2</c:v>
                </c:pt>
                <c:pt idx="40567">
                  <c:v>-3.8655462184873902E-2</c:v>
                </c:pt>
                <c:pt idx="40568">
                  <c:v>-3.8655462184873902E-2</c:v>
                </c:pt>
                <c:pt idx="40569">
                  <c:v>-3.8655462184873902E-2</c:v>
                </c:pt>
                <c:pt idx="40570">
                  <c:v>-3.8655462184873902E-2</c:v>
                </c:pt>
                <c:pt idx="40571">
                  <c:v>-3.8655462184873902E-2</c:v>
                </c:pt>
                <c:pt idx="40572">
                  <c:v>-3.8655462184873902E-2</c:v>
                </c:pt>
                <c:pt idx="40573">
                  <c:v>-3.8655462184873902E-2</c:v>
                </c:pt>
                <c:pt idx="40574">
                  <c:v>-3.8655462184873902E-2</c:v>
                </c:pt>
                <c:pt idx="40575">
                  <c:v>-3.8655462184873902E-2</c:v>
                </c:pt>
                <c:pt idx="40576">
                  <c:v>-3.8655462184873902E-2</c:v>
                </c:pt>
                <c:pt idx="40577">
                  <c:v>-3.7815126050420103E-2</c:v>
                </c:pt>
                <c:pt idx="40578">
                  <c:v>-3.7815126050420103E-2</c:v>
                </c:pt>
                <c:pt idx="40579">
                  <c:v>-3.7815126050420103E-2</c:v>
                </c:pt>
                <c:pt idx="40580">
                  <c:v>-3.7815126050420103E-2</c:v>
                </c:pt>
                <c:pt idx="40581">
                  <c:v>-3.7815126050420103E-2</c:v>
                </c:pt>
                <c:pt idx="40582">
                  <c:v>-3.7815126050420103E-2</c:v>
                </c:pt>
                <c:pt idx="40583">
                  <c:v>-3.7815126050420103E-2</c:v>
                </c:pt>
                <c:pt idx="40584">
                  <c:v>-3.7815126050420103E-2</c:v>
                </c:pt>
                <c:pt idx="40585">
                  <c:v>-3.7815126050420103E-2</c:v>
                </c:pt>
                <c:pt idx="40586">
                  <c:v>-3.7815126050420103E-2</c:v>
                </c:pt>
                <c:pt idx="40587">
                  <c:v>-3.7815126050420103E-2</c:v>
                </c:pt>
                <c:pt idx="40588">
                  <c:v>-3.7815126050420103E-2</c:v>
                </c:pt>
                <c:pt idx="40589">
                  <c:v>-3.7815126050420103E-2</c:v>
                </c:pt>
                <c:pt idx="40590">
                  <c:v>-3.7815126050420103E-2</c:v>
                </c:pt>
                <c:pt idx="40591">
                  <c:v>-3.7815126050420103E-2</c:v>
                </c:pt>
                <c:pt idx="40592">
                  <c:v>-3.7815126050420103E-2</c:v>
                </c:pt>
                <c:pt idx="40593">
                  <c:v>-3.7815126050420103E-2</c:v>
                </c:pt>
                <c:pt idx="40594">
                  <c:v>-3.7815126050420103E-2</c:v>
                </c:pt>
                <c:pt idx="40595">
                  <c:v>-3.7815126050420103E-2</c:v>
                </c:pt>
                <c:pt idx="40596">
                  <c:v>-3.7815126050420103E-2</c:v>
                </c:pt>
                <c:pt idx="40597">
                  <c:v>-3.7815126050420103E-2</c:v>
                </c:pt>
                <c:pt idx="40598">
                  <c:v>-3.7815126050420103E-2</c:v>
                </c:pt>
                <c:pt idx="40599">
                  <c:v>-3.7815126050420103E-2</c:v>
                </c:pt>
                <c:pt idx="40600">
                  <c:v>-3.7815126050420103E-2</c:v>
                </c:pt>
                <c:pt idx="40601">
                  <c:v>-3.7815126050420103E-2</c:v>
                </c:pt>
                <c:pt idx="40602">
                  <c:v>-3.7815126050420103E-2</c:v>
                </c:pt>
                <c:pt idx="40603">
                  <c:v>-3.7815126050420103E-2</c:v>
                </c:pt>
                <c:pt idx="40604">
                  <c:v>-3.7815126050420103E-2</c:v>
                </c:pt>
                <c:pt idx="40605">
                  <c:v>-3.7815126050420103E-2</c:v>
                </c:pt>
                <c:pt idx="40606">
                  <c:v>-3.7815126050420103E-2</c:v>
                </c:pt>
                <c:pt idx="40607">
                  <c:v>-3.7815126050420103E-2</c:v>
                </c:pt>
                <c:pt idx="40608">
                  <c:v>-3.7815126050420103E-2</c:v>
                </c:pt>
                <c:pt idx="40609">
                  <c:v>-3.7815126050420103E-2</c:v>
                </c:pt>
                <c:pt idx="40610">
                  <c:v>-3.7815126050420103E-2</c:v>
                </c:pt>
                <c:pt idx="40611">
                  <c:v>-3.7815126050420103E-2</c:v>
                </c:pt>
                <c:pt idx="40612">
                  <c:v>-3.7815126050420103E-2</c:v>
                </c:pt>
                <c:pt idx="40613">
                  <c:v>-3.7815126050420103E-2</c:v>
                </c:pt>
                <c:pt idx="40614">
                  <c:v>-3.7815126050420103E-2</c:v>
                </c:pt>
                <c:pt idx="40615">
                  <c:v>-3.7815126050420103E-2</c:v>
                </c:pt>
                <c:pt idx="40616">
                  <c:v>-3.7815126050420103E-2</c:v>
                </c:pt>
                <c:pt idx="40617">
                  <c:v>-3.7815126050420103E-2</c:v>
                </c:pt>
                <c:pt idx="40618">
                  <c:v>-3.7815126050420103E-2</c:v>
                </c:pt>
                <c:pt idx="40619">
                  <c:v>-3.7815126050420103E-2</c:v>
                </c:pt>
                <c:pt idx="40620">
                  <c:v>-3.7815126050420103E-2</c:v>
                </c:pt>
                <c:pt idx="40621">
                  <c:v>-3.7815126050420103E-2</c:v>
                </c:pt>
                <c:pt idx="40622">
                  <c:v>-3.7815126050420103E-2</c:v>
                </c:pt>
                <c:pt idx="40623">
                  <c:v>-3.7815126050420103E-2</c:v>
                </c:pt>
                <c:pt idx="40624">
                  <c:v>-3.7815126050420103E-2</c:v>
                </c:pt>
                <c:pt idx="40625">
                  <c:v>-3.7815126050420103E-2</c:v>
                </c:pt>
                <c:pt idx="40626">
                  <c:v>-3.7815126050420103E-2</c:v>
                </c:pt>
                <c:pt idx="40627">
                  <c:v>-3.7815126050420103E-2</c:v>
                </c:pt>
                <c:pt idx="40628">
                  <c:v>-3.7815126050420103E-2</c:v>
                </c:pt>
                <c:pt idx="40629">
                  <c:v>-3.7815126050420103E-2</c:v>
                </c:pt>
                <c:pt idx="40630">
                  <c:v>-3.7815126050420103E-2</c:v>
                </c:pt>
                <c:pt idx="40631">
                  <c:v>-3.7815126050420103E-2</c:v>
                </c:pt>
                <c:pt idx="40632">
                  <c:v>-3.7815126050420103E-2</c:v>
                </c:pt>
                <c:pt idx="40633">
                  <c:v>-3.7815126050420103E-2</c:v>
                </c:pt>
                <c:pt idx="40634">
                  <c:v>-3.7815126050420103E-2</c:v>
                </c:pt>
                <c:pt idx="40635">
                  <c:v>-3.7815126050420103E-2</c:v>
                </c:pt>
                <c:pt idx="40636">
                  <c:v>-3.7815126050420103E-2</c:v>
                </c:pt>
                <c:pt idx="40637">
                  <c:v>-3.7815126050420103E-2</c:v>
                </c:pt>
                <c:pt idx="40638">
                  <c:v>-3.7815126050420103E-2</c:v>
                </c:pt>
                <c:pt idx="40639">
                  <c:v>-3.7815126050420103E-2</c:v>
                </c:pt>
                <c:pt idx="40640">
                  <c:v>-3.7815126050420103E-2</c:v>
                </c:pt>
                <c:pt idx="40641">
                  <c:v>-3.7815126050420103E-2</c:v>
                </c:pt>
                <c:pt idx="40642">
                  <c:v>-3.7815126050420103E-2</c:v>
                </c:pt>
                <c:pt idx="40643">
                  <c:v>-3.7815126050420103E-2</c:v>
                </c:pt>
                <c:pt idx="40644">
                  <c:v>-3.6974789915966297E-2</c:v>
                </c:pt>
                <c:pt idx="40645">
                  <c:v>-3.6974789915966297E-2</c:v>
                </c:pt>
                <c:pt idx="40646">
                  <c:v>-3.6974789915966297E-2</c:v>
                </c:pt>
                <c:pt idx="40647">
                  <c:v>-3.6974789915966297E-2</c:v>
                </c:pt>
                <c:pt idx="40648">
                  <c:v>-3.6974789915966297E-2</c:v>
                </c:pt>
                <c:pt idx="40649">
                  <c:v>-3.6974789915966297E-2</c:v>
                </c:pt>
                <c:pt idx="40650">
                  <c:v>-3.6974789915966297E-2</c:v>
                </c:pt>
                <c:pt idx="40651">
                  <c:v>-3.6974789915966297E-2</c:v>
                </c:pt>
                <c:pt idx="40652">
                  <c:v>-3.6974789915966297E-2</c:v>
                </c:pt>
                <c:pt idx="40653">
                  <c:v>-3.6974789915966297E-2</c:v>
                </c:pt>
                <c:pt idx="40654">
                  <c:v>-3.6974789915966297E-2</c:v>
                </c:pt>
                <c:pt idx="40655">
                  <c:v>-3.6974789915966297E-2</c:v>
                </c:pt>
                <c:pt idx="40656">
                  <c:v>-3.7815126050420103E-2</c:v>
                </c:pt>
                <c:pt idx="40657">
                  <c:v>-3.7815126050420103E-2</c:v>
                </c:pt>
                <c:pt idx="40658">
                  <c:v>-3.7815126050420103E-2</c:v>
                </c:pt>
                <c:pt idx="40659">
                  <c:v>-3.7815126050420103E-2</c:v>
                </c:pt>
                <c:pt idx="40660">
                  <c:v>-3.7815126050420103E-2</c:v>
                </c:pt>
                <c:pt idx="40661">
                  <c:v>-3.7815126050420103E-2</c:v>
                </c:pt>
                <c:pt idx="40662">
                  <c:v>-3.8655462184873902E-2</c:v>
                </c:pt>
                <c:pt idx="40663">
                  <c:v>-3.8655462184873902E-2</c:v>
                </c:pt>
                <c:pt idx="40664">
                  <c:v>-3.8655462184873902E-2</c:v>
                </c:pt>
                <c:pt idx="40665">
                  <c:v>-3.8655462184873902E-2</c:v>
                </c:pt>
                <c:pt idx="40666">
                  <c:v>-3.8655462184873902E-2</c:v>
                </c:pt>
                <c:pt idx="40667">
                  <c:v>-3.8655462184873902E-2</c:v>
                </c:pt>
                <c:pt idx="40668">
                  <c:v>-3.8655462184873902E-2</c:v>
                </c:pt>
                <c:pt idx="40669">
                  <c:v>-3.8655462184873902E-2</c:v>
                </c:pt>
                <c:pt idx="40670">
                  <c:v>-3.8655462184873902E-2</c:v>
                </c:pt>
                <c:pt idx="40671">
                  <c:v>-3.8655462184873902E-2</c:v>
                </c:pt>
                <c:pt idx="40672">
                  <c:v>-3.8655462184873902E-2</c:v>
                </c:pt>
                <c:pt idx="40673">
                  <c:v>-3.8655462184873902E-2</c:v>
                </c:pt>
                <c:pt idx="40674">
                  <c:v>-3.7815126050420103E-2</c:v>
                </c:pt>
                <c:pt idx="40675">
                  <c:v>-3.7815126050420103E-2</c:v>
                </c:pt>
                <c:pt idx="40676">
                  <c:v>-3.7815126050420103E-2</c:v>
                </c:pt>
                <c:pt idx="40677">
                  <c:v>-3.7815126050420103E-2</c:v>
                </c:pt>
                <c:pt idx="40678">
                  <c:v>-3.7815126050420103E-2</c:v>
                </c:pt>
                <c:pt idx="40679">
                  <c:v>-3.7815126050420103E-2</c:v>
                </c:pt>
                <c:pt idx="40680">
                  <c:v>-3.7815126050420103E-2</c:v>
                </c:pt>
                <c:pt idx="40681">
                  <c:v>-3.7815126050420103E-2</c:v>
                </c:pt>
                <c:pt idx="40682">
                  <c:v>-3.7815126050420103E-2</c:v>
                </c:pt>
                <c:pt idx="40683">
                  <c:v>-3.7815126050420103E-2</c:v>
                </c:pt>
                <c:pt idx="40684">
                  <c:v>-3.7815126050420103E-2</c:v>
                </c:pt>
                <c:pt idx="40685">
                  <c:v>-3.7815126050420103E-2</c:v>
                </c:pt>
                <c:pt idx="40686">
                  <c:v>-3.7815126050420103E-2</c:v>
                </c:pt>
                <c:pt idx="40687">
                  <c:v>-3.7815126050420103E-2</c:v>
                </c:pt>
                <c:pt idx="40688">
                  <c:v>-3.7815126050420103E-2</c:v>
                </c:pt>
                <c:pt idx="40689">
                  <c:v>-3.7815126050420103E-2</c:v>
                </c:pt>
                <c:pt idx="40690">
                  <c:v>-3.7815126050420103E-2</c:v>
                </c:pt>
                <c:pt idx="40691">
                  <c:v>-3.7815126050420103E-2</c:v>
                </c:pt>
                <c:pt idx="40692">
                  <c:v>-3.7815126050420103E-2</c:v>
                </c:pt>
                <c:pt idx="40693">
                  <c:v>-3.7815126050420103E-2</c:v>
                </c:pt>
                <c:pt idx="40694">
                  <c:v>-3.7815126050420103E-2</c:v>
                </c:pt>
                <c:pt idx="40695">
                  <c:v>-3.7815126050420103E-2</c:v>
                </c:pt>
                <c:pt idx="40696">
                  <c:v>-3.7815126050420103E-2</c:v>
                </c:pt>
                <c:pt idx="40697">
                  <c:v>-3.7815126050420103E-2</c:v>
                </c:pt>
                <c:pt idx="40698">
                  <c:v>-3.7815126050420103E-2</c:v>
                </c:pt>
                <c:pt idx="40699">
                  <c:v>-3.7815126050420103E-2</c:v>
                </c:pt>
                <c:pt idx="40700">
                  <c:v>-3.7815126050420103E-2</c:v>
                </c:pt>
                <c:pt idx="40701">
                  <c:v>-3.7815126050420103E-2</c:v>
                </c:pt>
                <c:pt idx="40702">
                  <c:v>-3.7815126050420103E-2</c:v>
                </c:pt>
                <c:pt idx="40703">
                  <c:v>-3.7815126050420103E-2</c:v>
                </c:pt>
                <c:pt idx="40704">
                  <c:v>-3.7815126050420103E-2</c:v>
                </c:pt>
                <c:pt idx="40705">
                  <c:v>-3.7815126050420103E-2</c:v>
                </c:pt>
                <c:pt idx="40706">
                  <c:v>-3.7815126050420103E-2</c:v>
                </c:pt>
                <c:pt idx="40707">
                  <c:v>-3.7815126050420103E-2</c:v>
                </c:pt>
                <c:pt idx="40708">
                  <c:v>-3.7815126050420103E-2</c:v>
                </c:pt>
                <c:pt idx="40709">
                  <c:v>-3.6974789915966297E-2</c:v>
                </c:pt>
                <c:pt idx="40710">
                  <c:v>-3.6974789915966297E-2</c:v>
                </c:pt>
                <c:pt idx="40711">
                  <c:v>-3.6974789915966297E-2</c:v>
                </c:pt>
                <c:pt idx="40712">
                  <c:v>-3.6974789915966297E-2</c:v>
                </c:pt>
                <c:pt idx="40713">
                  <c:v>-3.6974789915966297E-2</c:v>
                </c:pt>
                <c:pt idx="40714">
                  <c:v>-3.6974789915966297E-2</c:v>
                </c:pt>
                <c:pt idx="40715">
                  <c:v>-3.6974789915966297E-2</c:v>
                </c:pt>
                <c:pt idx="40716">
                  <c:v>-3.6134453781512497E-2</c:v>
                </c:pt>
                <c:pt idx="40717">
                  <c:v>-3.6134453781512497E-2</c:v>
                </c:pt>
                <c:pt idx="40718">
                  <c:v>-3.6134453781512497E-2</c:v>
                </c:pt>
                <c:pt idx="40719">
                  <c:v>-3.6134453781512497E-2</c:v>
                </c:pt>
                <c:pt idx="40720">
                  <c:v>-3.6134453781512497E-2</c:v>
                </c:pt>
                <c:pt idx="40721">
                  <c:v>-3.6134453781512497E-2</c:v>
                </c:pt>
                <c:pt idx="40722">
                  <c:v>-3.6134453781512497E-2</c:v>
                </c:pt>
                <c:pt idx="40723">
                  <c:v>-3.6134453781512497E-2</c:v>
                </c:pt>
                <c:pt idx="40724">
                  <c:v>-3.6134453781512497E-2</c:v>
                </c:pt>
                <c:pt idx="40725">
                  <c:v>-3.6134453781512497E-2</c:v>
                </c:pt>
                <c:pt idx="40726">
                  <c:v>-3.6134453781512497E-2</c:v>
                </c:pt>
                <c:pt idx="40727">
                  <c:v>-3.6134453781512497E-2</c:v>
                </c:pt>
                <c:pt idx="40728">
                  <c:v>-3.6134453781512497E-2</c:v>
                </c:pt>
                <c:pt idx="40729">
                  <c:v>-3.6134453781512497E-2</c:v>
                </c:pt>
                <c:pt idx="40730">
                  <c:v>-3.6134453781512497E-2</c:v>
                </c:pt>
                <c:pt idx="40731">
                  <c:v>-3.6134453781512497E-2</c:v>
                </c:pt>
                <c:pt idx="40732">
                  <c:v>-3.6134453781512497E-2</c:v>
                </c:pt>
                <c:pt idx="40733">
                  <c:v>-3.6134453781512497E-2</c:v>
                </c:pt>
                <c:pt idx="40734">
                  <c:v>-3.6134453781512497E-2</c:v>
                </c:pt>
                <c:pt idx="40735">
                  <c:v>-3.6134453781512497E-2</c:v>
                </c:pt>
                <c:pt idx="40736">
                  <c:v>-3.6134453781512497E-2</c:v>
                </c:pt>
                <c:pt idx="40737">
                  <c:v>-3.6134453781512497E-2</c:v>
                </c:pt>
                <c:pt idx="40738">
                  <c:v>-3.6134453781512497E-2</c:v>
                </c:pt>
                <c:pt idx="40739">
                  <c:v>-3.6134453781512497E-2</c:v>
                </c:pt>
                <c:pt idx="40740">
                  <c:v>-3.6134453781512497E-2</c:v>
                </c:pt>
                <c:pt idx="40741">
                  <c:v>-3.6134453781512497E-2</c:v>
                </c:pt>
                <c:pt idx="40742">
                  <c:v>-3.6134453781512497E-2</c:v>
                </c:pt>
                <c:pt idx="40743">
                  <c:v>-3.6134453781512497E-2</c:v>
                </c:pt>
                <c:pt idx="40744">
                  <c:v>-3.6134453781512497E-2</c:v>
                </c:pt>
                <c:pt idx="40745">
                  <c:v>-3.6134453781512497E-2</c:v>
                </c:pt>
                <c:pt idx="40746">
                  <c:v>-3.6134453781512497E-2</c:v>
                </c:pt>
                <c:pt idx="40747">
                  <c:v>-3.5294117647058802E-2</c:v>
                </c:pt>
                <c:pt idx="40748">
                  <c:v>-3.5294117647058802E-2</c:v>
                </c:pt>
                <c:pt idx="40749">
                  <c:v>-3.5294117647058802E-2</c:v>
                </c:pt>
                <c:pt idx="40750">
                  <c:v>-3.5294117647058802E-2</c:v>
                </c:pt>
                <c:pt idx="40751">
                  <c:v>-3.5294117647058802E-2</c:v>
                </c:pt>
                <c:pt idx="40752">
                  <c:v>-3.6134453781512497E-2</c:v>
                </c:pt>
                <c:pt idx="40753">
                  <c:v>-3.6134453781512497E-2</c:v>
                </c:pt>
                <c:pt idx="40754">
                  <c:v>-3.6134453781512497E-2</c:v>
                </c:pt>
                <c:pt idx="40755">
                  <c:v>-3.6134453781512497E-2</c:v>
                </c:pt>
                <c:pt idx="40756">
                  <c:v>-3.6134453781512497E-2</c:v>
                </c:pt>
                <c:pt idx="40757">
                  <c:v>-3.6134453781512497E-2</c:v>
                </c:pt>
                <c:pt idx="40758">
                  <c:v>-3.6134453781512497E-2</c:v>
                </c:pt>
                <c:pt idx="40759">
                  <c:v>-3.6134453781512497E-2</c:v>
                </c:pt>
                <c:pt idx="40760">
                  <c:v>-3.6134453781512497E-2</c:v>
                </c:pt>
                <c:pt idx="40761">
                  <c:v>-3.6134453781512497E-2</c:v>
                </c:pt>
                <c:pt idx="40762">
                  <c:v>-3.6134453781512497E-2</c:v>
                </c:pt>
                <c:pt idx="40763">
                  <c:v>-3.6134453781512497E-2</c:v>
                </c:pt>
                <c:pt idx="40764">
                  <c:v>-3.6134453781512497E-2</c:v>
                </c:pt>
                <c:pt idx="40765">
                  <c:v>-3.6134453781512497E-2</c:v>
                </c:pt>
                <c:pt idx="40766">
                  <c:v>-3.6134453781512497E-2</c:v>
                </c:pt>
                <c:pt idx="40767">
                  <c:v>-3.6134453781512497E-2</c:v>
                </c:pt>
                <c:pt idx="40768">
                  <c:v>-3.6134453781512497E-2</c:v>
                </c:pt>
                <c:pt idx="40769">
                  <c:v>-3.6134453781512497E-2</c:v>
                </c:pt>
                <c:pt idx="40770">
                  <c:v>-3.6134453781512497E-2</c:v>
                </c:pt>
                <c:pt idx="40771">
                  <c:v>-3.6134453781512497E-2</c:v>
                </c:pt>
                <c:pt idx="40772">
                  <c:v>-3.6134453781512497E-2</c:v>
                </c:pt>
                <c:pt idx="40773">
                  <c:v>-3.6134453781512497E-2</c:v>
                </c:pt>
                <c:pt idx="40774">
                  <c:v>-3.6134453781512497E-2</c:v>
                </c:pt>
                <c:pt idx="40775">
                  <c:v>-3.6134453781512497E-2</c:v>
                </c:pt>
                <c:pt idx="40776">
                  <c:v>-3.6134453781512497E-2</c:v>
                </c:pt>
                <c:pt idx="40777">
                  <c:v>-3.6134453781512497E-2</c:v>
                </c:pt>
                <c:pt idx="40778">
                  <c:v>-3.6134453781512497E-2</c:v>
                </c:pt>
                <c:pt idx="40779">
                  <c:v>-3.6134453781512497E-2</c:v>
                </c:pt>
                <c:pt idx="40780">
                  <c:v>-3.6134453781512497E-2</c:v>
                </c:pt>
                <c:pt idx="40781">
                  <c:v>-3.6134453781512497E-2</c:v>
                </c:pt>
                <c:pt idx="40782">
                  <c:v>-3.6134453781512497E-2</c:v>
                </c:pt>
                <c:pt idx="40783">
                  <c:v>-3.6134453781512497E-2</c:v>
                </c:pt>
                <c:pt idx="40784">
                  <c:v>-3.6134453781512497E-2</c:v>
                </c:pt>
                <c:pt idx="40785">
                  <c:v>-3.6134453781512497E-2</c:v>
                </c:pt>
                <c:pt idx="40786">
                  <c:v>-3.6134453781512497E-2</c:v>
                </c:pt>
                <c:pt idx="40787">
                  <c:v>-3.6134453781512497E-2</c:v>
                </c:pt>
                <c:pt idx="40788">
                  <c:v>-3.6134453781512497E-2</c:v>
                </c:pt>
                <c:pt idx="40789">
                  <c:v>-3.6134453781512497E-2</c:v>
                </c:pt>
                <c:pt idx="40790">
                  <c:v>-3.6134453781512497E-2</c:v>
                </c:pt>
                <c:pt idx="40791">
                  <c:v>-3.6134453781512497E-2</c:v>
                </c:pt>
                <c:pt idx="40792">
                  <c:v>-3.6134453781512497E-2</c:v>
                </c:pt>
                <c:pt idx="40793">
                  <c:v>-3.6134453781512497E-2</c:v>
                </c:pt>
                <c:pt idx="40794">
                  <c:v>-3.6134453781512497E-2</c:v>
                </c:pt>
                <c:pt idx="40795">
                  <c:v>-3.6134453781512497E-2</c:v>
                </c:pt>
                <c:pt idx="40796">
                  <c:v>-3.6134453781512497E-2</c:v>
                </c:pt>
                <c:pt idx="40797">
                  <c:v>-3.6974789915966297E-2</c:v>
                </c:pt>
                <c:pt idx="40798">
                  <c:v>-3.6974789915966297E-2</c:v>
                </c:pt>
                <c:pt idx="40799">
                  <c:v>-3.6974789915966297E-2</c:v>
                </c:pt>
                <c:pt idx="40800">
                  <c:v>-3.6974789915966297E-2</c:v>
                </c:pt>
                <c:pt idx="40801">
                  <c:v>-3.6974789915966297E-2</c:v>
                </c:pt>
                <c:pt idx="40802">
                  <c:v>-3.6974789915966297E-2</c:v>
                </c:pt>
                <c:pt idx="40803">
                  <c:v>-3.6974789915966297E-2</c:v>
                </c:pt>
                <c:pt idx="40804">
                  <c:v>-3.6974789915966297E-2</c:v>
                </c:pt>
                <c:pt idx="40805">
                  <c:v>-3.6974789915966297E-2</c:v>
                </c:pt>
                <c:pt idx="40806">
                  <c:v>-3.6974789915966297E-2</c:v>
                </c:pt>
                <c:pt idx="40807">
                  <c:v>-3.6974789915966297E-2</c:v>
                </c:pt>
                <c:pt idx="40808">
                  <c:v>-3.6974789915966297E-2</c:v>
                </c:pt>
                <c:pt idx="40809">
                  <c:v>-3.6974789915966297E-2</c:v>
                </c:pt>
                <c:pt idx="40810">
                  <c:v>-3.6974789915966297E-2</c:v>
                </c:pt>
                <c:pt idx="40811">
                  <c:v>-3.6974789915966297E-2</c:v>
                </c:pt>
                <c:pt idx="40812">
                  <c:v>-3.6974789915966297E-2</c:v>
                </c:pt>
                <c:pt idx="40813">
                  <c:v>-3.6974789915966297E-2</c:v>
                </c:pt>
                <c:pt idx="40814">
                  <c:v>-3.6974789915966297E-2</c:v>
                </c:pt>
                <c:pt idx="40815">
                  <c:v>-3.6974789915966297E-2</c:v>
                </c:pt>
                <c:pt idx="40816">
                  <c:v>-3.6974789915966297E-2</c:v>
                </c:pt>
                <c:pt idx="40817">
                  <c:v>-3.6974789915966297E-2</c:v>
                </c:pt>
                <c:pt idx="40818">
                  <c:v>-3.6974789915966297E-2</c:v>
                </c:pt>
                <c:pt idx="40819">
                  <c:v>-3.6974789915966297E-2</c:v>
                </c:pt>
                <c:pt idx="40820">
                  <c:v>-3.6974789915966297E-2</c:v>
                </c:pt>
                <c:pt idx="40821">
                  <c:v>-3.6974789915966297E-2</c:v>
                </c:pt>
                <c:pt idx="40822">
                  <c:v>-3.6974789915966297E-2</c:v>
                </c:pt>
                <c:pt idx="40823">
                  <c:v>-3.6974789915966297E-2</c:v>
                </c:pt>
                <c:pt idx="40824">
                  <c:v>-3.6974789915966297E-2</c:v>
                </c:pt>
                <c:pt idx="40825">
                  <c:v>-3.6974789915966297E-2</c:v>
                </c:pt>
                <c:pt idx="40826">
                  <c:v>-3.6974789915966297E-2</c:v>
                </c:pt>
                <c:pt idx="40827">
                  <c:v>-3.6974789915966297E-2</c:v>
                </c:pt>
                <c:pt idx="40828">
                  <c:v>-3.6974789915966297E-2</c:v>
                </c:pt>
                <c:pt idx="40829">
                  <c:v>-3.6974789915966297E-2</c:v>
                </c:pt>
                <c:pt idx="40830">
                  <c:v>-3.6974789915966297E-2</c:v>
                </c:pt>
                <c:pt idx="40831">
                  <c:v>-3.6974789915966297E-2</c:v>
                </c:pt>
                <c:pt idx="40832">
                  <c:v>-3.6974789915966297E-2</c:v>
                </c:pt>
                <c:pt idx="40833">
                  <c:v>-3.6974789915966297E-2</c:v>
                </c:pt>
                <c:pt idx="40834">
                  <c:v>-3.6974789915966297E-2</c:v>
                </c:pt>
                <c:pt idx="40835">
                  <c:v>-3.6974789915966297E-2</c:v>
                </c:pt>
                <c:pt idx="40836">
                  <c:v>-3.6974789915966297E-2</c:v>
                </c:pt>
                <c:pt idx="40837">
                  <c:v>-3.6974789915966297E-2</c:v>
                </c:pt>
                <c:pt idx="40838">
                  <c:v>-3.6974789915966297E-2</c:v>
                </c:pt>
                <c:pt idx="40839">
                  <c:v>-3.6974789915966297E-2</c:v>
                </c:pt>
                <c:pt idx="40840">
                  <c:v>-3.6974789915966297E-2</c:v>
                </c:pt>
                <c:pt idx="40841">
                  <c:v>-3.6974789915966297E-2</c:v>
                </c:pt>
                <c:pt idx="40842">
                  <c:v>-3.6974789915966297E-2</c:v>
                </c:pt>
                <c:pt idx="40843">
                  <c:v>-3.6974789915966297E-2</c:v>
                </c:pt>
                <c:pt idx="40844">
                  <c:v>-3.6974789915966297E-2</c:v>
                </c:pt>
                <c:pt idx="40845">
                  <c:v>-3.6974789915966297E-2</c:v>
                </c:pt>
                <c:pt idx="40846">
                  <c:v>-3.6974789915966297E-2</c:v>
                </c:pt>
                <c:pt idx="40847">
                  <c:v>-3.6974789915966297E-2</c:v>
                </c:pt>
                <c:pt idx="40848">
                  <c:v>-3.6974789915966297E-2</c:v>
                </c:pt>
                <c:pt idx="40849">
                  <c:v>-3.6974789915966297E-2</c:v>
                </c:pt>
                <c:pt idx="40850">
                  <c:v>-3.6974789915966297E-2</c:v>
                </c:pt>
                <c:pt idx="40851">
                  <c:v>-3.6974789915966297E-2</c:v>
                </c:pt>
                <c:pt idx="40852">
                  <c:v>-3.6974789915966297E-2</c:v>
                </c:pt>
                <c:pt idx="40853">
                  <c:v>-3.6974789915966297E-2</c:v>
                </c:pt>
                <c:pt idx="40854">
                  <c:v>-3.6974789915966297E-2</c:v>
                </c:pt>
                <c:pt idx="40855">
                  <c:v>-3.6974789915966297E-2</c:v>
                </c:pt>
                <c:pt idx="40856">
                  <c:v>-3.6974789915966297E-2</c:v>
                </c:pt>
                <c:pt idx="40857">
                  <c:v>-3.6974789915966297E-2</c:v>
                </c:pt>
                <c:pt idx="40858">
                  <c:v>-3.6974789915966297E-2</c:v>
                </c:pt>
                <c:pt idx="40859">
                  <c:v>-3.6974789915966297E-2</c:v>
                </c:pt>
                <c:pt idx="40860">
                  <c:v>-3.6974789915966297E-2</c:v>
                </c:pt>
                <c:pt idx="40861">
                  <c:v>-3.7815126050420103E-2</c:v>
                </c:pt>
                <c:pt idx="40862">
                  <c:v>-3.7815126050420103E-2</c:v>
                </c:pt>
                <c:pt idx="40863">
                  <c:v>-3.7815126050420103E-2</c:v>
                </c:pt>
                <c:pt idx="40864">
                  <c:v>-3.7815126050420103E-2</c:v>
                </c:pt>
                <c:pt idx="40865">
                  <c:v>-3.7815126050420103E-2</c:v>
                </c:pt>
                <c:pt idx="40866">
                  <c:v>-3.7815126050420103E-2</c:v>
                </c:pt>
                <c:pt idx="40867">
                  <c:v>-3.7815126050420103E-2</c:v>
                </c:pt>
                <c:pt idx="40868">
                  <c:v>-3.7815126050420103E-2</c:v>
                </c:pt>
                <c:pt idx="40869">
                  <c:v>-3.7815126050420103E-2</c:v>
                </c:pt>
                <c:pt idx="40870">
                  <c:v>-3.7815126050420103E-2</c:v>
                </c:pt>
                <c:pt idx="40871">
                  <c:v>-3.7815126050420103E-2</c:v>
                </c:pt>
                <c:pt idx="40872">
                  <c:v>-3.7815126050420103E-2</c:v>
                </c:pt>
                <c:pt idx="40873">
                  <c:v>-3.7815126050420103E-2</c:v>
                </c:pt>
                <c:pt idx="40874">
                  <c:v>-3.7815126050420103E-2</c:v>
                </c:pt>
                <c:pt idx="40875">
                  <c:v>-3.7815126050420103E-2</c:v>
                </c:pt>
                <c:pt idx="40876">
                  <c:v>-3.7815126050420103E-2</c:v>
                </c:pt>
                <c:pt idx="40877">
                  <c:v>-3.7815126050420103E-2</c:v>
                </c:pt>
                <c:pt idx="40878">
                  <c:v>-3.7815126050420103E-2</c:v>
                </c:pt>
                <c:pt idx="40879">
                  <c:v>-3.7815126050420103E-2</c:v>
                </c:pt>
                <c:pt idx="40880">
                  <c:v>-3.7815126050420103E-2</c:v>
                </c:pt>
                <c:pt idx="40881">
                  <c:v>-3.7815126050420103E-2</c:v>
                </c:pt>
                <c:pt idx="40882">
                  <c:v>-3.7815126050420103E-2</c:v>
                </c:pt>
                <c:pt idx="40883">
                  <c:v>-3.7815126050420103E-2</c:v>
                </c:pt>
                <c:pt idx="40884">
                  <c:v>-3.7815126050420103E-2</c:v>
                </c:pt>
                <c:pt idx="40885">
                  <c:v>-3.7815126050420103E-2</c:v>
                </c:pt>
                <c:pt idx="40886">
                  <c:v>-3.7815126050420103E-2</c:v>
                </c:pt>
                <c:pt idx="40887">
                  <c:v>-3.7815126050420103E-2</c:v>
                </c:pt>
                <c:pt idx="40888">
                  <c:v>-3.7815126050420103E-2</c:v>
                </c:pt>
                <c:pt idx="40889">
                  <c:v>-3.7815126050420103E-2</c:v>
                </c:pt>
                <c:pt idx="40890">
                  <c:v>-3.7815126050420103E-2</c:v>
                </c:pt>
                <c:pt idx="40891">
                  <c:v>-3.7815126050420103E-2</c:v>
                </c:pt>
                <c:pt idx="40892">
                  <c:v>-3.7815126050420103E-2</c:v>
                </c:pt>
                <c:pt idx="40893">
                  <c:v>-3.7815126050420103E-2</c:v>
                </c:pt>
                <c:pt idx="40894">
                  <c:v>-3.7815126050420103E-2</c:v>
                </c:pt>
                <c:pt idx="40895">
                  <c:v>-3.7815126050420103E-2</c:v>
                </c:pt>
                <c:pt idx="40896">
                  <c:v>-3.7815126050420103E-2</c:v>
                </c:pt>
                <c:pt idx="40897">
                  <c:v>-3.7815126050420103E-2</c:v>
                </c:pt>
                <c:pt idx="40898">
                  <c:v>-3.6974789915966297E-2</c:v>
                </c:pt>
                <c:pt idx="40899">
                  <c:v>-3.6134453781512497E-2</c:v>
                </c:pt>
                <c:pt idx="40900">
                  <c:v>-3.6134453781512497E-2</c:v>
                </c:pt>
                <c:pt idx="40901">
                  <c:v>-3.6134453781512497E-2</c:v>
                </c:pt>
                <c:pt idx="40902">
                  <c:v>-3.6134453781512497E-2</c:v>
                </c:pt>
                <c:pt idx="40903">
                  <c:v>-3.6134453781512497E-2</c:v>
                </c:pt>
                <c:pt idx="40904">
                  <c:v>-3.6134453781512497E-2</c:v>
                </c:pt>
                <c:pt idx="40905">
                  <c:v>-3.6134453781512497E-2</c:v>
                </c:pt>
                <c:pt idx="40906">
                  <c:v>-3.6134453781512497E-2</c:v>
                </c:pt>
                <c:pt idx="40907">
                  <c:v>-3.6134453781512497E-2</c:v>
                </c:pt>
                <c:pt idx="40908">
                  <c:v>-3.6134453781512497E-2</c:v>
                </c:pt>
                <c:pt idx="40909">
                  <c:v>-3.6134453781512497E-2</c:v>
                </c:pt>
                <c:pt idx="40910">
                  <c:v>-3.6134453781512497E-2</c:v>
                </c:pt>
                <c:pt idx="40911">
                  <c:v>-3.6134453781512497E-2</c:v>
                </c:pt>
                <c:pt idx="40912">
                  <c:v>-3.6134453781512497E-2</c:v>
                </c:pt>
                <c:pt idx="40913">
                  <c:v>-3.6134453781512497E-2</c:v>
                </c:pt>
                <c:pt idx="40914">
                  <c:v>-3.6134453781512497E-2</c:v>
                </c:pt>
                <c:pt idx="40915">
                  <c:v>-3.6134453781512497E-2</c:v>
                </c:pt>
                <c:pt idx="40916">
                  <c:v>-3.6134453781512497E-2</c:v>
                </c:pt>
                <c:pt idx="40917">
                  <c:v>-3.6134453781512497E-2</c:v>
                </c:pt>
                <c:pt idx="40918">
                  <c:v>-3.6134453781512497E-2</c:v>
                </c:pt>
                <c:pt idx="40919">
                  <c:v>-3.6134453781512497E-2</c:v>
                </c:pt>
                <c:pt idx="40920">
                  <c:v>-3.6134453781512497E-2</c:v>
                </c:pt>
                <c:pt idx="40921">
                  <c:v>-3.6134453781512497E-2</c:v>
                </c:pt>
                <c:pt idx="40922">
                  <c:v>-3.6134453781512497E-2</c:v>
                </c:pt>
                <c:pt idx="40923">
                  <c:v>-3.6134453781512497E-2</c:v>
                </c:pt>
                <c:pt idx="40924">
                  <c:v>-3.6134453781512497E-2</c:v>
                </c:pt>
                <c:pt idx="40925">
                  <c:v>-3.6134453781512497E-2</c:v>
                </c:pt>
                <c:pt idx="40926">
                  <c:v>-3.6134453781512497E-2</c:v>
                </c:pt>
                <c:pt idx="40927">
                  <c:v>-3.6134453781512497E-2</c:v>
                </c:pt>
                <c:pt idx="40928">
                  <c:v>-3.6134453781512497E-2</c:v>
                </c:pt>
                <c:pt idx="40929">
                  <c:v>-3.6134453781512497E-2</c:v>
                </c:pt>
                <c:pt idx="40930">
                  <c:v>-3.6134453781512497E-2</c:v>
                </c:pt>
                <c:pt idx="40931">
                  <c:v>-3.6134453781512497E-2</c:v>
                </c:pt>
                <c:pt idx="40932">
                  <c:v>-3.6134453781512497E-2</c:v>
                </c:pt>
                <c:pt idx="40933">
                  <c:v>-3.6134453781512497E-2</c:v>
                </c:pt>
                <c:pt idx="40934">
                  <c:v>-3.6134453781512497E-2</c:v>
                </c:pt>
                <c:pt idx="40935">
                  <c:v>-3.6134453781512497E-2</c:v>
                </c:pt>
                <c:pt idx="40936">
                  <c:v>-3.6134453781512497E-2</c:v>
                </c:pt>
                <c:pt idx="40937">
                  <c:v>-3.6134453781512497E-2</c:v>
                </c:pt>
                <c:pt idx="40938">
                  <c:v>-3.6134453781512497E-2</c:v>
                </c:pt>
                <c:pt idx="40939">
                  <c:v>-3.6134453781512497E-2</c:v>
                </c:pt>
                <c:pt idx="40940">
                  <c:v>-3.6134453781512497E-2</c:v>
                </c:pt>
                <c:pt idx="40941">
                  <c:v>-3.6134453781512497E-2</c:v>
                </c:pt>
                <c:pt idx="40942">
                  <c:v>-3.6134453781512497E-2</c:v>
                </c:pt>
                <c:pt idx="40943">
                  <c:v>-3.6134453781512497E-2</c:v>
                </c:pt>
                <c:pt idx="40944">
                  <c:v>-3.6134453781512497E-2</c:v>
                </c:pt>
                <c:pt idx="40945">
                  <c:v>-3.6134453781512497E-2</c:v>
                </c:pt>
                <c:pt idx="40946">
                  <c:v>-3.6134453781512497E-2</c:v>
                </c:pt>
                <c:pt idx="40947">
                  <c:v>-3.6134453781512497E-2</c:v>
                </c:pt>
                <c:pt idx="40948">
                  <c:v>-3.6134453781512497E-2</c:v>
                </c:pt>
                <c:pt idx="40949">
                  <c:v>-3.6134453781512497E-2</c:v>
                </c:pt>
                <c:pt idx="40950">
                  <c:v>-3.6134453781512497E-2</c:v>
                </c:pt>
                <c:pt idx="40951">
                  <c:v>-3.6134453781512497E-2</c:v>
                </c:pt>
                <c:pt idx="40952">
                  <c:v>-3.6134453781512497E-2</c:v>
                </c:pt>
                <c:pt idx="40953">
                  <c:v>-3.6134453781512497E-2</c:v>
                </c:pt>
                <c:pt idx="40954">
                  <c:v>-3.6134453781512497E-2</c:v>
                </c:pt>
                <c:pt idx="40955">
                  <c:v>-3.6134453781512497E-2</c:v>
                </c:pt>
                <c:pt idx="40956">
                  <c:v>-3.6134453781512497E-2</c:v>
                </c:pt>
                <c:pt idx="40957">
                  <c:v>-3.6134453781512497E-2</c:v>
                </c:pt>
                <c:pt idx="40958">
                  <c:v>-3.6134453781512497E-2</c:v>
                </c:pt>
                <c:pt idx="40959">
                  <c:v>-3.6134453781512497E-2</c:v>
                </c:pt>
                <c:pt idx="40960">
                  <c:v>-3.6134453781512497E-2</c:v>
                </c:pt>
                <c:pt idx="40961">
                  <c:v>-3.6134453781512497E-2</c:v>
                </c:pt>
                <c:pt idx="40962">
                  <c:v>-3.6134453781512497E-2</c:v>
                </c:pt>
                <c:pt idx="40963">
                  <c:v>-3.6134453781512497E-2</c:v>
                </c:pt>
                <c:pt idx="40964">
                  <c:v>-3.6134453781512497E-2</c:v>
                </c:pt>
                <c:pt idx="40965">
                  <c:v>-3.6134453781512497E-2</c:v>
                </c:pt>
                <c:pt idx="40966">
                  <c:v>-3.6134453781512497E-2</c:v>
                </c:pt>
                <c:pt idx="40967">
                  <c:v>-3.6134453781512497E-2</c:v>
                </c:pt>
                <c:pt idx="40968">
                  <c:v>-3.6134453781512497E-2</c:v>
                </c:pt>
                <c:pt idx="40969">
                  <c:v>-3.6134453781512497E-2</c:v>
                </c:pt>
                <c:pt idx="40970">
                  <c:v>-3.6134453781512497E-2</c:v>
                </c:pt>
                <c:pt idx="40971">
                  <c:v>-3.6134453781512497E-2</c:v>
                </c:pt>
                <c:pt idx="40972">
                  <c:v>-3.6134453781512497E-2</c:v>
                </c:pt>
                <c:pt idx="40973">
                  <c:v>-3.6134453781512497E-2</c:v>
                </c:pt>
                <c:pt idx="40974">
                  <c:v>-3.6134453781512497E-2</c:v>
                </c:pt>
                <c:pt idx="40975">
                  <c:v>-3.6134453781512497E-2</c:v>
                </c:pt>
                <c:pt idx="40976">
                  <c:v>-3.6134453781512497E-2</c:v>
                </c:pt>
                <c:pt idx="40977">
                  <c:v>-3.6134453781512497E-2</c:v>
                </c:pt>
                <c:pt idx="40978">
                  <c:v>-3.6134453781512497E-2</c:v>
                </c:pt>
                <c:pt idx="40979">
                  <c:v>-3.6134453781512497E-2</c:v>
                </c:pt>
                <c:pt idx="40980">
                  <c:v>-3.6134453781512497E-2</c:v>
                </c:pt>
                <c:pt idx="40981">
                  <c:v>-3.6134453781512497E-2</c:v>
                </c:pt>
                <c:pt idx="40982">
                  <c:v>-3.6134453781512497E-2</c:v>
                </c:pt>
                <c:pt idx="40983">
                  <c:v>-3.6134453781512497E-2</c:v>
                </c:pt>
                <c:pt idx="40984">
                  <c:v>-3.6134453781512497E-2</c:v>
                </c:pt>
                <c:pt idx="40985">
                  <c:v>-3.6134453781512497E-2</c:v>
                </c:pt>
                <c:pt idx="40986">
                  <c:v>-3.6134453781512497E-2</c:v>
                </c:pt>
                <c:pt idx="40987">
                  <c:v>-3.6134453781512497E-2</c:v>
                </c:pt>
                <c:pt idx="40988">
                  <c:v>-3.6134453781512497E-2</c:v>
                </c:pt>
                <c:pt idx="40989">
                  <c:v>-3.6134453781512497E-2</c:v>
                </c:pt>
                <c:pt idx="40990">
                  <c:v>-3.6134453781512497E-2</c:v>
                </c:pt>
                <c:pt idx="40991">
                  <c:v>-3.6134453781512497E-2</c:v>
                </c:pt>
                <c:pt idx="40992">
                  <c:v>-3.6134453781512497E-2</c:v>
                </c:pt>
                <c:pt idx="40993">
                  <c:v>-3.6134453781512497E-2</c:v>
                </c:pt>
                <c:pt idx="40994">
                  <c:v>-3.6134453781512497E-2</c:v>
                </c:pt>
                <c:pt idx="40995">
                  <c:v>-3.6134453781512497E-2</c:v>
                </c:pt>
                <c:pt idx="40996">
                  <c:v>-3.6134453781512497E-2</c:v>
                </c:pt>
                <c:pt idx="40997">
                  <c:v>-3.6134453781512497E-2</c:v>
                </c:pt>
                <c:pt idx="40998">
                  <c:v>-3.6134453781512497E-2</c:v>
                </c:pt>
                <c:pt idx="40999">
                  <c:v>-3.6134453781512497E-2</c:v>
                </c:pt>
                <c:pt idx="41000">
                  <c:v>-3.6134453781512497E-2</c:v>
                </c:pt>
                <c:pt idx="41001">
                  <c:v>-3.6134453781512497E-2</c:v>
                </c:pt>
                <c:pt idx="41002">
                  <c:v>-3.6134453781512497E-2</c:v>
                </c:pt>
                <c:pt idx="41003">
                  <c:v>-3.6134453781512497E-2</c:v>
                </c:pt>
                <c:pt idx="41004">
                  <c:v>-3.6134453781512497E-2</c:v>
                </c:pt>
                <c:pt idx="41005">
                  <c:v>-3.6134453781512497E-2</c:v>
                </c:pt>
                <c:pt idx="41006">
                  <c:v>-3.5294117647058802E-2</c:v>
                </c:pt>
                <c:pt idx="41007">
                  <c:v>-3.5294117647058802E-2</c:v>
                </c:pt>
                <c:pt idx="41008">
                  <c:v>-3.5294117647058802E-2</c:v>
                </c:pt>
                <c:pt idx="41009">
                  <c:v>-3.5294117647058802E-2</c:v>
                </c:pt>
                <c:pt idx="41010">
                  <c:v>-3.5294117647058802E-2</c:v>
                </c:pt>
                <c:pt idx="41011">
                  <c:v>-3.6134453781512497E-2</c:v>
                </c:pt>
                <c:pt idx="41012">
                  <c:v>-3.6134453781512497E-2</c:v>
                </c:pt>
                <c:pt idx="41013">
                  <c:v>-3.6134453781512497E-2</c:v>
                </c:pt>
                <c:pt idx="41014">
                  <c:v>-3.6134453781512497E-2</c:v>
                </c:pt>
                <c:pt idx="41015">
                  <c:v>-3.6134453781512497E-2</c:v>
                </c:pt>
                <c:pt idx="41016">
                  <c:v>-3.6134453781512497E-2</c:v>
                </c:pt>
                <c:pt idx="41017">
                  <c:v>-3.6134453781512497E-2</c:v>
                </c:pt>
                <c:pt idx="41018">
                  <c:v>-3.6134453781512497E-2</c:v>
                </c:pt>
                <c:pt idx="41019">
                  <c:v>-3.6134453781512497E-2</c:v>
                </c:pt>
                <c:pt idx="41020">
                  <c:v>-3.6134453781512497E-2</c:v>
                </c:pt>
                <c:pt idx="41021">
                  <c:v>-3.6134453781512497E-2</c:v>
                </c:pt>
                <c:pt idx="41022">
                  <c:v>-3.6134453781512497E-2</c:v>
                </c:pt>
                <c:pt idx="41023">
                  <c:v>-3.6134453781512497E-2</c:v>
                </c:pt>
                <c:pt idx="41024">
                  <c:v>-3.6134453781512497E-2</c:v>
                </c:pt>
                <c:pt idx="41025">
                  <c:v>-3.6134453781512497E-2</c:v>
                </c:pt>
                <c:pt idx="41026">
                  <c:v>-3.6134453781512497E-2</c:v>
                </c:pt>
                <c:pt idx="41027">
                  <c:v>-3.6134453781512497E-2</c:v>
                </c:pt>
                <c:pt idx="41028">
                  <c:v>-3.6134453781512497E-2</c:v>
                </c:pt>
                <c:pt idx="41029">
                  <c:v>-3.6134453781512497E-2</c:v>
                </c:pt>
                <c:pt idx="41030">
                  <c:v>-3.6134453781512497E-2</c:v>
                </c:pt>
                <c:pt idx="41031">
                  <c:v>-3.6134453781512497E-2</c:v>
                </c:pt>
                <c:pt idx="41032">
                  <c:v>-3.6134453781512497E-2</c:v>
                </c:pt>
                <c:pt idx="41033">
                  <c:v>-3.6134453781512497E-2</c:v>
                </c:pt>
                <c:pt idx="41034">
                  <c:v>-3.6134453781512497E-2</c:v>
                </c:pt>
                <c:pt idx="41035">
                  <c:v>-3.6134453781512497E-2</c:v>
                </c:pt>
                <c:pt idx="41036">
                  <c:v>-3.6134453781512497E-2</c:v>
                </c:pt>
                <c:pt idx="41037">
                  <c:v>-3.6134453781512497E-2</c:v>
                </c:pt>
                <c:pt idx="41038">
                  <c:v>-3.6134453781512497E-2</c:v>
                </c:pt>
                <c:pt idx="41039">
                  <c:v>-3.5294117647058802E-2</c:v>
                </c:pt>
                <c:pt idx="41040">
                  <c:v>-3.5294117647058802E-2</c:v>
                </c:pt>
                <c:pt idx="41041">
                  <c:v>-3.5294117647058802E-2</c:v>
                </c:pt>
                <c:pt idx="41042">
                  <c:v>-3.5294117647058802E-2</c:v>
                </c:pt>
                <c:pt idx="41043">
                  <c:v>-3.5294117647058802E-2</c:v>
                </c:pt>
                <c:pt idx="41044">
                  <c:v>-3.5294117647058802E-2</c:v>
                </c:pt>
                <c:pt idx="41045">
                  <c:v>-3.5294117647058802E-2</c:v>
                </c:pt>
                <c:pt idx="41046">
                  <c:v>-3.5294117647058802E-2</c:v>
                </c:pt>
                <c:pt idx="41047">
                  <c:v>-3.5294117647058802E-2</c:v>
                </c:pt>
                <c:pt idx="41048">
                  <c:v>-3.5294117647058802E-2</c:v>
                </c:pt>
                <c:pt idx="41049">
                  <c:v>-3.5294117647058802E-2</c:v>
                </c:pt>
                <c:pt idx="41050">
                  <c:v>-3.5294117647058802E-2</c:v>
                </c:pt>
                <c:pt idx="41051">
                  <c:v>-3.5294117647058802E-2</c:v>
                </c:pt>
                <c:pt idx="41052">
                  <c:v>-3.5294117647058802E-2</c:v>
                </c:pt>
                <c:pt idx="41053">
                  <c:v>-3.5294117647058802E-2</c:v>
                </c:pt>
                <c:pt idx="41054">
                  <c:v>-3.5294117647058802E-2</c:v>
                </c:pt>
                <c:pt idx="41055">
                  <c:v>-3.5294117647058802E-2</c:v>
                </c:pt>
                <c:pt idx="41056">
                  <c:v>-3.5294117647058802E-2</c:v>
                </c:pt>
                <c:pt idx="41057">
                  <c:v>-3.5294117647058802E-2</c:v>
                </c:pt>
                <c:pt idx="41058">
                  <c:v>-3.5294117647058802E-2</c:v>
                </c:pt>
                <c:pt idx="41059">
                  <c:v>-3.5294117647058802E-2</c:v>
                </c:pt>
                <c:pt idx="41060">
                  <c:v>-3.5294117647058802E-2</c:v>
                </c:pt>
                <c:pt idx="41061">
                  <c:v>-3.5294117647058802E-2</c:v>
                </c:pt>
                <c:pt idx="41062">
                  <c:v>-3.5294117647058802E-2</c:v>
                </c:pt>
                <c:pt idx="41063">
                  <c:v>-3.5294117647058802E-2</c:v>
                </c:pt>
                <c:pt idx="41064">
                  <c:v>-3.5294117647058802E-2</c:v>
                </c:pt>
                <c:pt idx="41065">
                  <c:v>-3.5294117647058802E-2</c:v>
                </c:pt>
                <c:pt idx="41066">
                  <c:v>-3.5294117647058802E-2</c:v>
                </c:pt>
                <c:pt idx="41067">
                  <c:v>-3.5294117647058802E-2</c:v>
                </c:pt>
                <c:pt idx="41068">
                  <c:v>-3.5294117647058802E-2</c:v>
                </c:pt>
                <c:pt idx="41069">
                  <c:v>-3.5294117647058802E-2</c:v>
                </c:pt>
                <c:pt idx="41070">
                  <c:v>-3.5294117647058802E-2</c:v>
                </c:pt>
                <c:pt idx="41071">
                  <c:v>-3.5294117647058802E-2</c:v>
                </c:pt>
                <c:pt idx="41072">
                  <c:v>-3.5294117647058802E-2</c:v>
                </c:pt>
                <c:pt idx="41073">
                  <c:v>-3.5294117647058802E-2</c:v>
                </c:pt>
                <c:pt idx="41074">
                  <c:v>-3.5294117647058802E-2</c:v>
                </c:pt>
                <c:pt idx="41075">
                  <c:v>-3.5294117647058802E-2</c:v>
                </c:pt>
                <c:pt idx="41076">
                  <c:v>-3.5294117647058802E-2</c:v>
                </c:pt>
                <c:pt idx="41077">
                  <c:v>-3.5294117647058802E-2</c:v>
                </c:pt>
                <c:pt idx="41078">
                  <c:v>-3.5294117647058802E-2</c:v>
                </c:pt>
                <c:pt idx="41079">
                  <c:v>-3.5294117647058802E-2</c:v>
                </c:pt>
                <c:pt idx="41080">
                  <c:v>-3.5294117647058802E-2</c:v>
                </c:pt>
                <c:pt idx="41081">
                  <c:v>-3.5294117647058802E-2</c:v>
                </c:pt>
                <c:pt idx="41082">
                  <c:v>-3.5294117647058802E-2</c:v>
                </c:pt>
                <c:pt idx="41083">
                  <c:v>-3.5294117647058802E-2</c:v>
                </c:pt>
                <c:pt idx="41084">
                  <c:v>-3.5294117647058802E-2</c:v>
                </c:pt>
                <c:pt idx="41085">
                  <c:v>-3.5294117647058802E-2</c:v>
                </c:pt>
                <c:pt idx="41086">
                  <c:v>-3.5294117647058802E-2</c:v>
                </c:pt>
                <c:pt idx="41087">
                  <c:v>-3.5294117647058802E-2</c:v>
                </c:pt>
                <c:pt idx="41088">
                  <c:v>-3.5294117647058802E-2</c:v>
                </c:pt>
                <c:pt idx="41089">
                  <c:v>-3.5294117647058802E-2</c:v>
                </c:pt>
                <c:pt idx="41090">
                  <c:v>-3.5294117647058802E-2</c:v>
                </c:pt>
                <c:pt idx="41091">
                  <c:v>-3.5294117647058802E-2</c:v>
                </c:pt>
                <c:pt idx="41092">
                  <c:v>-3.5294117647058802E-2</c:v>
                </c:pt>
                <c:pt idx="41093">
                  <c:v>-3.5294117647058802E-2</c:v>
                </c:pt>
                <c:pt idx="41094">
                  <c:v>-3.5294117647058802E-2</c:v>
                </c:pt>
                <c:pt idx="41095">
                  <c:v>-3.5294117647058802E-2</c:v>
                </c:pt>
                <c:pt idx="41096">
                  <c:v>-3.5294117647058802E-2</c:v>
                </c:pt>
                <c:pt idx="41097">
                  <c:v>-3.5294117647058802E-2</c:v>
                </c:pt>
                <c:pt idx="41098">
                  <c:v>-3.5294117647058802E-2</c:v>
                </c:pt>
                <c:pt idx="41099">
                  <c:v>-3.4453781512605003E-2</c:v>
                </c:pt>
                <c:pt idx="41100">
                  <c:v>-3.4453781512605003E-2</c:v>
                </c:pt>
                <c:pt idx="41101">
                  <c:v>-3.4453781512605003E-2</c:v>
                </c:pt>
                <c:pt idx="41102">
                  <c:v>-3.4453781512605003E-2</c:v>
                </c:pt>
                <c:pt idx="41103">
                  <c:v>-3.4453781512605003E-2</c:v>
                </c:pt>
                <c:pt idx="41104">
                  <c:v>-3.4453781512605003E-2</c:v>
                </c:pt>
                <c:pt idx="41105">
                  <c:v>-3.4453781512605003E-2</c:v>
                </c:pt>
                <c:pt idx="41106">
                  <c:v>-3.4453781512605003E-2</c:v>
                </c:pt>
                <c:pt idx="41107">
                  <c:v>-3.4453781512605003E-2</c:v>
                </c:pt>
                <c:pt idx="41108">
                  <c:v>-3.4453781512605003E-2</c:v>
                </c:pt>
                <c:pt idx="41109">
                  <c:v>-3.4453781512605003E-2</c:v>
                </c:pt>
                <c:pt idx="41110">
                  <c:v>-3.4453781512605003E-2</c:v>
                </c:pt>
                <c:pt idx="41111">
                  <c:v>-3.4453781512605003E-2</c:v>
                </c:pt>
                <c:pt idx="41112">
                  <c:v>-3.4453781512605003E-2</c:v>
                </c:pt>
                <c:pt idx="41113">
                  <c:v>-3.4453781512605003E-2</c:v>
                </c:pt>
                <c:pt idx="41114">
                  <c:v>-3.4453781512605003E-2</c:v>
                </c:pt>
                <c:pt idx="41115">
                  <c:v>-3.4453781512605003E-2</c:v>
                </c:pt>
                <c:pt idx="41116">
                  <c:v>-3.4453781512605003E-2</c:v>
                </c:pt>
                <c:pt idx="41117">
                  <c:v>-3.4453781512605003E-2</c:v>
                </c:pt>
                <c:pt idx="41118">
                  <c:v>-3.4453781512605003E-2</c:v>
                </c:pt>
                <c:pt idx="41119">
                  <c:v>-3.4453781512605003E-2</c:v>
                </c:pt>
                <c:pt idx="41120">
                  <c:v>-3.4453781512605003E-2</c:v>
                </c:pt>
                <c:pt idx="41121">
                  <c:v>-3.4453781512605003E-2</c:v>
                </c:pt>
                <c:pt idx="41122">
                  <c:v>-3.4453781512605003E-2</c:v>
                </c:pt>
                <c:pt idx="41123">
                  <c:v>-3.4453781512605003E-2</c:v>
                </c:pt>
                <c:pt idx="41124">
                  <c:v>-3.4453781512605003E-2</c:v>
                </c:pt>
                <c:pt idx="41125">
                  <c:v>-3.4453781512605003E-2</c:v>
                </c:pt>
                <c:pt idx="41126">
                  <c:v>-3.4453781512605003E-2</c:v>
                </c:pt>
                <c:pt idx="41127">
                  <c:v>-3.4453781512605003E-2</c:v>
                </c:pt>
                <c:pt idx="41128">
                  <c:v>-3.4453781512605003E-2</c:v>
                </c:pt>
                <c:pt idx="41129">
                  <c:v>-3.4453781512605003E-2</c:v>
                </c:pt>
                <c:pt idx="41130">
                  <c:v>-3.4453781512605003E-2</c:v>
                </c:pt>
                <c:pt idx="41131">
                  <c:v>-3.4453781512605003E-2</c:v>
                </c:pt>
                <c:pt idx="41132">
                  <c:v>-3.4453781512605003E-2</c:v>
                </c:pt>
                <c:pt idx="41133">
                  <c:v>-3.4453781512605003E-2</c:v>
                </c:pt>
                <c:pt idx="41134">
                  <c:v>-3.4453781512605003E-2</c:v>
                </c:pt>
                <c:pt idx="41135">
                  <c:v>-3.4453781512605003E-2</c:v>
                </c:pt>
                <c:pt idx="41136">
                  <c:v>-3.4453781512605003E-2</c:v>
                </c:pt>
                <c:pt idx="41137">
                  <c:v>-3.4453781512605003E-2</c:v>
                </c:pt>
                <c:pt idx="41138">
                  <c:v>-3.4453781512605003E-2</c:v>
                </c:pt>
                <c:pt idx="41139">
                  <c:v>-3.4453781512605003E-2</c:v>
                </c:pt>
                <c:pt idx="41140">
                  <c:v>-3.4453781512605003E-2</c:v>
                </c:pt>
                <c:pt idx="41141">
                  <c:v>-3.4453781512605003E-2</c:v>
                </c:pt>
                <c:pt idx="41142">
                  <c:v>-3.4453781512605003E-2</c:v>
                </c:pt>
                <c:pt idx="41143">
                  <c:v>-3.4453781512605003E-2</c:v>
                </c:pt>
                <c:pt idx="41144">
                  <c:v>-3.4453781512605003E-2</c:v>
                </c:pt>
                <c:pt idx="41145">
                  <c:v>-3.4453781512605003E-2</c:v>
                </c:pt>
                <c:pt idx="41146">
                  <c:v>-3.4453781512605003E-2</c:v>
                </c:pt>
                <c:pt idx="41147">
                  <c:v>-3.4453781512605003E-2</c:v>
                </c:pt>
                <c:pt idx="41148">
                  <c:v>-3.4453781512605003E-2</c:v>
                </c:pt>
                <c:pt idx="41149">
                  <c:v>-3.4453781512605003E-2</c:v>
                </c:pt>
                <c:pt idx="41150">
                  <c:v>-3.4453781512605003E-2</c:v>
                </c:pt>
                <c:pt idx="41151">
                  <c:v>-3.4453781512605003E-2</c:v>
                </c:pt>
                <c:pt idx="41152">
                  <c:v>-3.4453781512605003E-2</c:v>
                </c:pt>
                <c:pt idx="41153">
                  <c:v>-3.4453781512605003E-2</c:v>
                </c:pt>
                <c:pt idx="41154">
                  <c:v>-3.4453781512605003E-2</c:v>
                </c:pt>
                <c:pt idx="41155">
                  <c:v>-3.4453781512605003E-2</c:v>
                </c:pt>
                <c:pt idx="41156">
                  <c:v>-3.4453781512605003E-2</c:v>
                </c:pt>
                <c:pt idx="41157">
                  <c:v>-3.4453781512605003E-2</c:v>
                </c:pt>
                <c:pt idx="41158">
                  <c:v>-3.4453781512605003E-2</c:v>
                </c:pt>
                <c:pt idx="41159">
                  <c:v>-3.4453781512605003E-2</c:v>
                </c:pt>
                <c:pt idx="41160">
                  <c:v>-3.4453781512605003E-2</c:v>
                </c:pt>
                <c:pt idx="41161">
                  <c:v>-3.4453781512605003E-2</c:v>
                </c:pt>
                <c:pt idx="41162">
                  <c:v>-3.4453781512605003E-2</c:v>
                </c:pt>
                <c:pt idx="41163">
                  <c:v>-3.4453781512605003E-2</c:v>
                </c:pt>
                <c:pt idx="41164">
                  <c:v>-3.4453781512605003E-2</c:v>
                </c:pt>
                <c:pt idx="41165">
                  <c:v>-3.4453781512605003E-2</c:v>
                </c:pt>
                <c:pt idx="41166">
                  <c:v>-3.4453781512605003E-2</c:v>
                </c:pt>
                <c:pt idx="41167">
                  <c:v>-3.4453781512605003E-2</c:v>
                </c:pt>
                <c:pt idx="41168">
                  <c:v>-3.4453781512605003E-2</c:v>
                </c:pt>
                <c:pt idx="41169">
                  <c:v>-3.4453781512605003E-2</c:v>
                </c:pt>
                <c:pt idx="41170">
                  <c:v>-3.4453781512605003E-2</c:v>
                </c:pt>
                <c:pt idx="41171">
                  <c:v>-3.4453781512605003E-2</c:v>
                </c:pt>
                <c:pt idx="41172">
                  <c:v>-3.4453781512605003E-2</c:v>
                </c:pt>
                <c:pt idx="41173">
                  <c:v>-3.4453781512605003E-2</c:v>
                </c:pt>
                <c:pt idx="41174">
                  <c:v>-3.4453781512605003E-2</c:v>
                </c:pt>
                <c:pt idx="41175">
                  <c:v>-3.4453781512605003E-2</c:v>
                </c:pt>
                <c:pt idx="41176">
                  <c:v>-3.4453781512605003E-2</c:v>
                </c:pt>
                <c:pt idx="41177">
                  <c:v>-3.4453781512605003E-2</c:v>
                </c:pt>
                <c:pt idx="41178">
                  <c:v>-3.4453781512605003E-2</c:v>
                </c:pt>
                <c:pt idx="41179">
                  <c:v>-3.4453781512605003E-2</c:v>
                </c:pt>
                <c:pt idx="41180">
                  <c:v>-3.4453781512605003E-2</c:v>
                </c:pt>
                <c:pt idx="41181">
                  <c:v>-3.4453781512605003E-2</c:v>
                </c:pt>
                <c:pt idx="41182">
                  <c:v>-3.4453781512605003E-2</c:v>
                </c:pt>
                <c:pt idx="41183">
                  <c:v>-3.4453781512605003E-2</c:v>
                </c:pt>
                <c:pt idx="41184">
                  <c:v>-3.4453781512605003E-2</c:v>
                </c:pt>
                <c:pt idx="41185">
                  <c:v>-3.4453781512605003E-2</c:v>
                </c:pt>
                <c:pt idx="41186">
                  <c:v>-3.4453781512605003E-2</c:v>
                </c:pt>
                <c:pt idx="41187">
                  <c:v>-3.4453781512605003E-2</c:v>
                </c:pt>
                <c:pt idx="41188">
                  <c:v>-3.4453781512605003E-2</c:v>
                </c:pt>
                <c:pt idx="41189">
                  <c:v>-3.4453781512605003E-2</c:v>
                </c:pt>
                <c:pt idx="41190">
                  <c:v>-3.4453781512605003E-2</c:v>
                </c:pt>
                <c:pt idx="41191">
                  <c:v>-3.4453781512605003E-2</c:v>
                </c:pt>
                <c:pt idx="41192">
                  <c:v>-3.4453781512605003E-2</c:v>
                </c:pt>
                <c:pt idx="41193">
                  <c:v>-3.4453781512605003E-2</c:v>
                </c:pt>
                <c:pt idx="41194">
                  <c:v>-3.4453781512605003E-2</c:v>
                </c:pt>
                <c:pt idx="41195">
                  <c:v>-3.4453781512605003E-2</c:v>
                </c:pt>
                <c:pt idx="41196">
                  <c:v>-3.4453781512605003E-2</c:v>
                </c:pt>
                <c:pt idx="41197">
                  <c:v>-3.4453781512605003E-2</c:v>
                </c:pt>
                <c:pt idx="41198">
                  <c:v>-3.4453781512605003E-2</c:v>
                </c:pt>
                <c:pt idx="41199">
                  <c:v>-3.4453781512605003E-2</c:v>
                </c:pt>
                <c:pt idx="41200">
                  <c:v>-3.4453781512605003E-2</c:v>
                </c:pt>
                <c:pt idx="41201">
                  <c:v>-3.4453781512605003E-2</c:v>
                </c:pt>
                <c:pt idx="41202">
                  <c:v>-3.4453781512605003E-2</c:v>
                </c:pt>
                <c:pt idx="41203">
                  <c:v>-3.4453781512605003E-2</c:v>
                </c:pt>
                <c:pt idx="41204">
                  <c:v>-3.4453781512605003E-2</c:v>
                </c:pt>
                <c:pt idx="41205">
                  <c:v>-3.4453781512605003E-2</c:v>
                </c:pt>
                <c:pt idx="41206">
                  <c:v>-3.4453781512605003E-2</c:v>
                </c:pt>
                <c:pt idx="41207">
                  <c:v>-3.4453781512605003E-2</c:v>
                </c:pt>
                <c:pt idx="41208">
                  <c:v>-3.4453781512605003E-2</c:v>
                </c:pt>
                <c:pt idx="41209">
                  <c:v>-3.4453781512605003E-2</c:v>
                </c:pt>
                <c:pt idx="41210">
                  <c:v>-3.4453781512605003E-2</c:v>
                </c:pt>
                <c:pt idx="41211">
                  <c:v>-3.4453781512605003E-2</c:v>
                </c:pt>
                <c:pt idx="41212">
                  <c:v>-3.4453781512605003E-2</c:v>
                </c:pt>
                <c:pt idx="41213">
                  <c:v>-3.4453781512605003E-2</c:v>
                </c:pt>
                <c:pt idx="41214">
                  <c:v>-3.4453781512605003E-2</c:v>
                </c:pt>
                <c:pt idx="41215">
                  <c:v>-3.4453781512605003E-2</c:v>
                </c:pt>
                <c:pt idx="41216">
                  <c:v>-3.4453781512605003E-2</c:v>
                </c:pt>
                <c:pt idx="41217">
                  <c:v>-3.4453781512605003E-2</c:v>
                </c:pt>
                <c:pt idx="41218">
                  <c:v>-3.4453781512605003E-2</c:v>
                </c:pt>
                <c:pt idx="41219">
                  <c:v>-3.4453781512605003E-2</c:v>
                </c:pt>
                <c:pt idx="41220">
                  <c:v>-3.4453781512605003E-2</c:v>
                </c:pt>
                <c:pt idx="41221">
                  <c:v>-3.4453781512605003E-2</c:v>
                </c:pt>
                <c:pt idx="41222">
                  <c:v>-3.4453781512605003E-2</c:v>
                </c:pt>
                <c:pt idx="41223">
                  <c:v>-3.4453781512605003E-2</c:v>
                </c:pt>
                <c:pt idx="41224">
                  <c:v>-3.4453781512605003E-2</c:v>
                </c:pt>
                <c:pt idx="41225">
                  <c:v>-3.4453781512605003E-2</c:v>
                </c:pt>
                <c:pt idx="41226">
                  <c:v>-3.4453781512605003E-2</c:v>
                </c:pt>
                <c:pt idx="41227">
                  <c:v>-3.4453781512605003E-2</c:v>
                </c:pt>
                <c:pt idx="41228">
                  <c:v>-3.4453781512605003E-2</c:v>
                </c:pt>
                <c:pt idx="41229">
                  <c:v>-3.4453781512605003E-2</c:v>
                </c:pt>
                <c:pt idx="41230">
                  <c:v>-3.4453781512605003E-2</c:v>
                </c:pt>
                <c:pt idx="41231">
                  <c:v>-3.4453781512605003E-2</c:v>
                </c:pt>
                <c:pt idx="41232">
                  <c:v>-3.4453781512605003E-2</c:v>
                </c:pt>
                <c:pt idx="41233">
                  <c:v>-3.4453781512605003E-2</c:v>
                </c:pt>
                <c:pt idx="41234">
                  <c:v>-3.4453781512605003E-2</c:v>
                </c:pt>
                <c:pt idx="41235">
                  <c:v>-3.4453781512605003E-2</c:v>
                </c:pt>
                <c:pt idx="41236">
                  <c:v>-3.4453781512605003E-2</c:v>
                </c:pt>
                <c:pt idx="41237">
                  <c:v>-3.4453781512605003E-2</c:v>
                </c:pt>
                <c:pt idx="41238">
                  <c:v>-3.4453781512605003E-2</c:v>
                </c:pt>
                <c:pt idx="41239">
                  <c:v>-3.4453781512605003E-2</c:v>
                </c:pt>
                <c:pt idx="41240">
                  <c:v>-3.4453781512605003E-2</c:v>
                </c:pt>
                <c:pt idx="41241">
                  <c:v>-3.4453781512605003E-2</c:v>
                </c:pt>
                <c:pt idx="41242">
                  <c:v>-3.4453781512605003E-2</c:v>
                </c:pt>
                <c:pt idx="41243">
                  <c:v>-3.4453781512605003E-2</c:v>
                </c:pt>
                <c:pt idx="41244">
                  <c:v>-3.4453781512605003E-2</c:v>
                </c:pt>
                <c:pt idx="41245">
                  <c:v>-3.4453781512605003E-2</c:v>
                </c:pt>
                <c:pt idx="41246">
                  <c:v>-3.4453781512605003E-2</c:v>
                </c:pt>
                <c:pt idx="41247">
                  <c:v>-3.4453781512605003E-2</c:v>
                </c:pt>
                <c:pt idx="41248">
                  <c:v>-3.4453781512605003E-2</c:v>
                </c:pt>
                <c:pt idx="41249">
                  <c:v>-3.4453781512605003E-2</c:v>
                </c:pt>
                <c:pt idx="41250">
                  <c:v>-3.4453781512605003E-2</c:v>
                </c:pt>
                <c:pt idx="41251">
                  <c:v>-3.4453781512605003E-2</c:v>
                </c:pt>
                <c:pt idx="41252">
                  <c:v>-3.4453781512605003E-2</c:v>
                </c:pt>
                <c:pt idx="41253">
                  <c:v>-3.4453781512605003E-2</c:v>
                </c:pt>
                <c:pt idx="41254">
                  <c:v>-3.4453781512605003E-2</c:v>
                </c:pt>
                <c:pt idx="41255">
                  <c:v>-3.4453781512605003E-2</c:v>
                </c:pt>
                <c:pt idx="41256">
                  <c:v>-3.4453781512605003E-2</c:v>
                </c:pt>
                <c:pt idx="41257">
                  <c:v>-3.4453781512605003E-2</c:v>
                </c:pt>
                <c:pt idx="41258">
                  <c:v>-3.4453781512605003E-2</c:v>
                </c:pt>
                <c:pt idx="41259">
                  <c:v>-3.4453781512605003E-2</c:v>
                </c:pt>
                <c:pt idx="41260">
                  <c:v>-3.4453781512605003E-2</c:v>
                </c:pt>
                <c:pt idx="41261">
                  <c:v>-3.4453781512605003E-2</c:v>
                </c:pt>
                <c:pt idx="41262">
                  <c:v>-3.4453781512605003E-2</c:v>
                </c:pt>
                <c:pt idx="41263">
                  <c:v>-3.4453781512605003E-2</c:v>
                </c:pt>
                <c:pt idx="41264">
                  <c:v>-3.4453781512605003E-2</c:v>
                </c:pt>
                <c:pt idx="41265">
                  <c:v>-3.4453781512605003E-2</c:v>
                </c:pt>
                <c:pt idx="41266">
                  <c:v>-3.4453781512605003E-2</c:v>
                </c:pt>
                <c:pt idx="41267">
                  <c:v>-3.4453781512605003E-2</c:v>
                </c:pt>
                <c:pt idx="41268">
                  <c:v>-3.4453781512605003E-2</c:v>
                </c:pt>
                <c:pt idx="41269">
                  <c:v>-3.4453781512605003E-2</c:v>
                </c:pt>
                <c:pt idx="41270">
                  <c:v>-3.4453781512605003E-2</c:v>
                </c:pt>
                <c:pt idx="41271">
                  <c:v>-3.4453781512605003E-2</c:v>
                </c:pt>
                <c:pt idx="41272">
                  <c:v>-3.4453781512605003E-2</c:v>
                </c:pt>
                <c:pt idx="41273">
                  <c:v>-3.4453781512605003E-2</c:v>
                </c:pt>
                <c:pt idx="41274">
                  <c:v>-3.4453781512605003E-2</c:v>
                </c:pt>
                <c:pt idx="41275">
                  <c:v>-3.4453781512605003E-2</c:v>
                </c:pt>
                <c:pt idx="41276">
                  <c:v>-3.4453781512605003E-2</c:v>
                </c:pt>
                <c:pt idx="41277">
                  <c:v>-3.4453781512605003E-2</c:v>
                </c:pt>
                <c:pt idx="41278">
                  <c:v>-3.4453781512605003E-2</c:v>
                </c:pt>
                <c:pt idx="41279">
                  <c:v>-3.4453781512605003E-2</c:v>
                </c:pt>
                <c:pt idx="41280">
                  <c:v>-3.4453781512605003E-2</c:v>
                </c:pt>
                <c:pt idx="41281">
                  <c:v>-3.4453781512605003E-2</c:v>
                </c:pt>
                <c:pt idx="41282">
                  <c:v>-3.4453781512605003E-2</c:v>
                </c:pt>
                <c:pt idx="41283">
                  <c:v>-3.3613445378151197E-2</c:v>
                </c:pt>
                <c:pt idx="41284">
                  <c:v>-3.3613445378151197E-2</c:v>
                </c:pt>
                <c:pt idx="41285">
                  <c:v>-3.3613445378151197E-2</c:v>
                </c:pt>
                <c:pt idx="41286">
                  <c:v>-3.3613445378151197E-2</c:v>
                </c:pt>
                <c:pt idx="41287">
                  <c:v>-3.3613445378151197E-2</c:v>
                </c:pt>
                <c:pt idx="41288">
                  <c:v>-3.3613445378151197E-2</c:v>
                </c:pt>
                <c:pt idx="41289">
                  <c:v>-3.3613445378151197E-2</c:v>
                </c:pt>
                <c:pt idx="41290">
                  <c:v>-3.3613445378151197E-2</c:v>
                </c:pt>
                <c:pt idx="41291">
                  <c:v>-3.3613445378151197E-2</c:v>
                </c:pt>
                <c:pt idx="41292">
                  <c:v>-3.3613445378151197E-2</c:v>
                </c:pt>
                <c:pt idx="41293">
                  <c:v>-3.3613445378151197E-2</c:v>
                </c:pt>
                <c:pt idx="41294">
                  <c:v>-3.3613445378151197E-2</c:v>
                </c:pt>
                <c:pt idx="41295">
                  <c:v>-3.3613445378151197E-2</c:v>
                </c:pt>
                <c:pt idx="41296">
                  <c:v>-3.3613445378151197E-2</c:v>
                </c:pt>
                <c:pt idx="41297">
                  <c:v>-3.3613445378151197E-2</c:v>
                </c:pt>
                <c:pt idx="41298">
                  <c:v>-3.3613445378151197E-2</c:v>
                </c:pt>
                <c:pt idx="41299">
                  <c:v>-3.3613445378151197E-2</c:v>
                </c:pt>
                <c:pt idx="41300">
                  <c:v>-3.3613445378151197E-2</c:v>
                </c:pt>
                <c:pt idx="41301">
                  <c:v>-3.3613445378151197E-2</c:v>
                </c:pt>
                <c:pt idx="41302">
                  <c:v>-3.3613445378151197E-2</c:v>
                </c:pt>
                <c:pt idx="41303">
                  <c:v>-3.3613445378151197E-2</c:v>
                </c:pt>
                <c:pt idx="41304">
                  <c:v>-3.3613445378151197E-2</c:v>
                </c:pt>
                <c:pt idx="41305">
                  <c:v>-3.3613445378151197E-2</c:v>
                </c:pt>
                <c:pt idx="41306">
                  <c:v>-3.3613445378151197E-2</c:v>
                </c:pt>
                <c:pt idx="41307">
                  <c:v>-3.3613445378151197E-2</c:v>
                </c:pt>
                <c:pt idx="41308">
                  <c:v>-3.3613445378151197E-2</c:v>
                </c:pt>
                <c:pt idx="41309">
                  <c:v>-3.3613445378151197E-2</c:v>
                </c:pt>
                <c:pt idx="41310">
                  <c:v>-3.3613445378151197E-2</c:v>
                </c:pt>
                <c:pt idx="41311">
                  <c:v>-3.3613445378151197E-2</c:v>
                </c:pt>
                <c:pt idx="41312">
                  <c:v>-3.3613445378151197E-2</c:v>
                </c:pt>
                <c:pt idx="41313">
                  <c:v>-3.3613445378151197E-2</c:v>
                </c:pt>
                <c:pt idx="41314">
                  <c:v>-3.3613445378151197E-2</c:v>
                </c:pt>
                <c:pt idx="41315">
                  <c:v>-3.3613445378151197E-2</c:v>
                </c:pt>
                <c:pt idx="41316">
                  <c:v>-3.3613445378151197E-2</c:v>
                </c:pt>
                <c:pt idx="41317">
                  <c:v>-3.2773109243697397E-2</c:v>
                </c:pt>
                <c:pt idx="41318">
                  <c:v>-3.2773109243697397E-2</c:v>
                </c:pt>
                <c:pt idx="41319">
                  <c:v>-3.2773109243697397E-2</c:v>
                </c:pt>
                <c:pt idx="41320">
                  <c:v>-3.2773109243697397E-2</c:v>
                </c:pt>
                <c:pt idx="41321">
                  <c:v>-3.2773109243697397E-2</c:v>
                </c:pt>
                <c:pt idx="41322">
                  <c:v>-3.2773109243697397E-2</c:v>
                </c:pt>
                <c:pt idx="41323">
                  <c:v>-3.2773109243697397E-2</c:v>
                </c:pt>
                <c:pt idx="41324">
                  <c:v>-3.2773109243697397E-2</c:v>
                </c:pt>
                <c:pt idx="41325">
                  <c:v>-3.2773109243697397E-2</c:v>
                </c:pt>
                <c:pt idx="41326">
                  <c:v>-3.2773109243697397E-2</c:v>
                </c:pt>
                <c:pt idx="41327">
                  <c:v>-3.2773109243697397E-2</c:v>
                </c:pt>
                <c:pt idx="41328">
                  <c:v>-3.2773109243697397E-2</c:v>
                </c:pt>
                <c:pt idx="41329">
                  <c:v>-3.2773109243697397E-2</c:v>
                </c:pt>
                <c:pt idx="41330">
                  <c:v>-3.2773109243697397E-2</c:v>
                </c:pt>
                <c:pt idx="41331">
                  <c:v>-3.2773109243697397E-2</c:v>
                </c:pt>
                <c:pt idx="41332">
                  <c:v>-3.2773109243697397E-2</c:v>
                </c:pt>
                <c:pt idx="41333">
                  <c:v>-3.2773109243697397E-2</c:v>
                </c:pt>
                <c:pt idx="41334">
                  <c:v>-3.2773109243697397E-2</c:v>
                </c:pt>
                <c:pt idx="41335">
                  <c:v>-3.2773109243697397E-2</c:v>
                </c:pt>
                <c:pt idx="41336">
                  <c:v>-3.2773109243697397E-2</c:v>
                </c:pt>
                <c:pt idx="41337">
                  <c:v>-3.2773109243697397E-2</c:v>
                </c:pt>
                <c:pt idx="41338">
                  <c:v>-3.2773109243697397E-2</c:v>
                </c:pt>
                <c:pt idx="41339">
                  <c:v>-3.2773109243697397E-2</c:v>
                </c:pt>
                <c:pt idx="41340">
                  <c:v>-3.2773109243697397E-2</c:v>
                </c:pt>
                <c:pt idx="41341">
                  <c:v>-3.2773109243697397E-2</c:v>
                </c:pt>
                <c:pt idx="41342">
                  <c:v>-3.2773109243697397E-2</c:v>
                </c:pt>
                <c:pt idx="41343">
                  <c:v>-3.2773109243697397E-2</c:v>
                </c:pt>
                <c:pt idx="41344">
                  <c:v>-3.2773109243697397E-2</c:v>
                </c:pt>
                <c:pt idx="41345">
                  <c:v>-3.2773109243697397E-2</c:v>
                </c:pt>
                <c:pt idx="41346">
                  <c:v>-3.2773109243697397E-2</c:v>
                </c:pt>
                <c:pt idx="41347">
                  <c:v>-3.2773109243697397E-2</c:v>
                </c:pt>
                <c:pt idx="41348">
                  <c:v>-3.2773109243697397E-2</c:v>
                </c:pt>
                <c:pt idx="41349">
                  <c:v>-3.2773109243697397E-2</c:v>
                </c:pt>
                <c:pt idx="41350">
                  <c:v>-3.2773109243697397E-2</c:v>
                </c:pt>
                <c:pt idx="41351">
                  <c:v>-3.2773109243697397E-2</c:v>
                </c:pt>
                <c:pt idx="41352">
                  <c:v>-3.2773109243697397E-2</c:v>
                </c:pt>
                <c:pt idx="41353">
                  <c:v>-3.2773109243697397E-2</c:v>
                </c:pt>
                <c:pt idx="41354">
                  <c:v>-3.2773109243697397E-2</c:v>
                </c:pt>
                <c:pt idx="41355">
                  <c:v>-3.2773109243697397E-2</c:v>
                </c:pt>
                <c:pt idx="41356">
                  <c:v>-3.2773109243697397E-2</c:v>
                </c:pt>
                <c:pt idx="41357">
                  <c:v>-3.2773109243697397E-2</c:v>
                </c:pt>
                <c:pt idx="41358">
                  <c:v>-3.2773109243697397E-2</c:v>
                </c:pt>
                <c:pt idx="41359">
                  <c:v>-3.2773109243697397E-2</c:v>
                </c:pt>
                <c:pt idx="41360">
                  <c:v>-3.2773109243697397E-2</c:v>
                </c:pt>
                <c:pt idx="41361">
                  <c:v>-3.2773109243697397E-2</c:v>
                </c:pt>
                <c:pt idx="41362">
                  <c:v>-3.2773109243697397E-2</c:v>
                </c:pt>
                <c:pt idx="41363">
                  <c:v>-3.2773109243697397E-2</c:v>
                </c:pt>
                <c:pt idx="41364">
                  <c:v>-3.2773109243697397E-2</c:v>
                </c:pt>
                <c:pt idx="41365">
                  <c:v>-3.2773109243697397E-2</c:v>
                </c:pt>
                <c:pt idx="41366">
                  <c:v>-3.2773109243697397E-2</c:v>
                </c:pt>
                <c:pt idx="41367">
                  <c:v>-3.2773109243697397E-2</c:v>
                </c:pt>
                <c:pt idx="41368">
                  <c:v>-3.2773109243697397E-2</c:v>
                </c:pt>
                <c:pt idx="41369">
                  <c:v>-3.2773109243697397E-2</c:v>
                </c:pt>
                <c:pt idx="41370">
                  <c:v>-3.2773109243697397E-2</c:v>
                </c:pt>
                <c:pt idx="41371">
                  <c:v>-3.2773109243697397E-2</c:v>
                </c:pt>
                <c:pt idx="41372">
                  <c:v>-3.2773109243697397E-2</c:v>
                </c:pt>
                <c:pt idx="41373">
                  <c:v>-3.2773109243697397E-2</c:v>
                </c:pt>
                <c:pt idx="41374">
                  <c:v>-3.2773109243697397E-2</c:v>
                </c:pt>
                <c:pt idx="41375">
                  <c:v>-3.2773109243697397E-2</c:v>
                </c:pt>
                <c:pt idx="41376">
                  <c:v>-3.2773109243697397E-2</c:v>
                </c:pt>
                <c:pt idx="41377">
                  <c:v>-3.2773109243697397E-2</c:v>
                </c:pt>
                <c:pt idx="41378">
                  <c:v>-3.2773109243697397E-2</c:v>
                </c:pt>
                <c:pt idx="41379">
                  <c:v>-3.2773109243697397E-2</c:v>
                </c:pt>
                <c:pt idx="41380">
                  <c:v>-3.2773109243697397E-2</c:v>
                </c:pt>
                <c:pt idx="41381">
                  <c:v>-3.2773109243697397E-2</c:v>
                </c:pt>
                <c:pt idx="41382">
                  <c:v>-3.2773109243697397E-2</c:v>
                </c:pt>
                <c:pt idx="41383">
                  <c:v>-3.2773109243697397E-2</c:v>
                </c:pt>
                <c:pt idx="41384">
                  <c:v>-3.2773109243697397E-2</c:v>
                </c:pt>
                <c:pt idx="41385">
                  <c:v>-3.2773109243697397E-2</c:v>
                </c:pt>
                <c:pt idx="41386">
                  <c:v>-3.2773109243697397E-2</c:v>
                </c:pt>
                <c:pt idx="41387">
                  <c:v>-3.2773109243697397E-2</c:v>
                </c:pt>
                <c:pt idx="41388">
                  <c:v>-3.2773109243697397E-2</c:v>
                </c:pt>
                <c:pt idx="41389">
                  <c:v>-3.2773109243697397E-2</c:v>
                </c:pt>
                <c:pt idx="41390">
                  <c:v>-3.2773109243697397E-2</c:v>
                </c:pt>
                <c:pt idx="41391">
                  <c:v>-3.1932773109243598E-2</c:v>
                </c:pt>
                <c:pt idx="41392">
                  <c:v>-3.1932773109243598E-2</c:v>
                </c:pt>
                <c:pt idx="41393">
                  <c:v>-3.1932773109243598E-2</c:v>
                </c:pt>
                <c:pt idx="41394">
                  <c:v>-3.1932773109243598E-2</c:v>
                </c:pt>
                <c:pt idx="41395">
                  <c:v>-3.1932773109243598E-2</c:v>
                </c:pt>
                <c:pt idx="41396">
                  <c:v>-3.1932773109243598E-2</c:v>
                </c:pt>
                <c:pt idx="41397">
                  <c:v>-3.1932773109243598E-2</c:v>
                </c:pt>
                <c:pt idx="41398">
                  <c:v>-3.1932773109243598E-2</c:v>
                </c:pt>
                <c:pt idx="41399">
                  <c:v>-3.1932773109243598E-2</c:v>
                </c:pt>
                <c:pt idx="41400">
                  <c:v>-3.1932773109243598E-2</c:v>
                </c:pt>
                <c:pt idx="41401">
                  <c:v>-3.1932773109243598E-2</c:v>
                </c:pt>
                <c:pt idx="41402">
                  <c:v>-3.1932773109243598E-2</c:v>
                </c:pt>
                <c:pt idx="41403">
                  <c:v>-3.1932773109243598E-2</c:v>
                </c:pt>
                <c:pt idx="41404">
                  <c:v>-3.1932773109243598E-2</c:v>
                </c:pt>
                <c:pt idx="41405">
                  <c:v>-3.1932773109243598E-2</c:v>
                </c:pt>
                <c:pt idx="41406">
                  <c:v>-3.1932773109243598E-2</c:v>
                </c:pt>
                <c:pt idx="41407">
                  <c:v>-3.1932773109243598E-2</c:v>
                </c:pt>
                <c:pt idx="41408">
                  <c:v>-3.1932773109243598E-2</c:v>
                </c:pt>
                <c:pt idx="41409">
                  <c:v>-3.1932773109243598E-2</c:v>
                </c:pt>
                <c:pt idx="41410">
                  <c:v>-3.1932773109243598E-2</c:v>
                </c:pt>
                <c:pt idx="41411">
                  <c:v>-3.1932773109243598E-2</c:v>
                </c:pt>
                <c:pt idx="41412">
                  <c:v>-3.1932773109243598E-2</c:v>
                </c:pt>
                <c:pt idx="41413">
                  <c:v>-3.1932773109243598E-2</c:v>
                </c:pt>
                <c:pt idx="41414">
                  <c:v>-3.1932773109243598E-2</c:v>
                </c:pt>
                <c:pt idx="41415">
                  <c:v>-3.1932773109243598E-2</c:v>
                </c:pt>
                <c:pt idx="41416">
                  <c:v>-3.1932773109243598E-2</c:v>
                </c:pt>
                <c:pt idx="41417">
                  <c:v>-3.1932773109243598E-2</c:v>
                </c:pt>
                <c:pt idx="41418">
                  <c:v>-3.1932773109243598E-2</c:v>
                </c:pt>
                <c:pt idx="41419">
                  <c:v>-3.1932773109243598E-2</c:v>
                </c:pt>
                <c:pt idx="41420">
                  <c:v>-3.1932773109243598E-2</c:v>
                </c:pt>
                <c:pt idx="41421">
                  <c:v>-3.1932773109243598E-2</c:v>
                </c:pt>
                <c:pt idx="41422">
                  <c:v>-3.1932773109243598E-2</c:v>
                </c:pt>
                <c:pt idx="41423">
                  <c:v>-3.1932773109243598E-2</c:v>
                </c:pt>
                <c:pt idx="41424">
                  <c:v>-3.1932773109243598E-2</c:v>
                </c:pt>
                <c:pt idx="41425">
                  <c:v>-3.1932773109243598E-2</c:v>
                </c:pt>
                <c:pt idx="41426">
                  <c:v>-3.1932773109243598E-2</c:v>
                </c:pt>
                <c:pt idx="41427">
                  <c:v>-3.1932773109243598E-2</c:v>
                </c:pt>
                <c:pt idx="41428">
                  <c:v>-3.1932773109243598E-2</c:v>
                </c:pt>
                <c:pt idx="41429">
                  <c:v>-3.1932773109243598E-2</c:v>
                </c:pt>
                <c:pt idx="41430">
                  <c:v>-3.1932773109243598E-2</c:v>
                </c:pt>
                <c:pt idx="41431">
                  <c:v>-3.1932773109243598E-2</c:v>
                </c:pt>
                <c:pt idx="41432">
                  <c:v>-3.1932773109243598E-2</c:v>
                </c:pt>
                <c:pt idx="41433">
                  <c:v>-3.1932773109243598E-2</c:v>
                </c:pt>
                <c:pt idx="41434">
                  <c:v>-3.2773109243697397E-2</c:v>
                </c:pt>
                <c:pt idx="41435">
                  <c:v>-3.2773109243697397E-2</c:v>
                </c:pt>
                <c:pt idx="41436">
                  <c:v>-3.2773109243697397E-2</c:v>
                </c:pt>
                <c:pt idx="41437">
                  <c:v>-3.2773109243697397E-2</c:v>
                </c:pt>
                <c:pt idx="41438">
                  <c:v>-3.2773109243697397E-2</c:v>
                </c:pt>
                <c:pt idx="41439">
                  <c:v>-3.2773109243697397E-2</c:v>
                </c:pt>
                <c:pt idx="41440">
                  <c:v>-3.2773109243697397E-2</c:v>
                </c:pt>
                <c:pt idx="41441">
                  <c:v>-3.2773109243697397E-2</c:v>
                </c:pt>
                <c:pt idx="41442">
                  <c:v>-3.2773109243697397E-2</c:v>
                </c:pt>
                <c:pt idx="41443">
                  <c:v>-3.2773109243697397E-2</c:v>
                </c:pt>
                <c:pt idx="41444">
                  <c:v>-3.2773109243697397E-2</c:v>
                </c:pt>
                <c:pt idx="41445">
                  <c:v>-3.2773109243697397E-2</c:v>
                </c:pt>
                <c:pt idx="41446">
                  <c:v>-3.1932773109243598E-2</c:v>
                </c:pt>
                <c:pt idx="41447">
                  <c:v>-3.1932773109243598E-2</c:v>
                </c:pt>
                <c:pt idx="41448">
                  <c:v>-3.1932773109243598E-2</c:v>
                </c:pt>
                <c:pt idx="41449">
                  <c:v>-3.1932773109243598E-2</c:v>
                </c:pt>
                <c:pt idx="41450">
                  <c:v>-3.1932773109243598E-2</c:v>
                </c:pt>
                <c:pt idx="41451">
                  <c:v>-3.1932773109243598E-2</c:v>
                </c:pt>
                <c:pt idx="41452">
                  <c:v>-3.1932773109243598E-2</c:v>
                </c:pt>
                <c:pt idx="41453">
                  <c:v>-3.1932773109243598E-2</c:v>
                </c:pt>
                <c:pt idx="41454">
                  <c:v>-3.1932773109243598E-2</c:v>
                </c:pt>
                <c:pt idx="41455">
                  <c:v>-3.1932773109243598E-2</c:v>
                </c:pt>
                <c:pt idx="41456">
                  <c:v>-3.1932773109243598E-2</c:v>
                </c:pt>
                <c:pt idx="41457">
                  <c:v>-3.1932773109243598E-2</c:v>
                </c:pt>
                <c:pt idx="41458">
                  <c:v>-3.1932773109243598E-2</c:v>
                </c:pt>
                <c:pt idx="41459">
                  <c:v>-3.1932773109243598E-2</c:v>
                </c:pt>
                <c:pt idx="41460">
                  <c:v>-3.1932773109243598E-2</c:v>
                </c:pt>
                <c:pt idx="41461">
                  <c:v>-3.1932773109243598E-2</c:v>
                </c:pt>
                <c:pt idx="41462">
                  <c:v>-3.1932773109243598E-2</c:v>
                </c:pt>
                <c:pt idx="41463">
                  <c:v>-3.1932773109243598E-2</c:v>
                </c:pt>
                <c:pt idx="41464">
                  <c:v>-3.1092436974789899E-2</c:v>
                </c:pt>
                <c:pt idx="41465">
                  <c:v>-3.1092436974789899E-2</c:v>
                </c:pt>
                <c:pt idx="41466">
                  <c:v>-3.1092436974789899E-2</c:v>
                </c:pt>
                <c:pt idx="41467">
                  <c:v>-3.1092436974789899E-2</c:v>
                </c:pt>
                <c:pt idx="41468">
                  <c:v>-3.1092436974789899E-2</c:v>
                </c:pt>
                <c:pt idx="41469">
                  <c:v>-3.1092436974789899E-2</c:v>
                </c:pt>
                <c:pt idx="41470">
                  <c:v>-3.1092436974789899E-2</c:v>
                </c:pt>
                <c:pt idx="41471">
                  <c:v>-3.1092436974789899E-2</c:v>
                </c:pt>
                <c:pt idx="41472">
                  <c:v>-3.1092436974789899E-2</c:v>
                </c:pt>
                <c:pt idx="41473">
                  <c:v>-3.1092436974789899E-2</c:v>
                </c:pt>
                <c:pt idx="41474">
                  <c:v>-3.1092436974789899E-2</c:v>
                </c:pt>
                <c:pt idx="41475">
                  <c:v>-3.1092436974789899E-2</c:v>
                </c:pt>
                <c:pt idx="41476">
                  <c:v>-3.1092436974789899E-2</c:v>
                </c:pt>
                <c:pt idx="41477">
                  <c:v>-3.1092436974789899E-2</c:v>
                </c:pt>
                <c:pt idx="41478">
                  <c:v>-3.1092436974789899E-2</c:v>
                </c:pt>
                <c:pt idx="41479">
                  <c:v>-3.1092436974789899E-2</c:v>
                </c:pt>
                <c:pt idx="41480">
                  <c:v>-3.1092436974789899E-2</c:v>
                </c:pt>
                <c:pt idx="41481">
                  <c:v>-3.1092436974789899E-2</c:v>
                </c:pt>
                <c:pt idx="41482">
                  <c:v>-3.1092436974789899E-2</c:v>
                </c:pt>
                <c:pt idx="41483">
                  <c:v>-3.1092436974789899E-2</c:v>
                </c:pt>
                <c:pt idx="41484">
                  <c:v>-3.1092436974789899E-2</c:v>
                </c:pt>
                <c:pt idx="41485">
                  <c:v>-3.1092436974789899E-2</c:v>
                </c:pt>
                <c:pt idx="41486">
                  <c:v>-3.1092436974789899E-2</c:v>
                </c:pt>
                <c:pt idx="41487">
                  <c:v>-3.1092436974789899E-2</c:v>
                </c:pt>
                <c:pt idx="41488">
                  <c:v>-3.1092436974789899E-2</c:v>
                </c:pt>
                <c:pt idx="41489">
                  <c:v>-3.1092436974789899E-2</c:v>
                </c:pt>
                <c:pt idx="41490">
                  <c:v>-3.1092436974789899E-2</c:v>
                </c:pt>
                <c:pt idx="41491">
                  <c:v>-3.1092436974789899E-2</c:v>
                </c:pt>
                <c:pt idx="41492">
                  <c:v>-3.1092436974789899E-2</c:v>
                </c:pt>
                <c:pt idx="41493">
                  <c:v>-3.1092436974789899E-2</c:v>
                </c:pt>
                <c:pt idx="41494">
                  <c:v>-3.1092436974789899E-2</c:v>
                </c:pt>
                <c:pt idx="41495">
                  <c:v>-3.1092436974789899E-2</c:v>
                </c:pt>
                <c:pt idx="41496">
                  <c:v>-3.1092436974789899E-2</c:v>
                </c:pt>
                <c:pt idx="41497">
                  <c:v>-3.1092436974789899E-2</c:v>
                </c:pt>
                <c:pt idx="41498">
                  <c:v>-3.1092436974789899E-2</c:v>
                </c:pt>
                <c:pt idx="41499">
                  <c:v>-3.1092436974789899E-2</c:v>
                </c:pt>
                <c:pt idx="41500">
                  <c:v>-3.1092436974789899E-2</c:v>
                </c:pt>
                <c:pt idx="41501">
                  <c:v>-3.1092436974789899E-2</c:v>
                </c:pt>
                <c:pt idx="41502">
                  <c:v>-3.1092436974789899E-2</c:v>
                </c:pt>
                <c:pt idx="41503">
                  <c:v>-3.1092436974789899E-2</c:v>
                </c:pt>
                <c:pt idx="41504">
                  <c:v>-3.1092436974789899E-2</c:v>
                </c:pt>
                <c:pt idx="41505">
                  <c:v>-3.1092436974789899E-2</c:v>
                </c:pt>
                <c:pt idx="41506">
                  <c:v>-3.1092436974789899E-2</c:v>
                </c:pt>
                <c:pt idx="41507">
                  <c:v>-3.1092436974789899E-2</c:v>
                </c:pt>
                <c:pt idx="41508">
                  <c:v>-3.1092436974789899E-2</c:v>
                </c:pt>
                <c:pt idx="41509">
                  <c:v>-3.1092436974789899E-2</c:v>
                </c:pt>
                <c:pt idx="41510">
                  <c:v>-3.1092436974789899E-2</c:v>
                </c:pt>
                <c:pt idx="41511">
                  <c:v>-3.1092436974789899E-2</c:v>
                </c:pt>
                <c:pt idx="41512">
                  <c:v>-3.1092436974789899E-2</c:v>
                </c:pt>
                <c:pt idx="41513">
                  <c:v>-3.1092436974789899E-2</c:v>
                </c:pt>
                <c:pt idx="41514">
                  <c:v>-3.1092436974789899E-2</c:v>
                </c:pt>
                <c:pt idx="41515">
                  <c:v>-3.1092436974789899E-2</c:v>
                </c:pt>
                <c:pt idx="41516">
                  <c:v>-3.1092436974789899E-2</c:v>
                </c:pt>
                <c:pt idx="41517">
                  <c:v>-3.1092436974789899E-2</c:v>
                </c:pt>
                <c:pt idx="41518">
                  <c:v>-3.1092436974789899E-2</c:v>
                </c:pt>
                <c:pt idx="41519">
                  <c:v>-3.1092436974789899E-2</c:v>
                </c:pt>
                <c:pt idx="41520">
                  <c:v>-3.1092436974789899E-2</c:v>
                </c:pt>
                <c:pt idx="41521">
                  <c:v>-3.1092436974789899E-2</c:v>
                </c:pt>
                <c:pt idx="41522">
                  <c:v>-3.1092436974789899E-2</c:v>
                </c:pt>
                <c:pt idx="41523">
                  <c:v>-3.1092436974789899E-2</c:v>
                </c:pt>
                <c:pt idx="41524">
                  <c:v>-3.1092436974789899E-2</c:v>
                </c:pt>
                <c:pt idx="41525">
                  <c:v>-3.1092436974789899E-2</c:v>
                </c:pt>
                <c:pt idx="41526">
                  <c:v>-3.1092436974789899E-2</c:v>
                </c:pt>
                <c:pt idx="41527">
                  <c:v>-3.1092436974789899E-2</c:v>
                </c:pt>
                <c:pt idx="41528">
                  <c:v>-3.1092436974789899E-2</c:v>
                </c:pt>
                <c:pt idx="41529">
                  <c:v>-3.1092436974789899E-2</c:v>
                </c:pt>
                <c:pt idx="41530">
                  <c:v>-3.1092436974789899E-2</c:v>
                </c:pt>
                <c:pt idx="41531">
                  <c:v>-3.1092436974789899E-2</c:v>
                </c:pt>
                <c:pt idx="41532">
                  <c:v>-3.1092436974789899E-2</c:v>
                </c:pt>
                <c:pt idx="41533">
                  <c:v>-3.1092436974789899E-2</c:v>
                </c:pt>
                <c:pt idx="41534">
                  <c:v>-3.1092436974789899E-2</c:v>
                </c:pt>
                <c:pt idx="41535">
                  <c:v>-3.1092436974789899E-2</c:v>
                </c:pt>
                <c:pt idx="41536">
                  <c:v>-3.1092436974789899E-2</c:v>
                </c:pt>
                <c:pt idx="41537">
                  <c:v>-3.1092436974789899E-2</c:v>
                </c:pt>
                <c:pt idx="41538">
                  <c:v>-3.1092436974789899E-2</c:v>
                </c:pt>
                <c:pt idx="41539">
                  <c:v>-3.1092436974789899E-2</c:v>
                </c:pt>
                <c:pt idx="41540">
                  <c:v>-3.1092436974789899E-2</c:v>
                </c:pt>
                <c:pt idx="41541">
                  <c:v>-3.1092436974789899E-2</c:v>
                </c:pt>
                <c:pt idx="41542">
                  <c:v>-3.1092436974789899E-2</c:v>
                </c:pt>
                <c:pt idx="41543">
                  <c:v>-3.1092436974789899E-2</c:v>
                </c:pt>
                <c:pt idx="41544">
                  <c:v>-3.1092436974789899E-2</c:v>
                </c:pt>
                <c:pt idx="41545">
                  <c:v>-3.1092436974789899E-2</c:v>
                </c:pt>
                <c:pt idx="41546">
                  <c:v>-3.1092436974789899E-2</c:v>
                </c:pt>
                <c:pt idx="41547">
                  <c:v>-3.1092436974789899E-2</c:v>
                </c:pt>
                <c:pt idx="41548">
                  <c:v>-3.1092436974789899E-2</c:v>
                </c:pt>
                <c:pt idx="41549">
                  <c:v>-3.1092436974789899E-2</c:v>
                </c:pt>
                <c:pt idx="41550">
                  <c:v>-3.1092436974789899E-2</c:v>
                </c:pt>
                <c:pt idx="41551">
                  <c:v>-3.1092436974789899E-2</c:v>
                </c:pt>
                <c:pt idx="41552">
                  <c:v>-3.1092436974789899E-2</c:v>
                </c:pt>
                <c:pt idx="41553">
                  <c:v>-3.1092436974789899E-2</c:v>
                </c:pt>
                <c:pt idx="41554">
                  <c:v>-3.1092436974789899E-2</c:v>
                </c:pt>
                <c:pt idx="41555">
                  <c:v>-3.1092436974789899E-2</c:v>
                </c:pt>
                <c:pt idx="41556">
                  <c:v>-3.1092436974789899E-2</c:v>
                </c:pt>
                <c:pt idx="41557">
                  <c:v>-3.1092436974789899E-2</c:v>
                </c:pt>
                <c:pt idx="41558">
                  <c:v>-3.02521008403361E-2</c:v>
                </c:pt>
                <c:pt idx="41559">
                  <c:v>-3.02521008403361E-2</c:v>
                </c:pt>
                <c:pt idx="41560">
                  <c:v>-3.02521008403361E-2</c:v>
                </c:pt>
                <c:pt idx="41561">
                  <c:v>-3.02521008403361E-2</c:v>
                </c:pt>
                <c:pt idx="41562">
                  <c:v>-3.02521008403361E-2</c:v>
                </c:pt>
                <c:pt idx="41563">
                  <c:v>-3.02521008403361E-2</c:v>
                </c:pt>
                <c:pt idx="41564">
                  <c:v>-3.02521008403361E-2</c:v>
                </c:pt>
                <c:pt idx="41565">
                  <c:v>-3.02521008403361E-2</c:v>
                </c:pt>
                <c:pt idx="41566">
                  <c:v>-3.02521008403361E-2</c:v>
                </c:pt>
                <c:pt idx="41567">
                  <c:v>-3.02521008403361E-2</c:v>
                </c:pt>
                <c:pt idx="41568">
                  <c:v>-3.02521008403361E-2</c:v>
                </c:pt>
                <c:pt idx="41569">
                  <c:v>-3.02521008403361E-2</c:v>
                </c:pt>
                <c:pt idx="41570">
                  <c:v>-3.02521008403361E-2</c:v>
                </c:pt>
                <c:pt idx="41571">
                  <c:v>-3.02521008403361E-2</c:v>
                </c:pt>
                <c:pt idx="41572">
                  <c:v>-3.02521008403361E-2</c:v>
                </c:pt>
                <c:pt idx="41573">
                  <c:v>-3.02521008403361E-2</c:v>
                </c:pt>
                <c:pt idx="41574">
                  <c:v>-3.02521008403361E-2</c:v>
                </c:pt>
                <c:pt idx="41575">
                  <c:v>-3.02521008403361E-2</c:v>
                </c:pt>
                <c:pt idx="41576">
                  <c:v>-3.02521008403361E-2</c:v>
                </c:pt>
                <c:pt idx="41577">
                  <c:v>-3.02521008403361E-2</c:v>
                </c:pt>
                <c:pt idx="41578">
                  <c:v>-3.02521008403361E-2</c:v>
                </c:pt>
                <c:pt idx="41579">
                  <c:v>-3.02521008403361E-2</c:v>
                </c:pt>
                <c:pt idx="41580">
                  <c:v>-3.02521008403361E-2</c:v>
                </c:pt>
                <c:pt idx="41581">
                  <c:v>-3.02521008403361E-2</c:v>
                </c:pt>
                <c:pt idx="41582">
                  <c:v>-3.02521008403361E-2</c:v>
                </c:pt>
                <c:pt idx="41583">
                  <c:v>-3.02521008403361E-2</c:v>
                </c:pt>
                <c:pt idx="41584">
                  <c:v>-3.02521008403361E-2</c:v>
                </c:pt>
                <c:pt idx="41585">
                  <c:v>-3.02521008403361E-2</c:v>
                </c:pt>
                <c:pt idx="41586">
                  <c:v>-3.02521008403361E-2</c:v>
                </c:pt>
                <c:pt idx="41587">
                  <c:v>-3.02521008403361E-2</c:v>
                </c:pt>
                <c:pt idx="41588">
                  <c:v>-3.02521008403361E-2</c:v>
                </c:pt>
                <c:pt idx="41589">
                  <c:v>-3.02521008403361E-2</c:v>
                </c:pt>
                <c:pt idx="41590">
                  <c:v>-3.02521008403361E-2</c:v>
                </c:pt>
                <c:pt idx="41591">
                  <c:v>-3.02521008403361E-2</c:v>
                </c:pt>
                <c:pt idx="41592">
                  <c:v>-3.02521008403361E-2</c:v>
                </c:pt>
                <c:pt idx="41593">
                  <c:v>-3.02521008403361E-2</c:v>
                </c:pt>
                <c:pt idx="41594">
                  <c:v>-3.02521008403361E-2</c:v>
                </c:pt>
                <c:pt idx="41595">
                  <c:v>-3.02521008403361E-2</c:v>
                </c:pt>
                <c:pt idx="41596">
                  <c:v>-3.02521008403361E-2</c:v>
                </c:pt>
                <c:pt idx="41597">
                  <c:v>-3.02521008403361E-2</c:v>
                </c:pt>
                <c:pt idx="41598">
                  <c:v>-3.02521008403361E-2</c:v>
                </c:pt>
                <c:pt idx="41599">
                  <c:v>-3.02521008403361E-2</c:v>
                </c:pt>
                <c:pt idx="41600">
                  <c:v>-3.02521008403361E-2</c:v>
                </c:pt>
                <c:pt idx="41601">
                  <c:v>-3.02521008403361E-2</c:v>
                </c:pt>
                <c:pt idx="41602">
                  <c:v>-3.02521008403361E-2</c:v>
                </c:pt>
                <c:pt idx="41603">
                  <c:v>-3.02521008403361E-2</c:v>
                </c:pt>
                <c:pt idx="41604">
                  <c:v>-3.02521008403361E-2</c:v>
                </c:pt>
                <c:pt idx="41605">
                  <c:v>-3.02521008403361E-2</c:v>
                </c:pt>
                <c:pt idx="41606">
                  <c:v>-3.1092436974789899E-2</c:v>
                </c:pt>
                <c:pt idx="41607">
                  <c:v>-3.1092436974789899E-2</c:v>
                </c:pt>
                <c:pt idx="41608">
                  <c:v>-3.1092436974789899E-2</c:v>
                </c:pt>
                <c:pt idx="41609">
                  <c:v>-3.1092436974789899E-2</c:v>
                </c:pt>
                <c:pt idx="41610">
                  <c:v>-3.1092436974789899E-2</c:v>
                </c:pt>
                <c:pt idx="41611">
                  <c:v>-3.1092436974789899E-2</c:v>
                </c:pt>
                <c:pt idx="41612">
                  <c:v>-3.1092436974789899E-2</c:v>
                </c:pt>
                <c:pt idx="41613">
                  <c:v>-3.1092436974789899E-2</c:v>
                </c:pt>
                <c:pt idx="41614">
                  <c:v>-3.1092436974789899E-2</c:v>
                </c:pt>
                <c:pt idx="41615">
                  <c:v>-3.1092436974789899E-2</c:v>
                </c:pt>
                <c:pt idx="41616">
                  <c:v>-3.1092436974789899E-2</c:v>
                </c:pt>
                <c:pt idx="41617">
                  <c:v>-3.1092436974789899E-2</c:v>
                </c:pt>
                <c:pt idx="41618">
                  <c:v>-3.1092436974789899E-2</c:v>
                </c:pt>
                <c:pt idx="41619">
                  <c:v>-3.1092436974789899E-2</c:v>
                </c:pt>
                <c:pt idx="41620">
                  <c:v>-3.1092436974789899E-2</c:v>
                </c:pt>
                <c:pt idx="41621">
                  <c:v>-3.1092436974789899E-2</c:v>
                </c:pt>
                <c:pt idx="41622">
                  <c:v>-3.1092436974789899E-2</c:v>
                </c:pt>
                <c:pt idx="41623">
                  <c:v>-3.1092436974789899E-2</c:v>
                </c:pt>
                <c:pt idx="41624">
                  <c:v>-3.1092436974789899E-2</c:v>
                </c:pt>
                <c:pt idx="41625">
                  <c:v>-3.1092436974789899E-2</c:v>
                </c:pt>
                <c:pt idx="41626">
                  <c:v>-3.1092436974789899E-2</c:v>
                </c:pt>
                <c:pt idx="41627">
                  <c:v>-3.1092436974789899E-2</c:v>
                </c:pt>
                <c:pt idx="41628">
                  <c:v>-3.1092436974789899E-2</c:v>
                </c:pt>
                <c:pt idx="41629">
                  <c:v>-3.1092436974789899E-2</c:v>
                </c:pt>
                <c:pt idx="41630">
                  <c:v>-3.1092436974789899E-2</c:v>
                </c:pt>
                <c:pt idx="41631">
                  <c:v>-3.1092436974789899E-2</c:v>
                </c:pt>
                <c:pt idx="41632">
                  <c:v>-3.1092436974789899E-2</c:v>
                </c:pt>
                <c:pt idx="41633">
                  <c:v>-3.1092436974789899E-2</c:v>
                </c:pt>
                <c:pt idx="41634">
                  <c:v>-3.1092436974789899E-2</c:v>
                </c:pt>
                <c:pt idx="41635">
                  <c:v>-3.1092436974789899E-2</c:v>
                </c:pt>
                <c:pt idx="41636">
                  <c:v>-3.1092436974789899E-2</c:v>
                </c:pt>
                <c:pt idx="41637">
                  <c:v>-3.1092436974789899E-2</c:v>
                </c:pt>
                <c:pt idx="41638">
                  <c:v>-3.1092436974789899E-2</c:v>
                </c:pt>
                <c:pt idx="41639">
                  <c:v>-3.1092436974789899E-2</c:v>
                </c:pt>
                <c:pt idx="41640">
                  <c:v>-3.1092436974789899E-2</c:v>
                </c:pt>
                <c:pt idx="41641">
                  <c:v>-3.1092436974789899E-2</c:v>
                </c:pt>
                <c:pt idx="41642">
                  <c:v>-3.1092436974789899E-2</c:v>
                </c:pt>
                <c:pt idx="41643">
                  <c:v>-3.1092436974789899E-2</c:v>
                </c:pt>
                <c:pt idx="41644">
                  <c:v>-3.1092436974789899E-2</c:v>
                </c:pt>
                <c:pt idx="41645">
                  <c:v>-3.1092436974789899E-2</c:v>
                </c:pt>
                <c:pt idx="41646">
                  <c:v>-3.1092436974789899E-2</c:v>
                </c:pt>
                <c:pt idx="41647">
                  <c:v>-3.1092436974789899E-2</c:v>
                </c:pt>
                <c:pt idx="41648">
                  <c:v>-3.1092436974789899E-2</c:v>
                </c:pt>
                <c:pt idx="41649">
                  <c:v>-3.1092436974789899E-2</c:v>
                </c:pt>
                <c:pt idx="41650">
                  <c:v>-3.1092436974789899E-2</c:v>
                </c:pt>
                <c:pt idx="41651">
                  <c:v>-3.1092436974789899E-2</c:v>
                </c:pt>
                <c:pt idx="41652">
                  <c:v>-3.1092436974789899E-2</c:v>
                </c:pt>
                <c:pt idx="41653">
                  <c:v>-3.1092436974789899E-2</c:v>
                </c:pt>
                <c:pt idx="41654">
                  <c:v>-3.1092436974789899E-2</c:v>
                </c:pt>
                <c:pt idx="41655">
                  <c:v>-3.1092436974789899E-2</c:v>
                </c:pt>
                <c:pt idx="41656">
                  <c:v>-3.1092436974789899E-2</c:v>
                </c:pt>
                <c:pt idx="41657">
                  <c:v>-3.1092436974789899E-2</c:v>
                </c:pt>
                <c:pt idx="41658">
                  <c:v>-3.1092436974789899E-2</c:v>
                </c:pt>
                <c:pt idx="41659">
                  <c:v>-3.1092436974789899E-2</c:v>
                </c:pt>
                <c:pt idx="41660">
                  <c:v>-3.1092436974789899E-2</c:v>
                </c:pt>
                <c:pt idx="41661">
                  <c:v>-3.1092436974789899E-2</c:v>
                </c:pt>
                <c:pt idx="41662">
                  <c:v>-3.1092436974789899E-2</c:v>
                </c:pt>
                <c:pt idx="41663">
                  <c:v>-3.1092436974789899E-2</c:v>
                </c:pt>
                <c:pt idx="41664">
                  <c:v>-3.1932773109243598E-2</c:v>
                </c:pt>
                <c:pt idx="41665">
                  <c:v>-3.1932773109243598E-2</c:v>
                </c:pt>
                <c:pt idx="41666">
                  <c:v>-3.1932773109243598E-2</c:v>
                </c:pt>
                <c:pt idx="41667">
                  <c:v>-3.1932773109243598E-2</c:v>
                </c:pt>
                <c:pt idx="41668">
                  <c:v>-3.1932773109243598E-2</c:v>
                </c:pt>
                <c:pt idx="41669">
                  <c:v>-3.1932773109243598E-2</c:v>
                </c:pt>
                <c:pt idx="41670">
                  <c:v>-3.1932773109243598E-2</c:v>
                </c:pt>
                <c:pt idx="41671">
                  <c:v>-3.1932773109243598E-2</c:v>
                </c:pt>
                <c:pt idx="41672">
                  <c:v>-3.1932773109243598E-2</c:v>
                </c:pt>
                <c:pt idx="41673">
                  <c:v>-3.1932773109243598E-2</c:v>
                </c:pt>
                <c:pt idx="41674">
                  <c:v>-3.1932773109243598E-2</c:v>
                </c:pt>
                <c:pt idx="41675">
                  <c:v>-3.1932773109243598E-2</c:v>
                </c:pt>
                <c:pt idx="41676">
                  <c:v>-3.1932773109243598E-2</c:v>
                </c:pt>
                <c:pt idx="41677">
                  <c:v>-3.1932773109243598E-2</c:v>
                </c:pt>
                <c:pt idx="41678">
                  <c:v>-3.1932773109243598E-2</c:v>
                </c:pt>
                <c:pt idx="41679">
                  <c:v>-3.1932773109243598E-2</c:v>
                </c:pt>
                <c:pt idx="41680">
                  <c:v>-3.1932773109243598E-2</c:v>
                </c:pt>
                <c:pt idx="41681">
                  <c:v>-3.1932773109243598E-2</c:v>
                </c:pt>
                <c:pt idx="41682">
                  <c:v>-3.1932773109243598E-2</c:v>
                </c:pt>
                <c:pt idx="41683">
                  <c:v>-3.1932773109243598E-2</c:v>
                </c:pt>
                <c:pt idx="41684">
                  <c:v>-3.1932773109243598E-2</c:v>
                </c:pt>
                <c:pt idx="41685">
                  <c:v>-3.1932773109243598E-2</c:v>
                </c:pt>
                <c:pt idx="41686">
                  <c:v>-3.1932773109243598E-2</c:v>
                </c:pt>
                <c:pt idx="41687">
                  <c:v>-3.1932773109243598E-2</c:v>
                </c:pt>
                <c:pt idx="41688">
                  <c:v>-3.1932773109243598E-2</c:v>
                </c:pt>
                <c:pt idx="41689">
                  <c:v>-3.1932773109243598E-2</c:v>
                </c:pt>
                <c:pt idx="41690">
                  <c:v>-3.1932773109243598E-2</c:v>
                </c:pt>
                <c:pt idx="41691">
                  <c:v>-3.1932773109243598E-2</c:v>
                </c:pt>
                <c:pt idx="41692">
                  <c:v>-3.1932773109243598E-2</c:v>
                </c:pt>
                <c:pt idx="41693">
                  <c:v>-3.1932773109243598E-2</c:v>
                </c:pt>
                <c:pt idx="41694">
                  <c:v>-3.1932773109243598E-2</c:v>
                </c:pt>
                <c:pt idx="41695">
                  <c:v>-3.1932773109243598E-2</c:v>
                </c:pt>
                <c:pt idx="41696">
                  <c:v>-3.1932773109243598E-2</c:v>
                </c:pt>
                <c:pt idx="41697">
                  <c:v>-3.1932773109243598E-2</c:v>
                </c:pt>
                <c:pt idx="41698">
                  <c:v>-3.1932773109243598E-2</c:v>
                </c:pt>
                <c:pt idx="41699">
                  <c:v>-3.1932773109243598E-2</c:v>
                </c:pt>
                <c:pt idx="41700">
                  <c:v>-3.1932773109243598E-2</c:v>
                </c:pt>
                <c:pt idx="41701">
                  <c:v>-3.1932773109243598E-2</c:v>
                </c:pt>
                <c:pt idx="41702">
                  <c:v>-3.1932773109243598E-2</c:v>
                </c:pt>
                <c:pt idx="41703">
                  <c:v>-3.1932773109243598E-2</c:v>
                </c:pt>
                <c:pt idx="41704">
                  <c:v>-3.1932773109243598E-2</c:v>
                </c:pt>
                <c:pt idx="41705">
                  <c:v>-3.1932773109243598E-2</c:v>
                </c:pt>
                <c:pt idx="41706">
                  <c:v>-3.1932773109243598E-2</c:v>
                </c:pt>
                <c:pt idx="41707">
                  <c:v>-3.1932773109243598E-2</c:v>
                </c:pt>
                <c:pt idx="41708">
                  <c:v>-3.1932773109243598E-2</c:v>
                </c:pt>
                <c:pt idx="41709">
                  <c:v>-3.1932773109243598E-2</c:v>
                </c:pt>
                <c:pt idx="41710">
                  <c:v>-3.1932773109243598E-2</c:v>
                </c:pt>
                <c:pt idx="41711">
                  <c:v>-3.1932773109243598E-2</c:v>
                </c:pt>
                <c:pt idx="41712">
                  <c:v>-3.1932773109243598E-2</c:v>
                </c:pt>
                <c:pt idx="41713">
                  <c:v>-3.1932773109243598E-2</c:v>
                </c:pt>
                <c:pt idx="41714">
                  <c:v>-3.1932773109243598E-2</c:v>
                </c:pt>
                <c:pt idx="41715">
                  <c:v>-3.1932773109243598E-2</c:v>
                </c:pt>
                <c:pt idx="41716">
                  <c:v>-3.1932773109243598E-2</c:v>
                </c:pt>
                <c:pt idx="41717">
                  <c:v>-3.1932773109243598E-2</c:v>
                </c:pt>
                <c:pt idx="41718">
                  <c:v>-3.1932773109243598E-2</c:v>
                </c:pt>
                <c:pt idx="41719">
                  <c:v>-3.1932773109243598E-2</c:v>
                </c:pt>
                <c:pt idx="41720">
                  <c:v>-3.1932773109243598E-2</c:v>
                </c:pt>
                <c:pt idx="41721">
                  <c:v>-3.1932773109243598E-2</c:v>
                </c:pt>
                <c:pt idx="41722">
                  <c:v>-3.1932773109243598E-2</c:v>
                </c:pt>
                <c:pt idx="41723">
                  <c:v>-3.1932773109243598E-2</c:v>
                </c:pt>
                <c:pt idx="41724">
                  <c:v>-3.1932773109243598E-2</c:v>
                </c:pt>
                <c:pt idx="41725">
                  <c:v>-3.1932773109243598E-2</c:v>
                </c:pt>
                <c:pt idx="41726">
                  <c:v>-3.1932773109243598E-2</c:v>
                </c:pt>
                <c:pt idx="41727">
                  <c:v>-3.1932773109243598E-2</c:v>
                </c:pt>
                <c:pt idx="41728">
                  <c:v>-3.1932773109243598E-2</c:v>
                </c:pt>
                <c:pt idx="41729">
                  <c:v>-3.1932773109243598E-2</c:v>
                </c:pt>
                <c:pt idx="41730">
                  <c:v>-3.1932773109243598E-2</c:v>
                </c:pt>
                <c:pt idx="41731">
                  <c:v>-3.1932773109243598E-2</c:v>
                </c:pt>
                <c:pt idx="41732">
                  <c:v>-3.1932773109243598E-2</c:v>
                </c:pt>
                <c:pt idx="41733">
                  <c:v>-3.1932773109243598E-2</c:v>
                </c:pt>
                <c:pt idx="41734">
                  <c:v>-3.1932773109243598E-2</c:v>
                </c:pt>
                <c:pt idx="41735">
                  <c:v>-3.1932773109243598E-2</c:v>
                </c:pt>
                <c:pt idx="41736">
                  <c:v>-3.1932773109243598E-2</c:v>
                </c:pt>
                <c:pt idx="41737">
                  <c:v>-3.1932773109243598E-2</c:v>
                </c:pt>
                <c:pt idx="41738">
                  <c:v>-3.1932773109243598E-2</c:v>
                </c:pt>
                <c:pt idx="41739">
                  <c:v>-3.1932773109243598E-2</c:v>
                </c:pt>
                <c:pt idx="41740">
                  <c:v>-3.1932773109243598E-2</c:v>
                </c:pt>
                <c:pt idx="41741">
                  <c:v>-3.1932773109243598E-2</c:v>
                </c:pt>
                <c:pt idx="41742">
                  <c:v>-3.1932773109243598E-2</c:v>
                </c:pt>
                <c:pt idx="41743">
                  <c:v>-3.1932773109243598E-2</c:v>
                </c:pt>
                <c:pt idx="41744">
                  <c:v>-3.1932773109243598E-2</c:v>
                </c:pt>
                <c:pt idx="41745">
                  <c:v>-3.1932773109243598E-2</c:v>
                </c:pt>
                <c:pt idx="41746">
                  <c:v>-3.1932773109243598E-2</c:v>
                </c:pt>
                <c:pt idx="41747">
                  <c:v>-3.1932773109243598E-2</c:v>
                </c:pt>
                <c:pt idx="41748">
                  <c:v>-3.1932773109243598E-2</c:v>
                </c:pt>
                <c:pt idx="41749">
                  <c:v>-3.1932773109243598E-2</c:v>
                </c:pt>
                <c:pt idx="41750">
                  <c:v>-3.1932773109243598E-2</c:v>
                </c:pt>
                <c:pt idx="41751">
                  <c:v>-3.1932773109243598E-2</c:v>
                </c:pt>
                <c:pt idx="41752">
                  <c:v>-3.1932773109243598E-2</c:v>
                </c:pt>
                <c:pt idx="41753">
                  <c:v>-3.1932773109243598E-2</c:v>
                </c:pt>
                <c:pt idx="41754">
                  <c:v>-3.1932773109243598E-2</c:v>
                </c:pt>
                <c:pt idx="41755">
                  <c:v>-3.1932773109243598E-2</c:v>
                </c:pt>
                <c:pt idx="41756">
                  <c:v>-3.1932773109243598E-2</c:v>
                </c:pt>
                <c:pt idx="41757">
                  <c:v>-3.1932773109243598E-2</c:v>
                </c:pt>
                <c:pt idx="41758">
                  <c:v>-3.1932773109243598E-2</c:v>
                </c:pt>
                <c:pt idx="41759">
                  <c:v>-3.1932773109243598E-2</c:v>
                </c:pt>
                <c:pt idx="41760">
                  <c:v>-3.1932773109243598E-2</c:v>
                </c:pt>
                <c:pt idx="41761">
                  <c:v>-3.1932773109243598E-2</c:v>
                </c:pt>
                <c:pt idx="41762">
                  <c:v>-3.1932773109243598E-2</c:v>
                </c:pt>
                <c:pt idx="41763">
                  <c:v>-3.1932773109243598E-2</c:v>
                </c:pt>
                <c:pt idx="41764">
                  <c:v>-3.1932773109243598E-2</c:v>
                </c:pt>
                <c:pt idx="41765">
                  <c:v>-3.1932773109243598E-2</c:v>
                </c:pt>
                <c:pt idx="41766">
                  <c:v>-3.1932773109243598E-2</c:v>
                </c:pt>
                <c:pt idx="41767">
                  <c:v>-3.1932773109243598E-2</c:v>
                </c:pt>
                <c:pt idx="41768">
                  <c:v>-3.1932773109243598E-2</c:v>
                </c:pt>
                <c:pt idx="41769">
                  <c:v>-3.1932773109243598E-2</c:v>
                </c:pt>
                <c:pt idx="41770">
                  <c:v>-3.1932773109243598E-2</c:v>
                </c:pt>
                <c:pt idx="41771">
                  <c:v>-3.1932773109243598E-2</c:v>
                </c:pt>
                <c:pt idx="41772">
                  <c:v>-3.1932773109243598E-2</c:v>
                </c:pt>
                <c:pt idx="41773">
                  <c:v>-3.1932773109243598E-2</c:v>
                </c:pt>
                <c:pt idx="41774">
                  <c:v>-3.1932773109243598E-2</c:v>
                </c:pt>
                <c:pt idx="41775">
                  <c:v>-3.1932773109243598E-2</c:v>
                </c:pt>
                <c:pt idx="41776">
                  <c:v>-3.1932773109243598E-2</c:v>
                </c:pt>
                <c:pt idx="41777">
                  <c:v>-3.1932773109243598E-2</c:v>
                </c:pt>
                <c:pt idx="41778">
                  <c:v>-3.1932773109243598E-2</c:v>
                </c:pt>
                <c:pt idx="41779">
                  <c:v>-3.1932773109243598E-2</c:v>
                </c:pt>
                <c:pt idx="41780">
                  <c:v>-3.1932773109243598E-2</c:v>
                </c:pt>
                <c:pt idx="41781">
                  <c:v>-3.1932773109243598E-2</c:v>
                </c:pt>
                <c:pt idx="41782">
                  <c:v>-3.1932773109243598E-2</c:v>
                </c:pt>
                <c:pt idx="41783">
                  <c:v>-3.1932773109243598E-2</c:v>
                </c:pt>
                <c:pt idx="41784">
                  <c:v>-3.1932773109243598E-2</c:v>
                </c:pt>
                <c:pt idx="41785">
                  <c:v>-3.1932773109243598E-2</c:v>
                </c:pt>
                <c:pt idx="41786">
                  <c:v>-3.1932773109243598E-2</c:v>
                </c:pt>
                <c:pt idx="41787">
                  <c:v>-3.1932773109243598E-2</c:v>
                </c:pt>
                <c:pt idx="41788">
                  <c:v>-3.1932773109243598E-2</c:v>
                </c:pt>
                <c:pt idx="41789">
                  <c:v>-3.1932773109243598E-2</c:v>
                </c:pt>
                <c:pt idx="41790">
                  <c:v>-3.1932773109243598E-2</c:v>
                </c:pt>
                <c:pt idx="41791">
                  <c:v>-3.1932773109243598E-2</c:v>
                </c:pt>
                <c:pt idx="41792">
                  <c:v>-3.1932773109243598E-2</c:v>
                </c:pt>
                <c:pt idx="41793">
                  <c:v>-3.1932773109243598E-2</c:v>
                </c:pt>
                <c:pt idx="41794">
                  <c:v>-3.1932773109243598E-2</c:v>
                </c:pt>
                <c:pt idx="41795">
                  <c:v>-3.1932773109243598E-2</c:v>
                </c:pt>
                <c:pt idx="41796">
                  <c:v>-3.1932773109243598E-2</c:v>
                </c:pt>
                <c:pt idx="41797">
                  <c:v>-3.1932773109243598E-2</c:v>
                </c:pt>
                <c:pt idx="41798">
                  <c:v>-3.1932773109243598E-2</c:v>
                </c:pt>
                <c:pt idx="41799">
                  <c:v>-3.1932773109243598E-2</c:v>
                </c:pt>
                <c:pt idx="41800">
                  <c:v>-3.1932773109243598E-2</c:v>
                </c:pt>
                <c:pt idx="41801">
                  <c:v>-3.1932773109243598E-2</c:v>
                </c:pt>
                <c:pt idx="41802">
                  <c:v>-3.1932773109243598E-2</c:v>
                </c:pt>
                <c:pt idx="41803">
                  <c:v>-3.1932773109243598E-2</c:v>
                </c:pt>
                <c:pt idx="41804">
                  <c:v>-3.1932773109243598E-2</c:v>
                </c:pt>
                <c:pt idx="41805">
                  <c:v>-3.1932773109243598E-2</c:v>
                </c:pt>
                <c:pt idx="41806">
                  <c:v>-3.1932773109243598E-2</c:v>
                </c:pt>
                <c:pt idx="41807">
                  <c:v>-3.1932773109243598E-2</c:v>
                </c:pt>
                <c:pt idx="41808">
                  <c:v>-3.1932773109243598E-2</c:v>
                </c:pt>
                <c:pt idx="41809">
                  <c:v>-3.1932773109243598E-2</c:v>
                </c:pt>
                <c:pt idx="41810">
                  <c:v>-3.1932773109243598E-2</c:v>
                </c:pt>
                <c:pt idx="41811">
                  <c:v>-3.1932773109243598E-2</c:v>
                </c:pt>
                <c:pt idx="41812">
                  <c:v>-3.1932773109243598E-2</c:v>
                </c:pt>
                <c:pt idx="41813">
                  <c:v>-3.1932773109243598E-2</c:v>
                </c:pt>
                <c:pt idx="41814">
                  <c:v>-3.1932773109243598E-2</c:v>
                </c:pt>
                <c:pt idx="41815">
                  <c:v>-3.1932773109243598E-2</c:v>
                </c:pt>
                <c:pt idx="41816">
                  <c:v>-3.1932773109243598E-2</c:v>
                </c:pt>
                <c:pt idx="41817">
                  <c:v>-3.1932773109243598E-2</c:v>
                </c:pt>
                <c:pt idx="41818">
                  <c:v>-3.1932773109243598E-2</c:v>
                </c:pt>
                <c:pt idx="41819">
                  <c:v>-3.1932773109243598E-2</c:v>
                </c:pt>
                <c:pt idx="41820">
                  <c:v>-3.1932773109243598E-2</c:v>
                </c:pt>
                <c:pt idx="41821">
                  <c:v>-3.1932773109243598E-2</c:v>
                </c:pt>
                <c:pt idx="41822">
                  <c:v>-3.1932773109243598E-2</c:v>
                </c:pt>
                <c:pt idx="41823">
                  <c:v>-3.1932773109243598E-2</c:v>
                </c:pt>
                <c:pt idx="41824">
                  <c:v>-3.1932773109243598E-2</c:v>
                </c:pt>
                <c:pt idx="41825">
                  <c:v>-3.2773109243697397E-2</c:v>
                </c:pt>
                <c:pt idx="41826">
                  <c:v>-3.2773109243697397E-2</c:v>
                </c:pt>
                <c:pt idx="41827">
                  <c:v>-3.2773109243697397E-2</c:v>
                </c:pt>
                <c:pt idx="41828">
                  <c:v>-3.2773109243697397E-2</c:v>
                </c:pt>
                <c:pt idx="41829">
                  <c:v>-3.2773109243697397E-2</c:v>
                </c:pt>
                <c:pt idx="41830">
                  <c:v>-3.2773109243697397E-2</c:v>
                </c:pt>
                <c:pt idx="41831">
                  <c:v>-3.2773109243697397E-2</c:v>
                </c:pt>
                <c:pt idx="41832">
                  <c:v>-3.2773109243697397E-2</c:v>
                </c:pt>
                <c:pt idx="41833">
                  <c:v>-3.2773109243697397E-2</c:v>
                </c:pt>
                <c:pt idx="41834">
                  <c:v>-3.2773109243697397E-2</c:v>
                </c:pt>
                <c:pt idx="41835">
                  <c:v>-3.2773109243697397E-2</c:v>
                </c:pt>
                <c:pt idx="41836">
                  <c:v>-3.2773109243697397E-2</c:v>
                </c:pt>
                <c:pt idx="41837">
                  <c:v>-3.2773109243697397E-2</c:v>
                </c:pt>
                <c:pt idx="41838">
                  <c:v>-3.2773109243697397E-2</c:v>
                </c:pt>
                <c:pt idx="41839">
                  <c:v>-3.2773109243697397E-2</c:v>
                </c:pt>
                <c:pt idx="41840">
                  <c:v>-3.2773109243697397E-2</c:v>
                </c:pt>
                <c:pt idx="41841">
                  <c:v>-3.2773109243697397E-2</c:v>
                </c:pt>
                <c:pt idx="41842">
                  <c:v>-3.3613445378151197E-2</c:v>
                </c:pt>
                <c:pt idx="41843">
                  <c:v>-3.3613445378151197E-2</c:v>
                </c:pt>
                <c:pt idx="41844">
                  <c:v>-3.3613445378151197E-2</c:v>
                </c:pt>
                <c:pt idx="41845">
                  <c:v>-3.3613445378151197E-2</c:v>
                </c:pt>
                <c:pt idx="41846">
                  <c:v>-3.3613445378151197E-2</c:v>
                </c:pt>
                <c:pt idx="41847">
                  <c:v>-3.3613445378151197E-2</c:v>
                </c:pt>
                <c:pt idx="41848">
                  <c:v>-3.3613445378151197E-2</c:v>
                </c:pt>
                <c:pt idx="41849">
                  <c:v>-3.3613445378151197E-2</c:v>
                </c:pt>
                <c:pt idx="41850">
                  <c:v>-3.3613445378151197E-2</c:v>
                </c:pt>
                <c:pt idx="41851">
                  <c:v>-3.3613445378151197E-2</c:v>
                </c:pt>
                <c:pt idx="41852">
                  <c:v>-3.3613445378151197E-2</c:v>
                </c:pt>
                <c:pt idx="41853">
                  <c:v>-3.3613445378151197E-2</c:v>
                </c:pt>
                <c:pt idx="41854">
                  <c:v>-3.3613445378151197E-2</c:v>
                </c:pt>
                <c:pt idx="41855">
                  <c:v>-3.3613445378151197E-2</c:v>
                </c:pt>
                <c:pt idx="41856">
                  <c:v>-3.3613445378151197E-2</c:v>
                </c:pt>
                <c:pt idx="41857">
                  <c:v>-3.3613445378151197E-2</c:v>
                </c:pt>
                <c:pt idx="41858">
                  <c:v>-3.3613445378151197E-2</c:v>
                </c:pt>
                <c:pt idx="41859">
                  <c:v>-3.3613445378151197E-2</c:v>
                </c:pt>
                <c:pt idx="41860">
                  <c:v>-3.3613445378151197E-2</c:v>
                </c:pt>
                <c:pt idx="41861">
                  <c:v>-3.3613445378151197E-2</c:v>
                </c:pt>
                <c:pt idx="41862">
                  <c:v>-3.3613445378151197E-2</c:v>
                </c:pt>
                <c:pt idx="41863">
                  <c:v>-3.3613445378151197E-2</c:v>
                </c:pt>
                <c:pt idx="41864">
                  <c:v>-3.3613445378151197E-2</c:v>
                </c:pt>
                <c:pt idx="41865">
                  <c:v>-3.3613445378151197E-2</c:v>
                </c:pt>
                <c:pt idx="41866">
                  <c:v>-3.3613445378151197E-2</c:v>
                </c:pt>
                <c:pt idx="41867">
                  <c:v>-3.3613445378151197E-2</c:v>
                </c:pt>
                <c:pt idx="41868">
                  <c:v>-3.3613445378151197E-2</c:v>
                </c:pt>
                <c:pt idx="41869">
                  <c:v>-3.3613445378151197E-2</c:v>
                </c:pt>
                <c:pt idx="41870">
                  <c:v>-3.3613445378151197E-2</c:v>
                </c:pt>
                <c:pt idx="41871">
                  <c:v>-3.3613445378151197E-2</c:v>
                </c:pt>
                <c:pt idx="41872">
                  <c:v>-3.3613445378151197E-2</c:v>
                </c:pt>
                <c:pt idx="41873">
                  <c:v>-3.3613445378151197E-2</c:v>
                </c:pt>
                <c:pt idx="41874">
                  <c:v>-3.3613445378151197E-2</c:v>
                </c:pt>
                <c:pt idx="41875">
                  <c:v>-3.3613445378151197E-2</c:v>
                </c:pt>
                <c:pt idx="41876">
                  <c:v>-3.3613445378151197E-2</c:v>
                </c:pt>
                <c:pt idx="41877">
                  <c:v>-3.3613445378151197E-2</c:v>
                </c:pt>
                <c:pt idx="41878">
                  <c:v>-3.3613445378151197E-2</c:v>
                </c:pt>
                <c:pt idx="41879">
                  <c:v>-3.3613445378151197E-2</c:v>
                </c:pt>
                <c:pt idx="41880">
                  <c:v>-3.3613445378151197E-2</c:v>
                </c:pt>
                <c:pt idx="41881">
                  <c:v>-3.3613445378151197E-2</c:v>
                </c:pt>
                <c:pt idx="41882">
                  <c:v>-3.3613445378151197E-2</c:v>
                </c:pt>
                <c:pt idx="41883">
                  <c:v>-3.2773109243697397E-2</c:v>
                </c:pt>
                <c:pt idx="41884">
                  <c:v>-3.2773109243697397E-2</c:v>
                </c:pt>
                <c:pt idx="41885">
                  <c:v>-3.2773109243697397E-2</c:v>
                </c:pt>
                <c:pt idx="41886">
                  <c:v>-3.2773109243697397E-2</c:v>
                </c:pt>
                <c:pt idx="41887">
                  <c:v>-3.3613445378151301E-2</c:v>
                </c:pt>
                <c:pt idx="41888">
                  <c:v>-3.3613445378151301E-2</c:v>
                </c:pt>
                <c:pt idx="41889">
                  <c:v>-3.3613445378151301E-2</c:v>
                </c:pt>
                <c:pt idx="41890">
                  <c:v>-3.3613445378151301E-2</c:v>
                </c:pt>
                <c:pt idx="41891">
                  <c:v>-3.3613445378151301E-2</c:v>
                </c:pt>
                <c:pt idx="41892">
                  <c:v>-3.3613445378151301E-2</c:v>
                </c:pt>
                <c:pt idx="41893">
                  <c:v>-3.3613445378151301E-2</c:v>
                </c:pt>
                <c:pt idx="41894">
                  <c:v>-3.3613445378151301E-2</c:v>
                </c:pt>
                <c:pt idx="41895">
                  <c:v>-3.3613445378151301E-2</c:v>
                </c:pt>
                <c:pt idx="41896">
                  <c:v>-3.3613445378151301E-2</c:v>
                </c:pt>
                <c:pt idx="41897">
                  <c:v>-3.3613445378151301E-2</c:v>
                </c:pt>
                <c:pt idx="41898">
                  <c:v>-3.3613445378151301E-2</c:v>
                </c:pt>
                <c:pt idx="41899">
                  <c:v>-3.3613445378151301E-2</c:v>
                </c:pt>
                <c:pt idx="41900">
                  <c:v>-3.3613445378151301E-2</c:v>
                </c:pt>
                <c:pt idx="41901">
                  <c:v>-3.3613445378151301E-2</c:v>
                </c:pt>
                <c:pt idx="41902">
                  <c:v>-3.3613445378151301E-2</c:v>
                </c:pt>
                <c:pt idx="41903">
                  <c:v>-3.3613445378151301E-2</c:v>
                </c:pt>
                <c:pt idx="41904">
                  <c:v>-3.3613445378151301E-2</c:v>
                </c:pt>
                <c:pt idx="41905">
                  <c:v>-3.3613445378151301E-2</c:v>
                </c:pt>
                <c:pt idx="41906">
                  <c:v>-3.3613445378151301E-2</c:v>
                </c:pt>
                <c:pt idx="41907">
                  <c:v>-3.3613445378151301E-2</c:v>
                </c:pt>
                <c:pt idx="41908">
                  <c:v>-3.3613445378151301E-2</c:v>
                </c:pt>
                <c:pt idx="41909">
                  <c:v>-3.3613445378151301E-2</c:v>
                </c:pt>
                <c:pt idx="41910">
                  <c:v>-3.3613445378151301E-2</c:v>
                </c:pt>
                <c:pt idx="41911">
                  <c:v>-3.3613445378151301E-2</c:v>
                </c:pt>
                <c:pt idx="41912">
                  <c:v>-3.3613445378151301E-2</c:v>
                </c:pt>
                <c:pt idx="41913">
                  <c:v>-3.3613445378151301E-2</c:v>
                </c:pt>
                <c:pt idx="41914">
                  <c:v>-3.3613445378151301E-2</c:v>
                </c:pt>
                <c:pt idx="41915">
                  <c:v>-3.3613445378151301E-2</c:v>
                </c:pt>
                <c:pt idx="41916">
                  <c:v>-3.3613445378151301E-2</c:v>
                </c:pt>
                <c:pt idx="41917">
                  <c:v>-3.3613445378151301E-2</c:v>
                </c:pt>
                <c:pt idx="41918">
                  <c:v>-3.3613445378151301E-2</c:v>
                </c:pt>
                <c:pt idx="41919">
                  <c:v>-3.3613445378151301E-2</c:v>
                </c:pt>
                <c:pt idx="41920">
                  <c:v>-3.3613445378151301E-2</c:v>
                </c:pt>
                <c:pt idx="41921">
                  <c:v>-3.3613445378151301E-2</c:v>
                </c:pt>
                <c:pt idx="41922">
                  <c:v>-3.3613445378151301E-2</c:v>
                </c:pt>
                <c:pt idx="41923">
                  <c:v>-3.3613445378151301E-2</c:v>
                </c:pt>
                <c:pt idx="41924">
                  <c:v>-3.3613445378151301E-2</c:v>
                </c:pt>
                <c:pt idx="41925">
                  <c:v>-3.3613445378151301E-2</c:v>
                </c:pt>
                <c:pt idx="41926">
                  <c:v>-3.3613445378151301E-2</c:v>
                </c:pt>
                <c:pt idx="41927">
                  <c:v>-3.3613445378151301E-2</c:v>
                </c:pt>
                <c:pt idx="41928">
                  <c:v>-3.3613445378151301E-2</c:v>
                </c:pt>
                <c:pt idx="41929">
                  <c:v>-3.3613445378151301E-2</c:v>
                </c:pt>
                <c:pt idx="41930">
                  <c:v>-3.3613445378151301E-2</c:v>
                </c:pt>
                <c:pt idx="41931">
                  <c:v>-3.3613445378151301E-2</c:v>
                </c:pt>
                <c:pt idx="41932">
                  <c:v>-3.3613445378151301E-2</c:v>
                </c:pt>
                <c:pt idx="41933">
                  <c:v>-3.3613445378151301E-2</c:v>
                </c:pt>
                <c:pt idx="41934">
                  <c:v>-3.3613445378151301E-2</c:v>
                </c:pt>
                <c:pt idx="41935">
                  <c:v>-3.3613445378151301E-2</c:v>
                </c:pt>
                <c:pt idx="41936">
                  <c:v>-3.3613445378151301E-2</c:v>
                </c:pt>
                <c:pt idx="41937">
                  <c:v>-3.3613445378151301E-2</c:v>
                </c:pt>
                <c:pt idx="41938">
                  <c:v>-3.3613445378151301E-2</c:v>
                </c:pt>
                <c:pt idx="41939">
                  <c:v>-3.3613445378151301E-2</c:v>
                </c:pt>
                <c:pt idx="41940">
                  <c:v>-3.3613445378151301E-2</c:v>
                </c:pt>
                <c:pt idx="41941">
                  <c:v>-3.3613445378151301E-2</c:v>
                </c:pt>
                <c:pt idx="41942">
                  <c:v>-3.3613445378151301E-2</c:v>
                </c:pt>
                <c:pt idx="41943">
                  <c:v>-3.2773109243697501E-2</c:v>
                </c:pt>
                <c:pt idx="41944">
                  <c:v>-3.2773109243697501E-2</c:v>
                </c:pt>
                <c:pt idx="41945">
                  <c:v>-3.2773109243697501E-2</c:v>
                </c:pt>
                <c:pt idx="41946">
                  <c:v>-3.2773109243697501E-2</c:v>
                </c:pt>
                <c:pt idx="41947">
                  <c:v>-3.2773109243697501E-2</c:v>
                </c:pt>
                <c:pt idx="41948">
                  <c:v>-3.2773109243697501E-2</c:v>
                </c:pt>
                <c:pt idx="41949">
                  <c:v>-3.2773109243697501E-2</c:v>
                </c:pt>
                <c:pt idx="41950">
                  <c:v>-3.2773109243697501E-2</c:v>
                </c:pt>
                <c:pt idx="41951">
                  <c:v>-3.2773109243697501E-2</c:v>
                </c:pt>
                <c:pt idx="41952">
                  <c:v>-3.2773109243697501E-2</c:v>
                </c:pt>
                <c:pt idx="41953">
                  <c:v>-3.2773109243697501E-2</c:v>
                </c:pt>
                <c:pt idx="41954">
                  <c:v>-3.2773109243697501E-2</c:v>
                </c:pt>
                <c:pt idx="41955">
                  <c:v>-3.2773109243697501E-2</c:v>
                </c:pt>
                <c:pt idx="41956">
                  <c:v>-3.2773109243697501E-2</c:v>
                </c:pt>
                <c:pt idx="41957">
                  <c:v>-3.2773109243697501E-2</c:v>
                </c:pt>
                <c:pt idx="41958">
                  <c:v>-3.2773109243697501E-2</c:v>
                </c:pt>
                <c:pt idx="41959">
                  <c:v>-3.2773109243697501E-2</c:v>
                </c:pt>
                <c:pt idx="41960">
                  <c:v>-3.2773109243697501E-2</c:v>
                </c:pt>
                <c:pt idx="41961">
                  <c:v>-3.2773109243697501E-2</c:v>
                </c:pt>
                <c:pt idx="41962">
                  <c:v>-3.2773109243697501E-2</c:v>
                </c:pt>
                <c:pt idx="41963">
                  <c:v>-3.2773109243697501E-2</c:v>
                </c:pt>
                <c:pt idx="41964">
                  <c:v>-3.2773109243697501E-2</c:v>
                </c:pt>
                <c:pt idx="41965">
                  <c:v>-3.2773109243697501E-2</c:v>
                </c:pt>
                <c:pt idx="41966">
                  <c:v>-3.2773109243697501E-2</c:v>
                </c:pt>
                <c:pt idx="41967">
                  <c:v>-3.2773109243697501E-2</c:v>
                </c:pt>
                <c:pt idx="41968">
                  <c:v>-3.1932773109243799E-2</c:v>
                </c:pt>
                <c:pt idx="41969">
                  <c:v>-3.1932773109243799E-2</c:v>
                </c:pt>
                <c:pt idx="41970">
                  <c:v>-3.1932773109243799E-2</c:v>
                </c:pt>
                <c:pt idx="41971">
                  <c:v>-3.1932773109243799E-2</c:v>
                </c:pt>
                <c:pt idx="41972">
                  <c:v>-3.1932773109243799E-2</c:v>
                </c:pt>
                <c:pt idx="41973">
                  <c:v>-3.1932773109243799E-2</c:v>
                </c:pt>
                <c:pt idx="41974">
                  <c:v>-3.1932773109243799E-2</c:v>
                </c:pt>
                <c:pt idx="41975">
                  <c:v>-3.1932773109243799E-2</c:v>
                </c:pt>
                <c:pt idx="41976">
                  <c:v>-3.1932773109243799E-2</c:v>
                </c:pt>
                <c:pt idx="41977">
                  <c:v>-3.1932773109243799E-2</c:v>
                </c:pt>
                <c:pt idx="41978">
                  <c:v>-3.1932773109243799E-2</c:v>
                </c:pt>
                <c:pt idx="41979">
                  <c:v>-3.1932773109243799E-2</c:v>
                </c:pt>
                <c:pt idx="41980">
                  <c:v>-3.1932773109243799E-2</c:v>
                </c:pt>
                <c:pt idx="41981">
                  <c:v>-3.1932773109243799E-2</c:v>
                </c:pt>
                <c:pt idx="41982">
                  <c:v>-3.1932773109243799E-2</c:v>
                </c:pt>
                <c:pt idx="41983">
                  <c:v>-3.1932773109243598E-2</c:v>
                </c:pt>
                <c:pt idx="41984">
                  <c:v>-3.1932773109243598E-2</c:v>
                </c:pt>
                <c:pt idx="41985">
                  <c:v>-3.1932773109243598E-2</c:v>
                </c:pt>
                <c:pt idx="41986">
                  <c:v>-3.1932773109243598E-2</c:v>
                </c:pt>
                <c:pt idx="41987">
                  <c:v>-3.1932773109243598E-2</c:v>
                </c:pt>
                <c:pt idx="41988">
                  <c:v>-3.1932773109243598E-2</c:v>
                </c:pt>
                <c:pt idx="41989">
                  <c:v>-3.1932773109243598E-2</c:v>
                </c:pt>
                <c:pt idx="41990">
                  <c:v>-3.1932773109243598E-2</c:v>
                </c:pt>
                <c:pt idx="41991">
                  <c:v>-3.1092436974789899E-2</c:v>
                </c:pt>
                <c:pt idx="41992">
                  <c:v>-3.1092436974789899E-2</c:v>
                </c:pt>
                <c:pt idx="41993">
                  <c:v>-3.1092436974789899E-2</c:v>
                </c:pt>
                <c:pt idx="41994">
                  <c:v>-3.1092436974789899E-2</c:v>
                </c:pt>
                <c:pt idx="41995">
                  <c:v>-3.1092436974789899E-2</c:v>
                </c:pt>
                <c:pt idx="41996">
                  <c:v>-3.1092436974789899E-2</c:v>
                </c:pt>
                <c:pt idx="41997">
                  <c:v>-3.1092436974789899E-2</c:v>
                </c:pt>
                <c:pt idx="41998">
                  <c:v>-3.1092436974789899E-2</c:v>
                </c:pt>
                <c:pt idx="41999">
                  <c:v>-3.02521008403361E-2</c:v>
                </c:pt>
                <c:pt idx="42000">
                  <c:v>-3.02521008403361E-2</c:v>
                </c:pt>
                <c:pt idx="42001">
                  <c:v>-3.02521008403361E-2</c:v>
                </c:pt>
                <c:pt idx="42002">
                  <c:v>-3.02521008403361E-2</c:v>
                </c:pt>
                <c:pt idx="42003">
                  <c:v>-3.02521008403361E-2</c:v>
                </c:pt>
                <c:pt idx="42004">
                  <c:v>-3.02521008403361E-2</c:v>
                </c:pt>
                <c:pt idx="42005">
                  <c:v>-3.02521008403361E-2</c:v>
                </c:pt>
                <c:pt idx="42006">
                  <c:v>-3.02521008403361E-2</c:v>
                </c:pt>
                <c:pt idx="42007">
                  <c:v>-3.02521008403361E-2</c:v>
                </c:pt>
                <c:pt idx="42008">
                  <c:v>-3.02521008403361E-2</c:v>
                </c:pt>
                <c:pt idx="42009">
                  <c:v>-3.02521008403361E-2</c:v>
                </c:pt>
                <c:pt idx="42010">
                  <c:v>-3.02521008403361E-2</c:v>
                </c:pt>
                <c:pt idx="42011">
                  <c:v>-3.02521008403361E-2</c:v>
                </c:pt>
                <c:pt idx="42012">
                  <c:v>-3.02521008403361E-2</c:v>
                </c:pt>
                <c:pt idx="42013">
                  <c:v>-3.02521008403361E-2</c:v>
                </c:pt>
                <c:pt idx="42014">
                  <c:v>-3.02521008403361E-2</c:v>
                </c:pt>
                <c:pt idx="42015">
                  <c:v>-3.02521008403361E-2</c:v>
                </c:pt>
                <c:pt idx="42016">
                  <c:v>-3.02521008403361E-2</c:v>
                </c:pt>
                <c:pt idx="42017">
                  <c:v>-3.02521008403361E-2</c:v>
                </c:pt>
                <c:pt idx="42018">
                  <c:v>-3.02521008403361E-2</c:v>
                </c:pt>
                <c:pt idx="42019">
                  <c:v>-3.02521008403361E-2</c:v>
                </c:pt>
                <c:pt idx="42020">
                  <c:v>-3.02521008403361E-2</c:v>
                </c:pt>
                <c:pt idx="42021">
                  <c:v>-3.02521008403361E-2</c:v>
                </c:pt>
                <c:pt idx="42022">
                  <c:v>-3.02521008403361E-2</c:v>
                </c:pt>
                <c:pt idx="42023">
                  <c:v>-3.02521008403361E-2</c:v>
                </c:pt>
                <c:pt idx="42024">
                  <c:v>-3.02521008403361E-2</c:v>
                </c:pt>
                <c:pt idx="42025">
                  <c:v>-3.02521008403361E-2</c:v>
                </c:pt>
                <c:pt idx="42026">
                  <c:v>-2.94117647058823E-2</c:v>
                </c:pt>
                <c:pt idx="42027">
                  <c:v>-2.94117647058823E-2</c:v>
                </c:pt>
                <c:pt idx="42028">
                  <c:v>-2.94117647058823E-2</c:v>
                </c:pt>
                <c:pt idx="42029">
                  <c:v>-2.94117647058823E-2</c:v>
                </c:pt>
                <c:pt idx="42030">
                  <c:v>-2.94117647058823E-2</c:v>
                </c:pt>
                <c:pt idx="42031">
                  <c:v>-2.94117647058823E-2</c:v>
                </c:pt>
                <c:pt idx="42032">
                  <c:v>-2.94117647058823E-2</c:v>
                </c:pt>
                <c:pt idx="42033">
                  <c:v>-2.94117647058823E-2</c:v>
                </c:pt>
                <c:pt idx="42034">
                  <c:v>-2.94117647058823E-2</c:v>
                </c:pt>
                <c:pt idx="42035">
                  <c:v>-2.94117647058823E-2</c:v>
                </c:pt>
                <c:pt idx="42036">
                  <c:v>-2.94117647058823E-2</c:v>
                </c:pt>
                <c:pt idx="42037">
                  <c:v>-2.94117647058823E-2</c:v>
                </c:pt>
                <c:pt idx="42038">
                  <c:v>-2.94117647058823E-2</c:v>
                </c:pt>
                <c:pt idx="42039">
                  <c:v>-2.94117647058823E-2</c:v>
                </c:pt>
                <c:pt idx="42040">
                  <c:v>-2.94117647058823E-2</c:v>
                </c:pt>
                <c:pt idx="42041">
                  <c:v>-2.94117647058823E-2</c:v>
                </c:pt>
                <c:pt idx="42042">
                  <c:v>-2.8571428571428501E-2</c:v>
                </c:pt>
                <c:pt idx="42043">
                  <c:v>-2.8571428571428501E-2</c:v>
                </c:pt>
                <c:pt idx="42044">
                  <c:v>-2.8571428571428501E-2</c:v>
                </c:pt>
                <c:pt idx="42045">
                  <c:v>-2.8571428571428501E-2</c:v>
                </c:pt>
                <c:pt idx="42046">
                  <c:v>-2.8571428571428501E-2</c:v>
                </c:pt>
                <c:pt idx="42047">
                  <c:v>-2.8571428571428501E-2</c:v>
                </c:pt>
                <c:pt idx="42048">
                  <c:v>-2.8571428571428501E-2</c:v>
                </c:pt>
                <c:pt idx="42049">
                  <c:v>-2.8571428571428501E-2</c:v>
                </c:pt>
                <c:pt idx="42050">
                  <c:v>-2.8571428571428501E-2</c:v>
                </c:pt>
                <c:pt idx="42051">
                  <c:v>-2.8571428571428501E-2</c:v>
                </c:pt>
                <c:pt idx="42052">
                  <c:v>-2.8571428571428501E-2</c:v>
                </c:pt>
                <c:pt idx="42053">
                  <c:v>-2.8571428571428501E-2</c:v>
                </c:pt>
                <c:pt idx="42054">
                  <c:v>-2.8571428571428501E-2</c:v>
                </c:pt>
                <c:pt idx="42055">
                  <c:v>-2.8571428571428501E-2</c:v>
                </c:pt>
                <c:pt idx="42056">
                  <c:v>-2.8571428571428501E-2</c:v>
                </c:pt>
                <c:pt idx="42057">
                  <c:v>-2.8571428571428501E-2</c:v>
                </c:pt>
                <c:pt idx="42058">
                  <c:v>-2.8571428571428501E-2</c:v>
                </c:pt>
                <c:pt idx="42059">
                  <c:v>-2.8571428571428501E-2</c:v>
                </c:pt>
                <c:pt idx="42060">
                  <c:v>-2.8571428571428501E-2</c:v>
                </c:pt>
                <c:pt idx="42061">
                  <c:v>-2.8571428571428501E-2</c:v>
                </c:pt>
                <c:pt idx="42062">
                  <c:v>-2.8571428571428501E-2</c:v>
                </c:pt>
                <c:pt idx="42063">
                  <c:v>-2.8571428571428501E-2</c:v>
                </c:pt>
                <c:pt idx="42064">
                  <c:v>-2.8571428571428501E-2</c:v>
                </c:pt>
                <c:pt idx="42065">
                  <c:v>-2.8571428571428501E-2</c:v>
                </c:pt>
                <c:pt idx="42066">
                  <c:v>-2.8571428571428501E-2</c:v>
                </c:pt>
                <c:pt idx="42067">
                  <c:v>-2.8571428571428501E-2</c:v>
                </c:pt>
                <c:pt idx="42068">
                  <c:v>-2.8571428571428501E-2</c:v>
                </c:pt>
                <c:pt idx="42069">
                  <c:v>-2.8571428571428501E-2</c:v>
                </c:pt>
                <c:pt idx="42070">
                  <c:v>-2.8571428571428501E-2</c:v>
                </c:pt>
                <c:pt idx="42071">
                  <c:v>-2.8571428571428501E-2</c:v>
                </c:pt>
                <c:pt idx="42072">
                  <c:v>-2.8571428571428501E-2</c:v>
                </c:pt>
                <c:pt idx="42073">
                  <c:v>-2.8571428571428501E-2</c:v>
                </c:pt>
                <c:pt idx="42074">
                  <c:v>-2.8571428571428501E-2</c:v>
                </c:pt>
                <c:pt idx="42075">
                  <c:v>-2.8571428571428501E-2</c:v>
                </c:pt>
                <c:pt idx="42076">
                  <c:v>-2.8571428571428501E-2</c:v>
                </c:pt>
                <c:pt idx="42077">
                  <c:v>-2.8571428571428501E-2</c:v>
                </c:pt>
                <c:pt idx="42078">
                  <c:v>-2.8571428571428501E-2</c:v>
                </c:pt>
                <c:pt idx="42079">
                  <c:v>-2.8571428571428501E-2</c:v>
                </c:pt>
                <c:pt idx="42080">
                  <c:v>-2.8571428571428501E-2</c:v>
                </c:pt>
                <c:pt idx="42081">
                  <c:v>-2.8571428571428501E-2</c:v>
                </c:pt>
                <c:pt idx="42082">
                  <c:v>-2.8571428571428501E-2</c:v>
                </c:pt>
                <c:pt idx="42083">
                  <c:v>-2.8571428571428501E-2</c:v>
                </c:pt>
                <c:pt idx="42084">
                  <c:v>-2.8571428571428501E-2</c:v>
                </c:pt>
                <c:pt idx="42085">
                  <c:v>-2.8571428571428501E-2</c:v>
                </c:pt>
                <c:pt idx="42086">
                  <c:v>-2.8571428571428501E-2</c:v>
                </c:pt>
                <c:pt idx="42087">
                  <c:v>-2.8571428571428501E-2</c:v>
                </c:pt>
                <c:pt idx="42088">
                  <c:v>-2.8571428571428501E-2</c:v>
                </c:pt>
                <c:pt idx="42089">
                  <c:v>-2.8571428571428501E-2</c:v>
                </c:pt>
                <c:pt idx="42090">
                  <c:v>-2.8571428571428501E-2</c:v>
                </c:pt>
                <c:pt idx="42091">
                  <c:v>-2.94117647058823E-2</c:v>
                </c:pt>
                <c:pt idx="42092">
                  <c:v>-2.94117647058823E-2</c:v>
                </c:pt>
                <c:pt idx="42093">
                  <c:v>-2.94117647058823E-2</c:v>
                </c:pt>
                <c:pt idx="42094">
                  <c:v>-2.94117647058823E-2</c:v>
                </c:pt>
                <c:pt idx="42095">
                  <c:v>-2.94117647058823E-2</c:v>
                </c:pt>
                <c:pt idx="42096">
                  <c:v>-2.94117647058823E-2</c:v>
                </c:pt>
                <c:pt idx="42097">
                  <c:v>-2.94117647058823E-2</c:v>
                </c:pt>
                <c:pt idx="42098">
                  <c:v>-2.94117647058823E-2</c:v>
                </c:pt>
                <c:pt idx="42099">
                  <c:v>-2.94117647058823E-2</c:v>
                </c:pt>
                <c:pt idx="42100">
                  <c:v>-2.94117647058823E-2</c:v>
                </c:pt>
                <c:pt idx="42101">
                  <c:v>-2.94117647058823E-2</c:v>
                </c:pt>
                <c:pt idx="42102">
                  <c:v>-2.94117647058823E-2</c:v>
                </c:pt>
                <c:pt idx="42103">
                  <c:v>-2.94117647058823E-2</c:v>
                </c:pt>
                <c:pt idx="42104">
                  <c:v>-2.94117647058823E-2</c:v>
                </c:pt>
                <c:pt idx="42105">
                  <c:v>-2.94117647058823E-2</c:v>
                </c:pt>
                <c:pt idx="42106">
                  <c:v>-2.94117647058823E-2</c:v>
                </c:pt>
                <c:pt idx="42107">
                  <c:v>-2.94117647058823E-2</c:v>
                </c:pt>
                <c:pt idx="42108">
                  <c:v>-2.94117647058823E-2</c:v>
                </c:pt>
                <c:pt idx="42109">
                  <c:v>-2.94117647058823E-2</c:v>
                </c:pt>
                <c:pt idx="42110">
                  <c:v>-3.02521008403361E-2</c:v>
                </c:pt>
                <c:pt idx="42111">
                  <c:v>-3.02521008403361E-2</c:v>
                </c:pt>
                <c:pt idx="42112">
                  <c:v>-3.02521008403361E-2</c:v>
                </c:pt>
                <c:pt idx="42113">
                  <c:v>-3.02521008403361E-2</c:v>
                </c:pt>
                <c:pt idx="42114">
                  <c:v>-3.02521008403361E-2</c:v>
                </c:pt>
                <c:pt idx="42115">
                  <c:v>-3.02521008403361E-2</c:v>
                </c:pt>
                <c:pt idx="42116">
                  <c:v>-3.02521008403361E-2</c:v>
                </c:pt>
                <c:pt idx="42117">
                  <c:v>-3.02521008403361E-2</c:v>
                </c:pt>
                <c:pt idx="42118">
                  <c:v>-3.02521008403361E-2</c:v>
                </c:pt>
                <c:pt idx="42119">
                  <c:v>-3.02521008403361E-2</c:v>
                </c:pt>
                <c:pt idx="42120">
                  <c:v>-3.02521008403361E-2</c:v>
                </c:pt>
                <c:pt idx="42121">
                  <c:v>-3.1092436974789899E-2</c:v>
                </c:pt>
                <c:pt idx="42122">
                  <c:v>-3.1092436974789899E-2</c:v>
                </c:pt>
                <c:pt idx="42123">
                  <c:v>-3.1092436974789899E-2</c:v>
                </c:pt>
                <c:pt idx="42124">
                  <c:v>-3.1092436974789899E-2</c:v>
                </c:pt>
                <c:pt idx="42125">
                  <c:v>-3.1092436974789899E-2</c:v>
                </c:pt>
                <c:pt idx="42126">
                  <c:v>-3.1092436974789899E-2</c:v>
                </c:pt>
                <c:pt idx="42127">
                  <c:v>-3.1092436974789899E-2</c:v>
                </c:pt>
                <c:pt idx="42128">
                  <c:v>-3.1092436974789899E-2</c:v>
                </c:pt>
                <c:pt idx="42129">
                  <c:v>-3.1092436974789899E-2</c:v>
                </c:pt>
                <c:pt idx="42130">
                  <c:v>-3.1092436974789899E-2</c:v>
                </c:pt>
                <c:pt idx="42131">
                  <c:v>-3.1092436974789899E-2</c:v>
                </c:pt>
                <c:pt idx="42132">
                  <c:v>-3.1092436974789899E-2</c:v>
                </c:pt>
                <c:pt idx="42133">
                  <c:v>-3.1092436974789899E-2</c:v>
                </c:pt>
                <c:pt idx="42134">
                  <c:v>-3.1092436974789899E-2</c:v>
                </c:pt>
                <c:pt idx="42135">
                  <c:v>-3.1092436974789899E-2</c:v>
                </c:pt>
                <c:pt idx="42136">
                  <c:v>-3.1092436974789899E-2</c:v>
                </c:pt>
                <c:pt idx="42137">
                  <c:v>-3.1092436974789899E-2</c:v>
                </c:pt>
                <c:pt idx="42138">
                  <c:v>-3.1092436974789899E-2</c:v>
                </c:pt>
                <c:pt idx="42139">
                  <c:v>-3.1092436974789899E-2</c:v>
                </c:pt>
                <c:pt idx="42140">
                  <c:v>-3.1092436974789899E-2</c:v>
                </c:pt>
                <c:pt idx="42141">
                  <c:v>-3.1092436974789899E-2</c:v>
                </c:pt>
                <c:pt idx="42142">
                  <c:v>-3.1092436974789899E-2</c:v>
                </c:pt>
                <c:pt idx="42143">
                  <c:v>-3.1092436974789899E-2</c:v>
                </c:pt>
                <c:pt idx="42144">
                  <c:v>-3.1092436974789899E-2</c:v>
                </c:pt>
                <c:pt idx="42145">
                  <c:v>-3.1092436974789899E-2</c:v>
                </c:pt>
                <c:pt idx="42146">
                  <c:v>-3.1092436974789899E-2</c:v>
                </c:pt>
                <c:pt idx="42147">
                  <c:v>-3.1092436974789899E-2</c:v>
                </c:pt>
                <c:pt idx="42148">
                  <c:v>-3.1092436974789899E-2</c:v>
                </c:pt>
                <c:pt idx="42149">
                  <c:v>-3.1092436974789899E-2</c:v>
                </c:pt>
                <c:pt idx="42150">
                  <c:v>-3.1092436974789899E-2</c:v>
                </c:pt>
                <c:pt idx="42151">
                  <c:v>-3.1092436974789899E-2</c:v>
                </c:pt>
                <c:pt idx="42152">
                  <c:v>-3.1092436974789899E-2</c:v>
                </c:pt>
                <c:pt idx="42153">
                  <c:v>-3.1092436974789899E-2</c:v>
                </c:pt>
                <c:pt idx="42154">
                  <c:v>-3.1092436974789899E-2</c:v>
                </c:pt>
                <c:pt idx="42155">
                  <c:v>-3.1092436974789899E-2</c:v>
                </c:pt>
                <c:pt idx="42156">
                  <c:v>-3.1092436974789899E-2</c:v>
                </c:pt>
                <c:pt idx="42157">
                  <c:v>-3.1092436974789899E-2</c:v>
                </c:pt>
                <c:pt idx="42158">
                  <c:v>-3.1092436974789899E-2</c:v>
                </c:pt>
                <c:pt idx="42159">
                  <c:v>-3.1092436974789899E-2</c:v>
                </c:pt>
                <c:pt idx="42160">
                  <c:v>-3.1092436974789899E-2</c:v>
                </c:pt>
                <c:pt idx="42161">
                  <c:v>-3.1092436974789899E-2</c:v>
                </c:pt>
                <c:pt idx="42162">
                  <c:v>-3.1092436974789899E-2</c:v>
                </c:pt>
                <c:pt idx="42163">
                  <c:v>-3.1092436974789899E-2</c:v>
                </c:pt>
                <c:pt idx="42164">
                  <c:v>-3.1092436974789899E-2</c:v>
                </c:pt>
                <c:pt idx="42165">
                  <c:v>-3.1092436974789899E-2</c:v>
                </c:pt>
                <c:pt idx="42166">
                  <c:v>-3.1092436974789899E-2</c:v>
                </c:pt>
                <c:pt idx="42167">
                  <c:v>-3.1092436974789899E-2</c:v>
                </c:pt>
                <c:pt idx="42168">
                  <c:v>-3.1092436974789899E-2</c:v>
                </c:pt>
                <c:pt idx="42169">
                  <c:v>-3.1092436974789899E-2</c:v>
                </c:pt>
                <c:pt idx="42170">
                  <c:v>-3.1092436974789899E-2</c:v>
                </c:pt>
                <c:pt idx="42171">
                  <c:v>-3.1092436974789899E-2</c:v>
                </c:pt>
                <c:pt idx="42172">
                  <c:v>-3.1092436974789899E-2</c:v>
                </c:pt>
                <c:pt idx="42173">
                  <c:v>-3.1092436974789899E-2</c:v>
                </c:pt>
                <c:pt idx="42174">
                  <c:v>-3.1092436974789899E-2</c:v>
                </c:pt>
                <c:pt idx="42175">
                  <c:v>-3.1092436974789899E-2</c:v>
                </c:pt>
                <c:pt idx="42176">
                  <c:v>-3.1092436974789899E-2</c:v>
                </c:pt>
                <c:pt idx="42177">
                  <c:v>-3.1092436974789899E-2</c:v>
                </c:pt>
                <c:pt idx="42178">
                  <c:v>-3.1092436974789899E-2</c:v>
                </c:pt>
                <c:pt idx="42179">
                  <c:v>-3.1092436974789899E-2</c:v>
                </c:pt>
                <c:pt idx="42180">
                  <c:v>-3.1092436974789899E-2</c:v>
                </c:pt>
                <c:pt idx="42181">
                  <c:v>-3.1092436974789899E-2</c:v>
                </c:pt>
                <c:pt idx="42182">
                  <c:v>-3.1092436974789899E-2</c:v>
                </c:pt>
                <c:pt idx="42183">
                  <c:v>-3.1092436974789899E-2</c:v>
                </c:pt>
                <c:pt idx="42184">
                  <c:v>-3.1092436974789899E-2</c:v>
                </c:pt>
                <c:pt idx="42185">
                  <c:v>-3.1092436974789899E-2</c:v>
                </c:pt>
                <c:pt idx="42186">
                  <c:v>-3.1092436974789899E-2</c:v>
                </c:pt>
                <c:pt idx="42187">
                  <c:v>-3.1092436974789899E-2</c:v>
                </c:pt>
                <c:pt idx="42188">
                  <c:v>-3.1092436974789899E-2</c:v>
                </c:pt>
                <c:pt idx="42189">
                  <c:v>-3.1092436974789899E-2</c:v>
                </c:pt>
                <c:pt idx="42190">
                  <c:v>-3.1092436974789899E-2</c:v>
                </c:pt>
                <c:pt idx="42191">
                  <c:v>-3.1092436974789899E-2</c:v>
                </c:pt>
                <c:pt idx="42192">
                  <c:v>-3.1092436974789899E-2</c:v>
                </c:pt>
                <c:pt idx="42193">
                  <c:v>-3.1092436974789899E-2</c:v>
                </c:pt>
                <c:pt idx="42194">
                  <c:v>-3.1092436974789899E-2</c:v>
                </c:pt>
                <c:pt idx="42195">
                  <c:v>-3.1092436974789899E-2</c:v>
                </c:pt>
                <c:pt idx="42196">
                  <c:v>-3.1092436974789899E-2</c:v>
                </c:pt>
                <c:pt idx="42197">
                  <c:v>-3.1092436974789899E-2</c:v>
                </c:pt>
                <c:pt idx="42198">
                  <c:v>-3.1092436974789899E-2</c:v>
                </c:pt>
                <c:pt idx="42199">
                  <c:v>-3.1092436974789899E-2</c:v>
                </c:pt>
                <c:pt idx="42200">
                  <c:v>-3.1092436974789899E-2</c:v>
                </c:pt>
                <c:pt idx="42201">
                  <c:v>-3.1092436974789899E-2</c:v>
                </c:pt>
                <c:pt idx="42202">
                  <c:v>-3.1092436974789899E-2</c:v>
                </c:pt>
                <c:pt idx="42203">
                  <c:v>-3.1092436974789899E-2</c:v>
                </c:pt>
                <c:pt idx="42204">
                  <c:v>-3.1932773109243598E-2</c:v>
                </c:pt>
                <c:pt idx="42205">
                  <c:v>-3.1932773109243598E-2</c:v>
                </c:pt>
                <c:pt idx="42206">
                  <c:v>-3.1932773109243598E-2</c:v>
                </c:pt>
                <c:pt idx="42207">
                  <c:v>-3.1932773109243598E-2</c:v>
                </c:pt>
                <c:pt idx="42208">
                  <c:v>-3.1932773109243598E-2</c:v>
                </c:pt>
                <c:pt idx="42209">
                  <c:v>-3.1932773109243598E-2</c:v>
                </c:pt>
                <c:pt idx="42210">
                  <c:v>-3.1932773109243598E-2</c:v>
                </c:pt>
                <c:pt idx="42211">
                  <c:v>-3.1932773109243598E-2</c:v>
                </c:pt>
                <c:pt idx="42212">
                  <c:v>-3.1932773109243598E-2</c:v>
                </c:pt>
                <c:pt idx="42213">
                  <c:v>-3.1932773109243598E-2</c:v>
                </c:pt>
                <c:pt idx="42214">
                  <c:v>-3.1932773109243598E-2</c:v>
                </c:pt>
                <c:pt idx="42215">
                  <c:v>-3.1932773109243598E-2</c:v>
                </c:pt>
                <c:pt idx="42216">
                  <c:v>-3.1932773109243598E-2</c:v>
                </c:pt>
                <c:pt idx="42217">
                  <c:v>-3.1932773109243598E-2</c:v>
                </c:pt>
                <c:pt idx="42218">
                  <c:v>-3.1932773109243598E-2</c:v>
                </c:pt>
                <c:pt idx="42219">
                  <c:v>-3.1932773109243598E-2</c:v>
                </c:pt>
                <c:pt idx="42220">
                  <c:v>-3.1932773109243598E-2</c:v>
                </c:pt>
                <c:pt idx="42221">
                  <c:v>-3.1092436974789899E-2</c:v>
                </c:pt>
                <c:pt idx="42222">
                  <c:v>-3.1092436974789899E-2</c:v>
                </c:pt>
                <c:pt idx="42223">
                  <c:v>-3.1092436974789899E-2</c:v>
                </c:pt>
                <c:pt idx="42224">
                  <c:v>-3.1092436974789899E-2</c:v>
                </c:pt>
                <c:pt idx="42225">
                  <c:v>-3.1092436974789899E-2</c:v>
                </c:pt>
                <c:pt idx="42226">
                  <c:v>-3.1092436974789899E-2</c:v>
                </c:pt>
                <c:pt idx="42227">
                  <c:v>-3.1092436974789899E-2</c:v>
                </c:pt>
                <c:pt idx="42228">
                  <c:v>-3.1092436974789899E-2</c:v>
                </c:pt>
                <c:pt idx="42229">
                  <c:v>-3.1092436974789899E-2</c:v>
                </c:pt>
                <c:pt idx="42230">
                  <c:v>-3.1092436974789899E-2</c:v>
                </c:pt>
                <c:pt idx="42231">
                  <c:v>-3.1092436974789899E-2</c:v>
                </c:pt>
                <c:pt idx="42232">
                  <c:v>-3.1092436974789899E-2</c:v>
                </c:pt>
                <c:pt idx="42233">
                  <c:v>-3.1092436974789899E-2</c:v>
                </c:pt>
                <c:pt idx="42234">
                  <c:v>-3.02521008403361E-2</c:v>
                </c:pt>
                <c:pt idx="42235">
                  <c:v>-3.02521008403361E-2</c:v>
                </c:pt>
                <c:pt idx="42236">
                  <c:v>-3.02521008403361E-2</c:v>
                </c:pt>
                <c:pt idx="42237">
                  <c:v>-3.02521008403361E-2</c:v>
                </c:pt>
                <c:pt idx="42238">
                  <c:v>-3.02521008403361E-2</c:v>
                </c:pt>
                <c:pt idx="42239">
                  <c:v>-3.02521008403361E-2</c:v>
                </c:pt>
                <c:pt idx="42240">
                  <c:v>-3.02521008403361E-2</c:v>
                </c:pt>
                <c:pt idx="42241">
                  <c:v>-3.02521008403361E-2</c:v>
                </c:pt>
                <c:pt idx="42242">
                  <c:v>-3.02521008403361E-2</c:v>
                </c:pt>
                <c:pt idx="42243">
                  <c:v>-3.02521008403361E-2</c:v>
                </c:pt>
                <c:pt idx="42244">
                  <c:v>-3.02521008403361E-2</c:v>
                </c:pt>
                <c:pt idx="42245">
                  <c:v>-3.02521008403361E-2</c:v>
                </c:pt>
                <c:pt idx="42246">
                  <c:v>-3.02521008403361E-2</c:v>
                </c:pt>
                <c:pt idx="42247">
                  <c:v>-3.02521008403361E-2</c:v>
                </c:pt>
                <c:pt idx="42248">
                  <c:v>-3.02521008403361E-2</c:v>
                </c:pt>
                <c:pt idx="42249">
                  <c:v>-3.02521008403361E-2</c:v>
                </c:pt>
                <c:pt idx="42250">
                  <c:v>-3.02521008403361E-2</c:v>
                </c:pt>
                <c:pt idx="42251">
                  <c:v>-3.02521008403361E-2</c:v>
                </c:pt>
                <c:pt idx="42252">
                  <c:v>-3.02521008403361E-2</c:v>
                </c:pt>
                <c:pt idx="42253">
                  <c:v>-3.02521008403361E-2</c:v>
                </c:pt>
                <c:pt idx="42254">
                  <c:v>-3.02521008403361E-2</c:v>
                </c:pt>
                <c:pt idx="42255">
                  <c:v>-3.02521008403361E-2</c:v>
                </c:pt>
                <c:pt idx="42256">
                  <c:v>-3.02521008403361E-2</c:v>
                </c:pt>
                <c:pt idx="42257">
                  <c:v>-3.02521008403361E-2</c:v>
                </c:pt>
                <c:pt idx="42258">
                  <c:v>-3.02521008403361E-2</c:v>
                </c:pt>
                <c:pt idx="42259">
                  <c:v>-3.02521008403361E-2</c:v>
                </c:pt>
                <c:pt idx="42260">
                  <c:v>-2.94117647058823E-2</c:v>
                </c:pt>
                <c:pt idx="42261">
                  <c:v>-2.94117647058823E-2</c:v>
                </c:pt>
                <c:pt idx="42262">
                  <c:v>-2.94117647058823E-2</c:v>
                </c:pt>
                <c:pt idx="42263">
                  <c:v>-2.94117647058823E-2</c:v>
                </c:pt>
                <c:pt idx="42264">
                  <c:v>-2.94117647058823E-2</c:v>
                </c:pt>
                <c:pt idx="42265">
                  <c:v>-2.94117647058823E-2</c:v>
                </c:pt>
                <c:pt idx="42266">
                  <c:v>-3.02521008403361E-2</c:v>
                </c:pt>
                <c:pt idx="42267">
                  <c:v>-3.02521008403361E-2</c:v>
                </c:pt>
                <c:pt idx="42268">
                  <c:v>-3.02521008403361E-2</c:v>
                </c:pt>
                <c:pt idx="42269">
                  <c:v>-3.02521008403361E-2</c:v>
                </c:pt>
                <c:pt idx="42270">
                  <c:v>-3.02521008403361E-2</c:v>
                </c:pt>
                <c:pt idx="42271">
                  <c:v>-3.02521008403361E-2</c:v>
                </c:pt>
                <c:pt idx="42272">
                  <c:v>-3.02521008403361E-2</c:v>
                </c:pt>
                <c:pt idx="42273">
                  <c:v>-3.02521008403361E-2</c:v>
                </c:pt>
                <c:pt idx="42274">
                  <c:v>-3.02521008403361E-2</c:v>
                </c:pt>
                <c:pt idx="42275">
                  <c:v>-3.02521008403361E-2</c:v>
                </c:pt>
                <c:pt idx="42276">
                  <c:v>-3.02521008403361E-2</c:v>
                </c:pt>
                <c:pt idx="42277">
                  <c:v>-3.02521008403361E-2</c:v>
                </c:pt>
                <c:pt idx="42278">
                  <c:v>-3.02521008403361E-2</c:v>
                </c:pt>
                <c:pt idx="42279">
                  <c:v>-3.02521008403361E-2</c:v>
                </c:pt>
                <c:pt idx="42280">
                  <c:v>-3.02521008403361E-2</c:v>
                </c:pt>
                <c:pt idx="42281">
                  <c:v>-3.02521008403361E-2</c:v>
                </c:pt>
                <c:pt idx="42282">
                  <c:v>-3.02521008403361E-2</c:v>
                </c:pt>
                <c:pt idx="42283">
                  <c:v>-3.02521008403361E-2</c:v>
                </c:pt>
                <c:pt idx="42284">
                  <c:v>-3.02521008403361E-2</c:v>
                </c:pt>
                <c:pt idx="42285">
                  <c:v>-3.02521008403361E-2</c:v>
                </c:pt>
                <c:pt idx="42286">
                  <c:v>-3.02521008403361E-2</c:v>
                </c:pt>
                <c:pt idx="42287">
                  <c:v>-3.02521008403361E-2</c:v>
                </c:pt>
                <c:pt idx="42288">
                  <c:v>-2.94117647058823E-2</c:v>
                </c:pt>
                <c:pt idx="42289">
                  <c:v>-2.94117647058823E-2</c:v>
                </c:pt>
                <c:pt idx="42290">
                  <c:v>-2.94117647058823E-2</c:v>
                </c:pt>
                <c:pt idx="42291">
                  <c:v>-2.94117647058823E-2</c:v>
                </c:pt>
                <c:pt idx="42292">
                  <c:v>-2.94117647058823E-2</c:v>
                </c:pt>
                <c:pt idx="42293">
                  <c:v>-2.94117647058823E-2</c:v>
                </c:pt>
                <c:pt idx="42294">
                  <c:v>-2.94117647058823E-2</c:v>
                </c:pt>
                <c:pt idx="42295">
                  <c:v>-2.94117647058823E-2</c:v>
                </c:pt>
                <c:pt idx="42296">
                  <c:v>-2.94117647058823E-2</c:v>
                </c:pt>
                <c:pt idx="42297">
                  <c:v>-2.94117647058823E-2</c:v>
                </c:pt>
                <c:pt idx="42298">
                  <c:v>-2.94117647058823E-2</c:v>
                </c:pt>
                <c:pt idx="42299">
                  <c:v>-2.94117647058823E-2</c:v>
                </c:pt>
                <c:pt idx="42300">
                  <c:v>-2.94117647058823E-2</c:v>
                </c:pt>
                <c:pt idx="42301">
                  <c:v>-2.94117647058823E-2</c:v>
                </c:pt>
                <c:pt idx="42302">
                  <c:v>-2.94117647058823E-2</c:v>
                </c:pt>
                <c:pt idx="42303">
                  <c:v>-2.94117647058823E-2</c:v>
                </c:pt>
                <c:pt idx="42304">
                  <c:v>-2.94117647058823E-2</c:v>
                </c:pt>
                <c:pt idx="42305">
                  <c:v>-2.94117647058823E-2</c:v>
                </c:pt>
                <c:pt idx="42306">
                  <c:v>-2.94117647058823E-2</c:v>
                </c:pt>
                <c:pt idx="42307">
                  <c:v>-2.94117647058823E-2</c:v>
                </c:pt>
                <c:pt idx="42308">
                  <c:v>-2.94117647058823E-2</c:v>
                </c:pt>
                <c:pt idx="42309">
                  <c:v>-2.94117647058823E-2</c:v>
                </c:pt>
                <c:pt idx="42310">
                  <c:v>-2.94117647058823E-2</c:v>
                </c:pt>
                <c:pt idx="42311">
                  <c:v>-2.94117647058823E-2</c:v>
                </c:pt>
                <c:pt idx="42312">
                  <c:v>-2.94117647058823E-2</c:v>
                </c:pt>
                <c:pt idx="42313">
                  <c:v>-2.94117647058823E-2</c:v>
                </c:pt>
                <c:pt idx="42314">
                  <c:v>-2.94117647058823E-2</c:v>
                </c:pt>
                <c:pt idx="42315">
                  <c:v>-2.94117647058823E-2</c:v>
                </c:pt>
                <c:pt idx="42316">
                  <c:v>-2.94117647058823E-2</c:v>
                </c:pt>
                <c:pt idx="42317">
                  <c:v>-2.94117647058823E-2</c:v>
                </c:pt>
                <c:pt idx="42318">
                  <c:v>-2.94117647058823E-2</c:v>
                </c:pt>
                <c:pt idx="42319">
                  <c:v>-2.94117647058823E-2</c:v>
                </c:pt>
                <c:pt idx="42320">
                  <c:v>-2.94117647058823E-2</c:v>
                </c:pt>
                <c:pt idx="42321">
                  <c:v>-2.94117647058823E-2</c:v>
                </c:pt>
                <c:pt idx="42322">
                  <c:v>-2.94117647058823E-2</c:v>
                </c:pt>
                <c:pt idx="42323">
                  <c:v>-2.94117647058823E-2</c:v>
                </c:pt>
                <c:pt idx="42324">
                  <c:v>-2.94117647058823E-2</c:v>
                </c:pt>
                <c:pt idx="42325">
                  <c:v>-2.94117647058823E-2</c:v>
                </c:pt>
                <c:pt idx="42326">
                  <c:v>-2.94117647058823E-2</c:v>
                </c:pt>
                <c:pt idx="42327">
                  <c:v>-2.94117647058823E-2</c:v>
                </c:pt>
                <c:pt idx="42328">
                  <c:v>-2.94117647058823E-2</c:v>
                </c:pt>
                <c:pt idx="42329">
                  <c:v>-2.94117647058823E-2</c:v>
                </c:pt>
                <c:pt idx="42330">
                  <c:v>-2.94117647058823E-2</c:v>
                </c:pt>
                <c:pt idx="42331">
                  <c:v>-2.94117647058823E-2</c:v>
                </c:pt>
                <c:pt idx="42332">
                  <c:v>-2.94117647058823E-2</c:v>
                </c:pt>
                <c:pt idx="42333">
                  <c:v>-2.94117647058823E-2</c:v>
                </c:pt>
                <c:pt idx="42334">
                  <c:v>-2.94117647058823E-2</c:v>
                </c:pt>
                <c:pt idx="42335">
                  <c:v>-2.94117647058823E-2</c:v>
                </c:pt>
                <c:pt idx="42336">
                  <c:v>-3.02521008403361E-2</c:v>
                </c:pt>
                <c:pt idx="42337">
                  <c:v>-3.02521008403361E-2</c:v>
                </c:pt>
                <c:pt idx="42338">
                  <c:v>-3.02521008403361E-2</c:v>
                </c:pt>
                <c:pt idx="42339">
                  <c:v>-3.02521008403361E-2</c:v>
                </c:pt>
                <c:pt idx="42340">
                  <c:v>-3.02521008403361E-2</c:v>
                </c:pt>
                <c:pt idx="42341">
                  <c:v>-3.02521008403361E-2</c:v>
                </c:pt>
                <c:pt idx="42342">
                  <c:v>-3.02521008403361E-2</c:v>
                </c:pt>
                <c:pt idx="42343">
                  <c:v>-3.02521008403361E-2</c:v>
                </c:pt>
                <c:pt idx="42344">
                  <c:v>-3.02521008403361E-2</c:v>
                </c:pt>
                <c:pt idx="42345">
                  <c:v>-3.02521008403361E-2</c:v>
                </c:pt>
                <c:pt idx="42346">
                  <c:v>-3.02521008403361E-2</c:v>
                </c:pt>
                <c:pt idx="42347">
                  <c:v>-3.02521008403361E-2</c:v>
                </c:pt>
                <c:pt idx="42348">
                  <c:v>-3.02521008403361E-2</c:v>
                </c:pt>
                <c:pt idx="42349">
                  <c:v>-3.02521008403361E-2</c:v>
                </c:pt>
                <c:pt idx="42350">
                  <c:v>-3.02521008403361E-2</c:v>
                </c:pt>
                <c:pt idx="42351">
                  <c:v>-3.02521008403361E-2</c:v>
                </c:pt>
                <c:pt idx="42352">
                  <c:v>-3.02521008403361E-2</c:v>
                </c:pt>
                <c:pt idx="42353">
                  <c:v>-3.02521008403361E-2</c:v>
                </c:pt>
                <c:pt idx="42354">
                  <c:v>-3.02521008403361E-2</c:v>
                </c:pt>
                <c:pt idx="42355">
                  <c:v>-3.02521008403361E-2</c:v>
                </c:pt>
                <c:pt idx="42356">
                  <c:v>-3.02521008403361E-2</c:v>
                </c:pt>
                <c:pt idx="42357">
                  <c:v>-3.02521008403361E-2</c:v>
                </c:pt>
                <c:pt idx="42358">
                  <c:v>-3.02521008403361E-2</c:v>
                </c:pt>
                <c:pt idx="42359">
                  <c:v>-3.02521008403361E-2</c:v>
                </c:pt>
                <c:pt idx="42360">
                  <c:v>-3.02521008403361E-2</c:v>
                </c:pt>
                <c:pt idx="42361">
                  <c:v>-3.02521008403361E-2</c:v>
                </c:pt>
                <c:pt idx="42362">
                  <c:v>-3.02521008403361E-2</c:v>
                </c:pt>
                <c:pt idx="42363">
                  <c:v>-3.02521008403361E-2</c:v>
                </c:pt>
                <c:pt idx="42364">
                  <c:v>-3.02521008403361E-2</c:v>
                </c:pt>
                <c:pt idx="42365">
                  <c:v>-3.02521008403361E-2</c:v>
                </c:pt>
                <c:pt idx="42366">
                  <c:v>-3.02521008403361E-2</c:v>
                </c:pt>
                <c:pt idx="42367">
                  <c:v>-3.02521008403361E-2</c:v>
                </c:pt>
                <c:pt idx="42368">
                  <c:v>-3.02521008403361E-2</c:v>
                </c:pt>
                <c:pt idx="42369">
                  <c:v>-3.02521008403361E-2</c:v>
                </c:pt>
                <c:pt idx="42370">
                  <c:v>-3.02521008403361E-2</c:v>
                </c:pt>
                <c:pt idx="42371">
                  <c:v>-3.02521008403361E-2</c:v>
                </c:pt>
                <c:pt idx="42372">
                  <c:v>-3.02521008403361E-2</c:v>
                </c:pt>
                <c:pt idx="42373">
                  <c:v>-3.02521008403361E-2</c:v>
                </c:pt>
                <c:pt idx="42374">
                  <c:v>-3.02521008403361E-2</c:v>
                </c:pt>
                <c:pt idx="42375">
                  <c:v>-3.02521008403361E-2</c:v>
                </c:pt>
                <c:pt idx="42376">
                  <c:v>-3.02521008403361E-2</c:v>
                </c:pt>
                <c:pt idx="42377">
                  <c:v>-3.02521008403361E-2</c:v>
                </c:pt>
                <c:pt idx="42378">
                  <c:v>-3.02521008403361E-2</c:v>
                </c:pt>
                <c:pt idx="42379">
                  <c:v>-3.02521008403361E-2</c:v>
                </c:pt>
                <c:pt idx="42380">
                  <c:v>-3.02521008403361E-2</c:v>
                </c:pt>
                <c:pt idx="42381">
                  <c:v>-3.02521008403361E-2</c:v>
                </c:pt>
                <c:pt idx="42382">
                  <c:v>-3.02521008403361E-2</c:v>
                </c:pt>
                <c:pt idx="42383">
                  <c:v>-3.02521008403361E-2</c:v>
                </c:pt>
                <c:pt idx="42384">
                  <c:v>-3.02521008403361E-2</c:v>
                </c:pt>
                <c:pt idx="42385">
                  <c:v>-3.02521008403361E-2</c:v>
                </c:pt>
                <c:pt idx="42386">
                  <c:v>-3.02521008403361E-2</c:v>
                </c:pt>
                <c:pt idx="42387">
                  <c:v>-3.02521008403361E-2</c:v>
                </c:pt>
                <c:pt idx="42388">
                  <c:v>-3.02521008403361E-2</c:v>
                </c:pt>
                <c:pt idx="42389">
                  <c:v>-3.02521008403361E-2</c:v>
                </c:pt>
                <c:pt idx="42390">
                  <c:v>-3.02521008403361E-2</c:v>
                </c:pt>
                <c:pt idx="42391">
                  <c:v>-3.02521008403361E-2</c:v>
                </c:pt>
                <c:pt idx="42392">
                  <c:v>-3.02521008403361E-2</c:v>
                </c:pt>
                <c:pt idx="42393">
                  <c:v>-3.02521008403361E-2</c:v>
                </c:pt>
                <c:pt idx="42394">
                  <c:v>-3.02521008403361E-2</c:v>
                </c:pt>
                <c:pt idx="42395">
                  <c:v>-3.02521008403361E-2</c:v>
                </c:pt>
                <c:pt idx="42396">
                  <c:v>-3.02521008403361E-2</c:v>
                </c:pt>
                <c:pt idx="42397">
                  <c:v>-3.02521008403361E-2</c:v>
                </c:pt>
                <c:pt idx="42398">
                  <c:v>-3.02521008403361E-2</c:v>
                </c:pt>
                <c:pt idx="42399">
                  <c:v>-3.02521008403361E-2</c:v>
                </c:pt>
                <c:pt idx="42400">
                  <c:v>-3.02521008403361E-2</c:v>
                </c:pt>
                <c:pt idx="42401">
                  <c:v>-3.02521008403361E-2</c:v>
                </c:pt>
                <c:pt idx="42402">
                  <c:v>-3.02521008403361E-2</c:v>
                </c:pt>
                <c:pt idx="42403">
                  <c:v>-3.02521008403361E-2</c:v>
                </c:pt>
                <c:pt idx="42404">
                  <c:v>-3.02521008403361E-2</c:v>
                </c:pt>
                <c:pt idx="42405">
                  <c:v>-3.02521008403361E-2</c:v>
                </c:pt>
                <c:pt idx="42406">
                  <c:v>-3.02521008403361E-2</c:v>
                </c:pt>
                <c:pt idx="42407">
                  <c:v>-3.02521008403361E-2</c:v>
                </c:pt>
                <c:pt idx="42408">
                  <c:v>-3.02521008403361E-2</c:v>
                </c:pt>
                <c:pt idx="42409">
                  <c:v>-3.02521008403361E-2</c:v>
                </c:pt>
                <c:pt idx="42410">
                  <c:v>-3.02521008403361E-2</c:v>
                </c:pt>
                <c:pt idx="42411">
                  <c:v>-3.02521008403361E-2</c:v>
                </c:pt>
                <c:pt idx="42412">
                  <c:v>-3.02521008403361E-2</c:v>
                </c:pt>
                <c:pt idx="42413">
                  <c:v>-3.1092436974789899E-2</c:v>
                </c:pt>
                <c:pt idx="42414">
                  <c:v>-3.1092436974789899E-2</c:v>
                </c:pt>
                <c:pt idx="42415">
                  <c:v>-3.1092436974789899E-2</c:v>
                </c:pt>
                <c:pt idx="42416">
                  <c:v>-3.1092436974789899E-2</c:v>
                </c:pt>
                <c:pt idx="42417">
                  <c:v>-3.1092436974789899E-2</c:v>
                </c:pt>
                <c:pt idx="42418">
                  <c:v>-3.1092436974789899E-2</c:v>
                </c:pt>
                <c:pt idx="42419">
                  <c:v>-3.02521008403361E-2</c:v>
                </c:pt>
                <c:pt idx="42420">
                  <c:v>-3.02521008403361E-2</c:v>
                </c:pt>
                <c:pt idx="42421">
                  <c:v>-3.02521008403361E-2</c:v>
                </c:pt>
                <c:pt idx="42422">
                  <c:v>-3.02521008403361E-2</c:v>
                </c:pt>
                <c:pt idx="42423">
                  <c:v>-3.02521008403361E-2</c:v>
                </c:pt>
                <c:pt idx="42424">
                  <c:v>-3.02521008403361E-2</c:v>
                </c:pt>
                <c:pt idx="42425">
                  <c:v>-3.02521008403361E-2</c:v>
                </c:pt>
                <c:pt idx="42426">
                  <c:v>-3.02521008403361E-2</c:v>
                </c:pt>
                <c:pt idx="42427">
                  <c:v>-3.02521008403361E-2</c:v>
                </c:pt>
                <c:pt idx="42428">
                  <c:v>-3.02521008403361E-2</c:v>
                </c:pt>
                <c:pt idx="42429">
                  <c:v>-3.02521008403361E-2</c:v>
                </c:pt>
                <c:pt idx="42430">
                  <c:v>-3.02521008403361E-2</c:v>
                </c:pt>
                <c:pt idx="42431">
                  <c:v>-3.02521008403361E-2</c:v>
                </c:pt>
                <c:pt idx="42432">
                  <c:v>-2.94117647058823E-2</c:v>
                </c:pt>
                <c:pt idx="42433">
                  <c:v>-2.94117647058823E-2</c:v>
                </c:pt>
                <c:pt idx="42434">
                  <c:v>-2.94117647058823E-2</c:v>
                </c:pt>
                <c:pt idx="42435">
                  <c:v>-2.94117647058823E-2</c:v>
                </c:pt>
                <c:pt idx="42436">
                  <c:v>-2.94117647058823E-2</c:v>
                </c:pt>
                <c:pt idx="42437">
                  <c:v>-2.94117647058823E-2</c:v>
                </c:pt>
                <c:pt idx="42438">
                  <c:v>-2.94117647058823E-2</c:v>
                </c:pt>
                <c:pt idx="42439">
                  <c:v>-2.94117647058823E-2</c:v>
                </c:pt>
                <c:pt idx="42440">
                  <c:v>-2.94117647058823E-2</c:v>
                </c:pt>
                <c:pt idx="42441">
                  <c:v>-2.94117647058823E-2</c:v>
                </c:pt>
                <c:pt idx="42442">
                  <c:v>-2.94117647058823E-2</c:v>
                </c:pt>
                <c:pt idx="42443">
                  <c:v>-2.94117647058823E-2</c:v>
                </c:pt>
                <c:pt idx="42444">
                  <c:v>-2.94117647058823E-2</c:v>
                </c:pt>
                <c:pt idx="42445">
                  <c:v>-2.94117647058823E-2</c:v>
                </c:pt>
                <c:pt idx="42446">
                  <c:v>-2.94117647058823E-2</c:v>
                </c:pt>
                <c:pt idx="42447">
                  <c:v>-2.94117647058823E-2</c:v>
                </c:pt>
                <c:pt idx="42448">
                  <c:v>-2.94117647058823E-2</c:v>
                </c:pt>
                <c:pt idx="42449">
                  <c:v>-2.94117647058823E-2</c:v>
                </c:pt>
                <c:pt idx="42450">
                  <c:v>-2.94117647058823E-2</c:v>
                </c:pt>
                <c:pt idx="42451">
                  <c:v>-2.94117647058823E-2</c:v>
                </c:pt>
                <c:pt idx="42452">
                  <c:v>-2.94117647058823E-2</c:v>
                </c:pt>
                <c:pt idx="42453">
                  <c:v>-2.94117647058823E-2</c:v>
                </c:pt>
                <c:pt idx="42454">
                  <c:v>-2.94117647058823E-2</c:v>
                </c:pt>
                <c:pt idx="42455">
                  <c:v>-2.94117647058823E-2</c:v>
                </c:pt>
                <c:pt idx="42456">
                  <c:v>-2.94117647058823E-2</c:v>
                </c:pt>
                <c:pt idx="42457">
                  <c:v>-2.94117647058823E-2</c:v>
                </c:pt>
                <c:pt idx="42458">
                  <c:v>-2.94117647058823E-2</c:v>
                </c:pt>
                <c:pt idx="42459">
                  <c:v>-2.94117647058823E-2</c:v>
                </c:pt>
                <c:pt idx="42460">
                  <c:v>-2.94117647058823E-2</c:v>
                </c:pt>
                <c:pt idx="42461">
                  <c:v>-2.94117647058823E-2</c:v>
                </c:pt>
                <c:pt idx="42462">
                  <c:v>-2.94117647058823E-2</c:v>
                </c:pt>
                <c:pt idx="42463">
                  <c:v>-2.94117647058823E-2</c:v>
                </c:pt>
                <c:pt idx="42464">
                  <c:v>-2.94117647058823E-2</c:v>
                </c:pt>
                <c:pt idx="42465">
                  <c:v>-2.94117647058823E-2</c:v>
                </c:pt>
                <c:pt idx="42466">
                  <c:v>-2.94117647058823E-2</c:v>
                </c:pt>
                <c:pt idx="42467">
                  <c:v>-2.94117647058823E-2</c:v>
                </c:pt>
                <c:pt idx="42468">
                  <c:v>-2.94117647058823E-2</c:v>
                </c:pt>
                <c:pt idx="42469">
                  <c:v>-2.94117647058823E-2</c:v>
                </c:pt>
                <c:pt idx="42470">
                  <c:v>-2.94117647058823E-2</c:v>
                </c:pt>
                <c:pt idx="42471">
                  <c:v>-2.94117647058823E-2</c:v>
                </c:pt>
                <c:pt idx="42472">
                  <c:v>-2.94117647058823E-2</c:v>
                </c:pt>
                <c:pt idx="42473">
                  <c:v>-2.94117647058823E-2</c:v>
                </c:pt>
                <c:pt idx="42474">
                  <c:v>-2.94117647058823E-2</c:v>
                </c:pt>
                <c:pt idx="42475">
                  <c:v>-2.94117647058823E-2</c:v>
                </c:pt>
                <c:pt idx="42476">
                  <c:v>-2.94117647058823E-2</c:v>
                </c:pt>
                <c:pt idx="42477">
                  <c:v>-2.94117647058823E-2</c:v>
                </c:pt>
                <c:pt idx="42478">
                  <c:v>-2.94117647058823E-2</c:v>
                </c:pt>
                <c:pt idx="42479">
                  <c:v>-2.94117647058823E-2</c:v>
                </c:pt>
                <c:pt idx="42480">
                  <c:v>-2.94117647058823E-2</c:v>
                </c:pt>
                <c:pt idx="42481">
                  <c:v>-2.94117647058823E-2</c:v>
                </c:pt>
                <c:pt idx="42482">
                  <c:v>-2.94117647058823E-2</c:v>
                </c:pt>
                <c:pt idx="42483">
                  <c:v>-2.94117647058823E-2</c:v>
                </c:pt>
                <c:pt idx="42484">
                  <c:v>-2.94117647058823E-2</c:v>
                </c:pt>
                <c:pt idx="42485">
                  <c:v>-2.94117647058823E-2</c:v>
                </c:pt>
                <c:pt idx="42486">
                  <c:v>-2.94117647058823E-2</c:v>
                </c:pt>
                <c:pt idx="42487">
                  <c:v>-2.94117647058823E-2</c:v>
                </c:pt>
                <c:pt idx="42488">
                  <c:v>-2.94117647058823E-2</c:v>
                </c:pt>
                <c:pt idx="42489">
                  <c:v>-2.94117647058823E-2</c:v>
                </c:pt>
                <c:pt idx="42490">
                  <c:v>-2.94117647058823E-2</c:v>
                </c:pt>
                <c:pt idx="42491">
                  <c:v>-2.94117647058823E-2</c:v>
                </c:pt>
                <c:pt idx="42492">
                  <c:v>-2.94117647058823E-2</c:v>
                </c:pt>
                <c:pt idx="42493">
                  <c:v>-2.94117647058823E-2</c:v>
                </c:pt>
                <c:pt idx="42494">
                  <c:v>-2.94117647058823E-2</c:v>
                </c:pt>
                <c:pt idx="42495">
                  <c:v>-2.94117647058823E-2</c:v>
                </c:pt>
                <c:pt idx="42496">
                  <c:v>-2.94117647058823E-2</c:v>
                </c:pt>
                <c:pt idx="42497">
                  <c:v>-2.94117647058823E-2</c:v>
                </c:pt>
                <c:pt idx="42498">
                  <c:v>-2.94117647058823E-2</c:v>
                </c:pt>
                <c:pt idx="42499">
                  <c:v>-2.94117647058823E-2</c:v>
                </c:pt>
                <c:pt idx="42500">
                  <c:v>-2.94117647058823E-2</c:v>
                </c:pt>
                <c:pt idx="42501">
                  <c:v>-2.94117647058823E-2</c:v>
                </c:pt>
                <c:pt idx="42502">
                  <c:v>-2.94117647058823E-2</c:v>
                </c:pt>
                <c:pt idx="42503">
                  <c:v>-2.94117647058823E-2</c:v>
                </c:pt>
                <c:pt idx="42504">
                  <c:v>-2.94117647058823E-2</c:v>
                </c:pt>
                <c:pt idx="42505">
                  <c:v>-2.94117647058823E-2</c:v>
                </c:pt>
                <c:pt idx="42506">
                  <c:v>-2.94117647058823E-2</c:v>
                </c:pt>
                <c:pt idx="42507">
                  <c:v>-2.94117647058823E-2</c:v>
                </c:pt>
                <c:pt idx="42508">
                  <c:v>-2.94117647058823E-2</c:v>
                </c:pt>
                <c:pt idx="42509">
                  <c:v>-2.94117647058823E-2</c:v>
                </c:pt>
                <c:pt idx="42510">
                  <c:v>-2.94117647058823E-2</c:v>
                </c:pt>
                <c:pt idx="42511">
                  <c:v>-2.94117647058823E-2</c:v>
                </c:pt>
                <c:pt idx="42512">
                  <c:v>-2.94117647058823E-2</c:v>
                </c:pt>
                <c:pt idx="42513">
                  <c:v>-2.94117647058823E-2</c:v>
                </c:pt>
                <c:pt idx="42514">
                  <c:v>-2.94117647058823E-2</c:v>
                </c:pt>
                <c:pt idx="42515">
                  <c:v>-2.94117647058823E-2</c:v>
                </c:pt>
                <c:pt idx="42516">
                  <c:v>-2.94117647058823E-2</c:v>
                </c:pt>
                <c:pt idx="42517">
                  <c:v>-2.94117647058823E-2</c:v>
                </c:pt>
                <c:pt idx="42518">
                  <c:v>-2.94117647058823E-2</c:v>
                </c:pt>
                <c:pt idx="42519">
                  <c:v>-2.94117647058823E-2</c:v>
                </c:pt>
                <c:pt idx="42520">
                  <c:v>-2.94117647058823E-2</c:v>
                </c:pt>
                <c:pt idx="42521">
                  <c:v>-2.94117647058823E-2</c:v>
                </c:pt>
                <c:pt idx="42522">
                  <c:v>-2.94117647058823E-2</c:v>
                </c:pt>
                <c:pt idx="42523">
                  <c:v>-2.94117647058823E-2</c:v>
                </c:pt>
                <c:pt idx="42524">
                  <c:v>-2.94117647058823E-2</c:v>
                </c:pt>
                <c:pt idx="42525">
                  <c:v>-2.94117647058823E-2</c:v>
                </c:pt>
                <c:pt idx="42526">
                  <c:v>-2.94117647058823E-2</c:v>
                </c:pt>
                <c:pt idx="42527">
                  <c:v>-2.94117647058823E-2</c:v>
                </c:pt>
                <c:pt idx="42528">
                  <c:v>-2.94117647058823E-2</c:v>
                </c:pt>
                <c:pt idx="42529">
                  <c:v>-2.94117647058823E-2</c:v>
                </c:pt>
                <c:pt idx="42530">
                  <c:v>-2.94117647058823E-2</c:v>
                </c:pt>
                <c:pt idx="42531">
                  <c:v>-2.94117647058823E-2</c:v>
                </c:pt>
                <c:pt idx="42532">
                  <c:v>-2.94117647058823E-2</c:v>
                </c:pt>
                <c:pt idx="42533">
                  <c:v>-2.94117647058823E-2</c:v>
                </c:pt>
                <c:pt idx="42534">
                  <c:v>-2.94117647058823E-2</c:v>
                </c:pt>
                <c:pt idx="42535">
                  <c:v>-2.94117647058823E-2</c:v>
                </c:pt>
                <c:pt idx="42536">
                  <c:v>-2.94117647058823E-2</c:v>
                </c:pt>
                <c:pt idx="42537">
                  <c:v>-2.94117647058823E-2</c:v>
                </c:pt>
                <c:pt idx="42538">
                  <c:v>-2.94117647058823E-2</c:v>
                </c:pt>
                <c:pt idx="42539">
                  <c:v>-2.94117647058823E-2</c:v>
                </c:pt>
                <c:pt idx="42540">
                  <c:v>-2.94117647058823E-2</c:v>
                </c:pt>
                <c:pt idx="42541">
                  <c:v>-2.94117647058823E-2</c:v>
                </c:pt>
                <c:pt idx="42542">
                  <c:v>-3.02521008403361E-2</c:v>
                </c:pt>
                <c:pt idx="42543">
                  <c:v>-3.02521008403361E-2</c:v>
                </c:pt>
                <c:pt idx="42544">
                  <c:v>-3.02521008403361E-2</c:v>
                </c:pt>
                <c:pt idx="42545">
                  <c:v>-3.02521008403361E-2</c:v>
                </c:pt>
                <c:pt idx="42546">
                  <c:v>-3.02521008403361E-2</c:v>
                </c:pt>
                <c:pt idx="42547">
                  <c:v>-3.02521008403361E-2</c:v>
                </c:pt>
                <c:pt idx="42548">
                  <c:v>-3.02521008403361E-2</c:v>
                </c:pt>
                <c:pt idx="42549">
                  <c:v>-3.02521008403361E-2</c:v>
                </c:pt>
                <c:pt idx="42550">
                  <c:v>-3.02521008403361E-2</c:v>
                </c:pt>
                <c:pt idx="42551">
                  <c:v>-3.02521008403361E-2</c:v>
                </c:pt>
                <c:pt idx="42552">
                  <c:v>-3.02521008403361E-2</c:v>
                </c:pt>
                <c:pt idx="42553">
                  <c:v>-3.02521008403361E-2</c:v>
                </c:pt>
                <c:pt idx="42554">
                  <c:v>-3.02521008403361E-2</c:v>
                </c:pt>
                <c:pt idx="42555">
                  <c:v>-3.02521008403361E-2</c:v>
                </c:pt>
                <c:pt idx="42556">
                  <c:v>-3.02521008403361E-2</c:v>
                </c:pt>
                <c:pt idx="42557">
                  <c:v>-3.02521008403361E-2</c:v>
                </c:pt>
                <c:pt idx="42558">
                  <c:v>-3.02521008403361E-2</c:v>
                </c:pt>
                <c:pt idx="42559">
                  <c:v>-3.02521008403361E-2</c:v>
                </c:pt>
                <c:pt idx="42560">
                  <c:v>-3.02521008403361E-2</c:v>
                </c:pt>
                <c:pt idx="42561">
                  <c:v>-3.02521008403361E-2</c:v>
                </c:pt>
                <c:pt idx="42562">
                  <c:v>-3.02521008403361E-2</c:v>
                </c:pt>
                <c:pt idx="42563">
                  <c:v>-3.02521008403361E-2</c:v>
                </c:pt>
                <c:pt idx="42564">
                  <c:v>-3.02521008403361E-2</c:v>
                </c:pt>
                <c:pt idx="42565">
                  <c:v>-3.02521008403361E-2</c:v>
                </c:pt>
                <c:pt idx="42566">
                  <c:v>-3.02521008403361E-2</c:v>
                </c:pt>
                <c:pt idx="42567">
                  <c:v>-3.02521008403361E-2</c:v>
                </c:pt>
                <c:pt idx="42568">
                  <c:v>-3.02521008403361E-2</c:v>
                </c:pt>
                <c:pt idx="42569">
                  <c:v>-3.02521008403361E-2</c:v>
                </c:pt>
                <c:pt idx="42570">
                  <c:v>-3.02521008403361E-2</c:v>
                </c:pt>
                <c:pt idx="42571">
                  <c:v>-3.1092436974789899E-2</c:v>
                </c:pt>
                <c:pt idx="42572">
                  <c:v>-3.1092436974789899E-2</c:v>
                </c:pt>
                <c:pt idx="42573">
                  <c:v>-3.1092436974789899E-2</c:v>
                </c:pt>
                <c:pt idx="42574">
                  <c:v>-3.1092436974789899E-2</c:v>
                </c:pt>
                <c:pt idx="42575">
                  <c:v>-3.1092436974789899E-2</c:v>
                </c:pt>
                <c:pt idx="42576">
                  <c:v>-3.1092436974789899E-2</c:v>
                </c:pt>
                <c:pt idx="42577">
                  <c:v>-3.1092436974789899E-2</c:v>
                </c:pt>
                <c:pt idx="42578">
                  <c:v>-3.1092436974789899E-2</c:v>
                </c:pt>
                <c:pt idx="42579">
                  <c:v>-3.1092436974789899E-2</c:v>
                </c:pt>
                <c:pt idx="42580">
                  <c:v>-3.1092436974789899E-2</c:v>
                </c:pt>
                <c:pt idx="42581">
                  <c:v>-3.1092436974789899E-2</c:v>
                </c:pt>
                <c:pt idx="42582">
                  <c:v>-3.1092436974789899E-2</c:v>
                </c:pt>
                <c:pt idx="42583">
                  <c:v>-3.1092436974789899E-2</c:v>
                </c:pt>
                <c:pt idx="42584">
                  <c:v>-3.1092436974789899E-2</c:v>
                </c:pt>
                <c:pt idx="42585">
                  <c:v>-3.1092436974789899E-2</c:v>
                </c:pt>
                <c:pt idx="42586">
                  <c:v>-3.1092436974789899E-2</c:v>
                </c:pt>
                <c:pt idx="42587">
                  <c:v>-3.1932773109243598E-2</c:v>
                </c:pt>
                <c:pt idx="42588">
                  <c:v>-3.1932773109243598E-2</c:v>
                </c:pt>
                <c:pt idx="42589">
                  <c:v>-3.1932773109243598E-2</c:v>
                </c:pt>
                <c:pt idx="42590">
                  <c:v>-3.1932773109243598E-2</c:v>
                </c:pt>
                <c:pt idx="42591">
                  <c:v>-3.1932773109243598E-2</c:v>
                </c:pt>
                <c:pt idx="42592">
                  <c:v>-3.1932773109243598E-2</c:v>
                </c:pt>
                <c:pt idx="42593">
                  <c:v>-3.1932773109243598E-2</c:v>
                </c:pt>
                <c:pt idx="42594">
                  <c:v>-3.1932773109243598E-2</c:v>
                </c:pt>
                <c:pt idx="42595">
                  <c:v>-3.1932773109243598E-2</c:v>
                </c:pt>
                <c:pt idx="42596">
                  <c:v>-3.1932773109243598E-2</c:v>
                </c:pt>
                <c:pt idx="42597">
                  <c:v>-3.1932773109243598E-2</c:v>
                </c:pt>
                <c:pt idx="42598">
                  <c:v>-3.2773109243697397E-2</c:v>
                </c:pt>
                <c:pt idx="42599">
                  <c:v>-3.2773109243697397E-2</c:v>
                </c:pt>
                <c:pt idx="42600">
                  <c:v>-3.2773109243697397E-2</c:v>
                </c:pt>
                <c:pt idx="42601">
                  <c:v>-3.2773109243697397E-2</c:v>
                </c:pt>
                <c:pt idx="42602">
                  <c:v>-3.2773109243697397E-2</c:v>
                </c:pt>
                <c:pt idx="42603">
                  <c:v>-3.2773109243697397E-2</c:v>
                </c:pt>
                <c:pt idx="42604">
                  <c:v>-3.2773109243697397E-2</c:v>
                </c:pt>
                <c:pt idx="42605">
                  <c:v>-3.2773109243697397E-2</c:v>
                </c:pt>
                <c:pt idx="42606">
                  <c:v>-3.2773109243697397E-2</c:v>
                </c:pt>
                <c:pt idx="42607">
                  <c:v>-3.2773109243697397E-2</c:v>
                </c:pt>
                <c:pt idx="42608">
                  <c:v>-3.2773109243697397E-2</c:v>
                </c:pt>
                <c:pt idx="42609">
                  <c:v>-3.2773109243697397E-2</c:v>
                </c:pt>
                <c:pt idx="42610">
                  <c:v>-3.2773109243697397E-2</c:v>
                </c:pt>
                <c:pt idx="42611">
                  <c:v>-3.2773109243697397E-2</c:v>
                </c:pt>
                <c:pt idx="42612">
                  <c:v>-3.2773109243697397E-2</c:v>
                </c:pt>
                <c:pt idx="42613">
                  <c:v>-3.2773109243697397E-2</c:v>
                </c:pt>
                <c:pt idx="42614">
                  <c:v>-3.2773109243697397E-2</c:v>
                </c:pt>
                <c:pt idx="42615">
                  <c:v>-3.2773109243697397E-2</c:v>
                </c:pt>
                <c:pt idx="42616">
                  <c:v>-3.2773109243697397E-2</c:v>
                </c:pt>
                <c:pt idx="42617">
                  <c:v>-3.2773109243697397E-2</c:v>
                </c:pt>
                <c:pt idx="42618">
                  <c:v>-3.2773109243697397E-2</c:v>
                </c:pt>
                <c:pt idx="42619">
                  <c:v>-3.2773109243697397E-2</c:v>
                </c:pt>
                <c:pt idx="42620">
                  <c:v>-3.2773109243697397E-2</c:v>
                </c:pt>
                <c:pt idx="42621">
                  <c:v>-3.2773109243697397E-2</c:v>
                </c:pt>
                <c:pt idx="42622">
                  <c:v>-3.2773109243697397E-2</c:v>
                </c:pt>
                <c:pt idx="42623">
                  <c:v>-3.2773109243697397E-2</c:v>
                </c:pt>
                <c:pt idx="42624">
                  <c:v>-3.2773109243697397E-2</c:v>
                </c:pt>
                <c:pt idx="42625">
                  <c:v>-3.2773109243697397E-2</c:v>
                </c:pt>
                <c:pt idx="42626">
                  <c:v>-3.2773109243697397E-2</c:v>
                </c:pt>
                <c:pt idx="42627">
                  <c:v>-3.2773109243697397E-2</c:v>
                </c:pt>
                <c:pt idx="42628">
                  <c:v>-3.2773109243697397E-2</c:v>
                </c:pt>
                <c:pt idx="42629">
                  <c:v>-3.2773109243697397E-2</c:v>
                </c:pt>
                <c:pt idx="42630">
                  <c:v>-3.2773109243697397E-2</c:v>
                </c:pt>
                <c:pt idx="42631">
                  <c:v>-3.2773109243697397E-2</c:v>
                </c:pt>
                <c:pt idx="42632">
                  <c:v>-3.2773109243697397E-2</c:v>
                </c:pt>
                <c:pt idx="42633">
                  <c:v>-3.2773109243697397E-2</c:v>
                </c:pt>
                <c:pt idx="42634">
                  <c:v>-3.2773109243697397E-2</c:v>
                </c:pt>
                <c:pt idx="42635">
                  <c:v>-3.2773109243697397E-2</c:v>
                </c:pt>
                <c:pt idx="42636">
                  <c:v>-3.2773109243697397E-2</c:v>
                </c:pt>
                <c:pt idx="42637">
                  <c:v>-3.2773109243697397E-2</c:v>
                </c:pt>
                <c:pt idx="42638">
                  <c:v>-3.2773109243697397E-2</c:v>
                </c:pt>
                <c:pt idx="42639">
                  <c:v>-3.2773109243697397E-2</c:v>
                </c:pt>
                <c:pt idx="42640">
                  <c:v>-3.2773109243697397E-2</c:v>
                </c:pt>
                <c:pt idx="42641">
                  <c:v>-3.2773109243697397E-2</c:v>
                </c:pt>
                <c:pt idx="42642">
                  <c:v>-3.2773109243697397E-2</c:v>
                </c:pt>
                <c:pt idx="42643">
                  <c:v>-3.1932773109243598E-2</c:v>
                </c:pt>
                <c:pt idx="42644">
                  <c:v>-3.1932773109243598E-2</c:v>
                </c:pt>
                <c:pt idx="42645">
                  <c:v>-3.1932773109243598E-2</c:v>
                </c:pt>
                <c:pt idx="42646">
                  <c:v>-3.1932773109243598E-2</c:v>
                </c:pt>
                <c:pt idx="42647">
                  <c:v>-3.1932773109243598E-2</c:v>
                </c:pt>
                <c:pt idx="42648">
                  <c:v>-3.1932773109243598E-2</c:v>
                </c:pt>
                <c:pt idx="42649">
                  <c:v>-3.1932773109243598E-2</c:v>
                </c:pt>
                <c:pt idx="42650">
                  <c:v>-3.1932773109243598E-2</c:v>
                </c:pt>
                <c:pt idx="42651">
                  <c:v>-3.1932773109243598E-2</c:v>
                </c:pt>
                <c:pt idx="42652">
                  <c:v>-3.1932773109243598E-2</c:v>
                </c:pt>
                <c:pt idx="42653">
                  <c:v>-3.1932773109243598E-2</c:v>
                </c:pt>
                <c:pt idx="42654">
                  <c:v>-3.1932773109243598E-2</c:v>
                </c:pt>
                <c:pt idx="42655">
                  <c:v>-3.1932773109243598E-2</c:v>
                </c:pt>
                <c:pt idx="42656">
                  <c:v>-3.1932773109243598E-2</c:v>
                </c:pt>
                <c:pt idx="42657">
                  <c:v>-3.1932773109243598E-2</c:v>
                </c:pt>
                <c:pt idx="42658">
                  <c:v>-3.1932773109243598E-2</c:v>
                </c:pt>
                <c:pt idx="42659">
                  <c:v>-3.1932773109243598E-2</c:v>
                </c:pt>
                <c:pt idx="42660">
                  <c:v>-3.1932773109243598E-2</c:v>
                </c:pt>
                <c:pt idx="42661">
                  <c:v>-3.1932773109243598E-2</c:v>
                </c:pt>
                <c:pt idx="42662">
                  <c:v>-3.1932773109243598E-2</c:v>
                </c:pt>
                <c:pt idx="42663">
                  <c:v>-3.1932773109243598E-2</c:v>
                </c:pt>
                <c:pt idx="42664">
                  <c:v>-3.1932773109243598E-2</c:v>
                </c:pt>
                <c:pt idx="42665">
                  <c:v>-3.1932773109243598E-2</c:v>
                </c:pt>
                <c:pt idx="42666">
                  <c:v>-3.1932773109243598E-2</c:v>
                </c:pt>
                <c:pt idx="42667">
                  <c:v>-3.1932773109243598E-2</c:v>
                </c:pt>
                <c:pt idx="42668">
                  <c:v>-3.1932773109243598E-2</c:v>
                </c:pt>
                <c:pt idx="42669">
                  <c:v>-3.1932773109243598E-2</c:v>
                </c:pt>
                <c:pt idx="42670">
                  <c:v>-3.1932773109243598E-2</c:v>
                </c:pt>
                <c:pt idx="42671">
                  <c:v>-3.1932773109243598E-2</c:v>
                </c:pt>
                <c:pt idx="42672">
                  <c:v>-3.1932773109243598E-2</c:v>
                </c:pt>
                <c:pt idx="42673">
                  <c:v>-3.1932773109243598E-2</c:v>
                </c:pt>
                <c:pt idx="42674">
                  <c:v>-3.1932773109243598E-2</c:v>
                </c:pt>
                <c:pt idx="42675">
                  <c:v>-3.1932773109243598E-2</c:v>
                </c:pt>
                <c:pt idx="42676">
                  <c:v>-3.1932773109243598E-2</c:v>
                </c:pt>
                <c:pt idx="42677">
                  <c:v>-3.1932773109243598E-2</c:v>
                </c:pt>
                <c:pt idx="42678">
                  <c:v>-3.1932773109243598E-2</c:v>
                </c:pt>
                <c:pt idx="42679">
                  <c:v>-3.1932773109243598E-2</c:v>
                </c:pt>
                <c:pt idx="42680">
                  <c:v>-3.1932773109243598E-2</c:v>
                </c:pt>
                <c:pt idx="42681">
                  <c:v>-3.1932773109243598E-2</c:v>
                </c:pt>
                <c:pt idx="42682">
                  <c:v>-3.2773109243697397E-2</c:v>
                </c:pt>
                <c:pt idx="42683">
                  <c:v>-3.2773109243697397E-2</c:v>
                </c:pt>
                <c:pt idx="42684">
                  <c:v>-3.2773109243697397E-2</c:v>
                </c:pt>
                <c:pt idx="42685">
                  <c:v>-3.2773109243697397E-2</c:v>
                </c:pt>
                <c:pt idx="42686">
                  <c:v>-3.2773109243697397E-2</c:v>
                </c:pt>
                <c:pt idx="42687">
                  <c:v>-3.2773109243697397E-2</c:v>
                </c:pt>
                <c:pt idx="42688">
                  <c:v>-3.2773109243697397E-2</c:v>
                </c:pt>
                <c:pt idx="42689">
                  <c:v>-3.2773109243697397E-2</c:v>
                </c:pt>
                <c:pt idx="42690">
                  <c:v>-3.2773109243697397E-2</c:v>
                </c:pt>
                <c:pt idx="42691">
                  <c:v>-3.3613445378151197E-2</c:v>
                </c:pt>
                <c:pt idx="42692">
                  <c:v>-3.3613445378151197E-2</c:v>
                </c:pt>
                <c:pt idx="42693">
                  <c:v>-3.3613445378151197E-2</c:v>
                </c:pt>
                <c:pt idx="42694">
                  <c:v>-3.3613445378151197E-2</c:v>
                </c:pt>
                <c:pt idx="42695">
                  <c:v>-3.3613445378151197E-2</c:v>
                </c:pt>
                <c:pt idx="42696">
                  <c:v>-3.3613445378151197E-2</c:v>
                </c:pt>
                <c:pt idx="42697">
                  <c:v>-3.2773109243697397E-2</c:v>
                </c:pt>
                <c:pt idx="42698">
                  <c:v>-3.2773109243697397E-2</c:v>
                </c:pt>
                <c:pt idx="42699">
                  <c:v>-3.2773109243697397E-2</c:v>
                </c:pt>
                <c:pt idx="42700">
                  <c:v>-3.2773109243697397E-2</c:v>
                </c:pt>
                <c:pt idx="42701">
                  <c:v>-3.2773109243697397E-2</c:v>
                </c:pt>
                <c:pt idx="42702">
                  <c:v>-3.2773109243697397E-2</c:v>
                </c:pt>
                <c:pt idx="42703">
                  <c:v>-3.2773109243697397E-2</c:v>
                </c:pt>
                <c:pt idx="42704">
                  <c:v>-3.2773109243697397E-2</c:v>
                </c:pt>
                <c:pt idx="42705">
                  <c:v>-3.2773109243697397E-2</c:v>
                </c:pt>
                <c:pt idx="42706">
                  <c:v>-3.2773109243697397E-2</c:v>
                </c:pt>
                <c:pt idx="42707">
                  <c:v>-3.2773109243697397E-2</c:v>
                </c:pt>
                <c:pt idx="42708">
                  <c:v>-3.2773109243697397E-2</c:v>
                </c:pt>
                <c:pt idx="42709">
                  <c:v>-3.2773109243697397E-2</c:v>
                </c:pt>
                <c:pt idx="42710">
                  <c:v>-3.2773109243697397E-2</c:v>
                </c:pt>
                <c:pt idx="42711">
                  <c:v>-3.2773109243697397E-2</c:v>
                </c:pt>
                <c:pt idx="42712">
                  <c:v>-3.2773109243697397E-2</c:v>
                </c:pt>
                <c:pt idx="42713">
                  <c:v>-3.2773109243697397E-2</c:v>
                </c:pt>
                <c:pt idx="42714">
                  <c:v>-3.2773109243697397E-2</c:v>
                </c:pt>
                <c:pt idx="42715">
                  <c:v>-3.2773109243697397E-2</c:v>
                </c:pt>
                <c:pt idx="42716">
                  <c:v>-3.2773109243697397E-2</c:v>
                </c:pt>
                <c:pt idx="42717">
                  <c:v>-3.2773109243697397E-2</c:v>
                </c:pt>
                <c:pt idx="42718">
                  <c:v>-3.2773109243697397E-2</c:v>
                </c:pt>
                <c:pt idx="42719">
                  <c:v>-3.2773109243697397E-2</c:v>
                </c:pt>
                <c:pt idx="42720">
                  <c:v>-3.2773109243697397E-2</c:v>
                </c:pt>
                <c:pt idx="42721">
                  <c:v>-3.2773109243697397E-2</c:v>
                </c:pt>
                <c:pt idx="42722">
                  <c:v>-3.2773109243697397E-2</c:v>
                </c:pt>
                <c:pt idx="42723">
                  <c:v>-3.2773109243697397E-2</c:v>
                </c:pt>
                <c:pt idx="42724">
                  <c:v>-3.2773109243697397E-2</c:v>
                </c:pt>
                <c:pt idx="42725">
                  <c:v>-3.2773109243697397E-2</c:v>
                </c:pt>
                <c:pt idx="42726">
                  <c:v>-3.2773109243697397E-2</c:v>
                </c:pt>
                <c:pt idx="42727">
                  <c:v>-3.2773109243697397E-2</c:v>
                </c:pt>
                <c:pt idx="42728">
                  <c:v>-3.2773109243697397E-2</c:v>
                </c:pt>
                <c:pt idx="42729">
                  <c:v>-3.2773109243697397E-2</c:v>
                </c:pt>
                <c:pt idx="42730">
                  <c:v>-3.2773109243697397E-2</c:v>
                </c:pt>
                <c:pt idx="42731">
                  <c:v>-3.2773109243697397E-2</c:v>
                </c:pt>
                <c:pt idx="42732">
                  <c:v>-3.2773109243697397E-2</c:v>
                </c:pt>
                <c:pt idx="42733">
                  <c:v>-3.2773109243697397E-2</c:v>
                </c:pt>
                <c:pt idx="42734">
                  <c:v>-3.2773109243697397E-2</c:v>
                </c:pt>
                <c:pt idx="42735">
                  <c:v>-3.2773109243697397E-2</c:v>
                </c:pt>
                <c:pt idx="42736">
                  <c:v>-3.2773109243697397E-2</c:v>
                </c:pt>
                <c:pt idx="42737">
                  <c:v>-3.2773109243697397E-2</c:v>
                </c:pt>
                <c:pt idx="42738">
                  <c:v>-3.2773109243697397E-2</c:v>
                </c:pt>
                <c:pt idx="42739">
                  <c:v>-3.2773109243697397E-2</c:v>
                </c:pt>
                <c:pt idx="42740">
                  <c:v>-3.2773109243697397E-2</c:v>
                </c:pt>
                <c:pt idx="42741">
                  <c:v>-3.2773109243697397E-2</c:v>
                </c:pt>
                <c:pt idx="42742">
                  <c:v>-3.2773109243697397E-2</c:v>
                </c:pt>
                <c:pt idx="42743">
                  <c:v>-3.2773109243697397E-2</c:v>
                </c:pt>
                <c:pt idx="42744">
                  <c:v>-3.2773109243697397E-2</c:v>
                </c:pt>
                <c:pt idx="42745">
                  <c:v>-3.2773109243697397E-2</c:v>
                </c:pt>
                <c:pt idx="42746">
                  <c:v>-3.2773109243697397E-2</c:v>
                </c:pt>
                <c:pt idx="42747">
                  <c:v>-3.2773109243697397E-2</c:v>
                </c:pt>
                <c:pt idx="42748">
                  <c:v>-3.2773109243697397E-2</c:v>
                </c:pt>
                <c:pt idx="42749">
                  <c:v>-3.2773109243697397E-2</c:v>
                </c:pt>
                <c:pt idx="42750">
                  <c:v>-3.2773109243697397E-2</c:v>
                </c:pt>
                <c:pt idx="42751">
                  <c:v>-3.2773109243697397E-2</c:v>
                </c:pt>
                <c:pt idx="42752">
                  <c:v>-3.2773109243697397E-2</c:v>
                </c:pt>
                <c:pt idx="42753">
                  <c:v>-3.3613445378151197E-2</c:v>
                </c:pt>
                <c:pt idx="42754">
                  <c:v>-3.2773109243697397E-2</c:v>
                </c:pt>
                <c:pt idx="42755">
                  <c:v>-3.2773109243697397E-2</c:v>
                </c:pt>
                <c:pt idx="42756">
                  <c:v>-3.2773109243697397E-2</c:v>
                </c:pt>
                <c:pt idx="42757">
                  <c:v>-3.2773109243697397E-2</c:v>
                </c:pt>
                <c:pt idx="42758">
                  <c:v>-3.2773109243697397E-2</c:v>
                </c:pt>
                <c:pt idx="42759">
                  <c:v>-3.2773109243697397E-2</c:v>
                </c:pt>
                <c:pt idx="42760">
                  <c:v>-3.2773109243697397E-2</c:v>
                </c:pt>
                <c:pt idx="42761">
                  <c:v>-3.2773109243697397E-2</c:v>
                </c:pt>
                <c:pt idx="42762">
                  <c:v>-3.2773109243697397E-2</c:v>
                </c:pt>
                <c:pt idx="42763">
                  <c:v>-3.2773109243697397E-2</c:v>
                </c:pt>
                <c:pt idx="42764">
                  <c:v>-3.2773109243697397E-2</c:v>
                </c:pt>
                <c:pt idx="42765">
                  <c:v>-3.2773109243697397E-2</c:v>
                </c:pt>
                <c:pt idx="42766">
                  <c:v>-3.2773109243697397E-2</c:v>
                </c:pt>
                <c:pt idx="42767">
                  <c:v>-3.2773109243697397E-2</c:v>
                </c:pt>
                <c:pt idx="42768">
                  <c:v>-3.2773109243697397E-2</c:v>
                </c:pt>
                <c:pt idx="42769">
                  <c:v>-3.2773109243697397E-2</c:v>
                </c:pt>
                <c:pt idx="42770">
                  <c:v>-3.2773109243697397E-2</c:v>
                </c:pt>
                <c:pt idx="42771">
                  <c:v>-3.2773109243697397E-2</c:v>
                </c:pt>
                <c:pt idx="42772">
                  <c:v>-3.2773109243697397E-2</c:v>
                </c:pt>
                <c:pt idx="42773">
                  <c:v>-3.2773109243697397E-2</c:v>
                </c:pt>
                <c:pt idx="42774">
                  <c:v>-3.2773109243697397E-2</c:v>
                </c:pt>
                <c:pt idx="42775">
                  <c:v>-3.2773109243697397E-2</c:v>
                </c:pt>
                <c:pt idx="42776">
                  <c:v>-3.2773109243697397E-2</c:v>
                </c:pt>
                <c:pt idx="42777">
                  <c:v>-3.2773109243697397E-2</c:v>
                </c:pt>
                <c:pt idx="42778">
                  <c:v>-3.2773109243697397E-2</c:v>
                </c:pt>
                <c:pt idx="42779">
                  <c:v>-3.2773109243697397E-2</c:v>
                </c:pt>
                <c:pt idx="42780">
                  <c:v>-3.2773109243697397E-2</c:v>
                </c:pt>
                <c:pt idx="42781">
                  <c:v>-3.2773109243697397E-2</c:v>
                </c:pt>
                <c:pt idx="42782">
                  <c:v>-3.2773109243697397E-2</c:v>
                </c:pt>
                <c:pt idx="42783">
                  <c:v>-3.2773109243697397E-2</c:v>
                </c:pt>
                <c:pt idx="42784">
                  <c:v>-3.2773109243697397E-2</c:v>
                </c:pt>
                <c:pt idx="42785">
                  <c:v>-3.2773109243697397E-2</c:v>
                </c:pt>
                <c:pt idx="42786">
                  <c:v>-3.2773109243697397E-2</c:v>
                </c:pt>
                <c:pt idx="42787">
                  <c:v>-3.2773109243697397E-2</c:v>
                </c:pt>
                <c:pt idx="42788">
                  <c:v>-3.2773109243697397E-2</c:v>
                </c:pt>
                <c:pt idx="42789">
                  <c:v>-3.2773109243697397E-2</c:v>
                </c:pt>
                <c:pt idx="42790">
                  <c:v>-3.2773109243697397E-2</c:v>
                </c:pt>
                <c:pt idx="42791">
                  <c:v>-3.2773109243697397E-2</c:v>
                </c:pt>
                <c:pt idx="42792">
                  <c:v>-3.2773109243697397E-2</c:v>
                </c:pt>
                <c:pt idx="42793">
                  <c:v>-3.2773109243697397E-2</c:v>
                </c:pt>
                <c:pt idx="42794">
                  <c:v>-3.2773109243697397E-2</c:v>
                </c:pt>
                <c:pt idx="42795">
                  <c:v>-3.2773109243697397E-2</c:v>
                </c:pt>
                <c:pt idx="42796">
                  <c:v>-3.2773109243697397E-2</c:v>
                </c:pt>
                <c:pt idx="42797">
                  <c:v>-3.2773109243697397E-2</c:v>
                </c:pt>
                <c:pt idx="42798">
                  <c:v>-3.2773109243697397E-2</c:v>
                </c:pt>
                <c:pt idx="42799">
                  <c:v>-3.2773109243697397E-2</c:v>
                </c:pt>
                <c:pt idx="42800">
                  <c:v>-3.2773109243697397E-2</c:v>
                </c:pt>
                <c:pt idx="42801">
                  <c:v>-3.2773109243697397E-2</c:v>
                </c:pt>
                <c:pt idx="42802">
                  <c:v>-3.2773109243697397E-2</c:v>
                </c:pt>
                <c:pt idx="42803">
                  <c:v>-3.2773109243697397E-2</c:v>
                </c:pt>
                <c:pt idx="42804">
                  <c:v>-3.2773109243697397E-2</c:v>
                </c:pt>
                <c:pt idx="42805">
                  <c:v>-3.2773109243697397E-2</c:v>
                </c:pt>
                <c:pt idx="42806">
                  <c:v>-3.2773109243697397E-2</c:v>
                </c:pt>
                <c:pt idx="42807">
                  <c:v>-3.2773109243697397E-2</c:v>
                </c:pt>
                <c:pt idx="42808">
                  <c:v>-3.2773109243697397E-2</c:v>
                </c:pt>
                <c:pt idx="42809">
                  <c:v>-3.1932773109243598E-2</c:v>
                </c:pt>
                <c:pt idx="42810">
                  <c:v>-3.1932773109243598E-2</c:v>
                </c:pt>
                <c:pt idx="42811">
                  <c:v>-3.1932773109243598E-2</c:v>
                </c:pt>
                <c:pt idx="42812">
                  <c:v>-3.1932773109243598E-2</c:v>
                </c:pt>
                <c:pt idx="42813">
                  <c:v>-3.1932773109243598E-2</c:v>
                </c:pt>
                <c:pt idx="42814">
                  <c:v>-3.1932773109243598E-2</c:v>
                </c:pt>
                <c:pt idx="42815">
                  <c:v>-3.1932773109243598E-2</c:v>
                </c:pt>
                <c:pt idx="42816">
                  <c:v>-3.1932773109243598E-2</c:v>
                </c:pt>
                <c:pt idx="42817">
                  <c:v>-3.1932773109243598E-2</c:v>
                </c:pt>
                <c:pt idx="42818">
                  <c:v>-3.1932773109243598E-2</c:v>
                </c:pt>
                <c:pt idx="42819">
                  <c:v>-3.1932773109243598E-2</c:v>
                </c:pt>
                <c:pt idx="42820">
                  <c:v>-3.1932773109243598E-2</c:v>
                </c:pt>
                <c:pt idx="42821">
                  <c:v>-3.1932773109243598E-2</c:v>
                </c:pt>
                <c:pt idx="42822">
                  <c:v>-3.1932773109243598E-2</c:v>
                </c:pt>
                <c:pt idx="42823">
                  <c:v>-3.1932773109243598E-2</c:v>
                </c:pt>
                <c:pt idx="42824">
                  <c:v>-3.1932773109243598E-2</c:v>
                </c:pt>
                <c:pt idx="42825">
                  <c:v>-3.1932773109243598E-2</c:v>
                </c:pt>
                <c:pt idx="42826">
                  <c:v>-3.1932773109243598E-2</c:v>
                </c:pt>
                <c:pt idx="42827">
                  <c:v>-3.1932773109243598E-2</c:v>
                </c:pt>
                <c:pt idx="42828">
                  <c:v>-3.1932773109243598E-2</c:v>
                </c:pt>
                <c:pt idx="42829">
                  <c:v>-3.1932773109243598E-2</c:v>
                </c:pt>
                <c:pt idx="42830">
                  <c:v>-3.1932773109243598E-2</c:v>
                </c:pt>
                <c:pt idx="42831">
                  <c:v>-3.1932773109243598E-2</c:v>
                </c:pt>
                <c:pt idx="42832">
                  <c:v>-3.1932773109243598E-2</c:v>
                </c:pt>
                <c:pt idx="42833">
                  <c:v>-3.1932773109243598E-2</c:v>
                </c:pt>
                <c:pt idx="42834">
                  <c:v>-3.1932773109243598E-2</c:v>
                </c:pt>
                <c:pt idx="42835">
                  <c:v>-3.1932773109243598E-2</c:v>
                </c:pt>
                <c:pt idx="42836">
                  <c:v>-3.1932773109243598E-2</c:v>
                </c:pt>
                <c:pt idx="42837">
                  <c:v>-3.1932773109243598E-2</c:v>
                </c:pt>
                <c:pt idx="42838">
                  <c:v>-3.1932773109243598E-2</c:v>
                </c:pt>
                <c:pt idx="42839">
                  <c:v>-3.1932773109243598E-2</c:v>
                </c:pt>
                <c:pt idx="42840">
                  <c:v>-3.1932773109243598E-2</c:v>
                </c:pt>
                <c:pt idx="42841">
                  <c:v>-3.1932773109243598E-2</c:v>
                </c:pt>
                <c:pt idx="42842">
                  <c:v>-3.1932773109243598E-2</c:v>
                </c:pt>
                <c:pt idx="42843">
                  <c:v>-3.1932773109243598E-2</c:v>
                </c:pt>
                <c:pt idx="42844">
                  <c:v>-3.1932773109243598E-2</c:v>
                </c:pt>
                <c:pt idx="42845">
                  <c:v>-3.1932773109243598E-2</c:v>
                </c:pt>
                <c:pt idx="42846">
                  <c:v>-3.1932773109243598E-2</c:v>
                </c:pt>
                <c:pt idx="42847">
                  <c:v>-3.1932773109243598E-2</c:v>
                </c:pt>
                <c:pt idx="42848">
                  <c:v>-3.1932773109243598E-2</c:v>
                </c:pt>
                <c:pt idx="42849">
                  <c:v>-3.1932773109243598E-2</c:v>
                </c:pt>
                <c:pt idx="42850">
                  <c:v>-3.1932773109243598E-2</c:v>
                </c:pt>
                <c:pt idx="42851">
                  <c:v>-3.1932773109243598E-2</c:v>
                </c:pt>
                <c:pt idx="42852">
                  <c:v>-3.1932773109243598E-2</c:v>
                </c:pt>
                <c:pt idx="42853">
                  <c:v>-3.1932773109243598E-2</c:v>
                </c:pt>
                <c:pt idx="42854">
                  <c:v>-3.1932773109243598E-2</c:v>
                </c:pt>
                <c:pt idx="42855">
                  <c:v>-3.1932773109243598E-2</c:v>
                </c:pt>
                <c:pt idx="42856">
                  <c:v>-3.1932773109243598E-2</c:v>
                </c:pt>
                <c:pt idx="42857">
                  <c:v>-3.1932773109243598E-2</c:v>
                </c:pt>
                <c:pt idx="42858">
                  <c:v>-3.1932773109243598E-2</c:v>
                </c:pt>
                <c:pt idx="42859">
                  <c:v>-3.1932773109243598E-2</c:v>
                </c:pt>
                <c:pt idx="42860">
                  <c:v>-3.1932773109243598E-2</c:v>
                </c:pt>
                <c:pt idx="42861">
                  <c:v>-3.1932773109243598E-2</c:v>
                </c:pt>
                <c:pt idx="42862">
                  <c:v>-3.1932773109243598E-2</c:v>
                </c:pt>
                <c:pt idx="42863">
                  <c:v>-3.1932773109243598E-2</c:v>
                </c:pt>
                <c:pt idx="42864">
                  <c:v>-3.2773109243697397E-2</c:v>
                </c:pt>
                <c:pt idx="42865">
                  <c:v>-3.2773109243697397E-2</c:v>
                </c:pt>
                <c:pt idx="42866">
                  <c:v>-3.2773109243697397E-2</c:v>
                </c:pt>
                <c:pt idx="42867">
                  <c:v>-3.2773109243697397E-2</c:v>
                </c:pt>
                <c:pt idx="42868">
                  <c:v>-3.2773109243697397E-2</c:v>
                </c:pt>
                <c:pt idx="42869">
                  <c:v>-3.2773109243697397E-2</c:v>
                </c:pt>
                <c:pt idx="42870">
                  <c:v>-3.2773109243697397E-2</c:v>
                </c:pt>
                <c:pt idx="42871">
                  <c:v>-3.2773109243697397E-2</c:v>
                </c:pt>
                <c:pt idx="42872">
                  <c:v>-3.2773109243697397E-2</c:v>
                </c:pt>
                <c:pt idx="42873">
                  <c:v>-3.2773109243697397E-2</c:v>
                </c:pt>
                <c:pt idx="42874">
                  <c:v>-3.2773109243697397E-2</c:v>
                </c:pt>
                <c:pt idx="42875">
                  <c:v>-3.2773109243697397E-2</c:v>
                </c:pt>
                <c:pt idx="42876">
                  <c:v>-3.2773109243697397E-2</c:v>
                </c:pt>
                <c:pt idx="42877">
                  <c:v>-3.2773109243697397E-2</c:v>
                </c:pt>
                <c:pt idx="42878">
                  <c:v>-3.2773109243697397E-2</c:v>
                </c:pt>
                <c:pt idx="42879">
                  <c:v>-3.2773109243697397E-2</c:v>
                </c:pt>
                <c:pt idx="42880">
                  <c:v>-3.2773109243697397E-2</c:v>
                </c:pt>
                <c:pt idx="42881">
                  <c:v>-3.2773109243697397E-2</c:v>
                </c:pt>
                <c:pt idx="42882">
                  <c:v>-3.2773109243697397E-2</c:v>
                </c:pt>
                <c:pt idx="42883">
                  <c:v>-3.2773109243697397E-2</c:v>
                </c:pt>
                <c:pt idx="42884">
                  <c:v>-3.2773109243697397E-2</c:v>
                </c:pt>
                <c:pt idx="42885">
                  <c:v>-3.2773109243697397E-2</c:v>
                </c:pt>
                <c:pt idx="42886">
                  <c:v>-3.2773109243697397E-2</c:v>
                </c:pt>
                <c:pt idx="42887">
                  <c:v>-3.2773109243697397E-2</c:v>
                </c:pt>
                <c:pt idx="42888">
                  <c:v>-3.2773109243697397E-2</c:v>
                </c:pt>
                <c:pt idx="42889">
                  <c:v>-3.2773109243697397E-2</c:v>
                </c:pt>
                <c:pt idx="42890">
                  <c:v>-3.2773109243697397E-2</c:v>
                </c:pt>
                <c:pt idx="42891">
                  <c:v>-3.2773109243697397E-2</c:v>
                </c:pt>
                <c:pt idx="42892">
                  <c:v>-3.2773109243697397E-2</c:v>
                </c:pt>
                <c:pt idx="42893">
                  <c:v>-3.2773109243697397E-2</c:v>
                </c:pt>
                <c:pt idx="42894">
                  <c:v>-3.2773109243697397E-2</c:v>
                </c:pt>
                <c:pt idx="42895">
                  <c:v>-3.2773109243697397E-2</c:v>
                </c:pt>
                <c:pt idx="42896">
                  <c:v>-3.2773109243697397E-2</c:v>
                </c:pt>
                <c:pt idx="42897">
                  <c:v>-3.2773109243697397E-2</c:v>
                </c:pt>
                <c:pt idx="42898">
                  <c:v>-3.2773109243697397E-2</c:v>
                </c:pt>
                <c:pt idx="42899">
                  <c:v>-3.2773109243697397E-2</c:v>
                </c:pt>
                <c:pt idx="42900">
                  <c:v>-3.2773109243697397E-2</c:v>
                </c:pt>
                <c:pt idx="42901">
                  <c:v>-3.2773109243697397E-2</c:v>
                </c:pt>
                <c:pt idx="42902">
                  <c:v>-3.2773109243697397E-2</c:v>
                </c:pt>
                <c:pt idx="42903">
                  <c:v>-3.2773109243697397E-2</c:v>
                </c:pt>
                <c:pt idx="42904">
                  <c:v>-3.2773109243697397E-2</c:v>
                </c:pt>
                <c:pt idx="42905">
                  <c:v>-3.2773109243697397E-2</c:v>
                </c:pt>
                <c:pt idx="42906">
                  <c:v>-3.2773109243697397E-2</c:v>
                </c:pt>
                <c:pt idx="42907">
                  <c:v>-3.2773109243697397E-2</c:v>
                </c:pt>
                <c:pt idx="42908">
                  <c:v>-3.2773109243697397E-2</c:v>
                </c:pt>
                <c:pt idx="42909">
                  <c:v>-3.2773109243697397E-2</c:v>
                </c:pt>
                <c:pt idx="42910">
                  <c:v>-3.2773109243697397E-2</c:v>
                </c:pt>
                <c:pt idx="42911">
                  <c:v>-3.2773109243697397E-2</c:v>
                </c:pt>
                <c:pt idx="42912">
                  <c:v>-3.2773109243697397E-2</c:v>
                </c:pt>
                <c:pt idx="42913">
                  <c:v>-3.2773109243697397E-2</c:v>
                </c:pt>
                <c:pt idx="42914">
                  <c:v>-3.2773109243697397E-2</c:v>
                </c:pt>
                <c:pt idx="42915">
                  <c:v>-3.2773109243697397E-2</c:v>
                </c:pt>
                <c:pt idx="42916">
                  <c:v>-3.2773109243697397E-2</c:v>
                </c:pt>
                <c:pt idx="42917">
                  <c:v>-3.2773109243697397E-2</c:v>
                </c:pt>
                <c:pt idx="42918">
                  <c:v>-3.2773109243697397E-2</c:v>
                </c:pt>
                <c:pt idx="42919">
                  <c:v>-3.1932773109243598E-2</c:v>
                </c:pt>
                <c:pt idx="42920">
                  <c:v>-3.1932773109243598E-2</c:v>
                </c:pt>
                <c:pt idx="42921">
                  <c:v>-3.1932773109243598E-2</c:v>
                </c:pt>
                <c:pt idx="42922">
                  <c:v>-3.1932773109243598E-2</c:v>
                </c:pt>
                <c:pt idx="42923">
                  <c:v>-3.1932773109243598E-2</c:v>
                </c:pt>
                <c:pt idx="42924">
                  <c:v>-3.1932773109243598E-2</c:v>
                </c:pt>
                <c:pt idx="42925">
                  <c:v>-3.1932773109243598E-2</c:v>
                </c:pt>
                <c:pt idx="42926">
                  <c:v>-3.1932773109243598E-2</c:v>
                </c:pt>
                <c:pt idx="42927">
                  <c:v>-3.1932773109243598E-2</c:v>
                </c:pt>
                <c:pt idx="42928">
                  <c:v>-3.1932773109243598E-2</c:v>
                </c:pt>
                <c:pt idx="42929">
                  <c:v>-3.1932773109243598E-2</c:v>
                </c:pt>
                <c:pt idx="42930">
                  <c:v>-3.1932773109243598E-2</c:v>
                </c:pt>
                <c:pt idx="42931">
                  <c:v>-3.1932773109243598E-2</c:v>
                </c:pt>
                <c:pt idx="42932">
                  <c:v>-3.1932773109243598E-2</c:v>
                </c:pt>
                <c:pt idx="42933">
                  <c:v>-3.1932773109243598E-2</c:v>
                </c:pt>
                <c:pt idx="42934">
                  <c:v>-3.1932773109243598E-2</c:v>
                </c:pt>
                <c:pt idx="42935">
                  <c:v>-3.1932773109243598E-2</c:v>
                </c:pt>
                <c:pt idx="42936">
                  <c:v>-3.1932773109243598E-2</c:v>
                </c:pt>
                <c:pt idx="42937">
                  <c:v>-3.1932773109243598E-2</c:v>
                </c:pt>
                <c:pt idx="42938">
                  <c:v>-3.1932773109243598E-2</c:v>
                </c:pt>
                <c:pt idx="42939">
                  <c:v>-3.1932773109243598E-2</c:v>
                </c:pt>
                <c:pt idx="42940">
                  <c:v>-3.1932773109243598E-2</c:v>
                </c:pt>
                <c:pt idx="42941">
                  <c:v>-3.1932773109243598E-2</c:v>
                </c:pt>
                <c:pt idx="42942">
                  <c:v>-3.1932773109243598E-2</c:v>
                </c:pt>
                <c:pt idx="42943">
                  <c:v>-3.1932773109243598E-2</c:v>
                </c:pt>
                <c:pt idx="42944">
                  <c:v>-3.1932773109243598E-2</c:v>
                </c:pt>
                <c:pt idx="42945">
                  <c:v>-3.1932773109243598E-2</c:v>
                </c:pt>
                <c:pt idx="42946">
                  <c:v>-3.1932773109243598E-2</c:v>
                </c:pt>
                <c:pt idx="42947">
                  <c:v>-3.1932773109243598E-2</c:v>
                </c:pt>
                <c:pt idx="42948">
                  <c:v>-3.1932773109243598E-2</c:v>
                </c:pt>
                <c:pt idx="42949">
                  <c:v>-3.1932773109243598E-2</c:v>
                </c:pt>
                <c:pt idx="42950">
                  <c:v>-3.1932773109243598E-2</c:v>
                </c:pt>
                <c:pt idx="42951">
                  <c:v>-3.1932773109243598E-2</c:v>
                </c:pt>
                <c:pt idx="42952">
                  <c:v>-3.1932773109243598E-2</c:v>
                </c:pt>
                <c:pt idx="42953">
                  <c:v>-3.1932773109243598E-2</c:v>
                </c:pt>
                <c:pt idx="42954">
                  <c:v>-3.1932773109243598E-2</c:v>
                </c:pt>
                <c:pt idx="42955">
                  <c:v>-3.1932773109243598E-2</c:v>
                </c:pt>
                <c:pt idx="42956">
                  <c:v>-3.1932773109243598E-2</c:v>
                </c:pt>
                <c:pt idx="42957">
                  <c:v>-3.1932773109243598E-2</c:v>
                </c:pt>
                <c:pt idx="42958">
                  <c:v>-3.1932773109243598E-2</c:v>
                </c:pt>
                <c:pt idx="42959">
                  <c:v>-3.1932773109243598E-2</c:v>
                </c:pt>
                <c:pt idx="42960">
                  <c:v>-3.1932773109243598E-2</c:v>
                </c:pt>
                <c:pt idx="42961">
                  <c:v>-3.1932773109243598E-2</c:v>
                </c:pt>
                <c:pt idx="42962">
                  <c:v>-3.1932773109243598E-2</c:v>
                </c:pt>
                <c:pt idx="42963">
                  <c:v>-3.1932773109243598E-2</c:v>
                </c:pt>
                <c:pt idx="42964">
                  <c:v>-3.1932773109243598E-2</c:v>
                </c:pt>
                <c:pt idx="42965">
                  <c:v>-3.1932773109243598E-2</c:v>
                </c:pt>
                <c:pt idx="42966">
                  <c:v>-3.1932773109243598E-2</c:v>
                </c:pt>
                <c:pt idx="42967">
                  <c:v>-3.1932773109243598E-2</c:v>
                </c:pt>
                <c:pt idx="42968">
                  <c:v>-3.1932773109243598E-2</c:v>
                </c:pt>
                <c:pt idx="42969">
                  <c:v>-3.1932773109243598E-2</c:v>
                </c:pt>
                <c:pt idx="42970">
                  <c:v>-3.1932773109243598E-2</c:v>
                </c:pt>
                <c:pt idx="42971">
                  <c:v>-3.1932773109243598E-2</c:v>
                </c:pt>
                <c:pt idx="42972">
                  <c:v>-3.1932773109243598E-2</c:v>
                </c:pt>
                <c:pt idx="42973">
                  <c:v>-3.1932773109243598E-2</c:v>
                </c:pt>
                <c:pt idx="42974">
                  <c:v>-3.1932773109243598E-2</c:v>
                </c:pt>
                <c:pt idx="42975">
                  <c:v>-3.1932773109243598E-2</c:v>
                </c:pt>
                <c:pt idx="42976">
                  <c:v>-3.1932773109243598E-2</c:v>
                </c:pt>
                <c:pt idx="42977">
                  <c:v>-3.1932773109243598E-2</c:v>
                </c:pt>
                <c:pt idx="42978">
                  <c:v>-3.1932773109243598E-2</c:v>
                </c:pt>
                <c:pt idx="42979">
                  <c:v>-3.1932773109243598E-2</c:v>
                </c:pt>
                <c:pt idx="42980">
                  <c:v>-3.1932773109243598E-2</c:v>
                </c:pt>
                <c:pt idx="42981">
                  <c:v>-3.1932773109243598E-2</c:v>
                </c:pt>
                <c:pt idx="42982">
                  <c:v>-3.1932773109243598E-2</c:v>
                </c:pt>
                <c:pt idx="42983">
                  <c:v>-3.1932773109243598E-2</c:v>
                </c:pt>
                <c:pt idx="42984">
                  <c:v>-3.1932773109243598E-2</c:v>
                </c:pt>
                <c:pt idx="42985">
                  <c:v>-3.1932773109243598E-2</c:v>
                </c:pt>
                <c:pt idx="42986">
                  <c:v>-3.1932773109243598E-2</c:v>
                </c:pt>
                <c:pt idx="42987">
                  <c:v>-3.1932773109243598E-2</c:v>
                </c:pt>
                <c:pt idx="42988">
                  <c:v>-3.1932773109243598E-2</c:v>
                </c:pt>
                <c:pt idx="42989">
                  <c:v>-3.1932773109243598E-2</c:v>
                </c:pt>
                <c:pt idx="42990">
                  <c:v>-3.1932773109243598E-2</c:v>
                </c:pt>
                <c:pt idx="42991">
                  <c:v>-3.1932773109243598E-2</c:v>
                </c:pt>
                <c:pt idx="42992">
                  <c:v>-3.1932773109243598E-2</c:v>
                </c:pt>
                <c:pt idx="42993">
                  <c:v>-3.1932773109243598E-2</c:v>
                </c:pt>
                <c:pt idx="42994">
                  <c:v>-3.1932773109243598E-2</c:v>
                </c:pt>
                <c:pt idx="42995">
                  <c:v>-3.1932773109243598E-2</c:v>
                </c:pt>
                <c:pt idx="42996">
                  <c:v>-3.1932773109243598E-2</c:v>
                </c:pt>
                <c:pt idx="42997">
                  <c:v>-3.1932773109243598E-2</c:v>
                </c:pt>
                <c:pt idx="42998">
                  <c:v>-3.1932773109243598E-2</c:v>
                </c:pt>
                <c:pt idx="42999">
                  <c:v>-3.1932773109243598E-2</c:v>
                </c:pt>
                <c:pt idx="43000">
                  <c:v>-3.1932773109243598E-2</c:v>
                </c:pt>
                <c:pt idx="43001">
                  <c:v>-3.1932773109243598E-2</c:v>
                </c:pt>
                <c:pt idx="43002">
                  <c:v>-3.1932773109243598E-2</c:v>
                </c:pt>
                <c:pt idx="43003">
                  <c:v>-3.1932773109243598E-2</c:v>
                </c:pt>
                <c:pt idx="43004">
                  <c:v>-3.1932773109243598E-2</c:v>
                </c:pt>
                <c:pt idx="43005">
                  <c:v>-3.1932773109243598E-2</c:v>
                </c:pt>
                <c:pt idx="43006">
                  <c:v>-3.1932773109243598E-2</c:v>
                </c:pt>
                <c:pt idx="43007">
                  <c:v>-3.1932773109243598E-2</c:v>
                </c:pt>
                <c:pt idx="43008">
                  <c:v>-3.1932773109243598E-2</c:v>
                </c:pt>
                <c:pt idx="43009">
                  <c:v>-3.1932773109243598E-2</c:v>
                </c:pt>
                <c:pt idx="43010">
                  <c:v>-3.1932773109243598E-2</c:v>
                </c:pt>
                <c:pt idx="43011">
                  <c:v>-3.1932773109243598E-2</c:v>
                </c:pt>
                <c:pt idx="43012">
                  <c:v>-3.1932773109243598E-2</c:v>
                </c:pt>
                <c:pt idx="43013">
                  <c:v>-3.1932773109243598E-2</c:v>
                </c:pt>
                <c:pt idx="43014">
                  <c:v>-3.1932773109243598E-2</c:v>
                </c:pt>
                <c:pt idx="43015">
                  <c:v>-3.1092436974789899E-2</c:v>
                </c:pt>
                <c:pt idx="43016">
                  <c:v>-3.1092436974789899E-2</c:v>
                </c:pt>
                <c:pt idx="43017">
                  <c:v>-3.1092436974789899E-2</c:v>
                </c:pt>
                <c:pt idx="43018">
                  <c:v>-3.1092436974789899E-2</c:v>
                </c:pt>
                <c:pt idx="43019">
                  <c:v>-3.1092436974789899E-2</c:v>
                </c:pt>
                <c:pt idx="43020">
                  <c:v>-3.1092436974789899E-2</c:v>
                </c:pt>
                <c:pt idx="43021">
                  <c:v>-3.1092436974789899E-2</c:v>
                </c:pt>
                <c:pt idx="43022">
                  <c:v>-3.1092436974789899E-2</c:v>
                </c:pt>
                <c:pt idx="43023">
                  <c:v>-3.1092436974789899E-2</c:v>
                </c:pt>
                <c:pt idx="43024">
                  <c:v>-3.1092436974789899E-2</c:v>
                </c:pt>
                <c:pt idx="43025">
                  <c:v>-3.1092436974789899E-2</c:v>
                </c:pt>
                <c:pt idx="43026">
                  <c:v>-3.1092436974789899E-2</c:v>
                </c:pt>
                <c:pt idx="43027">
                  <c:v>-3.1092436974789899E-2</c:v>
                </c:pt>
                <c:pt idx="43028">
                  <c:v>-3.1092436974789899E-2</c:v>
                </c:pt>
                <c:pt idx="43029">
                  <c:v>-3.1092436974789899E-2</c:v>
                </c:pt>
                <c:pt idx="43030">
                  <c:v>-3.1092436974789899E-2</c:v>
                </c:pt>
                <c:pt idx="43031">
                  <c:v>-3.1092436974789899E-2</c:v>
                </c:pt>
                <c:pt idx="43032">
                  <c:v>-3.1092436974789899E-2</c:v>
                </c:pt>
                <c:pt idx="43033">
                  <c:v>-3.1092436974789899E-2</c:v>
                </c:pt>
                <c:pt idx="43034">
                  <c:v>-3.1092436974789899E-2</c:v>
                </c:pt>
                <c:pt idx="43035">
                  <c:v>-3.1092436974789899E-2</c:v>
                </c:pt>
                <c:pt idx="43036">
                  <c:v>-3.1092436974789899E-2</c:v>
                </c:pt>
                <c:pt idx="43037">
                  <c:v>-3.1092436974789899E-2</c:v>
                </c:pt>
                <c:pt idx="43038">
                  <c:v>-3.1092436974789899E-2</c:v>
                </c:pt>
                <c:pt idx="43039">
                  <c:v>-3.1092436974789899E-2</c:v>
                </c:pt>
                <c:pt idx="43040">
                  <c:v>-3.1092436974789899E-2</c:v>
                </c:pt>
                <c:pt idx="43041">
                  <c:v>-3.1092436974789899E-2</c:v>
                </c:pt>
                <c:pt idx="43042">
                  <c:v>-3.1092436974789899E-2</c:v>
                </c:pt>
                <c:pt idx="43043">
                  <c:v>-3.1092436974789899E-2</c:v>
                </c:pt>
                <c:pt idx="43044">
                  <c:v>-3.1092436974789899E-2</c:v>
                </c:pt>
                <c:pt idx="43045">
                  <c:v>-3.1092436974789899E-2</c:v>
                </c:pt>
                <c:pt idx="43046">
                  <c:v>-3.1092436974789899E-2</c:v>
                </c:pt>
                <c:pt idx="43047">
                  <c:v>-3.1092436974789899E-2</c:v>
                </c:pt>
                <c:pt idx="43048">
                  <c:v>-3.1092436974789899E-2</c:v>
                </c:pt>
                <c:pt idx="43049">
                  <c:v>-3.1092436974789899E-2</c:v>
                </c:pt>
                <c:pt idx="43050">
                  <c:v>-3.1092436974789899E-2</c:v>
                </c:pt>
                <c:pt idx="43051">
                  <c:v>-3.1092436974789899E-2</c:v>
                </c:pt>
                <c:pt idx="43052">
                  <c:v>-3.1092436974789899E-2</c:v>
                </c:pt>
                <c:pt idx="43053">
                  <c:v>-3.1092436974789899E-2</c:v>
                </c:pt>
                <c:pt idx="43054">
                  <c:v>-3.1092436974789899E-2</c:v>
                </c:pt>
                <c:pt idx="43055">
                  <c:v>-3.1092436974789899E-2</c:v>
                </c:pt>
                <c:pt idx="43056">
                  <c:v>-3.1092436974789899E-2</c:v>
                </c:pt>
                <c:pt idx="43057">
                  <c:v>-3.1092436974789899E-2</c:v>
                </c:pt>
                <c:pt idx="43058">
                  <c:v>-3.1092436974789899E-2</c:v>
                </c:pt>
                <c:pt idx="43059">
                  <c:v>-3.1092436974789899E-2</c:v>
                </c:pt>
                <c:pt idx="43060">
                  <c:v>-3.1092436974789899E-2</c:v>
                </c:pt>
                <c:pt idx="43061">
                  <c:v>-3.1092436974789899E-2</c:v>
                </c:pt>
                <c:pt idx="43062">
                  <c:v>-3.1092436974789899E-2</c:v>
                </c:pt>
                <c:pt idx="43063">
                  <c:v>-3.1092436974789899E-2</c:v>
                </c:pt>
                <c:pt idx="43064">
                  <c:v>-3.1092436974789899E-2</c:v>
                </c:pt>
                <c:pt idx="43065">
                  <c:v>-3.1092436974789899E-2</c:v>
                </c:pt>
                <c:pt idx="43066">
                  <c:v>-3.1092436974789899E-2</c:v>
                </c:pt>
                <c:pt idx="43067">
                  <c:v>-3.1092436974789899E-2</c:v>
                </c:pt>
                <c:pt idx="43068">
                  <c:v>-3.1092436974789899E-2</c:v>
                </c:pt>
                <c:pt idx="43069">
                  <c:v>-3.1092436974789899E-2</c:v>
                </c:pt>
                <c:pt idx="43070">
                  <c:v>-3.1092436974789899E-2</c:v>
                </c:pt>
                <c:pt idx="43071">
                  <c:v>-3.1092436974789899E-2</c:v>
                </c:pt>
                <c:pt idx="43072">
                  <c:v>-3.1092436974789899E-2</c:v>
                </c:pt>
                <c:pt idx="43073">
                  <c:v>-3.1092436974789899E-2</c:v>
                </c:pt>
                <c:pt idx="43074">
                  <c:v>-3.1092436974789899E-2</c:v>
                </c:pt>
                <c:pt idx="43075">
                  <c:v>-3.1092436974789899E-2</c:v>
                </c:pt>
                <c:pt idx="43076">
                  <c:v>-3.1092436974789899E-2</c:v>
                </c:pt>
                <c:pt idx="43077">
                  <c:v>-3.1092436974789899E-2</c:v>
                </c:pt>
                <c:pt idx="43078">
                  <c:v>-3.1092436974789899E-2</c:v>
                </c:pt>
                <c:pt idx="43079">
                  <c:v>-3.1092436974789899E-2</c:v>
                </c:pt>
                <c:pt idx="43080">
                  <c:v>-3.1092436974789899E-2</c:v>
                </c:pt>
                <c:pt idx="43081">
                  <c:v>-3.1092436974789899E-2</c:v>
                </c:pt>
                <c:pt idx="43082">
                  <c:v>-3.1092436974789899E-2</c:v>
                </c:pt>
                <c:pt idx="43083">
                  <c:v>-3.1092436974789899E-2</c:v>
                </c:pt>
                <c:pt idx="43084">
                  <c:v>-3.1092436974789899E-2</c:v>
                </c:pt>
                <c:pt idx="43085">
                  <c:v>-3.1092436974789899E-2</c:v>
                </c:pt>
                <c:pt idx="43086">
                  <c:v>-3.1092436974789899E-2</c:v>
                </c:pt>
                <c:pt idx="43087">
                  <c:v>-3.1092436974789899E-2</c:v>
                </c:pt>
                <c:pt idx="43088">
                  <c:v>-3.1092436974789899E-2</c:v>
                </c:pt>
                <c:pt idx="43089">
                  <c:v>-3.1092436974789899E-2</c:v>
                </c:pt>
                <c:pt idx="43090">
                  <c:v>-3.1092436974789899E-2</c:v>
                </c:pt>
                <c:pt idx="43091">
                  <c:v>-3.1092436974789899E-2</c:v>
                </c:pt>
                <c:pt idx="43092">
                  <c:v>-3.1092436974789899E-2</c:v>
                </c:pt>
                <c:pt idx="43093">
                  <c:v>-3.1092436974789899E-2</c:v>
                </c:pt>
                <c:pt idx="43094">
                  <c:v>-3.1092436974789899E-2</c:v>
                </c:pt>
                <c:pt idx="43095">
                  <c:v>-3.1092436974789899E-2</c:v>
                </c:pt>
                <c:pt idx="43096">
                  <c:v>-3.1092436974789899E-2</c:v>
                </c:pt>
                <c:pt idx="43097">
                  <c:v>-3.1092436974789899E-2</c:v>
                </c:pt>
                <c:pt idx="43098">
                  <c:v>-3.1092436974789899E-2</c:v>
                </c:pt>
                <c:pt idx="43099">
                  <c:v>-3.1092436974789899E-2</c:v>
                </c:pt>
                <c:pt idx="43100">
                  <c:v>-3.1092436974789899E-2</c:v>
                </c:pt>
                <c:pt idx="43101">
                  <c:v>-3.1092436974789899E-2</c:v>
                </c:pt>
                <c:pt idx="43102">
                  <c:v>-3.1092436974789899E-2</c:v>
                </c:pt>
                <c:pt idx="43103">
                  <c:v>-3.1092436974789899E-2</c:v>
                </c:pt>
                <c:pt idx="43104">
                  <c:v>-3.1092436974789899E-2</c:v>
                </c:pt>
                <c:pt idx="43105">
                  <c:v>-3.1092436974789899E-2</c:v>
                </c:pt>
                <c:pt idx="43106">
                  <c:v>-3.1092436974789899E-2</c:v>
                </c:pt>
                <c:pt idx="43107">
                  <c:v>-3.1092436974789899E-2</c:v>
                </c:pt>
                <c:pt idx="43108">
                  <c:v>-3.1092436974789899E-2</c:v>
                </c:pt>
                <c:pt idx="43109">
                  <c:v>-3.1092436974789899E-2</c:v>
                </c:pt>
                <c:pt idx="43110">
                  <c:v>-3.1092436974789899E-2</c:v>
                </c:pt>
                <c:pt idx="43111">
                  <c:v>-3.1092436974789899E-2</c:v>
                </c:pt>
                <c:pt idx="43112">
                  <c:v>-3.1092436974789899E-2</c:v>
                </c:pt>
                <c:pt idx="43113">
                  <c:v>-3.1092436974789899E-2</c:v>
                </c:pt>
                <c:pt idx="43114">
                  <c:v>-3.1092436974789899E-2</c:v>
                </c:pt>
                <c:pt idx="43115">
                  <c:v>-3.1092436974789899E-2</c:v>
                </c:pt>
                <c:pt idx="43116">
                  <c:v>-3.1092436974789899E-2</c:v>
                </c:pt>
                <c:pt idx="43117">
                  <c:v>-3.1092436974789899E-2</c:v>
                </c:pt>
                <c:pt idx="43118">
                  <c:v>-3.1092436974789899E-2</c:v>
                </c:pt>
                <c:pt idx="43119">
                  <c:v>-3.1092436974789899E-2</c:v>
                </c:pt>
                <c:pt idx="43120">
                  <c:v>-3.1092436974789899E-2</c:v>
                </c:pt>
                <c:pt idx="43121">
                  <c:v>-3.1092436974789899E-2</c:v>
                </c:pt>
                <c:pt idx="43122">
                  <c:v>-3.1092436974789899E-2</c:v>
                </c:pt>
                <c:pt idx="43123">
                  <c:v>-3.1092436974789899E-2</c:v>
                </c:pt>
                <c:pt idx="43124">
                  <c:v>-3.1092436974789899E-2</c:v>
                </c:pt>
                <c:pt idx="43125">
                  <c:v>-3.1092436974789899E-2</c:v>
                </c:pt>
                <c:pt idx="43126">
                  <c:v>-3.1092436974789899E-2</c:v>
                </c:pt>
                <c:pt idx="43127">
                  <c:v>-3.1092436974789899E-2</c:v>
                </c:pt>
                <c:pt idx="43128">
                  <c:v>-3.1092436974789899E-2</c:v>
                </c:pt>
                <c:pt idx="43129">
                  <c:v>-3.1092436974789899E-2</c:v>
                </c:pt>
                <c:pt idx="43130">
                  <c:v>-3.1092436974789899E-2</c:v>
                </c:pt>
                <c:pt idx="43131">
                  <c:v>-3.1092436974789899E-2</c:v>
                </c:pt>
                <c:pt idx="43132">
                  <c:v>-3.1092436974789899E-2</c:v>
                </c:pt>
                <c:pt idx="43133">
                  <c:v>-3.1092436974789899E-2</c:v>
                </c:pt>
                <c:pt idx="43134">
                  <c:v>-3.1092436974789899E-2</c:v>
                </c:pt>
                <c:pt idx="43135">
                  <c:v>-3.1092436974789899E-2</c:v>
                </c:pt>
                <c:pt idx="43136">
                  <c:v>-3.1092436974789899E-2</c:v>
                </c:pt>
                <c:pt idx="43137">
                  <c:v>-3.1092436974789899E-2</c:v>
                </c:pt>
                <c:pt idx="43138">
                  <c:v>-3.1092436974789899E-2</c:v>
                </c:pt>
                <c:pt idx="43139">
                  <c:v>-3.1092436974789899E-2</c:v>
                </c:pt>
                <c:pt idx="43140">
                  <c:v>-3.1092436974789899E-2</c:v>
                </c:pt>
                <c:pt idx="43141">
                  <c:v>-3.1092436974789899E-2</c:v>
                </c:pt>
                <c:pt idx="43142">
                  <c:v>-3.1092436974789899E-2</c:v>
                </c:pt>
                <c:pt idx="43143">
                  <c:v>-3.1092436974789899E-2</c:v>
                </c:pt>
                <c:pt idx="43144">
                  <c:v>-3.1092436974789899E-2</c:v>
                </c:pt>
                <c:pt idx="43145">
                  <c:v>-3.1092436974789899E-2</c:v>
                </c:pt>
                <c:pt idx="43146">
                  <c:v>-3.1092436974789899E-2</c:v>
                </c:pt>
                <c:pt idx="43147">
                  <c:v>-3.1092436974789899E-2</c:v>
                </c:pt>
                <c:pt idx="43148">
                  <c:v>-3.1092436974789899E-2</c:v>
                </c:pt>
                <c:pt idx="43149">
                  <c:v>-3.1092436974789899E-2</c:v>
                </c:pt>
                <c:pt idx="43150">
                  <c:v>-3.1092436974789899E-2</c:v>
                </c:pt>
                <c:pt idx="43151">
                  <c:v>-3.1092436974789899E-2</c:v>
                </c:pt>
                <c:pt idx="43152">
                  <c:v>-3.1092436974789899E-2</c:v>
                </c:pt>
                <c:pt idx="43153">
                  <c:v>-3.1092436974789899E-2</c:v>
                </c:pt>
                <c:pt idx="43154">
                  <c:v>-3.1092436974789899E-2</c:v>
                </c:pt>
                <c:pt idx="43155">
                  <c:v>-3.1092436974789899E-2</c:v>
                </c:pt>
                <c:pt idx="43156">
                  <c:v>-3.1092436974789899E-2</c:v>
                </c:pt>
                <c:pt idx="43157">
                  <c:v>-3.1092436974789899E-2</c:v>
                </c:pt>
                <c:pt idx="43158">
                  <c:v>-3.1092436974789899E-2</c:v>
                </c:pt>
                <c:pt idx="43159">
                  <c:v>-3.1092436974789899E-2</c:v>
                </c:pt>
                <c:pt idx="43160">
                  <c:v>-3.1092436974789899E-2</c:v>
                </c:pt>
                <c:pt idx="43161">
                  <c:v>-3.1092436974789899E-2</c:v>
                </c:pt>
                <c:pt idx="43162">
                  <c:v>-3.1092436974789899E-2</c:v>
                </c:pt>
                <c:pt idx="43163">
                  <c:v>-3.1092436974789899E-2</c:v>
                </c:pt>
                <c:pt idx="43164">
                  <c:v>-3.1092436974789899E-2</c:v>
                </c:pt>
                <c:pt idx="43165">
                  <c:v>-3.1092436974789899E-2</c:v>
                </c:pt>
                <c:pt idx="43166">
                  <c:v>-3.1092436974789899E-2</c:v>
                </c:pt>
                <c:pt idx="43167">
                  <c:v>-3.1092436974789899E-2</c:v>
                </c:pt>
                <c:pt idx="43168">
                  <c:v>-3.1092436974789899E-2</c:v>
                </c:pt>
                <c:pt idx="43169">
                  <c:v>-3.1092436974789899E-2</c:v>
                </c:pt>
                <c:pt idx="43170">
                  <c:v>-3.1092436974789899E-2</c:v>
                </c:pt>
                <c:pt idx="43171">
                  <c:v>-3.1092436974789899E-2</c:v>
                </c:pt>
                <c:pt idx="43172">
                  <c:v>-3.1092436974789899E-2</c:v>
                </c:pt>
                <c:pt idx="43173">
                  <c:v>-3.1092436974789899E-2</c:v>
                </c:pt>
                <c:pt idx="43174">
                  <c:v>-3.1092436974789899E-2</c:v>
                </c:pt>
                <c:pt idx="43175">
                  <c:v>-3.1092436974789899E-2</c:v>
                </c:pt>
                <c:pt idx="43176">
                  <c:v>-3.1092436974789899E-2</c:v>
                </c:pt>
                <c:pt idx="43177">
                  <c:v>-3.1092436974789899E-2</c:v>
                </c:pt>
                <c:pt idx="43178">
                  <c:v>-3.1092436974789899E-2</c:v>
                </c:pt>
                <c:pt idx="43179">
                  <c:v>-3.1092436974789899E-2</c:v>
                </c:pt>
                <c:pt idx="43180">
                  <c:v>-3.1092436974789899E-2</c:v>
                </c:pt>
                <c:pt idx="43181">
                  <c:v>-3.1092436974789899E-2</c:v>
                </c:pt>
                <c:pt idx="43182">
                  <c:v>-3.1092436974789899E-2</c:v>
                </c:pt>
                <c:pt idx="43183">
                  <c:v>-3.1092436974789899E-2</c:v>
                </c:pt>
                <c:pt idx="43184">
                  <c:v>-3.1092436974789899E-2</c:v>
                </c:pt>
                <c:pt idx="43185">
                  <c:v>-3.1092436974789899E-2</c:v>
                </c:pt>
                <c:pt idx="43186">
                  <c:v>-3.1092436974789899E-2</c:v>
                </c:pt>
                <c:pt idx="43187">
                  <c:v>-3.1092436974789899E-2</c:v>
                </c:pt>
                <c:pt idx="43188">
                  <c:v>-3.1092436974789899E-2</c:v>
                </c:pt>
                <c:pt idx="43189">
                  <c:v>-3.1092436974789899E-2</c:v>
                </c:pt>
                <c:pt idx="43190">
                  <c:v>-3.1092436974789899E-2</c:v>
                </c:pt>
                <c:pt idx="43191">
                  <c:v>-3.1092436974789899E-2</c:v>
                </c:pt>
                <c:pt idx="43192">
                  <c:v>-3.1092436974789899E-2</c:v>
                </c:pt>
                <c:pt idx="43193">
                  <c:v>-3.1092436974789899E-2</c:v>
                </c:pt>
                <c:pt idx="43194">
                  <c:v>-3.1092436974789899E-2</c:v>
                </c:pt>
                <c:pt idx="43195">
                  <c:v>-3.1092436974789899E-2</c:v>
                </c:pt>
                <c:pt idx="43196">
                  <c:v>-3.1092436974789899E-2</c:v>
                </c:pt>
                <c:pt idx="43197">
                  <c:v>-3.1092436974789899E-2</c:v>
                </c:pt>
                <c:pt idx="43198">
                  <c:v>-3.1092436974789899E-2</c:v>
                </c:pt>
                <c:pt idx="43199">
                  <c:v>-3.1092436974789899E-2</c:v>
                </c:pt>
                <c:pt idx="43200">
                  <c:v>-3.1092436974789899E-2</c:v>
                </c:pt>
                <c:pt idx="43201">
                  <c:v>-3.1092436974789899E-2</c:v>
                </c:pt>
                <c:pt idx="43202">
                  <c:v>-3.1092436974789899E-2</c:v>
                </c:pt>
                <c:pt idx="43203">
                  <c:v>-3.1092436974789899E-2</c:v>
                </c:pt>
                <c:pt idx="43204">
                  <c:v>-3.1092436974789899E-2</c:v>
                </c:pt>
                <c:pt idx="43205">
                  <c:v>-3.1092436974789899E-2</c:v>
                </c:pt>
                <c:pt idx="43206">
                  <c:v>-3.1092436974789899E-2</c:v>
                </c:pt>
                <c:pt idx="43207">
                  <c:v>-3.1092436974789899E-2</c:v>
                </c:pt>
                <c:pt idx="43208">
                  <c:v>-3.1092436974789899E-2</c:v>
                </c:pt>
                <c:pt idx="43209">
                  <c:v>-3.1092436974789899E-2</c:v>
                </c:pt>
                <c:pt idx="43210">
                  <c:v>-3.1092436974789899E-2</c:v>
                </c:pt>
                <c:pt idx="43211">
                  <c:v>-3.1092436974789899E-2</c:v>
                </c:pt>
                <c:pt idx="43212">
                  <c:v>-3.1092436974789899E-2</c:v>
                </c:pt>
                <c:pt idx="43213">
                  <c:v>-3.1092436974789899E-2</c:v>
                </c:pt>
                <c:pt idx="43214">
                  <c:v>-3.1092436974789899E-2</c:v>
                </c:pt>
                <c:pt idx="43215">
                  <c:v>-3.1092436974789899E-2</c:v>
                </c:pt>
                <c:pt idx="43216">
                  <c:v>-3.1092436974789899E-2</c:v>
                </c:pt>
                <c:pt idx="43217">
                  <c:v>-3.1092436974789899E-2</c:v>
                </c:pt>
                <c:pt idx="43218">
                  <c:v>-3.1092436974789899E-2</c:v>
                </c:pt>
                <c:pt idx="43219">
                  <c:v>-3.1092436974789899E-2</c:v>
                </c:pt>
                <c:pt idx="43220">
                  <c:v>-3.1092436974789899E-2</c:v>
                </c:pt>
                <c:pt idx="43221">
                  <c:v>-3.1092436974789899E-2</c:v>
                </c:pt>
                <c:pt idx="43222">
                  <c:v>-3.1092436974789899E-2</c:v>
                </c:pt>
                <c:pt idx="43223">
                  <c:v>-3.1092436974789899E-2</c:v>
                </c:pt>
                <c:pt idx="43224">
                  <c:v>-3.1092436974789899E-2</c:v>
                </c:pt>
                <c:pt idx="43225">
                  <c:v>-3.1092436974789899E-2</c:v>
                </c:pt>
                <c:pt idx="43226">
                  <c:v>-3.1092436974789899E-2</c:v>
                </c:pt>
                <c:pt idx="43227">
                  <c:v>-3.1092436974789899E-2</c:v>
                </c:pt>
                <c:pt idx="43228">
                  <c:v>-3.1092436974789899E-2</c:v>
                </c:pt>
                <c:pt idx="43229">
                  <c:v>-3.1092436974789899E-2</c:v>
                </c:pt>
                <c:pt idx="43230">
                  <c:v>-3.1092436974789899E-2</c:v>
                </c:pt>
                <c:pt idx="43231">
                  <c:v>-3.1092436974789899E-2</c:v>
                </c:pt>
                <c:pt idx="43232">
                  <c:v>-3.02521008403361E-2</c:v>
                </c:pt>
                <c:pt idx="43233">
                  <c:v>-3.02521008403361E-2</c:v>
                </c:pt>
                <c:pt idx="43234">
                  <c:v>-3.02521008403361E-2</c:v>
                </c:pt>
                <c:pt idx="43235">
                  <c:v>-3.02521008403361E-2</c:v>
                </c:pt>
                <c:pt idx="43236">
                  <c:v>-3.02521008403361E-2</c:v>
                </c:pt>
                <c:pt idx="43237">
                  <c:v>-3.02521008403361E-2</c:v>
                </c:pt>
                <c:pt idx="43238">
                  <c:v>-3.02521008403361E-2</c:v>
                </c:pt>
                <c:pt idx="43239">
                  <c:v>-3.02521008403361E-2</c:v>
                </c:pt>
                <c:pt idx="43240">
                  <c:v>-3.02521008403361E-2</c:v>
                </c:pt>
                <c:pt idx="43241">
                  <c:v>-3.02521008403361E-2</c:v>
                </c:pt>
                <c:pt idx="43242">
                  <c:v>-3.02521008403361E-2</c:v>
                </c:pt>
                <c:pt idx="43243">
                  <c:v>-3.02521008403361E-2</c:v>
                </c:pt>
                <c:pt idx="43244">
                  <c:v>-3.02521008403361E-2</c:v>
                </c:pt>
                <c:pt idx="43245">
                  <c:v>-3.02521008403361E-2</c:v>
                </c:pt>
                <c:pt idx="43246">
                  <c:v>-3.02521008403361E-2</c:v>
                </c:pt>
                <c:pt idx="43247">
                  <c:v>-3.02521008403361E-2</c:v>
                </c:pt>
                <c:pt idx="43248">
                  <c:v>-3.02521008403361E-2</c:v>
                </c:pt>
                <c:pt idx="43249">
                  <c:v>-3.02521008403361E-2</c:v>
                </c:pt>
                <c:pt idx="43250">
                  <c:v>-3.02521008403361E-2</c:v>
                </c:pt>
                <c:pt idx="43251">
                  <c:v>-3.02521008403361E-2</c:v>
                </c:pt>
                <c:pt idx="43252">
                  <c:v>-3.02521008403361E-2</c:v>
                </c:pt>
                <c:pt idx="43253">
                  <c:v>-3.02521008403361E-2</c:v>
                </c:pt>
                <c:pt idx="43254">
                  <c:v>-3.02521008403361E-2</c:v>
                </c:pt>
                <c:pt idx="43255">
                  <c:v>-3.02521008403361E-2</c:v>
                </c:pt>
                <c:pt idx="43256">
                  <c:v>-3.02521008403361E-2</c:v>
                </c:pt>
                <c:pt idx="43257">
                  <c:v>-3.02521008403361E-2</c:v>
                </c:pt>
                <c:pt idx="43258">
                  <c:v>-3.02521008403361E-2</c:v>
                </c:pt>
                <c:pt idx="43259">
                  <c:v>-3.02521008403361E-2</c:v>
                </c:pt>
                <c:pt idx="43260">
                  <c:v>-3.02521008403361E-2</c:v>
                </c:pt>
                <c:pt idx="43261">
                  <c:v>-2.94117647058823E-2</c:v>
                </c:pt>
                <c:pt idx="43262">
                  <c:v>-2.94117647058823E-2</c:v>
                </c:pt>
                <c:pt idx="43263">
                  <c:v>-2.94117647058823E-2</c:v>
                </c:pt>
                <c:pt idx="43264">
                  <c:v>-2.94117647058823E-2</c:v>
                </c:pt>
                <c:pt idx="43265">
                  <c:v>-2.94117647058823E-2</c:v>
                </c:pt>
                <c:pt idx="43266">
                  <c:v>-2.94117647058823E-2</c:v>
                </c:pt>
                <c:pt idx="43267">
                  <c:v>-2.94117647058823E-2</c:v>
                </c:pt>
                <c:pt idx="43268">
                  <c:v>-2.94117647058823E-2</c:v>
                </c:pt>
                <c:pt idx="43269">
                  <c:v>-2.94117647058823E-2</c:v>
                </c:pt>
                <c:pt idx="43270">
                  <c:v>-2.94117647058823E-2</c:v>
                </c:pt>
                <c:pt idx="43271">
                  <c:v>-2.94117647058823E-2</c:v>
                </c:pt>
                <c:pt idx="43272">
                  <c:v>-2.94117647058823E-2</c:v>
                </c:pt>
                <c:pt idx="43273">
                  <c:v>-2.94117647058823E-2</c:v>
                </c:pt>
                <c:pt idx="43274">
                  <c:v>-2.94117647058823E-2</c:v>
                </c:pt>
                <c:pt idx="43275">
                  <c:v>-2.94117647058823E-2</c:v>
                </c:pt>
                <c:pt idx="43276">
                  <c:v>-2.94117647058823E-2</c:v>
                </c:pt>
                <c:pt idx="43277">
                  <c:v>-2.94117647058823E-2</c:v>
                </c:pt>
                <c:pt idx="43278">
                  <c:v>-2.94117647058823E-2</c:v>
                </c:pt>
                <c:pt idx="43279">
                  <c:v>-2.94117647058823E-2</c:v>
                </c:pt>
                <c:pt idx="43280">
                  <c:v>-2.94117647058823E-2</c:v>
                </c:pt>
                <c:pt idx="43281">
                  <c:v>-2.94117647058823E-2</c:v>
                </c:pt>
                <c:pt idx="43282">
                  <c:v>-2.94117647058823E-2</c:v>
                </c:pt>
                <c:pt idx="43283">
                  <c:v>-2.94117647058823E-2</c:v>
                </c:pt>
                <c:pt idx="43284">
                  <c:v>-2.94117647058823E-2</c:v>
                </c:pt>
                <c:pt idx="43285">
                  <c:v>-2.94117647058823E-2</c:v>
                </c:pt>
                <c:pt idx="43286">
                  <c:v>-2.94117647058823E-2</c:v>
                </c:pt>
                <c:pt idx="43287">
                  <c:v>-2.94117647058823E-2</c:v>
                </c:pt>
                <c:pt idx="43288">
                  <c:v>-2.94117647058823E-2</c:v>
                </c:pt>
                <c:pt idx="43289">
                  <c:v>-2.94117647058823E-2</c:v>
                </c:pt>
                <c:pt idx="43290">
                  <c:v>-2.94117647058823E-2</c:v>
                </c:pt>
                <c:pt idx="43291">
                  <c:v>-2.94117647058823E-2</c:v>
                </c:pt>
                <c:pt idx="43292">
                  <c:v>-2.94117647058823E-2</c:v>
                </c:pt>
                <c:pt idx="43293">
                  <c:v>-2.94117647058823E-2</c:v>
                </c:pt>
                <c:pt idx="43294">
                  <c:v>-2.94117647058823E-2</c:v>
                </c:pt>
                <c:pt idx="43295">
                  <c:v>-3.02521008403361E-2</c:v>
                </c:pt>
                <c:pt idx="43296">
                  <c:v>-3.02521008403361E-2</c:v>
                </c:pt>
                <c:pt idx="43297">
                  <c:v>-3.02521008403361E-2</c:v>
                </c:pt>
                <c:pt idx="43298">
                  <c:v>-3.02521008403361E-2</c:v>
                </c:pt>
                <c:pt idx="43299">
                  <c:v>-3.02521008403361E-2</c:v>
                </c:pt>
                <c:pt idx="43300">
                  <c:v>-3.02521008403361E-2</c:v>
                </c:pt>
                <c:pt idx="43301">
                  <c:v>-3.02521008403361E-2</c:v>
                </c:pt>
                <c:pt idx="43302">
                  <c:v>-3.02521008403361E-2</c:v>
                </c:pt>
                <c:pt idx="43303">
                  <c:v>-3.02521008403361E-2</c:v>
                </c:pt>
                <c:pt idx="43304">
                  <c:v>-3.02521008403361E-2</c:v>
                </c:pt>
                <c:pt idx="43305">
                  <c:v>-3.02521008403361E-2</c:v>
                </c:pt>
                <c:pt idx="43306">
                  <c:v>-3.02521008403361E-2</c:v>
                </c:pt>
                <c:pt idx="43307">
                  <c:v>-3.02521008403361E-2</c:v>
                </c:pt>
                <c:pt idx="43308">
                  <c:v>-3.02521008403361E-2</c:v>
                </c:pt>
                <c:pt idx="43309">
                  <c:v>-3.02521008403361E-2</c:v>
                </c:pt>
                <c:pt idx="43310">
                  <c:v>-3.02521008403361E-2</c:v>
                </c:pt>
                <c:pt idx="43311">
                  <c:v>-3.02521008403361E-2</c:v>
                </c:pt>
                <c:pt idx="43312">
                  <c:v>-3.02521008403361E-2</c:v>
                </c:pt>
                <c:pt idx="43313">
                  <c:v>-3.02521008403361E-2</c:v>
                </c:pt>
                <c:pt idx="43314">
                  <c:v>-3.02521008403361E-2</c:v>
                </c:pt>
                <c:pt idx="43315">
                  <c:v>-3.02521008403361E-2</c:v>
                </c:pt>
                <c:pt idx="43316">
                  <c:v>-3.02521008403361E-2</c:v>
                </c:pt>
                <c:pt idx="43317">
                  <c:v>-3.02521008403361E-2</c:v>
                </c:pt>
                <c:pt idx="43318">
                  <c:v>-3.02521008403361E-2</c:v>
                </c:pt>
                <c:pt idx="43319">
                  <c:v>-3.02521008403361E-2</c:v>
                </c:pt>
                <c:pt idx="43320">
                  <c:v>-3.02521008403361E-2</c:v>
                </c:pt>
                <c:pt idx="43321">
                  <c:v>-3.02521008403361E-2</c:v>
                </c:pt>
                <c:pt idx="43322">
                  <c:v>-3.02521008403361E-2</c:v>
                </c:pt>
                <c:pt idx="43323">
                  <c:v>-3.02521008403361E-2</c:v>
                </c:pt>
                <c:pt idx="43324">
                  <c:v>-3.02521008403361E-2</c:v>
                </c:pt>
                <c:pt idx="43325">
                  <c:v>-3.02521008403361E-2</c:v>
                </c:pt>
                <c:pt idx="43326">
                  <c:v>-3.02521008403361E-2</c:v>
                </c:pt>
                <c:pt idx="43327">
                  <c:v>-3.02521008403361E-2</c:v>
                </c:pt>
                <c:pt idx="43328">
                  <c:v>-3.02521008403361E-2</c:v>
                </c:pt>
                <c:pt idx="43329">
                  <c:v>-3.02521008403361E-2</c:v>
                </c:pt>
                <c:pt idx="43330">
                  <c:v>-3.02521008403361E-2</c:v>
                </c:pt>
                <c:pt idx="43331">
                  <c:v>-3.02521008403361E-2</c:v>
                </c:pt>
                <c:pt idx="43332">
                  <c:v>-3.02521008403361E-2</c:v>
                </c:pt>
                <c:pt idx="43333">
                  <c:v>-3.02521008403361E-2</c:v>
                </c:pt>
                <c:pt idx="43334">
                  <c:v>-3.02521008403361E-2</c:v>
                </c:pt>
                <c:pt idx="43335">
                  <c:v>-3.02521008403361E-2</c:v>
                </c:pt>
                <c:pt idx="43336">
                  <c:v>-3.02521008403361E-2</c:v>
                </c:pt>
                <c:pt idx="43337">
                  <c:v>-3.02521008403361E-2</c:v>
                </c:pt>
                <c:pt idx="43338">
                  <c:v>-3.02521008403361E-2</c:v>
                </c:pt>
                <c:pt idx="43339">
                  <c:v>-3.02521008403361E-2</c:v>
                </c:pt>
                <c:pt idx="43340">
                  <c:v>-3.02521008403361E-2</c:v>
                </c:pt>
                <c:pt idx="43341">
                  <c:v>-3.02521008403361E-2</c:v>
                </c:pt>
                <c:pt idx="43342">
                  <c:v>-3.02521008403361E-2</c:v>
                </c:pt>
                <c:pt idx="43343">
                  <c:v>-3.02521008403361E-2</c:v>
                </c:pt>
                <c:pt idx="43344">
                  <c:v>-3.02521008403361E-2</c:v>
                </c:pt>
                <c:pt idx="43345">
                  <c:v>-3.02521008403361E-2</c:v>
                </c:pt>
                <c:pt idx="43346">
                  <c:v>-3.02521008403361E-2</c:v>
                </c:pt>
                <c:pt idx="43347">
                  <c:v>-3.02521008403361E-2</c:v>
                </c:pt>
                <c:pt idx="43348">
                  <c:v>-3.02521008403361E-2</c:v>
                </c:pt>
                <c:pt idx="43349">
                  <c:v>-3.02521008403361E-2</c:v>
                </c:pt>
                <c:pt idx="43350">
                  <c:v>-3.02521008403361E-2</c:v>
                </c:pt>
                <c:pt idx="43351">
                  <c:v>-3.02521008403361E-2</c:v>
                </c:pt>
                <c:pt idx="43352">
                  <c:v>-3.02521008403361E-2</c:v>
                </c:pt>
                <c:pt idx="43353">
                  <c:v>-3.02521008403361E-2</c:v>
                </c:pt>
                <c:pt idx="43354">
                  <c:v>-3.02521008403361E-2</c:v>
                </c:pt>
                <c:pt idx="43355">
                  <c:v>-3.02521008403361E-2</c:v>
                </c:pt>
                <c:pt idx="43356">
                  <c:v>-3.02521008403361E-2</c:v>
                </c:pt>
                <c:pt idx="43357">
                  <c:v>-3.02521008403361E-2</c:v>
                </c:pt>
                <c:pt idx="43358">
                  <c:v>-3.02521008403361E-2</c:v>
                </c:pt>
                <c:pt idx="43359">
                  <c:v>-3.02521008403361E-2</c:v>
                </c:pt>
                <c:pt idx="43360">
                  <c:v>-3.02521008403361E-2</c:v>
                </c:pt>
                <c:pt idx="43361">
                  <c:v>-3.1092436974789899E-2</c:v>
                </c:pt>
                <c:pt idx="43362">
                  <c:v>-3.1092436974789899E-2</c:v>
                </c:pt>
                <c:pt idx="43363">
                  <c:v>-3.1092436974789899E-2</c:v>
                </c:pt>
                <c:pt idx="43364">
                  <c:v>-3.1092436974789899E-2</c:v>
                </c:pt>
                <c:pt idx="43365">
                  <c:v>-3.1092436974789899E-2</c:v>
                </c:pt>
                <c:pt idx="43366">
                  <c:v>-3.1092436974789899E-2</c:v>
                </c:pt>
                <c:pt idx="43367">
                  <c:v>-3.1092436974789899E-2</c:v>
                </c:pt>
                <c:pt idx="43368">
                  <c:v>-3.1092436974789899E-2</c:v>
                </c:pt>
                <c:pt idx="43369">
                  <c:v>-3.1092436974789899E-2</c:v>
                </c:pt>
                <c:pt idx="43370">
                  <c:v>-3.1092436974789899E-2</c:v>
                </c:pt>
                <c:pt idx="43371">
                  <c:v>-3.1092436974789899E-2</c:v>
                </c:pt>
                <c:pt idx="43372">
                  <c:v>-3.1092436974789899E-2</c:v>
                </c:pt>
                <c:pt idx="43373">
                  <c:v>-3.1092436974789899E-2</c:v>
                </c:pt>
                <c:pt idx="43374">
                  <c:v>-3.1092436974789899E-2</c:v>
                </c:pt>
                <c:pt idx="43375">
                  <c:v>-3.1092436974789899E-2</c:v>
                </c:pt>
                <c:pt idx="43376">
                  <c:v>-3.1092436974789899E-2</c:v>
                </c:pt>
                <c:pt idx="43377">
                  <c:v>-3.1092436974789899E-2</c:v>
                </c:pt>
                <c:pt idx="43378">
                  <c:v>-3.1092436974789899E-2</c:v>
                </c:pt>
                <c:pt idx="43379">
                  <c:v>-3.1092436974789899E-2</c:v>
                </c:pt>
                <c:pt idx="43380">
                  <c:v>-3.1092436974789899E-2</c:v>
                </c:pt>
                <c:pt idx="43381">
                  <c:v>-3.1092436974789899E-2</c:v>
                </c:pt>
                <c:pt idx="43382">
                  <c:v>-3.1092436974789899E-2</c:v>
                </c:pt>
                <c:pt idx="43383">
                  <c:v>-3.1092436974789899E-2</c:v>
                </c:pt>
                <c:pt idx="43384">
                  <c:v>-3.1092436974789899E-2</c:v>
                </c:pt>
                <c:pt idx="43385">
                  <c:v>-3.1092436974789899E-2</c:v>
                </c:pt>
                <c:pt idx="43386">
                  <c:v>-3.1092436974789899E-2</c:v>
                </c:pt>
                <c:pt idx="43387">
                  <c:v>-3.1092436974789899E-2</c:v>
                </c:pt>
                <c:pt idx="43388">
                  <c:v>-3.1092436974789899E-2</c:v>
                </c:pt>
                <c:pt idx="43389">
                  <c:v>-3.1092436974789899E-2</c:v>
                </c:pt>
                <c:pt idx="43390">
                  <c:v>-3.1092436974789899E-2</c:v>
                </c:pt>
                <c:pt idx="43391">
                  <c:v>-3.1092436974789899E-2</c:v>
                </c:pt>
                <c:pt idx="43392">
                  <c:v>-3.1092436974789899E-2</c:v>
                </c:pt>
                <c:pt idx="43393">
                  <c:v>-3.1092436974789899E-2</c:v>
                </c:pt>
                <c:pt idx="43394">
                  <c:v>-3.1092436974789899E-2</c:v>
                </c:pt>
                <c:pt idx="43395">
                  <c:v>-3.1092436974789899E-2</c:v>
                </c:pt>
                <c:pt idx="43396">
                  <c:v>-3.1092436974789899E-2</c:v>
                </c:pt>
                <c:pt idx="43397">
                  <c:v>-3.1092436974789899E-2</c:v>
                </c:pt>
                <c:pt idx="43398">
                  <c:v>-3.1092436974789899E-2</c:v>
                </c:pt>
                <c:pt idx="43399">
                  <c:v>-3.1092436974789899E-2</c:v>
                </c:pt>
                <c:pt idx="43400">
                  <c:v>-3.1092436974789899E-2</c:v>
                </c:pt>
                <c:pt idx="43401">
                  <c:v>-3.1092436974789899E-2</c:v>
                </c:pt>
                <c:pt idx="43402">
                  <c:v>-3.1092436974789899E-2</c:v>
                </c:pt>
                <c:pt idx="43403">
                  <c:v>-3.1092436974789899E-2</c:v>
                </c:pt>
                <c:pt idx="43404">
                  <c:v>-3.1092436974789899E-2</c:v>
                </c:pt>
                <c:pt idx="43405">
                  <c:v>-3.1092436974789899E-2</c:v>
                </c:pt>
                <c:pt idx="43406">
                  <c:v>-3.1092436974789899E-2</c:v>
                </c:pt>
                <c:pt idx="43407">
                  <c:v>-3.1092436974789899E-2</c:v>
                </c:pt>
                <c:pt idx="43408">
                  <c:v>-3.1092436974789899E-2</c:v>
                </c:pt>
                <c:pt idx="43409">
                  <c:v>-3.1092436974789899E-2</c:v>
                </c:pt>
                <c:pt idx="43410">
                  <c:v>-3.1092436974789899E-2</c:v>
                </c:pt>
                <c:pt idx="43411">
                  <c:v>-3.1092436974789899E-2</c:v>
                </c:pt>
                <c:pt idx="43412">
                  <c:v>-3.1092436974789899E-2</c:v>
                </c:pt>
                <c:pt idx="43413">
                  <c:v>-3.1092436974789899E-2</c:v>
                </c:pt>
                <c:pt idx="43414">
                  <c:v>-3.1092436974789899E-2</c:v>
                </c:pt>
                <c:pt idx="43415">
                  <c:v>-3.1092436974789899E-2</c:v>
                </c:pt>
                <c:pt idx="43416">
                  <c:v>-3.1092436974789899E-2</c:v>
                </c:pt>
                <c:pt idx="43417">
                  <c:v>-3.1092436974789899E-2</c:v>
                </c:pt>
                <c:pt idx="43418">
                  <c:v>-3.1092436974789899E-2</c:v>
                </c:pt>
                <c:pt idx="43419">
                  <c:v>-3.1092436974789899E-2</c:v>
                </c:pt>
                <c:pt idx="43420">
                  <c:v>-3.1092436974789899E-2</c:v>
                </c:pt>
                <c:pt idx="43421">
                  <c:v>-3.1092436974789899E-2</c:v>
                </c:pt>
                <c:pt idx="43422">
                  <c:v>-3.1092436974789899E-2</c:v>
                </c:pt>
                <c:pt idx="43423">
                  <c:v>-3.1092436974789899E-2</c:v>
                </c:pt>
                <c:pt idx="43424">
                  <c:v>-3.1092436974789899E-2</c:v>
                </c:pt>
                <c:pt idx="43425">
                  <c:v>-3.1092436974789899E-2</c:v>
                </c:pt>
                <c:pt idx="43426">
                  <c:v>-3.1092436974789899E-2</c:v>
                </c:pt>
                <c:pt idx="43427">
                  <c:v>-3.1092436974789899E-2</c:v>
                </c:pt>
                <c:pt idx="43428">
                  <c:v>-3.1092436974789899E-2</c:v>
                </c:pt>
                <c:pt idx="43429">
                  <c:v>-3.1092436974789899E-2</c:v>
                </c:pt>
                <c:pt idx="43430">
                  <c:v>-3.1092436974789899E-2</c:v>
                </c:pt>
                <c:pt idx="43431">
                  <c:v>-3.1092436974789899E-2</c:v>
                </c:pt>
                <c:pt idx="43432">
                  <c:v>-3.1092436974789899E-2</c:v>
                </c:pt>
                <c:pt idx="43433">
                  <c:v>-3.1092436974789899E-2</c:v>
                </c:pt>
                <c:pt idx="43434">
                  <c:v>-3.1092436974789899E-2</c:v>
                </c:pt>
                <c:pt idx="43435">
                  <c:v>-3.1092436974789899E-2</c:v>
                </c:pt>
                <c:pt idx="43436">
                  <c:v>-3.1092436974789899E-2</c:v>
                </c:pt>
                <c:pt idx="43437">
                  <c:v>-3.1092436974789899E-2</c:v>
                </c:pt>
                <c:pt idx="43438">
                  <c:v>-3.1092436974789899E-2</c:v>
                </c:pt>
                <c:pt idx="43439">
                  <c:v>-3.1092436974789899E-2</c:v>
                </c:pt>
                <c:pt idx="43440">
                  <c:v>-3.1092436974789899E-2</c:v>
                </c:pt>
                <c:pt idx="43441">
                  <c:v>-3.1092436974789899E-2</c:v>
                </c:pt>
                <c:pt idx="43442">
                  <c:v>-3.1092436974789899E-2</c:v>
                </c:pt>
                <c:pt idx="43443">
                  <c:v>-3.1092436974789899E-2</c:v>
                </c:pt>
                <c:pt idx="43444">
                  <c:v>-3.1092436974789899E-2</c:v>
                </c:pt>
                <c:pt idx="43445">
                  <c:v>-3.1092436974789899E-2</c:v>
                </c:pt>
                <c:pt idx="43446">
                  <c:v>-3.1092436974789899E-2</c:v>
                </c:pt>
                <c:pt idx="43447">
                  <c:v>-3.1092436974789899E-2</c:v>
                </c:pt>
                <c:pt idx="43448">
                  <c:v>-3.1092436974789899E-2</c:v>
                </c:pt>
                <c:pt idx="43449">
                  <c:v>-3.1092436974789899E-2</c:v>
                </c:pt>
                <c:pt idx="43450">
                  <c:v>-3.1092436974789899E-2</c:v>
                </c:pt>
                <c:pt idx="43451">
                  <c:v>-3.1092436974789899E-2</c:v>
                </c:pt>
                <c:pt idx="43452">
                  <c:v>-3.1092436974789899E-2</c:v>
                </c:pt>
                <c:pt idx="43453">
                  <c:v>-3.1092436974789899E-2</c:v>
                </c:pt>
                <c:pt idx="43454">
                  <c:v>-3.1092436974789899E-2</c:v>
                </c:pt>
                <c:pt idx="43455">
                  <c:v>-3.1092436974789899E-2</c:v>
                </c:pt>
                <c:pt idx="43456">
                  <c:v>-3.1092436974789899E-2</c:v>
                </c:pt>
                <c:pt idx="43457">
                  <c:v>-3.1092436974789899E-2</c:v>
                </c:pt>
                <c:pt idx="43458">
                  <c:v>-3.1092436974789899E-2</c:v>
                </c:pt>
                <c:pt idx="43459">
                  <c:v>-3.1092436974789899E-2</c:v>
                </c:pt>
                <c:pt idx="43460">
                  <c:v>-3.1092436974789899E-2</c:v>
                </c:pt>
                <c:pt idx="43461">
                  <c:v>-3.1092436974789899E-2</c:v>
                </c:pt>
                <c:pt idx="43462">
                  <c:v>-3.1092436974789899E-2</c:v>
                </c:pt>
                <c:pt idx="43463">
                  <c:v>-3.1092436974789899E-2</c:v>
                </c:pt>
                <c:pt idx="43464">
                  <c:v>-3.1092436974789899E-2</c:v>
                </c:pt>
                <c:pt idx="43465">
                  <c:v>-3.1092436974789899E-2</c:v>
                </c:pt>
                <c:pt idx="43466">
                  <c:v>-3.1092436974789899E-2</c:v>
                </c:pt>
                <c:pt idx="43467">
                  <c:v>-3.1092436974789899E-2</c:v>
                </c:pt>
                <c:pt idx="43468">
                  <c:v>-3.1092436974789899E-2</c:v>
                </c:pt>
                <c:pt idx="43469">
                  <c:v>-3.1092436974789899E-2</c:v>
                </c:pt>
                <c:pt idx="43470">
                  <c:v>-3.1092436974789899E-2</c:v>
                </c:pt>
                <c:pt idx="43471">
                  <c:v>-3.02521008403361E-2</c:v>
                </c:pt>
                <c:pt idx="43472">
                  <c:v>-3.02521008403361E-2</c:v>
                </c:pt>
                <c:pt idx="43473">
                  <c:v>-3.02521008403361E-2</c:v>
                </c:pt>
                <c:pt idx="43474">
                  <c:v>-3.02521008403361E-2</c:v>
                </c:pt>
                <c:pt idx="43475">
                  <c:v>-3.02521008403361E-2</c:v>
                </c:pt>
                <c:pt idx="43476">
                  <c:v>-3.02521008403361E-2</c:v>
                </c:pt>
                <c:pt idx="43477">
                  <c:v>-3.02521008403361E-2</c:v>
                </c:pt>
                <c:pt idx="43478">
                  <c:v>-3.02521008403361E-2</c:v>
                </c:pt>
                <c:pt idx="43479">
                  <c:v>-3.02521008403361E-2</c:v>
                </c:pt>
                <c:pt idx="43480">
                  <c:v>-3.02521008403361E-2</c:v>
                </c:pt>
                <c:pt idx="43481">
                  <c:v>-3.02521008403361E-2</c:v>
                </c:pt>
                <c:pt idx="43482">
                  <c:v>-3.02521008403361E-2</c:v>
                </c:pt>
                <c:pt idx="43483">
                  <c:v>-3.02521008403361E-2</c:v>
                </c:pt>
                <c:pt idx="43484">
                  <c:v>-3.02521008403361E-2</c:v>
                </c:pt>
                <c:pt idx="43485">
                  <c:v>-3.02521008403361E-2</c:v>
                </c:pt>
                <c:pt idx="43486">
                  <c:v>-3.02521008403361E-2</c:v>
                </c:pt>
                <c:pt idx="43487">
                  <c:v>-3.02521008403361E-2</c:v>
                </c:pt>
                <c:pt idx="43488">
                  <c:v>-3.02521008403361E-2</c:v>
                </c:pt>
                <c:pt idx="43489">
                  <c:v>-3.02521008403361E-2</c:v>
                </c:pt>
                <c:pt idx="43490">
                  <c:v>-3.02521008403361E-2</c:v>
                </c:pt>
                <c:pt idx="43491">
                  <c:v>-3.02521008403361E-2</c:v>
                </c:pt>
                <c:pt idx="43492">
                  <c:v>-3.02521008403361E-2</c:v>
                </c:pt>
                <c:pt idx="43493">
                  <c:v>-3.02521008403361E-2</c:v>
                </c:pt>
                <c:pt idx="43494">
                  <c:v>-3.02521008403361E-2</c:v>
                </c:pt>
                <c:pt idx="43495">
                  <c:v>-3.02521008403361E-2</c:v>
                </c:pt>
                <c:pt idx="43496">
                  <c:v>-3.02521008403361E-2</c:v>
                </c:pt>
                <c:pt idx="43497">
                  <c:v>-3.02521008403361E-2</c:v>
                </c:pt>
                <c:pt idx="43498">
                  <c:v>-3.02521008403361E-2</c:v>
                </c:pt>
                <c:pt idx="43499">
                  <c:v>-3.02521008403361E-2</c:v>
                </c:pt>
                <c:pt idx="43500">
                  <c:v>-3.02521008403361E-2</c:v>
                </c:pt>
                <c:pt idx="43501">
                  <c:v>-3.02521008403361E-2</c:v>
                </c:pt>
                <c:pt idx="43502">
                  <c:v>-3.02521008403361E-2</c:v>
                </c:pt>
                <c:pt idx="43503">
                  <c:v>-3.02521008403361E-2</c:v>
                </c:pt>
                <c:pt idx="43504">
                  <c:v>-3.02521008403361E-2</c:v>
                </c:pt>
                <c:pt idx="43505">
                  <c:v>-3.02521008403361E-2</c:v>
                </c:pt>
                <c:pt idx="43506">
                  <c:v>-3.02521008403361E-2</c:v>
                </c:pt>
                <c:pt idx="43507">
                  <c:v>-3.02521008403361E-2</c:v>
                </c:pt>
                <c:pt idx="43508">
                  <c:v>-3.02521008403361E-2</c:v>
                </c:pt>
                <c:pt idx="43509">
                  <c:v>-3.02521008403361E-2</c:v>
                </c:pt>
                <c:pt idx="43510">
                  <c:v>-3.02521008403361E-2</c:v>
                </c:pt>
                <c:pt idx="43511">
                  <c:v>-3.02521008403361E-2</c:v>
                </c:pt>
                <c:pt idx="43512">
                  <c:v>-3.02521008403361E-2</c:v>
                </c:pt>
                <c:pt idx="43513">
                  <c:v>-3.02521008403361E-2</c:v>
                </c:pt>
                <c:pt idx="43514">
                  <c:v>-3.02521008403361E-2</c:v>
                </c:pt>
                <c:pt idx="43515">
                  <c:v>-3.02521008403361E-2</c:v>
                </c:pt>
                <c:pt idx="43516">
                  <c:v>-3.02521008403361E-2</c:v>
                </c:pt>
                <c:pt idx="43517">
                  <c:v>-3.1092436974789899E-2</c:v>
                </c:pt>
                <c:pt idx="43518">
                  <c:v>-3.1092436974789899E-2</c:v>
                </c:pt>
                <c:pt idx="43519">
                  <c:v>-3.1092436974789899E-2</c:v>
                </c:pt>
                <c:pt idx="43520">
                  <c:v>-3.1092436974789899E-2</c:v>
                </c:pt>
                <c:pt idx="43521">
                  <c:v>-3.1092436974789899E-2</c:v>
                </c:pt>
                <c:pt idx="43522">
                  <c:v>-3.1092436974789899E-2</c:v>
                </c:pt>
                <c:pt idx="43523">
                  <c:v>-3.1092436974789899E-2</c:v>
                </c:pt>
                <c:pt idx="43524">
                  <c:v>-3.1092436974789899E-2</c:v>
                </c:pt>
                <c:pt idx="43525">
                  <c:v>-3.1092436974789899E-2</c:v>
                </c:pt>
                <c:pt idx="43526">
                  <c:v>-3.1092436974789899E-2</c:v>
                </c:pt>
                <c:pt idx="43527">
                  <c:v>-3.1092436974789899E-2</c:v>
                </c:pt>
                <c:pt idx="43528">
                  <c:v>-3.1092436974789899E-2</c:v>
                </c:pt>
                <c:pt idx="43529">
                  <c:v>-3.1092436974789899E-2</c:v>
                </c:pt>
                <c:pt idx="43530">
                  <c:v>-3.1092436974789899E-2</c:v>
                </c:pt>
                <c:pt idx="43531">
                  <c:v>-3.1092436974789899E-2</c:v>
                </c:pt>
                <c:pt idx="43532">
                  <c:v>-3.1092436974789899E-2</c:v>
                </c:pt>
                <c:pt idx="43533">
                  <c:v>-3.1092436974789899E-2</c:v>
                </c:pt>
                <c:pt idx="43534">
                  <c:v>-3.1092436974789899E-2</c:v>
                </c:pt>
                <c:pt idx="43535">
                  <c:v>-3.1092436974789899E-2</c:v>
                </c:pt>
                <c:pt idx="43536">
                  <c:v>-3.1092436974789899E-2</c:v>
                </c:pt>
                <c:pt idx="43537">
                  <c:v>-3.1932773109243598E-2</c:v>
                </c:pt>
                <c:pt idx="43538">
                  <c:v>-3.1932773109243598E-2</c:v>
                </c:pt>
                <c:pt idx="43539">
                  <c:v>-3.1932773109243598E-2</c:v>
                </c:pt>
                <c:pt idx="43540">
                  <c:v>-3.1932773109243598E-2</c:v>
                </c:pt>
                <c:pt idx="43541">
                  <c:v>-3.1932773109243598E-2</c:v>
                </c:pt>
                <c:pt idx="43542">
                  <c:v>-3.1932773109243598E-2</c:v>
                </c:pt>
                <c:pt idx="43543">
                  <c:v>-3.1932773109243598E-2</c:v>
                </c:pt>
                <c:pt idx="43544">
                  <c:v>-3.1932773109243598E-2</c:v>
                </c:pt>
                <c:pt idx="43545">
                  <c:v>-3.1932773109243598E-2</c:v>
                </c:pt>
                <c:pt idx="43546">
                  <c:v>-3.1932773109243598E-2</c:v>
                </c:pt>
                <c:pt idx="43547">
                  <c:v>-3.1932773109243598E-2</c:v>
                </c:pt>
                <c:pt idx="43548">
                  <c:v>-3.1932773109243598E-2</c:v>
                </c:pt>
                <c:pt idx="43549">
                  <c:v>-3.1932773109243598E-2</c:v>
                </c:pt>
                <c:pt idx="43550">
                  <c:v>-3.1932773109243598E-2</c:v>
                </c:pt>
                <c:pt idx="43551">
                  <c:v>-3.1932773109243598E-2</c:v>
                </c:pt>
                <c:pt idx="43552">
                  <c:v>-3.1932773109243598E-2</c:v>
                </c:pt>
                <c:pt idx="43553">
                  <c:v>-3.1932773109243598E-2</c:v>
                </c:pt>
                <c:pt idx="43554">
                  <c:v>-3.1932773109243598E-2</c:v>
                </c:pt>
                <c:pt idx="43555">
                  <c:v>-3.1932773109243598E-2</c:v>
                </c:pt>
                <c:pt idx="43556">
                  <c:v>-3.1932773109243598E-2</c:v>
                </c:pt>
                <c:pt idx="43557">
                  <c:v>-3.1932773109243598E-2</c:v>
                </c:pt>
                <c:pt idx="43558">
                  <c:v>-3.1932773109243598E-2</c:v>
                </c:pt>
                <c:pt idx="43559">
                  <c:v>-3.1932773109243598E-2</c:v>
                </c:pt>
                <c:pt idx="43560">
                  <c:v>-3.1092436974789899E-2</c:v>
                </c:pt>
                <c:pt idx="43561">
                  <c:v>-3.1092436974789899E-2</c:v>
                </c:pt>
                <c:pt idx="43562">
                  <c:v>-3.1092436974789899E-2</c:v>
                </c:pt>
                <c:pt idx="43563">
                  <c:v>-3.1092436974789899E-2</c:v>
                </c:pt>
                <c:pt idx="43564">
                  <c:v>-3.1092436974789899E-2</c:v>
                </c:pt>
                <c:pt idx="43565">
                  <c:v>-3.1092436974789899E-2</c:v>
                </c:pt>
                <c:pt idx="43566">
                  <c:v>-3.1092436974789899E-2</c:v>
                </c:pt>
                <c:pt idx="43567">
                  <c:v>-3.1092436974789899E-2</c:v>
                </c:pt>
                <c:pt idx="43568">
                  <c:v>-3.1092436974789899E-2</c:v>
                </c:pt>
                <c:pt idx="43569">
                  <c:v>-3.1092436974789899E-2</c:v>
                </c:pt>
                <c:pt idx="43570">
                  <c:v>-3.1092436974789899E-2</c:v>
                </c:pt>
                <c:pt idx="43571">
                  <c:v>-3.1092436974789899E-2</c:v>
                </c:pt>
                <c:pt idx="43572">
                  <c:v>-3.1092436974789899E-2</c:v>
                </c:pt>
                <c:pt idx="43573">
                  <c:v>-3.1092436974789899E-2</c:v>
                </c:pt>
                <c:pt idx="43574">
                  <c:v>-3.1092436974789899E-2</c:v>
                </c:pt>
                <c:pt idx="43575">
                  <c:v>-3.1092436974789899E-2</c:v>
                </c:pt>
                <c:pt idx="43576">
                  <c:v>-3.1092436974789899E-2</c:v>
                </c:pt>
                <c:pt idx="43577">
                  <c:v>-3.1092436974789899E-2</c:v>
                </c:pt>
                <c:pt idx="43578">
                  <c:v>-3.1092436974789899E-2</c:v>
                </c:pt>
                <c:pt idx="43579">
                  <c:v>-3.1092436974789899E-2</c:v>
                </c:pt>
                <c:pt idx="43580">
                  <c:v>-3.1932773109243598E-2</c:v>
                </c:pt>
                <c:pt idx="43581">
                  <c:v>-3.1932773109243598E-2</c:v>
                </c:pt>
                <c:pt idx="43582">
                  <c:v>-3.1932773109243598E-2</c:v>
                </c:pt>
                <c:pt idx="43583">
                  <c:v>-3.1932773109243598E-2</c:v>
                </c:pt>
                <c:pt idx="43584">
                  <c:v>-3.1932773109243598E-2</c:v>
                </c:pt>
                <c:pt idx="43585">
                  <c:v>-3.1932773109243598E-2</c:v>
                </c:pt>
                <c:pt idx="43586">
                  <c:v>-3.1932773109243598E-2</c:v>
                </c:pt>
                <c:pt idx="43587">
                  <c:v>-3.1932773109243598E-2</c:v>
                </c:pt>
                <c:pt idx="43588">
                  <c:v>-3.1932773109243598E-2</c:v>
                </c:pt>
                <c:pt idx="43589">
                  <c:v>-3.1932773109243598E-2</c:v>
                </c:pt>
                <c:pt idx="43590">
                  <c:v>-3.1932773109243598E-2</c:v>
                </c:pt>
                <c:pt idx="43591">
                  <c:v>-3.1932773109243598E-2</c:v>
                </c:pt>
                <c:pt idx="43592">
                  <c:v>-3.1932773109243598E-2</c:v>
                </c:pt>
                <c:pt idx="43593">
                  <c:v>-3.1932773109243598E-2</c:v>
                </c:pt>
                <c:pt idx="43594">
                  <c:v>-3.1932773109243598E-2</c:v>
                </c:pt>
                <c:pt idx="43595">
                  <c:v>-3.1932773109243598E-2</c:v>
                </c:pt>
                <c:pt idx="43596">
                  <c:v>-3.1932773109243598E-2</c:v>
                </c:pt>
                <c:pt idx="43597">
                  <c:v>-3.1932773109243598E-2</c:v>
                </c:pt>
                <c:pt idx="43598">
                  <c:v>-3.1932773109243598E-2</c:v>
                </c:pt>
                <c:pt idx="43599">
                  <c:v>-3.1932773109243598E-2</c:v>
                </c:pt>
                <c:pt idx="43600">
                  <c:v>-3.1932773109243598E-2</c:v>
                </c:pt>
                <c:pt idx="43601">
                  <c:v>-3.1932773109243598E-2</c:v>
                </c:pt>
                <c:pt idx="43602">
                  <c:v>-3.1932773109243598E-2</c:v>
                </c:pt>
                <c:pt idx="43603">
                  <c:v>-3.1932773109243598E-2</c:v>
                </c:pt>
                <c:pt idx="43604">
                  <c:v>-3.1932773109243598E-2</c:v>
                </c:pt>
                <c:pt idx="43605">
                  <c:v>-3.1932773109243598E-2</c:v>
                </c:pt>
                <c:pt idx="43606">
                  <c:v>-3.1932773109243598E-2</c:v>
                </c:pt>
                <c:pt idx="43607">
                  <c:v>-3.1932773109243598E-2</c:v>
                </c:pt>
                <c:pt idx="43608">
                  <c:v>-3.1932773109243598E-2</c:v>
                </c:pt>
                <c:pt idx="43609">
                  <c:v>-3.1932773109243598E-2</c:v>
                </c:pt>
                <c:pt idx="43610">
                  <c:v>-3.1932773109243598E-2</c:v>
                </c:pt>
                <c:pt idx="43611">
                  <c:v>-3.1932773109243598E-2</c:v>
                </c:pt>
                <c:pt idx="43612">
                  <c:v>-3.1932773109243598E-2</c:v>
                </c:pt>
                <c:pt idx="43613">
                  <c:v>-3.1932773109243598E-2</c:v>
                </c:pt>
                <c:pt idx="43614">
                  <c:v>-3.1932773109243598E-2</c:v>
                </c:pt>
                <c:pt idx="43615">
                  <c:v>-3.1932773109243598E-2</c:v>
                </c:pt>
                <c:pt idx="43616">
                  <c:v>-3.1932773109243598E-2</c:v>
                </c:pt>
                <c:pt idx="43617">
                  <c:v>-3.1932773109243598E-2</c:v>
                </c:pt>
                <c:pt idx="43618">
                  <c:v>-3.1932773109243598E-2</c:v>
                </c:pt>
                <c:pt idx="43619">
                  <c:v>-3.1932773109243598E-2</c:v>
                </c:pt>
                <c:pt idx="43620">
                  <c:v>-3.1932773109243598E-2</c:v>
                </c:pt>
                <c:pt idx="43621">
                  <c:v>-3.1932773109243598E-2</c:v>
                </c:pt>
                <c:pt idx="43622">
                  <c:v>-3.1932773109243598E-2</c:v>
                </c:pt>
                <c:pt idx="43623">
                  <c:v>-3.1932773109243598E-2</c:v>
                </c:pt>
                <c:pt idx="43624">
                  <c:v>-3.1932773109243598E-2</c:v>
                </c:pt>
                <c:pt idx="43625">
                  <c:v>-3.1932773109243598E-2</c:v>
                </c:pt>
                <c:pt idx="43626">
                  <c:v>-3.1932773109243598E-2</c:v>
                </c:pt>
                <c:pt idx="43627">
                  <c:v>-3.1932773109243598E-2</c:v>
                </c:pt>
                <c:pt idx="43628">
                  <c:v>-3.1932773109243598E-2</c:v>
                </c:pt>
                <c:pt idx="43629">
                  <c:v>-3.1092436974789899E-2</c:v>
                </c:pt>
                <c:pt idx="43630">
                  <c:v>-3.1092436974789899E-2</c:v>
                </c:pt>
                <c:pt idx="43631">
                  <c:v>-3.1092436974789899E-2</c:v>
                </c:pt>
                <c:pt idx="43632">
                  <c:v>-3.1092436974789899E-2</c:v>
                </c:pt>
                <c:pt idx="43633">
                  <c:v>-3.1092436974789899E-2</c:v>
                </c:pt>
                <c:pt idx="43634">
                  <c:v>-3.1092436974789899E-2</c:v>
                </c:pt>
                <c:pt idx="43635">
                  <c:v>-3.1092436974789899E-2</c:v>
                </c:pt>
                <c:pt idx="43636">
                  <c:v>-3.02521008403361E-2</c:v>
                </c:pt>
                <c:pt idx="43637">
                  <c:v>-3.02521008403361E-2</c:v>
                </c:pt>
                <c:pt idx="43638">
                  <c:v>-3.02521008403361E-2</c:v>
                </c:pt>
                <c:pt idx="43639">
                  <c:v>-3.02521008403361E-2</c:v>
                </c:pt>
                <c:pt idx="43640">
                  <c:v>-3.02521008403361E-2</c:v>
                </c:pt>
                <c:pt idx="43641">
                  <c:v>-3.02521008403361E-2</c:v>
                </c:pt>
                <c:pt idx="43642">
                  <c:v>-3.02521008403361E-2</c:v>
                </c:pt>
                <c:pt idx="43643">
                  <c:v>-3.02521008403361E-2</c:v>
                </c:pt>
                <c:pt idx="43644">
                  <c:v>-3.02521008403361E-2</c:v>
                </c:pt>
                <c:pt idx="43645">
                  <c:v>-3.02521008403361E-2</c:v>
                </c:pt>
                <c:pt idx="43646">
                  <c:v>-3.02521008403361E-2</c:v>
                </c:pt>
                <c:pt idx="43647">
                  <c:v>-3.02521008403361E-2</c:v>
                </c:pt>
                <c:pt idx="43648">
                  <c:v>-3.02521008403361E-2</c:v>
                </c:pt>
                <c:pt idx="43649">
                  <c:v>-3.02521008403361E-2</c:v>
                </c:pt>
                <c:pt idx="43650">
                  <c:v>-3.02521008403361E-2</c:v>
                </c:pt>
                <c:pt idx="43651">
                  <c:v>-3.02521008403361E-2</c:v>
                </c:pt>
                <c:pt idx="43652">
                  <c:v>-3.02521008403361E-2</c:v>
                </c:pt>
                <c:pt idx="43653">
                  <c:v>-3.02521008403361E-2</c:v>
                </c:pt>
                <c:pt idx="43654">
                  <c:v>-3.02521008403361E-2</c:v>
                </c:pt>
                <c:pt idx="43655">
                  <c:v>-3.02521008403361E-2</c:v>
                </c:pt>
                <c:pt idx="43656">
                  <c:v>-3.1092436974789899E-2</c:v>
                </c:pt>
                <c:pt idx="43657">
                  <c:v>-3.1092436974789899E-2</c:v>
                </c:pt>
                <c:pt idx="43658">
                  <c:v>-3.1092436974789899E-2</c:v>
                </c:pt>
                <c:pt idx="43659">
                  <c:v>-3.1092436974789899E-2</c:v>
                </c:pt>
                <c:pt idx="43660">
                  <c:v>-3.1092436974789899E-2</c:v>
                </c:pt>
                <c:pt idx="43661">
                  <c:v>-3.1092436974789899E-2</c:v>
                </c:pt>
                <c:pt idx="43662">
                  <c:v>-3.1092436974789899E-2</c:v>
                </c:pt>
                <c:pt idx="43663">
                  <c:v>-3.1092436974789899E-2</c:v>
                </c:pt>
                <c:pt idx="43664">
                  <c:v>-3.1092436974789899E-2</c:v>
                </c:pt>
                <c:pt idx="43665">
                  <c:v>-3.1092436974789899E-2</c:v>
                </c:pt>
                <c:pt idx="43666">
                  <c:v>-3.1092436974789899E-2</c:v>
                </c:pt>
                <c:pt idx="43667">
                  <c:v>-3.1092436974789899E-2</c:v>
                </c:pt>
                <c:pt idx="43668">
                  <c:v>-3.1092436974789899E-2</c:v>
                </c:pt>
                <c:pt idx="43669">
                  <c:v>-3.1092436974789899E-2</c:v>
                </c:pt>
                <c:pt idx="43670">
                  <c:v>-3.1092436974789899E-2</c:v>
                </c:pt>
                <c:pt idx="43671">
                  <c:v>-3.1092436974789899E-2</c:v>
                </c:pt>
                <c:pt idx="43672">
                  <c:v>-3.1092436974789899E-2</c:v>
                </c:pt>
                <c:pt idx="43673">
                  <c:v>-3.1092436974789899E-2</c:v>
                </c:pt>
                <c:pt idx="43674">
                  <c:v>-3.1092436974789899E-2</c:v>
                </c:pt>
                <c:pt idx="43675">
                  <c:v>-3.1092436974789899E-2</c:v>
                </c:pt>
                <c:pt idx="43676">
                  <c:v>-3.1092436974789899E-2</c:v>
                </c:pt>
                <c:pt idx="43677">
                  <c:v>-3.1092436974789899E-2</c:v>
                </c:pt>
                <c:pt idx="43678">
                  <c:v>-3.1092436974789899E-2</c:v>
                </c:pt>
                <c:pt idx="43679">
                  <c:v>-3.1092436974789899E-2</c:v>
                </c:pt>
                <c:pt idx="43680">
                  <c:v>-3.1092436974789899E-2</c:v>
                </c:pt>
                <c:pt idx="43681">
                  <c:v>-3.1092436974789899E-2</c:v>
                </c:pt>
                <c:pt idx="43682">
                  <c:v>-3.1092436974789899E-2</c:v>
                </c:pt>
                <c:pt idx="43683">
                  <c:v>-3.1092436974789899E-2</c:v>
                </c:pt>
                <c:pt idx="43684">
                  <c:v>-3.1092436974789899E-2</c:v>
                </c:pt>
                <c:pt idx="43685">
                  <c:v>-3.02521008403361E-2</c:v>
                </c:pt>
                <c:pt idx="43686">
                  <c:v>-3.02521008403361E-2</c:v>
                </c:pt>
                <c:pt idx="43687">
                  <c:v>-3.02521008403361E-2</c:v>
                </c:pt>
                <c:pt idx="43688">
                  <c:v>-3.02521008403361E-2</c:v>
                </c:pt>
                <c:pt idx="43689">
                  <c:v>-3.02521008403361E-2</c:v>
                </c:pt>
                <c:pt idx="43690">
                  <c:v>-3.02521008403361E-2</c:v>
                </c:pt>
                <c:pt idx="43691">
                  <c:v>-3.02521008403361E-2</c:v>
                </c:pt>
                <c:pt idx="43692">
                  <c:v>-3.02521008403361E-2</c:v>
                </c:pt>
                <c:pt idx="43693">
                  <c:v>-3.02521008403361E-2</c:v>
                </c:pt>
                <c:pt idx="43694">
                  <c:v>-3.02521008403361E-2</c:v>
                </c:pt>
                <c:pt idx="43695">
                  <c:v>-3.02521008403361E-2</c:v>
                </c:pt>
                <c:pt idx="43696">
                  <c:v>-3.02521008403361E-2</c:v>
                </c:pt>
                <c:pt idx="43697">
                  <c:v>-3.02521008403361E-2</c:v>
                </c:pt>
                <c:pt idx="43698">
                  <c:v>-3.02521008403361E-2</c:v>
                </c:pt>
                <c:pt idx="43699">
                  <c:v>-3.02521008403361E-2</c:v>
                </c:pt>
                <c:pt idx="43700">
                  <c:v>-3.02521008403361E-2</c:v>
                </c:pt>
                <c:pt idx="43701">
                  <c:v>-3.02521008403361E-2</c:v>
                </c:pt>
                <c:pt idx="43702">
                  <c:v>-3.02521008403361E-2</c:v>
                </c:pt>
                <c:pt idx="43703">
                  <c:v>-3.02521008403361E-2</c:v>
                </c:pt>
                <c:pt idx="43704">
                  <c:v>-3.02521008403361E-2</c:v>
                </c:pt>
                <c:pt idx="43705">
                  <c:v>-3.1092436974789899E-2</c:v>
                </c:pt>
                <c:pt idx="43706">
                  <c:v>-3.1092436974789899E-2</c:v>
                </c:pt>
                <c:pt idx="43707">
                  <c:v>-3.1092436974789899E-2</c:v>
                </c:pt>
                <c:pt idx="43708">
                  <c:v>-3.02521008403361E-2</c:v>
                </c:pt>
                <c:pt idx="43709">
                  <c:v>-3.02521008403361E-2</c:v>
                </c:pt>
                <c:pt idx="43710">
                  <c:v>-3.02521008403361E-2</c:v>
                </c:pt>
                <c:pt idx="43711">
                  <c:v>-3.02521008403361E-2</c:v>
                </c:pt>
                <c:pt idx="43712">
                  <c:v>-3.02521008403361E-2</c:v>
                </c:pt>
                <c:pt idx="43713">
                  <c:v>-3.02521008403361E-2</c:v>
                </c:pt>
                <c:pt idx="43714">
                  <c:v>-3.02521008403361E-2</c:v>
                </c:pt>
                <c:pt idx="43715">
                  <c:v>-3.02521008403361E-2</c:v>
                </c:pt>
                <c:pt idx="43716">
                  <c:v>-3.02521008403361E-2</c:v>
                </c:pt>
                <c:pt idx="43717">
                  <c:v>-3.02521008403361E-2</c:v>
                </c:pt>
                <c:pt idx="43718">
                  <c:v>-3.02521008403361E-2</c:v>
                </c:pt>
                <c:pt idx="43719">
                  <c:v>-3.02521008403361E-2</c:v>
                </c:pt>
                <c:pt idx="43720">
                  <c:v>-3.02521008403361E-2</c:v>
                </c:pt>
                <c:pt idx="43721">
                  <c:v>-3.02521008403361E-2</c:v>
                </c:pt>
                <c:pt idx="43722">
                  <c:v>-3.02521008403361E-2</c:v>
                </c:pt>
                <c:pt idx="43723">
                  <c:v>-3.02521008403361E-2</c:v>
                </c:pt>
                <c:pt idx="43724">
                  <c:v>-3.02521008403361E-2</c:v>
                </c:pt>
                <c:pt idx="43725">
                  <c:v>-3.02521008403361E-2</c:v>
                </c:pt>
                <c:pt idx="43726">
                  <c:v>-3.02521008403361E-2</c:v>
                </c:pt>
                <c:pt idx="43727">
                  <c:v>-3.02521008403361E-2</c:v>
                </c:pt>
                <c:pt idx="43728">
                  <c:v>-3.02521008403361E-2</c:v>
                </c:pt>
                <c:pt idx="43729">
                  <c:v>-3.02521008403361E-2</c:v>
                </c:pt>
                <c:pt idx="43730">
                  <c:v>-3.02521008403361E-2</c:v>
                </c:pt>
                <c:pt idx="43731">
                  <c:v>-3.02521008403361E-2</c:v>
                </c:pt>
                <c:pt idx="43732">
                  <c:v>-3.02521008403361E-2</c:v>
                </c:pt>
                <c:pt idx="43733">
                  <c:v>-3.02521008403361E-2</c:v>
                </c:pt>
                <c:pt idx="43734">
                  <c:v>-3.02521008403361E-2</c:v>
                </c:pt>
                <c:pt idx="43735">
                  <c:v>-3.02521008403361E-2</c:v>
                </c:pt>
                <c:pt idx="43736">
                  <c:v>-3.02521008403361E-2</c:v>
                </c:pt>
                <c:pt idx="43737">
                  <c:v>-3.02521008403361E-2</c:v>
                </c:pt>
                <c:pt idx="43738">
                  <c:v>-3.02521008403361E-2</c:v>
                </c:pt>
                <c:pt idx="43739">
                  <c:v>-3.02521008403361E-2</c:v>
                </c:pt>
                <c:pt idx="43740">
                  <c:v>-3.02521008403361E-2</c:v>
                </c:pt>
                <c:pt idx="43741">
                  <c:v>-3.02521008403361E-2</c:v>
                </c:pt>
                <c:pt idx="43742">
                  <c:v>-3.02521008403361E-2</c:v>
                </c:pt>
                <c:pt idx="43743">
                  <c:v>-3.02521008403361E-2</c:v>
                </c:pt>
                <c:pt idx="43744">
                  <c:v>-3.02521008403361E-2</c:v>
                </c:pt>
                <c:pt idx="43745">
                  <c:v>-3.02521008403361E-2</c:v>
                </c:pt>
                <c:pt idx="43746">
                  <c:v>-3.02521008403361E-2</c:v>
                </c:pt>
                <c:pt idx="43747">
                  <c:v>-3.02521008403361E-2</c:v>
                </c:pt>
                <c:pt idx="43748">
                  <c:v>-3.02521008403361E-2</c:v>
                </c:pt>
                <c:pt idx="43749">
                  <c:v>-3.02521008403361E-2</c:v>
                </c:pt>
                <c:pt idx="43750">
                  <c:v>-3.02521008403361E-2</c:v>
                </c:pt>
                <c:pt idx="43751">
                  <c:v>-3.02521008403361E-2</c:v>
                </c:pt>
                <c:pt idx="43752">
                  <c:v>-3.02521008403361E-2</c:v>
                </c:pt>
                <c:pt idx="43753">
                  <c:v>-3.02521008403361E-2</c:v>
                </c:pt>
                <c:pt idx="43754">
                  <c:v>-3.02521008403361E-2</c:v>
                </c:pt>
                <c:pt idx="43755">
                  <c:v>-3.02521008403361E-2</c:v>
                </c:pt>
                <c:pt idx="43756">
                  <c:v>-3.02521008403361E-2</c:v>
                </c:pt>
                <c:pt idx="43757">
                  <c:v>-3.02521008403361E-2</c:v>
                </c:pt>
                <c:pt idx="43758">
                  <c:v>-3.02521008403361E-2</c:v>
                </c:pt>
                <c:pt idx="43759">
                  <c:v>-3.02521008403361E-2</c:v>
                </c:pt>
                <c:pt idx="43760">
                  <c:v>-3.02521008403361E-2</c:v>
                </c:pt>
                <c:pt idx="43761">
                  <c:v>-3.02521008403361E-2</c:v>
                </c:pt>
                <c:pt idx="43762">
                  <c:v>-3.02521008403361E-2</c:v>
                </c:pt>
                <c:pt idx="43763">
                  <c:v>-3.02521008403361E-2</c:v>
                </c:pt>
                <c:pt idx="43764">
                  <c:v>-3.02521008403361E-2</c:v>
                </c:pt>
                <c:pt idx="43765">
                  <c:v>-3.02521008403361E-2</c:v>
                </c:pt>
                <c:pt idx="43766">
                  <c:v>-3.02521008403361E-2</c:v>
                </c:pt>
                <c:pt idx="43767">
                  <c:v>-3.02521008403361E-2</c:v>
                </c:pt>
                <c:pt idx="43768">
                  <c:v>-3.02521008403361E-2</c:v>
                </c:pt>
                <c:pt idx="43769">
                  <c:v>-3.02521008403361E-2</c:v>
                </c:pt>
                <c:pt idx="43770">
                  <c:v>-3.02521008403361E-2</c:v>
                </c:pt>
                <c:pt idx="43771">
                  <c:v>-3.02521008403361E-2</c:v>
                </c:pt>
                <c:pt idx="43772">
                  <c:v>-3.02521008403361E-2</c:v>
                </c:pt>
                <c:pt idx="43773">
                  <c:v>-3.02521008403361E-2</c:v>
                </c:pt>
                <c:pt idx="43774">
                  <c:v>-3.02521008403361E-2</c:v>
                </c:pt>
                <c:pt idx="43775">
                  <c:v>-3.02521008403361E-2</c:v>
                </c:pt>
                <c:pt idx="43776">
                  <c:v>-3.02521008403361E-2</c:v>
                </c:pt>
                <c:pt idx="43777">
                  <c:v>-3.02521008403361E-2</c:v>
                </c:pt>
                <c:pt idx="43778">
                  <c:v>-3.02521008403361E-2</c:v>
                </c:pt>
                <c:pt idx="43779">
                  <c:v>-3.02521008403361E-2</c:v>
                </c:pt>
                <c:pt idx="43780">
                  <c:v>-3.02521008403361E-2</c:v>
                </c:pt>
                <c:pt idx="43781">
                  <c:v>-3.02521008403361E-2</c:v>
                </c:pt>
                <c:pt idx="43782">
                  <c:v>-3.02521008403361E-2</c:v>
                </c:pt>
                <c:pt idx="43783">
                  <c:v>-3.02521008403361E-2</c:v>
                </c:pt>
                <c:pt idx="43784">
                  <c:v>-3.02521008403361E-2</c:v>
                </c:pt>
                <c:pt idx="43785">
                  <c:v>-3.02521008403361E-2</c:v>
                </c:pt>
                <c:pt idx="43786">
                  <c:v>-3.02521008403361E-2</c:v>
                </c:pt>
                <c:pt idx="43787">
                  <c:v>-3.02521008403361E-2</c:v>
                </c:pt>
                <c:pt idx="43788">
                  <c:v>-3.02521008403361E-2</c:v>
                </c:pt>
                <c:pt idx="43789">
                  <c:v>-3.02521008403361E-2</c:v>
                </c:pt>
                <c:pt idx="43790">
                  <c:v>-3.02521008403361E-2</c:v>
                </c:pt>
                <c:pt idx="43791">
                  <c:v>-3.02521008403361E-2</c:v>
                </c:pt>
                <c:pt idx="43792">
                  <c:v>-2.94117647058823E-2</c:v>
                </c:pt>
                <c:pt idx="43793">
                  <c:v>-2.94117647058823E-2</c:v>
                </c:pt>
                <c:pt idx="43794">
                  <c:v>-2.94117647058823E-2</c:v>
                </c:pt>
                <c:pt idx="43795">
                  <c:v>-2.94117647058823E-2</c:v>
                </c:pt>
                <c:pt idx="43796">
                  <c:v>-2.94117647058823E-2</c:v>
                </c:pt>
                <c:pt idx="43797">
                  <c:v>-2.94117647058823E-2</c:v>
                </c:pt>
                <c:pt idx="43798">
                  <c:v>-2.94117647058823E-2</c:v>
                </c:pt>
                <c:pt idx="43799">
                  <c:v>-2.94117647058823E-2</c:v>
                </c:pt>
                <c:pt idx="43800">
                  <c:v>-2.94117647058823E-2</c:v>
                </c:pt>
                <c:pt idx="43801">
                  <c:v>-2.94117647058823E-2</c:v>
                </c:pt>
                <c:pt idx="43802">
                  <c:v>-2.94117647058823E-2</c:v>
                </c:pt>
                <c:pt idx="43803">
                  <c:v>-2.94117647058823E-2</c:v>
                </c:pt>
                <c:pt idx="43804">
                  <c:v>-2.94117647058823E-2</c:v>
                </c:pt>
                <c:pt idx="43805">
                  <c:v>-2.94117647058823E-2</c:v>
                </c:pt>
                <c:pt idx="43806">
                  <c:v>-2.94117647058823E-2</c:v>
                </c:pt>
                <c:pt idx="43807">
                  <c:v>-2.94117647058823E-2</c:v>
                </c:pt>
                <c:pt idx="43808">
                  <c:v>-2.94117647058823E-2</c:v>
                </c:pt>
                <c:pt idx="43809">
                  <c:v>-2.94117647058823E-2</c:v>
                </c:pt>
                <c:pt idx="43810">
                  <c:v>-2.94117647058823E-2</c:v>
                </c:pt>
                <c:pt idx="43811">
                  <c:v>-2.94117647058823E-2</c:v>
                </c:pt>
                <c:pt idx="43812">
                  <c:v>-2.94117647058823E-2</c:v>
                </c:pt>
                <c:pt idx="43813">
                  <c:v>-2.94117647058823E-2</c:v>
                </c:pt>
                <c:pt idx="43814">
                  <c:v>-2.94117647058823E-2</c:v>
                </c:pt>
                <c:pt idx="43815">
                  <c:v>-2.94117647058823E-2</c:v>
                </c:pt>
                <c:pt idx="43816">
                  <c:v>-2.94117647058823E-2</c:v>
                </c:pt>
                <c:pt idx="43817">
                  <c:v>-2.94117647058823E-2</c:v>
                </c:pt>
                <c:pt idx="43818">
                  <c:v>-2.94117647058823E-2</c:v>
                </c:pt>
                <c:pt idx="43819">
                  <c:v>-2.94117647058823E-2</c:v>
                </c:pt>
                <c:pt idx="43820">
                  <c:v>-2.94117647058823E-2</c:v>
                </c:pt>
                <c:pt idx="43821">
                  <c:v>-2.94117647058823E-2</c:v>
                </c:pt>
                <c:pt idx="43822">
                  <c:v>-2.94117647058823E-2</c:v>
                </c:pt>
                <c:pt idx="43823">
                  <c:v>-2.94117647058823E-2</c:v>
                </c:pt>
                <c:pt idx="43824">
                  <c:v>-2.94117647058823E-2</c:v>
                </c:pt>
                <c:pt idx="43825">
                  <c:v>-2.94117647058823E-2</c:v>
                </c:pt>
                <c:pt idx="43826">
                  <c:v>-2.94117647058823E-2</c:v>
                </c:pt>
                <c:pt idx="43827">
                  <c:v>-2.94117647058823E-2</c:v>
                </c:pt>
                <c:pt idx="43828">
                  <c:v>-2.94117647058823E-2</c:v>
                </c:pt>
                <c:pt idx="43829">
                  <c:v>-2.94117647058823E-2</c:v>
                </c:pt>
                <c:pt idx="43830">
                  <c:v>-2.94117647058823E-2</c:v>
                </c:pt>
                <c:pt idx="43831">
                  <c:v>-2.94117647058823E-2</c:v>
                </c:pt>
                <c:pt idx="43832">
                  <c:v>-2.94117647058823E-2</c:v>
                </c:pt>
                <c:pt idx="43833">
                  <c:v>-2.94117647058823E-2</c:v>
                </c:pt>
                <c:pt idx="43834">
                  <c:v>-2.94117647058823E-2</c:v>
                </c:pt>
                <c:pt idx="43835">
                  <c:v>-2.94117647058823E-2</c:v>
                </c:pt>
                <c:pt idx="43836">
                  <c:v>-2.94117647058823E-2</c:v>
                </c:pt>
                <c:pt idx="43837">
                  <c:v>-2.94117647058823E-2</c:v>
                </c:pt>
                <c:pt idx="43838">
                  <c:v>-2.94117647058823E-2</c:v>
                </c:pt>
                <c:pt idx="43839">
                  <c:v>-2.94117647058823E-2</c:v>
                </c:pt>
                <c:pt idx="43840">
                  <c:v>-2.94117647058823E-2</c:v>
                </c:pt>
                <c:pt idx="43841">
                  <c:v>-2.94117647058823E-2</c:v>
                </c:pt>
                <c:pt idx="43842">
                  <c:v>-2.94117647058823E-2</c:v>
                </c:pt>
                <c:pt idx="43843">
                  <c:v>-2.94117647058823E-2</c:v>
                </c:pt>
                <c:pt idx="43844">
                  <c:v>-2.94117647058823E-2</c:v>
                </c:pt>
                <c:pt idx="43845">
                  <c:v>-2.94117647058823E-2</c:v>
                </c:pt>
                <c:pt idx="43846">
                  <c:v>-2.94117647058823E-2</c:v>
                </c:pt>
                <c:pt idx="43847">
                  <c:v>-2.94117647058823E-2</c:v>
                </c:pt>
                <c:pt idx="43848">
                  <c:v>-2.94117647058823E-2</c:v>
                </c:pt>
                <c:pt idx="43849">
                  <c:v>-2.94117647058823E-2</c:v>
                </c:pt>
                <c:pt idx="43850">
                  <c:v>-2.94117647058823E-2</c:v>
                </c:pt>
                <c:pt idx="43851">
                  <c:v>-2.94117647058823E-2</c:v>
                </c:pt>
                <c:pt idx="43852">
                  <c:v>-2.94117647058823E-2</c:v>
                </c:pt>
                <c:pt idx="43853">
                  <c:v>-2.94117647058823E-2</c:v>
                </c:pt>
                <c:pt idx="43854">
                  <c:v>-2.94117647058823E-2</c:v>
                </c:pt>
                <c:pt idx="43855">
                  <c:v>-2.94117647058823E-2</c:v>
                </c:pt>
                <c:pt idx="43856">
                  <c:v>-2.94117647058823E-2</c:v>
                </c:pt>
                <c:pt idx="43857">
                  <c:v>-2.94117647058823E-2</c:v>
                </c:pt>
                <c:pt idx="43858">
                  <c:v>-2.94117647058823E-2</c:v>
                </c:pt>
                <c:pt idx="43859">
                  <c:v>-2.94117647058823E-2</c:v>
                </c:pt>
                <c:pt idx="43860">
                  <c:v>-2.94117647058823E-2</c:v>
                </c:pt>
                <c:pt idx="43861">
                  <c:v>-2.94117647058823E-2</c:v>
                </c:pt>
                <c:pt idx="43862">
                  <c:v>-2.94117647058823E-2</c:v>
                </c:pt>
                <c:pt idx="43863">
                  <c:v>-2.94117647058823E-2</c:v>
                </c:pt>
                <c:pt idx="43864">
                  <c:v>-2.94117647058823E-2</c:v>
                </c:pt>
                <c:pt idx="43865">
                  <c:v>-2.94117647058823E-2</c:v>
                </c:pt>
                <c:pt idx="43866">
                  <c:v>-2.94117647058823E-2</c:v>
                </c:pt>
                <c:pt idx="43867">
                  <c:v>-2.94117647058823E-2</c:v>
                </c:pt>
                <c:pt idx="43868">
                  <c:v>-2.94117647058823E-2</c:v>
                </c:pt>
                <c:pt idx="43869">
                  <c:v>-2.94117647058823E-2</c:v>
                </c:pt>
                <c:pt idx="43870">
                  <c:v>-2.94117647058823E-2</c:v>
                </c:pt>
                <c:pt idx="43871">
                  <c:v>-2.94117647058823E-2</c:v>
                </c:pt>
                <c:pt idx="43872">
                  <c:v>-2.94117647058823E-2</c:v>
                </c:pt>
                <c:pt idx="43873">
                  <c:v>-2.94117647058823E-2</c:v>
                </c:pt>
                <c:pt idx="43874">
                  <c:v>-2.8571428571428501E-2</c:v>
                </c:pt>
                <c:pt idx="43875">
                  <c:v>-2.8571428571428501E-2</c:v>
                </c:pt>
                <c:pt idx="43876">
                  <c:v>-2.8571428571428501E-2</c:v>
                </c:pt>
                <c:pt idx="43877">
                  <c:v>-2.8571428571428501E-2</c:v>
                </c:pt>
                <c:pt idx="43878">
                  <c:v>-2.8571428571428501E-2</c:v>
                </c:pt>
                <c:pt idx="43879">
                  <c:v>-2.8571428571428501E-2</c:v>
                </c:pt>
                <c:pt idx="43880">
                  <c:v>-2.8571428571428501E-2</c:v>
                </c:pt>
                <c:pt idx="43881">
                  <c:v>-2.8571428571428501E-2</c:v>
                </c:pt>
                <c:pt idx="43882">
                  <c:v>-2.8571428571428501E-2</c:v>
                </c:pt>
                <c:pt idx="43883">
                  <c:v>-2.8571428571428501E-2</c:v>
                </c:pt>
                <c:pt idx="43884">
                  <c:v>-2.8571428571428501E-2</c:v>
                </c:pt>
                <c:pt idx="43885">
                  <c:v>-2.8571428571428501E-2</c:v>
                </c:pt>
                <c:pt idx="43886">
                  <c:v>-2.8571428571428501E-2</c:v>
                </c:pt>
                <c:pt idx="43887">
                  <c:v>-2.8571428571428501E-2</c:v>
                </c:pt>
                <c:pt idx="43888">
                  <c:v>-2.8571428571428501E-2</c:v>
                </c:pt>
                <c:pt idx="43889">
                  <c:v>-2.8571428571428501E-2</c:v>
                </c:pt>
                <c:pt idx="43890">
                  <c:v>-2.8571428571428501E-2</c:v>
                </c:pt>
                <c:pt idx="43891">
                  <c:v>-2.8571428571428501E-2</c:v>
                </c:pt>
                <c:pt idx="43892">
                  <c:v>-2.8571428571428501E-2</c:v>
                </c:pt>
                <c:pt idx="43893">
                  <c:v>-2.8571428571428501E-2</c:v>
                </c:pt>
                <c:pt idx="43894">
                  <c:v>-2.8571428571428501E-2</c:v>
                </c:pt>
                <c:pt idx="43895">
                  <c:v>-2.8571428571428501E-2</c:v>
                </c:pt>
                <c:pt idx="43896">
                  <c:v>-2.8571428571428501E-2</c:v>
                </c:pt>
                <c:pt idx="43897">
                  <c:v>-2.8571428571428501E-2</c:v>
                </c:pt>
                <c:pt idx="43898">
                  <c:v>-2.8571428571428501E-2</c:v>
                </c:pt>
                <c:pt idx="43899">
                  <c:v>-2.8571428571428501E-2</c:v>
                </c:pt>
                <c:pt idx="43900">
                  <c:v>-2.8571428571428501E-2</c:v>
                </c:pt>
                <c:pt idx="43901">
                  <c:v>-2.8571428571428501E-2</c:v>
                </c:pt>
                <c:pt idx="43902">
                  <c:v>-2.8571428571428501E-2</c:v>
                </c:pt>
                <c:pt idx="43903">
                  <c:v>-2.8571428571428501E-2</c:v>
                </c:pt>
                <c:pt idx="43904">
                  <c:v>-2.8571428571428501E-2</c:v>
                </c:pt>
                <c:pt idx="43905">
                  <c:v>-2.8571428571428501E-2</c:v>
                </c:pt>
                <c:pt idx="43906">
                  <c:v>-2.8571428571428501E-2</c:v>
                </c:pt>
                <c:pt idx="43907">
                  <c:v>-2.8571428571428501E-2</c:v>
                </c:pt>
                <c:pt idx="43908">
                  <c:v>-2.8571428571428501E-2</c:v>
                </c:pt>
                <c:pt idx="43909">
                  <c:v>-2.8571428571428501E-2</c:v>
                </c:pt>
                <c:pt idx="43910">
                  <c:v>-2.8571428571428501E-2</c:v>
                </c:pt>
                <c:pt idx="43911">
                  <c:v>-2.8571428571428501E-2</c:v>
                </c:pt>
                <c:pt idx="43912">
                  <c:v>-2.8571428571428501E-2</c:v>
                </c:pt>
                <c:pt idx="43913">
                  <c:v>-2.7731092436974799E-2</c:v>
                </c:pt>
                <c:pt idx="43914">
                  <c:v>-2.7731092436974799E-2</c:v>
                </c:pt>
                <c:pt idx="43915">
                  <c:v>-2.7731092436974799E-2</c:v>
                </c:pt>
                <c:pt idx="43916">
                  <c:v>-2.7731092436974799E-2</c:v>
                </c:pt>
                <c:pt idx="43917">
                  <c:v>-2.7731092436974799E-2</c:v>
                </c:pt>
                <c:pt idx="43918">
                  <c:v>-2.7731092436974799E-2</c:v>
                </c:pt>
                <c:pt idx="43919">
                  <c:v>-2.7731092436974799E-2</c:v>
                </c:pt>
                <c:pt idx="43920">
                  <c:v>-2.7731092436974799E-2</c:v>
                </c:pt>
                <c:pt idx="43921">
                  <c:v>-2.7731092436974799E-2</c:v>
                </c:pt>
                <c:pt idx="43922">
                  <c:v>-2.7731092436974799E-2</c:v>
                </c:pt>
                <c:pt idx="43923">
                  <c:v>-2.7731092436974799E-2</c:v>
                </c:pt>
                <c:pt idx="43924">
                  <c:v>-2.7731092436974799E-2</c:v>
                </c:pt>
                <c:pt idx="43925">
                  <c:v>-2.7731092436974799E-2</c:v>
                </c:pt>
                <c:pt idx="43926">
                  <c:v>-2.7731092436974799E-2</c:v>
                </c:pt>
                <c:pt idx="43927">
                  <c:v>-2.7731092436974799E-2</c:v>
                </c:pt>
                <c:pt idx="43928">
                  <c:v>-2.7731092436974799E-2</c:v>
                </c:pt>
                <c:pt idx="43929">
                  <c:v>-2.7731092436974799E-2</c:v>
                </c:pt>
                <c:pt idx="43930">
                  <c:v>-2.7731092436974799E-2</c:v>
                </c:pt>
                <c:pt idx="43931">
                  <c:v>-2.7731092436974799E-2</c:v>
                </c:pt>
                <c:pt idx="43932">
                  <c:v>-2.7731092436974799E-2</c:v>
                </c:pt>
                <c:pt idx="43933">
                  <c:v>-2.7731092436974799E-2</c:v>
                </c:pt>
                <c:pt idx="43934">
                  <c:v>-2.7731092436974799E-2</c:v>
                </c:pt>
                <c:pt idx="43935">
                  <c:v>-2.7731092436974799E-2</c:v>
                </c:pt>
                <c:pt idx="43936">
                  <c:v>-2.7731092436974799E-2</c:v>
                </c:pt>
                <c:pt idx="43937">
                  <c:v>-2.7731092436974799E-2</c:v>
                </c:pt>
                <c:pt idx="43938">
                  <c:v>-2.7731092436974799E-2</c:v>
                </c:pt>
                <c:pt idx="43939">
                  <c:v>-2.7731092436974799E-2</c:v>
                </c:pt>
                <c:pt idx="43940">
                  <c:v>-2.7731092436974799E-2</c:v>
                </c:pt>
                <c:pt idx="43941">
                  <c:v>-2.7731092436974799E-2</c:v>
                </c:pt>
                <c:pt idx="43942">
                  <c:v>-2.7731092436974799E-2</c:v>
                </c:pt>
                <c:pt idx="43943">
                  <c:v>-2.7731092436974799E-2</c:v>
                </c:pt>
                <c:pt idx="43944">
                  <c:v>-2.7731092436974799E-2</c:v>
                </c:pt>
                <c:pt idx="43945">
                  <c:v>-2.7731092436974799E-2</c:v>
                </c:pt>
                <c:pt idx="43946">
                  <c:v>-2.7731092436974799E-2</c:v>
                </c:pt>
                <c:pt idx="43947">
                  <c:v>-2.7731092436974799E-2</c:v>
                </c:pt>
                <c:pt idx="43948">
                  <c:v>-2.7731092436974799E-2</c:v>
                </c:pt>
                <c:pt idx="43949">
                  <c:v>-2.7731092436974799E-2</c:v>
                </c:pt>
                <c:pt idx="43950">
                  <c:v>-2.7731092436974799E-2</c:v>
                </c:pt>
                <c:pt idx="43951">
                  <c:v>-2.7731092436974799E-2</c:v>
                </c:pt>
                <c:pt idx="43952">
                  <c:v>-2.7731092436974799E-2</c:v>
                </c:pt>
                <c:pt idx="43953">
                  <c:v>-2.7731092436974799E-2</c:v>
                </c:pt>
                <c:pt idx="43954">
                  <c:v>-2.7731092436974799E-2</c:v>
                </c:pt>
                <c:pt idx="43955">
                  <c:v>-2.7731092436974799E-2</c:v>
                </c:pt>
                <c:pt idx="43956">
                  <c:v>-2.6890756302521E-2</c:v>
                </c:pt>
                <c:pt idx="43957">
                  <c:v>-2.6890756302521E-2</c:v>
                </c:pt>
                <c:pt idx="43958">
                  <c:v>-2.6890756302521E-2</c:v>
                </c:pt>
                <c:pt idx="43959">
                  <c:v>-2.6890756302521E-2</c:v>
                </c:pt>
                <c:pt idx="43960">
                  <c:v>-2.6890756302521E-2</c:v>
                </c:pt>
                <c:pt idx="43961">
                  <c:v>-2.6890756302521E-2</c:v>
                </c:pt>
                <c:pt idx="43962">
                  <c:v>-2.6890756302521E-2</c:v>
                </c:pt>
                <c:pt idx="43963">
                  <c:v>-2.6890756302521E-2</c:v>
                </c:pt>
                <c:pt idx="43964">
                  <c:v>-2.6890756302521E-2</c:v>
                </c:pt>
                <c:pt idx="43965">
                  <c:v>-2.6890756302521E-2</c:v>
                </c:pt>
                <c:pt idx="43966">
                  <c:v>-2.6890756302521E-2</c:v>
                </c:pt>
                <c:pt idx="43967">
                  <c:v>-2.6890756302521E-2</c:v>
                </c:pt>
                <c:pt idx="43968">
                  <c:v>-2.6890756302521E-2</c:v>
                </c:pt>
                <c:pt idx="43969">
                  <c:v>-2.6890756302521E-2</c:v>
                </c:pt>
                <c:pt idx="43970">
                  <c:v>-2.6890756302521E-2</c:v>
                </c:pt>
                <c:pt idx="43971">
                  <c:v>-2.6890756302521E-2</c:v>
                </c:pt>
                <c:pt idx="43972">
                  <c:v>-2.6890756302521E-2</c:v>
                </c:pt>
                <c:pt idx="43973">
                  <c:v>-2.6890756302521E-2</c:v>
                </c:pt>
                <c:pt idx="43974">
                  <c:v>-2.6890756302521E-2</c:v>
                </c:pt>
                <c:pt idx="43975">
                  <c:v>-2.6890756302521E-2</c:v>
                </c:pt>
                <c:pt idx="43976">
                  <c:v>-2.6890756302521E-2</c:v>
                </c:pt>
                <c:pt idx="43977">
                  <c:v>-2.6890756302521E-2</c:v>
                </c:pt>
                <c:pt idx="43978">
                  <c:v>-2.6890756302521E-2</c:v>
                </c:pt>
                <c:pt idx="43979">
                  <c:v>-2.6890756302521E-2</c:v>
                </c:pt>
                <c:pt idx="43980">
                  <c:v>-2.6890756302521E-2</c:v>
                </c:pt>
                <c:pt idx="43981">
                  <c:v>-2.6890756302521E-2</c:v>
                </c:pt>
                <c:pt idx="43982">
                  <c:v>-2.6890756302521E-2</c:v>
                </c:pt>
                <c:pt idx="43983">
                  <c:v>-2.6890756302521E-2</c:v>
                </c:pt>
                <c:pt idx="43984">
                  <c:v>-2.6890756302521E-2</c:v>
                </c:pt>
                <c:pt idx="43985">
                  <c:v>-2.6890756302521E-2</c:v>
                </c:pt>
                <c:pt idx="43986">
                  <c:v>-2.6890756302521E-2</c:v>
                </c:pt>
                <c:pt idx="43987">
                  <c:v>-2.6890756302521E-2</c:v>
                </c:pt>
                <c:pt idx="43988">
                  <c:v>-2.6890756302521E-2</c:v>
                </c:pt>
                <c:pt idx="43989">
                  <c:v>-2.6890756302521E-2</c:v>
                </c:pt>
                <c:pt idx="43990">
                  <c:v>-2.6890756302521E-2</c:v>
                </c:pt>
                <c:pt idx="43991">
                  <c:v>-2.6890756302521E-2</c:v>
                </c:pt>
                <c:pt idx="43992">
                  <c:v>-2.6890756302521E-2</c:v>
                </c:pt>
                <c:pt idx="43993">
                  <c:v>-2.6890756302521E-2</c:v>
                </c:pt>
                <c:pt idx="43994">
                  <c:v>-2.6890756302521E-2</c:v>
                </c:pt>
                <c:pt idx="43995">
                  <c:v>-2.6890756302521E-2</c:v>
                </c:pt>
                <c:pt idx="43996">
                  <c:v>-2.6890756302521E-2</c:v>
                </c:pt>
                <c:pt idx="43997">
                  <c:v>-2.7731092436974799E-2</c:v>
                </c:pt>
                <c:pt idx="43998">
                  <c:v>-2.7731092436974799E-2</c:v>
                </c:pt>
                <c:pt idx="43999">
                  <c:v>-2.7731092436974799E-2</c:v>
                </c:pt>
                <c:pt idx="44000">
                  <c:v>-2.7731092436974799E-2</c:v>
                </c:pt>
                <c:pt idx="44001">
                  <c:v>-2.7731092436974799E-2</c:v>
                </c:pt>
                <c:pt idx="44002">
                  <c:v>-2.7731092436974799E-2</c:v>
                </c:pt>
                <c:pt idx="44003">
                  <c:v>-2.7731092436974799E-2</c:v>
                </c:pt>
                <c:pt idx="44004">
                  <c:v>-2.7731092436974799E-2</c:v>
                </c:pt>
                <c:pt idx="44005">
                  <c:v>-2.7731092436974799E-2</c:v>
                </c:pt>
                <c:pt idx="44006">
                  <c:v>-2.7731092436974799E-2</c:v>
                </c:pt>
                <c:pt idx="44007">
                  <c:v>-2.7731092436974799E-2</c:v>
                </c:pt>
                <c:pt idx="44008">
                  <c:v>-2.7731092436974799E-2</c:v>
                </c:pt>
                <c:pt idx="44009">
                  <c:v>-2.7731092436974799E-2</c:v>
                </c:pt>
                <c:pt idx="44010">
                  <c:v>-2.7731092436974799E-2</c:v>
                </c:pt>
                <c:pt idx="44011">
                  <c:v>-2.7731092436974799E-2</c:v>
                </c:pt>
                <c:pt idx="44012">
                  <c:v>-2.7731092436974799E-2</c:v>
                </c:pt>
                <c:pt idx="44013">
                  <c:v>-2.7731092436974799E-2</c:v>
                </c:pt>
                <c:pt idx="44014">
                  <c:v>-2.7731092436974799E-2</c:v>
                </c:pt>
                <c:pt idx="44015">
                  <c:v>-2.7731092436974799E-2</c:v>
                </c:pt>
                <c:pt idx="44016">
                  <c:v>-2.7731092436974799E-2</c:v>
                </c:pt>
                <c:pt idx="44017">
                  <c:v>-2.7731092436974799E-2</c:v>
                </c:pt>
                <c:pt idx="44018">
                  <c:v>-2.7731092436974799E-2</c:v>
                </c:pt>
                <c:pt idx="44019">
                  <c:v>-2.7731092436974799E-2</c:v>
                </c:pt>
                <c:pt idx="44020">
                  <c:v>-2.7731092436974799E-2</c:v>
                </c:pt>
                <c:pt idx="44021">
                  <c:v>-2.7731092436974799E-2</c:v>
                </c:pt>
                <c:pt idx="44022">
                  <c:v>-2.8571428571428501E-2</c:v>
                </c:pt>
                <c:pt idx="44023">
                  <c:v>-2.8571428571428501E-2</c:v>
                </c:pt>
                <c:pt idx="44024">
                  <c:v>-2.8571428571428501E-2</c:v>
                </c:pt>
                <c:pt idx="44025">
                  <c:v>-2.8571428571428501E-2</c:v>
                </c:pt>
                <c:pt idx="44026">
                  <c:v>-2.8571428571428501E-2</c:v>
                </c:pt>
                <c:pt idx="44027">
                  <c:v>-2.8571428571428501E-2</c:v>
                </c:pt>
                <c:pt idx="44028">
                  <c:v>-2.8571428571428501E-2</c:v>
                </c:pt>
                <c:pt idx="44029">
                  <c:v>-2.8571428571428501E-2</c:v>
                </c:pt>
                <c:pt idx="44030">
                  <c:v>-2.8571428571428501E-2</c:v>
                </c:pt>
                <c:pt idx="44031">
                  <c:v>-2.8571428571428501E-2</c:v>
                </c:pt>
                <c:pt idx="44032">
                  <c:v>-2.8571428571428501E-2</c:v>
                </c:pt>
                <c:pt idx="44033">
                  <c:v>-2.8571428571428501E-2</c:v>
                </c:pt>
                <c:pt idx="44034">
                  <c:v>-2.8571428571428501E-2</c:v>
                </c:pt>
                <c:pt idx="44035">
                  <c:v>-2.8571428571428501E-2</c:v>
                </c:pt>
                <c:pt idx="44036">
                  <c:v>-2.8571428571428501E-2</c:v>
                </c:pt>
                <c:pt idx="44037">
                  <c:v>-2.8571428571428501E-2</c:v>
                </c:pt>
                <c:pt idx="44038">
                  <c:v>-2.8571428571428501E-2</c:v>
                </c:pt>
                <c:pt idx="44039">
                  <c:v>-2.8571428571428501E-2</c:v>
                </c:pt>
                <c:pt idx="44040">
                  <c:v>-2.8571428571428501E-2</c:v>
                </c:pt>
                <c:pt idx="44041">
                  <c:v>-2.8571428571428501E-2</c:v>
                </c:pt>
                <c:pt idx="44042">
                  <c:v>-2.8571428571428501E-2</c:v>
                </c:pt>
                <c:pt idx="44043">
                  <c:v>-2.8571428571428501E-2</c:v>
                </c:pt>
                <c:pt idx="44044">
                  <c:v>-2.8571428571428501E-2</c:v>
                </c:pt>
                <c:pt idx="44045">
                  <c:v>-2.94117647058823E-2</c:v>
                </c:pt>
                <c:pt idx="44046">
                  <c:v>-2.94117647058823E-2</c:v>
                </c:pt>
                <c:pt idx="44047">
                  <c:v>-2.94117647058823E-2</c:v>
                </c:pt>
                <c:pt idx="44048">
                  <c:v>-2.94117647058823E-2</c:v>
                </c:pt>
                <c:pt idx="44049">
                  <c:v>-2.94117647058823E-2</c:v>
                </c:pt>
                <c:pt idx="44050">
                  <c:v>-2.94117647058823E-2</c:v>
                </c:pt>
                <c:pt idx="44051">
                  <c:v>-2.94117647058823E-2</c:v>
                </c:pt>
                <c:pt idx="44052">
                  <c:v>-2.94117647058823E-2</c:v>
                </c:pt>
                <c:pt idx="44053">
                  <c:v>-2.94117647058823E-2</c:v>
                </c:pt>
                <c:pt idx="44054">
                  <c:v>-2.94117647058823E-2</c:v>
                </c:pt>
                <c:pt idx="44055">
                  <c:v>-2.94117647058823E-2</c:v>
                </c:pt>
                <c:pt idx="44056">
                  <c:v>-2.94117647058823E-2</c:v>
                </c:pt>
                <c:pt idx="44057">
                  <c:v>-2.94117647058823E-2</c:v>
                </c:pt>
                <c:pt idx="44058">
                  <c:v>-2.94117647058823E-2</c:v>
                </c:pt>
                <c:pt idx="44059">
                  <c:v>-2.94117647058823E-2</c:v>
                </c:pt>
                <c:pt idx="44060">
                  <c:v>-2.94117647058823E-2</c:v>
                </c:pt>
                <c:pt idx="44061">
                  <c:v>-2.94117647058823E-2</c:v>
                </c:pt>
                <c:pt idx="44062">
                  <c:v>-2.94117647058823E-2</c:v>
                </c:pt>
                <c:pt idx="44063">
                  <c:v>-2.94117647058823E-2</c:v>
                </c:pt>
                <c:pt idx="44064">
                  <c:v>-2.94117647058823E-2</c:v>
                </c:pt>
                <c:pt idx="44065">
                  <c:v>-2.94117647058823E-2</c:v>
                </c:pt>
                <c:pt idx="44066">
                  <c:v>-2.94117647058823E-2</c:v>
                </c:pt>
                <c:pt idx="44067">
                  <c:v>-2.94117647058823E-2</c:v>
                </c:pt>
                <c:pt idx="44068">
                  <c:v>-2.94117647058823E-2</c:v>
                </c:pt>
                <c:pt idx="44069">
                  <c:v>-2.94117647058823E-2</c:v>
                </c:pt>
                <c:pt idx="44070">
                  <c:v>-2.94117647058823E-2</c:v>
                </c:pt>
                <c:pt idx="44071">
                  <c:v>-2.94117647058823E-2</c:v>
                </c:pt>
                <c:pt idx="44072">
                  <c:v>-2.94117647058823E-2</c:v>
                </c:pt>
                <c:pt idx="44073">
                  <c:v>-2.94117647058823E-2</c:v>
                </c:pt>
                <c:pt idx="44074">
                  <c:v>-2.94117647058823E-2</c:v>
                </c:pt>
                <c:pt idx="44075">
                  <c:v>-2.94117647058823E-2</c:v>
                </c:pt>
                <c:pt idx="44076">
                  <c:v>-2.94117647058823E-2</c:v>
                </c:pt>
                <c:pt idx="44077">
                  <c:v>-2.94117647058823E-2</c:v>
                </c:pt>
                <c:pt idx="44078">
                  <c:v>-2.94117647058823E-2</c:v>
                </c:pt>
                <c:pt idx="44079">
                  <c:v>-2.94117647058823E-2</c:v>
                </c:pt>
                <c:pt idx="44080">
                  <c:v>-2.94117647058823E-2</c:v>
                </c:pt>
                <c:pt idx="44081">
                  <c:v>-2.94117647058823E-2</c:v>
                </c:pt>
                <c:pt idx="44082">
                  <c:v>-2.94117647058823E-2</c:v>
                </c:pt>
                <c:pt idx="44083">
                  <c:v>-2.94117647058823E-2</c:v>
                </c:pt>
                <c:pt idx="44084">
                  <c:v>-2.94117647058823E-2</c:v>
                </c:pt>
                <c:pt idx="44085">
                  <c:v>-2.94117647058823E-2</c:v>
                </c:pt>
                <c:pt idx="44086">
                  <c:v>-2.94117647058823E-2</c:v>
                </c:pt>
                <c:pt idx="44087">
                  <c:v>-2.94117647058823E-2</c:v>
                </c:pt>
                <c:pt idx="44088">
                  <c:v>-2.94117647058823E-2</c:v>
                </c:pt>
                <c:pt idx="44089">
                  <c:v>-2.94117647058823E-2</c:v>
                </c:pt>
                <c:pt idx="44090">
                  <c:v>-2.94117647058823E-2</c:v>
                </c:pt>
                <c:pt idx="44091">
                  <c:v>-2.94117647058823E-2</c:v>
                </c:pt>
                <c:pt idx="44092">
                  <c:v>-2.94117647058823E-2</c:v>
                </c:pt>
                <c:pt idx="44093">
                  <c:v>-2.94117647058823E-2</c:v>
                </c:pt>
                <c:pt idx="44094">
                  <c:v>-2.94117647058823E-2</c:v>
                </c:pt>
                <c:pt idx="44095">
                  <c:v>-2.94117647058823E-2</c:v>
                </c:pt>
                <c:pt idx="44096">
                  <c:v>-2.94117647058823E-2</c:v>
                </c:pt>
                <c:pt idx="44097">
                  <c:v>-2.94117647058823E-2</c:v>
                </c:pt>
                <c:pt idx="44098">
                  <c:v>-2.94117647058823E-2</c:v>
                </c:pt>
                <c:pt idx="44099">
                  <c:v>-2.94117647058823E-2</c:v>
                </c:pt>
                <c:pt idx="44100">
                  <c:v>-2.94117647058823E-2</c:v>
                </c:pt>
                <c:pt idx="44101">
                  <c:v>-2.94117647058823E-2</c:v>
                </c:pt>
                <c:pt idx="44102">
                  <c:v>-2.94117647058823E-2</c:v>
                </c:pt>
                <c:pt idx="44103">
                  <c:v>-2.94117647058823E-2</c:v>
                </c:pt>
                <c:pt idx="44104">
                  <c:v>-2.94117647058823E-2</c:v>
                </c:pt>
                <c:pt idx="44105">
                  <c:v>-2.94117647058823E-2</c:v>
                </c:pt>
                <c:pt idx="44106">
                  <c:v>-2.94117647058823E-2</c:v>
                </c:pt>
                <c:pt idx="44107">
                  <c:v>-2.94117647058823E-2</c:v>
                </c:pt>
                <c:pt idx="44108">
                  <c:v>-2.94117647058823E-2</c:v>
                </c:pt>
                <c:pt idx="44109">
                  <c:v>-2.94117647058823E-2</c:v>
                </c:pt>
                <c:pt idx="44110">
                  <c:v>-2.94117647058823E-2</c:v>
                </c:pt>
                <c:pt idx="44111">
                  <c:v>-2.94117647058823E-2</c:v>
                </c:pt>
                <c:pt idx="44112">
                  <c:v>-2.94117647058823E-2</c:v>
                </c:pt>
                <c:pt idx="44113">
                  <c:v>-2.94117647058823E-2</c:v>
                </c:pt>
                <c:pt idx="44114">
                  <c:v>-2.94117647058823E-2</c:v>
                </c:pt>
                <c:pt idx="44115">
                  <c:v>-2.94117647058823E-2</c:v>
                </c:pt>
                <c:pt idx="44116">
                  <c:v>-2.94117647058823E-2</c:v>
                </c:pt>
                <c:pt idx="44117">
                  <c:v>-2.94117647058823E-2</c:v>
                </c:pt>
                <c:pt idx="44118">
                  <c:v>-2.94117647058823E-2</c:v>
                </c:pt>
                <c:pt idx="44119">
                  <c:v>-2.94117647058823E-2</c:v>
                </c:pt>
                <c:pt idx="44120">
                  <c:v>-2.94117647058823E-2</c:v>
                </c:pt>
                <c:pt idx="44121">
                  <c:v>-2.94117647058823E-2</c:v>
                </c:pt>
                <c:pt idx="44122">
                  <c:v>-2.94117647058823E-2</c:v>
                </c:pt>
                <c:pt idx="44123">
                  <c:v>-2.94117647058823E-2</c:v>
                </c:pt>
                <c:pt idx="44124">
                  <c:v>-2.94117647058823E-2</c:v>
                </c:pt>
                <c:pt idx="44125">
                  <c:v>-2.94117647058823E-2</c:v>
                </c:pt>
                <c:pt idx="44126">
                  <c:v>-2.94117647058823E-2</c:v>
                </c:pt>
                <c:pt idx="44127">
                  <c:v>-2.94117647058823E-2</c:v>
                </c:pt>
                <c:pt idx="44128">
                  <c:v>-2.94117647058823E-2</c:v>
                </c:pt>
                <c:pt idx="44129">
                  <c:v>-2.94117647058823E-2</c:v>
                </c:pt>
                <c:pt idx="44130">
                  <c:v>-2.94117647058823E-2</c:v>
                </c:pt>
                <c:pt idx="44131">
                  <c:v>-2.94117647058823E-2</c:v>
                </c:pt>
                <c:pt idx="44132">
                  <c:v>-2.94117647058823E-2</c:v>
                </c:pt>
                <c:pt idx="44133">
                  <c:v>-2.94117647058823E-2</c:v>
                </c:pt>
                <c:pt idx="44134">
                  <c:v>-2.94117647058823E-2</c:v>
                </c:pt>
                <c:pt idx="44135">
                  <c:v>-2.94117647058823E-2</c:v>
                </c:pt>
                <c:pt idx="44136">
                  <c:v>-2.94117647058823E-2</c:v>
                </c:pt>
                <c:pt idx="44137">
                  <c:v>-2.94117647058823E-2</c:v>
                </c:pt>
                <c:pt idx="44138">
                  <c:v>-2.94117647058823E-2</c:v>
                </c:pt>
                <c:pt idx="44139">
                  <c:v>-2.94117647058823E-2</c:v>
                </c:pt>
                <c:pt idx="44140">
                  <c:v>-2.94117647058823E-2</c:v>
                </c:pt>
                <c:pt idx="44141">
                  <c:v>-2.94117647058823E-2</c:v>
                </c:pt>
                <c:pt idx="44142">
                  <c:v>-2.94117647058823E-2</c:v>
                </c:pt>
                <c:pt idx="44143">
                  <c:v>-2.94117647058823E-2</c:v>
                </c:pt>
                <c:pt idx="44144">
                  <c:v>-2.94117647058823E-2</c:v>
                </c:pt>
                <c:pt idx="44145">
                  <c:v>-2.94117647058823E-2</c:v>
                </c:pt>
                <c:pt idx="44146">
                  <c:v>-2.94117647058823E-2</c:v>
                </c:pt>
                <c:pt idx="44147">
                  <c:v>-2.94117647058823E-2</c:v>
                </c:pt>
                <c:pt idx="44148">
                  <c:v>-2.94117647058823E-2</c:v>
                </c:pt>
                <c:pt idx="44149">
                  <c:v>-2.94117647058823E-2</c:v>
                </c:pt>
                <c:pt idx="44150">
                  <c:v>-2.94117647058823E-2</c:v>
                </c:pt>
                <c:pt idx="44151">
                  <c:v>-2.8571428571428501E-2</c:v>
                </c:pt>
                <c:pt idx="44152">
                  <c:v>-2.7731092436974799E-2</c:v>
                </c:pt>
                <c:pt idx="44153">
                  <c:v>-2.7731092436974799E-2</c:v>
                </c:pt>
                <c:pt idx="44154">
                  <c:v>-2.7731092436974799E-2</c:v>
                </c:pt>
                <c:pt idx="44155">
                  <c:v>-2.7731092436974799E-2</c:v>
                </c:pt>
                <c:pt idx="44156">
                  <c:v>-2.7731092436974799E-2</c:v>
                </c:pt>
                <c:pt idx="44157">
                  <c:v>-2.7731092436974799E-2</c:v>
                </c:pt>
                <c:pt idx="44158">
                  <c:v>-2.7731092436974799E-2</c:v>
                </c:pt>
                <c:pt idx="44159">
                  <c:v>-2.7731092436974799E-2</c:v>
                </c:pt>
                <c:pt idx="44160">
                  <c:v>-2.7731092436974799E-2</c:v>
                </c:pt>
                <c:pt idx="44161">
                  <c:v>-2.7731092436974799E-2</c:v>
                </c:pt>
                <c:pt idx="44162">
                  <c:v>-2.7731092436974799E-2</c:v>
                </c:pt>
                <c:pt idx="44163">
                  <c:v>-2.7731092436974799E-2</c:v>
                </c:pt>
                <c:pt idx="44164">
                  <c:v>-2.7731092436974799E-2</c:v>
                </c:pt>
                <c:pt idx="44165">
                  <c:v>-2.7731092436974799E-2</c:v>
                </c:pt>
                <c:pt idx="44166">
                  <c:v>-2.7731092436974799E-2</c:v>
                </c:pt>
                <c:pt idx="44167">
                  <c:v>-2.7731092436974799E-2</c:v>
                </c:pt>
                <c:pt idx="44168">
                  <c:v>-2.7731092436974799E-2</c:v>
                </c:pt>
                <c:pt idx="44169">
                  <c:v>-2.7731092436974799E-2</c:v>
                </c:pt>
                <c:pt idx="44170">
                  <c:v>-2.7731092436974799E-2</c:v>
                </c:pt>
                <c:pt idx="44171">
                  <c:v>-2.7731092436974799E-2</c:v>
                </c:pt>
                <c:pt idx="44172">
                  <c:v>-2.7731092436974799E-2</c:v>
                </c:pt>
                <c:pt idx="44173">
                  <c:v>-2.7731092436974799E-2</c:v>
                </c:pt>
                <c:pt idx="44174">
                  <c:v>-2.7731092436974799E-2</c:v>
                </c:pt>
                <c:pt idx="44175">
                  <c:v>-2.7731092436974799E-2</c:v>
                </c:pt>
                <c:pt idx="44176">
                  <c:v>-2.7731092436974799E-2</c:v>
                </c:pt>
                <c:pt idx="44177">
                  <c:v>-2.7731092436974799E-2</c:v>
                </c:pt>
                <c:pt idx="44178">
                  <c:v>-2.7731092436974799E-2</c:v>
                </c:pt>
                <c:pt idx="44179">
                  <c:v>-2.7731092436974799E-2</c:v>
                </c:pt>
                <c:pt idx="44180">
                  <c:v>-2.7731092436974799E-2</c:v>
                </c:pt>
                <c:pt idx="44181">
                  <c:v>-2.7731092436974799E-2</c:v>
                </c:pt>
                <c:pt idx="44182">
                  <c:v>-2.7731092436974799E-2</c:v>
                </c:pt>
                <c:pt idx="44183">
                  <c:v>-2.7731092436974799E-2</c:v>
                </c:pt>
                <c:pt idx="44184">
                  <c:v>-2.7731092436974799E-2</c:v>
                </c:pt>
                <c:pt idx="44185">
                  <c:v>-2.7731092436974799E-2</c:v>
                </c:pt>
                <c:pt idx="44186">
                  <c:v>-2.7731092436974799E-2</c:v>
                </c:pt>
                <c:pt idx="44187">
                  <c:v>-2.7731092436974799E-2</c:v>
                </c:pt>
                <c:pt idx="44188">
                  <c:v>-2.7731092436974799E-2</c:v>
                </c:pt>
                <c:pt idx="44189">
                  <c:v>-2.7731092436974799E-2</c:v>
                </c:pt>
                <c:pt idx="44190">
                  <c:v>-2.7731092436974799E-2</c:v>
                </c:pt>
                <c:pt idx="44191">
                  <c:v>-2.7731092436974799E-2</c:v>
                </c:pt>
                <c:pt idx="44192">
                  <c:v>-2.7731092436974799E-2</c:v>
                </c:pt>
                <c:pt idx="44193">
                  <c:v>-2.7731092436974799E-2</c:v>
                </c:pt>
                <c:pt idx="44194">
                  <c:v>-2.7731092436974799E-2</c:v>
                </c:pt>
                <c:pt idx="44195">
                  <c:v>-2.7731092436974799E-2</c:v>
                </c:pt>
                <c:pt idx="44196">
                  <c:v>-2.7731092436974799E-2</c:v>
                </c:pt>
                <c:pt idx="44197">
                  <c:v>-2.7731092436974799E-2</c:v>
                </c:pt>
                <c:pt idx="44198">
                  <c:v>-2.7731092436974799E-2</c:v>
                </c:pt>
                <c:pt idx="44199">
                  <c:v>-2.7731092436974799E-2</c:v>
                </c:pt>
                <c:pt idx="44200">
                  <c:v>-2.7731092436974799E-2</c:v>
                </c:pt>
                <c:pt idx="44201">
                  <c:v>-2.7731092436974799E-2</c:v>
                </c:pt>
                <c:pt idx="44202">
                  <c:v>-2.7731092436974799E-2</c:v>
                </c:pt>
                <c:pt idx="44203">
                  <c:v>-2.7731092436974799E-2</c:v>
                </c:pt>
                <c:pt idx="44204">
                  <c:v>-2.7731092436974799E-2</c:v>
                </c:pt>
                <c:pt idx="44205">
                  <c:v>-2.7731092436974799E-2</c:v>
                </c:pt>
                <c:pt idx="44206">
                  <c:v>-2.7731092436974799E-2</c:v>
                </c:pt>
                <c:pt idx="44207">
                  <c:v>-2.7731092436974799E-2</c:v>
                </c:pt>
                <c:pt idx="44208">
                  <c:v>-2.7731092436974799E-2</c:v>
                </c:pt>
                <c:pt idx="44209">
                  <c:v>-2.7731092436974799E-2</c:v>
                </c:pt>
                <c:pt idx="44210">
                  <c:v>-2.7731092436974799E-2</c:v>
                </c:pt>
                <c:pt idx="44211">
                  <c:v>-2.7731092436974799E-2</c:v>
                </c:pt>
                <c:pt idx="44212">
                  <c:v>-2.7731092436974799E-2</c:v>
                </c:pt>
                <c:pt idx="44213">
                  <c:v>-2.7731092436974799E-2</c:v>
                </c:pt>
                <c:pt idx="44214">
                  <c:v>-2.7731092436974799E-2</c:v>
                </c:pt>
                <c:pt idx="44215">
                  <c:v>-2.7731092436974799E-2</c:v>
                </c:pt>
                <c:pt idx="44216">
                  <c:v>-2.7731092436974799E-2</c:v>
                </c:pt>
                <c:pt idx="44217">
                  <c:v>-2.7731092436974799E-2</c:v>
                </c:pt>
                <c:pt idx="44218">
                  <c:v>-2.7731092436974799E-2</c:v>
                </c:pt>
                <c:pt idx="44219">
                  <c:v>-2.7731092436974799E-2</c:v>
                </c:pt>
                <c:pt idx="44220">
                  <c:v>-2.7731092436974799E-2</c:v>
                </c:pt>
                <c:pt idx="44221">
                  <c:v>-2.7731092436974799E-2</c:v>
                </c:pt>
                <c:pt idx="44222">
                  <c:v>-2.7731092436974799E-2</c:v>
                </c:pt>
                <c:pt idx="44223">
                  <c:v>-2.7731092436974799E-2</c:v>
                </c:pt>
                <c:pt idx="44224">
                  <c:v>-2.7731092436974799E-2</c:v>
                </c:pt>
                <c:pt idx="44225">
                  <c:v>-2.7731092436974799E-2</c:v>
                </c:pt>
                <c:pt idx="44226">
                  <c:v>-2.7731092436974799E-2</c:v>
                </c:pt>
                <c:pt idx="44227">
                  <c:v>-2.7731092436974799E-2</c:v>
                </c:pt>
                <c:pt idx="44228">
                  <c:v>-2.7731092436974799E-2</c:v>
                </c:pt>
                <c:pt idx="44229">
                  <c:v>-2.7731092436974799E-2</c:v>
                </c:pt>
                <c:pt idx="44230">
                  <c:v>-2.7731092436974799E-2</c:v>
                </c:pt>
                <c:pt idx="44231">
                  <c:v>-2.7731092436974799E-2</c:v>
                </c:pt>
                <c:pt idx="44232">
                  <c:v>-2.7731092436974799E-2</c:v>
                </c:pt>
                <c:pt idx="44233">
                  <c:v>-2.7731092436974799E-2</c:v>
                </c:pt>
                <c:pt idx="44234">
                  <c:v>-2.7731092436974799E-2</c:v>
                </c:pt>
                <c:pt idx="44235">
                  <c:v>-2.7731092436974799E-2</c:v>
                </c:pt>
                <c:pt idx="44236">
                  <c:v>-2.7731092436974799E-2</c:v>
                </c:pt>
                <c:pt idx="44237">
                  <c:v>-2.7731092436974799E-2</c:v>
                </c:pt>
                <c:pt idx="44238">
                  <c:v>-2.7731092436974799E-2</c:v>
                </c:pt>
                <c:pt idx="44239">
                  <c:v>-2.7731092436974799E-2</c:v>
                </c:pt>
                <c:pt idx="44240">
                  <c:v>-2.7731092436974799E-2</c:v>
                </c:pt>
                <c:pt idx="44241">
                  <c:v>-2.7731092436974799E-2</c:v>
                </c:pt>
                <c:pt idx="44242">
                  <c:v>-2.7731092436974799E-2</c:v>
                </c:pt>
                <c:pt idx="44243">
                  <c:v>-2.6890756302521E-2</c:v>
                </c:pt>
                <c:pt idx="44244">
                  <c:v>-2.6890756302521E-2</c:v>
                </c:pt>
                <c:pt idx="44245">
                  <c:v>-2.6890756302521E-2</c:v>
                </c:pt>
                <c:pt idx="44246">
                  <c:v>-2.6890756302521E-2</c:v>
                </c:pt>
                <c:pt idx="44247">
                  <c:v>-2.6890756302521E-2</c:v>
                </c:pt>
                <c:pt idx="44248">
                  <c:v>-2.7731092436974799E-2</c:v>
                </c:pt>
                <c:pt idx="44249">
                  <c:v>-2.7731092436974799E-2</c:v>
                </c:pt>
                <c:pt idx="44250">
                  <c:v>-2.7731092436974799E-2</c:v>
                </c:pt>
                <c:pt idx="44251">
                  <c:v>-2.7731092436974799E-2</c:v>
                </c:pt>
                <c:pt idx="44252">
                  <c:v>-2.7731092436974799E-2</c:v>
                </c:pt>
                <c:pt idx="44253">
                  <c:v>-2.7731092436974799E-2</c:v>
                </c:pt>
                <c:pt idx="44254">
                  <c:v>-2.7731092436974799E-2</c:v>
                </c:pt>
                <c:pt idx="44255">
                  <c:v>-2.7731092436974799E-2</c:v>
                </c:pt>
                <c:pt idx="44256">
                  <c:v>-2.7731092436974799E-2</c:v>
                </c:pt>
                <c:pt idx="44257">
                  <c:v>-2.7731092436974799E-2</c:v>
                </c:pt>
                <c:pt idx="44258">
                  <c:v>-2.7731092436974799E-2</c:v>
                </c:pt>
                <c:pt idx="44259">
                  <c:v>-2.7731092436974799E-2</c:v>
                </c:pt>
                <c:pt idx="44260">
                  <c:v>-2.7731092436974799E-2</c:v>
                </c:pt>
                <c:pt idx="44261">
                  <c:v>-2.7731092436974799E-2</c:v>
                </c:pt>
                <c:pt idx="44262">
                  <c:v>-2.7731092436974799E-2</c:v>
                </c:pt>
                <c:pt idx="44263">
                  <c:v>-2.7731092436974799E-2</c:v>
                </c:pt>
                <c:pt idx="44264">
                  <c:v>-2.7731092436974799E-2</c:v>
                </c:pt>
                <c:pt idx="44265">
                  <c:v>-2.7731092436974799E-2</c:v>
                </c:pt>
                <c:pt idx="44266">
                  <c:v>-2.7731092436974799E-2</c:v>
                </c:pt>
                <c:pt idx="44267">
                  <c:v>-2.7731092436974799E-2</c:v>
                </c:pt>
                <c:pt idx="44268">
                  <c:v>-2.7731092436974799E-2</c:v>
                </c:pt>
                <c:pt idx="44269">
                  <c:v>-2.7731092436974799E-2</c:v>
                </c:pt>
                <c:pt idx="44270">
                  <c:v>-2.7731092436974799E-2</c:v>
                </c:pt>
                <c:pt idx="44271">
                  <c:v>-2.7731092436974799E-2</c:v>
                </c:pt>
                <c:pt idx="44272">
                  <c:v>-2.7731092436974799E-2</c:v>
                </c:pt>
                <c:pt idx="44273">
                  <c:v>-2.7731092436974799E-2</c:v>
                </c:pt>
                <c:pt idx="44274">
                  <c:v>-2.7731092436974799E-2</c:v>
                </c:pt>
                <c:pt idx="44275">
                  <c:v>-2.7731092436974799E-2</c:v>
                </c:pt>
                <c:pt idx="44276">
                  <c:v>-2.7731092436974799E-2</c:v>
                </c:pt>
                <c:pt idx="44277">
                  <c:v>-2.7731092436974799E-2</c:v>
                </c:pt>
                <c:pt idx="44278">
                  <c:v>-2.7731092436974799E-2</c:v>
                </c:pt>
                <c:pt idx="44279">
                  <c:v>-2.7731092436974799E-2</c:v>
                </c:pt>
                <c:pt idx="44280">
                  <c:v>-2.7731092436974799E-2</c:v>
                </c:pt>
                <c:pt idx="44281">
                  <c:v>-2.7731092436974799E-2</c:v>
                </c:pt>
                <c:pt idx="44282">
                  <c:v>-2.7731092436974799E-2</c:v>
                </c:pt>
                <c:pt idx="44283">
                  <c:v>-2.7731092436974799E-2</c:v>
                </c:pt>
                <c:pt idx="44284">
                  <c:v>-2.7731092436974799E-2</c:v>
                </c:pt>
                <c:pt idx="44285">
                  <c:v>-2.7731092436974799E-2</c:v>
                </c:pt>
                <c:pt idx="44286">
                  <c:v>-2.7731092436974799E-2</c:v>
                </c:pt>
                <c:pt idx="44287">
                  <c:v>-2.7731092436974799E-2</c:v>
                </c:pt>
                <c:pt idx="44288">
                  <c:v>-2.7731092436974799E-2</c:v>
                </c:pt>
                <c:pt idx="44289">
                  <c:v>-2.7731092436974799E-2</c:v>
                </c:pt>
                <c:pt idx="44290">
                  <c:v>-2.7731092436974799E-2</c:v>
                </c:pt>
                <c:pt idx="44291">
                  <c:v>-2.7731092436974799E-2</c:v>
                </c:pt>
                <c:pt idx="44292">
                  <c:v>-2.7731092436974799E-2</c:v>
                </c:pt>
                <c:pt idx="44293">
                  <c:v>-2.7731092436974799E-2</c:v>
                </c:pt>
                <c:pt idx="44294">
                  <c:v>-2.7731092436974799E-2</c:v>
                </c:pt>
                <c:pt idx="44295">
                  <c:v>-2.7731092436974799E-2</c:v>
                </c:pt>
                <c:pt idx="44296">
                  <c:v>-2.7731092436974799E-2</c:v>
                </c:pt>
                <c:pt idx="44297">
                  <c:v>-2.7731092436974799E-2</c:v>
                </c:pt>
                <c:pt idx="44298">
                  <c:v>-2.7731092436974799E-2</c:v>
                </c:pt>
                <c:pt idx="44299">
                  <c:v>-2.7731092436974799E-2</c:v>
                </c:pt>
                <c:pt idx="44300">
                  <c:v>-2.7731092436974799E-2</c:v>
                </c:pt>
                <c:pt idx="44301">
                  <c:v>-2.7731092436974799E-2</c:v>
                </c:pt>
                <c:pt idx="44302">
                  <c:v>-2.7731092436974799E-2</c:v>
                </c:pt>
                <c:pt idx="44303">
                  <c:v>-2.7731092436974799E-2</c:v>
                </c:pt>
                <c:pt idx="44304">
                  <c:v>-2.7731092436974799E-2</c:v>
                </c:pt>
                <c:pt idx="44305">
                  <c:v>-2.7731092436974799E-2</c:v>
                </c:pt>
                <c:pt idx="44306">
                  <c:v>-2.7731092436974799E-2</c:v>
                </c:pt>
                <c:pt idx="44307">
                  <c:v>-2.7731092436974799E-2</c:v>
                </c:pt>
                <c:pt idx="44308">
                  <c:v>-2.7731092436974799E-2</c:v>
                </c:pt>
                <c:pt idx="44309">
                  <c:v>-2.7731092436974799E-2</c:v>
                </c:pt>
                <c:pt idx="44310">
                  <c:v>-2.7731092436974799E-2</c:v>
                </c:pt>
                <c:pt idx="44311">
                  <c:v>-2.7731092436974799E-2</c:v>
                </c:pt>
                <c:pt idx="44312">
                  <c:v>-2.7731092436974799E-2</c:v>
                </c:pt>
                <c:pt idx="44313">
                  <c:v>-2.7731092436974799E-2</c:v>
                </c:pt>
                <c:pt idx="44314">
                  <c:v>-2.7731092436974799E-2</c:v>
                </c:pt>
                <c:pt idx="44315">
                  <c:v>-2.7731092436974799E-2</c:v>
                </c:pt>
                <c:pt idx="44316">
                  <c:v>-2.7731092436974799E-2</c:v>
                </c:pt>
                <c:pt idx="44317">
                  <c:v>-2.7731092436974799E-2</c:v>
                </c:pt>
                <c:pt idx="44318">
                  <c:v>-2.7731092436974799E-2</c:v>
                </c:pt>
                <c:pt idx="44319">
                  <c:v>-2.7731092436974799E-2</c:v>
                </c:pt>
                <c:pt idx="44320">
                  <c:v>-2.7731092436974799E-2</c:v>
                </c:pt>
                <c:pt idx="44321">
                  <c:v>-2.7731092436974799E-2</c:v>
                </c:pt>
                <c:pt idx="44322">
                  <c:v>-2.7731092436974799E-2</c:v>
                </c:pt>
                <c:pt idx="44323">
                  <c:v>-2.7731092436974799E-2</c:v>
                </c:pt>
                <c:pt idx="44324">
                  <c:v>-2.7731092436974799E-2</c:v>
                </c:pt>
                <c:pt idx="44325">
                  <c:v>-2.7731092436974799E-2</c:v>
                </c:pt>
                <c:pt idx="44326">
                  <c:v>-2.7731092436974799E-2</c:v>
                </c:pt>
                <c:pt idx="44327">
                  <c:v>-2.7731092436974799E-2</c:v>
                </c:pt>
                <c:pt idx="44328">
                  <c:v>-2.7731092436974799E-2</c:v>
                </c:pt>
                <c:pt idx="44329">
                  <c:v>-2.7731092436974799E-2</c:v>
                </c:pt>
                <c:pt idx="44330">
                  <c:v>-2.7731092436974799E-2</c:v>
                </c:pt>
                <c:pt idx="44331">
                  <c:v>-2.7731092436974799E-2</c:v>
                </c:pt>
                <c:pt idx="44332">
                  <c:v>-2.7731092436974799E-2</c:v>
                </c:pt>
                <c:pt idx="44333">
                  <c:v>-2.7731092436974799E-2</c:v>
                </c:pt>
                <c:pt idx="44334">
                  <c:v>-2.7731092436974799E-2</c:v>
                </c:pt>
                <c:pt idx="44335">
                  <c:v>-2.7731092436974799E-2</c:v>
                </c:pt>
                <c:pt idx="44336">
                  <c:v>-2.7731092436974799E-2</c:v>
                </c:pt>
                <c:pt idx="44337">
                  <c:v>-2.7731092436974799E-2</c:v>
                </c:pt>
                <c:pt idx="44338">
                  <c:v>-2.7731092436974799E-2</c:v>
                </c:pt>
                <c:pt idx="44339">
                  <c:v>-2.7731092436974799E-2</c:v>
                </c:pt>
                <c:pt idx="44340">
                  <c:v>-2.7731092436974799E-2</c:v>
                </c:pt>
                <c:pt idx="44341">
                  <c:v>-2.7731092436974799E-2</c:v>
                </c:pt>
                <c:pt idx="44342">
                  <c:v>-2.7731092436974799E-2</c:v>
                </c:pt>
                <c:pt idx="44343">
                  <c:v>-2.7731092436974799E-2</c:v>
                </c:pt>
                <c:pt idx="44344">
                  <c:v>-2.7731092436974799E-2</c:v>
                </c:pt>
                <c:pt idx="44345">
                  <c:v>-2.7731092436974799E-2</c:v>
                </c:pt>
                <c:pt idx="44346">
                  <c:v>-2.7731092436974799E-2</c:v>
                </c:pt>
                <c:pt idx="44347">
                  <c:v>-2.7731092436974799E-2</c:v>
                </c:pt>
                <c:pt idx="44348">
                  <c:v>-2.7731092436974799E-2</c:v>
                </c:pt>
                <c:pt idx="44349">
                  <c:v>-2.7731092436974799E-2</c:v>
                </c:pt>
                <c:pt idx="44350">
                  <c:v>-2.7731092436974799E-2</c:v>
                </c:pt>
                <c:pt idx="44351">
                  <c:v>-2.7731092436974799E-2</c:v>
                </c:pt>
                <c:pt idx="44352">
                  <c:v>-2.7731092436974799E-2</c:v>
                </c:pt>
                <c:pt idx="44353">
                  <c:v>-2.7731092436974799E-2</c:v>
                </c:pt>
                <c:pt idx="44354">
                  <c:v>-2.7731092436974799E-2</c:v>
                </c:pt>
                <c:pt idx="44355">
                  <c:v>-2.7731092436974799E-2</c:v>
                </c:pt>
                <c:pt idx="44356">
                  <c:v>-2.7731092436974799E-2</c:v>
                </c:pt>
                <c:pt idx="44357">
                  <c:v>-2.7731092436974799E-2</c:v>
                </c:pt>
                <c:pt idx="44358">
                  <c:v>-2.7731092436974799E-2</c:v>
                </c:pt>
                <c:pt idx="44359">
                  <c:v>-2.7731092436974799E-2</c:v>
                </c:pt>
                <c:pt idx="44360">
                  <c:v>-2.7731092436974799E-2</c:v>
                </c:pt>
                <c:pt idx="44361">
                  <c:v>-2.6890756302521E-2</c:v>
                </c:pt>
                <c:pt idx="44362">
                  <c:v>-2.6890756302521E-2</c:v>
                </c:pt>
                <c:pt idx="44363">
                  <c:v>-2.6890756302521E-2</c:v>
                </c:pt>
                <c:pt idx="44364">
                  <c:v>-2.6890756302521E-2</c:v>
                </c:pt>
                <c:pt idx="44365">
                  <c:v>-2.6890756302521E-2</c:v>
                </c:pt>
                <c:pt idx="44366">
                  <c:v>-2.6890756302521E-2</c:v>
                </c:pt>
                <c:pt idx="44367">
                  <c:v>-2.6890756302521E-2</c:v>
                </c:pt>
                <c:pt idx="44368">
                  <c:v>-2.6890756302521E-2</c:v>
                </c:pt>
                <c:pt idx="44369">
                  <c:v>-2.6890756302521E-2</c:v>
                </c:pt>
                <c:pt idx="44370">
                  <c:v>-2.6890756302521E-2</c:v>
                </c:pt>
                <c:pt idx="44371">
                  <c:v>-2.6890756302521E-2</c:v>
                </c:pt>
                <c:pt idx="44372">
                  <c:v>-2.6890756302521E-2</c:v>
                </c:pt>
                <c:pt idx="44373">
                  <c:v>-2.6890756302521E-2</c:v>
                </c:pt>
                <c:pt idx="44374">
                  <c:v>-2.6890756302521E-2</c:v>
                </c:pt>
                <c:pt idx="44375">
                  <c:v>-2.6890756302521E-2</c:v>
                </c:pt>
                <c:pt idx="44376">
                  <c:v>-2.6890756302521E-2</c:v>
                </c:pt>
                <c:pt idx="44377">
                  <c:v>-2.6890756302521E-2</c:v>
                </c:pt>
                <c:pt idx="44378">
                  <c:v>-2.6890756302521E-2</c:v>
                </c:pt>
                <c:pt idx="44379">
                  <c:v>-2.6890756302521E-2</c:v>
                </c:pt>
                <c:pt idx="44380">
                  <c:v>-2.6890756302521E-2</c:v>
                </c:pt>
                <c:pt idx="44381">
                  <c:v>-2.6890756302521E-2</c:v>
                </c:pt>
                <c:pt idx="44382">
                  <c:v>-2.6890756302521E-2</c:v>
                </c:pt>
                <c:pt idx="44383">
                  <c:v>-2.6890756302521E-2</c:v>
                </c:pt>
                <c:pt idx="44384">
                  <c:v>-2.6890756302521E-2</c:v>
                </c:pt>
                <c:pt idx="44385">
                  <c:v>-2.6890756302521E-2</c:v>
                </c:pt>
                <c:pt idx="44386">
                  <c:v>-2.6890756302521E-2</c:v>
                </c:pt>
                <c:pt idx="44387">
                  <c:v>-2.6890756302521E-2</c:v>
                </c:pt>
                <c:pt idx="44388">
                  <c:v>-2.6890756302521E-2</c:v>
                </c:pt>
                <c:pt idx="44389">
                  <c:v>-2.6890756302521E-2</c:v>
                </c:pt>
                <c:pt idx="44390">
                  <c:v>-2.6890756302521E-2</c:v>
                </c:pt>
                <c:pt idx="44391">
                  <c:v>-2.6890756302521E-2</c:v>
                </c:pt>
                <c:pt idx="44392">
                  <c:v>-2.6890756302521E-2</c:v>
                </c:pt>
                <c:pt idx="44393">
                  <c:v>-2.6890756302521E-2</c:v>
                </c:pt>
                <c:pt idx="44394">
                  <c:v>-2.6890756302521E-2</c:v>
                </c:pt>
                <c:pt idx="44395">
                  <c:v>-2.6890756302521E-2</c:v>
                </c:pt>
                <c:pt idx="44396">
                  <c:v>-2.6890756302521E-2</c:v>
                </c:pt>
                <c:pt idx="44397">
                  <c:v>-2.6890756302521E-2</c:v>
                </c:pt>
                <c:pt idx="44398">
                  <c:v>-2.6890756302521E-2</c:v>
                </c:pt>
                <c:pt idx="44399">
                  <c:v>-2.6890756302521E-2</c:v>
                </c:pt>
                <c:pt idx="44400">
                  <c:v>-2.6890756302521E-2</c:v>
                </c:pt>
                <c:pt idx="44401">
                  <c:v>-2.6890756302521E-2</c:v>
                </c:pt>
                <c:pt idx="44402">
                  <c:v>-2.6890756302521E-2</c:v>
                </c:pt>
                <c:pt idx="44403">
                  <c:v>-2.6890756302521E-2</c:v>
                </c:pt>
                <c:pt idx="44404">
                  <c:v>-2.6890756302521E-2</c:v>
                </c:pt>
                <c:pt idx="44405">
                  <c:v>-2.6890756302521E-2</c:v>
                </c:pt>
                <c:pt idx="44406">
                  <c:v>-2.6890756302521E-2</c:v>
                </c:pt>
                <c:pt idx="44407">
                  <c:v>-2.6890756302521E-2</c:v>
                </c:pt>
                <c:pt idx="44408">
                  <c:v>-2.6890756302521E-2</c:v>
                </c:pt>
                <c:pt idx="44409">
                  <c:v>-2.6890756302521E-2</c:v>
                </c:pt>
                <c:pt idx="44410">
                  <c:v>-2.6890756302521E-2</c:v>
                </c:pt>
                <c:pt idx="44411">
                  <c:v>-2.6890756302521E-2</c:v>
                </c:pt>
                <c:pt idx="44412">
                  <c:v>-2.6890756302521E-2</c:v>
                </c:pt>
                <c:pt idx="44413">
                  <c:v>-2.6890756302521E-2</c:v>
                </c:pt>
                <c:pt idx="44414">
                  <c:v>-2.6890756302521E-2</c:v>
                </c:pt>
                <c:pt idx="44415">
                  <c:v>-2.6890756302521E-2</c:v>
                </c:pt>
                <c:pt idx="44416">
                  <c:v>-2.6890756302521E-2</c:v>
                </c:pt>
                <c:pt idx="44417">
                  <c:v>-2.6890756302521E-2</c:v>
                </c:pt>
                <c:pt idx="44418">
                  <c:v>-2.6890756302521E-2</c:v>
                </c:pt>
                <c:pt idx="44419">
                  <c:v>-2.6890756302521E-2</c:v>
                </c:pt>
                <c:pt idx="44420">
                  <c:v>-2.6890756302521E-2</c:v>
                </c:pt>
                <c:pt idx="44421">
                  <c:v>-2.6890756302521E-2</c:v>
                </c:pt>
                <c:pt idx="44422">
                  <c:v>-2.6890756302521E-2</c:v>
                </c:pt>
                <c:pt idx="44423">
                  <c:v>-2.6890756302521E-2</c:v>
                </c:pt>
                <c:pt idx="44424">
                  <c:v>-2.6890756302521E-2</c:v>
                </c:pt>
                <c:pt idx="44425">
                  <c:v>-2.6890756302521E-2</c:v>
                </c:pt>
                <c:pt idx="44426">
                  <c:v>-2.6890756302521E-2</c:v>
                </c:pt>
                <c:pt idx="44427">
                  <c:v>-2.6890756302521E-2</c:v>
                </c:pt>
                <c:pt idx="44428">
                  <c:v>-2.6890756302521E-2</c:v>
                </c:pt>
                <c:pt idx="44429">
                  <c:v>-2.6890756302521E-2</c:v>
                </c:pt>
                <c:pt idx="44430">
                  <c:v>-2.6890756302521E-2</c:v>
                </c:pt>
                <c:pt idx="44431">
                  <c:v>-2.6890756302521E-2</c:v>
                </c:pt>
                <c:pt idx="44432">
                  <c:v>-2.6890756302521E-2</c:v>
                </c:pt>
                <c:pt idx="44433">
                  <c:v>-2.6890756302521E-2</c:v>
                </c:pt>
                <c:pt idx="44434">
                  <c:v>-2.6890756302521E-2</c:v>
                </c:pt>
                <c:pt idx="44435">
                  <c:v>-2.6890756302521E-2</c:v>
                </c:pt>
                <c:pt idx="44436">
                  <c:v>-2.6890756302521E-2</c:v>
                </c:pt>
                <c:pt idx="44437">
                  <c:v>-2.6890756302521E-2</c:v>
                </c:pt>
                <c:pt idx="44438">
                  <c:v>-2.6890756302521E-2</c:v>
                </c:pt>
                <c:pt idx="44439">
                  <c:v>-2.6890756302521E-2</c:v>
                </c:pt>
                <c:pt idx="44440">
                  <c:v>-2.6890756302521E-2</c:v>
                </c:pt>
                <c:pt idx="44441">
                  <c:v>-2.6890756302521E-2</c:v>
                </c:pt>
                <c:pt idx="44442">
                  <c:v>-2.6890756302521E-2</c:v>
                </c:pt>
                <c:pt idx="44443">
                  <c:v>-2.6890756302521E-2</c:v>
                </c:pt>
                <c:pt idx="44444">
                  <c:v>-2.6890756302521E-2</c:v>
                </c:pt>
                <c:pt idx="44445">
                  <c:v>-2.6890756302521E-2</c:v>
                </c:pt>
                <c:pt idx="44446">
                  <c:v>-2.6890756302521E-2</c:v>
                </c:pt>
                <c:pt idx="44447">
                  <c:v>-2.60504201680672E-2</c:v>
                </c:pt>
                <c:pt idx="44448">
                  <c:v>-2.60504201680672E-2</c:v>
                </c:pt>
                <c:pt idx="44449">
                  <c:v>-2.60504201680672E-2</c:v>
                </c:pt>
                <c:pt idx="44450">
                  <c:v>-2.60504201680672E-2</c:v>
                </c:pt>
                <c:pt idx="44451">
                  <c:v>-2.60504201680672E-2</c:v>
                </c:pt>
                <c:pt idx="44452">
                  <c:v>-2.60504201680672E-2</c:v>
                </c:pt>
                <c:pt idx="44453">
                  <c:v>-2.60504201680672E-2</c:v>
                </c:pt>
                <c:pt idx="44454">
                  <c:v>-2.60504201680672E-2</c:v>
                </c:pt>
                <c:pt idx="44455">
                  <c:v>-2.60504201680672E-2</c:v>
                </c:pt>
                <c:pt idx="44456">
                  <c:v>-2.60504201680672E-2</c:v>
                </c:pt>
                <c:pt idx="44457">
                  <c:v>-2.60504201680672E-2</c:v>
                </c:pt>
                <c:pt idx="44458">
                  <c:v>-2.60504201680672E-2</c:v>
                </c:pt>
                <c:pt idx="44459">
                  <c:v>-2.60504201680672E-2</c:v>
                </c:pt>
                <c:pt idx="44460">
                  <c:v>-2.60504201680672E-2</c:v>
                </c:pt>
                <c:pt idx="44461">
                  <c:v>-2.60504201680672E-2</c:v>
                </c:pt>
                <c:pt idx="44462">
                  <c:v>-2.60504201680672E-2</c:v>
                </c:pt>
                <c:pt idx="44463">
                  <c:v>-2.60504201680672E-2</c:v>
                </c:pt>
                <c:pt idx="44464">
                  <c:v>-2.60504201680672E-2</c:v>
                </c:pt>
                <c:pt idx="44465">
                  <c:v>-2.60504201680672E-2</c:v>
                </c:pt>
                <c:pt idx="44466">
                  <c:v>-2.60504201680672E-2</c:v>
                </c:pt>
                <c:pt idx="44467">
                  <c:v>-2.60504201680672E-2</c:v>
                </c:pt>
                <c:pt idx="44468">
                  <c:v>-2.60504201680672E-2</c:v>
                </c:pt>
                <c:pt idx="44469">
                  <c:v>-2.60504201680672E-2</c:v>
                </c:pt>
                <c:pt idx="44470">
                  <c:v>-2.60504201680672E-2</c:v>
                </c:pt>
                <c:pt idx="44471">
                  <c:v>-2.5210084033613401E-2</c:v>
                </c:pt>
                <c:pt idx="44472">
                  <c:v>-2.5210084033613401E-2</c:v>
                </c:pt>
                <c:pt idx="44473">
                  <c:v>-2.4369747899159602E-2</c:v>
                </c:pt>
                <c:pt idx="44474">
                  <c:v>-2.4369747899159602E-2</c:v>
                </c:pt>
                <c:pt idx="44475">
                  <c:v>-2.4369747899159602E-2</c:v>
                </c:pt>
                <c:pt idx="44476">
                  <c:v>-2.4369747899159602E-2</c:v>
                </c:pt>
                <c:pt idx="44477">
                  <c:v>-2.4369747899159602E-2</c:v>
                </c:pt>
                <c:pt idx="44478">
                  <c:v>-2.4369747899159602E-2</c:v>
                </c:pt>
                <c:pt idx="44479">
                  <c:v>-2.4369747899159602E-2</c:v>
                </c:pt>
                <c:pt idx="44480">
                  <c:v>-2.4369747899159602E-2</c:v>
                </c:pt>
                <c:pt idx="44481">
                  <c:v>-2.4369747899159602E-2</c:v>
                </c:pt>
                <c:pt idx="44482">
                  <c:v>-2.4369747899159602E-2</c:v>
                </c:pt>
                <c:pt idx="44483">
                  <c:v>-2.4369747899159602E-2</c:v>
                </c:pt>
                <c:pt idx="44484">
                  <c:v>-2.4369747899159602E-2</c:v>
                </c:pt>
                <c:pt idx="44485">
                  <c:v>-2.4369747899159602E-2</c:v>
                </c:pt>
                <c:pt idx="44486">
                  <c:v>-2.4369747899159602E-2</c:v>
                </c:pt>
                <c:pt idx="44487">
                  <c:v>-2.4369747899159602E-2</c:v>
                </c:pt>
                <c:pt idx="44488">
                  <c:v>-2.4369747899159602E-2</c:v>
                </c:pt>
                <c:pt idx="44489">
                  <c:v>-2.4369747899159602E-2</c:v>
                </c:pt>
                <c:pt idx="44490">
                  <c:v>-2.4369747899159602E-2</c:v>
                </c:pt>
                <c:pt idx="44491">
                  <c:v>-2.4369747899159602E-2</c:v>
                </c:pt>
                <c:pt idx="44492">
                  <c:v>-2.4369747899159602E-2</c:v>
                </c:pt>
                <c:pt idx="44493">
                  <c:v>-2.4369747899159602E-2</c:v>
                </c:pt>
                <c:pt idx="44494">
                  <c:v>-2.4369747899159602E-2</c:v>
                </c:pt>
                <c:pt idx="44495">
                  <c:v>-2.4369747899159602E-2</c:v>
                </c:pt>
                <c:pt idx="44496">
                  <c:v>-2.4369747899159602E-2</c:v>
                </c:pt>
                <c:pt idx="44497">
                  <c:v>-2.4369747899159602E-2</c:v>
                </c:pt>
                <c:pt idx="44498">
                  <c:v>-2.4369747899159602E-2</c:v>
                </c:pt>
                <c:pt idx="44499">
                  <c:v>-2.4369747899159602E-2</c:v>
                </c:pt>
                <c:pt idx="44500">
                  <c:v>-2.4369747899159602E-2</c:v>
                </c:pt>
                <c:pt idx="44501">
                  <c:v>-2.4369747899159602E-2</c:v>
                </c:pt>
                <c:pt idx="44502">
                  <c:v>-2.4369747899159602E-2</c:v>
                </c:pt>
                <c:pt idx="44503">
                  <c:v>-2.4369747899159602E-2</c:v>
                </c:pt>
                <c:pt idx="44504">
                  <c:v>-2.4369747899159602E-2</c:v>
                </c:pt>
                <c:pt idx="44505">
                  <c:v>-2.4369747899159602E-2</c:v>
                </c:pt>
                <c:pt idx="44506">
                  <c:v>-2.4369747899159602E-2</c:v>
                </c:pt>
                <c:pt idx="44507">
                  <c:v>-2.4369747899159602E-2</c:v>
                </c:pt>
                <c:pt idx="44508">
                  <c:v>-2.4369747899159602E-2</c:v>
                </c:pt>
                <c:pt idx="44509">
                  <c:v>-2.4369747899159602E-2</c:v>
                </c:pt>
                <c:pt idx="44510">
                  <c:v>-2.4369747899159602E-2</c:v>
                </c:pt>
                <c:pt idx="44511">
                  <c:v>-2.4369747899159602E-2</c:v>
                </c:pt>
                <c:pt idx="44512">
                  <c:v>-2.4369747899159602E-2</c:v>
                </c:pt>
                <c:pt idx="44513">
                  <c:v>-2.4369747899159602E-2</c:v>
                </c:pt>
                <c:pt idx="44514">
                  <c:v>-2.4369747899159602E-2</c:v>
                </c:pt>
                <c:pt idx="44515">
                  <c:v>-2.4369747899159602E-2</c:v>
                </c:pt>
                <c:pt idx="44516">
                  <c:v>-2.5210084033613401E-2</c:v>
                </c:pt>
                <c:pt idx="44517">
                  <c:v>-2.5210084033613401E-2</c:v>
                </c:pt>
                <c:pt idx="44518">
                  <c:v>-2.5210084033613401E-2</c:v>
                </c:pt>
                <c:pt idx="44519">
                  <c:v>-2.5210084033613401E-2</c:v>
                </c:pt>
                <c:pt idx="44520">
                  <c:v>-2.5210084033613401E-2</c:v>
                </c:pt>
                <c:pt idx="44521">
                  <c:v>-2.5210084033613401E-2</c:v>
                </c:pt>
                <c:pt idx="44522">
                  <c:v>-2.5210084033613401E-2</c:v>
                </c:pt>
                <c:pt idx="44523">
                  <c:v>-2.5210084033613401E-2</c:v>
                </c:pt>
                <c:pt idx="44524">
                  <c:v>-2.5210084033613401E-2</c:v>
                </c:pt>
                <c:pt idx="44525">
                  <c:v>-2.5210084033613401E-2</c:v>
                </c:pt>
                <c:pt idx="44526">
                  <c:v>-2.5210084033613401E-2</c:v>
                </c:pt>
                <c:pt idx="44527">
                  <c:v>-2.5210084033613401E-2</c:v>
                </c:pt>
                <c:pt idx="44528">
                  <c:v>-2.5210084033613401E-2</c:v>
                </c:pt>
                <c:pt idx="44529">
                  <c:v>-2.5210084033613401E-2</c:v>
                </c:pt>
                <c:pt idx="44530">
                  <c:v>-2.5210084033613401E-2</c:v>
                </c:pt>
                <c:pt idx="44531">
                  <c:v>-2.5210084033613401E-2</c:v>
                </c:pt>
                <c:pt idx="44532">
                  <c:v>-2.5210084033613401E-2</c:v>
                </c:pt>
                <c:pt idx="44533">
                  <c:v>-2.5210084033613401E-2</c:v>
                </c:pt>
                <c:pt idx="44534">
                  <c:v>-2.5210084033613401E-2</c:v>
                </c:pt>
                <c:pt idx="44535">
                  <c:v>-2.5210084033613401E-2</c:v>
                </c:pt>
                <c:pt idx="44536">
                  <c:v>-2.5210084033613401E-2</c:v>
                </c:pt>
                <c:pt idx="44537">
                  <c:v>-2.5210084033613401E-2</c:v>
                </c:pt>
                <c:pt idx="44538">
                  <c:v>-2.5210084033613401E-2</c:v>
                </c:pt>
                <c:pt idx="44539">
                  <c:v>-2.5210084033613401E-2</c:v>
                </c:pt>
                <c:pt idx="44540">
                  <c:v>-2.5210084033613401E-2</c:v>
                </c:pt>
                <c:pt idx="44541">
                  <c:v>-2.5210084033613401E-2</c:v>
                </c:pt>
                <c:pt idx="44542">
                  <c:v>-2.5210084033613401E-2</c:v>
                </c:pt>
                <c:pt idx="44543">
                  <c:v>-2.5210084033613401E-2</c:v>
                </c:pt>
                <c:pt idx="44544">
                  <c:v>-2.5210084033613401E-2</c:v>
                </c:pt>
                <c:pt idx="44545">
                  <c:v>-2.5210084033613401E-2</c:v>
                </c:pt>
                <c:pt idx="44546">
                  <c:v>-2.5210084033613401E-2</c:v>
                </c:pt>
                <c:pt idx="44547">
                  <c:v>-2.5210084033613401E-2</c:v>
                </c:pt>
                <c:pt idx="44548">
                  <c:v>-2.5210084033613401E-2</c:v>
                </c:pt>
                <c:pt idx="44549">
                  <c:v>-2.4369747899159602E-2</c:v>
                </c:pt>
                <c:pt idx="44550">
                  <c:v>-2.4369747899159602E-2</c:v>
                </c:pt>
                <c:pt idx="44551">
                  <c:v>-2.4369747899159602E-2</c:v>
                </c:pt>
                <c:pt idx="44552">
                  <c:v>-2.4369747899159602E-2</c:v>
                </c:pt>
                <c:pt idx="44553">
                  <c:v>-2.4369747899159602E-2</c:v>
                </c:pt>
                <c:pt idx="44554">
                  <c:v>-2.4369747899159602E-2</c:v>
                </c:pt>
                <c:pt idx="44555">
                  <c:v>-2.4369747899159602E-2</c:v>
                </c:pt>
                <c:pt idx="44556">
                  <c:v>-2.4369747899159602E-2</c:v>
                </c:pt>
                <c:pt idx="44557">
                  <c:v>-2.4369747899159602E-2</c:v>
                </c:pt>
                <c:pt idx="44558">
                  <c:v>-2.4369747899159602E-2</c:v>
                </c:pt>
                <c:pt idx="44559">
                  <c:v>-2.4369747899159602E-2</c:v>
                </c:pt>
                <c:pt idx="44560">
                  <c:v>-2.4369747899159602E-2</c:v>
                </c:pt>
                <c:pt idx="44561">
                  <c:v>-2.4369747899159602E-2</c:v>
                </c:pt>
                <c:pt idx="44562">
                  <c:v>-2.4369747899159602E-2</c:v>
                </c:pt>
                <c:pt idx="44563">
                  <c:v>-2.4369747899159602E-2</c:v>
                </c:pt>
                <c:pt idx="44564">
                  <c:v>-2.4369747899159602E-2</c:v>
                </c:pt>
                <c:pt idx="44565">
                  <c:v>-2.4369747899159602E-2</c:v>
                </c:pt>
                <c:pt idx="44566">
                  <c:v>-2.4369747899159602E-2</c:v>
                </c:pt>
                <c:pt idx="44567">
                  <c:v>-2.4369747899159602E-2</c:v>
                </c:pt>
                <c:pt idx="44568">
                  <c:v>-2.4369747899159602E-2</c:v>
                </c:pt>
                <c:pt idx="44569">
                  <c:v>-2.4369747899159602E-2</c:v>
                </c:pt>
                <c:pt idx="44570">
                  <c:v>-2.4369747899159602E-2</c:v>
                </c:pt>
                <c:pt idx="44571">
                  <c:v>-2.4369747899159602E-2</c:v>
                </c:pt>
                <c:pt idx="44572">
                  <c:v>-2.4369747899159602E-2</c:v>
                </c:pt>
                <c:pt idx="44573">
                  <c:v>-2.4369747899159602E-2</c:v>
                </c:pt>
                <c:pt idx="44574">
                  <c:v>-2.4369747899159602E-2</c:v>
                </c:pt>
                <c:pt idx="44575">
                  <c:v>-2.4369747899159602E-2</c:v>
                </c:pt>
                <c:pt idx="44576">
                  <c:v>-2.4369747899159602E-2</c:v>
                </c:pt>
                <c:pt idx="44577">
                  <c:v>-2.4369747899159602E-2</c:v>
                </c:pt>
                <c:pt idx="44578">
                  <c:v>-2.4369747899159602E-2</c:v>
                </c:pt>
                <c:pt idx="44579">
                  <c:v>-2.4369747899159602E-2</c:v>
                </c:pt>
                <c:pt idx="44580">
                  <c:v>-2.4369747899159602E-2</c:v>
                </c:pt>
                <c:pt idx="44581">
                  <c:v>-2.4369747899159602E-2</c:v>
                </c:pt>
                <c:pt idx="44582">
                  <c:v>-2.4369747899159602E-2</c:v>
                </c:pt>
                <c:pt idx="44583">
                  <c:v>-2.4369747899159602E-2</c:v>
                </c:pt>
                <c:pt idx="44584">
                  <c:v>-2.4369747899159602E-2</c:v>
                </c:pt>
                <c:pt idx="44585">
                  <c:v>-2.4369747899159602E-2</c:v>
                </c:pt>
                <c:pt idx="44586">
                  <c:v>-2.4369747899159602E-2</c:v>
                </c:pt>
                <c:pt idx="44587">
                  <c:v>-2.4369747899159602E-2</c:v>
                </c:pt>
                <c:pt idx="44588">
                  <c:v>-2.4369747899159602E-2</c:v>
                </c:pt>
                <c:pt idx="44589">
                  <c:v>-2.4369747899159602E-2</c:v>
                </c:pt>
                <c:pt idx="44590">
                  <c:v>-2.4369747899159602E-2</c:v>
                </c:pt>
                <c:pt idx="44591">
                  <c:v>-2.3529411764705799E-2</c:v>
                </c:pt>
                <c:pt idx="44592">
                  <c:v>-2.3529411764705799E-2</c:v>
                </c:pt>
                <c:pt idx="44593">
                  <c:v>-2.3529411764705799E-2</c:v>
                </c:pt>
                <c:pt idx="44594">
                  <c:v>-2.3529411764705799E-2</c:v>
                </c:pt>
                <c:pt idx="44595">
                  <c:v>-2.3529411764705799E-2</c:v>
                </c:pt>
                <c:pt idx="44596">
                  <c:v>-2.3529411764705799E-2</c:v>
                </c:pt>
                <c:pt idx="44597">
                  <c:v>-2.3529411764705799E-2</c:v>
                </c:pt>
                <c:pt idx="44598">
                  <c:v>-2.3529411764705799E-2</c:v>
                </c:pt>
                <c:pt idx="44599">
                  <c:v>-2.3529411764705799E-2</c:v>
                </c:pt>
                <c:pt idx="44600">
                  <c:v>-2.3529411764705799E-2</c:v>
                </c:pt>
                <c:pt idx="44601">
                  <c:v>-2.3529411764705799E-2</c:v>
                </c:pt>
                <c:pt idx="44602">
                  <c:v>-2.3529411764705799E-2</c:v>
                </c:pt>
                <c:pt idx="44603">
                  <c:v>-2.3529411764705799E-2</c:v>
                </c:pt>
                <c:pt idx="44604">
                  <c:v>-2.3529411764705799E-2</c:v>
                </c:pt>
                <c:pt idx="44605">
                  <c:v>-2.3529411764705799E-2</c:v>
                </c:pt>
                <c:pt idx="44606">
                  <c:v>-2.3529411764705799E-2</c:v>
                </c:pt>
                <c:pt idx="44607">
                  <c:v>-2.3529411764705799E-2</c:v>
                </c:pt>
                <c:pt idx="44608">
                  <c:v>-2.3529411764705799E-2</c:v>
                </c:pt>
                <c:pt idx="44609">
                  <c:v>-2.3529411764705799E-2</c:v>
                </c:pt>
                <c:pt idx="44610">
                  <c:v>-2.3529411764705799E-2</c:v>
                </c:pt>
                <c:pt idx="44611">
                  <c:v>-2.3529411764705799E-2</c:v>
                </c:pt>
                <c:pt idx="44612">
                  <c:v>-2.3529411764705799E-2</c:v>
                </c:pt>
                <c:pt idx="44613">
                  <c:v>-2.3529411764705799E-2</c:v>
                </c:pt>
                <c:pt idx="44614">
                  <c:v>-2.3529411764705799E-2</c:v>
                </c:pt>
                <c:pt idx="44615">
                  <c:v>-2.3529411764705799E-2</c:v>
                </c:pt>
                <c:pt idx="44616">
                  <c:v>-2.3529411764705799E-2</c:v>
                </c:pt>
                <c:pt idx="44617">
                  <c:v>-2.3529411764705799E-2</c:v>
                </c:pt>
                <c:pt idx="44618">
                  <c:v>-2.3529411764705799E-2</c:v>
                </c:pt>
                <c:pt idx="44619">
                  <c:v>-2.3529411764705799E-2</c:v>
                </c:pt>
                <c:pt idx="44620">
                  <c:v>-2.3529411764705799E-2</c:v>
                </c:pt>
                <c:pt idx="44621">
                  <c:v>-2.3529411764705799E-2</c:v>
                </c:pt>
                <c:pt idx="44622">
                  <c:v>-2.3529411764705799E-2</c:v>
                </c:pt>
                <c:pt idx="44623">
                  <c:v>-2.3529411764705799E-2</c:v>
                </c:pt>
                <c:pt idx="44624">
                  <c:v>-2.3529411764705799E-2</c:v>
                </c:pt>
                <c:pt idx="44625">
                  <c:v>-2.3529411764705799E-2</c:v>
                </c:pt>
                <c:pt idx="44626">
                  <c:v>-2.3529411764705799E-2</c:v>
                </c:pt>
                <c:pt idx="44627">
                  <c:v>-2.3529411764705799E-2</c:v>
                </c:pt>
                <c:pt idx="44628">
                  <c:v>-2.3529411764705799E-2</c:v>
                </c:pt>
                <c:pt idx="44629">
                  <c:v>-2.3529411764705799E-2</c:v>
                </c:pt>
                <c:pt idx="44630">
                  <c:v>-2.3529411764705799E-2</c:v>
                </c:pt>
                <c:pt idx="44631">
                  <c:v>-2.3529411764705799E-2</c:v>
                </c:pt>
                <c:pt idx="44632">
                  <c:v>-2.3529411764705799E-2</c:v>
                </c:pt>
                <c:pt idx="44633">
                  <c:v>-2.3529411764705799E-2</c:v>
                </c:pt>
                <c:pt idx="44634">
                  <c:v>-2.3529411764705799E-2</c:v>
                </c:pt>
                <c:pt idx="44635">
                  <c:v>-2.3529411764705799E-2</c:v>
                </c:pt>
                <c:pt idx="44636">
                  <c:v>-2.3529411764705799E-2</c:v>
                </c:pt>
                <c:pt idx="44637">
                  <c:v>-2.3529411764705799E-2</c:v>
                </c:pt>
                <c:pt idx="44638">
                  <c:v>-2.3529411764705799E-2</c:v>
                </c:pt>
                <c:pt idx="44639">
                  <c:v>-2.3529411764705799E-2</c:v>
                </c:pt>
                <c:pt idx="44640">
                  <c:v>-2.3529411764705799E-2</c:v>
                </c:pt>
                <c:pt idx="44641">
                  <c:v>-2.3529411764705799E-2</c:v>
                </c:pt>
                <c:pt idx="44642">
                  <c:v>-2.3529411764705799E-2</c:v>
                </c:pt>
                <c:pt idx="44643">
                  <c:v>-2.3529411764705799E-2</c:v>
                </c:pt>
                <c:pt idx="44644">
                  <c:v>-2.3529411764705799E-2</c:v>
                </c:pt>
                <c:pt idx="44645">
                  <c:v>-2.3529411764705799E-2</c:v>
                </c:pt>
                <c:pt idx="44646">
                  <c:v>-2.3529411764705799E-2</c:v>
                </c:pt>
                <c:pt idx="44647">
                  <c:v>-2.3529411764705799E-2</c:v>
                </c:pt>
                <c:pt idx="44648">
                  <c:v>-2.3529411764705799E-2</c:v>
                </c:pt>
                <c:pt idx="44649">
                  <c:v>-2.3529411764705799E-2</c:v>
                </c:pt>
                <c:pt idx="44650">
                  <c:v>-2.3529411764705799E-2</c:v>
                </c:pt>
                <c:pt idx="44651">
                  <c:v>-2.3529411764705799E-2</c:v>
                </c:pt>
                <c:pt idx="44652">
                  <c:v>-2.3529411764705799E-2</c:v>
                </c:pt>
                <c:pt idx="44653">
                  <c:v>-2.3529411764705799E-2</c:v>
                </c:pt>
                <c:pt idx="44654">
                  <c:v>-2.3529411764705799E-2</c:v>
                </c:pt>
                <c:pt idx="44655">
                  <c:v>-2.2689075630251999E-2</c:v>
                </c:pt>
                <c:pt idx="44656">
                  <c:v>-2.2689075630251999E-2</c:v>
                </c:pt>
                <c:pt idx="44657">
                  <c:v>-2.2689075630251999E-2</c:v>
                </c:pt>
                <c:pt idx="44658">
                  <c:v>-2.2689075630251999E-2</c:v>
                </c:pt>
                <c:pt idx="44659">
                  <c:v>-2.18487394957982E-2</c:v>
                </c:pt>
                <c:pt idx="44660">
                  <c:v>-2.18487394957982E-2</c:v>
                </c:pt>
                <c:pt idx="44661">
                  <c:v>-2.18487394957982E-2</c:v>
                </c:pt>
                <c:pt idx="44662">
                  <c:v>-2.18487394957982E-2</c:v>
                </c:pt>
                <c:pt idx="44663">
                  <c:v>-2.18487394957982E-2</c:v>
                </c:pt>
                <c:pt idx="44664">
                  <c:v>-2.18487394957982E-2</c:v>
                </c:pt>
                <c:pt idx="44665">
                  <c:v>-2.18487394957982E-2</c:v>
                </c:pt>
                <c:pt idx="44666">
                  <c:v>-2.18487394957982E-2</c:v>
                </c:pt>
                <c:pt idx="44667">
                  <c:v>-2.18487394957982E-2</c:v>
                </c:pt>
                <c:pt idx="44668">
                  <c:v>-2.18487394957982E-2</c:v>
                </c:pt>
                <c:pt idx="44669">
                  <c:v>-2.18487394957982E-2</c:v>
                </c:pt>
                <c:pt idx="44670">
                  <c:v>-2.18487394957982E-2</c:v>
                </c:pt>
                <c:pt idx="44671">
                  <c:v>-2.18487394957982E-2</c:v>
                </c:pt>
                <c:pt idx="44672">
                  <c:v>-2.18487394957982E-2</c:v>
                </c:pt>
                <c:pt idx="44673">
                  <c:v>-2.18487394957982E-2</c:v>
                </c:pt>
                <c:pt idx="44674">
                  <c:v>-2.18487394957982E-2</c:v>
                </c:pt>
                <c:pt idx="44675">
                  <c:v>-2.18487394957982E-2</c:v>
                </c:pt>
                <c:pt idx="44676">
                  <c:v>-2.18487394957982E-2</c:v>
                </c:pt>
                <c:pt idx="44677">
                  <c:v>-2.18487394957982E-2</c:v>
                </c:pt>
                <c:pt idx="44678">
                  <c:v>-2.18487394957982E-2</c:v>
                </c:pt>
                <c:pt idx="44679">
                  <c:v>-2.18487394957982E-2</c:v>
                </c:pt>
                <c:pt idx="44680">
                  <c:v>-2.18487394957982E-2</c:v>
                </c:pt>
                <c:pt idx="44681">
                  <c:v>-2.18487394957982E-2</c:v>
                </c:pt>
                <c:pt idx="44682">
                  <c:v>-2.18487394957982E-2</c:v>
                </c:pt>
                <c:pt idx="44683">
                  <c:v>-2.18487394957982E-2</c:v>
                </c:pt>
                <c:pt idx="44684">
                  <c:v>-2.18487394957982E-2</c:v>
                </c:pt>
                <c:pt idx="44685">
                  <c:v>-2.18487394957982E-2</c:v>
                </c:pt>
                <c:pt idx="44686">
                  <c:v>-2.18487394957982E-2</c:v>
                </c:pt>
                <c:pt idx="44687">
                  <c:v>-2.18487394957982E-2</c:v>
                </c:pt>
                <c:pt idx="44688">
                  <c:v>-2.18487394957982E-2</c:v>
                </c:pt>
                <c:pt idx="44689">
                  <c:v>-2.18487394957982E-2</c:v>
                </c:pt>
                <c:pt idx="44690">
                  <c:v>-2.18487394957982E-2</c:v>
                </c:pt>
                <c:pt idx="44691">
                  <c:v>-2.18487394957982E-2</c:v>
                </c:pt>
                <c:pt idx="44692">
                  <c:v>-2.18487394957982E-2</c:v>
                </c:pt>
                <c:pt idx="44693">
                  <c:v>-2.18487394957982E-2</c:v>
                </c:pt>
                <c:pt idx="44694">
                  <c:v>-2.18487394957982E-2</c:v>
                </c:pt>
                <c:pt idx="44695">
                  <c:v>-2.18487394957982E-2</c:v>
                </c:pt>
                <c:pt idx="44696">
                  <c:v>-2.18487394957982E-2</c:v>
                </c:pt>
                <c:pt idx="44697">
                  <c:v>-2.18487394957982E-2</c:v>
                </c:pt>
                <c:pt idx="44698">
                  <c:v>-2.18487394957982E-2</c:v>
                </c:pt>
                <c:pt idx="44699">
                  <c:v>-2.18487394957982E-2</c:v>
                </c:pt>
                <c:pt idx="44700">
                  <c:v>-2.18487394957982E-2</c:v>
                </c:pt>
                <c:pt idx="44701">
                  <c:v>-2.18487394957982E-2</c:v>
                </c:pt>
                <c:pt idx="44702">
                  <c:v>-2.18487394957982E-2</c:v>
                </c:pt>
                <c:pt idx="44703">
                  <c:v>-2.18487394957982E-2</c:v>
                </c:pt>
                <c:pt idx="44704">
                  <c:v>-2.18487394957982E-2</c:v>
                </c:pt>
                <c:pt idx="44705">
                  <c:v>-2.18487394957982E-2</c:v>
                </c:pt>
                <c:pt idx="44706">
                  <c:v>-2.18487394957982E-2</c:v>
                </c:pt>
                <c:pt idx="44707">
                  <c:v>-2.18487394957982E-2</c:v>
                </c:pt>
                <c:pt idx="44708">
                  <c:v>-2.18487394957982E-2</c:v>
                </c:pt>
                <c:pt idx="44709">
                  <c:v>-2.18487394957982E-2</c:v>
                </c:pt>
                <c:pt idx="44710">
                  <c:v>-2.18487394957982E-2</c:v>
                </c:pt>
                <c:pt idx="44711">
                  <c:v>-2.18487394957982E-2</c:v>
                </c:pt>
                <c:pt idx="44712">
                  <c:v>-2.1008403361344401E-2</c:v>
                </c:pt>
                <c:pt idx="44713">
                  <c:v>-2.1008403361344401E-2</c:v>
                </c:pt>
                <c:pt idx="44714">
                  <c:v>-2.1008403361344401E-2</c:v>
                </c:pt>
                <c:pt idx="44715">
                  <c:v>-2.1008403361344401E-2</c:v>
                </c:pt>
                <c:pt idx="44716">
                  <c:v>-2.1008403361344401E-2</c:v>
                </c:pt>
                <c:pt idx="44717">
                  <c:v>-2.1008403361344401E-2</c:v>
                </c:pt>
                <c:pt idx="44718">
                  <c:v>-2.1008403361344401E-2</c:v>
                </c:pt>
                <c:pt idx="44719">
                  <c:v>-2.1008403361344401E-2</c:v>
                </c:pt>
                <c:pt idx="44720">
                  <c:v>-2.1008403361344401E-2</c:v>
                </c:pt>
                <c:pt idx="44721">
                  <c:v>-2.0168067226890601E-2</c:v>
                </c:pt>
                <c:pt idx="44722">
                  <c:v>-2.0168067226890601E-2</c:v>
                </c:pt>
                <c:pt idx="44723">
                  <c:v>-2.0168067226890601E-2</c:v>
                </c:pt>
                <c:pt idx="44724">
                  <c:v>-2.0168067226890601E-2</c:v>
                </c:pt>
                <c:pt idx="44725">
                  <c:v>-2.0168067226890601E-2</c:v>
                </c:pt>
                <c:pt idx="44726">
                  <c:v>-2.0168067226890601E-2</c:v>
                </c:pt>
                <c:pt idx="44727">
                  <c:v>-2.0168067226890601E-2</c:v>
                </c:pt>
                <c:pt idx="44728">
                  <c:v>-2.0168067226890601E-2</c:v>
                </c:pt>
                <c:pt idx="44729">
                  <c:v>-2.0168067226890601E-2</c:v>
                </c:pt>
                <c:pt idx="44730">
                  <c:v>-2.0168067226890601E-2</c:v>
                </c:pt>
                <c:pt idx="44731">
                  <c:v>-2.0168067226890601E-2</c:v>
                </c:pt>
                <c:pt idx="44732">
                  <c:v>-2.0168067226890601E-2</c:v>
                </c:pt>
                <c:pt idx="44733">
                  <c:v>-2.0168067226890601E-2</c:v>
                </c:pt>
                <c:pt idx="44734">
                  <c:v>-2.0168067226890601E-2</c:v>
                </c:pt>
                <c:pt idx="44735">
                  <c:v>-2.0168067226890601E-2</c:v>
                </c:pt>
                <c:pt idx="44736">
                  <c:v>-2.0168067226890601E-2</c:v>
                </c:pt>
                <c:pt idx="44737">
                  <c:v>-2.0168067226890601E-2</c:v>
                </c:pt>
                <c:pt idx="44738">
                  <c:v>-2.0168067226890601E-2</c:v>
                </c:pt>
                <c:pt idx="44739">
                  <c:v>-2.0168067226890601E-2</c:v>
                </c:pt>
                <c:pt idx="44740">
                  <c:v>-2.0168067226890601E-2</c:v>
                </c:pt>
                <c:pt idx="44741">
                  <c:v>-2.0168067226890601E-2</c:v>
                </c:pt>
                <c:pt idx="44742">
                  <c:v>-2.0168067226890601E-2</c:v>
                </c:pt>
                <c:pt idx="44743">
                  <c:v>-1.9327731092436899E-2</c:v>
                </c:pt>
                <c:pt idx="44744">
                  <c:v>-1.9327731092436899E-2</c:v>
                </c:pt>
                <c:pt idx="44745">
                  <c:v>-1.9327731092436899E-2</c:v>
                </c:pt>
                <c:pt idx="44746">
                  <c:v>-1.9327731092436899E-2</c:v>
                </c:pt>
                <c:pt idx="44747">
                  <c:v>-1.84873949579831E-2</c:v>
                </c:pt>
                <c:pt idx="44748">
                  <c:v>-1.84873949579831E-2</c:v>
                </c:pt>
                <c:pt idx="44749">
                  <c:v>-1.84873949579831E-2</c:v>
                </c:pt>
                <c:pt idx="44750">
                  <c:v>-1.84873949579831E-2</c:v>
                </c:pt>
                <c:pt idx="44751">
                  <c:v>-1.84873949579831E-2</c:v>
                </c:pt>
                <c:pt idx="44752">
                  <c:v>-1.84873949579831E-2</c:v>
                </c:pt>
                <c:pt idx="44753">
                  <c:v>-1.84873949579831E-2</c:v>
                </c:pt>
                <c:pt idx="44754">
                  <c:v>-1.84873949579831E-2</c:v>
                </c:pt>
                <c:pt idx="44755">
                  <c:v>-1.84873949579831E-2</c:v>
                </c:pt>
                <c:pt idx="44756">
                  <c:v>-1.84873949579831E-2</c:v>
                </c:pt>
                <c:pt idx="44757">
                  <c:v>-1.84873949579831E-2</c:v>
                </c:pt>
                <c:pt idx="44758">
                  <c:v>-1.84873949579831E-2</c:v>
                </c:pt>
                <c:pt idx="44759">
                  <c:v>-1.84873949579831E-2</c:v>
                </c:pt>
                <c:pt idx="44760">
                  <c:v>-1.84873949579831E-2</c:v>
                </c:pt>
                <c:pt idx="44761">
                  <c:v>-1.76470588235293E-2</c:v>
                </c:pt>
                <c:pt idx="44762">
                  <c:v>-1.76470588235293E-2</c:v>
                </c:pt>
                <c:pt idx="44763">
                  <c:v>-1.76470588235293E-2</c:v>
                </c:pt>
                <c:pt idx="44764">
                  <c:v>-1.76470588235293E-2</c:v>
                </c:pt>
                <c:pt idx="44765">
                  <c:v>-1.76470588235293E-2</c:v>
                </c:pt>
                <c:pt idx="44766">
                  <c:v>-1.76470588235293E-2</c:v>
                </c:pt>
                <c:pt idx="44767">
                  <c:v>-1.76470588235293E-2</c:v>
                </c:pt>
                <c:pt idx="44768">
                  <c:v>-1.76470588235293E-2</c:v>
                </c:pt>
                <c:pt idx="44769">
                  <c:v>-1.76470588235293E-2</c:v>
                </c:pt>
                <c:pt idx="44770">
                  <c:v>-1.76470588235293E-2</c:v>
                </c:pt>
                <c:pt idx="44771">
                  <c:v>-1.76470588235293E-2</c:v>
                </c:pt>
                <c:pt idx="44772">
                  <c:v>-1.76470588235293E-2</c:v>
                </c:pt>
                <c:pt idx="44773">
                  <c:v>-1.76470588235293E-2</c:v>
                </c:pt>
                <c:pt idx="44774">
                  <c:v>-1.76470588235293E-2</c:v>
                </c:pt>
                <c:pt idx="44775">
                  <c:v>-1.76470588235293E-2</c:v>
                </c:pt>
                <c:pt idx="44776">
                  <c:v>-1.76470588235293E-2</c:v>
                </c:pt>
                <c:pt idx="44777">
                  <c:v>-1.76470588235293E-2</c:v>
                </c:pt>
                <c:pt idx="44778">
                  <c:v>-1.76470588235293E-2</c:v>
                </c:pt>
                <c:pt idx="44779">
                  <c:v>-1.76470588235293E-2</c:v>
                </c:pt>
                <c:pt idx="44780">
                  <c:v>-1.76470588235293E-2</c:v>
                </c:pt>
                <c:pt idx="44781">
                  <c:v>-1.76470588235293E-2</c:v>
                </c:pt>
                <c:pt idx="44782">
                  <c:v>-1.76470588235293E-2</c:v>
                </c:pt>
                <c:pt idx="44783">
                  <c:v>-1.76470588235293E-2</c:v>
                </c:pt>
                <c:pt idx="44784">
                  <c:v>-1.76470588235293E-2</c:v>
                </c:pt>
                <c:pt idx="44785">
                  <c:v>-1.76470588235293E-2</c:v>
                </c:pt>
                <c:pt idx="44786">
                  <c:v>-1.76470588235293E-2</c:v>
                </c:pt>
                <c:pt idx="44787">
                  <c:v>-1.76470588235293E-2</c:v>
                </c:pt>
                <c:pt idx="44788">
                  <c:v>-1.76470588235293E-2</c:v>
                </c:pt>
                <c:pt idx="44789">
                  <c:v>-1.76470588235293E-2</c:v>
                </c:pt>
                <c:pt idx="44790">
                  <c:v>-1.76470588235293E-2</c:v>
                </c:pt>
                <c:pt idx="44791">
                  <c:v>-1.76470588235293E-2</c:v>
                </c:pt>
                <c:pt idx="44792">
                  <c:v>-1.76470588235293E-2</c:v>
                </c:pt>
                <c:pt idx="44793">
                  <c:v>-1.76470588235293E-2</c:v>
                </c:pt>
                <c:pt idx="44794">
                  <c:v>-1.76470588235293E-2</c:v>
                </c:pt>
                <c:pt idx="44795">
                  <c:v>-1.76470588235293E-2</c:v>
                </c:pt>
                <c:pt idx="44796">
                  <c:v>-1.76470588235293E-2</c:v>
                </c:pt>
                <c:pt idx="44797">
                  <c:v>-1.76470588235293E-2</c:v>
                </c:pt>
                <c:pt idx="44798">
                  <c:v>-1.76470588235293E-2</c:v>
                </c:pt>
                <c:pt idx="44799">
                  <c:v>-1.76470588235293E-2</c:v>
                </c:pt>
                <c:pt idx="44800">
                  <c:v>-1.76470588235293E-2</c:v>
                </c:pt>
                <c:pt idx="44801">
                  <c:v>-1.76470588235293E-2</c:v>
                </c:pt>
                <c:pt idx="44802">
                  <c:v>-1.76470588235293E-2</c:v>
                </c:pt>
                <c:pt idx="44803">
                  <c:v>-1.76470588235293E-2</c:v>
                </c:pt>
                <c:pt idx="44804">
                  <c:v>-1.76470588235293E-2</c:v>
                </c:pt>
                <c:pt idx="44805">
                  <c:v>-1.76470588235293E-2</c:v>
                </c:pt>
                <c:pt idx="44806">
                  <c:v>-1.76470588235293E-2</c:v>
                </c:pt>
                <c:pt idx="44807">
                  <c:v>-1.76470588235293E-2</c:v>
                </c:pt>
                <c:pt idx="44808">
                  <c:v>-1.76470588235293E-2</c:v>
                </c:pt>
                <c:pt idx="44809">
                  <c:v>-1.76470588235293E-2</c:v>
                </c:pt>
                <c:pt idx="44810">
                  <c:v>-1.76470588235293E-2</c:v>
                </c:pt>
                <c:pt idx="44811">
                  <c:v>-1.76470588235293E-2</c:v>
                </c:pt>
                <c:pt idx="44812">
                  <c:v>-1.76470588235293E-2</c:v>
                </c:pt>
                <c:pt idx="44813">
                  <c:v>-1.76470588235293E-2</c:v>
                </c:pt>
                <c:pt idx="44814">
                  <c:v>-1.76470588235293E-2</c:v>
                </c:pt>
                <c:pt idx="44815">
                  <c:v>-1.76470588235293E-2</c:v>
                </c:pt>
                <c:pt idx="44816">
                  <c:v>-1.76470588235293E-2</c:v>
                </c:pt>
                <c:pt idx="44817">
                  <c:v>-1.76470588235293E-2</c:v>
                </c:pt>
                <c:pt idx="44818">
                  <c:v>-1.76470588235293E-2</c:v>
                </c:pt>
                <c:pt idx="44819">
                  <c:v>-1.76470588235293E-2</c:v>
                </c:pt>
                <c:pt idx="44820">
                  <c:v>-1.76470588235293E-2</c:v>
                </c:pt>
                <c:pt idx="44821">
                  <c:v>-1.76470588235293E-2</c:v>
                </c:pt>
                <c:pt idx="44822">
                  <c:v>-1.76470588235293E-2</c:v>
                </c:pt>
                <c:pt idx="44823">
                  <c:v>-1.76470588235293E-2</c:v>
                </c:pt>
                <c:pt idx="44824">
                  <c:v>-1.76470588235293E-2</c:v>
                </c:pt>
                <c:pt idx="44825">
                  <c:v>-1.84873949579831E-2</c:v>
                </c:pt>
                <c:pt idx="44826">
                  <c:v>-1.84873949579831E-2</c:v>
                </c:pt>
                <c:pt idx="44827">
                  <c:v>-1.84873949579831E-2</c:v>
                </c:pt>
                <c:pt idx="44828">
                  <c:v>-1.84873949579831E-2</c:v>
                </c:pt>
                <c:pt idx="44829">
                  <c:v>-1.84873949579831E-2</c:v>
                </c:pt>
                <c:pt idx="44830">
                  <c:v>-1.84873949579831E-2</c:v>
                </c:pt>
                <c:pt idx="44831">
                  <c:v>-1.84873949579831E-2</c:v>
                </c:pt>
                <c:pt idx="44832">
                  <c:v>-1.84873949579831E-2</c:v>
                </c:pt>
                <c:pt idx="44833">
                  <c:v>-1.84873949579831E-2</c:v>
                </c:pt>
                <c:pt idx="44834">
                  <c:v>-1.84873949579831E-2</c:v>
                </c:pt>
                <c:pt idx="44835">
                  <c:v>-1.84873949579831E-2</c:v>
                </c:pt>
                <c:pt idx="44836">
                  <c:v>-1.84873949579831E-2</c:v>
                </c:pt>
                <c:pt idx="44837">
                  <c:v>-1.84873949579831E-2</c:v>
                </c:pt>
                <c:pt idx="44838">
                  <c:v>-1.84873949579831E-2</c:v>
                </c:pt>
                <c:pt idx="44839">
                  <c:v>-1.84873949579831E-2</c:v>
                </c:pt>
                <c:pt idx="44840">
                  <c:v>-1.84873949579831E-2</c:v>
                </c:pt>
                <c:pt idx="44841">
                  <c:v>-1.84873949579831E-2</c:v>
                </c:pt>
                <c:pt idx="44842">
                  <c:v>-1.84873949579831E-2</c:v>
                </c:pt>
                <c:pt idx="44843">
                  <c:v>-1.84873949579831E-2</c:v>
                </c:pt>
                <c:pt idx="44844">
                  <c:v>-1.84873949579831E-2</c:v>
                </c:pt>
                <c:pt idx="44845">
                  <c:v>-1.84873949579831E-2</c:v>
                </c:pt>
                <c:pt idx="44846">
                  <c:v>-1.84873949579831E-2</c:v>
                </c:pt>
                <c:pt idx="44847">
                  <c:v>-1.84873949579831E-2</c:v>
                </c:pt>
                <c:pt idx="44848">
                  <c:v>-1.84873949579831E-2</c:v>
                </c:pt>
                <c:pt idx="44849">
                  <c:v>-1.84873949579831E-2</c:v>
                </c:pt>
                <c:pt idx="44850">
                  <c:v>-1.84873949579831E-2</c:v>
                </c:pt>
                <c:pt idx="44851">
                  <c:v>-1.84873949579831E-2</c:v>
                </c:pt>
                <c:pt idx="44852">
                  <c:v>-1.84873949579831E-2</c:v>
                </c:pt>
                <c:pt idx="44853">
                  <c:v>-1.84873949579831E-2</c:v>
                </c:pt>
                <c:pt idx="44854">
                  <c:v>-1.84873949579831E-2</c:v>
                </c:pt>
                <c:pt idx="44855">
                  <c:v>-1.84873949579831E-2</c:v>
                </c:pt>
                <c:pt idx="44856">
                  <c:v>-1.84873949579831E-2</c:v>
                </c:pt>
                <c:pt idx="44857">
                  <c:v>-1.84873949579831E-2</c:v>
                </c:pt>
                <c:pt idx="44858">
                  <c:v>-1.84873949579831E-2</c:v>
                </c:pt>
                <c:pt idx="44859">
                  <c:v>-1.84873949579831E-2</c:v>
                </c:pt>
                <c:pt idx="44860">
                  <c:v>-1.84873949579831E-2</c:v>
                </c:pt>
                <c:pt idx="44861">
                  <c:v>-1.84873949579831E-2</c:v>
                </c:pt>
                <c:pt idx="44862">
                  <c:v>-1.84873949579831E-2</c:v>
                </c:pt>
                <c:pt idx="44863">
                  <c:v>-1.84873949579831E-2</c:v>
                </c:pt>
                <c:pt idx="44864">
                  <c:v>-1.84873949579831E-2</c:v>
                </c:pt>
                <c:pt idx="44865">
                  <c:v>-1.84873949579831E-2</c:v>
                </c:pt>
                <c:pt idx="44866">
                  <c:v>-1.84873949579831E-2</c:v>
                </c:pt>
                <c:pt idx="44867">
                  <c:v>-1.84873949579831E-2</c:v>
                </c:pt>
                <c:pt idx="44868">
                  <c:v>-1.84873949579831E-2</c:v>
                </c:pt>
                <c:pt idx="44869">
                  <c:v>-1.84873949579831E-2</c:v>
                </c:pt>
                <c:pt idx="44870">
                  <c:v>-1.84873949579831E-2</c:v>
                </c:pt>
                <c:pt idx="44871">
                  <c:v>-1.84873949579831E-2</c:v>
                </c:pt>
                <c:pt idx="44872">
                  <c:v>-1.84873949579831E-2</c:v>
                </c:pt>
                <c:pt idx="44873">
                  <c:v>-1.84873949579831E-2</c:v>
                </c:pt>
                <c:pt idx="44874">
                  <c:v>-1.84873949579831E-2</c:v>
                </c:pt>
                <c:pt idx="44875">
                  <c:v>-1.84873949579831E-2</c:v>
                </c:pt>
                <c:pt idx="44876">
                  <c:v>-1.84873949579831E-2</c:v>
                </c:pt>
                <c:pt idx="44877">
                  <c:v>-1.84873949579831E-2</c:v>
                </c:pt>
                <c:pt idx="44878">
                  <c:v>-1.84873949579831E-2</c:v>
                </c:pt>
                <c:pt idx="44879">
                  <c:v>-1.84873949579831E-2</c:v>
                </c:pt>
                <c:pt idx="44880">
                  <c:v>-1.84873949579831E-2</c:v>
                </c:pt>
                <c:pt idx="44881">
                  <c:v>-1.84873949579831E-2</c:v>
                </c:pt>
                <c:pt idx="44882">
                  <c:v>-1.84873949579831E-2</c:v>
                </c:pt>
                <c:pt idx="44883">
                  <c:v>-1.84873949579831E-2</c:v>
                </c:pt>
                <c:pt idx="44884">
                  <c:v>-1.84873949579831E-2</c:v>
                </c:pt>
                <c:pt idx="44885">
                  <c:v>-1.84873949579831E-2</c:v>
                </c:pt>
                <c:pt idx="44886">
                  <c:v>-1.84873949579831E-2</c:v>
                </c:pt>
                <c:pt idx="44887">
                  <c:v>-1.84873949579831E-2</c:v>
                </c:pt>
                <c:pt idx="44888">
                  <c:v>-1.84873949579831E-2</c:v>
                </c:pt>
                <c:pt idx="44889">
                  <c:v>-1.84873949579831E-2</c:v>
                </c:pt>
                <c:pt idx="44890">
                  <c:v>-1.84873949579831E-2</c:v>
                </c:pt>
                <c:pt idx="44891">
                  <c:v>-1.84873949579831E-2</c:v>
                </c:pt>
                <c:pt idx="44892">
                  <c:v>-1.84873949579831E-2</c:v>
                </c:pt>
                <c:pt idx="44893">
                  <c:v>-1.84873949579831E-2</c:v>
                </c:pt>
                <c:pt idx="44894">
                  <c:v>-1.84873949579831E-2</c:v>
                </c:pt>
                <c:pt idx="44895">
                  <c:v>-1.84873949579831E-2</c:v>
                </c:pt>
                <c:pt idx="44896">
                  <c:v>-1.84873949579831E-2</c:v>
                </c:pt>
                <c:pt idx="44897">
                  <c:v>-1.84873949579831E-2</c:v>
                </c:pt>
                <c:pt idx="44898">
                  <c:v>-1.84873949579831E-2</c:v>
                </c:pt>
                <c:pt idx="44899">
                  <c:v>-1.84873949579831E-2</c:v>
                </c:pt>
                <c:pt idx="44900">
                  <c:v>-1.76470588235293E-2</c:v>
                </c:pt>
                <c:pt idx="44901">
                  <c:v>-1.76470588235293E-2</c:v>
                </c:pt>
                <c:pt idx="44902">
                  <c:v>-1.76470588235293E-2</c:v>
                </c:pt>
                <c:pt idx="44903">
                  <c:v>-1.76470588235293E-2</c:v>
                </c:pt>
                <c:pt idx="44904">
                  <c:v>-1.76470588235293E-2</c:v>
                </c:pt>
                <c:pt idx="44905">
                  <c:v>-1.76470588235293E-2</c:v>
                </c:pt>
                <c:pt idx="44906">
                  <c:v>-1.76470588235293E-2</c:v>
                </c:pt>
                <c:pt idx="44907">
                  <c:v>-1.76470588235293E-2</c:v>
                </c:pt>
                <c:pt idx="44908">
                  <c:v>-1.76470588235293E-2</c:v>
                </c:pt>
                <c:pt idx="44909">
                  <c:v>-1.76470588235293E-2</c:v>
                </c:pt>
                <c:pt idx="44910">
                  <c:v>-1.76470588235293E-2</c:v>
                </c:pt>
                <c:pt idx="44911">
                  <c:v>-1.76470588235293E-2</c:v>
                </c:pt>
                <c:pt idx="44912">
                  <c:v>-1.76470588235293E-2</c:v>
                </c:pt>
                <c:pt idx="44913">
                  <c:v>-1.76470588235293E-2</c:v>
                </c:pt>
                <c:pt idx="44914">
                  <c:v>-1.76470588235293E-2</c:v>
                </c:pt>
                <c:pt idx="44915">
                  <c:v>-1.76470588235293E-2</c:v>
                </c:pt>
                <c:pt idx="44916">
                  <c:v>-1.76470588235293E-2</c:v>
                </c:pt>
                <c:pt idx="44917">
                  <c:v>-1.76470588235293E-2</c:v>
                </c:pt>
                <c:pt idx="44918">
                  <c:v>-1.76470588235293E-2</c:v>
                </c:pt>
                <c:pt idx="44919">
                  <c:v>-1.76470588235293E-2</c:v>
                </c:pt>
                <c:pt idx="44920">
                  <c:v>-1.76470588235293E-2</c:v>
                </c:pt>
                <c:pt idx="44921">
                  <c:v>-1.76470588235293E-2</c:v>
                </c:pt>
                <c:pt idx="44922">
                  <c:v>-1.76470588235293E-2</c:v>
                </c:pt>
                <c:pt idx="44923">
                  <c:v>-1.76470588235293E-2</c:v>
                </c:pt>
                <c:pt idx="44924">
                  <c:v>-1.76470588235293E-2</c:v>
                </c:pt>
                <c:pt idx="44925">
                  <c:v>-1.76470588235293E-2</c:v>
                </c:pt>
                <c:pt idx="44926">
                  <c:v>-1.76470588235293E-2</c:v>
                </c:pt>
                <c:pt idx="44927">
                  <c:v>-1.76470588235293E-2</c:v>
                </c:pt>
                <c:pt idx="44928">
                  <c:v>-1.76470588235293E-2</c:v>
                </c:pt>
                <c:pt idx="44929">
                  <c:v>-1.76470588235293E-2</c:v>
                </c:pt>
                <c:pt idx="44930">
                  <c:v>-1.76470588235293E-2</c:v>
                </c:pt>
                <c:pt idx="44931">
                  <c:v>-1.76470588235293E-2</c:v>
                </c:pt>
                <c:pt idx="44932">
                  <c:v>-1.76470588235293E-2</c:v>
                </c:pt>
                <c:pt idx="44933">
                  <c:v>-1.76470588235293E-2</c:v>
                </c:pt>
                <c:pt idx="44934">
                  <c:v>-1.76470588235293E-2</c:v>
                </c:pt>
                <c:pt idx="44935">
                  <c:v>-1.76470588235293E-2</c:v>
                </c:pt>
                <c:pt idx="44936">
                  <c:v>-1.76470588235293E-2</c:v>
                </c:pt>
                <c:pt idx="44937">
                  <c:v>-1.76470588235293E-2</c:v>
                </c:pt>
                <c:pt idx="44938">
                  <c:v>-1.76470588235293E-2</c:v>
                </c:pt>
                <c:pt idx="44939">
                  <c:v>-1.76470588235293E-2</c:v>
                </c:pt>
                <c:pt idx="44940">
                  <c:v>-1.76470588235293E-2</c:v>
                </c:pt>
                <c:pt idx="44941">
                  <c:v>-1.76470588235293E-2</c:v>
                </c:pt>
                <c:pt idx="44942">
                  <c:v>-1.6806722689075501E-2</c:v>
                </c:pt>
                <c:pt idx="44943">
                  <c:v>-1.6806722689075501E-2</c:v>
                </c:pt>
                <c:pt idx="44944">
                  <c:v>-1.6806722689075501E-2</c:v>
                </c:pt>
                <c:pt idx="44945">
                  <c:v>-1.6806722689075501E-2</c:v>
                </c:pt>
                <c:pt idx="44946">
                  <c:v>-1.6806722689075501E-2</c:v>
                </c:pt>
                <c:pt idx="44947">
                  <c:v>-1.6806722689075501E-2</c:v>
                </c:pt>
                <c:pt idx="44948">
                  <c:v>-1.76470588235293E-2</c:v>
                </c:pt>
                <c:pt idx="44949">
                  <c:v>-1.76470588235293E-2</c:v>
                </c:pt>
                <c:pt idx="44950">
                  <c:v>-1.76470588235293E-2</c:v>
                </c:pt>
                <c:pt idx="44951">
                  <c:v>-1.76470588235293E-2</c:v>
                </c:pt>
                <c:pt idx="44952">
                  <c:v>-1.76470588235293E-2</c:v>
                </c:pt>
                <c:pt idx="44953">
                  <c:v>-1.76470588235293E-2</c:v>
                </c:pt>
                <c:pt idx="44954">
                  <c:v>-1.76470588235293E-2</c:v>
                </c:pt>
                <c:pt idx="44955">
                  <c:v>-1.76470588235293E-2</c:v>
                </c:pt>
                <c:pt idx="44956">
                  <c:v>-1.76470588235293E-2</c:v>
                </c:pt>
                <c:pt idx="44957">
                  <c:v>-1.76470588235293E-2</c:v>
                </c:pt>
                <c:pt idx="44958">
                  <c:v>-1.76470588235293E-2</c:v>
                </c:pt>
                <c:pt idx="44959">
                  <c:v>-1.76470588235293E-2</c:v>
                </c:pt>
                <c:pt idx="44960">
                  <c:v>-1.76470588235293E-2</c:v>
                </c:pt>
                <c:pt idx="44961">
                  <c:v>-1.76470588235293E-2</c:v>
                </c:pt>
                <c:pt idx="44962">
                  <c:v>-1.76470588235293E-2</c:v>
                </c:pt>
                <c:pt idx="44963">
                  <c:v>-1.76470588235293E-2</c:v>
                </c:pt>
                <c:pt idx="44964">
                  <c:v>-1.76470588235293E-2</c:v>
                </c:pt>
                <c:pt idx="44965">
                  <c:v>-1.76470588235293E-2</c:v>
                </c:pt>
                <c:pt idx="44966">
                  <c:v>-1.76470588235293E-2</c:v>
                </c:pt>
                <c:pt idx="44967">
                  <c:v>-1.76470588235293E-2</c:v>
                </c:pt>
                <c:pt idx="44968">
                  <c:v>-1.76470588235293E-2</c:v>
                </c:pt>
                <c:pt idx="44969">
                  <c:v>-1.76470588235293E-2</c:v>
                </c:pt>
                <c:pt idx="44970">
                  <c:v>-1.76470588235293E-2</c:v>
                </c:pt>
                <c:pt idx="44971">
                  <c:v>-1.76470588235293E-2</c:v>
                </c:pt>
                <c:pt idx="44972">
                  <c:v>-1.76470588235293E-2</c:v>
                </c:pt>
                <c:pt idx="44973">
                  <c:v>-1.76470588235293E-2</c:v>
                </c:pt>
                <c:pt idx="44974">
                  <c:v>-1.76470588235293E-2</c:v>
                </c:pt>
                <c:pt idx="44975">
                  <c:v>-1.76470588235293E-2</c:v>
                </c:pt>
                <c:pt idx="44976">
                  <c:v>-1.76470588235293E-2</c:v>
                </c:pt>
                <c:pt idx="44977">
                  <c:v>-1.76470588235293E-2</c:v>
                </c:pt>
                <c:pt idx="44978">
                  <c:v>-1.76470588235293E-2</c:v>
                </c:pt>
                <c:pt idx="44979">
                  <c:v>-1.76470588235293E-2</c:v>
                </c:pt>
                <c:pt idx="44980">
                  <c:v>-1.76470588235293E-2</c:v>
                </c:pt>
                <c:pt idx="44981">
                  <c:v>-1.76470588235293E-2</c:v>
                </c:pt>
                <c:pt idx="44982">
                  <c:v>-1.76470588235293E-2</c:v>
                </c:pt>
                <c:pt idx="44983">
                  <c:v>-1.76470588235293E-2</c:v>
                </c:pt>
                <c:pt idx="44984">
                  <c:v>-1.76470588235293E-2</c:v>
                </c:pt>
                <c:pt idx="44985">
                  <c:v>-1.76470588235293E-2</c:v>
                </c:pt>
                <c:pt idx="44986">
                  <c:v>-1.76470588235293E-2</c:v>
                </c:pt>
                <c:pt idx="44987">
                  <c:v>-1.76470588235293E-2</c:v>
                </c:pt>
                <c:pt idx="44988">
                  <c:v>-1.76470588235293E-2</c:v>
                </c:pt>
                <c:pt idx="44989">
                  <c:v>-1.76470588235293E-2</c:v>
                </c:pt>
                <c:pt idx="44990">
                  <c:v>-1.76470588235293E-2</c:v>
                </c:pt>
                <c:pt idx="44991">
                  <c:v>-1.76470588235293E-2</c:v>
                </c:pt>
                <c:pt idx="44992">
                  <c:v>-1.76470588235293E-2</c:v>
                </c:pt>
                <c:pt idx="44993">
                  <c:v>-1.76470588235293E-2</c:v>
                </c:pt>
                <c:pt idx="44994">
                  <c:v>-1.76470588235293E-2</c:v>
                </c:pt>
                <c:pt idx="44995">
                  <c:v>-1.76470588235293E-2</c:v>
                </c:pt>
                <c:pt idx="44996">
                  <c:v>-1.76470588235293E-2</c:v>
                </c:pt>
                <c:pt idx="44997">
                  <c:v>-1.76470588235293E-2</c:v>
                </c:pt>
                <c:pt idx="44998">
                  <c:v>-1.76470588235293E-2</c:v>
                </c:pt>
                <c:pt idx="44999">
                  <c:v>-1.76470588235293E-2</c:v>
                </c:pt>
                <c:pt idx="45000">
                  <c:v>-1.76470588235293E-2</c:v>
                </c:pt>
                <c:pt idx="45001">
                  <c:v>-1.76470588235293E-2</c:v>
                </c:pt>
                <c:pt idx="45002">
                  <c:v>-1.76470588235293E-2</c:v>
                </c:pt>
                <c:pt idx="45003">
                  <c:v>-1.76470588235293E-2</c:v>
                </c:pt>
                <c:pt idx="45004">
                  <c:v>-1.76470588235293E-2</c:v>
                </c:pt>
                <c:pt idx="45005">
                  <c:v>-1.76470588235293E-2</c:v>
                </c:pt>
                <c:pt idx="45006">
                  <c:v>-1.76470588235293E-2</c:v>
                </c:pt>
                <c:pt idx="45007">
                  <c:v>-1.76470588235293E-2</c:v>
                </c:pt>
                <c:pt idx="45008">
                  <c:v>-1.76470588235293E-2</c:v>
                </c:pt>
                <c:pt idx="45009">
                  <c:v>-1.76470588235293E-2</c:v>
                </c:pt>
                <c:pt idx="45010">
                  <c:v>-1.76470588235293E-2</c:v>
                </c:pt>
                <c:pt idx="45011">
                  <c:v>-1.76470588235293E-2</c:v>
                </c:pt>
                <c:pt idx="45012">
                  <c:v>-1.76470588235293E-2</c:v>
                </c:pt>
                <c:pt idx="45013">
                  <c:v>-1.76470588235293E-2</c:v>
                </c:pt>
                <c:pt idx="45014">
                  <c:v>-1.76470588235293E-2</c:v>
                </c:pt>
                <c:pt idx="45015">
                  <c:v>-1.76470588235293E-2</c:v>
                </c:pt>
                <c:pt idx="45016">
                  <c:v>-1.76470588235293E-2</c:v>
                </c:pt>
                <c:pt idx="45017">
                  <c:v>-1.76470588235293E-2</c:v>
                </c:pt>
                <c:pt idx="45018">
                  <c:v>-1.76470588235293E-2</c:v>
                </c:pt>
                <c:pt idx="45019">
                  <c:v>-1.76470588235293E-2</c:v>
                </c:pt>
                <c:pt idx="45020">
                  <c:v>-1.76470588235293E-2</c:v>
                </c:pt>
                <c:pt idx="45021">
                  <c:v>-1.76470588235293E-2</c:v>
                </c:pt>
                <c:pt idx="45022">
                  <c:v>-1.76470588235293E-2</c:v>
                </c:pt>
                <c:pt idx="45023">
                  <c:v>-1.76470588235293E-2</c:v>
                </c:pt>
                <c:pt idx="45024">
                  <c:v>-1.76470588235293E-2</c:v>
                </c:pt>
                <c:pt idx="45025">
                  <c:v>-1.76470588235293E-2</c:v>
                </c:pt>
                <c:pt idx="45026">
                  <c:v>-1.76470588235293E-2</c:v>
                </c:pt>
                <c:pt idx="45027">
                  <c:v>-1.76470588235293E-2</c:v>
                </c:pt>
                <c:pt idx="45028">
                  <c:v>-1.76470588235293E-2</c:v>
                </c:pt>
                <c:pt idx="45029">
                  <c:v>-1.76470588235293E-2</c:v>
                </c:pt>
                <c:pt idx="45030">
                  <c:v>-1.76470588235293E-2</c:v>
                </c:pt>
                <c:pt idx="45031">
                  <c:v>-1.76470588235293E-2</c:v>
                </c:pt>
                <c:pt idx="45032">
                  <c:v>-1.76470588235293E-2</c:v>
                </c:pt>
                <c:pt idx="45033">
                  <c:v>-1.76470588235293E-2</c:v>
                </c:pt>
                <c:pt idx="45034">
                  <c:v>-1.76470588235293E-2</c:v>
                </c:pt>
                <c:pt idx="45035">
                  <c:v>-1.76470588235293E-2</c:v>
                </c:pt>
                <c:pt idx="45036">
                  <c:v>-1.76470588235293E-2</c:v>
                </c:pt>
                <c:pt idx="45037">
                  <c:v>-1.76470588235293E-2</c:v>
                </c:pt>
                <c:pt idx="45038">
                  <c:v>-1.76470588235293E-2</c:v>
                </c:pt>
                <c:pt idx="45039">
                  <c:v>-1.76470588235293E-2</c:v>
                </c:pt>
                <c:pt idx="45040">
                  <c:v>-1.76470588235293E-2</c:v>
                </c:pt>
                <c:pt idx="45041">
                  <c:v>-1.76470588235293E-2</c:v>
                </c:pt>
                <c:pt idx="45042">
                  <c:v>-1.76470588235293E-2</c:v>
                </c:pt>
                <c:pt idx="45043">
                  <c:v>-1.76470588235293E-2</c:v>
                </c:pt>
                <c:pt idx="45044">
                  <c:v>-1.76470588235293E-2</c:v>
                </c:pt>
                <c:pt idx="45045">
                  <c:v>-1.76470588235293E-2</c:v>
                </c:pt>
                <c:pt idx="45046">
                  <c:v>-1.76470588235293E-2</c:v>
                </c:pt>
                <c:pt idx="45047">
                  <c:v>-1.84873949579831E-2</c:v>
                </c:pt>
                <c:pt idx="45048">
                  <c:v>-1.84873949579831E-2</c:v>
                </c:pt>
                <c:pt idx="45049">
                  <c:v>-1.84873949579831E-2</c:v>
                </c:pt>
                <c:pt idx="45050">
                  <c:v>-1.84873949579831E-2</c:v>
                </c:pt>
                <c:pt idx="45051">
                  <c:v>-1.84873949579831E-2</c:v>
                </c:pt>
                <c:pt idx="45052">
                  <c:v>-1.84873949579831E-2</c:v>
                </c:pt>
                <c:pt idx="45053">
                  <c:v>-1.84873949579831E-2</c:v>
                </c:pt>
                <c:pt idx="45054">
                  <c:v>-1.84873949579831E-2</c:v>
                </c:pt>
                <c:pt idx="45055">
                  <c:v>-1.84873949579831E-2</c:v>
                </c:pt>
                <c:pt idx="45056">
                  <c:v>-1.84873949579831E-2</c:v>
                </c:pt>
                <c:pt idx="45057">
                  <c:v>-1.84873949579831E-2</c:v>
                </c:pt>
                <c:pt idx="45058">
                  <c:v>-1.84873949579831E-2</c:v>
                </c:pt>
                <c:pt idx="45059">
                  <c:v>-1.84873949579831E-2</c:v>
                </c:pt>
                <c:pt idx="45060">
                  <c:v>-1.84873949579831E-2</c:v>
                </c:pt>
                <c:pt idx="45061">
                  <c:v>-1.84873949579831E-2</c:v>
                </c:pt>
                <c:pt idx="45062">
                  <c:v>-1.84873949579831E-2</c:v>
                </c:pt>
                <c:pt idx="45063">
                  <c:v>-1.84873949579831E-2</c:v>
                </c:pt>
                <c:pt idx="45064">
                  <c:v>-1.84873949579831E-2</c:v>
                </c:pt>
                <c:pt idx="45065">
                  <c:v>-1.84873949579831E-2</c:v>
                </c:pt>
                <c:pt idx="45066">
                  <c:v>-1.84873949579831E-2</c:v>
                </c:pt>
                <c:pt idx="45067">
                  <c:v>-1.84873949579831E-2</c:v>
                </c:pt>
                <c:pt idx="45068">
                  <c:v>-1.84873949579831E-2</c:v>
                </c:pt>
                <c:pt idx="45069">
                  <c:v>-1.84873949579831E-2</c:v>
                </c:pt>
                <c:pt idx="45070">
                  <c:v>-1.84873949579831E-2</c:v>
                </c:pt>
                <c:pt idx="45071">
                  <c:v>-1.84873949579831E-2</c:v>
                </c:pt>
                <c:pt idx="45072">
                  <c:v>-1.84873949579831E-2</c:v>
                </c:pt>
                <c:pt idx="45073">
                  <c:v>-1.84873949579831E-2</c:v>
                </c:pt>
                <c:pt idx="45074">
                  <c:v>-1.84873949579831E-2</c:v>
                </c:pt>
                <c:pt idx="45075">
                  <c:v>-1.84873949579831E-2</c:v>
                </c:pt>
                <c:pt idx="45076">
                  <c:v>-1.84873949579831E-2</c:v>
                </c:pt>
                <c:pt idx="45077">
                  <c:v>-1.84873949579831E-2</c:v>
                </c:pt>
                <c:pt idx="45078">
                  <c:v>-1.84873949579831E-2</c:v>
                </c:pt>
                <c:pt idx="45079">
                  <c:v>-1.84873949579831E-2</c:v>
                </c:pt>
                <c:pt idx="45080">
                  <c:v>-1.84873949579831E-2</c:v>
                </c:pt>
                <c:pt idx="45081">
                  <c:v>-1.84873949579831E-2</c:v>
                </c:pt>
                <c:pt idx="45082">
                  <c:v>-1.84873949579831E-2</c:v>
                </c:pt>
                <c:pt idx="45083">
                  <c:v>-1.84873949579831E-2</c:v>
                </c:pt>
                <c:pt idx="45084">
                  <c:v>-1.84873949579831E-2</c:v>
                </c:pt>
                <c:pt idx="45085">
                  <c:v>-1.84873949579831E-2</c:v>
                </c:pt>
                <c:pt idx="45086">
                  <c:v>-1.84873949579831E-2</c:v>
                </c:pt>
                <c:pt idx="45087">
                  <c:v>-1.84873949579831E-2</c:v>
                </c:pt>
                <c:pt idx="45088">
                  <c:v>-1.84873949579831E-2</c:v>
                </c:pt>
                <c:pt idx="45089">
                  <c:v>-1.84873949579831E-2</c:v>
                </c:pt>
                <c:pt idx="45090">
                  <c:v>-1.84873949579831E-2</c:v>
                </c:pt>
                <c:pt idx="45091">
                  <c:v>-1.84873949579831E-2</c:v>
                </c:pt>
                <c:pt idx="45092">
                  <c:v>-1.84873949579831E-2</c:v>
                </c:pt>
                <c:pt idx="45093">
                  <c:v>-1.84873949579831E-2</c:v>
                </c:pt>
                <c:pt idx="45094">
                  <c:v>-1.84873949579831E-2</c:v>
                </c:pt>
                <c:pt idx="45095">
                  <c:v>-1.84873949579831E-2</c:v>
                </c:pt>
                <c:pt idx="45096">
                  <c:v>-1.84873949579831E-2</c:v>
                </c:pt>
                <c:pt idx="45097">
                  <c:v>-1.84873949579831E-2</c:v>
                </c:pt>
                <c:pt idx="45098">
                  <c:v>-1.84873949579831E-2</c:v>
                </c:pt>
                <c:pt idx="45099">
                  <c:v>-1.84873949579831E-2</c:v>
                </c:pt>
                <c:pt idx="45100">
                  <c:v>-1.84873949579831E-2</c:v>
                </c:pt>
                <c:pt idx="45101">
                  <c:v>-1.84873949579831E-2</c:v>
                </c:pt>
                <c:pt idx="45102">
                  <c:v>-1.84873949579831E-2</c:v>
                </c:pt>
                <c:pt idx="45103">
                  <c:v>-1.84873949579831E-2</c:v>
                </c:pt>
                <c:pt idx="45104">
                  <c:v>-1.84873949579831E-2</c:v>
                </c:pt>
                <c:pt idx="45105">
                  <c:v>-1.84873949579831E-2</c:v>
                </c:pt>
                <c:pt idx="45106">
                  <c:v>-1.84873949579831E-2</c:v>
                </c:pt>
                <c:pt idx="45107">
                  <c:v>-1.84873949579831E-2</c:v>
                </c:pt>
                <c:pt idx="45108">
                  <c:v>-1.84873949579831E-2</c:v>
                </c:pt>
                <c:pt idx="45109">
                  <c:v>-1.84873949579831E-2</c:v>
                </c:pt>
                <c:pt idx="45110">
                  <c:v>-1.84873949579831E-2</c:v>
                </c:pt>
                <c:pt idx="45111">
                  <c:v>-1.84873949579831E-2</c:v>
                </c:pt>
                <c:pt idx="45112">
                  <c:v>-1.84873949579831E-2</c:v>
                </c:pt>
                <c:pt idx="45113">
                  <c:v>-1.84873949579831E-2</c:v>
                </c:pt>
                <c:pt idx="45114">
                  <c:v>-1.84873949579831E-2</c:v>
                </c:pt>
                <c:pt idx="45115">
                  <c:v>-1.84873949579831E-2</c:v>
                </c:pt>
                <c:pt idx="45116">
                  <c:v>-1.84873949579831E-2</c:v>
                </c:pt>
                <c:pt idx="45117">
                  <c:v>-1.84873949579831E-2</c:v>
                </c:pt>
                <c:pt idx="45118">
                  <c:v>-1.84873949579831E-2</c:v>
                </c:pt>
                <c:pt idx="45119">
                  <c:v>-1.84873949579831E-2</c:v>
                </c:pt>
                <c:pt idx="45120">
                  <c:v>-1.84873949579831E-2</c:v>
                </c:pt>
                <c:pt idx="45121">
                  <c:v>-1.84873949579831E-2</c:v>
                </c:pt>
                <c:pt idx="45122">
                  <c:v>-1.84873949579831E-2</c:v>
                </c:pt>
                <c:pt idx="45123">
                  <c:v>-1.84873949579831E-2</c:v>
                </c:pt>
                <c:pt idx="45124">
                  <c:v>-1.84873949579831E-2</c:v>
                </c:pt>
                <c:pt idx="45125">
                  <c:v>-1.84873949579831E-2</c:v>
                </c:pt>
                <c:pt idx="45126">
                  <c:v>-1.84873949579831E-2</c:v>
                </c:pt>
                <c:pt idx="45127">
                  <c:v>-1.84873949579831E-2</c:v>
                </c:pt>
                <c:pt idx="45128">
                  <c:v>-1.84873949579831E-2</c:v>
                </c:pt>
                <c:pt idx="45129">
                  <c:v>-1.84873949579831E-2</c:v>
                </c:pt>
                <c:pt idx="45130">
                  <c:v>-1.84873949579831E-2</c:v>
                </c:pt>
                <c:pt idx="45131">
                  <c:v>-1.84873949579831E-2</c:v>
                </c:pt>
                <c:pt idx="45132">
                  <c:v>-1.84873949579831E-2</c:v>
                </c:pt>
                <c:pt idx="45133">
                  <c:v>-1.84873949579831E-2</c:v>
                </c:pt>
                <c:pt idx="45134">
                  <c:v>-1.84873949579831E-2</c:v>
                </c:pt>
                <c:pt idx="45135">
                  <c:v>-1.84873949579831E-2</c:v>
                </c:pt>
                <c:pt idx="45136">
                  <c:v>-1.84873949579831E-2</c:v>
                </c:pt>
                <c:pt idx="45137">
                  <c:v>-1.84873949579831E-2</c:v>
                </c:pt>
                <c:pt idx="45138">
                  <c:v>-1.84873949579831E-2</c:v>
                </c:pt>
                <c:pt idx="45139">
                  <c:v>-1.84873949579831E-2</c:v>
                </c:pt>
                <c:pt idx="45140">
                  <c:v>-1.84873949579831E-2</c:v>
                </c:pt>
                <c:pt idx="45141">
                  <c:v>-1.84873949579831E-2</c:v>
                </c:pt>
                <c:pt idx="45142">
                  <c:v>-1.84873949579831E-2</c:v>
                </c:pt>
                <c:pt idx="45143">
                  <c:v>-1.84873949579831E-2</c:v>
                </c:pt>
                <c:pt idx="45144">
                  <c:v>-1.84873949579831E-2</c:v>
                </c:pt>
                <c:pt idx="45145">
                  <c:v>-1.84873949579831E-2</c:v>
                </c:pt>
                <c:pt idx="45146">
                  <c:v>-1.84873949579831E-2</c:v>
                </c:pt>
                <c:pt idx="45147">
                  <c:v>-1.84873949579831E-2</c:v>
                </c:pt>
                <c:pt idx="45148">
                  <c:v>-1.84873949579831E-2</c:v>
                </c:pt>
                <c:pt idx="45149">
                  <c:v>-1.84873949579831E-2</c:v>
                </c:pt>
                <c:pt idx="45150">
                  <c:v>-1.84873949579831E-2</c:v>
                </c:pt>
                <c:pt idx="45151">
                  <c:v>-1.84873949579831E-2</c:v>
                </c:pt>
                <c:pt idx="45152">
                  <c:v>-1.84873949579831E-2</c:v>
                </c:pt>
                <c:pt idx="45153">
                  <c:v>-1.84873949579831E-2</c:v>
                </c:pt>
                <c:pt idx="45154">
                  <c:v>-1.84873949579831E-2</c:v>
                </c:pt>
                <c:pt idx="45155">
                  <c:v>-1.84873949579831E-2</c:v>
                </c:pt>
                <c:pt idx="45156">
                  <c:v>-1.84873949579831E-2</c:v>
                </c:pt>
                <c:pt idx="45157">
                  <c:v>-1.84873949579831E-2</c:v>
                </c:pt>
                <c:pt idx="45158">
                  <c:v>-1.84873949579831E-2</c:v>
                </c:pt>
                <c:pt idx="45159">
                  <c:v>-1.84873949579831E-2</c:v>
                </c:pt>
                <c:pt idx="45160">
                  <c:v>-1.84873949579831E-2</c:v>
                </c:pt>
                <c:pt idx="45161">
                  <c:v>-1.84873949579831E-2</c:v>
                </c:pt>
                <c:pt idx="45162">
                  <c:v>-1.84873949579831E-2</c:v>
                </c:pt>
                <c:pt idx="45163">
                  <c:v>-1.84873949579831E-2</c:v>
                </c:pt>
                <c:pt idx="45164">
                  <c:v>-1.84873949579831E-2</c:v>
                </c:pt>
                <c:pt idx="45165">
                  <c:v>-1.84873949579831E-2</c:v>
                </c:pt>
                <c:pt idx="45166">
                  <c:v>-1.84873949579831E-2</c:v>
                </c:pt>
                <c:pt idx="45167">
                  <c:v>-1.84873949579831E-2</c:v>
                </c:pt>
                <c:pt idx="45168">
                  <c:v>-1.84873949579831E-2</c:v>
                </c:pt>
                <c:pt idx="45169">
                  <c:v>-1.84873949579831E-2</c:v>
                </c:pt>
                <c:pt idx="45170">
                  <c:v>-1.84873949579831E-2</c:v>
                </c:pt>
                <c:pt idx="45171">
                  <c:v>-1.84873949579831E-2</c:v>
                </c:pt>
                <c:pt idx="45172">
                  <c:v>-1.84873949579831E-2</c:v>
                </c:pt>
                <c:pt idx="45173">
                  <c:v>-1.84873949579831E-2</c:v>
                </c:pt>
                <c:pt idx="45174">
                  <c:v>-1.76470588235293E-2</c:v>
                </c:pt>
                <c:pt idx="45175">
                  <c:v>-1.76470588235293E-2</c:v>
                </c:pt>
                <c:pt idx="45176">
                  <c:v>-1.76470588235293E-2</c:v>
                </c:pt>
                <c:pt idx="45177">
                  <c:v>-1.76470588235293E-2</c:v>
                </c:pt>
                <c:pt idx="45178">
                  <c:v>-1.76470588235293E-2</c:v>
                </c:pt>
                <c:pt idx="45179">
                  <c:v>-1.76470588235293E-2</c:v>
                </c:pt>
                <c:pt idx="45180">
                  <c:v>-1.76470588235293E-2</c:v>
                </c:pt>
                <c:pt idx="45181">
                  <c:v>-1.76470588235293E-2</c:v>
                </c:pt>
                <c:pt idx="45182">
                  <c:v>-1.76470588235293E-2</c:v>
                </c:pt>
                <c:pt idx="45183">
                  <c:v>-1.76470588235293E-2</c:v>
                </c:pt>
                <c:pt idx="45184">
                  <c:v>-1.76470588235293E-2</c:v>
                </c:pt>
                <c:pt idx="45185">
                  <c:v>-1.76470588235293E-2</c:v>
                </c:pt>
                <c:pt idx="45186">
                  <c:v>-1.76470588235293E-2</c:v>
                </c:pt>
                <c:pt idx="45187">
                  <c:v>-1.76470588235293E-2</c:v>
                </c:pt>
                <c:pt idx="45188">
                  <c:v>-1.76470588235293E-2</c:v>
                </c:pt>
                <c:pt idx="45189">
                  <c:v>-1.76470588235293E-2</c:v>
                </c:pt>
                <c:pt idx="45190">
                  <c:v>-1.76470588235293E-2</c:v>
                </c:pt>
                <c:pt idx="45191">
                  <c:v>-1.76470588235293E-2</c:v>
                </c:pt>
                <c:pt idx="45192">
                  <c:v>-1.76470588235293E-2</c:v>
                </c:pt>
                <c:pt idx="45193">
                  <c:v>-1.76470588235293E-2</c:v>
                </c:pt>
                <c:pt idx="45194">
                  <c:v>-1.76470588235293E-2</c:v>
                </c:pt>
                <c:pt idx="45195">
                  <c:v>-1.76470588235293E-2</c:v>
                </c:pt>
                <c:pt idx="45196">
                  <c:v>-1.76470588235293E-2</c:v>
                </c:pt>
                <c:pt idx="45197">
                  <c:v>-1.76470588235293E-2</c:v>
                </c:pt>
                <c:pt idx="45198">
                  <c:v>-1.76470588235293E-2</c:v>
                </c:pt>
                <c:pt idx="45199">
                  <c:v>-1.84873949579831E-2</c:v>
                </c:pt>
                <c:pt idx="45200">
                  <c:v>-1.84873949579831E-2</c:v>
                </c:pt>
                <c:pt idx="45201">
                  <c:v>-1.84873949579831E-2</c:v>
                </c:pt>
                <c:pt idx="45202">
                  <c:v>-1.84873949579831E-2</c:v>
                </c:pt>
                <c:pt idx="45203">
                  <c:v>-1.84873949579831E-2</c:v>
                </c:pt>
                <c:pt idx="45204">
                  <c:v>-1.84873949579831E-2</c:v>
                </c:pt>
                <c:pt idx="45205">
                  <c:v>-1.84873949579831E-2</c:v>
                </c:pt>
                <c:pt idx="45206">
                  <c:v>-1.84873949579831E-2</c:v>
                </c:pt>
                <c:pt idx="45207">
                  <c:v>-1.84873949579831E-2</c:v>
                </c:pt>
                <c:pt idx="45208">
                  <c:v>-1.84873949579831E-2</c:v>
                </c:pt>
                <c:pt idx="45209">
                  <c:v>-1.84873949579831E-2</c:v>
                </c:pt>
                <c:pt idx="45210">
                  <c:v>-1.84873949579831E-2</c:v>
                </c:pt>
                <c:pt idx="45211">
                  <c:v>-1.84873949579831E-2</c:v>
                </c:pt>
                <c:pt idx="45212">
                  <c:v>-1.84873949579831E-2</c:v>
                </c:pt>
                <c:pt idx="45213">
                  <c:v>-1.84873949579831E-2</c:v>
                </c:pt>
                <c:pt idx="45214">
                  <c:v>-1.84873949579831E-2</c:v>
                </c:pt>
                <c:pt idx="45215">
                  <c:v>-1.84873949579831E-2</c:v>
                </c:pt>
                <c:pt idx="45216">
                  <c:v>-1.84873949579831E-2</c:v>
                </c:pt>
                <c:pt idx="45217">
                  <c:v>-1.84873949579831E-2</c:v>
                </c:pt>
                <c:pt idx="45218">
                  <c:v>-1.84873949579831E-2</c:v>
                </c:pt>
                <c:pt idx="45219">
                  <c:v>-1.84873949579831E-2</c:v>
                </c:pt>
                <c:pt idx="45220">
                  <c:v>-1.84873949579831E-2</c:v>
                </c:pt>
                <c:pt idx="45221">
                  <c:v>-1.84873949579831E-2</c:v>
                </c:pt>
                <c:pt idx="45222">
                  <c:v>-1.84873949579831E-2</c:v>
                </c:pt>
                <c:pt idx="45223">
                  <c:v>-1.84873949579831E-2</c:v>
                </c:pt>
                <c:pt idx="45224">
                  <c:v>-1.84873949579831E-2</c:v>
                </c:pt>
                <c:pt idx="45225">
                  <c:v>-1.84873949579831E-2</c:v>
                </c:pt>
                <c:pt idx="45226">
                  <c:v>-1.84873949579831E-2</c:v>
                </c:pt>
                <c:pt idx="45227">
                  <c:v>-1.84873949579831E-2</c:v>
                </c:pt>
                <c:pt idx="45228">
                  <c:v>-1.84873949579831E-2</c:v>
                </c:pt>
                <c:pt idx="45229">
                  <c:v>-1.84873949579831E-2</c:v>
                </c:pt>
                <c:pt idx="45230">
                  <c:v>-1.84873949579831E-2</c:v>
                </c:pt>
                <c:pt idx="45231">
                  <c:v>-1.84873949579831E-2</c:v>
                </c:pt>
                <c:pt idx="45232">
                  <c:v>-1.84873949579831E-2</c:v>
                </c:pt>
                <c:pt idx="45233">
                  <c:v>-1.84873949579831E-2</c:v>
                </c:pt>
                <c:pt idx="45234">
                  <c:v>-1.84873949579831E-2</c:v>
                </c:pt>
                <c:pt idx="45235">
                  <c:v>-1.84873949579831E-2</c:v>
                </c:pt>
                <c:pt idx="45236">
                  <c:v>-1.84873949579831E-2</c:v>
                </c:pt>
                <c:pt idx="45237">
                  <c:v>-1.84873949579831E-2</c:v>
                </c:pt>
                <c:pt idx="45238">
                  <c:v>-1.84873949579831E-2</c:v>
                </c:pt>
                <c:pt idx="45239">
                  <c:v>-1.84873949579831E-2</c:v>
                </c:pt>
                <c:pt idx="45240">
                  <c:v>-1.84873949579831E-2</c:v>
                </c:pt>
                <c:pt idx="45241">
                  <c:v>-1.84873949579831E-2</c:v>
                </c:pt>
                <c:pt idx="45242">
                  <c:v>-1.84873949579831E-2</c:v>
                </c:pt>
                <c:pt idx="45243">
                  <c:v>-1.84873949579831E-2</c:v>
                </c:pt>
                <c:pt idx="45244">
                  <c:v>-1.84873949579831E-2</c:v>
                </c:pt>
                <c:pt idx="45245">
                  <c:v>-1.84873949579831E-2</c:v>
                </c:pt>
                <c:pt idx="45246">
                  <c:v>-1.84873949579831E-2</c:v>
                </c:pt>
                <c:pt idx="45247">
                  <c:v>-1.84873949579831E-2</c:v>
                </c:pt>
                <c:pt idx="45248">
                  <c:v>-1.84873949579831E-2</c:v>
                </c:pt>
                <c:pt idx="45249">
                  <c:v>-1.84873949579831E-2</c:v>
                </c:pt>
                <c:pt idx="45250">
                  <c:v>-1.84873949579831E-2</c:v>
                </c:pt>
                <c:pt idx="45251">
                  <c:v>-1.84873949579831E-2</c:v>
                </c:pt>
                <c:pt idx="45252">
                  <c:v>-1.84873949579831E-2</c:v>
                </c:pt>
                <c:pt idx="45253">
                  <c:v>-1.84873949579831E-2</c:v>
                </c:pt>
                <c:pt idx="45254">
                  <c:v>-1.84873949579831E-2</c:v>
                </c:pt>
                <c:pt idx="45255">
                  <c:v>-1.84873949579831E-2</c:v>
                </c:pt>
                <c:pt idx="45256">
                  <c:v>-1.84873949579831E-2</c:v>
                </c:pt>
                <c:pt idx="45257">
                  <c:v>-1.84873949579831E-2</c:v>
                </c:pt>
                <c:pt idx="45258">
                  <c:v>-1.84873949579831E-2</c:v>
                </c:pt>
                <c:pt idx="45259">
                  <c:v>-1.84873949579831E-2</c:v>
                </c:pt>
                <c:pt idx="45260">
                  <c:v>-1.84873949579831E-2</c:v>
                </c:pt>
                <c:pt idx="45261">
                  <c:v>-1.84873949579831E-2</c:v>
                </c:pt>
                <c:pt idx="45262">
                  <c:v>-1.84873949579831E-2</c:v>
                </c:pt>
                <c:pt idx="45263">
                  <c:v>-1.84873949579831E-2</c:v>
                </c:pt>
                <c:pt idx="45264">
                  <c:v>-1.84873949579831E-2</c:v>
                </c:pt>
                <c:pt idx="45265">
                  <c:v>-1.84873949579831E-2</c:v>
                </c:pt>
                <c:pt idx="45266">
                  <c:v>-1.84873949579831E-2</c:v>
                </c:pt>
                <c:pt idx="45267">
                  <c:v>-1.84873949579831E-2</c:v>
                </c:pt>
                <c:pt idx="45268">
                  <c:v>-1.84873949579831E-2</c:v>
                </c:pt>
                <c:pt idx="45269">
                  <c:v>-1.84873949579831E-2</c:v>
                </c:pt>
                <c:pt idx="45270">
                  <c:v>-1.84873949579831E-2</c:v>
                </c:pt>
                <c:pt idx="45271">
                  <c:v>-1.84873949579831E-2</c:v>
                </c:pt>
                <c:pt idx="45272">
                  <c:v>-1.84873949579831E-2</c:v>
                </c:pt>
                <c:pt idx="45273">
                  <c:v>-1.84873949579831E-2</c:v>
                </c:pt>
                <c:pt idx="45274">
                  <c:v>-1.84873949579831E-2</c:v>
                </c:pt>
                <c:pt idx="45275">
                  <c:v>-1.84873949579831E-2</c:v>
                </c:pt>
                <c:pt idx="45276">
                  <c:v>-1.84873949579831E-2</c:v>
                </c:pt>
                <c:pt idx="45277">
                  <c:v>-1.84873949579831E-2</c:v>
                </c:pt>
                <c:pt idx="45278">
                  <c:v>-1.84873949579831E-2</c:v>
                </c:pt>
                <c:pt idx="45279">
                  <c:v>-1.84873949579831E-2</c:v>
                </c:pt>
                <c:pt idx="45280">
                  <c:v>-1.84873949579831E-2</c:v>
                </c:pt>
                <c:pt idx="45281">
                  <c:v>-1.84873949579831E-2</c:v>
                </c:pt>
                <c:pt idx="45282">
                  <c:v>-1.84873949579831E-2</c:v>
                </c:pt>
                <c:pt idx="45283">
                  <c:v>-1.84873949579831E-2</c:v>
                </c:pt>
                <c:pt idx="45284">
                  <c:v>-1.84873949579831E-2</c:v>
                </c:pt>
                <c:pt idx="45285">
                  <c:v>-1.84873949579831E-2</c:v>
                </c:pt>
                <c:pt idx="45286">
                  <c:v>-1.84873949579831E-2</c:v>
                </c:pt>
                <c:pt idx="45287">
                  <c:v>-1.84873949579831E-2</c:v>
                </c:pt>
                <c:pt idx="45288">
                  <c:v>-1.84873949579831E-2</c:v>
                </c:pt>
                <c:pt idx="45289">
                  <c:v>-1.84873949579831E-2</c:v>
                </c:pt>
                <c:pt idx="45290">
                  <c:v>-1.84873949579831E-2</c:v>
                </c:pt>
                <c:pt idx="45291">
                  <c:v>-1.84873949579831E-2</c:v>
                </c:pt>
                <c:pt idx="45292">
                  <c:v>-1.84873949579831E-2</c:v>
                </c:pt>
                <c:pt idx="45293">
                  <c:v>-1.84873949579831E-2</c:v>
                </c:pt>
                <c:pt idx="45294">
                  <c:v>-1.84873949579831E-2</c:v>
                </c:pt>
                <c:pt idx="45295">
                  <c:v>-1.84873949579831E-2</c:v>
                </c:pt>
                <c:pt idx="45296">
                  <c:v>-1.84873949579831E-2</c:v>
                </c:pt>
                <c:pt idx="45297">
                  <c:v>-1.84873949579831E-2</c:v>
                </c:pt>
                <c:pt idx="45298">
                  <c:v>-1.84873949579831E-2</c:v>
                </c:pt>
                <c:pt idx="45299">
                  <c:v>-1.84873949579831E-2</c:v>
                </c:pt>
                <c:pt idx="45300">
                  <c:v>-1.84873949579831E-2</c:v>
                </c:pt>
                <c:pt idx="45301">
                  <c:v>-1.84873949579831E-2</c:v>
                </c:pt>
                <c:pt idx="45302">
                  <c:v>-1.84873949579831E-2</c:v>
                </c:pt>
                <c:pt idx="45303">
                  <c:v>-1.84873949579831E-2</c:v>
                </c:pt>
                <c:pt idx="45304">
                  <c:v>-1.84873949579831E-2</c:v>
                </c:pt>
                <c:pt idx="45305">
                  <c:v>-1.84873949579831E-2</c:v>
                </c:pt>
                <c:pt idx="45306">
                  <c:v>-1.84873949579831E-2</c:v>
                </c:pt>
                <c:pt idx="45307">
                  <c:v>-1.84873949579831E-2</c:v>
                </c:pt>
                <c:pt idx="45308">
                  <c:v>-1.84873949579831E-2</c:v>
                </c:pt>
                <c:pt idx="45309">
                  <c:v>-1.84873949579831E-2</c:v>
                </c:pt>
                <c:pt idx="45310">
                  <c:v>-1.84873949579831E-2</c:v>
                </c:pt>
                <c:pt idx="45311">
                  <c:v>-1.84873949579831E-2</c:v>
                </c:pt>
                <c:pt idx="45312">
                  <c:v>-1.84873949579831E-2</c:v>
                </c:pt>
                <c:pt idx="45313">
                  <c:v>-1.84873949579831E-2</c:v>
                </c:pt>
                <c:pt idx="45314">
                  <c:v>-1.84873949579831E-2</c:v>
                </c:pt>
                <c:pt idx="45315">
                  <c:v>-1.84873949579831E-2</c:v>
                </c:pt>
                <c:pt idx="45316">
                  <c:v>-1.84873949579831E-2</c:v>
                </c:pt>
                <c:pt idx="45317">
                  <c:v>-1.84873949579831E-2</c:v>
                </c:pt>
                <c:pt idx="45318">
                  <c:v>-1.84873949579831E-2</c:v>
                </c:pt>
                <c:pt idx="45319">
                  <c:v>-1.84873949579831E-2</c:v>
                </c:pt>
                <c:pt idx="45320">
                  <c:v>-1.84873949579831E-2</c:v>
                </c:pt>
                <c:pt idx="45321">
                  <c:v>-1.84873949579831E-2</c:v>
                </c:pt>
                <c:pt idx="45322">
                  <c:v>-1.84873949579831E-2</c:v>
                </c:pt>
                <c:pt idx="45323">
                  <c:v>-1.84873949579831E-2</c:v>
                </c:pt>
                <c:pt idx="45324">
                  <c:v>-1.84873949579831E-2</c:v>
                </c:pt>
                <c:pt idx="45325">
                  <c:v>-1.84873949579831E-2</c:v>
                </c:pt>
                <c:pt idx="45326">
                  <c:v>-1.84873949579831E-2</c:v>
                </c:pt>
                <c:pt idx="45327">
                  <c:v>-1.84873949579831E-2</c:v>
                </c:pt>
                <c:pt idx="45328">
                  <c:v>-1.84873949579831E-2</c:v>
                </c:pt>
                <c:pt idx="45329">
                  <c:v>-1.84873949579831E-2</c:v>
                </c:pt>
                <c:pt idx="45330">
                  <c:v>-1.84873949579831E-2</c:v>
                </c:pt>
                <c:pt idx="45331">
                  <c:v>-1.84873949579831E-2</c:v>
                </c:pt>
                <c:pt idx="45332">
                  <c:v>-1.84873949579831E-2</c:v>
                </c:pt>
                <c:pt idx="45333">
                  <c:v>-1.84873949579831E-2</c:v>
                </c:pt>
                <c:pt idx="45334">
                  <c:v>-1.84873949579831E-2</c:v>
                </c:pt>
                <c:pt idx="45335">
                  <c:v>-1.84873949579831E-2</c:v>
                </c:pt>
                <c:pt idx="45336">
                  <c:v>-1.84873949579831E-2</c:v>
                </c:pt>
                <c:pt idx="45337">
                  <c:v>-1.84873949579831E-2</c:v>
                </c:pt>
                <c:pt idx="45338">
                  <c:v>-1.76470588235293E-2</c:v>
                </c:pt>
                <c:pt idx="45339">
                  <c:v>-1.76470588235293E-2</c:v>
                </c:pt>
                <c:pt idx="45340">
                  <c:v>-1.76470588235293E-2</c:v>
                </c:pt>
                <c:pt idx="45341">
                  <c:v>-1.76470588235293E-2</c:v>
                </c:pt>
                <c:pt idx="45342">
                  <c:v>-1.76470588235293E-2</c:v>
                </c:pt>
                <c:pt idx="45343">
                  <c:v>-1.76470588235293E-2</c:v>
                </c:pt>
                <c:pt idx="45344">
                  <c:v>-1.76470588235293E-2</c:v>
                </c:pt>
                <c:pt idx="45345">
                  <c:v>-1.76470588235293E-2</c:v>
                </c:pt>
                <c:pt idx="45346">
                  <c:v>-1.76470588235293E-2</c:v>
                </c:pt>
                <c:pt idx="45347">
                  <c:v>-1.76470588235293E-2</c:v>
                </c:pt>
                <c:pt idx="45348">
                  <c:v>-1.76470588235293E-2</c:v>
                </c:pt>
                <c:pt idx="45349">
                  <c:v>-1.76470588235293E-2</c:v>
                </c:pt>
                <c:pt idx="45350">
                  <c:v>-1.76470588235293E-2</c:v>
                </c:pt>
                <c:pt idx="45351">
                  <c:v>-1.76470588235293E-2</c:v>
                </c:pt>
                <c:pt idx="45352">
                  <c:v>-1.76470588235293E-2</c:v>
                </c:pt>
                <c:pt idx="45353">
                  <c:v>-1.76470588235293E-2</c:v>
                </c:pt>
                <c:pt idx="45354">
                  <c:v>-1.76470588235293E-2</c:v>
                </c:pt>
                <c:pt idx="45355">
                  <c:v>-1.76470588235293E-2</c:v>
                </c:pt>
                <c:pt idx="45356">
                  <c:v>-1.76470588235293E-2</c:v>
                </c:pt>
                <c:pt idx="45357">
                  <c:v>-1.76470588235293E-2</c:v>
                </c:pt>
                <c:pt idx="45358">
                  <c:v>-1.76470588235293E-2</c:v>
                </c:pt>
                <c:pt idx="45359">
                  <c:v>-1.76470588235293E-2</c:v>
                </c:pt>
                <c:pt idx="45360">
                  <c:v>-1.76470588235293E-2</c:v>
                </c:pt>
                <c:pt idx="45361">
                  <c:v>-1.76470588235293E-2</c:v>
                </c:pt>
                <c:pt idx="45362">
                  <c:v>-1.76470588235293E-2</c:v>
                </c:pt>
                <c:pt idx="45363">
                  <c:v>-1.76470588235293E-2</c:v>
                </c:pt>
                <c:pt idx="45364">
                  <c:v>-1.76470588235293E-2</c:v>
                </c:pt>
                <c:pt idx="45365">
                  <c:v>-1.76470588235293E-2</c:v>
                </c:pt>
                <c:pt idx="45366">
                  <c:v>-1.76470588235293E-2</c:v>
                </c:pt>
                <c:pt idx="45367">
                  <c:v>-1.76470588235293E-2</c:v>
                </c:pt>
                <c:pt idx="45368">
                  <c:v>-1.76470588235293E-2</c:v>
                </c:pt>
                <c:pt idx="45369">
                  <c:v>-1.76470588235293E-2</c:v>
                </c:pt>
                <c:pt idx="45370">
                  <c:v>-1.76470588235293E-2</c:v>
                </c:pt>
                <c:pt idx="45371">
                  <c:v>-1.76470588235293E-2</c:v>
                </c:pt>
                <c:pt idx="45372">
                  <c:v>-1.76470588235293E-2</c:v>
                </c:pt>
                <c:pt idx="45373">
                  <c:v>-1.76470588235293E-2</c:v>
                </c:pt>
                <c:pt idx="45374">
                  <c:v>-1.76470588235293E-2</c:v>
                </c:pt>
                <c:pt idx="45375">
                  <c:v>-1.76470588235293E-2</c:v>
                </c:pt>
                <c:pt idx="45376">
                  <c:v>-1.76470588235293E-2</c:v>
                </c:pt>
                <c:pt idx="45377">
                  <c:v>-1.76470588235293E-2</c:v>
                </c:pt>
                <c:pt idx="45378">
                  <c:v>-1.76470588235293E-2</c:v>
                </c:pt>
                <c:pt idx="45379">
                  <c:v>-1.76470588235293E-2</c:v>
                </c:pt>
                <c:pt idx="45380">
                  <c:v>-1.76470588235293E-2</c:v>
                </c:pt>
                <c:pt idx="45381">
                  <c:v>-1.76470588235293E-2</c:v>
                </c:pt>
                <c:pt idx="45382">
                  <c:v>-1.76470588235293E-2</c:v>
                </c:pt>
                <c:pt idx="45383">
                  <c:v>-1.76470588235293E-2</c:v>
                </c:pt>
                <c:pt idx="45384">
                  <c:v>-1.76470588235293E-2</c:v>
                </c:pt>
                <c:pt idx="45385">
                  <c:v>-1.76470588235293E-2</c:v>
                </c:pt>
                <c:pt idx="45386">
                  <c:v>-1.76470588235293E-2</c:v>
                </c:pt>
                <c:pt idx="45387">
                  <c:v>-1.76470588235293E-2</c:v>
                </c:pt>
                <c:pt idx="45388">
                  <c:v>-1.76470588235293E-2</c:v>
                </c:pt>
                <c:pt idx="45389">
                  <c:v>-1.76470588235293E-2</c:v>
                </c:pt>
                <c:pt idx="45390">
                  <c:v>-1.6806722689075501E-2</c:v>
                </c:pt>
                <c:pt idx="45391">
                  <c:v>-1.6806722689075501E-2</c:v>
                </c:pt>
                <c:pt idx="45392">
                  <c:v>-1.6806722689075501E-2</c:v>
                </c:pt>
                <c:pt idx="45393">
                  <c:v>-1.6806722689075501E-2</c:v>
                </c:pt>
                <c:pt idx="45394">
                  <c:v>-1.6806722689075501E-2</c:v>
                </c:pt>
                <c:pt idx="45395">
                  <c:v>-1.6806722689075501E-2</c:v>
                </c:pt>
                <c:pt idx="45396">
                  <c:v>-1.6806722689075501E-2</c:v>
                </c:pt>
                <c:pt idx="45397">
                  <c:v>-1.6806722689075501E-2</c:v>
                </c:pt>
                <c:pt idx="45398">
                  <c:v>-1.6806722689075501E-2</c:v>
                </c:pt>
                <c:pt idx="45399">
                  <c:v>-1.6806722689075501E-2</c:v>
                </c:pt>
                <c:pt idx="45400">
                  <c:v>-1.6806722689075501E-2</c:v>
                </c:pt>
                <c:pt idx="45401">
                  <c:v>-1.6806722689075501E-2</c:v>
                </c:pt>
                <c:pt idx="45402">
                  <c:v>-1.6806722689075501E-2</c:v>
                </c:pt>
                <c:pt idx="45403">
                  <c:v>-1.6806722689075501E-2</c:v>
                </c:pt>
                <c:pt idx="45404">
                  <c:v>-1.6806722689075501E-2</c:v>
                </c:pt>
                <c:pt idx="45405">
                  <c:v>-1.6806722689075501E-2</c:v>
                </c:pt>
                <c:pt idx="45406">
                  <c:v>-1.6806722689075501E-2</c:v>
                </c:pt>
                <c:pt idx="45407">
                  <c:v>-1.6806722689075501E-2</c:v>
                </c:pt>
                <c:pt idx="45408">
                  <c:v>-1.6806722689075501E-2</c:v>
                </c:pt>
                <c:pt idx="45409">
                  <c:v>-1.6806722689075501E-2</c:v>
                </c:pt>
                <c:pt idx="45410">
                  <c:v>-1.6806722689075501E-2</c:v>
                </c:pt>
                <c:pt idx="45411">
                  <c:v>-1.6806722689075501E-2</c:v>
                </c:pt>
                <c:pt idx="45412">
                  <c:v>-1.6806722689075501E-2</c:v>
                </c:pt>
                <c:pt idx="45413">
                  <c:v>-1.6806722689075501E-2</c:v>
                </c:pt>
                <c:pt idx="45414">
                  <c:v>-1.6806722689075501E-2</c:v>
                </c:pt>
                <c:pt idx="45415">
                  <c:v>-1.6806722689075501E-2</c:v>
                </c:pt>
                <c:pt idx="45416">
                  <c:v>-1.6806722689075501E-2</c:v>
                </c:pt>
                <c:pt idx="45417">
                  <c:v>-1.76470588235293E-2</c:v>
                </c:pt>
                <c:pt idx="45418">
                  <c:v>-1.76470588235293E-2</c:v>
                </c:pt>
                <c:pt idx="45419">
                  <c:v>-1.76470588235293E-2</c:v>
                </c:pt>
                <c:pt idx="45420">
                  <c:v>-1.76470588235293E-2</c:v>
                </c:pt>
                <c:pt idx="45421">
                  <c:v>-1.76470588235293E-2</c:v>
                </c:pt>
                <c:pt idx="45422">
                  <c:v>-1.76470588235293E-2</c:v>
                </c:pt>
                <c:pt idx="45423">
                  <c:v>-1.76470588235293E-2</c:v>
                </c:pt>
                <c:pt idx="45424">
                  <c:v>-1.76470588235293E-2</c:v>
                </c:pt>
                <c:pt idx="45425">
                  <c:v>-1.76470588235293E-2</c:v>
                </c:pt>
                <c:pt idx="45426">
                  <c:v>-1.76470588235293E-2</c:v>
                </c:pt>
                <c:pt idx="45427">
                  <c:v>-1.76470588235293E-2</c:v>
                </c:pt>
                <c:pt idx="45428">
                  <c:v>-1.76470588235293E-2</c:v>
                </c:pt>
                <c:pt idx="45429">
                  <c:v>-1.76470588235293E-2</c:v>
                </c:pt>
                <c:pt idx="45430">
                  <c:v>-1.76470588235293E-2</c:v>
                </c:pt>
                <c:pt idx="45431">
                  <c:v>-1.76470588235293E-2</c:v>
                </c:pt>
                <c:pt idx="45432">
                  <c:v>-1.76470588235293E-2</c:v>
                </c:pt>
                <c:pt idx="45433">
                  <c:v>-1.76470588235293E-2</c:v>
                </c:pt>
                <c:pt idx="45434">
                  <c:v>-1.76470588235293E-2</c:v>
                </c:pt>
                <c:pt idx="45435">
                  <c:v>-1.76470588235293E-2</c:v>
                </c:pt>
                <c:pt idx="45436">
                  <c:v>-1.76470588235293E-2</c:v>
                </c:pt>
                <c:pt idx="45437">
                  <c:v>-1.76470588235293E-2</c:v>
                </c:pt>
                <c:pt idx="45438">
                  <c:v>-1.76470588235293E-2</c:v>
                </c:pt>
                <c:pt idx="45439">
                  <c:v>-1.76470588235293E-2</c:v>
                </c:pt>
                <c:pt idx="45440">
                  <c:v>-1.76470588235293E-2</c:v>
                </c:pt>
                <c:pt idx="45441">
                  <c:v>-1.76470588235293E-2</c:v>
                </c:pt>
                <c:pt idx="45442">
                  <c:v>-1.76470588235293E-2</c:v>
                </c:pt>
                <c:pt idx="45443">
                  <c:v>-1.76470588235293E-2</c:v>
                </c:pt>
                <c:pt idx="45444">
                  <c:v>-1.76470588235293E-2</c:v>
                </c:pt>
                <c:pt idx="45445">
                  <c:v>-1.76470588235293E-2</c:v>
                </c:pt>
                <c:pt idx="45446">
                  <c:v>-1.76470588235293E-2</c:v>
                </c:pt>
                <c:pt idx="45447">
                  <c:v>-1.76470588235293E-2</c:v>
                </c:pt>
                <c:pt idx="45448">
                  <c:v>-1.76470588235293E-2</c:v>
                </c:pt>
                <c:pt idx="45449">
                  <c:v>-1.76470588235293E-2</c:v>
                </c:pt>
                <c:pt idx="45450">
                  <c:v>-1.76470588235293E-2</c:v>
                </c:pt>
                <c:pt idx="45451">
                  <c:v>-1.76470588235293E-2</c:v>
                </c:pt>
                <c:pt idx="45452">
                  <c:v>-1.76470588235293E-2</c:v>
                </c:pt>
                <c:pt idx="45453">
                  <c:v>-1.76470588235293E-2</c:v>
                </c:pt>
                <c:pt idx="45454">
                  <c:v>-1.76470588235293E-2</c:v>
                </c:pt>
                <c:pt idx="45455">
                  <c:v>-1.76470588235293E-2</c:v>
                </c:pt>
                <c:pt idx="45456">
                  <c:v>-1.76470588235293E-2</c:v>
                </c:pt>
                <c:pt idx="45457">
                  <c:v>-1.76470588235293E-2</c:v>
                </c:pt>
                <c:pt idx="45458">
                  <c:v>-1.76470588235293E-2</c:v>
                </c:pt>
                <c:pt idx="45459">
                  <c:v>-1.76470588235293E-2</c:v>
                </c:pt>
                <c:pt idx="45460">
                  <c:v>-1.76470588235293E-2</c:v>
                </c:pt>
                <c:pt idx="45461">
                  <c:v>-1.76470588235293E-2</c:v>
                </c:pt>
                <c:pt idx="45462">
                  <c:v>-1.76470588235293E-2</c:v>
                </c:pt>
                <c:pt idx="45463">
                  <c:v>-1.76470588235293E-2</c:v>
                </c:pt>
                <c:pt idx="45464">
                  <c:v>-1.76470588235293E-2</c:v>
                </c:pt>
                <c:pt idx="45465">
                  <c:v>-1.76470588235293E-2</c:v>
                </c:pt>
                <c:pt idx="45466">
                  <c:v>-1.76470588235293E-2</c:v>
                </c:pt>
                <c:pt idx="45467">
                  <c:v>-1.76470588235293E-2</c:v>
                </c:pt>
                <c:pt idx="45468">
                  <c:v>-1.76470588235293E-2</c:v>
                </c:pt>
                <c:pt idx="45469">
                  <c:v>-1.76470588235293E-2</c:v>
                </c:pt>
                <c:pt idx="45470">
                  <c:v>-1.76470588235293E-2</c:v>
                </c:pt>
                <c:pt idx="45471">
                  <c:v>-1.76470588235293E-2</c:v>
                </c:pt>
                <c:pt idx="45472">
                  <c:v>-1.76470588235293E-2</c:v>
                </c:pt>
                <c:pt idx="45473">
                  <c:v>-1.76470588235293E-2</c:v>
                </c:pt>
                <c:pt idx="45474">
                  <c:v>-1.76470588235293E-2</c:v>
                </c:pt>
                <c:pt idx="45475">
                  <c:v>-1.76470588235293E-2</c:v>
                </c:pt>
                <c:pt idx="45476">
                  <c:v>-1.76470588235293E-2</c:v>
                </c:pt>
                <c:pt idx="45477">
                  <c:v>-1.76470588235293E-2</c:v>
                </c:pt>
                <c:pt idx="45478">
                  <c:v>-1.76470588235293E-2</c:v>
                </c:pt>
                <c:pt idx="45479">
                  <c:v>-1.76470588235293E-2</c:v>
                </c:pt>
                <c:pt idx="45480">
                  <c:v>-1.76470588235293E-2</c:v>
                </c:pt>
                <c:pt idx="45481">
                  <c:v>-1.76470588235293E-2</c:v>
                </c:pt>
                <c:pt idx="45482">
                  <c:v>-1.76470588235293E-2</c:v>
                </c:pt>
                <c:pt idx="45483">
                  <c:v>-1.76470588235293E-2</c:v>
                </c:pt>
                <c:pt idx="45484">
                  <c:v>-1.76470588235293E-2</c:v>
                </c:pt>
                <c:pt idx="45485">
                  <c:v>-1.76470588235293E-2</c:v>
                </c:pt>
                <c:pt idx="45486">
                  <c:v>-1.76470588235293E-2</c:v>
                </c:pt>
                <c:pt idx="45487">
                  <c:v>-1.76470588235293E-2</c:v>
                </c:pt>
                <c:pt idx="45488">
                  <c:v>-1.76470588235293E-2</c:v>
                </c:pt>
                <c:pt idx="45489">
                  <c:v>-1.76470588235293E-2</c:v>
                </c:pt>
                <c:pt idx="45490">
                  <c:v>-1.76470588235293E-2</c:v>
                </c:pt>
                <c:pt idx="45491">
                  <c:v>-1.76470588235293E-2</c:v>
                </c:pt>
                <c:pt idx="45492">
                  <c:v>-1.76470588235293E-2</c:v>
                </c:pt>
                <c:pt idx="45493">
                  <c:v>-1.76470588235293E-2</c:v>
                </c:pt>
                <c:pt idx="45494">
                  <c:v>-1.76470588235293E-2</c:v>
                </c:pt>
                <c:pt idx="45495">
                  <c:v>-1.76470588235293E-2</c:v>
                </c:pt>
                <c:pt idx="45496">
                  <c:v>-1.76470588235293E-2</c:v>
                </c:pt>
                <c:pt idx="45497">
                  <c:v>-1.76470588235293E-2</c:v>
                </c:pt>
                <c:pt idx="45498">
                  <c:v>-1.76470588235293E-2</c:v>
                </c:pt>
                <c:pt idx="45499">
                  <c:v>-1.76470588235293E-2</c:v>
                </c:pt>
                <c:pt idx="45500">
                  <c:v>-1.76470588235293E-2</c:v>
                </c:pt>
                <c:pt idx="45501">
                  <c:v>-1.76470588235293E-2</c:v>
                </c:pt>
                <c:pt idx="45502">
                  <c:v>-1.76470588235293E-2</c:v>
                </c:pt>
                <c:pt idx="45503">
                  <c:v>-1.76470588235293E-2</c:v>
                </c:pt>
                <c:pt idx="45504">
                  <c:v>-1.76470588235293E-2</c:v>
                </c:pt>
                <c:pt idx="45505">
                  <c:v>-1.76470588235293E-2</c:v>
                </c:pt>
                <c:pt idx="45506">
                  <c:v>-1.76470588235293E-2</c:v>
                </c:pt>
                <c:pt idx="45507">
                  <c:v>-1.76470588235293E-2</c:v>
                </c:pt>
                <c:pt idx="45508">
                  <c:v>-1.76470588235293E-2</c:v>
                </c:pt>
                <c:pt idx="45509">
                  <c:v>-1.76470588235293E-2</c:v>
                </c:pt>
                <c:pt idx="45510">
                  <c:v>-1.76470588235293E-2</c:v>
                </c:pt>
                <c:pt idx="45511">
                  <c:v>-1.76470588235293E-2</c:v>
                </c:pt>
                <c:pt idx="45512">
                  <c:v>-1.76470588235293E-2</c:v>
                </c:pt>
                <c:pt idx="45513">
                  <c:v>-1.76470588235293E-2</c:v>
                </c:pt>
                <c:pt idx="45514">
                  <c:v>-1.76470588235293E-2</c:v>
                </c:pt>
                <c:pt idx="45515">
                  <c:v>-1.76470588235293E-2</c:v>
                </c:pt>
                <c:pt idx="45516">
                  <c:v>-1.76470588235293E-2</c:v>
                </c:pt>
                <c:pt idx="45517">
                  <c:v>-1.76470588235293E-2</c:v>
                </c:pt>
                <c:pt idx="45518">
                  <c:v>-1.76470588235293E-2</c:v>
                </c:pt>
                <c:pt idx="45519">
                  <c:v>-1.76470588235293E-2</c:v>
                </c:pt>
                <c:pt idx="45520">
                  <c:v>-1.76470588235293E-2</c:v>
                </c:pt>
                <c:pt idx="45521">
                  <c:v>-1.76470588235293E-2</c:v>
                </c:pt>
                <c:pt idx="45522">
                  <c:v>-1.76470588235293E-2</c:v>
                </c:pt>
                <c:pt idx="45523">
                  <c:v>-1.76470588235293E-2</c:v>
                </c:pt>
                <c:pt idx="45524">
                  <c:v>-1.76470588235293E-2</c:v>
                </c:pt>
                <c:pt idx="45525">
                  <c:v>-1.76470588235293E-2</c:v>
                </c:pt>
                <c:pt idx="45526">
                  <c:v>-1.76470588235293E-2</c:v>
                </c:pt>
                <c:pt idx="45527">
                  <c:v>-1.76470588235293E-2</c:v>
                </c:pt>
                <c:pt idx="45528">
                  <c:v>-1.76470588235293E-2</c:v>
                </c:pt>
                <c:pt idx="45529">
                  <c:v>-1.76470588235293E-2</c:v>
                </c:pt>
                <c:pt idx="45530">
                  <c:v>-1.76470588235293E-2</c:v>
                </c:pt>
                <c:pt idx="45531">
                  <c:v>-1.76470588235293E-2</c:v>
                </c:pt>
                <c:pt idx="45532">
                  <c:v>-1.76470588235293E-2</c:v>
                </c:pt>
                <c:pt idx="45533">
                  <c:v>-1.76470588235293E-2</c:v>
                </c:pt>
                <c:pt idx="45534">
                  <c:v>-1.76470588235293E-2</c:v>
                </c:pt>
                <c:pt idx="45535">
                  <c:v>-1.76470588235293E-2</c:v>
                </c:pt>
                <c:pt idx="45536">
                  <c:v>-1.76470588235293E-2</c:v>
                </c:pt>
                <c:pt idx="45537">
                  <c:v>-1.76470588235293E-2</c:v>
                </c:pt>
                <c:pt idx="45538">
                  <c:v>-1.76470588235293E-2</c:v>
                </c:pt>
                <c:pt idx="45539">
                  <c:v>-1.76470588235293E-2</c:v>
                </c:pt>
                <c:pt idx="45540">
                  <c:v>-1.76470588235293E-2</c:v>
                </c:pt>
                <c:pt idx="45541">
                  <c:v>-1.76470588235293E-2</c:v>
                </c:pt>
                <c:pt idx="45542">
                  <c:v>-1.76470588235293E-2</c:v>
                </c:pt>
                <c:pt idx="45543">
                  <c:v>-1.76470588235293E-2</c:v>
                </c:pt>
                <c:pt idx="45544">
                  <c:v>-1.76470588235293E-2</c:v>
                </c:pt>
                <c:pt idx="45545">
                  <c:v>-1.76470588235293E-2</c:v>
                </c:pt>
                <c:pt idx="45546">
                  <c:v>-1.76470588235293E-2</c:v>
                </c:pt>
                <c:pt idx="45547">
                  <c:v>-1.76470588235293E-2</c:v>
                </c:pt>
                <c:pt idx="45548">
                  <c:v>-1.76470588235293E-2</c:v>
                </c:pt>
                <c:pt idx="45549">
                  <c:v>-1.76470588235293E-2</c:v>
                </c:pt>
                <c:pt idx="45550">
                  <c:v>-1.76470588235293E-2</c:v>
                </c:pt>
                <c:pt idx="45551">
                  <c:v>-1.76470588235293E-2</c:v>
                </c:pt>
                <c:pt idx="45552">
                  <c:v>-1.76470588235293E-2</c:v>
                </c:pt>
                <c:pt idx="45553">
                  <c:v>-1.76470588235293E-2</c:v>
                </c:pt>
                <c:pt idx="45554">
                  <c:v>-1.76470588235293E-2</c:v>
                </c:pt>
                <c:pt idx="45555">
                  <c:v>-1.76470588235293E-2</c:v>
                </c:pt>
                <c:pt idx="45556">
                  <c:v>-1.76470588235293E-2</c:v>
                </c:pt>
                <c:pt idx="45557">
                  <c:v>-1.76470588235293E-2</c:v>
                </c:pt>
                <c:pt idx="45558">
                  <c:v>-1.76470588235293E-2</c:v>
                </c:pt>
                <c:pt idx="45559">
                  <c:v>-1.76470588235293E-2</c:v>
                </c:pt>
                <c:pt idx="45560">
                  <c:v>-1.76470588235293E-2</c:v>
                </c:pt>
                <c:pt idx="45561">
                  <c:v>-1.76470588235293E-2</c:v>
                </c:pt>
                <c:pt idx="45562">
                  <c:v>-1.76470588235293E-2</c:v>
                </c:pt>
                <c:pt idx="45563">
                  <c:v>-1.76470588235293E-2</c:v>
                </c:pt>
                <c:pt idx="45564">
                  <c:v>-1.76470588235293E-2</c:v>
                </c:pt>
                <c:pt idx="45565">
                  <c:v>-1.76470588235293E-2</c:v>
                </c:pt>
                <c:pt idx="45566">
                  <c:v>-1.76470588235293E-2</c:v>
                </c:pt>
                <c:pt idx="45567">
                  <c:v>-1.76470588235293E-2</c:v>
                </c:pt>
                <c:pt idx="45568">
                  <c:v>-1.76470588235293E-2</c:v>
                </c:pt>
                <c:pt idx="45569">
                  <c:v>-1.76470588235293E-2</c:v>
                </c:pt>
                <c:pt idx="45570">
                  <c:v>-1.76470588235293E-2</c:v>
                </c:pt>
                <c:pt idx="45571">
                  <c:v>-1.76470588235293E-2</c:v>
                </c:pt>
                <c:pt idx="45572">
                  <c:v>-1.76470588235293E-2</c:v>
                </c:pt>
                <c:pt idx="45573">
                  <c:v>-1.76470588235293E-2</c:v>
                </c:pt>
                <c:pt idx="45574">
                  <c:v>-1.76470588235293E-2</c:v>
                </c:pt>
                <c:pt idx="45575">
                  <c:v>-1.76470588235293E-2</c:v>
                </c:pt>
                <c:pt idx="45576">
                  <c:v>-1.76470588235293E-2</c:v>
                </c:pt>
                <c:pt idx="45577">
                  <c:v>-1.76470588235293E-2</c:v>
                </c:pt>
                <c:pt idx="45578">
                  <c:v>-1.76470588235293E-2</c:v>
                </c:pt>
                <c:pt idx="45579">
                  <c:v>-1.76470588235293E-2</c:v>
                </c:pt>
                <c:pt idx="45580">
                  <c:v>-1.76470588235293E-2</c:v>
                </c:pt>
                <c:pt idx="45581">
                  <c:v>-1.76470588235293E-2</c:v>
                </c:pt>
                <c:pt idx="45582">
                  <c:v>-1.76470588235293E-2</c:v>
                </c:pt>
                <c:pt idx="45583">
                  <c:v>-1.76470588235293E-2</c:v>
                </c:pt>
                <c:pt idx="45584">
                  <c:v>-1.76470588235293E-2</c:v>
                </c:pt>
                <c:pt idx="45585">
                  <c:v>-1.76470588235293E-2</c:v>
                </c:pt>
                <c:pt idx="45586">
                  <c:v>-1.76470588235293E-2</c:v>
                </c:pt>
                <c:pt idx="45587">
                  <c:v>-1.76470588235293E-2</c:v>
                </c:pt>
                <c:pt idx="45588">
                  <c:v>-1.76470588235293E-2</c:v>
                </c:pt>
                <c:pt idx="45589">
                  <c:v>-1.76470588235293E-2</c:v>
                </c:pt>
                <c:pt idx="45590">
                  <c:v>-1.76470588235293E-2</c:v>
                </c:pt>
                <c:pt idx="45591">
                  <c:v>-1.76470588235293E-2</c:v>
                </c:pt>
                <c:pt idx="45592">
                  <c:v>-1.76470588235293E-2</c:v>
                </c:pt>
                <c:pt idx="45593">
                  <c:v>-1.76470588235293E-2</c:v>
                </c:pt>
                <c:pt idx="45594">
                  <c:v>-1.76470588235293E-2</c:v>
                </c:pt>
                <c:pt idx="45595">
                  <c:v>-1.76470588235293E-2</c:v>
                </c:pt>
                <c:pt idx="45596">
                  <c:v>-1.76470588235293E-2</c:v>
                </c:pt>
                <c:pt idx="45597">
                  <c:v>-1.76470588235293E-2</c:v>
                </c:pt>
                <c:pt idx="45598">
                  <c:v>-1.76470588235293E-2</c:v>
                </c:pt>
                <c:pt idx="45599">
                  <c:v>-1.76470588235293E-2</c:v>
                </c:pt>
                <c:pt idx="45600">
                  <c:v>-1.76470588235293E-2</c:v>
                </c:pt>
                <c:pt idx="45601">
                  <c:v>-1.76470588235293E-2</c:v>
                </c:pt>
                <c:pt idx="45602">
                  <c:v>-1.76470588235293E-2</c:v>
                </c:pt>
                <c:pt idx="45603">
                  <c:v>-1.76470588235293E-2</c:v>
                </c:pt>
                <c:pt idx="45604">
                  <c:v>-1.76470588235293E-2</c:v>
                </c:pt>
                <c:pt idx="45605">
                  <c:v>-1.76470588235293E-2</c:v>
                </c:pt>
                <c:pt idx="45606">
                  <c:v>-1.76470588235293E-2</c:v>
                </c:pt>
                <c:pt idx="45607">
                  <c:v>-1.76470588235293E-2</c:v>
                </c:pt>
                <c:pt idx="45608">
                  <c:v>-1.76470588235293E-2</c:v>
                </c:pt>
                <c:pt idx="45609">
                  <c:v>-1.76470588235293E-2</c:v>
                </c:pt>
                <c:pt idx="45610">
                  <c:v>-1.76470588235293E-2</c:v>
                </c:pt>
                <c:pt idx="45611">
                  <c:v>-1.76470588235293E-2</c:v>
                </c:pt>
                <c:pt idx="45612">
                  <c:v>-1.76470588235293E-2</c:v>
                </c:pt>
                <c:pt idx="45613">
                  <c:v>-1.76470588235293E-2</c:v>
                </c:pt>
                <c:pt idx="45614">
                  <c:v>-1.76470588235293E-2</c:v>
                </c:pt>
                <c:pt idx="45615">
                  <c:v>-1.76470588235293E-2</c:v>
                </c:pt>
                <c:pt idx="45616">
                  <c:v>-1.76470588235293E-2</c:v>
                </c:pt>
                <c:pt idx="45617">
                  <c:v>-1.76470588235293E-2</c:v>
                </c:pt>
                <c:pt idx="45618">
                  <c:v>-1.76470588235293E-2</c:v>
                </c:pt>
                <c:pt idx="45619">
                  <c:v>-1.76470588235293E-2</c:v>
                </c:pt>
                <c:pt idx="45620">
                  <c:v>-1.76470588235293E-2</c:v>
                </c:pt>
                <c:pt idx="45621">
                  <c:v>-1.76470588235293E-2</c:v>
                </c:pt>
                <c:pt idx="45622">
                  <c:v>-1.76470588235293E-2</c:v>
                </c:pt>
                <c:pt idx="45623">
                  <c:v>-1.76470588235293E-2</c:v>
                </c:pt>
                <c:pt idx="45624">
                  <c:v>-1.76470588235293E-2</c:v>
                </c:pt>
                <c:pt idx="45625">
                  <c:v>-1.76470588235293E-2</c:v>
                </c:pt>
                <c:pt idx="45626">
                  <c:v>-1.76470588235293E-2</c:v>
                </c:pt>
                <c:pt idx="45627">
                  <c:v>-1.76470588235293E-2</c:v>
                </c:pt>
                <c:pt idx="45628">
                  <c:v>-1.76470588235293E-2</c:v>
                </c:pt>
                <c:pt idx="45629">
                  <c:v>-1.76470588235293E-2</c:v>
                </c:pt>
                <c:pt idx="45630">
                  <c:v>-1.76470588235293E-2</c:v>
                </c:pt>
                <c:pt idx="45631">
                  <c:v>-1.76470588235293E-2</c:v>
                </c:pt>
                <c:pt idx="45632">
                  <c:v>-1.76470588235293E-2</c:v>
                </c:pt>
                <c:pt idx="45633">
                  <c:v>-1.76470588235293E-2</c:v>
                </c:pt>
                <c:pt idx="45634">
                  <c:v>-1.76470588235293E-2</c:v>
                </c:pt>
                <c:pt idx="45635">
                  <c:v>-1.76470588235293E-2</c:v>
                </c:pt>
                <c:pt idx="45636">
                  <c:v>-1.76470588235293E-2</c:v>
                </c:pt>
                <c:pt idx="45637">
                  <c:v>-1.76470588235293E-2</c:v>
                </c:pt>
                <c:pt idx="45638">
                  <c:v>-1.76470588235293E-2</c:v>
                </c:pt>
                <c:pt idx="45639">
                  <c:v>-1.76470588235293E-2</c:v>
                </c:pt>
                <c:pt idx="45640">
                  <c:v>-1.76470588235293E-2</c:v>
                </c:pt>
                <c:pt idx="45641">
                  <c:v>-1.76470588235293E-2</c:v>
                </c:pt>
                <c:pt idx="45642">
                  <c:v>-1.76470588235293E-2</c:v>
                </c:pt>
                <c:pt idx="45643">
                  <c:v>-1.76470588235293E-2</c:v>
                </c:pt>
                <c:pt idx="45644">
                  <c:v>-1.76470588235293E-2</c:v>
                </c:pt>
                <c:pt idx="45645">
                  <c:v>-1.76470588235293E-2</c:v>
                </c:pt>
                <c:pt idx="45646">
                  <c:v>-1.76470588235293E-2</c:v>
                </c:pt>
                <c:pt idx="45647">
                  <c:v>-1.76470588235293E-2</c:v>
                </c:pt>
                <c:pt idx="45648">
                  <c:v>-1.76470588235293E-2</c:v>
                </c:pt>
                <c:pt idx="45649">
                  <c:v>-1.76470588235293E-2</c:v>
                </c:pt>
                <c:pt idx="45650">
                  <c:v>-1.76470588235293E-2</c:v>
                </c:pt>
                <c:pt idx="45651">
                  <c:v>-1.76470588235293E-2</c:v>
                </c:pt>
                <c:pt idx="45652">
                  <c:v>-1.76470588235293E-2</c:v>
                </c:pt>
                <c:pt idx="45653">
                  <c:v>-1.76470588235293E-2</c:v>
                </c:pt>
                <c:pt idx="45654">
                  <c:v>-1.76470588235293E-2</c:v>
                </c:pt>
                <c:pt idx="45655">
                  <c:v>-1.76470588235293E-2</c:v>
                </c:pt>
                <c:pt idx="45656">
                  <c:v>-1.76470588235293E-2</c:v>
                </c:pt>
                <c:pt idx="45657">
                  <c:v>-1.76470588235293E-2</c:v>
                </c:pt>
                <c:pt idx="45658">
                  <c:v>-1.76470588235293E-2</c:v>
                </c:pt>
                <c:pt idx="45659">
                  <c:v>-1.76470588235293E-2</c:v>
                </c:pt>
                <c:pt idx="45660">
                  <c:v>-1.76470588235293E-2</c:v>
                </c:pt>
                <c:pt idx="45661">
                  <c:v>-1.76470588235293E-2</c:v>
                </c:pt>
                <c:pt idx="45662">
                  <c:v>-1.76470588235293E-2</c:v>
                </c:pt>
                <c:pt idx="45663">
                  <c:v>-1.76470588235293E-2</c:v>
                </c:pt>
                <c:pt idx="45664">
                  <c:v>-1.76470588235293E-2</c:v>
                </c:pt>
                <c:pt idx="45665">
                  <c:v>-1.76470588235293E-2</c:v>
                </c:pt>
                <c:pt idx="45666">
                  <c:v>-1.76470588235293E-2</c:v>
                </c:pt>
                <c:pt idx="45667">
                  <c:v>-1.76470588235293E-2</c:v>
                </c:pt>
                <c:pt idx="45668">
                  <c:v>-1.76470588235293E-2</c:v>
                </c:pt>
                <c:pt idx="45669">
                  <c:v>-1.76470588235293E-2</c:v>
                </c:pt>
                <c:pt idx="45670">
                  <c:v>-1.76470588235293E-2</c:v>
                </c:pt>
                <c:pt idx="45671">
                  <c:v>-1.76470588235293E-2</c:v>
                </c:pt>
                <c:pt idx="45672">
                  <c:v>-1.76470588235293E-2</c:v>
                </c:pt>
                <c:pt idx="45673">
                  <c:v>-1.76470588235293E-2</c:v>
                </c:pt>
                <c:pt idx="45674">
                  <c:v>-1.76470588235293E-2</c:v>
                </c:pt>
                <c:pt idx="45675">
                  <c:v>-1.76470588235293E-2</c:v>
                </c:pt>
                <c:pt idx="45676">
                  <c:v>-1.6806722689075501E-2</c:v>
                </c:pt>
                <c:pt idx="45677">
                  <c:v>-1.6806722689075501E-2</c:v>
                </c:pt>
                <c:pt idx="45678">
                  <c:v>-1.6806722689075501E-2</c:v>
                </c:pt>
                <c:pt idx="45679">
                  <c:v>-1.6806722689075501E-2</c:v>
                </c:pt>
                <c:pt idx="45680">
                  <c:v>-1.6806722689075501E-2</c:v>
                </c:pt>
                <c:pt idx="45681">
                  <c:v>-1.6806722689075501E-2</c:v>
                </c:pt>
                <c:pt idx="45682">
                  <c:v>-1.6806722689075501E-2</c:v>
                </c:pt>
                <c:pt idx="45683">
                  <c:v>-1.6806722689075501E-2</c:v>
                </c:pt>
                <c:pt idx="45684">
                  <c:v>-1.6806722689075501E-2</c:v>
                </c:pt>
                <c:pt idx="45685">
                  <c:v>-1.6806722689075501E-2</c:v>
                </c:pt>
                <c:pt idx="45686">
                  <c:v>-1.6806722689075501E-2</c:v>
                </c:pt>
                <c:pt idx="45687">
                  <c:v>-1.6806722689075501E-2</c:v>
                </c:pt>
                <c:pt idx="45688">
                  <c:v>-1.6806722689075501E-2</c:v>
                </c:pt>
                <c:pt idx="45689">
                  <c:v>-1.6806722689075501E-2</c:v>
                </c:pt>
                <c:pt idx="45690">
                  <c:v>-1.6806722689075501E-2</c:v>
                </c:pt>
                <c:pt idx="45691">
                  <c:v>-1.6806722689075501E-2</c:v>
                </c:pt>
                <c:pt idx="45692">
                  <c:v>-1.6806722689075501E-2</c:v>
                </c:pt>
                <c:pt idx="45693">
                  <c:v>-1.6806722689075501E-2</c:v>
                </c:pt>
                <c:pt idx="45694">
                  <c:v>-1.6806722689075501E-2</c:v>
                </c:pt>
                <c:pt idx="45695">
                  <c:v>-1.6806722689075501E-2</c:v>
                </c:pt>
                <c:pt idx="45696">
                  <c:v>-1.6806722689075501E-2</c:v>
                </c:pt>
                <c:pt idx="45697">
                  <c:v>-1.6806722689075501E-2</c:v>
                </c:pt>
                <c:pt idx="45698">
                  <c:v>-1.6806722689075501E-2</c:v>
                </c:pt>
                <c:pt idx="45699">
                  <c:v>-1.6806722689075501E-2</c:v>
                </c:pt>
                <c:pt idx="45700">
                  <c:v>-1.6806722689075501E-2</c:v>
                </c:pt>
                <c:pt idx="45701">
                  <c:v>-1.6806722689075501E-2</c:v>
                </c:pt>
                <c:pt idx="45702">
                  <c:v>-1.6806722689075501E-2</c:v>
                </c:pt>
                <c:pt idx="45703">
                  <c:v>-1.6806722689075501E-2</c:v>
                </c:pt>
                <c:pt idx="45704">
                  <c:v>-1.6806722689075501E-2</c:v>
                </c:pt>
                <c:pt idx="45705">
                  <c:v>-1.6806722689075501E-2</c:v>
                </c:pt>
                <c:pt idx="45706">
                  <c:v>-1.6806722689075501E-2</c:v>
                </c:pt>
                <c:pt idx="45707">
                  <c:v>-1.6806722689075501E-2</c:v>
                </c:pt>
                <c:pt idx="45708">
                  <c:v>-1.6806722689075501E-2</c:v>
                </c:pt>
                <c:pt idx="45709">
                  <c:v>-1.6806722689075501E-2</c:v>
                </c:pt>
                <c:pt idx="45710">
                  <c:v>-1.6806722689075501E-2</c:v>
                </c:pt>
                <c:pt idx="45711">
                  <c:v>-1.6806722689075501E-2</c:v>
                </c:pt>
                <c:pt idx="45712">
                  <c:v>-1.6806722689075501E-2</c:v>
                </c:pt>
                <c:pt idx="45713">
                  <c:v>-1.6806722689075501E-2</c:v>
                </c:pt>
                <c:pt idx="45714">
                  <c:v>-1.6806722689075501E-2</c:v>
                </c:pt>
                <c:pt idx="45715">
                  <c:v>-1.6806722689075501E-2</c:v>
                </c:pt>
                <c:pt idx="45716">
                  <c:v>-1.6806722689075501E-2</c:v>
                </c:pt>
                <c:pt idx="45717">
                  <c:v>-1.6806722689075501E-2</c:v>
                </c:pt>
                <c:pt idx="45718">
                  <c:v>-1.6806722689075501E-2</c:v>
                </c:pt>
                <c:pt idx="45719">
                  <c:v>-1.6806722689075501E-2</c:v>
                </c:pt>
                <c:pt idx="45720">
                  <c:v>-1.6806722689075501E-2</c:v>
                </c:pt>
                <c:pt idx="45721">
                  <c:v>-1.6806722689075501E-2</c:v>
                </c:pt>
                <c:pt idx="45722">
                  <c:v>-1.6806722689075501E-2</c:v>
                </c:pt>
                <c:pt idx="45723">
                  <c:v>-1.6806722689075501E-2</c:v>
                </c:pt>
                <c:pt idx="45724">
                  <c:v>-1.6806722689075501E-2</c:v>
                </c:pt>
                <c:pt idx="45725">
                  <c:v>-1.6806722689075501E-2</c:v>
                </c:pt>
                <c:pt idx="45726">
                  <c:v>-1.6806722689075501E-2</c:v>
                </c:pt>
                <c:pt idx="45727">
                  <c:v>-1.6806722689075501E-2</c:v>
                </c:pt>
                <c:pt idx="45728">
                  <c:v>-1.6806722689075501E-2</c:v>
                </c:pt>
                <c:pt idx="45729">
                  <c:v>-1.6806722689075501E-2</c:v>
                </c:pt>
                <c:pt idx="45730">
                  <c:v>-1.6806722689075501E-2</c:v>
                </c:pt>
                <c:pt idx="45731">
                  <c:v>-1.6806722689075501E-2</c:v>
                </c:pt>
                <c:pt idx="45732">
                  <c:v>-1.6806722689075501E-2</c:v>
                </c:pt>
                <c:pt idx="45733">
                  <c:v>-1.6806722689075501E-2</c:v>
                </c:pt>
                <c:pt idx="45734">
                  <c:v>-1.6806722689075501E-2</c:v>
                </c:pt>
                <c:pt idx="45735">
                  <c:v>-1.6806722689075501E-2</c:v>
                </c:pt>
                <c:pt idx="45736">
                  <c:v>-1.6806722689075501E-2</c:v>
                </c:pt>
                <c:pt idx="45737">
                  <c:v>-1.6806722689075501E-2</c:v>
                </c:pt>
                <c:pt idx="45738">
                  <c:v>-1.6806722689075501E-2</c:v>
                </c:pt>
                <c:pt idx="45739">
                  <c:v>-1.6806722689075501E-2</c:v>
                </c:pt>
                <c:pt idx="45740">
                  <c:v>-1.6806722689075501E-2</c:v>
                </c:pt>
                <c:pt idx="45741">
                  <c:v>-1.6806722689075501E-2</c:v>
                </c:pt>
                <c:pt idx="45742">
                  <c:v>-1.6806722689075501E-2</c:v>
                </c:pt>
                <c:pt idx="45743">
                  <c:v>-1.6806722689075501E-2</c:v>
                </c:pt>
                <c:pt idx="45744">
                  <c:v>-1.6806722689075501E-2</c:v>
                </c:pt>
                <c:pt idx="45745">
                  <c:v>-1.6806722689075501E-2</c:v>
                </c:pt>
                <c:pt idx="45746">
                  <c:v>-1.6806722689075501E-2</c:v>
                </c:pt>
                <c:pt idx="45747">
                  <c:v>-1.6806722689075501E-2</c:v>
                </c:pt>
                <c:pt idx="45748">
                  <c:v>-1.6806722689075501E-2</c:v>
                </c:pt>
                <c:pt idx="45749">
                  <c:v>-1.6806722689075501E-2</c:v>
                </c:pt>
                <c:pt idx="45750">
                  <c:v>-1.6806722689075501E-2</c:v>
                </c:pt>
                <c:pt idx="45751">
                  <c:v>-1.6806722689075501E-2</c:v>
                </c:pt>
                <c:pt idx="45752">
                  <c:v>-1.6806722689075501E-2</c:v>
                </c:pt>
                <c:pt idx="45753">
                  <c:v>-1.6806722689075501E-2</c:v>
                </c:pt>
                <c:pt idx="45754">
                  <c:v>-1.6806722689075501E-2</c:v>
                </c:pt>
                <c:pt idx="45755">
                  <c:v>-1.6806722689075501E-2</c:v>
                </c:pt>
                <c:pt idx="45756">
                  <c:v>-1.6806722689075501E-2</c:v>
                </c:pt>
                <c:pt idx="45757">
                  <c:v>-1.6806722689075501E-2</c:v>
                </c:pt>
                <c:pt idx="45758">
                  <c:v>-1.6806722689075501E-2</c:v>
                </c:pt>
                <c:pt idx="45759">
                  <c:v>-1.6806722689075501E-2</c:v>
                </c:pt>
                <c:pt idx="45760">
                  <c:v>-1.6806722689075501E-2</c:v>
                </c:pt>
                <c:pt idx="45761">
                  <c:v>-1.6806722689075501E-2</c:v>
                </c:pt>
                <c:pt idx="45762">
                  <c:v>-1.6806722689075501E-2</c:v>
                </c:pt>
                <c:pt idx="45763">
                  <c:v>-1.6806722689075501E-2</c:v>
                </c:pt>
                <c:pt idx="45764">
                  <c:v>-1.6806722689075501E-2</c:v>
                </c:pt>
                <c:pt idx="45765">
                  <c:v>-1.6806722689075501E-2</c:v>
                </c:pt>
                <c:pt idx="45766">
                  <c:v>-1.6806722689075501E-2</c:v>
                </c:pt>
                <c:pt idx="45767">
                  <c:v>-1.6806722689075501E-2</c:v>
                </c:pt>
                <c:pt idx="45768">
                  <c:v>-1.6806722689075501E-2</c:v>
                </c:pt>
                <c:pt idx="45769">
                  <c:v>-1.6806722689075501E-2</c:v>
                </c:pt>
                <c:pt idx="45770">
                  <c:v>-1.6806722689075501E-2</c:v>
                </c:pt>
                <c:pt idx="45771">
                  <c:v>-1.6806722689075501E-2</c:v>
                </c:pt>
                <c:pt idx="45772">
                  <c:v>-1.6806722689075501E-2</c:v>
                </c:pt>
                <c:pt idx="45773">
                  <c:v>-1.6806722689075501E-2</c:v>
                </c:pt>
                <c:pt idx="45774">
                  <c:v>-1.6806722689075501E-2</c:v>
                </c:pt>
                <c:pt idx="45775">
                  <c:v>-1.6806722689075501E-2</c:v>
                </c:pt>
                <c:pt idx="45776">
                  <c:v>-1.6806722689075501E-2</c:v>
                </c:pt>
                <c:pt idx="45777">
                  <c:v>-1.6806722689075501E-2</c:v>
                </c:pt>
                <c:pt idx="45778">
                  <c:v>-1.6806722689075501E-2</c:v>
                </c:pt>
                <c:pt idx="45779">
                  <c:v>-1.6806722689075501E-2</c:v>
                </c:pt>
                <c:pt idx="45780">
                  <c:v>-1.6806722689075501E-2</c:v>
                </c:pt>
                <c:pt idx="45781">
                  <c:v>-1.6806722689075501E-2</c:v>
                </c:pt>
                <c:pt idx="45782">
                  <c:v>-1.6806722689075501E-2</c:v>
                </c:pt>
                <c:pt idx="45783">
                  <c:v>-1.6806722689075501E-2</c:v>
                </c:pt>
                <c:pt idx="45784">
                  <c:v>-1.6806722689075501E-2</c:v>
                </c:pt>
                <c:pt idx="45785">
                  <c:v>-1.6806722689075501E-2</c:v>
                </c:pt>
                <c:pt idx="45786">
                  <c:v>-1.6806722689075501E-2</c:v>
                </c:pt>
                <c:pt idx="45787">
                  <c:v>-1.6806722689075501E-2</c:v>
                </c:pt>
                <c:pt idx="45788">
                  <c:v>-1.6806722689075501E-2</c:v>
                </c:pt>
                <c:pt idx="45789">
                  <c:v>-1.6806722689075501E-2</c:v>
                </c:pt>
                <c:pt idx="45790">
                  <c:v>-1.6806722689075501E-2</c:v>
                </c:pt>
                <c:pt idx="45791">
                  <c:v>-1.6806722689075501E-2</c:v>
                </c:pt>
                <c:pt idx="45792">
                  <c:v>-1.6806722689075501E-2</c:v>
                </c:pt>
                <c:pt idx="45793">
                  <c:v>-1.6806722689075501E-2</c:v>
                </c:pt>
                <c:pt idx="45794">
                  <c:v>-1.6806722689075501E-2</c:v>
                </c:pt>
                <c:pt idx="45795">
                  <c:v>-1.6806722689075501E-2</c:v>
                </c:pt>
                <c:pt idx="45796">
                  <c:v>-1.6806722689075501E-2</c:v>
                </c:pt>
                <c:pt idx="45797">
                  <c:v>-1.6806722689075501E-2</c:v>
                </c:pt>
                <c:pt idx="45798">
                  <c:v>-1.6806722689075501E-2</c:v>
                </c:pt>
                <c:pt idx="45799">
                  <c:v>-1.6806722689075501E-2</c:v>
                </c:pt>
                <c:pt idx="45800">
                  <c:v>-1.6806722689075501E-2</c:v>
                </c:pt>
                <c:pt idx="45801">
                  <c:v>-1.6806722689075501E-2</c:v>
                </c:pt>
                <c:pt idx="45802">
                  <c:v>-1.6806722689075501E-2</c:v>
                </c:pt>
                <c:pt idx="45803">
                  <c:v>-1.6806722689075501E-2</c:v>
                </c:pt>
                <c:pt idx="45804">
                  <c:v>-1.6806722689075501E-2</c:v>
                </c:pt>
                <c:pt idx="45805">
                  <c:v>-1.6806722689075501E-2</c:v>
                </c:pt>
                <c:pt idx="45806">
                  <c:v>-1.6806722689075501E-2</c:v>
                </c:pt>
                <c:pt idx="45807">
                  <c:v>-1.6806722689075501E-2</c:v>
                </c:pt>
                <c:pt idx="45808">
                  <c:v>-1.6806722689075501E-2</c:v>
                </c:pt>
                <c:pt idx="45809">
                  <c:v>-1.6806722689075501E-2</c:v>
                </c:pt>
                <c:pt idx="45810">
                  <c:v>-1.6806722689075501E-2</c:v>
                </c:pt>
                <c:pt idx="45811">
                  <c:v>-1.6806722689075501E-2</c:v>
                </c:pt>
                <c:pt idx="45812">
                  <c:v>-1.6806722689075501E-2</c:v>
                </c:pt>
                <c:pt idx="45813">
                  <c:v>-1.6806722689075501E-2</c:v>
                </c:pt>
                <c:pt idx="45814">
                  <c:v>-1.6806722689075501E-2</c:v>
                </c:pt>
                <c:pt idx="45815">
                  <c:v>-1.6806722689075501E-2</c:v>
                </c:pt>
                <c:pt idx="45816">
                  <c:v>-1.6806722689075501E-2</c:v>
                </c:pt>
                <c:pt idx="45817">
                  <c:v>-1.6806722689075501E-2</c:v>
                </c:pt>
                <c:pt idx="45818">
                  <c:v>-1.6806722689075501E-2</c:v>
                </c:pt>
                <c:pt idx="45819">
                  <c:v>-1.6806722689075501E-2</c:v>
                </c:pt>
                <c:pt idx="45820">
                  <c:v>-1.6806722689075501E-2</c:v>
                </c:pt>
                <c:pt idx="45821">
                  <c:v>-1.6806722689075501E-2</c:v>
                </c:pt>
                <c:pt idx="45822">
                  <c:v>-1.6806722689075501E-2</c:v>
                </c:pt>
                <c:pt idx="45823">
                  <c:v>-1.6806722689075501E-2</c:v>
                </c:pt>
                <c:pt idx="45824">
                  <c:v>-1.6806722689075501E-2</c:v>
                </c:pt>
                <c:pt idx="45825">
                  <c:v>-1.6806722689075501E-2</c:v>
                </c:pt>
                <c:pt idx="45826">
                  <c:v>-1.6806722689075501E-2</c:v>
                </c:pt>
                <c:pt idx="45827">
                  <c:v>-1.6806722689075501E-2</c:v>
                </c:pt>
                <c:pt idx="45828">
                  <c:v>-1.6806722689075501E-2</c:v>
                </c:pt>
                <c:pt idx="45829">
                  <c:v>-1.6806722689075501E-2</c:v>
                </c:pt>
                <c:pt idx="45830">
                  <c:v>-1.6806722689075501E-2</c:v>
                </c:pt>
                <c:pt idx="45831">
                  <c:v>-1.6806722689075501E-2</c:v>
                </c:pt>
                <c:pt idx="45832">
                  <c:v>-1.6806722689075501E-2</c:v>
                </c:pt>
                <c:pt idx="45833">
                  <c:v>-1.6806722689075501E-2</c:v>
                </c:pt>
                <c:pt idx="45834">
                  <c:v>-1.6806722689075501E-2</c:v>
                </c:pt>
                <c:pt idx="45835">
                  <c:v>-1.6806722689075501E-2</c:v>
                </c:pt>
                <c:pt idx="45836">
                  <c:v>-1.6806722689075501E-2</c:v>
                </c:pt>
                <c:pt idx="45837">
                  <c:v>-1.6806722689075501E-2</c:v>
                </c:pt>
                <c:pt idx="45838">
                  <c:v>-1.6806722689075501E-2</c:v>
                </c:pt>
                <c:pt idx="45839">
                  <c:v>-1.6806722689075501E-2</c:v>
                </c:pt>
                <c:pt idx="45840">
                  <c:v>-1.6806722689075501E-2</c:v>
                </c:pt>
                <c:pt idx="45841">
                  <c:v>-1.6806722689075501E-2</c:v>
                </c:pt>
                <c:pt idx="45842">
                  <c:v>-1.6806722689075501E-2</c:v>
                </c:pt>
                <c:pt idx="45843">
                  <c:v>-1.6806722689075501E-2</c:v>
                </c:pt>
                <c:pt idx="45844">
                  <c:v>-1.6806722689075501E-2</c:v>
                </c:pt>
                <c:pt idx="45845">
                  <c:v>-1.6806722689075501E-2</c:v>
                </c:pt>
                <c:pt idx="45846">
                  <c:v>-1.6806722689075501E-2</c:v>
                </c:pt>
                <c:pt idx="45847">
                  <c:v>-1.6806722689075501E-2</c:v>
                </c:pt>
                <c:pt idx="45848">
                  <c:v>-1.6806722689075501E-2</c:v>
                </c:pt>
                <c:pt idx="45849">
                  <c:v>-1.6806722689075501E-2</c:v>
                </c:pt>
                <c:pt idx="45850">
                  <c:v>-1.6806722689075501E-2</c:v>
                </c:pt>
                <c:pt idx="45851">
                  <c:v>-1.6806722689075501E-2</c:v>
                </c:pt>
                <c:pt idx="45852">
                  <c:v>-1.6806722689075501E-2</c:v>
                </c:pt>
                <c:pt idx="45853">
                  <c:v>-1.6806722689075501E-2</c:v>
                </c:pt>
                <c:pt idx="45854">
                  <c:v>-1.6806722689075501E-2</c:v>
                </c:pt>
                <c:pt idx="45855">
                  <c:v>-1.6806722689075501E-2</c:v>
                </c:pt>
                <c:pt idx="45856">
                  <c:v>-1.6806722689075501E-2</c:v>
                </c:pt>
                <c:pt idx="45857">
                  <c:v>-1.6806722689075501E-2</c:v>
                </c:pt>
                <c:pt idx="45858">
                  <c:v>-1.6806722689075501E-2</c:v>
                </c:pt>
                <c:pt idx="45859">
                  <c:v>-1.6806722689075501E-2</c:v>
                </c:pt>
                <c:pt idx="45860">
                  <c:v>-1.6806722689075501E-2</c:v>
                </c:pt>
                <c:pt idx="45861">
                  <c:v>-1.6806722689075501E-2</c:v>
                </c:pt>
                <c:pt idx="45862">
                  <c:v>-1.6806722689075501E-2</c:v>
                </c:pt>
                <c:pt idx="45863">
                  <c:v>-1.6806722689075501E-2</c:v>
                </c:pt>
                <c:pt idx="45864">
                  <c:v>-1.6806722689075501E-2</c:v>
                </c:pt>
                <c:pt idx="45865">
                  <c:v>-1.6806722689075501E-2</c:v>
                </c:pt>
                <c:pt idx="45866">
                  <c:v>-1.6806722689075501E-2</c:v>
                </c:pt>
                <c:pt idx="45867">
                  <c:v>-1.6806722689075501E-2</c:v>
                </c:pt>
                <c:pt idx="45868">
                  <c:v>-1.6806722689075501E-2</c:v>
                </c:pt>
                <c:pt idx="45869">
                  <c:v>-1.6806722689075501E-2</c:v>
                </c:pt>
                <c:pt idx="45870">
                  <c:v>-1.6806722689075501E-2</c:v>
                </c:pt>
                <c:pt idx="45871">
                  <c:v>-1.6806722689075501E-2</c:v>
                </c:pt>
                <c:pt idx="45872">
                  <c:v>-1.6806722689075501E-2</c:v>
                </c:pt>
                <c:pt idx="45873">
                  <c:v>-1.6806722689075501E-2</c:v>
                </c:pt>
                <c:pt idx="45874">
                  <c:v>-1.6806722689075501E-2</c:v>
                </c:pt>
                <c:pt idx="45875">
                  <c:v>-1.6806722689075501E-2</c:v>
                </c:pt>
                <c:pt idx="45876">
                  <c:v>-1.6806722689075501E-2</c:v>
                </c:pt>
                <c:pt idx="45877">
                  <c:v>-1.6806722689075501E-2</c:v>
                </c:pt>
                <c:pt idx="45878">
                  <c:v>-1.6806722689075501E-2</c:v>
                </c:pt>
                <c:pt idx="45879">
                  <c:v>-1.6806722689075501E-2</c:v>
                </c:pt>
                <c:pt idx="45880">
                  <c:v>-1.6806722689075501E-2</c:v>
                </c:pt>
                <c:pt idx="45881">
                  <c:v>-1.6806722689075501E-2</c:v>
                </c:pt>
                <c:pt idx="45882">
                  <c:v>-1.6806722689075501E-2</c:v>
                </c:pt>
                <c:pt idx="45883">
                  <c:v>-1.6806722689075501E-2</c:v>
                </c:pt>
                <c:pt idx="45884">
                  <c:v>-1.6806722689075501E-2</c:v>
                </c:pt>
                <c:pt idx="45885">
                  <c:v>-1.6806722689075501E-2</c:v>
                </c:pt>
                <c:pt idx="45886">
                  <c:v>-1.6806722689075501E-2</c:v>
                </c:pt>
                <c:pt idx="45887">
                  <c:v>-1.6806722689075501E-2</c:v>
                </c:pt>
                <c:pt idx="45888">
                  <c:v>-1.6806722689075501E-2</c:v>
                </c:pt>
                <c:pt idx="45889">
                  <c:v>-1.6806722689075501E-2</c:v>
                </c:pt>
                <c:pt idx="45890">
                  <c:v>-1.6806722689075501E-2</c:v>
                </c:pt>
                <c:pt idx="45891">
                  <c:v>-1.6806722689075501E-2</c:v>
                </c:pt>
                <c:pt idx="45892">
                  <c:v>-1.6806722689075501E-2</c:v>
                </c:pt>
                <c:pt idx="45893">
                  <c:v>-1.6806722689075501E-2</c:v>
                </c:pt>
                <c:pt idx="45894">
                  <c:v>-1.6806722689075501E-2</c:v>
                </c:pt>
                <c:pt idx="45895">
                  <c:v>-1.6806722689075501E-2</c:v>
                </c:pt>
                <c:pt idx="45896">
                  <c:v>-1.6806722689075501E-2</c:v>
                </c:pt>
                <c:pt idx="45897">
                  <c:v>-1.6806722689075501E-2</c:v>
                </c:pt>
                <c:pt idx="45898">
                  <c:v>-1.6806722689075501E-2</c:v>
                </c:pt>
                <c:pt idx="45899">
                  <c:v>-1.6806722689075501E-2</c:v>
                </c:pt>
                <c:pt idx="45900">
                  <c:v>-1.6806722689075501E-2</c:v>
                </c:pt>
                <c:pt idx="45901">
                  <c:v>-1.6806722689075501E-2</c:v>
                </c:pt>
                <c:pt idx="45902">
                  <c:v>-1.6806722689075501E-2</c:v>
                </c:pt>
                <c:pt idx="45903">
                  <c:v>-1.6806722689075501E-2</c:v>
                </c:pt>
                <c:pt idx="45904">
                  <c:v>-1.6806722689075501E-2</c:v>
                </c:pt>
                <c:pt idx="45905">
                  <c:v>-1.6806722689075501E-2</c:v>
                </c:pt>
                <c:pt idx="45906">
                  <c:v>-1.6806722689075501E-2</c:v>
                </c:pt>
                <c:pt idx="45907">
                  <c:v>-1.6806722689075501E-2</c:v>
                </c:pt>
                <c:pt idx="45908">
                  <c:v>-1.6806722689075501E-2</c:v>
                </c:pt>
                <c:pt idx="45909">
                  <c:v>-1.6806722689075501E-2</c:v>
                </c:pt>
                <c:pt idx="45910">
                  <c:v>-1.6806722689075501E-2</c:v>
                </c:pt>
                <c:pt idx="45911">
                  <c:v>-1.6806722689075501E-2</c:v>
                </c:pt>
                <c:pt idx="45912">
                  <c:v>-1.6806722689075501E-2</c:v>
                </c:pt>
                <c:pt idx="45913">
                  <c:v>-1.6806722689075501E-2</c:v>
                </c:pt>
                <c:pt idx="45914">
                  <c:v>-1.6806722689075501E-2</c:v>
                </c:pt>
                <c:pt idx="45915">
                  <c:v>-1.6806722689075501E-2</c:v>
                </c:pt>
                <c:pt idx="45916">
                  <c:v>-1.6806722689075501E-2</c:v>
                </c:pt>
                <c:pt idx="45917">
                  <c:v>-1.6806722689075501E-2</c:v>
                </c:pt>
                <c:pt idx="45918">
                  <c:v>-1.6806722689075501E-2</c:v>
                </c:pt>
                <c:pt idx="45919">
                  <c:v>-1.6806722689075501E-2</c:v>
                </c:pt>
                <c:pt idx="45920">
                  <c:v>-1.6806722689075501E-2</c:v>
                </c:pt>
                <c:pt idx="45921">
                  <c:v>-1.6806722689075501E-2</c:v>
                </c:pt>
                <c:pt idx="45922">
                  <c:v>-1.6806722689075501E-2</c:v>
                </c:pt>
                <c:pt idx="45923">
                  <c:v>-1.6806722689075501E-2</c:v>
                </c:pt>
                <c:pt idx="45924">
                  <c:v>-1.6806722689075501E-2</c:v>
                </c:pt>
                <c:pt idx="45925">
                  <c:v>-1.6806722689075501E-2</c:v>
                </c:pt>
                <c:pt idx="45926">
                  <c:v>-1.6806722689075501E-2</c:v>
                </c:pt>
                <c:pt idx="45927">
                  <c:v>-1.6806722689075501E-2</c:v>
                </c:pt>
                <c:pt idx="45928">
                  <c:v>-1.6806722689075501E-2</c:v>
                </c:pt>
                <c:pt idx="45929">
                  <c:v>-1.6806722689075501E-2</c:v>
                </c:pt>
                <c:pt idx="45930">
                  <c:v>-1.6806722689075501E-2</c:v>
                </c:pt>
                <c:pt idx="45931">
                  <c:v>-1.6806722689075501E-2</c:v>
                </c:pt>
                <c:pt idx="45932">
                  <c:v>-1.6806722689075501E-2</c:v>
                </c:pt>
                <c:pt idx="45933">
                  <c:v>-1.6806722689075501E-2</c:v>
                </c:pt>
                <c:pt idx="45934">
                  <c:v>-1.6806722689075501E-2</c:v>
                </c:pt>
                <c:pt idx="45935">
                  <c:v>-1.6806722689075501E-2</c:v>
                </c:pt>
                <c:pt idx="45936">
                  <c:v>-1.6806722689075501E-2</c:v>
                </c:pt>
                <c:pt idx="45937">
                  <c:v>-1.6806722689075501E-2</c:v>
                </c:pt>
                <c:pt idx="45938">
                  <c:v>-1.6806722689075501E-2</c:v>
                </c:pt>
                <c:pt idx="45939">
                  <c:v>-1.6806722689075501E-2</c:v>
                </c:pt>
                <c:pt idx="45940">
                  <c:v>-1.6806722689075501E-2</c:v>
                </c:pt>
                <c:pt idx="45941">
                  <c:v>-1.6806722689075501E-2</c:v>
                </c:pt>
                <c:pt idx="45942">
                  <c:v>-1.6806722689075501E-2</c:v>
                </c:pt>
                <c:pt idx="45943">
                  <c:v>-1.6806722689075501E-2</c:v>
                </c:pt>
                <c:pt idx="45944">
                  <c:v>-1.76470588235293E-2</c:v>
                </c:pt>
                <c:pt idx="45945">
                  <c:v>-1.76470588235293E-2</c:v>
                </c:pt>
                <c:pt idx="45946">
                  <c:v>-1.76470588235293E-2</c:v>
                </c:pt>
                <c:pt idx="45947">
                  <c:v>-1.76470588235293E-2</c:v>
                </c:pt>
                <c:pt idx="45948">
                  <c:v>-1.76470588235293E-2</c:v>
                </c:pt>
                <c:pt idx="45949">
                  <c:v>-1.76470588235293E-2</c:v>
                </c:pt>
                <c:pt idx="45950">
                  <c:v>-1.76470588235293E-2</c:v>
                </c:pt>
                <c:pt idx="45951">
                  <c:v>-1.84873949579831E-2</c:v>
                </c:pt>
                <c:pt idx="45952">
                  <c:v>-1.84873949579831E-2</c:v>
                </c:pt>
                <c:pt idx="45953">
                  <c:v>-1.84873949579831E-2</c:v>
                </c:pt>
                <c:pt idx="45954">
                  <c:v>-1.84873949579831E-2</c:v>
                </c:pt>
                <c:pt idx="45955">
                  <c:v>-1.84873949579831E-2</c:v>
                </c:pt>
                <c:pt idx="45956">
                  <c:v>-1.84873949579831E-2</c:v>
                </c:pt>
                <c:pt idx="45957">
                  <c:v>-1.84873949579831E-2</c:v>
                </c:pt>
                <c:pt idx="45958">
                  <c:v>-1.84873949579831E-2</c:v>
                </c:pt>
                <c:pt idx="45959">
                  <c:v>-1.84873949579831E-2</c:v>
                </c:pt>
                <c:pt idx="45960">
                  <c:v>-1.84873949579831E-2</c:v>
                </c:pt>
                <c:pt idx="45961">
                  <c:v>-1.84873949579831E-2</c:v>
                </c:pt>
                <c:pt idx="45962">
                  <c:v>-1.84873949579831E-2</c:v>
                </c:pt>
                <c:pt idx="45963">
                  <c:v>-1.84873949579831E-2</c:v>
                </c:pt>
                <c:pt idx="45964">
                  <c:v>-1.84873949579831E-2</c:v>
                </c:pt>
                <c:pt idx="45965">
                  <c:v>-1.84873949579831E-2</c:v>
                </c:pt>
                <c:pt idx="45966">
                  <c:v>-1.84873949579831E-2</c:v>
                </c:pt>
                <c:pt idx="45967">
                  <c:v>-1.84873949579831E-2</c:v>
                </c:pt>
                <c:pt idx="45968">
                  <c:v>-1.84873949579831E-2</c:v>
                </c:pt>
                <c:pt idx="45969">
                  <c:v>-1.84873949579831E-2</c:v>
                </c:pt>
                <c:pt idx="45970">
                  <c:v>-1.84873949579831E-2</c:v>
                </c:pt>
                <c:pt idx="45971">
                  <c:v>-1.84873949579831E-2</c:v>
                </c:pt>
                <c:pt idx="45972">
                  <c:v>-1.84873949579831E-2</c:v>
                </c:pt>
                <c:pt idx="45973">
                  <c:v>-1.84873949579831E-2</c:v>
                </c:pt>
                <c:pt idx="45974">
                  <c:v>-1.84873949579831E-2</c:v>
                </c:pt>
                <c:pt idx="45975">
                  <c:v>-1.84873949579831E-2</c:v>
                </c:pt>
                <c:pt idx="45976">
                  <c:v>-1.84873949579831E-2</c:v>
                </c:pt>
                <c:pt idx="45977">
                  <c:v>-1.84873949579831E-2</c:v>
                </c:pt>
                <c:pt idx="45978">
                  <c:v>-1.84873949579831E-2</c:v>
                </c:pt>
                <c:pt idx="45979">
                  <c:v>-1.84873949579831E-2</c:v>
                </c:pt>
                <c:pt idx="45980">
                  <c:v>-1.84873949579831E-2</c:v>
                </c:pt>
                <c:pt idx="45981">
                  <c:v>-1.84873949579831E-2</c:v>
                </c:pt>
                <c:pt idx="45982">
                  <c:v>-1.84873949579831E-2</c:v>
                </c:pt>
                <c:pt idx="45983">
                  <c:v>-1.84873949579831E-2</c:v>
                </c:pt>
                <c:pt idx="45984">
                  <c:v>-1.84873949579831E-2</c:v>
                </c:pt>
                <c:pt idx="45985">
                  <c:v>-1.84873949579831E-2</c:v>
                </c:pt>
                <c:pt idx="45986">
                  <c:v>-1.84873949579831E-2</c:v>
                </c:pt>
                <c:pt idx="45987">
                  <c:v>-1.84873949579831E-2</c:v>
                </c:pt>
                <c:pt idx="45988">
                  <c:v>-1.84873949579831E-2</c:v>
                </c:pt>
                <c:pt idx="45989">
                  <c:v>-1.84873949579831E-2</c:v>
                </c:pt>
                <c:pt idx="45990">
                  <c:v>-1.84873949579831E-2</c:v>
                </c:pt>
                <c:pt idx="45991">
                  <c:v>-1.84873949579831E-2</c:v>
                </c:pt>
                <c:pt idx="45992">
                  <c:v>-1.84873949579831E-2</c:v>
                </c:pt>
                <c:pt idx="45993">
                  <c:v>-1.84873949579831E-2</c:v>
                </c:pt>
                <c:pt idx="45994">
                  <c:v>-1.84873949579831E-2</c:v>
                </c:pt>
                <c:pt idx="45995">
                  <c:v>-1.84873949579831E-2</c:v>
                </c:pt>
                <c:pt idx="45996">
                  <c:v>-1.84873949579831E-2</c:v>
                </c:pt>
                <c:pt idx="45997">
                  <c:v>-1.84873949579831E-2</c:v>
                </c:pt>
                <c:pt idx="45998">
                  <c:v>-1.84873949579831E-2</c:v>
                </c:pt>
                <c:pt idx="45999">
                  <c:v>-1.84873949579831E-2</c:v>
                </c:pt>
                <c:pt idx="46000">
                  <c:v>-1.84873949579831E-2</c:v>
                </c:pt>
                <c:pt idx="46001">
                  <c:v>-1.84873949579831E-2</c:v>
                </c:pt>
                <c:pt idx="46002">
                  <c:v>-1.9327731092437E-2</c:v>
                </c:pt>
                <c:pt idx="46003">
                  <c:v>-1.9327731092437E-2</c:v>
                </c:pt>
                <c:pt idx="46004">
                  <c:v>-1.9327731092437E-2</c:v>
                </c:pt>
                <c:pt idx="46005">
                  <c:v>-1.9327731092437E-2</c:v>
                </c:pt>
                <c:pt idx="46006">
                  <c:v>-1.9327731092437E-2</c:v>
                </c:pt>
                <c:pt idx="46007">
                  <c:v>-1.9327731092437E-2</c:v>
                </c:pt>
                <c:pt idx="46008">
                  <c:v>-1.9327731092437E-2</c:v>
                </c:pt>
                <c:pt idx="46009">
                  <c:v>-1.9327731092437E-2</c:v>
                </c:pt>
                <c:pt idx="46010">
                  <c:v>-1.9327731092437E-2</c:v>
                </c:pt>
                <c:pt idx="46011">
                  <c:v>-1.9327731092437E-2</c:v>
                </c:pt>
                <c:pt idx="46012">
                  <c:v>-1.9327731092437E-2</c:v>
                </c:pt>
                <c:pt idx="46013">
                  <c:v>-1.9327731092437E-2</c:v>
                </c:pt>
                <c:pt idx="46014">
                  <c:v>-1.9327731092437E-2</c:v>
                </c:pt>
                <c:pt idx="46015">
                  <c:v>-1.9327731092437E-2</c:v>
                </c:pt>
                <c:pt idx="46016">
                  <c:v>-1.9327731092437E-2</c:v>
                </c:pt>
                <c:pt idx="46017">
                  <c:v>-1.9327731092437E-2</c:v>
                </c:pt>
                <c:pt idx="46018">
                  <c:v>-1.9327731092437E-2</c:v>
                </c:pt>
                <c:pt idx="46019">
                  <c:v>-1.9327731092437E-2</c:v>
                </c:pt>
                <c:pt idx="46020">
                  <c:v>-1.9327731092437E-2</c:v>
                </c:pt>
                <c:pt idx="46021">
                  <c:v>-1.9327731092437E-2</c:v>
                </c:pt>
                <c:pt idx="46022">
                  <c:v>-1.9327731092437E-2</c:v>
                </c:pt>
                <c:pt idx="46023">
                  <c:v>-1.9327731092437E-2</c:v>
                </c:pt>
                <c:pt idx="46024">
                  <c:v>-1.9327731092437E-2</c:v>
                </c:pt>
                <c:pt idx="46025">
                  <c:v>-1.9327731092437E-2</c:v>
                </c:pt>
                <c:pt idx="46026">
                  <c:v>-1.9327731092437E-2</c:v>
                </c:pt>
                <c:pt idx="46027">
                  <c:v>-1.9327731092437E-2</c:v>
                </c:pt>
                <c:pt idx="46028">
                  <c:v>-1.9327731092437E-2</c:v>
                </c:pt>
                <c:pt idx="46029">
                  <c:v>-1.9327731092437E-2</c:v>
                </c:pt>
                <c:pt idx="46030">
                  <c:v>-1.9327731092437E-2</c:v>
                </c:pt>
                <c:pt idx="46031">
                  <c:v>-1.9327731092437E-2</c:v>
                </c:pt>
                <c:pt idx="46032">
                  <c:v>-1.9327731092437E-2</c:v>
                </c:pt>
                <c:pt idx="46033">
                  <c:v>-1.9327731092437E-2</c:v>
                </c:pt>
                <c:pt idx="46034">
                  <c:v>-1.9327731092437E-2</c:v>
                </c:pt>
                <c:pt idx="46035">
                  <c:v>-1.9327731092437E-2</c:v>
                </c:pt>
                <c:pt idx="46036">
                  <c:v>-1.9327731092437E-2</c:v>
                </c:pt>
                <c:pt idx="46037">
                  <c:v>-1.9327731092437E-2</c:v>
                </c:pt>
                <c:pt idx="46038">
                  <c:v>-1.9327731092437E-2</c:v>
                </c:pt>
                <c:pt idx="46039">
                  <c:v>-1.9327731092437E-2</c:v>
                </c:pt>
                <c:pt idx="46040">
                  <c:v>-1.9327731092437E-2</c:v>
                </c:pt>
                <c:pt idx="46041">
                  <c:v>-1.9327731092437E-2</c:v>
                </c:pt>
                <c:pt idx="46042">
                  <c:v>-1.9327731092437E-2</c:v>
                </c:pt>
                <c:pt idx="46043">
                  <c:v>-1.9327731092437E-2</c:v>
                </c:pt>
                <c:pt idx="46044">
                  <c:v>-1.9327731092437E-2</c:v>
                </c:pt>
                <c:pt idx="46045">
                  <c:v>-1.9327731092437E-2</c:v>
                </c:pt>
                <c:pt idx="46046">
                  <c:v>-1.9327731092437E-2</c:v>
                </c:pt>
                <c:pt idx="46047">
                  <c:v>-1.9327731092437E-2</c:v>
                </c:pt>
                <c:pt idx="46048">
                  <c:v>-1.9327731092437E-2</c:v>
                </c:pt>
                <c:pt idx="46049">
                  <c:v>-1.9327731092437E-2</c:v>
                </c:pt>
                <c:pt idx="46050">
                  <c:v>-1.9327731092437E-2</c:v>
                </c:pt>
                <c:pt idx="46051">
                  <c:v>-1.9327731092437E-2</c:v>
                </c:pt>
                <c:pt idx="46052">
                  <c:v>-1.9327731092437E-2</c:v>
                </c:pt>
                <c:pt idx="46053">
                  <c:v>-1.9327731092437E-2</c:v>
                </c:pt>
                <c:pt idx="46054">
                  <c:v>-1.9327731092437E-2</c:v>
                </c:pt>
                <c:pt idx="46055">
                  <c:v>-1.84873949579832E-2</c:v>
                </c:pt>
                <c:pt idx="46056">
                  <c:v>-1.84873949579832E-2</c:v>
                </c:pt>
                <c:pt idx="46057">
                  <c:v>-1.84873949579832E-2</c:v>
                </c:pt>
                <c:pt idx="46058">
                  <c:v>-1.84873949579832E-2</c:v>
                </c:pt>
                <c:pt idx="46059">
                  <c:v>-1.84873949579832E-2</c:v>
                </c:pt>
                <c:pt idx="46060">
                  <c:v>-1.84873949579832E-2</c:v>
                </c:pt>
                <c:pt idx="46061">
                  <c:v>-1.84873949579832E-2</c:v>
                </c:pt>
                <c:pt idx="46062">
                  <c:v>-1.84873949579832E-2</c:v>
                </c:pt>
                <c:pt idx="46063">
                  <c:v>-1.84873949579832E-2</c:v>
                </c:pt>
                <c:pt idx="46064">
                  <c:v>-1.84873949579832E-2</c:v>
                </c:pt>
                <c:pt idx="46065">
                  <c:v>-1.84873949579832E-2</c:v>
                </c:pt>
                <c:pt idx="46066">
                  <c:v>-1.84873949579832E-2</c:v>
                </c:pt>
                <c:pt idx="46067">
                  <c:v>-1.84873949579832E-2</c:v>
                </c:pt>
                <c:pt idx="46068">
                  <c:v>-1.84873949579832E-2</c:v>
                </c:pt>
                <c:pt idx="46069">
                  <c:v>-1.84873949579832E-2</c:v>
                </c:pt>
                <c:pt idx="46070">
                  <c:v>-1.84873949579832E-2</c:v>
                </c:pt>
                <c:pt idx="46071">
                  <c:v>-1.84873949579832E-2</c:v>
                </c:pt>
                <c:pt idx="46072">
                  <c:v>-1.84873949579832E-2</c:v>
                </c:pt>
                <c:pt idx="46073">
                  <c:v>-1.84873949579832E-2</c:v>
                </c:pt>
                <c:pt idx="46074">
                  <c:v>-1.84873949579832E-2</c:v>
                </c:pt>
                <c:pt idx="46075">
                  <c:v>-1.84873949579832E-2</c:v>
                </c:pt>
                <c:pt idx="46076">
                  <c:v>-1.84873949579832E-2</c:v>
                </c:pt>
                <c:pt idx="46077">
                  <c:v>-1.84873949579832E-2</c:v>
                </c:pt>
                <c:pt idx="46078">
                  <c:v>-1.84873949579832E-2</c:v>
                </c:pt>
                <c:pt idx="46079">
                  <c:v>-1.84873949579832E-2</c:v>
                </c:pt>
                <c:pt idx="46080">
                  <c:v>-1.84873949579832E-2</c:v>
                </c:pt>
                <c:pt idx="46081">
                  <c:v>-1.84873949579832E-2</c:v>
                </c:pt>
                <c:pt idx="46082">
                  <c:v>-1.84873949579832E-2</c:v>
                </c:pt>
                <c:pt idx="46083">
                  <c:v>-1.84873949579832E-2</c:v>
                </c:pt>
                <c:pt idx="46084">
                  <c:v>-1.84873949579832E-2</c:v>
                </c:pt>
                <c:pt idx="46085">
                  <c:v>-1.84873949579832E-2</c:v>
                </c:pt>
                <c:pt idx="46086">
                  <c:v>-1.84873949579832E-2</c:v>
                </c:pt>
                <c:pt idx="46087">
                  <c:v>-1.84873949579832E-2</c:v>
                </c:pt>
                <c:pt idx="46088">
                  <c:v>-1.84873949579832E-2</c:v>
                </c:pt>
                <c:pt idx="46089">
                  <c:v>-1.84873949579832E-2</c:v>
                </c:pt>
                <c:pt idx="46090">
                  <c:v>-1.84873949579832E-2</c:v>
                </c:pt>
                <c:pt idx="46091">
                  <c:v>-1.84873949579832E-2</c:v>
                </c:pt>
                <c:pt idx="46092">
                  <c:v>-1.84873949579832E-2</c:v>
                </c:pt>
                <c:pt idx="46093">
                  <c:v>-1.84873949579832E-2</c:v>
                </c:pt>
                <c:pt idx="46094">
                  <c:v>-1.84873949579832E-2</c:v>
                </c:pt>
                <c:pt idx="46095">
                  <c:v>-1.84873949579832E-2</c:v>
                </c:pt>
                <c:pt idx="46096">
                  <c:v>-1.84873949579832E-2</c:v>
                </c:pt>
                <c:pt idx="46097">
                  <c:v>-1.84873949579832E-2</c:v>
                </c:pt>
                <c:pt idx="46098">
                  <c:v>-1.84873949579832E-2</c:v>
                </c:pt>
                <c:pt idx="46099">
                  <c:v>-1.84873949579832E-2</c:v>
                </c:pt>
                <c:pt idx="46100">
                  <c:v>-1.84873949579832E-2</c:v>
                </c:pt>
                <c:pt idx="46101">
                  <c:v>-1.84873949579832E-2</c:v>
                </c:pt>
                <c:pt idx="46102">
                  <c:v>-1.84873949579832E-2</c:v>
                </c:pt>
                <c:pt idx="46103">
                  <c:v>-1.84873949579832E-2</c:v>
                </c:pt>
                <c:pt idx="46104">
                  <c:v>-1.84873949579832E-2</c:v>
                </c:pt>
                <c:pt idx="46105">
                  <c:v>-1.84873949579832E-2</c:v>
                </c:pt>
                <c:pt idx="46106">
                  <c:v>-1.84873949579832E-2</c:v>
                </c:pt>
                <c:pt idx="46107">
                  <c:v>-1.84873949579832E-2</c:v>
                </c:pt>
                <c:pt idx="46108">
                  <c:v>-1.84873949579832E-2</c:v>
                </c:pt>
                <c:pt idx="46109">
                  <c:v>-1.84873949579832E-2</c:v>
                </c:pt>
                <c:pt idx="46110">
                  <c:v>-1.84873949579832E-2</c:v>
                </c:pt>
                <c:pt idx="46111">
                  <c:v>-1.84873949579832E-2</c:v>
                </c:pt>
                <c:pt idx="46112">
                  <c:v>-1.7647058823529401E-2</c:v>
                </c:pt>
                <c:pt idx="46113">
                  <c:v>-1.7647058823529401E-2</c:v>
                </c:pt>
                <c:pt idx="46114">
                  <c:v>-1.7647058823529401E-2</c:v>
                </c:pt>
                <c:pt idx="46115">
                  <c:v>-1.7647058823529401E-2</c:v>
                </c:pt>
                <c:pt idx="46116">
                  <c:v>-1.7647058823529401E-2</c:v>
                </c:pt>
                <c:pt idx="46117">
                  <c:v>-1.7647058823529401E-2</c:v>
                </c:pt>
                <c:pt idx="46118">
                  <c:v>-1.7647058823529401E-2</c:v>
                </c:pt>
                <c:pt idx="46119">
                  <c:v>-1.7647058823529401E-2</c:v>
                </c:pt>
                <c:pt idx="46120">
                  <c:v>-1.7647058823529401E-2</c:v>
                </c:pt>
                <c:pt idx="46121">
                  <c:v>-1.7647058823529401E-2</c:v>
                </c:pt>
                <c:pt idx="46122">
                  <c:v>-1.7647058823529401E-2</c:v>
                </c:pt>
                <c:pt idx="46123">
                  <c:v>-1.7647058823529401E-2</c:v>
                </c:pt>
                <c:pt idx="46124">
                  <c:v>-1.7647058823529401E-2</c:v>
                </c:pt>
                <c:pt idx="46125">
                  <c:v>-1.7647058823529401E-2</c:v>
                </c:pt>
                <c:pt idx="46126">
                  <c:v>-1.7647058823529401E-2</c:v>
                </c:pt>
                <c:pt idx="46127">
                  <c:v>-1.7647058823529401E-2</c:v>
                </c:pt>
                <c:pt idx="46128">
                  <c:v>-1.7647058823529401E-2</c:v>
                </c:pt>
                <c:pt idx="46129">
                  <c:v>-1.7647058823529401E-2</c:v>
                </c:pt>
                <c:pt idx="46130">
                  <c:v>-1.7647058823529401E-2</c:v>
                </c:pt>
                <c:pt idx="46131">
                  <c:v>-1.7647058823529401E-2</c:v>
                </c:pt>
                <c:pt idx="46132">
                  <c:v>-1.7647058823529401E-2</c:v>
                </c:pt>
                <c:pt idx="46133">
                  <c:v>-1.7647058823529401E-2</c:v>
                </c:pt>
                <c:pt idx="46134">
                  <c:v>-1.7647058823529401E-2</c:v>
                </c:pt>
                <c:pt idx="46135">
                  <c:v>-1.7647058823529401E-2</c:v>
                </c:pt>
                <c:pt idx="46136">
                  <c:v>-1.7647058823529401E-2</c:v>
                </c:pt>
                <c:pt idx="46137">
                  <c:v>-1.7647058823529401E-2</c:v>
                </c:pt>
                <c:pt idx="46138">
                  <c:v>-1.7647058823529401E-2</c:v>
                </c:pt>
                <c:pt idx="46139">
                  <c:v>-1.7647058823529401E-2</c:v>
                </c:pt>
                <c:pt idx="46140">
                  <c:v>-1.7647058823529401E-2</c:v>
                </c:pt>
                <c:pt idx="46141">
                  <c:v>-1.7647058823529401E-2</c:v>
                </c:pt>
                <c:pt idx="46142">
                  <c:v>-1.7647058823529401E-2</c:v>
                </c:pt>
                <c:pt idx="46143">
                  <c:v>-1.6806722689075598E-2</c:v>
                </c:pt>
                <c:pt idx="46144">
                  <c:v>-1.6806722689075598E-2</c:v>
                </c:pt>
                <c:pt idx="46145">
                  <c:v>-1.6806722689075598E-2</c:v>
                </c:pt>
                <c:pt idx="46146">
                  <c:v>-1.6806722689075598E-2</c:v>
                </c:pt>
                <c:pt idx="46147">
                  <c:v>-1.6806722689075598E-2</c:v>
                </c:pt>
                <c:pt idx="46148">
                  <c:v>-1.6806722689075598E-2</c:v>
                </c:pt>
                <c:pt idx="46149">
                  <c:v>-1.6806722689075598E-2</c:v>
                </c:pt>
                <c:pt idx="46150">
                  <c:v>-1.6806722689075598E-2</c:v>
                </c:pt>
                <c:pt idx="46151">
                  <c:v>-1.6806722689075598E-2</c:v>
                </c:pt>
                <c:pt idx="46152">
                  <c:v>-1.6806722689075598E-2</c:v>
                </c:pt>
                <c:pt idx="46153">
                  <c:v>-1.6806722689075598E-2</c:v>
                </c:pt>
                <c:pt idx="46154">
                  <c:v>-1.6806722689075598E-2</c:v>
                </c:pt>
                <c:pt idx="46155">
                  <c:v>-1.6806722689075598E-2</c:v>
                </c:pt>
                <c:pt idx="46156">
                  <c:v>-1.6806722689075598E-2</c:v>
                </c:pt>
                <c:pt idx="46157">
                  <c:v>-1.6806722689075598E-2</c:v>
                </c:pt>
                <c:pt idx="46158">
                  <c:v>-1.6806722689075598E-2</c:v>
                </c:pt>
                <c:pt idx="46159">
                  <c:v>-1.6806722689075598E-2</c:v>
                </c:pt>
                <c:pt idx="46160">
                  <c:v>-1.6806722689075598E-2</c:v>
                </c:pt>
                <c:pt idx="46161">
                  <c:v>-1.6806722689075598E-2</c:v>
                </c:pt>
                <c:pt idx="46162">
                  <c:v>-1.6806722689075598E-2</c:v>
                </c:pt>
                <c:pt idx="46163">
                  <c:v>-1.6806722689075598E-2</c:v>
                </c:pt>
                <c:pt idx="46164">
                  <c:v>-1.6806722689075598E-2</c:v>
                </c:pt>
                <c:pt idx="46165">
                  <c:v>-1.6806722689075598E-2</c:v>
                </c:pt>
                <c:pt idx="46166">
                  <c:v>-1.6806722689075598E-2</c:v>
                </c:pt>
                <c:pt idx="46167">
                  <c:v>-1.6806722689075598E-2</c:v>
                </c:pt>
                <c:pt idx="46168">
                  <c:v>-1.6806722689075598E-2</c:v>
                </c:pt>
                <c:pt idx="46169">
                  <c:v>-1.6806722689075598E-2</c:v>
                </c:pt>
                <c:pt idx="46170">
                  <c:v>-1.6806722689075598E-2</c:v>
                </c:pt>
                <c:pt idx="46171">
                  <c:v>-1.6806722689075598E-2</c:v>
                </c:pt>
                <c:pt idx="46172">
                  <c:v>-1.6806722689075598E-2</c:v>
                </c:pt>
                <c:pt idx="46173">
                  <c:v>-1.6806722689075598E-2</c:v>
                </c:pt>
                <c:pt idx="46174">
                  <c:v>-1.6806722689075598E-2</c:v>
                </c:pt>
                <c:pt idx="46175">
                  <c:v>-1.6806722689075598E-2</c:v>
                </c:pt>
                <c:pt idx="46176">
                  <c:v>-1.6806722689075598E-2</c:v>
                </c:pt>
                <c:pt idx="46177">
                  <c:v>-1.6806722689075598E-2</c:v>
                </c:pt>
                <c:pt idx="46178">
                  <c:v>-1.6806722689075598E-2</c:v>
                </c:pt>
                <c:pt idx="46179">
                  <c:v>-1.6806722689075598E-2</c:v>
                </c:pt>
                <c:pt idx="46180">
                  <c:v>-1.6806722689075598E-2</c:v>
                </c:pt>
                <c:pt idx="46181">
                  <c:v>-1.6806722689075598E-2</c:v>
                </c:pt>
                <c:pt idx="46182">
                  <c:v>-1.6806722689075598E-2</c:v>
                </c:pt>
                <c:pt idx="46183">
                  <c:v>-1.6806722689075598E-2</c:v>
                </c:pt>
                <c:pt idx="46184">
                  <c:v>-1.6806722689075598E-2</c:v>
                </c:pt>
                <c:pt idx="46185">
                  <c:v>-1.6806722689075598E-2</c:v>
                </c:pt>
                <c:pt idx="46186">
                  <c:v>-1.6806722689075598E-2</c:v>
                </c:pt>
                <c:pt idx="46187">
                  <c:v>-1.6806722689075598E-2</c:v>
                </c:pt>
                <c:pt idx="46188">
                  <c:v>-1.6806722689075598E-2</c:v>
                </c:pt>
                <c:pt idx="46189">
                  <c:v>-1.6806722689075598E-2</c:v>
                </c:pt>
                <c:pt idx="46190">
                  <c:v>-1.6806722689075598E-2</c:v>
                </c:pt>
                <c:pt idx="46191">
                  <c:v>-1.6806722689075598E-2</c:v>
                </c:pt>
                <c:pt idx="46192">
                  <c:v>-1.6806722689075598E-2</c:v>
                </c:pt>
                <c:pt idx="46193">
                  <c:v>-1.6806722689075598E-2</c:v>
                </c:pt>
                <c:pt idx="46194">
                  <c:v>-1.6806722689075598E-2</c:v>
                </c:pt>
                <c:pt idx="46195">
                  <c:v>-1.6806722689075598E-2</c:v>
                </c:pt>
                <c:pt idx="46196">
                  <c:v>-1.6806722689075598E-2</c:v>
                </c:pt>
                <c:pt idx="46197">
                  <c:v>-1.6806722689075598E-2</c:v>
                </c:pt>
                <c:pt idx="46198">
                  <c:v>-1.6806722689075598E-2</c:v>
                </c:pt>
                <c:pt idx="46199">
                  <c:v>-1.6806722689075598E-2</c:v>
                </c:pt>
                <c:pt idx="46200">
                  <c:v>-1.6806722689075598E-2</c:v>
                </c:pt>
                <c:pt idx="46201">
                  <c:v>-1.6806722689075598E-2</c:v>
                </c:pt>
                <c:pt idx="46202">
                  <c:v>-1.6806722689075598E-2</c:v>
                </c:pt>
                <c:pt idx="46203">
                  <c:v>-1.6806722689075598E-2</c:v>
                </c:pt>
                <c:pt idx="46204">
                  <c:v>-1.6806722689075598E-2</c:v>
                </c:pt>
                <c:pt idx="46205">
                  <c:v>-1.6806722689075598E-2</c:v>
                </c:pt>
                <c:pt idx="46206">
                  <c:v>-1.6806722689075598E-2</c:v>
                </c:pt>
                <c:pt idx="46207">
                  <c:v>-1.6806722689075598E-2</c:v>
                </c:pt>
                <c:pt idx="46208">
                  <c:v>-1.6806722689075598E-2</c:v>
                </c:pt>
                <c:pt idx="46209">
                  <c:v>-1.6806722689075598E-2</c:v>
                </c:pt>
                <c:pt idx="46210">
                  <c:v>-1.6806722689075598E-2</c:v>
                </c:pt>
                <c:pt idx="46211">
                  <c:v>-1.6806722689075598E-2</c:v>
                </c:pt>
                <c:pt idx="46212">
                  <c:v>-1.6806722689075598E-2</c:v>
                </c:pt>
                <c:pt idx="46213">
                  <c:v>-1.6806722689075598E-2</c:v>
                </c:pt>
                <c:pt idx="46214">
                  <c:v>-1.6806722689075598E-2</c:v>
                </c:pt>
                <c:pt idx="46215">
                  <c:v>-1.6806722689075598E-2</c:v>
                </c:pt>
                <c:pt idx="46216">
                  <c:v>-1.6806722689075598E-2</c:v>
                </c:pt>
                <c:pt idx="46217">
                  <c:v>-1.6806722689075598E-2</c:v>
                </c:pt>
                <c:pt idx="46218">
                  <c:v>-1.6806722689075598E-2</c:v>
                </c:pt>
                <c:pt idx="46219">
                  <c:v>-1.6806722689075598E-2</c:v>
                </c:pt>
                <c:pt idx="46220">
                  <c:v>-1.6806722689075598E-2</c:v>
                </c:pt>
                <c:pt idx="46221">
                  <c:v>-1.6806722689075598E-2</c:v>
                </c:pt>
                <c:pt idx="46222">
                  <c:v>-1.6806722689075598E-2</c:v>
                </c:pt>
                <c:pt idx="46223">
                  <c:v>-1.6806722689075598E-2</c:v>
                </c:pt>
                <c:pt idx="46224">
                  <c:v>-1.6806722689075598E-2</c:v>
                </c:pt>
                <c:pt idx="46225">
                  <c:v>-1.6806722689075598E-2</c:v>
                </c:pt>
                <c:pt idx="46226">
                  <c:v>-1.6806722689075598E-2</c:v>
                </c:pt>
                <c:pt idx="46227">
                  <c:v>-1.6806722689075598E-2</c:v>
                </c:pt>
                <c:pt idx="46228">
                  <c:v>-1.6806722689075598E-2</c:v>
                </c:pt>
                <c:pt idx="46229">
                  <c:v>-1.6806722689075598E-2</c:v>
                </c:pt>
                <c:pt idx="46230">
                  <c:v>-1.6806722689075598E-2</c:v>
                </c:pt>
                <c:pt idx="46231">
                  <c:v>-1.6806722689075598E-2</c:v>
                </c:pt>
                <c:pt idx="46232">
                  <c:v>-1.6806722689075598E-2</c:v>
                </c:pt>
                <c:pt idx="46233">
                  <c:v>-1.6806722689075598E-2</c:v>
                </c:pt>
                <c:pt idx="46234">
                  <c:v>-1.6806722689075598E-2</c:v>
                </c:pt>
                <c:pt idx="46235">
                  <c:v>-1.6806722689075598E-2</c:v>
                </c:pt>
                <c:pt idx="46236">
                  <c:v>-1.6806722689075598E-2</c:v>
                </c:pt>
                <c:pt idx="46237">
                  <c:v>-1.6806722689075598E-2</c:v>
                </c:pt>
                <c:pt idx="46238">
                  <c:v>-1.6806722689075598E-2</c:v>
                </c:pt>
                <c:pt idx="46239">
                  <c:v>-1.6806722689075598E-2</c:v>
                </c:pt>
                <c:pt idx="46240">
                  <c:v>-1.6806722689075598E-2</c:v>
                </c:pt>
                <c:pt idx="46241">
                  <c:v>-1.6806722689075598E-2</c:v>
                </c:pt>
                <c:pt idx="46242">
                  <c:v>-1.6806722689075598E-2</c:v>
                </c:pt>
                <c:pt idx="46243">
                  <c:v>-1.6806722689075598E-2</c:v>
                </c:pt>
                <c:pt idx="46244">
                  <c:v>-1.6806722689075598E-2</c:v>
                </c:pt>
                <c:pt idx="46245">
                  <c:v>-1.6806722689075598E-2</c:v>
                </c:pt>
                <c:pt idx="46246">
                  <c:v>-1.6806722689075598E-2</c:v>
                </c:pt>
                <c:pt idx="46247">
                  <c:v>-1.6806722689075598E-2</c:v>
                </c:pt>
                <c:pt idx="46248">
                  <c:v>-1.6806722689075598E-2</c:v>
                </c:pt>
                <c:pt idx="46249">
                  <c:v>-1.6806722689075598E-2</c:v>
                </c:pt>
                <c:pt idx="46250">
                  <c:v>-1.6806722689075598E-2</c:v>
                </c:pt>
                <c:pt idx="46251">
                  <c:v>-1.6806722689075598E-2</c:v>
                </c:pt>
                <c:pt idx="46252">
                  <c:v>-1.6806722689075598E-2</c:v>
                </c:pt>
                <c:pt idx="46253">
                  <c:v>-1.6806722689075598E-2</c:v>
                </c:pt>
                <c:pt idx="46254">
                  <c:v>-1.6806722689075598E-2</c:v>
                </c:pt>
                <c:pt idx="46255">
                  <c:v>-1.6806722689075598E-2</c:v>
                </c:pt>
                <c:pt idx="46256">
                  <c:v>-1.6806722689075598E-2</c:v>
                </c:pt>
                <c:pt idx="46257">
                  <c:v>-1.6806722689075598E-2</c:v>
                </c:pt>
                <c:pt idx="46258">
                  <c:v>-1.6806722689075598E-2</c:v>
                </c:pt>
                <c:pt idx="46259">
                  <c:v>-1.6806722689075598E-2</c:v>
                </c:pt>
                <c:pt idx="46260">
                  <c:v>-1.6806722689075598E-2</c:v>
                </c:pt>
                <c:pt idx="46261">
                  <c:v>-1.6806722689075598E-2</c:v>
                </c:pt>
                <c:pt idx="46262">
                  <c:v>-1.6806722689075598E-2</c:v>
                </c:pt>
                <c:pt idx="46263">
                  <c:v>-1.6806722689075598E-2</c:v>
                </c:pt>
                <c:pt idx="46264">
                  <c:v>-1.6806722689075598E-2</c:v>
                </c:pt>
                <c:pt idx="46265">
                  <c:v>-1.6806722689075598E-2</c:v>
                </c:pt>
                <c:pt idx="46266">
                  <c:v>-1.6806722689075598E-2</c:v>
                </c:pt>
                <c:pt idx="46267">
                  <c:v>-1.6806722689075598E-2</c:v>
                </c:pt>
                <c:pt idx="46268">
                  <c:v>-1.6806722689075598E-2</c:v>
                </c:pt>
                <c:pt idx="46269">
                  <c:v>-1.6806722689075598E-2</c:v>
                </c:pt>
                <c:pt idx="46270">
                  <c:v>-1.6806722689075598E-2</c:v>
                </c:pt>
                <c:pt idx="46271">
                  <c:v>-1.6806722689075598E-2</c:v>
                </c:pt>
                <c:pt idx="46272">
                  <c:v>-1.6806722689075598E-2</c:v>
                </c:pt>
                <c:pt idx="46273">
                  <c:v>-1.6806722689075598E-2</c:v>
                </c:pt>
                <c:pt idx="46274">
                  <c:v>-1.6806722689075598E-2</c:v>
                </c:pt>
                <c:pt idx="46275">
                  <c:v>-1.6806722689075598E-2</c:v>
                </c:pt>
                <c:pt idx="46276">
                  <c:v>-1.6806722689075598E-2</c:v>
                </c:pt>
                <c:pt idx="46277">
                  <c:v>-1.7647058823529401E-2</c:v>
                </c:pt>
                <c:pt idx="46278">
                  <c:v>-1.7647058823529401E-2</c:v>
                </c:pt>
                <c:pt idx="46279">
                  <c:v>-1.7647058823529401E-2</c:v>
                </c:pt>
                <c:pt idx="46280">
                  <c:v>-1.7647058823529401E-2</c:v>
                </c:pt>
                <c:pt idx="46281">
                  <c:v>-1.7647058823529401E-2</c:v>
                </c:pt>
                <c:pt idx="46282">
                  <c:v>-1.7647058823529401E-2</c:v>
                </c:pt>
                <c:pt idx="46283">
                  <c:v>-1.7647058823529401E-2</c:v>
                </c:pt>
                <c:pt idx="46284">
                  <c:v>-1.7647058823529401E-2</c:v>
                </c:pt>
                <c:pt idx="46285">
                  <c:v>-1.7647058823529401E-2</c:v>
                </c:pt>
                <c:pt idx="46286">
                  <c:v>-1.7647058823529401E-2</c:v>
                </c:pt>
                <c:pt idx="46287">
                  <c:v>-1.7647058823529401E-2</c:v>
                </c:pt>
                <c:pt idx="46288">
                  <c:v>-1.7647058823529401E-2</c:v>
                </c:pt>
                <c:pt idx="46289">
                  <c:v>-1.7647058823529401E-2</c:v>
                </c:pt>
                <c:pt idx="46290">
                  <c:v>-1.7647058823529401E-2</c:v>
                </c:pt>
                <c:pt idx="46291">
                  <c:v>-1.7647058823529401E-2</c:v>
                </c:pt>
                <c:pt idx="46292">
                  <c:v>-1.7647058823529401E-2</c:v>
                </c:pt>
                <c:pt idx="46293">
                  <c:v>-1.7647058823529401E-2</c:v>
                </c:pt>
                <c:pt idx="46294">
                  <c:v>-1.7647058823529401E-2</c:v>
                </c:pt>
                <c:pt idx="46295">
                  <c:v>-1.7647058823529401E-2</c:v>
                </c:pt>
                <c:pt idx="46296">
                  <c:v>-1.7647058823529401E-2</c:v>
                </c:pt>
                <c:pt idx="46297">
                  <c:v>-1.7647058823529401E-2</c:v>
                </c:pt>
                <c:pt idx="46298">
                  <c:v>-1.7647058823529401E-2</c:v>
                </c:pt>
                <c:pt idx="46299">
                  <c:v>-1.7647058823529401E-2</c:v>
                </c:pt>
                <c:pt idx="46300">
                  <c:v>-1.7647058823529401E-2</c:v>
                </c:pt>
                <c:pt idx="46301">
                  <c:v>-1.7647058823529401E-2</c:v>
                </c:pt>
                <c:pt idx="46302">
                  <c:v>-1.7647058823529401E-2</c:v>
                </c:pt>
                <c:pt idx="46303">
                  <c:v>-1.7647058823529401E-2</c:v>
                </c:pt>
                <c:pt idx="46304">
                  <c:v>-1.7647058823529401E-2</c:v>
                </c:pt>
                <c:pt idx="46305">
                  <c:v>-1.7647058823529401E-2</c:v>
                </c:pt>
                <c:pt idx="46306">
                  <c:v>-1.7647058823529401E-2</c:v>
                </c:pt>
                <c:pt idx="46307">
                  <c:v>-1.7647058823529401E-2</c:v>
                </c:pt>
                <c:pt idx="46308">
                  <c:v>-1.7647058823529401E-2</c:v>
                </c:pt>
                <c:pt idx="46309">
                  <c:v>-1.7647058823529401E-2</c:v>
                </c:pt>
                <c:pt idx="46310">
                  <c:v>-1.7647058823529401E-2</c:v>
                </c:pt>
                <c:pt idx="46311">
                  <c:v>-1.7647058823529401E-2</c:v>
                </c:pt>
                <c:pt idx="46312">
                  <c:v>-1.7647058823529401E-2</c:v>
                </c:pt>
                <c:pt idx="46313">
                  <c:v>-1.7647058823529401E-2</c:v>
                </c:pt>
                <c:pt idx="46314">
                  <c:v>-1.7647058823529401E-2</c:v>
                </c:pt>
                <c:pt idx="46315">
                  <c:v>-1.7647058823529401E-2</c:v>
                </c:pt>
                <c:pt idx="46316">
                  <c:v>-1.7647058823529401E-2</c:v>
                </c:pt>
                <c:pt idx="46317">
                  <c:v>-1.7647058823529401E-2</c:v>
                </c:pt>
                <c:pt idx="46318">
                  <c:v>-1.7647058823529401E-2</c:v>
                </c:pt>
                <c:pt idx="46319">
                  <c:v>-1.7647058823529401E-2</c:v>
                </c:pt>
                <c:pt idx="46320">
                  <c:v>-1.7647058823529401E-2</c:v>
                </c:pt>
                <c:pt idx="46321">
                  <c:v>-1.7647058823529401E-2</c:v>
                </c:pt>
                <c:pt idx="46322">
                  <c:v>-1.7647058823529401E-2</c:v>
                </c:pt>
                <c:pt idx="46323">
                  <c:v>-1.7647058823529401E-2</c:v>
                </c:pt>
                <c:pt idx="46324">
                  <c:v>-1.7647058823529401E-2</c:v>
                </c:pt>
                <c:pt idx="46325">
                  <c:v>-1.7647058823529401E-2</c:v>
                </c:pt>
                <c:pt idx="46326">
                  <c:v>-1.7647058823529401E-2</c:v>
                </c:pt>
                <c:pt idx="46327">
                  <c:v>-1.7647058823529401E-2</c:v>
                </c:pt>
                <c:pt idx="46328">
                  <c:v>-1.7647058823529401E-2</c:v>
                </c:pt>
                <c:pt idx="46329">
                  <c:v>-1.7647058823529401E-2</c:v>
                </c:pt>
                <c:pt idx="46330">
                  <c:v>-1.7647058823529401E-2</c:v>
                </c:pt>
                <c:pt idx="46331">
                  <c:v>-1.7647058823529401E-2</c:v>
                </c:pt>
                <c:pt idx="46332">
                  <c:v>-1.7647058823529401E-2</c:v>
                </c:pt>
                <c:pt idx="46333">
                  <c:v>-1.7647058823529401E-2</c:v>
                </c:pt>
                <c:pt idx="46334">
                  <c:v>-1.7647058823529401E-2</c:v>
                </c:pt>
                <c:pt idx="46335">
                  <c:v>-1.7647058823529401E-2</c:v>
                </c:pt>
                <c:pt idx="46336">
                  <c:v>-1.7647058823529401E-2</c:v>
                </c:pt>
                <c:pt idx="46337">
                  <c:v>-1.7647058823529401E-2</c:v>
                </c:pt>
                <c:pt idx="46338">
                  <c:v>-1.7647058823529401E-2</c:v>
                </c:pt>
                <c:pt idx="46339">
                  <c:v>-1.7647058823529401E-2</c:v>
                </c:pt>
                <c:pt idx="46340">
                  <c:v>-1.7647058823529401E-2</c:v>
                </c:pt>
                <c:pt idx="46341">
                  <c:v>-1.7647058823529401E-2</c:v>
                </c:pt>
                <c:pt idx="46342">
                  <c:v>-1.7647058823529401E-2</c:v>
                </c:pt>
                <c:pt idx="46343">
                  <c:v>-1.7647058823529401E-2</c:v>
                </c:pt>
                <c:pt idx="46344">
                  <c:v>-1.7647058823529401E-2</c:v>
                </c:pt>
                <c:pt idx="46345">
                  <c:v>-1.7647058823529401E-2</c:v>
                </c:pt>
                <c:pt idx="46346">
                  <c:v>-1.7647058823529401E-2</c:v>
                </c:pt>
                <c:pt idx="46347">
                  <c:v>-1.7647058823529401E-2</c:v>
                </c:pt>
                <c:pt idx="46348">
                  <c:v>-1.7647058823529401E-2</c:v>
                </c:pt>
                <c:pt idx="46349">
                  <c:v>-1.7647058823529401E-2</c:v>
                </c:pt>
                <c:pt idx="46350">
                  <c:v>-1.7647058823529401E-2</c:v>
                </c:pt>
                <c:pt idx="46351">
                  <c:v>-1.7647058823529401E-2</c:v>
                </c:pt>
                <c:pt idx="46352">
                  <c:v>-1.7647058823529401E-2</c:v>
                </c:pt>
                <c:pt idx="46353">
                  <c:v>-1.7647058823529401E-2</c:v>
                </c:pt>
                <c:pt idx="46354">
                  <c:v>-1.7647058823529401E-2</c:v>
                </c:pt>
                <c:pt idx="46355">
                  <c:v>-1.7647058823529401E-2</c:v>
                </c:pt>
                <c:pt idx="46356">
                  <c:v>-1.7647058823529401E-2</c:v>
                </c:pt>
                <c:pt idx="46357">
                  <c:v>-1.7647058823529401E-2</c:v>
                </c:pt>
                <c:pt idx="46358">
                  <c:v>-1.7647058823529401E-2</c:v>
                </c:pt>
                <c:pt idx="46359">
                  <c:v>-1.7647058823529401E-2</c:v>
                </c:pt>
                <c:pt idx="46360">
                  <c:v>-1.7647058823529401E-2</c:v>
                </c:pt>
                <c:pt idx="46361">
                  <c:v>-1.7647058823529401E-2</c:v>
                </c:pt>
                <c:pt idx="46362">
                  <c:v>-1.7647058823529401E-2</c:v>
                </c:pt>
                <c:pt idx="46363">
                  <c:v>-1.7647058823529401E-2</c:v>
                </c:pt>
                <c:pt idx="46364">
                  <c:v>-1.7647058823529401E-2</c:v>
                </c:pt>
                <c:pt idx="46365">
                  <c:v>-1.7647058823529401E-2</c:v>
                </c:pt>
                <c:pt idx="46366">
                  <c:v>-1.7647058823529401E-2</c:v>
                </c:pt>
                <c:pt idx="46367">
                  <c:v>-1.7647058823529401E-2</c:v>
                </c:pt>
                <c:pt idx="46368">
                  <c:v>-1.7647058823529401E-2</c:v>
                </c:pt>
                <c:pt idx="46369">
                  <c:v>-1.7647058823529401E-2</c:v>
                </c:pt>
                <c:pt idx="46370">
                  <c:v>-1.7647058823529401E-2</c:v>
                </c:pt>
                <c:pt idx="46371">
                  <c:v>-1.7647058823529401E-2</c:v>
                </c:pt>
                <c:pt idx="46372">
                  <c:v>-1.7647058823529401E-2</c:v>
                </c:pt>
                <c:pt idx="46373">
                  <c:v>-1.7647058823529401E-2</c:v>
                </c:pt>
                <c:pt idx="46374">
                  <c:v>-1.7647058823529401E-2</c:v>
                </c:pt>
                <c:pt idx="46375">
                  <c:v>-1.7647058823529401E-2</c:v>
                </c:pt>
                <c:pt idx="46376">
                  <c:v>-1.7647058823529401E-2</c:v>
                </c:pt>
                <c:pt idx="46377">
                  <c:v>-1.7647058823529401E-2</c:v>
                </c:pt>
                <c:pt idx="46378">
                  <c:v>-1.7647058823529401E-2</c:v>
                </c:pt>
                <c:pt idx="46379">
                  <c:v>-1.7647058823529401E-2</c:v>
                </c:pt>
                <c:pt idx="46380">
                  <c:v>-1.7647058823529401E-2</c:v>
                </c:pt>
                <c:pt idx="46381">
                  <c:v>-1.7647058823529401E-2</c:v>
                </c:pt>
                <c:pt idx="46382">
                  <c:v>-1.7647058823529401E-2</c:v>
                </c:pt>
                <c:pt idx="46383">
                  <c:v>-1.7647058823529401E-2</c:v>
                </c:pt>
                <c:pt idx="46384">
                  <c:v>-1.7647058823529401E-2</c:v>
                </c:pt>
                <c:pt idx="46385">
                  <c:v>-1.7647058823529401E-2</c:v>
                </c:pt>
                <c:pt idx="46386">
                  <c:v>-1.7647058823529401E-2</c:v>
                </c:pt>
                <c:pt idx="46387">
                  <c:v>-1.7647058823529401E-2</c:v>
                </c:pt>
                <c:pt idx="46388">
                  <c:v>-1.7647058823529401E-2</c:v>
                </c:pt>
                <c:pt idx="46389">
                  <c:v>-1.7647058823529401E-2</c:v>
                </c:pt>
                <c:pt idx="46390">
                  <c:v>-1.7647058823529401E-2</c:v>
                </c:pt>
                <c:pt idx="46391">
                  <c:v>-1.7647058823529401E-2</c:v>
                </c:pt>
                <c:pt idx="46392">
                  <c:v>-1.7647058823529401E-2</c:v>
                </c:pt>
                <c:pt idx="46393">
                  <c:v>-1.7647058823529401E-2</c:v>
                </c:pt>
                <c:pt idx="46394">
                  <c:v>-1.7647058823529401E-2</c:v>
                </c:pt>
                <c:pt idx="46395">
                  <c:v>-1.7647058823529401E-2</c:v>
                </c:pt>
                <c:pt idx="46396">
                  <c:v>-1.7647058823529401E-2</c:v>
                </c:pt>
                <c:pt idx="46397">
                  <c:v>-1.7647058823529401E-2</c:v>
                </c:pt>
                <c:pt idx="46398">
                  <c:v>-1.7647058823529401E-2</c:v>
                </c:pt>
                <c:pt idx="46399">
                  <c:v>-1.7647058823529401E-2</c:v>
                </c:pt>
                <c:pt idx="46400">
                  <c:v>-1.7647058823529401E-2</c:v>
                </c:pt>
                <c:pt idx="46401">
                  <c:v>-1.7647058823529401E-2</c:v>
                </c:pt>
                <c:pt idx="46402">
                  <c:v>-1.7647058823529401E-2</c:v>
                </c:pt>
                <c:pt idx="46403">
                  <c:v>-1.7647058823529401E-2</c:v>
                </c:pt>
                <c:pt idx="46404">
                  <c:v>-1.7647058823529401E-2</c:v>
                </c:pt>
                <c:pt idx="46405">
                  <c:v>-1.7647058823529401E-2</c:v>
                </c:pt>
                <c:pt idx="46406">
                  <c:v>-1.7647058823529401E-2</c:v>
                </c:pt>
                <c:pt idx="46407">
                  <c:v>-1.7647058823529401E-2</c:v>
                </c:pt>
                <c:pt idx="46408">
                  <c:v>-1.7647058823529401E-2</c:v>
                </c:pt>
                <c:pt idx="46409">
                  <c:v>-1.7647058823529401E-2</c:v>
                </c:pt>
                <c:pt idx="46410">
                  <c:v>-1.7647058823529401E-2</c:v>
                </c:pt>
                <c:pt idx="46411">
                  <c:v>-1.7647058823529401E-2</c:v>
                </c:pt>
                <c:pt idx="46412">
                  <c:v>-1.7647058823529401E-2</c:v>
                </c:pt>
                <c:pt idx="46413">
                  <c:v>-1.7647058823529401E-2</c:v>
                </c:pt>
                <c:pt idx="46414">
                  <c:v>-1.7647058823529401E-2</c:v>
                </c:pt>
                <c:pt idx="46415">
                  <c:v>-1.7647058823529401E-2</c:v>
                </c:pt>
                <c:pt idx="46416">
                  <c:v>-1.7647058823529401E-2</c:v>
                </c:pt>
                <c:pt idx="46417">
                  <c:v>-1.7647058823529401E-2</c:v>
                </c:pt>
                <c:pt idx="46418">
                  <c:v>-1.7647058823529401E-2</c:v>
                </c:pt>
                <c:pt idx="46419">
                  <c:v>-1.7647058823529401E-2</c:v>
                </c:pt>
                <c:pt idx="46420">
                  <c:v>-1.7647058823529401E-2</c:v>
                </c:pt>
                <c:pt idx="46421">
                  <c:v>-1.7647058823529401E-2</c:v>
                </c:pt>
                <c:pt idx="46422">
                  <c:v>-1.7647058823529401E-2</c:v>
                </c:pt>
                <c:pt idx="46423">
                  <c:v>-1.7647058823529401E-2</c:v>
                </c:pt>
                <c:pt idx="46424">
                  <c:v>-1.7647058823529401E-2</c:v>
                </c:pt>
                <c:pt idx="46425">
                  <c:v>-1.7647058823529401E-2</c:v>
                </c:pt>
                <c:pt idx="46426">
                  <c:v>-1.7647058823529401E-2</c:v>
                </c:pt>
                <c:pt idx="46427">
                  <c:v>-1.7647058823529401E-2</c:v>
                </c:pt>
                <c:pt idx="46428">
                  <c:v>-1.7647058823529401E-2</c:v>
                </c:pt>
                <c:pt idx="46429">
                  <c:v>-1.7647058823529401E-2</c:v>
                </c:pt>
                <c:pt idx="46430">
                  <c:v>-1.7647058823529401E-2</c:v>
                </c:pt>
                <c:pt idx="46431">
                  <c:v>-1.7647058823529401E-2</c:v>
                </c:pt>
                <c:pt idx="46432">
                  <c:v>-1.7647058823529401E-2</c:v>
                </c:pt>
                <c:pt idx="46433">
                  <c:v>-1.7647058823529401E-2</c:v>
                </c:pt>
                <c:pt idx="46434">
                  <c:v>-1.7647058823529401E-2</c:v>
                </c:pt>
                <c:pt idx="46435">
                  <c:v>-1.7647058823529401E-2</c:v>
                </c:pt>
                <c:pt idx="46436">
                  <c:v>-1.7647058823529401E-2</c:v>
                </c:pt>
                <c:pt idx="46437">
                  <c:v>-1.7647058823529401E-2</c:v>
                </c:pt>
                <c:pt idx="46438">
                  <c:v>-1.7647058823529401E-2</c:v>
                </c:pt>
                <c:pt idx="46439">
                  <c:v>-1.7647058823529401E-2</c:v>
                </c:pt>
                <c:pt idx="46440">
                  <c:v>-1.7647058823529401E-2</c:v>
                </c:pt>
                <c:pt idx="46441">
                  <c:v>-1.7647058823529401E-2</c:v>
                </c:pt>
                <c:pt idx="46442">
                  <c:v>-1.7647058823529401E-2</c:v>
                </c:pt>
                <c:pt idx="46443">
                  <c:v>-1.7647058823529401E-2</c:v>
                </c:pt>
                <c:pt idx="46444">
                  <c:v>-1.7647058823529401E-2</c:v>
                </c:pt>
                <c:pt idx="46445">
                  <c:v>-1.7647058823529401E-2</c:v>
                </c:pt>
                <c:pt idx="46446">
                  <c:v>-1.7647058823529401E-2</c:v>
                </c:pt>
                <c:pt idx="46447">
                  <c:v>-1.7647058823529401E-2</c:v>
                </c:pt>
                <c:pt idx="46448">
                  <c:v>-1.7647058823529401E-2</c:v>
                </c:pt>
                <c:pt idx="46449">
                  <c:v>-1.7647058823529401E-2</c:v>
                </c:pt>
                <c:pt idx="46450">
                  <c:v>-1.7647058823529401E-2</c:v>
                </c:pt>
                <c:pt idx="46451">
                  <c:v>-1.7647058823529401E-2</c:v>
                </c:pt>
                <c:pt idx="46452">
                  <c:v>-1.7647058823529401E-2</c:v>
                </c:pt>
                <c:pt idx="46453">
                  <c:v>-1.7647058823529401E-2</c:v>
                </c:pt>
                <c:pt idx="46454">
                  <c:v>-1.7647058823529401E-2</c:v>
                </c:pt>
                <c:pt idx="46455">
                  <c:v>-1.7647058823529401E-2</c:v>
                </c:pt>
                <c:pt idx="46456">
                  <c:v>-1.7647058823529401E-2</c:v>
                </c:pt>
                <c:pt idx="46457">
                  <c:v>-1.7647058823529401E-2</c:v>
                </c:pt>
                <c:pt idx="46458">
                  <c:v>-1.7647058823529401E-2</c:v>
                </c:pt>
                <c:pt idx="46459">
                  <c:v>-1.7647058823529401E-2</c:v>
                </c:pt>
                <c:pt idx="46460">
                  <c:v>-1.7647058823529401E-2</c:v>
                </c:pt>
                <c:pt idx="46461">
                  <c:v>-1.7647058823529401E-2</c:v>
                </c:pt>
                <c:pt idx="46462">
                  <c:v>-1.7647058823529401E-2</c:v>
                </c:pt>
                <c:pt idx="46463">
                  <c:v>-1.7647058823529401E-2</c:v>
                </c:pt>
                <c:pt idx="46464">
                  <c:v>-1.7647058823529401E-2</c:v>
                </c:pt>
                <c:pt idx="46465">
                  <c:v>-1.7647058823529401E-2</c:v>
                </c:pt>
                <c:pt idx="46466">
                  <c:v>-1.7647058823529401E-2</c:v>
                </c:pt>
                <c:pt idx="46467">
                  <c:v>-1.7647058823529401E-2</c:v>
                </c:pt>
                <c:pt idx="46468">
                  <c:v>-1.7647058823529401E-2</c:v>
                </c:pt>
                <c:pt idx="46469">
                  <c:v>-1.7647058823529401E-2</c:v>
                </c:pt>
                <c:pt idx="46470">
                  <c:v>-1.7647058823529401E-2</c:v>
                </c:pt>
                <c:pt idx="46471">
                  <c:v>-1.7647058823529401E-2</c:v>
                </c:pt>
                <c:pt idx="46472">
                  <c:v>-1.7647058823529401E-2</c:v>
                </c:pt>
                <c:pt idx="46473">
                  <c:v>-1.7647058823529401E-2</c:v>
                </c:pt>
                <c:pt idx="46474">
                  <c:v>-1.7647058823529401E-2</c:v>
                </c:pt>
                <c:pt idx="46475">
                  <c:v>-1.7647058823529401E-2</c:v>
                </c:pt>
                <c:pt idx="46476">
                  <c:v>-1.7647058823529401E-2</c:v>
                </c:pt>
                <c:pt idx="46477">
                  <c:v>-1.7647058823529401E-2</c:v>
                </c:pt>
                <c:pt idx="46478">
                  <c:v>-1.7647058823529401E-2</c:v>
                </c:pt>
                <c:pt idx="46479">
                  <c:v>-1.7647058823529401E-2</c:v>
                </c:pt>
                <c:pt idx="46480">
                  <c:v>-1.7647058823529401E-2</c:v>
                </c:pt>
                <c:pt idx="46481">
                  <c:v>-1.7647058823529401E-2</c:v>
                </c:pt>
                <c:pt idx="46482">
                  <c:v>-1.7647058823529401E-2</c:v>
                </c:pt>
                <c:pt idx="46483">
                  <c:v>-1.7647058823529401E-2</c:v>
                </c:pt>
                <c:pt idx="46484">
                  <c:v>-1.7647058823529401E-2</c:v>
                </c:pt>
                <c:pt idx="46485">
                  <c:v>-1.7647058823529401E-2</c:v>
                </c:pt>
                <c:pt idx="46486">
                  <c:v>-1.7647058823529401E-2</c:v>
                </c:pt>
                <c:pt idx="46487">
                  <c:v>-1.7647058823529401E-2</c:v>
                </c:pt>
                <c:pt idx="46488">
                  <c:v>-1.7647058823529401E-2</c:v>
                </c:pt>
                <c:pt idx="46489">
                  <c:v>-1.7647058823529401E-2</c:v>
                </c:pt>
                <c:pt idx="46490">
                  <c:v>-1.7647058823529401E-2</c:v>
                </c:pt>
                <c:pt idx="46491">
                  <c:v>-1.7647058823529401E-2</c:v>
                </c:pt>
                <c:pt idx="46492">
                  <c:v>-1.7647058823529401E-2</c:v>
                </c:pt>
                <c:pt idx="46493">
                  <c:v>-1.7647058823529401E-2</c:v>
                </c:pt>
                <c:pt idx="46494">
                  <c:v>-1.7647058823529401E-2</c:v>
                </c:pt>
                <c:pt idx="46495">
                  <c:v>-1.7647058823529401E-2</c:v>
                </c:pt>
                <c:pt idx="46496">
                  <c:v>-1.7647058823529401E-2</c:v>
                </c:pt>
                <c:pt idx="46497">
                  <c:v>-1.7647058823529401E-2</c:v>
                </c:pt>
                <c:pt idx="46498">
                  <c:v>-1.7647058823529401E-2</c:v>
                </c:pt>
                <c:pt idx="46499">
                  <c:v>-1.7647058823529401E-2</c:v>
                </c:pt>
                <c:pt idx="46500">
                  <c:v>-1.7647058823529401E-2</c:v>
                </c:pt>
                <c:pt idx="46501">
                  <c:v>-1.7647058823529401E-2</c:v>
                </c:pt>
                <c:pt idx="46502">
                  <c:v>-1.7647058823529401E-2</c:v>
                </c:pt>
                <c:pt idx="46503">
                  <c:v>-1.7647058823529401E-2</c:v>
                </c:pt>
                <c:pt idx="46504">
                  <c:v>-1.7647058823529401E-2</c:v>
                </c:pt>
                <c:pt idx="46505">
                  <c:v>-1.7647058823529401E-2</c:v>
                </c:pt>
                <c:pt idx="46506">
                  <c:v>-1.7647058823529401E-2</c:v>
                </c:pt>
                <c:pt idx="46507">
                  <c:v>-1.7647058823529401E-2</c:v>
                </c:pt>
                <c:pt idx="46508">
                  <c:v>-1.7647058823529401E-2</c:v>
                </c:pt>
                <c:pt idx="46509">
                  <c:v>-1.7647058823529401E-2</c:v>
                </c:pt>
                <c:pt idx="46510">
                  <c:v>-1.7647058823529401E-2</c:v>
                </c:pt>
                <c:pt idx="46511">
                  <c:v>-1.7647058823529401E-2</c:v>
                </c:pt>
                <c:pt idx="46512">
                  <c:v>-1.7647058823529401E-2</c:v>
                </c:pt>
                <c:pt idx="46513">
                  <c:v>-1.7647058823529401E-2</c:v>
                </c:pt>
                <c:pt idx="46514">
                  <c:v>-1.7647058823529401E-2</c:v>
                </c:pt>
                <c:pt idx="46515">
                  <c:v>-1.7647058823529401E-2</c:v>
                </c:pt>
                <c:pt idx="46516">
                  <c:v>-1.7647058823529401E-2</c:v>
                </c:pt>
                <c:pt idx="46517">
                  <c:v>-1.7647058823529401E-2</c:v>
                </c:pt>
                <c:pt idx="46518">
                  <c:v>-1.7647058823529401E-2</c:v>
                </c:pt>
                <c:pt idx="46519">
                  <c:v>-1.7647058823529401E-2</c:v>
                </c:pt>
                <c:pt idx="46520">
                  <c:v>-1.7647058823529401E-2</c:v>
                </c:pt>
                <c:pt idx="46521">
                  <c:v>-1.7647058823529401E-2</c:v>
                </c:pt>
                <c:pt idx="46522">
                  <c:v>-1.7647058823529401E-2</c:v>
                </c:pt>
                <c:pt idx="46523">
                  <c:v>-1.7647058823529401E-2</c:v>
                </c:pt>
                <c:pt idx="46524">
                  <c:v>-1.7647058823529401E-2</c:v>
                </c:pt>
                <c:pt idx="46525">
                  <c:v>-1.7647058823529401E-2</c:v>
                </c:pt>
                <c:pt idx="46526">
                  <c:v>-1.7647058823529401E-2</c:v>
                </c:pt>
                <c:pt idx="46527">
                  <c:v>-1.7647058823529401E-2</c:v>
                </c:pt>
                <c:pt idx="46528">
                  <c:v>-1.7647058823529401E-2</c:v>
                </c:pt>
                <c:pt idx="46529">
                  <c:v>-1.7647058823529401E-2</c:v>
                </c:pt>
                <c:pt idx="46530">
                  <c:v>-1.7647058823529401E-2</c:v>
                </c:pt>
                <c:pt idx="46531">
                  <c:v>-1.7647058823529401E-2</c:v>
                </c:pt>
                <c:pt idx="46532">
                  <c:v>-1.7647058823529401E-2</c:v>
                </c:pt>
                <c:pt idx="46533">
                  <c:v>-1.7647058823529401E-2</c:v>
                </c:pt>
                <c:pt idx="46534">
                  <c:v>-1.7647058823529401E-2</c:v>
                </c:pt>
                <c:pt idx="46535">
                  <c:v>-1.7647058823529401E-2</c:v>
                </c:pt>
                <c:pt idx="46536">
                  <c:v>-1.7647058823529401E-2</c:v>
                </c:pt>
                <c:pt idx="46537">
                  <c:v>-1.7647058823529401E-2</c:v>
                </c:pt>
                <c:pt idx="46538">
                  <c:v>-1.7647058823529401E-2</c:v>
                </c:pt>
                <c:pt idx="46539">
                  <c:v>-1.7647058823529401E-2</c:v>
                </c:pt>
                <c:pt idx="46540">
                  <c:v>-1.7647058823529401E-2</c:v>
                </c:pt>
                <c:pt idx="46541">
                  <c:v>-1.7647058823529401E-2</c:v>
                </c:pt>
                <c:pt idx="46542">
                  <c:v>-1.7647058823529401E-2</c:v>
                </c:pt>
                <c:pt idx="46543">
                  <c:v>-1.7647058823529401E-2</c:v>
                </c:pt>
                <c:pt idx="46544">
                  <c:v>-1.7647058823529401E-2</c:v>
                </c:pt>
                <c:pt idx="46545">
                  <c:v>-1.7647058823529401E-2</c:v>
                </c:pt>
                <c:pt idx="46546">
                  <c:v>-1.7647058823529401E-2</c:v>
                </c:pt>
                <c:pt idx="46547">
                  <c:v>-1.7647058823529401E-2</c:v>
                </c:pt>
                <c:pt idx="46548">
                  <c:v>-1.7647058823529401E-2</c:v>
                </c:pt>
                <c:pt idx="46549">
                  <c:v>-1.7647058823529401E-2</c:v>
                </c:pt>
                <c:pt idx="46550">
                  <c:v>-1.7647058823529401E-2</c:v>
                </c:pt>
                <c:pt idx="46551">
                  <c:v>-1.7647058823529401E-2</c:v>
                </c:pt>
                <c:pt idx="46552">
                  <c:v>-1.7647058823529401E-2</c:v>
                </c:pt>
                <c:pt idx="46553">
                  <c:v>-1.7647058823529401E-2</c:v>
                </c:pt>
                <c:pt idx="46554">
                  <c:v>-1.7647058823529401E-2</c:v>
                </c:pt>
                <c:pt idx="46555">
                  <c:v>-1.7647058823529401E-2</c:v>
                </c:pt>
                <c:pt idx="46556">
                  <c:v>-1.7647058823529401E-2</c:v>
                </c:pt>
                <c:pt idx="46557">
                  <c:v>-1.7647058823529401E-2</c:v>
                </c:pt>
                <c:pt idx="46558">
                  <c:v>-1.7647058823529401E-2</c:v>
                </c:pt>
                <c:pt idx="46559">
                  <c:v>-1.7647058823529401E-2</c:v>
                </c:pt>
                <c:pt idx="46560">
                  <c:v>-1.7647058823529401E-2</c:v>
                </c:pt>
                <c:pt idx="46561">
                  <c:v>-1.7647058823529401E-2</c:v>
                </c:pt>
                <c:pt idx="46562">
                  <c:v>-1.7647058823529401E-2</c:v>
                </c:pt>
                <c:pt idx="46563">
                  <c:v>-1.7647058823529401E-2</c:v>
                </c:pt>
                <c:pt idx="46564">
                  <c:v>-1.7647058823529401E-2</c:v>
                </c:pt>
                <c:pt idx="46565">
                  <c:v>-1.7647058823529401E-2</c:v>
                </c:pt>
                <c:pt idx="46566">
                  <c:v>-1.7647058823529401E-2</c:v>
                </c:pt>
                <c:pt idx="46567">
                  <c:v>-1.7647058823529401E-2</c:v>
                </c:pt>
                <c:pt idx="46568">
                  <c:v>-1.7647058823529401E-2</c:v>
                </c:pt>
                <c:pt idx="46569">
                  <c:v>-1.7647058823529401E-2</c:v>
                </c:pt>
                <c:pt idx="46570">
                  <c:v>-1.7647058823529401E-2</c:v>
                </c:pt>
                <c:pt idx="46571">
                  <c:v>-1.7647058823529401E-2</c:v>
                </c:pt>
                <c:pt idx="46572">
                  <c:v>-1.7647058823529401E-2</c:v>
                </c:pt>
                <c:pt idx="46573">
                  <c:v>-1.7647058823529401E-2</c:v>
                </c:pt>
                <c:pt idx="46574">
                  <c:v>-1.7647058823529401E-2</c:v>
                </c:pt>
                <c:pt idx="46575">
                  <c:v>-1.7647058823529401E-2</c:v>
                </c:pt>
                <c:pt idx="46576">
                  <c:v>-1.7647058823529401E-2</c:v>
                </c:pt>
                <c:pt idx="46577">
                  <c:v>-1.7647058823529401E-2</c:v>
                </c:pt>
                <c:pt idx="46578">
                  <c:v>-1.7647058823529401E-2</c:v>
                </c:pt>
                <c:pt idx="46579">
                  <c:v>-1.7647058823529401E-2</c:v>
                </c:pt>
                <c:pt idx="46580">
                  <c:v>-1.7647058823529401E-2</c:v>
                </c:pt>
                <c:pt idx="46581">
                  <c:v>-1.7647058823529401E-2</c:v>
                </c:pt>
                <c:pt idx="46582">
                  <c:v>-1.7647058823529401E-2</c:v>
                </c:pt>
                <c:pt idx="46583">
                  <c:v>-1.7647058823529401E-2</c:v>
                </c:pt>
                <c:pt idx="46584">
                  <c:v>-1.7647058823529401E-2</c:v>
                </c:pt>
                <c:pt idx="46585">
                  <c:v>-1.7647058823529401E-2</c:v>
                </c:pt>
                <c:pt idx="46586">
                  <c:v>-1.7647058823529401E-2</c:v>
                </c:pt>
                <c:pt idx="46587">
                  <c:v>-1.7647058823529401E-2</c:v>
                </c:pt>
                <c:pt idx="46588">
                  <c:v>-1.7647058823529401E-2</c:v>
                </c:pt>
                <c:pt idx="46589">
                  <c:v>-1.7647058823529401E-2</c:v>
                </c:pt>
                <c:pt idx="46590">
                  <c:v>-1.7647058823529401E-2</c:v>
                </c:pt>
                <c:pt idx="46591">
                  <c:v>-1.7647058823529401E-2</c:v>
                </c:pt>
                <c:pt idx="46592">
                  <c:v>-1.7647058823529401E-2</c:v>
                </c:pt>
                <c:pt idx="46593">
                  <c:v>-1.7647058823529401E-2</c:v>
                </c:pt>
                <c:pt idx="46594">
                  <c:v>-1.7647058823529401E-2</c:v>
                </c:pt>
                <c:pt idx="46595">
                  <c:v>-1.7647058823529401E-2</c:v>
                </c:pt>
                <c:pt idx="46596">
                  <c:v>-1.7647058823529401E-2</c:v>
                </c:pt>
                <c:pt idx="46597">
                  <c:v>-1.7647058823529401E-2</c:v>
                </c:pt>
                <c:pt idx="46598">
                  <c:v>-1.7647058823529401E-2</c:v>
                </c:pt>
                <c:pt idx="46599">
                  <c:v>-1.7647058823529401E-2</c:v>
                </c:pt>
                <c:pt idx="46600">
                  <c:v>-1.7647058823529401E-2</c:v>
                </c:pt>
                <c:pt idx="46601">
                  <c:v>-1.7647058823529401E-2</c:v>
                </c:pt>
                <c:pt idx="46602">
                  <c:v>-1.7647058823529401E-2</c:v>
                </c:pt>
                <c:pt idx="46603">
                  <c:v>-1.7647058823529401E-2</c:v>
                </c:pt>
                <c:pt idx="46604">
                  <c:v>-1.7647058823529401E-2</c:v>
                </c:pt>
                <c:pt idx="46605">
                  <c:v>-1.7647058823529401E-2</c:v>
                </c:pt>
                <c:pt idx="46606">
                  <c:v>-1.7647058823529401E-2</c:v>
                </c:pt>
                <c:pt idx="46607">
                  <c:v>-1.7647058823529401E-2</c:v>
                </c:pt>
                <c:pt idx="46608">
                  <c:v>-1.7647058823529401E-2</c:v>
                </c:pt>
                <c:pt idx="46609">
                  <c:v>-1.7647058823529401E-2</c:v>
                </c:pt>
                <c:pt idx="46610">
                  <c:v>-1.7647058823529401E-2</c:v>
                </c:pt>
                <c:pt idx="46611">
                  <c:v>-1.7647058823529401E-2</c:v>
                </c:pt>
                <c:pt idx="46612">
                  <c:v>-1.7647058823529401E-2</c:v>
                </c:pt>
                <c:pt idx="46613">
                  <c:v>-1.7647058823529401E-2</c:v>
                </c:pt>
                <c:pt idx="46614">
                  <c:v>-1.7647058823529401E-2</c:v>
                </c:pt>
                <c:pt idx="46615">
                  <c:v>-1.7647058823529401E-2</c:v>
                </c:pt>
                <c:pt idx="46616">
                  <c:v>-1.7647058823529401E-2</c:v>
                </c:pt>
                <c:pt idx="46617">
                  <c:v>-1.7647058823529401E-2</c:v>
                </c:pt>
                <c:pt idx="46618">
                  <c:v>-1.7647058823529401E-2</c:v>
                </c:pt>
                <c:pt idx="46619">
                  <c:v>-1.7647058823529401E-2</c:v>
                </c:pt>
                <c:pt idx="46620">
                  <c:v>-1.7647058823529401E-2</c:v>
                </c:pt>
                <c:pt idx="46621">
                  <c:v>-1.7647058823529401E-2</c:v>
                </c:pt>
                <c:pt idx="46622">
                  <c:v>-1.7647058823529401E-2</c:v>
                </c:pt>
                <c:pt idx="46623">
                  <c:v>-1.7647058823529401E-2</c:v>
                </c:pt>
                <c:pt idx="46624">
                  <c:v>-1.7647058823529401E-2</c:v>
                </c:pt>
                <c:pt idx="46625">
                  <c:v>-1.7647058823529401E-2</c:v>
                </c:pt>
                <c:pt idx="46626">
                  <c:v>-1.7647058823529401E-2</c:v>
                </c:pt>
                <c:pt idx="46627">
                  <c:v>-1.7647058823529401E-2</c:v>
                </c:pt>
                <c:pt idx="46628">
                  <c:v>-1.7647058823529401E-2</c:v>
                </c:pt>
                <c:pt idx="46629">
                  <c:v>-1.7647058823529401E-2</c:v>
                </c:pt>
                <c:pt idx="46630">
                  <c:v>-1.7647058823529401E-2</c:v>
                </c:pt>
                <c:pt idx="46631">
                  <c:v>-1.7647058823529401E-2</c:v>
                </c:pt>
                <c:pt idx="46632">
                  <c:v>-1.7647058823529401E-2</c:v>
                </c:pt>
                <c:pt idx="46633">
                  <c:v>-1.7647058823529401E-2</c:v>
                </c:pt>
                <c:pt idx="46634">
                  <c:v>-1.7647058823529401E-2</c:v>
                </c:pt>
                <c:pt idx="46635">
                  <c:v>-1.7647058823529401E-2</c:v>
                </c:pt>
                <c:pt idx="46636">
                  <c:v>-1.7647058823529401E-2</c:v>
                </c:pt>
                <c:pt idx="46637">
                  <c:v>-1.7647058823529401E-2</c:v>
                </c:pt>
                <c:pt idx="46638">
                  <c:v>-1.7647058823529401E-2</c:v>
                </c:pt>
                <c:pt idx="46639">
                  <c:v>-1.7647058823529401E-2</c:v>
                </c:pt>
                <c:pt idx="46640">
                  <c:v>-1.7647058823529401E-2</c:v>
                </c:pt>
                <c:pt idx="46641">
                  <c:v>-1.7647058823529401E-2</c:v>
                </c:pt>
                <c:pt idx="46642">
                  <c:v>-1.7647058823529401E-2</c:v>
                </c:pt>
                <c:pt idx="46643">
                  <c:v>-1.7647058823529401E-2</c:v>
                </c:pt>
                <c:pt idx="46644">
                  <c:v>-1.7647058823529401E-2</c:v>
                </c:pt>
                <c:pt idx="46645">
                  <c:v>-1.7647058823529401E-2</c:v>
                </c:pt>
                <c:pt idx="46646">
                  <c:v>-1.7647058823529401E-2</c:v>
                </c:pt>
                <c:pt idx="46647">
                  <c:v>-1.7647058823529401E-2</c:v>
                </c:pt>
                <c:pt idx="46648">
                  <c:v>-1.7647058823529401E-2</c:v>
                </c:pt>
                <c:pt idx="46649">
                  <c:v>-1.7647058823529401E-2</c:v>
                </c:pt>
                <c:pt idx="46650">
                  <c:v>-1.7647058823529401E-2</c:v>
                </c:pt>
                <c:pt idx="46651">
                  <c:v>-1.7647058823529401E-2</c:v>
                </c:pt>
                <c:pt idx="46652">
                  <c:v>-1.7647058823529401E-2</c:v>
                </c:pt>
                <c:pt idx="46653">
                  <c:v>-1.6806722689075598E-2</c:v>
                </c:pt>
                <c:pt idx="46654">
                  <c:v>-1.6806722689075598E-2</c:v>
                </c:pt>
                <c:pt idx="46655">
                  <c:v>-1.6806722689075598E-2</c:v>
                </c:pt>
                <c:pt idx="46656">
                  <c:v>-1.6806722689075598E-2</c:v>
                </c:pt>
                <c:pt idx="46657">
                  <c:v>-1.6806722689075598E-2</c:v>
                </c:pt>
                <c:pt idx="46658">
                  <c:v>-1.6806722689075598E-2</c:v>
                </c:pt>
                <c:pt idx="46659">
                  <c:v>-1.6806722689075598E-2</c:v>
                </c:pt>
                <c:pt idx="46660">
                  <c:v>-1.6806722689075598E-2</c:v>
                </c:pt>
                <c:pt idx="46661">
                  <c:v>-1.6806722689075598E-2</c:v>
                </c:pt>
                <c:pt idx="46662">
                  <c:v>-1.6806722689075598E-2</c:v>
                </c:pt>
                <c:pt idx="46663">
                  <c:v>-1.6806722689075598E-2</c:v>
                </c:pt>
                <c:pt idx="46664">
                  <c:v>-1.6806722689075598E-2</c:v>
                </c:pt>
                <c:pt idx="46665">
                  <c:v>-1.6806722689075598E-2</c:v>
                </c:pt>
                <c:pt idx="46666">
                  <c:v>-1.6806722689075598E-2</c:v>
                </c:pt>
                <c:pt idx="46667">
                  <c:v>-1.6806722689075598E-2</c:v>
                </c:pt>
                <c:pt idx="46668">
                  <c:v>-1.6806722689075598E-2</c:v>
                </c:pt>
                <c:pt idx="46669">
                  <c:v>-1.6806722689075598E-2</c:v>
                </c:pt>
                <c:pt idx="46670">
                  <c:v>-1.6806722689075598E-2</c:v>
                </c:pt>
                <c:pt idx="46671">
                  <c:v>-1.6806722689075598E-2</c:v>
                </c:pt>
                <c:pt idx="46672">
                  <c:v>-1.6806722689075598E-2</c:v>
                </c:pt>
                <c:pt idx="46673">
                  <c:v>-1.6806722689075598E-2</c:v>
                </c:pt>
                <c:pt idx="46674">
                  <c:v>-1.6806722689075598E-2</c:v>
                </c:pt>
                <c:pt idx="46675">
                  <c:v>-1.6806722689075598E-2</c:v>
                </c:pt>
                <c:pt idx="46676">
                  <c:v>-1.6806722689075598E-2</c:v>
                </c:pt>
                <c:pt idx="46677">
                  <c:v>-1.6806722689075598E-2</c:v>
                </c:pt>
                <c:pt idx="46678">
                  <c:v>-1.6806722689075598E-2</c:v>
                </c:pt>
                <c:pt idx="46679">
                  <c:v>-1.6806722689075598E-2</c:v>
                </c:pt>
                <c:pt idx="46680">
                  <c:v>-1.6806722689075598E-2</c:v>
                </c:pt>
                <c:pt idx="46681">
                  <c:v>-1.6806722689075598E-2</c:v>
                </c:pt>
                <c:pt idx="46682">
                  <c:v>-1.6806722689075598E-2</c:v>
                </c:pt>
                <c:pt idx="46683">
                  <c:v>-1.6806722689075598E-2</c:v>
                </c:pt>
                <c:pt idx="46684">
                  <c:v>-1.6806722689075598E-2</c:v>
                </c:pt>
                <c:pt idx="46685">
                  <c:v>-1.6806722689075598E-2</c:v>
                </c:pt>
                <c:pt idx="46686">
                  <c:v>-1.6806722689075598E-2</c:v>
                </c:pt>
                <c:pt idx="46687">
                  <c:v>-1.6806722689075598E-2</c:v>
                </c:pt>
                <c:pt idx="46688">
                  <c:v>-1.6806722689075598E-2</c:v>
                </c:pt>
                <c:pt idx="46689">
                  <c:v>-1.7647058823529401E-2</c:v>
                </c:pt>
                <c:pt idx="46690">
                  <c:v>-1.7647058823529401E-2</c:v>
                </c:pt>
                <c:pt idx="46691">
                  <c:v>-1.7647058823529401E-2</c:v>
                </c:pt>
                <c:pt idx="46692">
                  <c:v>-1.7647058823529401E-2</c:v>
                </c:pt>
                <c:pt idx="46693">
                  <c:v>-1.7647058823529401E-2</c:v>
                </c:pt>
                <c:pt idx="46694">
                  <c:v>-1.7647058823529401E-2</c:v>
                </c:pt>
                <c:pt idx="46695">
                  <c:v>-1.7647058823529401E-2</c:v>
                </c:pt>
                <c:pt idx="46696">
                  <c:v>-1.7647058823529401E-2</c:v>
                </c:pt>
                <c:pt idx="46697">
                  <c:v>-1.7647058823529401E-2</c:v>
                </c:pt>
                <c:pt idx="46698">
                  <c:v>-1.7647058823529401E-2</c:v>
                </c:pt>
                <c:pt idx="46699">
                  <c:v>-1.7647058823529401E-2</c:v>
                </c:pt>
                <c:pt idx="46700">
                  <c:v>-1.7647058823529401E-2</c:v>
                </c:pt>
                <c:pt idx="46701">
                  <c:v>-1.7647058823529401E-2</c:v>
                </c:pt>
                <c:pt idx="46702">
                  <c:v>-1.7647058823529401E-2</c:v>
                </c:pt>
                <c:pt idx="46703">
                  <c:v>-1.7647058823529401E-2</c:v>
                </c:pt>
                <c:pt idx="46704">
                  <c:v>-1.7647058823529401E-2</c:v>
                </c:pt>
                <c:pt idx="46705">
                  <c:v>-1.7647058823529401E-2</c:v>
                </c:pt>
                <c:pt idx="46706">
                  <c:v>-1.7647058823529401E-2</c:v>
                </c:pt>
                <c:pt idx="46707">
                  <c:v>-1.7647058823529401E-2</c:v>
                </c:pt>
                <c:pt idx="46708">
                  <c:v>-1.7647058823529401E-2</c:v>
                </c:pt>
                <c:pt idx="46709">
                  <c:v>-1.7647058823529401E-2</c:v>
                </c:pt>
                <c:pt idx="46710">
                  <c:v>-1.7647058823529401E-2</c:v>
                </c:pt>
                <c:pt idx="46711">
                  <c:v>-1.7647058823529401E-2</c:v>
                </c:pt>
                <c:pt idx="46712">
                  <c:v>-1.7647058823529401E-2</c:v>
                </c:pt>
                <c:pt idx="46713">
                  <c:v>-1.7647058823529401E-2</c:v>
                </c:pt>
                <c:pt idx="46714">
                  <c:v>-1.7647058823529401E-2</c:v>
                </c:pt>
                <c:pt idx="46715">
                  <c:v>-1.7647058823529401E-2</c:v>
                </c:pt>
                <c:pt idx="46716">
                  <c:v>-1.7647058823529401E-2</c:v>
                </c:pt>
                <c:pt idx="46717">
                  <c:v>-1.7647058823529401E-2</c:v>
                </c:pt>
                <c:pt idx="46718">
                  <c:v>-1.7647058823529401E-2</c:v>
                </c:pt>
                <c:pt idx="46719">
                  <c:v>-1.7647058823529401E-2</c:v>
                </c:pt>
                <c:pt idx="46720">
                  <c:v>-1.7647058823529401E-2</c:v>
                </c:pt>
                <c:pt idx="46721">
                  <c:v>-1.7647058823529401E-2</c:v>
                </c:pt>
                <c:pt idx="46722">
                  <c:v>-1.7647058823529401E-2</c:v>
                </c:pt>
                <c:pt idx="46723">
                  <c:v>-1.7647058823529401E-2</c:v>
                </c:pt>
                <c:pt idx="46724">
                  <c:v>-1.7647058823529401E-2</c:v>
                </c:pt>
                <c:pt idx="46725">
                  <c:v>-1.7647058823529401E-2</c:v>
                </c:pt>
                <c:pt idx="46726">
                  <c:v>-1.7647058823529401E-2</c:v>
                </c:pt>
                <c:pt idx="46727">
                  <c:v>-1.7647058823529401E-2</c:v>
                </c:pt>
                <c:pt idx="46728">
                  <c:v>-1.7647058823529401E-2</c:v>
                </c:pt>
                <c:pt idx="46729">
                  <c:v>-1.7647058823529401E-2</c:v>
                </c:pt>
                <c:pt idx="46730">
                  <c:v>-1.7647058823529401E-2</c:v>
                </c:pt>
                <c:pt idx="46731">
                  <c:v>-1.7647058823529401E-2</c:v>
                </c:pt>
                <c:pt idx="46732">
                  <c:v>-1.7647058823529401E-2</c:v>
                </c:pt>
                <c:pt idx="46733">
                  <c:v>-1.7647058823529401E-2</c:v>
                </c:pt>
                <c:pt idx="46734">
                  <c:v>-1.7647058823529401E-2</c:v>
                </c:pt>
                <c:pt idx="46735">
                  <c:v>-1.7647058823529401E-2</c:v>
                </c:pt>
                <c:pt idx="46736">
                  <c:v>-1.7647058823529401E-2</c:v>
                </c:pt>
                <c:pt idx="46737">
                  <c:v>-1.7647058823529401E-2</c:v>
                </c:pt>
                <c:pt idx="46738">
                  <c:v>-1.7647058823529401E-2</c:v>
                </c:pt>
                <c:pt idx="46739">
                  <c:v>-1.7647058823529401E-2</c:v>
                </c:pt>
                <c:pt idx="46740">
                  <c:v>-1.7647058823529401E-2</c:v>
                </c:pt>
                <c:pt idx="46741">
                  <c:v>-1.7647058823529401E-2</c:v>
                </c:pt>
                <c:pt idx="46742">
                  <c:v>-1.7647058823529401E-2</c:v>
                </c:pt>
                <c:pt idx="46743">
                  <c:v>-1.6806722689075598E-2</c:v>
                </c:pt>
                <c:pt idx="46744">
                  <c:v>-1.6806722689075598E-2</c:v>
                </c:pt>
                <c:pt idx="46745">
                  <c:v>-1.6806722689075598E-2</c:v>
                </c:pt>
                <c:pt idx="46746">
                  <c:v>-1.6806722689075598E-2</c:v>
                </c:pt>
                <c:pt idx="46747">
                  <c:v>-1.6806722689075598E-2</c:v>
                </c:pt>
                <c:pt idx="46748">
                  <c:v>-1.6806722689075598E-2</c:v>
                </c:pt>
                <c:pt idx="46749">
                  <c:v>-1.6806722689075598E-2</c:v>
                </c:pt>
                <c:pt idx="46750">
                  <c:v>-1.6806722689075598E-2</c:v>
                </c:pt>
                <c:pt idx="46751">
                  <c:v>-1.6806722689075598E-2</c:v>
                </c:pt>
                <c:pt idx="46752">
                  <c:v>-1.6806722689075598E-2</c:v>
                </c:pt>
                <c:pt idx="46753">
                  <c:v>-1.6806722689075598E-2</c:v>
                </c:pt>
                <c:pt idx="46754">
                  <c:v>-1.6806722689075598E-2</c:v>
                </c:pt>
                <c:pt idx="46755">
                  <c:v>-1.6806722689075598E-2</c:v>
                </c:pt>
                <c:pt idx="46756">
                  <c:v>-1.6806722689075598E-2</c:v>
                </c:pt>
                <c:pt idx="46757">
                  <c:v>-1.6806722689075598E-2</c:v>
                </c:pt>
                <c:pt idx="46758">
                  <c:v>-1.6806722689075598E-2</c:v>
                </c:pt>
                <c:pt idx="46759">
                  <c:v>-1.6806722689075598E-2</c:v>
                </c:pt>
                <c:pt idx="46760">
                  <c:v>-1.6806722689075598E-2</c:v>
                </c:pt>
                <c:pt idx="46761">
                  <c:v>-1.6806722689075598E-2</c:v>
                </c:pt>
                <c:pt idx="46762">
                  <c:v>-1.6806722689075598E-2</c:v>
                </c:pt>
                <c:pt idx="46763">
                  <c:v>-1.6806722689075598E-2</c:v>
                </c:pt>
                <c:pt idx="46764">
                  <c:v>-1.6806722689075598E-2</c:v>
                </c:pt>
                <c:pt idx="46765">
                  <c:v>-1.6806722689075598E-2</c:v>
                </c:pt>
                <c:pt idx="46766">
                  <c:v>-1.6806722689075598E-2</c:v>
                </c:pt>
                <c:pt idx="46767">
                  <c:v>-1.6806722689075598E-2</c:v>
                </c:pt>
                <c:pt idx="46768">
                  <c:v>-1.6806722689075598E-2</c:v>
                </c:pt>
                <c:pt idx="46769">
                  <c:v>-1.6806722689075598E-2</c:v>
                </c:pt>
                <c:pt idx="46770">
                  <c:v>-1.6806722689075598E-2</c:v>
                </c:pt>
                <c:pt idx="46771">
                  <c:v>-1.6806722689075598E-2</c:v>
                </c:pt>
                <c:pt idx="46772">
                  <c:v>-1.6806722689075598E-2</c:v>
                </c:pt>
                <c:pt idx="46773">
                  <c:v>-1.6806722689075598E-2</c:v>
                </c:pt>
                <c:pt idx="46774">
                  <c:v>-1.6806722689075598E-2</c:v>
                </c:pt>
                <c:pt idx="46775">
                  <c:v>-1.6806722689075598E-2</c:v>
                </c:pt>
                <c:pt idx="46776">
                  <c:v>-1.6806722689075598E-2</c:v>
                </c:pt>
                <c:pt idx="46777">
                  <c:v>-1.6806722689075598E-2</c:v>
                </c:pt>
                <c:pt idx="46778">
                  <c:v>-1.6806722689075598E-2</c:v>
                </c:pt>
                <c:pt idx="46779">
                  <c:v>-1.6806722689075598E-2</c:v>
                </c:pt>
                <c:pt idx="46780">
                  <c:v>-1.6806722689075598E-2</c:v>
                </c:pt>
                <c:pt idx="46781">
                  <c:v>-1.6806722689075598E-2</c:v>
                </c:pt>
                <c:pt idx="46782">
                  <c:v>-1.6806722689075598E-2</c:v>
                </c:pt>
                <c:pt idx="46783">
                  <c:v>-1.6806722689075598E-2</c:v>
                </c:pt>
                <c:pt idx="46784">
                  <c:v>-1.6806722689075598E-2</c:v>
                </c:pt>
                <c:pt idx="46785">
                  <c:v>-1.6806722689075598E-2</c:v>
                </c:pt>
                <c:pt idx="46786">
                  <c:v>-1.6806722689075598E-2</c:v>
                </c:pt>
                <c:pt idx="46787">
                  <c:v>-1.6806722689075598E-2</c:v>
                </c:pt>
                <c:pt idx="46788">
                  <c:v>-1.6806722689075598E-2</c:v>
                </c:pt>
                <c:pt idx="46789">
                  <c:v>-1.6806722689075598E-2</c:v>
                </c:pt>
                <c:pt idx="46790">
                  <c:v>-1.6806722689075598E-2</c:v>
                </c:pt>
                <c:pt idx="46791">
                  <c:v>-1.59663865546219E-2</c:v>
                </c:pt>
                <c:pt idx="46792">
                  <c:v>-1.59663865546219E-2</c:v>
                </c:pt>
                <c:pt idx="46793">
                  <c:v>-1.59663865546219E-2</c:v>
                </c:pt>
                <c:pt idx="46794">
                  <c:v>-1.59663865546219E-2</c:v>
                </c:pt>
                <c:pt idx="46795">
                  <c:v>-1.59663865546219E-2</c:v>
                </c:pt>
                <c:pt idx="46796">
                  <c:v>-1.59663865546219E-2</c:v>
                </c:pt>
                <c:pt idx="46797">
                  <c:v>-1.59663865546219E-2</c:v>
                </c:pt>
                <c:pt idx="46798">
                  <c:v>-1.59663865546219E-2</c:v>
                </c:pt>
                <c:pt idx="46799">
                  <c:v>-1.59663865546219E-2</c:v>
                </c:pt>
                <c:pt idx="46800">
                  <c:v>-1.59663865546219E-2</c:v>
                </c:pt>
                <c:pt idx="46801">
                  <c:v>-1.59663865546219E-2</c:v>
                </c:pt>
                <c:pt idx="46802">
                  <c:v>-1.59663865546219E-2</c:v>
                </c:pt>
                <c:pt idx="46803">
                  <c:v>-1.59663865546219E-2</c:v>
                </c:pt>
                <c:pt idx="46804">
                  <c:v>-1.59663865546219E-2</c:v>
                </c:pt>
                <c:pt idx="46805">
                  <c:v>-1.59663865546219E-2</c:v>
                </c:pt>
                <c:pt idx="46806">
                  <c:v>-1.59663865546219E-2</c:v>
                </c:pt>
                <c:pt idx="46807">
                  <c:v>-1.59663865546219E-2</c:v>
                </c:pt>
                <c:pt idx="46808">
                  <c:v>-1.59663865546219E-2</c:v>
                </c:pt>
                <c:pt idx="46809">
                  <c:v>-1.59663865546219E-2</c:v>
                </c:pt>
                <c:pt idx="46810">
                  <c:v>-1.59663865546219E-2</c:v>
                </c:pt>
                <c:pt idx="46811">
                  <c:v>-1.59663865546219E-2</c:v>
                </c:pt>
                <c:pt idx="46812">
                  <c:v>-1.59663865546219E-2</c:v>
                </c:pt>
                <c:pt idx="46813">
                  <c:v>-1.59663865546219E-2</c:v>
                </c:pt>
                <c:pt idx="46814">
                  <c:v>-1.59663865546219E-2</c:v>
                </c:pt>
                <c:pt idx="46815">
                  <c:v>-1.59663865546219E-2</c:v>
                </c:pt>
                <c:pt idx="46816">
                  <c:v>-1.59663865546219E-2</c:v>
                </c:pt>
                <c:pt idx="46817">
                  <c:v>-1.59663865546219E-2</c:v>
                </c:pt>
                <c:pt idx="46818">
                  <c:v>-1.6806722689075598E-2</c:v>
                </c:pt>
                <c:pt idx="46819">
                  <c:v>-1.6806722689075598E-2</c:v>
                </c:pt>
                <c:pt idx="46820">
                  <c:v>-1.6806722689075598E-2</c:v>
                </c:pt>
                <c:pt idx="46821">
                  <c:v>-1.6806722689075598E-2</c:v>
                </c:pt>
                <c:pt idx="46822">
                  <c:v>-1.6806722689075598E-2</c:v>
                </c:pt>
                <c:pt idx="46823">
                  <c:v>-1.6806722689075598E-2</c:v>
                </c:pt>
                <c:pt idx="46824">
                  <c:v>-1.6806722689075598E-2</c:v>
                </c:pt>
                <c:pt idx="46825">
                  <c:v>-1.6806722689075598E-2</c:v>
                </c:pt>
                <c:pt idx="46826">
                  <c:v>-1.6806722689075598E-2</c:v>
                </c:pt>
                <c:pt idx="46827">
                  <c:v>-1.6806722689075598E-2</c:v>
                </c:pt>
                <c:pt idx="46828">
                  <c:v>-1.6806722689075598E-2</c:v>
                </c:pt>
                <c:pt idx="46829">
                  <c:v>-1.6806722689075598E-2</c:v>
                </c:pt>
                <c:pt idx="46830">
                  <c:v>-1.6806722689075598E-2</c:v>
                </c:pt>
                <c:pt idx="46831">
                  <c:v>-1.6806722689075598E-2</c:v>
                </c:pt>
                <c:pt idx="46832">
                  <c:v>-1.6806722689075598E-2</c:v>
                </c:pt>
                <c:pt idx="46833">
                  <c:v>-1.6806722689075598E-2</c:v>
                </c:pt>
                <c:pt idx="46834">
                  <c:v>-1.6806722689075598E-2</c:v>
                </c:pt>
                <c:pt idx="46835">
                  <c:v>-1.6806722689075598E-2</c:v>
                </c:pt>
                <c:pt idx="46836">
                  <c:v>-1.6806722689075598E-2</c:v>
                </c:pt>
                <c:pt idx="46837">
                  <c:v>-1.6806722689075598E-2</c:v>
                </c:pt>
                <c:pt idx="46838">
                  <c:v>-1.6806722689075598E-2</c:v>
                </c:pt>
                <c:pt idx="46839">
                  <c:v>-1.6806722689075598E-2</c:v>
                </c:pt>
                <c:pt idx="46840">
                  <c:v>-1.6806722689075598E-2</c:v>
                </c:pt>
                <c:pt idx="46841">
                  <c:v>-1.6806722689075598E-2</c:v>
                </c:pt>
                <c:pt idx="46842">
                  <c:v>-1.6806722689075598E-2</c:v>
                </c:pt>
                <c:pt idx="46843">
                  <c:v>-1.6806722689075598E-2</c:v>
                </c:pt>
                <c:pt idx="46844">
                  <c:v>-1.6806722689075598E-2</c:v>
                </c:pt>
                <c:pt idx="46845">
                  <c:v>-1.6806722689075598E-2</c:v>
                </c:pt>
                <c:pt idx="46846">
                  <c:v>-1.6806722689075598E-2</c:v>
                </c:pt>
                <c:pt idx="46847">
                  <c:v>-1.6806722689075598E-2</c:v>
                </c:pt>
                <c:pt idx="46848">
                  <c:v>-1.6806722689075598E-2</c:v>
                </c:pt>
                <c:pt idx="46849">
                  <c:v>-1.6806722689075598E-2</c:v>
                </c:pt>
                <c:pt idx="46850">
                  <c:v>-1.6806722689075598E-2</c:v>
                </c:pt>
                <c:pt idx="46851">
                  <c:v>-1.6806722689075598E-2</c:v>
                </c:pt>
                <c:pt idx="46852">
                  <c:v>-1.6806722689075598E-2</c:v>
                </c:pt>
                <c:pt idx="46853">
                  <c:v>-1.6806722689075598E-2</c:v>
                </c:pt>
                <c:pt idx="46854">
                  <c:v>-1.6806722689075598E-2</c:v>
                </c:pt>
                <c:pt idx="46855">
                  <c:v>-1.6806722689075598E-2</c:v>
                </c:pt>
                <c:pt idx="46856">
                  <c:v>-1.6806722689075598E-2</c:v>
                </c:pt>
                <c:pt idx="46857">
                  <c:v>-1.6806722689075598E-2</c:v>
                </c:pt>
                <c:pt idx="46858">
                  <c:v>-1.6806722689075598E-2</c:v>
                </c:pt>
                <c:pt idx="46859">
                  <c:v>-1.6806722689075598E-2</c:v>
                </c:pt>
                <c:pt idx="46860">
                  <c:v>-1.6806722689075598E-2</c:v>
                </c:pt>
                <c:pt idx="46861">
                  <c:v>-1.6806722689075598E-2</c:v>
                </c:pt>
                <c:pt idx="46862">
                  <c:v>-1.6806722689075598E-2</c:v>
                </c:pt>
                <c:pt idx="46863">
                  <c:v>-1.6806722689075598E-2</c:v>
                </c:pt>
                <c:pt idx="46864">
                  <c:v>-1.6806722689075598E-2</c:v>
                </c:pt>
                <c:pt idx="46865">
                  <c:v>-1.6806722689075598E-2</c:v>
                </c:pt>
                <c:pt idx="46866">
                  <c:v>-1.6806722689075598E-2</c:v>
                </c:pt>
                <c:pt idx="46867">
                  <c:v>-1.6806722689075598E-2</c:v>
                </c:pt>
                <c:pt idx="46868">
                  <c:v>-1.6806722689075598E-2</c:v>
                </c:pt>
                <c:pt idx="46869">
                  <c:v>-1.6806722689075598E-2</c:v>
                </c:pt>
                <c:pt idx="46870">
                  <c:v>-1.6806722689075598E-2</c:v>
                </c:pt>
                <c:pt idx="46871">
                  <c:v>-1.6806722689075598E-2</c:v>
                </c:pt>
                <c:pt idx="46872">
                  <c:v>-1.6806722689075598E-2</c:v>
                </c:pt>
                <c:pt idx="46873">
                  <c:v>-1.6806722689075598E-2</c:v>
                </c:pt>
                <c:pt idx="46874">
                  <c:v>-1.6806722689075598E-2</c:v>
                </c:pt>
                <c:pt idx="46875">
                  <c:v>-1.6806722689075598E-2</c:v>
                </c:pt>
                <c:pt idx="46876">
                  <c:v>-1.6806722689075598E-2</c:v>
                </c:pt>
                <c:pt idx="46877">
                  <c:v>-1.6806722689075598E-2</c:v>
                </c:pt>
                <c:pt idx="46878">
                  <c:v>-1.6806722689075598E-2</c:v>
                </c:pt>
                <c:pt idx="46879">
                  <c:v>-1.6806722689075598E-2</c:v>
                </c:pt>
                <c:pt idx="46880">
                  <c:v>-1.6806722689075598E-2</c:v>
                </c:pt>
                <c:pt idx="46881">
                  <c:v>-1.6806722689075598E-2</c:v>
                </c:pt>
                <c:pt idx="46882">
                  <c:v>-1.6806722689075598E-2</c:v>
                </c:pt>
                <c:pt idx="46883">
                  <c:v>-1.6806722689075598E-2</c:v>
                </c:pt>
                <c:pt idx="46884">
                  <c:v>-1.6806722689075598E-2</c:v>
                </c:pt>
                <c:pt idx="46885">
                  <c:v>-1.6806722689075598E-2</c:v>
                </c:pt>
                <c:pt idx="46886">
                  <c:v>-1.6806722689075598E-2</c:v>
                </c:pt>
                <c:pt idx="46887">
                  <c:v>-1.6806722689075598E-2</c:v>
                </c:pt>
                <c:pt idx="46888">
                  <c:v>-1.6806722689075598E-2</c:v>
                </c:pt>
                <c:pt idx="46889">
                  <c:v>-1.6806722689075598E-2</c:v>
                </c:pt>
                <c:pt idx="46890">
                  <c:v>-1.6806722689075598E-2</c:v>
                </c:pt>
                <c:pt idx="46891">
                  <c:v>-1.6806722689075598E-2</c:v>
                </c:pt>
                <c:pt idx="46892">
                  <c:v>-1.6806722689075598E-2</c:v>
                </c:pt>
                <c:pt idx="46893">
                  <c:v>-1.6806722689075598E-2</c:v>
                </c:pt>
                <c:pt idx="46894">
                  <c:v>-1.6806722689075598E-2</c:v>
                </c:pt>
                <c:pt idx="46895">
                  <c:v>-1.6806722689075598E-2</c:v>
                </c:pt>
                <c:pt idx="46896">
                  <c:v>-1.6806722689075598E-2</c:v>
                </c:pt>
                <c:pt idx="46897">
                  <c:v>-1.6806722689075598E-2</c:v>
                </c:pt>
                <c:pt idx="46898">
                  <c:v>-1.6806722689075598E-2</c:v>
                </c:pt>
                <c:pt idx="46899">
                  <c:v>-1.6806722689075598E-2</c:v>
                </c:pt>
                <c:pt idx="46900">
                  <c:v>-1.6806722689075598E-2</c:v>
                </c:pt>
                <c:pt idx="46901">
                  <c:v>-1.6806722689075598E-2</c:v>
                </c:pt>
                <c:pt idx="46902">
                  <c:v>-1.6806722689075598E-2</c:v>
                </c:pt>
                <c:pt idx="46903">
                  <c:v>-1.6806722689075598E-2</c:v>
                </c:pt>
                <c:pt idx="46904">
                  <c:v>-1.6806722689075598E-2</c:v>
                </c:pt>
                <c:pt idx="46905">
                  <c:v>-1.6806722689075598E-2</c:v>
                </c:pt>
                <c:pt idx="46906">
                  <c:v>-1.6806722689075598E-2</c:v>
                </c:pt>
                <c:pt idx="46907">
                  <c:v>-1.6806722689075598E-2</c:v>
                </c:pt>
                <c:pt idx="46908">
                  <c:v>-1.6806722689075598E-2</c:v>
                </c:pt>
                <c:pt idx="46909">
                  <c:v>-1.6806722689075598E-2</c:v>
                </c:pt>
                <c:pt idx="46910">
                  <c:v>-1.6806722689075598E-2</c:v>
                </c:pt>
                <c:pt idx="46911">
                  <c:v>-1.6806722689075598E-2</c:v>
                </c:pt>
                <c:pt idx="46912">
                  <c:v>-1.6806722689075598E-2</c:v>
                </c:pt>
                <c:pt idx="46913">
                  <c:v>-1.6806722689075598E-2</c:v>
                </c:pt>
                <c:pt idx="46914">
                  <c:v>-1.6806722689075598E-2</c:v>
                </c:pt>
                <c:pt idx="46915">
                  <c:v>-1.6806722689075598E-2</c:v>
                </c:pt>
                <c:pt idx="46916">
                  <c:v>-1.6806722689075598E-2</c:v>
                </c:pt>
                <c:pt idx="46917">
                  <c:v>-1.6806722689075598E-2</c:v>
                </c:pt>
                <c:pt idx="46918">
                  <c:v>-1.6806722689075598E-2</c:v>
                </c:pt>
                <c:pt idx="46919">
                  <c:v>-1.6806722689075598E-2</c:v>
                </c:pt>
                <c:pt idx="46920">
                  <c:v>-1.6806722689075598E-2</c:v>
                </c:pt>
                <c:pt idx="46921">
                  <c:v>-1.6806722689075598E-2</c:v>
                </c:pt>
                <c:pt idx="46922">
                  <c:v>-1.6806722689075598E-2</c:v>
                </c:pt>
                <c:pt idx="46923">
                  <c:v>-1.6806722689075598E-2</c:v>
                </c:pt>
                <c:pt idx="46924">
                  <c:v>-1.6806722689075598E-2</c:v>
                </c:pt>
                <c:pt idx="46925">
                  <c:v>-1.6806722689075598E-2</c:v>
                </c:pt>
                <c:pt idx="46926">
                  <c:v>-1.6806722689075598E-2</c:v>
                </c:pt>
                <c:pt idx="46927">
                  <c:v>-1.6806722689075598E-2</c:v>
                </c:pt>
                <c:pt idx="46928">
                  <c:v>-1.6806722689075598E-2</c:v>
                </c:pt>
                <c:pt idx="46929">
                  <c:v>-1.6806722689075598E-2</c:v>
                </c:pt>
                <c:pt idx="46930">
                  <c:v>-1.6806722689075598E-2</c:v>
                </c:pt>
                <c:pt idx="46931">
                  <c:v>-1.6806722689075598E-2</c:v>
                </c:pt>
                <c:pt idx="46932">
                  <c:v>-1.6806722689075598E-2</c:v>
                </c:pt>
                <c:pt idx="46933">
                  <c:v>-1.6806722689075598E-2</c:v>
                </c:pt>
                <c:pt idx="46934">
                  <c:v>-1.6806722689075598E-2</c:v>
                </c:pt>
                <c:pt idx="46935">
                  <c:v>-1.6806722689075598E-2</c:v>
                </c:pt>
                <c:pt idx="46936">
                  <c:v>-1.6806722689075598E-2</c:v>
                </c:pt>
                <c:pt idx="46937">
                  <c:v>-1.6806722689075598E-2</c:v>
                </c:pt>
                <c:pt idx="46938">
                  <c:v>-1.6806722689075598E-2</c:v>
                </c:pt>
                <c:pt idx="46939">
                  <c:v>-1.6806722689075598E-2</c:v>
                </c:pt>
                <c:pt idx="46940">
                  <c:v>-1.6806722689075598E-2</c:v>
                </c:pt>
                <c:pt idx="46941">
                  <c:v>-1.6806722689075598E-2</c:v>
                </c:pt>
                <c:pt idx="46942">
                  <c:v>-1.59663865546219E-2</c:v>
                </c:pt>
                <c:pt idx="46943">
                  <c:v>-1.59663865546219E-2</c:v>
                </c:pt>
                <c:pt idx="46944">
                  <c:v>-1.6806722689075598E-2</c:v>
                </c:pt>
                <c:pt idx="46945">
                  <c:v>-1.6806722689075598E-2</c:v>
                </c:pt>
                <c:pt idx="46946">
                  <c:v>-1.6806722689075598E-2</c:v>
                </c:pt>
                <c:pt idx="46947">
                  <c:v>-1.6806722689075598E-2</c:v>
                </c:pt>
                <c:pt idx="46948">
                  <c:v>-1.6806722689075598E-2</c:v>
                </c:pt>
                <c:pt idx="46949">
                  <c:v>-1.6806722689075598E-2</c:v>
                </c:pt>
                <c:pt idx="46950">
                  <c:v>-1.6806722689075598E-2</c:v>
                </c:pt>
                <c:pt idx="46951">
                  <c:v>-1.6806722689075598E-2</c:v>
                </c:pt>
                <c:pt idx="46952">
                  <c:v>-1.6806722689075598E-2</c:v>
                </c:pt>
                <c:pt idx="46953">
                  <c:v>-1.6806722689075598E-2</c:v>
                </c:pt>
                <c:pt idx="46954">
                  <c:v>-1.6806722689075598E-2</c:v>
                </c:pt>
                <c:pt idx="46955">
                  <c:v>-1.6806722689075598E-2</c:v>
                </c:pt>
                <c:pt idx="46956">
                  <c:v>-1.6806722689075598E-2</c:v>
                </c:pt>
                <c:pt idx="46957">
                  <c:v>-1.6806722689075598E-2</c:v>
                </c:pt>
                <c:pt idx="46958">
                  <c:v>-1.6806722689075598E-2</c:v>
                </c:pt>
                <c:pt idx="46959">
                  <c:v>-1.6806722689075598E-2</c:v>
                </c:pt>
                <c:pt idx="46960">
                  <c:v>-1.6806722689075598E-2</c:v>
                </c:pt>
                <c:pt idx="46961">
                  <c:v>-1.6806722689075598E-2</c:v>
                </c:pt>
                <c:pt idx="46962">
                  <c:v>-1.6806722689075598E-2</c:v>
                </c:pt>
                <c:pt idx="46963">
                  <c:v>-1.6806722689075598E-2</c:v>
                </c:pt>
                <c:pt idx="46964">
                  <c:v>-1.6806722689075598E-2</c:v>
                </c:pt>
                <c:pt idx="46965">
                  <c:v>-1.6806722689075598E-2</c:v>
                </c:pt>
                <c:pt idx="46966">
                  <c:v>-1.6806722689075598E-2</c:v>
                </c:pt>
                <c:pt idx="46967">
                  <c:v>-1.6806722689075598E-2</c:v>
                </c:pt>
                <c:pt idx="46968">
                  <c:v>-1.6806722689075598E-2</c:v>
                </c:pt>
                <c:pt idx="46969">
                  <c:v>-1.6806722689075598E-2</c:v>
                </c:pt>
                <c:pt idx="46970">
                  <c:v>-1.6806722689075598E-2</c:v>
                </c:pt>
                <c:pt idx="46971">
                  <c:v>-1.6806722689075598E-2</c:v>
                </c:pt>
                <c:pt idx="46972">
                  <c:v>-1.6806722689075598E-2</c:v>
                </c:pt>
                <c:pt idx="46973">
                  <c:v>-1.6806722689075598E-2</c:v>
                </c:pt>
                <c:pt idx="46974">
                  <c:v>-1.6806722689075598E-2</c:v>
                </c:pt>
                <c:pt idx="46975">
                  <c:v>-1.6806722689075598E-2</c:v>
                </c:pt>
                <c:pt idx="46976">
                  <c:v>-1.6806722689075598E-2</c:v>
                </c:pt>
                <c:pt idx="46977">
                  <c:v>-1.7647058823529401E-2</c:v>
                </c:pt>
                <c:pt idx="46978">
                  <c:v>-1.7647058823529401E-2</c:v>
                </c:pt>
                <c:pt idx="46979">
                  <c:v>-1.7647058823529401E-2</c:v>
                </c:pt>
                <c:pt idx="46980">
                  <c:v>-1.7647058823529401E-2</c:v>
                </c:pt>
                <c:pt idx="46981">
                  <c:v>-1.7647058823529401E-2</c:v>
                </c:pt>
                <c:pt idx="46982">
                  <c:v>-1.7647058823529401E-2</c:v>
                </c:pt>
                <c:pt idx="46983">
                  <c:v>-1.7647058823529401E-2</c:v>
                </c:pt>
                <c:pt idx="46984">
                  <c:v>-1.84873949579832E-2</c:v>
                </c:pt>
                <c:pt idx="46985">
                  <c:v>-1.84873949579832E-2</c:v>
                </c:pt>
                <c:pt idx="46986">
                  <c:v>-1.84873949579832E-2</c:v>
                </c:pt>
                <c:pt idx="46987">
                  <c:v>-1.84873949579832E-2</c:v>
                </c:pt>
                <c:pt idx="46988">
                  <c:v>-1.84873949579832E-2</c:v>
                </c:pt>
                <c:pt idx="46989">
                  <c:v>-1.84873949579832E-2</c:v>
                </c:pt>
                <c:pt idx="46990">
                  <c:v>-1.84873949579832E-2</c:v>
                </c:pt>
                <c:pt idx="46991">
                  <c:v>-1.84873949579832E-2</c:v>
                </c:pt>
                <c:pt idx="46992">
                  <c:v>-1.84873949579832E-2</c:v>
                </c:pt>
                <c:pt idx="46993">
                  <c:v>-1.84873949579832E-2</c:v>
                </c:pt>
                <c:pt idx="46994">
                  <c:v>-1.84873949579832E-2</c:v>
                </c:pt>
                <c:pt idx="46995">
                  <c:v>-1.84873949579832E-2</c:v>
                </c:pt>
                <c:pt idx="46996">
                  <c:v>-1.84873949579832E-2</c:v>
                </c:pt>
                <c:pt idx="46997">
                  <c:v>-1.84873949579832E-2</c:v>
                </c:pt>
                <c:pt idx="46998">
                  <c:v>-1.84873949579832E-2</c:v>
                </c:pt>
                <c:pt idx="46999">
                  <c:v>-1.84873949579832E-2</c:v>
                </c:pt>
                <c:pt idx="47000">
                  <c:v>-1.84873949579832E-2</c:v>
                </c:pt>
                <c:pt idx="47001">
                  <c:v>-1.84873949579832E-2</c:v>
                </c:pt>
                <c:pt idx="47002">
                  <c:v>-1.84873949579832E-2</c:v>
                </c:pt>
                <c:pt idx="47003">
                  <c:v>-1.84873949579832E-2</c:v>
                </c:pt>
                <c:pt idx="47004">
                  <c:v>-1.84873949579832E-2</c:v>
                </c:pt>
                <c:pt idx="47005">
                  <c:v>-1.84873949579832E-2</c:v>
                </c:pt>
                <c:pt idx="47006">
                  <c:v>-1.84873949579832E-2</c:v>
                </c:pt>
                <c:pt idx="47007">
                  <c:v>-1.84873949579832E-2</c:v>
                </c:pt>
                <c:pt idx="47008">
                  <c:v>-1.84873949579832E-2</c:v>
                </c:pt>
                <c:pt idx="47009">
                  <c:v>-1.84873949579832E-2</c:v>
                </c:pt>
                <c:pt idx="47010">
                  <c:v>-1.84873949579832E-2</c:v>
                </c:pt>
                <c:pt idx="47011">
                  <c:v>-1.84873949579832E-2</c:v>
                </c:pt>
                <c:pt idx="47012">
                  <c:v>-1.84873949579832E-2</c:v>
                </c:pt>
                <c:pt idx="47013">
                  <c:v>-1.84873949579832E-2</c:v>
                </c:pt>
                <c:pt idx="47014">
                  <c:v>-1.84873949579832E-2</c:v>
                </c:pt>
                <c:pt idx="47015">
                  <c:v>-1.84873949579832E-2</c:v>
                </c:pt>
                <c:pt idx="47016">
                  <c:v>-1.84873949579832E-2</c:v>
                </c:pt>
                <c:pt idx="47017">
                  <c:v>-1.84873949579832E-2</c:v>
                </c:pt>
                <c:pt idx="47018">
                  <c:v>-1.84873949579832E-2</c:v>
                </c:pt>
                <c:pt idx="47019">
                  <c:v>-1.84873949579832E-2</c:v>
                </c:pt>
                <c:pt idx="47020">
                  <c:v>-1.84873949579832E-2</c:v>
                </c:pt>
                <c:pt idx="47021">
                  <c:v>-1.84873949579832E-2</c:v>
                </c:pt>
                <c:pt idx="47022">
                  <c:v>-1.84873949579832E-2</c:v>
                </c:pt>
                <c:pt idx="47023">
                  <c:v>-1.84873949579832E-2</c:v>
                </c:pt>
                <c:pt idx="47024">
                  <c:v>-1.84873949579832E-2</c:v>
                </c:pt>
                <c:pt idx="47025">
                  <c:v>-1.84873949579832E-2</c:v>
                </c:pt>
                <c:pt idx="47026">
                  <c:v>-1.84873949579832E-2</c:v>
                </c:pt>
                <c:pt idx="47027">
                  <c:v>-1.84873949579832E-2</c:v>
                </c:pt>
                <c:pt idx="47028">
                  <c:v>-1.84873949579832E-2</c:v>
                </c:pt>
                <c:pt idx="47029">
                  <c:v>-1.84873949579832E-2</c:v>
                </c:pt>
                <c:pt idx="47030">
                  <c:v>-1.84873949579832E-2</c:v>
                </c:pt>
                <c:pt idx="47031">
                  <c:v>-1.84873949579832E-2</c:v>
                </c:pt>
                <c:pt idx="47032">
                  <c:v>-1.84873949579832E-2</c:v>
                </c:pt>
                <c:pt idx="47033">
                  <c:v>-1.84873949579832E-2</c:v>
                </c:pt>
                <c:pt idx="47034">
                  <c:v>-1.84873949579832E-2</c:v>
                </c:pt>
                <c:pt idx="47035">
                  <c:v>-1.84873949579832E-2</c:v>
                </c:pt>
                <c:pt idx="47036">
                  <c:v>-1.84873949579832E-2</c:v>
                </c:pt>
                <c:pt idx="47037">
                  <c:v>-1.84873949579832E-2</c:v>
                </c:pt>
                <c:pt idx="47038">
                  <c:v>-1.84873949579832E-2</c:v>
                </c:pt>
                <c:pt idx="47039">
                  <c:v>-1.84873949579832E-2</c:v>
                </c:pt>
                <c:pt idx="47040">
                  <c:v>-1.84873949579832E-2</c:v>
                </c:pt>
                <c:pt idx="47041">
                  <c:v>-1.84873949579832E-2</c:v>
                </c:pt>
                <c:pt idx="47042">
                  <c:v>-1.84873949579832E-2</c:v>
                </c:pt>
                <c:pt idx="47043">
                  <c:v>-1.84873949579832E-2</c:v>
                </c:pt>
                <c:pt idx="47044">
                  <c:v>-1.84873949579832E-2</c:v>
                </c:pt>
                <c:pt idx="47045">
                  <c:v>-1.84873949579832E-2</c:v>
                </c:pt>
                <c:pt idx="47046">
                  <c:v>-1.84873949579832E-2</c:v>
                </c:pt>
                <c:pt idx="47047">
                  <c:v>-1.84873949579832E-2</c:v>
                </c:pt>
                <c:pt idx="47048">
                  <c:v>-1.84873949579832E-2</c:v>
                </c:pt>
                <c:pt idx="47049">
                  <c:v>-1.84873949579832E-2</c:v>
                </c:pt>
                <c:pt idx="47050">
                  <c:v>-1.84873949579832E-2</c:v>
                </c:pt>
                <c:pt idx="47051">
                  <c:v>-1.84873949579832E-2</c:v>
                </c:pt>
                <c:pt idx="47052">
                  <c:v>-1.84873949579832E-2</c:v>
                </c:pt>
                <c:pt idx="47053">
                  <c:v>-1.84873949579832E-2</c:v>
                </c:pt>
                <c:pt idx="47054">
                  <c:v>-1.84873949579832E-2</c:v>
                </c:pt>
                <c:pt idx="47055">
                  <c:v>-1.84873949579832E-2</c:v>
                </c:pt>
                <c:pt idx="47056">
                  <c:v>-1.84873949579832E-2</c:v>
                </c:pt>
                <c:pt idx="47057">
                  <c:v>-1.84873949579832E-2</c:v>
                </c:pt>
                <c:pt idx="47058">
                  <c:v>-1.84873949579832E-2</c:v>
                </c:pt>
                <c:pt idx="47059">
                  <c:v>-1.84873949579832E-2</c:v>
                </c:pt>
                <c:pt idx="47060">
                  <c:v>-1.84873949579832E-2</c:v>
                </c:pt>
                <c:pt idx="47061">
                  <c:v>-1.84873949579832E-2</c:v>
                </c:pt>
                <c:pt idx="47062">
                  <c:v>-1.84873949579832E-2</c:v>
                </c:pt>
                <c:pt idx="47063">
                  <c:v>-1.84873949579832E-2</c:v>
                </c:pt>
                <c:pt idx="47064">
                  <c:v>-1.84873949579832E-2</c:v>
                </c:pt>
                <c:pt idx="47065">
                  <c:v>-1.84873949579832E-2</c:v>
                </c:pt>
                <c:pt idx="47066">
                  <c:v>-1.84873949579832E-2</c:v>
                </c:pt>
                <c:pt idx="47067">
                  <c:v>-1.84873949579832E-2</c:v>
                </c:pt>
                <c:pt idx="47068">
                  <c:v>-1.84873949579832E-2</c:v>
                </c:pt>
                <c:pt idx="47069">
                  <c:v>-1.84873949579832E-2</c:v>
                </c:pt>
                <c:pt idx="47070">
                  <c:v>-1.84873949579832E-2</c:v>
                </c:pt>
                <c:pt idx="47071">
                  <c:v>-1.84873949579832E-2</c:v>
                </c:pt>
                <c:pt idx="47072">
                  <c:v>-1.84873949579832E-2</c:v>
                </c:pt>
                <c:pt idx="47073">
                  <c:v>-1.84873949579832E-2</c:v>
                </c:pt>
                <c:pt idx="47074">
                  <c:v>-1.84873949579832E-2</c:v>
                </c:pt>
                <c:pt idx="47075">
                  <c:v>-1.84873949579832E-2</c:v>
                </c:pt>
                <c:pt idx="47076">
                  <c:v>-1.84873949579832E-2</c:v>
                </c:pt>
                <c:pt idx="47077">
                  <c:v>-1.84873949579832E-2</c:v>
                </c:pt>
                <c:pt idx="47078">
                  <c:v>-1.84873949579832E-2</c:v>
                </c:pt>
                <c:pt idx="47079">
                  <c:v>-1.84873949579832E-2</c:v>
                </c:pt>
                <c:pt idx="47080">
                  <c:v>-1.84873949579832E-2</c:v>
                </c:pt>
                <c:pt idx="47081">
                  <c:v>-1.84873949579832E-2</c:v>
                </c:pt>
                <c:pt idx="47082">
                  <c:v>-1.84873949579832E-2</c:v>
                </c:pt>
                <c:pt idx="47083">
                  <c:v>-1.84873949579832E-2</c:v>
                </c:pt>
                <c:pt idx="47084">
                  <c:v>-1.84873949579832E-2</c:v>
                </c:pt>
                <c:pt idx="47085">
                  <c:v>-1.84873949579832E-2</c:v>
                </c:pt>
                <c:pt idx="47086">
                  <c:v>-1.84873949579832E-2</c:v>
                </c:pt>
                <c:pt idx="47087">
                  <c:v>-1.84873949579832E-2</c:v>
                </c:pt>
                <c:pt idx="47088">
                  <c:v>-1.84873949579832E-2</c:v>
                </c:pt>
                <c:pt idx="47089">
                  <c:v>-1.84873949579832E-2</c:v>
                </c:pt>
                <c:pt idx="47090">
                  <c:v>-1.84873949579832E-2</c:v>
                </c:pt>
                <c:pt idx="47091">
                  <c:v>-1.84873949579832E-2</c:v>
                </c:pt>
                <c:pt idx="47092">
                  <c:v>-1.84873949579832E-2</c:v>
                </c:pt>
                <c:pt idx="47093">
                  <c:v>-1.84873949579832E-2</c:v>
                </c:pt>
                <c:pt idx="47094">
                  <c:v>-1.84873949579832E-2</c:v>
                </c:pt>
                <c:pt idx="47095">
                  <c:v>-1.84873949579832E-2</c:v>
                </c:pt>
                <c:pt idx="47096">
                  <c:v>-1.84873949579832E-2</c:v>
                </c:pt>
                <c:pt idx="47097">
                  <c:v>-1.84873949579832E-2</c:v>
                </c:pt>
                <c:pt idx="47098">
                  <c:v>-1.84873949579832E-2</c:v>
                </c:pt>
                <c:pt idx="47099">
                  <c:v>-1.84873949579832E-2</c:v>
                </c:pt>
                <c:pt idx="47100">
                  <c:v>-1.84873949579832E-2</c:v>
                </c:pt>
                <c:pt idx="47101">
                  <c:v>-1.84873949579832E-2</c:v>
                </c:pt>
                <c:pt idx="47102">
                  <c:v>-1.84873949579832E-2</c:v>
                </c:pt>
                <c:pt idx="47103">
                  <c:v>-1.84873949579832E-2</c:v>
                </c:pt>
                <c:pt idx="47104">
                  <c:v>-1.84873949579832E-2</c:v>
                </c:pt>
                <c:pt idx="47105">
                  <c:v>-1.84873949579832E-2</c:v>
                </c:pt>
                <c:pt idx="47106">
                  <c:v>-1.84873949579832E-2</c:v>
                </c:pt>
                <c:pt idx="47107">
                  <c:v>-1.84873949579832E-2</c:v>
                </c:pt>
                <c:pt idx="47108">
                  <c:v>-1.84873949579832E-2</c:v>
                </c:pt>
                <c:pt idx="47109">
                  <c:v>-1.84873949579832E-2</c:v>
                </c:pt>
                <c:pt idx="47110">
                  <c:v>-1.84873949579832E-2</c:v>
                </c:pt>
                <c:pt idx="47111">
                  <c:v>-1.84873949579832E-2</c:v>
                </c:pt>
                <c:pt idx="47112">
                  <c:v>-1.84873949579832E-2</c:v>
                </c:pt>
                <c:pt idx="47113">
                  <c:v>-1.84873949579832E-2</c:v>
                </c:pt>
                <c:pt idx="47114">
                  <c:v>-1.84873949579832E-2</c:v>
                </c:pt>
                <c:pt idx="47115">
                  <c:v>-1.84873949579832E-2</c:v>
                </c:pt>
                <c:pt idx="47116">
                  <c:v>-1.84873949579832E-2</c:v>
                </c:pt>
                <c:pt idx="47117">
                  <c:v>-1.84873949579832E-2</c:v>
                </c:pt>
                <c:pt idx="47118">
                  <c:v>-1.84873949579832E-2</c:v>
                </c:pt>
                <c:pt idx="47119">
                  <c:v>-1.84873949579832E-2</c:v>
                </c:pt>
                <c:pt idx="47120">
                  <c:v>-1.84873949579832E-2</c:v>
                </c:pt>
                <c:pt idx="47121">
                  <c:v>-1.84873949579832E-2</c:v>
                </c:pt>
                <c:pt idx="47122">
                  <c:v>-1.84873949579832E-2</c:v>
                </c:pt>
                <c:pt idx="47123">
                  <c:v>-1.84873949579832E-2</c:v>
                </c:pt>
                <c:pt idx="47124">
                  <c:v>-1.84873949579832E-2</c:v>
                </c:pt>
                <c:pt idx="47125">
                  <c:v>-1.84873949579832E-2</c:v>
                </c:pt>
                <c:pt idx="47126">
                  <c:v>-1.84873949579832E-2</c:v>
                </c:pt>
                <c:pt idx="47127">
                  <c:v>-1.84873949579832E-2</c:v>
                </c:pt>
                <c:pt idx="47128">
                  <c:v>-1.84873949579832E-2</c:v>
                </c:pt>
                <c:pt idx="47129">
                  <c:v>-1.84873949579832E-2</c:v>
                </c:pt>
                <c:pt idx="47130">
                  <c:v>-1.84873949579832E-2</c:v>
                </c:pt>
                <c:pt idx="47131">
                  <c:v>-1.84873949579832E-2</c:v>
                </c:pt>
                <c:pt idx="47132">
                  <c:v>-1.84873949579832E-2</c:v>
                </c:pt>
                <c:pt idx="47133">
                  <c:v>-1.84873949579832E-2</c:v>
                </c:pt>
                <c:pt idx="47134">
                  <c:v>-1.84873949579832E-2</c:v>
                </c:pt>
                <c:pt idx="47135">
                  <c:v>-1.84873949579832E-2</c:v>
                </c:pt>
                <c:pt idx="47136">
                  <c:v>-1.84873949579832E-2</c:v>
                </c:pt>
                <c:pt idx="47137">
                  <c:v>-1.84873949579832E-2</c:v>
                </c:pt>
                <c:pt idx="47138">
                  <c:v>-1.84873949579832E-2</c:v>
                </c:pt>
                <c:pt idx="47139">
                  <c:v>-1.84873949579832E-2</c:v>
                </c:pt>
                <c:pt idx="47140">
                  <c:v>-1.84873949579832E-2</c:v>
                </c:pt>
                <c:pt idx="47141">
                  <c:v>-1.84873949579832E-2</c:v>
                </c:pt>
                <c:pt idx="47142">
                  <c:v>-1.84873949579832E-2</c:v>
                </c:pt>
                <c:pt idx="47143">
                  <c:v>-1.84873949579832E-2</c:v>
                </c:pt>
                <c:pt idx="47144">
                  <c:v>-1.84873949579832E-2</c:v>
                </c:pt>
                <c:pt idx="47145">
                  <c:v>-1.84873949579832E-2</c:v>
                </c:pt>
                <c:pt idx="47146">
                  <c:v>-1.84873949579832E-2</c:v>
                </c:pt>
                <c:pt idx="47147">
                  <c:v>-1.84873949579832E-2</c:v>
                </c:pt>
                <c:pt idx="47148">
                  <c:v>-1.84873949579832E-2</c:v>
                </c:pt>
                <c:pt idx="47149">
                  <c:v>-1.84873949579832E-2</c:v>
                </c:pt>
                <c:pt idx="47150">
                  <c:v>-1.84873949579832E-2</c:v>
                </c:pt>
                <c:pt idx="47151">
                  <c:v>-1.84873949579832E-2</c:v>
                </c:pt>
                <c:pt idx="47152">
                  <c:v>-1.84873949579832E-2</c:v>
                </c:pt>
                <c:pt idx="47153">
                  <c:v>-1.84873949579832E-2</c:v>
                </c:pt>
                <c:pt idx="47154">
                  <c:v>-1.84873949579832E-2</c:v>
                </c:pt>
                <c:pt idx="47155">
                  <c:v>-1.84873949579832E-2</c:v>
                </c:pt>
                <c:pt idx="47156">
                  <c:v>-1.84873949579832E-2</c:v>
                </c:pt>
                <c:pt idx="47157">
                  <c:v>-1.84873949579832E-2</c:v>
                </c:pt>
                <c:pt idx="47158">
                  <c:v>-1.84873949579832E-2</c:v>
                </c:pt>
                <c:pt idx="47159">
                  <c:v>-1.84873949579832E-2</c:v>
                </c:pt>
                <c:pt idx="47160">
                  <c:v>-1.84873949579832E-2</c:v>
                </c:pt>
                <c:pt idx="47161">
                  <c:v>-1.84873949579832E-2</c:v>
                </c:pt>
                <c:pt idx="47162">
                  <c:v>-1.84873949579832E-2</c:v>
                </c:pt>
                <c:pt idx="47163">
                  <c:v>-1.84873949579832E-2</c:v>
                </c:pt>
                <c:pt idx="47164">
                  <c:v>-1.84873949579832E-2</c:v>
                </c:pt>
                <c:pt idx="47165">
                  <c:v>-1.84873949579832E-2</c:v>
                </c:pt>
                <c:pt idx="47166">
                  <c:v>-1.84873949579832E-2</c:v>
                </c:pt>
                <c:pt idx="47167">
                  <c:v>-1.84873949579832E-2</c:v>
                </c:pt>
                <c:pt idx="47168">
                  <c:v>-1.84873949579832E-2</c:v>
                </c:pt>
                <c:pt idx="47169">
                  <c:v>-1.84873949579832E-2</c:v>
                </c:pt>
                <c:pt idx="47170">
                  <c:v>-1.84873949579832E-2</c:v>
                </c:pt>
                <c:pt idx="47171">
                  <c:v>-1.84873949579832E-2</c:v>
                </c:pt>
                <c:pt idx="47172">
                  <c:v>-1.84873949579832E-2</c:v>
                </c:pt>
                <c:pt idx="47173">
                  <c:v>-1.84873949579832E-2</c:v>
                </c:pt>
                <c:pt idx="47174">
                  <c:v>-1.84873949579832E-2</c:v>
                </c:pt>
                <c:pt idx="47175">
                  <c:v>-1.84873949579832E-2</c:v>
                </c:pt>
                <c:pt idx="47176">
                  <c:v>-1.84873949579832E-2</c:v>
                </c:pt>
                <c:pt idx="47177">
                  <c:v>-1.84873949579832E-2</c:v>
                </c:pt>
                <c:pt idx="47178">
                  <c:v>-1.84873949579832E-2</c:v>
                </c:pt>
                <c:pt idx="47179">
                  <c:v>-1.84873949579832E-2</c:v>
                </c:pt>
                <c:pt idx="47180">
                  <c:v>-1.84873949579832E-2</c:v>
                </c:pt>
                <c:pt idx="47181">
                  <c:v>-1.84873949579832E-2</c:v>
                </c:pt>
                <c:pt idx="47182">
                  <c:v>-1.84873949579832E-2</c:v>
                </c:pt>
                <c:pt idx="47183">
                  <c:v>-1.84873949579832E-2</c:v>
                </c:pt>
                <c:pt idx="47184">
                  <c:v>-1.84873949579832E-2</c:v>
                </c:pt>
                <c:pt idx="47185">
                  <c:v>-1.84873949579832E-2</c:v>
                </c:pt>
                <c:pt idx="47186">
                  <c:v>-1.84873949579832E-2</c:v>
                </c:pt>
                <c:pt idx="47187">
                  <c:v>-1.84873949579832E-2</c:v>
                </c:pt>
                <c:pt idx="47188">
                  <c:v>-1.84873949579832E-2</c:v>
                </c:pt>
                <c:pt idx="47189">
                  <c:v>-1.84873949579832E-2</c:v>
                </c:pt>
                <c:pt idx="47190">
                  <c:v>-1.84873949579832E-2</c:v>
                </c:pt>
                <c:pt idx="47191">
                  <c:v>-1.84873949579832E-2</c:v>
                </c:pt>
                <c:pt idx="47192">
                  <c:v>-1.84873949579832E-2</c:v>
                </c:pt>
                <c:pt idx="47193">
                  <c:v>-1.84873949579832E-2</c:v>
                </c:pt>
                <c:pt idx="47194">
                  <c:v>-1.84873949579832E-2</c:v>
                </c:pt>
                <c:pt idx="47195">
                  <c:v>-1.84873949579832E-2</c:v>
                </c:pt>
                <c:pt idx="47196">
                  <c:v>-1.84873949579832E-2</c:v>
                </c:pt>
                <c:pt idx="47197">
                  <c:v>-1.84873949579832E-2</c:v>
                </c:pt>
                <c:pt idx="47198">
                  <c:v>-1.84873949579832E-2</c:v>
                </c:pt>
                <c:pt idx="47199">
                  <c:v>-1.84873949579832E-2</c:v>
                </c:pt>
                <c:pt idx="47200">
                  <c:v>-1.84873949579832E-2</c:v>
                </c:pt>
                <c:pt idx="47201">
                  <c:v>-1.84873949579832E-2</c:v>
                </c:pt>
                <c:pt idx="47202">
                  <c:v>-1.84873949579832E-2</c:v>
                </c:pt>
                <c:pt idx="47203">
                  <c:v>-1.84873949579832E-2</c:v>
                </c:pt>
                <c:pt idx="47204">
                  <c:v>-1.84873949579832E-2</c:v>
                </c:pt>
                <c:pt idx="47205">
                  <c:v>-1.84873949579832E-2</c:v>
                </c:pt>
                <c:pt idx="47206">
                  <c:v>-1.84873949579832E-2</c:v>
                </c:pt>
                <c:pt idx="47207">
                  <c:v>-1.84873949579832E-2</c:v>
                </c:pt>
                <c:pt idx="47208">
                  <c:v>-1.84873949579832E-2</c:v>
                </c:pt>
                <c:pt idx="47209">
                  <c:v>-1.84873949579832E-2</c:v>
                </c:pt>
                <c:pt idx="47210">
                  <c:v>-1.84873949579832E-2</c:v>
                </c:pt>
                <c:pt idx="47211">
                  <c:v>-1.84873949579832E-2</c:v>
                </c:pt>
                <c:pt idx="47212">
                  <c:v>-1.84873949579832E-2</c:v>
                </c:pt>
                <c:pt idx="47213">
                  <c:v>-1.84873949579832E-2</c:v>
                </c:pt>
                <c:pt idx="47214">
                  <c:v>-1.84873949579832E-2</c:v>
                </c:pt>
                <c:pt idx="47215">
                  <c:v>-1.84873949579832E-2</c:v>
                </c:pt>
                <c:pt idx="47216">
                  <c:v>-1.84873949579832E-2</c:v>
                </c:pt>
                <c:pt idx="47217">
                  <c:v>-1.84873949579832E-2</c:v>
                </c:pt>
                <c:pt idx="47218">
                  <c:v>-1.84873949579832E-2</c:v>
                </c:pt>
                <c:pt idx="47219">
                  <c:v>-1.84873949579832E-2</c:v>
                </c:pt>
                <c:pt idx="47220">
                  <c:v>-1.84873949579832E-2</c:v>
                </c:pt>
                <c:pt idx="47221">
                  <c:v>-1.84873949579832E-2</c:v>
                </c:pt>
                <c:pt idx="47222">
                  <c:v>-1.84873949579832E-2</c:v>
                </c:pt>
                <c:pt idx="47223">
                  <c:v>-1.84873949579832E-2</c:v>
                </c:pt>
                <c:pt idx="47224">
                  <c:v>-1.84873949579832E-2</c:v>
                </c:pt>
                <c:pt idx="47225">
                  <c:v>-1.84873949579832E-2</c:v>
                </c:pt>
                <c:pt idx="47226">
                  <c:v>-1.84873949579832E-2</c:v>
                </c:pt>
                <c:pt idx="47227">
                  <c:v>-1.84873949579832E-2</c:v>
                </c:pt>
                <c:pt idx="47228">
                  <c:v>-1.84873949579832E-2</c:v>
                </c:pt>
                <c:pt idx="47229">
                  <c:v>-1.84873949579832E-2</c:v>
                </c:pt>
                <c:pt idx="47230">
                  <c:v>-1.84873949579832E-2</c:v>
                </c:pt>
                <c:pt idx="47231">
                  <c:v>-1.84873949579832E-2</c:v>
                </c:pt>
                <c:pt idx="47232">
                  <c:v>-1.84873949579832E-2</c:v>
                </c:pt>
                <c:pt idx="47233">
                  <c:v>-1.84873949579832E-2</c:v>
                </c:pt>
                <c:pt idx="47234">
                  <c:v>-1.84873949579832E-2</c:v>
                </c:pt>
                <c:pt idx="47235">
                  <c:v>-1.84873949579832E-2</c:v>
                </c:pt>
                <c:pt idx="47236">
                  <c:v>-1.84873949579832E-2</c:v>
                </c:pt>
                <c:pt idx="47237">
                  <c:v>-1.84873949579832E-2</c:v>
                </c:pt>
                <c:pt idx="47238">
                  <c:v>-1.84873949579832E-2</c:v>
                </c:pt>
                <c:pt idx="47239">
                  <c:v>-1.84873949579832E-2</c:v>
                </c:pt>
                <c:pt idx="47240">
                  <c:v>-1.84873949579832E-2</c:v>
                </c:pt>
                <c:pt idx="47241">
                  <c:v>-1.84873949579832E-2</c:v>
                </c:pt>
                <c:pt idx="47242">
                  <c:v>-1.84873949579832E-2</c:v>
                </c:pt>
                <c:pt idx="47243">
                  <c:v>-1.84873949579832E-2</c:v>
                </c:pt>
                <c:pt idx="47244">
                  <c:v>-1.84873949579832E-2</c:v>
                </c:pt>
                <c:pt idx="47245">
                  <c:v>-1.84873949579832E-2</c:v>
                </c:pt>
                <c:pt idx="47246">
                  <c:v>-1.84873949579832E-2</c:v>
                </c:pt>
                <c:pt idx="47247">
                  <c:v>-1.84873949579832E-2</c:v>
                </c:pt>
                <c:pt idx="47248">
                  <c:v>-1.84873949579832E-2</c:v>
                </c:pt>
                <c:pt idx="47249">
                  <c:v>-1.84873949579832E-2</c:v>
                </c:pt>
                <c:pt idx="47250">
                  <c:v>-1.84873949579832E-2</c:v>
                </c:pt>
                <c:pt idx="47251">
                  <c:v>-1.84873949579832E-2</c:v>
                </c:pt>
                <c:pt idx="47252">
                  <c:v>-1.84873949579832E-2</c:v>
                </c:pt>
                <c:pt idx="47253">
                  <c:v>-1.84873949579832E-2</c:v>
                </c:pt>
                <c:pt idx="47254">
                  <c:v>-1.84873949579832E-2</c:v>
                </c:pt>
                <c:pt idx="47255">
                  <c:v>-1.84873949579832E-2</c:v>
                </c:pt>
                <c:pt idx="47256">
                  <c:v>-1.84873949579832E-2</c:v>
                </c:pt>
                <c:pt idx="47257">
                  <c:v>-1.84873949579832E-2</c:v>
                </c:pt>
                <c:pt idx="47258">
                  <c:v>-1.84873949579832E-2</c:v>
                </c:pt>
                <c:pt idx="47259">
                  <c:v>-1.84873949579832E-2</c:v>
                </c:pt>
                <c:pt idx="47260">
                  <c:v>-1.84873949579832E-2</c:v>
                </c:pt>
                <c:pt idx="47261">
                  <c:v>-1.84873949579832E-2</c:v>
                </c:pt>
                <c:pt idx="47262">
                  <c:v>-1.84873949579832E-2</c:v>
                </c:pt>
                <c:pt idx="47263">
                  <c:v>-1.84873949579832E-2</c:v>
                </c:pt>
                <c:pt idx="47264">
                  <c:v>-1.84873949579832E-2</c:v>
                </c:pt>
                <c:pt idx="47265">
                  <c:v>-1.84873949579832E-2</c:v>
                </c:pt>
                <c:pt idx="47266">
                  <c:v>-1.84873949579832E-2</c:v>
                </c:pt>
                <c:pt idx="47267">
                  <c:v>-1.84873949579832E-2</c:v>
                </c:pt>
                <c:pt idx="47268">
                  <c:v>-1.84873949579832E-2</c:v>
                </c:pt>
                <c:pt idx="47269">
                  <c:v>-1.84873949579832E-2</c:v>
                </c:pt>
                <c:pt idx="47270">
                  <c:v>-1.84873949579832E-2</c:v>
                </c:pt>
                <c:pt idx="47271">
                  <c:v>-1.84873949579832E-2</c:v>
                </c:pt>
                <c:pt idx="47272">
                  <c:v>-1.84873949579832E-2</c:v>
                </c:pt>
                <c:pt idx="47273">
                  <c:v>-1.84873949579832E-2</c:v>
                </c:pt>
                <c:pt idx="47274">
                  <c:v>-1.84873949579832E-2</c:v>
                </c:pt>
                <c:pt idx="47275">
                  <c:v>-1.84873949579832E-2</c:v>
                </c:pt>
                <c:pt idx="47276">
                  <c:v>-1.84873949579832E-2</c:v>
                </c:pt>
                <c:pt idx="47277">
                  <c:v>-1.84873949579832E-2</c:v>
                </c:pt>
                <c:pt idx="47278">
                  <c:v>-1.84873949579832E-2</c:v>
                </c:pt>
                <c:pt idx="47279">
                  <c:v>-1.84873949579832E-2</c:v>
                </c:pt>
                <c:pt idx="47280">
                  <c:v>-1.84873949579832E-2</c:v>
                </c:pt>
                <c:pt idx="47281">
                  <c:v>-1.84873949579832E-2</c:v>
                </c:pt>
                <c:pt idx="47282">
                  <c:v>-1.84873949579832E-2</c:v>
                </c:pt>
                <c:pt idx="47283">
                  <c:v>-1.84873949579832E-2</c:v>
                </c:pt>
                <c:pt idx="47284">
                  <c:v>-1.84873949579832E-2</c:v>
                </c:pt>
                <c:pt idx="47285">
                  <c:v>-1.84873949579832E-2</c:v>
                </c:pt>
                <c:pt idx="47286">
                  <c:v>-1.84873949579832E-2</c:v>
                </c:pt>
                <c:pt idx="47287">
                  <c:v>-1.84873949579832E-2</c:v>
                </c:pt>
                <c:pt idx="47288">
                  <c:v>-1.84873949579832E-2</c:v>
                </c:pt>
                <c:pt idx="47289">
                  <c:v>-1.84873949579832E-2</c:v>
                </c:pt>
                <c:pt idx="47290">
                  <c:v>-1.84873949579832E-2</c:v>
                </c:pt>
                <c:pt idx="47291">
                  <c:v>-1.84873949579832E-2</c:v>
                </c:pt>
                <c:pt idx="47292">
                  <c:v>-1.84873949579832E-2</c:v>
                </c:pt>
                <c:pt idx="47293">
                  <c:v>-1.84873949579832E-2</c:v>
                </c:pt>
                <c:pt idx="47294">
                  <c:v>-1.84873949579832E-2</c:v>
                </c:pt>
                <c:pt idx="47295">
                  <c:v>-1.84873949579832E-2</c:v>
                </c:pt>
                <c:pt idx="47296">
                  <c:v>-1.84873949579832E-2</c:v>
                </c:pt>
                <c:pt idx="47297">
                  <c:v>-1.84873949579832E-2</c:v>
                </c:pt>
                <c:pt idx="47298">
                  <c:v>-1.84873949579832E-2</c:v>
                </c:pt>
                <c:pt idx="47299">
                  <c:v>-1.84873949579832E-2</c:v>
                </c:pt>
                <c:pt idx="47300">
                  <c:v>-1.84873949579832E-2</c:v>
                </c:pt>
                <c:pt idx="47301">
                  <c:v>-1.84873949579832E-2</c:v>
                </c:pt>
                <c:pt idx="47302">
                  <c:v>-1.84873949579832E-2</c:v>
                </c:pt>
                <c:pt idx="47303">
                  <c:v>-1.84873949579832E-2</c:v>
                </c:pt>
                <c:pt idx="47304">
                  <c:v>-1.84873949579832E-2</c:v>
                </c:pt>
                <c:pt idx="47305">
                  <c:v>-1.84873949579832E-2</c:v>
                </c:pt>
                <c:pt idx="47306">
                  <c:v>-1.84873949579832E-2</c:v>
                </c:pt>
                <c:pt idx="47307">
                  <c:v>-1.84873949579832E-2</c:v>
                </c:pt>
                <c:pt idx="47308">
                  <c:v>-1.84873949579832E-2</c:v>
                </c:pt>
                <c:pt idx="47309">
                  <c:v>-1.84873949579832E-2</c:v>
                </c:pt>
                <c:pt idx="47310">
                  <c:v>-1.84873949579832E-2</c:v>
                </c:pt>
                <c:pt idx="47311">
                  <c:v>-1.84873949579832E-2</c:v>
                </c:pt>
                <c:pt idx="47312">
                  <c:v>-1.84873949579832E-2</c:v>
                </c:pt>
                <c:pt idx="47313">
                  <c:v>-1.84873949579832E-2</c:v>
                </c:pt>
                <c:pt idx="47314">
                  <c:v>-1.84873949579832E-2</c:v>
                </c:pt>
                <c:pt idx="47315">
                  <c:v>-1.84873949579832E-2</c:v>
                </c:pt>
                <c:pt idx="47316">
                  <c:v>-1.84873949579832E-2</c:v>
                </c:pt>
                <c:pt idx="47317">
                  <c:v>-1.84873949579832E-2</c:v>
                </c:pt>
                <c:pt idx="47318">
                  <c:v>-1.84873949579832E-2</c:v>
                </c:pt>
                <c:pt idx="47319">
                  <c:v>-1.84873949579832E-2</c:v>
                </c:pt>
                <c:pt idx="47320">
                  <c:v>-1.84873949579832E-2</c:v>
                </c:pt>
                <c:pt idx="47321">
                  <c:v>-1.84873949579832E-2</c:v>
                </c:pt>
                <c:pt idx="47322">
                  <c:v>-1.84873949579832E-2</c:v>
                </c:pt>
                <c:pt idx="47323">
                  <c:v>-1.84873949579832E-2</c:v>
                </c:pt>
                <c:pt idx="47324">
                  <c:v>-1.84873949579832E-2</c:v>
                </c:pt>
                <c:pt idx="47325">
                  <c:v>-1.84873949579832E-2</c:v>
                </c:pt>
                <c:pt idx="47326">
                  <c:v>-1.84873949579832E-2</c:v>
                </c:pt>
                <c:pt idx="47327">
                  <c:v>-1.84873949579832E-2</c:v>
                </c:pt>
                <c:pt idx="47328">
                  <c:v>-1.84873949579832E-2</c:v>
                </c:pt>
                <c:pt idx="47329">
                  <c:v>-1.84873949579832E-2</c:v>
                </c:pt>
                <c:pt idx="47330">
                  <c:v>-1.84873949579832E-2</c:v>
                </c:pt>
                <c:pt idx="47331">
                  <c:v>-1.84873949579832E-2</c:v>
                </c:pt>
                <c:pt idx="47332">
                  <c:v>-1.84873949579832E-2</c:v>
                </c:pt>
                <c:pt idx="47333">
                  <c:v>-1.84873949579832E-2</c:v>
                </c:pt>
                <c:pt idx="47334">
                  <c:v>-1.84873949579832E-2</c:v>
                </c:pt>
                <c:pt idx="47335">
                  <c:v>-1.84873949579832E-2</c:v>
                </c:pt>
                <c:pt idx="47336">
                  <c:v>-1.84873949579832E-2</c:v>
                </c:pt>
                <c:pt idx="47337">
                  <c:v>-1.84873949579832E-2</c:v>
                </c:pt>
                <c:pt idx="47338">
                  <c:v>-1.84873949579832E-2</c:v>
                </c:pt>
                <c:pt idx="47339">
                  <c:v>-1.84873949579832E-2</c:v>
                </c:pt>
                <c:pt idx="47340">
                  <c:v>-1.84873949579832E-2</c:v>
                </c:pt>
                <c:pt idx="47341">
                  <c:v>-1.84873949579832E-2</c:v>
                </c:pt>
                <c:pt idx="47342">
                  <c:v>-1.84873949579832E-2</c:v>
                </c:pt>
                <c:pt idx="47343">
                  <c:v>-1.84873949579832E-2</c:v>
                </c:pt>
                <c:pt idx="47344">
                  <c:v>-1.84873949579832E-2</c:v>
                </c:pt>
                <c:pt idx="47345">
                  <c:v>-1.84873949579832E-2</c:v>
                </c:pt>
                <c:pt idx="47346">
                  <c:v>-1.84873949579832E-2</c:v>
                </c:pt>
                <c:pt idx="47347">
                  <c:v>-1.84873949579832E-2</c:v>
                </c:pt>
                <c:pt idx="47348">
                  <c:v>-1.84873949579832E-2</c:v>
                </c:pt>
                <c:pt idx="47349">
                  <c:v>-1.84873949579832E-2</c:v>
                </c:pt>
                <c:pt idx="47350">
                  <c:v>-1.84873949579832E-2</c:v>
                </c:pt>
                <c:pt idx="47351">
                  <c:v>-1.84873949579832E-2</c:v>
                </c:pt>
                <c:pt idx="47352">
                  <c:v>-1.84873949579832E-2</c:v>
                </c:pt>
                <c:pt idx="47353">
                  <c:v>-1.84873949579832E-2</c:v>
                </c:pt>
                <c:pt idx="47354">
                  <c:v>-1.84873949579832E-2</c:v>
                </c:pt>
                <c:pt idx="47355">
                  <c:v>-1.84873949579832E-2</c:v>
                </c:pt>
                <c:pt idx="47356">
                  <c:v>-1.84873949579832E-2</c:v>
                </c:pt>
                <c:pt idx="47357">
                  <c:v>-1.84873949579832E-2</c:v>
                </c:pt>
                <c:pt idx="47358">
                  <c:v>-1.84873949579832E-2</c:v>
                </c:pt>
                <c:pt idx="47359">
                  <c:v>-1.84873949579832E-2</c:v>
                </c:pt>
                <c:pt idx="47360">
                  <c:v>-1.84873949579832E-2</c:v>
                </c:pt>
                <c:pt idx="47361">
                  <c:v>-1.84873949579832E-2</c:v>
                </c:pt>
                <c:pt idx="47362">
                  <c:v>-1.84873949579832E-2</c:v>
                </c:pt>
                <c:pt idx="47363">
                  <c:v>-1.84873949579832E-2</c:v>
                </c:pt>
                <c:pt idx="47364">
                  <c:v>-1.84873949579832E-2</c:v>
                </c:pt>
                <c:pt idx="47365">
                  <c:v>-1.84873949579832E-2</c:v>
                </c:pt>
                <c:pt idx="47366">
                  <c:v>-1.84873949579832E-2</c:v>
                </c:pt>
                <c:pt idx="47367">
                  <c:v>-1.84873949579832E-2</c:v>
                </c:pt>
                <c:pt idx="47368">
                  <c:v>-1.84873949579832E-2</c:v>
                </c:pt>
                <c:pt idx="47369">
                  <c:v>-1.84873949579832E-2</c:v>
                </c:pt>
                <c:pt idx="47370">
                  <c:v>-1.84873949579832E-2</c:v>
                </c:pt>
                <c:pt idx="47371">
                  <c:v>-1.84873949579832E-2</c:v>
                </c:pt>
                <c:pt idx="47372">
                  <c:v>-1.84873949579832E-2</c:v>
                </c:pt>
                <c:pt idx="47373">
                  <c:v>-1.84873949579832E-2</c:v>
                </c:pt>
                <c:pt idx="47374">
                  <c:v>-1.84873949579832E-2</c:v>
                </c:pt>
                <c:pt idx="47375">
                  <c:v>-1.84873949579832E-2</c:v>
                </c:pt>
                <c:pt idx="47376">
                  <c:v>-1.84873949579832E-2</c:v>
                </c:pt>
                <c:pt idx="47377">
                  <c:v>-1.84873949579832E-2</c:v>
                </c:pt>
                <c:pt idx="47378">
                  <c:v>-1.84873949579832E-2</c:v>
                </c:pt>
                <c:pt idx="47379">
                  <c:v>-1.84873949579832E-2</c:v>
                </c:pt>
                <c:pt idx="47380">
                  <c:v>-1.84873949579832E-2</c:v>
                </c:pt>
                <c:pt idx="47381">
                  <c:v>-1.84873949579832E-2</c:v>
                </c:pt>
                <c:pt idx="47382">
                  <c:v>-1.84873949579832E-2</c:v>
                </c:pt>
                <c:pt idx="47383">
                  <c:v>-1.84873949579832E-2</c:v>
                </c:pt>
                <c:pt idx="47384">
                  <c:v>-1.84873949579832E-2</c:v>
                </c:pt>
                <c:pt idx="47385">
                  <c:v>-1.84873949579832E-2</c:v>
                </c:pt>
                <c:pt idx="47386">
                  <c:v>-1.84873949579832E-2</c:v>
                </c:pt>
                <c:pt idx="47387">
                  <c:v>-1.84873949579832E-2</c:v>
                </c:pt>
                <c:pt idx="47388">
                  <c:v>-1.84873949579832E-2</c:v>
                </c:pt>
                <c:pt idx="47389">
                  <c:v>-1.84873949579832E-2</c:v>
                </c:pt>
                <c:pt idx="47390">
                  <c:v>-1.84873949579832E-2</c:v>
                </c:pt>
                <c:pt idx="47391">
                  <c:v>-1.84873949579832E-2</c:v>
                </c:pt>
                <c:pt idx="47392">
                  <c:v>-1.84873949579832E-2</c:v>
                </c:pt>
                <c:pt idx="47393">
                  <c:v>-1.84873949579832E-2</c:v>
                </c:pt>
                <c:pt idx="47394">
                  <c:v>-1.84873949579832E-2</c:v>
                </c:pt>
                <c:pt idx="47395">
                  <c:v>-1.84873949579832E-2</c:v>
                </c:pt>
                <c:pt idx="47396">
                  <c:v>-1.84873949579832E-2</c:v>
                </c:pt>
                <c:pt idx="47397">
                  <c:v>-1.84873949579832E-2</c:v>
                </c:pt>
                <c:pt idx="47398">
                  <c:v>-1.84873949579832E-2</c:v>
                </c:pt>
                <c:pt idx="47399">
                  <c:v>-1.84873949579832E-2</c:v>
                </c:pt>
                <c:pt idx="47400">
                  <c:v>-1.84873949579832E-2</c:v>
                </c:pt>
                <c:pt idx="47401">
                  <c:v>-1.84873949579832E-2</c:v>
                </c:pt>
                <c:pt idx="47402">
                  <c:v>-1.84873949579832E-2</c:v>
                </c:pt>
                <c:pt idx="47403">
                  <c:v>-1.84873949579832E-2</c:v>
                </c:pt>
                <c:pt idx="47404">
                  <c:v>-1.84873949579832E-2</c:v>
                </c:pt>
                <c:pt idx="47405">
                  <c:v>-1.84873949579832E-2</c:v>
                </c:pt>
                <c:pt idx="47406">
                  <c:v>-1.84873949579832E-2</c:v>
                </c:pt>
                <c:pt idx="47407">
                  <c:v>-1.84873949579832E-2</c:v>
                </c:pt>
                <c:pt idx="47408">
                  <c:v>-1.84873949579832E-2</c:v>
                </c:pt>
                <c:pt idx="47409">
                  <c:v>-1.84873949579832E-2</c:v>
                </c:pt>
                <c:pt idx="47410">
                  <c:v>-1.84873949579832E-2</c:v>
                </c:pt>
                <c:pt idx="47411">
                  <c:v>-1.84873949579832E-2</c:v>
                </c:pt>
                <c:pt idx="47412">
                  <c:v>-1.84873949579832E-2</c:v>
                </c:pt>
                <c:pt idx="47413">
                  <c:v>-1.7647058823529401E-2</c:v>
                </c:pt>
                <c:pt idx="47414">
                  <c:v>-1.7647058823529401E-2</c:v>
                </c:pt>
                <c:pt idx="47415">
                  <c:v>-1.7647058823529401E-2</c:v>
                </c:pt>
                <c:pt idx="47416">
                  <c:v>-1.7647058823529401E-2</c:v>
                </c:pt>
                <c:pt idx="47417">
                  <c:v>-1.7647058823529401E-2</c:v>
                </c:pt>
                <c:pt idx="47418">
                  <c:v>-1.7647058823529401E-2</c:v>
                </c:pt>
                <c:pt idx="47419">
                  <c:v>-1.7647058823529401E-2</c:v>
                </c:pt>
                <c:pt idx="47420">
                  <c:v>-1.7647058823529401E-2</c:v>
                </c:pt>
                <c:pt idx="47421">
                  <c:v>-1.7647058823529401E-2</c:v>
                </c:pt>
                <c:pt idx="47422">
                  <c:v>-1.7647058823529401E-2</c:v>
                </c:pt>
                <c:pt idx="47423">
                  <c:v>-1.7647058823529401E-2</c:v>
                </c:pt>
                <c:pt idx="47424">
                  <c:v>-1.7647058823529401E-2</c:v>
                </c:pt>
                <c:pt idx="47425">
                  <c:v>-1.7647058823529401E-2</c:v>
                </c:pt>
                <c:pt idx="47426">
                  <c:v>-1.7647058823529401E-2</c:v>
                </c:pt>
                <c:pt idx="47427">
                  <c:v>-1.7647058823529401E-2</c:v>
                </c:pt>
                <c:pt idx="47428">
                  <c:v>-1.7647058823529401E-2</c:v>
                </c:pt>
                <c:pt idx="47429">
                  <c:v>-1.7647058823529401E-2</c:v>
                </c:pt>
                <c:pt idx="47430">
                  <c:v>-1.7647058823529401E-2</c:v>
                </c:pt>
                <c:pt idx="47431">
                  <c:v>-1.7647058823529401E-2</c:v>
                </c:pt>
                <c:pt idx="47432">
                  <c:v>-1.6806722689075598E-2</c:v>
                </c:pt>
                <c:pt idx="47433">
                  <c:v>-1.6806722689075598E-2</c:v>
                </c:pt>
                <c:pt idx="47434">
                  <c:v>-1.6806722689075598E-2</c:v>
                </c:pt>
                <c:pt idx="47435">
                  <c:v>-1.6806722689075598E-2</c:v>
                </c:pt>
                <c:pt idx="47436">
                  <c:v>-1.6806722689075598E-2</c:v>
                </c:pt>
                <c:pt idx="47437">
                  <c:v>-1.6806722689075598E-2</c:v>
                </c:pt>
                <c:pt idx="47438">
                  <c:v>-1.6806722689075598E-2</c:v>
                </c:pt>
                <c:pt idx="47439">
                  <c:v>-1.6806722689075598E-2</c:v>
                </c:pt>
                <c:pt idx="47440">
                  <c:v>-1.6806722689075598E-2</c:v>
                </c:pt>
                <c:pt idx="47441">
                  <c:v>-1.59663865546219E-2</c:v>
                </c:pt>
                <c:pt idx="47442">
                  <c:v>-1.59663865546219E-2</c:v>
                </c:pt>
                <c:pt idx="47443">
                  <c:v>-1.59663865546219E-2</c:v>
                </c:pt>
                <c:pt idx="47444">
                  <c:v>-1.59663865546219E-2</c:v>
                </c:pt>
                <c:pt idx="47445">
                  <c:v>-1.59663865546219E-2</c:v>
                </c:pt>
                <c:pt idx="47446">
                  <c:v>-1.59663865546219E-2</c:v>
                </c:pt>
                <c:pt idx="47447">
                  <c:v>-1.59663865546219E-2</c:v>
                </c:pt>
                <c:pt idx="47448">
                  <c:v>-1.59663865546219E-2</c:v>
                </c:pt>
                <c:pt idx="47449">
                  <c:v>-1.59663865546219E-2</c:v>
                </c:pt>
                <c:pt idx="47450">
                  <c:v>-1.59663865546219E-2</c:v>
                </c:pt>
                <c:pt idx="47451">
                  <c:v>-1.59663865546219E-2</c:v>
                </c:pt>
                <c:pt idx="47452">
                  <c:v>-1.59663865546219E-2</c:v>
                </c:pt>
                <c:pt idx="47453">
                  <c:v>-1.59663865546219E-2</c:v>
                </c:pt>
                <c:pt idx="47454">
                  <c:v>-1.59663865546219E-2</c:v>
                </c:pt>
                <c:pt idx="47455">
                  <c:v>-1.59663865546219E-2</c:v>
                </c:pt>
                <c:pt idx="47456">
                  <c:v>-1.59663865546219E-2</c:v>
                </c:pt>
                <c:pt idx="47457">
                  <c:v>-1.59663865546219E-2</c:v>
                </c:pt>
                <c:pt idx="47458">
                  <c:v>-1.59663865546219E-2</c:v>
                </c:pt>
                <c:pt idx="47459">
                  <c:v>-1.59663865546219E-2</c:v>
                </c:pt>
                <c:pt idx="47460">
                  <c:v>-1.59663865546219E-2</c:v>
                </c:pt>
                <c:pt idx="47461">
                  <c:v>-1.59663865546219E-2</c:v>
                </c:pt>
                <c:pt idx="47462">
                  <c:v>-1.59663865546219E-2</c:v>
                </c:pt>
                <c:pt idx="47463">
                  <c:v>-1.59663865546219E-2</c:v>
                </c:pt>
                <c:pt idx="47464">
                  <c:v>-1.59663865546219E-2</c:v>
                </c:pt>
                <c:pt idx="47465">
                  <c:v>-1.59663865546219E-2</c:v>
                </c:pt>
                <c:pt idx="47466">
                  <c:v>-1.59663865546219E-2</c:v>
                </c:pt>
                <c:pt idx="47467">
                  <c:v>-1.59663865546219E-2</c:v>
                </c:pt>
                <c:pt idx="47468">
                  <c:v>-1.59663865546219E-2</c:v>
                </c:pt>
                <c:pt idx="47469">
                  <c:v>-1.59663865546219E-2</c:v>
                </c:pt>
                <c:pt idx="47470">
                  <c:v>-1.59663865546219E-2</c:v>
                </c:pt>
                <c:pt idx="47471">
                  <c:v>-1.59663865546219E-2</c:v>
                </c:pt>
                <c:pt idx="47472">
                  <c:v>-1.59663865546219E-2</c:v>
                </c:pt>
                <c:pt idx="47473">
                  <c:v>-1.59663865546219E-2</c:v>
                </c:pt>
                <c:pt idx="47474">
                  <c:v>-1.59663865546219E-2</c:v>
                </c:pt>
                <c:pt idx="47475">
                  <c:v>-1.59663865546219E-2</c:v>
                </c:pt>
                <c:pt idx="47476">
                  <c:v>-1.59663865546219E-2</c:v>
                </c:pt>
                <c:pt idx="47477">
                  <c:v>-1.59663865546219E-2</c:v>
                </c:pt>
                <c:pt idx="47478">
                  <c:v>-1.59663865546219E-2</c:v>
                </c:pt>
                <c:pt idx="47479">
                  <c:v>-1.59663865546219E-2</c:v>
                </c:pt>
                <c:pt idx="47480">
                  <c:v>-1.59663865546219E-2</c:v>
                </c:pt>
                <c:pt idx="47481">
                  <c:v>-1.59663865546219E-2</c:v>
                </c:pt>
                <c:pt idx="47482">
                  <c:v>-1.59663865546219E-2</c:v>
                </c:pt>
                <c:pt idx="47483">
                  <c:v>-1.59663865546219E-2</c:v>
                </c:pt>
                <c:pt idx="47484">
                  <c:v>-1.59663865546219E-2</c:v>
                </c:pt>
                <c:pt idx="47485">
                  <c:v>-1.59663865546219E-2</c:v>
                </c:pt>
                <c:pt idx="47486">
                  <c:v>-1.59663865546219E-2</c:v>
                </c:pt>
                <c:pt idx="47487">
                  <c:v>-1.59663865546219E-2</c:v>
                </c:pt>
                <c:pt idx="47488">
                  <c:v>-1.59663865546219E-2</c:v>
                </c:pt>
                <c:pt idx="47489">
                  <c:v>-1.59663865546219E-2</c:v>
                </c:pt>
                <c:pt idx="47490">
                  <c:v>-1.59663865546219E-2</c:v>
                </c:pt>
                <c:pt idx="47491">
                  <c:v>-1.59663865546219E-2</c:v>
                </c:pt>
                <c:pt idx="47492">
                  <c:v>-1.59663865546219E-2</c:v>
                </c:pt>
                <c:pt idx="47493">
                  <c:v>-1.6806722689075598E-2</c:v>
                </c:pt>
                <c:pt idx="47494">
                  <c:v>-1.6806722689075598E-2</c:v>
                </c:pt>
                <c:pt idx="47495">
                  <c:v>-1.6806722689075598E-2</c:v>
                </c:pt>
                <c:pt idx="47496">
                  <c:v>-1.6806722689075598E-2</c:v>
                </c:pt>
                <c:pt idx="47497">
                  <c:v>-1.6806722689075598E-2</c:v>
                </c:pt>
                <c:pt idx="47498">
                  <c:v>-1.6806722689075598E-2</c:v>
                </c:pt>
                <c:pt idx="47499">
                  <c:v>-1.6806722689075598E-2</c:v>
                </c:pt>
                <c:pt idx="47500">
                  <c:v>-1.6806722689075598E-2</c:v>
                </c:pt>
                <c:pt idx="47501">
                  <c:v>-1.6806722689075598E-2</c:v>
                </c:pt>
                <c:pt idx="47502">
                  <c:v>-1.6806722689075598E-2</c:v>
                </c:pt>
                <c:pt idx="47503">
                  <c:v>-1.6806722689075598E-2</c:v>
                </c:pt>
                <c:pt idx="47504">
                  <c:v>-1.6806722689075598E-2</c:v>
                </c:pt>
                <c:pt idx="47505">
                  <c:v>-1.6806722689075598E-2</c:v>
                </c:pt>
                <c:pt idx="47506">
                  <c:v>-1.6806722689075598E-2</c:v>
                </c:pt>
                <c:pt idx="47507">
                  <c:v>-1.6806722689075598E-2</c:v>
                </c:pt>
                <c:pt idx="47508">
                  <c:v>-1.6806722689075598E-2</c:v>
                </c:pt>
                <c:pt idx="47509">
                  <c:v>-1.6806722689075598E-2</c:v>
                </c:pt>
                <c:pt idx="47510">
                  <c:v>-1.6806722689075598E-2</c:v>
                </c:pt>
                <c:pt idx="47511">
                  <c:v>-1.6806722689075598E-2</c:v>
                </c:pt>
                <c:pt idx="47512">
                  <c:v>-1.6806722689075598E-2</c:v>
                </c:pt>
                <c:pt idx="47513">
                  <c:v>-1.6806722689075598E-2</c:v>
                </c:pt>
                <c:pt idx="47514">
                  <c:v>-1.6806722689075598E-2</c:v>
                </c:pt>
                <c:pt idx="47515">
                  <c:v>-1.6806722689075598E-2</c:v>
                </c:pt>
                <c:pt idx="47516">
                  <c:v>-1.6806722689075598E-2</c:v>
                </c:pt>
                <c:pt idx="47517">
                  <c:v>-1.6806722689075598E-2</c:v>
                </c:pt>
                <c:pt idx="47518">
                  <c:v>-1.6806722689075598E-2</c:v>
                </c:pt>
                <c:pt idx="47519">
                  <c:v>-1.6806722689075598E-2</c:v>
                </c:pt>
                <c:pt idx="47520">
                  <c:v>-1.6806722689075598E-2</c:v>
                </c:pt>
                <c:pt idx="47521">
                  <c:v>-1.6806722689075598E-2</c:v>
                </c:pt>
                <c:pt idx="47522">
                  <c:v>-1.6806722689075598E-2</c:v>
                </c:pt>
                <c:pt idx="47523">
                  <c:v>-1.6806722689075598E-2</c:v>
                </c:pt>
                <c:pt idx="47524">
                  <c:v>-1.6806722689075598E-2</c:v>
                </c:pt>
                <c:pt idx="47525">
                  <c:v>-1.6806722689075598E-2</c:v>
                </c:pt>
                <c:pt idx="47526">
                  <c:v>-1.6806722689075598E-2</c:v>
                </c:pt>
                <c:pt idx="47527">
                  <c:v>-1.6806722689075598E-2</c:v>
                </c:pt>
                <c:pt idx="47528">
                  <c:v>-1.6806722689075598E-2</c:v>
                </c:pt>
                <c:pt idx="47529">
                  <c:v>-1.6806722689075598E-2</c:v>
                </c:pt>
                <c:pt idx="47530">
                  <c:v>-1.6806722689075598E-2</c:v>
                </c:pt>
                <c:pt idx="47531">
                  <c:v>-1.6806722689075598E-2</c:v>
                </c:pt>
                <c:pt idx="47532">
                  <c:v>-1.6806722689075598E-2</c:v>
                </c:pt>
                <c:pt idx="47533">
                  <c:v>-1.6806722689075598E-2</c:v>
                </c:pt>
                <c:pt idx="47534">
                  <c:v>-1.6806722689075598E-2</c:v>
                </c:pt>
                <c:pt idx="47535">
                  <c:v>-1.6806722689075598E-2</c:v>
                </c:pt>
                <c:pt idx="47536">
                  <c:v>-1.6806722689075598E-2</c:v>
                </c:pt>
                <c:pt idx="47537">
                  <c:v>-1.6806722689075598E-2</c:v>
                </c:pt>
                <c:pt idx="47538">
                  <c:v>-1.6806722689075598E-2</c:v>
                </c:pt>
                <c:pt idx="47539">
                  <c:v>-1.6806722689075598E-2</c:v>
                </c:pt>
                <c:pt idx="47540">
                  <c:v>-1.6806722689075598E-2</c:v>
                </c:pt>
                <c:pt idx="47541">
                  <c:v>-1.6806722689075598E-2</c:v>
                </c:pt>
                <c:pt idx="47542">
                  <c:v>-1.6806722689075598E-2</c:v>
                </c:pt>
                <c:pt idx="47543">
                  <c:v>-1.6806722689075598E-2</c:v>
                </c:pt>
                <c:pt idx="47544">
                  <c:v>-1.6806722689075598E-2</c:v>
                </c:pt>
                <c:pt idx="47545">
                  <c:v>-1.6806722689075598E-2</c:v>
                </c:pt>
                <c:pt idx="47546">
                  <c:v>-1.6806722689075598E-2</c:v>
                </c:pt>
                <c:pt idx="47547">
                  <c:v>-1.6806722689075598E-2</c:v>
                </c:pt>
                <c:pt idx="47548">
                  <c:v>-1.6806722689075598E-2</c:v>
                </c:pt>
                <c:pt idx="47549">
                  <c:v>-1.6806722689075598E-2</c:v>
                </c:pt>
                <c:pt idx="47550">
                  <c:v>-1.6806722689075598E-2</c:v>
                </c:pt>
                <c:pt idx="47551">
                  <c:v>-1.6806722689075598E-2</c:v>
                </c:pt>
                <c:pt idx="47552">
                  <c:v>-1.6806722689075598E-2</c:v>
                </c:pt>
                <c:pt idx="47553">
                  <c:v>-1.6806722689075598E-2</c:v>
                </c:pt>
                <c:pt idx="47554">
                  <c:v>-1.6806722689075598E-2</c:v>
                </c:pt>
                <c:pt idx="47555">
                  <c:v>-1.6806722689075598E-2</c:v>
                </c:pt>
                <c:pt idx="47556">
                  <c:v>-1.6806722689075598E-2</c:v>
                </c:pt>
                <c:pt idx="47557">
                  <c:v>-1.6806722689075598E-2</c:v>
                </c:pt>
                <c:pt idx="47558">
                  <c:v>-1.6806722689075598E-2</c:v>
                </c:pt>
                <c:pt idx="47559">
                  <c:v>-1.6806722689075598E-2</c:v>
                </c:pt>
                <c:pt idx="47560">
                  <c:v>-1.6806722689075598E-2</c:v>
                </c:pt>
                <c:pt idx="47561">
                  <c:v>-1.6806722689075598E-2</c:v>
                </c:pt>
                <c:pt idx="47562">
                  <c:v>-1.6806722689075598E-2</c:v>
                </c:pt>
                <c:pt idx="47563">
                  <c:v>-1.6806722689075598E-2</c:v>
                </c:pt>
                <c:pt idx="47564">
                  <c:v>-1.6806722689075598E-2</c:v>
                </c:pt>
                <c:pt idx="47565">
                  <c:v>-1.7647058823529401E-2</c:v>
                </c:pt>
                <c:pt idx="47566">
                  <c:v>-1.7647058823529401E-2</c:v>
                </c:pt>
                <c:pt idx="47567">
                  <c:v>-1.7647058823529401E-2</c:v>
                </c:pt>
                <c:pt idx="47568">
                  <c:v>-1.7647058823529401E-2</c:v>
                </c:pt>
                <c:pt idx="47569">
                  <c:v>-1.7647058823529401E-2</c:v>
                </c:pt>
                <c:pt idx="47570">
                  <c:v>-1.7647058823529401E-2</c:v>
                </c:pt>
                <c:pt idx="47571">
                  <c:v>-1.7647058823529401E-2</c:v>
                </c:pt>
                <c:pt idx="47572">
                  <c:v>-1.7647058823529401E-2</c:v>
                </c:pt>
                <c:pt idx="47573">
                  <c:v>-1.7647058823529401E-2</c:v>
                </c:pt>
                <c:pt idx="47574">
                  <c:v>-1.7647058823529401E-2</c:v>
                </c:pt>
                <c:pt idx="47575">
                  <c:v>-1.7647058823529401E-2</c:v>
                </c:pt>
                <c:pt idx="47576">
                  <c:v>-1.7647058823529401E-2</c:v>
                </c:pt>
                <c:pt idx="47577">
                  <c:v>-1.7647058823529401E-2</c:v>
                </c:pt>
                <c:pt idx="47578">
                  <c:v>-1.7647058823529401E-2</c:v>
                </c:pt>
                <c:pt idx="47579">
                  <c:v>-1.7647058823529401E-2</c:v>
                </c:pt>
                <c:pt idx="47580">
                  <c:v>-1.6806722689075598E-2</c:v>
                </c:pt>
                <c:pt idx="47581">
                  <c:v>-1.6806722689075598E-2</c:v>
                </c:pt>
                <c:pt idx="47582">
                  <c:v>-1.6806722689075598E-2</c:v>
                </c:pt>
                <c:pt idx="47583">
                  <c:v>-1.6806722689075598E-2</c:v>
                </c:pt>
                <c:pt idx="47584">
                  <c:v>-1.6806722689075598E-2</c:v>
                </c:pt>
                <c:pt idx="47585">
                  <c:v>-1.6806722689075598E-2</c:v>
                </c:pt>
                <c:pt idx="47586">
                  <c:v>-1.6806722689075598E-2</c:v>
                </c:pt>
                <c:pt idx="47587">
                  <c:v>-1.6806722689075598E-2</c:v>
                </c:pt>
                <c:pt idx="47588">
                  <c:v>-1.6806722689075598E-2</c:v>
                </c:pt>
                <c:pt idx="47589">
                  <c:v>-1.6806722689075598E-2</c:v>
                </c:pt>
                <c:pt idx="47590">
                  <c:v>-1.6806722689075598E-2</c:v>
                </c:pt>
                <c:pt idx="47591">
                  <c:v>-1.6806722689075598E-2</c:v>
                </c:pt>
                <c:pt idx="47592">
                  <c:v>-1.6806722689075598E-2</c:v>
                </c:pt>
                <c:pt idx="47593">
                  <c:v>-1.6806722689075598E-2</c:v>
                </c:pt>
                <c:pt idx="47594">
                  <c:v>-1.6806722689075598E-2</c:v>
                </c:pt>
                <c:pt idx="47595">
                  <c:v>-1.6806722689075598E-2</c:v>
                </c:pt>
                <c:pt idx="47596">
                  <c:v>-1.6806722689075598E-2</c:v>
                </c:pt>
                <c:pt idx="47597">
                  <c:v>-1.6806722689075598E-2</c:v>
                </c:pt>
                <c:pt idx="47598">
                  <c:v>-1.6806722689075598E-2</c:v>
                </c:pt>
                <c:pt idx="47599">
                  <c:v>-1.6806722689075598E-2</c:v>
                </c:pt>
                <c:pt idx="47600">
                  <c:v>-1.6806722689075598E-2</c:v>
                </c:pt>
                <c:pt idx="47601">
                  <c:v>-1.6806722689075598E-2</c:v>
                </c:pt>
                <c:pt idx="47602">
                  <c:v>-1.6806722689075598E-2</c:v>
                </c:pt>
                <c:pt idx="47603">
                  <c:v>-1.6806722689075598E-2</c:v>
                </c:pt>
                <c:pt idx="47604">
                  <c:v>-1.6806722689075598E-2</c:v>
                </c:pt>
                <c:pt idx="47605">
                  <c:v>-1.6806722689075598E-2</c:v>
                </c:pt>
                <c:pt idx="47606">
                  <c:v>-1.6806722689075598E-2</c:v>
                </c:pt>
                <c:pt idx="47607">
                  <c:v>-1.6806722689075598E-2</c:v>
                </c:pt>
                <c:pt idx="47608">
                  <c:v>-1.6806722689075598E-2</c:v>
                </c:pt>
                <c:pt idx="47609">
                  <c:v>-1.6806722689075598E-2</c:v>
                </c:pt>
                <c:pt idx="47610">
                  <c:v>-1.6806722689075598E-2</c:v>
                </c:pt>
                <c:pt idx="47611">
                  <c:v>-1.6806722689075598E-2</c:v>
                </c:pt>
                <c:pt idx="47612">
                  <c:v>-1.6806722689075598E-2</c:v>
                </c:pt>
                <c:pt idx="47613">
                  <c:v>-1.6806722689075598E-2</c:v>
                </c:pt>
                <c:pt idx="47614">
                  <c:v>-1.6806722689075598E-2</c:v>
                </c:pt>
                <c:pt idx="47615">
                  <c:v>-1.6806722689075598E-2</c:v>
                </c:pt>
                <c:pt idx="47616">
                  <c:v>-1.6806722689075598E-2</c:v>
                </c:pt>
                <c:pt idx="47617">
                  <c:v>-1.6806722689075598E-2</c:v>
                </c:pt>
                <c:pt idx="47618">
                  <c:v>-1.6806722689075598E-2</c:v>
                </c:pt>
                <c:pt idx="47619">
                  <c:v>-1.6806722689075598E-2</c:v>
                </c:pt>
                <c:pt idx="47620">
                  <c:v>-1.6806722689075598E-2</c:v>
                </c:pt>
                <c:pt idx="47621">
                  <c:v>-1.6806722689075598E-2</c:v>
                </c:pt>
                <c:pt idx="47622">
                  <c:v>-1.6806722689075598E-2</c:v>
                </c:pt>
                <c:pt idx="47623">
                  <c:v>-1.6806722689075598E-2</c:v>
                </c:pt>
                <c:pt idx="47624">
                  <c:v>-1.6806722689075598E-2</c:v>
                </c:pt>
                <c:pt idx="47625">
                  <c:v>-1.6806722689075598E-2</c:v>
                </c:pt>
                <c:pt idx="47626">
                  <c:v>-1.6806722689075598E-2</c:v>
                </c:pt>
                <c:pt idx="47627">
                  <c:v>-1.6806722689075598E-2</c:v>
                </c:pt>
                <c:pt idx="47628">
                  <c:v>-1.6806722689075598E-2</c:v>
                </c:pt>
                <c:pt idx="47629">
                  <c:v>-1.6806722689075598E-2</c:v>
                </c:pt>
                <c:pt idx="47630">
                  <c:v>-1.6806722689075598E-2</c:v>
                </c:pt>
                <c:pt idx="47631">
                  <c:v>-1.6806722689075598E-2</c:v>
                </c:pt>
                <c:pt idx="47632">
                  <c:v>-1.6806722689075598E-2</c:v>
                </c:pt>
                <c:pt idx="47633">
                  <c:v>-1.6806722689075598E-2</c:v>
                </c:pt>
                <c:pt idx="47634">
                  <c:v>-1.6806722689075598E-2</c:v>
                </c:pt>
                <c:pt idx="47635">
                  <c:v>-1.6806722689075598E-2</c:v>
                </c:pt>
                <c:pt idx="47636">
                  <c:v>-1.6806722689075598E-2</c:v>
                </c:pt>
                <c:pt idx="47637">
                  <c:v>-1.6806722689075598E-2</c:v>
                </c:pt>
                <c:pt idx="47638">
                  <c:v>-1.6806722689075598E-2</c:v>
                </c:pt>
                <c:pt idx="47639">
                  <c:v>-1.6806722689075598E-2</c:v>
                </c:pt>
                <c:pt idx="47640">
                  <c:v>-1.6806722689075598E-2</c:v>
                </c:pt>
                <c:pt idx="47641">
                  <c:v>-1.6806722689075598E-2</c:v>
                </c:pt>
                <c:pt idx="47642">
                  <c:v>-1.6806722689075598E-2</c:v>
                </c:pt>
                <c:pt idx="47643">
                  <c:v>-1.6806722689075598E-2</c:v>
                </c:pt>
                <c:pt idx="47644">
                  <c:v>-1.6806722689075598E-2</c:v>
                </c:pt>
                <c:pt idx="47645">
                  <c:v>-1.6806722689075598E-2</c:v>
                </c:pt>
                <c:pt idx="47646">
                  <c:v>-1.6806722689075598E-2</c:v>
                </c:pt>
                <c:pt idx="47647">
                  <c:v>-1.6806722689075598E-2</c:v>
                </c:pt>
                <c:pt idx="47648">
                  <c:v>-1.6806722689075598E-2</c:v>
                </c:pt>
                <c:pt idx="47649">
                  <c:v>-1.6806722689075598E-2</c:v>
                </c:pt>
                <c:pt idx="47650">
                  <c:v>-1.6806722689075598E-2</c:v>
                </c:pt>
                <c:pt idx="47651">
                  <c:v>-1.6806722689075598E-2</c:v>
                </c:pt>
                <c:pt idx="47652">
                  <c:v>-1.6806722689075598E-2</c:v>
                </c:pt>
                <c:pt idx="47653">
                  <c:v>-1.6806722689075598E-2</c:v>
                </c:pt>
                <c:pt idx="47654">
                  <c:v>-1.6806722689075598E-2</c:v>
                </c:pt>
                <c:pt idx="47655">
                  <c:v>-1.6806722689075598E-2</c:v>
                </c:pt>
                <c:pt idx="47656">
                  <c:v>-1.6806722689075598E-2</c:v>
                </c:pt>
                <c:pt idx="47657">
                  <c:v>-1.6806722689075598E-2</c:v>
                </c:pt>
                <c:pt idx="47658">
                  <c:v>-1.6806722689075598E-2</c:v>
                </c:pt>
                <c:pt idx="47659">
                  <c:v>-1.6806722689075598E-2</c:v>
                </c:pt>
                <c:pt idx="47660">
                  <c:v>-1.7647058823529401E-2</c:v>
                </c:pt>
                <c:pt idx="47661">
                  <c:v>-1.7647058823529401E-2</c:v>
                </c:pt>
                <c:pt idx="47662">
                  <c:v>-1.7647058823529401E-2</c:v>
                </c:pt>
                <c:pt idx="47663">
                  <c:v>-1.7647058823529401E-2</c:v>
                </c:pt>
                <c:pt idx="47664">
                  <c:v>-1.7647058823529401E-2</c:v>
                </c:pt>
                <c:pt idx="47665">
                  <c:v>-1.7647058823529401E-2</c:v>
                </c:pt>
                <c:pt idx="47666">
                  <c:v>-1.7647058823529401E-2</c:v>
                </c:pt>
                <c:pt idx="47667">
                  <c:v>-1.7647058823529401E-2</c:v>
                </c:pt>
                <c:pt idx="47668">
                  <c:v>-1.7647058823529401E-2</c:v>
                </c:pt>
                <c:pt idx="47669">
                  <c:v>-1.7647058823529401E-2</c:v>
                </c:pt>
                <c:pt idx="47670">
                  <c:v>-1.7647058823529401E-2</c:v>
                </c:pt>
                <c:pt idx="47671">
                  <c:v>-1.7647058823529401E-2</c:v>
                </c:pt>
                <c:pt idx="47672">
                  <c:v>-1.7647058823529401E-2</c:v>
                </c:pt>
                <c:pt idx="47673">
                  <c:v>-1.7647058823529401E-2</c:v>
                </c:pt>
                <c:pt idx="47674">
                  <c:v>-1.7647058823529401E-2</c:v>
                </c:pt>
                <c:pt idx="47675">
                  <c:v>-1.7647058823529401E-2</c:v>
                </c:pt>
                <c:pt idx="47676">
                  <c:v>-1.7647058823529401E-2</c:v>
                </c:pt>
                <c:pt idx="47677">
                  <c:v>-1.7647058823529401E-2</c:v>
                </c:pt>
                <c:pt idx="47678">
                  <c:v>-1.7647058823529401E-2</c:v>
                </c:pt>
                <c:pt idx="47679">
                  <c:v>-1.7647058823529401E-2</c:v>
                </c:pt>
                <c:pt idx="47680">
                  <c:v>-1.7647058823529401E-2</c:v>
                </c:pt>
                <c:pt idx="47681">
                  <c:v>-1.7647058823529401E-2</c:v>
                </c:pt>
                <c:pt idx="47682">
                  <c:v>-1.7647058823529401E-2</c:v>
                </c:pt>
                <c:pt idx="47683">
                  <c:v>-1.7647058823529401E-2</c:v>
                </c:pt>
                <c:pt idx="47684">
                  <c:v>-1.7647058823529401E-2</c:v>
                </c:pt>
                <c:pt idx="47685">
                  <c:v>-1.7647058823529401E-2</c:v>
                </c:pt>
                <c:pt idx="47686">
                  <c:v>-1.7647058823529401E-2</c:v>
                </c:pt>
                <c:pt idx="47687">
                  <c:v>-1.7647058823529401E-2</c:v>
                </c:pt>
                <c:pt idx="47688">
                  <c:v>-1.7647058823529401E-2</c:v>
                </c:pt>
                <c:pt idx="47689">
                  <c:v>-1.7647058823529401E-2</c:v>
                </c:pt>
                <c:pt idx="47690">
                  <c:v>-1.7647058823529401E-2</c:v>
                </c:pt>
                <c:pt idx="47691">
                  <c:v>-1.7647058823529401E-2</c:v>
                </c:pt>
                <c:pt idx="47692">
                  <c:v>-1.7647058823529401E-2</c:v>
                </c:pt>
                <c:pt idx="47693">
                  <c:v>-1.7647058823529401E-2</c:v>
                </c:pt>
                <c:pt idx="47694">
                  <c:v>-1.7647058823529401E-2</c:v>
                </c:pt>
                <c:pt idx="47695">
                  <c:v>-1.7647058823529401E-2</c:v>
                </c:pt>
                <c:pt idx="47696">
                  <c:v>-1.7647058823529401E-2</c:v>
                </c:pt>
                <c:pt idx="47697">
                  <c:v>-1.7647058823529401E-2</c:v>
                </c:pt>
                <c:pt idx="47698">
                  <c:v>-1.7647058823529401E-2</c:v>
                </c:pt>
                <c:pt idx="47699">
                  <c:v>-1.7647058823529401E-2</c:v>
                </c:pt>
                <c:pt idx="47700">
                  <c:v>-1.7647058823529401E-2</c:v>
                </c:pt>
                <c:pt idx="47701">
                  <c:v>-1.7647058823529401E-2</c:v>
                </c:pt>
                <c:pt idx="47702">
                  <c:v>-1.7647058823529401E-2</c:v>
                </c:pt>
                <c:pt idx="47703">
                  <c:v>-1.7647058823529401E-2</c:v>
                </c:pt>
                <c:pt idx="47704">
                  <c:v>-1.7647058823529401E-2</c:v>
                </c:pt>
                <c:pt idx="47705">
                  <c:v>-1.7647058823529401E-2</c:v>
                </c:pt>
                <c:pt idx="47706">
                  <c:v>-1.7647058823529401E-2</c:v>
                </c:pt>
                <c:pt idx="47707">
                  <c:v>-1.7647058823529401E-2</c:v>
                </c:pt>
                <c:pt idx="47708">
                  <c:v>-1.7647058823529401E-2</c:v>
                </c:pt>
                <c:pt idx="47709">
                  <c:v>-1.7647058823529401E-2</c:v>
                </c:pt>
                <c:pt idx="47710">
                  <c:v>-1.7647058823529401E-2</c:v>
                </c:pt>
                <c:pt idx="47711">
                  <c:v>-1.7647058823529401E-2</c:v>
                </c:pt>
                <c:pt idx="47712">
                  <c:v>-1.7647058823529401E-2</c:v>
                </c:pt>
                <c:pt idx="47713">
                  <c:v>-1.7647058823529401E-2</c:v>
                </c:pt>
                <c:pt idx="47714">
                  <c:v>-1.7647058823529401E-2</c:v>
                </c:pt>
                <c:pt idx="47715">
                  <c:v>-1.7647058823529401E-2</c:v>
                </c:pt>
                <c:pt idx="47716">
                  <c:v>-1.7647058823529401E-2</c:v>
                </c:pt>
                <c:pt idx="47717">
                  <c:v>-1.7647058823529401E-2</c:v>
                </c:pt>
                <c:pt idx="47718">
                  <c:v>-1.7647058823529401E-2</c:v>
                </c:pt>
                <c:pt idx="47719">
                  <c:v>-1.7647058823529401E-2</c:v>
                </c:pt>
                <c:pt idx="47720">
                  <c:v>-1.7647058823529401E-2</c:v>
                </c:pt>
                <c:pt idx="47721">
                  <c:v>-1.7647058823529401E-2</c:v>
                </c:pt>
                <c:pt idx="47722">
                  <c:v>-1.7647058823529401E-2</c:v>
                </c:pt>
                <c:pt idx="47723">
                  <c:v>-1.7647058823529401E-2</c:v>
                </c:pt>
                <c:pt idx="47724">
                  <c:v>-1.7647058823529401E-2</c:v>
                </c:pt>
                <c:pt idx="47725">
                  <c:v>-1.7647058823529401E-2</c:v>
                </c:pt>
                <c:pt idx="47726">
                  <c:v>-1.7647058823529401E-2</c:v>
                </c:pt>
                <c:pt idx="47727">
                  <c:v>-1.7647058823529401E-2</c:v>
                </c:pt>
                <c:pt idx="47728">
                  <c:v>-1.7647058823529401E-2</c:v>
                </c:pt>
                <c:pt idx="47729">
                  <c:v>-1.7647058823529401E-2</c:v>
                </c:pt>
                <c:pt idx="47730">
                  <c:v>-1.7647058823529401E-2</c:v>
                </c:pt>
                <c:pt idx="47731">
                  <c:v>-1.7647058823529401E-2</c:v>
                </c:pt>
                <c:pt idx="47732">
                  <c:v>-1.84873949579832E-2</c:v>
                </c:pt>
                <c:pt idx="47733">
                  <c:v>-1.84873949579832E-2</c:v>
                </c:pt>
                <c:pt idx="47734">
                  <c:v>-1.84873949579832E-2</c:v>
                </c:pt>
                <c:pt idx="47735">
                  <c:v>-1.84873949579832E-2</c:v>
                </c:pt>
                <c:pt idx="47736">
                  <c:v>-1.84873949579832E-2</c:v>
                </c:pt>
                <c:pt idx="47737">
                  <c:v>-1.84873949579832E-2</c:v>
                </c:pt>
                <c:pt idx="47738">
                  <c:v>-1.84873949579832E-2</c:v>
                </c:pt>
                <c:pt idx="47739">
                  <c:v>-1.84873949579832E-2</c:v>
                </c:pt>
                <c:pt idx="47740">
                  <c:v>-1.84873949579832E-2</c:v>
                </c:pt>
                <c:pt idx="47741">
                  <c:v>-1.84873949579832E-2</c:v>
                </c:pt>
                <c:pt idx="47742">
                  <c:v>-1.84873949579832E-2</c:v>
                </c:pt>
                <c:pt idx="47743">
                  <c:v>-1.84873949579832E-2</c:v>
                </c:pt>
                <c:pt idx="47744">
                  <c:v>-1.84873949579832E-2</c:v>
                </c:pt>
                <c:pt idx="47745">
                  <c:v>-1.84873949579832E-2</c:v>
                </c:pt>
                <c:pt idx="47746">
                  <c:v>-1.84873949579832E-2</c:v>
                </c:pt>
                <c:pt idx="47747">
                  <c:v>-1.84873949579832E-2</c:v>
                </c:pt>
                <c:pt idx="47748">
                  <c:v>-1.84873949579832E-2</c:v>
                </c:pt>
                <c:pt idx="47749">
                  <c:v>-1.84873949579832E-2</c:v>
                </c:pt>
                <c:pt idx="47750">
                  <c:v>-1.84873949579832E-2</c:v>
                </c:pt>
                <c:pt idx="47751">
                  <c:v>-1.84873949579832E-2</c:v>
                </c:pt>
                <c:pt idx="47752">
                  <c:v>-1.84873949579832E-2</c:v>
                </c:pt>
                <c:pt idx="47753">
                  <c:v>-1.84873949579832E-2</c:v>
                </c:pt>
                <c:pt idx="47754">
                  <c:v>-1.84873949579832E-2</c:v>
                </c:pt>
                <c:pt idx="47755">
                  <c:v>-1.84873949579832E-2</c:v>
                </c:pt>
                <c:pt idx="47756">
                  <c:v>-1.84873949579832E-2</c:v>
                </c:pt>
                <c:pt idx="47757">
                  <c:v>-1.84873949579832E-2</c:v>
                </c:pt>
                <c:pt idx="47758">
                  <c:v>-1.84873949579832E-2</c:v>
                </c:pt>
                <c:pt idx="47759">
                  <c:v>-1.84873949579832E-2</c:v>
                </c:pt>
                <c:pt idx="47760">
                  <c:v>-1.84873949579832E-2</c:v>
                </c:pt>
                <c:pt idx="47761">
                  <c:v>-1.84873949579832E-2</c:v>
                </c:pt>
                <c:pt idx="47762">
                  <c:v>-1.84873949579832E-2</c:v>
                </c:pt>
                <c:pt idx="47763">
                  <c:v>-1.84873949579832E-2</c:v>
                </c:pt>
                <c:pt idx="47764">
                  <c:v>-1.84873949579832E-2</c:v>
                </c:pt>
                <c:pt idx="47765">
                  <c:v>-1.84873949579832E-2</c:v>
                </c:pt>
                <c:pt idx="47766">
                  <c:v>-1.84873949579832E-2</c:v>
                </c:pt>
                <c:pt idx="47767">
                  <c:v>-1.84873949579832E-2</c:v>
                </c:pt>
                <c:pt idx="47768">
                  <c:v>-1.84873949579832E-2</c:v>
                </c:pt>
                <c:pt idx="47769">
                  <c:v>-1.84873949579832E-2</c:v>
                </c:pt>
                <c:pt idx="47770">
                  <c:v>-1.84873949579832E-2</c:v>
                </c:pt>
                <c:pt idx="47771">
                  <c:v>-1.84873949579832E-2</c:v>
                </c:pt>
                <c:pt idx="47772">
                  <c:v>-1.84873949579832E-2</c:v>
                </c:pt>
                <c:pt idx="47773">
                  <c:v>-1.84873949579832E-2</c:v>
                </c:pt>
                <c:pt idx="47774">
                  <c:v>-1.84873949579832E-2</c:v>
                </c:pt>
                <c:pt idx="47775">
                  <c:v>-1.84873949579832E-2</c:v>
                </c:pt>
                <c:pt idx="47776">
                  <c:v>-1.84873949579832E-2</c:v>
                </c:pt>
                <c:pt idx="47777">
                  <c:v>-1.84873949579832E-2</c:v>
                </c:pt>
                <c:pt idx="47778">
                  <c:v>-1.84873949579832E-2</c:v>
                </c:pt>
                <c:pt idx="47779">
                  <c:v>-1.84873949579832E-2</c:v>
                </c:pt>
                <c:pt idx="47780">
                  <c:v>-1.84873949579832E-2</c:v>
                </c:pt>
                <c:pt idx="47781">
                  <c:v>-1.84873949579832E-2</c:v>
                </c:pt>
                <c:pt idx="47782">
                  <c:v>-1.84873949579832E-2</c:v>
                </c:pt>
                <c:pt idx="47783">
                  <c:v>-1.84873949579832E-2</c:v>
                </c:pt>
                <c:pt idx="47784">
                  <c:v>-1.84873949579832E-2</c:v>
                </c:pt>
                <c:pt idx="47785">
                  <c:v>-1.84873949579832E-2</c:v>
                </c:pt>
                <c:pt idx="47786">
                  <c:v>-1.84873949579832E-2</c:v>
                </c:pt>
                <c:pt idx="47787">
                  <c:v>-1.84873949579832E-2</c:v>
                </c:pt>
                <c:pt idx="47788">
                  <c:v>-1.84873949579832E-2</c:v>
                </c:pt>
                <c:pt idx="47789">
                  <c:v>-1.84873949579832E-2</c:v>
                </c:pt>
                <c:pt idx="47790">
                  <c:v>-1.84873949579832E-2</c:v>
                </c:pt>
                <c:pt idx="47791">
                  <c:v>-1.84873949579832E-2</c:v>
                </c:pt>
                <c:pt idx="47792">
                  <c:v>-1.84873949579832E-2</c:v>
                </c:pt>
                <c:pt idx="47793">
                  <c:v>-1.84873949579832E-2</c:v>
                </c:pt>
                <c:pt idx="47794">
                  <c:v>-1.84873949579832E-2</c:v>
                </c:pt>
                <c:pt idx="47795">
                  <c:v>-1.84873949579832E-2</c:v>
                </c:pt>
                <c:pt idx="47796">
                  <c:v>-1.84873949579832E-2</c:v>
                </c:pt>
                <c:pt idx="47797">
                  <c:v>-1.84873949579832E-2</c:v>
                </c:pt>
                <c:pt idx="47798">
                  <c:v>-1.84873949579832E-2</c:v>
                </c:pt>
                <c:pt idx="47799">
                  <c:v>-1.84873949579832E-2</c:v>
                </c:pt>
                <c:pt idx="47800">
                  <c:v>-1.84873949579832E-2</c:v>
                </c:pt>
                <c:pt idx="47801">
                  <c:v>-1.84873949579832E-2</c:v>
                </c:pt>
                <c:pt idx="47802">
                  <c:v>-1.9327731092437E-2</c:v>
                </c:pt>
                <c:pt idx="47803">
                  <c:v>-1.9327731092437E-2</c:v>
                </c:pt>
                <c:pt idx="47804">
                  <c:v>-1.9327731092437E-2</c:v>
                </c:pt>
                <c:pt idx="47805">
                  <c:v>-1.9327731092437E-2</c:v>
                </c:pt>
                <c:pt idx="47806">
                  <c:v>-1.9327731092437E-2</c:v>
                </c:pt>
                <c:pt idx="47807">
                  <c:v>-1.9327731092437E-2</c:v>
                </c:pt>
                <c:pt idx="47808">
                  <c:v>-1.9327731092437E-2</c:v>
                </c:pt>
                <c:pt idx="47809">
                  <c:v>-1.9327731092437E-2</c:v>
                </c:pt>
                <c:pt idx="47810">
                  <c:v>-1.9327731092437E-2</c:v>
                </c:pt>
                <c:pt idx="47811">
                  <c:v>-1.9327731092437E-2</c:v>
                </c:pt>
                <c:pt idx="47812">
                  <c:v>-1.9327731092437E-2</c:v>
                </c:pt>
                <c:pt idx="47813">
                  <c:v>-1.9327731092437E-2</c:v>
                </c:pt>
                <c:pt idx="47814">
                  <c:v>-1.9327731092437E-2</c:v>
                </c:pt>
                <c:pt idx="47815">
                  <c:v>-1.9327731092437E-2</c:v>
                </c:pt>
                <c:pt idx="47816">
                  <c:v>-1.9327731092437E-2</c:v>
                </c:pt>
                <c:pt idx="47817">
                  <c:v>-1.9327731092437E-2</c:v>
                </c:pt>
                <c:pt idx="47818">
                  <c:v>-1.9327731092437E-2</c:v>
                </c:pt>
                <c:pt idx="47819">
                  <c:v>-1.9327731092437E-2</c:v>
                </c:pt>
                <c:pt idx="47820">
                  <c:v>-1.9327731092437E-2</c:v>
                </c:pt>
                <c:pt idx="47821">
                  <c:v>-1.9327731092437E-2</c:v>
                </c:pt>
                <c:pt idx="47822">
                  <c:v>-1.9327731092437E-2</c:v>
                </c:pt>
                <c:pt idx="47823">
                  <c:v>-1.9327731092437E-2</c:v>
                </c:pt>
                <c:pt idx="47824">
                  <c:v>-1.9327731092437E-2</c:v>
                </c:pt>
                <c:pt idx="47825">
                  <c:v>-1.9327731092437E-2</c:v>
                </c:pt>
                <c:pt idx="47826">
                  <c:v>-1.9327731092437E-2</c:v>
                </c:pt>
                <c:pt idx="47827">
                  <c:v>-1.9327731092437E-2</c:v>
                </c:pt>
                <c:pt idx="47828">
                  <c:v>-1.9327731092437E-2</c:v>
                </c:pt>
                <c:pt idx="47829">
                  <c:v>-1.9327731092437E-2</c:v>
                </c:pt>
                <c:pt idx="47830">
                  <c:v>-1.9327731092437E-2</c:v>
                </c:pt>
                <c:pt idx="47831">
                  <c:v>-1.9327731092437E-2</c:v>
                </c:pt>
                <c:pt idx="47832">
                  <c:v>-1.9327731092437E-2</c:v>
                </c:pt>
                <c:pt idx="47833">
                  <c:v>-1.9327731092437E-2</c:v>
                </c:pt>
                <c:pt idx="47834">
                  <c:v>-1.9327731092437E-2</c:v>
                </c:pt>
                <c:pt idx="47835">
                  <c:v>-1.9327731092437E-2</c:v>
                </c:pt>
                <c:pt idx="47836">
                  <c:v>-1.9327731092437E-2</c:v>
                </c:pt>
                <c:pt idx="47837">
                  <c:v>-1.9327731092437E-2</c:v>
                </c:pt>
                <c:pt idx="47838">
                  <c:v>-1.9327731092437E-2</c:v>
                </c:pt>
                <c:pt idx="47839">
                  <c:v>-1.9327731092437E-2</c:v>
                </c:pt>
                <c:pt idx="47840">
                  <c:v>-1.9327731092437E-2</c:v>
                </c:pt>
                <c:pt idx="47841">
                  <c:v>-1.9327731092437E-2</c:v>
                </c:pt>
                <c:pt idx="47842">
                  <c:v>-1.9327731092437E-2</c:v>
                </c:pt>
                <c:pt idx="47843">
                  <c:v>-1.9327731092437E-2</c:v>
                </c:pt>
                <c:pt idx="47844">
                  <c:v>-1.9327731092437E-2</c:v>
                </c:pt>
                <c:pt idx="47845">
                  <c:v>-1.9327731092437E-2</c:v>
                </c:pt>
                <c:pt idx="47846">
                  <c:v>-1.9327731092437E-2</c:v>
                </c:pt>
                <c:pt idx="47847">
                  <c:v>-1.9327731092437E-2</c:v>
                </c:pt>
                <c:pt idx="47848">
                  <c:v>-1.9327731092437E-2</c:v>
                </c:pt>
                <c:pt idx="47849">
                  <c:v>-1.9327731092437E-2</c:v>
                </c:pt>
                <c:pt idx="47850">
                  <c:v>-1.9327731092437E-2</c:v>
                </c:pt>
                <c:pt idx="47851">
                  <c:v>-1.9327731092437E-2</c:v>
                </c:pt>
                <c:pt idx="47852">
                  <c:v>-1.9327731092437E-2</c:v>
                </c:pt>
                <c:pt idx="47853">
                  <c:v>-1.9327731092437E-2</c:v>
                </c:pt>
                <c:pt idx="47854">
                  <c:v>-1.9327731092437E-2</c:v>
                </c:pt>
                <c:pt idx="47855">
                  <c:v>-1.9327731092437E-2</c:v>
                </c:pt>
                <c:pt idx="47856">
                  <c:v>-1.9327731092437E-2</c:v>
                </c:pt>
                <c:pt idx="47857">
                  <c:v>-1.9327731092437E-2</c:v>
                </c:pt>
                <c:pt idx="47858">
                  <c:v>-1.9327731092437E-2</c:v>
                </c:pt>
                <c:pt idx="47859">
                  <c:v>-1.9327731092437E-2</c:v>
                </c:pt>
                <c:pt idx="47860">
                  <c:v>-1.9327731092437E-2</c:v>
                </c:pt>
                <c:pt idx="47861">
                  <c:v>-1.9327731092437E-2</c:v>
                </c:pt>
                <c:pt idx="47862">
                  <c:v>-1.9327731092437E-2</c:v>
                </c:pt>
                <c:pt idx="47863">
                  <c:v>-1.9327731092437E-2</c:v>
                </c:pt>
                <c:pt idx="47864">
                  <c:v>-1.9327731092437E-2</c:v>
                </c:pt>
                <c:pt idx="47865">
                  <c:v>-1.9327731092437E-2</c:v>
                </c:pt>
                <c:pt idx="47866">
                  <c:v>-1.9327731092437E-2</c:v>
                </c:pt>
                <c:pt idx="47867">
                  <c:v>-1.9327731092437E-2</c:v>
                </c:pt>
                <c:pt idx="47868">
                  <c:v>-1.9327731092437E-2</c:v>
                </c:pt>
                <c:pt idx="47869">
                  <c:v>-1.9327731092437E-2</c:v>
                </c:pt>
                <c:pt idx="47870">
                  <c:v>-1.9327731092437E-2</c:v>
                </c:pt>
                <c:pt idx="47871">
                  <c:v>-1.9327731092437E-2</c:v>
                </c:pt>
                <c:pt idx="47872">
                  <c:v>-1.9327731092437E-2</c:v>
                </c:pt>
                <c:pt idx="47873">
                  <c:v>-1.9327731092437E-2</c:v>
                </c:pt>
                <c:pt idx="47874">
                  <c:v>-1.9327731092437E-2</c:v>
                </c:pt>
                <c:pt idx="47875">
                  <c:v>-1.9327731092437E-2</c:v>
                </c:pt>
                <c:pt idx="47876">
                  <c:v>-1.9327731092437E-2</c:v>
                </c:pt>
                <c:pt idx="47877">
                  <c:v>-1.9327731092437E-2</c:v>
                </c:pt>
                <c:pt idx="47878">
                  <c:v>-1.9327731092437E-2</c:v>
                </c:pt>
                <c:pt idx="47879">
                  <c:v>-1.9327731092437E-2</c:v>
                </c:pt>
                <c:pt idx="47880">
                  <c:v>-1.9327731092437E-2</c:v>
                </c:pt>
                <c:pt idx="47881">
                  <c:v>-1.9327731092437E-2</c:v>
                </c:pt>
                <c:pt idx="47882">
                  <c:v>-1.9327731092437E-2</c:v>
                </c:pt>
                <c:pt idx="47883">
                  <c:v>-1.9327731092437E-2</c:v>
                </c:pt>
                <c:pt idx="47884">
                  <c:v>-1.9327731092437E-2</c:v>
                </c:pt>
                <c:pt idx="47885">
                  <c:v>-1.9327731092437E-2</c:v>
                </c:pt>
                <c:pt idx="47886">
                  <c:v>-1.9327731092437E-2</c:v>
                </c:pt>
                <c:pt idx="47887">
                  <c:v>-1.9327731092437E-2</c:v>
                </c:pt>
                <c:pt idx="47888">
                  <c:v>-1.9327731092437E-2</c:v>
                </c:pt>
                <c:pt idx="47889">
                  <c:v>-1.9327731092437E-2</c:v>
                </c:pt>
                <c:pt idx="47890">
                  <c:v>-1.9327731092437E-2</c:v>
                </c:pt>
                <c:pt idx="47891">
                  <c:v>-1.9327731092437E-2</c:v>
                </c:pt>
                <c:pt idx="47892">
                  <c:v>-1.9327731092437E-2</c:v>
                </c:pt>
                <c:pt idx="47893">
                  <c:v>-1.9327731092437E-2</c:v>
                </c:pt>
                <c:pt idx="47894">
                  <c:v>-1.9327731092437E-2</c:v>
                </c:pt>
                <c:pt idx="47895">
                  <c:v>-1.9327731092437E-2</c:v>
                </c:pt>
                <c:pt idx="47896">
                  <c:v>-1.9327731092437E-2</c:v>
                </c:pt>
                <c:pt idx="47897">
                  <c:v>-1.9327731092437E-2</c:v>
                </c:pt>
                <c:pt idx="47898">
                  <c:v>-1.9327731092437E-2</c:v>
                </c:pt>
                <c:pt idx="47899">
                  <c:v>-1.9327731092437E-2</c:v>
                </c:pt>
                <c:pt idx="47900">
                  <c:v>-1.9327731092437E-2</c:v>
                </c:pt>
                <c:pt idx="47901">
                  <c:v>-1.9327731092437E-2</c:v>
                </c:pt>
                <c:pt idx="47902">
                  <c:v>-1.9327731092437E-2</c:v>
                </c:pt>
                <c:pt idx="47903">
                  <c:v>-1.9327731092437E-2</c:v>
                </c:pt>
                <c:pt idx="47904">
                  <c:v>-1.9327731092437E-2</c:v>
                </c:pt>
                <c:pt idx="47905">
                  <c:v>-1.9327731092437E-2</c:v>
                </c:pt>
                <c:pt idx="47906">
                  <c:v>-1.9327731092437E-2</c:v>
                </c:pt>
                <c:pt idx="47907">
                  <c:v>-1.9327731092437E-2</c:v>
                </c:pt>
                <c:pt idx="47908">
                  <c:v>-1.9327731092437E-2</c:v>
                </c:pt>
                <c:pt idx="47909">
                  <c:v>-1.9327731092437E-2</c:v>
                </c:pt>
                <c:pt idx="47910">
                  <c:v>-1.9327731092437E-2</c:v>
                </c:pt>
                <c:pt idx="47911">
                  <c:v>-1.9327731092437E-2</c:v>
                </c:pt>
                <c:pt idx="47912">
                  <c:v>-1.9327731092437E-2</c:v>
                </c:pt>
                <c:pt idx="47913">
                  <c:v>-1.9327731092437E-2</c:v>
                </c:pt>
                <c:pt idx="47914">
                  <c:v>-1.9327731092437E-2</c:v>
                </c:pt>
                <c:pt idx="47915">
                  <c:v>-1.9327731092437E-2</c:v>
                </c:pt>
                <c:pt idx="47916">
                  <c:v>-1.9327731092437E-2</c:v>
                </c:pt>
                <c:pt idx="47917">
                  <c:v>-1.9327731092437E-2</c:v>
                </c:pt>
                <c:pt idx="47918">
                  <c:v>-1.9327731092437E-2</c:v>
                </c:pt>
                <c:pt idx="47919">
                  <c:v>-1.9327731092437E-2</c:v>
                </c:pt>
                <c:pt idx="47920">
                  <c:v>-1.9327731092437E-2</c:v>
                </c:pt>
                <c:pt idx="47921">
                  <c:v>-1.9327731092437E-2</c:v>
                </c:pt>
                <c:pt idx="47922">
                  <c:v>-1.9327731092437E-2</c:v>
                </c:pt>
                <c:pt idx="47923">
                  <c:v>-1.9327731092437E-2</c:v>
                </c:pt>
                <c:pt idx="47924">
                  <c:v>-1.9327731092437E-2</c:v>
                </c:pt>
                <c:pt idx="47925">
                  <c:v>-1.9327731092437E-2</c:v>
                </c:pt>
                <c:pt idx="47926">
                  <c:v>-1.9327731092437E-2</c:v>
                </c:pt>
                <c:pt idx="47927">
                  <c:v>-1.9327731092437E-2</c:v>
                </c:pt>
                <c:pt idx="47928">
                  <c:v>-1.9327731092437E-2</c:v>
                </c:pt>
                <c:pt idx="47929">
                  <c:v>-1.9327731092437E-2</c:v>
                </c:pt>
                <c:pt idx="47930">
                  <c:v>-1.9327731092437E-2</c:v>
                </c:pt>
                <c:pt idx="47931">
                  <c:v>-1.9327731092437E-2</c:v>
                </c:pt>
                <c:pt idx="47932">
                  <c:v>-1.9327731092437E-2</c:v>
                </c:pt>
                <c:pt idx="47933">
                  <c:v>-1.9327731092437E-2</c:v>
                </c:pt>
                <c:pt idx="47934">
                  <c:v>-1.9327731092437E-2</c:v>
                </c:pt>
                <c:pt idx="47935">
                  <c:v>-1.9327731092437E-2</c:v>
                </c:pt>
                <c:pt idx="47936">
                  <c:v>-1.9327731092437E-2</c:v>
                </c:pt>
                <c:pt idx="47937">
                  <c:v>-1.9327731092437E-2</c:v>
                </c:pt>
                <c:pt idx="47938">
                  <c:v>-1.9327731092437E-2</c:v>
                </c:pt>
                <c:pt idx="47939">
                  <c:v>-1.9327731092437E-2</c:v>
                </c:pt>
                <c:pt idx="47940">
                  <c:v>-1.9327731092437E-2</c:v>
                </c:pt>
                <c:pt idx="47941">
                  <c:v>-1.9327731092437E-2</c:v>
                </c:pt>
                <c:pt idx="47942">
                  <c:v>-1.9327731092437E-2</c:v>
                </c:pt>
                <c:pt idx="47943">
                  <c:v>-1.9327731092437E-2</c:v>
                </c:pt>
                <c:pt idx="47944">
                  <c:v>-1.9327731092437E-2</c:v>
                </c:pt>
                <c:pt idx="47945">
                  <c:v>-1.9327731092437E-2</c:v>
                </c:pt>
                <c:pt idx="47946">
                  <c:v>-1.9327731092437E-2</c:v>
                </c:pt>
                <c:pt idx="47947">
                  <c:v>-1.9327731092437E-2</c:v>
                </c:pt>
                <c:pt idx="47948">
                  <c:v>-1.9327731092437E-2</c:v>
                </c:pt>
                <c:pt idx="47949">
                  <c:v>-1.9327731092437E-2</c:v>
                </c:pt>
                <c:pt idx="47950">
                  <c:v>-1.9327731092437E-2</c:v>
                </c:pt>
                <c:pt idx="47951">
                  <c:v>-1.9327731092437E-2</c:v>
                </c:pt>
                <c:pt idx="47952">
                  <c:v>-1.9327731092437E-2</c:v>
                </c:pt>
                <c:pt idx="47953">
                  <c:v>-1.9327731092437E-2</c:v>
                </c:pt>
                <c:pt idx="47954">
                  <c:v>-1.9327731092437E-2</c:v>
                </c:pt>
                <c:pt idx="47955">
                  <c:v>-1.9327731092437E-2</c:v>
                </c:pt>
                <c:pt idx="47956">
                  <c:v>-1.9327731092437E-2</c:v>
                </c:pt>
                <c:pt idx="47957">
                  <c:v>-1.9327731092437E-2</c:v>
                </c:pt>
                <c:pt idx="47958">
                  <c:v>-1.9327731092437E-2</c:v>
                </c:pt>
                <c:pt idx="47959">
                  <c:v>-1.9327731092437E-2</c:v>
                </c:pt>
                <c:pt idx="47960">
                  <c:v>-1.9327731092437E-2</c:v>
                </c:pt>
                <c:pt idx="47961">
                  <c:v>-1.9327731092437E-2</c:v>
                </c:pt>
                <c:pt idx="47962">
                  <c:v>-1.9327731092437E-2</c:v>
                </c:pt>
                <c:pt idx="47963">
                  <c:v>-1.9327731092437E-2</c:v>
                </c:pt>
                <c:pt idx="47964">
                  <c:v>-1.9327731092437E-2</c:v>
                </c:pt>
                <c:pt idx="47965">
                  <c:v>-1.9327731092437E-2</c:v>
                </c:pt>
                <c:pt idx="47966">
                  <c:v>-1.9327731092437E-2</c:v>
                </c:pt>
                <c:pt idx="47967">
                  <c:v>-1.9327731092437E-2</c:v>
                </c:pt>
                <c:pt idx="47968">
                  <c:v>-1.9327731092437E-2</c:v>
                </c:pt>
                <c:pt idx="47969">
                  <c:v>-1.9327731092437E-2</c:v>
                </c:pt>
                <c:pt idx="47970">
                  <c:v>-1.9327731092437E-2</c:v>
                </c:pt>
                <c:pt idx="47971">
                  <c:v>-1.9327731092437E-2</c:v>
                </c:pt>
                <c:pt idx="47972">
                  <c:v>-1.9327731092437E-2</c:v>
                </c:pt>
                <c:pt idx="47973">
                  <c:v>-1.9327731092437E-2</c:v>
                </c:pt>
                <c:pt idx="47974">
                  <c:v>-1.9327731092437E-2</c:v>
                </c:pt>
                <c:pt idx="47975">
                  <c:v>-1.9327731092437E-2</c:v>
                </c:pt>
                <c:pt idx="47976">
                  <c:v>-1.9327731092437E-2</c:v>
                </c:pt>
                <c:pt idx="47977">
                  <c:v>-1.9327731092437E-2</c:v>
                </c:pt>
                <c:pt idx="47978">
                  <c:v>-1.9327731092437E-2</c:v>
                </c:pt>
                <c:pt idx="47979">
                  <c:v>-1.9327731092437E-2</c:v>
                </c:pt>
                <c:pt idx="47980">
                  <c:v>-1.9327731092437E-2</c:v>
                </c:pt>
                <c:pt idx="47981">
                  <c:v>-1.9327731092437E-2</c:v>
                </c:pt>
                <c:pt idx="47982">
                  <c:v>-1.9327731092437E-2</c:v>
                </c:pt>
                <c:pt idx="47983">
                  <c:v>-1.9327731092437E-2</c:v>
                </c:pt>
                <c:pt idx="47984">
                  <c:v>-1.9327731092437E-2</c:v>
                </c:pt>
                <c:pt idx="47985">
                  <c:v>-1.9327731092437E-2</c:v>
                </c:pt>
                <c:pt idx="47986">
                  <c:v>-1.9327731092437E-2</c:v>
                </c:pt>
                <c:pt idx="47987">
                  <c:v>-1.9327731092437E-2</c:v>
                </c:pt>
                <c:pt idx="47988">
                  <c:v>-1.9327731092437E-2</c:v>
                </c:pt>
                <c:pt idx="47989">
                  <c:v>-1.9327731092437E-2</c:v>
                </c:pt>
                <c:pt idx="47990">
                  <c:v>-1.9327731092437E-2</c:v>
                </c:pt>
                <c:pt idx="47991">
                  <c:v>-1.9327731092437E-2</c:v>
                </c:pt>
                <c:pt idx="47992">
                  <c:v>-1.9327731092437E-2</c:v>
                </c:pt>
                <c:pt idx="47993">
                  <c:v>-1.9327731092437E-2</c:v>
                </c:pt>
                <c:pt idx="47994">
                  <c:v>-1.9327731092437E-2</c:v>
                </c:pt>
                <c:pt idx="47995">
                  <c:v>-1.9327731092437E-2</c:v>
                </c:pt>
                <c:pt idx="47996">
                  <c:v>-1.9327731092437E-2</c:v>
                </c:pt>
                <c:pt idx="47997">
                  <c:v>-1.9327731092437E-2</c:v>
                </c:pt>
                <c:pt idx="47998">
                  <c:v>-1.9327731092437E-2</c:v>
                </c:pt>
                <c:pt idx="47999">
                  <c:v>-1.9327731092437E-2</c:v>
                </c:pt>
                <c:pt idx="48000">
                  <c:v>-1.9327731092437E-2</c:v>
                </c:pt>
                <c:pt idx="48001">
                  <c:v>-1.9327731092437E-2</c:v>
                </c:pt>
                <c:pt idx="48002">
                  <c:v>-1.9327731092437E-2</c:v>
                </c:pt>
                <c:pt idx="48003">
                  <c:v>-1.9327731092437E-2</c:v>
                </c:pt>
                <c:pt idx="48004">
                  <c:v>-1.9327731092437E-2</c:v>
                </c:pt>
                <c:pt idx="48005">
                  <c:v>-1.9327731092437E-2</c:v>
                </c:pt>
                <c:pt idx="48006">
                  <c:v>-1.9327731092437E-2</c:v>
                </c:pt>
                <c:pt idx="48007">
                  <c:v>-1.9327731092437E-2</c:v>
                </c:pt>
                <c:pt idx="48008">
                  <c:v>-1.9327731092437E-2</c:v>
                </c:pt>
                <c:pt idx="48009">
                  <c:v>-1.9327731092437E-2</c:v>
                </c:pt>
                <c:pt idx="48010">
                  <c:v>-1.9327731092437E-2</c:v>
                </c:pt>
                <c:pt idx="48011">
                  <c:v>-1.9327731092437E-2</c:v>
                </c:pt>
                <c:pt idx="48012">
                  <c:v>-1.9327731092437E-2</c:v>
                </c:pt>
                <c:pt idx="48013">
                  <c:v>-1.9327731092437E-2</c:v>
                </c:pt>
                <c:pt idx="48014">
                  <c:v>-1.9327731092437E-2</c:v>
                </c:pt>
                <c:pt idx="48015">
                  <c:v>-1.9327731092437E-2</c:v>
                </c:pt>
                <c:pt idx="48016">
                  <c:v>-1.9327731092437E-2</c:v>
                </c:pt>
                <c:pt idx="48017">
                  <c:v>-1.9327731092437E-2</c:v>
                </c:pt>
                <c:pt idx="48018">
                  <c:v>-1.9327731092437E-2</c:v>
                </c:pt>
                <c:pt idx="48019">
                  <c:v>-1.9327731092437E-2</c:v>
                </c:pt>
                <c:pt idx="48020">
                  <c:v>-1.9327731092437E-2</c:v>
                </c:pt>
                <c:pt idx="48021">
                  <c:v>-1.9327731092437E-2</c:v>
                </c:pt>
                <c:pt idx="48022">
                  <c:v>-1.9327731092437E-2</c:v>
                </c:pt>
                <c:pt idx="48023">
                  <c:v>-1.9327731092437E-2</c:v>
                </c:pt>
                <c:pt idx="48024">
                  <c:v>-1.9327731092437E-2</c:v>
                </c:pt>
                <c:pt idx="48025">
                  <c:v>-1.9327731092437E-2</c:v>
                </c:pt>
                <c:pt idx="48026">
                  <c:v>-1.9327731092437E-2</c:v>
                </c:pt>
                <c:pt idx="48027">
                  <c:v>-1.9327731092437E-2</c:v>
                </c:pt>
                <c:pt idx="48028">
                  <c:v>-1.9327731092437E-2</c:v>
                </c:pt>
                <c:pt idx="48029">
                  <c:v>-1.9327731092437E-2</c:v>
                </c:pt>
                <c:pt idx="48030">
                  <c:v>-1.9327731092437E-2</c:v>
                </c:pt>
                <c:pt idx="48031">
                  <c:v>-1.9327731092437E-2</c:v>
                </c:pt>
                <c:pt idx="48032">
                  <c:v>-1.9327731092437E-2</c:v>
                </c:pt>
                <c:pt idx="48033">
                  <c:v>-1.9327731092437E-2</c:v>
                </c:pt>
                <c:pt idx="48034">
                  <c:v>-1.9327731092437E-2</c:v>
                </c:pt>
                <c:pt idx="48035">
                  <c:v>-1.9327731092437E-2</c:v>
                </c:pt>
                <c:pt idx="48036">
                  <c:v>-1.9327731092437E-2</c:v>
                </c:pt>
                <c:pt idx="48037">
                  <c:v>-1.9327731092437E-2</c:v>
                </c:pt>
                <c:pt idx="48038">
                  <c:v>-1.9327731092437E-2</c:v>
                </c:pt>
                <c:pt idx="48039">
                  <c:v>-1.9327731092437E-2</c:v>
                </c:pt>
                <c:pt idx="48040">
                  <c:v>-1.9327731092437E-2</c:v>
                </c:pt>
                <c:pt idx="48041">
                  <c:v>-1.9327731092437E-2</c:v>
                </c:pt>
                <c:pt idx="48042">
                  <c:v>-1.9327731092437E-2</c:v>
                </c:pt>
                <c:pt idx="48043">
                  <c:v>-1.9327731092437E-2</c:v>
                </c:pt>
                <c:pt idx="48044">
                  <c:v>-1.9327731092437E-2</c:v>
                </c:pt>
                <c:pt idx="48045">
                  <c:v>-1.9327731092437E-2</c:v>
                </c:pt>
                <c:pt idx="48046">
                  <c:v>-1.9327731092437E-2</c:v>
                </c:pt>
                <c:pt idx="48047">
                  <c:v>-1.9327731092437E-2</c:v>
                </c:pt>
                <c:pt idx="48048">
                  <c:v>-1.9327731092437E-2</c:v>
                </c:pt>
                <c:pt idx="48049">
                  <c:v>-1.9327731092437E-2</c:v>
                </c:pt>
                <c:pt idx="48050">
                  <c:v>-1.9327731092437E-2</c:v>
                </c:pt>
                <c:pt idx="48051">
                  <c:v>-1.9327731092437E-2</c:v>
                </c:pt>
                <c:pt idx="48052">
                  <c:v>-1.9327731092437E-2</c:v>
                </c:pt>
                <c:pt idx="48053">
                  <c:v>-1.9327731092437E-2</c:v>
                </c:pt>
                <c:pt idx="48054">
                  <c:v>-1.9327731092437E-2</c:v>
                </c:pt>
                <c:pt idx="48055">
                  <c:v>-1.9327731092437E-2</c:v>
                </c:pt>
                <c:pt idx="48056">
                  <c:v>-1.9327731092437E-2</c:v>
                </c:pt>
                <c:pt idx="48057">
                  <c:v>-1.9327731092437E-2</c:v>
                </c:pt>
                <c:pt idx="48058">
                  <c:v>-1.9327731092437E-2</c:v>
                </c:pt>
                <c:pt idx="48059">
                  <c:v>-1.9327731092437E-2</c:v>
                </c:pt>
                <c:pt idx="48060">
                  <c:v>-1.9327731092437E-2</c:v>
                </c:pt>
                <c:pt idx="48061">
                  <c:v>-1.9327731092437E-2</c:v>
                </c:pt>
                <c:pt idx="48062">
                  <c:v>-1.9327731092437E-2</c:v>
                </c:pt>
                <c:pt idx="48063">
                  <c:v>-1.9327731092437E-2</c:v>
                </c:pt>
                <c:pt idx="48064">
                  <c:v>-1.9327731092437E-2</c:v>
                </c:pt>
                <c:pt idx="48065">
                  <c:v>-1.9327731092437E-2</c:v>
                </c:pt>
                <c:pt idx="48066">
                  <c:v>-1.9327731092437E-2</c:v>
                </c:pt>
                <c:pt idx="48067">
                  <c:v>-1.9327731092437E-2</c:v>
                </c:pt>
                <c:pt idx="48068">
                  <c:v>-1.9327731092437E-2</c:v>
                </c:pt>
                <c:pt idx="48069">
                  <c:v>-1.9327731092437E-2</c:v>
                </c:pt>
                <c:pt idx="48070">
                  <c:v>-1.9327731092437E-2</c:v>
                </c:pt>
                <c:pt idx="48071">
                  <c:v>-1.9327731092437E-2</c:v>
                </c:pt>
                <c:pt idx="48072">
                  <c:v>-1.9327731092437E-2</c:v>
                </c:pt>
                <c:pt idx="48073">
                  <c:v>-1.9327731092437E-2</c:v>
                </c:pt>
                <c:pt idx="48074">
                  <c:v>-1.9327731092437E-2</c:v>
                </c:pt>
                <c:pt idx="48075">
                  <c:v>-1.9327731092437E-2</c:v>
                </c:pt>
                <c:pt idx="48076">
                  <c:v>-1.9327731092437E-2</c:v>
                </c:pt>
                <c:pt idx="48077">
                  <c:v>-1.9327731092437E-2</c:v>
                </c:pt>
                <c:pt idx="48078">
                  <c:v>-1.9327731092437E-2</c:v>
                </c:pt>
                <c:pt idx="48079">
                  <c:v>-1.9327731092437E-2</c:v>
                </c:pt>
                <c:pt idx="48080">
                  <c:v>-1.9327731092437E-2</c:v>
                </c:pt>
                <c:pt idx="48081">
                  <c:v>-1.9327731092437E-2</c:v>
                </c:pt>
                <c:pt idx="48082">
                  <c:v>-1.9327731092437E-2</c:v>
                </c:pt>
                <c:pt idx="48083">
                  <c:v>-1.9327731092437E-2</c:v>
                </c:pt>
                <c:pt idx="48084">
                  <c:v>-1.9327731092437E-2</c:v>
                </c:pt>
                <c:pt idx="48085">
                  <c:v>-1.9327731092437E-2</c:v>
                </c:pt>
                <c:pt idx="48086">
                  <c:v>-1.9327731092437E-2</c:v>
                </c:pt>
                <c:pt idx="48087">
                  <c:v>-1.9327731092437E-2</c:v>
                </c:pt>
                <c:pt idx="48088">
                  <c:v>-1.9327731092437E-2</c:v>
                </c:pt>
                <c:pt idx="48089">
                  <c:v>-1.9327731092437E-2</c:v>
                </c:pt>
                <c:pt idx="48090">
                  <c:v>-1.9327731092437E-2</c:v>
                </c:pt>
                <c:pt idx="48091">
                  <c:v>-1.9327731092437E-2</c:v>
                </c:pt>
                <c:pt idx="48092">
                  <c:v>-1.9327731092437E-2</c:v>
                </c:pt>
                <c:pt idx="48093">
                  <c:v>-1.9327731092437E-2</c:v>
                </c:pt>
                <c:pt idx="48094">
                  <c:v>-1.9327731092437E-2</c:v>
                </c:pt>
                <c:pt idx="48095">
                  <c:v>-1.9327731092437E-2</c:v>
                </c:pt>
                <c:pt idx="48096">
                  <c:v>-1.9327731092437E-2</c:v>
                </c:pt>
                <c:pt idx="48097">
                  <c:v>-1.9327731092437E-2</c:v>
                </c:pt>
                <c:pt idx="48098">
                  <c:v>-1.9327731092437E-2</c:v>
                </c:pt>
                <c:pt idx="48099">
                  <c:v>-1.9327731092437E-2</c:v>
                </c:pt>
                <c:pt idx="48100">
                  <c:v>-1.9327731092437E-2</c:v>
                </c:pt>
                <c:pt idx="48101">
                  <c:v>-1.9327731092437E-2</c:v>
                </c:pt>
                <c:pt idx="48102">
                  <c:v>-1.9327731092437E-2</c:v>
                </c:pt>
                <c:pt idx="48103">
                  <c:v>-1.9327731092437E-2</c:v>
                </c:pt>
                <c:pt idx="48104">
                  <c:v>-1.9327731092437E-2</c:v>
                </c:pt>
                <c:pt idx="48105">
                  <c:v>-1.9327731092437E-2</c:v>
                </c:pt>
                <c:pt idx="48106">
                  <c:v>-1.9327731092437E-2</c:v>
                </c:pt>
                <c:pt idx="48107">
                  <c:v>-1.9327731092437E-2</c:v>
                </c:pt>
                <c:pt idx="48108">
                  <c:v>-1.9327731092437E-2</c:v>
                </c:pt>
                <c:pt idx="48109">
                  <c:v>-1.9327731092437E-2</c:v>
                </c:pt>
                <c:pt idx="48110">
                  <c:v>-1.9327731092437E-2</c:v>
                </c:pt>
                <c:pt idx="48111">
                  <c:v>-1.9327731092437E-2</c:v>
                </c:pt>
                <c:pt idx="48112">
                  <c:v>-1.9327731092437E-2</c:v>
                </c:pt>
                <c:pt idx="48113">
                  <c:v>-1.9327731092437E-2</c:v>
                </c:pt>
                <c:pt idx="48114">
                  <c:v>-1.9327731092437E-2</c:v>
                </c:pt>
                <c:pt idx="48115">
                  <c:v>-1.9327731092437E-2</c:v>
                </c:pt>
                <c:pt idx="48116">
                  <c:v>-1.9327731092437E-2</c:v>
                </c:pt>
                <c:pt idx="48117">
                  <c:v>-1.9327731092437E-2</c:v>
                </c:pt>
                <c:pt idx="48118">
                  <c:v>-1.9327731092437E-2</c:v>
                </c:pt>
                <c:pt idx="48119">
                  <c:v>-1.9327731092437E-2</c:v>
                </c:pt>
                <c:pt idx="48120">
                  <c:v>-1.9327731092437E-2</c:v>
                </c:pt>
                <c:pt idx="48121">
                  <c:v>-1.9327731092437E-2</c:v>
                </c:pt>
                <c:pt idx="48122">
                  <c:v>-1.9327731092437E-2</c:v>
                </c:pt>
                <c:pt idx="48123">
                  <c:v>-1.9327731092437E-2</c:v>
                </c:pt>
                <c:pt idx="48124">
                  <c:v>-1.9327731092437E-2</c:v>
                </c:pt>
                <c:pt idx="48125">
                  <c:v>-1.9327731092437E-2</c:v>
                </c:pt>
                <c:pt idx="48126">
                  <c:v>-1.9327731092437E-2</c:v>
                </c:pt>
                <c:pt idx="48127">
                  <c:v>-1.9327731092437E-2</c:v>
                </c:pt>
                <c:pt idx="48128">
                  <c:v>-1.9327731092437E-2</c:v>
                </c:pt>
                <c:pt idx="48129">
                  <c:v>-1.9327731092437E-2</c:v>
                </c:pt>
                <c:pt idx="48130">
                  <c:v>-1.9327731092437E-2</c:v>
                </c:pt>
                <c:pt idx="48131">
                  <c:v>-1.9327731092437E-2</c:v>
                </c:pt>
                <c:pt idx="48132">
                  <c:v>-1.9327731092437E-2</c:v>
                </c:pt>
                <c:pt idx="48133">
                  <c:v>-1.9327731092437E-2</c:v>
                </c:pt>
                <c:pt idx="48134">
                  <c:v>-1.9327731092437E-2</c:v>
                </c:pt>
                <c:pt idx="48135">
                  <c:v>-1.9327731092437E-2</c:v>
                </c:pt>
                <c:pt idx="48136">
                  <c:v>-1.9327731092437E-2</c:v>
                </c:pt>
                <c:pt idx="48137">
                  <c:v>-1.9327731092437E-2</c:v>
                </c:pt>
                <c:pt idx="48138">
                  <c:v>-1.9327731092437E-2</c:v>
                </c:pt>
                <c:pt idx="48139">
                  <c:v>-1.9327731092437E-2</c:v>
                </c:pt>
                <c:pt idx="48140">
                  <c:v>-1.9327731092437E-2</c:v>
                </c:pt>
                <c:pt idx="48141">
                  <c:v>-1.9327731092437E-2</c:v>
                </c:pt>
                <c:pt idx="48142">
                  <c:v>-1.9327731092437E-2</c:v>
                </c:pt>
                <c:pt idx="48143">
                  <c:v>-1.9327731092437E-2</c:v>
                </c:pt>
                <c:pt idx="48144">
                  <c:v>-1.9327731092437E-2</c:v>
                </c:pt>
                <c:pt idx="48145">
                  <c:v>-1.9327731092437E-2</c:v>
                </c:pt>
                <c:pt idx="48146">
                  <c:v>-1.9327731092437E-2</c:v>
                </c:pt>
                <c:pt idx="48147">
                  <c:v>-1.9327731092437E-2</c:v>
                </c:pt>
                <c:pt idx="48148">
                  <c:v>-1.9327731092437E-2</c:v>
                </c:pt>
                <c:pt idx="48149">
                  <c:v>-1.9327731092437E-2</c:v>
                </c:pt>
                <c:pt idx="48150">
                  <c:v>-1.9327731092437E-2</c:v>
                </c:pt>
                <c:pt idx="48151">
                  <c:v>-1.9327731092437E-2</c:v>
                </c:pt>
                <c:pt idx="48152">
                  <c:v>-1.9327731092437E-2</c:v>
                </c:pt>
                <c:pt idx="48153">
                  <c:v>-1.9327731092437E-2</c:v>
                </c:pt>
                <c:pt idx="48154">
                  <c:v>-1.9327731092437E-2</c:v>
                </c:pt>
                <c:pt idx="48155">
                  <c:v>-1.84873949579832E-2</c:v>
                </c:pt>
                <c:pt idx="48156">
                  <c:v>-1.84873949579832E-2</c:v>
                </c:pt>
                <c:pt idx="48157">
                  <c:v>-1.7647058823529401E-2</c:v>
                </c:pt>
                <c:pt idx="48158">
                  <c:v>-1.7647058823529401E-2</c:v>
                </c:pt>
                <c:pt idx="48159">
                  <c:v>-1.7647058823529401E-2</c:v>
                </c:pt>
                <c:pt idx="48160">
                  <c:v>-1.7647058823529401E-2</c:v>
                </c:pt>
                <c:pt idx="48161">
                  <c:v>-1.7647058823529401E-2</c:v>
                </c:pt>
                <c:pt idx="48162">
                  <c:v>-1.7647058823529401E-2</c:v>
                </c:pt>
                <c:pt idx="48163">
                  <c:v>-1.7647058823529401E-2</c:v>
                </c:pt>
                <c:pt idx="48164">
                  <c:v>-1.7647058823529401E-2</c:v>
                </c:pt>
                <c:pt idx="48165">
                  <c:v>-1.7647058823529401E-2</c:v>
                </c:pt>
                <c:pt idx="48166">
                  <c:v>-1.7647058823529401E-2</c:v>
                </c:pt>
                <c:pt idx="48167">
                  <c:v>-1.7647058823529401E-2</c:v>
                </c:pt>
                <c:pt idx="48168">
                  <c:v>-1.7647058823529401E-2</c:v>
                </c:pt>
                <c:pt idx="48169">
                  <c:v>-1.7647058823529401E-2</c:v>
                </c:pt>
                <c:pt idx="48170">
                  <c:v>-1.7647058823529401E-2</c:v>
                </c:pt>
                <c:pt idx="48171">
                  <c:v>-1.7647058823529401E-2</c:v>
                </c:pt>
                <c:pt idx="48172">
                  <c:v>-1.7647058823529401E-2</c:v>
                </c:pt>
                <c:pt idx="48173">
                  <c:v>-1.7647058823529401E-2</c:v>
                </c:pt>
                <c:pt idx="48174">
                  <c:v>-1.7647058823529401E-2</c:v>
                </c:pt>
                <c:pt idx="48175">
                  <c:v>-1.7647058823529401E-2</c:v>
                </c:pt>
                <c:pt idx="48176">
                  <c:v>-1.7647058823529401E-2</c:v>
                </c:pt>
                <c:pt idx="48177">
                  <c:v>-1.7647058823529401E-2</c:v>
                </c:pt>
                <c:pt idx="48178">
                  <c:v>-1.7647058823529401E-2</c:v>
                </c:pt>
                <c:pt idx="48179">
                  <c:v>-1.7647058823529401E-2</c:v>
                </c:pt>
                <c:pt idx="48180">
                  <c:v>-1.7647058823529401E-2</c:v>
                </c:pt>
                <c:pt idx="48181">
                  <c:v>-1.7647058823529401E-2</c:v>
                </c:pt>
                <c:pt idx="48182">
                  <c:v>-1.7647058823529401E-2</c:v>
                </c:pt>
                <c:pt idx="48183">
                  <c:v>-1.7647058823529401E-2</c:v>
                </c:pt>
                <c:pt idx="48184">
                  <c:v>-1.7647058823529401E-2</c:v>
                </c:pt>
                <c:pt idx="48185">
                  <c:v>-1.7647058823529401E-2</c:v>
                </c:pt>
                <c:pt idx="48186">
                  <c:v>-1.7647058823529401E-2</c:v>
                </c:pt>
                <c:pt idx="48187">
                  <c:v>-1.7647058823529401E-2</c:v>
                </c:pt>
                <c:pt idx="48188">
                  <c:v>-1.7647058823529401E-2</c:v>
                </c:pt>
                <c:pt idx="48189">
                  <c:v>-1.7647058823529401E-2</c:v>
                </c:pt>
                <c:pt idx="48190">
                  <c:v>-1.7647058823529401E-2</c:v>
                </c:pt>
                <c:pt idx="48191">
                  <c:v>-1.7647058823529401E-2</c:v>
                </c:pt>
                <c:pt idx="48192">
                  <c:v>-1.7647058823529401E-2</c:v>
                </c:pt>
                <c:pt idx="48193">
                  <c:v>-1.7647058823529401E-2</c:v>
                </c:pt>
                <c:pt idx="48194">
                  <c:v>-1.7647058823529401E-2</c:v>
                </c:pt>
                <c:pt idx="48195">
                  <c:v>-1.7647058823529401E-2</c:v>
                </c:pt>
                <c:pt idx="48196">
                  <c:v>-1.7647058823529401E-2</c:v>
                </c:pt>
                <c:pt idx="48197">
                  <c:v>-1.6806722689075598E-2</c:v>
                </c:pt>
                <c:pt idx="48198">
                  <c:v>-1.6806722689075598E-2</c:v>
                </c:pt>
                <c:pt idx="48199">
                  <c:v>-1.6806722689075598E-2</c:v>
                </c:pt>
                <c:pt idx="48200">
                  <c:v>-1.6806722689075598E-2</c:v>
                </c:pt>
                <c:pt idx="48201">
                  <c:v>-1.6806722689075598E-2</c:v>
                </c:pt>
                <c:pt idx="48202">
                  <c:v>-1.6806722689075598E-2</c:v>
                </c:pt>
                <c:pt idx="48203">
                  <c:v>-1.6806722689075598E-2</c:v>
                </c:pt>
                <c:pt idx="48204">
                  <c:v>-1.6806722689075598E-2</c:v>
                </c:pt>
                <c:pt idx="48205">
                  <c:v>-1.6806722689075598E-2</c:v>
                </c:pt>
                <c:pt idx="48206">
                  <c:v>-1.6806722689075598E-2</c:v>
                </c:pt>
                <c:pt idx="48207">
                  <c:v>-1.6806722689075598E-2</c:v>
                </c:pt>
                <c:pt idx="48208">
                  <c:v>-1.6806722689075598E-2</c:v>
                </c:pt>
                <c:pt idx="48209">
                  <c:v>-1.6806722689075598E-2</c:v>
                </c:pt>
                <c:pt idx="48210">
                  <c:v>-1.6806722689075598E-2</c:v>
                </c:pt>
                <c:pt idx="48211">
                  <c:v>-1.6806722689075598E-2</c:v>
                </c:pt>
                <c:pt idx="48212">
                  <c:v>-1.6806722689075598E-2</c:v>
                </c:pt>
                <c:pt idx="48213">
                  <c:v>-1.6806722689075598E-2</c:v>
                </c:pt>
                <c:pt idx="48214">
                  <c:v>-1.6806722689075598E-2</c:v>
                </c:pt>
                <c:pt idx="48215">
                  <c:v>-1.6806722689075598E-2</c:v>
                </c:pt>
                <c:pt idx="48216">
                  <c:v>-1.6806722689075598E-2</c:v>
                </c:pt>
                <c:pt idx="48217">
                  <c:v>-1.6806722689075598E-2</c:v>
                </c:pt>
                <c:pt idx="48218">
                  <c:v>-1.6806722689075598E-2</c:v>
                </c:pt>
                <c:pt idx="48219">
                  <c:v>-1.6806722689075598E-2</c:v>
                </c:pt>
                <c:pt idx="48220">
                  <c:v>-1.6806722689075598E-2</c:v>
                </c:pt>
                <c:pt idx="48221">
                  <c:v>-1.6806722689075598E-2</c:v>
                </c:pt>
                <c:pt idx="48222">
                  <c:v>-1.6806722689075598E-2</c:v>
                </c:pt>
                <c:pt idx="48223">
                  <c:v>-1.6806722689075598E-2</c:v>
                </c:pt>
                <c:pt idx="48224">
                  <c:v>-1.6806722689075598E-2</c:v>
                </c:pt>
                <c:pt idx="48225">
                  <c:v>-1.6806722689075598E-2</c:v>
                </c:pt>
                <c:pt idx="48226">
                  <c:v>-1.7647058823529401E-2</c:v>
                </c:pt>
                <c:pt idx="48227">
                  <c:v>-1.7647058823529401E-2</c:v>
                </c:pt>
                <c:pt idx="48228">
                  <c:v>-1.7647058823529401E-2</c:v>
                </c:pt>
                <c:pt idx="48229">
                  <c:v>-1.7647058823529401E-2</c:v>
                </c:pt>
                <c:pt idx="48230">
                  <c:v>-1.7647058823529401E-2</c:v>
                </c:pt>
                <c:pt idx="48231">
                  <c:v>-1.7647058823529401E-2</c:v>
                </c:pt>
                <c:pt idx="48232">
                  <c:v>-1.7647058823529401E-2</c:v>
                </c:pt>
                <c:pt idx="48233">
                  <c:v>-1.7647058823529401E-2</c:v>
                </c:pt>
                <c:pt idx="48234">
                  <c:v>-1.7647058823529401E-2</c:v>
                </c:pt>
                <c:pt idx="48235">
                  <c:v>-1.7647058823529401E-2</c:v>
                </c:pt>
                <c:pt idx="48236">
                  <c:v>-1.7647058823529401E-2</c:v>
                </c:pt>
                <c:pt idx="48237">
                  <c:v>-1.7647058823529401E-2</c:v>
                </c:pt>
                <c:pt idx="48238">
                  <c:v>-1.7647058823529401E-2</c:v>
                </c:pt>
                <c:pt idx="48239">
                  <c:v>-1.7647058823529401E-2</c:v>
                </c:pt>
                <c:pt idx="48240">
                  <c:v>-1.7647058823529401E-2</c:v>
                </c:pt>
                <c:pt idx="48241">
                  <c:v>-1.7647058823529401E-2</c:v>
                </c:pt>
                <c:pt idx="48242">
                  <c:v>-1.7647058823529401E-2</c:v>
                </c:pt>
                <c:pt idx="48243">
                  <c:v>-1.7647058823529401E-2</c:v>
                </c:pt>
                <c:pt idx="48244">
                  <c:v>-1.7647058823529401E-2</c:v>
                </c:pt>
                <c:pt idx="48245">
                  <c:v>-1.7647058823529401E-2</c:v>
                </c:pt>
                <c:pt idx="48246">
                  <c:v>-1.7647058823529401E-2</c:v>
                </c:pt>
                <c:pt idx="48247">
                  <c:v>-1.7647058823529401E-2</c:v>
                </c:pt>
                <c:pt idx="48248">
                  <c:v>-1.7647058823529401E-2</c:v>
                </c:pt>
                <c:pt idx="48249">
                  <c:v>-1.7647058823529401E-2</c:v>
                </c:pt>
                <c:pt idx="48250">
                  <c:v>-1.7647058823529401E-2</c:v>
                </c:pt>
                <c:pt idx="48251">
                  <c:v>-1.7647058823529401E-2</c:v>
                </c:pt>
                <c:pt idx="48252">
                  <c:v>-1.7647058823529401E-2</c:v>
                </c:pt>
                <c:pt idx="48253">
                  <c:v>-1.7647058823529401E-2</c:v>
                </c:pt>
                <c:pt idx="48254">
                  <c:v>-1.7647058823529401E-2</c:v>
                </c:pt>
                <c:pt idx="48255">
                  <c:v>-1.7647058823529401E-2</c:v>
                </c:pt>
                <c:pt idx="48256">
                  <c:v>-1.7647058823529401E-2</c:v>
                </c:pt>
                <c:pt idx="48257">
                  <c:v>-1.7647058823529401E-2</c:v>
                </c:pt>
                <c:pt idx="48258">
                  <c:v>-1.7647058823529401E-2</c:v>
                </c:pt>
                <c:pt idx="48259">
                  <c:v>-1.7647058823529401E-2</c:v>
                </c:pt>
                <c:pt idx="48260">
                  <c:v>-1.7647058823529401E-2</c:v>
                </c:pt>
                <c:pt idx="48261">
                  <c:v>-1.7647058823529401E-2</c:v>
                </c:pt>
                <c:pt idx="48262">
                  <c:v>-1.7647058823529401E-2</c:v>
                </c:pt>
                <c:pt idx="48263">
                  <c:v>-1.7647058823529401E-2</c:v>
                </c:pt>
                <c:pt idx="48264">
                  <c:v>-1.7647058823529401E-2</c:v>
                </c:pt>
                <c:pt idx="48265">
                  <c:v>-1.7647058823529401E-2</c:v>
                </c:pt>
                <c:pt idx="48266">
                  <c:v>-1.7647058823529401E-2</c:v>
                </c:pt>
                <c:pt idx="48267">
                  <c:v>-1.7647058823529401E-2</c:v>
                </c:pt>
                <c:pt idx="48268">
                  <c:v>-1.7647058823529401E-2</c:v>
                </c:pt>
                <c:pt idx="48269">
                  <c:v>-1.7647058823529401E-2</c:v>
                </c:pt>
                <c:pt idx="48270">
                  <c:v>-1.7647058823529401E-2</c:v>
                </c:pt>
                <c:pt idx="48271">
                  <c:v>-1.7647058823529401E-2</c:v>
                </c:pt>
                <c:pt idx="48272">
                  <c:v>-1.7647058823529401E-2</c:v>
                </c:pt>
                <c:pt idx="48273">
                  <c:v>-1.7647058823529401E-2</c:v>
                </c:pt>
                <c:pt idx="48274">
                  <c:v>-1.7647058823529401E-2</c:v>
                </c:pt>
                <c:pt idx="48275">
                  <c:v>-1.7647058823529401E-2</c:v>
                </c:pt>
                <c:pt idx="48276">
                  <c:v>-1.7647058823529401E-2</c:v>
                </c:pt>
                <c:pt idx="48277">
                  <c:v>-1.7647058823529401E-2</c:v>
                </c:pt>
                <c:pt idx="48278">
                  <c:v>-1.7647058823529401E-2</c:v>
                </c:pt>
                <c:pt idx="48279">
                  <c:v>-1.7647058823529401E-2</c:v>
                </c:pt>
                <c:pt idx="48280">
                  <c:v>-1.7647058823529401E-2</c:v>
                </c:pt>
                <c:pt idx="48281">
                  <c:v>-1.7647058823529401E-2</c:v>
                </c:pt>
                <c:pt idx="48282">
                  <c:v>-1.7647058823529401E-2</c:v>
                </c:pt>
                <c:pt idx="48283">
                  <c:v>-1.7647058823529401E-2</c:v>
                </c:pt>
                <c:pt idx="48284">
                  <c:v>-1.7647058823529401E-2</c:v>
                </c:pt>
                <c:pt idx="48285">
                  <c:v>-1.7647058823529401E-2</c:v>
                </c:pt>
                <c:pt idx="48286">
                  <c:v>-1.7647058823529401E-2</c:v>
                </c:pt>
                <c:pt idx="48287">
                  <c:v>-1.7647058823529401E-2</c:v>
                </c:pt>
                <c:pt idx="48288">
                  <c:v>-1.7647058823529401E-2</c:v>
                </c:pt>
                <c:pt idx="48289">
                  <c:v>-1.7647058823529401E-2</c:v>
                </c:pt>
                <c:pt idx="48290">
                  <c:v>-1.7647058823529401E-2</c:v>
                </c:pt>
                <c:pt idx="48291">
                  <c:v>-1.7647058823529401E-2</c:v>
                </c:pt>
                <c:pt idx="48292">
                  <c:v>-1.7647058823529401E-2</c:v>
                </c:pt>
                <c:pt idx="48293">
                  <c:v>-1.7647058823529401E-2</c:v>
                </c:pt>
                <c:pt idx="48294">
                  <c:v>-1.7647058823529401E-2</c:v>
                </c:pt>
                <c:pt idx="48295">
                  <c:v>-1.7647058823529401E-2</c:v>
                </c:pt>
                <c:pt idx="48296">
                  <c:v>-1.7647058823529401E-2</c:v>
                </c:pt>
                <c:pt idx="48297">
                  <c:v>-1.7647058823529401E-2</c:v>
                </c:pt>
                <c:pt idx="48298">
                  <c:v>-1.7647058823529401E-2</c:v>
                </c:pt>
                <c:pt idx="48299">
                  <c:v>-1.7647058823529401E-2</c:v>
                </c:pt>
                <c:pt idx="48300">
                  <c:v>-1.7647058823529401E-2</c:v>
                </c:pt>
                <c:pt idx="48301">
                  <c:v>-1.7647058823529401E-2</c:v>
                </c:pt>
                <c:pt idx="48302">
                  <c:v>-1.7647058823529401E-2</c:v>
                </c:pt>
                <c:pt idx="48303">
                  <c:v>-1.7647058823529401E-2</c:v>
                </c:pt>
                <c:pt idx="48304">
                  <c:v>-1.7647058823529401E-2</c:v>
                </c:pt>
                <c:pt idx="48305">
                  <c:v>-1.7647058823529401E-2</c:v>
                </c:pt>
                <c:pt idx="48306">
                  <c:v>-1.7647058823529401E-2</c:v>
                </c:pt>
                <c:pt idx="48307">
                  <c:v>-1.7647058823529401E-2</c:v>
                </c:pt>
                <c:pt idx="48308">
                  <c:v>-1.7647058823529401E-2</c:v>
                </c:pt>
                <c:pt idx="48309">
                  <c:v>-1.7647058823529401E-2</c:v>
                </c:pt>
                <c:pt idx="48310">
                  <c:v>-1.7647058823529401E-2</c:v>
                </c:pt>
                <c:pt idx="48311">
                  <c:v>-1.7647058823529401E-2</c:v>
                </c:pt>
                <c:pt idx="48312">
                  <c:v>-1.7647058823529401E-2</c:v>
                </c:pt>
                <c:pt idx="48313">
                  <c:v>-1.7647058823529401E-2</c:v>
                </c:pt>
                <c:pt idx="48314">
                  <c:v>-1.7647058823529401E-2</c:v>
                </c:pt>
                <c:pt idx="48315">
                  <c:v>-1.7647058823529401E-2</c:v>
                </c:pt>
                <c:pt idx="48316">
                  <c:v>-1.7647058823529401E-2</c:v>
                </c:pt>
                <c:pt idx="48317">
                  <c:v>-1.7647058823529401E-2</c:v>
                </c:pt>
                <c:pt idx="48318">
                  <c:v>-1.7647058823529401E-2</c:v>
                </c:pt>
                <c:pt idx="48319">
                  <c:v>-1.7647058823529401E-2</c:v>
                </c:pt>
                <c:pt idx="48320">
                  <c:v>-1.7647058823529401E-2</c:v>
                </c:pt>
                <c:pt idx="48321">
                  <c:v>-1.7647058823529401E-2</c:v>
                </c:pt>
                <c:pt idx="48322">
                  <c:v>-1.7647058823529401E-2</c:v>
                </c:pt>
                <c:pt idx="48323">
                  <c:v>-1.7647058823529401E-2</c:v>
                </c:pt>
                <c:pt idx="48324">
                  <c:v>-1.7647058823529401E-2</c:v>
                </c:pt>
                <c:pt idx="48325">
                  <c:v>-1.7647058823529401E-2</c:v>
                </c:pt>
                <c:pt idx="48326">
                  <c:v>-1.7647058823529401E-2</c:v>
                </c:pt>
                <c:pt idx="48327">
                  <c:v>-1.7647058823529401E-2</c:v>
                </c:pt>
                <c:pt idx="48328">
                  <c:v>-1.7647058823529401E-2</c:v>
                </c:pt>
                <c:pt idx="48329">
                  <c:v>-1.7647058823529401E-2</c:v>
                </c:pt>
                <c:pt idx="48330">
                  <c:v>-1.7647058823529401E-2</c:v>
                </c:pt>
                <c:pt idx="48331">
                  <c:v>-1.7647058823529401E-2</c:v>
                </c:pt>
                <c:pt idx="48332">
                  <c:v>-1.7647058823529401E-2</c:v>
                </c:pt>
                <c:pt idx="48333">
                  <c:v>-1.7647058823529401E-2</c:v>
                </c:pt>
                <c:pt idx="48334">
                  <c:v>-1.7647058823529401E-2</c:v>
                </c:pt>
                <c:pt idx="48335">
                  <c:v>-1.7647058823529401E-2</c:v>
                </c:pt>
                <c:pt idx="48336">
                  <c:v>-1.7647058823529401E-2</c:v>
                </c:pt>
                <c:pt idx="48337">
                  <c:v>-1.7647058823529401E-2</c:v>
                </c:pt>
                <c:pt idx="48338">
                  <c:v>-1.7647058823529401E-2</c:v>
                </c:pt>
                <c:pt idx="48339">
                  <c:v>-1.7647058823529401E-2</c:v>
                </c:pt>
                <c:pt idx="48340">
                  <c:v>-1.7647058823529401E-2</c:v>
                </c:pt>
                <c:pt idx="48341">
                  <c:v>-1.7647058823529401E-2</c:v>
                </c:pt>
                <c:pt idx="48342">
                  <c:v>-1.7647058823529401E-2</c:v>
                </c:pt>
                <c:pt idx="48343">
                  <c:v>-1.7647058823529401E-2</c:v>
                </c:pt>
                <c:pt idx="48344">
                  <c:v>-1.7647058823529401E-2</c:v>
                </c:pt>
                <c:pt idx="48345">
                  <c:v>-1.7647058823529401E-2</c:v>
                </c:pt>
                <c:pt idx="48346">
                  <c:v>-1.7647058823529401E-2</c:v>
                </c:pt>
                <c:pt idx="48347">
                  <c:v>-1.7647058823529401E-2</c:v>
                </c:pt>
                <c:pt idx="48348">
                  <c:v>-1.84873949579832E-2</c:v>
                </c:pt>
                <c:pt idx="48349">
                  <c:v>-1.84873949579832E-2</c:v>
                </c:pt>
                <c:pt idx="48350">
                  <c:v>-1.84873949579832E-2</c:v>
                </c:pt>
                <c:pt idx="48351">
                  <c:v>-1.84873949579832E-2</c:v>
                </c:pt>
                <c:pt idx="48352">
                  <c:v>-1.84873949579832E-2</c:v>
                </c:pt>
                <c:pt idx="48353">
                  <c:v>-1.84873949579832E-2</c:v>
                </c:pt>
                <c:pt idx="48354">
                  <c:v>-1.84873949579832E-2</c:v>
                </c:pt>
                <c:pt idx="48355">
                  <c:v>-1.84873949579832E-2</c:v>
                </c:pt>
                <c:pt idx="48356">
                  <c:v>-1.84873949579832E-2</c:v>
                </c:pt>
                <c:pt idx="48357">
                  <c:v>-1.84873949579832E-2</c:v>
                </c:pt>
                <c:pt idx="48358">
                  <c:v>-1.84873949579832E-2</c:v>
                </c:pt>
                <c:pt idx="48359">
                  <c:v>-1.84873949579832E-2</c:v>
                </c:pt>
                <c:pt idx="48360">
                  <c:v>-1.84873949579832E-2</c:v>
                </c:pt>
                <c:pt idx="48361">
                  <c:v>-1.84873949579832E-2</c:v>
                </c:pt>
                <c:pt idx="48362">
                  <c:v>-1.84873949579832E-2</c:v>
                </c:pt>
                <c:pt idx="48363">
                  <c:v>-1.84873949579832E-2</c:v>
                </c:pt>
                <c:pt idx="48364">
                  <c:v>-1.84873949579832E-2</c:v>
                </c:pt>
                <c:pt idx="48365">
                  <c:v>-1.84873949579832E-2</c:v>
                </c:pt>
                <c:pt idx="48366">
                  <c:v>-1.84873949579832E-2</c:v>
                </c:pt>
                <c:pt idx="48367">
                  <c:v>-1.84873949579832E-2</c:v>
                </c:pt>
                <c:pt idx="48368">
                  <c:v>-1.84873949579832E-2</c:v>
                </c:pt>
                <c:pt idx="48369">
                  <c:v>-1.84873949579832E-2</c:v>
                </c:pt>
                <c:pt idx="48370">
                  <c:v>-1.84873949579832E-2</c:v>
                </c:pt>
                <c:pt idx="48371">
                  <c:v>-1.84873949579832E-2</c:v>
                </c:pt>
                <c:pt idx="48372">
                  <c:v>-1.84873949579832E-2</c:v>
                </c:pt>
                <c:pt idx="48373">
                  <c:v>-1.84873949579832E-2</c:v>
                </c:pt>
                <c:pt idx="48374">
                  <c:v>-1.7647058823529401E-2</c:v>
                </c:pt>
                <c:pt idx="48375">
                  <c:v>-1.7647058823529401E-2</c:v>
                </c:pt>
                <c:pt idx="48376">
                  <c:v>-1.7647058823529401E-2</c:v>
                </c:pt>
                <c:pt idx="48377">
                  <c:v>-1.7647058823529401E-2</c:v>
                </c:pt>
                <c:pt idx="48378">
                  <c:v>-1.7647058823529401E-2</c:v>
                </c:pt>
                <c:pt idx="48379">
                  <c:v>-1.7647058823529401E-2</c:v>
                </c:pt>
                <c:pt idx="48380">
                  <c:v>-1.7647058823529401E-2</c:v>
                </c:pt>
                <c:pt idx="48381">
                  <c:v>-1.7647058823529401E-2</c:v>
                </c:pt>
                <c:pt idx="48382">
                  <c:v>-1.7647058823529401E-2</c:v>
                </c:pt>
                <c:pt idx="48383">
                  <c:v>-1.7647058823529401E-2</c:v>
                </c:pt>
                <c:pt idx="48384">
                  <c:v>-1.7647058823529401E-2</c:v>
                </c:pt>
                <c:pt idx="48385">
                  <c:v>-1.7647058823529401E-2</c:v>
                </c:pt>
                <c:pt idx="48386">
                  <c:v>-1.7647058823529401E-2</c:v>
                </c:pt>
                <c:pt idx="48387">
                  <c:v>-1.7647058823529401E-2</c:v>
                </c:pt>
                <c:pt idx="48388">
                  <c:v>-1.7647058823529401E-2</c:v>
                </c:pt>
                <c:pt idx="48389">
                  <c:v>-1.7647058823529401E-2</c:v>
                </c:pt>
                <c:pt idx="48390">
                  <c:v>-1.7647058823529401E-2</c:v>
                </c:pt>
                <c:pt idx="48391">
                  <c:v>-1.7647058823529401E-2</c:v>
                </c:pt>
                <c:pt idx="48392">
                  <c:v>-1.7647058823529401E-2</c:v>
                </c:pt>
                <c:pt idx="48393">
                  <c:v>-1.7647058823529401E-2</c:v>
                </c:pt>
                <c:pt idx="48394">
                  <c:v>-1.7647058823529401E-2</c:v>
                </c:pt>
                <c:pt idx="48395">
                  <c:v>-1.7647058823529401E-2</c:v>
                </c:pt>
                <c:pt idx="48396">
                  <c:v>-1.7647058823529401E-2</c:v>
                </c:pt>
                <c:pt idx="48397">
                  <c:v>-1.7647058823529401E-2</c:v>
                </c:pt>
                <c:pt idx="48398">
                  <c:v>-1.7647058823529401E-2</c:v>
                </c:pt>
                <c:pt idx="48399">
                  <c:v>-1.7647058823529401E-2</c:v>
                </c:pt>
                <c:pt idx="48400">
                  <c:v>-1.7647058823529401E-2</c:v>
                </c:pt>
                <c:pt idx="48401">
                  <c:v>-1.7647058823529401E-2</c:v>
                </c:pt>
                <c:pt idx="48402">
                  <c:v>-1.7647058823529401E-2</c:v>
                </c:pt>
                <c:pt idx="48403">
                  <c:v>-1.7647058823529401E-2</c:v>
                </c:pt>
                <c:pt idx="48404">
                  <c:v>-1.7647058823529401E-2</c:v>
                </c:pt>
                <c:pt idx="48405">
                  <c:v>-1.7647058823529401E-2</c:v>
                </c:pt>
                <c:pt idx="48406">
                  <c:v>-1.7647058823529401E-2</c:v>
                </c:pt>
                <c:pt idx="48407">
                  <c:v>-1.7647058823529401E-2</c:v>
                </c:pt>
                <c:pt idx="48408">
                  <c:v>-1.7647058823529401E-2</c:v>
                </c:pt>
                <c:pt idx="48409">
                  <c:v>-1.7647058823529401E-2</c:v>
                </c:pt>
                <c:pt idx="48410">
                  <c:v>-1.7647058823529401E-2</c:v>
                </c:pt>
                <c:pt idx="48411">
                  <c:v>-1.7647058823529401E-2</c:v>
                </c:pt>
                <c:pt idx="48412">
                  <c:v>-1.7647058823529401E-2</c:v>
                </c:pt>
                <c:pt idx="48413">
                  <c:v>-1.7647058823529401E-2</c:v>
                </c:pt>
                <c:pt idx="48414">
                  <c:v>-1.7647058823529401E-2</c:v>
                </c:pt>
                <c:pt idx="48415">
                  <c:v>-1.7647058823529401E-2</c:v>
                </c:pt>
                <c:pt idx="48416">
                  <c:v>-1.7647058823529401E-2</c:v>
                </c:pt>
                <c:pt idx="48417">
                  <c:v>-1.7647058823529401E-2</c:v>
                </c:pt>
                <c:pt idx="48418">
                  <c:v>-1.7647058823529401E-2</c:v>
                </c:pt>
                <c:pt idx="48419">
                  <c:v>-1.7647058823529401E-2</c:v>
                </c:pt>
                <c:pt idx="48420">
                  <c:v>-1.7647058823529401E-2</c:v>
                </c:pt>
                <c:pt idx="48421">
                  <c:v>-1.84873949579832E-2</c:v>
                </c:pt>
                <c:pt idx="48422">
                  <c:v>-1.84873949579832E-2</c:v>
                </c:pt>
                <c:pt idx="48423">
                  <c:v>-1.84873949579832E-2</c:v>
                </c:pt>
                <c:pt idx="48424">
                  <c:v>-1.84873949579832E-2</c:v>
                </c:pt>
                <c:pt idx="48425">
                  <c:v>-1.84873949579832E-2</c:v>
                </c:pt>
                <c:pt idx="48426">
                  <c:v>-1.84873949579832E-2</c:v>
                </c:pt>
                <c:pt idx="48427">
                  <c:v>-1.84873949579832E-2</c:v>
                </c:pt>
                <c:pt idx="48428">
                  <c:v>-1.84873949579832E-2</c:v>
                </c:pt>
                <c:pt idx="48429">
                  <c:v>-1.84873949579832E-2</c:v>
                </c:pt>
                <c:pt idx="48430">
                  <c:v>-1.84873949579832E-2</c:v>
                </c:pt>
                <c:pt idx="48431">
                  <c:v>-1.84873949579832E-2</c:v>
                </c:pt>
                <c:pt idx="48432">
                  <c:v>-1.84873949579832E-2</c:v>
                </c:pt>
                <c:pt idx="48433">
                  <c:v>-1.84873949579832E-2</c:v>
                </c:pt>
                <c:pt idx="48434">
                  <c:v>-1.84873949579832E-2</c:v>
                </c:pt>
                <c:pt idx="48435">
                  <c:v>-1.84873949579832E-2</c:v>
                </c:pt>
                <c:pt idx="48436">
                  <c:v>-1.84873949579832E-2</c:v>
                </c:pt>
                <c:pt idx="48437">
                  <c:v>-1.84873949579832E-2</c:v>
                </c:pt>
                <c:pt idx="48438">
                  <c:v>-1.84873949579832E-2</c:v>
                </c:pt>
                <c:pt idx="48439">
                  <c:v>-1.84873949579832E-2</c:v>
                </c:pt>
                <c:pt idx="48440">
                  <c:v>-1.84873949579832E-2</c:v>
                </c:pt>
                <c:pt idx="48441">
                  <c:v>-1.84873949579832E-2</c:v>
                </c:pt>
                <c:pt idx="48442">
                  <c:v>-1.84873949579832E-2</c:v>
                </c:pt>
                <c:pt idx="48443">
                  <c:v>-1.84873949579832E-2</c:v>
                </c:pt>
                <c:pt idx="48444">
                  <c:v>-1.84873949579832E-2</c:v>
                </c:pt>
                <c:pt idx="48445">
                  <c:v>-1.84873949579832E-2</c:v>
                </c:pt>
                <c:pt idx="48446">
                  <c:v>-1.84873949579832E-2</c:v>
                </c:pt>
                <c:pt idx="48447">
                  <c:v>-1.84873949579832E-2</c:v>
                </c:pt>
                <c:pt idx="48448">
                  <c:v>-1.84873949579832E-2</c:v>
                </c:pt>
                <c:pt idx="48449">
                  <c:v>-1.84873949579832E-2</c:v>
                </c:pt>
                <c:pt idx="48450">
                  <c:v>-1.84873949579832E-2</c:v>
                </c:pt>
                <c:pt idx="48451">
                  <c:v>-1.84873949579832E-2</c:v>
                </c:pt>
                <c:pt idx="48452">
                  <c:v>-1.84873949579832E-2</c:v>
                </c:pt>
                <c:pt idx="48453">
                  <c:v>-1.84873949579832E-2</c:v>
                </c:pt>
                <c:pt idx="48454">
                  <c:v>-1.84873949579832E-2</c:v>
                </c:pt>
                <c:pt idx="48455">
                  <c:v>-1.84873949579832E-2</c:v>
                </c:pt>
                <c:pt idx="48456">
                  <c:v>-1.7647058823529401E-2</c:v>
                </c:pt>
                <c:pt idx="48457">
                  <c:v>-1.7647058823529401E-2</c:v>
                </c:pt>
                <c:pt idx="48458">
                  <c:v>-1.7647058823529401E-2</c:v>
                </c:pt>
                <c:pt idx="48459">
                  <c:v>-1.7647058823529401E-2</c:v>
                </c:pt>
                <c:pt idx="48460">
                  <c:v>-1.7647058823529401E-2</c:v>
                </c:pt>
                <c:pt idx="48461">
                  <c:v>-1.7647058823529401E-2</c:v>
                </c:pt>
                <c:pt idx="48462">
                  <c:v>-1.7647058823529401E-2</c:v>
                </c:pt>
                <c:pt idx="48463">
                  <c:v>-1.7647058823529401E-2</c:v>
                </c:pt>
                <c:pt idx="48464">
                  <c:v>-1.7647058823529401E-2</c:v>
                </c:pt>
                <c:pt idx="48465">
                  <c:v>-1.7647058823529401E-2</c:v>
                </c:pt>
                <c:pt idx="48466">
                  <c:v>-1.7647058823529401E-2</c:v>
                </c:pt>
                <c:pt idx="48467">
                  <c:v>-1.7647058823529401E-2</c:v>
                </c:pt>
                <c:pt idx="48468">
                  <c:v>-1.7647058823529401E-2</c:v>
                </c:pt>
                <c:pt idx="48469">
                  <c:v>-1.7647058823529401E-2</c:v>
                </c:pt>
                <c:pt idx="48470">
                  <c:v>-1.7647058823529401E-2</c:v>
                </c:pt>
                <c:pt idx="48471">
                  <c:v>-1.7647058823529401E-2</c:v>
                </c:pt>
                <c:pt idx="48472">
                  <c:v>-1.7647058823529401E-2</c:v>
                </c:pt>
                <c:pt idx="48473">
                  <c:v>-1.7647058823529401E-2</c:v>
                </c:pt>
                <c:pt idx="48474">
                  <c:v>-1.7647058823529401E-2</c:v>
                </c:pt>
                <c:pt idx="48475">
                  <c:v>-1.7647058823529401E-2</c:v>
                </c:pt>
                <c:pt idx="48476">
                  <c:v>-1.7647058823529401E-2</c:v>
                </c:pt>
                <c:pt idx="48477">
                  <c:v>-1.7647058823529401E-2</c:v>
                </c:pt>
                <c:pt idx="48478">
                  <c:v>-1.7647058823529401E-2</c:v>
                </c:pt>
                <c:pt idx="48479">
                  <c:v>-1.7647058823529401E-2</c:v>
                </c:pt>
                <c:pt idx="48480">
                  <c:v>-1.7647058823529401E-2</c:v>
                </c:pt>
                <c:pt idx="48481">
                  <c:v>-1.7647058823529401E-2</c:v>
                </c:pt>
                <c:pt idx="48482">
                  <c:v>-1.7647058823529401E-2</c:v>
                </c:pt>
                <c:pt idx="48483">
                  <c:v>-1.7647058823529401E-2</c:v>
                </c:pt>
                <c:pt idx="48484">
                  <c:v>-1.7647058823529401E-2</c:v>
                </c:pt>
                <c:pt idx="48485">
                  <c:v>-1.7647058823529401E-2</c:v>
                </c:pt>
                <c:pt idx="48486">
                  <c:v>-1.7647058823529401E-2</c:v>
                </c:pt>
                <c:pt idx="48487">
                  <c:v>-1.7647058823529401E-2</c:v>
                </c:pt>
                <c:pt idx="48488">
                  <c:v>-1.7647058823529401E-2</c:v>
                </c:pt>
                <c:pt idx="48489">
                  <c:v>-1.7647058823529401E-2</c:v>
                </c:pt>
                <c:pt idx="48490">
                  <c:v>-1.7647058823529401E-2</c:v>
                </c:pt>
                <c:pt idx="48491">
                  <c:v>-1.7647058823529401E-2</c:v>
                </c:pt>
                <c:pt idx="48492">
                  <c:v>-1.7647058823529401E-2</c:v>
                </c:pt>
                <c:pt idx="48493">
                  <c:v>-1.7647058823529401E-2</c:v>
                </c:pt>
                <c:pt idx="48494">
                  <c:v>-1.7647058823529401E-2</c:v>
                </c:pt>
                <c:pt idx="48495">
                  <c:v>-1.7647058823529401E-2</c:v>
                </c:pt>
                <c:pt idx="48496">
                  <c:v>-1.7647058823529401E-2</c:v>
                </c:pt>
                <c:pt idx="48497">
                  <c:v>-1.7647058823529401E-2</c:v>
                </c:pt>
                <c:pt idx="48498">
                  <c:v>-1.7647058823529401E-2</c:v>
                </c:pt>
                <c:pt idx="48499">
                  <c:v>-1.7647058823529401E-2</c:v>
                </c:pt>
                <c:pt idx="48500">
                  <c:v>-1.7647058823529401E-2</c:v>
                </c:pt>
                <c:pt idx="48501">
                  <c:v>-1.7647058823529401E-2</c:v>
                </c:pt>
                <c:pt idx="48502">
                  <c:v>-1.7647058823529401E-2</c:v>
                </c:pt>
                <c:pt idx="48503">
                  <c:v>-1.7647058823529401E-2</c:v>
                </c:pt>
                <c:pt idx="48504">
                  <c:v>-1.7647058823529401E-2</c:v>
                </c:pt>
                <c:pt idx="48505">
                  <c:v>-1.7647058823529401E-2</c:v>
                </c:pt>
                <c:pt idx="48506">
                  <c:v>-1.7647058823529401E-2</c:v>
                </c:pt>
                <c:pt idx="48507">
                  <c:v>-1.7647058823529401E-2</c:v>
                </c:pt>
                <c:pt idx="48508">
                  <c:v>-1.7647058823529401E-2</c:v>
                </c:pt>
                <c:pt idx="48509">
                  <c:v>-1.7647058823529401E-2</c:v>
                </c:pt>
                <c:pt idx="48510">
                  <c:v>-1.7647058823529401E-2</c:v>
                </c:pt>
                <c:pt idx="48511">
                  <c:v>-1.7647058823529401E-2</c:v>
                </c:pt>
                <c:pt idx="48512">
                  <c:v>-1.7647058823529401E-2</c:v>
                </c:pt>
                <c:pt idx="48513">
                  <c:v>-1.7647058823529401E-2</c:v>
                </c:pt>
                <c:pt idx="48514">
                  <c:v>-1.7647058823529401E-2</c:v>
                </c:pt>
                <c:pt idx="48515">
                  <c:v>-1.7647058823529401E-2</c:v>
                </c:pt>
                <c:pt idx="48516">
                  <c:v>-1.7647058823529401E-2</c:v>
                </c:pt>
                <c:pt idx="48517">
                  <c:v>-1.7647058823529401E-2</c:v>
                </c:pt>
                <c:pt idx="48518">
                  <c:v>-1.7647058823529401E-2</c:v>
                </c:pt>
                <c:pt idx="48519">
                  <c:v>-1.7647058823529401E-2</c:v>
                </c:pt>
                <c:pt idx="48520">
                  <c:v>-1.7647058823529401E-2</c:v>
                </c:pt>
                <c:pt idx="48521">
                  <c:v>-1.7647058823529401E-2</c:v>
                </c:pt>
                <c:pt idx="48522">
                  <c:v>-1.7647058823529401E-2</c:v>
                </c:pt>
                <c:pt idx="48523">
                  <c:v>-1.7647058823529401E-2</c:v>
                </c:pt>
                <c:pt idx="48524">
                  <c:v>-1.7647058823529401E-2</c:v>
                </c:pt>
                <c:pt idx="48525">
                  <c:v>-1.7647058823529401E-2</c:v>
                </c:pt>
                <c:pt idx="48526">
                  <c:v>-1.7647058823529401E-2</c:v>
                </c:pt>
                <c:pt idx="48527">
                  <c:v>-1.7647058823529401E-2</c:v>
                </c:pt>
                <c:pt idx="48528">
                  <c:v>-1.7647058823529401E-2</c:v>
                </c:pt>
                <c:pt idx="48529">
                  <c:v>-1.7647058823529401E-2</c:v>
                </c:pt>
                <c:pt idx="48530">
                  <c:v>-1.7647058823529401E-2</c:v>
                </c:pt>
                <c:pt idx="48531">
                  <c:v>-1.7647058823529401E-2</c:v>
                </c:pt>
                <c:pt idx="48532">
                  <c:v>-1.7647058823529401E-2</c:v>
                </c:pt>
                <c:pt idx="48533">
                  <c:v>-1.7647058823529401E-2</c:v>
                </c:pt>
                <c:pt idx="48534">
                  <c:v>-1.7647058823529401E-2</c:v>
                </c:pt>
                <c:pt idx="48535">
                  <c:v>-1.7647058823529401E-2</c:v>
                </c:pt>
                <c:pt idx="48536">
                  <c:v>-1.7647058823529401E-2</c:v>
                </c:pt>
                <c:pt idx="48537">
                  <c:v>-1.7647058823529401E-2</c:v>
                </c:pt>
                <c:pt idx="48538">
                  <c:v>-1.7647058823529401E-2</c:v>
                </c:pt>
                <c:pt idx="48539">
                  <c:v>-1.7647058823529401E-2</c:v>
                </c:pt>
                <c:pt idx="48540">
                  <c:v>-1.7647058823529401E-2</c:v>
                </c:pt>
                <c:pt idx="48541">
                  <c:v>-1.7647058823529401E-2</c:v>
                </c:pt>
                <c:pt idx="48542">
                  <c:v>-1.7647058823529401E-2</c:v>
                </c:pt>
                <c:pt idx="48543">
                  <c:v>-1.7647058823529401E-2</c:v>
                </c:pt>
                <c:pt idx="48544">
                  <c:v>-1.7647058823529401E-2</c:v>
                </c:pt>
                <c:pt idx="48545">
                  <c:v>-1.7647058823529401E-2</c:v>
                </c:pt>
                <c:pt idx="48546">
                  <c:v>-1.7647058823529401E-2</c:v>
                </c:pt>
                <c:pt idx="48547">
                  <c:v>-1.7647058823529401E-2</c:v>
                </c:pt>
                <c:pt idx="48548">
                  <c:v>-1.7647058823529401E-2</c:v>
                </c:pt>
                <c:pt idx="48549">
                  <c:v>-1.7647058823529401E-2</c:v>
                </c:pt>
                <c:pt idx="48550">
                  <c:v>-1.7647058823529401E-2</c:v>
                </c:pt>
                <c:pt idx="48551">
                  <c:v>-1.7647058823529401E-2</c:v>
                </c:pt>
                <c:pt idx="48552">
                  <c:v>-1.7647058823529401E-2</c:v>
                </c:pt>
                <c:pt idx="48553">
                  <c:v>-1.7647058823529401E-2</c:v>
                </c:pt>
                <c:pt idx="48554">
                  <c:v>-1.7647058823529401E-2</c:v>
                </c:pt>
                <c:pt idx="48555">
                  <c:v>-1.7647058823529401E-2</c:v>
                </c:pt>
                <c:pt idx="48556">
                  <c:v>-1.7647058823529401E-2</c:v>
                </c:pt>
                <c:pt idx="48557">
                  <c:v>-1.7647058823529401E-2</c:v>
                </c:pt>
                <c:pt idx="48558">
                  <c:v>-1.7647058823529401E-2</c:v>
                </c:pt>
                <c:pt idx="48559">
                  <c:v>-1.7647058823529401E-2</c:v>
                </c:pt>
                <c:pt idx="48560">
                  <c:v>-1.7647058823529401E-2</c:v>
                </c:pt>
                <c:pt idx="48561">
                  <c:v>-1.7647058823529401E-2</c:v>
                </c:pt>
                <c:pt idx="48562">
                  <c:v>-1.7647058823529401E-2</c:v>
                </c:pt>
                <c:pt idx="48563">
                  <c:v>-1.7647058823529401E-2</c:v>
                </c:pt>
                <c:pt idx="48564">
                  <c:v>-1.7647058823529401E-2</c:v>
                </c:pt>
                <c:pt idx="48565">
                  <c:v>-1.7647058823529401E-2</c:v>
                </c:pt>
                <c:pt idx="48566">
                  <c:v>-1.7647058823529401E-2</c:v>
                </c:pt>
                <c:pt idx="48567">
                  <c:v>-1.7647058823529401E-2</c:v>
                </c:pt>
                <c:pt idx="48568">
                  <c:v>-1.7647058823529401E-2</c:v>
                </c:pt>
                <c:pt idx="48569">
                  <c:v>-1.7647058823529401E-2</c:v>
                </c:pt>
                <c:pt idx="48570">
                  <c:v>-1.7647058823529401E-2</c:v>
                </c:pt>
                <c:pt idx="48571">
                  <c:v>-1.7647058823529401E-2</c:v>
                </c:pt>
                <c:pt idx="48572">
                  <c:v>-1.7647058823529401E-2</c:v>
                </c:pt>
                <c:pt idx="48573">
                  <c:v>-1.7647058823529401E-2</c:v>
                </c:pt>
                <c:pt idx="48574">
                  <c:v>-1.7647058823529401E-2</c:v>
                </c:pt>
                <c:pt idx="48575">
                  <c:v>-1.7647058823529401E-2</c:v>
                </c:pt>
                <c:pt idx="48576">
                  <c:v>-1.7647058823529401E-2</c:v>
                </c:pt>
                <c:pt idx="48577">
                  <c:v>-1.7647058823529401E-2</c:v>
                </c:pt>
                <c:pt idx="48578">
                  <c:v>-1.7647058823529401E-2</c:v>
                </c:pt>
                <c:pt idx="48579">
                  <c:v>-1.7647058823529401E-2</c:v>
                </c:pt>
                <c:pt idx="48580">
                  <c:v>-1.7647058823529401E-2</c:v>
                </c:pt>
                <c:pt idx="48581">
                  <c:v>-1.7647058823529401E-2</c:v>
                </c:pt>
                <c:pt idx="48582">
                  <c:v>-1.7647058823529401E-2</c:v>
                </c:pt>
                <c:pt idx="48583">
                  <c:v>-1.7647058823529401E-2</c:v>
                </c:pt>
                <c:pt idx="48584">
                  <c:v>-1.7647058823529401E-2</c:v>
                </c:pt>
                <c:pt idx="48585">
                  <c:v>-1.7647058823529401E-2</c:v>
                </c:pt>
                <c:pt idx="48586">
                  <c:v>-1.7647058823529401E-2</c:v>
                </c:pt>
                <c:pt idx="48587">
                  <c:v>-1.7647058823529401E-2</c:v>
                </c:pt>
                <c:pt idx="48588">
                  <c:v>-1.7647058823529401E-2</c:v>
                </c:pt>
                <c:pt idx="48589">
                  <c:v>-1.7647058823529401E-2</c:v>
                </c:pt>
                <c:pt idx="48590">
                  <c:v>-1.7647058823529401E-2</c:v>
                </c:pt>
                <c:pt idx="48591">
                  <c:v>-1.7647058823529401E-2</c:v>
                </c:pt>
                <c:pt idx="48592">
                  <c:v>-1.7647058823529401E-2</c:v>
                </c:pt>
                <c:pt idx="48593">
                  <c:v>-1.7647058823529401E-2</c:v>
                </c:pt>
                <c:pt idx="48594">
                  <c:v>-1.7647058823529401E-2</c:v>
                </c:pt>
                <c:pt idx="48595">
                  <c:v>-1.7647058823529401E-2</c:v>
                </c:pt>
                <c:pt idx="48596">
                  <c:v>-1.7647058823529401E-2</c:v>
                </c:pt>
                <c:pt idx="48597">
                  <c:v>-1.7647058823529401E-2</c:v>
                </c:pt>
                <c:pt idx="48598">
                  <c:v>-1.7647058823529401E-2</c:v>
                </c:pt>
                <c:pt idx="48599">
                  <c:v>-1.7647058823529401E-2</c:v>
                </c:pt>
                <c:pt idx="48600">
                  <c:v>-1.7647058823529401E-2</c:v>
                </c:pt>
                <c:pt idx="48601">
                  <c:v>-1.7647058823529401E-2</c:v>
                </c:pt>
                <c:pt idx="48602">
                  <c:v>-1.7647058823529401E-2</c:v>
                </c:pt>
                <c:pt idx="48603">
                  <c:v>-1.7647058823529401E-2</c:v>
                </c:pt>
                <c:pt idx="48604">
                  <c:v>-1.7647058823529401E-2</c:v>
                </c:pt>
                <c:pt idx="48605">
                  <c:v>-1.7647058823529401E-2</c:v>
                </c:pt>
                <c:pt idx="48606">
                  <c:v>-1.7647058823529401E-2</c:v>
                </c:pt>
                <c:pt idx="48607">
                  <c:v>-1.7647058823529401E-2</c:v>
                </c:pt>
                <c:pt idx="48608">
                  <c:v>-1.7647058823529401E-2</c:v>
                </c:pt>
                <c:pt idx="48609">
                  <c:v>-1.7647058823529401E-2</c:v>
                </c:pt>
                <c:pt idx="48610">
                  <c:v>-1.7647058823529401E-2</c:v>
                </c:pt>
                <c:pt idx="48611">
                  <c:v>-1.7647058823529401E-2</c:v>
                </c:pt>
                <c:pt idx="48612">
                  <c:v>-1.7647058823529401E-2</c:v>
                </c:pt>
                <c:pt idx="48613">
                  <c:v>-1.7647058823529401E-2</c:v>
                </c:pt>
                <c:pt idx="48614">
                  <c:v>-1.7647058823529401E-2</c:v>
                </c:pt>
                <c:pt idx="48615">
                  <c:v>-1.7647058823529401E-2</c:v>
                </c:pt>
                <c:pt idx="48616">
                  <c:v>-1.7647058823529401E-2</c:v>
                </c:pt>
                <c:pt idx="48617">
                  <c:v>-1.7647058823529401E-2</c:v>
                </c:pt>
                <c:pt idx="48618">
                  <c:v>-1.7647058823529401E-2</c:v>
                </c:pt>
                <c:pt idx="48619">
                  <c:v>-1.7647058823529401E-2</c:v>
                </c:pt>
                <c:pt idx="48620">
                  <c:v>-1.7647058823529401E-2</c:v>
                </c:pt>
                <c:pt idx="48621">
                  <c:v>-1.7647058823529401E-2</c:v>
                </c:pt>
                <c:pt idx="48622">
                  <c:v>-1.7647058823529401E-2</c:v>
                </c:pt>
                <c:pt idx="48623">
                  <c:v>-1.7647058823529401E-2</c:v>
                </c:pt>
                <c:pt idx="48624">
                  <c:v>-1.7647058823529401E-2</c:v>
                </c:pt>
                <c:pt idx="48625">
                  <c:v>-1.7647058823529401E-2</c:v>
                </c:pt>
                <c:pt idx="48626">
                  <c:v>-1.7647058823529401E-2</c:v>
                </c:pt>
                <c:pt idx="48627">
                  <c:v>-1.6806722689075598E-2</c:v>
                </c:pt>
                <c:pt idx="48628">
                  <c:v>-1.6806722689075598E-2</c:v>
                </c:pt>
                <c:pt idx="48629">
                  <c:v>-1.6806722689075598E-2</c:v>
                </c:pt>
                <c:pt idx="48630">
                  <c:v>-1.6806722689075598E-2</c:v>
                </c:pt>
                <c:pt idx="48631">
                  <c:v>-1.6806722689075598E-2</c:v>
                </c:pt>
                <c:pt idx="48632">
                  <c:v>-1.6806722689075598E-2</c:v>
                </c:pt>
                <c:pt idx="48633">
                  <c:v>-1.6806722689075598E-2</c:v>
                </c:pt>
                <c:pt idx="48634">
                  <c:v>-1.6806722689075598E-2</c:v>
                </c:pt>
                <c:pt idx="48635">
                  <c:v>-1.6806722689075598E-2</c:v>
                </c:pt>
                <c:pt idx="48636">
                  <c:v>-1.6806722689075598E-2</c:v>
                </c:pt>
                <c:pt idx="48637">
                  <c:v>-1.6806722689075598E-2</c:v>
                </c:pt>
                <c:pt idx="48638">
                  <c:v>-1.6806722689075598E-2</c:v>
                </c:pt>
                <c:pt idx="48639">
                  <c:v>-1.6806722689075598E-2</c:v>
                </c:pt>
                <c:pt idx="48640">
                  <c:v>-1.6806722689075598E-2</c:v>
                </c:pt>
                <c:pt idx="48641">
                  <c:v>-1.6806722689075598E-2</c:v>
                </c:pt>
                <c:pt idx="48642">
                  <c:v>-1.6806722689075598E-2</c:v>
                </c:pt>
                <c:pt idx="48643">
                  <c:v>-1.6806722689075598E-2</c:v>
                </c:pt>
                <c:pt idx="48644">
                  <c:v>-1.6806722689075598E-2</c:v>
                </c:pt>
                <c:pt idx="48645">
                  <c:v>-1.6806722689075598E-2</c:v>
                </c:pt>
                <c:pt idx="48646">
                  <c:v>-1.6806722689075598E-2</c:v>
                </c:pt>
                <c:pt idx="48647">
                  <c:v>-1.6806722689075598E-2</c:v>
                </c:pt>
                <c:pt idx="48648">
                  <c:v>-1.6806722689075598E-2</c:v>
                </c:pt>
                <c:pt idx="48649">
                  <c:v>-1.6806722689075598E-2</c:v>
                </c:pt>
                <c:pt idx="48650">
                  <c:v>-1.6806722689075598E-2</c:v>
                </c:pt>
                <c:pt idx="48651">
                  <c:v>-1.6806722689075598E-2</c:v>
                </c:pt>
                <c:pt idx="48652">
                  <c:v>-1.6806722689075598E-2</c:v>
                </c:pt>
                <c:pt idx="48653">
                  <c:v>-1.6806722689075598E-2</c:v>
                </c:pt>
                <c:pt idx="48654">
                  <c:v>-1.6806722689075598E-2</c:v>
                </c:pt>
                <c:pt idx="48655">
                  <c:v>-1.6806722689075598E-2</c:v>
                </c:pt>
                <c:pt idx="48656">
                  <c:v>-1.6806722689075598E-2</c:v>
                </c:pt>
                <c:pt idx="48657">
                  <c:v>-1.6806722689075598E-2</c:v>
                </c:pt>
                <c:pt idx="48658">
                  <c:v>-1.6806722689075598E-2</c:v>
                </c:pt>
                <c:pt idx="48659">
                  <c:v>-1.6806722689075598E-2</c:v>
                </c:pt>
                <c:pt idx="48660">
                  <c:v>-1.6806722689075598E-2</c:v>
                </c:pt>
                <c:pt idx="48661">
                  <c:v>-1.6806722689075598E-2</c:v>
                </c:pt>
                <c:pt idx="48662">
                  <c:v>-1.6806722689075598E-2</c:v>
                </c:pt>
                <c:pt idx="48663">
                  <c:v>-1.6806722689075598E-2</c:v>
                </c:pt>
                <c:pt idx="48664">
                  <c:v>-1.6806722689075598E-2</c:v>
                </c:pt>
                <c:pt idx="48665">
                  <c:v>-1.6806722689075598E-2</c:v>
                </c:pt>
                <c:pt idx="48666">
                  <c:v>-1.6806722689075598E-2</c:v>
                </c:pt>
                <c:pt idx="48667">
                  <c:v>-1.6806722689075598E-2</c:v>
                </c:pt>
                <c:pt idx="48668">
                  <c:v>-1.6806722689075598E-2</c:v>
                </c:pt>
                <c:pt idx="48669">
                  <c:v>-1.6806722689075598E-2</c:v>
                </c:pt>
                <c:pt idx="48670">
                  <c:v>-1.6806722689075598E-2</c:v>
                </c:pt>
                <c:pt idx="48671">
                  <c:v>-1.6806722689075598E-2</c:v>
                </c:pt>
                <c:pt idx="48672">
                  <c:v>-1.6806722689075598E-2</c:v>
                </c:pt>
                <c:pt idx="48673">
                  <c:v>-1.6806722689075598E-2</c:v>
                </c:pt>
                <c:pt idx="48674">
                  <c:v>-1.6806722689075598E-2</c:v>
                </c:pt>
                <c:pt idx="48675">
                  <c:v>-1.6806722689075598E-2</c:v>
                </c:pt>
                <c:pt idx="48676">
                  <c:v>-1.6806722689075598E-2</c:v>
                </c:pt>
                <c:pt idx="48677">
                  <c:v>-1.6806722689075598E-2</c:v>
                </c:pt>
                <c:pt idx="48678">
                  <c:v>-1.6806722689075598E-2</c:v>
                </c:pt>
                <c:pt idx="48679">
                  <c:v>-1.6806722689075598E-2</c:v>
                </c:pt>
                <c:pt idx="48680">
                  <c:v>-1.6806722689075598E-2</c:v>
                </c:pt>
                <c:pt idx="48681">
                  <c:v>-1.6806722689075598E-2</c:v>
                </c:pt>
                <c:pt idx="48682">
                  <c:v>-1.6806722689075598E-2</c:v>
                </c:pt>
                <c:pt idx="48683">
                  <c:v>-1.6806722689075598E-2</c:v>
                </c:pt>
                <c:pt idx="48684">
                  <c:v>-1.6806722689075598E-2</c:v>
                </c:pt>
                <c:pt idx="48685">
                  <c:v>-1.6806722689075598E-2</c:v>
                </c:pt>
                <c:pt idx="48686">
                  <c:v>-1.6806722689075598E-2</c:v>
                </c:pt>
                <c:pt idx="48687">
                  <c:v>-1.6806722689075598E-2</c:v>
                </c:pt>
                <c:pt idx="48688">
                  <c:v>-1.6806722689075598E-2</c:v>
                </c:pt>
                <c:pt idx="48689">
                  <c:v>-1.6806722689075598E-2</c:v>
                </c:pt>
                <c:pt idx="48690">
                  <c:v>-1.6806722689075598E-2</c:v>
                </c:pt>
                <c:pt idx="48691">
                  <c:v>-1.6806722689075598E-2</c:v>
                </c:pt>
                <c:pt idx="48692">
                  <c:v>-1.6806722689075598E-2</c:v>
                </c:pt>
                <c:pt idx="48693">
                  <c:v>-1.6806722689075598E-2</c:v>
                </c:pt>
                <c:pt idx="48694">
                  <c:v>-1.6806722689075598E-2</c:v>
                </c:pt>
                <c:pt idx="48695">
                  <c:v>-1.6806722689075598E-2</c:v>
                </c:pt>
                <c:pt idx="48696">
                  <c:v>-1.6806722689075598E-2</c:v>
                </c:pt>
                <c:pt idx="48697">
                  <c:v>-1.6806722689075598E-2</c:v>
                </c:pt>
                <c:pt idx="48698">
                  <c:v>-1.6806722689075598E-2</c:v>
                </c:pt>
                <c:pt idx="48699">
                  <c:v>-1.6806722689075598E-2</c:v>
                </c:pt>
                <c:pt idx="48700">
                  <c:v>-1.6806722689075598E-2</c:v>
                </c:pt>
                <c:pt idx="48701">
                  <c:v>-1.6806722689075598E-2</c:v>
                </c:pt>
                <c:pt idx="48702">
                  <c:v>-1.6806722689075598E-2</c:v>
                </c:pt>
                <c:pt idx="48703">
                  <c:v>-1.6806722689075598E-2</c:v>
                </c:pt>
                <c:pt idx="48704">
                  <c:v>-1.6806722689075598E-2</c:v>
                </c:pt>
                <c:pt idx="48705">
                  <c:v>-1.6806722689075598E-2</c:v>
                </c:pt>
                <c:pt idx="48706">
                  <c:v>-1.6806722689075598E-2</c:v>
                </c:pt>
                <c:pt idx="48707">
                  <c:v>-1.6806722689075598E-2</c:v>
                </c:pt>
                <c:pt idx="48708">
                  <c:v>-1.6806722689075598E-2</c:v>
                </c:pt>
                <c:pt idx="48709">
                  <c:v>-1.6806722689075598E-2</c:v>
                </c:pt>
                <c:pt idx="48710">
                  <c:v>-1.6806722689075598E-2</c:v>
                </c:pt>
                <c:pt idx="48711">
                  <c:v>-1.6806722689075598E-2</c:v>
                </c:pt>
                <c:pt idx="48712">
                  <c:v>-1.6806722689075598E-2</c:v>
                </c:pt>
                <c:pt idx="48713">
                  <c:v>-1.6806722689075598E-2</c:v>
                </c:pt>
                <c:pt idx="48714">
                  <c:v>-1.6806722689075598E-2</c:v>
                </c:pt>
                <c:pt idx="48715">
                  <c:v>-1.6806722689075598E-2</c:v>
                </c:pt>
                <c:pt idx="48716">
                  <c:v>-1.6806722689075598E-2</c:v>
                </c:pt>
                <c:pt idx="48717">
                  <c:v>-1.6806722689075598E-2</c:v>
                </c:pt>
                <c:pt idx="48718">
                  <c:v>-1.6806722689075598E-2</c:v>
                </c:pt>
                <c:pt idx="48719">
                  <c:v>-1.6806722689075598E-2</c:v>
                </c:pt>
                <c:pt idx="48720">
                  <c:v>-1.6806722689075598E-2</c:v>
                </c:pt>
                <c:pt idx="48721">
                  <c:v>-1.6806722689075598E-2</c:v>
                </c:pt>
                <c:pt idx="48722">
                  <c:v>-1.6806722689075598E-2</c:v>
                </c:pt>
                <c:pt idx="48723">
                  <c:v>-1.6806722689075598E-2</c:v>
                </c:pt>
                <c:pt idx="48724">
                  <c:v>-1.6806722689075598E-2</c:v>
                </c:pt>
                <c:pt idx="48725">
                  <c:v>-1.6806722689075598E-2</c:v>
                </c:pt>
                <c:pt idx="48726">
                  <c:v>-1.6806722689075598E-2</c:v>
                </c:pt>
                <c:pt idx="48727">
                  <c:v>-1.6806722689075598E-2</c:v>
                </c:pt>
                <c:pt idx="48728">
                  <c:v>-1.6806722689075598E-2</c:v>
                </c:pt>
                <c:pt idx="48729">
                  <c:v>-1.6806722689075598E-2</c:v>
                </c:pt>
                <c:pt idx="48730">
                  <c:v>-1.6806722689075598E-2</c:v>
                </c:pt>
                <c:pt idx="48731">
                  <c:v>-1.6806722689075598E-2</c:v>
                </c:pt>
                <c:pt idx="48732">
                  <c:v>-1.6806722689075598E-2</c:v>
                </c:pt>
                <c:pt idx="48733">
                  <c:v>-1.6806722689075598E-2</c:v>
                </c:pt>
                <c:pt idx="48734">
                  <c:v>-1.6806722689075598E-2</c:v>
                </c:pt>
                <c:pt idx="48735">
                  <c:v>-1.6806722689075598E-2</c:v>
                </c:pt>
                <c:pt idx="48736">
                  <c:v>-1.6806722689075598E-2</c:v>
                </c:pt>
                <c:pt idx="48737">
                  <c:v>-1.6806722689075598E-2</c:v>
                </c:pt>
                <c:pt idx="48738">
                  <c:v>-1.6806722689075598E-2</c:v>
                </c:pt>
                <c:pt idx="48739">
                  <c:v>-1.6806722689075598E-2</c:v>
                </c:pt>
                <c:pt idx="48740">
                  <c:v>-1.6806722689075598E-2</c:v>
                </c:pt>
                <c:pt idx="48741">
                  <c:v>-1.6806722689075598E-2</c:v>
                </c:pt>
                <c:pt idx="48742">
                  <c:v>-1.6806722689075598E-2</c:v>
                </c:pt>
                <c:pt idx="48743">
                  <c:v>-1.6806722689075598E-2</c:v>
                </c:pt>
                <c:pt idx="48744">
                  <c:v>-1.6806722689075598E-2</c:v>
                </c:pt>
                <c:pt idx="48745">
                  <c:v>-1.6806722689075598E-2</c:v>
                </c:pt>
                <c:pt idx="48746">
                  <c:v>-1.6806722689075598E-2</c:v>
                </c:pt>
                <c:pt idx="48747">
                  <c:v>-1.6806722689075598E-2</c:v>
                </c:pt>
                <c:pt idx="48748">
                  <c:v>-1.6806722689075598E-2</c:v>
                </c:pt>
                <c:pt idx="48749">
                  <c:v>-1.6806722689075598E-2</c:v>
                </c:pt>
                <c:pt idx="48750">
                  <c:v>-1.6806722689075598E-2</c:v>
                </c:pt>
                <c:pt idx="48751">
                  <c:v>-1.6806722689075598E-2</c:v>
                </c:pt>
                <c:pt idx="48752">
                  <c:v>-1.6806722689075598E-2</c:v>
                </c:pt>
                <c:pt idx="48753">
                  <c:v>-1.6806722689075598E-2</c:v>
                </c:pt>
                <c:pt idx="48754">
                  <c:v>-1.6806722689075598E-2</c:v>
                </c:pt>
                <c:pt idx="48755">
                  <c:v>-1.6806722689075598E-2</c:v>
                </c:pt>
                <c:pt idx="48756">
                  <c:v>-1.6806722689075598E-2</c:v>
                </c:pt>
                <c:pt idx="48757">
                  <c:v>-1.6806722689075598E-2</c:v>
                </c:pt>
                <c:pt idx="48758">
                  <c:v>-1.6806722689075598E-2</c:v>
                </c:pt>
                <c:pt idx="48759">
                  <c:v>-1.6806722689075598E-2</c:v>
                </c:pt>
                <c:pt idx="48760">
                  <c:v>-1.6806722689075598E-2</c:v>
                </c:pt>
                <c:pt idx="48761">
                  <c:v>-1.6806722689075598E-2</c:v>
                </c:pt>
                <c:pt idx="48762">
                  <c:v>-1.6806722689075598E-2</c:v>
                </c:pt>
                <c:pt idx="48763">
                  <c:v>-1.6806722689075598E-2</c:v>
                </c:pt>
                <c:pt idx="48764">
                  <c:v>-1.6806722689075598E-2</c:v>
                </c:pt>
                <c:pt idx="48765">
                  <c:v>-1.6806722689075598E-2</c:v>
                </c:pt>
                <c:pt idx="48766">
                  <c:v>-1.6806722689075598E-2</c:v>
                </c:pt>
                <c:pt idx="48767">
                  <c:v>-1.6806722689075598E-2</c:v>
                </c:pt>
                <c:pt idx="48768">
                  <c:v>-1.6806722689075598E-2</c:v>
                </c:pt>
                <c:pt idx="48769">
                  <c:v>-1.6806722689075598E-2</c:v>
                </c:pt>
                <c:pt idx="48770">
                  <c:v>-1.6806722689075598E-2</c:v>
                </c:pt>
                <c:pt idx="48771">
                  <c:v>-1.6806722689075598E-2</c:v>
                </c:pt>
                <c:pt idx="48772">
                  <c:v>-1.6806722689075598E-2</c:v>
                </c:pt>
                <c:pt idx="48773">
                  <c:v>-1.6806722689075598E-2</c:v>
                </c:pt>
                <c:pt idx="48774">
                  <c:v>-1.6806722689075598E-2</c:v>
                </c:pt>
                <c:pt idx="48775">
                  <c:v>-1.6806722689075598E-2</c:v>
                </c:pt>
                <c:pt idx="48776">
                  <c:v>-1.6806722689075598E-2</c:v>
                </c:pt>
                <c:pt idx="48777">
                  <c:v>-1.6806722689075598E-2</c:v>
                </c:pt>
                <c:pt idx="48778">
                  <c:v>-1.6806722689075598E-2</c:v>
                </c:pt>
                <c:pt idx="48779">
                  <c:v>-1.6806722689075598E-2</c:v>
                </c:pt>
                <c:pt idx="48780">
                  <c:v>-1.6806722689075598E-2</c:v>
                </c:pt>
                <c:pt idx="48781">
                  <c:v>-1.6806722689075598E-2</c:v>
                </c:pt>
                <c:pt idx="48782">
                  <c:v>-1.6806722689075598E-2</c:v>
                </c:pt>
                <c:pt idx="48783">
                  <c:v>-1.6806722689075598E-2</c:v>
                </c:pt>
                <c:pt idx="48784">
                  <c:v>-1.6806722689075598E-2</c:v>
                </c:pt>
                <c:pt idx="48785">
                  <c:v>-1.6806722689075598E-2</c:v>
                </c:pt>
                <c:pt idx="48786">
                  <c:v>-1.6806722689075598E-2</c:v>
                </c:pt>
                <c:pt idx="48787">
                  <c:v>-1.6806722689075598E-2</c:v>
                </c:pt>
                <c:pt idx="48788">
                  <c:v>-1.6806722689075598E-2</c:v>
                </c:pt>
                <c:pt idx="48789">
                  <c:v>-1.6806722689075598E-2</c:v>
                </c:pt>
                <c:pt idx="48790">
                  <c:v>-1.6806722689075598E-2</c:v>
                </c:pt>
                <c:pt idx="48791">
                  <c:v>-1.6806722689075598E-2</c:v>
                </c:pt>
                <c:pt idx="48792">
                  <c:v>-1.6806722689075598E-2</c:v>
                </c:pt>
                <c:pt idx="48793">
                  <c:v>-1.6806722689075598E-2</c:v>
                </c:pt>
                <c:pt idx="48794">
                  <c:v>-1.6806722689075598E-2</c:v>
                </c:pt>
                <c:pt idx="48795">
                  <c:v>-1.6806722689075598E-2</c:v>
                </c:pt>
                <c:pt idx="48796">
                  <c:v>-1.6806722689075598E-2</c:v>
                </c:pt>
                <c:pt idx="48797">
                  <c:v>-1.6806722689075598E-2</c:v>
                </c:pt>
                <c:pt idx="48798">
                  <c:v>-1.6806722689075598E-2</c:v>
                </c:pt>
                <c:pt idx="48799">
                  <c:v>-1.6806722689075598E-2</c:v>
                </c:pt>
                <c:pt idx="48800">
                  <c:v>-1.6806722689075598E-2</c:v>
                </c:pt>
                <c:pt idx="48801">
                  <c:v>-1.6806722689075598E-2</c:v>
                </c:pt>
                <c:pt idx="48802">
                  <c:v>-1.6806722689075598E-2</c:v>
                </c:pt>
                <c:pt idx="48803">
                  <c:v>-1.6806722689075598E-2</c:v>
                </c:pt>
                <c:pt idx="48804">
                  <c:v>-1.6806722689075598E-2</c:v>
                </c:pt>
                <c:pt idx="48805">
                  <c:v>-1.6806722689075598E-2</c:v>
                </c:pt>
                <c:pt idx="48806">
                  <c:v>-1.6806722689075598E-2</c:v>
                </c:pt>
                <c:pt idx="48807">
                  <c:v>-1.6806722689075598E-2</c:v>
                </c:pt>
                <c:pt idx="48808">
                  <c:v>-1.6806722689075598E-2</c:v>
                </c:pt>
                <c:pt idx="48809">
                  <c:v>-1.6806722689075598E-2</c:v>
                </c:pt>
                <c:pt idx="48810">
                  <c:v>-1.6806722689075598E-2</c:v>
                </c:pt>
                <c:pt idx="48811">
                  <c:v>-1.6806722689075598E-2</c:v>
                </c:pt>
                <c:pt idx="48812">
                  <c:v>-1.6806722689075598E-2</c:v>
                </c:pt>
                <c:pt idx="48813">
                  <c:v>-1.6806722689075598E-2</c:v>
                </c:pt>
                <c:pt idx="48814">
                  <c:v>-1.6806722689075598E-2</c:v>
                </c:pt>
                <c:pt idx="48815">
                  <c:v>-1.6806722689075598E-2</c:v>
                </c:pt>
                <c:pt idx="48816">
                  <c:v>-1.6806722689075598E-2</c:v>
                </c:pt>
                <c:pt idx="48817">
                  <c:v>-1.6806722689075598E-2</c:v>
                </c:pt>
                <c:pt idx="48818">
                  <c:v>-1.6806722689075598E-2</c:v>
                </c:pt>
                <c:pt idx="48819">
                  <c:v>-1.6806722689075598E-2</c:v>
                </c:pt>
                <c:pt idx="48820">
                  <c:v>-1.6806722689075598E-2</c:v>
                </c:pt>
                <c:pt idx="48821">
                  <c:v>-1.6806722689075598E-2</c:v>
                </c:pt>
                <c:pt idx="48822">
                  <c:v>-1.6806722689075598E-2</c:v>
                </c:pt>
                <c:pt idx="48823">
                  <c:v>-1.6806722689075598E-2</c:v>
                </c:pt>
                <c:pt idx="48824">
                  <c:v>-1.6806722689075598E-2</c:v>
                </c:pt>
                <c:pt idx="48825">
                  <c:v>-1.6806722689075598E-2</c:v>
                </c:pt>
                <c:pt idx="48826">
                  <c:v>-1.6806722689075598E-2</c:v>
                </c:pt>
                <c:pt idx="48827">
                  <c:v>-1.6806722689075598E-2</c:v>
                </c:pt>
                <c:pt idx="48828">
                  <c:v>-1.6806722689075598E-2</c:v>
                </c:pt>
                <c:pt idx="48829">
                  <c:v>-1.6806722689075598E-2</c:v>
                </c:pt>
                <c:pt idx="48830">
                  <c:v>-1.6806722689075598E-2</c:v>
                </c:pt>
                <c:pt idx="48831">
                  <c:v>-1.6806722689075598E-2</c:v>
                </c:pt>
                <c:pt idx="48832">
                  <c:v>-1.6806722689075598E-2</c:v>
                </c:pt>
                <c:pt idx="48833">
                  <c:v>-1.6806722689075598E-2</c:v>
                </c:pt>
                <c:pt idx="48834">
                  <c:v>-1.6806722689075598E-2</c:v>
                </c:pt>
                <c:pt idx="48835">
                  <c:v>-1.6806722689075598E-2</c:v>
                </c:pt>
                <c:pt idx="48836">
                  <c:v>-1.6806722689075598E-2</c:v>
                </c:pt>
                <c:pt idx="48837">
                  <c:v>-1.6806722689075598E-2</c:v>
                </c:pt>
                <c:pt idx="48838">
                  <c:v>-1.6806722689075598E-2</c:v>
                </c:pt>
                <c:pt idx="48839">
                  <c:v>-1.6806722689075598E-2</c:v>
                </c:pt>
                <c:pt idx="48840">
                  <c:v>-1.6806722689075598E-2</c:v>
                </c:pt>
                <c:pt idx="48841">
                  <c:v>-1.6806722689075598E-2</c:v>
                </c:pt>
                <c:pt idx="48842">
                  <c:v>-1.6806722689075598E-2</c:v>
                </c:pt>
                <c:pt idx="48843">
                  <c:v>-1.6806722689075598E-2</c:v>
                </c:pt>
                <c:pt idx="48844">
                  <c:v>-1.6806722689075598E-2</c:v>
                </c:pt>
                <c:pt idx="48845">
                  <c:v>-1.6806722689075598E-2</c:v>
                </c:pt>
                <c:pt idx="48846">
                  <c:v>-1.6806722689075598E-2</c:v>
                </c:pt>
                <c:pt idx="48847">
                  <c:v>-1.6806722689075598E-2</c:v>
                </c:pt>
                <c:pt idx="48848">
                  <c:v>-1.6806722689075598E-2</c:v>
                </c:pt>
                <c:pt idx="48849">
                  <c:v>-1.6806722689075598E-2</c:v>
                </c:pt>
                <c:pt idx="48850">
                  <c:v>-1.6806722689075598E-2</c:v>
                </c:pt>
                <c:pt idx="48851">
                  <c:v>-1.6806722689075598E-2</c:v>
                </c:pt>
                <c:pt idx="48852">
                  <c:v>-1.6806722689075598E-2</c:v>
                </c:pt>
                <c:pt idx="48853">
                  <c:v>-1.6806722689075598E-2</c:v>
                </c:pt>
                <c:pt idx="48854">
                  <c:v>-1.6806722689075598E-2</c:v>
                </c:pt>
                <c:pt idx="48855">
                  <c:v>-1.6806722689075598E-2</c:v>
                </c:pt>
                <c:pt idx="48856">
                  <c:v>-1.6806722689075598E-2</c:v>
                </c:pt>
                <c:pt idx="48857">
                  <c:v>-1.6806722689075598E-2</c:v>
                </c:pt>
                <c:pt idx="48858">
                  <c:v>-1.6806722689075598E-2</c:v>
                </c:pt>
                <c:pt idx="48859">
                  <c:v>-1.6806722689075598E-2</c:v>
                </c:pt>
                <c:pt idx="48860">
                  <c:v>-1.6806722689075598E-2</c:v>
                </c:pt>
                <c:pt idx="48861">
                  <c:v>-1.6806722689075598E-2</c:v>
                </c:pt>
                <c:pt idx="48862">
                  <c:v>-1.6806722689075598E-2</c:v>
                </c:pt>
                <c:pt idx="48863">
                  <c:v>-1.6806722689075598E-2</c:v>
                </c:pt>
                <c:pt idx="48864">
                  <c:v>-1.6806722689075598E-2</c:v>
                </c:pt>
                <c:pt idx="48865">
                  <c:v>-1.6806722689075598E-2</c:v>
                </c:pt>
                <c:pt idx="48866">
                  <c:v>-1.6806722689075598E-2</c:v>
                </c:pt>
                <c:pt idx="48867">
                  <c:v>-1.6806722689075598E-2</c:v>
                </c:pt>
                <c:pt idx="48868">
                  <c:v>-1.6806722689075598E-2</c:v>
                </c:pt>
                <c:pt idx="48869">
                  <c:v>-1.6806722689075598E-2</c:v>
                </c:pt>
                <c:pt idx="48870">
                  <c:v>-1.6806722689075598E-2</c:v>
                </c:pt>
                <c:pt idx="48871">
                  <c:v>-1.6806722689075598E-2</c:v>
                </c:pt>
                <c:pt idx="48872">
                  <c:v>-1.6806722689075598E-2</c:v>
                </c:pt>
                <c:pt idx="48873">
                  <c:v>-1.6806722689075598E-2</c:v>
                </c:pt>
                <c:pt idx="48874">
                  <c:v>-1.6806722689075598E-2</c:v>
                </c:pt>
                <c:pt idx="48875">
                  <c:v>-1.6806722689075598E-2</c:v>
                </c:pt>
                <c:pt idx="48876">
                  <c:v>-1.6806722689075598E-2</c:v>
                </c:pt>
                <c:pt idx="48877">
                  <c:v>-1.6806722689075598E-2</c:v>
                </c:pt>
                <c:pt idx="48878">
                  <c:v>-1.6806722689075598E-2</c:v>
                </c:pt>
                <c:pt idx="48879">
                  <c:v>-1.6806722689075598E-2</c:v>
                </c:pt>
                <c:pt idx="48880">
                  <c:v>-1.6806722689075598E-2</c:v>
                </c:pt>
                <c:pt idx="48881">
                  <c:v>-1.6806722689075598E-2</c:v>
                </c:pt>
                <c:pt idx="48882">
                  <c:v>-1.6806722689075598E-2</c:v>
                </c:pt>
                <c:pt idx="48883">
                  <c:v>-1.6806722689075598E-2</c:v>
                </c:pt>
                <c:pt idx="48884">
                  <c:v>-1.6806722689075598E-2</c:v>
                </c:pt>
                <c:pt idx="48885">
                  <c:v>-1.6806722689075598E-2</c:v>
                </c:pt>
                <c:pt idx="48886">
                  <c:v>-1.6806722689075598E-2</c:v>
                </c:pt>
                <c:pt idx="48887">
                  <c:v>-1.6806722689075598E-2</c:v>
                </c:pt>
                <c:pt idx="48888">
                  <c:v>-1.6806722689075598E-2</c:v>
                </c:pt>
                <c:pt idx="48889">
                  <c:v>-1.6806722689075598E-2</c:v>
                </c:pt>
                <c:pt idx="48890">
                  <c:v>-1.6806722689075598E-2</c:v>
                </c:pt>
                <c:pt idx="48891">
                  <c:v>-1.6806722689075598E-2</c:v>
                </c:pt>
                <c:pt idx="48892">
                  <c:v>-1.6806722689075598E-2</c:v>
                </c:pt>
                <c:pt idx="48893">
                  <c:v>-1.6806722689075598E-2</c:v>
                </c:pt>
                <c:pt idx="48894">
                  <c:v>-1.6806722689075598E-2</c:v>
                </c:pt>
                <c:pt idx="48895">
                  <c:v>-1.6806722689075598E-2</c:v>
                </c:pt>
                <c:pt idx="48896">
                  <c:v>-1.6806722689075598E-2</c:v>
                </c:pt>
                <c:pt idx="48897">
                  <c:v>-1.6806722689075598E-2</c:v>
                </c:pt>
                <c:pt idx="48898">
                  <c:v>-1.6806722689075598E-2</c:v>
                </c:pt>
                <c:pt idx="48899">
                  <c:v>-1.6806722689075598E-2</c:v>
                </c:pt>
                <c:pt idx="48900">
                  <c:v>-1.6806722689075598E-2</c:v>
                </c:pt>
                <c:pt idx="48901">
                  <c:v>-1.6806722689075598E-2</c:v>
                </c:pt>
                <c:pt idx="48902">
                  <c:v>-1.6806722689075598E-2</c:v>
                </c:pt>
                <c:pt idx="48903">
                  <c:v>-1.6806722689075598E-2</c:v>
                </c:pt>
                <c:pt idx="48904">
                  <c:v>-1.6806722689075598E-2</c:v>
                </c:pt>
                <c:pt idx="48905">
                  <c:v>-1.6806722689075598E-2</c:v>
                </c:pt>
                <c:pt idx="48906">
                  <c:v>-1.6806722689075598E-2</c:v>
                </c:pt>
                <c:pt idx="48907">
                  <c:v>-1.6806722689075598E-2</c:v>
                </c:pt>
                <c:pt idx="48908">
                  <c:v>-1.6806722689075598E-2</c:v>
                </c:pt>
                <c:pt idx="48909">
                  <c:v>-1.6806722689075598E-2</c:v>
                </c:pt>
                <c:pt idx="48910">
                  <c:v>-1.6806722689075598E-2</c:v>
                </c:pt>
                <c:pt idx="48911">
                  <c:v>-1.6806722689075598E-2</c:v>
                </c:pt>
                <c:pt idx="48912">
                  <c:v>-1.7647058823529401E-2</c:v>
                </c:pt>
                <c:pt idx="48913">
                  <c:v>-1.7647058823529401E-2</c:v>
                </c:pt>
                <c:pt idx="48914">
                  <c:v>-1.7647058823529401E-2</c:v>
                </c:pt>
                <c:pt idx="48915">
                  <c:v>-1.7647058823529401E-2</c:v>
                </c:pt>
                <c:pt idx="48916">
                  <c:v>-1.7647058823529401E-2</c:v>
                </c:pt>
                <c:pt idx="48917">
                  <c:v>-1.7647058823529401E-2</c:v>
                </c:pt>
                <c:pt idx="48918">
                  <c:v>-1.7647058823529401E-2</c:v>
                </c:pt>
                <c:pt idx="48919">
                  <c:v>-1.7647058823529401E-2</c:v>
                </c:pt>
                <c:pt idx="48920">
                  <c:v>-1.7647058823529401E-2</c:v>
                </c:pt>
                <c:pt idx="48921">
                  <c:v>-1.7647058823529401E-2</c:v>
                </c:pt>
                <c:pt idx="48922">
                  <c:v>-1.7647058823529401E-2</c:v>
                </c:pt>
                <c:pt idx="48923">
                  <c:v>-1.7647058823529401E-2</c:v>
                </c:pt>
                <c:pt idx="48924">
                  <c:v>-1.7647058823529401E-2</c:v>
                </c:pt>
                <c:pt idx="48925">
                  <c:v>-1.7647058823529401E-2</c:v>
                </c:pt>
                <c:pt idx="48926">
                  <c:v>-1.7647058823529401E-2</c:v>
                </c:pt>
                <c:pt idx="48927">
                  <c:v>-1.7647058823529401E-2</c:v>
                </c:pt>
                <c:pt idx="48928">
                  <c:v>-1.7647058823529401E-2</c:v>
                </c:pt>
                <c:pt idx="48929">
                  <c:v>-1.7647058823529401E-2</c:v>
                </c:pt>
                <c:pt idx="48930">
                  <c:v>-1.7647058823529401E-2</c:v>
                </c:pt>
                <c:pt idx="48931">
                  <c:v>-1.7647058823529401E-2</c:v>
                </c:pt>
                <c:pt idx="48932">
                  <c:v>-1.7647058823529401E-2</c:v>
                </c:pt>
                <c:pt idx="48933">
                  <c:v>-1.7647058823529401E-2</c:v>
                </c:pt>
                <c:pt idx="48934">
                  <c:v>-1.7647058823529401E-2</c:v>
                </c:pt>
                <c:pt idx="48935">
                  <c:v>-1.7647058823529401E-2</c:v>
                </c:pt>
                <c:pt idx="48936">
                  <c:v>-1.7647058823529401E-2</c:v>
                </c:pt>
                <c:pt idx="48937">
                  <c:v>-1.7647058823529401E-2</c:v>
                </c:pt>
                <c:pt idx="48938">
                  <c:v>-1.7647058823529401E-2</c:v>
                </c:pt>
                <c:pt idx="48939">
                  <c:v>-1.7647058823529401E-2</c:v>
                </c:pt>
                <c:pt idx="48940">
                  <c:v>-1.7647058823529401E-2</c:v>
                </c:pt>
                <c:pt idx="48941">
                  <c:v>-1.7647058823529401E-2</c:v>
                </c:pt>
                <c:pt idx="48942">
                  <c:v>-1.7647058823529401E-2</c:v>
                </c:pt>
                <c:pt idx="48943">
                  <c:v>-1.7647058823529401E-2</c:v>
                </c:pt>
                <c:pt idx="48944">
                  <c:v>-1.7647058823529401E-2</c:v>
                </c:pt>
                <c:pt idx="48945">
                  <c:v>-1.7647058823529401E-2</c:v>
                </c:pt>
                <c:pt idx="48946">
                  <c:v>-1.7647058823529401E-2</c:v>
                </c:pt>
                <c:pt idx="48947">
                  <c:v>-1.7647058823529401E-2</c:v>
                </c:pt>
                <c:pt idx="48948">
                  <c:v>-1.7647058823529401E-2</c:v>
                </c:pt>
                <c:pt idx="48949">
                  <c:v>-1.7647058823529401E-2</c:v>
                </c:pt>
                <c:pt idx="48950">
                  <c:v>-1.7647058823529401E-2</c:v>
                </c:pt>
                <c:pt idx="48951">
                  <c:v>-1.7647058823529401E-2</c:v>
                </c:pt>
                <c:pt idx="48952">
                  <c:v>-1.7647058823529401E-2</c:v>
                </c:pt>
                <c:pt idx="48953">
                  <c:v>-1.7647058823529401E-2</c:v>
                </c:pt>
                <c:pt idx="48954">
                  <c:v>-1.7647058823529401E-2</c:v>
                </c:pt>
                <c:pt idx="48955">
                  <c:v>-1.7647058823529401E-2</c:v>
                </c:pt>
                <c:pt idx="48956">
                  <c:v>-1.7647058823529401E-2</c:v>
                </c:pt>
                <c:pt idx="48957">
                  <c:v>-1.7647058823529401E-2</c:v>
                </c:pt>
                <c:pt idx="48958">
                  <c:v>-1.7647058823529401E-2</c:v>
                </c:pt>
                <c:pt idx="48959">
                  <c:v>-1.7647058823529401E-2</c:v>
                </c:pt>
                <c:pt idx="48960">
                  <c:v>-1.7647058823529401E-2</c:v>
                </c:pt>
                <c:pt idx="48961">
                  <c:v>-1.84873949579832E-2</c:v>
                </c:pt>
                <c:pt idx="48962">
                  <c:v>-1.84873949579832E-2</c:v>
                </c:pt>
                <c:pt idx="48963">
                  <c:v>-1.84873949579832E-2</c:v>
                </c:pt>
                <c:pt idx="48964">
                  <c:v>-1.84873949579832E-2</c:v>
                </c:pt>
                <c:pt idx="48965">
                  <c:v>-1.84873949579832E-2</c:v>
                </c:pt>
                <c:pt idx="48966">
                  <c:v>-1.84873949579832E-2</c:v>
                </c:pt>
                <c:pt idx="48967">
                  <c:v>-1.84873949579832E-2</c:v>
                </c:pt>
                <c:pt idx="48968">
                  <c:v>-1.84873949579832E-2</c:v>
                </c:pt>
                <c:pt idx="48969">
                  <c:v>-1.7647058823529401E-2</c:v>
                </c:pt>
                <c:pt idx="48970">
                  <c:v>-1.7647058823529401E-2</c:v>
                </c:pt>
                <c:pt idx="48971">
                  <c:v>-1.7647058823529401E-2</c:v>
                </c:pt>
                <c:pt idx="48972">
                  <c:v>-1.7647058823529401E-2</c:v>
                </c:pt>
                <c:pt idx="48973">
                  <c:v>-1.7647058823529401E-2</c:v>
                </c:pt>
                <c:pt idx="48974">
                  <c:v>-1.7647058823529401E-2</c:v>
                </c:pt>
                <c:pt idx="48975">
                  <c:v>-1.7647058823529401E-2</c:v>
                </c:pt>
                <c:pt idx="48976">
                  <c:v>-1.7647058823529401E-2</c:v>
                </c:pt>
                <c:pt idx="48977">
                  <c:v>-1.7647058823529401E-2</c:v>
                </c:pt>
                <c:pt idx="48978">
                  <c:v>-1.7647058823529401E-2</c:v>
                </c:pt>
                <c:pt idx="48979">
                  <c:v>-1.7647058823529401E-2</c:v>
                </c:pt>
                <c:pt idx="48980">
                  <c:v>-1.7647058823529401E-2</c:v>
                </c:pt>
                <c:pt idx="48981">
                  <c:v>-1.7647058823529401E-2</c:v>
                </c:pt>
                <c:pt idx="48982">
                  <c:v>-1.7647058823529401E-2</c:v>
                </c:pt>
                <c:pt idx="48983">
                  <c:v>-1.7647058823529401E-2</c:v>
                </c:pt>
                <c:pt idx="48984">
                  <c:v>-1.7647058823529401E-2</c:v>
                </c:pt>
                <c:pt idx="48985">
                  <c:v>-1.7647058823529401E-2</c:v>
                </c:pt>
                <c:pt idx="48986">
                  <c:v>-1.7647058823529401E-2</c:v>
                </c:pt>
                <c:pt idx="48987">
                  <c:v>-1.7647058823529401E-2</c:v>
                </c:pt>
                <c:pt idx="48988">
                  <c:v>-1.7647058823529401E-2</c:v>
                </c:pt>
                <c:pt idx="48989">
                  <c:v>-1.7647058823529401E-2</c:v>
                </c:pt>
                <c:pt idx="48990">
                  <c:v>-1.7647058823529401E-2</c:v>
                </c:pt>
                <c:pt idx="48991">
                  <c:v>-1.7647058823529401E-2</c:v>
                </c:pt>
                <c:pt idx="48992">
                  <c:v>-1.7647058823529401E-2</c:v>
                </c:pt>
                <c:pt idx="48993">
                  <c:v>-1.7647058823529401E-2</c:v>
                </c:pt>
                <c:pt idx="48994">
                  <c:v>-1.7647058823529401E-2</c:v>
                </c:pt>
                <c:pt idx="48995">
                  <c:v>-1.7647058823529401E-2</c:v>
                </c:pt>
                <c:pt idx="48996">
                  <c:v>-1.7647058823529401E-2</c:v>
                </c:pt>
                <c:pt idx="48997">
                  <c:v>-1.7647058823529401E-2</c:v>
                </c:pt>
                <c:pt idx="48998">
                  <c:v>-1.7647058823529401E-2</c:v>
                </c:pt>
                <c:pt idx="48999">
                  <c:v>-1.7647058823529401E-2</c:v>
                </c:pt>
                <c:pt idx="49000">
                  <c:v>-1.7647058823529401E-2</c:v>
                </c:pt>
                <c:pt idx="49001">
                  <c:v>-1.7647058823529401E-2</c:v>
                </c:pt>
                <c:pt idx="49002">
                  <c:v>-1.7647058823529401E-2</c:v>
                </c:pt>
                <c:pt idx="49003">
                  <c:v>-1.7647058823529401E-2</c:v>
                </c:pt>
                <c:pt idx="49004">
                  <c:v>-1.7647058823529401E-2</c:v>
                </c:pt>
                <c:pt idx="49005">
                  <c:v>-1.7647058823529401E-2</c:v>
                </c:pt>
                <c:pt idx="49006">
                  <c:v>-1.7647058823529401E-2</c:v>
                </c:pt>
                <c:pt idx="49007">
                  <c:v>-1.7647058823529401E-2</c:v>
                </c:pt>
                <c:pt idx="49008">
                  <c:v>-1.7647058823529401E-2</c:v>
                </c:pt>
                <c:pt idx="49009">
                  <c:v>-1.7647058823529401E-2</c:v>
                </c:pt>
                <c:pt idx="49010">
                  <c:v>-1.7647058823529401E-2</c:v>
                </c:pt>
                <c:pt idx="49011">
                  <c:v>-1.7647058823529401E-2</c:v>
                </c:pt>
                <c:pt idx="49012">
                  <c:v>-1.7647058823529401E-2</c:v>
                </c:pt>
                <c:pt idx="49013">
                  <c:v>-1.7647058823529401E-2</c:v>
                </c:pt>
                <c:pt idx="49014">
                  <c:v>-1.7647058823529401E-2</c:v>
                </c:pt>
                <c:pt idx="49015">
                  <c:v>-1.7647058823529401E-2</c:v>
                </c:pt>
                <c:pt idx="49016">
                  <c:v>-1.7647058823529401E-2</c:v>
                </c:pt>
                <c:pt idx="49017">
                  <c:v>-1.7647058823529401E-2</c:v>
                </c:pt>
                <c:pt idx="49018">
                  <c:v>-1.7647058823529401E-2</c:v>
                </c:pt>
                <c:pt idx="49019">
                  <c:v>-1.7647058823529401E-2</c:v>
                </c:pt>
                <c:pt idx="49020">
                  <c:v>-1.7647058823529401E-2</c:v>
                </c:pt>
                <c:pt idx="49021">
                  <c:v>-1.7647058823529401E-2</c:v>
                </c:pt>
                <c:pt idx="49022">
                  <c:v>-1.7647058823529401E-2</c:v>
                </c:pt>
                <c:pt idx="49023">
                  <c:v>-1.7647058823529401E-2</c:v>
                </c:pt>
                <c:pt idx="49024">
                  <c:v>-1.7647058823529401E-2</c:v>
                </c:pt>
                <c:pt idx="49025">
                  <c:v>-1.7647058823529401E-2</c:v>
                </c:pt>
                <c:pt idx="49026">
                  <c:v>-1.7647058823529401E-2</c:v>
                </c:pt>
                <c:pt idx="49027">
                  <c:v>-1.7647058823529401E-2</c:v>
                </c:pt>
                <c:pt idx="49028">
                  <c:v>-1.7647058823529401E-2</c:v>
                </c:pt>
                <c:pt idx="49029">
                  <c:v>-1.7647058823529401E-2</c:v>
                </c:pt>
                <c:pt idx="49030">
                  <c:v>-1.7647058823529401E-2</c:v>
                </c:pt>
                <c:pt idx="49031">
                  <c:v>-1.7647058823529401E-2</c:v>
                </c:pt>
                <c:pt idx="49032">
                  <c:v>-1.7647058823529401E-2</c:v>
                </c:pt>
                <c:pt idx="49033">
                  <c:v>-1.7647058823529401E-2</c:v>
                </c:pt>
                <c:pt idx="49034">
                  <c:v>-1.7647058823529401E-2</c:v>
                </c:pt>
                <c:pt idx="49035">
                  <c:v>-1.7647058823529401E-2</c:v>
                </c:pt>
                <c:pt idx="49036">
                  <c:v>-1.7647058823529401E-2</c:v>
                </c:pt>
                <c:pt idx="49037">
                  <c:v>-1.7647058823529401E-2</c:v>
                </c:pt>
                <c:pt idx="49038">
                  <c:v>-1.7647058823529401E-2</c:v>
                </c:pt>
                <c:pt idx="49039">
                  <c:v>-1.7647058823529401E-2</c:v>
                </c:pt>
                <c:pt idx="49040">
                  <c:v>-1.7647058823529401E-2</c:v>
                </c:pt>
                <c:pt idx="49041">
                  <c:v>-1.7647058823529401E-2</c:v>
                </c:pt>
                <c:pt idx="49042">
                  <c:v>-1.7647058823529401E-2</c:v>
                </c:pt>
                <c:pt idx="49043">
                  <c:v>-1.7647058823529401E-2</c:v>
                </c:pt>
                <c:pt idx="49044">
                  <c:v>-1.7647058823529401E-2</c:v>
                </c:pt>
                <c:pt idx="49045">
                  <c:v>-1.7647058823529401E-2</c:v>
                </c:pt>
                <c:pt idx="49046">
                  <c:v>-1.7647058823529401E-2</c:v>
                </c:pt>
                <c:pt idx="49047">
                  <c:v>-1.7647058823529401E-2</c:v>
                </c:pt>
                <c:pt idx="49048">
                  <c:v>-1.7647058823529401E-2</c:v>
                </c:pt>
                <c:pt idx="49049">
                  <c:v>-1.7647058823529401E-2</c:v>
                </c:pt>
                <c:pt idx="49050">
                  <c:v>-1.7647058823529401E-2</c:v>
                </c:pt>
                <c:pt idx="49051">
                  <c:v>-1.7647058823529401E-2</c:v>
                </c:pt>
                <c:pt idx="49052">
                  <c:v>-1.7647058823529401E-2</c:v>
                </c:pt>
                <c:pt idx="49053">
                  <c:v>-1.7647058823529401E-2</c:v>
                </c:pt>
                <c:pt idx="49054">
                  <c:v>-1.7647058823529401E-2</c:v>
                </c:pt>
                <c:pt idx="49055">
                  <c:v>-1.7647058823529401E-2</c:v>
                </c:pt>
                <c:pt idx="49056">
                  <c:v>-1.7647058823529401E-2</c:v>
                </c:pt>
                <c:pt idx="49057">
                  <c:v>-1.7647058823529401E-2</c:v>
                </c:pt>
                <c:pt idx="49058">
                  <c:v>-1.7647058823529401E-2</c:v>
                </c:pt>
                <c:pt idx="49059">
                  <c:v>-1.7647058823529401E-2</c:v>
                </c:pt>
                <c:pt idx="49060">
                  <c:v>-1.7647058823529401E-2</c:v>
                </c:pt>
                <c:pt idx="49061">
                  <c:v>-1.7647058823529401E-2</c:v>
                </c:pt>
                <c:pt idx="49062">
                  <c:v>-1.7647058823529401E-2</c:v>
                </c:pt>
                <c:pt idx="49063">
                  <c:v>-1.7647058823529401E-2</c:v>
                </c:pt>
                <c:pt idx="49064">
                  <c:v>-1.7647058823529401E-2</c:v>
                </c:pt>
                <c:pt idx="49065">
                  <c:v>-1.7647058823529401E-2</c:v>
                </c:pt>
                <c:pt idx="49066">
                  <c:v>-1.7647058823529401E-2</c:v>
                </c:pt>
                <c:pt idx="49067">
                  <c:v>-1.7647058823529401E-2</c:v>
                </c:pt>
                <c:pt idx="49068">
                  <c:v>-1.7647058823529401E-2</c:v>
                </c:pt>
                <c:pt idx="49069">
                  <c:v>-1.7647058823529401E-2</c:v>
                </c:pt>
                <c:pt idx="49070">
                  <c:v>-1.7647058823529401E-2</c:v>
                </c:pt>
                <c:pt idx="49071">
                  <c:v>-1.7647058823529401E-2</c:v>
                </c:pt>
                <c:pt idx="49072">
                  <c:v>-1.7647058823529401E-2</c:v>
                </c:pt>
                <c:pt idx="49073">
                  <c:v>-1.7647058823529401E-2</c:v>
                </c:pt>
                <c:pt idx="49074">
                  <c:v>-1.7647058823529401E-2</c:v>
                </c:pt>
                <c:pt idx="49075">
                  <c:v>-1.7647058823529401E-2</c:v>
                </c:pt>
                <c:pt idx="49076">
                  <c:v>-1.7647058823529401E-2</c:v>
                </c:pt>
                <c:pt idx="49077">
                  <c:v>-1.7647058823529401E-2</c:v>
                </c:pt>
                <c:pt idx="49078">
                  <c:v>-1.7647058823529401E-2</c:v>
                </c:pt>
                <c:pt idx="49079">
                  <c:v>-1.7647058823529401E-2</c:v>
                </c:pt>
                <c:pt idx="49080">
                  <c:v>-1.7647058823529401E-2</c:v>
                </c:pt>
                <c:pt idx="49081">
                  <c:v>-1.7647058823529401E-2</c:v>
                </c:pt>
                <c:pt idx="49082">
                  <c:v>-1.7647058823529401E-2</c:v>
                </c:pt>
                <c:pt idx="49083">
                  <c:v>-1.7647058823529401E-2</c:v>
                </c:pt>
                <c:pt idx="49084">
                  <c:v>-1.7647058823529401E-2</c:v>
                </c:pt>
                <c:pt idx="49085">
                  <c:v>-1.7647058823529401E-2</c:v>
                </c:pt>
                <c:pt idx="49086">
                  <c:v>-1.7647058823529401E-2</c:v>
                </c:pt>
                <c:pt idx="49087">
                  <c:v>-1.7647058823529401E-2</c:v>
                </c:pt>
                <c:pt idx="49088">
                  <c:v>-1.7647058823529401E-2</c:v>
                </c:pt>
                <c:pt idx="49089">
                  <c:v>-1.7647058823529401E-2</c:v>
                </c:pt>
                <c:pt idx="49090">
                  <c:v>-1.7647058823529401E-2</c:v>
                </c:pt>
                <c:pt idx="49091">
                  <c:v>-1.7647058823529401E-2</c:v>
                </c:pt>
                <c:pt idx="49092">
                  <c:v>-1.7647058823529401E-2</c:v>
                </c:pt>
                <c:pt idx="49093">
                  <c:v>-1.7647058823529401E-2</c:v>
                </c:pt>
                <c:pt idx="49094">
                  <c:v>-1.7647058823529401E-2</c:v>
                </c:pt>
                <c:pt idx="49095">
                  <c:v>-1.7647058823529401E-2</c:v>
                </c:pt>
                <c:pt idx="49096">
                  <c:v>-1.7647058823529401E-2</c:v>
                </c:pt>
                <c:pt idx="49097">
                  <c:v>-1.7647058823529401E-2</c:v>
                </c:pt>
                <c:pt idx="49098">
                  <c:v>-1.7647058823529401E-2</c:v>
                </c:pt>
                <c:pt idx="49099">
                  <c:v>-1.7647058823529401E-2</c:v>
                </c:pt>
                <c:pt idx="49100">
                  <c:v>-1.7647058823529401E-2</c:v>
                </c:pt>
                <c:pt idx="49101">
                  <c:v>-1.7647058823529401E-2</c:v>
                </c:pt>
                <c:pt idx="49102">
                  <c:v>-1.7647058823529401E-2</c:v>
                </c:pt>
                <c:pt idx="49103">
                  <c:v>-1.7647058823529401E-2</c:v>
                </c:pt>
                <c:pt idx="49104">
                  <c:v>-1.7647058823529401E-2</c:v>
                </c:pt>
                <c:pt idx="49105">
                  <c:v>-1.7647058823529401E-2</c:v>
                </c:pt>
                <c:pt idx="49106">
                  <c:v>-1.7647058823529401E-2</c:v>
                </c:pt>
                <c:pt idx="49107">
                  <c:v>-1.7647058823529401E-2</c:v>
                </c:pt>
                <c:pt idx="49108">
                  <c:v>-1.7647058823529401E-2</c:v>
                </c:pt>
                <c:pt idx="49109">
                  <c:v>-1.7647058823529401E-2</c:v>
                </c:pt>
                <c:pt idx="49110">
                  <c:v>-1.7647058823529401E-2</c:v>
                </c:pt>
                <c:pt idx="49111">
                  <c:v>-1.7647058823529401E-2</c:v>
                </c:pt>
                <c:pt idx="49112">
                  <c:v>-1.7647058823529401E-2</c:v>
                </c:pt>
                <c:pt idx="49113">
                  <c:v>-1.7647058823529401E-2</c:v>
                </c:pt>
                <c:pt idx="49114">
                  <c:v>-1.7647058823529401E-2</c:v>
                </c:pt>
                <c:pt idx="49115">
                  <c:v>-1.7647058823529401E-2</c:v>
                </c:pt>
                <c:pt idx="49116">
                  <c:v>-1.7647058823529401E-2</c:v>
                </c:pt>
                <c:pt idx="49117">
                  <c:v>-1.7647058823529401E-2</c:v>
                </c:pt>
                <c:pt idx="49118">
                  <c:v>-1.7647058823529401E-2</c:v>
                </c:pt>
                <c:pt idx="49119">
                  <c:v>-1.7647058823529401E-2</c:v>
                </c:pt>
                <c:pt idx="49120">
                  <c:v>-1.7647058823529401E-2</c:v>
                </c:pt>
                <c:pt idx="49121">
                  <c:v>-1.6806722689075598E-2</c:v>
                </c:pt>
                <c:pt idx="49122">
                  <c:v>-1.6806722689075598E-2</c:v>
                </c:pt>
                <c:pt idx="49123">
                  <c:v>-1.6806722689075598E-2</c:v>
                </c:pt>
                <c:pt idx="49124">
                  <c:v>-1.6806722689075598E-2</c:v>
                </c:pt>
                <c:pt idx="49125">
                  <c:v>-1.6806722689075598E-2</c:v>
                </c:pt>
                <c:pt idx="49126">
                  <c:v>-1.6806722689075598E-2</c:v>
                </c:pt>
                <c:pt idx="49127">
                  <c:v>-1.6806722689075598E-2</c:v>
                </c:pt>
                <c:pt idx="49128">
                  <c:v>-1.6806722689075598E-2</c:v>
                </c:pt>
                <c:pt idx="49129">
                  <c:v>-1.6806722689075598E-2</c:v>
                </c:pt>
                <c:pt idx="49130">
                  <c:v>-1.6806722689075598E-2</c:v>
                </c:pt>
                <c:pt idx="49131">
                  <c:v>-1.6806722689075598E-2</c:v>
                </c:pt>
                <c:pt idx="49132">
                  <c:v>-1.6806722689075598E-2</c:v>
                </c:pt>
                <c:pt idx="49133">
                  <c:v>-1.6806722689075598E-2</c:v>
                </c:pt>
                <c:pt idx="49134">
                  <c:v>-1.6806722689075598E-2</c:v>
                </c:pt>
                <c:pt idx="49135">
                  <c:v>-1.6806722689075598E-2</c:v>
                </c:pt>
                <c:pt idx="49136">
                  <c:v>-1.6806722689075598E-2</c:v>
                </c:pt>
                <c:pt idx="49137">
                  <c:v>-1.6806722689075598E-2</c:v>
                </c:pt>
                <c:pt idx="49138">
                  <c:v>-1.6806722689075598E-2</c:v>
                </c:pt>
                <c:pt idx="49139">
                  <c:v>-1.6806722689075598E-2</c:v>
                </c:pt>
                <c:pt idx="49140">
                  <c:v>-1.6806722689075598E-2</c:v>
                </c:pt>
                <c:pt idx="49141">
                  <c:v>-1.6806722689075598E-2</c:v>
                </c:pt>
                <c:pt idx="49142">
                  <c:v>-1.6806722689075598E-2</c:v>
                </c:pt>
                <c:pt idx="49143">
                  <c:v>-1.6806722689075598E-2</c:v>
                </c:pt>
                <c:pt idx="49144">
                  <c:v>-1.6806722689075598E-2</c:v>
                </c:pt>
                <c:pt idx="49145">
                  <c:v>-1.6806722689075598E-2</c:v>
                </c:pt>
                <c:pt idx="49146">
                  <c:v>-1.6806722689075598E-2</c:v>
                </c:pt>
                <c:pt idx="49147">
                  <c:v>-1.6806722689075598E-2</c:v>
                </c:pt>
                <c:pt idx="49148">
                  <c:v>-1.6806722689075598E-2</c:v>
                </c:pt>
                <c:pt idx="49149">
                  <c:v>-1.6806722689075598E-2</c:v>
                </c:pt>
                <c:pt idx="49150">
                  <c:v>-1.6806722689075598E-2</c:v>
                </c:pt>
                <c:pt idx="49151">
                  <c:v>-1.59663865546219E-2</c:v>
                </c:pt>
                <c:pt idx="49152">
                  <c:v>-1.59663865546219E-2</c:v>
                </c:pt>
                <c:pt idx="49153">
                  <c:v>-1.59663865546219E-2</c:v>
                </c:pt>
                <c:pt idx="49154">
                  <c:v>-1.6806722689075598E-2</c:v>
                </c:pt>
                <c:pt idx="49155">
                  <c:v>-1.6806722689075598E-2</c:v>
                </c:pt>
                <c:pt idx="49156">
                  <c:v>-1.6806722689075598E-2</c:v>
                </c:pt>
                <c:pt idx="49157">
                  <c:v>-1.6806722689075598E-2</c:v>
                </c:pt>
                <c:pt idx="49158">
                  <c:v>-1.6806722689075598E-2</c:v>
                </c:pt>
                <c:pt idx="49159">
                  <c:v>-1.6806722689075598E-2</c:v>
                </c:pt>
                <c:pt idx="49160">
                  <c:v>-1.6806722689075598E-2</c:v>
                </c:pt>
                <c:pt idx="49161">
                  <c:v>-1.6806722689075598E-2</c:v>
                </c:pt>
                <c:pt idx="49162">
                  <c:v>-1.6806722689075598E-2</c:v>
                </c:pt>
                <c:pt idx="49163">
                  <c:v>-1.6806722689075598E-2</c:v>
                </c:pt>
                <c:pt idx="49164">
                  <c:v>-1.6806722689075598E-2</c:v>
                </c:pt>
                <c:pt idx="49165">
                  <c:v>-1.6806722689075598E-2</c:v>
                </c:pt>
                <c:pt idx="49166">
                  <c:v>-1.6806722689075598E-2</c:v>
                </c:pt>
                <c:pt idx="49167">
                  <c:v>-1.6806722689075598E-2</c:v>
                </c:pt>
                <c:pt idx="49168">
                  <c:v>-1.6806722689075598E-2</c:v>
                </c:pt>
                <c:pt idx="49169">
                  <c:v>-1.6806722689075598E-2</c:v>
                </c:pt>
                <c:pt idx="49170">
                  <c:v>-1.6806722689075598E-2</c:v>
                </c:pt>
                <c:pt idx="49171">
                  <c:v>-1.6806722689075598E-2</c:v>
                </c:pt>
                <c:pt idx="49172">
                  <c:v>-1.6806722689075598E-2</c:v>
                </c:pt>
                <c:pt idx="49173">
                  <c:v>-1.6806722689075598E-2</c:v>
                </c:pt>
                <c:pt idx="49174">
                  <c:v>-1.6806722689075598E-2</c:v>
                </c:pt>
                <c:pt idx="49175">
                  <c:v>-1.6806722689075598E-2</c:v>
                </c:pt>
                <c:pt idx="49176">
                  <c:v>-1.6806722689075598E-2</c:v>
                </c:pt>
                <c:pt idx="49177">
                  <c:v>-1.6806722689075598E-2</c:v>
                </c:pt>
                <c:pt idx="49178">
                  <c:v>-1.6806722689075598E-2</c:v>
                </c:pt>
                <c:pt idx="49179">
                  <c:v>-1.6806722689075598E-2</c:v>
                </c:pt>
                <c:pt idx="49180">
                  <c:v>-1.6806722689075598E-2</c:v>
                </c:pt>
                <c:pt idx="49181">
                  <c:v>-1.6806722689075598E-2</c:v>
                </c:pt>
                <c:pt idx="49182">
                  <c:v>-1.6806722689075598E-2</c:v>
                </c:pt>
                <c:pt idx="49183">
                  <c:v>-1.6806722689075598E-2</c:v>
                </c:pt>
                <c:pt idx="49184">
                  <c:v>-1.6806722689075598E-2</c:v>
                </c:pt>
                <c:pt idx="49185">
                  <c:v>-1.6806722689075598E-2</c:v>
                </c:pt>
                <c:pt idx="49186">
                  <c:v>-1.6806722689075598E-2</c:v>
                </c:pt>
                <c:pt idx="49187">
                  <c:v>-1.6806722689075598E-2</c:v>
                </c:pt>
                <c:pt idx="49188">
                  <c:v>-1.6806722689075598E-2</c:v>
                </c:pt>
                <c:pt idx="49189">
                  <c:v>-1.6806722689075598E-2</c:v>
                </c:pt>
                <c:pt idx="49190">
                  <c:v>-1.6806722689075598E-2</c:v>
                </c:pt>
                <c:pt idx="49191">
                  <c:v>-1.6806722689075598E-2</c:v>
                </c:pt>
                <c:pt idx="49192">
                  <c:v>-1.6806722689075598E-2</c:v>
                </c:pt>
                <c:pt idx="49193">
                  <c:v>-1.6806722689075598E-2</c:v>
                </c:pt>
                <c:pt idx="49194">
                  <c:v>-1.6806722689075598E-2</c:v>
                </c:pt>
                <c:pt idx="49195">
                  <c:v>-1.6806722689075598E-2</c:v>
                </c:pt>
                <c:pt idx="49196">
                  <c:v>-1.6806722689075598E-2</c:v>
                </c:pt>
                <c:pt idx="49197">
                  <c:v>-1.6806722689075598E-2</c:v>
                </c:pt>
                <c:pt idx="49198">
                  <c:v>-1.6806722689075598E-2</c:v>
                </c:pt>
                <c:pt idx="49199">
                  <c:v>-1.6806722689075598E-2</c:v>
                </c:pt>
                <c:pt idx="49200">
                  <c:v>-1.6806722689075598E-2</c:v>
                </c:pt>
                <c:pt idx="49201">
                  <c:v>-1.59663865546219E-2</c:v>
                </c:pt>
                <c:pt idx="49202">
                  <c:v>-1.59663865546219E-2</c:v>
                </c:pt>
                <c:pt idx="49203">
                  <c:v>-1.59663865546219E-2</c:v>
                </c:pt>
                <c:pt idx="49204">
                  <c:v>-1.59663865546219E-2</c:v>
                </c:pt>
                <c:pt idx="49205">
                  <c:v>-1.59663865546219E-2</c:v>
                </c:pt>
                <c:pt idx="49206">
                  <c:v>-1.59663865546219E-2</c:v>
                </c:pt>
                <c:pt idx="49207">
                  <c:v>-1.59663865546219E-2</c:v>
                </c:pt>
                <c:pt idx="49208">
                  <c:v>-1.59663865546219E-2</c:v>
                </c:pt>
                <c:pt idx="49209">
                  <c:v>-1.59663865546219E-2</c:v>
                </c:pt>
                <c:pt idx="49210">
                  <c:v>-1.59663865546219E-2</c:v>
                </c:pt>
                <c:pt idx="49211">
                  <c:v>-1.59663865546219E-2</c:v>
                </c:pt>
                <c:pt idx="49212">
                  <c:v>-1.59663865546219E-2</c:v>
                </c:pt>
                <c:pt idx="49213">
                  <c:v>-1.59663865546219E-2</c:v>
                </c:pt>
                <c:pt idx="49214">
                  <c:v>-1.59663865546219E-2</c:v>
                </c:pt>
                <c:pt idx="49215">
                  <c:v>-1.59663865546219E-2</c:v>
                </c:pt>
                <c:pt idx="49216">
                  <c:v>-1.59663865546219E-2</c:v>
                </c:pt>
                <c:pt idx="49217">
                  <c:v>-1.59663865546219E-2</c:v>
                </c:pt>
                <c:pt idx="49218">
                  <c:v>-1.59663865546219E-2</c:v>
                </c:pt>
                <c:pt idx="49219">
                  <c:v>-1.59663865546219E-2</c:v>
                </c:pt>
                <c:pt idx="49220">
                  <c:v>-1.59663865546219E-2</c:v>
                </c:pt>
                <c:pt idx="49221">
                  <c:v>-1.59663865546219E-2</c:v>
                </c:pt>
                <c:pt idx="49222">
                  <c:v>-1.59663865546219E-2</c:v>
                </c:pt>
                <c:pt idx="49223">
                  <c:v>-1.59663865546219E-2</c:v>
                </c:pt>
                <c:pt idx="49224">
                  <c:v>-1.59663865546219E-2</c:v>
                </c:pt>
                <c:pt idx="49225">
                  <c:v>-1.59663865546219E-2</c:v>
                </c:pt>
                <c:pt idx="49226">
                  <c:v>-1.59663865546219E-2</c:v>
                </c:pt>
                <c:pt idx="49227">
                  <c:v>-1.59663865546219E-2</c:v>
                </c:pt>
                <c:pt idx="49228">
                  <c:v>-1.59663865546219E-2</c:v>
                </c:pt>
                <c:pt idx="49229">
                  <c:v>-1.59663865546219E-2</c:v>
                </c:pt>
                <c:pt idx="49230">
                  <c:v>-1.59663865546219E-2</c:v>
                </c:pt>
                <c:pt idx="49231">
                  <c:v>-1.59663865546219E-2</c:v>
                </c:pt>
                <c:pt idx="49232">
                  <c:v>-1.59663865546219E-2</c:v>
                </c:pt>
                <c:pt idx="49233">
                  <c:v>-1.59663865546219E-2</c:v>
                </c:pt>
                <c:pt idx="49234">
                  <c:v>-1.59663865546219E-2</c:v>
                </c:pt>
                <c:pt idx="49235">
                  <c:v>-1.59663865546219E-2</c:v>
                </c:pt>
                <c:pt idx="49236">
                  <c:v>-1.59663865546219E-2</c:v>
                </c:pt>
                <c:pt idx="49237">
                  <c:v>-1.59663865546219E-2</c:v>
                </c:pt>
                <c:pt idx="49238">
                  <c:v>-1.59663865546219E-2</c:v>
                </c:pt>
                <c:pt idx="49239">
                  <c:v>-1.59663865546219E-2</c:v>
                </c:pt>
                <c:pt idx="49240">
                  <c:v>-1.59663865546219E-2</c:v>
                </c:pt>
                <c:pt idx="49241">
                  <c:v>-1.59663865546219E-2</c:v>
                </c:pt>
                <c:pt idx="49242">
                  <c:v>-1.59663865546219E-2</c:v>
                </c:pt>
                <c:pt idx="49243">
                  <c:v>-1.59663865546219E-2</c:v>
                </c:pt>
                <c:pt idx="49244">
                  <c:v>-1.59663865546219E-2</c:v>
                </c:pt>
                <c:pt idx="49245">
                  <c:v>-1.59663865546219E-2</c:v>
                </c:pt>
                <c:pt idx="49246">
                  <c:v>-1.59663865546219E-2</c:v>
                </c:pt>
                <c:pt idx="49247">
                  <c:v>-1.59663865546219E-2</c:v>
                </c:pt>
                <c:pt idx="49248">
                  <c:v>-1.59663865546219E-2</c:v>
                </c:pt>
                <c:pt idx="49249">
                  <c:v>-1.59663865546219E-2</c:v>
                </c:pt>
                <c:pt idx="49250">
                  <c:v>-1.59663865546219E-2</c:v>
                </c:pt>
                <c:pt idx="49251">
                  <c:v>-1.59663865546219E-2</c:v>
                </c:pt>
                <c:pt idx="49252">
                  <c:v>-1.59663865546219E-2</c:v>
                </c:pt>
                <c:pt idx="49253">
                  <c:v>-1.59663865546219E-2</c:v>
                </c:pt>
                <c:pt idx="49254">
                  <c:v>-1.59663865546219E-2</c:v>
                </c:pt>
                <c:pt idx="49255">
                  <c:v>-1.59663865546219E-2</c:v>
                </c:pt>
                <c:pt idx="49256">
                  <c:v>-1.59663865546219E-2</c:v>
                </c:pt>
                <c:pt idx="49257">
                  <c:v>-1.59663865546219E-2</c:v>
                </c:pt>
                <c:pt idx="49258">
                  <c:v>-1.59663865546219E-2</c:v>
                </c:pt>
                <c:pt idx="49259">
                  <c:v>-1.59663865546219E-2</c:v>
                </c:pt>
                <c:pt idx="49260">
                  <c:v>-1.59663865546219E-2</c:v>
                </c:pt>
                <c:pt idx="49261">
                  <c:v>-1.59663865546219E-2</c:v>
                </c:pt>
                <c:pt idx="49262">
                  <c:v>-1.59663865546219E-2</c:v>
                </c:pt>
                <c:pt idx="49263">
                  <c:v>-1.59663865546219E-2</c:v>
                </c:pt>
                <c:pt idx="49264">
                  <c:v>-1.59663865546219E-2</c:v>
                </c:pt>
                <c:pt idx="49265">
                  <c:v>-1.59663865546219E-2</c:v>
                </c:pt>
                <c:pt idx="49266">
                  <c:v>-1.59663865546219E-2</c:v>
                </c:pt>
                <c:pt idx="49267">
                  <c:v>-1.59663865546219E-2</c:v>
                </c:pt>
                <c:pt idx="49268">
                  <c:v>-1.59663865546219E-2</c:v>
                </c:pt>
                <c:pt idx="49269">
                  <c:v>-1.59663865546219E-2</c:v>
                </c:pt>
                <c:pt idx="49270">
                  <c:v>-1.59663865546219E-2</c:v>
                </c:pt>
                <c:pt idx="49271">
                  <c:v>-1.59663865546219E-2</c:v>
                </c:pt>
                <c:pt idx="49272">
                  <c:v>-1.59663865546219E-2</c:v>
                </c:pt>
                <c:pt idx="49273">
                  <c:v>-1.59663865546219E-2</c:v>
                </c:pt>
                <c:pt idx="49274">
                  <c:v>-1.59663865546219E-2</c:v>
                </c:pt>
                <c:pt idx="49275">
                  <c:v>-1.59663865546219E-2</c:v>
                </c:pt>
                <c:pt idx="49276">
                  <c:v>-1.59663865546219E-2</c:v>
                </c:pt>
                <c:pt idx="49277">
                  <c:v>-1.59663865546219E-2</c:v>
                </c:pt>
                <c:pt idx="49278">
                  <c:v>-1.59663865546219E-2</c:v>
                </c:pt>
                <c:pt idx="49279">
                  <c:v>-1.59663865546219E-2</c:v>
                </c:pt>
                <c:pt idx="49280">
                  <c:v>-1.59663865546219E-2</c:v>
                </c:pt>
                <c:pt idx="49281">
                  <c:v>-1.59663865546219E-2</c:v>
                </c:pt>
                <c:pt idx="49282">
                  <c:v>-1.59663865546219E-2</c:v>
                </c:pt>
                <c:pt idx="49283">
                  <c:v>-1.59663865546219E-2</c:v>
                </c:pt>
                <c:pt idx="49284">
                  <c:v>-1.59663865546219E-2</c:v>
                </c:pt>
                <c:pt idx="49285">
                  <c:v>-1.59663865546219E-2</c:v>
                </c:pt>
                <c:pt idx="49286">
                  <c:v>-1.59663865546219E-2</c:v>
                </c:pt>
                <c:pt idx="49287">
                  <c:v>-1.59663865546219E-2</c:v>
                </c:pt>
                <c:pt idx="49288">
                  <c:v>-1.59663865546219E-2</c:v>
                </c:pt>
                <c:pt idx="49289">
                  <c:v>-1.59663865546219E-2</c:v>
                </c:pt>
                <c:pt idx="49290">
                  <c:v>-1.59663865546219E-2</c:v>
                </c:pt>
                <c:pt idx="49291">
                  <c:v>-1.59663865546219E-2</c:v>
                </c:pt>
                <c:pt idx="49292">
                  <c:v>-1.59663865546219E-2</c:v>
                </c:pt>
                <c:pt idx="49293">
                  <c:v>-1.59663865546219E-2</c:v>
                </c:pt>
                <c:pt idx="49294">
                  <c:v>-1.59663865546219E-2</c:v>
                </c:pt>
                <c:pt idx="49295">
                  <c:v>-1.59663865546219E-2</c:v>
                </c:pt>
                <c:pt idx="49296">
                  <c:v>-1.59663865546219E-2</c:v>
                </c:pt>
                <c:pt idx="49297">
                  <c:v>-1.59663865546219E-2</c:v>
                </c:pt>
                <c:pt idx="49298">
                  <c:v>-1.59663865546219E-2</c:v>
                </c:pt>
                <c:pt idx="49299">
                  <c:v>-1.59663865546219E-2</c:v>
                </c:pt>
                <c:pt idx="49300">
                  <c:v>-1.59663865546219E-2</c:v>
                </c:pt>
                <c:pt idx="49301">
                  <c:v>-1.59663865546219E-2</c:v>
                </c:pt>
                <c:pt idx="49302">
                  <c:v>-1.59663865546219E-2</c:v>
                </c:pt>
                <c:pt idx="49303">
                  <c:v>-1.59663865546219E-2</c:v>
                </c:pt>
                <c:pt idx="49304">
                  <c:v>-1.59663865546219E-2</c:v>
                </c:pt>
                <c:pt idx="49305">
                  <c:v>-1.59663865546219E-2</c:v>
                </c:pt>
                <c:pt idx="49306">
                  <c:v>-1.59663865546219E-2</c:v>
                </c:pt>
                <c:pt idx="49307">
                  <c:v>-1.59663865546219E-2</c:v>
                </c:pt>
                <c:pt idx="49308">
                  <c:v>-1.59663865546219E-2</c:v>
                </c:pt>
                <c:pt idx="49309">
                  <c:v>-1.59663865546219E-2</c:v>
                </c:pt>
                <c:pt idx="49310">
                  <c:v>-1.59663865546219E-2</c:v>
                </c:pt>
                <c:pt idx="49311">
                  <c:v>-1.59663865546219E-2</c:v>
                </c:pt>
                <c:pt idx="49312">
                  <c:v>-1.59663865546219E-2</c:v>
                </c:pt>
                <c:pt idx="49313">
                  <c:v>-1.59663865546219E-2</c:v>
                </c:pt>
                <c:pt idx="49314">
                  <c:v>-1.59663865546219E-2</c:v>
                </c:pt>
                <c:pt idx="49315">
                  <c:v>-1.59663865546219E-2</c:v>
                </c:pt>
                <c:pt idx="49316">
                  <c:v>-1.59663865546219E-2</c:v>
                </c:pt>
                <c:pt idx="49317">
                  <c:v>-1.59663865546219E-2</c:v>
                </c:pt>
                <c:pt idx="49318">
                  <c:v>-1.59663865546219E-2</c:v>
                </c:pt>
                <c:pt idx="49319">
                  <c:v>-1.59663865546219E-2</c:v>
                </c:pt>
                <c:pt idx="49320">
                  <c:v>-1.59663865546219E-2</c:v>
                </c:pt>
                <c:pt idx="49321">
                  <c:v>-1.59663865546219E-2</c:v>
                </c:pt>
                <c:pt idx="49322">
                  <c:v>-1.59663865546219E-2</c:v>
                </c:pt>
                <c:pt idx="49323">
                  <c:v>-1.59663865546219E-2</c:v>
                </c:pt>
                <c:pt idx="49324">
                  <c:v>-1.59663865546219E-2</c:v>
                </c:pt>
                <c:pt idx="49325">
                  <c:v>-1.59663865546219E-2</c:v>
                </c:pt>
                <c:pt idx="49326">
                  <c:v>-1.59663865546219E-2</c:v>
                </c:pt>
                <c:pt idx="49327">
                  <c:v>-1.59663865546219E-2</c:v>
                </c:pt>
                <c:pt idx="49328">
                  <c:v>-1.59663865546219E-2</c:v>
                </c:pt>
                <c:pt idx="49329">
                  <c:v>-1.59663865546219E-2</c:v>
                </c:pt>
                <c:pt idx="49330">
                  <c:v>-1.59663865546219E-2</c:v>
                </c:pt>
                <c:pt idx="49331">
                  <c:v>-1.59663865546219E-2</c:v>
                </c:pt>
                <c:pt idx="49332">
                  <c:v>-1.59663865546219E-2</c:v>
                </c:pt>
                <c:pt idx="49333">
                  <c:v>-1.59663865546219E-2</c:v>
                </c:pt>
                <c:pt idx="49334">
                  <c:v>-1.59663865546219E-2</c:v>
                </c:pt>
                <c:pt idx="49335">
                  <c:v>-1.59663865546219E-2</c:v>
                </c:pt>
                <c:pt idx="49336">
                  <c:v>-1.59663865546219E-2</c:v>
                </c:pt>
                <c:pt idx="49337">
                  <c:v>-1.59663865546219E-2</c:v>
                </c:pt>
                <c:pt idx="49338">
                  <c:v>-1.59663865546219E-2</c:v>
                </c:pt>
                <c:pt idx="49339">
                  <c:v>-1.59663865546219E-2</c:v>
                </c:pt>
                <c:pt idx="49340">
                  <c:v>-1.59663865546219E-2</c:v>
                </c:pt>
                <c:pt idx="49341">
                  <c:v>-1.59663865546219E-2</c:v>
                </c:pt>
                <c:pt idx="49342">
                  <c:v>-1.59663865546219E-2</c:v>
                </c:pt>
                <c:pt idx="49343">
                  <c:v>-1.59663865546219E-2</c:v>
                </c:pt>
                <c:pt idx="49344">
                  <c:v>-1.59663865546219E-2</c:v>
                </c:pt>
                <c:pt idx="49345">
                  <c:v>-1.59663865546219E-2</c:v>
                </c:pt>
                <c:pt idx="49346">
                  <c:v>-1.59663865546219E-2</c:v>
                </c:pt>
                <c:pt idx="49347">
                  <c:v>-1.59663865546219E-2</c:v>
                </c:pt>
                <c:pt idx="49348">
                  <c:v>-1.59663865546219E-2</c:v>
                </c:pt>
                <c:pt idx="49349">
                  <c:v>-1.59663865546219E-2</c:v>
                </c:pt>
                <c:pt idx="49350">
                  <c:v>-1.59663865546219E-2</c:v>
                </c:pt>
                <c:pt idx="49351">
                  <c:v>-1.59663865546219E-2</c:v>
                </c:pt>
                <c:pt idx="49352">
                  <c:v>-1.59663865546219E-2</c:v>
                </c:pt>
                <c:pt idx="49353">
                  <c:v>-1.59663865546219E-2</c:v>
                </c:pt>
                <c:pt idx="49354">
                  <c:v>-1.59663865546219E-2</c:v>
                </c:pt>
                <c:pt idx="49355">
                  <c:v>-1.59663865546219E-2</c:v>
                </c:pt>
                <c:pt idx="49356">
                  <c:v>-1.59663865546219E-2</c:v>
                </c:pt>
                <c:pt idx="49357">
                  <c:v>-1.59663865546219E-2</c:v>
                </c:pt>
                <c:pt idx="49358">
                  <c:v>-1.59663865546219E-2</c:v>
                </c:pt>
                <c:pt idx="49359">
                  <c:v>-1.59663865546219E-2</c:v>
                </c:pt>
                <c:pt idx="49360">
                  <c:v>-1.59663865546219E-2</c:v>
                </c:pt>
                <c:pt idx="49361">
                  <c:v>-1.59663865546219E-2</c:v>
                </c:pt>
                <c:pt idx="49362">
                  <c:v>-1.59663865546219E-2</c:v>
                </c:pt>
                <c:pt idx="49363">
                  <c:v>-1.59663865546219E-2</c:v>
                </c:pt>
                <c:pt idx="49364">
                  <c:v>-1.59663865546219E-2</c:v>
                </c:pt>
                <c:pt idx="49365">
                  <c:v>-1.59663865546219E-2</c:v>
                </c:pt>
                <c:pt idx="49366">
                  <c:v>-1.59663865546219E-2</c:v>
                </c:pt>
                <c:pt idx="49367">
                  <c:v>-1.59663865546219E-2</c:v>
                </c:pt>
                <c:pt idx="49368">
                  <c:v>-1.59663865546219E-2</c:v>
                </c:pt>
                <c:pt idx="49369">
                  <c:v>-1.59663865546219E-2</c:v>
                </c:pt>
                <c:pt idx="49370">
                  <c:v>-1.59663865546219E-2</c:v>
                </c:pt>
                <c:pt idx="49371">
                  <c:v>-1.59663865546219E-2</c:v>
                </c:pt>
                <c:pt idx="49372">
                  <c:v>-1.59663865546219E-2</c:v>
                </c:pt>
                <c:pt idx="49373">
                  <c:v>-1.59663865546219E-2</c:v>
                </c:pt>
                <c:pt idx="49374">
                  <c:v>-1.59663865546219E-2</c:v>
                </c:pt>
                <c:pt idx="49375">
                  <c:v>-1.59663865546219E-2</c:v>
                </c:pt>
                <c:pt idx="49376">
                  <c:v>-1.59663865546219E-2</c:v>
                </c:pt>
                <c:pt idx="49377">
                  <c:v>-1.59663865546219E-2</c:v>
                </c:pt>
                <c:pt idx="49378">
                  <c:v>-1.59663865546219E-2</c:v>
                </c:pt>
                <c:pt idx="49379">
                  <c:v>-1.59663865546219E-2</c:v>
                </c:pt>
                <c:pt idx="49380">
                  <c:v>-1.59663865546219E-2</c:v>
                </c:pt>
                <c:pt idx="49381">
                  <c:v>-1.59663865546219E-2</c:v>
                </c:pt>
                <c:pt idx="49382">
                  <c:v>-1.59663865546219E-2</c:v>
                </c:pt>
                <c:pt idx="49383">
                  <c:v>-1.59663865546219E-2</c:v>
                </c:pt>
                <c:pt idx="49384">
                  <c:v>-1.59663865546219E-2</c:v>
                </c:pt>
                <c:pt idx="49385">
                  <c:v>-1.59663865546219E-2</c:v>
                </c:pt>
                <c:pt idx="49386">
                  <c:v>-1.59663865546219E-2</c:v>
                </c:pt>
                <c:pt idx="49387">
                  <c:v>-1.59663865546219E-2</c:v>
                </c:pt>
                <c:pt idx="49388">
                  <c:v>-1.59663865546219E-2</c:v>
                </c:pt>
                <c:pt idx="49389">
                  <c:v>-1.59663865546219E-2</c:v>
                </c:pt>
                <c:pt idx="49390">
                  <c:v>-1.59663865546219E-2</c:v>
                </c:pt>
                <c:pt idx="49391">
                  <c:v>-1.59663865546219E-2</c:v>
                </c:pt>
                <c:pt idx="49392">
                  <c:v>-1.59663865546219E-2</c:v>
                </c:pt>
                <c:pt idx="49393">
                  <c:v>-1.59663865546219E-2</c:v>
                </c:pt>
                <c:pt idx="49394">
                  <c:v>-1.59663865546219E-2</c:v>
                </c:pt>
                <c:pt idx="49395">
                  <c:v>-1.59663865546219E-2</c:v>
                </c:pt>
                <c:pt idx="49396">
                  <c:v>-1.59663865546219E-2</c:v>
                </c:pt>
                <c:pt idx="49397">
                  <c:v>-1.59663865546219E-2</c:v>
                </c:pt>
                <c:pt idx="49398">
                  <c:v>-1.59663865546219E-2</c:v>
                </c:pt>
                <c:pt idx="49399">
                  <c:v>-1.59663865546219E-2</c:v>
                </c:pt>
                <c:pt idx="49400">
                  <c:v>-1.59663865546219E-2</c:v>
                </c:pt>
                <c:pt idx="49401">
                  <c:v>-1.59663865546219E-2</c:v>
                </c:pt>
                <c:pt idx="49402">
                  <c:v>-1.59663865546219E-2</c:v>
                </c:pt>
                <c:pt idx="49403">
                  <c:v>-1.59663865546219E-2</c:v>
                </c:pt>
                <c:pt idx="49404">
                  <c:v>-1.59663865546219E-2</c:v>
                </c:pt>
                <c:pt idx="49405">
                  <c:v>-1.59663865546219E-2</c:v>
                </c:pt>
                <c:pt idx="49406">
                  <c:v>-1.59663865546219E-2</c:v>
                </c:pt>
                <c:pt idx="49407">
                  <c:v>-1.59663865546219E-2</c:v>
                </c:pt>
                <c:pt idx="49408">
                  <c:v>-1.59663865546219E-2</c:v>
                </c:pt>
                <c:pt idx="49409">
                  <c:v>-1.59663865546219E-2</c:v>
                </c:pt>
                <c:pt idx="49410">
                  <c:v>-1.59663865546219E-2</c:v>
                </c:pt>
                <c:pt idx="49411">
                  <c:v>-1.59663865546219E-2</c:v>
                </c:pt>
                <c:pt idx="49412">
                  <c:v>-1.59663865546219E-2</c:v>
                </c:pt>
                <c:pt idx="49413">
                  <c:v>-1.59663865546219E-2</c:v>
                </c:pt>
                <c:pt idx="49414">
                  <c:v>-1.59663865546219E-2</c:v>
                </c:pt>
                <c:pt idx="49415">
                  <c:v>-1.59663865546219E-2</c:v>
                </c:pt>
                <c:pt idx="49416">
                  <c:v>-1.59663865546219E-2</c:v>
                </c:pt>
                <c:pt idx="49417">
                  <c:v>-1.59663865546219E-2</c:v>
                </c:pt>
                <c:pt idx="49418">
                  <c:v>-1.59663865546219E-2</c:v>
                </c:pt>
                <c:pt idx="49419">
                  <c:v>-1.59663865546219E-2</c:v>
                </c:pt>
                <c:pt idx="49420">
                  <c:v>-1.59663865546219E-2</c:v>
                </c:pt>
                <c:pt idx="49421">
                  <c:v>-1.59663865546219E-2</c:v>
                </c:pt>
                <c:pt idx="49422">
                  <c:v>-1.59663865546219E-2</c:v>
                </c:pt>
                <c:pt idx="49423">
                  <c:v>-1.59663865546219E-2</c:v>
                </c:pt>
                <c:pt idx="49424">
                  <c:v>-1.59663865546219E-2</c:v>
                </c:pt>
                <c:pt idx="49425">
                  <c:v>-1.59663865546219E-2</c:v>
                </c:pt>
                <c:pt idx="49426">
                  <c:v>-1.59663865546219E-2</c:v>
                </c:pt>
                <c:pt idx="49427">
                  <c:v>-1.59663865546219E-2</c:v>
                </c:pt>
                <c:pt idx="49428">
                  <c:v>-1.59663865546219E-2</c:v>
                </c:pt>
                <c:pt idx="49429">
                  <c:v>-1.59663865546219E-2</c:v>
                </c:pt>
                <c:pt idx="49430">
                  <c:v>-1.59663865546219E-2</c:v>
                </c:pt>
                <c:pt idx="49431">
                  <c:v>-1.59663865546219E-2</c:v>
                </c:pt>
                <c:pt idx="49432">
                  <c:v>-1.59663865546219E-2</c:v>
                </c:pt>
                <c:pt idx="49433">
                  <c:v>-1.59663865546219E-2</c:v>
                </c:pt>
                <c:pt idx="49434">
                  <c:v>-1.59663865546219E-2</c:v>
                </c:pt>
                <c:pt idx="49435">
                  <c:v>-1.59663865546219E-2</c:v>
                </c:pt>
                <c:pt idx="49436">
                  <c:v>-1.59663865546219E-2</c:v>
                </c:pt>
                <c:pt idx="49437">
                  <c:v>-1.59663865546219E-2</c:v>
                </c:pt>
                <c:pt idx="49438">
                  <c:v>-1.59663865546219E-2</c:v>
                </c:pt>
                <c:pt idx="49439">
                  <c:v>-1.59663865546219E-2</c:v>
                </c:pt>
                <c:pt idx="49440">
                  <c:v>-1.59663865546219E-2</c:v>
                </c:pt>
                <c:pt idx="49441">
                  <c:v>-1.59663865546219E-2</c:v>
                </c:pt>
                <c:pt idx="49442">
                  <c:v>-1.59663865546219E-2</c:v>
                </c:pt>
                <c:pt idx="49443">
                  <c:v>-1.59663865546219E-2</c:v>
                </c:pt>
                <c:pt idx="49444">
                  <c:v>-1.59663865546219E-2</c:v>
                </c:pt>
                <c:pt idx="49445">
                  <c:v>-1.59663865546219E-2</c:v>
                </c:pt>
                <c:pt idx="49446">
                  <c:v>-1.59663865546219E-2</c:v>
                </c:pt>
                <c:pt idx="49447">
                  <c:v>-1.59663865546219E-2</c:v>
                </c:pt>
                <c:pt idx="49448">
                  <c:v>-1.59663865546219E-2</c:v>
                </c:pt>
                <c:pt idx="49449">
                  <c:v>-1.59663865546219E-2</c:v>
                </c:pt>
                <c:pt idx="49450">
                  <c:v>-1.59663865546219E-2</c:v>
                </c:pt>
                <c:pt idx="49451">
                  <c:v>-1.59663865546219E-2</c:v>
                </c:pt>
                <c:pt idx="49452">
                  <c:v>-1.59663865546219E-2</c:v>
                </c:pt>
                <c:pt idx="49453">
                  <c:v>-1.59663865546219E-2</c:v>
                </c:pt>
                <c:pt idx="49454">
                  <c:v>-1.59663865546219E-2</c:v>
                </c:pt>
                <c:pt idx="49455">
                  <c:v>-1.59663865546219E-2</c:v>
                </c:pt>
                <c:pt idx="49456">
                  <c:v>-1.59663865546219E-2</c:v>
                </c:pt>
                <c:pt idx="49457">
                  <c:v>-1.59663865546219E-2</c:v>
                </c:pt>
                <c:pt idx="49458">
                  <c:v>-1.59663865546219E-2</c:v>
                </c:pt>
                <c:pt idx="49459">
                  <c:v>-1.59663865546219E-2</c:v>
                </c:pt>
                <c:pt idx="49460">
                  <c:v>-1.59663865546219E-2</c:v>
                </c:pt>
                <c:pt idx="49461">
                  <c:v>-1.59663865546219E-2</c:v>
                </c:pt>
                <c:pt idx="49462">
                  <c:v>-1.59663865546219E-2</c:v>
                </c:pt>
                <c:pt idx="49463">
                  <c:v>-1.59663865546219E-2</c:v>
                </c:pt>
                <c:pt idx="49464">
                  <c:v>-1.59663865546219E-2</c:v>
                </c:pt>
                <c:pt idx="49465">
                  <c:v>-1.59663865546219E-2</c:v>
                </c:pt>
                <c:pt idx="49466">
                  <c:v>-1.59663865546219E-2</c:v>
                </c:pt>
                <c:pt idx="49467">
                  <c:v>-1.59663865546219E-2</c:v>
                </c:pt>
                <c:pt idx="49468">
                  <c:v>-1.59663865546219E-2</c:v>
                </c:pt>
                <c:pt idx="49469">
                  <c:v>-1.59663865546219E-2</c:v>
                </c:pt>
                <c:pt idx="49470">
                  <c:v>-1.59663865546219E-2</c:v>
                </c:pt>
                <c:pt idx="49471">
                  <c:v>-1.59663865546219E-2</c:v>
                </c:pt>
                <c:pt idx="49472">
                  <c:v>-1.59663865546219E-2</c:v>
                </c:pt>
                <c:pt idx="49473">
                  <c:v>-1.59663865546219E-2</c:v>
                </c:pt>
                <c:pt idx="49474">
                  <c:v>-1.59663865546219E-2</c:v>
                </c:pt>
                <c:pt idx="49475">
                  <c:v>-1.59663865546219E-2</c:v>
                </c:pt>
                <c:pt idx="49476">
                  <c:v>-1.59663865546219E-2</c:v>
                </c:pt>
                <c:pt idx="49477">
                  <c:v>-1.59663865546219E-2</c:v>
                </c:pt>
                <c:pt idx="49478">
                  <c:v>-1.59663865546219E-2</c:v>
                </c:pt>
                <c:pt idx="49479">
                  <c:v>-1.59663865546219E-2</c:v>
                </c:pt>
                <c:pt idx="49480">
                  <c:v>-1.59663865546219E-2</c:v>
                </c:pt>
                <c:pt idx="49481">
                  <c:v>-1.59663865546219E-2</c:v>
                </c:pt>
                <c:pt idx="49482">
                  <c:v>-1.59663865546219E-2</c:v>
                </c:pt>
                <c:pt idx="49483">
                  <c:v>-1.59663865546219E-2</c:v>
                </c:pt>
                <c:pt idx="49484">
                  <c:v>-1.59663865546219E-2</c:v>
                </c:pt>
                <c:pt idx="49485">
                  <c:v>-1.59663865546219E-2</c:v>
                </c:pt>
                <c:pt idx="49486">
                  <c:v>-1.59663865546219E-2</c:v>
                </c:pt>
                <c:pt idx="49487">
                  <c:v>-1.59663865546219E-2</c:v>
                </c:pt>
                <c:pt idx="49488">
                  <c:v>-1.59663865546219E-2</c:v>
                </c:pt>
                <c:pt idx="49489">
                  <c:v>-1.59663865546219E-2</c:v>
                </c:pt>
                <c:pt idx="49490">
                  <c:v>-1.59663865546219E-2</c:v>
                </c:pt>
                <c:pt idx="49491">
                  <c:v>-1.59663865546219E-2</c:v>
                </c:pt>
                <c:pt idx="49492">
                  <c:v>-1.59663865546219E-2</c:v>
                </c:pt>
                <c:pt idx="49493">
                  <c:v>-1.59663865546219E-2</c:v>
                </c:pt>
                <c:pt idx="49494">
                  <c:v>-1.59663865546219E-2</c:v>
                </c:pt>
                <c:pt idx="49495">
                  <c:v>-1.59663865546219E-2</c:v>
                </c:pt>
                <c:pt idx="49496">
                  <c:v>-1.59663865546219E-2</c:v>
                </c:pt>
                <c:pt idx="49497">
                  <c:v>-1.59663865546219E-2</c:v>
                </c:pt>
                <c:pt idx="49498">
                  <c:v>-1.59663865546219E-2</c:v>
                </c:pt>
                <c:pt idx="49499">
                  <c:v>-1.59663865546219E-2</c:v>
                </c:pt>
                <c:pt idx="49500">
                  <c:v>-1.59663865546219E-2</c:v>
                </c:pt>
                <c:pt idx="49501">
                  <c:v>-1.59663865546219E-2</c:v>
                </c:pt>
                <c:pt idx="49502">
                  <c:v>-1.59663865546219E-2</c:v>
                </c:pt>
                <c:pt idx="49503">
                  <c:v>-1.59663865546219E-2</c:v>
                </c:pt>
                <c:pt idx="49504">
                  <c:v>-1.59663865546219E-2</c:v>
                </c:pt>
                <c:pt idx="49505">
                  <c:v>-1.59663865546219E-2</c:v>
                </c:pt>
                <c:pt idx="49506">
                  <c:v>-1.59663865546219E-2</c:v>
                </c:pt>
                <c:pt idx="49507">
                  <c:v>-1.59663865546219E-2</c:v>
                </c:pt>
                <c:pt idx="49508">
                  <c:v>-1.59663865546219E-2</c:v>
                </c:pt>
                <c:pt idx="49509">
                  <c:v>-1.59663865546219E-2</c:v>
                </c:pt>
                <c:pt idx="49510">
                  <c:v>-1.59663865546219E-2</c:v>
                </c:pt>
                <c:pt idx="49511">
                  <c:v>-1.59663865546219E-2</c:v>
                </c:pt>
                <c:pt idx="49512">
                  <c:v>-1.59663865546219E-2</c:v>
                </c:pt>
                <c:pt idx="49513">
                  <c:v>-1.59663865546219E-2</c:v>
                </c:pt>
                <c:pt idx="49514">
                  <c:v>-1.59663865546219E-2</c:v>
                </c:pt>
                <c:pt idx="49515">
                  <c:v>-1.59663865546219E-2</c:v>
                </c:pt>
                <c:pt idx="49516">
                  <c:v>-1.59663865546219E-2</c:v>
                </c:pt>
                <c:pt idx="49517">
                  <c:v>-1.59663865546219E-2</c:v>
                </c:pt>
                <c:pt idx="49518">
                  <c:v>-1.59663865546219E-2</c:v>
                </c:pt>
                <c:pt idx="49519">
                  <c:v>-1.59663865546219E-2</c:v>
                </c:pt>
                <c:pt idx="49520">
                  <c:v>-1.59663865546219E-2</c:v>
                </c:pt>
                <c:pt idx="49521">
                  <c:v>-1.59663865546219E-2</c:v>
                </c:pt>
                <c:pt idx="49522">
                  <c:v>-1.59663865546219E-2</c:v>
                </c:pt>
                <c:pt idx="49523">
                  <c:v>-1.59663865546219E-2</c:v>
                </c:pt>
                <c:pt idx="49524">
                  <c:v>-1.59663865546219E-2</c:v>
                </c:pt>
                <c:pt idx="49525">
                  <c:v>-1.59663865546219E-2</c:v>
                </c:pt>
                <c:pt idx="49526">
                  <c:v>-1.59663865546219E-2</c:v>
                </c:pt>
                <c:pt idx="49527">
                  <c:v>-1.59663865546219E-2</c:v>
                </c:pt>
                <c:pt idx="49528">
                  <c:v>-1.59663865546219E-2</c:v>
                </c:pt>
                <c:pt idx="49529">
                  <c:v>-1.59663865546219E-2</c:v>
                </c:pt>
                <c:pt idx="49530">
                  <c:v>-1.59663865546219E-2</c:v>
                </c:pt>
                <c:pt idx="49531">
                  <c:v>-1.59663865546219E-2</c:v>
                </c:pt>
                <c:pt idx="49532">
                  <c:v>-1.59663865546219E-2</c:v>
                </c:pt>
                <c:pt idx="49533">
                  <c:v>-1.59663865546219E-2</c:v>
                </c:pt>
                <c:pt idx="49534">
                  <c:v>-1.59663865546219E-2</c:v>
                </c:pt>
                <c:pt idx="49535">
                  <c:v>-1.59663865546219E-2</c:v>
                </c:pt>
                <c:pt idx="49536">
                  <c:v>-1.59663865546219E-2</c:v>
                </c:pt>
                <c:pt idx="49537">
                  <c:v>-1.59663865546219E-2</c:v>
                </c:pt>
                <c:pt idx="49538">
                  <c:v>-1.59663865546219E-2</c:v>
                </c:pt>
                <c:pt idx="49539">
                  <c:v>-1.59663865546219E-2</c:v>
                </c:pt>
                <c:pt idx="49540">
                  <c:v>-1.59663865546219E-2</c:v>
                </c:pt>
                <c:pt idx="49541">
                  <c:v>-1.59663865546219E-2</c:v>
                </c:pt>
                <c:pt idx="49542">
                  <c:v>-1.59663865546219E-2</c:v>
                </c:pt>
                <c:pt idx="49543">
                  <c:v>-1.59663865546219E-2</c:v>
                </c:pt>
                <c:pt idx="49544">
                  <c:v>-1.59663865546219E-2</c:v>
                </c:pt>
                <c:pt idx="49545">
                  <c:v>-1.59663865546219E-2</c:v>
                </c:pt>
                <c:pt idx="49546">
                  <c:v>-1.59663865546219E-2</c:v>
                </c:pt>
                <c:pt idx="49547">
                  <c:v>-1.59663865546219E-2</c:v>
                </c:pt>
                <c:pt idx="49548">
                  <c:v>-1.59663865546219E-2</c:v>
                </c:pt>
                <c:pt idx="49549">
                  <c:v>-1.59663865546219E-2</c:v>
                </c:pt>
                <c:pt idx="49550">
                  <c:v>-1.59663865546219E-2</c:v>
                </c:pt>
                <c:pt idx="49551">
                  <c:v>-1.59663865546219E-2</c:v>
                </c:pt>
                <c:pt idx="49552">
                  <c:v>-1.59663865546219E-2</c:v>
                </c:pt>
                <c:pt idx="49553">
                  <c:v>-1.59663865546219E-2</c:v>
                </c:pt>
                <c:pt idx="49554">
                  <c:v>-1.59663865546219E-2</c:v>
                </c:pt>
                <c:pt idx="49555">
                  <c:v>-1.59663865546219E-2</c:v>
                </c:pt>
                <c:pt idx="49556">
                  <c:v>-1.59663865546219E-2</c:v>
                </c:pt>
                <c:pt idx="49557">
                  <c:v>-1.59663865546219E-2</c:v>
                </c:pt>
                <c:pt idx="49558">
                  <c:v>-1.59663865546219E-2</c:v>
                </c:pt>
                <c:pt idx="49559">
                  <c:v>-1.59663865546219E-2</c:v>
                </c:pt>
                <c:pt idx="49560">
                  <c:v>-1.59663865546219E-2</c:v>
                </c:pt>
                <c:pt idx="49561">
                  <c:v>-1.59663865546219E-2</c:v>
                </c:pt>
                <c:pt idx="49562">
                  <c:v>-1.59663865546219E-2</c:v>
                </c:pt>
                <c:pt idx="49563">
                  <c:v>-1.59663865546219E-2</c:v>
                </c:pt>
                <c:pt idx="49564">
                  <c:v>-1.59663865546219E-2</c:v>
                </c:pt>
                <c:pt idx="49565">
                  <c:v>-1.59663865546219E-2</c:v>
                </c:pt>
                <c:pt idx="49566">
                  <c:v>-1.59663865546219E-2</c:v>
                </c:pt>
                <c:pt idx="49567">
                  <c:v>-1.59663865546219E-2</c:v>
                </c:pt>
                <c:pt idx="49568">
                  <c:v>-1.59663865546219E-2</c:v>
                </c:pt>
                <c:pt idx="49569">
                  <c:v>-1.59663865546219E-2</c:v>
                </c:pt>
                <c:pt idx="49570">
                  <c:v>-1.59663865546219E-2</c:v>
                </c:pt>
                <c:pt idx="49571">
                  <c:v>-1.59663865546219E-2</c:v>
                </c:pt>
                <c:pt idx="49572">
                  <c:v>-1.59663865546219E-2</c:v>
                </c:pt>
                <c:pt idx="49573">
                  <c:v>-1.59663865546219E-2</c:v>
                </c:pt>
                <c:pt idx="49574">
                  <c:v>-1.59663865546219E-2</c:v>
                </c:pt>
                <c:pt idx="49575">
                  <c:v>-1.59663865546219E-2</c:v>
                </c:pt>
                <c:pt idx="49576">
                  <c:v>-1.59663865546219E-2</c:v>
                </c:pt>
                <c:pt idx="49577">
                  <c:v>-1.59663865546219E-2</c:v>
                </c:pt>
                <c:pt idx="49578">
                  <c:v>-1.59663865546219E-2</c:v>
                </c:pt>
                <c:pt idx="49579">
                  <c:v>-1.59663865546219E-2</c:v>
                </c:pt>
                <c:pt idx="49580">
                  <c:v>-1.59663865546219E-2</c:v>
                </c:pt>
                <c:pt idx="49581">
                  <c:v>-1.59663865546219E-2</c:v>
                </c:pt>
                <c:pt idx="49582">
                  <c:v>-1.59663865546219E-2</c:v>
                </c:pt>
                <c:pt idx="49583">
                  <c:v>-1.59663865546219E-2</c:v>
                </c:pt>
                <c:pt idx="49584">
                  <c:v>-1.59663865546219E-2</c:v>
                </c:pt>
                <c:pt idx="49585">
                  <c:v>-1.59663865546219E-2</c:v>
                </c:pt>
                <c:pt idx="49586">
                  <c:v>-1.59663865546219E-2</c:v>
                </c:pt>
                <c:pt idx="49587">
                  <c:v>-1.59663865546219E-2</c:v>
                </c:pt>
                <c:pt idx="49588">
                  <c:v>-1.59663865546219E-2</c:v>
                </c:pt>
                <c:pt idx="49589">
                  <c:v>-1.59663865546219E-2</c:v>
                </c:pt>
                <c:pt idx="49590">
                  <c:v>-1.59663865546219E-2</c:v>
                </c:pt>
                <c:pt idx="49591">
                  <c:v>-1.59663865546219E-2</c:v>
                </c:pt>
                <c:pt idx="49592">
                  <c:v>-1.59663865546219E-2</c:v>
                </c:pt>
                <c:pt idx="49593">
                  <c:v>-1.59663865546219E-2</c:v>
                </c:pt>
                <c:pt idx="49594">
                  <c:v>-1.59663865546219E-2</c:v>
                </c:pt>
                <c:pt idx="49595">
                  <c:v>-1.59663865546219E-2</c:v>
                </c:pt>
                <c:pt idx="49596">
                  <c:v>-1.59663865546219E-2</c:v>
                </c:pt>
                <c:pt idx="49597">
                  <c:v>-1.59663865546219E-2</c:v>
                </c:pt>
                <c:pt idx="49598">
                  <c:v>-1.59663865546219E-2</c:v>
                </c:pt>
                <c:pt idx="49599">
                  <c:v>-1.59663865546219E-2</c:v>
                </c:pt>
                <c:pt idx="49600">
                  <c:v>-1.59663865546219E-2</c:v>
                </c:pt>
                <c:pt idx="49601">
                  <c:v>-1.59663865546219E-2</c:v>
                </c:pt>
                <c:pt idx="49602">
                  <c:v>-1.59663865546219E-2</c:v>
                </c:pt>
                <c:pt idx="49603">
                  <c:v>-1.59663865546219E-2</c:v>
                </c:pt>
                <c:pt idx="49604">
                  <c:v>-1.59663865546219E-2</c:v>
                </c:pt>
                <c:pt idx="49605">
                  <c:v>-1.59663865546219E-2</c:v>
                </c:pt>
                <c:pt idx="49606">
                  <c:v>-1.59663865546219E-2</c:v>
                </c:pt>
                <c:pt idx="49607">
                  <c:v>-1.59663865546219E-2</c:v>
                </c:pt>
                <c:pt idx="49608">
                  <c:v>-1.59663865546219E-2</c:v>
                </c:pt>
                <c:pt idx="49609">
                  <c:v>-1.59663865546219E-2</c:v>
                </c:pt>
                <c:pt idx="49610">
                  <c:v>-1.59663865546219E-2</c:v>
                </c:pt>
                <c:pt idx="49611">
                  <c:v>-1.59663865546219E-2</c:v>
                </c:pt>
                <c:pt idx="49612">
                  <c:v>-1.51260504201681E-2</c:v>
                </c:pt>
                <c:pt idx="49613">
                  <c:v>-1.51260504201681E-2</c:v>
                </c:pt>
                <c:pt idx="49614">
                  <c:v>-1.51260504201681E-2</c:v>
                </c:pt>
                <c:pt idx="49615">
                  <c:v>-1.51260504201681E-2</c:v>
                </c:pt>
                <c:pt idx="49616">
                  <c:v>-1.51260504201681E-2</c:v>
                </c:pt>
                <c:pt idx="49617">
                  <c:v>-1.51260504201681E-2</c:v>
                </c:pt>
                <c:pt idx="49618">
                  <c:v>-1.51260504201681E-2</c:v>
                </c:pt>
                <c:pt idx="49619">
                  <c:v>-1.51260504201681E-2</c:v>
                </c:pt>
                <c:pt idx="49620">
                  <c:v>-1.51260504201681E-2</c:v>
                </c:pt>
                <c:pt idx="49621">
                  <c:v>-1.51260504201681E-2</c:v>
                </c:pt>
                <c:pt idx="49622">
                  <c:v>-1.51260504201681E-2</c:v>
                </c:pt>
                <c:pt idx="49623">
                  <c:v>-1.51260504201681E-2</c:v>
                </c:pt>
                <c:pt idx="49624">
                  <c:v>-1.51260504201681E-2</c:v>
                </c:pt>
                <c:pt idx="49625">
                  <c:v>-1.51260504201681E-2</c:v>
                </c:pt>
                <c:pt idx="49626">
                  <c:v>-1.51260504201681E-2</c:v>
                </c:pt>
                <c:pt idx="49627">
                  <c:v>-1.51260504201681E-2</c:v>
                </c:pt>
                <c:pt idx="49628">
                  <c:v>-1.51260504201681E-2</c:v>
                </c:pt>
                <c:pt idx="49629">
                  <c:v>-1.51260504201681E-2</c:v>
                </c:pt>
                <c:pt idx="49630">
                  <c:v>-1.51260504201681E-2</c:v>
                </c:pt>
                <c:pt idx="49631">
                  <c:v>-1.51260504201681E-2</c:v>
                </c:pt>
                <c:pt idx="49632">
                  <c:v>-1.51260504201681E-2</c:v>
                </c:pt>
                <c:pt idx="49633">
                  <c:v>-1.51260504201681E-2</c:v>
                </c:pt>
                <c:pt idx="49634">
                  <c:v>-1.51260504201681E-2</c:v>
                </c:pt>
                <c:pt idx="49635">
                  <c:v>-1.51260504201681E-2</c:v>
                </c:pt>
                <c:pt idx="49636">
                  <c:v>-1.51260504201681E-2</c:v>
                </c:pt>
                <c:pt idx="49637">
                  <c:v>-1.51260504201681E-2</c:v>
                </c:pt>
                <c:pt idx="49638">
                  <c:v>-1.51260504201681E-2</c:v>
                </c:pt>
                <c:pt idx="49639">
                  <c:v>-1.51260504201681E-2</c:v>
                </c:pt>
                <c:pt idx="49640">
                  <c:v>-1.51260504201681E-2</c:v>
                </c:pt>
                <c:pt idx="49641">
                  <c:v>-1.51260504201681E-2</c:v>
                </c:pt>
                <c:pt idx="49642">
                  <c:v>-1.51260504201681E-2</c:v>
                </c:pt>
                <c:pt idx="49643">
                  <c:v>-1.51260504201681E-2</c:v>
                </c:pt>
                <c:pt idx="49644">
                  <c:v>-1.51260504201681E-2</c:v>
                </c:pt>
                <c:pt idx="49645">
                  <c:v>-1.51260504201681E-2</c:v>
                </c:pt>
                <c:pt idx="49646">
                  <c:v>-1.51260504201681E-2</c:v>
                </c:pt>
                <c:pt idx="49647">
                  <c:v>-1.51260504201681E-2</c:v>
                </c:pt>
                <c:pt idx="49648">
                  <c:v>-1.51260504201681E-2</c:v>
                </c:pt>
                <c:pt idx="49649">
                  <c:v>-1.51260504201681E-2</c:v>
                </c:pt>
                <c:pt idx="49650">
                  <c:v>-1.51260504201681E-2</c:v>
                </c:pt>
                <c:pt idx="49651">
                  <c:v>-1.51260504201681E-2</c:v>
                </c:pt>
                <c:pt idx="49652">
                  <c:v>-1.51260504201681E-2</c:v>
                </c:pt>
                <c:pt idx="49653">
                  <c:v>-1.51260504201681E-2</c:v>
                </c:pt>
                <c:pt idx="49654">
                  <c:v>-1.51260504201681E-2</c:v>
                </c:pt>
                <c:pt idx="49655">
                  <c:v>-1.51260504201681E-2</c:v>
                </c:pt>
                <c:pt idx="49656">
                  <c:v>-1.51260504201681E-2</c:v>
                </c:pt>
                <c:pt idx="49657">
                  <c:v>-1.51260504201681E-2</c:v>
                </c:pt>
                <c:pt idx="49658">
                  <c:v>-1.51260504201681E-2</c:v>
                </c:pt>
                <c:pt idx="49659">
                  <c:v>-1.51260504201681E-2</c:v>
                </c:pt>
                <c:pt idx="49660">
                  <c:v>-1.51260504201681E-2</c:v>
                </c:pt>
                <c:pt idx="49661">
                  <c:v>-1.51260504201681E-2</c:v>
                </c:pt>
                <c:pt idx="49662">
                  <c:v>-1.51260504201681E-2</c:v>
                </c:pt>
                <c:pt idx="49663">
                  <c:v>-1.51260504201681E-2</c:v>
                </c:pt>
                <c:pt idx="49664">
                  <c:v>-1.51260504201681E-2</c:v>
                </c:pt>
                <c:pt idx="49665">
                  <c:v>-1.51260504201681E-2</c:v>
                </c:pt>
                <c:pt idx="49666">
                  <c:v>-1.51260504201681E-2</c:v>
                </c:pt>
                <c:pt idx="49667">
                  <c:v>-1.51260504201681E-2</c:v>
                </c:pt>
                <c:pt idx="49668">
                  <c:v>-1.51260504201681E-2</c:v>
                </c:pt>
                <c:pt idx="49669">
                  <c:v>-1.51260504201681E-2</c:v>
                </c:pt>
                <c:pt idx="49670">
                  <c:v>-1.51260504201681E-2</c:v>
                </c:pt>
                <c:pt idx="49671">
                  <c:v>-1.51260504201681E-2</c:v>
                </c:pt>
                <c:pt idx="49672">
                  <c:v>-1.51260504201681E-2</c:v>
                </c:pt>
                <c:pt idx="49673">
                  <c:v>-1.51260504201681E-2</c:v>
                </c:pt>
                <c:pt idx="49674">
                  <c:v>-1.51260504201681E-2</c:v>
                </c:pt>
                <c:pt idx="49675">
                  <c:v>-1.51260504201681E-2</c:v>
                </c:pt>
                <c:pt idx="49676">
                  <c:v>-1.51260504201681E-2</c:v>
                </c:pt>
                <c:pt idx="49677">
                  <c:v>-1.51260504201681E-2</c:v>
                </c:pt>
                <c:pt idx="49678">
                  <c:v>-1.51260504201681E-2</c:v>
                </c:pt>
                <c:pt idx="49679">
                  <c:v>-1.51260504201681E-2</c:v>
                </c:pt>
                <c:pt idx="49680">
                  <c:v>-1.51260504201681E-2</c:v>
                </c:pt>
                <c:pt idx="49681">
                  <c:v>-1.51260504201681E-2</c:v>
                </c:pt>
                <c:pt idx="49682">
                  <c:v>-1.51260504201681E-2</c:v>
                </c:pt>
                <c:pt idx="49683">
                  <c:v>-1.51260504201681E-2</c:v>
                </c:pt>
                <c:pt idx="49684">
                  <c:v>-1.51260504201681E-2</c:v>
                </c:pt>
                <c:pt idx="49685">
                  <c:v>-1.51260504201681E-2</c:v>
                </c:pt>
                <c:pt idx="49686">
                  <c:v>-1.51260504201681E-2</c:v>
                </c:pt>
                <c:pt idx="49687">
                  <c:v>-1.51260504201681E-2</c:v>
                </c:pt>
                <c:pt idx="49688">
                  <c:v>-1.51260504201681E-2</c:v>
                </c:pt>
                <c:pt idx="49689">
                  <c:v>-1.51260504201681E-2</c:v>
                </c:pt>
                <c:pt idx="49690">
                  <c:v>-1.51260504201681E-2</c:v>
                </c:pt>
                <c:pt idx="49691">
                  <c:v>-1.51260504201681E-2</c:v>
                </c:pt>
                <c:pt idx="49692">
                  <c:v>-1.51260504201681E-2</c:v>
                </c:pt>
                <c:pt idx="49693">
                  <c:v>-1.51260504201681E-2</c:v>
                </c:pt>
                <c:pt idx="49694">
                  <c:v>-1.51260504201681E-2</c:v>
                </c:pt>
                <c:pt idx="49695">
                  <c:v>-1.51260504201681E-2</c:v>
                </c:pt>
                <c:pt idx="49696">
                  <c:v>-1.51260504201681E-2</c:v>
                </c:pt>
                <c:pt idx="49697">
                  <c:v>-1.51260504201681E-2</c:v>
                </c:pt>
                <c:pt idx="49698">
                  <c:v>-1.51260504201681E-2</c:v>
                </c:pt>
                <c:pt idx="49699">
                  <c:v>-1.51260504201681E-2</c:v>
                </c:pt>
                <c:pt idx="49700">
                  <c:v>-1.51260504201681E-2</c:v>
                </c:pt>
                <c:pt idx="49701">
                  <c:v>-1.51260504201681E-2</c:v>
                </c:pt>
                <c:pt idx="49702">
                  <c:v>-1.51260504201681E-2</c:v>
                </c:pt>
                <c:pt idx="49703">
                  <c:v>-1.51260504201681E-2</c:v>
                </c:pt>
                <c:pt idx="49704">
                  <c:v>-1.51260504201681E-2</c:v>
                </c:pt>
                <c:pt idx="49705">
                  <c:v>-1.51260504201681E-2</c:v>
                </c:pt>
                <c:pt idx="49706">
                  <c:v>-1.51260504201681E-2</c:v>
                </c:pt>
                <c:pt idx="49707">
                  <c:v>-1.51260504201681E-2</c:v>
                </c:pt>
                <c:pt idx="49708">
                  <c:v>-1.51260504201681E-2</c:v>
                </c:pt>
                <c:pt idx="49709">
                  <c:v>-1.51260504201681E-2</c:v>
                </c:pt>
                <c:pt idx="49710">
                  <c:v>-1.51260504201681E-2</c:v>
                </c:pt>
                <c:pt idx="49711">
                  <c:v>-1.51260504201681E-2</c:v>
                </c:pt>
                <c:pt idx="49712">
                  <c:v>-1.51260504201681E-2</c:v>
                </c:pt>
                <c:pt idx="49713">
                  <c:v>-1.51260504201681E-2</c:v>
                </c:pt>
                <c:pt idx="49714">
                  <c:v>-1.51260504201681E-2</c:v>
                </c:pt>
                <c:pt idx="49715">
                  <c:v>-1.51260504201681E-2</c:v>
                </c:pt>
                <c:pt idx="49716">
                  <c:v>-1.51260504201681E-2</c:v>
                </c:pt>
                <c:pt idx="49717">
                  <c:v>-1.51260504201681E-2</c:v>
                </c:pt>
                <c:pt idx="49718">
                  <c:v>-1.51260504201681E-2</c:v>
                </c:pt>
                <c:pt idx="49719">
                  <c:v>-1.51260504201681E-2</c:v>
                </c:pt>
                <c:pt idx="49720">
                  <c:v>-1.51260504201681E-2</c:v>
                </c:pt>
                <c:pt idx="49721">
                  <c:v>-1.51260504201681E-2</c:v>
                </c:pt>
                <c:pt idx="49722">
                  <c:v>-1.51260504201681E-2</c:v>
                </c:pt>
                <c:pt idx="49723">
                  <c:v>-1.51260504201681E-2</c:v>
                </c:pt>
                <c:pt idx="49724">
                  <c:v>-1.51260504201681E-2</c:v>
                </c:pt>
                <c:pt idx="49725">
                  <c:v>-1.51260504201681E-2</c:v>
                </c:pt>
                <c:pt idx="49726">
                  <c:v>-1.51260504201681E-2</c:v>
                </c:pt>
                <c:pt idx="49727">
                  <c:v>-1.51260504201681E-2</c:v>
                </c:pt>
                <c:pt idx="49728">
                  <c:v>-1.51260504201681E-2</c:v>
                </c:pt>
                <c:pt idx="49729">
                  <c:v>-1.51260504201681E-2</c:v>
                </c:pt>
                <c:pt idx="49730">
                  <c:v>-1.51260504201681E-2</c:v>
                </c:pt>
                <c:pt idx="49731">
                  <c:v>-1.51260504201681E-2</c:v>
                </c:pt>
                <c:pt idx="49732">
                  <c:v>-1.51260504201681E-2</c:v>
                </c:pt>
                <c:pt idx="49733">
                  <c:v>-1.51260504201681E-2</c:v>
                </c:pt>
                <c:pt idx="49734">
                  <c:v>-1.51260504201681E-2</c:v>
                </c:pt>
                <c:pt idx="49735">
                  <c:v>-1.51260504201681E-2</c:v>
                </c:pt>
                <c:pt idx="49736">
                  <c:v>-1.51260504201681E-2</c:v>
                </c:pt>
                <c:pt idx="49737">
                  <c:v>-1.51260504201681E-2</c:v>
                </c:pt>
                <c:pt idx="49738">
                  <c:v>-1.51260504201681E-2</c:v>
                </c:pt>
                <c:pt idx="49739">
                  <c:v>-1.51260504201681E-2</c:v>
                </c:pt>
                <c:pt idx="49740">
                  <c:v>-1.51260504201681E-2</c:v>
                </c:pt>
                <c:pt idx="49741">
                  <c:v>-1.51260504201681E-2</c:v>
                </c:pt>
                <c:pt idx="49742">
                  <c:v>-1.51260504201681E-2</c:v>
                </c:pt>
                <c:pt idx="49743">
                  <c:v>-1.51260504201681E-2</c:v>
                </c:pt>
                <c:pt idx="49744">
                  <c:v>-1.51260504201681E-2</c:v>
                </c:pt>
                <c:pt idx="49745">
                  <c:v>-1.51260504201681E-2</c:v>
                </c:pt>
                <c:pt idx="49746">
                  <c:v>-1.51260504201681E-2</c:v>
                </c:pt>
                <c:pt idx="49747">
                  <c:v>-1.51260504201681E-2</c:v>
                </c:pt>
                <c:pt idx="49748">
                  <c:v>-1.51260504201681E-2</c:v>
                </c:pt>
                <c:pt idx="49749">
                  <c:v>-1.51260504201681E-2</c:v>
                </c:pt>
                <c:pt idx="49750">
                  <c:v>-1.51260504201681E-2</c:v>
                </c:pt>
                <c:pt idx="49751">
                  <c:v>-1.51260504201681E-2</c:v>
                </c:pt>
                <c:pt idx="49752">
                  <c:v>-1.51260504201681E-2</c:v>
                </c:pt>
                <c:pt idx="49753">
                  <c:v>-1.51260504201681E-2</c:v>
                </c:pt>
                <c:pt idx="49754">
                  <c:v>-1.51260504201681E-2</c:v>
                </c:pt>
                <c:pt idx="49755">
                  <c:v>-1.51260504201681E-2</c:v>
                </c:pt>
                <c:pt idx="49756">
                  <c:v>-1.51260504201681E-2</c:v>
                </c:pt>
                <c:pt idx="49757">
                  <c:v>-1.51260504201681E-2</c:v>
                </c:pt>
                <c:pt idx="49758">
                  <c:v>-1.51260504201681E-2</c:v>
                </c:pt>
                <c:pt idx="49759">
                  <c:v>-1.51260504201681E-2</c:v>
                </c:pt>
                <c:pt idx="49760">
                  <c:v>-1.51260504201681E-2</c:v>
                </c:pt>
                <c:pt idx="49761">
                  <c:v>-1.51260504201681E-2</c:v>
                </c:pt>
                <c:pt idx="49762">
                  <c:v>-1.51260504201681E-2</c:v>
                </c:pt>
                <c:pt idx="49763">
                  <c:v>-1.51260504201681E-2</c:v>
                </c:pt>
                <c:pt idx="49764">
                  <c:v>-1.51260504201681E-2</c:v>
                </c:pt>
                <c:pt idx="49765">
                  <c:v>-1.51260504201681E-2</c:v>
                </c:pt>
                <c:pt idx="49766">
                  <c:v>-1.51260504201681E-2</c:v>
                </c:pt>
                <c:pt idx="49767">
                  <c:v>-1.51260504201681E-2</c:v>
                </c:pt>
                <c:pt idx="49768">
                  <c:v>-1.51260504201681E-2</c:v>
                </c:pt>
                <c:pt idx="49769">
                  <c:v>-1.51260504201681E-2</c:v>
                </c:pt>
                <c:pt idx="49770">
                  <c:v>-1.51260504201681E-2</c:v>
                </c:pt>
                <c:pt idx="49771">
                  <c:v>-1.51260504201681E-2</c:v>
                </c:pt>
                <c:pt idx="49772">
                  <c:v>-1.51260504201681E-2</c:v>
                </c:pt>
                <c:pt idx="49773">
                  <c:v>-1.51260504201681E-2</c:v>
                </c:pt>
                <c:pt idx="49774">
                  <c:v>-1.51260504201681E-2</c:v>
                </c:pt>
                <c:pt idx="49775">
                  <c:v>-1.51260504201681E-2</c:v>
                </c:pt>
                <c:pt idx="49776">
                  <c:v>-1.51260504201681E-2</c:v>
                </c:pt>
                <c:pt idx="49777">
                  <c:v>-1.51260504201681E-2</c:v>
                </c:pt>
                <c:pt idx="49778">
                  <c:v>-1.51260504201681E-2</c:v>
                </c:pt>
                <c:pt idx="49779">
                  <c:v>-1.51260504201681E-2</c:v>
                </c:pt>
                <c:pt idx="49780">
                  <c:v>-1.51260504201681E-2</c:v>
                </c:pt>
                <c:pt idx="49781">
                  <c:v>-1.51260504201681E-2</c:v>
                </c:pt>
                <c:pt idx="49782">
                  <c:v>-1.51260504201681E-2</c:v>
                </c:pt>
                <c:pt idx="49783">
                  <c:v>-1.51260504201681E-2</c:v>
                </c:pt>
                <c:pt idx="49784">
                  <c:v>-1.51260504201681E-2</c:v>
                </c:pt>
                <c:pt idx="49785">
                  <c:v>-1.51260504201681E-2</c:v>
                </c:pt>
                <c:pt idx="49786">
                  <c:v>-1.51260504201681E-2</c:v>
                </c:pt>
                <c:pt idx="49787">
                  <c:v>-1.51260504201681E-2</c:v>
                </c:pt>
                <c:pt idx="49788">
                  <c:v>-1.51260504201681E-2</c:v>
                </c:pt>
                <c:pt idx="49789">
                  <c:v>-1.51260504201681E-2</c:v>
                </c:pt>
                <c:pt idx="49790">
                  <c:v>-1.51260504201681E-2</c:v>
                </c:pt>
                <c:pt idx="49791">
                  <c:v>-1.51260504201681E-2</c:v>
                </c:pt>
                <c:pt idx="49792">
                  <c:v>-1.51260504201681E-2</c:v>
                </c:pt>
                <c:pt idx="49793">
                  <c:v>-1.51260504201681E-2</c:v>
                </c:pt>
                <c:pt idx="49794">
                  <c:v>-1.51260504201681E-2</c:v>
                </c:pt>
                <c:pt idx="49795">
                  <c:v>-1.51260504201681E-2</c:v>
                </c:pt>
                <c:pt idx="49796">
                  <c:v>-1.51260504201681E-2</c:v>
                </c:pt>
                <c:pt idx="49797">
                  <c:v>-1.51260504201681E-2</c:v>
                </c:pt>
                <c:pt idx="49798">
                  <c:v>-1.51260504201681E-2</c:v>
                </c:pt>
                <c:pt idx="49799">
                  <c:v>-1.51260504201681E-2</c:v>
                </c:pt>
                <c:pt idx="49800">
                  <c:v>-1.51260504201681E-2</c:v>
                </c:pt>
                <c:pt idx="49801">
                  <c:v>-1.51260504201681E-2</c:v>
                </c:pt>
                <c:pt idx="49802">
                  <c:v>-1.51260504201681E-2</c:v>
                </c:pt>
                <c:pt idx="49803">
                  <c:v>-1.51260504201681E-2</c:v>
                </c:pt>
                <c:pt idx="49804">
                  <c:v>-1.51260504201681E-2</c:v>
                </c:pt>
                <c:pt idx="49805">
                  <c:v>-1.51260504201681E-2</c:v>
                </c:pt>
                <c:pt idx="49806">
                  <c:v>-1.51260504201681E-2</c:v>
                </c:pt>
                <c:pt idx="49807">
                  <c:v>-1.51260504201681E-2</c:v>
                </c:pt>
                <c:pt idx="49808">
                  <c:v>-1.51260504201681E-2</c:v>
                </c:pt>
                <c:pt idx="49809">
                  <c:v>-1.51260504201681E-2</c:v>
                </c:pt>
                <c:pt idx="49810">
                  <c:v>-1.51260504201681E-2</c:v>
                </c:pt>
                <c:pt idx="49811">
                  <c:v>-1.51260504201681E-2</c:v>
                </c:pt>
                <c:pt idx="49812">
                  <c:v>-1.51260504201681E-2</c:v>
                </c:pt>
                <c:pt idx="49813">
                  <c:v>-1.51260504201681E-2</c:v>
                </c:pt>
                <c:pt idx="49814">
                  <c:v>-1.51260504201681E-2</c:v>
                </c:pt>
                <c:pt idx="49815">
                  <c:v>-1.51260504201681E-2</c:v>
                </c:pt>
                <c:pt idx="49816">
                  <c:v>-1.51260504201681E-2</c:v>
                </c:pt>
                <c:pt idx="49817">
                  <c:v>-1.51260504201681E-2</c:v>
                </c:pt>
                <c:pt idx="49818">
                  <c:v>-1.51260504201681E-2</c:v>
                </c:pt>
                <c:pt idx="49819">
                  <c:v>-1.51260504201681E-2</c:v>
                </c:pt>
                <c:pt idx="49820">
                  <c:v>-1.51260504201681E-2</c:v>
                </c:pt>
                <c:pt idx="49821">
                  <c:v>-1.51260504201681E-2</c:v>
                </c:pt>
                <c:pt idx="49822">
                  <c:v>-1.51260504201681E-2</c:v>
                </c:pt>
                <c:pt idx="49823">
                  <c:v>-1.51260504201681E-2</c:v>
                </c:pt>
                <c:pt idx="49824">
                  <c:v>-1.51260504201681E-2</c:v>
                </c:pt>
                <c:pt idx="49825">
                  <c:v>-1.51260504201681E-2</c:v>
                </c:pt>
                <c:pt idx="49826">
                  <c:v>-1.51260504201681E-2</c:v>
                </c:pt>
                <c:pt idx="49827">
                  <c:v>-1.51260504201681E-2</c:v>
                </c:pt>
                <c:pt idx="49828">
                  <c:v>-1.51260504201681E-2</c:v>
                </c:pt>
                <c:pt idx="49829">
                  <c:v>-1.51260504201681E-2</c:v>
                </c:pt>
                <c:pt idx="49830">
                  <c:v>-1.51260504201681E-2</c:v>
                </c:pt>
                <c:pt idx="49831">
                  <c:v>-1.51260504201681E-2</c:v>
                </c:pt>
                <c:pt idx="49832">
                  <c:v>-1.51260504201681E-2</c:v>
                </c:pt>
                <c:pt idx="49833">
                  <c:v>-1.51260504201681E-2</c:v>
                </c:pt>
                <c:pt idx="49834">
                  <c:v>-1.51260504201681E-2</c:v>
                </c:pt>
                <c:pt idx="49835">
                  <c:v>-1.51260504201681E-2</c:v>
                </c:pt>
                <c:pt idx="49836">
                  <c:v>-1.51260504201681E-2</c:v>
                </c:pt>
                <c:pt idx="49837">
                  <c:v>-1.51260504201681E-2</c:v>
                </c:pt>
                <c:pt idx="49838">
                  <c:v>-1.51260504201681E-2</c:v>
                </c:pt>
                <c:pt idx="49839">
                  <c:v>-1.51260504201681E-2</c:v>
                </c:pt>
                <c:pt idx="49840">
                  <c:v>-1.51260504201681E-2</c:v>
                </c:pt>
                <c:pt idx="49841">
                  <c:v>-1.51260504201681E-2</c:v>
                </c:pt>
                <c:pt idx="49842">
                  <c:v>-1.51260504201681E-2</c:v>
                </c:pt>
                <c:pt idx="49843">
                  <c:v>-1.51260504201681E-2</c:v>
                </c:pt>
                <c:pt idx="49844">
                  <c:v>-1.51260504201681E-2</c:v>
                </c:pt>
                <c:pt idx="49845">
                  <c:v>-1.51260504201681E-2</c:v>
                </c:pt>
                <c:pt idx="49846">
                  <c:v>-1.51260504201681E-2</c:v>
                </c:pt>
                <c:pt idx="49847">
                  <c:v>-1.51260504201681E-2</c:v>
                </c:pt>
                <c:pt idx="49848">
                  <c:v>-1.51260504201681E-2</c:v>
                </c:pt>
                <c:pt idx="49849">
                  <c:v>-1.51260504201681E-2</c:v>
                </c:pt>
                <c:pt idx="49850">
                  <c:v>-1.51260504201681E-2</c:v>
                </c:pt>
                <c:pt idx="49851">
                  <c:v>-1.51260504201681E-2</c:v>
                </c:pt>
                <c:pt idx="49852">
                  <c:v>-1.51260504201681E-2</c:v>
                </c:pt>
                <c:pt idx="49853">
                  <c:v>-1.51260504201681E-2</c:v>
                </c:pt>
                <c:pt idx="49854">
                  <c:v>-1.51260504201681E-2</c:v>
                </c:pt>
                <c:pt idx="49855">
                  <c:v>-1.51260504201681E-2</c:v>
                </c:pt>
                <c:pt idx="49856">
                  <c:v>-1.51260504201681E-2</c:v>
                </c:pt>
                <c:pt idx="49857">
                  <c:v>-1.51260504201681E-2</c:v>
                </c:pt>
                <c:pt idx="49858">
                  <c:v>-1.51260504201681E-2</c:v>
                </c:pt>
                <c:pt idx="49859">
                  <c:v>-1.51260504201681E-2</c:v>
                </c:pt>
                <c:pt idx="49860">
                  <c:v>-1.51260504201681E-2</c:v>
                </c:pt>
                <c:pt idx="49861">
                  <c:v>-1.51260504201681E-2</c:v>
                </c:pt>
                <c:pt idx="49862">
                  <c:v>-1.51260504201681E-2</c:v>
                </c:pt>
                <c:pt idx="49863">
                  <c:v>-1.51260504201681E-2</c:v>
                </c:pt>
                <c:pt idx="49864">
                  <c:v>-1.51260504201681E-2</c:v>
                </c:pt>
                <c:pt idx="49865">
                  <c:v>-1.51260504201681E-2</c:v>
                </c:pt>
                <c:pt idx="49866">
                  <c:v>-1.51260504201681E-2</c:v>
                </c:pt>
                <c:pt idx="49867">
                  <c:v>-1.51260504201681E-2</c:v>
                </c:pt>
                <c:pt idx="49868">
                  <c:v>-1.51260504201681E-2</c:v>
                </c:pt>
                <c:pt idx="49869">
                  <c:v>-1.51260504201681E-2</c:v>
                </c:pt>
                <c:pt idx="49870">
                  <c:v>-1.51260504201681E-2</c:v>
                </c:pt>
                <c:pt idx="49871">
                  <c:v>-1.51260504201681E-2</c:v>
                </c:pt>
                <c:pt idx="49872">
                  <c:v>-1.51260504201681E-2</c:v>
                </c:pt>
                <c:pt idx="49873">
                  <c:v>-1.51260504201681E-2</c:v>
                </c:pt>
                <c:pt idx="49874">
                  <c:v>-1.51260504201681E-2</c:v>
                </c:pt>
                <c:pt idx="49875">
                  <c:v>-1.51260504201681E-2</c:v>
                </c:pt>
                <c:pt idx="49876">
                  <c:v>-1.51260504201681E-2</c:v>
                </c:pt>
                <c:pt idx="49877">
                  <c:v>-1.51260504201681E-2</c:v>
                </c:pt>
                <c:pt idx="49878">
                  <c:v>-1.51260504201681E-2</c:v>
                </c:pt>
                <c:pt idx="49879">
                  <c:v>-1.51260504201681E-2</c:v>
                </c:pt>
                <c:pt idx="49880">
                  <c:v>-1.51260504201681E-2</c:v>
                </c:pt>
                <c:pt idx="49881">
                  <c:v>-1.51260504201681E-2</c:v>
                </c:pt>
                <c:pt idx="49882">
                  <c:v>-1.51260504201681E-2</c:v>
                </c:pt>
                <c:pt idx="49883">
                  <c:v>-1.51260504201681E-2</c:v>
                </c:pt>
                <c:pt idx="49884">
                  <c:v>-1.51260504201681E-2</c:v>
                </c:pt>
                <c:pt idx="49885">
                  <c:v>-1.51260504201681E-2</c:v>
                </c:pt>
                <c:pt idx="49886">
                  <c:v>-1.51260504201681E-2</c:v>
                </c:pt>
                <c:pt idx="49887">
                  <c:v>-1.51260504201681E-2</c:v>
                </c:pt>
                <c:pt idx="49888">
                  <c:v>-1.51260504201681E-2</c:v>
                </c:pt>
                <c:pt idx="49889">
                  <c:v>-1.51260504201681E-2</c:v>
                </c:pt>
                <c:pt idx="49890">
                  <c:v>-1.51260504201681E-2</c:v>
                </c:pt>
                <c:pt idx="49891">
                  <c:v>-1.51260504201681E-2</c:v>
                </c:pt>
                <c:pt idx="49892">
                  <c:v>-1.51260504201681E-2</c:v>
                </c:pt>
                <c:pt idx="49893">
                  <c:v>-1.51260504201681E-2</c:v>
                </c:pt>
                <c:pt idx="49894">
                  <c:v>-1.51260504201681E-2</c:v>
                </c:pt>
                <c:pt idx="49895">
                  <c:v>-1.51260504201681E-2</c:v>
                </c:pt>
                <c:pt idx="49896">
                  <c:v>-1.51260504201681E-2</c:v>
                </c:pt>
                <c:pt idx="49897">
                  <c:v>-1.51260504201681E-2</c:v>
                </c:pt>
                <c:pt idx="49898">
                  <c:v>-1.51260504201681E-2</c:v>
                </c:pt>
                <c:pt idx="49899">
                  <c:v>-1.51260504201681E-2</c:v>
                </c:pt>
                <c:pt idx="49900">
                  <c:v>-1.51260504201681E-2</c:v>
                </c:pt>
                <c:pt idx="49901">
                  <c:v>-1.51260504201681E-2</c:v>
                </c:pt>
                <c:pt idx="49902">
                  <c:v>-1.51260504201681E-2</c:v>
                </c:pt>
                <c:pt idx="49903">
                  <c:v>-1.51260504201681E-2</c:v>
                </c:pt>
                <c:pt idx="49904">
                  <c:v>-1.51260504201681E-2</c:v>
                </c:pt>
                <c:pt idx="49905">
                  <c:v>-1.51260504201681E-2</c:v>
                </c:pt>
                <c:pt idx="49906">
                  <c:v>-1.51260504201681E-2</c:v>
                </c:pt>
                <c:pt idx="49907">
                  <c:v>-1.51260504201681E-2</c:v>
                </c:pt>
                <c:pt idx="49908">
                  <c:v>-1.51260504201681E-2</c:v>
                </c:pt>
                <c:pt idx="49909">
                  <c:v>-1.51260504201681E-2</c:v>
                </c:pt>
                <c:pt idx="49910">
                  <c:v>-1.51260504201681E-2</c:v>
                </c:pt>
                <c:pt idx="49911">
                  <c:v>-1.51260504201681E-2</c:v>
                </c:pt>
                <c:pt idx="49912">
                  <c:v>-1.51260504201681E-2</c:v>
                </c:pt>
                <c:pt idx="49913">
                  <c:v>-1.51260504201681E-2</c:v>
                </c:pt>
                <c:pt idx="49914">
                  <c:v>-1.51260504201681E-2</c:v>
                </c:pt>
                <c:pt idx="49915">
                  <c:v>-1.51260504201681E-2</c:v>
                </c:pt>
                <c:pt idx="49916">
                  <c:v>-1.51260504201681E-2</c:v>
                </c:pt>
                <c:pt idx="49917">
                  <c:v>-1.51260504201681E-2</c:v>
                </c:pt>
                <c:pt idx="49918">
                  <c:v>-1.51260504201681E-2</c:v>
                </c:pt>
                <c:pt idx="49919">
                  <c:v>-1.51260504201681E-2</c:v>
                </c:pt>
                <c:pt idx="49920">
                  <c:v>-1.51260504201681E-2</c:v>
                </c:pt>
                <c:pt idx="49921">
                  <c:v>-1.51260504201681E-2</c:v>
                </c:pt>
                <c:pt idx="49922">
                  <c:v>-1.51260504201681E-2</c:v>
                </c:pt>
                <c:pt idx="49923">
                  <c:v>-1.51260504201681E-2</c:v>
                </c:pt>
                <c:pt idx="49924">
                  <c:v>-1.51260504201681E-2</c:v>
                </c:pt>
                <c:pt idx="49925">
                  <c:v>-1.51260504201681E-2</c:v>
                </c:pt>
                <c:pt idx="49926">
                  <c:v>-1.51260504201681E-2</c:v>
                </c:pt>
                <c:pt idx="49927">
                  <c:v>-1.51260504201681E-2</c:v>
                </c:pt>
                <c:pt idx="49928">
                  <c:v>-1.51260504201681E-2</c:v>
                </c:pt>
                <c:pt idx="49929">
                  <c:v>-1.51260504201681E-2</c:v>
                </c:pt>
                <c:pt idx="49930">
                  <c:v>-1.51260504201681E-2</c:v>
                </c:pt>
                <c:pt idx="49931">
                  <c:v>-1.51260504201681E-2</c:v>
                </c:pt>
                <c:pt idx="49932">
                  <c:v>-1.51260504201681E-2</c:v>
                </c:pt>
                <c:pt idx="49933">
                  <c:v>-1.42857142857142E-2</c:v>
                </c:pt>
                <c:pt idx="49934">
                  <c:v>-1.42857142857142E-2</c:v>
                </c:pt>
                <c:pt idx="49935">
                  <c:v>-1.42857142857142E-2</c:v>
                </c:pt>
                <c:pt idx="49936">
                  <c:v>-1.42857142857142E-2</c:v>
                </c:pt>
                <c:pt idx="49937">
                  <c:v>-1.42857142857142E-2</c:v>
                </c:pt>
                <c:pt idx="49938">
                  <c:v>-1.42857142857142E-2</c:v>
                </c:pt>
                <c:pt idx="49939">
                  <c:v>-1.42857142857142E-2</c:v>
                </c:pt>
                <c:pt idx="49940">
                  <c:v>-1.42857142857142E-2</c:v>
                </c:pt>
                <c:pt idx="49941">
                  <c:v>-1.42857142857142E-2</c:v>
                </c:pt>
                <c:pt idx="49942">
                  <c:v>-1.42857142857142E-2</c:v>
                </c:pt>
                <c:pt idx="49943">
                  <c:v>-1.42857142857142E-2</c:v>
                </c:pt>
                <c:pt idx="49944">
                  <c:v>-1.42857142857142E-2</c:v>
                </c:pt>
                <c:pt idx="49945">
                  <c:v>-1.42857142857142E-2</c:v>
                </c:pt>
                <c:pt idx="49946">
                  <c:v>-1.42857142857142E-2</c:v>
                </c:pt>
                <c:pt idx="49947">
                  <c:v>-1.42857142857142E-2</c:v>
                </c:pt>
                <c:pt idx="49948">
                  <c:v>-1.42857142857142E-2</c:v>
                </c:pt>
                <c:pt idx="49949">
                  <c:v>-1.42857142857142E-2</c:v>
                </c:pt>
                <c:pt idx="49950">
                  <c:v>-1.42857142857142E-2</c:v>
                </c:pt>
                <c:pt idx="49951">
                  <c:v>-1.42857142857142E-2</c:v>
                </c:pt>
                <c:pt idx="49952">
                  <c:v>-1.42857142857142E-2</c:v>
                </c:pt>
                <c:pt idx="49953">
                  <c:v>-1.42857142857142E-2</c:v>
                </c:pt>
                <c:pt idx="49954">
                  <c:v>-1.42857142857142E-2</c:v>
                </c:pt>
                <c:pt idx="49955">
                  <c:v>-1.42857142857142E-2</c:v>
                </c:pt>
                <c:pt idx="49956">
                  <c:v>-1.42857142857142E-2</c:v>
                </c:pt>
                <c:pt idx="49957">
                  <c:v>-1.42857142857142E-2</c:v>
                </c:pt>
                <c:pt idx="49958">
                  <c:v>-1.42857142857142E-2</c:v>
                </c:pt>
                <c:pt idx="49959">
                  <c:v>-1.42857142857142E-2</c:v>
                </c:pt>
                <c:pt idx="49960">
                  <c:v>-1.42857142857142E-2</c:v>
                </c:pt>
                <c:pt idx="49961">
                  <c:v>-1.42857142857142E-2</c:v>
                </c:pt>
                <c:pt idx="49962">
                  <c:v>-1.42857142857142E-2</c:v>
                </c:pt>
                <c:pt idx="49963">
                  <c:v>-1.42857142857142E-2</c:v>
                </c:pt>
                <c:pt idx="49964">
                  <c:v>-1.42857142857142E-2</c:v>
                </c:pt>
                <c:pt idx="49965">
                  <c:v>-1.42857142857142E-2</c:v>
                </c:pt>
                <c:pt idx="49966">
                  <c:v>-1.42857142857142E-2</c:v>
                </c:pt>
                <c:pt idx="49967">
                  <c:v>-1.42857142857142E-2</c:v>
                </c:pt>
                <c:pt idx="49968">
                  <c:v>-1.42857142857142E-2</c:v>
                </c:pt>
                <c:pt idx="49969">
                  <c:v>-1.42857142857142E-2</c:v>
                </c:pt>
                <c:pt idx="49970">
                  <c:v>-1.42857142857142E-2</c:v>
                </c:pt>
                <c:pt idx="49971">
                  <c:v>-1.42857142857142E-2</c:v>
                </c:pt>
                <c:pt idx="49972">
                  <c:v>-1.42857142857142E-2</c:v>
                </c:pt>
                <c:pt idx="49973">
                  <c:v>-1.42857142857142E-2</c:v>
                </c:pt>
                <c:pt idx="49974">
                  <c:v>-1.42857142857142E-2</c:v>
                </c:pt>
                <c:pt idx="49975">
                  <c:v>-1.42857142857142E-2</c:v>
                </c:pt>
                <c:pt idx="49976">
                  <c:v>-1.42857142857142E-2</c:v>
                </c:pt>
                <c:pt idx="49977">
                  <c:v>-1.42857142857142E-2</c:v>
                </c:pt>
                <c:pt idx="49978">
                  <c:v>-1.42857142857142E-2</c:v>
                </c:pt>
                <c:pt idx="49979">
                  <c:v>-1.42857142857142E-2</c:v>
                </c:pt>
                <c:pt idx="49980">
                  <c:v>-1.42857142857142E-2</c:v>
                </c:pt>
                <c:pt idx="49981">
                  <c:v>-1.42857142857142E-2</c:v>
                </c:pt>
                <c:pt idx="49982">
                  <c:v>-1.42857142857142E-2</c:v>
                </c:pt>
                <c:pt idx="49983">
                  <c:v>-1.42857142857142E-2</c:v>
                </c:pt>
                <c:pt idx="49984">
                  <c:v>-1.42857142857142E-2</c:v>
                </c:pt>
                <c:pt idx="49985">
                  <c:v>-1.42857142857142E-2</c:v>
                </c:pt>
                <c:pt idx="49986">
                  <c:v>-1.42857142857142E-2</c:v>
                </c:pt>
                <c:pt idx="49987">
                  <c:v>-1.42857142857142E-2</c:v>
                </c:pt>
                <c:pt idx="49988">
                  <c:v>-1.42857142857142E-2</c:v>
                </c:pt>
                <c:pt idx="49989">
                  <c:v>-1.42857142857142E-2</c:v>
                </c:pt>
                <c:pt idx="49990">
                  <c:v>-1.42857142857142E-2</c:v>
                </c:pt>
                <c:pt idx="49991">
                  <c:v>-1.42857142857142E-2</c:v>
                </c:pt>
                <c:pt idx="49992">
                  <c:v>-1.42857142857142E-2</c:v>
                </c:pt>
                <c:pt idx="49993">
                  <c:v>-1.42857142857142E-2</c:v>
                </c:pt>
                <c:pt idx="49994">
                  <c:v>-1.42857142857142E-2</c:v>
                </c:pt>
                <c:pt idx="49995">
                  <c:v>-1.42857142857142E-2</c:v>
                </c:pt>
                <c:pt idx="49996">
                  <c:v>-1.42857142857142E-2</c:v>
                </c:pt>
                <c:pt idx="49997">
                  <c:v>-1.42857142857142E-2</c:v>
                </c:pt>
                <c:pt idx="49998">
                  <c:v>-1.42857142857142E-2</c:v>
                </c:pt>
                <c:pt idx="49999">
                  <c:v>-1.42857142857142E-2</c:v>
                </c:pt>
                <c:pt idx="50000">
                  <c:v>-1.42857142857142E-2</c:v>
                </c:pt>
                <c:pt idx="50001">
                  <c:v>-1.42857142857142E-2</c:v>
                </c:pt>
                <c:pt idx="50002">
                  <c:v>-1.42857142857142E-2</c:v>
                </c:pt>
                <c:pt idx="50003">
                  <c:v>-1.42857142857142E-2</c:v>
                </c:pt>
                <c:pt idx="50004">
                  <c:v>-1.42857142857142E-2</c:v>
                </c:pt>
                <c:pt idx="50005">
                  <c:v>-1.42857142857142E-2</c:v>
                </c:pt>
                <c:pt idx="50006">
                  <c:v>-1.42857142857142E-2</c:v>
                </c:pt>
                <c:pt idx="50007">
                  <c:v>-1.42857142857142E-2</c:v>
                </c:pt>
                <c:pt idx="50008">
                  <c:v>-1.42857142857142E-2</c:v>
                </c:pt>
                <c:pt idx="50009">
                  <c:v>-1.42857142857142E-2</c:v>
                </c:pt>
                <c:pt idx="50010">
                  <c:v>-1.42857142857142E-2</c:v>
                </c:pt>
                <c:pt idx="50011">
                  <c:v>-1.42857142857142E-2</c:v>
                </c:pt>
                <c:pt idx="50012">
                  <c:v>-1.42857142857142E-2</c:v>
                </c:pt>
                <c:pt idx="50013">
                  <c:v>-1.42857142857142E-2</c:v>
                </c:pt>
                <c:pt idx="50014">
                  <c:v>-1.42857142857142E-2</c:v>
                </c:pt>
                <c:pt idx="50015">
                  <c:v>-1.42857142857142E-2</c:v>
                </c:pt>
                <c:pt idx="50016">
                  <c:v>-1.42857142857142E-2</c:v>
                </c:pt>
                <c:pt idx="50017">
                  <c:v>-1.42857142857142E-2</c:v>
                </c:pt>
                <c:pt idx="50018">
                  <c:v>-1.42857142857142E-2</c:v>
                </c:pt>
                <c:pt idx="50019">
                  <c:v>-1.42857142857142E-2</c:v>
                </c:pt>
                <c:pt idx="50020">
                  <c:v>-1.42857142857142E-2</c:v>
                </c:pt>
                <c:pt idx="50021">
                  <c:v>-1.42857142857142E-2</c:v>
                </c:pt>
                <c:pt idx="50022">
                  <c:v>-1.42857142857142E-2</c:v>
                </c:pt>
                <c:pt idx="50023">
                  <c:v>-1.42857142857142E-2</c:v>
                </c:pt>
                <c:pt idx="50024">
                  <c:v>-1.42857142857142E-2</c:v>
                </c:pt>
                <c:pt idx="50025">
                  <c:v>-1.42857142857142E-2</c:v>
                </c:pt>
                <c:pt idx="50026">
                  <c:v>-1.42857142857142E-2</c:v>
                </c:pt>
                <c:pt idx="50027">
                  <c:v>-1.42857142857142E-2</c:v>
                </c:pt>
                <c:pt idx="50028">
                  <c:v>-1.42857142857142E-2</c:v>
                </c:pt>
                <c:pt idx="50029">
                  <c:v>-1.42857142857142E-2</c:v>
                </c:pt>
                <c:pt idx="50030">
                  <c:v>-1.42857142857142E-2</c:v>
                </c:pt>
                <c:pt idx="50031">
                  <c:v>-1.42857142857142E-2</c:v>
                </c:pt>
                <c:pt idx="50032">
                  <c:v>-1.42857142857142E-2</c:v>
                </c:pt>
                <c:pt idx="50033">
                  <c:v>-1.42857142857142E-2</c:v>
                </c:pt>
                <c:pt idx="50034">
                  <c:v>-1.42857142857142E-2</c:v>
                </c:pt>
                <c:pt idx="50035">
                  <c:v>-1.42857142857142E-2</c:v>
                </c:pt>
                <c:pt idx="50036">
                  <c:v>-1.42857142857142E-2</c:v>
                </c:pt>
                <c:pt idx="50037">
                  <c:v>-1.42857142857142E-2</c:v>
                </c:pt>
                <c:pt idx="50038">
                  <c:v>-1.42857142857142E-2</c:v>
                </c:pt>
                <c:pt idx="50039">
                  <c:v>-1.42857142857142E-2</c:v>
                </c:pt>
                <c:pt idx="50040">
                  <c:v>-1.42857142857142E-2</c:v>
                </c:pt>
                <c:pt idx="50041">
                  <c:v>-1.42857142857142E-2</c:v>
                </c:pt>
                <c:pt idx="50042">
                  <c:v>-1.42857142857142E-2</c:v>
                </c:pt>
                <c:pt idx="50043">
                  <c:v>-1.42857142857142E-2</c:v>
                </c:pt>
                <c:pt idx="50044">
                  <c:v>-1.42857142857142E-2</c:v>
                </c:pt>
                <c:pt idx="50045">
                  <c:v>-1.42857142857142E-2</c:v>
                </c:pt>
                <c:pt idx="50046">
                  <c:v>-1.42857142857142E-2</c:v>
                </c:pt>
                <c:pt idx="50047">
                  <c:v>-1.42857142857142E-2</c:v>
                </c:pt>
                <c:pt idx="50048">
                  <c:v>-1.42857142857142E-2</c:v>
                </c:pt>
                <c:pt idx="50049">
                  <c:v>-1.42857142857142E-2</c:v>
                </c:pt>
                <c:pt idx="50050">
                  <c:v>-1.42857142857142E-2</c:v>
                </c:pt>
                <c:pt idx="50051">
                  <c:v>-1.42857142857142E-2</c:v>
                </c:pt>
                <c:pt idx="50052">
                  <c:v>-1.42857142857142E-2</c:v>
                </c:pt>
                <c:pt idx="50053">
                  <c:v>-1.42857142857142E-2</c:v>
                </c:pt>
                <c:pt idx="50054">
                  <c:v>-1.42857142857142E-2</c:v>
                </c:pt>
                <c:pt idx="50055">
                  <c:v>-1.42857142857142E-2</c:v>
                </c:pt>
                <c:pt idx="50056">
                  <c:v>-1.42857142857142E-2</c:v>
                </c:pt>
                <c:pt idx="50057">
                  <c:v>-1.42857142857142E-2</c:v>
                </c:pt>
                <c:pt idx="50058">
                  <c:v>-1.42857142857142E-2</c:v>
                </c:pt>
                <c:pt idx="50059">
                  <c:v>-1.42857142857142E-2</c:v>
                </c:pt>
                <c:pt idx="50060">
                  <c:v>-1.42857142857142E-2</c:v>
                </c:pt>
                <c:pt idx="50061">
                  <c:v>-1.42857142857142E-2</c:v>
                </c:pt>
                <c:pt idx="50062">
                  <c:v>-1.42857142857142E-2</c:v>
                </c:pt>
                <c:pt idx="50063">
                  <c:v>-1.42857142857142E-2</c:v>
                </c:pt>
                <c:pt idx="50064">
                  <c:v>-1.42857142857142E-2</c:v>
                </c:pt>
                <c:pt idx="50065">
                  <c:v>-1.42857142857142E-2</c:v>
                </c:pt>
                <c:pt idx="50066">
                  <c:v>-1.42857142857142E-2</c:v>
                </c:pt>
                <c:pt idx="50067">
                  <c:v>-1.42857142857142E-2</c:v>
                </c:pt>
                <c:pt idx="50068">
                  <c:v>-1.42857142857142E-2</c:v>
                </c:pt>
                <c:pt idx="50069">
                  <c:v>-1.42857142857142E-2</c:v>
                </c:pt>
                <c:pt idx="50070">
                  <c:v>-1.42857142857142E-2</c:v>
                </c:pt>
                <c:pt idx="50071">
                  <c:v>-1.42857142857142E-2</c:v>
                </c:pt>
                <c:pt idx="50072">
                  <c:v>-1.42857142857142E-2</c:v>
                </c:pt>
                <c:pt idx="50073">
                  <c:v>-1.42857142857142E-2</c:v>
                </c:pt>
                <c:pt idx="50074">
                  <c:v>-1.42857142857142E-2</c:v>
                </c:pt>
                <c:pt idx="50075">
                  <c:v>-1.42857142857142E-2</c:v>
                </c:pt>
                <c:pt idx="50076">
                  <c:v>-1.42857142857142E-2</c:v>
                </c:pt>
                <c:pt idx="50077">
                  <c:v>-1.42857142857142E-2</c:v>
                </c:pt>
                <c:pt idx="50078">
                  <c:v>-1.42857142857142E-2</c:v>
                </c:pt>
                <c:pt idx="50079">
                  <c:v>-1.42857142857142E-2</c:v>
                </c:pt>
                <c:pt idx="50080">
                  <c:v>-1.42857142857142E-2</c:v>
                </c:pt>
                <c:pt idx="50081">
                  <c:v>-1.42857142857142E-2</c:v>
                </c:pt>
                <c:pt idx="50082">
                  <c:v>-1.42857142857142E-2</c:v>
                </c:pt>
                <c:pt idx="50083">
                  <c:v>-1.42857142857142E-2</c:v>
                </c:pt>
                <c:pt idx="50084">
                  <c:v>-1.42857142857142E-2</c:v>
                </c:pt>
                <c:pt idx="50085">
                  <c:v>-1.42857142857142E-2</c:v>
                </c:pt>
                <c:pt idx="50086">
                  <c:v>-1.42857142857142E-2</c:v>
                </c:pt>
                <c:pt idx="50087">
                  <c:v>-1.42857142857142E-2</c:v>
                </c:pt>
                <c:pt idx="50088">
                  <c:v>-1.42857142857142E-2</c:v>
                </c:pt>
                <c:pt idx="50089">
                  <c:v>-1.42857142857142E-2</c:v>
                </c:pt>
                <c:pt idx="50090">
                  <c:v>-1.42857142857142E-2</c:v>
                </c:pt>
                <c:pt idx="50091">
                  <c:v>-1.42857142857142E-2</c:v>
                </c:pt>
                <c:pt idx="50092">
                  <c:v>-1.42857142857142E-2</c:v>
                </c:pt>
                <c:pt idx="50093">
                  <c:v>-1.42857142857142E-2</c:v>
                </c:pt>
                <c:pt idx="50094">
                  <c:v>-1.42857142857142E-2</c:v>
                </c:pt>
                <c:pt idx="50095">
                  <c:v>-1.42857142857142E-2</c:v>
                </c:pt>
                <c:pt idx="50096">
                  <c:v>-1.42857142857142E-2</c:v>
                </c:pt>
                <c:pt idx="50097">
                  <c:v>-1.42857142857142E-2</c:v>
                </c:pt>
                <c:pt idx="50098">
                  <c:v>-1.42857142857142E-2</c:v>
                </c:pt>
                <c:pt idx="50099">
                  <c:v>-1.42857142857142E-2</c:v>
                </c:pt>
                <c:pt idx="50100">
                  <c:v>-1.42857142857142E-2</c:v>
                </c:pt>
                <c:pt idx="50101">
                  <c:v>-1.42857142857142E-2</c:v>
                </c:pt>
                <c:pt idx="50102">
                  <c:v>-1.42857142857142E-2</c:v>
                </c:pt>
                <c:pt idx="50103">
                  <c:v>-1.42857142857142E-2</c:v>
                </c:pt>
                <c:pt idx="50104">
                  <c:v>-1.42857142857142E-2</c:v>
                </c:pt>
                <c:pt idx="50105">
                  <c:v>-1.42857142857142E-2</c:v>
                </c:pt>
                <c:pt idx="50106">
                  <c:v>-1.42857142857142E-2</c:v>
                </c:pt>
                <c:pt idx="50107">
                  <c:v>-1.42857142857142E-2</c:v>
                </c:pt>
                <c:pt idx="50108">
                  <c:v>-1.42857142857142E-2</c:v>
                </c:pt>
                <c:pt idx="50109">
                  <c:v>-1.42857142857142E-2</c:v>
                </c:pt>
                <c:pt idx="50110">
                  <c:v>-1.42857142857142E-2</c:v>
                </c:pt>
                <c:pt idx="50111">
                  <c:v>-1.42857142857142E-2</c:v>
                </c:pt>
                <c:pt idx="50112">
                  <c:v>-1.42857142857142E-2</c:v>
                </c:pt>
                <c:pt idx="50113">
                  <c:v>-1.42857142857142E-2</c:v>
                </c:pt>
                <c:pt idx="50114">
                  <c:v>-1.42857142857142E-2</c:v>
                </c:pt>
                <c:pt idx="50115">
                  <c:v>-1.42857142857142E-2</c:v>
                </c:pt>
                <c:pt idx="50116">
                  <c:v>-1.42857142857142E-2</c:v>
                </c:pt>
                <c:pt idx="50117">
                  <c:v>-1.42857142857142E-2</c:v>
                </c:pt>
                <c:pt idx="50118">
                  <c:v>-1.42857142857142E-2</c:v>
                </c:pt>
                <c:pt idx="50119">
                  <c:v>-1.42857142857142E-2</c:v>
                </c:pt>
                <c:pt idx="50120">
                  <c:v>-1.42857142857142E-2</c:v>
                </c:pt>
                <c:pt idx="50121">
                  <c:v>-1.42857142857142E-2</c:v>
                </c:pt>
                <c:pt idx="50122">
                  <c:v>-1.42857142857142E-2</c:v>
                </c:pt>
                <c:pt idx="50123">
                  <c:v>-1.42857142857142E-2</c:v>
                </c:pt>
                <c:pt idx="50124">
                  <c:v>-1.42857142857142E-2</c:v>
                </c:pt>
                <c:pt idx="50125">
                  <c:v>-1.42857142857142E-2</c:v>
                </c:pt>
                <c:pt idx="50126">
                  <c:v>-1.42857142857142E-2</c:v>
                </c:pt>
                <c:pt idx="50127">
                  <c:v>-1.42857142857142E-2</c:v>
                </c:pt>
                <c:pt idx="50128">
                  <c:v>-1.42857142857142E-2</c:v>
                </c:pt>
                <c:pt idx="50129">
                  <c:v>-1.42857142857142E-2</c:v>
                </c:pt>
                <c:pt idx="50130">
                  <c:v>-1.42857142857142E-2</c:v>
                </c:pt>
                <c:pt idx="50131">
                  <c:v>-1.42857142857142E-2</c:v>
                </c:pt>
                <c:pt idx="50132">
                  <c:v>-1.42857142857142E-2</c:v>
                </c:pt>
                <c:pt idx="50133">
                  <c:v>-1.42857142857142E-2</c:v>
                </c:pt>
                <c:pt idx="50134">
                  <c:v>-1.42857142857142E-2</c:v>
                </c:pt>
                <c:pt idx="50135">
                  <c:v>-1.42857142857142E-2</c:v>
                </c:pt>
                <c:pt idx="50136">
                  <c:v>-1.42857142857142E-2</c:v>
                </c:pt>
                <c:pt idx="50137">
                  <c:v>-1.42857142857142E-2</c:v>
                </c:pt>
                <c:pt idx="50138">
                  <c:v>-1.42857142857142E-2</c:v>
                </c:pt>
                <c:pt idx="50139">
                  <c:v>-1.3445378151260399E-2</c:v>
                </c:pt>
                <c:pt idx="50140">
                  <c:v>-1.3445378151260399E-2</c:v>
                </c:pt>
                <c:pt idx="50141">
                  <c:v>-1.3445378151260399E-2</c:v>
                </c:pt>
                <c:pt idx="50142">
                  <c:v>-1.3445378151260399E-2</c:v>
                </c:pt>
                <c:pt idx="50143">
                  <c:v>-1.3445378151260399E-2</c:v>
                </c:pt>
                <c:pt idx="50144">
                  <c:v>-1.3445378151260399E-2</c:v>
                </c:pt>
                <c:pt idx="50145">
                  <c:v>-1.3445378151260399E-2</c:v>
                </c:pt>
                <c:pt idx="50146">
                  <c:v>-1.3445378151260399E-2</c:v>
                </c:pt>
                <c:pt idx="50147">
                  <c:v>-1.3445378151260399E-2</c:v>
                </c:pt>
                <c:pt idx="50148">
                  <c:v>-1.3445378151260399E-2</c:v>
                </c:pt>
                <c:pt idx="50149">
                  <c:v>-1.3445378151260399E-2</c:v>
                </c:pt>
                <c:pt idx="50150">
                  <c:v>-1.3445378151260399E-2</c:v>
                </c:pt>
                <c:pt idx="50151">
                  <c:v>-1.3445378151260399E-2</c:v>
                </c:pt>
                <c:pt idx="50152">
                  <c:v>-1.3445378151260399E-2</c:v>
                </c:pt>
                <c:pt idx="50153">
                  <c:v>-1.3445378151260399E-2</c:v>
                </c:pt>
                <c:pt idx="50154">
                  <c:v>-1.3445378151260399E-2</c:v>
                </c:pt>
                <c:pt idx="50155">
                  <c:v>-1.3445378151260399E-2</c:v>
                </c:pt>
                <c:pt idx="50156">
                  <c:v>-1.3445378151260399E-2</c:v>
                </c:pt>
                <c:pt idx="50157">
                  <c:v>-1.3445378151260399E-2</c:v>
                </c:pt>
                <c:pt idx="50158">
                  <c:v>-1.3445378151260399E-2</c:v>
                </c:pt>
                <c:pt idx="50159">
                  <c:v>-1.3445378151260399E-2</c:v>
                </c:pt>
                <c:pt idx="50160">
                  <c:v>-1.3445378151260399E-2</c:v>
                </c:pt>
                <c:pt idx="50161">
                  <c:v>-1.3445378151260399E-2</c:v>
                </c:pt>
                <c:pt idx="50162">
                  <c:v>-1.3445378151260399E-2</c:v>
                </c:pt>
                <c:pt idx="50163">
                  <c:v>-1.3445378151260399E-2</c:v>
                </c:pt>
                <c:pt idx="50164">
                  <c:v>-1.3445378151260399E-2</c:v>
                </c:pt>
                <c:pt idx="50165">
                  <c:v>-1.3445378151260399E-2</c:v>
                </c:pt>
                <c:pt idx="50166">
                  <c:v>-1.3445378151260399E-2</c:v>
                </c:pt>
                <c:pt idx="50167">
                  <c:v>-1.3445378151260399E-2</c:v>
                </c:pt>
                <c:pt idx="50168">
                  <c:v>-1.3445378151260399E-2</c:v>
                </c:pt>
                <c:pt idx="50169">
                  <c:v>-1.3445378151260399E-2</c:v>
                </c:pt>
                <c:pt idx="50170">
                  <c:v>-1.3445378151260399E-2</c:v>
                </c:pt>
                <c:pt idx="50171">
                  <c:v>-1.3445378151260399E-2</c:v>
                </c:pt>
                <c:pt idx="50172">
                  <c:v>-1.3445378151260399E-2</c:v>
                </c:pt>
                <c:pt idx="50173">
                  <c:v>-1.3445378151260399E-2</c:v>
                </c:pt>
                <c:pt idx="50174">
                  <c:v>-1.3445378151260399E-2</c:v>
                </c:pt>
                <c:pt idx="50175">
                  <c:v>-1.3445378151260399E-2</c:v>
                </c:pt>
                <c:pt idx="50176">
                  <c:v>-1.3445378151260399E-2</c:v>
                </c:pt>
                <c:pt idx="50177">
                  <c:v>-1.3445378151260399E-2</c:v>
                </c:pt>
                <c:pt idx="50178">
                  <c:v>-1.3445378151260399E-2</c:v>
                </c:pt>
                <c:pt idx="50179">
                  <c:v>-1.3445378151260399E-2</c:v>
                </c:pt>
                <c:pt idx="50180">
                  <c:v>-1.3445378151260399E-2</c:v>
                </c:pt>
                <c:pt idx="50181">
                  <c:v>-1.3445378151260399E-2</c:v>
                </c:pt>
                <c:pt idx="50182">
                  <c:v>-1.3445378151260399E-2</c:v>
                </c:pt>
                <c:pt idx="50183">
                  <c:v>-1.3445378151260399E-2</c:v>
                </c:pt>
                <c:pt idx="50184">
                  <c:v>-1.3445378151260399E-2</c:v>
                </c:pt>
                <c:pt idx="50185">
                  <c:v>-1.3445378151260399E-2</c:v>
                </c:pt>
                <c:pt idx="50186">
                  <c:v>-1.3445378151260399E-2</c:v>
                </c:pt>
                <c:pt idx="50187">
                  <c:v>-1.3445378151260399E-2</c:v>
                </c:pt>
                <c:pt idx="50188">
                  <c:v>-1.3445378151260399E-2</c:v>
                </c:pt>
                <c:pt idx="50189">
                  <c:v>-1.3445378151260399E-2</c:v>
                </c:pt>
                <c:pt idx="50190">
                  <c:v>-1.3445378151260399E-2</c:v>
                </c:pt>
                <c:pt idx="50191">
                  <c:v>-1.3445378151260399E-2</c:v>
                </c:pt>
                <c:pt idx="50192">
                  <c:v>-1.3445378151260399E-2</c:v>
                </c:pt>
                <c:pt idx="50193">
                  <c:v>-1.3445378151260399E-2</c:v>
                </c:pt>
                <c:pt idx="50194">
                  <c:v>-1.3445378151260399E-2</c:v>
                </c:pt>
                <c:pt idx="50195">
                  <c:v>-1.3445378151260399E-2</c:v>
                </c:pt>
                <c:pt idx="50196">
                  <c:v>-1.3445378151260399E-2</c:v>
                </c:pt>
                <c:pt idx="50197">
                  <c:v>-1.3445378151260399E-2</c:v>
                </c:pt>
                <c:pt idx="50198">
                  <c:v>-1.3445378151260399E-2</c:v>
                </c:pt>
                <c:pt idx="50199">
                  <c:v>-1.3445378151260399E-2</c:v>
                </c:pt>
                <c:pt idx="50200">
                  <c:v>-1.3445378151260399E-2</c:v>
                </c:pt>
                <c:pt idx="50201">
                  <c:v>-1.3445378151260399E-2</c:v>
                </c:pt>
                <c:pt idx="50202">
                  <c:v>-1.3445378151260399E-2</c:v>
                </c:pt>
                <c:pt idx="50203">
                  <c:v>-1.3445378151260399E-2</c:v>
                </c:pt>
                <c:pt idx="50204">
                  <c:v>-1.3445378151260399E-2</c:v>
                </c:pt>
                <c:pt idx="50205">
                  <c:v>-1.3445378151260399E-2</c:v>
                </c:pt>
                <c:pt idx="50206">
                  <c:v>-1.3445378151260399E-2</c:v>
                </c:pt>
                <c:pt idx="50207">
                  <c:v>-1.3445378151260399E-2</c:v>
                </c:pt>
                <c:pt idx="50208">
                  <c:v>-1.3445378151260399E-2</c:v>
                </c:pt>
                <c:pt idx="50209">
                  <c:v>-1.3445378151260399E-2</c:v>
                </c:pt>
                <c:pt idx="50210">
                  <c:v>-1.3445378151260399E-2</c:v>
                </c:pt>
                <c:pt idx="50211">
                  <c:v>-1.3445378151260399E-2</c:v>
                </c:pt>
                <c:pt idx="50212">
                  <c:v>-1.3445378151260399E-2</c:v>
                </c:pt>
                <c:pt idx="50213">
                  <c:v>-1.3445378151260399E-2</c:v>
                </c:pt>
                <c:pt idx="50214">
                  <c:v>-1.3445378151260399E-2</c:v>
                </c:pt>
                <c:pt idx="50215">
                  <c:v>-1.3445378151260399E-2</c:v>
                </c:pt>
                <c:pt idx="50216">
                  <c:v>-1.3445378151260399E-2</c:v>
                </c:pt>
                <c:pt idx="50217">
                  <c:v>-1.3445378151260399E-2</c:v>
                </c:pt>
                <c:pt idx="50218">
                  <c:v>-1.3445378151260399E-2</c:v>
                </c:pt>
                <c:pt idx="50219">
                  <c:v>-1.3445378151260399E-2</c:v>
                </c:pt>
                <c:pt idx="50220">
                  <c:v>-1.3445378151260399E-2</c:v>
                </c:pt>
                <c:pt idx="50221">
                  <c:v>-1.3445378151260399E-2</c:v>
                </c:pt>
                <c:pt idx="50222">
                  <c:v>-1.3445378151260399E-2</c:v>
                </c:pt>
                <c:pt idx="50223">
                  <c:v>-1.3445378151260399E-2</c:v>
                </c:pt>
                <c:pt idx="50224">
                  <c:v>-1.3445378151260399E-2</c:v>
                </c:pt>
                <c:pt idx="50225">
                  <c:v>-1.3445378151260399E-2</c:v>
                </c:pt>
                <c:pt idx="50226">
                  <c:v>-1.3445378151260399E-2</c:v>
                </c:pt>
                <c:pt idx="50227">
                  <c:v>-1.3445378151260399E-2</c:v>
                </c:pt>
                <c:pt idx="50228">
                  <c:v>-1.3445378151260399E-2</c:v>
                </c:pt>
                <c:pt idx="50229">
                  <c:v>-1.3445378151260399E-2</c:v>
                </c:pt>
                <c:pt idx="50230">
                  <c:v>-1.3445378151260399E-2</c:v>
                </c:pt>
                <c:pt idx="50231">
                  <c:v>-1.3445378151260399E-2</c:v>
                </c:pt>
                <c:pt idx="50232">
                  <c:v>-1.3445378151260399E-2</c:v>
                </c:pt>
                <c:pt idx="50233">
                  <c:v>-1.3445378151260399E-2</c:v>
                </c:pt>
                <c:pt idx="50234">
                  <c:v>-1.3445378151260399E-2</c:v>
                </c:pt>
                <c:pt idx="50235">
                  <c:v>-1.3445378151260399E-2</c:v>
                </c:pt>
                <c:pt idx="50236">
                  <c:v>-1.3445378151260399E-2</c:v>
                </c:pt>
                <c:pt idx="50237">
                  <c:v>-1.3445378151260399E-2</c:v>
                </c:pt>
                <c:pt idx="50238">
                  <c:v>-1.3445378151260399E-2</c:v>
                </c:pt>
                <c:pt idx="50239">
                  <c:v>-1.3445378151260399E-2</c:v>
                </c:pt>
                <c:pt idx="50240">
                  <c:v>-1.3445378151260399E-2</c:v>
                </c:pt>
                <c:pt idx="50241">
                  <c:v>-1.3445378151260399E-2</c:v>
                </c:pt>
                <c:pt idx="50242">
                  <c:v>-1.3445378151260399E-2</c:v>
                </c:pt>
                <c:pt idx="50243">
                  <c:v>-1.3445378151260399E-2</c:v>
                </c:pt>
                <c:pt idx="50244">
                  <c:v>-1.3445378151260399E-2</c:v>
                </c:pt>
                <c:pt idx="50245">
                  <c:v>-1.3445378151260399E-2</c:v>
                </c:pt>
                <c:pt idx="50246">
                  <c:v>-1.3445378151260399E-2</c:v>
                </c:pt>
                <c:pt idx="50247">
                  <c:v>-1.26050420168066E-2</c:v>
                </c:pt>
                <c:pt idx="50248">
                  <c:v>-1.26050420168066E-2</c:v>
                </c:pt>
                <c:pt idx="50249">
                  <c:v>-1.26050420168066E-2</c:v>
                </c:pt>
                <c:pt idx="50250">
                  <c:v>-1.26050420168066E-2</c:v>
                </c:pt>
                <c:pt idx="50251">
                  <c:v>-1.26050420168066E-2</c:v>
                </c:pt>
                <c:pt idx="50252">
                  <c:v>-1.26050420168066E-2</c:v>
                </c:pt>
                <c:pt idx="50253">
                  <c:v>-1.26050420168066E-2</c:v>
                </c:pt>
                <c:pt idx="50254">
                  <c:v>-1.26050420168066E-2</c:v>
                </c:pt>
                <c:pt idx="50255">
                  <c:v>-1.26050420168066E-2</c:v>
                </c:pt>
                <c:pt idx="50256">
                  <c:v>-1.26050420168066E-2</c:v>
                </c:pt>
                <c:pt idx="50257">
                  <c:v>-1.26050420168066E-2</c:v>
                </c:pt>
                <c:pt idx="50258">
                  <c:v>-1.26050420168066E-2</c:v>
                </c:pt>
                <c:pt idx="50259">
                  <c:v>-1.26050420168066E-2</c:v>
                </c:pt>
                <c:pt idx="50260">
                  <c:v>-1.26050420168066E-2</c:v>
                </c:pt>
                <c:pt idx="50261">
                  <c:v>-1.26050420168066E-2</c:v>
                </c:pt>
                <c:pt idx="50262">
                  <c:v>-1.26050420168066E-2</c:v>
                </c:pt>
                <c:pt idx="50263">
                  <c:v>-1.26050420168066E-2</c:v>
                </c:pt>
                <c:pt idx="50264">
                  <c:v>-1.26050420168066E-2</c:v>
                </c:pt>
                <c:pt idx="50265">
                  <c:v>-1.26050420168066E-2</c:v>
                </c:pt>
                <c:pt idx="50266">
                  <c:v>-1.26050420168066E-2</c:v>
                </c:pt>
                <c:pt idx="50267">
                  <c:v>-1.26050420168066E-2</c:v>
                </c:pt>
                <c:pt idx="50268">
                  <c:v>-1.26050420168066E-2</c:v>
                </c:pt>
                <c:pt idx="50269">
                  <c:v>-1.26050420168066E-2</c:v>
                </c:pt>
                <c:pt idx="50270">
                  <c:v>-1.26050420168066E-2</c:v>
                </c:pt>
                <c:pt idx="50271">
                  <c:v>-1.26050420168066E-2</c:v>
                </c:pt>
                <c:pt idx="50272">
                  <c:v>-1.26050420168066E-2</c:v>
                </c:pt>
                <c:pt idx="50273">
                  <c:v>-1.26050420168066E-2</c:v>
                </c:pt>
                <c:pt idx="50274">
                  <c:v>-1.26050420168066E-2</c:v>
                </c:pt>
                <c:pt idx="50275">
                  <c:v>-1.26050420168066E-2</c:v>
                </c:pt>
                <c:pt idx="50276">
                  <c:v>-1.26050420168066E-2</c:v>
                </c:pt>
                <c:pt idx="50277">
                  <c:v>-1.26050420168066E-2</c:v>
                </c:pt>
                <c:pt idx="50278">
                  <c:v>-1.26050420168066E-2</c:v>
                </c:pt>
                <c:pt idx="50279">
                  <c:v>-1.26050420168066E-2</c:v>
                </c:pt>
                <c:pt idx="50280">
                  <c:v>-1.26050420168066E-2</c:v>
                </c:pt>
                <c:pt idx="50281">
                  <c:v>-1.26050420168066E-2</c:v>
                </c:pt>
                <c:pt idx="50282">
                  <c:v>-1.26050420168066E-2</c:v>
                </c:pt>
                <c:pt idx="50283">
                  <c:v>-1.26050420168066E-2</c:v>
                </c:pt>
                <c:pt idx="50284">
                  <c:v>-1.26050420168066E-2</c:v>
                </c:pt>
                <c:pt idx="50285">
                  <c:v>-1.26050420168066E-2</c:v>
                </c:pt>
                <c:pt idx="50286">
                  <c:v>-1.26050420168066E-2</c:v>
                </c:pt>
                <c:pt idx="50287">
                  <c:v>-1.26050420168066E-2</c:v>
                </c:pt>
                <c:pt idx="50288">
                  <c:v>-1.26050420168066E-2</c:v>
                </c:pt>
                <c:pt idx="50289">
                  <c:v>-1.26050420168066E-2</c:v>
                </c:pt>
                <c:pt idx="50290">
                  <c:v>-1.26050420168066E-2</c:v>
                </c:pt>
                <c:pt idx="50291">
                  <c:v>-1.26050420168066E-2</c:v>
                </c:pt>
                <c:pt idx="50292">
                  <c:v>-1.26050420168066E-2</c:v>
                </c:pt>
                <c:pt idx="50293">
                  <c:v>-1.26050420168066E-2</c:v>
                </c:pt>
                <c:pt idx="50294">
                  <c:v>-1.26050420168066E-2</c:v>
                </c:pt>
                <c:pt idx="50295">
                  <c:v>-1.26050420168066E-2</c:v>
                </c:pt>
                <c:pt idx="50296">
                  <c:v>-1.26050420168066E-2</c:v>
                </c:pt>
                <c:pt idx="50297">
                  <c:v>-1.26050420168066E-2</c:v>
                </c:pt>
                <c:pt idx="50298">
                  <c:v>-1.26050420168066E-2</c:v>
                </c:pt>
                <c:pt idx="50299">
                  <c:v>-1.26050420168066E-2</c:v>
                </c:pt>
                <c:pt idx="50300">
                  <c:v>-1.26050420168066E-2</c:v>
                </c:pt>
                <c:pt idx="50301">
                  <c:v>-1.26050420168066E-2</c:v>
                </c:pt>
                <c:pt idx="50302">
                  <c:v>-1.26050420168066E-2</c:v>
                </c:pt>
                <c:pt idx="50303">
                  <c:v>-1.26050420168066E-2</c:v>
                </c:pt>
                <c:pt idx="50304">
                  <c:v>-1.26050420168066E-2</c:v>
                </c:pt>
                <c:pt idx="50305">
                  <c:v>-1.26050420168066E-2</c:v>
                </c:pt>
                <c:pt idx="50306">
                  <c:v>-1.26050420168066E-2</c:v>
                </c:pt>
                <c:pt idx="50307">
                  <c:v>-1.26050420168066E-2</c:v>
                </c:pt>
                <c:pt idx="50308">
                  <c:v>-1.26050420168066E-2</c:v>
                </c:pt>
                <c:pt idx="50309">
                  <c:v>-1.26050420168066E-2</c:v>
                </c:pt>
                <c:pt idx="50310">
                  <c:v>-1.26050420168066E-2</c:v>
                </c:pt>
                <c:pt idx="50311">
                  <c:v>-1.26050420168066E-2</c:v>
                </c:pt>
                <c:pt idx="50312">
                  <c:v>-1.26050420168066E-2</c:v>
                </c:pt>
                <c:pt idx="50313">
                  <c:v>-1.26050420168066E-2</c:v>
                </c:pt>
                <c:pt idx="50314">
                  <c:v>-1.26050420168066E-2</c:v>
                </c:pt>
                <c:pt idx="50315">
                  <c:v>-1.26050420168066E-2</c:v>
                </c:pt>
                <c:pt idx="50316">
                  <c:v>-1.26050420168066E-2</c:v>
                </c:pt>
                <c:pt idx="50317">
                  <c:v>-1.26050420168066E-2</c:v>
                </c:pt>
                <c:pt idx="50318">
                  <c:v>-1.26050420168066E-2</c:v>
                </c:pt>
                <c:pt idx="50319">
                  <c:v>-1.26050420168066E-2</c:v>
                </c:pt>
                <c:pt idx="50320">
                  <c:v>-1.26050420168066E-2</c:v>
                </c:pt>
                <c:pt idx="50321">
                  <c:v>-1.26050420168066E-2</c:v>
                </c:pt>
                <c:pt idx="50322">
                  <c:v>-1.26050420168066E-2</c:v>
                </c:pt>
                <c:pt idx="50323">
                  <c:v>-1.26050420168066E-2</c:v>
                </c:pt>
                <c:pt idx="50324">
                  <c:v>-1.26050420168066E-2</c:v>
                </c:pt>
                <c:pt idx="50325">
                  <c:v>-1.26050420168066E-2</c:v>
                </c:pt>
                <c:pt idx="50326">
                  <c:v>-1.26050420168066E-2</c:v>
                </c:pt>
                <c:pt idx="50327">
                  <c:v>-1.26050420168066E-2</c:v>
                </c:pt>
                <c:pt idx="50328">
                  <c:v>-1.26050420168066E-2</c:v>
                </c:pt>
                <c:pt idx="50329">
                  <c:v>-1.26050420168066E-2</c:v>
                </c:pt>
                <c:pt idx="50330">
                  <c:v>-1.26050420168066E-2</c:v>
                </c:pt>
                <c:pt idx="50331">
                  <c:v>-1.26050420168066E-2</c:v>
                </c:pt>
                <c:pt idx="50332">
                  <c:v>-1.26050420168066E-2</c:v>
                </c:pt>
                <c:pt idx="50333">
                  <c:v>-1.26050420168066E-2</c:v>
                </c:pt>
                <c:pt idx="50334">
                  <c:v>-1.26050420168066E-2</c:v>
                </c:pt>
                <c:pt idx="50335">
                  <c:v>-1.26050420168066E-2</c:v>
                </c:pt>
                <c:pt idx="50336">
                  <c:v>-1.26050420168066E-2</c:v>
                </c:pt>
                <c:pt idx="50337">
                  <c:v>-1.26050420168066E-2</c:v>
                </c:pt>
                <c:pt idx="50338">
                  <c:v>-1.26050420168066E-2</c:v>
                </c:pt>
                <c:pt idx="50339">
                  <c:v>-1.26050420168066E-2</c:v>
                </c:pt>
                <c:pt idx="50340">
                  <c:v>-1.26050420168066E-2</c:v>
                </c:pt>
                <c:pt idx="50341">
                  <c:v>-1.26050420168066E-2</c:v>
                </c:pt>
                <c:pt idx="50342">
                  <c:v>-1.26050420168066E-2</c:v>
                </c:pt>
                <c:pt idx="50343">
                  <c:v>-1.26050420168066E-2</c:v>
                </c:pt>
                <c:pt idx="50344">
                  <c:v>-1.26050420168066E-2</c:v>
                </c:pt>
                <c:pt idx="50345">
                  <c:v>-1.26050420168066E-2</c:v>
                </c:pt>
                <c:pt idx="50346">
                  <c:v>-1.26050420168066E-2</c:v>
                </c:pt>
                <c:pt idx="50347">
                  <c:v>-1.26050420168066E-2</c:v>
                </c:pt>
                <c:pt idx="50348">
                  <c:v>-1.26050420168066E-2</c:v>
                </c:pt>
                <c:pt idx="50349">
                  <c:v>-1.26050420168066E-2</c:v>
                </c:pt>
                <c:pt idx="50350">
                  <c:v>-1.26050420168066E-2</c:v>
                </c:pt>
                <c:pt idx="50351">
                  <c:v>-1.26050420168066E-2</c:v>
                </c:pt>
                <c:pt idx="50352">
                  <c:v>-1.26050420168066E-2</c:v>
                </c:pt>
                <c:pt idx="50353">
                  <c:v>-1.26050420168066E-2</c:v>
                </c:pt>
                <c:pt idx="50354">
                  <c:v>-1.26050420168066E-2</c:v>
                </c:pt>
                <c:pt idx="50355">
                  <c:v>-1.26050420168066E-2</c:v>
                </c:pt>
                <c:pt idx="50356">
                  <c:v>-1.26050420168066E-2</c:v>
                </c:pt>
                <c:pt idx="50357">
                  <c:v>-1.26050420168066E-2</c:v>
                </c:pt>
                <c:pt idx="50358">
                  <c:v>-1.26050420168066E-2</c:v>
                </c:pt>
                <c:pt idx="50359">
                  <c:v>-1.26050420168066E-2</c:v>
                </c:pt>
                <c:pt idx="50360">
                  <c:v>-1.26050420168066E-2</c:v>
                </c:pt>
                <c:pt idx="50361">
                  <c:v>-1.26050420168066E-2</c:v>
                </c:pt>
                <c:pt idx="50362">
                  <c:v>-1.26050420168066E-2</c:v>
                </c:pt>
                <c:pt idx="50363">
                  <c:v>-1.26050420168066E-2</c:v>
                </c:pt>
                <c:pt idx="50364">
                  <c:v>-1.26050420168066E-2</c:v>
                </c:pt>
                <c:pt idx="50365">
                  <c:v>-1.26050420168066E-2</c:v>
                </c:pt>
                <c:pt idx="50366">
                  <c:v>-1.26050420168066E-2</c:v>
                </c:pt>
                <c:pt idx="50367">
                  <c:v>-1.26050420168066E-2</c:v>
                </c:pt>
                <c:pt idx="50368">
                  <c:v>-1.26050420168066E-2</c:v>
                </c:pt>
                <c:pt idx="50369">
                  <c:v>-1.26050420168066E-2</c:v>
                </c:pt>
                <c:pt idx="50370">
                  <c:v>-1.26050420168066E-2</c:v>
                </c:pt>
                <c:pt idx="50371">
                  <c:v>-1.26050420168066E-2</c:v>
                </c:pt>
                <c:pt idx="50372">
                  <c:v>-1.26050420168066E-2</c:v>
                </c:pt>
                <c:pt idx="50373">
                  <c:v>-1.26050420168066E-2</c:v>
                </c:pt>
                <c:pt idx="50374">
                  <c:v>-1.26050420168066E-2</c:v>
                </c:pt>
                <c:pt idx="50375">
                  <c:v>-1.26050420168066E-2</c:v>
                </c:pt>
                <c:pt idx="50376">
                  <c:v>-1.26050420168066E-2</c:v>
                </c:pt>
                <c:pt idx="50377">
                  <c:v>-1.26050420168066E-2</c:v>
                </c:pt>
                <c:pt idx="50378">
                  <c:v>-1.26050420168066E-2</c:v>
                </c:pt>
                <c:pt idx="50379">
                  <c:v>-1.26050420168066E-2</c:v>
                </c:pt>
                <c:pt idx="50380">
                  <c:v>-1.26050420168066E-2</c:v>
                </c:pt>
                <c:pt idx="50381">
                  <c:v>-1.26050420168066E-2</c:v>
                </c:pt>
                <c:pt idx="50382">
                  <c:v>-1.26050420168066E-2</c:v>
                </c:pt>
                <c:pt idx="50383">
                  <c:v>-1.26050420168066E-2</c:v>
                </c:pt>
                <c:pt idx="50384">
                  <c:v>-1.26050420168066E-2</c:v>
                </c:pt>
                <c:pt idx="50385">
                  <c:v>-1.1764705882352899E-2</c:v>
                </c:pt>
                <c:pt idx="50386">
                  <c:v>-1.09243697478991E-2</c:v>
                </c:pt>
                <c:pt idx="50387">
                  <c:v>-1.09243697478991E-2</c:v>
                </c:pt>
                <c:pt idx="50388">
                  <c:v>-1.09243697478991E-2</c:v>
                </c:pt>
                <c:pt idx="50389">
                  <c:v>-1.09243697478991E-2</c:v>
                </c:pt>
                <c:pt idx="50390">
                  <c:v>-1.09243697478991E-2</c:v>
                </c:pt>
                <c:pt idx="50391">
                  <c:v>-1.09243697478991E-2</c:v>
                </c:pt>
                <c:pt idx="50392">
                  <c:v>-1.09243697478991E-2</c:v>
                </c:pt>
                <c:pt idx="50393">
                  <c:v>-1.09243697478991E-2</c:v>
                </c:pt>
                <c:pt idx="50394">
                  <c:v>-1.09243697478991E-2</c:v>
                </c:pt>
                <c:pt idx="50395">
                  <c:v>-1.09243697478991E-2</c:v>
                </c:pt>
                <c:pt idx="50396">
                  <c:v>-1.09243697478991E-2</c:v>
                </c:pt>
                <c:pt idx="50397">
                  <c:v>-1.0084033613445301E-2</c:v>
                </c:pt>
                <c:pt idx="50398">
                  <c:v>-1.0084033613445301E-2</c:v>
                </c:pt>
                <c:pt idx="50399">
                  <c:v>-1.0084033613445301E-2</c:v>
                </c:pt>
                <c:pt idx="50400">
                  <c:v>-1.0084033613445301E-2</c:v>
                </c:pt>
                <c:pt idx="50401">
                  <c:v>-1.0084033613445301E-2</c:v>
                </c:pt>
                <c:pt idx="50402">
                  <c:v>-1.0084033613445301E-2</c:v>
                </c:pt>
                <c:pt idx="50403">
                  <c:v>-1.0084033613445301E-2</c:v>
                </c:pt>
                <c:pt idx="50404">
                  <c:v>-1.0084033613445301E-2</c:v>
                </c:pt>
                <c:pt idx="50405">
                  <c:v>-1.0084033613445301E-2</c:v>
                </c:pt>
                <c:pt idx="50406">
                  <c:v>-1.0084033613445301E-2</c:v>
                </c:pt>
                <c:pt idx="50407">
                  <c:v>-1.0084033613445301E-2</c:v>
                </c:pt>
                <c:pt idx="50408">
                  <c:v>-9.2436974789915603E-3</c:v>
                </c:pt>
                <c:pt idx="50409">
                  <c:v>-9.2436974789915603E-3</c:v>
                </c:pt>
                <c:pt idx="50410">
                  <c:v>-9.2436974789915603E-3</c:v>
                </c:pt>
                <c:pt idx="50411">
                  <c:v>-9.2436974789915603E-3</c:v>
                </c:pt>
                <c:pt idx="50412">
                  <c:v>-9.2436974789915603E-3</c:v>
                </c:pt>
                <c:pt idx="50413">
                  <c:v>-9.2436974789915603E-3</c:v>
                </c:pt>
                <c:pt idx="50414">
                  <c:v>-9.2436974789915603E-3</c:v>
                </c:pt>
                <c:pt idx="50415">
                  <c:v>-9.2436974789915603E-3</c:v>
                </c:pt>
                <c:pt idx="50416">
                  <c:v>-9.2436974789915603E-3</c:v>
                </c:pt>
                <c:pt idx="50417">
                  <c:v>-9.2436974789915603E-3</c:v>
                </c:pt>
                <c:pt idx="50418">
                  <c:v>-9.2436974789915603E-3</c:v>
                </c:pt>
                <c:pt idx="50419">
                  <c:v>-9.2436974789915603E-3</c:v>
                </c:pt>
                <c:pt idx="50420">
                  <c:v>-9.2436974789915603E-3</c:v>
                </c:pt>
                <c:pt idx="50421">
                  <c:v>-9.2436974789915603E-3</c:v>
                </c:pt>
                <c:pt idx="50422">
                  <c:v>-9.2436974789915603E-3</c:v>
                </c:pt>
                <c:pt idx="50423">
                  <c:v>-9.2436974789915603E-3</c:v>
                </c:pt>
                <c:pt idx="50424">
                  <c:v>-9.2436974789915603E-3</c:v>
                </c:pt>
                <c:pt idx="50425">
                  <c:v>-9.2436974789915603E-3</c:v>
                </c:pt>
                <c:pt idx="50426">
                  <c:v>-9.2436974789915603E-3</c:v>
                </c:pt>
                <c:pt idx="50427">
                  <c:v>-9.2436974789915603E-3</c:v>
                </c:pt>
                <c:pt idx="50428">
                  <c:v>-9.2436974789915603E-3</c:v>
                </c:pt>
                <c:pt idx="50429">
                  <c:v>-9.2436974789915603E-3</c:v>
                </c:pt>
                <c:pt idx="50430">
                  <c:v>-9.2436974789915603E-3</c:v>
                </c:pt>
                <c:pt idx="50431">
                  <c:v>-9.2436974789915603E-3</c:v>
                </c:pt>
                <c:pt idx="50432">
                  <c:v>-9.2436974789915603E-3</c:v>
                </c:pt>
                <c:pt idx="50433">
                  <c:v>-9.2436974789915603E-3</c:v>
                </c:pt>
                <c:pt idx="50434">
                  <c:v>-9.2436974789915603E-3</c:v>
                </c:pt>
                <c:pt idx="50435">
                  <c:v>-9.2436974789915603E-3</c:v>
                </c:pt>
                <c:pt idx="50436">
                  <c:v>-9.2436974789915603E-3</c:v>
                </c:pt>
                <c:pt idx="50437">
                  <c:v>-9.2436974789915603E-3</c:v>
                </c:pt>
                <c:pt idx="50438">
                  <c:v>-9.2436974789915603E-3</c:v>
                </c:pt>
                <c:pt idx="50439">
                  <c:v>-9.2436974789915603E-3</c:v>
                </c:pt>
                <c:pt idx="50440">
                  <c:v>-9.2436974789915603E-3</c:v>
                </c:pt>
                <c:pt idx="50441">
                  <c:v>-9.2436974789915603E-3</c:v>
                </c:pt>
                <c:pt idx="50442">
                  <c:v>-9.2436974789915603E-3</c:v>
                </c:pt>
                <c:pt idx="50443">
                  <c:v>-9.2436974789915603E-3</c:v>
                </c:pt>
                <c:pt idx="50444">
                  <c:v>-9.2436974789915603E-3</c:v>
                </c:pt>
                <c:pt idx="50445">
                  <c:v>-9.2436974789915603E-3</c:v>
                </c:pt>
                <c:pt idx="50446">
                  <c:v>-9.2436974789915603E-3</c:v>
                </c:pt>
                <c:pt idx="50447">
                  <c:v>-9.2436974789915603E-3</c:v>
                </c:pt>
                <c:pt idx="50448">
                  <c:v>-9.2436974789915603E-3</c:v>
                </c:pt>
                <c:pt idx="50449">
                  <c:v>-9.2436974789915603E-3</c:v>
                </c:pt>
                <c:pt idx="50450">
                  <c:v>-9.2436974789915603E-3</c:v>
                </c:pt>
                <c:pt idx="50451">
                  <c:v>-9.2436974789915603E-3</c:v>
                </c:pt>
                <c:pt idx="50452">
                  <c:v>-9.2436974789915603E-3</c:v>
                </c:pt>
                <c:pt idx="50453">
                  <c:v>-9.2436974789915603E-3</c:v>
                </c:pt>
                <c:pt idx="50454">
                  <c:v>-9.2436974789915603E-3</c:v>
                </c:pt>
                <c:pt idx="50455">
                  <c:v>-9.2436974789915603E-3</c:v>
                </c:pt>
                <c:pt idx="50456">
                  <c:v>-9.2436974789915603E-3</c:v>
                </c:pt>
                <c:pt idx="50457">
                  <c:v>-9.2436974789915603E-3</c:v>
                </c:pt>
                <c:pt idx="50458">
                  <c:v>-9.2436974789915603E-3</c:v>
                </c:pt>
                <c:pt idx="50459">
                  <c:v>-9.2436974789915603E-3</c:v>
                </c:pt>
                <c:pt idx="50460">
                  <c:v>-9.2436974789915603E-3</c:v>
                </c:pt>
                <c:pt idx="50461">
                  <c:v>-9.2436974789915603E-3</c:v>
                </c:pt>
                <c:pt idx="50462">
                  <c:v>-9.2436974789915603E-3</c:v>
                </c:pt>
                <c:pt idx="50463">
                  <c:v>-9.2436974789915603E-3</c:v>
                </c:pt>
                <c:pt idx="50464">
                  <c:v>-9.2436974789915603E-3</c:v>
                </c:pt>
                <c:pt idx="50465">
                  <c:v>-9.2436974789915603E-3</c:v>
                </c:pt>
                <c:pt idx="50466">
                  <c:v>-9.2436974789915603E-3</c:v>
                </c:pt>
                <c:pt idx="50467">
                  <c:v>-9.2436974789915603E-3</c:v>
                </c:pt>
                <c:pt idx="50468">
                  <c:v>-9.2436974789915603E-3</c:v>
                </c:pt>
                <c:pt idx="50469">
                  <c:v>-9.2436974789915603E-3</c:v>
                </c:pt>
                <c:pt idx="50470">
                  <c:v>-9.2436974789915603E-3</c:v>
                </c:pt>
                <c:pt idx="50471">
                  <c:v>-9.2436974789915603E-3</c:v>
                </c:pt>
                <c:pt idx="50472">
                  <c:v>-9.2436974789915603E-3</c:v>
                </c:pt>
                <c:pt idx="50473">
                  <c:v>-9.2436974789915603E-3</c:v>
                </c:pt>
                <c:pt idx="50474">
                  <c:v>-9.2436974789915603E-3</c:v>
                </c:pt>
                <c:pt idx="50475">
                  <c:v>-9.2436974789915603E-3</c:v>
                </c:pt>
                <c:pt idx="50476">
                  <c:v>-9.2436974789915603E-3</c:v>
                </c:pt>
                <c:pt idx="50477">
                  <c:v>-9.2436974789915603E-3</c:v>
                </c:pt>
                <c:pt idx="50478">
                  <c:v>-9.2436974789915603E-3</c:v>
                </c:pt>
                <c:pt idx="50479">
                  <c:v>-9.2436974789915603E-3</c:v>
                </c:pt>
                <c:pt idx="50480">
                  <c:v>-9.2436974789915603E-3</c:v>
                </c:pt>
                <c:pt idx="50481">
                  <c:v>-9.2436974789915603E-3</c:v>
                </c:pt>
                <c:pt idx="50482">
                  <c:v>-9.2436974789915603E-3</c:v>
                </c:pt>
                <c:pt idx="50483">
                  <c:v>-9.2436974789915603E-3</c:v>
                </c:pt>
                <c:pt idx="50484">
                  <c:v>-9.2436974789915603E-3</c:v>
                </c:pt>
                <c:pt idx="50485">
                  <c:v>-9.2436974789915603E-3</c:v>
                </c:pt>
                <c:pt idx="50486">
                  <c:v>-9.2436974789915603E-3</c:v>
                </c:pt>
                <c:pt idx="50487">
                  <c:v>-9.2436974789915603E-3</c:v>
                </c:pt>
                <c:pt idx="50488">
                  <c:v>-9.2436974789915603E-3</c:v>
                </c:pt>
                <c:pt idx="50489">
                  <c:v>-9.2436974789915603E-3</c:v>
                </c:pt>
                <c:pt idx="50490">
                  <c:v>-9.2436974789915603E-3</c:v>
                </c:pt>
                <c:pt idx="50491">
                  <c:v>-9.2436974789915603E-3</c:v>
                </c:pt>
                <c:pt idx="50492">
                  <c:v>-9.2436974789915603E-3</c:v>
                </c:pt>
                <c:pt idx="50493">
                  <c:v>-9.2436974789915603E-3</c:v>
                </c:pt>
                <c:pt idx="50494">
                  <c:v>-9.2436974789915603E-3</c:v>
                </c:pt>
                <c:pt idx="50495">
                  <c:v>-9.2436974789915603E-3</c:v>
                </c:pt>
                <c:pt idx="50496">
                  <c:v>-9.2436974789915603E-3</c:v>
                </c:pt>
                <c:pt idx="50497">
                  <c:v>-9.2436974789915603E-3</c:v>
                </c:pt>
                <c:pt idx="50498">
                  <c:v>-9.2436974789915603E-3</c:v>
                </c:pt>
                <c:pt idx="50499">
                  <c:v>-9.2436974789915603E-3</c:v>
                </c:pt>
                <c:pt idx="50500">
                  <c:v>-9.2436974789915603E-3</c:v>
                </c:pt>
                <c:pt idx="50501">
                  <c:v>-9.2436974789915603E-3</c:v>
                </c:pt>
                <c:pt idx="50502">
                  <c:v>-9.2436974789915603E-3</c:v>
                </c:pt>
                <c:pt idx="50503">
                  <c:v>-9.2436974789915603E-3</c:v>
                </c:pt>
                <c:pt idx="50504">
                  <c:v>-9.2436974789915603E-3</c:v>
                </c:pt>
                <c:pt idx="50505">
                  <c:v>-9.2436974789915603E-3</c:v>
                </c:pt>
                <c:pt idx="50506">
                  <c:v>-9.2436974789915603E-3</c:v>
                </c:pt>
                <c:pt idx="50507">
                  <c:v>-9.2436974789915603E-3</c:v>
                </c:pt>
                <c:pt idx="50508">
                  <c:v>-9.2436974789915603E-3</c:v>
                </c:pt>
                <c:pt idx="50509">
                  <c:v>-9.2436974789915603E-3</c:v>
                </c:pt>
                <c:pt idx="50510">
                  <c:v>-9.2436974789915603E-3</c:v>
                </c:pt>
                <c:pt idx="50511">
                  <c:v>-9.2436974789915603E-3</c:v>
                </c:pt>
                <c:pt idx="50512">
                  <c:v>-9.2436974789915603E-3</c:v>
                </c:pt>
                <c:pt idx="50513">
                  <c:v>-9.2436974789915603E-3</c:v>
                </c:pt>
                <c:pt idx="50514">
                  <c:v>-9.2436974789915603E-3</c:v>
                </c:pt>
                <c:pt idx="50515">
                  <c:v>-9.2436974789915603E-3</c:v>
                </c:pt>
                <c:pt idx="50516">
                  <c:v>-9.2436974789915603E-3</c:v>
                </c:pt>
                <c:pt idx="50517">
                  <c:v>-9.2436974789915603E-3</c:v>
                </c:pt>
                <c:pt idx="50518">
                  <c:v>-9.2436974789915603E-3</c:v>
                </c:pt>
                <c:pt idx="50519">
                  <c:v>-9.2436974789915603E-3</c:v>
                </c:pt>
                <c:pt idx="50520">
                  <c:v>-9.2436974789915603E-3</c:v>
                </c:pt>
                <c:pt idx="50521">
                  <c:v>-9.2436974789915603E-3</c:v>
                </c:pt>
                <c:pt idx="50522">
                  <c:v>-9.2436974789915603E-3</c:v>
                </c:pt>
                <c:pt idx="50523">
                  <c:v>-9.2436974789915603E-3</c:v>
                </c:pt>
                <c:pt idx="50524">
                  <c:v>-9.2436974789915603E-3</c:v>
                </c:pt>
                <c:pt idx="50525">
                  <c:v>-9.2436974789915603E-3</c:v>
                </c:pt>
                <c:pt idx="50526">
                  <c:v>-9.2436974789915603E-3</c:v>
                </c:pt>
                <c:pt idx="50527">
                  <c:v>-9.2436974789915603E-3</c:v>
                </c:pt>
                <c:pt idx="50528">
                  <c:v>-9.2436974789915603E-3</c:v>
                </c:pt>
                <c:pt idx="50529">
                  <c:v>-9.2436974789915603E-3</c:v>
                </c:pt>
                <c:pt idx="50530">
                  <c:v>-9.2436974789915603E-3</c:v>
                </c:pt>
                <c:pt idx="50531">
                  <c:v>-9.2436974789915603E-3</c:v>
                </c:pt>
                <c:pt idx="50532">
                  <c:v>-9.2436974789915603E-3</c:v>
                </c:pt>
                <c:pt idx="50533">
                  <c:v>-9.2436974789915603E-3</c:v>
                </c:pt>
                <c:pt idx="50534">
                  <c:v>-9.2436974789915603E-3</c:v>
                </c:pt>
                <c:pt idx="50535">
                  <c:v>-9.2436974789915603E-3</c:v>
                </c:pt>
                <c:pt idx="50536">
                  <c:v>-9.2436974789915603E-3</c:v>
                </c:pt>
                <c:pt idx="50537">
                  <c:v>-9.2436974789915603E-3</c:v>
                </c:pt>
                <c:pt idx="50538">
                  <c:v>-9.2436974789915603E-3</c:v>
                </c:pt>
                <c:pt idx="50539">
                  <c:v>-9.2436974789915603E-3</c:v>
                </c:pt>
                <c:pt idx="50540">
                  <c:v>-9.2436974789915603E-3</c:v>
                </c:pt>
                <c:pt idx="50541">
                  <c:v>-9.2436974789915603E-3</c:v>
                </c:pt>
                <c:pt idx="50542">
                  <c:v>-9.2436974789915603E-3</c:v>
                </c:pt>
                <c:pt idx="50543">
                  <c:v>-9.2436974789915603E-3</c:v>
                </c:pt>
                <c:pt idx="50544">
                  <c:v>-9.2436974789915603E-3</c:v>
                </c:pt>
                <c:pt idx="50545">
                  <c:v>-9.2436974789915603E-3</c:v>
                </c:pt>
                <c:pt idx="50546">
                  <c:v>-9.2436974789915603E-3</c:v>
                </c:pt>
                <c:pt idx="50547">
                  <c:v>-9.2436974789915603E-3</c:v>
                </c:pt>
                <c:pt idx="50548">
                  <c:v>-9.2436974789915603E-3</c:v>
                </c:pt>
                <c:pt idx="50549">
                  <c:v>-9.2436974789915603E-3</c:v>
                </c:pt>
                <c:pt idx="50550">
                  <c:v>-9.2436974789915603E-3</c:v>
                </c:pt>
                <c:pt idx="50551">
                  <c:v>-9.2436974789915603E-3</c:v>
                </c:pt>
                <c:pt idx="50552">
                  <c:v>-9.2436974789915603E-3</c:v>
                </c:pt>
                <c:pt idx="50553">
                  <c:v>-9.2436974789915603E-3</c:v>
                </c:pt>
                <c:pt idx="50554">
                  <c:v>-9.2436974789915603E-3</c:v>
                </c:pt>
                <c:pt idx="50555">
                  <c:v>-9.2436974789915603E-3</c:v>
                </c:pt>
                <c:pt idx="50556">
                  <c:v>-9.2436974789915603E-3</c:v>
                </c:pt>
                <c:pt idx="50557">
                  <c:v>-9.2436974789915603E-3</c:v>
                </c:pt>
                <c:pt idx="50558">
                  <c:v>-9.2436974789915603E-3</c:v>
                </c:pt>
                <c:pt idx="50559">
                  <c:v>-9.2436974789915603E-3</c:v>
                </c:pt>
                <c:pt idx="50560">
                  <c:v>-9.2436974789915603E-3</c:v>
                </c:pt>
                <c:pt idx="50561">
                  <c:v>-9.2436974789915603E-3</c:v>
                </c:pt>
                <c:pt idx="50562">
                  <c:v>-9.2436974789915603E-3</c:v>
                </c:pt>
                <c:pt idx="50563">
                  <c:v>-9.2436974789915603E-3</c:v>
                </c:pt>
                <c:pt idx="50564">
                  <c:v>-9.2436974789915603E-3</c:v>
                </c:pt>
                <c:pt idx="50565">
                  <c:v>-9.2436974789915603E-3</c:v>
                </c:pt>
                <c:pt idx="50566">
                  <c:v>-9.2436974789915603E-3</c:v>
                </c:pt>
                <c:pt idx="50567">
                  <c:v>-9.2436974789915603E-3</c:v>
                </c:pt>
                <c:pt idx="50568">
                  <c:v>-9.2436974789915603E-3</c:v>
                </c:pt>
                <c:pt idx="50569">
                  <c:v>-9.2436974789915603E-3</c:v>
                </c:pt>
                <c:pt idx="50570">
                  <c:v>-9.2436974789915603E-3</c:v>
                </c:pt>
                <c:pt idx="50571">
                  <c:v>-9.2436974789915603E-3</c:v>
                </c:pt>
                <c:pt idx="50572">
                  <c:v>-9.2436974789915603E-3</c:v>
                </c:pt>
                <c:pt idx="50573">
                  <c:v>-9.2436974789915603E-3</c:v>
                </c:pt>
                <c:pt idx="50574">
                  <c:v>-9.2436974789915603E-3</c:v>
                </c:pt>
                <c:pt idx="50575">
                  <c:v>-9.2436974789915603E-3</c:v>
                </c:pt>
                <c:pt idx="50576">
                  <c:v>-9.2436974789915603E-3</c:v>
                </c:pt>
                <c:pt idx="50577">
                  <c:v>-9.2436974789915603E-3</c:v>
                </c:pt>
                <c:pt idx="50578">
                  <c:v>-9.2436974789915603E-3</c:v>
                </c:pt>
                <c:pt idx="50579">
                  <c:v>-9.2436974789915603E-3</c:v>
                </c:pt>
                <c:pt idx="50580">
                  <c:v>-9.2436974789915603E-3</c:v>
                </c:pt>
                <c:pt idx="50581">
                  <c:v>-9.2436974789915603E-3</c:v>
                </c:pt>
                <c:pt idx="50582">
                  <c:v>-9.2436974789915603E-3</c:v>
                </c:pt>
                <c:pt idx="50583">
                  <c:v>-9.2436974789915603E-3</c:v>
                </c:pt>
                <c:pt idx="50584">
                  <c:v>-9.2436974789915603E-3</c:v>
                </c:pt>
                <c:pt idx="50585">
                  <c:v>-9.2436974789915603E-3</c:v>
                </c:pt>
                <c:pt idx="50586">
                  <c:v>-9.2436974789915603E-3</c:v>
                </c:pt>
                <c:pt idx="50587">
                  <c:v>-9.2436974789915603E-3</c:v>
                </c:pt>
                <c:pt idx="50588">
                  <c:v>-9.2436974789915603E-3</c:v>
                </c:pt>
                <c:pt idx="50589">
                  <c:v>-9.2436974789915603E-3</c:v>
                </c:pt>
                <c:pt idx="50590">
                  <c:v>-9.2436974789915603E-3</c:v>
                </c:pt>
                <c:pt idx="50591">
                  <c:v>-9.2436974789915603E-3</c:v>
                </c:pt>
                <c:pt idx="50592">
                  <c:v>-9.2436974789915603E-3</c:v>
                </c:pt>
                <c:pt idx="50593">
                  <c:v>-9.2436974789915603E-3</c:v>
                </c:pt>
                <c:pt idx="50594">
                  <c:v>-9.2436974789915603E-3</c:v>
                </c:pt>
                <c:pt idx="50595">
                  <c:v>-9.2436974789915603E-3</c:v>
                </c:pt>
                <c:pt idx="50596">
                  <c:v>-9.2436974789915603E-3</c:v>
                </c:pt>
                <c:pt idx="50597">
                  <c:v>-9.2436974789915603E-3</c:v>
                </c:pt>
                <c:pt idx="50598">
                  <c:v>-9.2436974789915603E-3</c:v>
                </c:pt>
                <c:pt idx="50599">
                  <c:v>-9.2436974789915603E-3</c:v>
                </c:pt>
                <c:pt idx="50600">
                  <c:v>-9.2436974789915603E-3</c:v>
                </c:pt>
                <c:pt idx="50601">
                  <c:v>-9.2436974789915603E-3</c:v>
                </c:pt>
                <c:pt idx="50602">
                  <c:v>-9.2436974789915603E-3</c:v>
                </c:pt>
                <c:pt idx="50603">
                  <c:v>-9.2436974789915603E-3</c:v>
                </c:pt>
                <c:pt idx="50604">
                  <c:v>-9.2436974789915603E-3</c:v>
                </c:pt>
                <c:pt idx="50605">
                  <c:v>-9.2436974789915603E-3</c:v>
                </c:pt>
                <c:pt idx="50606">
                  <c:v>-9.2436974789915603E-3</c:v>
                </c:pt>
                <c:pt idx="50607">
                  <c:v>-9.2436974789915603E-3</c:v>
                </c:pt>
                <c:pt idx="50608">
                  <c:v>-9.2436974789915603E-3</c:v>
                </c:pt>
                <c:pt idx="50609">
                  <c:v>-9.2436974789915603E-3</c:v>
                </c:pt>
                <c:pt idx="50610">
                  <c:v>-9.2436974789915603E-3</c:v>
                </c:pt>
                <c:pt idx="50611">
                  <c:v>-9.2436974789915603E-3</c:v>
                </c:pt>
                <c:pt idx="50612">
                  <c:v>-9.2436974789915603E-3</c:v>
                </c:pt>
                <c:pt idx="50613">
                  <c:v>-9.2436974789915603E-3</c:v>
                </c:pt>
                <c:pt idx="50614">
                  <c:v>-9.2436974789915603E-3</c:v>
                </c:pt>
                <c:pt idx="50615">
                  <c:v>-9.2436974789915603E-3</c:v>
                </c:pt>
                <c:pt idx="50616">
                  <c:v>-9.2436974789915603E-3</c:v>
                </c:pt>
                <c:pt idx="50617">
                  <c:v>-9.2436974789915603E-3</c:v>
                </c:pt>
                <c:pt idx="50618">
                  <c:v>-9.2436974789915603E-3</c:v>
                </c:pt>
                <c:pt idx="50619">
                  <c:v>-9.2436974789915603E-3</c:v>
                </c:pt>
                <c:pt idx="50620">
                  <c:v>-9.2436974789915603E-3</c:v>
                </c:pt>
                <c:pt idx="50621">
                  <c:v>-9.2436974789915603E-3</c:v>
                </c:pt>
                <c:pt idx="50622">
                  <c:v>-9.2436974789915603E-3</c:v>
                </c:pt>
                <c:pt idx="50623">
                  <c:v>-9.2436974789915603E-3</c:v>
                </c:pt>
                <c:pt idx="50624">
                  <c:v>-9.2436974789915603E-3</c:v>
                </c:pt>
                <c:pt idx="50625">
                  <c:v>-9.2436974789915603E-3</c:v>
                </c:pt>
                <c:pt idx="50626">
                  <c:v>-9.2436974789915603E-3</c:v>
                </c:pt>
                <c:pt idx="50627">
                  <c:v>-9.2436974789915603E-3</c:v>
                </c:pt>
                <c:pt idx="50628">
                  <c:v>-9.2436974789915603E-3</c:v>
                </c:pt>
                <c:pt idx="50629">
                  <c:v>-9.2436974789915603E-3</c:v>
                </c:pt>
                <c:pt idx="50630">
                  <c:v>-9.2436974789915603E-3</c:v>
                </c:pt>
                <c:pt idx="50631">
                  <c:v>-9.2436974789915603E-3</c:v>
                </c:pt>
                <c:pt idx="50632">
                  <c:v>-9.2436974789915603E-3</c:v>
                </c:pt>
                <c:pt idx="50633">
                  <c:v>-9.2436974789915603E-3</c:v>
                </c:pt>
                <c:pt idx="50634">
                  <c:v>-9.2436974789915603E-3</c:v>
                </c:pt>
                <c:pt idx="50635">
                  <c:v>-9.2436974789915603E-3</c:v>
                </c:pt>
                <c:pt idx="50636">
                  <c:v>-9.2436974789915603E-3</c:v>
                </c:pt>
                <c:pt idx="50637">
                  <c:v>-9.2436974789915603E-3</c:v>
                </c:pt>
                <c:pt idx="50638">
                  <c:v>-9.2436974789915603E-3</c:v>
                </c:pt>
                <c:pt idx="50639">
                  <c:v>-9.2436974789915603E-3</c:v>
                </c:pt>
                <c:pt idx="50640">
                  <c:v>-9.2436974789915603E-3</c:v>
                </c:pt>
                <c:pt idx="50641">
                  <c:v>-9.2436974789915603E-3</c:v>
                </c:pt>
                <c:pt idx="50642">
                  <c:v>-9.2436974789915603E-3</c:v>
                </c:pt>
                <c:pt idx="50643">
                  <c:v>-9.2436974789915603E-3</c:v>
                </c:pt>
                <c:pt idx="50644">
                  <c:v>-9.2436974789915603E-3</c:v>
                </c:pt>
                <c:pt idx="50645">
                  <c:v>-9.2436974789915603E-3</c:v>
                </c:pt>
                <c:pt idx="50646">
                  <c:v>-9.2436974789915603E-3</c:v>
                </c:pt>
                <c:pt idx="50647">
                  <c:v>-9.2436974789915603E-3</c:v>
                </c:pt>
                <c:pt idx="50648">
                  <c:v>-9.2436974789915603E-3</c:v>
                </c:pt>
                <c:pt idx="50649">
                  <c:v>-9.2436974789915603E-3</c:v>
                </c:pt>
                <c:pt idx="50650">
                  <c:v>-9.2436974789915603E-3</c:v>
                </c:pt>
                <c:pt idx="50651">
                  <c:v>-9.2436974789915603E-3</c:v>
                </c:pt>
                <c:pt idx="50652">
                  <c:v>-9.2436974789915603E-3</c:v>
                </c:pt>
                <c:pt idx="50653">
                  <c:v>-9.2436974789915603E-3</c:v>
                </c:pt>
                <c:pt idx="50654">
                  <c:v>-9.2436974789915603E-3</c:v>
                </c:pt>
                <c:pt idx="50655">
                  <c:v>-9.2436974789915603E-3</c:v>
                </c:pt>
                <c:pt idx="50656">
                  <c:v>-9.2436974789915603E-3</c:v>
                </c:pt>
                <c:pt idx="50657">
                  <c:v>-9.2436974789915603E-3</c:v>
                </c:pt>
                <c:pt idx="50658">
                  <c:v>-9.2436974789915603E-3</c:v>
                </c:pt>
                <c:pt idx="50659">
                  <c:v>-9.2436974789915603E-3</c:v>
                </c:pt>
                <c:pt idx="50660">
                  <c:v>-9.2436974789915603E-3</c:v>
                </c:pt>
                <c:pt idx="50661">
                  <c:v>-9.2436974789915603E-3</c:v>
                </c:pt>
                <c:pt idx="50662">
                  <c:v>-9.2436974789915603E-3</c:v>
                </c:pt>
                <c:pt idx="50663">
                  <c:v>-9.2436974789915603E-3</c:v>
                </c:pt>
                <c:pt idx="50664">
                  <c:v>-9.2436974789915603E-3</c:v>
                </c:pt>
                <c:pt idx="50665">
                  <c:v>-9.2436974789915603E-3</c:v>
                </c:pt>
                <c:pt idx="50666">
                  <c:v>-9.2436974789915603E-3</c:v>
                </c:pt>
                <c:pt idx="50667">
                  <c:v>-9.2436974789915603E-3</c:v>
                </c:pt>
                <c:pt idx="50668">
                  <c:v>-9.2436974789915603E-3</c:v>
                </c:pt>
                <c:pt idx="50669">
                  <c:v>-9.2436974789915603E-3</c:v>
                </c:pt>
                <c:pt idx="50670">
                  <c:v>-9.2436974789915603E-3</c:v>
                </c:pt>
                <c:pt idx="50671">
                  <c:v>-9.2436974789915603E-3</c:v>
                </c:pt>
                <c:pt idx="50672">
                  <c:v>-9.2436974789915603E-3</c:v>
                </c:pt>
                <c:pt idx="50673">
                  <c:v>-9.2436974789915603E-3</c:v>
                </c:pt>
                <c:pt idx="50674">
                  <c:v>-9.2436974789915603E-3</c:v>
                </c:pt>
                <c:pt idx="50675">
                  <c:v>-9.2436974789915603E-3</c:v>
                </c:pt>
                <c:pt idx="50676">
                  <c:v>-9.2436974789915603E-3</c:v>
                </c:pt>
                <c:pt idx="50677">
                  <c:v>-9.2436974789915603E-3</c:v>
                </c:pt>
                <c:pt idx="50678">
                  <c:v>-9.2436974789915603E-3</c:v>
                </c:pt>
                <c:pt idx="50679">
                  <c:v>-9.2436974789915603E-3</c:v>
                </c:pt>
                <c:pt idx="50680">
                  <c:v>-9.2436974789915603E-3</c:v>
                </c:pt>
                <c:pt idx="50681">
                  <c:v>-9.2436974789915603E-3</c:v>
                </c:pt>
                <c:pt idx="50682">
                  <c:v>-9.2436974789915603E-3</c:v>
                </c:pt>
                <c:pt idx="50683">
                  <c:v>-9.2436974789915603E-3</c:v>
                </c:pt>
                <c:pt idx="50684">
                  <c:v>-9.2436974789915603E-3</c:v>
                </c:pt>
                <c:pt idx="50685">
                  <c:v>-9.2436974789915603E-3</c:v>
                </c:pt>
                <c:pt idx="50686">
                  <c:v>-9.2436974789915603E-3</c:v>
                </c:pt>
                <c:pt idx="50687">
                  <c:v>-9.2436974789915603E-3</c:v>
                </c:pt>
                <c:pt idx="50688">
                  <c:v>-9.2436974789915603E-3</c:v>
                </c:pt>
                <c:pt idx="50689">
                  <c:v>-9.2436974789915603E-3</c:v>
                </c:pt>
                <c:pt idx="50690">
                  <c:v>-9.2436974789915603E-3</c:v>
                </c:pt>
                <c:pt idx="50691">
                  <c:v>-9.2436974789915603E-3</c:v>
                </c:pt>
                <c:pt idx="50692">
                  <c:v>-9.2436974789915603E-3</c:v>
                </c:pt>
                <c:pt idx="50693">
                  <c:v>-9.2436974789915603E-3</c:v>
                </c:pt>
                <c:pt idx="50694">
                  <c:v>-9.2436974789915603E-3</c:v>
                </c:pt>
                <c:pt idx="50695">
                  <c:v>-9.2436974789915603E-3</c:v>
                </c:pt>
                <c:pt idx="50696">
                  <c:v>-9.2436974789915603E-3</c:v>
                </c:pt>
                <c:pt idx="50697">
                  <c:v>-9.2436974789915603E-3</c:v>
                </c:pt>
                <c:pt idx="50698">
                  <c:v>-9.2436974789915603E-3</c:v>
                </c:pt>
                <c:pt idx="50699">
                  <c:v>-9.2436974789915603E-3</c:v>
                </c:pt>
                <c:pt idx="50700">
                  <c:v>-9.2436974789915603E-3</c:v>
                </c:pt>
                <c:pt idx="50701">
                  <c:v>-9.2436974789915603E-3</c:v>
                </c:pt>
                <c:pt idx="50702">
                  <c:v>-9.2436974789915603E-3</c:v>
                </c:pt>
                <c:pt idx="50703">
                  <c:v>-9.2436974789915603E-3</c:v>
                </c:pt>
                <c:pt idx="50704">
                  <c:v>-9.2436974789915603E-3</c:v>
                </c:pt>
                <c:pt idx="50705">
                  <c:v>-9.2436974789915603E-3</c:v>
                </c:pt>
                <c:pt idx="50706">
                  <c:v>-9.2436974789915603E-3</c:v>
                </c:pt>
                <c:pt idx="50707">
                  <c:v>-9.2436974789915603E-3</c:v>
                </c:pt>
                <c:pt idx="50708">
                  <c:v>-9.2436974789915603E-3</c:v>
                </c:pt>
                <c:pt idx="50709">
                  <c:v>-9.2436974789915603E-3</c:v>
                </c:pt>
                <c:pt idx="50710">
                  <c:v>-9.2436974789915603E-3</c:v>
                </c:pt>
                <c:pt idx="50711">
                  <c:v>-9.2436974789915603E-3</c:v>
                </c:pt>
                <c:pt idx="50712">
                  <c:v>-9.2436974789915603E-3</c:v>
                </c:pt>
                <c:pt idx="50713">
                  <c:v>-9.2436974789915603E-3</c:v>
                </c:pt>
                <c:pt idx="50714">
                  <c:v>-9.2436974789915603E-3</c:v>
                </c:pt>
                <c:pt idx="50715">
                  <c:v>-9.2436974789915603E-3</c:v>
                </c:pt>
                <c:pt idx="50716">
                  <c:v>-9.2436974789915603E-3</c:v>
                </c:pt>
                <c:pt idx="50717">
                  <c:v>-9.2436974789915603E-3</c:v>
                </c:pt>
                <c:pt idx="50718">
                  <c:v>-9.2436974789915603E-3</c:v>
                </c:pt>
                <c:pt idx="50719">
                  <c:v>-9.2436974789915603E-3</c:v>
                </c:pt>
                <c:pt idx="50720">
                  <c:v>-9.2436974789915603E-3</c:v>
                </c:pt>
                <c:pt idx="50721">
                  <c:v>-9.2436974789915603E-3</c:v>
                </c:pt>
                <c:pt idx="50722">
                  <c:v>-9.2436974789915603E-3</c:v>
                </c:pt>
                <c:pt idx="50723">
                  <c:v>-9.2436974789915603E-3</c:v>
                </c:pt>
                <c:pt idx="50724">
                  <c:v>-9.2436974789915603E-3</c:v>
                </c:pt>
                <c:pt idx="50725">
                  <c:v>-9.2436974789915603E-3</c:v>
                </c:pt>
                <c:pt idx="50726">
                  <c:v>-9.2436974789915603E-3</c:v>
                </c:pt>
                <c:pt idx="50727">
                  <c:v>-9.2436974789915603E-3</c:v>
                </c:pt>
                <c:pt idx="50728">
                  <c:v>-9.2436974789915603E-3</c:v>
                </c:pt>
                <c:pt idx="50729">
                  <c:v>-9.2436974789915603E-3</c:v>
                </c:pt>
                <c:pt idx="50730">
                  <c:v>-9.2436974789915603E-3</c:v>
                </c:pt>
                <c:pt idx="50731">
                  <c:v>-9.2436974789915603E-3</c:v>
                </c:pt>
                <c:pt idx="50732">
                  <c:v>-9.2436974789915603E-3</c:v>
                </c:pt>
                <c:pt idx="50733">
                  <c:v>-9.2436974789915603E-3</c:v>
                </c:pt>
                <c:pt idx="50734">
                  <c:v>-9.2436974789915603E-3</c:v>
                </c:pt>
                <c:pt idx="50735">
                  <c:v>-9.2436974789915603E-3</c:v>
                </c:pt>
                <c:pt idx="50736">
                  <c:v>-9.2436974789915603E-3</c:v>
                </c:pt>
                <c:pt idx="50737">
                  <c:v>-9.2436974789915603E-3</c:v>
                </c:pt>
                <c:pt idx="50738">
                  <c:v>-9.2436974789915603E-3</c:v>
                </c:pt>
                <c:pt idx="50739">
                  <c:v>-9.2436974789915603E-3</c:v>
                </c:pt>
                <c:pt idx="50740">
                  <c:v>-9.2436974789915603E-3</c:v>
                </c:pt>
                <c:pt idx="50741">
                  <c:v>-9.2436974789915603E-3</c:v>
                </c:pt>
                <c:pt idx="50742">
                  <c:v>-9.2436974789915603E-3</c:v>
                </c:pt>
                <c:pt idx="50743">
                  <c:v>-9.2436974789915603E-3</c:v>
                </c:pt>
                <c:pt idx="50744">
                  <c:v>-9.2436974789915603E-3</c:v>
                </c:pt>
                <c:pt idx="50745">
                  <c:v>-9.2436974789915603E-3</c:v>
                </c:pt>
                <c:pt idx="50746">
                  <c:v>-9.2436974789915603E-3</c:v>
                </c:pt>
                <c:pt idx="50747">
                  <c:v>-9.2436974789915603E-3</c:v>
                </c:pt>
                <c:pt idx="50748">
                  <c:v>-9.2436974789915603E-3</c:v>
                </c:pt>
                <c:pt idx="50749">
                  <c:v>-9.2436974789915603E-3</c:v>
                </c:pt>
                <c:pt idx="50750">
                  <c:v>-9.2436974789915603E-3</c:v>
                </c:pt>
                <c:pt idx="50751">
                  <c:v>-9.2436974789915603E-3</c:v>
                </c:pt>
                <c:pt idx="50752">
                  <c:v>-9.2436974789915603E-3</c:v>
                </c:pt>
                <c:pt idx="50753">
                  <c:v>-9.2436974789915603E-3</c:v>
                </c:pt>
                <c:pt idx="50754">
                  <c:v>-9.2436974789915603E-3</c:v>
                </c:pt>
                <c:pt idx="50755">
                  <c:v>-9.2436974789915603E-3</c:v>
                </c:pt>
                <c:pt idx="50756">
                  <c:v>-9.2436974789915603E-3</c:v>
                </c:pt>
                <c:pt idx="50757">
                  <c:v>-9.2436974789915603E-3</c:v>
                </c:pt>
                <c:pt idx="50758">
                  <c:v>-9.2436974789915603E-3</c:v>
                </c:pt>
                <c:pt idx="50759">
                  <c:v>-9.2436974789915603E-3</c:v>
                </c:pt>
                <c:pt idx="50760">
                  <c:v>-9.2436974789915603E-3</c:v>
                </c:pt>
                <c:pt idx="50761">
                  <c:v>-9.2436974789915603E-3</c:v>
                </c:pt>
                <c:pt idx="50762">
                  <c:v>-9.2436974789915603E-3</c:v>
                </c:pt>
                <c:pt idx="50763">
                  <c:v>-9.2436974789915603E-3</c:v>
                </c:pt>
                <c:pt idx="50764">
                  <c:v>-9.2436974789915603E-3</c:v>
                </c:pt>
                <c:pt idx="50765">
                  <c:v>-8.4033613445377801E-3</c:v>
                </c:pt>
                <c:pt idx="50766">
                  <c:v>-8.4033613445377801E-3</c:v>
                </c:pt>
                <c:pt idx="50767">
                  <c:v>-8.4033613445377801E-3</c:v>
                </c:pt>
                <c:pt idx="50768">
                  <c:v>-8.4033613445377801E-3</c:v>
                </c:pt>
                <c:pt idx="50769">
                  <c:v>-8.4033613445377801E-3</c:v>
                </c:pt>
                <c:pt idx="50770">
                  <c:v>-8.4033613445377801E-3</c:v>
                </c:pt>
                <c:pt idx="50771">
                  <c:v>-8.4033613445377801E-3</c:v>
                </c:pt>
                <c:pt idx="50772">
                  <c:v>-8.4033613445377801E-3</c:v>
                </c:pt>
                <c:pt idx="50773">
                  <c:v>-8.4033613445377801E-3</c:v>
                </c:pt>
                <c:pt idx="50774">
                  <c:v>-8.4033613445377801E-3</c:v>
                </c:pt>
                <c:pt idx="50775">
                  <c:v>-8.4033613445377801E-3</c:v>
                </c:pt>
                <c:pt idx="50776">
                  <c:v>-8.4033613445377801E-3</c:v>
                </c:pt>
                <c:pt idx="50777">
                  <c:v>-8.4033613445377801E-3</c:v>
                </c:pt>
                <c:pt idx="50778">
                  <c:v>-8.4033613445377801E-3</c:v>
                </c:pt>
                <c:pt idx="50779">
                  <c:v>-7.5630252100839998E-3</c:v>
                </c:pt>
                <c:pt idx="50780">
                  <c:v>-7.5630252100839998E-3</c:v>
                </c:pt>
                <c:pt idx="50781">
                  <c:v>-7.5630252100839998E-3</c:v>
                </c:pt>
                <c:pt idx="50782">
                  <c:v>-7.5630252100839998E-3</c:v>
                </c:pt>
                <c:pt idx="50783">
                  <c:v>-7.5630252100839998E-3</c:v>
                </c:pt>
                <c:pt idx="50784">
                  <c:v>-7.5630252100839998E-3</c:v>
                </c:pt>
                <c:pt idx="50785">
                  <c:v>-7.5630252100839998E-3</c:v>
                </c:pt>
                <c:pt idx="50786">
                  <c:v>-7.5630252100839998E-3</c:v>
                </c:pt>
                <c:pt idx="50787">
                  <c:v>-7.5630252100839998E-3</c:v>
                </c:pt>
                <c:pt idx="50788">
                  <c:v>-7.5630252100839998E-3</c:v>
                </c:pt>
                <c:pt idx="50789">
                  <c:v>-7.5630252100839998E-3</c:v>
                </c:pt>
                <c:pt idx="50790">
                  <c:v>-7.5630252100839998E-3</c:v>
                </c:pt>
                <c:pt idx="50791">
                  <c:v>-7.5630252100839998E-3</c:v>
                </c:pt>
                <c:pt idx="50792">
                  <c:v>-7.5630252100839998E-3</c:v>
                </c:pt>
                <c:pt idx="50793">
                  <c:v>-7.5630252100839998E-3</c:v>
                </c:pt>
                <c:pt idx="50794">
                  <c:v>-7.5630252100839998E-3</c:v>
                </c:pt>
                <c:pt idx="50795">
                  <c:v>-7.5630252100839998E-3</c:v>
                </c:pt>
                <c:pt idx="50796">
                  <c:v>-7.5630252100839998E-3</c:v>
                </c:pt>
                <c:pt idx="50797">
                  <c:v>-7.5630252100839998E-3</c:v>
                </c:pt>
                <c:pt idx="50798">
                  <c:v>-7.5630252100839998E-3</c:v>
                </c:pt>
                <c:pt idx="50799">
                  <c:v>-7.5630252100839998E-3</c:v>
                </c:pt>
                <c:pt idx="50800">
                  <c:v>-7.5630252100839998E-3</c:v>
                </c:pt>
                <c:pt idx="50801">
                  <c:v>-7.5630252100839998E-3</c:v>
                </c:pt>
                <c:pt idx="50802">
                  <c:v>-7.5630252100839998E-3</c:v>
                </c:pt>
                <c:pt idx="50803">
                  <c:v>-7.5630252100839998E-3</c:v>
                </c:pt>
                <c:pt idx="50804">
                  <c:v>-7.5630252100839998E-3</c:v>
                </c:pt>
                <c:pt idx="50805">
                  <c:v>-7.5630252100839998E-3</c:v>
                </c:pt>
                <c:pt idx="50806">
                  <c:v>-7.5630252100839998E-3</c:v>
                </c:pt>
                <c:pt idx="50807">
                  <c:v>-7.5630252100839998E-3</c:v>
                </c:pt>
                <c:pt idx="50808">
                  <c:v>-7.5630252100839998E-3</c:v>
                </c:pt>
                <c:pt idx="50809">
                  <c:v>-7.5630252100839998E-3</c:v>
                </c:pt>
                <c:pt idx="50810">
                  <c:v>-7.5630252100839998E-3</c:v>
                </c:pt>
                <c:pt idx="50811">
                  <c:v>-7.5630252100839998E-3</c:v>
                </c:pt>
                <c:pt idx="50812">
                  <c:v>-7.5630252100839998E-3</c:v>
                </c:pt>
                <c:pt idx="50813">
                  <c:v>-7.5630252100839998E-3</c:v>
                </c:pt>
                <c:pt idx="50814">
                  <c:v>-7.5630252100839998E-3</c:v>
                </c:pt>
                <c:pt idx="50815">
                  <c:v>-7.5630252100839998E-3</c:v>
                </c:pt>
                <c:pt idx="50816">
                  <c:v>-7.5630252100839998E-3</c:v>
                </c:pt>
                <c:pt idx="50817">
                  <c:v>-7.5630252100839998E-3</c:v>
                </c:pt>
                <c:pt idx="50818">
                  <c:v>-7.5630252100839998E-3</c:v>
                </c:pt>
                <c:pt idx="50819">
                  <c:v>-7.5630252100839998E-3</c:v>
                </c:pt>
                <c:pt idx="50820">
                  <c:v>-7.5630252100839998E-3</c:v>
                </c:pt>
                <c:pt idx="50821">
                  <c:v>-7.5630252100839998E-3</c:v>
                </c:pt>
                <c:pt idx="50822">
                  <c:v>-7.5630252100839998E-3</c:v>
                </c:pt>
                <c:pt idx="50823">
                  <c:v>-7.5630252100839998E-3</c:v>
                </c:pt>
                <c:pt idx="50824">
                  <c:v>-7.5630252100839998E-3</c:v>
                </c:pt>
                <c:pt idx="50825">
                  <c:v>-7.5630252100839998E-3</c:v>
                </c:pt>
                <c:pt idx="50826">
                  <c:v>-7.5630252100839998E-3</c:v>
                </c:pt>
                <c:pt idx="50827">
                  <c:v>-7.5630252100839998E-3</c:v>
                </c:pt>
                <c:pt idx="50828">
                  <c:v>-7.5630252100839998E-3</c:v>
                </c:pt>
                <c:pt idx="50829">
                  <c:v>-7.5630252100839998E-3</c:v>
                </c:pt>
                <c:pt idx="50830">
                  <c:v>-7.5630252100839998E-3</c:v>
                </c:pt>
                <c:pt idx="50831">
                  <c:v>-7.5630252100839998E-3</c:v>
                </c:pt>
                <c:pt idx="50832">
                  <c:v>-7.5630252100839998E-3</c:v>
                </c:pt>
                <c:pt idx="50833">
                  <c:v>-7.5630252100839998E-3</c:v>
                </c:pt>
                <c:pt idx="50834">
                  <c:v>-7.5630252100839998E-3</c:v>
                </c:pt>
                <c:pt idx="50835">
                  <c:v>-7.5630252100839998E-3</c:v>
                </c:pt>
                <c:pt idx="50836">
                  <c:v>-7.5630252100839998E-3</c:v>
                </c:pt>
                <c:pt idx="50837">
                  <c:v>-7.5630252100839998E-3</c:v>
                </c:pt>
                <c:pt idx="50838">
                  <c:v>-7.5630252100839998E-3</c:v>
                </c:pt>
                <c:pt idx="50839">
                  <c:v>-7.5630252100839998E-3</c:v>
                </c:pt>
                <c:pt idx="50840">
                  <c:v>-7.5630252100839998E-3</c:v>
                </c:pt>
                <c:pt idx="50841">
                  <c:v>-7.5630252100839998E-3</c:v>
                </c:pt>
                <c:pt idx="50842">
                  <c:v>-7.5630252100839998E-3</c:v>
                </c:pt>
                <c:pt idx="50843">
                  <c:v>-7.5630252100839998E-3</c:v>
                </c:pt>
                <c:pt idx="50844">
                  <c:v>-7.5630252100839998E-3</c:v>
                </c:pt>
                <c:pt idx="50845">
                  <c:v>-7.5630252100839998E-3</c:v>
                </c:pt>
                <c:pt idx="50846">
                  <c:v>-7.5630252100839998E-3</c:v>
                </c:pt>
                <c:pt idx="50847">
                  <c:v>-7.5630252100839998E-3</c:v>
                </c:pt>
                <c:pt idx="50848">
                  <c:v>-7.5630252100839998E-3</c:v>
                </c:pt>
                <c:pt idx="50849">
                  <c:v>-7.5630252100839998E-3</c:v>
                </c:pt>
                <c:pt idx="50850">
                  <c:v>-7.5630252100839998E-3</c:v>
                </c:pt>
                <c:pt idx="50851">
                  <c:v>-7.5630252100839998E-3</c:v>
                </c:pt>
                <c:pt idx="50852">
                  <c:v>-7.5630252100839998E-3</c:v>
                </c:pt>
                <c:pt idx="50853">
                  <c:v>-7.5630252100839998E-3</c:v>
                </c:pt>
                <c:pt idx="50854">
                  <c:v>-7.5630252100839998E-3</c:v>
                </c:pt>
                <c:pt idx="50855">
                  <c:v>-7.5630252100839998E-3</c:v>
                </c:pt>
                <c:pt idx="50856">
                  <c:v>-7.5630252100839998E-3</c:v>
                </c:pt>
                <c:pt idx="50857">
                  <c:v>-7.5630252100839998E-3</c:v>
                </c:pt>
                <c:pt idx="50858">
                  <c:v>-7.5630252100839998E-3</c:v>
                </c:pt>
                <c:pt idx="50859">
                  <c:v>-7.5630252100839998E-3</c:v>
                </c:pt>
                <c:pt idx="50860">
                  <c:v>-7.5630252100839998E-3</c:v>
                </c:pt>
                <c:pt idx="50861">
                  <c:v>-7.5630252100839998E-3</c:v>
                </c:pt>
                <c:pt idx="50862">
                  <c:v>-7.5630252100839998E-3</c:v>
                </c:pt>
                <c:pt idx="50863">
                  <c:v>-7.5630252100839998E-3</c:v>
                </c:pt>
                <c:pt idx="50864">
                  <c:v>-7.5630252100839998E-3</c:v>
                </c:pt>
                <c:pt idx="50865">
                  <c:v>-7.5630252100839998E-3</c:v>
                </c:pt>
                <c:pt idx="50866">
                  <c:v>-7.5630252100839998E-3</c:v>
                </c:pt>
                <c:pt idx="50867">
                  <c:v>-7.5630252100839998E-3</c:v>
                </c:pt>
                <c:pt idx="50868">
                  <c:v>-7.5630252100839998E-3</c:v>
                </c:pt>
                <c:pt idx="50869">
                  <c:v>-7.5630252100839998E-3</c:v>
                </c:pt>
                <c:pt idx="50870">
                  <c:v>-7.5630252100839998E-3</c:v>
                </c:pt>
                <c:pt idx="50871">
                  <c:v>-7.5630252100839998E-3</c:v>
                </c:pt>
                <c:pt idx="50872">
                  <c:v>-7.5630252100839998E-3</c:v>
                </c:pt>
                <c:pt idx="50873">
                  <c:v>-7.5630252100839998E-3</c:v>
                </c:pt>
                <c:pt idx="50874">
                  <c:v>-7.5630252100839998E-3</c:v>
                </c:pt>
                <c:pt idx="50875">
                  <c:v>-7.5630252100839998E-3</c:v>
                </c:pt>
                <c:pt idx="50876">
                  <c:v>-7.5630252100839998E-3</c:v>
                </c:pt>
                <c:pt idx="50877">
                  <c:v>-7.5630252100839998E-3</c:v>
                </c:pt>
                <c:pt idx="50878">
                  <c:v>-7.5630252100839998E-3</c:v>
                </c:pt>
                <c:pt idx="50879">
                  <c:v>-7.5630252100839998E-3</c:v>
                </c:pt>
                <c:pt idx="50880">
                  <c:v>-7.5630252100839998E-3</c:v>
                </c:pt>
                <c:pt idx="50881">
                  <c:v>-7.5630252100839998E-3</c:v>
                </c:pt>
                <c:pt idx="50882">
                  <c:v>-6.7226890756302204E-3</c:v>
                </c:pt>
                <c:pt idx="50883">
                  <c:v>-6.7226890756302204E-3</c:v>
                </c:pt>
                <c:pt idx="50884">
                  <c:v>-6.7226890756302204E-3</c:v>
                </c:pt>
                <c:pt idx="50885">
                  <c:v>-6.7226890756302204E-3</c:v>
                </c:pt>
                <c:pt idx="50886">
                  <c:v>-6.7226890756302204E-3</c:v>
                </c:pt>
                <c:pt idx="50887">
                  <c:v>-6.7226890756302204E-3</c:v>
                </c:pt>
                <c:pt idx="50888">
                  <c:v>-6.7226890756302204E-3</c:v>
                </c:pt>
                <c:pt idx="50889">
                  <c:v>-6.7226890756302204E-3</c:v>
                </c:pt>
                <c:pt idx="50890">
                  <c:v>-6.7226890756302204E-3</c:v>
                </c:pt>
                <c:pt idx="50891">
                  <c:v>-6.7226890756302204E-3</c:v>
                </c:pt>
                <c:pt idx="50892">
                  <c:v>-6.7226890756302204E-3</c:v>
                </c:pt>
                <c:pt idx="50893">
                  <c:v>-6.7226890756302204E-3</c:v>
                </c:pt>
                <c:pt idx="50894">
                  <c:v>-6.7226890756302204E-3</c:v>
                </c:pt>
                <c:pt idx="50895">
                  <c:v>-6.7226890756302204E-3</c:v>
                </c:pt>
                <c:pt idx="50896">
                  <c:v>-6.7226890756302204E-3</c:v>
                </c:pt>
                <c:pt idx="50897">
                  <c:v>-6.7226890756302204E-3</c:v>
                </c:pt>
                <c:pt idx="50898">
                  <c:v>-6.7226890756302204E-3</c:v>
                </c:pt>
                <c:pt idx="50899">
                  <c:v>-6.7226890756302204E-3</c:v>
                </c:pt>
                <c:pt idx="50900">
                  <c:v>-6.7226890756302204E-3</c:v>
                </c:pt>
                <c:pt idx="50901">
                  <c:v>-6.7226890756302204E-3</c:v>
                </c:pt>
                <c:pt idx="50902">
                  <c:v>-6.7226890756302204E-3</c:v>
                </c:pt>
                <c:pt idx="50903">
                  <c:v>-6.7226890756302204E-3</c:v>
                </c:pt>
                <c:pt idx="50904">
                  <c:v>-6.7226890756302204E-3</c:v>
                </c:pt>
                <c:pt idx="50905">
                  <c:v>-6.7226890756302204E-3</c:v>
                </c:pt>
                <c:pt idx="50906">
                  <c:v>-6.7226890756302204E-3</c:v>
                </c:pt>
                <c:pt idx="50907">
                  <c:v>-6.7226890756302204E-3</c:v>
                </c:pt>
                <c:pt idx="50908">
                  <c:v>-6.7226890756302204E-3</c:v>
                </c:pt>
                <c:pt idx="50909">
                  <c:v>-6.7226890756302204E-3</c:v>
                </c:pt>
                <c:pt idx="50910">
                  <c:v>-6.7226890756302204E-3</c:v>
                </c:pt>
                <c:pt idx="50911">
                  <c:v>-6.7226890756302204E-3</c:v>
                </c:pt>
                <c:pt idx="50912">
                  <c:v>-6.7226890756302204E-3</c:v>
                </c:pt>
                <c:pt idx="50913">
                  <c:v>-6.7226890756302204E-3</c:v>
                </c:pt>
                <c:pt idx="50914">
                  <c:v>-6.7226890756302204E-3</c:v>
                </c:pt>
                <c:pt idx="50915">
                  <c:v>-6.7226890756302204E-3</c:v>
                </c:pt>
                <c:pt idx="50916">
                  <c:v>-6.7226890756302204E-3</c:v>
                </c:pt>
                <c:pt idx="50917">
                  <c:v>-6.7226890756302204E-3</c:v>
                </c:pt>
                <c:pt idx="50918">
                  <c:v>-6.7226890756302204E-3</c:v>
                </c:pt>
                <c:pt idx="50919">
                  <c:v>-6.7226890756302204E-3</c:v>
                </c:pt>
                <c:pt idx="50920">
                  <c:v>-6.7226890756302204E-3</c:v>
                </c:pt>
                <c:pt idx="50921">
                  <c:v>-6.7226890756302204E-3</c:v>
                </c:pt>
                <c:pt idx="50922">
                  <c:v>-6.7226890756302204E-3</c:v>
                </c:pt>
                <c:pt idx="50923">
                  <c:v>-6.7226890756302204E-3</c:v>
                </c:pt>
                <c:pt idx="50924">
                  <c:v>-6.7226890756302204E-3</c:v>
                </c:pt>
                <c:pt idx="50925">
                  <c:v>-6.7226890756302204E-3</c:v>
                </c:pt>
                <c:pt idx="50926">
                  <c:v>-6.7226890756302204E-3</c:v>
                </c:pt>
                <c:pt idx="50927">
                  <c:v>-6.7226890756302204E-3</c:v>
                </c:pt>
                <c:pt idx="50928">
                  <c:v>-6.7226890756302204E-3</c:v>
                </c:pt>
                <c:pt idx="50929">
                  <c:v>-6.7226890756302204E-3</c:v>
                </c:pt>
                <c:pt idx="50930">
                  <c:v>-6.7226890756302204E-3</c:v>
                </c:pt>
                <c:pt idx="50931">
                  <c:v>-6.7226890756302204E-3</c:v>
                </c:pt>
                <c:pt idx="50932">
                  <c:v>-6.7226890756302204E-3</c:v>
                </c:pt>
                <c:pt idx="50933">
                  <c:v>-6.7226890756302204E-3</c:v>
                </c:pt>
                <c:pt idx="50934">
                  <c:v>-6.7226890756302204E-3</c:v>
                </c:pt>
                <c:pt idx="50935">
                  <c:v>-6.7226890756302204E-3</c:v>
                </c:pt>
                <c:pt idx="50936">
                  <c:v>-6.7226890756302204E-3</c:v>
                </c:pt>
                <c:pt idx="50937">
                  <c:v>-6.7226890756302204E-3</c:v>
                </c:pt>
                <c:pt idx="50938">
                  <c:v>-6.7226890756302204E-3</c:v>
                </c:pt>
                <c:pt idx="50939">
                  <c:v>-6.7226890756302204E-3</c:v>
                </c:pt>
                <c:pt idx="50940">
                  <c:v>-6.7226890756302204E-3</c:v>
                </c:pt>
                <c:pt idx="50941">
                  <c:v>-6.7226890756302204E-3</c:v>
                </c:pt>
                <c:pt idx="50942">
                  <c:v>-6.7226890756302204E-3</c:v>
                </c:pt>
                <c:pt idx="50943">
                  <c:v>-6.7226890756302204E-3</c:v>
                </c:pt>
                <c:pt idx="50944">
                  <c:v>-6.7226890756302204E-3</c:v>
                </c:pt>
                <c:pt idx="50945">
                  <c:v>-6.7226890756302204E-3</c:v>
                </c:pt>
                <c:pt idx="50946">
                  <c:v>-6.7226890756302204E-3</c:v>
                </c:pt>
                <c:pt idx="50947">
                  <c:v>-6.7226890756302204E-3</c:v>
                </c:pt>
                <c:pt idx="50948">
                  <c:v>-6.7226890756302204E-3</c:v>
                </c:pt>
                <c:pt idx="50949">
                  <c:v>-6.7226890756302204E-3</c:v>
                </c:pt>
                <c:pt idx="50950">
                  <c:v>-6.7226890756302204E-3</c:v>
                </c:pt>
                <c:pt idx="50951">
                  <c:v>-6.7226890756302204E-3</c:v>
                </c:pt>
                <c:pt idx="50952">
                  <c:v>-6.7226890756302204E-3</c:v>
                </c:pt>
                <c:pt idx="50953">
                  <c:v>-6.7226890756302204E-3</c:v>
                </c:pt>
                <c:pt idx="50954">
                  <c:v>-6.7226890756302204E-3</c:v>
                </c:pt>
                <c:pt idx="50955">
                  <c:v>-6.7226890756302204E-3</c:v>
                </c:pt>
                <c:pt idx="50956">
                  <c:v>-6.7226890756302204E-3</c:v>
                </c:pt>
                <c:pt idx="50957">
                  <c:v>-6.7226890756302204E-3</c:v>
                </c:pt>
                <c:pt idx="50958">
                  <c:v>-6.7226890756302204E-3</c:v>
                </c:pt>
                <c:pt idx="50959">
                  <c:v>-6.7226890756302204E-3</c:v>
                </c:pt>
                <c:pt idx="50960">
                  <c:v>-6.7226890756302204E-3</c:v>
                </c:pt>
                <c:pt idx="50961">
                  <c:v>-6.7226890756302204E-3</c:v>
                </c:pt>
                <c:pt idx="50962">
                  <c:v>-6.7226890756302204E-3</c:v>
                </c:pt>
                <c:pt idx="50963">
                  <c:v>-6.7226890756302204E-3</c:v>
                </c:pt>
                <c:pt idx="50964">
                  <c:v>-6.7226890756302204E-3</c:v>
                </c:pt>
                <c:pt idx="50965">
                  <c:v>-6.7226890756302204E-3</c:v>
                </c:pt>
                <c:pt idx="50966">
                  <c:v>-6.7226890756302204E-3</c:v>
                </c:pt>
                <c:pt idx="50967">
                  <c:v>-6.7226890756302204E-3</c:v>
                </c:pt>
                <c:pt idx="50968">
                  <c:v>-6.7226890756302204E-3</c:v>
                </c:pt>
                <c:pt idx="50969">
                  <c:v>-6.7226890756302204E-3</c:v>
                </c:pt>
                <c:pt idx="50970">
                  <c:v>-6.7226890756302204E-3</c:v>
                </c:pt>
                <c:pt idx="50971">
                  <c:v>-6.7226890756302204E-3</c:v>
                </c:pt>
                <c:pt idx="50972">
                  <c:v>-6.7226890756302204E-3</c:v>
                </c:pt>
                <c:pt idx="50973">
                  <c:v>-6.7226890756302204E-3</c:v>
                </c:pt>
                <c:pt idx="50974">
                  <c:v>-6.7226890756302204E-3</c:v>
                </c:pt>
                <c:pt idx="50975">
                  <c:v>-6.7226890756302204E-3</c:v>
                </c:pt>
                <c:pt idx="50976">
                  <c:v>-6.7226890756302204E-3</c:v>
                </c:pt>
                <c:pt idx="50977">
                  <c:v>-6.7226890756302204E-3</c:v>
                </c:pt>
                <c:pt idx="50978">
                  <c:v>-6.7226890756302204E-3</c:v>
                </c:pt>
                <c:pt idx="50979">
                  <c:v>-6.7226890756302204E-3</c:v>
                </c:pt>
                <c:pt idx="50980">
                  <c:v>-6.7226890756302204E-3</c:v>
                </c:pt>
                <c:pt idx="50981">
                  <c:v>-6.7226890756302204E-3</c:v>
                </c:pt>
                <c:pt idx="50982">
                  <c:v>-6.7226890756302204E-3</c:v>
                </c:pt>
                <c:pt idx="50983">
                  <c:v>-6.7226890756302204E-3</c:v>
                </c:pt>
                <c:pt idx="50984">
                  <c:v>-6.7226890756302204E-3</c:v>
                </c:pt>
                <c:pt idx="50985">
                  <c:v>-6.7226890756302204E-3</c:v>
                </c:pt>
                <c:pt idx="50986">
                  <c:v>-6.7226890756302204E-3</c:v>
                </c:pt>
                <c:pt idx="50987">
                  <c:v>-6.7226890756302204E-3</c:v>
                </c:pt>
                <c:pt idx="50988">
                  <c:v>-6.7226890756302204E-3</c:v>
                </c:pt>
                <c:pt idx="50989">
                  <c:v>-6.7226890756302204E-3</c:v>
                </c:pt>
                <c:pt idx="50990">
                  <c:v>-6.7226890756302204E-3</c:v>
                </c:pt>
                <c:pt idx="50991">
                  <c:v>-6.7226890756302204E-3</c:v>
                </c:pt>
                <c:pt idx="50992">
                  <c:v>-6.7226890756302204E-3</c:v>
                </c:pt>
                <c:pt idx="50993">
                  <c:v>-6.7226890756302204E-3</c:v>
                </c:pt>
                <c:pt idx="50994">
                  <c:v>-6.7226890756302204E-3</c:v>
                </c:pt>
                <c:pt idx="50995">
                  <c:v>-6.7226890756302204E-3</c:v>
                </c:pt>
                <c:pt idx="50996">
                  <c:v>-6.7226890756302204E-3</c:v>
                </c:pt>
                <c:pt idx="50997">
                  <c:v>-6.7226890756302204E-3</c:v>
                </c:pt>
                <c:pt idx="50998">
                  <c:v>-6.7226890756302204E-3</c:v>
                </c:pt>
                <c:pt idx="50999">
                  <c:v>-6.7226890756302204E-3</c:v>
                </c:pt>
                <c:pt idx="51000">
                  <c:v>-6.7226890756302204E-3</c:v>
                </c:pt>
                <c:pt idx="51001">
                  <c:v>-6.7226890756302204E-3</c:v>
                </c:pt>
                <c:pt idx="51002">
                  <c:v>-6.7226890756302204E-3</c:v>
                </c:pt>
                <c:pt idx="51003">
                  <c:v>-6.7226890756302204E-3</c:v>
                </c:pt>
                <c:pt idx="51004">
                  <c:v>-6.7226890756302204E-3</c:v>
                </c:pt>
                <c:pt idx="51005">
                  <c:v>-6.7226890756302204E-3</c:v>
                </c:pt>
                <c:pt idx="51006">
                  <c:v>-6.7226890756302204E-3</c:v>
                </c:pt>
                <c:pt idx="51007">
                  <c:v>-6.7226890756302204E-3</c:v>
                </c:pt>
                <c:pt idx="51008">
                  <c:v>-6.7226890756302204E-3</c:v>
                </c:pt>
                <c:pt idx="51009">
                  <c:v>-6.7226890756302204E-3</c:v>
                </c:pt>
                <c:pt idx="51010">
                  <c:v>-6.7226890756302204E-3</c:v>
                </c:pt>
                <c:pt idx="51011">
                  <c:v>-6.7226890756302204E-3</c:v>
                </c:pt>
                <c:pt idx="51012">
                  <c:v>-6.7226890756302204E-3</c:v>
                </c:pt>
                <c:pt idx="51013">
                  <c:v>-6.7226890756302204E-3</c:v>
                </c:pt>
                <c:pt idx="51014">
                  <c:v>-6.7226890756302204E-3</c:v>
                </c:pt>
                <c:pt idx="51015">
                  <c:v>-6.7226890756302204E-3</c:v>
                </c:pt>
                <c:pt idx="51016">
                  <c:v>-6.7226890756302204E-3</c:v>
                </c:pt>
                <c:pt idx="51017">
                  <c:v>-6.7226890756302204E-3</c:v>
                </c:pt>
                <c:pt idx="51018">
                  <c:v>-6.7226890756302204E-3</c:v>
                </c:pt>
                <c:pt idx="51019">
                  <c:v>-6.7226890756302204E-3</c:v>
                </c:pt>
                <c:pt idx="51020">
                  <c:v>-6.7226890756302204E-3</c:v>
                </c:pt>
                <c:pt idx="51021">
                  <c:v>-6.7226890756302204E-3</c:v>
                </c:pt>
                <c:pt idx="51022">
                  <c:v>-6.7226890756302204E-3</c:v>
                </c:pt>
                <c:pt idx="51023">
                  <c:v>-6.7226890756302204E-3</c:v>
                </c:pt>
                <c:pt idx="51024">
                  <c:v>-6.7226890756302204E-3</c:v>
                </c:pt>
                <c:pt idx="51025">
                  <c:v>-6.7226890756302204E-3</c:v>
                </c:pt>
                <c:pt idx="51026">
                  <c:v>-6.7226890756302204E-3</c:v>
                </c:pt>
                <c:pt idx="51027">
                  <c:v>-6.7226890756302204E-3</c:v>
                </c:pt>
                <c:pt idx="51028">
                  <c:v>-6.7226890756302204E-3</c:v>
                </c:pt>
                <c:pt idx="51029">
                  <c:v>-6.7226890756302204E-3</c:v>
                </c:pt>
                <c:pt idx="51030">
                  <c:v>-6.7226890756302204E-3</c:v>
                </c:pt>
                <c:pt idx="51031">
                  <c:v>-6.7226890756302204E-3</c:v>
                </c:pt>
                <c:pt idx="51032">
                  <c:v>-6.7226890756302204E-3</c:v>
                </c:pt>
                <c:pt idx="51033">
                  <c:v>-6.7226890756302204E-3</c:v>
                </c:pt>
                <c:pt idx="51034">
                  <c:v>-6.7226890756302204E-3</c:v>
                </c:pt>
                <c:pt idx="51035">
                  <c:v>-6.7226890756302204E-3</c:v>
                </c:pt>
                <c:pt idx="51036">
                  <c:v>-6.7226890756302204E-3</c:v>
                </c:pt>
                <c:pt idx="51037">
                  <c:v>-6.7226890756302204E-3</c:v>
                </c:pt>
                <c:pt idx="51038">
                  <c:v>-6.7226890756302204E-3</c:v>
                </c:pt>
                <c:pt idx="51039">
                  <c:v>-6.7226890756302204E-3</c:v>
                </c:pt>
                <c:pt idx="51040">
                  <c:v>-6.7226890756302204E-3</c:v>
                </c:pt>
                <c:pt idx="51041">
                  <c:v>-6.7226890756302204E-3</c:v>
                </c:pt>
                <c:pt idx="51042">
                  <c:v>-6.7226890756302204E-3</c:v>
                </c:pt>
                <c:pt idx="51043">
                  <c:v>-6.7226890756302204E-3</c:v>
                </c:pt>
                <c:pt idx="51044">
                  <c:v>-6.7226890756302204E-3</c:v>
                </c:pt>
                <c:pt idx="51045">
                  <c:v>-6.7226890756302204E-3</c:v>
                </c:pt>
                <c:pt idx="51046">
                  <c:v>-6.7226890756302204E-3</c:v>
                </c:pt>
                <c:pt idx="51047">
                  <c:v>-6.7226890756302204E-3</c:v>
                </c:pt>
                <c:pt idx="51048">
                  <c:v>-6.7226890756302204E-3</c:v>
                </c:pt>
                <c:pt idx="51049">
                  <c:v>-6.7226890756302204E-3</c:v>
                </c:pt>
                <c:pt idx="51050">
                  <c:v>-6.7226890756302204E-3</c:v>
                </c:pt>
                <c:pt idx="51051">
                  <c:v>-6.7226890756302204E-3</c:v>
                </c:pt>
                <c:pt idx="51052">
                  <c:v>-6.7226890756302204E-3</c:v>
                </c:pt>
                <c:pt idx="51053">
                  <c:v>-6.7226890756302204E-3</c:v>
                </c:pt>
                <c:pt idx="51054">
                  <c:v>-6.7226890756302204E-3</c:v>
                </c:pt>
                <c:pt idx="51055">
                  <c:v>-6.7226890756302204E-3</c:v>
                </c:pt>
                <c:pt idx="51056">
                  <c:v>-6.7226890756302204E-3</c:v>
                </c:pt>
                <c:pt idx="51057">
                  <c:v>-6.7226890756302204E-3</c:v>
                </c:pt>
                <c:pt idx="51058">
                  <c:v>-6.7226890756302204E-3</c:v>
                </c:pt>
                <c:pt idx="51059">
                  <c:v>-6.7226890756302204E-3</c:v>
                </c:pt>
                <c:pt idx="51060">
                  <c:v>-6.7226890756302204E-3</c:v>
                </c:pt>
                <c:pt idx="51061">
                  <c:v>-6.7226890756302204E-3</c:v>
                </c:pt>
                <c:pt idx="51062">
                  <c:v>-6.7226890756302204E-3</c:v>
                </c:pt>
                <c:pt idx="51063">
                  <c:v>-6.7226890756302204E-3</c:v>
                </c:pt>
                <c:pt idx="51064">
                  <c:v>-6.7226890756302204E-3</c:v>
                </c:pt>
                <c:pt idx="51065">
                  <c:v>-6.7226890756302204E-3</c:v>
                </c:pt>
                <c:pt idx="51066">
                  <c:v>-6.7226890756302204E-3</c:v>
                </c:pt>
                <c:pt idx="51067">
                  <c:v>-6.7226890756302204E-3</c:v>
                </c:pt>
                <c:pt idx="51068">
                  <c:v>-6.7226890756302204E-3</c:v>
                </c:pt>
                <c:pt idx="51069">
                  <c:v>-6.7226890756302204E-3</c:v>
                </c:pt>
                <c:pt idx="51070">
                  <c:v>-6.7226890756302204E-3</c:v>
                </c:pt>
                <c:pt idx="51071">
                  <c:v>-6.7226890756302204E-3</c:v>
                </c:pt>
                <c:pt idx="51072">
                  <c:v>-6.7226890756302204E-3</c:v>
                </c:pt>
                <c:pt idx="51073">
                  <c:v>-6.7226890756302204E-3</c:v>
                </c:pt>
                <c:pt idx="51074">
                  <c:v>-6.7226890756302204E-3</c:v>
                </c:pt>
                <c:pt idx="51075">
                  <c:v>-6.7226890756302204E-3</c:v>
                </c:pt>
                <c:pt idx="51076">
                  <c:v>-6.7226890756302204E-3</c:v>
                </c:pt>
                <c:pt idx="51077">
                  <c:v>-6.7226890756302204E-3</c:v>
                </c:pt>
                <c:pt idx="51078">
                  <c:v>-6.7226890756302204E-3</c:v>
                </c:pt>
                <c:pt idx="51079">
                  <c:v>-6.7226890756302204E-3</c:v>
                </c:pt>
                <c:pt idx="51080">
                  <c:v>-6.7226890756302204E-3</c:v>
                </c:pt>
                <c:pt idx="51081">
                  <c:v>-6.7226890756302204E-3</c:v>
                </c:pt>
                <c:pt idx="51082">
                  <c:v>-6.7226890756302204E-3</c:v>
                </c:pt>
                <c:pt idx="51083">
                  <c:v>-6.7226890756302204E-3</c:v>
                </c:pt>
                <c:pt idx="51084">
                  <c:v>-6.7226890756302204E-3</c:v>
                </c:pt>
                <c:pt idx="51085">
                  <c:v>-6.7226890756302204E-3</c:v>
                </c:pt>
                <c:pt idx="51086">
                  <c:v>-6.7226890756302204E-3</c:v>
                </c:pt>
                <c:pt idx="51087">
                  <c:v>-6.7226890756302204E-3</c:v>
                </c:pt>
                <c:pt idx="51088">
                  <c:v>-6.7226890756302204E-3</c:v>
                </c:pt>
                <c:pt idx="51089">
                  <c:v>-6.7226890756302204E-3</c:v>
                </c:pt>
                <c:pt idx="51090">
                  <c:v>-6.7226890756302204E-3</c:v>
                </c:pt>
                <c:pt idx="51091">
                  <c:v>-6.7226890756302204E-3</c:v>
                </c:pt>
                <c:pt idx="51092">
                  <c:v>-6.7226890756302204E-3</c:v>
                </c:pt>
                <c:pt idx="51093">
                  <c:v>-6.7226890756302204E-3</c:v>
                </c:pt>
                <c:pt idx="51094">
                  <c:v>-6.7226890756302204E-3</c:v>
                </c:pt>
                <c:pt idx="51095">
                  <c:v>-6.7226890756302204E-3</c:v>
                </c:pt>
                <c:pt idx="51096">
                  <c:v>-6.7226890756302204E-3</c:v>
                </c:pt>
                <c:pt idx="51097">
                  <c:v>-6.7226890756302204E-3</c:v>
                </c:pt>
                <c:pt idx="51098">
                  <c:v>-6.7226890756302204E-3</c:v>
                </c:pt>
                <c:pt idx="51099">
                  <c:v>-6.7226890756302204E-3</c:v>
                </c:pt>
                <c:pt idx="51100">
                  <c:v>-6.7226890756302204E-3</c:v>
                </c:pt>
                <c:pt idx="51101">
                  <c:v>-6.7226890756302204E-3</c:v>
                </c:pt>
                <c:pt idx="51102">
                  <c:v>-6.7226890756302204E-3</c:v>
                </c:pt>
                <c:pt idx="51103">
                  <c:v>-6.7226890756302204E-3</c:v>
                </c:pt>
                <c:pt idx="51104">
                  <c:v>-6.7226890756302204E-3</c:v>
                </c:pt>
                <c:pt idx="51105">
                  <c:v>-6.7226890756302204E-3</c:v>
                </c:pt>
                <c:pt idx="51106">
                  <c:v>-6.7226890756302204E-3</c:v>
                </c:pt>
                <c:pt idx="51107">
                  <c:v>-6.7226890756302204E-3</c:v>
                </c:pt>
                <c:pt idx="51108">
                  <c:v>-6.7226890756302204E-3</c:v>
                </c:pt>
                <c:pt idx="51109">
                  <c:v>-6.7226890756302204E-3</c:v>
                </c:pt>
                <c:pt idx="51110">
                  <c:v>-6.7226890756302204E-3</c:v>
                </c:pt>
                <c:pt idx="51111">
                  <c:v>-6.7226890756302204E-3</c:v>
                </c:pt>
                <c:pt idx="51112">
                  <c:v>-6.7226890756302204E-3</c:v>
                </c:pt>
                <c:pt idx="51113">
                  <c:v>-6.7226890756302204E-3</c:v>
                </c:pt>
                <c:pt idx="51114">
                  <c:v>-6.7226890756302204E-3</c:v>
                </c:pt>
                <c:pt idx="51115">
                  <c:v>-6.7226890756302204E-3</c:v>
                </c:pt>
                <c:pt idx="51116">
                  <c:v>-6.7226890756302204E-3</c:v>
                </c:pt>
                <c:pt idx="51117">
                  <c:v>-6.7226890756302204E-3</c:v>
                </c:pt>
                <c:pt idx="51118">
                  <c:v>-6.7226890756302204E-3</c:v>
                </c:pt>
                <c:pt idx="51119">
                  <c:v>-6.7226890756302204E-3</c:v>
                </c:pt>
                <c:pt idx="51120">
                  <c:v>-6.7226890756302204E-3</c:v>
                </c:pt>
                <c:pt idx="51121">
                  <c:v>-6.7226890756302204E-3</c:v>
                </c:pt>
                <c:pt idx="51122">
                  <c:v>-6.7226890756302204E-3</c:v>
                </c:pt>
                <c:pt idx="51123">
                  <c:v>-6.7226890756302204E-3</c:v>
                </c:pt>
                <c:pt idx="51124">
                  <c:v>-6.7226890756302204E-3</c:v>
                </c:pt>
                <c:pt idx="51125">
                  <c:v>-6.7226890756302204E-3</c:v>
                </c:pt>
                <c:pt idx="51126">
                  <c:v>-6.7226890756302204E-3</c:v>
                </c:pt>
                <c:pt idx="51127">
                  <c:v>-6.7226890756302204E-3</c:v>
                </c:pt>
                <c:pt idx="51128">
                  <c:v>-6.7226890756302204E-3</c:v>
                </c:pt>
                <c:pt idx="51129">
                  <c:v>-6.7226890756302204E-3</c:v>
                </c:pt>
                <c:pt idx="51130">
                  <c:v>-6.7226890756302204E-3</c:v>
                </c:pt>
                <c:pt idx="51131">
                  <c:v>-6.7226890756302204E-3</c:v>
                </c:pt>
                <c:pt idx="51132">
                  <c:v>-6.7226890756302204E-3</c:v>
                </c:pt>
                <c:pt idx="51133">
                  <c:v>-6.7226890756302204E-3</c:v>
                </c:pt>
                <c:pt idx="51134">
                  <c:v>-6.7226890756302204E-3</c:v>
                </c:pt>
                <c:pt idx="51135">
                  <c:v>-6.7226890756302204E-3</c:v>
                </c:pt>
                <c:pt idx="51136">
                  <c:v>-6.7226890756302204E-3</c:v>
                </c:pt>
                <c:pt idx="51137">
                  <c:v>-6.7226890756302204E-3</c:v>
                </c:pt>
                <c:pt idx="51138">
                  <c:v>-6.7226890756302204E-3</c:v>
                </c:pt>
                <c:pt idx="51139">
                  <c:v>-6.7226890756302204E-3</c:v>
                </c:pt>
                <c:pt idx="51140">
                  <c:v>-6.7226890756302204E-3</c:v>
                </c:pt>
                <c:pt idx="51141">
                  <c:v>-6.7226890756302204E-3</c:v>
                </c:pt>
                <c:pt idx="51142">
                  <c:v>-6.7226890756302204E-3</c:v>
                </c:pt>
                <c:pt idx="51143">
                  <c:v>-6.7226890756302204E-3</c:v>
                </c:pt>
                <c:pt idx="51144">
                  <c:v>-6.7226890756302204E-3</c:v>
                </c:pt>
                <c:pt idx="51145">
                  <c:v>-6.7226890756302204E-3</c:v>
                </c:pt>
                <c:pt idx="51146">
                  <c:v>-6.7226890756302204E-3</c:v>
                </c:pt>
                <c:pt idx="51147">
                  <c:v>-6.7226890756302204E-3</c:v>
                </c:pt>
                <c:pt idx="51148">
                  <c:v>-6.7226890756302204E-3</c:v>
                </c:pt>
                <c:pt idx="51149">
                  <c:v>-6.7226890756302204E-3</c:v>
                </c:pt>
                <c:pt idx="51150">
                  <c:v>-6.7226890756302204E-3</c:v>
                </c:pt>
                <c:pt idx="51151">
                  <c:v>-6.7226890756302204E-3</c:v>
                </c:pt>
                <c:pt idx="51152">
                  <c:v>-6.7226890756302204E-3</c:v>
                </c:pt>
                <c:pt idx="51153">
                  <c:v>-6.7226890756302204E-3</c:v>
                </c:pt>
                <c:pt idx="51154">
                  <c:v>-6.7226890756302204E-3</c:v>
                </c:pt>
                <c:pt idx="51155">
                  <c:v>-6.7226890756302204E-3</c:v>
                </c:pt>
                <c:pt idx="51156">
                  <c:v>-6.7226890756302204E-3</c:v>
                </c:pt>
                <c:pt idx="51157">
                  <c:v>-6.7226890756302204E-3</c:v>
                </c:pt>
                <c:pt idx="51158">
                  <c:v>-6.7226890756302204E-3</c:v>
                </c:pt>
                <c:pt idx="51159">
                  <c:v>-6.7226890756302204E-3</c:v>
                </c:pt>
                <c:pt idx="51160">
                  <c:v>-6.7226890756302204E-3</c:v>
                </c:pt>
                <c:pt idx="51161">
                  <c:v>-6.7226890756302204E-3</c:v>
                </c:pt>
                <c:pt idx="51162">
                  <c:v>-6.7226890756302204E-3</c:v>
                </c:pt>
                <c:pt idx="51163">
                  <c:v>-6.7226890756302204E-3</c:v>
                </c:pt>
                <c:pt idx="51164">
                  <c:v>-6.7226890756302204E-3</c:v>
                </c:pt>
                <c:pt idx="51165">
                  <c:v>-6.7226890756302204E-3</c:v>
                </c:pt>
                <c:pt idx="51166">
                  <c:v>-6.7226890756302204E-3</c:v>
                </c:pt>
                <c:pt idx="51167">
                  <c:v>-6.7226890756302204E-3</c:v>
                </c:pt>
                <c:pt idx="51168">
                  <c:v>-6.7226890756302204E-3</c:v>
                </c:pt>
                <c:pt idx="51169">
                  <c:v>-6.7226890756302204E-3</c:v>
                </c:pt>
                <c:pt idx="51170">
                  <c:v>-6.7226890756302204E-3</c:v>
                </c:pt>
                <c:pt idx="51171">
                  <c:v>-6.7226890756302204E-3</c:v>
                </c:pt>
                <c:pt idx="51172">
                  <c:v>-6.7226890756302204E-3</c:v>
                </c:pt>
                <c:pt idx="51173">
                  <c:v>-6.7226890756302204E-3</c:v>
                </c:pt>
                <c:pt idx="51174">
                  <c:v>-6.7226890756302204E-3</c:v>
                </c:pt>
                <c:pt idx="51175">
                  <c:v>-6.7226890756302204E-3</c:v>
                </c:pt>
                <c:pt idx="51176">
                  <c:v>-6.7226890756302204E-3</c:v>
                </c:pt>
                <c:pt idx="51177">
                  <c:v>-6.7226890756302204E-3</c:v>
                </c:pt>
                <c:pt idx="51178">
                  <c:v>-6.7226890756302204E-3</c:v>
                </c:pt>
                <c:pt idx="51179">
                  <c:v>-6.7226890756302204E-3</c:v>
                </c:pt>
                <c:pt idx="51180">
                  <c:v>-6.7226890756302204E-3</c:v>
                </c:pt>
                <c:pt idx="51181">
                  <c:v>-6.7226890756302204E-3</c:v>
                </c:pt>
                <c:pt idx="51182">
                  <c:v>-6.7226890756302204E-3</c:v>
                </c:pt>
                <c:pt idx="51183">
                  <c:v>-6.7226890756302204E-3</c:v>
                </c:pt>
                <c:pt idx="51184">
                  <c:v>-6.7226890756302204E-3</c:v>
                </c:pt>
                <c:pt idx="51185">
                  <c:v>-6.7226890756302204E-3</c:v>
                </c:pt>
                <c:pt idx="51186">
                  <c:v>-6.7226890756302204E-3</c:v>
                </c:pt>
                <c:pt idx="51187">
                  <c:v>-6.7226890756302204E-3</c:v>
                </c:pt>
                <c:pt idx="51188">
                  <c:v>-6.7226890756302204E-3</c:v>
                </c:pt>
                <c:pt idx="51189">
                  <c:v>-6.7226890756302204E-3</c:v>
                </c:pt>
                <c:pt idx="51190">
                  <c:v>-6.7226890756302204E-3</c:v>
                </c:pt>
                <c:pt idx="51191">
                  <c:v>-6.7226890756302204E-3</c:v>
                </c:pt>
                <c:pt idx="51192">
                  <c:v>-6.7226890756302204E-3</c:v>
                </c:pt>
                <c:pt idx="51193">
                  <c:v>-6.7226890756302204E-3</c:v>
                </c:pt>
                <c:pt idx="51194">
                  <c:v>-6.7226890756302204E-3</c:v>
                </c:pt>
                <c:pt idx="51195">
                  <c:v>-6.7226890756302204E-3</c:v>
                </c:pt>
                <c:pt idx="51196">
                  <c:v>-6.7226890756302204E-3</c:v>
                </c:pt>
                <c:pt idx="51197">
                  <c:v>-6.7226890756302204E-3</c:v>
                </c:pt>
                <c:pt idx="51198">
                  <c:v>-6.7226890756302204E-3</c:v>
                </c:pt>
                <c:pt idx="51199">
                  <c:v>-6.7226890756302204E-3</c:v>
                </c:pt>
                <c:pt idx="51200">
                  <c:v>-6.7226890756302204E-3</c:v>
                </c:pt>
                <c:pt idx="51201">
                  <c:v>-6.7226890756302204E-3</c:v>
                </c:pt>
                <c:pt idx="51202">
                  <c:v>-6.7226890756302204E-3</c:v>
                </c:pt>
                <c:pt idx="51203">
                  <c:v>-6.7226890756302204E-3</c:v>
                </c:pt>
                <c:pt idx="51204">
                  <c:v>-6.7226890756302204E-3</c:v>
                </c:pt>
                <c:pt idx="51205">
                  <c:v>-6.7226890756302204E-3</c:v>
                </c:pt>
                <c:pt idx="51206">
                  <c:v>-6.7226890756302204E-3</c:v>
                </c:pt>
                <c:pt idx="51207">
                  <c:v>-6.7226890756302204E-3</c:v>
                </c:pt>
                <c:pt idx="51208">
                  <c:v>-6.7226890756302204E-3</c:v>
                </c:pt>
                <c:pt idx="51209">
                  <c:v>-6.7226890756302204E-3</c:v>
                </c:pt>
                <c:pt idx="51210">
                  <c:v>-6.7226890756302204E-3</c:v>
                </c:pt>
                <c:pt idx="51211">
                  <c:v>-6.7226890756302204E-3</c:v>
                </c:pt>
                <c:pt idx="51212">
                  <c:v>-6.7226890756302204E-3</c:v>
                </c:pt>
                <c:pt idx="51213">
                  <c:v>-6.7226890756302204E-3</c:v>
                </c:pt>
                <c:pt idx="51214">
                  <c:v>-6.7226890756302204E-3</c:v>
                </c:pt>
                <c:pt idx="51215">
                  <c:v>-6.7226890756302204E-3</c:v>
                </c:pt>
                <c:pt idx="51216">
                  <c:v>-6.7226890756302204E-3</c:v>
                </c:pt>
                <c:pt idx="51217">
                  <c:v>-6.7226890756302204E-3</c:v>
                </c:pt>
                <c:pt idx="51218">
                  <c:v>-6.7226890756302204E-3</c:v>
                </c:pt>
                <c:pt idx="51219">
                  <c:v>-6.7226890756302204E-3</c:v>
                </c:pt>
                <c:pt idx="51220">
                  <c:v>-6.7226890756302204E-3</c:v>
                </c:pt>
                <c:pt idx="51221">
                  <c:v>-6.7226890756302204E-3</c:v>
                </c:pt>
                <c:pt idx="51222">
                  <c:v>-6.7226890756302204E-3</c:v>
                </c:pt>
                <c:pt idx="51223">
                  <c:v>-6.7226890756302204E-3</c:v>
                </c:pt>
                <c:pt idx="51224">
                  <c:v>-6.7226890756302204E-3</c:v>
                </c:pt>
                <c:pt idx="51225">
                  <c:v>-6.7226890756302204E-3</c:v>
                </c:pt>
                <c:pt idx="51226">
                  <c:v>-6.7226890756302204E-3</c:v>
                </c:pt>
                <c:pt idx="51227">
                  <c:v>-6.7226890756302204E-3</c:v>
                </c:pt>
                <c:pt idx="51228">
                  <c:v>-6.7226890756302204E-3</c:v>
                </c:pt>
                <c:pt idx="51229">
                  <c:v>-6.7226890756302204E-3</c:v>
                </c:pt>
                <c:pt idx="51230">
                  <c:v>-6.7226890756302204E-3</c:v>
                </c:pt>
                <c:pt idx="51231">
                  <c:v>-6.7226890756302204E-3</c:v>
                </c:pt>
                <c:pt idx="51232">
                  <c:v>-6.7226890756302204E-3</c:v>
                </c:pt>
                <c:pt idx="51233">
                  <c:v>-6.7226890756302204E-3</c:v>
                </c:pt>
                <c:pt idx="51234">
                  <c:v>-6.7226890756302204E-3</c:v>
                </c:pt>
                <c:pt idx="51235">
                  <c:v>-6.7226890756302204E-3</c:v>
                </c:pt>
                <c:pt idx="51236">
                  <c:v>-6.7226890756302204E-3</c:v>
                </c:pt>
                <c:pt idx="51237">
                  <c:v>-6.7226890756302204E-3</c:v>
                </c:pt>
                <c:pt idx="51238">
                  <c:v>-6.7226890756302204E-3</c:v>
                </c:pt>
                <c:pt idx="51239">
                  <c:v>-6.7226890756302204E-3</c:v>
                </c:pt>
                <c:pt idx="51240">
                  <c:v>-6.7226890756302204E-3</c:v>
                </c:pt>
                <c:pt idx="51241">
                  <c:v>-6.7226890756302204E-3</c:v>
                </c:pt>
                <c:pt idx="51242">
                  <c:v>-6.7226890756302204E-3</c:v>
                </c:pt>
                <c:pt idx="51243">
                  <c:v>-6.7226890756302204E-3</c:v>
                </c:pt>
                <c:pt idx="51244">
                  <c:v>-6.7226890756302204E-3</c:v>
                </c:pt>
                <c:pt idx="51245">
                  <c:v>-6.7226890756302204E-3</c:v>
                </c:pt>
                <c:pt idx="51246">
                  <c:v>-6.7226890756302204E-3</c:v>
                </c:pt>
                <c:pt idx="51247">
                  <c:v>-6.7226890756302204E-3</c:v>
                </c:pt>
                <c:pt idx="51248">
                  <c:v>-6.7226890756302204E-3</c:v>
                </c:pt>
                <c:pt idx="51249">
                  <c:v>-6.7226890756302204E-3</c:v>
                </c:pt>
                <c:pt idx="51250">
                  <c:v>-6.7226890756302204E-3</c:v>
                </c:pt>
                <c:pt idx="51251">
                  <c:v>-6.7226890756302204E-3</c:v>
                </c:pt>
                <c:pt idx="51252">
                  <c:v>-6.7226890756302204E-3</c:v>
                </c:pt>
                <c:pt idx="51253">
                  <c:v>-6.7226890756302204E-3</c:v>
                </c:pt>
                <c:pt idx="51254">
                  <c:v>-6.7226890756302204E-3</c:v>
                </c:pt>
                <c:pt idx="51255">
                  <c:v>-6.7226890756302204E-3</c:v>
                </c:pt>
                <c:pt idx="51256">
                  <c:v>-6.7226890756302204E-3</c:v>
                </c:pt>
                <c:pt idx="51257">
                  <c:v>-6.7226890756302204E-3</c:v>
                </c:pt>
                <c:pt idx="51258">
                  <c:v>-6.7226890756302204E-3</c:v>
                </c:pt>
                <c:pt idx="51259">
                  <c:v>-6.7226890756302204E-3</c:v>
                </c:pt>
                <c:pt idx="51260">
                  <c:v>-6.7226890756302204E-3</c:v>
                </c:pt>
                <c:pt idx="51261">
                  <c:v>-6.7226890756302204E-3</c:v>
                </c:pt>
                <c:pt idx="51262">
                  <c:v>-6.7226890756302204E-3</c:v>
                </c:pt>
                <c:pt idx="51263">
                  <c:v>-6.7226890756302204E-3</c:v>
                </c:pt>
                <c:pt idx="51264">
                  <c:v>-6.7226890756302204E-3</c:v>
                </c:pt>
                <c:pt idx="51265">
                  <c:v>-6.7226890756302204E-3</c:v>
                </c:pt>
                <c:pt idx="51266">
                  <c:v>-6.7226890756302204E-3</c:v>
                </c:pt>
                <c:pt idx="51267">
                  <c:v>-6.7226890756302204E-3</c:v>
                </c:pt>
                <c:pt idx="51268">
                  <c:v>-6.7226890756302204E-3</c:v>
                </c:pt>
                <c:pt idx="51269">
                  <c:v>-6.7226890756302204E-3</c:v>
                </c:pt>
                <c:pt idx="51270">
                  <c:v>-6.7226890756302204E-3</c:v>
                </c:pt>
                <c:pt idx="51271">
                  <c:v>-6.7226890756302204E-3</c:v>
                </c:pt>
                <c:pt idx="51272">
                  <c:v>-6.7226890756302204E-3</c:v>
                </c:pt>
                <c:pt idx="51273">
                  <c:v>-6.7226890756302204E-3</c:v>
                </c:pt>
                <c:pt idx="51274">
                  <c:v>-6.7226890756302204E-3</c:v>
                </c:pt>
                <c:pt idx="51275">
                  <c:v>-6.7226890756302204E-3</c:v>
                </c:pt>
                <c:pt idx="51276">
                  <c:v>-6.7226890756302204E-3</c:v>
                </c:pt>
                <c:pt idx="51277">
                  <c:v>-6.7226890756302204E-3</c:v>
                </c:pt>
                <c:pt idx="51278">
                  <c:v>-6.7226890756302204E-3</c:v>
                </c:pt>
                <c:pt idx="51279">
                  <c:v>-6.7226890756302204E-3</c:v>
                </c:pt>
                <c:pt idx="51280">
                  <c:v>-6.7226890756302204E-3</c:v>
                </c:pt>
                <c:pt idx="51281">
                  <c:v>-6.7226890756302204E-3</c:v>
                </c:pt>
                <c:pt idx="51282">
                  <c:v>-6.7226890756302204E-3</c:v>
                </c:pt>
                <c:pt idx="51283">
                  <c:v>-6.7226890756302204E-3</c:v>
                </c:pt>
                <c:pt idx="51284">
                  <c:v>-6.7226890756302204E-3</c:v>
                </c:pt>
                <c:pt idx="51285">
                  <c:v>-6.7226890756302204E-3</c:v>
                </c:pt>
                <c:pt idx="51286">
                  <c:v>-6.7226890756302204E-3</c:v>
                </c:pt>
                <c:pt idx="51287">
                  <c:v>-6.7226890756302204E-3</c:v>
                </c:pt>
                <c:pt idx="51288">
                  <c:v>-6.7226890756302204E-3</c:v>
                </c:pt>
                <c:pt idx="51289">
                  <c:v>-6.7226890756302204E-3</c:v>
                </c:pt>
                <c:pt idx="51290">
                  <c:v>-6.7226890756302204E-3</c:v>
                </c:pt>
                <c:pt idx="51291">
                  <c:v>-6.7226890756302204E-3</c:v>
                </c:pt>
                <c:pt idx="51292">
                  <c:v>-6.7226890756302204E-3</c:v>
                </c:pt>
                <c:pt idx="51293">
                  <c:v>-6.7226890756302204E-3</c:v>
                </c:pt>
                <c:pt idx="51294">
                  <c:v>-6.7226890756302204E-3</c:v>
                </c:pt>
                <c:pt idx="51295">
                  <c:v>-6.7226890756302204E-3</c:v>
                </c:pt>
                <c:pt idx="51296">
                  <c:v>-6.7226890756302204E-3</c:v>
                </c:pt>
                <c:pt idx="51297">
                  <c:v>-6.7226890756302204E-3</c:v>
                </c:pt>
                <c:pt idx="51298">
                  <c:v>-6.7226890756302204E-3</c:v>
                </c:pt>
                <c:pt idx="51299">
                  <c:v>-6.7226890756302204E-3</c:v>
                </c:pt>
                <c:pt idx="51300">
                  <c:v>-6.7226890756302204E-3</c:v>
                </c:pt>
                <c:pt idx="51301">
                  <c:v>-6.7226890756302204E-3</c:v>
                </c:pt>
                <c:pt idx="51302">
                  <c:v>-6.7226890756302204E-3</c:v>
                </c:pt>
                <c:pt idx="51303">
                  <c:v>-6.7226890756302204E-3</c:v>
                </c:pt>
                <c:pt idx="51304">
                  <c:v>-6.7226890756302204E-3</c:v>
                </c:pt>
                <c:pt idx="51305">
                  <c:v>-6.7226890756302204E-3</c:v>
                </c:pt>
                <c:pt idx="51306">
                  <c:v>-6.7226890756302204E-3</c:v>
                </c:pt>
                <c:pt idx="51307">
                  <c:v>-6.7226890756302204E-3</c:v>
                </c:pt>
                <c:pt idx="51308">
                  <c:v>-6.7226890756302204E-3</c:v>
                </c:pt>
                <c:pt idx="51309">
                  <c:v>-6.7226890756302204E-3</c:v>
                </c:pt>
                <c:pt idx="51310">
                  <c:v>-6.7226890756302204E-3</c:v>
                </c:pt>
                <c:pt idx="51311">
                  <c:v>-6.7226890756302204E-3</c:v>
                </c:pt>
                <c:pt idx="51312">
                  <c:v>-6.7226890756302204E-3</c:v>
                </c:pt>
                <c:pt idx="51313">
                  <c:v>-6.7226890756302204E-3</c:v>
                </c:pt>
                <c:pt idx="51314">
                  <c:v>-6.7226890756302204E-3</c:v>
                </c:pt>
                <c:pt idx="51315">
                  <c:v>-6.7226890756302204E-3</c:v>
                </c:pt>
                <c:pt idx="51316">
                  <c:v>-6.7226890756302204E-3</c:v>
                </c:pt>
                <c:pt idx="51317">
                  <c:v>-6.7226890756302204E-3</c:v>
                </c:pt>
                <c:pt idx="51318">
                  <c:v>-6.7226890756302204E-3</c:v>
                </c:pt>
                <c:pt idx="51319">
                  <c:v>-6.7226890756302204E-3</c:v>
                </c:pt>
                <c:pt idx="51320">
                  <c:v>-6.7226890756302204E-3</c:v>
                </c:pt>
                <c:pt idx="51321">
                  <c:v>-6.7226890756302204E-3</c:v>
                </c:pt>
                <c:pt idx="51322">
                  <c:v>-6.7226890756302204E-3</c:v>
                </c:pt>
                <c:pt idx="51323">
                  <c:v>-6.7226890756302204E-3</c:v>
                </c:pt>
                <c:pt idx="51324">
                  <c:v>-6.7226890756302204E-3</c:v>
                </c:pt>
                <c:pt idx="51325">
                  <c:v>-6.7226890756302204E-3</c:v>
                </c:pt>
                <c:pt idx="51326">
                  <c:v>-6.7226890756302204E-3</c:v>
                </c:pt>
                <c:pt idx="51327">
                  <c:v>-6.7226890756302204E-3</c:v>
                </c:pt>
                <c:pt idx="51328">
                  <c:v>-6.7226890756302204E-3</c:v>
                </c:pt>
                <c:pt idx="51329">
                  <c:v>-6.7226890756302204E-3</c:v>
                </c:pt>
                <c:pt idx="51330">
                  <c:v>-6.7226890756302204E-3</c:v>
                </c:pt>
                <c:pt idx="51331">
                  <c:v>-6.7226890756302204E-3</c:v>
                </c:pt>
                <c:pt idx="51332">
                  <c:v>-6.7226890756302204E-3</c:v>
                </c:pt>
                <c:pt idx="51333">
                  <c:v>-6.7226890756302204E-3</c:v>
                </c:pt>
                <c:pt idx="51334">
                  <c:v>-6.7226890756302204E-3</c:v>
                </c:pt>
                <c:pt idx="51335">
                  <c:v>-6.7226890756302204E-3</c:v>
                </c:pt>
                <c:pt idx="51336">
                  <c:v>-6.7226890756302204E-3</c:v>
                </c:pt>
                <c:pt idx="51337">
                  <c:v>-6.7226890756302204E-3</c:v>
                </c:pt>
                <c:pt idx="51338">
                  <c:v>-6.7226890756302204E-3</c:v>
                </c:pt>
                <c:pt idx="51339">
                  <c:v>-6.7226890756302204E-3</c:v>
                </c:pt>
                <c:pt idx="51340">
                  <c:v>-6.7226890756302204E-3</c:v>
                </c:pt>
                <c:pt idx="51341">
                  <c:v>-6.7226890756302204E-3</c:v>
                </c:pt>
                <c:pt idx="51342">
                  <c:v>-6.7226890756302204E-3</c:v>
                </c:pt>
                <c:pt idx="51343">
                  <c:v>-6.7226890756302204E-3</c:v>
                </c:pt>
                <c:pt idx="51344">
                  <c:v>-6.7226890756302204E-3</c:v>
                </c:pt>
                <c:pt idx="51345">
                  <c:v>-6.7226890756302204E-3</c:v>
                </c:pt>
                <c:pt idx="51346">
                  <c:v>-6.7226890756302204E-3</c:v>
                </c:pt>
                <c:pt idx="51347">
                  <c:v>-6.7226890756302204E-3</c:v>
                </c:pt>
                <c:pt idx="51348">
                  <c:v>-6.7226890756302204E-3</c:v>
                </c:pt>
                <c:pt idx="51349">
                  <c:v>-6.7226890756302204E-3</c:v>
                </c:pt>
                <c:pt idx="51350">
                  <c:v>-6.7226890756302204E-3</c:v>
                </c:pt>
                <c:pt idx="51351">
                  <c:v>-6.7226890756302204E-3</c:v>
                </c:pt>
                <c:pt idx="51352">
                  <c:v>-6.7226890756302204E-3</c:v>
                </c:pt>
                <c:pt idx="51353">
                  <c:v>-6.7226890756302204E-3</c:v>
                </c:pt>
                <c:pt idx="51354">
                  <c:v>-6.7226890756302204E-3</c:v>
                </c:pt>
                <c:pt idx="51355">
                  <c:v>-6.7226890756302204E-3</c:v>
                </c:pt>
                <c:pt idx="51356">
                  <c:v>-6.7226890756302204E-3</c:v>
                </c:pt>
                <c:pt idx="51357">
                  <c:v>-6.7226890756302204E-3</c:v>
                </c:pt>
                <c:pt idx="51358">
                  <c:v>-6.7226890756302204E-3</c:v>
                </c:pt>
                <c:pt idx="51359">
                  <c:v>-6.7226890756302204E-3</c:v>
                </c:pt>
                <c:pt idx="51360">
                  <c:v>-6.7226890756302204E-3</c:v>
                </c:pt>
                <c:pt idx="51361">
                  <c:v>-6.7226890756302204E-3</c:v>
                </c:pt>
                <c:pt idx="51362">
                  <c:v>-6.7226890756302204E-3</c:v>
                </c:pt>
                <c:pt idx="51363">
                  <c:v>-6.7226890756302204E-3</c:v>
                </c:pt>
                <c:pt idx="51364">
                  <c:v>-6.7226890756302204E-3</c:v>
                </c:pt>
                <c:pt idx="51365">
                  <c:v>-6.7226890756302204E-3</c:v>
                </c:pt>
                <c:pt idx="51366">
                  <c:v>-6.7226890756302204E-3</c:v>
                </c:pt>
                <c:pt idx="51367">
                  <c:v>-6.7226890756302204E-3</c:v>
                </c:pt>
                <c:pt idx="51368">
                  <c:v>-6.7226890756302204E-3</c:v>
                </c:pt>
                <c:pt idx="51369">
                  <c:v>-6.7226890756302204E-3</c:v>
                </c:pt>
                <c:pt idx="51370">
                  <c:v>-6.7226890756302204E-3</c:v>
                </c:pt>
                <c:pt idx="51371">
                  <c:v>-6.7226890756302204E-3</c:v>
                </c:pt>
                <c:pt idx="51372">
                  <c:v>-6.7226890756302204E-3</c:v>
                </c:pt>
                <c:pt idx="51373">
                  <c:v>-6.7226890756302204E-3</c:v>
                </c:pt>
                <c:pt idx="51374">
                  <c:v>-6.7226890756302204E-3</c:v>
                </c:pt>
                <c:pt idx="51375">
                  <c:v>-6.7226890756302204E-3</c:v>
                </c:pt>
                <c:pt idx="51376">
                  <c:v>-6.7226890756302204E-3</c:v>
                </c:pt>
                <c:pt idx="51377">
                  <c:v>-6.7226890756302204E-3</c:v>
                </c:pt>
                <c:pt idx="51378">
                  <c:v>-6.7226890756302204E-3</c:v>
                </c:pt>
                <c:pt idx="51379">
                  <c:v>-6.7226890756302204E-3</c:v>
                </c:pt>
                <c:pt idx="51380">
                  <c:v>-6.7226890756302204E-3</c:v>
                </c:pt>
                <c:pt idx="51381">
                  <c:v>-6.7226890756302204E-3</c:v>
                </c:pt>
                <c:pt idx="51382">
                  <c:v>-6.7226890756302204E-3</c:v>
                </c:pt>
                <c:pt idx="51383">
                  <c:v>-6.7226890756302204E-3</c:v>
                </c:pt>
                <c:pt idx="51384">
                  <c:v>-6.7226890756302204E-3</c:v>
                </c:pt>
                <c:pt idx="51385">
                  <c:v>-6.7226890756302204E-3</c:v>
                </c:pt>
                <c:pt idx="51386">
                  <c:v>-6.7226890756302204E-3</c:v>
                </c:pt>
                <c:pt idx="51387">
                  <c:v>-6.7226890756302204E-3</c:v>
                </c:pt>
                <c:pt idx="51388">
                  <c:v>-6.7226890756302204E-3</c:v>
                </c:pt>
                <c:pt idx="51389">
                  <c:v>-6.7226890756302204E-3</c:v>
                </c:pt>
                <c:pt idx="51390">
                  <c:v>-6.7226890756302204E-3</c:v>
                </c:pt>
                <c:pt idx="51391">
                  <c:v>-6.7226890756302204E-3</c:v>
                </c:pt>
                <c:pt idx="51392">
                  <c:v>-6.7226890756302204E-3</c:v>
                </c:pt>
                <c:pt idx="51393">
                  <c:v>-6.7226890756302204E-3</c:v>
                </c:pt>
                <c:pt idx="51394">
                  <c:v>-6.7226890756302204E-3</c:v>
                </c:pt>
                <c:pt idx="51395">
                  <c:v>-6.7226890756302204E-3</c:v>
                </c:pt>
                <c:pt idx="51396">
                  <c:v>-6.7226890756302204E-3</c:v>
                </c:pt>
                <c:pt idx="51397">
                  <c:v>-6.7226890756302204E-3</c:v>
                </c:pt>
                <c:pt idx="51398">
                  <c:v>-6.7226890756302204E-3</c:v>
                </c:pt>
                <c:pt idx="51399">
                  <c:v>-6.7226890756302204E-3</c:v>
                </c:pt>
                <c:pt idx="51400">
                  <c:v>-6.7226890756302204E-3</c:v>
                </c:pt>
                <c:pt idx="51401">
                  <c:v>-6.7226890756302204E-3</c:v>
                </c:pt>
                <c:pt idx="51402">
                  <c:v>-6.7226890756302204E-3</c:v>
                </c:pt>
                <c:pt idx="51403">
                  <c:v>-6.7226890756302204E-3</c:v>
                </c:pt>
                <c:pt idx="51404">
                  <c:v>-6.7226890756302204E-3</c:v>
                </c:pt>
                <c:pt idx="51405">
                  <c:v>-6.7226890756302204E-3</c:v>
                </c:pt>
                <c:pt idx="51406">
                  <c:v>-6.7226890756302204E-3</c:v>
                </c:pt>
                <c:pt idx="51407">
                  <c:v>-6.7226890756302204E-3</c:v>
                </c:pt>
                <c:pt idx="51408">
                  <c:v>-6.7226890756302204E-3</c:v>
                </c:pt>
                <c:pt idx="51409">
                  <c:v>-6.7226890756302204E-3</c:v>
                </c:pt>
                <c:pt idx="51410">
                  <c:v>-6.7226890756302204E-3</c:v>
                </c:pt>
                <c:pt idx="51411">
                  <c:v>-6.7226890756302204E-3</c:v>
                </c:pt>
                <c:pt idx="51412">
                  <c:v>-6.7226890756302204E-3</c:v>
                </c:pt>
                <c:pt idx="51413">
                  <c:v>-6.7226890756302204E-3</c:v>
                </c:pt>
                <c:pt idx="51414">
                  <c:v>-6.7226890756302204E-3</c:v>
                </c:pt>
                <c:pt idx="51415">
                  <c:v>-6.7226890756302204E-3</c:v>
                </c:pt>
                <c:pt idx="51416">
                  <c:v>-6.7226890756302204E-3</c:v>
                </c:pt>
                <c:pt idx="51417">
                  <c:v>-6.7226890756302204E-3</c:v>
                </c:pt>
                <c:pt idx="51418">
                  <c:v>-6.7226890756302204E-3</c:v>
                </c:pt>
                <c:pt idx="51419">
                  <c:v>-6.7226890756302204E-3</c:v>
                </c:pt>
                <c:pt idx="51420">
                  <c:v>-6.7226890756302204E-3</c:v>
                </c:pt>
                <c:pt idx="51421">
                  <c:v>-6.7226890756302204E-3</c:v>
                </c:pt>
                <c:pt idx="51422">
                  <c:v>-6.7226890756302204E-3</c:v>
                </c:pt>
                <c:pt idx="51423">
                  <c:v>-6.7226890756302204E-3</c:v>
                </c:pt>
                <c:pt idx="51424">
                  <c:v>-6.7226890756302204E-3</c:v>
                </c:pt>
                <c:pt idx="51425">
                  <c:v>-6.7226890756302204E-3</c:v>
                </c:pt>
                <c:pt idx="51426">
                  <c:v>-6.7226890756302204E-3</c:v>
                </c:pt>
                <c:pt idx="51427">
                  <c:v>-6.7226890756302204E-3</c:v>
                </c:pt>
                <c:pt idx="51428">
                  <c:v>-6.7226890756302204E-3</c:v>
                </c:pt>
                <c:pt idx="51429">
                  <c:v>-6.7226890756302204E-3</c:v>
                </c:pt>
                <c:pt idx="51430">
                  <c:v>-6.7226890756302204E-3</c:v>
                </c:pt>
                <c:pt idx="51431">
                  <c:v>-6.7226890756302204E-3</c:v>
                </c:pt>
                <c:pt idx="51432">
                  <c:v>-6.7226890756302204E-3</c:v>
                </c:pt>
                <c:pt idx="51433">
                  <c:v>-6.7226890756302204E-3</c:v>
                </c:pt>
                <c:pt idx="51434">
                  <c:v>-6.7226890756302204E-3</c:v>
                </c:pt>
                <c:pt idx="51435">
                  <c:v>-6.7226890756302204E-3</c:v>
                </c:pt>
                <c:pt idx="51436">
                  <c:v>-6.7226890756302204E-3</c:v>
                </c:pt>
                <c:pt idx="51437">
                  <c:v>-6.7226890756302204E-3</c:v>
                </c:pt>
                <c:pt idx="51438">
                  <c:v>-6.7226890756302204E-3</c:v>
                </c:pt>
                <c:pt idx="51439">
                  <c:v>-6.7226890756302204E-3</c:v>
                </c:pt>
                <c:pt idx="51440">
                  <c:v>-6.7226890756302204E-3</c:v>
                </c:pt>
                <c:pt idx="51441">
                  <c:v>-6.7226890756302204E-3</c:v>
                </c:pt>
                <c:pt idx="51442">
                  <c:v>-6.7226890756302204E-3</c:v>
                </c:pt>
                <c:pt idx="51443">
                  <c:v>-6.7226890756302204E-3</c:v>
                </c:pt>
                <c:pt idx="51444">
                  <c:v>-6.7226890756302204E-3</c:v>
                </c:pt>
                <c:pt idx="51445">
                  <c:v>-6.7226890756302204E-3</c:v>
                </c:pt>
                <c:pt idx="51446">
                  <c:v>-6.7226890756302204E-3</c:v>
                </c:pt>
                <c:pt idx="51447">
                  <c:v>-6.7226890756302204E-3</c:v>
                </c:pt>
                <c:pt idx="51448">
                  <c:v>-6.7226890756302204E-3</c:v>
                </c:pt>
                <c:pt idx="51449">
                  <c:v>-6.7226890756302204E-3</c:v>
                </c:pt>
                <c:pt idx="51450">
                  <c:v>-6.7226890756302204E-3</c:v>
                </c:pt>
                <c:pt idx="51451">
                  <c:v>-6.7226890756302204E-3</c:v>
                </c:pt>
                <c:pt idx="51452">
                  <c:v>-6.7226890756302204E-3</c:v>
                </c:pt>
                <c:pt idx="51453">
                  <c:v>-6.7226890756302204E-3</c:v>
                </c:pt>
                <c:pt idx="51454">
                  <c:v>-6.7226890756302204E-3</c:v>
                </c:pt>
                <c:pt idx="51455">
                  <c:v>-6.7226890756302204E-3</c:v>
                </c:pt>
                <c:pt idx="51456">
                  <c:v>-6.7226890756302204E-3</c:v>
                </c:pt>
                <c:pt idx="51457">
                  <c:v>-6.7226890756302204E-3</c:v>
                </c:pt>
                <c:pt idx="51458">
                  <c:v>-6.7226890756302204E-3</c:v>
                </c:pt>
                <c:pt idx="51459">
                  <c:v>-6.7226890756302204E-3</c:v>
                </c:pt>
                <c:pt idx="51460">
                  <c:v>-6.7226890756302204E-3</c:v>
                </c:pt>
                <c:pt idx="51461">
                  <c:v>-6.7226890756302204E-3</c:v>
                </c:pt>
                <c:pt idx="51462">
                  <c:v>-6.7226890756302204E-3</c:v>
                </c:pt>
                <c:pt idx="51463">
                  <c:v>-6.7226890756302204E-3</c:v>
                </c:pt>
                <c:pt idx="51464">
                  <c:v>-6.7226890756302204E-3</c:v>
                </c:pt>
                <c:pt idx="51465">
                  <c:v>-6.7226890756302204E-3</c:v>
                </c:pt>
                <c:pt idx="51466">
                  <c:v>-6.7226890756302204E-3</c:v>
                </c:pt>
                <c:pt idx="51467">
                  <c:v>-6.7226890756302204E-3</c:v>
                </c:pt>
                <c:pt idx="51468">
                  <c:v>-6.7226890756302204E-3</c:v>
                </c:pt>
                <c:pt idx="51469">
                  <c:v>-6.7226890756302204E-3</c:v>
                </c:pt>
                <c:pt idx="51470">
                  <c:v>-6.7226890756302204E-3</c:v>
                </c:pt>
                <c:pt idx="51471">
                  <c:v>-6.7226890756302204E-3</c:v>
                </c:pt>
                <c:pt idx="51472">
                  <c:v>-6.7226890756302204E-3</c:v>
                </c:pt>
                <c:pt idx="51473">
                  <c:v>-6.7226890756302204E-3</c:v>
                </c:pt>
                <c:pt idx="51474">
                  <c:v>-6.7226890756302204E-3</c:v>
                </c:pt>
                <c:pt idx="51475">
                  <c:v>-6.7226890756302204E-3</c:v>
                </c:pt>
                <c:pt idx="51476">
                  <c:v>-6.7226890756302204E-3</c:v>
                </c:pt>
                <c:pt idx="51477">
                  <c:v>-6.7226890756302204E-3</c:v>
                </c:pt>
                <c:pt idx="51478">
                  <c:v>-6.7226890756302204E-3</c:v>
                </c:pt>
                <c:pt idx="51479">
                  <c:v>-6.7226890756302204E-3</c:v>
                </c:pt>
                <c:pt idx="51480">
                  <c:v>-6.7226890756302204E-3</c:v>
                </c:pt>
                <c:pt idx="51481">
                  <c:v>-6.7226890756302204E-3</c:v>
                </c:pt>
                <c:pt idx="51482">
                  <c:v>-6.7226890756302204E-3</c:v>
                </c:pt>
                <c:pt idx="51483">
                  <c:v>-5.8823529411764497E-3</c:v>
                </c:pt>
                <c:pt idx="51484">
                  <c:v>-5.8823529411764497E-3</c:v>
                </c:pt>
                <c:pt idx="51485">
                  <c:v>-5.8823529411764497E-3</c:v>
                </c:pt>
                <c:pt idx="51486">
                  <c:v>-5.8823529411764497E-3</c:v>
                </c:pt>
                <c:pt idx="51487">
                  <c:v>-5.8823529411764497E-3</c:v>
                </c:pt>
                <c:pt idx="51488">
                  <c:v>-5.8823529411764497E-3</c:v>
                </c:pt>
                <c:pt idx="51489">
                  <c:v>-5.8823529411764497E-3</c:v>
                </c:pt>
                <c:pt idx="51490">
                  <c:v>-5.8823529411764497E-3</c:v>
                </c:pt>
                <c:pt idx="51491">
                  <c:v>-5.8823529411764497E-3</c:v>
                </c:pt>
                <c:pt idx="51492">
                  <c:v>-5.8823529411764497E-3</c:v>
                </c:pt>
                <c:pt idx="51493">
                  <c:v>-5.8823529411764497E-3</c:v>
                </c:pt>
                <c:pt idx="51494">
                  <c:v>-5.8823529411764497E-3</c:v>
                </c:pt>
                <c:pt idx="51495">
                  <c:v>-5.8823529411764497E-3</c:v>
                </c:pt>
                <c:pt idx="51496">
                  <c:v>-5.8823529411764497E-3</c:v>
                </c:pt>
                <c:pt idx="51497">
                  <c:v>-5.8823529411764497E-3</c:v>
                </c:pt>
                <c:pt idx="51498">
                  <c:v>-5.8823529411764497E-3</c:v>
                </c:pt>
                <c:pt idx="51499">
                  <c:v>-5.8823529411764497E-3</c:v>
                </c:pt>
                <c:pt idx="51500">
                  <c:v>-5.8823529411764497E-3</c:v>
                </c:pt>
                <c:pt idx="51501">
                  <c:v>-5.8823529411764497E-3</c:v>
                </c:pt>
                <c:pt idx="51502">
                  <c:v>-5.8823529411764497E-3</c:v>
                </c:pt>
                <c:pt idx="51503">
                  <c:v>-5.8823529411764497E-3</c:v>
                </c:pt>
                <c:pt idx="51504">
                  <c:v>-5.8823529411764497E-3</c:v>
                </c:pt>
                <c:pt idx="51505">
                  <c:v>-5.8823529411764497E-3</c:v>
                </c:pt>
                <c:pt idx="51506">
                  <c:v>-5.8823529411764497E-3</c:v>
                </c:pt>
                <c:pt idx="51507">
                  <c:v>-5.8823529411764497E-3</c:v>
                </c:pt>
                <c:pt idx="51508">
                  <c:v>-5.8823529411764497E-3</c:v>
                </c:pt>
                <c:pt idx="51509">
                  <c:v>-5.8823529411764497E-3</c:v>
                </c:pt>
                <c:pt idx="51510">
                  <c:v>-5.8823529411764497E-3</c:v>
                </c:pt>
                <c:pt idx="51511">
                  <c:v>-5.8823529411764497E-3</c:v>
                </c:pt>
                <c:pt idx="51512">
                  <c:v>-5.8823529411764497E-3</c:v>
                </c:pt>
                <c:pt idx="51513">
                  <c:v>-5.8823529411764497E-3</c:v>
                </c:pt>
                <c:pt idx="51514">
                  <c:v>-5.8823529411764497E-3</c:v>
                </c:pt>
                <c:pt idx="51515">
                  <c:v>-5.8823529411764497E-3</c:v>
                </c:pt>
                <c:pt idx="51516">
                  <c:v>-5.8823529411764497E-3</c:v>
                </c:pt>
                <c:pt idx="51517">
                  <c:v>-5.8823529411764497E-3</c:v>
                </c:pt>
                <c:pt idx="51518">
                  <c:v>-5.8823529411764497E-3</c:v>
                </c:pt>
                <c:pt idx="51519">
                  <c:v>-5.8823529411764497E-3</c:v>
                </c:pt>
                <c:pt idx="51520">
                  <c:v>-5.8823529411764497E-3</c:v>
                </c:pt>
                <c:pt idx="51521">
                  <c:v>-5.8823529411764497E-3</c:v>
                </c:pt>
                <c:pt idx="51522">
                  <c:v>-5.8823529411764497E-3</c:v>
                </c:pt>
                <c:pt idx="51523">
                  <c:v>-5.8823529411764497E-3</c:v>
                </c:pt>
                <c:pt idx="51524">
                  <c:v>-5.8823529411764497E-3</c:v>
                </c:pt>
                <c:pt idx="51525">
                  <c:v>-5.8823529411764497E-3</c:v>
                </c:pt>
                <c:pt idx="51526">
                  <c:v>-5.8823529411764497E-3</c:v>
                </c:pt>
                <c:pt idx="51527">
                  <c:v>-5.8823529411764497E-3</c:v>
                </c:pt>
                <c:pt idx="51528">
                  <c:v>-5.8823529411764497E-3</c:v>
                </c:pt>
                <c:pt idx="51529">
                  <c:v>-5.8823529411764497E-3</c:v>
                </c:pt>
                <c:pt idx="51530">
                  <c:v>-5.8823529411764497E-3</c:v>
                </c:pt>
                <c:pt idx="51531">
                  <c:v>-5.8823529411764497E-3</c:v>
                </c:pt>
                <c:pt idx="51532">
                  <c:v>-5.8823529411764497E-3</c:v>
                </c:pt>
                <c:pt idx="51533">
                  <c:v>-5.8823529411764497E-3</c:v>
                </c:pt>
                <c:pt idx="51534">
                  <c:v>-5.8823529411764497E-3</c:v>
                </c:pt>
                <c:pt idx="51535">
                  <c:v>-5.8823529411764497E-3</c:v>
                </c:pt>
                <c:pt idx="51536">
                  <c:v>-5.8823529411764497E-3</c:v>
                </c:pt>
                <c:pt idx="51537">
                  <c:v>-5.8823529411764497E-3</c:v>
                </c:pt>
                <c:pt idx="51538">
                  <c:v>-5.8823529411764497E-3</c:v>
                </c:pt>
                <c:pt idx="51539">
                  <c:v>-5.8823529411764497E-3</c:v>
                </c:pt>
                <c:pt idx="51540">
                  <c:v>-5.8823529411764497E-3</c:v>
                </c:pt>
                <c:pt idx="51541">
                  <c:v>-5.8823529411764497E-3</c:v>
                </c:pt>
                <c:pt idx="51542">
                  <c:v>-5.8823529411764497E-3</c:v>
                </c:pt>
                <c:pt idx="51543">
                  <c:v>-5.8823529411764497E-3</c:v>
                </c:pt>
                <c:pt idx="51544">
                  <c:v>-5.8823529411764497E-3</c:v>
                </c:pt>
                <c:pt idx="51545">
                  <c:v>-5.8823529411764497E-3</c:v>
                </c:pt>
                <c:pt idx="51546">
                  <c:v>-5.8823529411764497E-3</c:v>
                </c:pt>
                <c:pt idx="51547">
                  <c:v>-5.8823529411764497E-3</c:v>
                </c:pt>
                <c:pt idx="51548">
                  <c:v>-5.8823529411764497E-3</c:v>
                </c:pt>
                <c:pt idx="51549">
                  <c:v>-5.8823529411764497E-3</c:v>
                </c:pt>
                <c:pt idx="51550">
                  <c:v>-5.8823529411764497E-3</c:v>
                </c:pt>
                <c:pt idx="51551">
                  <c:v>-5.8823529411764497E-3</c:v>
                </c:pt>
                <c:pt idx="51552">
                  <c:v>-5.8823529411764497E-3</c:v>
                </c:pt>
                <c:pt idx="51553">
                  <c:v>-5.8823529411764497E-3</c:v>
                </c:pt>
                <c:pt idx="51554">
                  <c:v>-5.8823529411764497E-3</c:v>
                </c:pt>
                <c:pt idx="51555">
                  <c:v>-5.8823529411764497E-3</c:v>
                </c:pt>
                <c:pt idx="51556">
                  <c:v>-5.8823529411764497E-3</c:v>
                </c:pt>
                <c:pt idx="51557">
                  <c:v>-5.8823529411764497E-3</c:v>
                </c:pt>
                <c:pt idx="51558">
                  <c:v>-5.8823529411764497E-3</c:v>
                </c:pt>
                <c:pt idx="51559">
                  <c:v>-5.8823529411764497E-3</c:v>
                </c:pt>
                <c:pt idx="51560">
                  <c:v>-5.8823529411764497E-3</c:v>
                </c:pt>
                <c:pt idx="51561">
                  <c:v>-5.8823529411764497E-3</c:v>
                </c:pt>
                <c:pt idx="51562">
                  <c:v>-5.8823529411764497E-3</c:v>
                </c:pt>
                <c:pt idx="51563">
                  <c:v>-5.8823529411764497E-3</c:v>
                </c:pt>
                <c:pt idx="51564">
                  <c:v>-5.8823529411764497E-3</c:v>
                </c:pt>
                <c:pt idx="51565">
                  <c:v>-5.8823529411764497E-3</c:v>
                </c:pt>
                <c:pt idx="51566">
                  <c:v>-5.8823529411764497E-3</c:v>
                </c:pt>
                <c:pt idx="51567">
                  <c:v>-5.8823529411764497E-3</c:v>
                </c:pt>
                <c:pt idx="51568">
                  <c:v>-5.8823529411764497E-3</c:v>
                </c:pt>
                <c:pt idx="51569">
                  <c:v>-5.8823529411764497E-3</c:v>
                </c:pt>
                <c:pt idx="51570">
                  <c:v>-5.8823529411764497E-3</c:v>
                </c:pt>
                <c:pt idx="51571">
                  <c:v>-5.8823529411764497E-3</c:v>
                </c:pt>
                <c:pt idx="51572">
                  <c:v>-5.8823529411764497E-3</c:v>
                </c:pt>
                <c:pt idx="51573">
                  <c:v>-5.8823529411764497E-3</c:v>
                </c:pt>
                <c:pt idx="51574">
                  <c:v>-5.8823529411764497E-3</c:v>
                </c:pt>
                <c:pt idx="51575">
                  <c:v>-5.8823529411764497E-3</c:v>
                </c:pt>
                <c:pt idx="51576">
                  <c:v>-5.8823529411764497E-3</c:v>
                </c:pt>
                <c:pt idx="51577">
                  <c:v>-5.8823529411764497E-3</c:v>
                </c:pt>
                <c:pt idx="51578">
                  <c:v>-5.8823529411764497E-3</c:v>
                </c:pt>
                <c:pt idx="51579">
                  <c:v>-5.8823529411764497E-3</c:v>
                </c:pt>
                <c:pt idx="51580">
                  <c:v>-5.8823529411764497E-3</c:v>
                </c:pt>
                <c:pt idx="51581">
                  <c:v>-5.8823529411764497E-3</c:v>
                </c:pt>
                <c:pt idx="51582">
                  <c:v>-5.8823529411764497E-3</c:v>
                </c:pt>
                <c:pt idx="51583">
                  <c:v>-5.8823529411764497E-3</c:v>
                </c:pt>
                <c:pt idx="51584">
                  <c:v>-5.8823529411764497E-3</c:v>
                </c:pt>
                <c:pt idx="51585">
                  <c:v>-5.8823529411764497E-3</c:v>
                </c:pt>
                <c:pt idx="51586">
                  <c:v>-5.8823529411764497E-3</c:v>
                </c:pt>
                <c:pt idx="51587">
                  <c:v>-5.8823529411764497E-3</c:v>
                </c:pt>
                <c:pt idx="51588">
                  <c:v>-5.8823529411764497E-3</c:v>
                </c:pt>
                <c:pt idx="51589">
                  <c:v>-5.8823529411764497E-3</c:v>
                </c:pt>
                <c:pt idx="51590">
                  <c:v>-5.8823529411764497E-3</c:v>
                </c:pt>
                <c:pt idx="51591">
                  <c:v>-5.8823529411764497E-3</c:v>
                </c:pt>
                <c:pt idx="51592">
                  <c:v>-5.8823529411764497E-3</c:v>
                </c:pt>
                <c:pt idx="51593">
                  <c:v>-5.8823529411764497E-3</c:v>
                </c:pt>
                <c:pt idx="51594">
                  <c:v>-5.8823529411764497E-3</c:v>
                </c:pt>
                <c:pt idx="51595">
                  <c:v>-5.8823529411764497E-3</c:v>
                </c:pt>
                <c:pt idx="51596">
                  <c:v>-5.8823529411764497E-3</c:v>
                </c:pt>
                <c:pt idx="51597">
                  <c:v>-5.8823529411764497E-3</c:v>
                </c:pt>
                <c:pt idx="51598">
                  <c:v>-5.8823529411764497E-3</c:v>
                </c:pt>
                <c:pt idx="51599">
                  <c:v>-5.8823529411764497E-3</c:v>
                </c:pt>
                <c:pt idx="51600">
                  <c:v>-5.8823529411764497E-3</c:v>
                </c:pt>
                <c:pt idx="51601">
                  <c:v>-5.8823529411764497E-3</c:v>
                </c:pt>
                <c:pt idx="51602">
                  <c:v>-5.8823529411764497E-3</c:v>
                </c:pt>
                <c:pt idx="51603">
                  <c:v>-5.8823529411764497E-3</c:v>
                </c:pt>
                <c:pt idx="51604">
                  <c:v>-5.8823529411764497E-3</c:v>
                </c:pt>
                <c:pt idx="51605">
                  <c:v>-5.8823529411764497E-3</c:v>
                </c:pt>
                <c:pt idx="51606">
                  <c:v>-5.8823529411764497E-3</c:v>
                </c:pt>
                <c:pt idx="51607">
                  <c:v>-5.8823529411764497E-3</c:v>
                </c:pt>
                <c:pt idx="51608">
                  <c:v>-5.8823529411764497E-3</c:v>
                </c:pt>
                <c:pt idx="51609">
                  <c:v>-5.8823529411764497E-3</c:v>
                </c:pt>
                <c:pt idx="51610">
                  <c:v>-5.8823529411764497E-3</c:v>
                </c:pt>
                <c:pt idx="51611">
                  <c:v>-5.8823529411764497E-3</c:v>
                </c:pt>
                <c:pt idx="51612">
                  <c:v>-5.8823529411764497E-3</c:v>
                </c:pt>
                <c:pt idx="51613">
                  <c:v>-5.8823529411764497E-3</c:v>
                </c:pt>
                <c:pt idx="51614">
                  <c:v>-5.8823529411764497E-3</c:v>
                </c:pt>
                <c:pt idx="51615">
                  <c:v>-5.8823529411764497E-3</c:v>
                </c:pt>
                <c:pt idx="51616">
                  <c:v>-5.8823529411764497E-3</c:v>
                </c:pt>
                <c:pt idx="51617">
                  <c:v>-5.8823529411764497E-3</c:v>
                </c:pt>
                <c:pt idx="51618">
                  <c:v>-5.8823529411764497E-3</c:v>
                </c:pt>
                <c:pt idx="51619">
                  <c:v>-5.8823529411764497E-3</c:v>
                </c:pt>
                <c:pt idx="51620">
                  <c:v>-5.8823529411764497E-3</c:v>
                </c:pt>
                <c:pt idx="51621">
                  <c:v>-5.8823529411764497E-3</c:v>
                </c:pt>
                <c:pt idx="51622">
                  <c:v>-5.8823529411764497E-3</c:v>
                </c:pt>
                <c:pt idx="51623">
                  <c:v>-5.8823529411764497E-3</c:v>
                </c:pt>
                <c:pt idx="51624">
                  <c:v>-5.8823529411764497E-3</c:v>
                </c:pt>
                <c:pt idx="51625">
                  <c:v>-5.8823529411764497E-3</c:v>
                </c:pt>
                <c:pt idx="51626">
                  <c:v>-5.8823529411764497E-3</c:v>
                </c:pt>
                <c:pt idx="51627">
                  <c:v>-5.8823529411764497E-3</c:v>
                </c:pt>
                <c:pt idx="51628">
                  <c:v>-5.8823529411764497E-3</c:v>
                </c:pt>
                <c:pt idx="51629">
                  <c:v>-5.8823529411764497E-3</c:v>
                </c:pt>
                <c:pt idx="51630">
                  <c:v>-5.8823529411764497E-3</c:v>
                </c:pt>
                <c:pt idx="51631">
                  <c:v>-5.8823529411764497E-3</c:v>
                </c:pt>
                <c:pt idx="51632">
                  <c:v>-5.8823529411764497E-3</c:v>
                </c:pt>
                <c:pt idx="51633">
                  <c:v>-5.8823529411764497E-3</c:v>
                </c:pt>
                <c:pt idx="51634">
                  <c:v>-5.8823529411764497E-3</c:v>
                </c:pt>
                <c:pt idx="51635">
                  <c:v>-5.8823529411764497E-3</c:v>
                </c:pt>
                <c:pt idx="51636">
                  <c:v>-5.8823529411764497E-3</c:v>
                </c:pt>
                <c:pt idx="51637">
                  <c:v>-5.8823529411764497E-3</c:v>
                </c:pt>
                <c:pt idx="51638">
                  <c:v>-5.8823529411764497E-3</c:v>
                </c:pt>
                <c:pt idx="51639">
                  <c:v>-5.8823529411764497E-3</c:v>
                </c:pt>
                <c:pt idx="51640">
                  <c:v>-5.8823529411764497E-3</c:v>
                </c:pt>
                <c:pt idx="51641">
                  <c:v>-5.8823529411764497E-3</c:v>
                </c:pt>
                <c:pt idx="51642">
                  <c:v>-5.8823529411764497E-3</c:v>
                </c:pt>
                <c:pt idx="51643">
                  <c:v>-5.8823529411764497E-3</c:v>
                </c:pt>
                <c:pt idx="51644">
                  <c:v>-5.8823529411764497E-3</c:v>
                </c:pt>
                <c:pt idx="51645">
                  <c:v>-5.8823529411764497E-3</c:v>
                </c:pt>
                <c:pt idx="51646">
                  <c:v>-5.8823529411764497E-3</c:v>
                </c:pt>
                <c:pt idx="51647">
                  <c:v>-5.8823529411764497E-3</c:v>
                </c:pt>
                <c:pt idx="51648">
                  <c:v>-5.8823529411764497E-3</c:v>
                </c:pt>
                <c:pt idx="51649">
                  <c:v>-5.8823529411764497E-3</c:v>
                </c:pt>
                <c:pt idx="51650">
                  <c:v>-5.8823529411764497E-3</c:v>
                </c:pt>
                <c:pt idx="51651">
                  <c:v>-5.8823529411764497E-3</c:v>
                </c:pt>
                <c:pt idx="51652">
                  <c:v>-5.8823529411764497E-3</c:v>
                </c:pt>
                <c:pt idx="51653">
                  <c:v>-5.8823529411764497E-3</c:v>
                </c:pt>
                <c:pt idx="51654">
                  <c:v>-5.8823529411764497E-3</c:v>
                </c:pt>
                <c:pt idx="51655">
                  <c:v>-5.8823529411764497E-3</c:v>
                </c:pt>
                <c:pt idx="51656">
                  <c:v>-5.8823529411764497E-3</c:v>
                </c:pt>
                <c:pt idx="51657">
                  <c:v>-5.8823529411764497E-3</c:v>
                </c:pt>
                <c:pt idx="51658">
                  <c:v>-5.8823529411764497E-3</c:v>
                </c:pt>
                <c:pt idx="51659">
                  <c:v>-5.8823529411764497E-3</c:v>
                </c:pt>
                <c:pt idx="51660">
                  <c:v>-5.8823529411764497E-3</c:v>
                </c:pt>
                <c:pt idx="51661">
                  <c:v>-5.8823529411764497E-3</c:v>
                </c:pt>
                <c:pt idx="51662">
                  <c:v>-5.8823529411764497E-3</c:v>
                </c:pt>
                <c:pt idx="51663">
                  <c:v>-5.8823529411764497E-3</c:v>
                </c:pt>
                <c:pt idx="51664">
                  <c:v>-5.8823529411764497E-3</c:v>
                </c:pt>
                <c:pt idx="51665">
                  <c:v>-5.8823529411764497E-3</c:v>
                </c:pt>
                <c:pt idx="51666">
                  <c:v>-5.8823529411764497E-3</c:v>
                </c:pt>
                <c:pt idx="51667">
                  <c:v>-5.8823529411764497E-3</c:v>
                </c:pt>
                <c:pt idx="51668">
                  <c:v>-5.8823529411764497E-3</c:v>
                </c:pt>
                <c:pt idx="51669">
                  <c:v>-5.8823529411764497E-3</c:v>
                </c:pt>
                <c:pt idx="51670">
                  <c:v>-5.8823529411764497E-3</c:v>
                </c:pt>
                <c:pt idx="51671">
                  <c:v>-5.8823529411764497E-3</c:v>
                </c:pt>
                <c:pt idx="51672">
                  <c:v>-5.0420168067226703E-3</c:v>
                </c:pt>
                <c:pt idx="51673">
                  <c:v>-5.0420168067226703E-3</c:v>
                </c:pt>
                <c:pt idx="51674">
                  <c:v>-5.0420168067226703E-3</c:v>
                </c:pt>
                <c:pt idx="51675">
                  <c:v>-5.0420168067226703E-3</c:v>
                </c:pt>
                <c:pt idx="51676">
                  <c:v>-5.0420168067226703E-3</c:v>
                </c:pt>
                <c:pt idx="51677">
                  <c:v>-5.0420168067226703E-3</c:v>
                </c:pt>
                <c:pt idx="51678">
                  <c:v>-5.0420168067226703E-3</c:v>
                </c:pt>
                <c:pt idx="51679">
                  <c:v>-5.0420168067226703E-3</c:v>
                </c:pt>
                <c:pt idx="51680">
                  <c:v>-5.0420168067226703E-3</c:v>
                </c:pt>
                <c:pt idx="51681">
                  <c:v>-5.0420168067226703E-3</c:v>
                </c:pt>
                <c:pt idx="51682">
                  <c:v>-5.0420168067226703E-3</c:v>
                </c:pt>
                <c:pt idx="51683">
                  <c:v>-5.0420168067226703E-3</c:v>
                </c:pt>
                <c:pt idx="51684">
                  <c:v>-5.0420168067226703E-3</c:v>
                </c:pt>
                <c:pt idx="51685">
                  <c:v>-5.0420168067226703E-3</c:v>
                </c:pt>
                <c:pt idx="51686">
                  <c:v>-5.0420168067226703E-3</c:v>
                </c:pt>
                <c:pt idx="51687">
                  <c:v>-5.0420168067226703E-3</c:v>
                </c:pt>
                <c:pt idx="51688">
                  <c:v>-5.0420168067226703E-3</c:v>
                </c:pt>
                <c:pt idx="51689">
                  <c:v>-5.0420168067226703E-3</c:v>
                </c:pt>
                <c:pt idx="51690">
                  <c:v>-5.0420168067226703E-3</c:v>
                </c:pt>
                <c:pt idx="51691">
                  <c:v>-5.0420168067226703E-3</c:v>
                </c:pt>
                <c:pt idx="51692">
                  <c:v>-5.0420168067226703E-3</c:v>
                </c:pt>
                <c:pt idx="51693">
                  <c:v>-5.0420168067226703E-3</c:v>
                </c:pt>
                <c:pt idx="51694">
                  <c:v>-5.0420168067226703E-3</c:v>
                </c:pt>
                <c:pt idx="51695">
                  <c:v>-5.0420168067226703E-3</c:v>
                </c:pt>
                <c:pt idx="51696">
                  <c:v>-5.0420168067226703E-3</c:v>
                </c:pt>
                <c:pt idx="51697">
                  <c:v>-5.0420168067226703E-3</c:v>
                </c:pt>
                <c:pt idx="51698">
                  <c:v>-5.0420168067226703E-3</c:v>
                </c:pt>
                <c:pt idx="51699">
                  <c:v>-5.0420168067226703E-3</c:v>
                </c:pt>
                <c:pt idx="51700">
                  <c:v>-5.0420168067226703E-3</c:v>
                </c:pt>
                <c:pt idx="51701">
                  <c:v>-5.0420168067226703E-3</c:v>
                </c:pt>
                <c:pt idx="51702">
                  <c:v>-5.0420168067226703E-3</c:v>
                </c:pt>
                <c:pt idx="51703">
                  <c:v>-5.0420168067226703E-3</c:v>
                </c:pt>
                <c:pt idx="51704">
                  <c:v>-5.0420168067226703E-3</c:v>
                </c:pt>
                <c:pt idx="51705">
                  <c:v>-5.0420168067226703E-3</c:v>
                </c:pt>
                <c:pt idx="51706">
                  <c:v>-5.0420168067226703E-3</c:v>
                </c:pt>
                <c:pt idx="51707">
                  <c:v>-5.0420168067226703E-3</c:v>
                </c:pt>
                <c:pt idx="51708">
                  <c:v>-5.0420168067226703E-3</c:v>
                </c:pt>
                <c:pt idx="51709">
                  <c:v>-5.0420168067226703E-3</c:v>
                </c:pt>
                <c:pt idx="51710">
                  <c:v>-5.0420168067226703E-3</c:v>
                </c:pt>
                <c:pt idx="51711">
                  <c:v>-5.0420168067226703E-3</c:v>
                </c:pt>
                <c:pt idx="51712">
                  <c:v>-5.0420168067226703E-3</c:v>
                </c:pt>
                <c:pt idx="51713">
                  <c:v>-5.0420168067226703E-3</c:v>
                </c:pt>
                <c:pt idx="51714">
                  <c:v>-5.0420168067226703E-3</c:v>
                </c:pt>
                <c:pt idx="51715">
                  <c:v>-5.0420168067226703E-3</c:v>
                </c:pt>
                <c:pt idx="51716">
                  <c:v>-5.0420168067226703E-3</c:v>
                </c:pt>
                <c:pt idx="51717">
                  <c:v>-5.0420168067226703E-3</c:v>
                </c:pt>
                <c:pt idx="51718">
                  <c:v>-5.0420168067226703E-3</c:v>
                </c:pt>
                <c:pt idx="51719">
                  <c:v>-5.0420168067226703E-3</c:v>
                </c:pt>
                <c:pt idx="51720">
                  <c:v>-5.0420168067226703E-3</c:v>
                </c:pt>
                <c:pt idx="51721">
                  <c:v>-5.0420168067226703E-3</c:v>
                </c:pt>
                <c:pt idx="51722">
                  <c:v>-5.0420168067226703E-3</c:v>
                </c:pt>
                <c:pt idx="51723">
                  <c:v>-5.0420168067226703E-3</c:v>
                </c:pt>
                <c:pt idx="51724">
                  <c:v>-5.0420168067226703E-3</c:v>
                </c:pt>
                <c:pt idx="51725">
                  <c:v>-5.0420168067226703E-3</c:v>
                </c:pt>
                <c:pt idx="51726">
                  <c:v>-5.0420168067226703E-3</c:v>
                </c:pt>
                <c:pt idx="51727">
                  <c:v>-5.0420168067226703E-3</c:v>
                </c:pt>
                <c:pt idx="51728">
                  <c:v>-5.0420168067226703E-3</c:v>
                </c:pt>
                <c:pt idx="51729">
                  <c:v>-5.0420168067226703E-3</c:v>
                </c:pt>
                <c:pt idx="51730">
                  <c:v>-5.0420168067226703E-3</c:v>
                </c:pt>
                <c:pt idx="51731">
                  <c:v>-5.0420168067226703E-3</c:v>
                </c:pt>
                <c:pt idx="51732">
                  <c:v>-5.0420168067226703E-3</c:v>
                </c:pt>
                <c:pt idx="51733">
                  <c:v>-5.0420168067226703E-3</c:v>
                </c:pt>
                <c:pt idx="51734">
                  <c:v>-5.0420168067226703E-3</c:v>
                </c:pt>
                <c:pt idx="51735">
                  <c:v>-5.0420168067226703E-3</c:v>
                </c:pt>
                <c:pt idx="51736">
                  <c:v>-5.0420168067226703E-3</c:v>
                </c:pt>
                <c:pt idx="51737">
                  <c:v>-5.0420168067226703E-3</c:v>
                </c:pt>
                <c:pt idx="51738">
                  <c:v>-5.0420168067226703E-3</c:v>
                </c:pt>
                <c:pt idx="51739">
                  <c:v>-5.0420168067226703E-3</c:v>
                </c:pt>
                <c:pt idx="51740">
                  <c:v>-5.0420168067226703E-3</c:v>
                </c:pt>
                <c:pt idx="51741">
                  <c:v>-5.0420168067226703E-3</c:v>
                </c:pt>
                <c:pt idx="51742">
                  <c:v>-5.0420168067226703E-3</c:v>
                </c:pt>
                <c:pt idx="51743">
                  <c:v>-5.0420168067226703E-3</c:v>
                </c:pt>
                <c:pt idx="51744">
                  <c:v>-5.0420168067226703E-3</c:v>
                </c:pt>
                <c:pt idx="51745">
                  <c:v>-5.0420168067226703E-3</c:v>
                </c:pt>
                <c:pt idx="51746">
                  <c:v>-5.0420168067226703E-3</c:v>
                </c:pt>
                <c:pt idx="51747">
                  <c:v>-5.0420168067226703E-3</c:v>
                </c:pt>
                <c:pt idx="51748">
                  <c:v>-5.0420168067226703E-3</c:v>
                </c:pt>
                <c:pt idx="51749">
                  <c:v>-5.0420168067226703E-3</c:v>
                </c:pt>
                <c:pt idx="51750">
                  <c:v>-5.0420168067226703E-3</c:v>
                </c:pt>
                <c:pt idx="51751">
                  <c:v>-5.0420168067226703E-3</c:v>
                </c:pt>
                <c:pt idx="51752">
                  <c:v>-5.0420168067226703E-3</c:v>
                </c:pt>
                <c:pt idx="51753">
                  <c:v>-5.0420168067226703E-3</c:v>
                </c:pt>
                <c:pt idx="51754">
                  <c:v>-5.0420168067226703E-3</c:v>
                </c:pt>
                <c:pt idx="51755">
                  <c:v>-5.0420168067226703E-3</c:v>
                </c:pt>
                <c:pt idx="51756">
                  <c:v>-5.0420168067226703E-3</c:v>
                </c:pt>
                <c:pt idx="51757">
                  <c:v>-5.0420168067226703E-3</c:v>
                </c:pt>
                <c:pt idx="51758">
                  <c:v>-5.0420168067226703E-3</c:v>
                </c:pt>
                <c:pt idx="51759">
                  <c:v>-5.0420168067226703E-3</c:v>
                </c:pt>
                <c:pt idx="51760">
                  <c:v>-5.0420168067226703E-3</c:v>
                </c:pt>
                <c:pt idx="51761">
                  <c:v>-5.0420168067226703E-3</c:v>
                </c:pt>
                <c:pt idx="51762">
                  <c:v>-5.0420168067226703E-3</c:v>
                </c:pt>
                <c:pt idx="51763">
                  <c:v>-5.0420168067226703E-3</c:v>
                </c:pt>
                <c:pt idx="51764">
                  <c:v>-5.0420168067226703E-3</c:v>
                </c:pt>
                <c:pt idx="51765">
                  <c:v>-5.0420168067226703E-3</c:v>
                </c:pt>
                <c:pt idx="51766">
                  <c:v>-5.0420168067226703E-3</c:v>
                </c:pt>
                <c:pt idx="51767">
                  <c:v>-5.0420168067226703E-3</c:v>
                </c:pt>
                <c:pt idx="51768">
                  <c:v>-5.0420168067226703E-3</c:v>
                </c:pt>
                <c:pt idx="51769">
                  <c:v>-5.0420168067226703E-3</c:v>
                </c:pt>
                <c:pt idx="51770">
                  <c:v>-5.0420168067226703E-3</c:v>
                </c:pt>
                <c:pt idx="51771">
                  <c:v>-5.0420168067226703E-3</c:v>
                </c:pt>
                <c:pt idx="51772">
                  <c:v>-5.0420168067226703E-3</c:v>
                </c:pt>
                <c:pt idx="51773">
                  <c:v>-5.0420168067226703E-3</c:v>
                </c:pt>
                <c:pt idx="51774">
                  <c:v>-5.0420168067226703E-3</c:v>
                </c:pt>
                <c:pt idx="51775">
                  <c:v>-5.0420168067226703E-3</c:v>
                </c:pt>
                <c:pt idx="51776">
                  <c:v>-5.0420168067226703E-3</c:v>
                </c:pt>
                <c:pt idx="51777">
                  <c:v>-5.0420168067226703E-3</c:v>
                </c:pt>
                <c:pt idx="51778">
                  <c:v>-5.0420168067226703E-3</c:v>
                </c:pt>
                <c:pt idx="51779">
                  <c:v>-5.0420168067226703E-3</c:v>
                </c:pt>
                <c:pt idx="51780">
                  <c:v>-5.0420168067226703E-3</c:v>
                </c:pt>
                <c:pt idx="51781">
                  <c:v>-5.0420168067226703E-3</c:v>
                </c:pt>
                <c:pt idx="51782">
                  <c:v>-5.0420168067226703E-3</c:v>
                </c:pt>
                <c:pt idx="51783">
                  <c:v>-5.0420168067226703E-3</c:v>
                </c:pt>
                <c:pt idx="51784">
                  <c:v>-5.0420168067226703E-3</c:v>
                </c:pt>
                <c:pt idx="51785">
                  <c:v>-5.0420168067226703E-3</c:v>
                </c:pt>
                <c:pt idx="51786">
                  <c:v>-5.0420168067226703E-3</c:v>
                </c:pt>
                <c:pt idx="51787">
                  <c:v>-5.0420168067226703E-3</c:v>
                </c:pt>
                <c:pt idx="51788">
                  <c:v>-5.0420168067226703E-3</c:v>
                </c:pt>
                <c:pt idx="51789">
                  <c:v>-4.20168067226889E-3</c:v>
                </c:pt>
                <c:pt idx="51790">
                  <c:v>-4.20168067226889E-3</c:v>
                </c:pt>
                <c:pt idx="51791">
                  <c:v>-4.20168067226889E-3</c:v>
                </c:pt>
                <c:pt idx="51792">
                  <c:v>-4.20168067226889E-3</c:v>
                </c:pt>
                <c:pt idx="51793">
                  <c:v>-4.20168067226889E-3</c:v>
                </c:pt>
                <c:pt idx="51794">
                  <c:v>-4.20168067226889E-3</c:v>
                </c:pt>
                <c:pt idx="51795">
                  <c:v>-4.20168067226889E-3</c:v>
                </c:pt>
                <c:pt idx="51796">
                  <c:v>-4.20168067226889E-3</c:v>
                </c:pt>
                <c:pt idx="51797">
                  <c:v>-4.20168067226889E-3</c:v>
                </c:pt>
                <c:pt idx="51798">
                  <c:v>-4.20168067226889E-3</c:v>
                </c:pt>
                <c:pt idx="51799">
                  <c:v>-4.20168067226889E-3</c:v>
                </c:pt>
                <c:pt idx="51800">
                  <c:v>-4.20168067226889E-3</c:v>
                </c:pt>
                <c:pt idx="51801">
                  <c:v>-4.20168067226889E-3</c:v>
                </c:pt>
                <c:pt idx="51802">
                  <c:v>-4.20168067226889E-3</c:v>
                </c:pt>
                <c:pt idx="51803">
                  <c:v>-4.20168067226889E-3</c:v>
                </c:pt>
                <c:pt idx="51804">
                  <c:v>-4.20168067226889E-3</c:v>
                </c:pt>
                <c:pt idx="51805">
                  <c:v>-4.20168067226889E-3</c:v>
                </c:pt>
                <c:pt idx="51806">
                  <c:v>-4.20168067226889E-3</c:v>
                </c:pt>
                <c:pt idx="51807">
                  <c:v>-4.20168067226889E-3</c:v>
                </c:pt>
                <c:pt idx="51808">
                  <c:v>-4.20168067226889E-3</c:v>
                </c:pt>
                <c:pt idx="51809">
                  <c:v>-4.20168067226889E-3</c:v>
                </c:pt>
                <c:pt idx="51810">
                  <c:v>-4.20168067226889E-3</c:v>
                </c:pt>
                <c:pt idx="51811">
                  <c:v>-4.20168067226889E-3</c:v>
                </c:pt>
                <c:pt idx="51812">
                  <c:v>-4.20168067226889E-3</c:v>
                </c:pt>
                <c:pt idx="51813">
                  <c:v>-4.20168067226889E-3</c:v>
                </c:pt>
                <c:pt idx="51814">
                  <c:v>-4.20168067226889E-3</c:v>
                </c:pt>
                <c:pt idx="51815">
                  <c:v>-4.20168067226889E-3</c:v>
                </c:pt>
                <c:pt idx="51816">
                  <c:v>-4.20168067226889E-3</c:v>
                </c:pt>
                <c:pt idx="51817">
                  <c:v>-4.20168067226889E-3</c:v>
                </c:pt>
                <c:pt idx="51818">
                  <c:v>-4.20168067226889E-3</c:v>
                </c:pt>
                <c:pt idx="51819">
                  <c:v>-4.20168067226889E-3</c:v>
                </c:pt>
                <c:pt idx="51820">
                  <c:v>-4.20168067226889E-3</c:v>
                </c:pt>
                <c:pt idx="51821">
                  <c:v>-4.20168067226889E-3</c:v>
                </c:pt>
                <c:pt idx="51822">
                  <c:v>-4.20168067226889E-3</c:v>
                </c:pt>
                <c:pt idx="51823">
                  <c:v>-4.20168067226889E-3</c:v>
                </c:pt>
                <c:pt idx="51824">
                  <c:v>-4.20168067226889E-3</c:v>
                </c:pt>
                <c:pt idx="51825">
                  <c:v>-4.20168067226889E-3</c:v>
                </c:pt>
                <c:pt idx="51826">
                  <c:v>-4.20168067226889E-3</c:v>
                </c:pt>
                <c:pt idx="51827">
                  <c:v>-4.20168067226889E-3</c:v>
                </c:pt>
                <c:pt idx="51828">
                  <c:v>-4.20168067226889E-3</c:v>
                </c:pt>
                <c:pt idx="51829">
                  <c:v>-4.20168067226889E-3</c:v>
                </c:pt>
                <c:pt idx="51830">
                  <c:v>-4.20168067226889E-3</c:v>
                </c:pt>
                <c:pt idx="51831">
                  <c:v>-4.20168067226889E-3</c:v>
                </c:pt>
                <c:pt idx="51832">
                  <c:v>-4.20168067226889E-3</c:v>
                </c:pt>
                <c:pt idx="51833">
                  <c:v>-4.20168067226889E-3</c:v>
                </c:pt>
                <c:pt idx="51834">
                  <c:v>-4.20168067226889E-3</c:v>
                </c:pt>
                <c:pt idx="51835">
                  <c:v>-4.20168067226889E-3</c:v>
                </c:pt>
                <c:pt idx="51836">
                  <c:v>-4.20168067226889E-3</c:v>
                </c:pt>
                <c:pt idx="51837">
                  <c:v>-4.20168067226889E-3</c:v>
                </c:pt>
                <c:pt idx="51838">
                  <c:v>-4.20168067226889E-3</c:v>
                </c:pt>
                <c:pt idx="51839">
                  <c:v>-4.20168067226889E-3</c:v>
                </c:pt>
                <c:pt idx="51840">
                  <c:v>-4.20168067226889E-3</c:v>
                </c:pt>
                <c:pt idx="51841">
                  <c:v>-4.20168067226889E-3</c:v>
                </c:pt>
                <c:pt idx="51842">
                  <c:v>-4.20168067226889E-3</c:v>
                </c:pt>
                <c:pt idx="51843">
                  <c:v>-4.20168067226889E-3</c:v>
                </c:pt>
                <c:pt idx="51844">
                  <c:v>-4.20168067226889E-3</c:v>
                </c:pt>
                <c:pt idx="51845">
                  <c:v>-4.20168067226889E-3</c:v>
                </c:pt>
                <c:pt idx="51846">
                  <c:v>-4.20168067226889E-3</c:v>
                </c:pt>
                <c:pt idx="51847">
                  <c:v>-4.20168067226889E-3</c:v>
                </c:pt>
                <c:pt idx="51848">
                  <c:v>-4.20168067226889E-3</c:v>
                </c:pt>
                <c:pt idx="51849">
                  <c:v>-4.20168067226889E-3</c:v>
                </c:pt>
                <c:pt idx="51850">
                  <c:v>-4.20168067226889E-3</c:v>
                </c:pt>
                <c:pt idx="51851">
                  <c:v>-4.20168067226889E-3</c:v>
                </c:pt>
                <c:pt idx="51852">
                  <c:v>-4.20168067226889E-3</c:v>
                </c:pt>
                <c:pt idx="51853">
                  <c:v>-4.20168067226889E-3</c:v>
                </c:pt>
                <c:pt idx="51854">
                  <c:v>-4.20168067226889E-3</c:v>
                </c:pt>
                <c:pt idx="51855">
                  <c:v>-4.20168067226889E-3</c:v>
                </c:pt>
                <c:pt idx="51856">
                  <c:v>-4.20168067226889E-3</c:v>
                </c:pt>
                <c:pt idx="51857">
                  <c:v>-4.20168067226889E-3</c:v>
                </c:pt>
                <c:pt idx="51858">
                  <c:v>-4.20168067226889E-3</c:v>
                </c:pt>
                <c:pt idx="51859">
                  <c:v>-4.20168067226889E-3</c:v>
                </c:pt>
                <c:pt idx="51860">
                  <c:v>-4.20168067226889E-3</c:v>
                </c:pt>
                <c:pt idx="51861">
                  <c:v>-4.20168067226889E-3</c:v>
                </c:pt>
                <c:pt idx="51862">
                  <c:v>-4.20168067226889E-3</c:v>
                </c:pt>
                <c:pt idx="51863">
                  <c:v>-4.20168067226889E-3</c:v>
                </c:pt>
                <c:pt idx="51864">
                  <c:v>-4.20168067226889E-3</c:v>
                </c:pt>
                <c:pt idx="51865">
                  <c:v>-4.20168067226889E-3</c:v>
                </c:pt>
                <c:pt idx="51866">
                  <c:v>-4.20168067226889E-3</c:v>
                </c:pt>
                <c:pt idx="51867">
                  <c:v>-4.20168067226889E-3</c:v>
                </c:pt>
                <c:pt idx="51868">
                  <c:v>-4.20168067226889E-3</c:v>
                </c:pt>
                <c:pt idx="51869">
                  <c:v>-4.20168067226889E-3</c:v>
                </c:pt>
                <c:pt idx="51870">
                  <c:v>-4.20168067226889E-3</c:v>
                </c:pt>
                <c:pt idx="51871">
                  <c:v>-4.20168067226889E-3</c:v>
                </c:pt>
                <c:pt idx="51872">
                  <c:v>-4.20168067226889E-3</c:v>
                </c:pt>
                <c:pt idx="51873">
                  <c:v>-4.20168067226889E-3</c:v>
                </c:pt>
                <c:pt idx="51874">
                  <c:v>-4.20168067226889E-3</c:v>
                </c:pt>
                <c:pt idx="51875">
                  <c:v>-4.20168067226889E-3</c:v>
                </c:pt>
                <c:pt idx="51876">
                  <c:v>-4.20168067226889E-3</c:v>
                </c:pt>
                <c:pt idx="51877">
                  <c:v>-4.20168067226889E-3</c:v>
                </c:pt>
                <c:pt idx="51878">
                  <c:v>-4.20168067226889E-3</c:v>
                </c:pt>
                <c:pt idx="51879">
                  <c:v>-4.20168067226889E-3</c:v>
                </c:pt>
                <c:pt idx="51880">
                  <c:v>-4.20168067226889E-3</c:v>
                </c:pt>
                <c:pt idx="51881">
                  <c:v>-4.20168067226889E-3</c:v>
                </c:pt>
                <c:pt idx="51882">
                  <c:v>-4.20168067226889E-3</c:v>
                </c:pt>
                <c:pt idx="51883">
                  <c:v>-4.20168067226889E-3</c:v>
                </c:pt>
                <c:pt idx="51884">
                  <c:v>-4.20168067226889E-3</c:v>
                </c:pt>
                <c:pt idx="51885">
                  <c:v>-4.20168067226889E-3</c:v>
                </c:pt>
                <c:pt idx="51886">
                  <c:v>-4.20168067226889E-3</c:v>
                </c:pt>
                <c:pt idx="51887">
                  <c:v>-4.20168067226889E-3</c:v>
                </c:pt>
                <c:pt idx="51888">
                  <c:v>-4.20168067226889E-3</c:v>
                </c:pt>
                <c:pt idx="51889">
                  <c:v>-4.20168067226889E-3</c:v>
                </c:pt>
                <c:pt idx="51890">
                  <c:v>-4.20168067226889E-3</c:v>
                </c:pt>
                <c:pt idx="51891">
                  <c:v>-4.20168067226889E-3</c:v>
                </c:pt>
                <c:pt idx="51892">
                  <c:v>-4.20168067226889E-3</c:v>
                </c:pt>
                <c:pt idx="51893">
                  <c:v>-4.20168067226889E-3</c:v>
                </c:pt>
                <c:pt idx="51894">
                  <c:v>-4.20168067226889E-3</c:v>
                </c:pt>
                <c:pt idx="51895">
                  <c:v>-4.20168067226889E-3</c:v>
                </c:pt>
                <c:pt idx="51896">
                  <c:v>-4.20168067226889E-3</c:v>
                </c:pt>
                <c:pt idx="51897">
                  <c:v>-4.20168067226889E-3</c:v>
                </c:pt>
                <c:pt idx="51898">
                  <c:v>-4.20168067226889E-3</c:v>
                </c:pt>
                <c:pt idx="51899">
                  <c:v>-4.20168067226889E-3</c:v>
                </c:pt>
                <c:pt idx="51900">
                  <c:v>-4.20168067226889E-3</c:v>
                </c:pt>
                <c:pt idx="51901">
                  <c:v>-4.20168067226889E-3</c:v>
                </c:pt>
                <c:pt idx="51902">
                  <c:v>-4.20168067226889E-3</c:v>
                </c:pt>
                <c:pt idx="51903">
                  <c:v>-4.20168067226889E-3</c:v>
                </c:pt>
                <c:pt idx="51904">
                  <c:v>-4.20168067226889E-3</c:v>
                </c:pt>
                <c:pt idx="51905">
                  <c:v>-4.20168067226889E-3</c:v>
                </c:pt>
                <c:pt idx="51906">
                  <c:v>-4.20168067226889E-3</c:v>
                </c:pt>
                <c:pt idx="51907">
                  <c:v>-4.20168067226889E-3</c:v>
                </c:pt>
                <c:pt idx="51908">
                  <c:v>-4.20168067226889E-3</c:v>
                </c:pt>
                <c:pt idx="51909">
                  <c:v>-4.20168067226889E-3</c:v>
                </c:pt>
                <c:pt idx="51910">
                  <c:v>-4.20168067226889E-3</c:v>
                </c:pt>
                <c:pt idx="51911">
                  <c:v>-4.20168067226889E-3</c:v>
                </c:pt>
                <c:pt idx="51912">
                  <c:v>-4.20168067226889E-3</c:v>
                </c:pt>
                <c:pt idx="51913">
                  <c:v>-4.20168067226889E-3</c:v>
                </c:pt>
                <c:pt idx="51914">
                  <c:v>-4.20168067226889E-3</c:v>
                </c:pt>
                <c:pt idx="51915">
                  <c:v>-4.20168067226889E-3</c:v>
                </c:pt>
                <c:pt idx="51916">
                  <c:v>-4.20168067226889E-3</c:v>
                </c:pt>
                <c:pt idx="51917">
                  <c:v>-4.20168067226889E-3</c:v>
                </c:pt>
                <c:pt idx="51918">
                  <c:v>-4.20168067226889E-3</c:v>
                </c:pt>
                <c:pt idx="51919">
                  <c:v>-4.20168067226889E-3</c:v>
                </c:pt>
                <c:pt idx="51920">
                  <c:v>-4.20168067226889E-3</c:v>
                </c:pt>
                <c:pt idx="51921">
                  <c:v>-4.20168067226889E-3</c:v>
                </c:pt>
                <c:pt idx="51922">
                  <c:v>-4.20168067226889E-3</c:v>
                </c:pt>
                <c:pt idx="51923">
                  <c:v>-4.20168067226889E-3</c:v>
                </c:pt>
                <c:pt idx="51924">
                  <c:v>-4.20168067226889E-3</c:v>
                </c:pt>
                <c:pt idx="51925">
                  <c:v>-4.20168067226889E-3</c:v>
                </c:pt>
                <c:pt idx="51926">
                  <c:v>-4.20168067226889E-3</c:v>
                </c:pt>
                <c:pt idx="51927">
                  <c:v>-4.20168067226889E-3</c:v>
                </c:pt>
                <c:pt idx="51928">
                  <c:v>-4.20168067226889E-3</c:v>
                </c:pt>
                <c:pt idx="51929">
                  <c:v>-4.20168067226889E-3</c:v>
                </c:pt>
                <c:pt idx="51930">
                  <c:v>-4.20168067226889E-3</c:v>
                </c:pt>
                <c:pt idx="51931">
                  <c:v>-4.20168067226889E-3</c:v>
                </c:pt>
                <c:pt idx="51932">
                  <c:v>-4.20168067226889E-3</c:v>
                </c:pt>
                <c:pt idx="51933">
                  <c:v>-4.20168067226889E-3</c:v>
                </c:pt>
                <c:pt idx="51934">
                  <c:v>-4.20168067226889E-3</c:v>
                </c:pt>
                <c:pt idx="51935">
                  <c:v>-4.20168067226889E-3</c:v>
                </c:pt>
                <c:pt idx="51936">
                  <c:v>-4.20168067226889E-3</c:v>
                </c:pt>
                <c:pt idx="51937">
                  <c:v>-4.20168067226889E-3</c:v>
                </c:pt>
                <c:pt idx="51938">
                  <c:v>-4.20168067226889E-3</c:v>
                </c:pt>
                <c:pt idx="51939">
                  <c:v>-4.20168067226889E-3</c:v>
                </c:pt>
                <c:pt idx="51940">
                  <c:v>-4.20168067226889E-3</c:v>
                </c:pt>
                <c:pt idx="51941">
                  <c:v>-4.20168067226889E-3</c:v>
                </c:pt>
                <c:pt idx="51942">
                  <c:v>-4.20168067226889E-3</c:v>
                </c:pt>
                <c:pt idx="51943">
                  <c:v>-4.20168067226889E-3</c:v>
                </c:pt>
                <c:pt idx="51944">
                  <c:v>-4.20168067226889E-3</c:v>
                </c:pt>
                <c:pt idx="51945">
                  <c:v>-4.20168067226889E-3</c:v>
                </c:pt>
                <c:pt idx="51946">
                  <c:v>-4.20168067226889E-3</c:v>
                </c:pt>
                <c:pt idx="51947">
                  <c:v>-4.20168067226889E-3</c:v>
                </c:pt>
                <c:pt idx="51948">
                  <c:v>-4.20168067226889E-3</c:v>
                </c:pt>
                <c:pt idx="51949">
                  <c:v>-4.20168067226889E-3</c:v>
                </c:pt>
                <c:pt idx="51950">
                  <c:v>-4.20168067226889E-3</c:v>
                </c:pt>
                <c:pt idx="51951">
                  <c:v>-4.20168067226889E-3</c:v>
                </c:pt>
                <c:pt idx="51952">
                  <c:v>-4.20168067226889E-3</c:v>
                </c:pt>
                <c:pt idx="51953">
                  <c:v>-4.20168067226889E-3</c:v>
                </c:pt>
                <c:pt idx="51954">
                  <c:v>-4.20168067226889E-3</c:v>
                </c:pt>
                <c:pt idx="51955">
                  <c:v>-4.20168067226889E-3</c:v>
                </c:pt>
                <c:pt idx="51956">
                  <c:v>-4.20168067226889E-3</c:v>
                </c:pt>
                <c:pt idx="51957">
                  <c:v>-4.20168067226889E-3</c:v>
                </c:pt>
                <c:pt idx="51958">
                  <c:v>-4.20168067226889E-3</c:v>
                </c:pt>
                <c:pt idx="51959">
                  <c:v>-4.20168067226889E-3</c:v>
                </c:pt>
                <c:pt idx="51960">
                  <c:v>-4.20168067226889E-3</c:v>
                </c:pt>
                <c:pt idx="51961">
                  <c:v>-4.20168067226889E-3</c:v>
                </c:pt>
                <c:pt idx="51962">
                  <c:v>-4.20168067226889E-3</c:v>
                </c:pt>
                <c:pt idx="51963">
                  <c:v>-4.20168067226889E-3</c:v>
                </c:pt>
                <c:pt idx="51964">
                  <c:v>-4.20168067226889E-3</c:v>
                </c:pt>
                <c:pt idx="51965">
                  <c:v>-4.20168067226889E-3</c:v>
                </c:pt>
                <c:pt idx="51966">
                  <c:v>-4.20168067226889E-3</c:v>
                </c:pt>
                <c:pt idx="51967">
                  <c:v>-4.20168067226889E-3</c:v>
                </c:pt>
                <c:pt idx="51968">
                  <c:v>-4.20168067226889E-3</c:v>
                </c:pt>
                <c:pt idx="51969">
                  <c:v>-4.20168067226889E-3</c:v>
                </c:pt>
                <c:pt idx="51970">
                  <c:v>-4.20168067226889E-3</c:v>
                </c:pt>
                <c:pt idx="51971">
                  <c:v>-4.20168067226889E-3</c:v>
                </c:pt>
                <c:pt idx="51972">
                  <c:v>-4.20168067226889E-3</c:v>
                </c:pt>
                <c:pt idx="51973">
                  <c:v>-4.20168067226889E-3</c:v>
                </c:pt>
                <c:pt idx="51974">
                  <c:v>-4.20168067226889E-3</c:v>
                </c:pt>
                <c:pt idx="51975">
                  <c:v>-4.20168067226889E-3</c:v>
                </c:pt>
                <c:pt idx="51976">
                  <c:v>-4.20168067226889E-3</c:v>
                </c:pt>
                <c:pt idx="51977">
                  <c:v>-4.20168067226889E-3</c:v>
                </c:pt>
                <c:pt idx="51978">
                  <c:v>-4.20168067226889E-3</c:v>
                </c:pt>
                <c:pt idx="51979">
                  <c:v>-4.20168067226889E-3</c:v>
                </c:pt>
                <c:pt idx="51980">
                  <c:v>-4.20168067226889E-3</c:v>
                </c:pt>
                <c:pt idx="51981">
                  <c:v>-4.20168067226889E-3</c:v>
                </c:pt>
                <c:pt idx="51982">
                  <c:v>-4.20168067226889E-3</c:v>
                </c:pt>
                <c:pt idx="51983">
                  <c:v>-4.20168067226889E-3</c:v>
                </c:pt>
                <c:pt idx="51984">
                  <c:v>-4.20168067226889E-3</c:v>
                </c:pt>
                <c:pt idx="51985">
                  <c:v>-4.20168067226889E-3</c:v>
                </c:pt>
                <c:pt idx="51986">
                  <c:v>-4.20168067226889E-3</c:v>
                </c:pt>
                <c:pt idx="51987">
                  <c:v>-4.20168067226889E-3</c:v>
                </c:pt>
                <c:pt idx="51988">
                  <c:v>-4.20168067226889E-3</c:v>
                </c:pt>
                <c:pt idx="51989">
                  <c:v>-4.20168067226889E-3</c:v>
                </c:pt>
                <c:pt idx="51990">
                  <c:v>-4.20168067226889E-3</c:v>
                </c:pt>
                <c:pt idx="51991">
                  <c:v>-4.20168067226889E-3</c:v>
                </c:pt>
                <c:pt idx="51992">
                  <c:v>-4.20168067226889E-3</c:v>
                </c:pt>
                <c:pt idx="51993">
                  <c:v>-4.20168067226889E-3</c:v>
                </c:pt>
                <c:pt idx="51994">
                  <c:v>-4.20168067226889E-3</c:v>
                </c:pt>
                <c:pt idx="51995">
                  <c:v>-4.20168067226889E-3</c:v>
                </c:pt>
                <c:pt idx="51996">
                  <c:v>-4.20168067226889E-3</c:v>
                </c:pt>
                <c:pt idx="51997">
                  <c:v>-4.20168067226889E-3</c:v>
                </c:pt>
                <c:pt idx="51998">
                  <c:v>-4.20168067226889E-3</c:v>
                </c:pt>
                <c:pt idx="51999">
                  <c:v>-4.20168067226889E-3</c:v>
                </c:pt>
                <c:pt idx="52000">
                  <c:v>-4.20168067226889E-3</c:v>
                </c:pt>
                <c:pt idx="52001">
                  <c:v>-4.20168067226889E-3</c:v>
                </c:pt>
                <c:pt idx="52002">
                  <c:v>-4.20168067226889E-3</c:v>
                </c:pt>
                <c:pt idx="52003">
                  <c:v>-4.20168067226889E-3</c:v>
                </c:pt>
                <c:pt idx="52004">
                  <c:v>-4.20168067226889E-3</c:v>
                </c:pt>
                <c:pt idx="52005">
                  <c:v>-4.20168067226889E-3</c:v>
                </c:pt>
                <c:pt idx="52006">
                  <c:v>-4.20168067226889E-3</c:v>
                </c:pt>
                <c:pt idx="52007">
                  <c:v>-4.20168067226889E-3</c:v>
                </c:pt>
                <c:pt idx="52008">
                  <c:v>-4.20168067226889E-3</c:v>
                </c:pt>
                <c:pt idx="52009">
                  <c:v>-4.20168067226889E-3</c:v>
                </c:pt>
                <c:pt idx="52010">
                  <c:v>-4.20168067226889E-3</c:v>
                </c:pt>
                <c:pt idx="52011">
                  <c:v>-4.20168067226889E-3</c:v>
                </c:pt>
                <c:pt idx="52012">
                  <c:v>-4.20168067226889E-3</c:v>
                </c:pt>
                <c:pt idx="52013">
                  <c:v>-4.20168067226889E-3</c:v>
                </c:pt>
                <c:pt idx="52014">
                  <c:v>-4.20168067226889E-3</c:v>
                </c:pt>
                <c:pt idx="52015">
                  <c:v>-4.20168067226889E-3</c:v>
                </c:pt>
                <c:pt idx="52016">
                  <c:v>-4.20168067226889E-3</c:v>
                </c:pt>
                <c:pt idx="52017">
                  <c:v>-4.20168067226889E-3</c:v>
                </c:pt>
                <c:pt idx="52018">
                  <c:v>-4.20168067226889E-3</c:v>
                </c:pt>
                <c:pt idx="52019">
                  <c:v>-4.20168067226889E-3</c:v>
                </c:pt>
                <c:pt idx="52020">
                  <c:v>-4.20168067226889E-3</c:v>
                </c:pt>
                <c:pt idx="52021">
                  <c:v>-4.20168067226889E-3</c:v>
                </c:pt>
                <c:pt idx="52022">
                  <c:v>-4.20168067226889E-3</c:v>
                </c:pt>
                <c:pt idx="52023">
                  <c:v>-4.20168067226889E-3</c:v>
                </c:pt>
                <c:pt idx="52024">
                  <c:v>-4.20168067226889E-3</c:v>
                </c:pt>
                <c:pt idx="52025">
                  <c:v>-4.20168067226889E-3</c:v>
                </c:pt>
                <c:pt idx="52026">
                  <c:v>-4.20168067226889E-3</c:v>
                </c:pt>
                <c:pt idx="52027">
                  <c:v>-4.20168067226889E-3</c:v>
                </c:pt>
                <c:pt idx="52028">
                  <c:v>-4.20168067226889E-3</c:v>
                </c:pt>
                <c:pt idx="52029">
                  <c:v>-4.20168067226889E-3</c:v>
                </c:pt>
                <c:pt idx="52030">
                  <c:v>-4.20168067226889E-3</c:v>
                </c:pt>
                <c:pt idx="52031">
                  <c:v>-4.20168067226889E-3</c:v>
                </c:pt>
                <c:pt idx="52032">
                  <c:v>-4.20168067226889E-3</c:v>
                </c:pt>
                <c:pt idx="52033">
                  <c:v>-4.20168067226889E-3</c:v>
                </c:pt>
                <c:pt idx="52034">
                  <c:v>-4.20168067226889E-3</c:v>
                </c:pt>
                <c:pt idx="52035">
                  <c:v>-4.20168067226889E-3</c:v>
                </c:pt>
                <c:pt idx="52036">
                  <c:v>-4.20168067226889E-3</c:v>
                </c:pt>
                <c:pt idx="52037">
                  <c:v>-4.20168067226889E-3</c:v>
                </c:pt>
                <c:pt idx="52038">
                  <c:v>-4.20168067226889E-3</c:v>
                </c:pt>
                <c:pt idx="52039">
                  <c:v>-4.20168067226889E-3</c:v>
                </c:pt>
                <c:pt idx="52040">
                  <c:v>-4.20168067226889E-3</c:v>
                </c:pt>
                <c:pt idx="52041">
                  <c:v>-4.20168067226889E-3</c:v>
                </c:pt>
                <c:pt idx="52042">
                  <c:v>-4.20168067226889E-3</c:v>
                </c:pt>
                <c:pt idx="52043">
                  <c:v>-4.20168067226889E-3</c:v>
                </c:pt>
                <c:pt idx="52044">
                  <c:v>-4.20168067226889E-3</c:v>
                </c:pt>
                <c:pt idx="52045">
                  <c:v>-4.20168067226889E-3</c:v>
                </c:pt>
                <c:pt idx="52046">
                  <c:v>-4.20168067226889E-3</c:v>
                </c:pt>
                <c:pt idx="52047">
                  <c:v>-4.20168067226889E-3</c:v>
                </c:pt>
                <c:pt idx="52048">
                  <c:v>-4.20168067226889E-3</c:v>
                </c:pt>
                <c:pt idx="52049">
                  <c:v>-4.20168067226889E-3</c:v>
                </c:pt>
                <c:pt idx="52050">
                  <c:v>-4.20168067226889E-3</c:v>
                </c:pt>
                <c:pt idx="52051">
                  <c:v>-4.20168067226889E-3</c:v>
                </c:pt>
                <c:pt idx="52052">
                  <c:v>-4.20168067226889E-3</c:v>
                </c:pt>
                <c:pt idx="52053">
                  <c:v>-4.20168067226889E-3</c:v>
                </c:pt>
                <c:pt idx="52054">
                  <c:v>-4.20168067226889E-3</c:v>
                </c:pt>
                <c:pt idx="52055">
                  <c:v>-4.20168067226889E-3</c:v>
                </c:pt>
                <c:pt idx="52056">
                  <c:v>-4.20168067226889E-3</c:v>
                </c:pt>
                <c:pt idx="52057">
                  <c:v>-4.20168067226889E-3</c:v>
                </c:pt>
                <c:pt idx="52058">
                  <c:v>-4.20168067226889E-3</c:v>
                </c:pt>
                <c:pt idx="52059">
                  <c:v>-4.20168067226889E-3</c:v>
                </c:pt>
                <c:pt idx="52060">
                  <c:v>-4.20168067226889E-3</c:v>
                </c:pt>
                <c:pt idx="52061">
                  <c:v>-4.20168067226889E-3</c:v>
                </c:pt>
                <c:pt idx="52062">
                  <c:v>-4.20168067226889E-3</c:v>
                </c:pt>
                <c:pt idx="52063">
                  <c:v>-4.20168067226889E-3</c:v>
                </c:pt>
                <c:pt idx="52064">
                  <c:v>-4.20168067226889E-3</c:v>
                </c:pt>
                <c:pt idx="52065">
                  <c:v>-4.20168067226889E-3</c:v>
                </c:pt>
                <c:pt idx="52066">
                  <c:v>-4.20168067226889E-3</c:v>
                </c:pt>
                <c:pt idx="52067">
                  <c:v>-4.20168067226889E-3</c:v>
                </c:pt>
                <c:pt idx="52068">
                  <c:v>-4.20168067226889E-3</c:v>
                </c:pt>
                <c:pt idx="52069">
                  <c:v>-4.20168067226889E-3</c:v>
                </c:pt>
                <c:pt idx="52070">
                  <c:v>-4.20168067226889E-3</c:v>
                </c:pt>
                <c:pt idx="52071">
                  <c:v>-4.20168067226889E-3</c:v>
                </c:pt>
                <c:pt idx="52072">
                  <c:v>-4.20168067226889E-3</c:v>
                </c:pt>
                <c:pt idx="52073">
                  <c:v>-4.20168067226889E-3</c:v>
                </c:pt>
                <c:pt idx="52074">
                  <c:v>-3.3613445378151102E-3</c:v>
                </c:pt>
                <c:pt idx="52075">
                  <c:v>-3.3613445378151102E-3</c:v>
                </c:pt>
                <c:pt idx="52076">
                  <c:v>-3.3613445378151102E-3</c:v>
                </c:pt>
                <c:pt idx="52077">
                  <c:v>-3.3613445378151102E-3</c:v>
                </c:pt>
                <c:pt idx="52078">
                  <c:v>-3.3613445378151102E-3</c:v>
                </c:pt>
                <c:pt idx="52079">
                  <c:v>-3.3613445378151102E-3</c:v>
                </c:pt>
                <c:pt idx="52080">
                  <c:v>-3.3613445378151102E-3</c:v>
                </c:pt>
                <c:pt idx="52081">
                  <c:v>-3.3613445378151102E-3</c:v>
                </c:pt>
                <c:pt idx="52082">
                  <c:v>-3.3613445378151102E-3</c:v>
                </c:pt>
                <c:pt idx="52083">
                  <c:v>-3.3613445378151102E-3</c:v>
                </c:pt>
                <c:pt idx="52084">
                  <c:v>-3.3613445378151102E-3</c:v>
                </c:pt>
                <c:pt idx="52085">
                  <c:v>-3.3613445378151102E-3</c:v>
                </c:pt>
                <c:pt idx="52086">
                  <c:v>-3.3613445378151102E-3</c:v>
                </c:pt>
                <c:pt idx="52087">
                  <c:v>-3.3613445378151102E-3</c:v>
                </c:pt>
                <c:pt idx="52088">
                  <c:v>-3.3613445378151102E-3</c:v>
                </c:pt>
                <c:pt idx="52089">
                  <c:v>-3.3613445378151102E-3</c:v>
                </c:pt>
                <c:pt idx="52090">
                  <c:v>-3.3613445378151102E-3</c:v>
                </c:pt>
                <c:pt idx="52091">
                  <c:v>-3.3613445378151102E-3</c:v>
                </c:pt>
                <c:pt idx="52092">
                  <c:v>-3.3613445378151102E-3</c:v>
                </c:pt>
                <c:pt idx="52093">
                  <c:v>-3.3613445378151102E-3</c:v>
                </c:pt>
                <c:pt idx="52094">
                  <c:v>-3.3613445378151102E-3</c:v>
                </c:pt>
                <c:pt idx="52095">
                  <c:v>-3.3613445378151102E-3</c:v>
                </c:pt>
                <c:pt idx="52096">
                  <c:v>-3.3613445378151102E-3</c:v>
                </c:pt>
                <c:pt idx="52097">
                  <c:v>-3.3613445378151102E-3</c:v>
                </c:pt>
                <c:pt idx="52098">
                  <c:v>-3.3613445378151102E-3</c:v>
                </c:pt>
                <c:pt idx="52099">
                  <c:v>-3.3613445378151102E-3</c:v>
                </c:pt>
                <c:pt idx="52100">
                  <c:v>-3.3613445378151102E-3</c:v>
                </c:pt>
                <c:pt idx="52101">
                  <c:v>-3.3613445378151102E-3</c:v>
                </c:pt>
                <c:pt idx="52102">
                  <c:v>-3.3613445378151102E-3</c:v>
                </c:pt>
                <c:pt idx="52103">
                  <c:v>-3.3613445378151102E-3</c:v>
                </c:pt>
                <c:pt idx="52104">
                  <c:v>-3.3613445378151102E-3</c:v>
                </c:pt>
                <c:pt idx="52105">
                  <c:v>-3.3613445378151102E-3</c:v>
                </c:pt>
                <c:pt idx="52106">
                  <c:v>-3.3613445378151102E-3</c:v>
                </c:pt>
                <c:pt idx="52107">
                  <c:v>-3.3613445378151102E-3</c:v>
                </c:pt>
                <c:pt idx="52108">
                  <c:v>-3.3613445378151102E-3</c:v>
                </c:pt>
                <c:pt idx="52109">
                  <c:v>-3.3613445378151102E-3</c:v>
                </c:pt>
                <c:pt idx="52110">
                  <c:v>-3.3613445378151102E-3</c:v>
                </c:pt>
                <c:pt idx="52111">
                  <c:v>-3.3613445378151102E-3</c:v>
                </c:pt>
                <c:pt idx="52112">
                  <c:v>-3.3613445378151102E-3</c:v>
                </c:pt>
                <c:pt idx="52113">
                  <c:v>-3.3613445378151102E-3</c:v>
                </c:pt>
                <c:pt idx="52114">
                  <c:v>-3.3613445378151102E-3</c:v>
                </c:pt>
                <c:pt idx="52115">
                  <c:v>-3.3613445378151102E-3</c:v>
                </c:pt>
                <c:pt idx="52116">
                  <c:v>-3.3613445378151102E-3</c:v>
                </c:pt>
                <c:pt idx="52117">
                  <c:v>-3.3613445378151102E-3</c:v>
                </c:pt>
                <c:pt idx="52118">
                  <c:v>-3.3613445378151102E-3</c:v>
                </c:pt>
                <c:pt idx="52119">
                  <c:v>-3.3613445378151102E-3</c:v>
                </c:pt>
                <c:pt idx="52120">
                  <c:v>-3.3613445378151102E-3</c:v>
                </c:pt>
                <c:pt idx="52121">
                  <c:v>-3.3613445378151102E-3</c:v>
                </c:pt>
                <c:pt idx="52122">
                  <c:v>-3.3613445378151102E-3</c:v>
                </c:pt>
                <c:pt idx="52123">
                  <c:v>-3.3613445378151102E-3</c:v>
                </c:pt>
                <c:pt idx="52124">
                  <c:v>-3.3613445378151102E-3</c:v>
                </c:pt>
                <c:pt idx="52125">
                  <c:v>-3.3613445378151102E-3</c:v>
                </c:pt>
                <c:pt idx="52126">
                  <c:v>-3.3613445378151102E-3</c:v>
                </c:pt>
                <c:pt idx="52127">
                  <c:v>-3.3613445378151102E-3</c:v>
                </c:pt>
                <c:pt idx="52128">
                  <c:v>-3.3613445378151102E-3</c:v>
                </c:pt>
                <c:pt idx="52129">
                  <c:v>-3.3613445378151102E-3</c:v>
                </c:pt>
                <c:pt idx="52130">
                  <c:v>-3.3613445378151102E-3</c:v>
                </c:pt>
                <c:pt idx="52131">
                  <c:v>-3.3613445378151102E-3</c:v>
                </c:pt>
                <c:pt idx="52132">
                  <c:v>-3.3613445378151102E-3</c:v>
                </c:pt>
                <c:pt idx="52133">
                  <c:v>-3.3613445378151102E-3</c:v>
                </c:pt>
                <c:pt idx="52134">
                  <c:v>-3.3613445378151102E-3</c:v>
                </c:pt>
                <c:pt idx="52135">
                  <c:v>-3.3613445378151102E-3</c:v>
                </c:pt>
                <c:pt idx="52136">
                  <c:v>-3.3613445378151102E-3</c:v>
                </c:pt>
                <c:pt idx="52137">
                  <c:v>-3.3613445378151102E-3</c:v>
                </c:pt>
                <c:pt idx="52138">
                  <c:v>-3.3613445378151102E-3</c:v>
                </c:pt>
                <c:pt idx="52139">
                  <c:v>-3.3613445378151102E-3</c:v>
                </c:pt>
                <c:pt idx="52140">
                  <c:v>-3.3613445378151102E-3</c:v>
                </c:pt>
                <c:pt idx="52141">
                  <c:v>-3.3613445378151102E-3</c:v>
                </c:pt>
                <c:pt idx="52142">
                  <c:v>-3.3613445378151102E-3</c:v>
                </c:pt>
                <c:pt idx="52143">
                  <c:v>-3.3613445378151102E-3</c:v>
                </c:pt>
                <c:pt idx="52144">
                  <c:v>-3.3613445378151102E-3</c:v>
                </c:pt>
                <c:pt idx="52145">
                  <c:v>-3.3613445378151102E-3</c:v>
                </c:pt>
                <c:pt idx="52146">
                  <c:v>-3.3613445378151102E-3</c:v>
                </c:pt>
                <c:pt idx="52147">
                  <c:v>-3.3613445378151102E-3</c:v>
                </c:pt>
                <c:pt idx="52148">
                  <c:v>-3.3613445378151102E-3</c:v>
                </c:pt>
                <c:pt idx="52149">
                  <c:v>-3.3613445378151102E-3</c:v>
                </c:pt>
                <c:pt idx="52150">
                  <c:v>-3.3613445378151102E-3</c:v>
                </c:pt>
                <c:pt idx="52151">
                  <c:v>-3.3613445378151102E-3</c:v>
                </c:pt>
                <c:pt idx="52152">
                  <c:v>-3.3613445378151102E-3</c:v>
                </c:pt>
                <c:pt idx="52153">
                  <c:v>-3.3613445378151102E-3</c:v>
                </c:pt>
                <c:pt idx="52154">
                  <c:v>-3.3613445378151102E-3</c:v>
                </c:pt>
                <c:pt idx="52155">
                  <c:v>-3.3613445378151102E-3</c:v>
                </c:pt>
                <c:pt idx="52156">
                  <c:v>-3.3613445378151102E-3</c:v>
                </c:pt>
                <c:pt idx="52157">
                  <c:v>-3.3613445378151102E-3</c:v>
                </c:pt>
                <c:pt idx="52158">
                  <c:v>-3.3613445378151102E-3</c:v>
                </c:pt>
                <c:pt idx="52159">
                  <c:v>-3.3613445378151102E-3</c:v>
                </c:pt>
                <c:pt idx="52160">
                  <c:v>-3.3613445378151102E-3</c:v>
                </c:pt>
                <c:pt idx="52161">
                  <c:v>-3.3613445378151102E-3</c:v>
                </c:pt>
                <c:pt idx="52162">
                  <c:v>-3.3613445378151102E-3</c:v>
                </c:pt>
                <c:pt idx="52163">
                  <c:v>-3.3613445378151102E-3</c:v>
                </c:pt>
                <c:pt idx="52164">
                  <c:v>-3.3613445378151102E-3</c:v>
                </c:pt>
                <c:pt idx="52165">
                  <c:v>-3.3613445378151102E-3</c:v>
                </c:pt>
                <c:pt idx="52166">
                  <c:v>-3.3613445378151102E-3</c:v>
                </c:pt>
                <c:pt idx="52167">
                  <c:v>-3.3613445378151102E-3</c:v>
                </c:pt>
                <c:pt idx="52168">
                  <c:v>-3.3613445378151102E-3</c:v>
                </c:pt>
                <c:pt idx="52169">
                  <c:v>-3.3613445378151102E-3</c:v>
                </c:pt>
                <c:pt idx="52170">
                  <c:v>-3.3613445378151102E-3</c:v>
                </c:pt>
                <c:pt idx="52171">
                  <c:v>-3.3613445378151102E-3</c:v>
                </c:pt>
                <c:pt idx="52172">
                  <c:v>-3.3613445378151102E-3</c:v>
                </c:pt>
                <c:pt idx="52173">
                  <c:v>-3.3613445378151102E-3</c:v>
                </c:pt>
                <c:pt idx="52174">
                  <c:v>-3.3613445378151102E-3</c:v>
                </c:pt>
                <c:pt idx="52175">
                  <c:v>-3.3613445378151102E-3</c:v>
                </c:pt>
                <c:pt idx="52176">
                  <c:v>-3.3613445378151102E-3</c:v>
                </c:pt>
                <c:pt idx="52177">
                  <c:v>-3.3613445378151102E-3</c:v>
                </c:pt>
                <c:pt idx="52178">
                  <c:v>-3.3613445378151102E-3</c:v>
                </c:pt>
                <c:pt idx="52179">
                  <c:v>-3.3613445378151102E-3</c:v>
                </c:pt>
                <c:pt idx="52180">
                  <c:v>-3.3613445378151102E-3</c:v>
                </c:pt>
                <c:pt idx="52181">
                  <c:v>-3.3613445378151102E-3</c:v>
                </c:pt>
                <c:pt idx="52182">
                  <c:v>-3.3613445378151102E-3</c:v>
                </c:pt>
                <c:pt idx="52183">
                  <c:v>-3.3613445378151102E-3</c:v>
                </c:pt>
                <c:pt idx="52184">
                  <c:v>-3.3613445378151102E-3</c:v>
                </c:pt>
                <c:pt idx="52185">
                  <c:v>-3.3613445378151102E-3</c:v>
                </c:pt>
                <c:pt idx="52186">
                  <c:v>-3.3613445378151102E-3</c:v>
                </c:pt>
                <c:pt idx="52187">
                  <c:v>-3.3613445378151102E-3</c:v>
                </c:pt>
                <c:pt idx="52188">
                  <c:v>-3.3613445378151102E-3</c:v>
                </c:pt>
                <c:pt idx="52189">
                  <c:v>-3.3613445378151102E-3</c:v>
                </c:pt>
                <c:pt idx="52190">
                  <c:v>-3.3613445378151102E-3</c:v>
                </c:pt>
                <c:pt idx="52191">
                  <c:v>-3.3613445378151102E-3</c:v>
                </c:pt>
                <c:pt idx="52192">
                  <c:v>-3.3613445378151102E-3</c:v>
                </c:pt>
                <c:pt idx="52193">
                  <c:v>-3.3613445378151102E-3</c:v>
                </c:pt>
                <c:pt idx="52194">
                  <c:v>-3.3613445378151102E-3</c:v>
                </c:pt>
                <c:pt idx="52195">
                  <c:v>-3.3613445378151102E-3</c:v>
                </c:pt>
                <c:pt idx="52196">
                  <c:v>-3.3613445378151102E-3</c:v>
                </c:pt>
                <c:pt idx="52197">
                  <c:v>-3.3613445378151102E-3</c:v>
                </c:pt>
                <c:pt idx="52198">
                  <c:v>-3.3613445378151102E-3</c:v>
                </c:pt>
                <c:pt idx="52199">
                  <c:v>-3.3613445378151102E-3</c:v>
                </c:pt>
                <c:pt idx="52200">
                  <c:v>-3.3613445378151102E-3</c:v>
                </c:pt>
                <c:pt idx="52201">
                  <c:v>-3.3613445378151102E-3</c:v>
                </c:pt>
                <c:pt idx="52202">
                  <c:v>-3.3613445378151102E-3</c:v>
                </c:pt>
                <c:pt idx="52203">
                  <c:v>-3.3613445378151102E-3</c:v>
                </c:pt>
                <c:pt idx="52204">
                  <c:v>-3.3613445378151102E-3</c:v>
                </c:pt>
                <c:pt idx="52205">
                  <c:v>-3.3613445378151102E-3</c:v>
                </c:pt>
                <c:pt idx="52206">
                  <c:v>-3.3613445378151102E-3</c:v>
                </c:pt>
                <c:pt idx="52207">
                  <c:v>-3.3613445378151102E-3</c:v>
                </c:pt>
                <c:pt idx="52208">
                  <c:v>-3.3613445378151102E-3</c:v>
                </c:pt>
                <c:pt idx="52209">
                  <c:v>-3.3613445378151102E-3</c:v>
                </c:pt>
                <c:pt idx="52210">
                  <c:v>-3.3613445378151102E-3</c:v>
                </c:pt>
                <c:pt idx="52211">
                  <c:v>-3.3613445378151102E-3</c:v>
                </c:pt>
                <c:pt idx="52212">
                  <c:v>-3.3613445378151102E-3</c:v>
                </c:pt>
                <c:pt idx="52213">
                  <c:v>-3.3613445378151102E-3</c:v>
                </c:pt>
                <c:pt idx="52214">
                  <c:v>-3.3613445378151102E-3</c:v>
                </c:pt>
                <c:pt idx="52215">
                  <c:v>-3.3613445378151102E-3</c:v>
                </c:pt>
                <c:pt idx="52216">
                  <c:v>-3.3613445378151102E-3</c:v>
                </c:pt>
                <c:pt idx="52217">
                  <c:v>-3.3613445378151102E-3</c:v>
                </c:pt>
                <c:pt idx="52218">
                  <c:v>-3.3613445378151102E-3</c:v>
                </c:pt>
                <c:pt idx="52219">
                  <c:v>-3.3613445378151102E-3</c:v>
                </c:pt>
                <c:pt idx="52220">
                  <c:v>-3.3613445378151102E-3</c:v>
                </c:pt>
                <c:pt idx="52221">
                  <c:v>-3.3613445378151102E-3</c:v>
                </c:pt>
                <c:pt idx="52222">
                  <c:v>-3.3613445378151102E-3</c:v>
                </c:pt>
                <c:pt idx="52223">
                  <c:v>-3.3613445378151102E-3</c:v>
                </c:pt>
                <c:pt idx="52224">
                  <c:v>-3.3613445378151102E-3</c:v>
                </c:pt>
                <c:pt idx="52225">
                  <c:v>-3.3613445378151102E-3</c:v>
                </c:pt>
                <c:pt idx="52226">
                  <c:v>-3.3613445378151102E-3</c:v>
                </c:pt>
                <c:pt idx="52227">
                  <c:v>-3.3613445378151102E-3</c:v>
                </c:pt>
                <c:pt idx="52228">
                  <c:v>-3.3613445378151102E-3</c:v>
                </c:pt>
                <c:pt idx="52229">
                  <c:v>-3.3613445378151102E-3</c:v>
                </c:pt>
                <c:pt idx="52230">
                  <c:v>-3.3613445378151102E-3</c:v>
                </c:pt>
                <c:pt idx="52231">
                  <c:v>-3.3613445378151102E-3</c:v>
                </c:pt>
                <c:pt idx="52232">
                  <c:v>-3.3613445378151102E-3</c:v>
                </c:pt>
                <c:pt idx="52233">
                  <c:v>-3.3613445378151102E-3</c:v>
                </c:pt>
                <c:pt idx="52234">
                  <c:v>-3.3613445378151102E-3</c:v>
                </c:pt>
                <c:pt idx="52235">
                  <c:v>-3.3613445378151102E-3</c:v>
                </c:pt>
                <c:pt idx="52236">
                  <c:v>-3.3613445378151102E-3</c:v>
                </c:pt>
                <c:pt idx="52237">
                  <c:v>-3.3613445378151102E-3</c:v>
                </c:pt>
                <c:pt idx="52238">
                  <c:v>-3.3613445378151102E-3</c:v>
                </c:pt>
                <c:pt idx="52239">
                  <c:v>-3.3613445378151102E-3</c:v>
                </c:pt>
                <c:pt idx="52240">
                  <c:v>-3.3613445378151102E-3</c:v>
                </c:pt>
                <c:pt idx="52241">
                  <c:v>-3.3613445378151102E-3</c:v>
                </c:pt>
                <c:pt idx="52242">
                  <c:v>-3.3613445378151102E-3</c:v>
                </c:pt>
                <c:pt idx="52243">
                  <c:v>-3.3613445378151102E-3</c:v>
                </c:pt>
                <c:pt idx="52244">
                  <c:v>-3.3613445378151102E-3</c:v>
                </c:pt>
                <c:pt idx="52245">
                  <c:v>-3.3613445378151102E-3</c:v>
                </c:pt>
                <c:pt idx="52246">
                  <c:v>-3.3613445378151102E-3</c:v>
                </c:pt>
                <c:pt idx="52247">
                  <c:v>-3.3613445378151102E-3</c:v>
                </c:pt>
                <c:pt idx="52248">
                  <c:v>-3.3613445378151102E-3</c:v>
                </c:pt>
                <c:pt idx="52249">
                  <c:v>-3.3613445378151102E-3</c:v>
                </c:pt>
                <c:pt idx="52250">
                  <c:v>-3.3613445378151102E-3</c:v>
                </c:pt>
                <c:pt idx="52251">
                  <c:v>-3.3613445378151102E-3</c:v>
                </c:pt>
                <c:pt idx="52252">
                  <c:v>-3.3613445378151102E-3</c:v>
                </c:pt>
                <c:pt idx="52253">
                  <c:v>-3.3613445378151102E-3</c:v>
                </c:pt>
                <c:pt idx="52254">
                  <c:v>-3.3613445378151102E-3</c:v>
                </c:pt>
                <c:pt idx="52255">
                  <c:v>-3.3613445378151102E-3</c:v>
                </c:pt>
                <c:pt idx="52256">
                  <c:v>-3.3613445378151102E-3</c:v>
                </c:pt>
                <c:pt idx="52257">
                  <c:v>-3.3613445378151102E-3</c:v>
                </c:pt>
                <c:pt idx="52258">
                  <c:v>-3.3613445378151102E-3</c:v>
                </c:pt>
                <c:pt idx="52259">
                  <c:v>-3.3613445378151102E-3</c:v>
                </c:pt>
                <c:pt idx="52260">
                  <c:v>-3.3613445378151102E-3</c:v>
                </c:pt>
                <c:pt idx="52261">
                  <c:v>-3.3613445378151102E-3</c:v>
                </c:pt>
                <c:pt idx="52262">
                  <c:v>-3.3613445378151102E-3</c:v>
                </c:pt>
                <c:pt idx="52263">
                  <c:v>-3.3613445378151102E-3</c:v>
                </c:pt>
                <c:pt idx="52264">
                  <c:v>-3.3613445378151102E-3</c:v>
                </c:pt>
                <c:pt idx="52265">
                  <c:v>-3.3613445378151102E-3</c:v>
                </c:pt>
                <c:pt idx="52266">
                  <c:v>-3.3613445378151102E-3</c:v>
                </c:pt>
                <c:pt idx="52267">
                  <c:v>-3.3613445378151102E-3</c:v>
                </c:pt>
                <c:pt idx="52268">
                  <c:v>-3.3613445378151102E-3</c:v>
                </c:pt>
                <c:pt idx="52269">
                  <c:v>-3.3613445378151102E-3</c:v>
                </c:pt>
                <c:pt idx="52270">
                  <c:v>-3.3613445378151102E-3</c:v>
                </c:pt>
                <c:pt idx="52271">
                  <c:v>-3.3613445378151102E-3</c:v>
                </c:pt>
                <c:pt idx="52272">
                  <c:v>-3.3613445378151102E-3</c:v>
                </c:pt>
                <c:pt idx="52273">
                  <c:v>-3.3613445378151102E-3</c:v>
                </c:pt>
                <c:pt idx="52274">
                  <c:v>-3.3613445378151102E-3</c:v>
                </c:pt>
                <c:pt idx="52275">
                  <c:v>-3.3613445378151102E-3</c:v>
                </c:pt>
                <c:pt idx="52276">
                  <c:v>-3.3613445378151102E-3</c:v>
                </c:pt>
                <c:pt idx="52277">
                  <c:v>-3.3613445378151102E-3</c:v>
                </c:pt>
                <c:pt idx="52278">
                  <c:v>-3.3613445378151102E-3</c:v>
                </c:pt>
                <c:pt idx="52279">
                  <c:v>-3.3613445378151102E-3</c:v>
                </c:pt>
                <c:pt idx="52280">
                  <c:v>-3.3613445378151102E-3</c:v>
                </c:pt>
                <c:pt idx="52281">
                  <c:v>-3.3613445378151102E-3</c:v>
                </c:pt>
                <c:pt idx="52282">
                  <c:v>-3.3613445378151102E-3</c:v>
                </c:pt>
                <c:pt idx="52283">
                  <c:v>-3.3613445378151102E-3</c:v>
                </c:pt>
                <c:pt idx="52284">
                  <c:v>-3.3613445378151102E-3</c:v>
                </c:pt>
                <c:pt idx="52285">
                  <c:v>-3.3613445378151102E-3</c:v>
                </c:pt>
                <c:pt idx="52286">
                  <c:v>-3.3613445378151102E-3</c:v>
                </c:pt>
                <c:pt idx="52287">
                  <c:v>-3.3613445378151102E-3</c:v>
                </c:pt>
                <c:pt idx="52288">
                  <c:v>-3.3613445378151102E-3</c:v>
                </c:pt>
                <c:pt idx="52289">
                  <c:v>-3.3613445378151102E-3</c:v>
                </c:pt>
                <c:pt idx="52290">
                  <c:v>-3.3613445378151102E-3</c:v>
                </c:pt>
                <c:pt idx="52291">
                  <c:v>-3.3613445378151102E-3</c:v>
                </c:pt>
                <c:pt idx="52292">
                  <c:v>-3.3613445378151102E-3</c:v>
                </c:pt>
                <c:pt idx="52293">
                  <c:v>-3.3613445378151102E-3</c:v>
                </c:pt>
                <c:pt idx="52294">
                  <c:v>-3.3613445378151102E-3</c:v>
                </c:pt>
                <c:pt idx="52295">
                  <c:v>-3.3613445378151102E-3</c:v>
                </c:pt>
                <c:pt idx="52296">
                  <c:v>-3.3613445378151102E-3</c:v>
                </c:pt>
                <c:pt idx="52297">
                  <c:v>-3.3613445378151102E-3</c:v>
                </c:pt>
                <c:pt idx="52298">
                  <c:v>-3.3613445378151102E-3</c:v>
                </c:pt>
                <c:pt idx="52299">
                  <c:v>-3.3613445378151102E-3</c:v>
                </c:pt>
                <c:pt idx="52300">
                  <c:v>-3.3613445378151102E-3</c:v>
                </c:pt>
                <c:pt idx="52301">
                  <c:v>-3.3613445378151102E-3</c:v>
                </c:pt>
                <c:pt idx="52302">
                  <c:v>-3.3613445378151102E-3</c:v>
                </c:pt>
                <c:pt idx="52303">
                  <c:v>-3.3613445378151102E-3</c:v>
                </c:pt>
                <c:pt idx="52304">
                  <c:v>-3.3613445378151102E-3</c:v>
                </c:pt>
                <c:pt idx="52305">
                  <c:v>-3.3613445378151102E-3</c:v>
                </c:pt>
                <c:pt idx="52306">
                  <c:v>-3.3613445378151102E-3</c:v>
                </c:pt>
                <c:pt idx="52307">
                  <c:v>-3.3613445378151102E-3</c:v>
                </c:pt>
                <c:pt idx="52308">
                  <c:v>-3.3613445378151102E-3</c:v>
                </c:pt>
                <c:pt idx="52309">
                  <c:v>-3.3613445378151102E-3</c:v>
                </c:pt>
                <c:pt idx="52310">
                  <c:v>-3.3613445378151102E-3</c:v>
                </c:pt>
                <c:pt idx="52311">
                  <c:v>-3.3613445378151102E-3</c:v>
                </c:pt>
                <c:pt idx="52312">
                  <c:v>-3.3613445378151102E-3</c:v>
                </c:pt>
                <c:pt idx="52313">
                  <c:v>-3.3613445378151102E-3</c:v>
                </c:pt>
                <c:pt idx="52314">
                  <c:v>-3.3613445378151102E-3</c:v>
                </c:pt>
                <c:pt idx="52315">
                  <c:v>-3.3613445378151102E-3</c:v>
                </c:pt>
                <c:pt idx="52316">
                  <c:v>-3.3613445378151102E-3</c:v>
                </c:pt>
                <c:pt idx="52317">
                  <c:v>-3.3613445378151102E-3</c:v>
                </c:pt>
                <c:pt idx="52318">
                  <c:v>-3.3613445378151102E-3</c:v>
                </c:pt>
                <c:pt idx="52319">
                  <c:v>-3.3613445378151102E-3</c:v>
                </c:pt>
                <c:pt idx="52320">
                  <c:v>-3.3613445378151102E-3</c:v>
                </c:pt>
                <c:pt idx="52321">
                  <c:v>-3.3613445378151102E-3</c:v>
                </c:pt>
                <c:pt idx="52322">
                  <c:v>-3.3613445378151102E-3</c:v>
                </c:pt>
                <c:pt idx="52323">
                  <c:v>-3.3613445378151102E-3</c:v>
                </c:pt>
                <c:pt idx="52324">
                  <c:v>-3.3613445378151102E-3</c:v>
                </c:pt>
                <c:pt idx="52325">
                  <c:v>-3.3613445378151102E-3</c:v>
                </c:pt>
                <c:pt idx="52326">
                  <c:v>-3.3613445378151102E-3</c:v>
                </c:pt>
                <c:pt idx="52327">
                  <c:v>-3.3613445378151102E-3</c:v>
                </c:pt>
                <c:pt idx="52328">
                  <c:v>-3.3613445378151102E-3</c:v>
                </c:pt>
                <c:pt idx="52329">
                  <c:v>-3.3613445378151102E-3</c:v>
                </c:pt>
                <c:pt idx="52330">
                  <c:v>-3.3613445378151102E-3</c:v>
                </c:pt>
                <c:pt idx="52331">
                  <c:v>-3.3613445378151102E-3</c:v>
                </c:pt>
                <c:pt idx="52332">
                  <c:v>-3.3613445378151102E-3</c:v>
                </c:pt>
                <c:pt idx="52333">
                  <c:v>-3.3613445378151102E-3</c:v>
                </c:pt>
                <c:pt idx="52334">
                  <c:v>-3.3613445378151102E-3</c:v>
                </c:pt>
                <c:pt idx="52335">
                  <c:v>-3.3613445378151102E-3</c:v>
                </c:pt>
                <c:pt idx="52336">
                  <c:v>-3.3613445378151102E-3</c:v>
                </c:pt>
                <c:pt idx="52337">
                  <c:v>-3.3613445378151102E-3</c:v>
                </c:pt>
                <c:pt idx="52338">
                  <c:v>-3.3613445378151102E-3</c:v>
                </c:pt>
                <c:pt idx="52339">
                  <c:v>-3.3613445378151102E-3</c:v>
                </c:pt>
                <c:pt idx="52340">
                  <c:v>-3.3613445378151102E-3</c:v>
                </c:pt>
                <c:pt idx="52341">
                  <c:v>-3.3613445378151102E-3</c:v>
                </c:pt>
                <c:pt idx="52342">
                  <c:v>-3.3613445378151102E-3</c:v>
                </c:pt>
                <c:pt idx="52343">
                  <c:v>-3.3613445378151102E-3</c:v>
                </c:pt>
                <c:pt idx="52344">
                  <c:v>-3.3613445378151102E-3</c:v>
                </c:pt>
                <c:pt idx="52345">
                  <c:v>-3.3613445378151102E-3</c:v>
                </c:pt>
                <c:pt idx="52346">
                  <c:v>-3.3613445378151102E-3</c:v>
                </c:pt>
                <c:pt idx="52347">
                  <c:v>-3.3613445378151102E-3</c:v>
                </c:pt>
                <c:pt idx="52348">
                  <c:v>-3.3613445378151102E-3</c:v>
                </c:pt>
                <c:pt idx="52349">
                  <c:v>-3.3613445378151102E-3</c:v>
                </c:pt>
                <c:pt idx="52350">
                  <c:v>-3.3613445378151102E-3</c:v>
                </c:pt>
                <c:pt idx="52351">
                  <c:v>-3.3613445378151102E-3</c:v>
                </c:pt>
                <c:pt idx="52352">
                  <c:v>-3.3613445378151102E-3</c:v>
                </c:pt>
                <c:pt idx="52353">
                  <c:v>-3.3613445378151102E-3</c:v>
                </c:pt>
                <c:pt idx="52354">
                  <c:v>-3.3613445378151102E-3</c:v>
                </c:pt>
                <c:pt idx="52355">
                  <c:v>-3.3613445378151102E-3</c:v>
                </c:pt>
                <c:pt idx="52356">
                  <c:v>-3.3613445378151102E-3</c:v>
                </c:pt>
                <c:pt idx="52357">
                  <c:v>-3.3613445378151102E-3</c:v>
                </c:pt>
                <c:pt idx="52358">
                  <c:v>-3.3613445378151102E-3</c:v>
                </c:pt>
                <c:pt idx="52359">
                  <c:v>-3.3613445378151102E-3</c:v>
                </c:pt>
                <c:pt idx="52360">
                  <c:v>-3.3613445378151102E-3</c:v>
                </c:pt>
                <c:pt idx="52361">
                  <c:v>-3.3613445378151102E-3</c:v>
                </c:pt>
                <c:pt idx="52362">
                  <c:v>-3.3613445378151102E-3</c:v>
                </c:pt>
                <c:pt idx="52363">
                  <c:v>-3.3613445378151102E-3</c:v>
                </c:pt>
                <c:pt idx="52364">
                  <c:v>-3.3613445378151102E-3</c:v>
                </c:pt>
                <c:pt idx="52365">
                  <c:v>-3.3613445378151102E-3</c:v>
                </c:pt>
                <c:pt idx="52366">
                  <c:v>-3.3613445378151102E-3</c:v>
                </c:pt>
                <c:pt idx="52367">
                  <c:v>-3.3613445378151102E-3</c:v>
                </c:pt>
                <c:pt idx="52368">
                  <c:v>-3.3613445378151102E-3</c:v>
                </c:pt>
                <c:pt idx="52369">
                  <c:v>-3.3613445378151102E-3</c:v>
                </c:pt>
                <c:pt idx="52370">
                  <c:v>-3.3613445378151102E-3</c:v>
                </c:pt>
                <c:pt idx="52371">
                  <c:v>-3.3613445378151102E-3</c:v>
                </c:pt>
                <c:pt idx="52372">
                  <c:v>-3.3613445378151102E-3</c:v>
                </c:pt>
                <c:pt idx="52373">
                  <c:v>-3.3613445378151102E-3</c:v>
                </c:pt>
                <c:pt idx="52374">
                  <c:v>-3.3613445378151102E-3</c:v>
                </c:pt>
                <c:pt idx="52375">
                  <c:v>-3.3613445378151102E-3</c:v>
                </c:pt>
                <c:pt idx="52376">
                  <c:v>-3.3613445378151102E-3</c:v>
                </c:pt>
                <c:pt idx="52377">
                  <c:v>-3.3613445378151102E-3</c:v>
                </c:pt>
                <c:pt idx="52378">
                  <c:v>-3.3613445378151102E-3</c:v>
                </c:pt>
                <c:pt idx="52379">
                  <c:v>-3.3613445378151102E-3</c:v>
                </c:pt>
                <c:pt idx="52380">
                  <c:v>-3.3613445378151102E-3</c:v>
                </c:pt>
                <c:pt idx="52381">
                  <c:v>-3.3613445378151102E-3</c:v>
                </c:pt>
                <c:pt idx="52382">
                  <c:v>-3.3613445378151102E-3</c:v>
                </c:pt>
                <c:pt idx="52383">
                  <c:v>-3.3613445378151102E-3</c:v>
                </c:pt>
                <c:pt idx="52384">
                  <c:v>-3.3613445378151102E-3</c:v>
                </c:pt>
                <c:pt idx="52385">
                  <c:v>-3.3613445378151102E-3</c:v>
                </c:pt>
                <c:pt idx="52386">
                  <c:v>-3.3613445378151102E-3</c:v>
                </c:pt>
                <c:pt idx="52387">
                  <c:v>-3.3613445378151102E-3</c:v>
                </c:pt>
                <c:pt idx="52388">
                  <c:v>-3.3613445378151102E-3</c:v>
                </c:pt>
                <c:pt idx="52389">
                  <c:v>-3.3613445378151102E-3</c:v>
                </c:pt>
                <c:pt idx="52390">
                  <c:v>-3.3613445378151102E-3</c:v>
                </c:pt>
                <c:pt idx="52391">
                  <c:v>-3.3613445378151102E-3</c:v>
                </c:pt>
                <c:pt idx="52392">
                  <c:v>-3.3613445378151102E-3</c:v>
                </c:pt>
                <c:pt idx="52393">
                  <c:v>-3.3613445378151102E-3</c:v>
                </c:pt>
                <c:pt idx="52394">
                  <c:v>-3.3613445378151102E-3</c:v>
                </c:pt>
                <c:pt idx="52395">
                  <c:v>-3.3613445378151102E-3</c:v>
                </c:pt>
                <c:pt idx="52396">
                  <c:v>-3.3613445378151102E-3</c:v>
                </c:pt>
                <c:pt idx="52397">
                  <c:v>-3.3613445378151102E-3</c:v>
                </c:pt>
                <c:pt idx="52398">
                  <c:v>-3.3613445378151102E-3</c:v>
                </c:pt>
                <c:pt idx="52399">
                  <c:v>-3.3613445378151102E-3</c:v>
                </c:pt>
                <c:pt idx="52400">
                  <c:v>-3.3613445378151102E-3</c:v>
                </c:pt>
                <c:pt idx="52401">
                  <c:v>-3.3613445378151102E-3</c:v>
                </c:pt>
                <c:pt idx="52402">
                  <c:v>-3.3613445378151102E-3</c:v>
                </c:pt>
                <c:pt idx="52403">
                  <c:v>-3.3613445378151102E-3</c:v>
                </c:pt>
                <c:pt idx="52404">
                  <c:v>-3.3613445378151102E-3</c:v>
                </c:pt>
                <c:pt idx="52405">
                  <c:v>-3.3613445378151102E-3</c:v>
                </c:pt>
                <c:pt idx="52406">
                  <c:v>-3.3613445378151102E-3</c:v>
                </c:pt>
                <c:pt idx="52407">
                  <c:v>-3.3613445378151102E-3</c:v>
                </c:pt>
                <c:pt idx="52408">
                  <c:v>-3.3613445378151102E-3</c:v>
                </c:pt>
                <c:pt idx="52409">
                  <c:v>-3.3613445378151102E-3</c:v>
                </c:pt>
                <c:pt idx="52410">
                  <c:v>-3.3613445378151102E-3</c:v>
                </c:pt>
                <c:pt idx="52411">
                  <c:v>-3.3613445378151102E-3</c:v>
                </c:pt>
                <c:pt idx="52412">
                  <c:v>-3.3613445378151102E-3</c:v>
                </c:pt>
                <c:pt idx="52413">
                  <c:v>-3.3613445378151102E-3</c:v>
                </c:pt>
                <c:pt idx="52414">
                  <c:v>-3.3613445378151102E-3</c:v>
                </c:pt>
                <c:pt idx="52415">
                  <c:v>-3.3613445378151102E-3</c:v>
                </c:pt>
                <c:pt idx="52416">
                  <c:v>-3.3613445378151102E-3</c:v>
                </c:pt>
                <c:pt idx="52417">
                  <c:v>-3.3613445378151102E-3</c:v>
                </c:pt>
                <c:pt idx="52418">
                  <c:v>-3.3613445378151102E-3</c:v>
                </c:pt>
                <c:pt idx="52419">
                  <c:v>-3.3613445378151102E-3</c:v>
                </c:pt>
                <c:pt idx="52420">
                  <c:v>-3.3613445378151102E-3</c:v>
                </c:pt>
                <c:pt idx="52421">
                  <c:v>-3.3613445378151102E-3</c:v>
                </c:pt>
                <c:pt idx="52422">
                  <c:v>-3.3613445378151102E-3</c:v>
                </c:pt>
                <c:pt idx="52423">
                  <c:v>-3.3613445378151102E-3</c:v>
                </c:pt>
                <c:pt idx="52424">
                  <c:v>-3.3613445378151102E-3</c:v>
                </c:pt>
                <c:pt idx="52425">
                  <c:v>-3.3613445378151102E-3</c:v>
                </c:pt>
                <c:pt idx="52426">
                  <c:v>-3.3613445378151102E-3</c:v>
                </c:pt>
                <c:pt idx="52427">
                  <c:v>-3.3613445378151102E-3</c:v>
                </c:pt>
                <c:pt idx="52428">
                  <c:v>-3.3613445378151102E-3</c:v>
                </c:pt>
                <c:pt idx="52429">
                  <c:v>-3.3613445378151102E-3</c:v>
                </c:pt>
                <c:pt idx="52430">
                  <c:v>-3.3613445378151102E-3</c:v>
                </c:pt>
                <c:pt idx="52431">
                  <c:v>-3.3613445378151102E-3</c:v>
                </c:pt>
                <c:pt idx="52432">
                  <c:v>-3.3613445378151102E-3</c:v>
                </c:pt>
                <c:pt idx="52433">
                  <c:v>-3.3613445378151102E-3</c:v>
                </c:pt>
                <c:pt idx="52434">
                  <c:v>-3.3613445378151102E-3</c:v>
                </c:pt>
                <c:pt idx="52435">
                  <c:v>-3.3613445378151102E-3</c:v>
                </c:pt>
                <c:pt idx="52436">
                  <c:v>-3.3613445378151102E-3</c:v>
                </c:pt>
                <c:pt idx="52437">
                  <c:v>-3.3613445378151102E-3</c:v>
                </c:pt>
                <c:pt idx="52438">
                  <c:v>-3.3613445378151102E-3</c:v>
                </c:pt>
                <c:pt idx="52439">
                  <c:v>-3.3613445378151102E-3</c:v>
                </c:pt>
                <c:pt idx="52440">
                  <c:v>-3.3613445378151102E-3</c:v>
                </c:pt>
                <c:pt idx="52441">
                  <c:v>-3.3613445378151102E-3</c:v>
                </c:pt>
                <c:pt idx="52442">
                  <c:v>-3.3613445378151102E-3</c:v>
                </c:pt>
                <c:pt idx="52443">
                  <c:v>-3.3613445378151102E-3</c:v>
                </c:pt>
                <c:pt idx="52444">
                  <c:v>-3.3613445378151102E-3</c:v>
                </c:pt>
                <c:pt idx="52445">
                  <c:v>-3.3613445378151102E-3</c:v>
                </c:pt>
                <c:pt idx="52446">
                  <c:v>-3.3613445378151102E-3</c:v>
                </c:pt>
                <c:pt idx="52447">
                  <c:v>-3.3613445378151102E-3</c:v>
                </c:pt>
                <c:pt idx="52448">
                  <c:v>-3.3613445378151102E-3</c:v>
                </c:pt>
                <c:pt idx="52449">
                  <c:v>-3.3613445378151102E-3</c:v>
                </c:pt>
                <c:pt idx="52450">
                  <c:v>-3.3613445378151102E-3</c:v>
                </c:pt>
                <c:pt idx="52451">
                  <c:v>-3.3613445378151102E-3</c:v>
                </c:pt>
                <c:pt idx="52452">
                  <c:v>-3.3613445378151102E-3</c:v>
                </c:pt>
                <c:pt idx="52453">
                  <c:v>-3.3613445378151102E-3</c:v>
                </c:pt>
                <c:pt idx="52454">
                  <c:v>-3.3613445378151102E-3</c:v>
                </c:pt>
                <c:pt idx="52455">
                  <c:v>-3.3613445378151102E-3</c:v>
                </c:pt>
                <c:pt idx="52456">
                  <c:v>-3.3613445378151102E-3</c:v>
                </c:pt>
                <c:pt idx="52457">
                  <c:v>-3.3613445378151102E-3</c:v>
                </c:pt>
                <c:pt idx="52458">
                  <c:v>-3.3613445378151102E-3</c:v>
                </c:pt>
                <c:pt idx="52459">
                  <c:v>-3.3613445378151102E-3</c:v>
                </c:pt>
                <c:pt idx="52460">
                  <c:v>-3.3613445378151102E-3</c:v>
                </c:pt>
                <c:pt idx="52461">
                  <c:v>-3.3613445378151102E-3</c:v>
                </c:pt>
                <c:pt idx="52462">
                  <c:v>-3.3613445378151102E-3</c:v>
                </c:pt>
                <c:pt idx="52463">
                  <c:v>-3.3613445378151102E-3</c:v>
                </c:pt>
                <c:pt idx="52464">
                  <c:v>-3.3613445378151102E-3</c:v>
                </c:pt>
                <c:pt idx="52465">
                  <c:v>-3.3613445378151102E-3</c:v>
                </c:pt>
                <c:pt idx="52466">
                  <c:v>-3.3613445378151102E-3</c:v>
                </c:pt>
                <c:pt idx="52467">
                  <c:v>-3.3613445378151102E-3</c:v>
                </c:pt>
                <c:pt idx="52468">
                  <c:v>-3.3613445378151102E-3</c:v>
                </c:pt>
                <c:pt idx="52469">
                  <c:v>-3.3613445378151102E-3</c:v>
                </c:pt>
                <c:pt idx="52470">
                  <c:v>-3.3613445378151102E-3</c:v>
                </c:pt>
                <c:pt idx="52471">
                  <c:v>-3.3613445378151102E-3</c:v>
                </c:pt>
                <c:pt idx="52472">
                  <c:v>-3.3613445378151102E-3</c:v>
                </c:pt>
                <c:pt idx="52473">
                  <c:v>-3.3613445378151102E-3</c:v>
                </c:pt>
                <c:pt idx="52474">
                  <c:v>-3.3613445378151102E-3</c:v>
                </c:pt>
                <c:pt idx="52475">
                  <c:v>-3.3613445378151102E-3</c:v>
                </c:pt>
                <c:pt idx="52476">
                  <c:v>-3.3613445378151102E-3</c:v>
                </c:pt>
                <c:pt idx="52477">
                  <c:v>-3.3613445378151102E-3</c:v>
                </c:pt>
                <c:pt idx="52478">
                  <c:v>-3.3613445378151102E-3</c:v>
                </c:pt>
                <c:pt idx="52479">
                  <c:v>-3.3613445378151102E-3</c:v>
                </c:pt>
                <c:pt idx="52480">
                  <c:v>-3.3613445378151102E-3</c:v>
                </c:pt>
                <c:pt idx="52481">
                  <c:v>-3.3613445378151102E-3</c:v>
                </c:pt>
                <c:pt idx="52482">
                  <c:v>-3.3613445378151102E-3</c:v>
                </c:pt>
                <c:pt idx="52483">
                  <c:v>-3.3613445378151102E-3</c:v>
                </c:pt>
                <c:pt idx="52484">
                  <c:v>-3.3613445378151102E-3</c:v>
                </c:pt>
                <c:pt idx="52485">
                  <c:v>-3.3613445378151102E-3</c:v>
                </c:pt>
                <c:pt idx="52486">
                  <c:v>-3.3613445378151102E-3</c:v>
                </c:pt>
                <c:pt idx="52487">
                  <c:v>-3.3613445378151102E-3</c:v>
                </c:pt>
                <c:pt idx="52488">
                  <c:v>-3.3613445378151102E-3</c:v>
                </c:pt>
                <c:pt idx="52489">
                  <c:v>-3.3613445378151102E-3</c:v>
                </c:pt>
                <c:pt idx="52490">
                  <c:v>-3.3613445378151102E-3</c:v>
                </c:pt>
                <c:pt idx="52491">
                  <c:v>-3.3613445378151102E-3</c:v>
                </c:pt>
                <c:pt idx="52492">
                  <c:v>-3.3613445378151102E-3</c:v>
                </c:pt>
                <c:pt idx="52493">
                  <c:v>-3.3613445378151102E-3</c:v>
                </c:pt>
                <c:pt idx="52494">
                  <c:v>-3.3613445378151102E-3</c:v>
                </c:pt>
                <c:pt idx="52495">
                  <c:v>-3.3613445378151102E-3</c:v>
                </c:pt>
                <c:pt idx="52496">
                  <c:v>-3.3613445378151102E-3</c:v>
                </c:pt>
                <c:pt idx="52497">
                  <c:v>-3.3613445378151102E-3</c:v>
                </c:pt>
                <c:pt idx="52498">
                  <c:v>-3.3613445378151102E-3</c:v>
                </c:pt>
                <c:pt idx="52499">
                  <c:v>-3.3613445378151102E-3</c:v>
                </c:pt>
                <c:pt idx="52500">
                  <c:v>-3.3613445378151102E-3</c:v>
                </c:pt>
                <c:pt idx="52501">
                  <c:v>-3.3613445378151102E-3</c:v>
                </c:pt>
                <c:pt idx="52502">
                  <c:v>-3.3613445378151102E-3</c:v>
                </c:pt>
                <c:pt idx="52503">
                  <c:v>-3.3613445378151102E-3</c:v>
                </c:pt>
                <c:pt idx="52504">
                  <c:v>-3.3613445378151102E-3</c:v>
                </c:pt>
                <c:pt idx="52505">
                  <c:v>-3.3613445378151102E-3</c:v>
                </c:pt>
                <c:pt idx="52506">
                  <c:v>-3.3613445378151102E-3</c:v>
                </c:pt>
                <c:pt idx="52507">
                  <c:v>-3.3613445378151102E-3</c:v>
                </c:pt>
                <c:pt idx="52508">
                  <c:v>-3.3613445378151102E-3</c:v>
                </c:pt>
                <c:pt idx="52509">
                  <c:v>-3.3613445378151102E-3</c:v>
                </c:pt>
                <c:pt idx="52510">
                  <c:v>-3.3613445378151102E-3</c:v>
                </c:pt>
                <c:pt idx="52511">
                  <c:v>-3.3613445378151102E-3</c:v>
                </c:pt>
                <c:pt idx="52512">
                  <c:v>-3.3613445378151102E-3</c:v>
                </c:pt>
                <c:pt idx="52513">
                  <c:v>-3.3613445378151102E-3</c:v>
                </c:pt>
                <c:pt idx="52514">
                  <c:v>-3.3613445378151102E-3</c:v>
                </c:pt>
                <c:pt idx="52515">
                  <c:v>-3.3613445378151102E-3</c:v>
                </c:pt>
                <c:pt idx="52516">
                  <c:v>-3.3613445378151102E-3</c:v>
                </c:pt>
                <c:pt idx="52517">
                  <c:v>-3.3613445378151102E-3</c:v>
                </c:pt>
                <c:pt idx="52518">
                  <c:v>-3.3613445378151102E-3</c:v>
                </c:pt>
                <c:pt idx="52519">
                  <c:v>-3.3613445378151102E-3</c:v>
                </c:pt>
                <c:pt idx="52520">
                  <c:v>-3.3613445378151102E-3</c:v>
                </c:pt>
                <c:pt idx="52521">
                  <c:v>-3.3613445378151102E-3</c:v>
                </c:pt>
                <c:pt idx="52522">
                  <c:v>-3.3613445378151102E-3</c:v>
                </c:pt>
                <c:pt idx="52523">
                  <c:v>-3.3613445378151102E-3</c:v>
                </c:pt>
                <c:pt idx="52524">
                  <c:v>-3.3613445378151102E-3</c:v>
                </c:pt>
                <c:pt idx="52525">
                  <c:v>-3.3613445378151102E-3</c:v>
                </c:pt>
                <c:pt idx="52526">
                  <c:v>-3.3613445378151102E-3</c:v>
                </c:pt>
                <c:pt idx="52527">
                  <c:v>-3.3613445378151102E-3</c:v>
                </c:pt>
                <c:pt idx="52528">
                  <c:v>-3.3613445378151102E-3</c:v>
                </c:pt>
                <c:pt idx="52529">
                  <c:v>-3.3613445378151102E-3</c:v>
                </c:pt>
                <c:pt idx="52530">
                  <c:v>-3.3613445378151102E-3</c:v>
                </c:pt>
                <c:pt idx="52531">
                  <c:v>-3.3613445378151102E-3</c:v>
                </c:pt>
                <c:pt idx="52532">
                  <c:v>-3.3613445378151102E-3</c:v>
                </c:pt>
                <c:pt idx="52533">
                  <c:v>-3.3613445378151102E-3</c:v>
                </c:pt>
                <c:pt idx="52534">
                  <c:v>-3.3613445378151102E-3</c:v>
                </c:pt>
                <c:pt idx="52535">
                  <c:v>-3.3613445378151102E-3</c:v>
                </c:pt>
                <c:pt idx="52536">
                  <c:v>-3.3613445378151102E-3</c:v>
                </c:pt>
                <c:pt idx="52537">
                  <c:v>-3.3613445378151102E-3</c:v>
                </c:pt>
                <c:pt idx="52538">
                  <c:v>-3.3613445378151102E-3</c:v>
                </c:pt>
                <c:pt idx="52539">
                  <c:v>-3.3613445378151102E-3</c:v>
                </c:pt>
                <c:pt idx="52540">
                  <c:v>-3.3613445378151102E-3</c:v>
                </c:pt>
                <c:pt idx="52541">
                  <c:v>-3.3613445378151102E-3</c:v>
                </c:pt>
                <c:pt idx="52542">
                  <c:v>-3.3613445378151102E-3</c:v>
                </c:pt>
                <c:pt idx="52543">
                  <c:v>-3.3613445378151102E-3</c:v>
                </c:pt>
                <c:pt idx="52544">
                  <c:v>-3.3613445378151102E-3</c:v>
                </c:pt>
                <c:pt idx="52545">
                  <c:v>-3.3613445378151102E-3</c:v>
                </c:pt>
                <c:pt idx="52546">
                  <c:v>-3.3613445378151102E-3</c:v>
                </c:pt>
                <c:pt idx="52547">
                  <c:v>-3.3613445378151102E-3</c:v>
                </c:pt>
                <c:pt idx="52548">
                  <c:v>-3.3613445378151102E-3</c:v>
                </c:pt>
                <c:pt idx="52549">
                  <c:v>-3.3613445378151102E-3</c:v>
                </c:pt>
                <c:pt idx="52550">
                  <c:v>-3.3613445378151102E-3</c:v>
                </c:pt>
                <c:pt idx="52551">
                  <c:v>-3.3613445378151102E-3</c:v>
                </c:pt>
                <c:pt idx="52552">
                  <c:v>-3.3613445378151102E-3</c:v>
                </c:pt>
                <c:pt idx="52553">
                  <c:v>-3.3613445378151102E-3</c:v>
                </c:pt>
                <c:pt idx="52554">
                  <c:v>-3.3613445378151102E-3</c:v>
                </c:pt>
                <c:pt idx="52555">
                  <c:v>-3.3613445378151102E-3</c:v>
                </c:pt>
                <c:pt idx="52556">
                  <c:v>-3.3613445378151102E-3</c:v>
                </c:pt>
                <c:pt idx="52557">
                  <c:v>-3.3613445378151102E-3</c:v>
                </c:pt>
                <c:pt idx="52558">
                  <c:v>-3.3613445378151102E-3</c:v>
                </c:pt>
                <c:pt idx="52559">
                  <c:v>-3.3613445378151102E-3</c:v>
                </c:pt>
                <c:pt idx="52560">
                  <c:v>-3.3613445378151102E-3</c:v>
                </c:pt>
                <c:pt idx="52561">
                  <c:v>-3.3613445378151102E-3</c:v>
                </c:pt>
                <c:pt idx="52562">
                  <c:v>-3.3613445378151102E-3</c:v>
                </c:pt>
                <c:pt idx="52563">
                  <c:v>-3.3613445378151102E-3</c:v>
                </c:pt>
                <c:pt idx="52564">
                  <c:v>-3.3613445378151102E-3</c:v>
                </c:pt>
                <c:pt idx="52565">
                  <c:v>-3.3613445378151102E-3</c:v>
                </c:pt>
                <c:pt idx="52566">
                  <c:v>-3.3613445378151102E-3</c:v>
                </c:pt>
                <c:pt idx="52567">
                  <c:v>-3.3613445378151102E-3</c:v>
                </c:pt>
                <c:pt idx="52568">
                  <c:v>-3.3613445378151102E-3</c:v>
                </c:pt>
                <c:pt idx="52569">
                  <c:v>-3.3613445378151102E-3</c:v>
                </c:pt>
                <c:pt idx="52570">
                  <c:v>-3.3613445378151102E-3</c:v>
                </c:pt>
                <c:pt idx="52571">
                  <c:v>-3.3613445378151102E-3</c:v>
                </c:pt>
                <c:pt idx="52572">
                  <c:v>-3.3613445378151102E-3</c:v>
                </c:pt>
                <c:pt idx="52573">
                  <c:v>-3.3613445378151102E-3</c:v>
                </c:pt>
                <c:pt idx="52574">
                  <c:v>-3.3613445378151102E-3</c:v>
                </c:pt>
                <c:pt idx="52575">
                  <c:v>-3.3613445378151102E-3</c:v>
                </c:pt>
                <c:pt idx="52576">
                  <c:v>-3.3613445378151102E-3</c:v>
                </c:pt>
                <c:pt idx="52577">
                  <c:v>-3.3613445378151102E-3</c:v>
                </c:pt>
                <c:pt idx="52578">
                  <c:v>-3.3613445378151102E-3</c:v>
                </c:pt>
                <c:pt idx="52579">
                  <c:v>-3.3613445378151102E-3</c:v>
                </c:pt>
                <c:pt idx="52580">
                  <c:v>-3.3613445378151102E-3</c:v>
                </c:pt>
                <c:pt idx="52581">
                  <c:v>-3.3613445378151102E-3</c:v>
                </c:pt>
                <c:pt idx="52582">
                  <c:v>-3.3613445378151102E-3</c:v>
                </c:pt>
                <c:pt idx="52583">
                  <c:v>-3.3613445378151102E-3</c:v>
                </c:pt>
                <c:pt idx="52584">
                  <c:v>-3.3613445378151102E-3</c:v>
                </c:pt>
                <c:pt idx="52585">
                  <c:v>-3.3613445378151102E-3</c:v>
                </c:pt>
                <c:pt idx="52586">
                  <c:v>-3.3613445378151102E-3</c:v>
                </c:pt>
                <c:pt idx="52587">
                  <c:v>-3.3613445378151102E-3</c:v>
                </c:pt>
                <c:pt idx="52588">
                  <c:v>-3.3613445378151102E-3</c:v>
                </c:pt>
                <c:pt idx="52589">
                  <c:v>-3.3613445378151102E-3</c:v>
                </c:pt>
                <c:pt idx="52590">
                  <c:v>-3.3613445378151102E-3</c:v>
                </c:pt>
                <c:pt idx="52591">
                  <c:v>-3.3613445378151102E-3</c:v>
                </c:pt>
                <c:pt idx="52592">
                  <c:v>-3.3613445378151102E-3</c:v>
                </c:pt>
                <c:pt idx="52593">
                  <c:v>-3.3613445378151102E-3</c:v>
                </c:pt>
                <c:pt idx="52594">
                  <c:v>-3.3613445378151102E-3</c:v>
                </c:pt>
                <c:pt idx="52595">
                  <c:v>-3.3613445378151102E-3</c:v>
                </c:pt>
                <c:pt idx="52596">
                  <c:v>-3.3613445378151102E-3</c:v>
                </c:pt>
                <c:pt idx="52597">
                  <c:v>-3.3613445378151102E-3</c:v>
                </c:pt>
                <c:pt idx="52598">
                  <c:v>-3.3613445378151102E-3</c:v>
                </c:pt>
                <c:pt idx="52599">
                  <c:v>-3.3613445378151102E-3</c:v>
                </c:pt>
                <c:pt idx="52600">
                  <c:v>-3.3613445378151102E-3</c:v>
                </c:pt>
                <c:pt idx="52601">
                  <c:v>-3.3613445378151102E-3</c:v>
                </c:pt>
                <c:pt idx="52602">
                  <c:v>-3.3613445378151102E-3</c:v>
                </c:pt>
                <c:pt idx="52603">
                  <c:v>-3.3613445378151102E-3</c:v>
                </c:pt>
                <c:pt idx="52604">
                  <c:v>-3.3613445378151102E-3</c:v>
                </c:pt>
                <c:pt idx="52605">
                  <c:v>-3.3613445378151102E-3</c:v>
                </c:pt>
                <c:pt idx="52606">
                  <c:v>-3.3613445378151102E-3</c:v>
                </c:pt>
                <c:pt idx="52607">
                  <c:v>-3.3613445378151102E-3</c:v>
                </c:pt>
                <c:pt idx="52608">
                  <c:v>-3.3613445378151102E-3</c:v>
                </c:pt>
                <c:pt idx="52609">
                  <c:v>-3.3613445378151102E-3</c:v>
                </c:pt>
                <c:pt idx="52610">
                  <c:v>-3.3613445378151102E-3</c:v>
                </c:pt>
                <c:pt idx="52611">
                  <c:v>-3.3613445378151102E-3</c:v>
                </c:pt>
                <c:pt idx="52612">
                  <c:v>-3.3613445378151102E-3</c:v>
                </c:pt>
                <c:pt idx="52613">
                  <c:v>-3.3613445378151102E-3</c:v>
                </c:pt>
                <c:pt idx="52614">
                  <c:v>-3.3613445378151102E-3</c:v>
                </c:pt>
                <c:pt idx="52615">
                  <c:v>-3.3613445378151102E-3</c:v>
                </c:pt>
                <c:pt idx="52616">
                  <c:v>-3.3613445378151102E-3</c:v>
                </c:pt>
                <c:pt idx="52617">
                  <c:v>-3.3613445378151102E-3</c:v>
                </c:pt>
                <c:pt idx="52618">
                  <c:v>-3.3613445378151102E-3</c:v>
                </c:pt>
                <c:pt idx="52619">
                  <c:v>-3.3613445378151102E-3</c:v>
                </c:pt>
                <c:pt idx="52620">
                  <c:v>-3.3613445378151102E-3</c:v>
                </c:pt>
                <c:pt idx="52621">
                  <c:v>-3.3613445378151102E-3</c:v>
                </c:pt>
                <c:pt idx="52622">
                  <c:v>-3.3613445378151102E-3</c:v>
                </c:pt>
                <c:pt idx="52623">
                  <c:v>-3.3613445378151102E-3</c:v>
                </c:pt>
                <c:pt idx="52624">
                  <c:v>-3.3613445378151102E-3</c:v>
                </c:pt>
                <c:pt idx="52625">
                  <c:v>-3.3613445378151102E-3</c:v>
                </c:pt>
                <c:pt idx="52626">
                  <c:v>-3.3613445378151102E-3</c:v>
                </c:pt>
                <c:pt idx="52627">
                  <c:v>-4.20168067226889E-3</c:v>
                </c:pt>
                <c:pt idx="52628">
                  <c:v>-4.20168067226889E-3</c:v>
                </c:pt>
                <c:pt idx="52629">
                  <c:v>-4.20168067226889E-3</c:v>
                </c:pt>
                <c:pt idx="52630">
                  <c:v>-4.20168067226889E-3</c:v>
                </c:pt>
                <c:pt idx="52631">
                  <c:v>-4.20168067226889E-3</c:v>
                </c:pt>
                <c:pt idx="52632">
                  <c:v>-4.20168067226889E-3</c:v>
                </c:pt>
                <c:pt idx="52633">
                  <c:v>-4.20168067226889E-3</c:v>
                </c:pt>
                <c:pt idx="52634">
                  <c:v>-4.20168067226889E-3</c:v>
                </c:pt>
                <c:pt idx="52635">
                  <c:v>-4.20168067226889E-3</c:v>
                </c:pt>
                <c:pt idx="52636">
                  <c:v>-4.20168067226889E-3</c:v>
                </c:pt>
                <c:pt idx="52637">
                  <c:v>-4.20168067226889E-3</c:v>
                </c:pt>
                <c:pt idx="52638">
                  <c:v>-4.20168067226889E-3</c:v>
                </c:pt>
                <c:pt idx="52639">
                  <c:v>-4.20168067226889E-3</c:v>
                </c:pt>
                <c:pt idx="52640">
                  <c:v>-4.20168067226889E-3</c:v>
                </c:pt>
                <c:pt idx="52641">
                  <c:v>-4.20168067226889E-3</c:v>
                </c:pt>
                <c:pt idx="52642">
                  <c:v>-4.20168067226889E-3</c:v>
                </c:pt>
                <c:pt idx="52643">
                  <c:v>-4.20168067226889E-3</c:v>
                </c:pt>
                <c:pt idx="52644">
                  <c:v>-4.20168067226889E-3</c:v>
                </c:pt>
                <c:pt idx="52645">
                  <c:v>-4.20168067226889E-3</c:v>
                </c:pt>
                <c:pt idx="52646">
                  <c:v>-4.20168067226889E-3</c:v>
                </c:pt>
                <c:pt idx="52647">
                  <c:v>-4.20168067226889E-3</c:v>
                </c:pt>
                <c:pt idx="52648">
                  <c:v>-4.20168067226889E-3</c:v>
                </c:pt>
                <c:pt idx="52649">
                  <c:v>-4.20168067226889E-3</c:v>
                </c:pt>
                <c:pt idx="52650">
                  <c:v>-4.20168067226889E-3</c:v>
                </c:pt>
                <c:pt idx="52651">
                  <c:v>-4.20168067226889E-3</c:v>
                </c:pt>
                <c:pt idx="52652">
                  <c:v>-4.20168067226889E-3</c:v>
                </c:pt>
                <c:pt idx="52653">
                  <c:v>-4.20168067226889E-3</c:v>
                </c:pt>
                <c:pt idx="52654">
                  <c:v>-4.20168067226889E-3</c:v>
                </c:pt>
                <c:pt idx="52655">
                  <c:v>-4.20168067226889E-3</c:v>
                </c:pt>
                <c:pt idx="52656">
                  <c:v>-4.20168067226889E-3</c:v>
                </c:pt>
                <c:pt idx="52657">
                  <c:v>-4.20168067226889E-3</c:v>
                </c:pt>
                <c:pt idx="52658">
                  <c:v>-4.20168067226889E-3</c:v>
                </c:pt>
                <c:pt idx="52659">
                  <c:v>-4.20168067226889E-3</c:v>
                </c:pt>
                <c:pt idx="52660">
                  <c:v>-4.20168067226889E-3</c:v>
                </c:pt>
                <c:pt idx="52661">
                  <c:v>-4.20168067226889E-3</c:v>
                </c:pt>
                <c:pt idx="52662">
                  <c:v>-4.20168067226889E-3</c:v>
                </c:pt>
                <c:pt idx="52663">
                  <c:v>-4.20168067226889E-3</c:v>
                </c:pt>
                <c:pt idx="52664">
                  <c:v>-4.20168067226889E-3</c:v>
                </c:pt>
                <c:pt idx="52665">
                  <c:v>-4.20168067226889E-3</c:v>
                </c:pt>
                <c:pt idx="52666">
                  <c:v>-4.20168067226889E-3</c:v>
                </c:pt>
                <c:pt idx="52667">
                  <c:v>-4.20168067226889E-3</c:v>
                </c:pt>
                <c:pt idx="52668">
                  <c:v>-4.20168067226889E-3</c:v>
                </c:pt>
                <c:pt idx="52669">
                  <c:v>-4.20168067226889E-3</c:v>
                </c:pt>
                <c:pt idx="52670">
                  <c:v>-4.20168067226889E-3</c:v>
                </c:pt>
                <c:pt idx="52671">
                  <c:v>-4.20168067226889E-3</c:v>
                </c:pt>
                <c:pt idx="52672">
                  <c:v>-4.20168067226889E-3</c:v>
                </c:pt>
                <c:pt idx="52673">
                  <c:v>-4.20168067226889E-3</c:v>
                </c:pt>
                <c:pt idx="52674">
                  <c:v>-4.20168067226889E-3</c:v>
                </c:pt>
                <c:pt idx="52675">
                  <c:v>-4.20168067226889E-3</c:v>
                </c:pt>
                <c:pt idx="52676">
                  <c:v>-4.20168067226889E-3</c:v>
                </c:pt>
                <c:pt idx="52677">
                  <c:v>-4.20168067226889E-3</c:v>
                </c:pt>
                <c:pt idx="52678">
                  <c:v>-4.20168067226889E-3</c:v>
                </c:pt>
                <c:pt idx="52679">
                  <c:v>-4.20168067226889E-3</c:v>
                </c:pt>
                <c:pt idx="52680">
                  <c:v>-4.20168067226889E-3</c:v>
                </c:pt>
                <c:pt idx="52681">
                  <c:v>-4.20168067226889E-3</c:v>
                </c:pt>
                <c:pt idx="52682">
                  <c:v>-4.20168067226889E-3</c:v>
                </c:pt>
                <c:pt idx="52683">
                  <c:v>-4.20168067226889E-3</c:v>
                </c:pt>
                <c:pt idx="52684">
                  <c:v>-4.20168067226889E-3</c:v>
                </c:pt>
                <c:pt idx="52685">
                  <c:v>-4.20168067226889E-3</c:v>
                </c:pt>
                <c:pt idx="52686">
                  <c:v>-4.20168067226889E-3</c:v>
                </c:pt>
                <c:pt idx="52687">
                  <c:v>-4.20168067226889E-3</c:v>
                </c:pt>
                <c:pt idx="52688">
                  <c:v>-4.20168067226889E-3</c:v>
                </c:pt>
                <c:pt idx="52689">
                  <c:v>-4.20168067226889E-3</c:v>
                </c:pt>
                <c:pt idx="52690">
                  <c:v>-4.20168067226889E-3</c:v>
                </c:pt>
                <c:pt idx="52691">
                  <c:v>-4.20168067226889E-3</c:v>
                </c:pt>
                <c:pt idx="52692">
                  <c:v>-4.20168067226889E-3</c:v>
                </c:pt>
                <c:pt idx="52693">
                  <c:v>-4.20168067226889E-3</c:v>
                </c:pt>
                <c:pt idx="52694">
                  <c:v>-4.20168067226889E-3</c:v>
                </c:pt>
                <c:pt idx="52695">
                  <c:v>-4.20168067226889E-3</c:v>
                </c:pt>
                <c:pt idx="52696">
                  <c:v>-4.20168067226889E-3</c:v>
                </c:pt>
                <c:pt idx="52697">
                  <c:v>-4.20168067226889E-3</c:v>
                </c:pt>
                <c:pt idx="52698">
                  <c:v>-4.20168067226889E-3</c:v>
                </c:pt>
                <c:pt idx="52699">
                  <c:v>-4.20168067226889E-3</c:v>
                </c:pt>
                <c:pt idx="52700">
                  <c:v>-4.20168067226889E-3</c:v>
                </c:pt>
                <c:pt idx="52701">
                  <c:v>-4.20168067226889E-3</c:v>
                </c:pt>
                <c:pt idx="52702">
                  <c:v>-4.20168067226889E-3</c:v>
                </c:pt>
                <c:pt idx="52703">
                  <c:v>-4.20168067226889E-3</c:v>
                </c:pt>
                <c:pt idx="52704">
                  <c:v>-4.20168067226889E-3</c:v>
                </c:pt>
                <c:pt idx="52705">
                  <c:v>-4.20168067226889E-3</c:v>
                </c:pt>
                <c:pt idx="52706">
                  <c:v>-4.20168067226889E-3</c:v>
                </c:pt>
                <c:pt idx="52707">
                  <c:v>-4.20168067226889E-3</c:v>
                </c:pt>
                <c:pt idx="52708">
                  <c:v>-4.20168067226889E-3</c:v>
                </c:pt>
                <c:pt idx="52709">
                  <c:v>-4.20168067226889E-3</c:v>
                </c:pt>
                <c:pt idx="52710">
                  <c:v>-4.20168067226889E-3</c:v>
                </c:pt>
                <c:pt idx="52711">
                  <c:v>-4.20168067226889E-3</c:v>
                </c:pt>
                <c:pt idx="52712">
                  <c:v>-4.20168067226889E-3</c:v>
                </c:pt>
                <c:pt idx="52713">
                  <c:v>-4.20168067226889E-3</c:v>
                </c:pt>
                <c:pt idx="52714">
                  <c:v>-4.20168067226889E-3</c:v>
                </c:pt>
                <c:pt idx="52715">
                  <c:v>-4.20168067226889E-3</c:v>
                </c:pt>
                <c:pt idx="52716">
                  <c:v>-4.20168067226889E-3</c:v>
                </c:pt>
                <c:pt idx="52717">
                  <c:v>-4.20168067226889E-3</c:v>
                </c:pt>
                <c:pt idx="52718">
                  <c:v>-4.20168067226889E-3</c:v>
                </c:pt>
                <c:pt idx="52719">
                  <c:v>-4.20168067226889E-3</c:v>
                </c:pt>
                <c:pt idx="52720">
                  <c:v>-4.20168067226889E-3</c:v>
                </c:pt>
                <c:pt idx="52721">
                  <c:v>-4.20168067226889E-3</c:v>
                </c:pt>
                <c:pt idx="52722">
                  <c:v>-4.20168067226889E-3</c:v>
                </c:pt>
                <c:pt idx="52723">
                  <c:v>-4.20168067226889E-3</c:v>
                </c:pt>
                <c:pt idx="52724">
                  <c:v>-4.20168067226889E-3</c:v>
                </c:pt>
                <c:pt idx="52725">
                  <c:v>-4.20168067226889E-3</c:v>
                </c:pt>
                <c:pt idx="52726">
                  <c:v>-4.20168067226889E-3</c:v>
                </c:pt>
                <c:pt idx="52727">
                  <c:v>-4.20168067226889E-3</c:v>
                </c:pt>
                <c:pt idx="52728">
                  <c:v>-4.20168067226889E-3</c:v>
                </c:pt>
                <c:pt idx="52729">
                  <c:v>-4.20168067226889E-3</c:v>
                </c:pt>
                <c:pt idx="52730">
                  <c:v>-4.20168067226889E-3</c:v>
                </c:pt>
                <c:pt idx="52731">
                  <c:v>-4.20168067226889E-3</c:v>
                </c:pt>
                <c:pt idx="52732">
                  <c:v>-4.20168067226889E-3</c:v>
                </c:pt>
                <c:pt idx="52733">
                  <c:v>-4.20168067226889E-3</c:v>
                </c:pt>
                <c:pt idx="52734">
                  <c:v>-4.20168067226889E-3</c:v>
                </c:pt>
                <c:pt idx="52735">
                  <c:v>-4.20168067226889E-3</c:v>
                </c:pt>
                <c:pt idx="52736">
                  <c:v>-4.20168067226889E-3</c:v>
                </c:pt>
                <c:pt idx="52737">
                  <c:v>-4.20168067226889E-3</c:v>
                </c:pt>
                <c:pt idx="52738">
                  <c:v>-4.20168067226889E-3</c:v>
                </c:pt>
                <c:pt idx="52739">
                  <c:v>-4.20168067226889E-3</c:v>
                </c:pt>
                <c:pt idx="52740">
                  <c:v>-4.20168067226889E-3</c:v>
                </c:pt>
                <c:pt idx="52741">
                  <c:v>-4.20168067226889E-3</c:v>
                </c:pt>
                <c:pt idx="52742">
                  <c:v>-4.20168067226889E-3</c:v>
                </c:pt>
                <c:pt idx="52743">
                  <c:v>-4.20168067226889E-3</c:v>
                </c:pt>
                <c:pt idx="52744">
                  <c:v>-4.20168067226889E-3</c:v>
                </c:pt>
                <c:pt idx="52745">
                  <c:v>-4.20168067226889E-3</c:v>
                </c:pt>
                <c:pt idx="52746">
                  <c:v>-4.20168067226889E-3</c:v>
                </c:pt>
                <c:pt idx="52747">
                  <c:v>-4.20168067226889E-3</c:v>
                </c:pt>
                <c:pt idx="52748">
                  <c:v>-4.20168067226889E-3</c:v>
                </c:pt>
                <c:pt idx="52749">
                  <c:v>-4.20168067226889E-3</c:v>
                </c:pt>
                <c:pt idx="52750">
                  <c:v>-4.20168067226889E-3</c:v>
                </c:pt>
                <c:pt idx="52751">
                  <c:v>-4.20168067226889E-3</c:v>
                </c:pt>
                <c:pt idx="52752">
                  <c:v>-4.20168067226889E-3</c:v>
                </c:pt>
                <c:pt idx="52753">
                  <c:v>-4.20168067226889E-3</c:v>
                </c:pt>
                <c:pt idx="52754">
                  <c:v>-4.20168067226889E-3</c:v>
                </c:pt>
                <c:pt idx="52755">
                  <c:v>-4.20168067226889E-3</c:v>
                </c:pt>
                <c:pt idx="52756">
                  <c:v>-4.20168067226889E-3</c:v>
                </c:pt>
                <c:pt idx="52757">
                  <c:v>-4.20168067226889E-3</c:v>
                </c:pt>
                <c:pt idx="52758">
                  <c:v>-4.20168067226889E-3</c:v>
                </c:pt>
                <c:pt idx="52759">
                  <c:v>-4.20168067226889E-3</c:v>
                </c:pt>
                <c:pt idx="52760">
                  <c:v>-4.20168067226889E-3</c:v>
                </c:pt>
                <c:pt idx="52761">
                  <c:v>-4.20168067226889E-3</c:v>
                </c:pt>
                <c:pt idx="52762">
                  <c:v>-4.20168067226889E-3</c:v>
                </c:pt>
                <c:pt idx="52763">
                  <c:v>-4.20168067226889E-3</c:v>
                </c:pt>
                <c:pt idx="52764">
                  <c:v>-4.20168067226889E-3</c:v>
                </c:pt>
                <c:pt idx="52765">
                  <c:v>-4.20168067226889E-3</c:v>
                </c:pt>
                <c:pt idx="52766">
                  <c:v>-4.20168067226889E-3</c:v>
                </c:pt>
                <c:pt idx="52767">
                  <c:v>-4.20168067226889E-3</c:v>
                </c:pt>
                <c:pt idx="52768">
                  <c:v>-4.20168067226889E-3</c:v>
                </c:pt>
                <c:pt idx="52769">
                  <c:v>-4.20168067226889E-3</c:v>
                </c:pt>
                <c:pt idx="52770">
                  <c:v>-4.20168067226889E-3</c:v>
                </c:pt>
                <c:pt idx="52771">
                  <c:v>-4.20168067226889E-3</c:v>
                </c:pt>
                <c:pt idx="52772">
                  <c:v>-4.20168067226889E-3</c:v>
                </c:pt>
                <c:pt idx="52773">
                  <c:v>-4.20168067226889E-3</c:v>
                </c:pt>
                <c:pt idx="52774">
                  <c:v>-4.20168067226889E-3</c:v>
                </c:pt>
                <c:pt idx="52775">
                  <c:v>-4.20168067226889E-3</c:v>
                </c:pt>
                <c:pt idx="52776">
                  <c:v>-4.20168067226889E-3</c:v>
                </c:pt>
                <c:pt idx="52777">
                  <c:v>-4.20168067226889E-3</c:v>
                </c:pt>
                <c:pt idx="52778">
                  <c:v>-4.20168067226889E-3</c:v>
                </c:pt>
                <c:pt idx="52779">
                  <c:v>-4.20168067226889E-3</c:v>
                </c:pt>
                <c:pt idx="52780">
                  <c:v>-4.20168067226889E-3</c:v>
                </c:pt>
                <c:pt idx="52781">
                  <c:v>-4.20168067226889E-3</c:v>
                </c:pt>
                <c:pt idx="52782">
                  <c:v>-4.20168067226889E-3</c:v>
                </c:pt>
                <c:pt idx="52783">
                  <c:v>-4.20168067226889E-3</c:v>
                </c:pt>
                <c:pt idx="52784">
                  <c:v>-4.20168067226889E-3</c:v>
                </c:pt>
                <c:pt idx="52785">
                  <c:v>-4.20168067226889E-3</c:v>
                </c:pt>
                <c:pt idx="52786">
                  <c:v>-4.20168067226889E-3</c:v>
                </c:pt>
                <c:pt idx="52787">
                  <c:v>-4.20168067226889E-3</c:v>
                </c:pt>
                <c:pt idx="52788">
                  <c:v>-4.20168067226889E-3</c:v>
                </c:pt>
                <c:pt idx="52789">
                  <c:v>-4.20168067226889E-3</c:v>
                </c:pt>
                <c:pt idx="52790">
                  <c:v>-4.20168067226889E-3</c:v>
                </c:pt>
                <c:pt idx="52791">
                  <c:v>-4.20168067226889E-3</c:v>
                </c:pt>
                <c:pt idx="52792">
                  <c:v>-4.20168067226889E-3</c:v>
                </c:pt>
                <c:pt idx="52793">
                  <c:v>-4.20168067226889E-3</c:v>
                </c:pt>
                <c:pt idx="52794">
                  <c:v>-4.20168067226889E-3</c:v>
                </c:pt>
                <c:pt idx="52795">
                  <c:v>-4.20168067226889E-3</c:v>
                </c:pt>
                <c:pt idx="52796">
                  <c:v>-4.20168067226889E-3</c:v>
                </c:pt>
                <c:pt idx="52797">
                  <c:v>-4.20168067226889E-3</c:v>
                </c:pt>
                <c:pt idx="52798">
                  <c:v>-4.20168067226889E-3</c:v>
                </c:pt>
                <c:pt idx="52799">
                  <c:v>-4.20168067226889E-3</c:v>
                </c:pt>
                <c:pt idx="52800">
                  <c:v>-4.20168067226889E-3</c:v>
                </c:pt>
                <c:pt idx="52801">
                  <c:v>-4.20168067226889E-3</c:v>
                </c:pt>
                <c:pt idx="52802">
                  <c:v>-4.20168067226889E-3</c:v>
                </c:pt>
                <c:pt idx="52803">
                  <c:v>-4.20168067226889E-3</c:v>
                </c:pt>
                <c:pt idx="52804">
                  <c:v>-4.20168067226889E-3</c:v>
                </c:pt>
                <c:pt idx="52805">
                  <c:v>-4.20168067226889E-3</c:v>
                </c:pt>
                <c:pt idx="52806">
                  <c:v>-4.20168067226889E-3</c:v>
                </c:pt>
                <c:pt idx="52807">
                  <c:v>-4.20168067226889E-3</c:v>
                </c:pt>
                <c:pt idx="52808">
                  <c:v>-4.20168067226889E-3</c:v>
                </c:pt>
                <c:pt idx="52809">
                  <c:v>-4.20168067226889E-3</c:v>
                </c:pt>
                <c:pt idx="52810">
                  <c:v>-4.20168067226889E-3</c:v>
                </c:pt>
                <c:pt idx="52811">
                  <c:v>-4.20168067226889E-3</c:v>
                </c:pt>
                <c:pt idx="52812">
                  <c:v>-4.20168067226889E-3</c:v>
                </c:pt>
                <c:pt idx="52813">
                  <c:v>-4.20168067226889E-3</c:v>
                </c:pt>
                <c:pt idx="52814">
                  <c:v>-4.20168067226889E-3</c:v>
                </c:pt>
                <c:pt idx="52815">
                  <c:v>-4.20168067226889E-3</c:v>
                </c:pt>
                <c:pt idx="52816">
                  <c:v>-4.20168067226889E-3</c:v>
                </c:pt>
                <c:pt idx="52817">
                  <c:v>-4.20168067226889E-3</c:v>
                </c:pt>
                <c:pt idx="52818">
                  <c:v>-4.20168067226889E-3</c:v>
                </c:pt>
                <c:pt idx="52819">
                  <c:v>-4.20168067226889E-3</c:v>
                </c:pt>
                <c:pt idx="52820">
                  <c:v>-4.20168067226889E-3</c:v>
                </c:pt>
                <c:pt idx="52821">
                  <c:v>-4.20168067226889E-3</c:v>
                </c:pt>
                <c:pt idx="52822">
                  <c:v>-4.20168067226889E-3</c:v>
                </c:pt>
                <c:pt idx="52823">
                  <c:v>-4.20168067226889E-3</c:v>
                </c:pt>
                <c:pt idx="52824">
                  <c:v>-4.20168067226889E-3</c:v>
                </c:pt>
                <c:pt idx="52825">
                  <c:v>-4.20168067226889E-3</c:v>
                </c:pt>
                <c:pt idx="52826">
                  <c:v>-4.20168067226889E-3</c:v>
                </c:pt>
                <c:pt idx="52827">
                  <c:v>-4.20168067226889E-3</c:v>
                </c:pt>
                <c:pt idx="52828">
                  <c:v>-4.20168067226889E-3</c:v>
                </c:pt>
                <c:pt idx="52829">
                  <c:v>-4.20168067226889E-3</c:v>
                </c:pt>
                <c:pt idx="52830">
                  <c:v>-4.20168067226889E-3</c:v>
                </c:pt>
                <c:pt idx="52831">
                  <c:v>-4.20168067226889E-3</c:v>
                </c:pt>
                <c:pt idx="52832">
                  <c:v>-4.20168067226889E-3</c:v>
                </c:pt>
                <c:pt idx="52833">
                  <c:v>-4.20168067226889E-3</c:v>
                </c:pt>
                <c:pt idx="52834">
                  <c:v>-4.20168067226889E-3</c:v>
                </c:pt>
                <c:pt idx="52835">
                  <c:v>-4.20168067226889E-3</c:v>
                </c:pt>
                <c:pt idx="52836">
                  <c:v>-4.20168067226889E-3</c:v>
                </c:pt>
                <c:pt idx="52837">
                  <c:v>-4.20168067226889E-3</c:v>
                </c:pt>
                <c:pt idx="52838">
                  <c:v>-4.20168067226889E-3</c:v>
                </c:pt>
                <c:pt idx="52839">
                  <c:v>-4.20168067226889E-3</c:v>
                </c:pt>
                <c:pt idx="52840">
                  <c:v>-4.20168067226889E-3</c:v>
                </c:pt>
                <c:pt idx="52841">
                  <c:v>-4.20168067226889E-3</c:v>
                </c:pt>
                <c:pt idx="52842">
                  <c:v>-4.20168067226889E-3</c:v>
                </c:pt>
                <c:pt idx="52843">
                  <c:v>-4.20168067226889E-3</c:v>
                </c:pt>
                <c:pt idx="52844">
                  <c:v>-4.20168067226889E-3</c:v>
                </c:pt>
                <c:pt idx="52845">
                  <c:v>-4.20168067226889E-3</c:v>
                </c:pt>
                <c:pt idx="52846">
                  <c:v>-4.20168067226889E-3</c:v>
                </c:pt>
                <c:pt idx="52847">
                  <c:v>-4.20168067226889E-3</c:v>
                </c:pt>
                <c:pt idx="52848">
                  <c:v>-4.20168067226889E-3</c:v>
                </c:pt>
                <c:pt idx="52849">
                  <c:v>-4.20168067226889E-3</c:v>
                </c:pt>
                <c:pt idx="52850">
                  <c:v>-4.20168067226889E-3</c:v>
                </c:pt>
                <c:pt idx="52851">
                  <c:v>-4.20168067226889E-3</c:v>
                </c:pt>
                <c:pt idx="52852">
                  <c:v>-4.20168067226889E-3</c:v>
                </c:pt>
                <c:pt idx="52853">
                  <c:v>-4.20168067226889E-3</c:v>
                </c:pt>
                <c:pt idx="52854">
                  <c:v>-4.20168067226889E-3</c:v>
                </c:pt>
                <c:pt idx="52855">
                  <c:v>-4.20168067226889E-3</c:v>
                </c:pt>
                <c:pt idx="52856">
                  <c:v>-4.20168067226889E-3</c:v>
                </c:pt>
                <c:pt idx="52857">
                  <c:v>-4.20168067226889E-3</c:v>
                </c:pt>
                <c:pt idx="52858">
                  <c:v>-4.20168067226889E-3</c:v>
                </c:pt>
                <c:pt idx="52859">
                  <c:v>-4.20168067226889E-3</c:v>
                </c:pt>
                <c:pt idx="52860">
                  <c:v>-4.20168067226889E-3</c:v>
                </c:pt>
                <c:pt idx="52861">
                  <c:v>-4.20168067226889E-3</c:v>
                </c:pt>
                <c:pt idx="52862">
                  <c:v>-4.20168067226889E-3</c:v>
                </c:pt>
                <c:pt idx="52863">
                  <c:v>-4.20168067226889E-3</c:v>
                </c:pt>
                <c:pt idx="52864">
                  <c:v>-4.20168067226889E-3</c:v>
                </c:pt>
                <c:pt idx="52865">
                  <c:v>-4.20168067226889E-3</c:v>
                </c:pt>
                <c:pt idx="52866">
                  <c:v>-4.20168067226889E-3</c:v>
                </c:pt>
                <c:pt idx="52867">
                  <c:v>-4.20168067226889E-3</c:v>
                </c:pt>
                <c:pt idx="52868">
                  <c:v>-4.20168067226889E-3</c:v>
                </c:pt>
                <c:pt idx="52869">
                  <c:v>-4.20168067226889E-3</c:v>
                </c:pt>
                <c:pt idx="52870">
                  <c:v>-4.20168067226889E-3</c:v>
                </c:pt>
                <c:pt idx="52871">
                  <c:v>-4.20168067226889E-3</c:v>
                </c:pt>
                <c:pt idx="52872">
                  <c:v>-4.20168067226889E-3</c:v>
                </c:pt>
                <c:pt idx="52873">
                  <c:v>-4.20168067226889E-3</c:v>
                </c:pt>
                <c:pt idx="52874">
                  <c:v>-4.20168067226889E-3</c:v>
                </c:pt>
                <c:pt idx="52875">
                  <c:v>-4.20168067226889E-3</c:v>
                </c:pt>
                <c:pt idx="52876">
                  <c:v>-4.20168067226889E-3</c:v>
                </c:pt>
                <c:pt idx="52877">
                  <c:v>-4.20168067226889E-3</c:v>
                </c:pt>
                <c:pt idx="52878">
                  <c:v>-4.20168067226889E-3</c:v>
                </c:pt>
                <c:pt idx="52879">
                  <c:v>-4.20168067226889E-3</c:v>
                </c:pt>
                <c:pt idx="52880">
                  <c:v>-4.20168067226889E-3</c:v>
                </c:pt>
                <c:pt idx="52881">
                  <c:v>-4.20168067226889E-3</c:v>
                </c:pt>
                <c:pt idx="52882">
                  <c:v>-4.20168067226889E-3</c:v>
                </c:pt>
                <c:pt idx="52883">
                  <c:v>-4.20168067226889E-3</c:v>
                </c:pt>
                <c:pt idx="52884">
                  <c:v>-4.20168067226889E-3</c:v>
                </c:pt>
                <c:pt idx="52885">
                  <c:v>-4.20168067226889E-3</c:v>
                </c:pt>
                <c:pt idx="52886">
                  <c:v>-4.20168067226889E-3</c:v>
                </c:pt>
                <c:pt idx="52887">
                  <c:v>-4.20168067226889E-3</c:v>
                </c:pt>
                <c:pt idx="52888">
                  <c:v>-4.20168067226889E-3</c:v>
                </c:pt>
                <c:pt idx="52889">
                  <c:v>-4.20168067226889E-3</c:v>
                </c:pt>
                <c:pt idx="52890">
                  <c:v>-4.20168067226889E-3</c:v>
                </c:pt>
                <c:pt idx="52891">
                  <c:v>-4.20168067226889E-3</c:v>
                </c:pt>
                <c:pt idx="52892">
                  <c:v>-4.20168067226889E-3</c:v>
                </c:pt>
                <c:pt idx="52893">
                  <c:v>-4.20168067226889E-3</c:v>
                </c:pt>
                <c:pt idx="52894">
                  <c:v>-4.20168067226889E-3</c:v>
                </c:pt>
                <c:pt idx="52895">
                  <c:v>-4.20168067226889E-3</c:v>
                </c:pt>
                <c:pt idx="52896">
                  <c:v>-4.20168067226889E-3</c:v>
                </c:pt>
                <c:pt idx="52897">
                  <c:v>-4.20168067226889E-3</c:v>
                </c:pt>
                <c:pt idx="52898">
                  <c:v>-4.20168067226889E-3</c:v>
                </c:pt>
                <c:pt idx="52899">
                  <c:v>-4.20168067226889E-3</c:v>
                </c:pt>
                <c:pt idx="52900">
                  <c:v>-4.20168067226889E-3</c:v>
                </c:pt>
                <c:pt idx="52901">
                  <c:v>-4.20168067226889E-3</c:v>
                </c:pt>
                <c:pt idx="52902">
                  <c:v>-4.20168067226889E-3</c:v>
                </c:pt>
                <c:pt idx="52903">
                  <c:v>-4.20168067226889E-3</c:v>
                </c:pt>
                <c:pt idx="52904">
                  <c:v>-4.20168067226889E-3</c:v>
                </c:pt>
                <c:pt idx="52905">
                  <c:v>-4.20168067226889E-3</c:v>
                </c:pt>
                <c:pt idx="52906">
                  <c:v>-4.20168067226889E-3</c:v>
                </c:pt>
                <c:pt idx="52907">
                  <c:v>-4.20168067226889E-3</c:v>
                </c:pt>
                <c:pt idx="52908">
                  <c:v>-4.20168067226889E-3</c:v>
                </c:pt>
                <c:pt idx="52909">
                  <c:v>-4.20168067226889E-3</c:v>
                </c:pt>
                <c:pt idx="52910">
                  <c:v>-4.20168067226889E-3</c:v>
                </c:pt>
                <c:pt idx="52911">
                  <c:v>-4.20168067226889E-3</c:v>
                </c:pt>
                <c:pt idx="52912">
                  <c:v>-4.20168067226889E-3</c:v>
                </c:pt>
                <c:pt idx="52913">
                  <c:v>-4.20168067226889E-3</c:v>
                </c:pt>
                <c:pt idx="52914">
                  <c:v>-4.20168067226889E-3</c:v>
                </c:pt>
                <c:pt idx="52915">
                  <c:v>-4.20168067226889E-3</c:v>
                </c:pt>
                <c:pt idx="52916">
                  <c:v>-4.20168067226889E-3</c:v>
                </c:pt>
                <c:pt idx="52917">
                  <c:v>-4.20168067226889E-3</c:v>
                </c:pt>
                <c:pt idx="52918">
                  <c:v>-4.20168067226889E-3</c:v>
                </c:pt>
                <c:pt idx="52919">
                  <c:v>-4.20168067226889E-3</c:v>
                </c:pt>
                <c:pt idx="52920">
                  <c:v>-4.20168067226889E-3</c:v>
                </c:pt>
                <c:pt idx="52921">
                  <c:v>-4.20168067226889E-3</c:v>
                </c:pt>
                <c:pt idx="52922">
                  <c:v>-4.20168067226889E-3</c:v>
                </c:pt>
                <c:pt idx="52923">
                  <c:v>-4.20168067226889E-3</c:v>
                </c:pt>
                <c:pt idx="52924">
                  <c:v>-4.20168067226889E-3</c:v>
                </c:pt>
                <c:pt idx="52925">
                  <c:v>-4.20168067226889E-3</c:v>
                </c:pt>
                <c:pt idx="52926">
                  <c:v>-4.20168067226889E-3</c:v>
                </c:pt>
                <c:pt idx="52927">
                  <c:v>-4.20168067226889E-3</c:v>
                </c:pt>
                <c:pt idx="52928">
                  <c:v>-4.20168067226889E-3</c:v>
                </c:pt>
                <c:pt idx="52929">
                  <c:v>-4.20168067226889E-3</c:v>
                </c:pt>
                <c:pt idx="52930">
                  <c:v>-4.20168067226889E-3</c:v>
                </c:pt>
                <c:pt idx="52931">
                  <c:v>-4.20168067226889E-3</c:v>
                </c:pt>
                <c:pt idx="52932">
                  <c:v>-4.20168067226889E-3</c:v>
                </c:pt>
                <c:pt idx="52933">
                  <c:v>-4.20168067226889E-3</c:v>
                </c:pt>
                <c:pt idx="52934">
                  <c:v>-4.20168067226889E-3</c:v>
                </c:pt>
                <c:pt idx="52935">
                  <c:v>-4.20168067226889E-3</c:v>
                </c:pt>
                <c:pt idx="52936">
                  <c:v>-4.20168067226889E-3</c:v>
                </c:pt>
                <c:pt idx="52937">
                  <c:v>-4.20168067226889E-3</c:v>
                </c:pt>
                <c:pt idx="52938">
                  <c:v>-4.20168067226889E-3</c:v>
                </c:pt>
                <c:pt idx="52939">
                  <c:v>-4.20168067226889E-3</c:v>
                </c:pt>
                <c:pt idx="52940">
                  <c:v>-4.20168067226889E-3</c:v>
                </c:pt>
                <c:pt idx="52941">
                  <c:v>-4.20168067226889E-3</c:v>
                </c:pt>
                <c:pt idx="52942">
                  <c:v>-4.20168067226889E-3</c:v>
                </c:pt>
                <c:pt idx="52943">
                  <c:v>-4.20168067226889E-3</c:v>
                </c:pt>
                <c:pt idx="52944">
                  <c:v>-4.20168067226889E-3</c:v>
                </c:pt>
                <c:pt idx="52945">
                  <c:v>-3.3613445378151102E-3</c:v>
                </c:pt>
                <c:pt idx="52946">
                  <c:v>-3.3613445378151102E-3</c:v>
                </c:pt>
                <c:pt idx="52947">
                  <c:v>-3.3613445378151102E-3</c:v>
                </c:pt>
                <c:pt idx="52948">
                  <c:v>-3.3613445378151102E-3</c:v>
                </c:pt>
                <c:pt idx="52949">
                  <c:v>-3.3613445378151102E-3</c:v>
                </c:pt>
                <c:pt idx="52950">
                  <c:v>-3.3613445378151102E-3</c:v>
                </c:pt>
                <c:pt idx="52951">
                  <c:v>-3.3613445378151102E-3</c:v>
                </c:pt>
                <c:pt idx="52952">
                  <c:v>-3.3613445378151102E-3</c:v>
                </c:pt>
                <c:pt idx="52953">
                  <c:v>-3.3613445378151102E-3</c:v>
                </c:pt>
                <c:pt idx="52954">
                  <c:v>-3.3613445378151102E-3</c:v>
                </c:pt>
                <c:pt idx="52955">
                  <c:v>-3.3613445378151102E-3</c:v>
                </c:pt>
                <c:pt idx="52956">
                  <c:v>-3.3613445378151102E-3</c:v>
                </c:pt>
                <c:pt idx="52957">
                  <c:v>-3.3613445378151102E-3</c:v>
                </c:pt>
                <c:pt idx="52958">
                  <c:v>-3.3613445378151102E-3</c:v>
                </c:pt>
                <c:pt idx="52959">
                  <c:v>-3.3613445378151102E-3</c:v>
                </c:pt>
                <c:pt idx="52960">
                  <c:v>-3.3613445378151102E-3</c:v>
                </c:pt>
                <c:pt idx="52961">
                  <c:v>-3.3613445378151102E-3</c:v>
                </c:pt>
                <c:pt idx="52962">
                  <c:v>-3.3613445378151102E-3</c:v>
                </c:pt>
                <c:pt idx="52963">
                  <c:v>-3.3613445378151102E-3</c:v>
                </c:pt>
                <c:pt idx="52964">
                  <c:v>-3.3613445378151102E-3</c:v>
                </c:pt>
                <c:pt idx="52965">
                  <c:v>-3.3613445378151102E-3</c:v>
                </c:pt>
                <c:pt idx="52966">
                  <c:v>-3.3613445378151102E-3</c:v>
                </c:pt>
                <c:pt idx="52967">
                  <c:v>-3.3613445378151102E-3</c:v>
                </c:pt>
                <c:pt idx="52968">
                  <c:v>-3.3613445378151102E-3</c:v>
                </c:pt>
                <c:pt idx="52969">
                  <c:v>-3.3613445378151102E-3</c:v>
                </c:pt>
                <c:pt idx="52970">
                  <c:v>-3.3613445378151102E-3</c:v>
                </c:pt>
                <c:pt idx="52971">
                  <c:v>-3.3613445378151102E-3</c:v>
                </c:pt>
                <c:pt idx="52972">
                  <c:v>-3.3613445378151102E-3</c:v>
                </c:pt>
                <c:pt idx="52973">
                  <c:v>-3.3613445378151102E-3</c:v>
                </c:pt>
                <c:pt idx="52974">
                  <c:v>-3.3613445378151102E-3</c:v>
                </c:pt>
                <c:pt idx="52975">
                  <c:v>-3.3613445378151102E-3</c:v>
                </c:pt>
                <c:pt idx="52976">
                  <c:v>-3.3613445378151102E-3</c:v>
                </c:pt>
                <c:pt idx="52977">
                  <c:v>-3.3613445378151102E-3</c:v>
                </c:pt>
                <c:pt idx="52978">
                  <c:v>-3.3613445378151102E-3</c:v>
                </c:pt>
                <c:pt idx="52979">
                  <c:v>-3.3613445378151102E-3</c:v>
                </c:pt>
                <c:pt idx="52980">
                  <c:v>-3.3613445378151102E-3</c:v>
                </c:pt>
                <c:pt idx="52981">
                  <c:v>-3.3613445378151102E-3</c:v>
                </c:pt>
                <c:pt idx="52982">
                  <c:v>-3.3613445378151102E-3</c:v>
                </c:pt>
                <c:pt idx="52983">
                  <c:v>-3.3613445378151102E-3</c:v>
                </c:pt>
                <c:pt idx="52984">
                  <c:v>-3.3613445378151102E-3</c:v>
                </c:pt>
                <c:pt idx="52985">
                  <c:v>-3.3613445378151102E-3</c:v>
                </c:pt>
                <c:pt idx="52986">
                  <c:v>-3.3613445378151102E-3</c:v>
                </c:pt>
                <c:pt idx="52987">
                  <c:v>-3.3613445378151102E-3</c:v>
                </c:pt>
                <c:pt idx="52988">
                  <c:v>-3.3613445378151102E-3</c:v>
                </c:pt>
                <c:pt idx="52989">
                  <c:v>-3.3613445378151102E-3</c:v>
                </c:pt>
                <c:pt idx="52990">
                  <c:v>-3.3613445378151102E-3</c:v>
                </c:pt>
                <c:pt idx="52991">
                  <c:v>-3.3613445378151102E-3</c:v>
                </c:pt>
                <c:pt idx="52992">
                  <c:v>-3.3613445378151102E-3</c:v>
                </c:pt>
                <c:pt idx="52993">
                  <c:v>-3.3613445378151102E-3</c:v>
                </c:pt>
                <c:pt idx="52994">
                  <c:v>-3.3613445378151102E-3</c:v>
                </c:pt>
                <c:pt idx="52995">
                  <c:v>-3.3613445378151102E-3</c:v>
                </c:pt>
                <c:pt idx="52996">
                  <c:v>-3.3613445378151102E-3</c:v>
                </c:pt>
                <c:pt idx="52997">
                  <c:v>-3.3613445378151102E-3</c:v>
                </c:pt>
                <c:pt idx="52998">
                  <c:v>-3.3613445378151102E-3</c:v>
                </c:pt>
                <c:pt idx="52999">
                  <c:v>-3.3613445378151102E-3</c:v>
                </c:pt>
                <c:pt idx="53000">
                  <c:v>-3.3613445378151102E-3</c:v>
                </c:pt>
                <c:pt idx="53001">
                  <c:v>-3.3613445378151102E-3</c:v>
                </c:pt>
                <c:pt idx="53002">
                  <c:v>-3.3613445378151102E-3</c:v>
                </c:pt>
                <c:pt idx="53003">
                  <c:v>-3.3613445378151102E-3</c:v>
                </c:pt>
                <c:pt idx="53004">
                  <c:v>-3.3613445378151102E-3</c:v>
                </c:pt>
                <c:pt idx="53005">
                  <c:v>-3.3613445378151102E-3</c:v>
                </c:pt>
                <c:pt idx="53006">
                  <c:v>-3.3613445378151102E-3</c:v>
                </c:pt>
                <c:pt idx="53007">
                  <c:v>-3.3613445378151102E-3</c:v>
                </c:pt>
                <c:pt idx="53008">
                  <c:v>-3.3613445378151102E-3</c:v>
                </c:pt>
                <c:pt idx="53009">
                  <c:v>-3.3613445378151102E-3</c:v>
                </c:pt>
                <c:pt idx="53010">
                  <c:v>-3.3613445378151102E-3</c:v>
                </c:pt>
                <c:pt idx="53011">
                  <c:v>-3.3613445378151102E-3</c:v>
                </c:pt>
                <c:pt idx="53012">
                  <c:v>-3.3613445378151102E-3</c:v>
                </c:pt>
                <c:pt idx="53013">
                  <c:v>-3.3613445378151102E-3</c:v>
                </c:pt>
                <c:pt idx="53014">
                  <c:v>-3.3613445378151102E-3</c:v>
                </c:pt>
                <c:pt idx="53015">
                  <c:v>-3.3613445378151102E-3</c:v>
                </c:pt>
                <c:pt idx="53016">
                  <c:v>-3.3613445378151102E-3</c:v>
                </c:pt>
                <c:pt idx="53017">
                  <c:v>-3.3613445378151102E-3</c:v>
                </c:pt>
                <c:pt idx="53018">
                  <c:v>-3.3613445378151102E-3</c:v>
                </c:pt>
                <c:pt idx="53019">
                  <c:v>-3.3613445378151102E-3</c:v>
                </c:pt>
                <c:pt idx="53020">
                  <c:v>-3.3613445378151102E-3</c:v>
                </c:pt>
                <c:pt idx="53021">
                  <c:v>-3.3613445378151102E-3</c:v>
                </c:pt>
                <c:pt idx="53022">
                  <c:v>-3.3613445378151102E-3</c:v>
                </c:pt>
                <c:pt idx="53023">
                  <c:v>-3.3613445378151102E-3</c:v>
                </c:pt>
                <c:pt idx="53024">
                  <c:v>-3.3613445378151102E-3</c:v>
                </c:pt>
                <c:pt idx="53025">
                  <c:v>-3.3613445378151102E-3</c:v>
                </c:pt>
                <c:pt idx="53026">
                  <c:v>-3.3613445378151102E-3</c:v>
                </c:pt>
                <c:pt idx="53027">
                  <c:v>-3.3613445378151102E-3</c:v>
                </c:pt>
                <c:pt idx="53028">
                  <c:v>-3.3613445378151102E-3</c:v>
                </c:pt>
                <c:pt idx="53029">
                  <c:v>-3.3613445378151102E-3</c:v>
                </c:pt>
                <c:pt idx="53030">
                  <c:v>-3.3613445378151102E-3</c:v>
                </c:pt>
                <c:pt idx="53031">
                  <c:v>-3.3613445378151102E-3</c:v>
                </c:pt>
                <c:pt idx="53032">
                  <c:v>-3.3613445378151102E-3</c:v>
                </c:pt>
                <c:pt idx="53033">
                  <c:v>-3.3613445378151102E-3</c:v>
                </c:pt>
                <c:pt idx="53034">
                  <c:v>-3.3613445378151102E-3</c:v>
                </c:pt>
                <c:pt idx="53035">
                  <c:v>-3.3613445378151102E-3</c:v>
                </c:pt>
                <c:pt idx="53036">
                  <c:v>-3.3613445378151102E-3</c:v>
                </c:pt>
                <c:pt idx="53037">
                  <c:v>-3.3613445378151102E-3</c:v>
                </c:pt>
                <c:pt idx="53038">
                  <c:v>-3.3613445378151102E-3</c:v>
                </c:pt>
                <c:pt idx="53039">
                  <c:v>-3.3613445378151102E-3</c:v>
                </c:pt>
                <c:pt idx="53040">
                  <c:v>-3.3613445378151102E-3</c:v>
                </c:pt>
                <c:pt idx="53041">
                  <c:v>-3.3613445378151102E-3</c:v>
                </c:pt>
                <c:pt idx="53042">
                  <c:v>-3.3613445378151102E-3</c:v>
                </c:pt>
                <c:pt idx="53043">
                  <c:v>-3.3613445378151102E-3</c:v>
                </c:pt>
                <c:pt idx="53044">
                  <c:v>-3.3613445378151102E-3</c:v>
                </c:pt>
                <c:pt idx="53045">
                  <c:v>-3.3613445378151102E-3</c:v>
                </c:pt>
                <c:pt idx="53046">
                  <c:v>-3.3613445378151102E-3</c:v>
                </c:pt>
                <c:pt idx="53047">
                  <c:v>-3.3613445378151102E-3</c:v>
                </c:pt>
                <c:pt idx="53048">
                  <c:v>-3.3613445378151102E-3</c:v>
                </c:pt>
                <c:pt idx="53049">
                  <c:v>-3.3613445378151102E-3</c:v>
                </c:pt>
                <c:pt idx="53050">
                  <c:v>-3.3613445378151102E-3</c:v>
                </c:pt>
                <c:pt idx="53051">
                  <c:v>-3.3613445378151102E-3</c:v>
                </c:pt>
                <c:pt idx="53052">
                  <c:v>-3.3613445378151102E-3</c:v>
                </c:pt>
                <c:pt idx="53053">
                  <c:v>-3.3613445378151102E-3</c:v>
                </c:pt>
                <c:pt idx="53054">
                  <c:v>-3.3613445378151102E-3</c:v>
                </c:pt>
                <c:pt idx="53055">
                  <c:v>-3.3613445378151102E-3</c:v>
                </c:pt>
                <c:pt idx="53056">
                  <c:v>-3.3613445378151102E-3</c:v>
                </c:pt>
                <c:pt idx="53057">
                  <c:v>-3.3613445378151102E-3</c:v>
                </c:pt>
                <c:pt idx="53058">
                  <c:v>-3.3613445378151102E-3</c:v>
                </c:pt>
                <c:pt idx="53059">
                  <c:v>-3.3613445378151102E-3</c:v>
                </c:pt>
                <c:pt idx="53060">
                  <c:v>-3.3613445378151102E-3</c:v>
                </c:pt>
                <c:pt idx="53061">
                  <c:v>-3.3613445378151102E-3</c:v>
                </c:pt>
                <c:pt idx="53062">
                  <c:v>-3.3613445378151102E-3</c:v>
                </c:pt>
                <c:pt idx="53063">
                  <c:v>-3.3613445378151102E-3</c:v>
                </c:pt>
                <c:pt idx="53064">
                  <c:v>-3.3613445378151102E-3</c:v>
                </c:pt>
                <c:pt idx="53065">
                  <c:v>-3.3613445378151102E-3</c:v>
                </c:pt>
                <c:pt idx="53066">
                  <c:v>-3.3613445378151102E-3</c:v>
                </c:pt>
                <c:pt idx="53067">
                  <c:v>-3.3613445378151102E-3</c:v>
                </c:pt>
                <c:pt idx="53068">
                  <c:v>-3.3613445378151102E-3</c:v>
                </c:pt>
                <c:pt idx="53069">
                  <c:v>-3.3613445378151102E-3</c:v>
                </c:pt>
                <c:pt idx="53070">
                  <c:v>-3.3613445378151102E-3</c:v>
                </c:pt>
                <c:pt idx="53071">
                  <c:v>-3.3613445378151102E-3</c:v>
                </c:pt>
                <c:pt idx="53072">
                  <c:v>-3.3613445378151102E-3</c:v>
                </c:pt>
                <c:pt idx="53073">
                  <c:v>-3.3613445378151102E-3</c:v>
                </c:pt>
                <c:pt idx="53074">
                  <c:v>-3.3613445378151102E-3</c:v>
                </c:pt>
                <c:pt idx="53075">
                  <c:v>-3.3613445378151102E-3</c:v>
                </c:pt>
                <c:pt idx="53076">
                  <c:v>-3.3613445378151102E-3</c:v>
                </c:pt>
                <c:pt idx="53077">
                  <c:v>-3.3613445378151102E-3</c:v>
                </c:pt>
                <c:pt idx="53078">
                  <c:v>-3.3613445378151102E-3</c:v>
                </c:pt>
                <c:pt idx="53079">
                  <c:v>-3.3613445378151102E-3</c:v>
                </c:pt>
                <c:pt idx="53080">
                  <c:v>-3.3613445378151102E-3</c:v>
                </c:pt>
                <c:pt idx="53081">
                  <c:v>-3.3613445378151102E-3</c:v>
                </c:pt>
                <c:pt idx="53082">
                  <c:v>-3.3613445378151102E-3</c:v>
                </c:pt>
                <c:pt idx="53083">
                  <c:v>-3.3613445378151102E-3</c:v>
                </c:pt>
                <c:pt idx="53084">
                  <c:v>-3.3613445378151102E-3</c:v>
                </c:pt>
                <c:pt idx="53085">
                  <c:v>-3.3613445378151102E-3</c:v>
                </c:pt>
                <c:pt idx="53086">
                  <c:v>-3.3613445378151102E-3</c:v>
                </c:pt>
                <c:pt idx="53087">
                  <c:v>-3.3613445378151102E-3</c:v>
                </c:pt>
                <c:pt idx="53088">
                  <c:v>-3.3613445378151102E-3</c:v>
                </c:pt>
                <c:pt idx="53089">
                  <c:v>-3.3613445378151102E-3</c:v>
                </c:pt>
                <c:pt idx="53090">
                  <c:v>-3.3613445378151102E-3</c:v>
                </c:pt>
                <c:pt idx="53091">
                  <c:v>-3.3613445378151102E-3</c:v>
                </c:pt>
                <c:pt idx="53092">
                  <c:v>-3.3613445378151102E-3</c:v>
                </c:pt>
                <c:pt idx="53093">
                  <c:v>-3.3613445378151102E-3</c:v>
                </c:pt>
                <c:pt idx="53094">
                  <c:v>-3.3613445378151102E-3</c:v>
                </c:pt>
                <c:pt idx="53095">
                  <c:v>-3.3613445378151102E-3</c:v>
                </c:pt>
                <c:pt idx="53096">
                  <c:v>-3.3613445378151102E-3</c:v>
                </c:pt>
                <c:pt idx="53097">
                  <c:v>-3.3613445378151102E-3</c:v>
                </c:pt>
                <c:pt idx="53098">
                  <c:v>-3.3613445378151102E-3</c:v>
                </c:pt>
                <c:pt idx="53099">
                  <c:v>-3.3613445378151102E-3</c:v>
                </c:pt>
                <c:pt idx="53100">
                  <c:v>-3.3613445378151102E-3</c:v>
                </c:pt>
                <c:pt idx="53101">
                  <c:v>-3.3613445378151102E-3</c:v>
                </c:pt>
                <c:pt idx="53102">
                  <c:v>-3.3613445378151102E-3</c:v>
                </c:pt>
                <c:pt idx="53103">
                  <c:v>-3.3613445378151102E-3</c:v>
                </c:pt>
                <c:pt idx="53104">
                  <c:v>-3.3613445378151102E-3</c:v>
                </c:pt>
                <c:pt idx="53105">
                  <c:v>-3.3613445378151102E-3</c:v>
                </c:pt>
                <c:pt idx="53106">
                  <c:v>-3.3613445378151102E-3</c:v>
                </c:pt>
                <c:pt idx="53107">
                  <c:v>-3.3613445378151102E-3</c:v>
                </c:pt>
                <c:pt idx="53108">
                  <c:v>-3.3613445378151102E-3</c:v>
                </c:pt>
                <c:pt idx="53109">
                  <c:v>-3.3613445378151102E-3</c:v>
                </c:pt>
                <c:pt idx="53110">
                  <c:v>-3.3613445378151102E-3</c:v>
                </c:pt>
                <c:pt idx="53111">
                  <c:v>-3.3613445378151102E-3</c:v>
                </c:pt>
                <c:pt idx="53112">
                  <c:v>-3.3613445378151102E-3</c:v>
                </c:pt>
                <c:pt idx="53113">
                  <c:v>-3.3613445378151102E-3</c:v>
                </c:pt>
                <c:pt idx="53114">
                  <c:v>-3.3613445378151102E-3</c:v>
                </c:pt>
                <c:pt idx="53115">
                  <c:v>-3.3613445378151102E-3</c:v>
                </c:pt>
                <c:pt idx="53116">
                  <c:v>-3.3613445378151102E-3</c:v>
                </c:pt>
                <c:pt idx="53117">
                  <c:v>-3.3613445378151102E-3</c:v>
                </c:pt>
                <c:pt idx="53118">
                  <c:v>-3.3613445378151102E-3</c:v>
                </c:pt>
                <c:pt idx="53119">
                  <c:v>-3.3613445378151102E-3</c:v>
                </c:pt>
                <c:pt idx="53120">
                  <c:v>-3.3613445378151102E-3</c:v>
                </c:pt>
                <c:pt idx="53121">
                  <c:v>-3.3613445378151102E-3</c:v>
                </c:pt>
                <c:pt idx="53122">
                  <c:v>-3.3613445378151102E-3</c:v>
                </c:pt>
                <c:pt idx="53123">
                  <c:v>-3.3613445378151102E-3</c:v>
                </c:pt>
                <c:pt idx="53124">
                  <c:v>-3.3613445378151102E-3</c:v>
                </c:pt>
                <c:pt idx="53125">
                  <c:v>-3.3613445378151102E-3</c:v>
                </c:pt>
                <c:pt idx="53126">
                  <c:v>-3.3613445378151102E-3</c:v>
                </c:pt>
                <c:pt idx="53127">
                  <c:v>-3.3613445378151102E-3</c:v>
                </c:pt>
                <c:pt idx="53128">
                  <c:v>-3.3613445378151102E-3</c:v>
                </c:pt>
                <c:pt idx="53129">
                  <c:v>-3.3613445378151102E-3</c:v>
                </c:pt>
                <c:pt idx="53130">
                  <c:v>-3.3613445378151102E-3</c:v>
                </c:pt>
                <c:pt idx="53131">
                  <c:v>-3.3613445378151102E-3</c:v>
                </c:pt>
                <c:pt idx="53132">
                  <c:v>-3.3613445378151102E-3</c:v>
                </c:pt>
                <c:pt idx="53133">
                  <c:v>-3.3613445378151102E-3</c:v>
                </c:pt>
                <c:pt idx="53134">
                  <c:v>-3.3613445378151102E-3</c:v>
                </c:pt>
                <c:pt idx="53135">
                  <c:v>-3.3613445378151102E-3</c:v>
                </c:pt>
                <c:pt idx="53136">
                  <c:v>-3.3613445378151102E-3</c:v>
                </c:pt>
                <c:pt idx="53137">
                  <c:v>-3.3613445378151102E-3</c:v>
                </c:pt>
                <c:pt idx="53138">
                  <c:v>-3.3613445378151102E-3</c:v>
                </c:pt>
                <c:pt idx="53139">
                  <c:v>-3.3613445378151102E-3</c:v>
                </c:pt>
                <c:pt idx="53140">
                  <c:v>-3.3613445378151102E-3</c:v>
                </c:pt>
                <c:pt idx="53141">
                  <c:v>-3.3613445378151102E-3</c:v>
                </c:pt>
                <c:pt idx="53142">
                  <c:v>-3.3613445378151102E-3</c:v>
                </c:pt>
                <c:pt idx="53143">
                  <c:v>-3.3613445378151102E-3</c:v>
                </c:pt>
                <c:pt idx="53144">
                  <c:v>-3.3613445378151102E-3</c:v>
                </c:pt>
                <c:pt idx="53145">
                  <c:v>-3.3613445378151102E-3</c:v>
                </c:pt>
                <c:pt idx="53146">
                  <c:v>-3.3613445378151102E-3</c:v>
                </c:pt>
                <c:pt idx="53147">
                  <c:v>-3.3613445378151102E-3</c:v>
                </c:pt>
                <c:pt idx="53148">
                  <c:v>-3.3613445378151102E-3</c:v>
                </c:pt>
                <c:pt idx="53149">
                  <c:v>-3.3613445378151102E-3</c:v>
                </c:pt>
                <c:pt idx="53150">
                  <c:v>-3.3613445378151102E-3</c:v>
                </c:pt>
                <c:pt idx="53151">
                  <c:v>-3.3613445378151102E-3</c:v>
                </c:pt>
                <c:pt idx="53152">
                  <c:v>-3.3613445378151102E-3</c:v>
                </c:pt>
                <c:pt idx="53153">
                  <c:v>-3.3613445378151102E-3</c:v>
                </c:pt>
                <c:pt idx="53154">
                  <c:v>-3.3613445378151102E-3</c:v>
                </c:pt>
                <c:pt idx="53155">
                  <c:v>-3.3613445378151102E-3</c:v>
                </c:pt>
                <c:pt idx="53156">
                  <c:v>-3.3613445378151102E-3</c:v>
                </c:pt>
                <c:pt idx="53157">
                  <c:v>-3.3613445378151102E-3</c:v>
                </c:pt>
                <c:pt idx="53158">
                  <c:v>-3.3613445378151102E-3</c:v>
                </c:pt>
                <c:pt idx="53159">
                  <c:v>-3.3613445378151102E-3</c:v>
                </c:pt>
                <c:pt idx="53160">
                  <c:v>-3.3613445378151102E-3</c:v>
                </c:pt>
                <c:pt idx="53161">
                  <c:v>-3.3613445378151102E-3</c:v>
                </c:pt>
                <c:pt idx="53162">
                  <c:v>-3.3613445378151102E-3</c:v>
                </c:pt>
                <c:pt idx="53163">
                  <c:v>-3.3613445378151102E-3</c:v>
                </c:pt>
                <c:pt idx="53164">
                  <c:v>-3.3613445378151102E-3</c:v>
                </c:pt>
                <c:pt idx="53165">
                  <c:v>-3.3613445378151102E-3</c:v>
                </c:pt>
                <c:pt idx="53166">
                  <c:v>-3.3613445378151102E-3</c:v>
                </c:pt>
                <c:pt idx="53167">
                  <c:v>-3.3613445378151102E-3</c:v>
                </c:pt>
                <c:pt idx="53168">
                  <c:v>-3.3613445378151102E-3</c:v>
                </c:pt>
                <c:pt idx="53169">
                  <c:v>-3.3613445378151102E-3</c:v>
                </c:pt>
                <c:pt idx="53170">
                  <c:v>-3.3613445378151102E-3</c:v>
                </c:pt>
                <c:pt idx="53171">
                  <c:v>-3.3613445378151102E-3</c:v>
                </c:pt>
                <c:pt idx="53172">
                  <c:v>-3.3613445378151102E-3</c:v>
                </c:pt>
                <c:pt idx="53173">
                  <c:v>-3.3613445378151102E-3</c:v>
                </c:pt>
                <c:pt idx="53174">
                  <c:v>-3.3613445378151102E-3</c:v>
                </c:pt>
                <c:pt idx="53175">
                  <c:v>-3.3613445378151102E-3</c:v>
                </c:pt>
                <c:pt idx="53176">
                  <c:v>-3.3613445378151102E-3</c:v>
                </c:pt>
                <c:pt idx="53177">
                  <c:v>-3.3613445378151102E-3</c:v>
                </c:pt>
                <c:pt idx="53178">
                  <c:v>-3.3613445378151102E-3</c:v>
                </c:pt>
                <c:pt idx="53179">
                  <c:v>-3.3613445378151102E-3</c:v>
                </c:pt>
                <c:pt idx="53180">
                  <c:v>-3.3613445378151102E-3</c:v>
                </c:pt>
                <c:pt idx="53181">
                  <c:v>-3.3613445378151102E-3</c:v>
                </c:pt>
                <c:pt idx="53182">
                  <c:v>-3.3613445378151102E-3</c:v>
                </c:pt>
                <c:pt idx="53183">
                  <c:v>-3.3613445378151102E-3</c:v>
                </c:pt>
                <c:pt idx="53184">
                  <c:v>-3.3613445378151102E-3</c:v>
                </c:pt>
                <c:pt idx="53185">
                  <c:v>-3.3613445378151102E-3</c:v>
                </c:pt>
                <c:pt idx="53186">
                  <c:v>-3.3613445378151102E-3</c:v>
                </c:pt>
                <c:pt idx="53187">
                  <c:v>-3.3613445378151102E-3</c:v>
                </c:pt>
                <c:pt idx="53188">
                  <c:v>-3.3613445378151102E-3</c:v>
                </c:pt>
                <c:pt idx="53189">
                  <c:v>-3.3613445378151102E-3</c:v>
                </c:pt>
                <c:pt idx="53190">
                  <c:v>-3.3613445378151102E-3</c:v>
                </c:pt>
                <c:pt idx="53191">
                  <c:v>-3.3613445378151102E-3</c:v>
                </c:pt>
                <c:pt idx="53192">
                  <c:v>-3.3613445378151102E-3</c:v>
                </c:pt>
                <c:pt idx="53193">
                  <c:v>-3.3613445378151102E-3</c:v>
                </c:pt>
                <c:pt idx="53194">
                  <c:v>-3.3613445378151102E-3</c:v>
                </c:pt>
                <c:pt idx="53195">
                  <c:v>-3.3613445378151102E-3</c:v>
                </c:pt>
                <c:pt idx="53196">
                  <c:v>-3.3613445378151102E-3</c:v>
                </c:pt>
                <c:pt idx="53197">
                  <c:v>-3.3613445378151102E-3</c:v>
                </c:pt>
                <c:pt idx="53198">
                  <c:v>-3.3613445378151102E-3</c:v>
                </c:pt>
                <c:pt idx="53199">
                  <c:v>-3.3613445378151102E-3</c:v>
                </c:pt>
                <c:pt idx="53200">
                  <c:v>-3.3613445378151102E-3</c:v>
                </c:pt>
                <c:pt idx="53201">
                  <c:v>-3.3613445378151102E-3</c:v>
                </c:pt>
                <c:pt idx="53202">
                  <c:v>-3.3613445378151102E-3</c:v>
                </c:pt>
                <c:pt idx="53203">
                  <c:v>-3.3613445378151102E-3</c:v>
                </c:pt>
                <c:pt idx="53204">
                  <c:v>-3.3613445378151102E-3</c:v>
                </c:pt>
                <c:pt idx="53205">
                  <c:v>-3.3613445378151102E-3</c:v>
                </c:pt>
                <c:pt idx="53206">
                  <c:v>-3.3613445378151102E-3</c:v>
                </c:pt>
                <c:pt idx="53207">
                  <c:v>-3.3613445378151102E-3</c:v>
                </c:pt>
                <c:pt idx="53208">
                  <c:v>-3.3613445378151102E-3</c:v>
                </c:pt>
                <c:pt idx="53209">
                  <c:v>-3.3613445378151102E-3</c:v>
                </c:pt>
                <c:pt idx="53210">
                  <c:v>-3.3613445378151102E-3</c:v>
                </c:pt>
                <c:pt idx="53211">
                  <c:v>-3.3613445378151102E-3</c:v>
                </c:pt>
                <c:pt idx="53212">
                  <c:v>-3.3613445378151102E-3</c:v>
                </c:pt>
                <c:pt idx="53213">
                  <c:v>-3.3613445378151102E-3</c:v>
                </c:pt>
                <c:pt idx="53214">
                  <c:v>-3.3613445378151102E-3</c:v>
                </c:pt>
                <c:pt idx="53215">
                  <c:v>-3.3613445378151102E-3</c:v>
                </c:pt>
                <c:pt idx="53216">
                  <c:v>-3.3613445378151102E-3</c:v>
                </c:pt>
                <c:pt idx="53217">
                  <c:v>-3.3613445378151102E-3</c:v>
                </c:pt>
                <c:pt idx="53218">
                  <c:v>-3.3613445378151102E-3</c:v>
                </c:pt>
                <c:pt idx="53219">
                  <c:v>-3.3613445378151102E-3</c:v>
                </c:pt>
                <c:pt idx="53220">
                  <c:v>-3.3613445378151102E-3</c:v>
                </c:pt>
                <c:pt idx="53221">
                  <c:v>-3.3613445378151102E-3</c:v>
                </c:pt>
                <c:pt idx="53222">
                  <c:v>-3.3613445378151102E-3</c:v>
                </c:pt>
                <c:pt idx="53223">
                  <c:v>-3.3613445378151102E-3</c:v>
                </c:pt>
                <c:pt idx="53224">
                  <c:v>-3.3613445378151102E-3</c:v>
                </c:pt>
                <c:pt idx="53225">
                  <c:v>-3.3613445378151102E-3</c:v>
                </c:pt>
                <c:pt idx="53226">
                  <c:v>-3.3613445378151102E-3</c:v>
                </c:pt>
                <c:pt idx="53227">
                  <c:v>-3.3613445378151102E-3</c:v>
                </c:pt>
                <c:pt idx="53228">
                  <c:v>-3.3613445378151102E-3</c:v>
                </c:pt>
                <c:pt idx="53229">
                  <c:v>-3.3613445378151102E-3</c:v>
                </c:pt>
                <c:pt idx="53230">
                  <c:v>-3.3613445378151102E-3</c:v>
                </c:pt>
                <c:pt idx="53231">
                  <c:v>-3.3613445378151102E-3</c:v>
                </c:pt>
                <c:pt idx="53232">
                  <c:v>-3.3613445378151102E-3</c:v>
                </c:pt>
                <c:pt idx="53233">
                  <c:v>-3.3613445378151102E-3</c:v>
                </c:pt>
                <c:pt idx="53234">
                  <c:v>-3.3613445378151102E-3</c:v>
                </c:pt>
                <c:pt idx="53235">
                  <c:v>-3.3613445378151102E-3</c:v>
                </c:pt>
                <c:pt idx="53236">
                  <c:v>-3.3613445378151102E-3</c:v>
                </c:pt>
                <c:pt idx="53237">
                  <c:v>-3.3613445378151102E-3</c:v>
                </c:pt>
                <c:pt idx="53238">
                  <c:v>-3.3613445378151102E-3</c:v>
                </c:pt>
                <c:pt idx="53239">
                  <c:v>-3.3613445378151102E-3</c:v>
                </c:pt>
                <c:pt idx="53240">
                  <c:v>-3.3613445378151102E-3</c:v>
                </c:pt>
                <c:pt idx="53241">
                  <c:v>-3.3613445378151102E-3</c:v>
                </c:pt>
                <c:pt idx="53242">
                  <c:v>-3.3613445378151102E-3</c:v>
                </c:pt>
                <c:pt idx="53243">
                  <c:v>-3.3613445378151102E-3</c:v>
                </c:pt>
                <c:pt idx="53244">
                  <c:v>-3.3613445378151102E-3</c:v>
                </c:pt>
                <c:pt idx="53245">
                  <c:v>-3.3613445378151102E-3</c:v>
                </c:pt>
                <c:pt idx="53246">
                  <c:v>-3.3613445378151102E-3</c:v>
                </c:pt>
                <c:pt idx="53247">
                  <c:v>-3.3613445378151102E-3</c:v>
                </c:pt>
                <c:pt idx="53248">
                  <c:v>-3.3613445378151102E-3</c:v>
                </c:pt>
                <c:pt idx="53249">
                  <c:v>-3.3613445378151102E-3</c:v>
                </c:pt>
                <c:pt idx="53250">
                  <c:v>-3.3613445378151102E-3</c:v>
                </c:pt>
                <c:pt idx="53251">
                  <c:v>-3.3613445378151102E-3</c:v>
                </c:pt>
                <c:pt idx="53252">
                  <c:v>-3.3613445378151102E-3</c:v>
                </c:pt>
                <c:pt idx="53253">
                  <c:v>-3.3613445378151102E-3</c:v>
                </c:pt>
                <c:pt idx="53254">
                  <c:v>-3.3613445378151102E-3</c:v>
                </c:pt>
                <c:pt idx="53255">
                  <c:v>-3.3613445378151102E-3</c:v>
                </c:pt>
                <c:pt idx="53256">
                  <c:v>-3.3613445378151102E-3</c:v>
                </c:pt>
                <c:pt idx="53257">
                  <c:v>-3.3613445378151102E-3</c:v>
                </c:pt>
                <c:pt idx="53258">
                  <c:v>-3.3613445378151102E-3</c:v>
                </c:pt>
                <c:pt idx="53259">
                  <c:v>-3.3613445378151102E-3</c:v>
                </c:pt>
                <c:pt idx="53260">
                  <c:v>-3.3613445378151102E-3</c:v>
                </c:pt>
                <c:pt idx="53261">
                  <c:v>-3.3613445378151102E-3</c:v>
                </c:pt>
                <c:pt idx="53262">
                  <c:v>-3.3613445378151102E-3</c:v>
                </c:pt>
                <c:pt idx="53263">
                  <c:v>-3.3613445378151102E-3</c:v>
                </c:pt>
                <c:pt idx="53264">
                  <c:v>-3.3613445378151102E-3</c:v>
                </c:pt>
                <c:pt idx="53265">
                  <c:v>-3.3613445378151102E-3</c:v>
                </c:pt>
                <c:pt idx="53266">
                  <c:v>-3.3613445378151102E-3</c:v>
                </c:pt>
                <c:pt idx="53267">
                  <c:v>-3.3613445378151102E-3</c:v>
                </c:pt>
                <c:pt idx="53268">
                  <c:v>-3.3613445378151102E-3</c:v>
                </c:pt>
                <c:pt idx="53269">
                  <c:v>-3.3613445378151102E-3</c:v>
                </c:pt>
                <c:pt idx="53270">
                  <c:v>-3.3613445378151102E-3</c:v>
                </c:pt>
                <c:pt idx="53271">
                  <c:v>-3.3613445378151102E-3</c:v>
                </c:pt>
                <c:pt idx="53272">
                  <c:v>-3.3613445378151102E-3</c:v>
                </c:pt>
                <c:pt idx="53273">
                  <c:v>-3.3613445378151102E-3</c:v>
                </c:pt>
                <c:pt idx="53274">
                  <c:v>-3.3613445378151102E-3</c:v>
                </c:pt>
                <c:pt idx="53275">
                  <c:v>-3.3613445378151102E-3</c:v>
                </c:pt>
                <c:pt idx="53276">
                  <c:v>-3.3613445378151102E-3</c:v>
                </c:pt>
                <c:pt idx="53277">
                  <c:v>-3.3613445378151102E-3</c:v>
                </c:pt>
                <c:pt idx="53278">
                  <c:v>-3.3613445378151102E-3</c:v>
                </c:pt>
                <c:pt idx="53279">
                  <c:v>-3.3613445378151102E-3</c:v>
                </c:pt>
                <c:pt idx="53280">
                  <c:v>-3.3613445378151102E-3</c:v>
                </c:pt>
                <c:pt idx="53281">
                  <c:v>-3.3613445378151102E-3</c:v>
                </c:pt>
                <c:pt idx="53282">
                  <c:v>-3.3613445378151102E-3</c:v>
                </c:pt>
                <c:pt idx="53283">
                  <c:v>-3.3613445378151102E-3</c:v>
                </c:pt>
                <c:pt idx="53284">
                  <c:v>-3.3613445378151102E-3</c:v>
                </c:pt>
                <c:pt idx="53285">
                  <c:v>-3.3613445378151102E-3</c:v>
                </c:pt>
                <c:pt idx="53286">
                  <c:v>-3.3613445378151102E-3</c:v>
                </c:pt>
                <c:pt idx="53287">
                  <c:v>-3.3613445378151102E-3</c:v>
                </c:pt>
                <c:pt idx="53288">
                  <c:v>-3.3613445378151102E-3</c:v>
                </c:pt>
                <c:pt idx="53289">
                  <c:v>-3.3613445378151102E-3</c:v>
                </c:pt>
                <c:pt idx="53290">
                  <c:v>-3.3613445378151102E-3</c:v>
                </c:pt>
                <c:pt idx="53291">
                  <c:v>-3.3613445378151102E-3</c:v>
                </c:pt>
                <c:pt idx="53292">
                  <c:v>-3.3613445378151102E-3</c:v>
                </c:pt>
                <c:pt idx="53293">
                  <c:v>-3.3613445378151102E-3</c:v>
                </c:pt>
                <c:pt idx="53294">
                  <c:v>-3.3613445378151102E-3</c:v>
                </c:pt>
                <c:pt idx="53295">
                  <c:v>-3.3613445378151102E-3</c:v>
                </c:pt>
                <c:pt idx="53296">
                  <c:v>-3.3613445378151102E-3</c:v>
                </c:pt>
                <c:pt idx="53297">
                  <c:v>-3.3613445378151102E-3</c:v>
                </c:pt>
                <c:pt idx="53298">
                  <c:v>-3.3613445378151102E-3</c:v>
                </c:pt>
                <c:pt idx="53299">
                  <c:v>-3.3613445378151102E-3</c:v>
                </c:pt>
                <c:pt idx="53300">
                  <c:v>-3.3613445378151102E-3</c:v>
                </c:pt>
                <c:pt idx="53301">
                  <c:v>-3.3613445378151102E-3</c:v>
                </c:pt>
                <c:pt idx="53302">
                  <c:v>-3.3613445378151102E-3</c:v>
                </c:pt>
                <c:pt idx="53303">
                  <c:v>-3.3613445378151102E-3</c:v>
                </c:pt>
                <c:pt idx="53304">
                  <c:v>-3.3613445378151102E-3</c:v>
                </c:pt>
                <c:pt idx="53305">
                  <c:v>-3.3613445378151102E-3</c:v>
                </c:pt>
                <c:pt idx="53306">
                  <c:v>-3.3613445378151102E-3</c:v>
                </c:pt>
                <c:pt idx="53307">
                  <c:v>-3.3613445378151102E-3</c:v>
                </c:pt>
                <c:pt idx="53308">
                  <c:v>-3.3613445378151102E-3</c:v>
                </c:pt>
                <c:pt idx="53309">
                  <c:v>-3.3613445378151102E-3</c:v>
                </c:pt>
                <c:pt idx="53310">
                  <c:v>-3.3613445378151102E-3</c:v>
                </c:pt>
                <c:pt idx="53311">
                  <c:v>-3.3613445378151102E-3</c:v>
                </c:pt>
                <c:pt idx="53312">
                  <c:v>-3.3613445378151102E-3</c:v>
                </c:pt>
                <c:pt idx="53313">
                  <c:v>-3.3613445378151102E-3</c:v>
                </c:pt>
                <c:pt idx="53314">
                  <c:v>-3.3613445378151102E-3</c:v>
                </c:pt>
                <c:pt idx="53315">
                  <c:v>-3.3613445378151102E-3</c:v>
                </c:pt>
                <c:pt idx="53316">
                  <c:v>-3.3613445378151102E-3</c:v>
                </c:pt>
                <c:pt idx="53317">
                  <c:v>-3.3613445378151102E-3</c:v>
                </c:pt>
                <c:pt idx="53318">
                  <c:v>-3.3613445378151102E-3</c:v>
                </c:pt>
                <c:pt idx="53319">
                  <c:v>-3.3613445378151102E-3</c:v>
                </c:pt>
                <c:pt idx="53320">
                  <c:v>-3.3613445378151102E-3</c:v>
                </c:pt>
                <c:pt idx="53321">
                  <c:v>-3.3613445378151102E-3</c:v>
                </c:pt>
                <c:pt idx="53322">
                  <c:v>-3.3613445378151102E-3</c:v>
                </c:pt>
                <c:pt idx="53323">
                  <c:v>-3.3613445378151102E-3</c:v>
                </c:pt>
                <c:pt idx="53324">
                  <c:v>-3.3613445378151102E-3</c:v>
                </c:pt>
                <c:pt idx="53325">
                  <c:v>-3.3613445378151102E-3</c:v>
                </c:pt>
                <c:pt idx="53326">
                  <c:v>-3.3613445378151102E-3</c:v>
                </c:pt>
                <c:pt idx="53327">
                  <c:v>-3.3613445378151102E-3</c:v>
                </c:pt>
                <c:pt idx="53328">
                  <c:v>-3.3613445378151102E-3</c:v>
                </c:pt>
                <c:pt idx="53329">
                  <c:v>-3.3613445378151102E-3</c:v>
                </c:pt>
                <c:pt idx="53330">
                  <c:v>-3.3613445378151102E-3</c:v>
                </c:pt>
                <c:pt idx="53331">
                  <c:v>-3.3613445378151102E-3</c:v>
                </c:pt>
                <c:pt idx="53332">
                  <c:v>-3.3613445378151102E-3</c:v>
                </c:pt>
                <c:pt idx="53333">
                  <c:v>-3.3613445378151102E-3</c:v>
                </c:pt>
                <c:pt idx="53334">
                  <c:v>-3.3613445378151102E-3</c:v>
                </c:pt>
                <c:pt idx="53335">
                  <c:v>-3.3613445378151102E-3</c:v>
                </c:pt>
                <c:pt idx="53336">
                  <c:v>-3.3613445378151102E-3</c:v>
                </c:pt>
                <c:pt idx="53337">
                  <c:v>-3.3613445378151102E-3</c:v>
                </c:pt>
                <c:pt idx="53338">
                  <c:v>-3.3613445378151102E-3</c:v>
                </c:pt>
                <c:pt idx="53339">
                  <c:v>-3.3613445378151102E-3</c:v>
                </c:pt>
                <c:pt idx="53340">
                  <c:v>-3.3613445378151102E-3</c:v>
                </c:pt>
                <c:pt idx="53341">
                  <c:v>-3.3613445378151102E-3</c:v>
                </c:pt>
                <c:pt idx="53342">
                  <c:v>-3.3613445378151102E-3</c:v>
                </c:pt>
                <c:pt idx="53343">
                  <c:v>-3.3613445378151102E-3</c:v>
                </c:pt>
                <c:pt idx="53344">
                  <c:v>-3.3613445378151102E-3</c:v>
                </c:pt>
                <c:pt idx="53345">
                  <c:v>-3.3613445378151102E-3</c:v>
                </c:pt>
                <c:pt idx="53346">
                  <c:v>-3.3613445378151102E-3</c:v>
                </c:pt>
                <c:pt idx="53347">
                  <c:v>-3.3613445378151102E-3</c:v>
                </c:pt>
                <c:pt idx="53348">
                  <c:v>-3.3613445378151102E-3</c:v>
                </c:pt>
                <c:pt idx="53349">
                  <c:v>-3.3613445378151102E-3</c:v>
                </c:pt>
                <c:pt idx="53350">
                  <c:v>-3.3613445378151102E-3</c:v>
                </c:pt>
                <c:pt idx="53351">
                  <c:v>-3.3613445378151102E-3</c:v>
                </c:pt>
                <c:pt idx="53352">
                  <c:v>-3.3613445378151102E-3</c:v>
                </c:pt>
                <c:pt idx="53353">
                  <c:v>-3.3613445378151102E-3</c:v>
                </c:pt>
                <c:pt idx="53354">
                  <c:v>-3.3613445378151102E-3</c:v>
                </c:pt>
                <c:pt idx="53355">
                  <c:v>-3.3613445378151102E-3</c:v>
                </c:pt>
                <c:pt idx="53356">
                  <c:v>-3.3613445378151102E-3</c:v>
                </c:pt>
                <c:pt idx="53357">
                  <c:v>-3.3613445378151102E-3</c:v>
                </c:pt>
                <c:pt idx="53358">
                  <c:v>-3.3613445378151102E-3</c:v>
                </c:pt>
                <c:pt idx="53359">
                  <c:v>-3.3613445378151102E-3</c:v>
                </c:pt>
                <c:pt idx="53360">
                  <c:v>-3.3613445378151102E-3</c:v>
                </c:pt>
                <c:pt idx="53361">
                  <c:v>-3.3613445378151102E-3</c:v>
                </c:pt>
                <c:pt idx="53362">
                  <c:v>-3.3613445378151102E-3</c:v>
                </c:pt>
                <c:pt idx="53363">
                  <c:v>-3.3613445378151102E-3</c:v>
                </c:pt>
                <c:pt idx="53364">
                  <c:v>-3.3613445378151102E-3</c:v>
                </c:pt>
                <c:pt idx="53365">
                  <c:v>-3.3613445378151102E-3</c:v>
                </c:pt>
                <c:pt idx="53366">
                  <c:v>-3.3613445378151102E-3</c:v>
                </c:pt>
                <c:pt idx="53367">
                  <c:v>-3.3613445378151102E-3</c:v>
                </c:pt>
                <c:pt idx="53368">
                  <c:v>-3.3613445378151102E-3</c:v>
                </c:pt>
                <c:pt idx="53369">
                  <c:v>-3.3613445378151102E-3</c:v>
                </c:pt>
                <c:pt idx="53370">
                  <c:v>-3.3613445378151102E-3</c:v>
                </c:pt>
                <c:pt idx="53371">
                  <c:v>-3.3613445378151102E-3</c:v>
                </c:pt>
                <c:pt idx="53372">
                  <c:v>-3.3613445378151102E-3</c:v>
                </c:pt>
                <c:pt idx="53373">
                  <c:v>-3.3613445378151102E-3</c:v>
                </c:pt>
                <c:pt idx="53374">
                  <c:v>-3.3613445378151102E-3</c:v>
                </c:pt>
                <c:pt idx="53375">
                  <c:v>-3.3613445378151102E-3</c:v>
                </c:pt>
                <c:pt idx="53376">
                  <c:v>-3.3613445378151102E-3</c:v>
                </c:pt>
                <c:pt idx="53377">
                  <c:v>-3.3613445378151102E-3</c:v>
                </c:pt>
                <c:pt idx="53378">
                  <c:v>-3.3613445378151102E-3</c:v>
                </c:pt>
                <c:pt idx="53379">
                  <c:v>-3.3613445378151102E-3</c:v>
                </c:pt>
                <c:pt idx="53380">
                  <c:v>-3.3613445378151102E-3</c:v>
                </c:pt>
                <c:pt idx="53381">
                  <c:v>-3.3613445378151102E-3</c:v>
                </c:pt>
                <c:pt idx="53382">
                  <c:v>-3.3613445378151102E-3</c:v>
                </c:pt>
                <c:pt idx="53383">
                  <c:v>-3.3613445378151102E-3</c:v>
                </c:pt>
                <c:pt idx="53384">
                  <c:v>-3.3613445378151102E-3</c:v>
                </c:pt>
                <c:pt idx="53385">
                  <c:v>-3.3613445378151102E-3</c:v>
                </c:pt>
                <c:pt idx="53386">
                  <c:v>-3.3613445378151102E-3</c:v>
                </c:pt>
                <c:pt idx="53387">
                  <c:v>-3.3613445378151102E-3</c:v>
                </c:pt>
                <c:pt idx="53388">
                  <c:v>-3.3613445378151102E-3</c:v>
                </c:pt>
                <c:pt idx="53389">
                  <c:v>-3.3613445378151102E-3</c:v>
                </c:pt>
                <c:pt idx="53390">
                  <c:v>-3.3613445378151102E-3</c:v>
                </c:pt>
                <c:pt idx="53391">
                  <c:v>-3.3613445378151102E-3</c:v>
                </c:pt>
                <c:pt idx="53392">
                  <c:v>-3.3613445378151102E-3</c:v>
                </c:pt>
                <c:pt idx="53393">
                  <c:v>-3.3613445378151102E-3</c:v>
                </c:pt>
                <c:pt idx="53394">
                  <c:v>-3.3613445378151102E-3</c:v>
                </c:pt>
                <c:pt idx="53395">
                  <c:v>-3.3613445378151102E-3</c:v>
                </c:pt>
                <c:pt idx="53396">
                  <c:v>-3.3613445378151102E-3</c:v>
                </c:pt>
                <c:pt idx="53397">
                  <c:v>-3.3613445378151102E-3</c:v>
                </c:pt>
                <c:pt idx="53398">
                  <c:v>-3.3613445378151102E-3</c:v>
                </c:pt>
                <c:pt idx="53399">
                  <c:v>-3.3613445378151102E-3</c:v>
                </c:pt>
                <c:pt idx="53400">
                  <c:v>-3.3613445378151102E-3</c:v>
                </c:pt>
                <c:pt idx="53401">
                  <c:v>-3.3613445378151102E-3</c:v>
                </c:pt>
                <c:pt idx="53402">
                  <c:v>-3.3613445378151102E-3</c:v>
                </c:pt>
                <c:pt idx="53403">
                  <c:v>-3.3613445378151102E-3</c:v>
                </c:pt>
                <c:pt idx="53404">
                  <c:v>-3.3613445378151102E-3</c:v>
                </c:pt>
                <c:pt idx="53405">
                  <c:v>-3.3613445378151102E-3</c:v>
                </c:pt>
                <c:pt idx="53406">
                  <c:v>-3.3613445378151102E-3</c:v>
                </c:pt>
                <c:pt idx="53407">
                  <c:v>-3.3613445378151102E-3</c:v>
                </c:pt>
                <c:pt idx="53408">
                  <c:v>-3.3613445378151102E-3</c:v>
                </c:pt>
                <c:pt idx="53409">
                  <c:v>-3.3613445378151102E-3</c:v>
                </c:pt>
                <c:pt idx="53410">
                  <c:v>-3.3613445378151102E-3</c:v>
                </c:pt>
                <c:pt idx="53411">
                  <c:v>-3.3613445378151102E-3</c:v>
                </c:pt>
                <c:pt idx="53412">
                  <c:v>-3.3613445378151102E-3</c:v>
                </c:pt>
                <c:pt idx="53413">
                  <c:v>-3.3613445378151102E-3</c:v>
                </c:pt>
                <c:pt idx="53414">
                  <c:v>-3.3613445378151102E-3</c:v>
                </c:pt>
                <c:pt idx="53415">
                  <c:v>-3.3613445378151102E-3</c:v>
                </c:pt>
                <c:pt idx="53416">
                  <c:v>-3.3613445378151102E-3</c:v>
                </c:pt>
                <c:pt idx="53417">
                  <c:v>-3.3613445378151102E-3</c:v>
                </c:pt>
                <c:pt idx="53418">
                  <c:v>-3.3613445378151102E-3</c:v>
                </c:pt>
                <c:pt idx="53419">
                  <c:v>-3.3613445378151102E-3</c:v>
                </c:pt>
                <c:pt idx="53420">
                  <c:v>-3.3613445378151102E-3</c:v>
                </c:pt>
                <c:pt idx="53421">
                  <c:v>-3.3613445378151102E-3</c:v>
                </c:pt>
                <c:pt idx="53422">
                  <c:v>-3.3613445378151102E-3</c:v>
                </c:pt>
                <c:pt idx="53423">
                  <c:v>-3.3613445378151102E-3</c:v>
                </c:pt>
                <c:pt idx="53424">
                  <c:v>-3.3613445378151102E-3</c:v>
                </c:pt>
                <c:pt idx="53425">
                  <c:v>-3.3613445378151102E-3</c:v>
                </c:pt>
                <c:pt idx="53426">
                  <c:v>-3.3613445378151102E-3</c:v>
                </c:pt>
                <c:pt idx="53427">
                  <c:v>-3.3613445378151102E-3</c:v>
                </c:pt>
                <c:pt idx="53428">
                  <c:v>-3.3613445378151102E-3</c:v>
                </c:pt>
                <c:pt idx="53429">
                  <c:v>-3.3613445378151102E-3</c:v>
                </c:pt>
                <c:pt idx="53430">
                  <c:v>-3.3613445378151102E-3</c:v>
                </c:pt>
                <c:pt idx="53431">
                  <c:v>-3.3613445378151102E-3</c:v>
                </c:pt>
                <c:pt idx="53432">
                  <c:v>-3.3613445378151102E-3</c:v>
                </c:pt>
                <c:pt idx="53433">
                  <c:v>-3.3613445378151102E-3</c:v>
                </c:pt>
                <c:pt idx="53434">
                  <c:v>-3.3613445378151102E-3</c:v>
                </c:pt>
                <c:pt idx="53435">
                  <c:v>-3.3613445378151102E-3</c:v>
                </c:pt>
                <c:pt idx="53436">
                  <c:v>-3.3613445378151102E-3</c:v>
                </c:pt>
                <c:pt idx="53437">
                  <c:v>-3.3613445378151102E-3</c:v>
                </c:pt>
                <c:pt idx="53438">
                  <c:v>-3.3613445378151102E-3</c:v>
                </c:pt>
                <c:pt idx="53439">
                  <c:v>-3.3613445378151102E-3</c:v>
                </c:pt>
                <c:pt idx="53440">
                  <c:v>-3.3613445378151102E-3</c:v>
                </c:pt>
                <c:pt idx="53441">
                  <c:v>-3.3613445378151102E-3</c:v>
                </c:pt>
                <c:pt idx="53442">
                  <c:v>-3.3613445378151102E-3</c:v>
                </c:pt>
                <c:pt idx="53443">
                  <c:v>-3.3613445378151102E-3</c:v>
                </c:pt>
                <c:pt idx="53444">
                  <c:v>-3.3613445378151102E-3</c:v>
                </c:pt>
                <c:pt idx="53445">
                  <c:v>-3.3613445378151102E-3</c:v>
                </c:pt>
                <c:pt idx="53446">
                  <c:v>-3.3613445378151102E-3</c:v>
                </c:pt>
                <c:pt idx="53447">
                  <c:v>-3.3613445378151102E-3</c:v>
                </c:pt>
                <c:pt idx="53448">
                  <c:v>-3.3613445378151102E-3</c:v>
                </c:pt>
                <c:pt idx="53449">
                  <c:v>-3.3613445378151102E-3</c:v>
                </c:pt>
                <c:pt idx="53450">
                  <c:v>-3.3613445378151102E-3</c:v>
                </c:pt>
                <c:pt idx="53451">
                  <c:v>-3.3613445378151102E-3</c:v>
                </c:pt>
                <c:pt idx="53452">
                  <c:v>-3.3613445378151102E-3</c:v>
                </c:pt>
                <c:pt idx="53453">
                  <c:v>-3.3613445378151102E-3</c:v>
                </c:pt>
                <c:pt idx="53454">
                  <c:v>-3.3613445378151102E-3</c:v>
                </c:pt>
                <c:pt idx="53455">
                  <c:v>-3.3613445378151102E-3</c:v>
                </c:pt>
                <c:pt idx="53456">
                  <c:v>-3.3613445378151102E-3</c:v>
                </c:pt>
                <c:pt idx="53457">
                  <c:v>-3.3613445378151102E-3</c:v>
                </c:pt>
                <c:pt idx="53458">
                  <c:v>-3.3613445378151102E-3</c:v>
                </c:pt>
                <c:pt idx="53459">
                  <c:v>-3.3613445378151102E-3</c:v>
                </c:pt>
                <c:pt idx="53460">
                  <c:v>-3.3613445378151102E-3</c:v>
                </c:pt>
                <c:pt idx="53461">
                  <c:v>-3.3613445378151102E-3</c:v>
                </c:pt>
                <c:pt idx="53462">
                  <c:v>-3.3613445378151102E-3</c:v>
                </c:pt>
                <c:pt idx="53463">
                  <c:v>-3.3613445378151102E-3</c:v>
                </c:pt>
                <c:pt idx="53464">
                  <c:v>-3.3613445378151102E-3</c:v>
                </c:pt>
                <c:pt idx="53465">
                  <c:v>-3.3613445378151102E-3</c:v>
                </c:pt>
                <c:pt idx="53466">
                  <c:v>-3.3613445378151102E-3</c:v>
                </c:pt>
                <c:pt idx="53467">
                  <c:v>-3.3613445378151102E-3</c:v>
                </c:pt>
                <c:pt idx="53468">
                  <c:v>-3.3613445378151102E-3</c:v>
                </c:pt>
                <c:pt idx="53469">
                  <c:v>-3.3613445378151102E-3</c:v>
                </c:pt>
                <c:pt idx="53470">
                  <c:v>-3.3613445378151102E-3</c:v>
                </c:pt>
                <c:pt idx="53471">
                  <c:v>-3.3613445378151102E-3</c:v>
                </c:pt>
                <c:pt idx="53472">
                  <c:v>-3.3613445378151102E-3</c:v>
                </c:pt>
                <c:pt idx="53473">
                  <c:v>-3.3613445378151102E-3</c:v>
                </c:pt>
                <c:pt idx="53474">
                  <c:v>-3.3613445378151102E-3</c:v>
                </c:pt>
                <c:pt idx="53475">
                  <c:v>-3.3613445378151102E-3</c:v>
                </c:pt>
                <c:pt idx="53476">
                  <c:v>-3.3613445378151102E-3</c:v>
                </c:pt>
                <c:pt idx="53477">
                  <c:v>-3.3613445378151102E-3</c:v>
                </c:pt>
                <c:pt idx="53478">
                  <c:v>-3.3613445378151102E-3</c:v>
                </c:pt>
                <c:pt idx="53479">
                  <c:v>-3.3613445378151102E-3</c:v>
                </c:pt>
                <c:pt idx="53480">
                  <c:v>-3.3613445378151102E-3</c:v>
                </c:pt>
                <c:pt idx="53481">
                  <c:v>-3.3613445378151102E-3</c:v>
                </c:pt>
                <c:pt idx="53482">
                  <c:v>-3.3613445378151102E-3</c:v>
                </c:pt>
                <c:pt idx="53483">
                  <c:v>-3.3613445378151102E-3</c:v>
                </c:pt>
                <c:pt idx="53484">
                  <c:v>-3.3613445378151102E-3</c:v>
                </c:pt>
                <c:pt idx="53485">
                  <c:v>-3.3613445378151102E-3</c:v>
                </c:pt>
                <c:pt idx="53486">
                  <c:v>-3.3613445378151102E-3</c:v>
                </c:pt>
                <c:pt idx="53487">
                  <c:v>-3.3613445378151102E-3</c:v>
                </c:pt>
                <c:pt idx="53488">
                  <c:v>-3.3613445378151102E-3</c:v>
                </c:pt>
                <c:pt idx="53489">
                  <c:v>-3.3613445378151102E-3</c:v>
                </c:pt>
                <c:pt idx="53490">
                  <c:v>-3.3613445378151102E-3</c:v>
                </c:pt>
                <c:pt idx="53491">
                  <c:v>-3.3613445378151102E-3</c:v>
                </c:pt>
                <c:pt idx="53492">
                  <c:v>-3.3613445378151102E-3</c:v>
                </c:pt>
                <c:pt idx="53493">
                  <c:v>-3.3613445378151102E-3</c:v>
                </c:pt>
                <c:pt idx="53494">
                  <c:v>-3.3613445378151102E-3</c:v>
                </c:pt>
                <c:pt idx="53495">
                  <c:v>-3.3613445378151102E-3</c:v>
                </c:pt>
                <c:pt idx="53496">
                  <c:v>-3.3613445378151102E-3</c:v>
                </c:pt>
                <c:pt idx="53497">
                  <c:v>-3.3613445378151102E-3</c:v>
                </c:pt>
                <c:pt idx="53498">
                  <c:v>-3.3613445378151102E-3</c:v>
                </c:pt>
                <c:pt idx="53499">
                  <c:v>-3.3613445378151102E-3</c:v>
                </c:pt>
                <c:pt idx="53500">
                  <c:v>-3.3613445378151102E-3</c:v>
                </c:pt>
                <c:pt idx="53501">
                  <c:v>-3.3613445378151102E-3</c:v>
                </c:pt>
                <c:pt idx="53502">
                  <c:v>-3.3613445378151102E-3</c:v>
                </c:pt>
                <c:pt idx="53503">
                  <c:v>-3.3613445378151102E-3</c:v>
                </c:pt>
                <c:pt idx="53504">
                  <c:v>-3.3613445378151102E-3</c:v>
                </c:pt>
                <c:pt idx="53505">
                  <c:v>-3.3613445378151102E-3</c:v>
                </c:pt>
                <c:pt idx="53506">
                  <c:v>-3.3613445378151102E-3</c:v>
                </c:pt>
                <c:pt idx="53507">
                  <c:v>-3.3613445378151102E-3</c:v>
                </c:pt>
                <c:pt idx="53508">
                  <c:v>-3.3613445378151102E-3</c:v>
                </c:pt>
                <c:pt idx="53509">
                  <c:v>-3.3613445378151102E-3</c:v>
                </c:pt>
                <c:pt idx="53510">
                  <c:v>-3.3613445378151102E-3</c:v>
                </c:pt>
                <c:pt idx="53511">
                  <c:v>-3.3613445378151102E-3</c:v>
                </c:pt>
                <c:pt idx="53512">
                  <c:v>-3.3613445378151102E-3</c:v>
                </c:pt>
                <c:pt idx="53513">
                  <c:v>-3.3613445378151102E-3</c:v>
                </c:pt>
                <c:pt idx="53514">
                  <c:v>-3.3613445378151102E-3</c:v>
                </c:pt>
                <c:pt idx="53515">
                  <c:v>-3.3613445378151102E-3</c:v>
                </c:pt>
                <c:pt idx="53516">
                  <c:v>-3.3613445378151102E-3</c:v>
                </c:pt>
                <c:pt idx="53517">
                  <c:v>-3.3613445378151102E-3</c:v>
                </c:pt>
                <c:pt idx="53518">
                  <c:v>-3.3613445378151102E-3</c:v>
                </c:pt>
                <c:pt idx="53519">
                  <c:v>-3.3613445378151102E-3</c:v>
                </c:pt>
                <c:pt idx="53520">
                  <c:v>-3.3613445378151102E-3</c:v>
                </c:pt>
                <c:pt idx="53521">
                  <c:v>-3.3613445378151102E-3</c:v>
                </c:pt>
                <c:pt idx="53522">
                  <c:v>-3.3613445378151102E-3</c:v>
                </c:pt>
                <c:pt idx="53523">
                  <c:v>-3.3613445378151102E-3</c:v>
                </c:pt>
                <c:pt idx="53524">
                  <c:v>-3.3613445378151102E-3</c:v>
                </c:pt>
                <c:pt idx="53525">
                  <c:v>-3.3613445378151102E-3</c:v>
                </c:pt>
                <c:pt idx="53526">
                  <c:v>-3.3613445378151102E-3</c:v>
                </c:pt>
                <c:pt idx="53527">
                  <c:v>-3.3613445378151102E-3</c:v>
                </c:pt>
                <c:pt idx="53528">
                  <c:v>-3.3613445378151102E-3</c:v>
                </c:pt>
                <c:pt idx="53529">
                  <c:v>-3.3613445378151102E-3</c:v>
                </c:pt>
                <c:pt idx="53530">
                  <c:v>-3.3613445378151102E-3</c:v>
                </c:pt>
                <c:pt idx="53531">
                  <c:v>-3.3613445378151102E-3</c:v>
                </c:pt>
                <c:pt idx="53532">
                  <c:v>-3.3613445378151102E-3</c:v>
                </c:pt>
                <c:pt idx="53533">
                  <c:v>-3.3613445378151102E-3</c:v>
                </c:pt>
                <c:pt idx="53534">
                  <c:v>-3.3613445378151102E-3</c:v>
                </c:pt>
                <c:pt idx="53535">
                  <c:v>-3.3613445378151102E-3</c:v>
                </c:pt>
                <c:pt idx="53536">
                  <c:v>-3.3613445378151102E-3</c:v>
                </c:pt>
                <c:pt idx="53537">
                  <c:v>-3.3613445378151102E-3</c:v>
                </c:pt>
                <c:pt idx="53538">
                  <c:v>-3.3613445378151102E-3</c:v>
                </c:pt>
                <c:pt idx="53539">
                  <c:v>-3.3613445378151102E-3</c:v>
                </c:pt>
                <c:pt idx="53540">
                  <c:v>-3.3613445378151102E-3</c:v>
                </c:pt>
                <c:pt idx="53541">
                  <c:v>-3.3613445378151102E-3</c:v>
                </c:pt>
                <c:pt idx="53542">
                  <c:v>-3.3613445378151102E-3</c:v>
                </c:pt>
                <c:pt idx="53543">
                  <c:v>-3.3613445378151102E-3</c:v>
                </c:pt>
                <c:pt idx="53544">
                  <c:v>-3.3613445378151102E-3</c:v>
                </c:pt>
                <c:pt idx="53545">
                  <c:v>-3.3613445378151102E-3</c:v>
                </c:pt>
                <c:pt idx="53546">
                  <c:v>-3.3613445378151102E-3</c:v>
                </c:pt>
                <c:pt idx="53547">
                  <c:v>-3.3613445378151102E-3</c:v>
                </c:pt>
                <c:pt idx="53548">
                  <c:v>-3.3613445378151102E-3</c:v>
                </c:pt>
                <c:pt idx="53549">
                  <c:v>-3.3613445378151102E-3</c:v>
                </c:pt>
                <c:pt idx="53550">
                  <c:v>-3.3613445378151102E-3</c:v>
                </c:pt>
                <c:pt idx="53551">
                  <c:v>-3.3613445378151102E-3</c:v>
                </c:pt>
                <c:pt idx="53552">
                  <c:v>-3.3613445378151102E-3</c:v>
                </c:pt>
                <c:pt idx="53553">
                  <c:v>-3.3613445378151102E-3</c:v>
                </c:pt>
                <c:pt idx="53554">
                  <c:v>-3.3613445378151102E-3</c:v>
                </c:pt>
                <c:pt idx="53555">
                  <c:v>-3.3613445378151102E-3</c:v>
                </c:pt>
                <c:pt idx="53556">
                  <c:v>-3.3613445378151102E-3</c:v>
                </c:pt>
                <c:pt idx="53557">
                  <c:v>-3.3613445378151102E-3</c:v>
                </c:pt>
                <c:pt idx="53558">
                  <c:v>-3.3613445378151102E-3</c:v>
                </c:pt>
                <c:pt idx="53559">
                  <c:v>-3.3613445378151102E-3</c:v>
                </c:pt>
                <c:pt idx="53560">
                  <c:v>-3.3613445378151102E-3</c:v>
                </c:pt>
                <c:pt idx="53561">
                  <c:v>-3.3613445378151102E-3</c:v>
                </c:pt>
                <c:pt idx="53562">
                  <c:v>-3.3613445378151102E-3</c:v>
                </c:pt>
                <c:pt idx="53563">
                  <c:v>-3.3613445378151102E-3</c:v>
                </c:pt>
                <c:pt idx="53564">
                  <c:v>-3.3613445378151102E-3</c:v>
                </c:pt>
                <c:pt idx="53565">
                  <c:v>-3.3613445378151102E-3</c:v>
                </c:pt>
                <c:pt idx="53566">
                  <c:v>-3.3613445378151102E-3</c:v>
                </c:pt>
                <c:pt idx="53567">
                  <c:v>-3.3613445378151102E-3</c:v>
                </c:pt>
                <c:pt idx="53568">
                  <c:v>-3.3613445378151102E-3</c:v>
                </c:pt>
                <c:pt idx="53569">
                  <c:v>-3.3613445378151102E-3</c:v>
                </c:pt>
                <c:pt idx="53570">
                  <c:v>-3.3613445378151102E-3</c:v>
                </c:pt>
                <c:pt idx="53571">
                  <c:v>-3.3613445378151102E-3</c:v>
                </c:pt>
                <c:pt idx="53572">
                  <c:v>-3.3613445378151102E-3</c:v>
                </c:pt>
                <c:pt idx="53573">
                  <c:v>-3.3613445378151102E-3</c:v>
                </c:pt>
                <c:pt idx="53574">
                  <c:v>-3.3613445378151102E-3</c:v>
                </c:pt>
                <c:pt idx="53575">
                  <c:v>-3.3613445378151102E-3</c:v>
                </c:pt>
                <c:pt idx="53576">
                  <c:v>-3.3613445378151102E-3</c:v>
                </c:pt>
                <c:pt idx="53577">
                  <c:v>-3.3613445378151102E-3</c:v>
                </c:pt>
                <c:pt idx="53578">
                  <c:v>-3.3613445378151102E-3</c:v>
                </c:pt>
                <c:pt idx="53579">
                  <c:v>-3.3613445378151102E-3</c:v>
                </c:pt>
                <c:pt idx="53580">
                  <c:v>-3.3613445378151102E-3</c:v>
                </c:pt>
                <c:pt idx="53581">
                  <c:v>-3.3613445378151102E-3</c:v>
                </c:pt>
                <c:pt idx="53582">
                  <c:v>-3.3613445378151102E-3</c:v>
                </c:pt>
                <c:pt idx="53583">
                  <c:v>-3.3613445378151102E-3</c:v>
                </c:pt>
                <c:pt idx="53584">
                  <c:v>-3.3613445378151102E-3</c:v>
                </c:pt>
                <c:pt idx="53585">
                  <c:v>-3.3613445378151102E-3</c:v>
                </c:pt>
                <c:pt idx="53586">
                  <c:v>-3.3613445378151102E-3</c:v>
                </c:pt>
                <c:pt idx="53587">
                  <c:v>-3.3613445378151102E-3</c:v>
                </c:pt>
                <c:pt idx="53588">
                  <c:v>-3.3613445378151102E-3</c:v>
                </c:pt>
                <c:pt idx="53589">
                  <c:v>-3.3613445378151102E-3</c:v>
                </c:pt>
                <c:pt idx="53590">
                  <c:v>-3.3613445378151102E-3</c:v>
                </c:pt>
                <c:pt idx="53591">
                  <c:v>-3.3613445378151102E-3</c:v>
                </c:pt>
                <c:pt idx="53592">
                  <c:v>-3.3613445378151102E-3</c:v>
                </c:pt>
                <c:pt idx="53593">
                  <c:v>-3.3613445378151102E-3</c:v>
                </c:pt>
                <c:pt idx="53594">
                  <c:v>-3.3613445378151102E-3</c:v>
                </c:pt>
                <c:pt idx="53595">
                  <c:v>-3.3613445378151102E-3</c:v>
                </c:pt>
                <c:pt idx="53596">
                  <c:v>-3.3613445378151102E-3</c:v>
                </c:pt>
                <c:pt idx="53597">
                  <c:v>-3.3613445378151102E-3</c:v>
                </c:pt>
                <c:pt idx="53598">
                  <c:v>-3.3613445378151102E-3</c:v>
                </c:pt>
                <c:pt idx="53599">
                  <c:v>-3.3613445378151102E-3</c:v>
                </c:pt>
                <c:pt idx="53600">
                  <c:v>-3.3613445378151102E-3</c:v>
                </c:pt>
                <c:pt idx="53601">
                  <c:v>-3.3613445378151102E-3</c:v>
                </c:pt>
                <c:pt idx="53602">
                  <c:v>-3.3613445378151102E-3</c:v>
                </c:pt>
                <c:pt idx="53603">
                  <c:v>-3.3613445378151102E-3</c:v>
                </c:pt>
                <c:pt idx="53604">
                  <c:v>-3.3613445378151102E-3</c:v>
                </c:pt>
                <c:pt idx="53605">
                  <c:v>-3.3613445378151102E-3</c:v>
                </c:pt>
                <c:pt idx="53606">
                  <c:v>-3.3613445378151102E-3</c:v>
                </c:pt>
                <c:pt idx="53607">
                  <c:v>-3.3613445378151102E-3</c:v>
                </c:pt>
                <c:pt idx="53608">
                  <c:v>-3.3613445378151102E-3</c:v>
                </c:pt>
                <c:pt idx="53609">
                  <c:v>-3.3613445378151102E-3</c:v>
                </c:pt>
                <c:pt idx="53610">
                  <c:v>-3.3613445378151102E-3</c:v>
                </c:pt>
                <c:pt idx="53611">
                  <c:v>-3.3613445378151102E-3</c:v>
                </c:pt>
                <c:pt idx="53612">
                  <c:v>-3.3613445378151102E-3</c:v>
                </c:pt>
                <c:pt idx="53613">
                  <c:v>-3.3613445378151102E-3</c:v>
                </c:pt>
                <c:pt idx="53614">
                  <c:v>-3.3613445378151102E-3</c:v>
                </c:pt>
                <c:pt idx="53615">
                  <c:v>-3.3613445378151102E-3</c:v>
                </c:pt>
                <c:pt idx="53616">
                  <c:v>-3.3613445378151102E-3</c:v>
                </c:pt>
                <c:pt idx="53617">
                  <c:v>-3.3613445378151102E-3</c:v>
                </c:pt>
                <c:pt idx="53618">
                  <c:v>-3.3613445378151102E-3</c:v>
                </c:pt>
                <c:pt idx="53619">
                  <c:v>-3.3613445378151102E-3</c:v>
                </c:pt>
                <c:pt idx="53620">
                  <c:v>-3.3613445378151102E-3</c:v>
                </c:pt>
                <c:pt idx="53621">
                  <c:v>-3.3613445378151102E-3</c:v>
                </c:pt>
                <c:pt idx="53622">
                  <c:v>-3.3613445378151102E-3</c:v>
                </c:pt>
                <c:pt idx="53623">
                  <c:v>-3.3613445378151102E-3</c:v>
                </c:pt>
                <c:pt idx="53624">
                  <c:v>-3.3613445378151102E-3</c:v>
                </c:pt>
                <c:pt idx="53625">
                  <c:v>-3.3613445378151102E-3</c:v>
                </c:pt>
                <c:pt idx="53626">
                  <c:v>-3.3613445378151102E-3</c:v>
                </c:pt>
                <c:pt idx="53627">
                  <c:v>-3.3613445378151102E-3</c:v>
                </c:pt>
                <c:pt idx="53628">
                  <c:v>-3.3613445378151102E-3</c:v>
                </c:pt>
                <c:pt idx="53629">
                  <c:v>-3.3613445378151102E-3</c:v>
                </c:pt>
                <c:pt idx="53630">
                  <c:v>-3.3613445378151102E-3</c:v>
                </c:pt>
                <c:pt idx="53631">
                  <c:v>-3.3613445378151102E-3</c:v>
                </c:pt>
                <c:pt idx="53632">
                  <c:v>-3.3613445378151102E-3</c:v>
                </c:pt>
                <c:pt idx="53633">
                  <c:v>-3.3613445378151102E-3</c:v>
                </c:pt>
                <c:pt idx="53634">
                  <c:v>-3.3613445378151102E-3</c:v>
                </c:pt>
                <c:pt idx="53635">
                  <c:v>-3.3613445378151102E-3</c:v>
                </c:pt>
                <c:pt idx="53636">
                  <c:v>-3.3613445378151102E-3</c:v>
                </c:pt>
                <c:pt idx="53637">
                  <c:v>-3.3613445378151102E-3</c:v>
                </c:pt>
                <c:pt idx="53638">
                  <c:v>-3.3613445378151102E-3</c:v>
                </c:pt>
                <c:pt idx="53639">
                  <c:v>-3.3613445378151102E-3</c:v>
                </c:pt>
                <c:pt idx="53640">
                  <c:v>-3.3613445378151102E-3</c:v>
                </c:pt>
                <c:pt idx="53641">
                  <c:v>-3.3613445378151102E-3</c:v>
                </c:pt>
                <c:pt idx="53642">
                  <c:v>-3.3613445378151102E-3</c:v>
                </c:pt>
                <c:pt idx="53643">
                  <c:v>-3.3613445378151102E-3</c:v>
                </c:pt>
                <c:pt idx="53644">
                  <c:v>-3.3613445378151102E-3</c:v>
                </c:pt>
                <c:pt idx="53645">
                  <c:v>-3.3613445378151102E-3</c:v>
                </c:pt>
                <c:pt idx="53646">
                  <c:v>-3.3613445378151102E-3</c:v>
                </c:pt>
                <c:pt idx="53647">
                  <c:v>-3.3613445378151102E-3</c:v>
                </c:pt>
                <c:pt idx="53648">
                  <c:v>-3.3613445378151102E-3</c:v>
                </c:pt>
                <c:pt idx="53649">
                  <c:v>-3.3613445378151102E-3</c:v>
                </c:pt>
                <c:pt idx="53650">
                  <c:v>-3.3613445378151102E-3</c:v>
                </c:pt>
                <c:pt idx="53651">
                  <c:v>-3.3613445378151102E-3</c:v>
                </c:pt>
                <c:pt idx="53652">
                  <c:v>-3.3613445378151102E-3</c:v>
                </c:pt>
                <c:pt idx="53653">
                  <c:v>-3.3613445378151102E-3</c:v>
                </c:pt>
                <c:pt idx="53654">
                  <c:v>-3.3613445378151102E-3</c:v>
                </c:pt>
                <c:pt idx="53655">
                  <c:v>-3.3613445378151102E-3</c:v>
                </c:pt>
                <c:pt idx="53656">
                  <c:v>-3.3613445378151102E-3</c:v>
                </c:pt>
                <c:pt idx="53657">
                  <c:v>-3.3613445378151102E-3</c:v>
                </c:pt>
                <c:pt idx="53658">
                  <c:v>-3.3613445378151102E-3</c:v>
                </c:pt>
                <c:pt idx="53659">
                  <c:v>-3.3613445378151102E-3</c:v>
                </c:pt>
                <c:pt idx="53660">
                  <c:v>-3.3613445378151102E-3</c:v>
                </c:pt>
                <c:pt idx="53661">
                  <c:v>-3.3613445378151102E-3</c:v>
                </c:pt>
                <c:pt idx="53662">
                  <c:v>-3.3613445378151102E-3</c:v>
                </c:pt>
                <c:pt idx="53663">
                  <c:v>-3.3613445378151102E-3</c:v>
                </c:pt>
                <c:pt idx="53664">
                  <c:v>-3.3613445378151102E-3</c:v>
                </c:pt>
                <c:pt idx="53665">
                  <c:v>-3.3613445378151102E-3</c:v>
                </c:pt>
                <c:pt idx="53666">
                  <c:v>-3.3613445378151102E-3</c:v>
                </c:pt>
                <c:pt idx="53667">
                  <c:v>-3.3613445378151102E-3</c:v>
                </c:pt>
                <c:pt idx="53668">
                  <c:v>-3.3613445378151102E-3</c:v>
                </c:pt>
                <c:pt idx="53669">
                  <c:v>-3.3613445378151102E-3</c:v>
                </c:pt>
                <c:pt idx="53670">
                  <c:v>-3.3613445378151102E-3</c:v>
                </c:pt>
                <c:pt idx="53671">
                  <c:v>-3.3613445378151102E-3</c:v>
                </c:pt>
                <c:pt idx="53672">
                  <c:v>-3.3613445378151102E-3</c:v>
                </c:pt>
                <c:pt idx="53673">
                  <c:v>-3.3613445378151102E-3</c:v>
                </c:pt>
                <c:pt idx="53674">
                  <c:v>-3.3613445378151102E-3</c:v>
                </c:pt>
                <c:pt idx="53675">
                  <c:v>-3.3613445378151102E-3</c:v>
                </c:pt>
                <c:pt idx="53676">
                  <c:v>-3.3613445378151102E-3</c:v>
                </c:pt>
                <c:pt idx="53677">
                  <c:v>-3.3613445378151102E-3</c:v>
                </c:pt>
                <c:pt idx="53678">
                  <c:v>-3.3613445378151102E-3</c:v>
                </c:pt>
                <c:pt idx="53679">
                  <c:v>-3.3613445378151102E-3</c:v>
                </c:pt>
                <c:pt idx="53680">
                  <c:v>-3.3613445378151102E-3</c:v>
                </c:pt>
                <c:pt idx="53681">
                  <c:v>-3.3613445378151102E-3</c:v>
                </c:pt>
                <c:pt idx="53682">
                  <c:v>-3.3613445378151102E-3</c:v>
                </c:pt>
                <c:pt idx="53683">
                  <c:v>-3.3613445378151102E-3</c:v>
                </c:pt>
                <c:pt idx="53684">
                  <c:v>-3.3613445378151102E-3</c:v>
                </c:pt>
                <c:pt idx="53685">
                  <c:v>-3.3613445378151102E-3</c:v>
                </c:pt>
                <c:pt idx="53686">
                  <c:v>-3.3613445378151102E-3</c:v>
                </c:pt>
                <c:pt idx="53687">
                  <c:v>-3.3613445378151102E-3</c:v>
                </c:pt>
                <c:pt idx="53688">
                  <c:v>-3.3613445378151102E-3</c:v>
                </c:pt>
                <c:pt idx="53689">
                  <c:v>-3.3613445378151102E-3</c:v>
                </c:pt>
                <c:pt idx="53690">
                  <c:v>-3.3613445378151102E-3</c:v>
                </c:pt>
                <c:pt idx="53691">
                  <c:v>-3.3613445378151102E-3</c:v>
                </c:pt>
                <c:pt idx="53692">
                  <c:v>-3.3613445378151102E-3</c:v>
                </c:pt>
                <c:pt idx="53693">
                  <c:v>-3.3613445378151102E-3</c:v>
                </c:pt>
                <c:pt idx="53694">
                  <c:v>-3.3613445378151102E-3</c:v>
                </c:pt>
                <c:pt idx="53695">
                  <c:v>-3.3613445378151102E-3</c:v>
                </c:pt>
                <c:pt idx="53696">
                  <c:v>-3.3613445378151102E-3</c:v>
                </c:pt>
                <c:pt idx="53697">
                  <c:v>-3.3613445378151102E-3</c:v>
                </c:pt>
                <c:pt idx="53698">
                  <c:v>-3.3613445378151102E-3</c:v>
                </c:pt>
                <c:pt idx="53699">
                  <c:v>-3.3613445378151102E-3</c:v>
                </c:pt>
                <c:pt idx="53700">
                  <c:v>-3.3613445378151102E-3</c:v>
                </c:pt>
                <c:pt idx="53701">
                  <c:v>-3.3613445378151102E-3</c:v>
                </c:pt>
                <c:pt idx="53702">
                  <c:v>-3.3613445378151102E-3</c:v>
                </c:pt>
                <c:pt idx="53703">
                  <c:v>-3.3613445378151102E-3</c:v>
                </c:pt>
                <c:pt idx="53704">
                  <c:v>-3.3613445378151102E-3</c:v>
                </c:pt>
                <c:pt idx="53705">
                  <c:v>-3.3613445378151102E-3</c:v>
                </c:pt>
                <c:pt idx="53706">
                  <c:v>-3.3613445378151102E-3</c:v>
                </c:pt>
                <c:pt idx="53707">
                  <c:v>-3.3613445378151102E-3</c:v>
                </c:pt>
                <c:pt idx="53708">
                  <c:v>-3.3613445378151102E-3</c:v>
                </c:pt>
                <c:pt idx="53709">
                  <c:v>-3.3613445378151102E-3</c:v>
                </c:pt>
                <c:pt idx="53710">
                  <c:v>-3.3613445378151102E-3</c:v>
                </c:pt>
                <c:pt idx="53711">
                  <c:v>-3.3613445378151102E-3</c:v>
                </c:pt>
                <c:pt idx="53712">
                  <c:v>-3.3613445378151102E-3</c:v>
                </c:pt>
                <c:pt idx="53713">
                  <c:v>-3.3613445378151102E-3</c:v>
                </c:pt>
                <c:pt idx="53714">
                  <c:v>-3.3613445378151102E-3</c:v>
                </c:pt>
                <c:pt idx="53715">
                  <c:v>-3.3613445378151102E-3</c:v>
                </c:pt>
                <c:pt idx="53716">
                  <c:v>-3.3613445378151102E-3</c:v>
                </c:pt>
                <c:pt idx="53717">
                  <c:v>-3.3613445378151102E-3</c:v>
                </c:pt>
                <c:pt idx="53718">
                  <c:v>-3.3613445378151102E-3</c:v>
                </c:pt>
                <c:pt idx="53719">
                  <c:v>-3.3613445378151102E-3</c:v>
                </c:pt>
                <c:pt idx="53720">
                  <c:v>-3.3613445378151102E-3</c:v>
                </c:pt>
                <c:pt idx="53721">
                  <c:v>-3.3613445378151102E-3</c:v>
                </c:pt>
                <c:pt idx="53722">
                  <c:v>-3.3613445378151102E-3</c:v>
                </c:pt>
                <c:pt idx="53723">
                  <c:v>-3.3613445378151102E-3</c:v>
                </c:pt>
                <c:pt idx="53724">
                  <c:v>-3.3613445378151102E-3</c:v>
                </c:pt>
                <c:pt idx="53725">
                  <c:v>-3.3613445378151102E-3</c:v>
                </c:pt>
                <c:pt idx="53726">
                  <c:v>-3.3613445378151102E-3</c:v>
                </c:pt>
                <c:pt idx="53727">
                  <c:v>-3.3613445378151102E-3</c:v>
                </c:pt>
                <c:pt idx="53728">
                  <c:v>-3.3613445378151102E-3</c:v>
                </c:pt>
                <c:pt idx="53729">
                  <c:v>-3.3613445378151102E-3</c:v>
                </c:pt>
                <c:pt idx="53730">
                  <c:v>-3.3613445378151102E-3</c:v>
                </c:pt>
                <c:pt idx="53731">
                  <c:v>-3.3613445378151102E-3</c:v>
                </c:pt>
                <c:pt idx="53732">
                  <c:v>-3.3613445378151102E-3</c:v>
                </c:pt>
                <c:pt idx="53733">
                  <c:v>-3.3613445378151102E-3</c:v>
                </c:pt>
                <c:pt idx="53734">
                  <c:v>-3.3613445378151102E-3</c:v>
                </c:pt>
                <c:pt idx="53735">
                  <c:v>-3.3613445378151102E-3</c:v>
                </c:pt>
                <c:pt idx="53736">
                  <c:v>-3.3613445378151102E-3</c:v>
                </c:pt>
                <c:pt idx="53737">
                  <c:v>-3.3613445378151102E-3</c:v>
                </c:pt>
                <c:pt idx="53738">
                  <c:v>-3.3613445378151102E-3</c:v>
                </c:pt>
                <c:pt idx="53739">
                  <c:v>-3.3613445378151102E-3</c:v>
                </c:pt>
                <c:pt idx="53740">
                  <c:v>-3.3613445378151102E-3</c:v>
                </c:pt>
                <c:pt idx="53741">
                  <c:v>-3.3613445378151102E-3</c:v>
                </c:pt>
                <c:pt idx="53742">
                  <c:v>-3.3613445378151102E-3</c:v>
                </c:pt>
                <c:pt idx="53743">
                  <c:v>-3.3613445378151102E-3</c:v>
                </c:pt>
                <c:pt idx="53744">
                  <c:v>-3.3613445378151102E-3</c:v>
                </c:pt>
                <c:pt idx="53745">
                  <c:v>-3.3613445378151102E-3</c:v>
                </c:pt>
                <c:pt idx="53746">
                  <c:v>-3.3613445378151102E-3</c:v>
                </c:pt>
                <c:pt idx="53747">
                  <c:v>-3.3613445378151102E-3</c:v>
                </c:pt>
                <c:pt idx="53748">
                  <c:v>-3.3613445378151102E-3</c:v>
                </c:pt>
                <c:pt idx="53749">
                  <c:v>-3.3613445378151102E-3</c:v>
                </c:pt>
                <c:pt idx="53750">
                  <c:v>-3.3613445378151102E-3</c:v>
                </c:pt>
                <c:pt idx="53751">
                  <c:v>-3.3613445378151102E-3</c:v>
                </c:pt>
                <c:pt idx="53752">
                  <c:v>-3.3613445378151102E-3</c:v>
                </c:pt>
                <c:pt idx="53753">
                  <c:v>-3.3613445378151102E-3</c:v>
                </c:pt>
                <c:pt idx="53754">
                  <c:v>-3.3613445378151102E-3</c:v>
                </c:pt>
                <c:pt idx="53755">
                  <c:v>-3.3613445378151102E-3</c:v>
                </c:pt>
                <c:pt idx="53756">
                  <c:v>-3.3613445378151102E-3</c:v>
                </c:pt>
                <c:pt idx="53757">
                  <c:v>-3.3613445378151102E-3</c:v>
                </c:pt>
                <c:pt idx="53758">
                  <c:v>-3.3613445378151102E-3</c:v>
                </c:pt>
                <c:pt idx="53759">
                  <c:v>-3.3613445378151102E-3</c:v>
                </c:pt>
                <c:pt idx="53760">
                  <c:v>-3.3613445378151102E-3</c:v>
                </c:pt>
                <c:pt idx="53761">
                  <c:v>-3.3613445378151102E-3</c:v>
                </c:pt>
                <c:pt idx="53762">
                  <c:v>-3.3613445378151102E-3</c:v>
                </c:pt>
                <c:pt idx="53763">
                  <c:v>-3.3613445378151102E-3</c:v>
                </c:pt>
                <c:pt idx="53764">
                  <c:v>-3.3613445378151102E-3</c:v>
                </c:pt>
                <c:pt idx="53765">
                  <c:v>-3.3613445378151102E-3</c:v>
                </c:pt>
                <c:pt idx="53766">
                  <c:v>-3.3613445378151102E-3</c:v>
                </c:pt>
                <c:pt idx="53767">
                  <c:v>-3.3613445378151102E-3</c:v>
                </c:pt>
                <c:pt idx="53768">
                  <c:v>-3.3613445378151102E-3</c:v>
                </c:pt>
                <c:pt idx="53769">
                  <c:v>-3.3613445378151102E-3</c:v>
                </c:pt>
                <c:pt idx="53770">
                  <c:v>-3.3613445378151102E-3</c:v>
                </c:pt>
                <c:pt idx="53771">
                  <c:v>-3.3613445378151102E-3</c:v>
                </c:pt>
                <c:pt idx="53772">
                  <c:v>-3.3613445378151102E-3</c:v>
                </c:pt>
                <c:pt idx="53773">
                  <c:v>-3.3613445378151102E-3</c:v>
                </c:pt>
                <c:pt idx="53774">
                  <c:v>-3.3613445378151102E-3</c:v>
                </c:pt>
                <c:pt idx="53775">
                  <c:v>-3.3613445378151102E-3</c:v>
                </c:pt>
                <c:pt idx="53776">
                  <c:v>-3.3613445378151102E-3</c:v>
                </c:pt>
                <c:pt idx="53777">
                  <c:v>-3.3613445378151102E-3</c:v>
                </c:pt>
                <c:pt idx="53778">
                  <c:v>-3.3613445378151102E-3</c:v>
                </c:pt>
                <c:pt idx="53779">
                  <c:v>-3.3613445378151102E-3</c:v>
                </c:pt>
                <c:pt idx="53780">
                  <c:v>-3.3613445378151102E-3</c:v>
                </c:pt>
                <c:pt idx="53781">
                  <c:v>-3.3613445378151102E-3</c:v>
                </c:pt>
                <c:pt idx="53782">
                  <c:v>-3.3613445378151102E-3</c:v>
                </c:pt>
                <c:pt idx="53783">
                  <c:v>-3.3613445378151102E-3</c:v>
                </c:pt>
                <c:pt idx="53784">
                  <c:v>-3.3613445378151102E-3</c:v>
                </c:pt>
                <c:pt idx="53785">
                  <c:v>-3.3613445378151102E-3</c:v>
                </c:pt>
                <c:pt idx="53786">
                  <c:v>-3.3613445378151102E-3</c:v>
                </c:pt>
                <c:pt idx="53787">
                  <c:v>-3.3613445378151102E-3</c:v>
                </c:pt>
                <c:pt idx="53788">
                  <c:v>-3.3613445378151102E-3</c:v>
                </c:pt>
                <c:pt idx="53789">
                  <c:v>-3.3613445378151102E-3</c:v>
                </c:pt>
                <c:pt idx="53790">
                  <c:v>-3.3613445378151102E-3</c:v>
                </c:pt>
                <c:pt idx="53791">
                  <c:v>-3.3613445378151102E-3</c:v>
                </c:pt>
                <c:pt idx="53792">
                  <c:v>-3.3613445378151102E-3</c:v>
                </c:pt>
                <c:pt idx="53793">
                  <c:v>-3.3613445378151102E-3</c:v>
                </c:pt>
                <c:pt idx="53794">
                  <c:v>-3.3613445378151102E-3</c:v>
                </c:pt>
                <c:pt idx="53795">
                  <c:v>-3.3613445378151102E-3</c:v>
                </c:pt>
                <c:pt idx="53796">
                  <c:v>-3.3613445378151102E-3</c:v>
                </c:pt>
                <c:pt idx="53797">
                  <c:v>-3.3613445378151102E-3</c:v>
                </c:pt>
                <c:pt idx="53798">
                  <c:v>-3.3613445378151102E-3</c:v>
                </c:pt>
                <c:pt idx="53799">
                  <c:v>-3.3613445378151102E-3</c:v>
                </c:pt>
                <c:pt idx="53800">
                  <c:v>-3.3613445378151102E-3</c:v>
                </c:pt>
                <c:pt idx="53801">
                  <c:v>-3.3613445378151102E-3</c:v>
                </c:pt>
                <c:pt idx="53802">
                  <c:v>-3.3613445378151102E-3</c:v>
                </c:pt>
                <c:pt idx="53803">
                  <c:v>-3.3613445378151102E-3</c:v>
                </c:pt>
                <c:pt idx="53804">
                  <c:v>-3.3613445378151102E-3</c:v>
                </c:pt>
                <c:pt idx="53805">
                  <c:v>-3.3613445378151102E-3</c:v>
                </c:pt>
                <c:pt idx="53806">
                  <c:v>-3.3613445378151102E-3</c:v>
                </c:pt>
                <c:pt idx="53807">
                  <c:v>-3.3613445378151102E-3</c:v>
                </c:pt>
                <c:pt idx="53808">
                  <c:v>-2.5210084033613299E-3</c:v>
                </c:pt>
                <c:pt idx="53809">
                  <c:v>-2.5210084033613299E-3</c:v>
                </c:pt>
                <c:pt idx="53810">
                  <c:v>-2.5210084033613299E-3</c:v>
                </c:pt>
                <c:pt idx="53811">
                  <c:v>-2.5210084033613299E-3</c:v>
                </c:pt>
                <c:pt idx="53812">
                  <c:v>-2.5210084033613299E-3</c:v>
                </c:pt>
                <c:pt idx="53813">
                  <c:v>-2.5210084033613299E-3</c:v>
                </c:pt>
                <c:pt idx="53814">
                  <c:v>-2.5210084033613299E-3</c:v>
                </c:pt>
                <c:pt idx="53815">
                  <c:v>-2.5210084033613299E-3</c:v>
                </c:pt>
                <c:pt idx="53816">
                  <c:v>-2.5210084033613299E-3</c:v>
                </c:pt>
                <c:pt idx="53817">
                  <c:v>-2.5210084033613299E-3</c:v>
                </c:pt>
                <c:pt idx="53818">
                  <c:v>-2.5210084033613299E-3</c:v>
                </c:pt>
                <c:pt idx="53819">
                  <c:v>-2.5210084033613299E-3</c:v>
                </c:pt>
                <c:pt idx="53820">
                  <c:v>-2.5210084033613299E-3</c:v>
                </c:pt>
                <c:pt idx="53821">
                  <c:v>-2.5210084033613299E-3</c:v>
                </c:pt>
                <c:pt idx="53822">
                  <c:v>-2.5210084033613299E-3</c:v>
                </c:pt>
                <c:pt idx="53823">
                  <c:v>-2.5210084033613299E-3</c:v>
                </c:pt>
                <c:pt idx="53824">
                  <c:v>-2.5210084033613299E-3</c:v>
                </c:pt>
                <c:pt idx="53825">
                  <c:v>-2.5210084033613299E-3</c:v>
                </c:pt>
                <c:pt idx="53826">
                  <c:v>-2.5210084033613299E-3</c:v>
                </c:pt>
                <c:pt idx="53827">
                  <c:v>-2.5210084033613299E-3</c:v>
                </c:pt>
                <c:pt idx="53828">
                  <c:v>-2.5210084033613299E-3</c:v>
                </c:pt>
                <c:pt idx="53829">
                  <c:v>-2.5210084033613299E-3</c:v>
                </c:pt>
                <c:pt idx="53830">
                  <c:v>-2.5210084033613299E-3</c:v>
                </c:pt>
                <c:pt idx="53831">
                  <c:v>-2.5210084033613299E-3</c:v>
                </c:pt>
                <c:pt idx="53832">
                  <c:v>-2.5210084033613299E-3</c:v>
                </c:pt>
                <c:pt idx="53833">
                  <c:v>-2.5210084033613299E-3</c:v>
                </c:pt>
                <c:pt idx="53834">
                  <c:v>-2.5210084033613299E-3</c:v>
                </c:pt>
                <c:pt idx="53835">
                  <c:v>-2.5210084033613299E-3</c:v>
                </c:pt>
                <c:pt idx="53836">
                  <c:v>-2.5210084033613299E-3</c:v>
                </c:pt>
                <c:pt idx="53837">
                  <c:v>-2.5210084033613299E-3</c:v>
                </c:pt>
                <c:pt idx="53838">
                  <c:v>-2.5210084033613299E-3</c:v>
                </c:pt>
                <c:pt idx="53839">
                  <c:v>-2.5210084033613299E-3</c:v>
                </c:pt>
                <c:pt idx="53840">
                  <c:v>-2.5210084033613299E-3</c:v>
                </c:pt>
                <c:pt idx="53841">
                  <c:v>-2.5210084033613299E-3</c:v>
                </c:pt>
                <c:pt idx="53842">
                  <c:v>-2.5210084033613299E-3</c:v>
                </c:pt>
                <c:pt idx="53843">
                  <c:v>-2.5210084033613299E-3</c:v>
                </c:pt>
                <c:pt idx="53844">
                  <c:v>-2.5210084033613299E-3</c:v>
                </c:pt>
                <c:pt idx="53845">
                  <c:v>-2.5210084033613299E-3</c:v>
                </c:pt>
                <c:pt idx="53846">
                  <c:v>-2.5210084033613299E-3</c:v>
                </c:pt>
                <c:pt idx="53847">
                  <c:v>-2.5210084033613299E-3</c:v>
                </c:pt>
                <c:pt idx="53848">
                  <c:v>-2.5210084033613299E-3</c:v>
                </c:pt>
                <c:pt idx="53849">
                  <c:v>-2.5210084033613299E-3</c:v>
                </c:pt>
                <c:pt idx="53850">
                  <c:v>-2.5210084033613299E-3</c:v>
                </c:pt>
                <c:pt idx="53851">
                  <c:v>-2.5210084033613299E-3</c:v>
                </c:pt>
                <c:pt idx="53852">
                  <c:v>-2.5210084033613299E-3</c:v>
                </c:pt>
                <c:pt idx="53853">
                  <c:v>-2.5210084033613299E-3</c:v>
                </c:pt>
                <c:pt idx="53854">
                  <c:v>-2.5210084033613299E-3</c:v>
                </c:pt>
                <c:pt idx="53855">
                  <c:v>-2.5210084033613299E-3</c:v>
                </c:pt>
                <c:pt idx="53856">
                  <c:v>-2.5210084033613299E-3</c:v>
                </c:pt>
                <c:pt idx="53857">
                  <c:v>-2.5210084033613299E-3</c:v>
                </c:pt>
                <c:pt idx="53858">
                  <c:v>-2.5210084033613299E-3</c:v>
                </c:pt>
                <c:pt idx="53859">
                  <c:v>-2.5210084033613299E-3</c:v>
                </c:pt>
                <c:pt idx="53860">
                  <c:v>-2.5210084033613299E-3</c:v>
                </c:pt>
                <c:pt idx="53861">
                  <c:v>-2.5210084033613299E-3</c:v>
                </c:pt>
                <c:pt idx="53862">
                  <c:v>-2.5210084033613299E-3</c:v>
                </c:pt>
                <c:pt idx="53863">
                  <c:v>-2.5210084033613299E-3</c:v>
                </c:pt>
                <c:pt idx="53864">
                  <c:v>-2.5210084033613299E-3</c:v>
                </c:pt>
                <c:pt idx="53865">
                  <c:v>-2.5210084033613299E-3</c:v>
                </c:pt>
                <c:pt idx="53866">
                  <c:v>-2.5210084033613299E-3</c:v>
                </c:pt>
                <c:pt idx="53867">
                  <c:v>-2.5210084033613299E-3</c:v>
                </c:pt>
                <c:pt idx="53868">
                  <c:v>-2.5210084033613299E-3</c:v>
                </c:pt>
                <c:pt idx="53869">
                  <c:v>-2.5210084033613299E-3</c:v>
                </c:pt>
                <c:pt idx="53870">
                  <c:v>-2.5210084033613299E-3</c:v>
                </c:pt>
                <c:pt idx="53871">
                  <c:v>-2.5210084033613299E-3</c:v>
                </c:pt>
                <c:pt idx="53872">
                  <c:v>-2.5210084033613299E-3</c:v>
                </c:pt>
                <c:pt idx="53873">
                  <c:v>-2.5210084033613299E-3</c:v>
                </c:pt>
                <c:pt idx="53874">
                  <c:v>-2.5210084033613299E-3</c:v>
                </c:pt>
                <c:pt idx="53875">
                  <c:v>-2.5210084033613299E-3</c:v>
                </c:pt>
                <c:pt idx="53876">
                  <c:v>-2.5210084033613299E-3</c:v>
                </c:pt>
                <c:pt idx="53877">
                  <c:v>-2.5210084033613299E-3</c:v>
                </c:pt>
                <c:pt idx="53878">
                  <c:v>-2.5210084033613299E-3</c:v>
                </c:pt>
                <c:pt idx="53879">
                  <c:v>-2.5210084033613299E-3</c:v>
                </c:pt>
                <c:pt idx="53880">
                  <c:v>-2.5210084033613299E-3</c:v>
                </c:pt>
                <c:pt idx="53881">
                  <c:v>-2.5210084033613299E-3</c:v>
                </c:pt>
                <c:pt idx="53882">
                  <c:v>-2.5210084033613299E-3</c:v>
                </c:pt>
                <c:pt idx="53883">
                  <c:v>-2.5210084033613299E-3</c:v>
                </c:pt>
                <c:pt idx="53884">
                  <c:v>-2.5210084033613299E-3</c:v>
                </c:pt>
                <c:pt idx="53885">
                  <c:v>-2.5210084033613299E-3</c:v>
                </c:pt>
                <c:pt idx="53886">
                  <c:v>-2.5210084033613299E-3</c:v>
                </c:pt>
                <c:pt idx="53887">
                  <c:v>-2.5210084033613299E-3</c:v>
                </c:pt>
                <c:pt idx="53888">
                  <c:v>-2.5210084033613299E-3</c:v>
                </c:pt>
                <c:pt idx="53889">
                  <c:v>-2.5210084033613299E-3</c:v>
                </c:pt>
                <c:pt idx="53890">
                  <c:v>-2.5210084033613299E-3</c:v>
                </c:pt>
                <c:pt idx="53891">
                  <c:v>-2.5210084033613299E-3</c:v>
                </c:pt>
                <c:pt idx="53892">
                  <c:v>-2.5210084033613299E-3</c:v>
                </c:pt>
                <c:pt idx="53893">
                  <c:v>-2.5210084033613299E-3</c:v>
                </c:pt>
                <c:pt idx="53894">
                  <c:v>-2.5210084033613299E-3</c:v>
                </c:pt>
                <c:pt idx="53895">
                  <c:v>-2.5210084033613299E-3</c:v>
                </c:pt>
                <c:pt idx="53896">
                  <c:v>-2.5210084033613299E-3</c:v>
                </c:pt>
                <c:pt idx="53897">
                  <c:v>-2.5210084033613299E-3</c:v>
                </c:pt>
                <c:pt idx="53898">
                  <c:v>-2.5210084033613299E-3</c:v>
                </c:pt>
                <c:pt idx="53899">
                  <c:v>-2.5210084033613299E-3</c:v>
                </c:pt>
                <c:pt idx="53900">
                  <c:v>-2.5210084033613299E-3</c:v>
                </c:pt>
                <c:pt idx="53901">
                  <c:v>-2.5210084033613299E-3</c:v>
                </c:pt>
                <c:pt idx="53902">
                  <c:v>-2.5210084033613299E-3</c:v>
                </c:pt>
                <c:pt idx="53903">
                  <c:v>-2.5210084033613299E-3</c:v>
                </c:pt>
                <c:pt idx="53904">
                  <c:v>-2.5210084033613299E-3</c:v>
                </c:pt>
                <c:pt idx="53905">
                  <c:v>-2.5210084033613299E-3</c:v>
                </c:pt>
                <c:pt idx="53906">
                  <c:v>-2.5210084033613299E-3</c:v>
                </c:pt>
                <c:pt idx="53907">
                  <c:v>-2.5210084033613299E-3</c:v>
                </c:pt>
                <c:pt idx="53908">
                  <c:v>-2.5210084033613299E-3</c:v>
                </c:pt>
                <c:pt idx="53909">
                  <c:v>-2.5210084033613299E-3</c:v>
                </c:pt>
                <c:pt idx="53910">
                  <c:v>-2.5210084033613299E-3</c:v>
                </c:pt>
                <c:pt idx="53911">
                  <c:v>-2.5210084033613299E-3</c:v>
                </c:pt>
                <c:pt idx="53912">
                  <c:v>-2.5210084033613299E-3</c:v>
                </c:pt>
                <c:pt idx="53913">
                  <c:v>-2.5210084033613299E-3</c:v>
                </c:pt>
                <c:pt idx="53914">
                  <c:v>-2.5210084033613299E-3</c:v>
                </c:pt>
                <c:pt idx="53915">
                  <c:v>-2.5210084033613299E-3</c:v>
                </c:pt>
                <c:pt idx="53916">
                  <c:v>-2.5210084033613299E-3</c:v>
                </c:pt>
                <c:pt idx="53917">
                  <c:v>-2.5210084033613299E-3</c:v>
                </c:pt>
                <c:pt idx="53918">
                  <c:v>-2.5210084033613299E-3</c:v>
                </c:pt>
                <c:pt idx="53919">
                  <c:v>-2.5210084033613299E-3</c:v>
                </c:pt>
                <c:pt idx="53920">
                  <c:v>-2.5210084033613299E-3</c:v>
                </c:pt>
                <c:pt idx="53921">
                  <c:v>-2.5210084033613299E-3</c:v>
                </c:pt>
                <c:pt idx="53922">
                  <c:v>-2.5210084033613299E-3</c:v>
                </c:pt>
                <c:pt idx="53923">
                  <c:v>-2.5210084033613299E-3</c:v>
                </c:pt>
                <c:pt idx="53924">
                  <c:v>-2.5210084033613299E-3</c:v>
                </c:pt>
                <c:pt idx="53925">
                  <c:v>-2.5210084033613299E-3</c:v>
                </c:pt>
                <c:pt idx="53926">
                  <c:v>-2.5210084033613299E-3</c:v>
                </c:pt>
                <c:pt idx="53927">
                  <c:v>-2.5210084033613299E-3</c:v>
                </c:pt>
                <c:pt idx="53928">
                  <c:v>-2.5210084033613299E-3</c:v>
                </c:pt>
                <c:pt idx="53929">
                  <c:v>-2.5210084033613299E-3</c:v>
                </c:pt>
                <c:pt idx="53930">
                  <c:v>-2.5210084033613299E-3</c:v>
                </c:pt>
                <c:pt idx="53931">
                  <c:v>-2.5210084033613299E-3</c:v>
                </c:pt>
                <c:pt idx="53932">
                  <c:v>-2.5210084033613299E-3</c:v>
                </c:pt>
                <c:pt idx="53933">
                  <c:v>-2.5210084033613299E-3</c:v>
                </c:pt>
                <c:pt idx="53934">
                  <c:v>-2.5210084033613299E-3</c:v>
                </c:pt>
                <c:pt idx="53935">
                  <c:v>-2.5210084033613299E-3</c:v>
                </c:pt>
                <c:pt idx="53936">
                  <c:v>-2.5210084033613299E-3</c:v>
                </c:pt>
                <c:pt idx="53937">
                  <c:v>-2.5210084033613299E-3</c:v>
                </c:pt>
                <c:pt idx="53938">
                  <c:v>-2.5210084033613299E-3</c:v>
                </c:pt>
                <c:pt idx="53939">
                  <c:v>-2.5210084033613299E-3</c:v>
                </c:pt>
                <c:pt idx="53940">
                  <c:v>-2.5210084033613299E-3</c:v>
                </c:pt>
                <c:pt idx="53941">
                  <c:v>-2.5210084033613299E-3</c:v>
                </c:pt>
                <c:pt idx="53942">
                  <c:v>-2.5210084033613299E-3</c:v>
                </c:pt>
                <c:pt idx="53943">
                  <c:v>-2.5210084033613299E-3</c:v>
                </c:pt>
                <c:pt idx="53944">
                  <c:v>-2.5210084033613299E-3</c:v>
                </c:pt>
                <c:pt idx="53945">
                  <c:v>-2.5210084033613299E-3</c:v>
                </c:pt>
                <c:pt idx="53946">
                  <c:v>-2.5210084033613299E-3</c:v>
                </c:pt>
                <c:pt idx="53947">
                  <c:v>-2.5210084033613299E-3</c:v>
                </c:pt>
                <c:pt idx="53948">
                  <c:v>-2.5210084033613299E-3</c:v>
                </c:pt>
                <c:pt idx="53949">
                  <c:v>-2.5210084033613299E-3</c:v>
                </c:pt>
                <c:pt idx="53950">
                  <c:v>-2.5210084033613299E-3</c:v>
                </c:pt>
                <c:pt idx="53951">
                  <c:v>-2.5210084033613299E-3</c:v>
                </c:pt>
                <c:pt idx="53952">
                  <c:v>-2.5210084033613299E-3</c:v>
                </c:pt>
                <c:pt idx="53953">
                  <c:v>-2.5210084033613299E-3</c:v>
                </c:pt>
                <c:pt idx="53954">
                  <c:v>-2.5210084033613299E-3</c:v>
                </c:pt>
                <c:pt idx="53955">
                  <c:v>-2.5210084033613299E-3</c:v>
                </c:pt>
                <c:pt idx="53956">
                  <c:v>-2.5210084033613299E-3</c:v>
                </c:pt>
                <c:pt idx="53957">
                  <c:v>-2.5210084033613299E-3</c:v>
                </c:pt>
                <c:pt idx="53958">
                  <c:v>-2.5210084033613299E-3</c:v>
                </c:pt>
                <c:pt idx="53959">
                  <c:v>-2.5210084033613299E-3</c:v>
                </c:pt>
                <c:pt idx="53960">
                  <c:v>-2.5210084033613299E-3</c:v>
                </c:pt>
                <c:pt idx="53961">
                  <c:v>-2.5210084033613299E-3</c:v>
                </c:pt>
                <c:pt idx="53962">
                  <c:v>-2.5210084033613299E-3</c:v>
                </c:pt>
                <c:pt idx="53963">
                  <c:v>-2.5210084033613299E-3</c:v>
                </c:pt>
                <c:pt idx="53964">
                  <c:v>-2.5210084033613299E-3</c:v>
                </c:pt>
                <c:pt idx="53965">
                  <c:v>-2.5210084033613299E-3</c:v>
                </c:pt>
                <c:pt idx="53966">
                  <c:v>-2.5210084033613299E-3</c:v>
                </c:pt>
                <c:pt idx="53967">
                  <c:v>-2.5210084033613299E-3</c:v>
                </c:pt>
                <c:pt idx="53968">
                  <c:v>-2.5210084033613299E-3</c:v>
                </c:pt>
                <c:pt idx="53969">
                  <c:v>-2.5210084033613299E-3</c:v>
                </c:pt>
                <c:pt idx="53970">
                  <c:v>-2.5210084033613299E-3</c:v>
                </c:pt>
                <c:pt idx="53971">
                  <c:v>-2.5210084033613299E-3</c:v>
                </c:pt>
                <c:pt idx="53972">
                  <c:v>-2.5210084033613299E-3</c:v>
                </c:pt>
                <c:pt idx="53973">
                  <c:v>-2.5210084033613299E-3</c:v>
                </c:pt>
                <c:pt idx="53974">
                  <c:v>-2.5210084033613299E-3</c:v>
                </c:pt>
                <c:pt idx="53975">
                  <c:v>-2.5210084033613299E-3</c:v>
                </c:pt>
                <c:pt idx="53976">
                  <c:v>-2.5210084033613299E-3</c:v>
                </c:pt>
                <c:pt idx="53977">
                  <c:v>-2.5210084033613299E-3</c:v>
                </c:pt>
                <c:pt idx="53978">
                  <c:v>-2.5210084033613299E-3</c:v>
                </c:pt>
                <c:pt idx="53979">
                  <c:v>-2.5210084033613299E-3</c:v>
                </c:pt>
                <c:pt idx="53980">
                  <c:v>-2.5210084033613299E-3</c:v>
                </c:pt>
                <c:pt idx="53981">
                  <c:v>-2.5210084033613299E-3</c:v>
                </c:pt>
                <c:pt idx="53982">
                  <c:v>-2.5210084033613299E-3</c:v>
                </c:pt>
                <c:pt idx="53983">
                  <c:v>-2.5210084033613299E-3</c:v>
                </c:pt>
                <c:pt idx="53984">
                  <c:v>-2.5210084033613299E-3</c:v>
                </c:pt>
                <c:pt idx="53985">
                  <c:v>-2.5210084033613299E-3</c:v>
                </c:pt>
                <c:pt idx="53986">
                  <c:v>-2.5210084033613299E-3</c:v>
                </c:pt>
                <c:pt idx="53987">
                  <c:v>-2.5210084033613299E-3</c:v>
                </c:pt>
                <c:pt idx="53988">
                  <c:v>-2.5210084033613299E-3</c:v>
                </c:pt>
                <c:pt idx="53989">
                  <c:v>-2.5210084033613299E-3</c:v>
                </c:pt>
                <c:pt idx="53990">
                  <c:v>-2.5210084033613299E-3</c:v>
                </c:pt>
                <c:pt idx="53991">
                  <c:v>-2.5210084033613299E-3</c:v>
                </c:pt>
                <c:pt idx="53992">
                  <c:v>-2.5210084033613299E-3</c:v>
                </c:pt>
                <c:pt idx="53993">
                  <c:v>-2.5210084033613299E-3</c:v>
                </c:pt>
                <c:pt idx="53994">
                  <c:v>-2.5210084033613299E-3</c:v>
                </c:pt>
                <c:pt idx="53995">
                  <c:v>-2.5210084033613299E-3</c:v>
                </c:pt>
                <c:pt idx="53996">
                  <c:v>-2.5210084033613299E-3</c:v>
                </c:pt>
                <c:pt idx="53997">
                  <c:v>-2.5210084033613299E-3</c:v>
                </c:pt>
                <c:pt idx="53998">
                  <c:v>-2.5210084033613299E-3</c:v>
                </c:pt>
                <c:pt idx="53999">
                  <c:v>-2.5210084033613299E-3</c:v>
                </c:pt>
                <c:pt idx="54000">
                  <c:v>-2.5210084033613299E-3</c:v>
                </c:pt>
                <c:pt idx="54001">
                  <c:v>-2.5210084033613299E-3</c:v>
                </c:pt>
                <c:pt idx="54002">
                  <c:v>-2.5210084033613299E-3</c:v>
                </c:pt>
                <c:pt idx="54003">
                  <c:v>-2.5210084033613299E-3</c:v>
                </c:pt>
                <c:pt idx="54004">
                  <c:v>-2.5210084033613299E-3</c:v>
                </c:pt>
                <c:pt idx="54005">
                  <c:v>-2.5210084033613299E-3</c:v>
                </c:pt>
                <c:pt idx="54006">
                  <c:v>-2.5210084033613299E-3</c:v>
                </c:pt>
                <c:pt idx="54007">
                  <c:v>-2.5210084033613299E-3</c:v>
                </c:pt>
                <c:pt idx="54008">
                  <c:v>-2.5210084033613299E-3</c:v>
                </c:pt>
                <c:pt idx="54009">
                  <c:v>-2.5210084033613299E-3</c:v>
                </c:pt>
                <c:pt idx="54010">
                  <c:v>-2.5210084033613299E-3</c:v>
                </c:pt>
                <c:pt idx="54011">
                  <c:v>-2.5210084033613299E-3</c:v>
                </c:pt>
                <c:pt idx="54012">
                  <c:v>-2.5210084033613299E-3</c:v>
                </c:pt>
                <c:pt idx="54013">
                  <c:v>-2.5210084033613299E-3</c:v>
                </c:pt>
                <c:pt idx="54014">
                  <c:v>-2.5210084033613299E-3</c:v>
                </c:pt>
                <c:pt idx="54015">
                  <c:v>-2.5210084033613299E-3</c:v>
                </c:pt>
                <c:pt idx="54016">
                  <c:v>-2.5210084033613299E-3</c:v>
                </c:pt>
                <c:pt idx="54017">
                  <c:v>-2.5210084033613299E-3</c:v>
                </c:pt>
                <c:pt idx="54018">
                  <c:v>-2.5210084033613299E-3</c:v>
                </c:pt>
                <c:pt idx="54019">
                  <c:v>-2.5210084033613299E-3</c:v>
                </c:pt>
                <c:pt idx="54020">
                  <c:v>-2.5210084033613299E-3</c:v>
                </c:pt>
                <c:pt idx="54021">
                  <c:v>-2.5210084033613299E-3</c:v>
                </c:pt>
                <c:pt idx="54022">
                  <c:v>-2.5210084033613299E-3</c:v>
                </c:pt>
                <c:pt idx="54023">
                  <c:v>-2.5210084033613299E-3</c:v>
                </c:pt>
                <c:pt idx="54024">
                  <c:v>-2.5210084033613299E-3</c:v>
                </c:pt>
                <c:pt idx="54025">
                  <c:v>-2.5210084033613299E-3</c:v>
                </c:pt>
                <c:pt idx="54026">
                  <c:v>-2.5210084033613299E-3</c:v>
                </c:pt>
                <c:pt idx="54027">
                  <c:v>-2.5210084033613299E-3</c:v>
                </c:pt>
                <c:pt idx="54028">
                  <c:v>-2.5210084033613299E-3</c:v>
                </c:pt>
                <c:pt idx="54029">
                  <c:v>-2.5210084033613299E-3</c:v>
                </c:pt>
                <c:pt idx="54030">
                  <c:v>-2.5210084033613299E-3</c:v>
                </c:pt>
                <c:pt idx="54031">
                  <c:v>-2.5210084033613299E-3</c:v>
                </c:pt>
                <c:pt idx="54032">
                  <c:v>-2.5210084033613299E-3</c:v>
                </c:pt>
                <c:pt idx="54033">
                  <c:v>-2.5210084033613299E-3</c:v>
                </c:pt>
                <c:pt idx="54034">
                  <c:v>-2.5210084033613299E-3</c:v>
                </c:pt>
                <c:pt idx="54035">
                  <c:v>-2.5210084033613299E-3</c:v>
                </c:pt>
                <c:pt idx="54036">
                  <c:v>-2.5210084033613299E-3</c:v>
                </c:pt>
                <c:pt idx="54037">
                  <c:v>-2.5210084033613299E-3</c:v>
                </c:pt>
                <c:pt idx="54038">
                  <c:v>-2.5210084033613299E-3</c:v>
                </c:pt>
                <c:pt idx="54039">
                  <c:v>-2.5210084033613299E-3</c:v>
                </c:pt>
                <c:pt idx="54040">
                  <c:v>-2.5210084033613299E-3</c:v>
                </c:pt>
                <c:pt idx="54041">
                  <c:v>-2.5210084033613299E-3</c:v>
                </c:pt>
                <c:pt idx="54042">
                  <c:v>-2.5210084033613299E-3</c:v>
                </c:pt>
                <c:pt idx="54043">
                  <c:v>-2.5210084033613299E-3</c:v>
                </c:pt>
                <c:pt idx="54044">
                  <c:v>-2.5210084033613299E-3</c:v>
                </c:pt>
                <c:pt idx="54045">
                  <c:v>-2.5210084033613299E-3</c:v>
                </c:pt>
                <c:pt idx="54046">
                  <c:v>-2.5210084033613299E-3</c:v>
                </c:pt>
                <c:pt idx="54047">
                  <c:v>-2.5210084033613299E-3</c:v>
                </c:pt>
                <c:pt idx="54048">
                  <c:v>-2.5210084033613299E-3</c:v>
                </c:pt>
                <c:pt idx="54049">
                  <c:v>-2.5210084033613299E-3</c:v>
                </c:pt>
                <c:pt idx="54050">
                  <c:v>-2.5210084033613299E-3</c:v>
                </c:pt>
                <c:pt idx="54051">
                  <c:v>-2.5210084033613299E-3</c:v>
                </c:pt>
                <c:pt idx="54052">
                  <c:v>-2.5210084033613299E-3</c:v>
                </c:pt>
                <c:pt idx="54053">
                  <c:v>-2.5210084033613299E-3</c:v>
                </c:pt>
                <c:pt idx="54054">
                  <c:v>-2.5210084033613299E-3</c:v>
                </c:pt>
                <c:pt idx="54055">
                  <c:v>-2.5210084033613299E-3</c:v>
                </c:pt>
                <c:pt idx="54056">
                  <c:v>-2.5210084033613299E-3</c:v>
                </c:pt>
                <c:pt idx="54057">
                  <c:v>-2.5210084033613299E-3</c:v>
                </c:pt>
                <c:pt idx="54058">
                  <c:v>-2.5210084033613299E-3</c:v>
                </c:pt>
                <c:pt idx="54059">
                  <c:v>-2.5210084033613299E-3</c:v>
                </c:pt>
                <c:pt idx="54060">
                  <c:v>-2.5210084033613299E-3</c:v>
                </c:pt>
                <c:pt idx="54061">
                  <c:v>-2.5210084033613299E-3</c:v>
                </c:pt>
                <c:pt idx="54062">
                  <c:v>-2.5210084033613299E-3</c:v>
                </c:pt>
                <c:pt idx="54063">
                  <c:v>-2.5210084033613299E-3</c:v>
                </c:pt>
                <c:pt idx="54064">
                  <c:v>-2.5210084033613299E-3</c:v>
                </c:pt>
                <c:pt idx="54065">
                  <c:v>-2.5210084033613299E-3</c:v>
                </c:pt>
                <c:pt idx="54066">
                  <c:v>-2.5210084033613299E-3</c:v>
                </c:pt>
                <c:pt idx="54067">
                  <c:v>-2.5210084033613299E-3</c:v>
                </c:pt>
                <c:pt idx="54068">
                  <c:v>-2.5210084033613299E-3</c:v>
                </c:pt>
                <c:pt idx="54069">
                  <c:v>-2.5210084033613299E-3</c:v>
                </c:pt>
                <c:pt idx="54070">
                  <c:v>-2.5210084033613299E-3</c:v>
                </c:pt>
                <c:pt idx="54071">
                  <c:v>-2.5210084033613299E-3</c:v>
                </c:pt>
                <c:pt idx="54072">
                  <c:v>-2.5210084033613299E-3</c:v>
                </c:pt>
                <c:pt idx="54073">
                  <c:v>-2.5210084033613299E-3</c:v>
                </c:pt>
                <c:pt idx="54074">
                  <c:v>-2.5210084033613299E-3</c:v>
                </c:pt>
                <c:pt idx="54075">
                  <c:v>-2.5210084033613299E-3</c:v>
                </c:pt>
                <c:pt idx="54076">
                  <c:v>-2.5210084033613299E-3</c:v>
                </c:pt>
                <c:pt idx="54077">
                  <c:v>-2.5210084033613299E-3</c:v>
                </c:pt>
                <c:pt idx="54078">
                  <c:v>-2.5210084033613299E-3</c:v>
                </c:pt>
                <c:pt idx="54079">
                  <c:v>-2.5210084033613299E-3</c:v>
                </c:pt>
                <c:pt idx="54080">
                  <c:v>-2.5210084033613299E-3</c:v>
                </c:pt>
                <c:pt idx="54081">
                  <c:v>-2.5210084033613299E-3</c:v>
                </c:pt>
                <c:pt idx="54082">
                  <c:v>-2.5210084033613299E-3</c:v>
                </c:pt>
                <c:pt idx="54083">
                  <c:v>-2.5210084033613299E-3</c:v>
                </c:pt>
                <c:pt idx="54084">
                  <c:v>-2.5210084033613299E-3</c:v>
                </c:pt>
                <c:pt idx="54085">
                  <c:v>-2.5210084033613299E-3</c:v>
                </c:pt>
                <c:pt idx="54086">
                  <c:v>-2.5210084033613299E-3</c:v>
                </c:pt>
                <c:pt idx="54087">
                  <c:v>-2.5210084033613299E-3</c:v>
                </c:pt>
                <c:pt idx="54088">
                  <c:v>-2.5210084033613299E-3</c:v>
                </c:pt>
                <c:pt idx="54089">
                  <c:v>-2.5210084033613299E-3</c:v>
                </c:pt>
                <c:pt idx="54090">
                  <c:v>-2.5210084033613299E-3</c:v>
                </c:pt>
                <c:pt idx="54091">
                  <c:v>-2.5210084033613299E-3</c:v>
                </c:pt>
                <c:pt idx="54092">
                  <c:v>-2.5210084033613299E-3</c:v>
                </c:pt>
                <c:pt idx="54093">
                  <c:v>-2.5210084033613299E-3</c:v>
                </c:pt>
                <c:pt idx="54094">
                  <c:v>-2.5210084033613299E-3</c:v>
                </c:pt>
                <c:pt idx="54095">
                  <c:v>-2.5210084033613299E-3</c:v>
                </c:pt>
                <c:pt idx="54096">
                  <c:v>-2.5210084033613299E-3</c:v>
                </c:pt>
                <c:pt idx="54097">
                  <c:v>-2.5210084033613299E-3</c:v>
                </c:pt>
                <c:pt idx="54098">
                  <c:v>-2.5210084033613299E-3</c:v>
                </c:pt>
                <c:pt idx="54099">
                  <c:v>-2.5210084033613299E-3</c:v>
                </c:pt>
                <c:pt idx="54100">
                  <c:v>-2.5210084033613299E-3</c:v>
                </c:pt>
                <c:pt idx="54101">
                  <c:v>-2.5210084033613299E-3</c:v>
                </c:pt>
                <c:pt idx="54102">
                  <c:v>-2.5210084033613299E-3</c:v>
                </c:pt>
                <c:pt idx="54103">
                  <c:v>-2.5210084033613299E-3</c:v>
                </c:pt>
                <c:pt idx="54104">
                  <c:v>-2.5210084033613299E-3</c:v>
                </c:pt>
                <c:pt idx="54105">
                  <c:v>-2.5210084033613299E-3</c:v>
                </c:pt>
                <c:pt idx="54106">
                  <c:v>-2.5210084033613299E-3</c:v>
                </c:pt>
                <c:pt idx="54107">
                  <c:v>-2.5210084033613299E-3</c:v>
                </c:pt>
                <c:pt idx="54108">
                  <c:v>-2.5210084033613299E-3</c:v>
                </c:pt>
                <c:pt idx="54109">
                  <c:v>-2.5210084033613299E-3</c:v>
                </c:pt>
                <c:pt idx="54110">
                  <c:v>-2.5210084033613299E-3</c:v>
                </c:pt>
                <c:pt idx="54111">
                  <c:v>-2.5210084033613299E-3</c:v>
                </c:pt>
                <c:pt idx="54112">
                  <c:v>-2.5210084033613299E-3</c:v>
                </c:pt>
                <c:pt idx="54113">
                  <c:v>-2.5210084033613299E-3</c:v>
                </c:pt>
                <c:pt idx="54114">
                  <c:v>-2.5210084033613299E-3</c:v>
                </c:pt>
                <c:pt idx="54115">
                  <c:v>-2.5210084033613299E-3</c:v>
                </c:pt>
                <c:pt idx="54116">
                  <c:v>-2.5210084033613299E-3</c:v>
                </c:pt>
                <c:pt idx="54117">
                  <c:v>-2.5210084033613299E-3</c:v>
                </c:pt>
                <c:pt idx="54118">
                  <c:v>-2.5210084033613299E-3</c:v>
                </c:pt>
                <c:pt idx="54119">
                  <c:v>-2.5210084033613299E-3</c:v>
                </c:pt>
                <c:pt idx="54120">
                  <c:v>-2.5210084033613299E-3</c:v>
                </c:pt>
                <c:pt idx="54121">
                  <c:v>-2.5210084033613299E-3</c:v>
                </c:pt>
                <c:pt idx="54122">
                  <c:v>-2.5210084033613299E-3</c:v>
                </c:pt>
                <c:pt idx="54123">
                  <c:v>-2.5210084033613299E-3</c:v>
                </c:pt>
                <c:pt idx="54124">
                  <c:v>-2.5210084033613299E-3</c:v>
                </c:pt>
                <c:pt idx="54125">
                  <c:v>-2.5210084033613299E-3</c:v>
                </c:pt>
                <c:pt idx="54126">
                  <c:v>-2.5210084033613299E-3</c:v>
                </c:pt>
                <c:pt idx="54127">
                  <c:v>-2.5210084033613299E-3</c:v>
                </c:pt>
                <c:pt idx="54128">
                  <c:v>-2.5210084033613299E-3</c:v>
                </c:pt>
                <c:pt idx="54129">
                  <c:v>-2.5210084033613299E-3</c:v>
                </c:pt>
                <c:pt idx="54130">
                  <c:v>-2.5210084033613299E-3</c:v>
                </c:pt>
                <c:pt idx="54131">
                  <c:v>-2.5210084033613299E-3</c:v>
                </c:pt>
                <c:pt idx="54132">
                  <c:v>-2.5210084033613299E-3</c:v>
                </c:pt>
                <c:pt idx="54133">
                  <c:v>-2.5210084033613299E-3</c:v>
                </c:pt>
                <c:pt idx="54134">
                  <c:v>-2.5210084033613299E-3</c:v>
                </c:pt>
                <c:pt idx="54135">
                  <c:v>-2.5210084033613299E-3</c:v>
                </c:pt>
                <c:pt idx="54136">
                  <c:v>-2.5210084033613299E-3</c:v>
                </c:pt>
                <c:pt idx="54137">
                  <c:v>-2.5210084033613299E-3</c:v>
                </c:pt>
                <c:pt idx="54138">
                  <c:v>-2.5210084033613299E-3</c:v>
                </c:pt>
                <c:pt idx="54139">
                  <c:v>-2.5210084033613299E-3</c:v>
                </c:pt>
                <c:pt idx="54140">
                  <c:v>-2.5210084033613299E-3</c:v>
                </c:pt>
                <c:pt idx="54141">
                  <c:v>-2.5210084033613299E-3</c:v>
                </c:pt>
                <c:pt idx="54142">
                  <c:v>-2.5210084033613299E-3</c:v>
                </c:pt>
                <c:pt idx="54143">
                  <c:v>-2.5210084033613299E-3</c:v>
                </c:pt>
                <c:pt idx="54144">
                  <c:v>-2.5210084033613299E-3</c:v>
                </c:pt>
                <c:pt idx="54145">
                  <c:v>-2.5210084033613299E-3</c:v>
                </c:pt>
                <c:pt idx="54146">
                  <c:v>-2.5210084033613299E-3</c:v>
                </c:pt>
                <c:pt idx="54147">
                  <c:v>-2.5210084033613299E-3</c:v>
                </c:pt>
                <c:pt idx="54148">
                  <c:v>-2.5210084033613299E-3</c:v>
                </c:pt>
                <c:pt idx="54149">
                  <c:v>-2.5210084033613299E-3</c:v>
                </c:pt>
                <c:pt idx="54150">
                  <c:v>-2.5210084033613299E-3</c:v>
                </c:pt>
                <c:pt idx="54151">
                  <c:v>-2.5210084033613299E-3</c:v>
                </c:pt>
                <c:pt idx="54152">
                  <c:v>-2.5210084033613299E-3</c:v>
                </c:pt>
                <c:pt idx="54153">
                  <c:v>-2.5210084033613299E-3</c:v>
                </c:pt>
                <c:pt idx="54154">
                  <c:v>-2.5210084033613299E-3</c:v>
                </c:pt>
                <c:pt idx="54155">
                  <c:v>-2.5210084033613299E-3</c:v>
                </c:pt>
                <c:pt idx="54156">
                  <c:v>-2.5210084033613299E-3</c:v>
                </c:pt>
                <c:pt idx="54157">
                  <c:v>-2.5210084033613299E-3</c:v>
                </c:pt>
                <c:pt idx="54158">
                  <c:v>-2.5210084033613299E-3</c:v>
                </c:pt>
                <c:pt idx="54159">
                  <c:v>-2.5210084033613299E-3</c:v>
                </c:pt>
                <c:pt idx="54160">
                  <c:v>-2.5210084033613299E-3</c:v>
                </c:pt>
                <c:pt idx="54161">
                  <c:v>-2.5210084033613299E-3</c:v>
                </c:pt>
                <c:pt idx="54162">
                  <c:v>-2.5210084033613299E-3</c:v>
                </c:pt>
                <c:pt idx="54163">
                  <c:v>-2.5210084033613299E-3</c:v>
                </c:pt>
                <c:pt idx="54164">
                  <c:v>-2.5210084033613299E-3</c:v>
                </c:pt>
                <c:pt idx="54165">
                  <c:v>-2.5210084033613299E-3</c:v>
                </c:pt>
                <c:pt idx="54166">
                  <c:v>-2.5210084033613299E-3</c:v>
                </c:pt>
                <c:pt idx="54167">
                  <c:v>-2.5210084033613299E-3</c:v>
                </c:pt>
                <c:pt idx="54168">
                  <c:v>-2.5210084033613299E-3</c:v>
                </c:pt>
                <c:pt idx="54169">
                  <c:v>-2.5210084033613299E-3</c:v>
                </c:pt>
                <c:pt idx="54170">
                  <c:v>-2.5210084033613299E-3</c:v>
                </c:pt>
                <c:pt idx="54171">
                  <c:v>-2.5210084033613299E-3</c:v>
                </c:pt>
                <c:pt idx="54172">
                  <c:v>-2.5210084033613299E-3</c:v>
                </c:pt>
                <c:pt idx="54173">
                  <c:v>-2.5210084033613299E-3</c:v>
                </c:pt>
                <c:pt idx="54174">
                  <c:v>-2.5210084033613299E-3</c:v>
                </c:pt>
                <c:pt idx="54175">
                  <c:v>-2.5210084033613299E-3</c:v>
                </c:pt>
                <c:pt idx="54176">
                  <c:v>-2.5210084033613299E-3</c:v>
                </c:pt>
                <c:pt idx="54177">
                  <c:v>-2.5210084033613299E-3</c:v>
                </c:pt>
                <c:pt idx="54178">
                  <c:v>-2.5210084033613299E-3</c:v>
                </c:pt>
                <c:pt idx="54179">
                  <c:v>-2.5210084033613299E-3</c:v>
                </c:pt>
                <c:pt idx="54180">
                  <c:v>-2.5210084033613299E-3</c:v>
                </c:pt>
                <c:pt idx="54181">
                  <c:v>-2.5210084033613299E-3</c:v>
                </c:pt>
                <c:pt idx="54182">
                  <c:v>-2.5210084033613299E-3</c:v>
                </c:pt>
                <c:pt idx="54183">
                  <c:v>-2.5210084033613299E-3</c:v>
                </c:pt>
                <c:pt idx="54184">
                  <c:v>-2.5210084033613299E-3</c:v>
                </c:pt>
                <c:pt idx="54185">
                  <c:v>-2.5210084033613299E-3</c:v>
                </c:pt>
                <c:pt idx="54186">
                  <c:v>-2.5210084033613299E-3</c:v>
                </c:pt>
                <c:pt idx="54187">
                  <c:v>-2.5210084033613299E-3</c:v>
                </c:pt>
                <c:pt idx="54188">
                  <c:v>-2.5210084033613299E-3</c:v>
                </c:pt>
                <c:pt idx="54189">
                  <c:v>-2.5210084033613299E-3</c:v>
                </c:pt>
                <c:pt idx="54190">
                  <c:v>-2.5210084033613299E-3</c:v>
                </c:pt>
                <c:pt idx="54191">
                  <c:v>-2.5210084033613299E-3</c:v>
                </c:pt>
                <c:pt idx="54192">
                  <c:v>-2.5210084033613299E-3</c:v>
                </c:pt>
                <c:pt idx="54193">
                  <c:v>-2.5210084033613299E-3</c:v>
                </c:pt>
                <c:pt idx="54194">
                  <c:v>-2.5210084033613299E-3</c:v>
                </c:pt>
                <c:pt idx="54195">
                  <c:v>-2.5210084033613299E-3</c:v>
                </c:pt>
                <c:pt idx="54196">
                  <c:v>-2.5210084033613299E-3</c:v>
                </c:pt>
                <c:pt idx="54197">
                  <c:v>-2.5210084033613299E-3</c:v>
                </c:pt>
                <c:pt idx="54198">
                  <c:v>-2.5210084033613299E-3</c:v>
                </c:pt>
                <c:pt idx="54199">
                  <c:v>-2.5210084033613299E-3</c:v>
                </c:pt>
                <c:pt idx="54200">
                  <c:v>-2.5210084033613299E-3</c:v>
                </c:pt>
                <c:pt idx="54201">
                  <c:v>-2.5210084033613299E-3</c:v>
                </c:pt>
                <c:pt idx="54202">
                  <c:v>-2.5210084033613299E-3</c:v>
                </c:pt>
                <c:pt idx="54203">
                  <c:v>-2.5210084033613299E-3</c:v>
                </c:pt>
                <c:pt idx="54204">
                  <c:v>-2.5210084033613299E-3</c:v>
                </c:pt>
                <c:pt idx="54205">
                  <c:v>-2.5210084033613299E-3</c:v>
                </c:pt>
                <c:pt idx="54206">
                  <c:v>-2.5210084033613299E-3</c:v>
                </c:pt>
                <c:pt idx="54207">
                  <c:v>-2.5210084033613299E-3</c:v>
                </c:pt>
                <c:pt idx="54208">
                  <c:v>-2.5210084033613299E-3</c:v>
                </c:pt>
                <c:pt idx="54209">
                  <c:v>-2.5210084033613299E-3</c:v>
                </c:pt>
                <c:pt idx="54210">
                  <c:v>-2.5210084033613299E-3</c:v>
                </c:pt>
                <c:pt idx="54211">
                  <c:v>-2.5210084033613299E-3</c:v>
                </c:pt>
                <c:pt idx="54212">
                  <c:v>-2.5210084033613299E-3</c:v>
                </c:pt>
                <c:pt idx="54213">
                  <c:v>-2.5210084033613299E-3</c:v>
                </c:pt>
                <c:pt idx="54214">
                  <c:v>-2.5210084033613299E-3</c:v>
                </c:pt>
                <c:pt idx="54215">
                  <c:v>-2.5210084033613299E-3</c:v>
                </c:pt>
                <c:pt idx="54216">
                  <c:v>-2.5210084033613299E-3</c:v>
                </c:pt>
                <c:pt idx="54217">
                  <c:v>-2.5210084033613299E-3</c:v>
                </c:pt>
                <c:pt idx="54218">
                  <c:v>-2.5210084033613299E-3</c:v>
                </c:pt>
                <c:pt idx="54219">
                  <c:v>-2.5210084033613299E-3</c:v>
                </c:pt>
                <c:pt idx="54220">
                  <c:v>-2.5210084033613299E-3</c:v>
                </c:pt>
                <c:pt idx="54221">
                  <c:v>-2.5210084033613299E-3</c:v>
                </c:pt>
                <c:pt idx="54222">
                  <c:v>-2.5210084033613299E-3</c:v>
                </c:pt>
                <c:pt idx="54223">
                  <c:v>-2.5210084033613299E-3</c:v>
                </c:pt>
                <c:pt idx="54224">
                  <c:v>-2.5210084033613299E-3</c:v>
                </c:pt>
                <c:pt idx="54225">
                  <c:v>-2.5210084033613299E-3</c:v>
                </c:pt>
                <c:pt idx="54226">
                  <c:v>-2.5210084033613299E-3</c:v>
                </c:pt>
                <c:pt idx="54227">
                  <c:v>-2.5210084033613299E-3</c:v>
                </c:pt>
                <c:pt idx="54228">
                  <c:v>-2.5210084033613299E-3</c:v>
                </c:pt>
                <c:pt idx="54229">
                  <c:v>-2.5210084033613299E-3</c:v>
                </c:pt>
                <c:pt idx="54230">
                  <c:v>-2.5210084033613299E-3</c:v>
                </c:pt>
                <c:pt idx="54231">
                  <c:v>-2.5210084033613299E-3</c:v>
                </c:pt>
                <c:pt idx="54232">
                  <c:v>-2.5210084033613299E-3</c:v>
                </c:pt>
                <c:pt idx="54233">
                  <c:v>-2.5210084033613299E-3</c:v>
                </c:pt>
                <c:pt idx="54234">
                  <c:v>-2.5210084033613299E-3</c:v>
                </c:pt>
                <c:pt idx="54235">
                  <c:v>-2.5210084033613299E-3</c:v>
                </c:pt>
                <c:pt idx="54236">
                  <c:v>-2.5210084033613299E-3</c:v>
                </c:pt>
                <c:pt idx="54237">
                  <c:v>-2.5210084033613299E-3</c:v>
                </c:pt>
                <c:pt idx="54238">
                  <c:v>-2.5210084033613299E-3</c:v>
                </c:pt>
                <c:pt idx="54239">
                  <c:v>-2.5210084033613299E-3</c:v>
                </c:pt>
                <c:pt idx="54240">
                  <c:v>-2.5210084033613299E-3</c:v>
                </c:pt>
                <c:pt idx="54241">
                  <c:v>-2.5210084033613299E-3</c:v>
                </c:pt>
                <c:pt idx="54242">
                  <c:v>-2.5210084033613299E-3</c:v>
                </c:pt>
                <c:pt idx="54243">
                  <c:v>-2.5210084033613299E-3</c:v>
                </c:pt>
                <c:pt idx="54244">
                  <c:v>-2.5210084033613299E-3</c:v>
                </c:pt>
                <c:pt idx="54245">
                  <c:v>-2.5210084033613299E-3</c:v>
                </c:pt>
                <c:pt idx="54246">
                  <c:v>-2.5210084033613299E-3</c:v>
                </c:pt>
                <c:pt idx="54247">
                  <c:v>-2.5210084033613299E-3</c:v>
                </c:pt>
                <c:pt idx="54248">
                  <c:v>-2.5210084033613299E-3</c:v>
                </c:pt>
                <c:pt idx="54249">
                  <c:v>-2.5210084033613299E-3</c:v>
                </c:pt>
                <c:pt idx="54250">
                  <c:v>-2.5210084033613299E-3</c:v>
                </c:pt>
                <c:pt idx="54251">
                  <c:v>-2.5210084033613299E-3</c:v>
                </c:pt>
                <c:pt idx="54252">
                  <c:v>-2.5210084033613299E-3</c:v>
                </c:pt>
                <c:pt idx="54253">
                  <c:v>-2.5210084033613299E-3</c:v>
                </c:pt>
                <c:pt idx="54254">
                  <c:v>-2.5210084033613299E-3</c:v>
                </c:pt>
                <c:pt idx="54255">
                  <c:v>-2.5210084033613299E-3</c:v>
                </c:pt>
                <c:pt idx="54256">
                  <c:v>-2.5210084033613299E-3</c:v>
                </c:pt>
                <c:pt idx="54257">
                  <c:v>-2.5210084033613299E-3</c:v>
                </c:pt>
                <c:pt idx="54258">
                  <c:v>-2.5210084033613299E-3</c:v>
                </c:pt>
                <c:pt idx="54259">
                  <c:v>-2.5210084033613299E-3</c:v>
                </c:pt>
                <c:pt idx="54260">
                  <c:v>-2.5210084033613299E-3</c:v>
                </c:pt>
                <c:pt idx="54261">
                  <c:v>-2.5210084033613299E-3</c:v>
                </c:pt>
                <c:pt idx="54262">
                  <c:v>-2.5210084033613299E-3</c:v>
                </c:pt>
                <c:pt idx="54263">
                  <c:v>-2.5210084033613299E-3</c:v>
                </c:pt>
                <c:pt idx="54264">
                  <c:v>-2.5210084033613299E-3</c:v>
                </c:pt>
                <c:pt idx="54265">
                  <c:v>-2.5210084033613299E-3</c:v>
                </c:pt>
                <c:pt idx="54266">
                  <c:v>-2.5210084033613299E-3</c:v>
                </c:pt>
                <c:pt idx="54267">
                  <c:v>-2.5210084033613299E-3</c:v>
                </c:pt>
                <c:pt idx="54268">
                  <c:v>-2.5210084033613299E-3</c:v>
                </c:pt>
                <c:pt idx="54269">
                  <c:v>-2.5210084033613299E-3</c:v>
                </c:pt>
                <c:pt idx="54270">
                  <c:v>-2.5210084033613299E-3</c:v>
                </c:pt>
                <c:pt idx="54271">
                  <c:v>-2.5210084033613299E-3</c:v>
                </c:pt>
                <c:pt idx="54272">
                  <c:v>-2.5210084033613299E-3</c:v>
                </c:pt>
                <c:pt idx="54273">
                  <c:v>-2.5210084033613299E-3</c:v>
                </c:pt>
                <c:pt idx="54274">
                  <c:v>-2.5210084033613299E-3</c:v>
                </c:pt>
                <c:pt idx="54275">
                  <c:v>-2.5210084033613299E-3</c:v>
                </c:pt>
                <c:pt idx="54276">
                  <c:v>-2.5210084033613299E-3</c:v>
                </c:pt>
                <c:pt idx="54277">
                  <c:v>-2.5210084033613299E-3</c:v>
                </c:pt>
                <c:pt idx="54278">
                  <c:v>-2.5210084033613299E-3</c:v>
                </c:pt>
                <c:pt idx="54279">
                  <c:v>-2.5210084033613299E-3</c:v>
                </c:pt>
                <c:pt idx="54280">
                  <c:v>-2.5210084033613299E-3</c:v>
                </c:pt>
                <c:pt idx="54281">
                  <c:v>-2.5210084033613299E-3</c:v>
                </c:pt>
                <c:pt idx="54282">
                  <c:v>-2.5210084033613299E-3</c:v>
                </c:pt>
                <c:pt idx="54283">
                  <c:v>-2.5210084033613299E-3</c:v>
                </c:pt>
                <c:pt idx="54284">
                  <c:v>-2.5210084033613299E-3</c:v>
                </c:pt>
                <c:pt idx="54285">
                  <c:v>-2.5210084033613299E-3</c:v>
                </c:pt>
                <c:pt idx="54286">
                  <c:v>-2.5210084033613299E-3</c:v>
                </c:pt>
                <c:pt idx="54287">
                  <c:v>-2.5210084033613299E-3</c:v>
                </c:pt>
                <c:pt idx="54288">
                  <c:v>-2.5210084033613299E-3</c:v>
                </c:pt>
                <c:pt idx="54289">
                  <c:v>-2.5210084033613299E-3</c:v>
                </c:pt>
                <c:pt idx="54290">
                  <c:v>-2.5210084033613299E-3</c:v>
                </c:pt>
                <c:pt idx="54291">
                  <c:v>-2.5210084033613299E-3</c:v>
                </c:pt>
                <c:pt idx="54292">
                  <c:v>-2.5210084033613299E-3</c:v>
                </c:pt>
                <c:pt idx="54293">
                  <c:v>-2.5210084033613299E-3</c:v>
                </c:pt>
                <c:pt idx="54294">
                  <c:v>-2.5210084033613299E-3</c:v>
                </c:pt>
                <c:pt idx="54295">
                  <c:v>-2.5210084033613299E-3</c:v>
                </c:pt>
                <c:pt idx="54296">
                  <c:v>-2.5210084033613299E-3</c:v>
                </c:pt>
                <c:pt idx="54297">
                  <c:v>-2.5210084033613299E-3</c:v>
                </c:pt>
                <c:pt idx="54298">
                  <c:v>-2.5210084033613299E-3</c:v>
                </c:pt>
                <c:pt idx="54299">
                  <c:v>-2.5210084033613299E-3</c:v>
                </c:pt>
                <c:pt idx="54300">
                  <c:v>-2.5210084033613299E-3</c:v>
                </c:pt>
                <c:pt idx="54301">
                  <c:v>-2.5210084033613299E-3</c:v>
                </c:pt>
                <c:pt idx="54302">
                  <c:v>-2.5210084033613299E-3</c:v>
                </c:pt>
                <c:pt idx="54303">
                  <c:v>-2.5210084033613299E-3</c:v>
                </c:pt>
                <c:pt idx="54304">
                  <c:v>-2.5210084033613299E-3</c:v>
                </c:pt>
                <c:pt idx="54305">
                  <c:v>-2.5210084033613299E-3</c:v>
                </c:pt>
                <c:pt idx="54306">
                  <c:v>-2.5210084033613299E-3</c:v>
                </c:pt>
                <c:pt idx="54307">
                  <c:v>-2.5210084033613299E-3</c:v>
                </c:pt>
                <c:pt idx="54308">
                  <c:v>-2.5210084033613299E-3</c:v>
                </c:pt>
                <c:pt idx="54309">
                  <c:v>-2.5210084033613299E-3</c:v>
                </c:pt>
                <c:pt idx="54310">
                  <c:v>-2.5210084033613299E-3</c:v>
                </c:pt>
                <c:pt idx="54311">
                  <c:v>-2.5210084033613299E-3</c:v>
                </c:pt>
                <c:pt idx="54312">
                  <c:v>-2.5210084033613299E-3</c:v>
                </c:pt>
                <c:pt idx="54313">
                  <c:v>-2.5210084033613299E-3</c:v>
                </c:pt>
                <c:pt idx="54314">
                  <c:v>-2.5210084033613299E-3</c:v>
                </c:pt>
                <c:pt idx="54315">
                  <c:v>-2.5210084033613299E-3</c:v>
                </c:pt>
                <c:pt idx="54316">
                  <c:v>-2.5210084033613299E-3</c:v>
                </c:pt>
                <c:pt idx="54317">
                  <c:v>-2.5210084033613299E-3</c:v>
                </c:pt>
                <c:pt idx="54318">
                  <c:v>-2.5210084033613299E-3</c:v>
                </c:pt>
                <c:pt idx="54319">
                  <c:v>-2.5210084033613299E-3</c:v>
                </c:pt>
                <c:pt idx="54320">
                  <c:v>-2.5210084033613299E-3</c:v>
                </c:pt>
                <c:pt idx="54321">
                  <c:v>-2.5210084033613299E-3</c:v>
                </c:pt>
                <c:pt idx="54322">
                  <c:v>-2.5210084033613299E-3</c:v>
                </c:pt>
                <c:pt idx="54323">
                  <c:v>-2.5210084033613299E-3</c:v>
                </c:pt>
                <c:pt idx="54324">
                  <c:v>-2.5210084033613299E-3</c:v>
                </c:pt>
                <c:pt idx="54325">
                  <c:v>-2.5210084033613299E-3</c:v>
                </c:pt>
                <c:pt idx="54326">
                  <c:v>-2.5210084033613299E-3</c:v>
                </c:pt>
                <c:pt idx="54327">
                  <c:v>-2.5210084033613299E-3</c:v>
                </c:pt>
                <c:pt idx="54328">
                  <c:v>-2.5210084033613299E-3</c:v>
                </c:pt>
                <c:pt idx="54329">
                  <c:v>-2.5210084033613299E-3</c:v>
                </c:pt>
                <c:pt idx="54330">
                  <c:v>-2.5210084033613299E-3</c:v>
                </c:pt>
                <c:pt idx="54331">
                  <c:v>-2.5210084033613299E-3</c:v>
                </c:pt>
                <c:pt idx="54332">
                  <c:v>-2.5210084033613299E-3</c:v>
                </c:pt>
                <c:pt idx="54333">
                  <c:v>-2.5210084033613299E-3</c:v>
                </c:pt>
                <c:pt idx="54334">
                  <c:v>-2.5210084033613299E-3</c:v>
                </c:pt>
                <c:pt idx="54335">
                  <c:v>-2.5210084033613299E-3</c:v>
                </c:pt>
                <c:pt idx="54336">
                  <c:v>-2.5210084033613299E-3</c:v>
                </c:pt>
                <c:pt idx="54337">
                  <c:v>-2.5210084033613299E-3</c:v>
                </c:pt>
                <c:pt idx="54338">
                  <c:v>-2.5210084033613299E-3</c:v>
                </c:pt>
                <c:pt idx="54339">
                  <c:v>-2.5210084033613299E-3</c:v>
                </c:pt>
                <c:pt idx="54340">
                  <c:v>-2.5210084033613299E-3</c:v>
                </c:pt>
                <c:pt idx="54341">
                  <c:v>-2.5210084033613299E-3</c:v>
                </c:pt>
                <c:pt idx="54342">
                  <c:v>-2.5210084033613299E-3</c:v>
                </c:pt>
                <c:pt idx="54343">
                  <c:v>-2.5210084033613299E-3</c:v>
                </c:pt>
                <c:pt idx="54344">
                  <c:v>-2.5210084033613299E-3</c:v>
                </c:pt>
                <c:pt idx="54345">
                  <c:v>-2.5210084033613299E-3</c:v>
                </c:pt>
                <c:pt idx="54346">
                  <c:v>-2.5210084033613299E-3</c:v>
                </c:pt>
                <c:pt idx="54347">
                  <c:v>-2.5210084033613299E-3</c:v>
                </c:pt>
                <c:pt idx="54348">
                  <c:v>-2.5210084033613299E-3</c:v>
                </c:pt>
                <c:pt idx="54349">
                  <c:v>-2.5210084033613299E-3</c:v>
                </c:pt>
                <c:pt idx="54350">
                  <c:v>-2.5210084033613299E-3</c:v>
                </c:pt>
                <c:pt idx="54351">
                  <c:v>-2.5210084033613299E-3</c:v>
                </c:pt>
                <c:pt idx="54352">
                  <c:v>-2.5210084033613299E-3</c:v>
                </c:pt>
                <c:pt idx="54353">
                  <c:v>-2.5210084033613299E-3</c:v>
                </c:pt>
                <c:pt idx="54354">
                  <c:v>-2.5210084033613299E-3</c:v>
                </c:pt>
                <c:pt idx="54355">
                  <c:v>-2.5210084033613299E-3</c:v>
                </c:pt>
                <c:pt idx="54356">
                  <c:v>-2.5210084033613299E-3</c:v>
                </c:pt>
                <c:pt idx="54357">
                  <c:v>-2.5210084033613299E-3</c:v>
                </c:pt>
                <c:pt idx="54358">
                  <c:v>-2.5210084033613299E-3</c:v>
                </c:pt>
                <c:pt idx="54359">
                  <c:v>-2.5210084033613299E-3</c:v>
                </c:pt>
                <c:pt idx="54360">
                  <c:v>-2.5210084033613299E-3</c:v>
                </c:pt>
                <c:pt idx="54361">
                  <c:v>-2.5210084033613299E-3</c:v>
                </c:pt>
                <c:pt idx="54362">
                  <c:v>-2.5210084033613299E-3</c:v>
                </c:pt>
                <c:pt idx="54363">
                  <c:v>-2.5210084033613299E-3</c:v>
                </c:pt>
                <c:pt idx="54364">
                  <c:v>-2.5210084033613299E-3</c:v>
                </c:pt>
                <c:pt idx="54365">
                  <c:v>-2.5210084033613299E-3</c:v>
                </c:pt>
                <c:pt idx="54366">
                  <c:v>-2.5210084033613299E-3</c:v>
                </c:pt>
                <c:pt idx="54367">
                  <c:v>-2.5210084033613299E-3</c:v>
                </c:pt>
                <c:pt idx="54368">
                  <c:v>-2.5210084033613299E-3</c:v>
                </c:pt>
                <c:pt idx="54369">
                  <c:v>-2.5210084033613299E-3</c:v>
                </c:pt>
                <c:pt idx="54370">
                  <c:v>-2.5210084033613299E-3</c:v>
                </c:pt>
                <c:pt idx="54371">
                  <c:v>-2.5210084033613299E-3</c:v>
                </c:pt>
                <c:pt idx="54372">
                  <c:v>-2.5210084033613299E-3</c:v>
                </c:pt>
                <c:pt idx="54373">
                  <c:v>-2.5210084033613299E-3</c:v>
                </c:pt>
                <c:pt idx="54374">
                  <c:v>-2.5210084033613299E-3</c:v>
                </c:pt>
                <c:pt idx="54375">
                  <c:v>-2.5210084033613299E-3</c:v>
                </c:pt>
                <c:pt idx="54376">
                  <c:v>-2.5210084033613299E-3</c:v>
                </c:pt>
                <c:pt idx="54377">
                  <c:v>-2.5210084033613299E-3</c:v>
                </c:pt>
                <c:pt idx="54378">
                  <c:v>-2.5210084033613299E-3</c:v>
                </c:pt>
                <c:pt idx="54379">
                  <c:v>-2.5210084033613299E-3</c:v>
                </c:pt>
                <c:pt idx="54380">
                  <c:v>-2.5210084033613299E-3</c:v>
                </c:pt>
                <c:pt idx="54381">
                  <c:v>-2.5210084033613299E-3</c:v>
                </c:pt>
                <c:pt idx="54382">
                  <c:v>-2.5210084033613299E-3</c:v>
                </c:pt>
                <c:pt idx="54383">
                  <c:v>-2.5210084033613299E-3</c:v>
                </c:pt>
                <c:pt idx="54384">
                  <c:v>-2.5210084033613299E-3</c:v>
                </c:pt>
                <c:pt idx="54385">
                  <c:v>-2.5210084033613299E-3</c:v>
                </c:pt>
                <c:pt idx="54386">
                  <c:v>-2.5210084033613299E-3</c:v>
                </c:pt>
                <c:pt idx="54387">
                  <c:v>-2.5210084033613299E-3</c:v>
                </c:pt>
                <c:pt idx="54388">
                  <c:v>-2.5210084033613299E-3</c:v>
                </c:pt>
                <c:pt idx="54389">
                  <c:v>-2.5210084033613299E-3</c:v>
                </c:pt>
                <c:pt idx="54390">
                  <c:v>-2.5210084033613299E-3</c:v>
                </c:pt>
                <c:pt idx="54391">
                  <c:v>-2.5210084033613299E-3</c:v>
                </c:pt>
                <c:pt idx="54392">
                  <c:v>-2.5210084033613299E-3</c:v>
                </c:pt>
                <c:pt idx="54393">
                  <c:v>-2.5210084033613299E-3</c:v>
                </c:pt>
                <c:pt idx="54394">
                  <c:v>-2.5210084033613299E-3</c:v>
                </c:pt>
                <c:pt idx="54395">
                  <c:v>-2.5210084033613299E-3</c:v>
                </c:pt>
                <c:pt idx="54396">
                  <c:v>-2.5210084033613299E-3</c:v>
                </c:pt>
                <c:pt idx="54397">
                  <c:v>-2.5210084033613299E-3</c:v>
                </c:pt>
                <c:pt idx="54398">
                  <c:v>-2.5210084033613299E-3</c:v>
                </c:pt>
                <c:pt idx="54399">
                  <c:v>-2.5210084033613299E-3</c:v>
                </c:pt>
                <c:pt idx="54400">
                  <c:v>-2.5210084033613299E-3</c:v>
                </c:pt>
                <c:pt idx="54401">
                  <c:v>-2.5210084033613299E-3</c:v>
                </c:pt>
                <c:pt idx="54402">
                  <c:v>-2.5210084033613299E-3</c:v>
                </c:pt>
                <c:pt idx="54403">
                  <c:v>-2.5210084033613299E-3</c:v>
                </c:pt>
                <c:pt idx="54404">
                  <c:v>-2.5210084033613299E-3</c:v>
                </c:pt>
                <c:pt idx="54405">
                  <c:v>-2.5210084033613299E-3</c:v>
                </c:pt>
                <c:pt idx="54406">
                  <c:v>-2.5210084033613299E-3</c:v>
                </c:pt>
                <c:pt idx="54407">
                  <c:v>-2.5210084033613299E-3</c:v>
                </c:pt>
                <c:pt idx="54408">
                  <c:v>-2.5210084033613299E-3</c:v>
                </c:pt>
                <c:pt idx="54409">
                  <c:v>-2.5210084033613299E-3</c:v>
                </c:pt>
                <c:pt idx="54410">
                  <c:v>-2.5210084033613299E-3</c:v>
                </c:pt>
                <c:pt idx="54411">
                  <c:v>-2.5210084033613299E-3</c:v>
                </c:pt>
                <c:pt idx="54412">
                  <c:v>-2.5210084033613299E-3</c:v>
                </c:pt>
                <c:pt idx="54413">
                  <c:v>-2.5210084033613299E-3</c:v>
                </c:pt>
                <c:pt idx="54414">
                  <c:v>-2.5210084033613299E-3</c:v>
                </c:pt>
                <c:pt idx="54415">
                  <c:v>-2.5210084033613299E-3</c:v>
                </c:pt>
                <c:pt idx="54416">
                  <c:v>-2.5210084033613299E-3</c:v>
                </c:pt>
                <c:pt idx="54417">
                  <c:v>-2.5210084033613299E-3</c:v>
                </c:pt>
                <c:pt idx="54418">
                  <c:v>-2.5210084033613299E-3</c:v>
                </c:pt>
                <c:pt idx="54419">
                  <c:v>-2.5210084033613299E-3</c:v>
                </c:pt>
                <c:pt idx="54420">
                  <c:v>-2.5210084033613299E-3</c:v>
                </c:pt>
                <c:pt idx="54421">
                  <c:v>-2.5210084033613299E-3</c:v>
                </c:pt>
                <c:pt idx="54422">
                  <c:v>-2.5210084033613299E-3</c:v>
                </c:pt>
                <c:pt idx="54423">
                  <c:v>-2.5210084033613299E-3</c:v>
                </c:pt>
                <c:pt idx="54424">
                  <c:v>-2.5210084033613299E-3</c:v>
                </c:pt>
                <c:pt idx="54425">
                  <c:v>-2.5210084033613299E-3</c:v>
                </c:pt>
                <c:pt idx="54426">
                  <c:v>-2.5210084033613299E-3</c:v>
                </c:pt>
                <c:pt idx="54427">
                  <c:v>-2.5210084033613299E-3</c:v>
                </c:pt>
                <c:pt idx="54428">
                  <c:v>-2.5210084033613299E-3</c:v>
                </c:pt>
                <c:pt idx="54429">
                  <c:v>-2.5210084033613299E-3</c:v>
                </c:pt>
                <c:pt idx="54430">
                  <c:v>-2.5210084033613299E-3</c:v>
                </c:pt>
                <c:pt idx="54431">
                  <c:v>-2.5210084033613299E-3</c:v>
                </c:pt>
                <c:pt idx="54432">
                  <c:v>-2.5210084033613299E-3</c:v>
                </c:pt>
                <c:pt idx="54433">
                  <c:v>-2.5210084033613299E-3</c:v>
                </c:pt>
                <c:pt idx="54434">
                  <c:v>-2.5210084033613299E-3</c:v>
                </c:pt>
                <c:pt idx="54435">
                  <c:v>-2.5210084033613299E-3</c:v>
                </c:pt>
                <c:pt idx="54436">
                  <c:v>-2.5210084033613299E-3</c:v>
                </c:pt>
                <c:pt idx="54437">
                  <c:v>-2.5210084033613299E-3</c:v>
                </c:pt>
                <c:pt idx="54438">
                  <c:v>-2.5210084033613299E-3</c:v>
                </c:pt>
                <c:pt idx="54439">
                  <c:v>-2.5210084033613299E-3</c:v>
                </c:pt>
                <c:pt idx="54440">
                  <c:v>-2.5210084033613299E-3</c:v>
                </c:pt>
                <c:pt idx="54441">
                  <c:v>-2.5210084033613299E-3</c:v>
                </c:pt>
                <c:pt idx="54442">
                  <c:v>-2.5210084033613299E-3</c:v>
                </c:pt>
                <c:pt idx="54443">
                  <c:v>-2.5210084033613299E-3</c:v>
                </c:pt>
                <c:pt idx="54444">
                  <c:v>-2.5210084033613299E-3</c:v>
                </c:pt>
                <c:pt idx="54445">
                  <c:v>-2.5210084033613299E-3</c:v>
                </c:pt>
                <c:pt idx="54446">
                  <c:v>-2.5210084033613299E-3</c:v>
                </c:pt>
                <c:pt idx="54447">
                  <c:v>-2.5210084033613299E-3</c:v>
                </c:pt>
                <c:pt idx="54448">
                  <c:v>-2.5210084033613299E-3</c:v>
                </c:pt>
                <c:pt idx="54449">
                  <c:v>-2.5210084033613299E-3</c:v>
                </c:pt>
                <c:pt idx="54450">
                  <c:v>-2.5210084033613299E-3</c:v>
                </c:pt>
                <c:pt idx="54451">
                  <c:v>-2.5210084033613299E-3</c:v>
                </c:pt>
                <c:pt idx="54452">
                  <c:v>-2.5210084033613299E-3</c:v>
                </c:pt>
                <c:pt idx="54453">
                  <c:v>-2.5210084033613299E-3</c:v>
                </c:pt>
                <c:pt idx="54454">
                  <c:v>-2.5210084033613299E-3</c:v>
                </c:pt>
                <c:pt idx="54455">
                  <c:v>-2.5210084033613299E-3</c:v>
                </c:pt>
                <c:pt idx="54456">
                  <c:v>-2.5210084033613299E-3</c:v>
                </c:pt>
                <c:pt idx="54457">
                  <c:v>-2.5210084033613299E-3</c:v>
                </c:pt>
                <c:pt idx="54458">
                  <c:v>-2.5210084033613299E-3</c:v>
                </c:pt>
                <c:pt idx="54459">
                  <c:v>-2.5210084033613299E-3</c:v>
                </c:pt>
                <c:pt idx="54460">
                  <c:v>-2.5210084033613299E-3</c:v>
                </c:pt>
                <c:pt idx="54461">
                  <c:v>-2.5210084033613299E-3</c:v>
                </c:pt>
                <c:pt idx="54462">
                  <c:v>-2.5210084033613299E-3</c:v>
                </c:pt>
                <c:pt idx="54463">
                  <c:v>-2.5210084033613299E-3</c:v>
                </c:pt>
                <c:pt idx="54464">
                  <c:v>-2.5210084033613299E-3</c:v>
                </c:pt>
                <c:pt idx="54465">
                  <c:v>-2.5210084033613299E-3</c:v>
                </c:pt>
                <c:pt idx="54466">
                  <c:v>-2.5210084033613299E-3</c:v>
                </c:pt>
                <c:pt idx="54467">
                  <c:v>-2.5210084033613299E-3</c:v>
                </c:pt>
                <c:pt idx="54468">
                  <c:v>-2.5210084033613299E-3</c:v>
                </c:pt>
                <c:pt idx="54469">
                  <c:v>-2.5210084033613299E-3</c:v>
                </c:pt>
                <c:pt idx="54470">
                  <c:v>-2.5210084033613299E-3</c:v>
                </c:pt>
                <c:pt idx="54471">
                  <c:v>-2.5210084033613299E-3</c:v>
                </c:pt>
                <c:pt idx="54472">
                  <c:v>-2.5210084033613299E-3</c:v>
                </c:pt>
                <c:pt idx="54473">
                  <c:v>-2.5210084033613299E-3</c:v>
                </c:pt>
                <c:pt idx="54474">
                  <c:v>-2.5210084033613299E-3</c:v>
                </c:pt>
                <c:pt idx="54475">
                  <c:v>-2.5210084033613299E-3</c:v>
                </c:pt>
                <c:pt idx="54476">
                  <c:v>-2.5210084033613299E-3</c:v>
                </c:pt>
                <c:pt idx="54477">
                  <c:v>-2.5210084033613299E-3</c:v>
                </c:pt>
                <c:pt idx="54478">
                  <c:v>-2.5210084033613299E-3</c:v>
                </c:pt>
                <c:pt idx="54479">
                  <c:v>-2.5210084033613299E-3</c:v>
                </c:pt>
                <c:pt idx="54480">
                  <c:v>-2.5210084033613299E-3</c:v>
                </c:pt>
                <c:pt idx="54481">
                  <c:v>-2.5210084033613299E-3</c:v>
                </c:pt>
                <c:pt idx="54482">
                  <c:v>-2.5210084033613299E-3</c:v>
                </c:pt>
                <c:pt idx="54483">
                  <c:v>-2.5210084033613299E-3</c:v>
                </c:pt>
                <c:pt idx="54484">
                  <c:v>-2.5210084033613299E-3</c:v>
                </c:pt>
                <c:pt idx="54485">
                  <c:v>-2.5210084033613299E-3</c:v>
                </c:pt>
                <c:pt idx="54486">
                  <c:v>-2.5210084033613299E-3</c:v>
                </c:pt>
                <c:pt idx="54487">
                  <c:v>-2.5210084033613299E-3</c:v>
                </c:pt>
                <c:pt idx="54488">
                  <c:v>-2.5210084033613299E-3</c:v>
                </c:pt>
                <c:pt idx="54489">
                  <c:v>-2.5210084033613299E-3</c:v>
                </c:pt>
                <c:pt idx="54490">
                  <c:v>-2.5210084033613299E-3</c:v>
                </c:pt>
                <c:pt idx="54491">
                  <c:v>-2.5210084033613299E-3</c:v>
                </c:pt>
                <c:pt idx="54492">
                  <c:v>-2.5210084033613299E-3</c:v>
                </c:pt>
                <c:pt idx="54493">
                  <c:v>-2.5210084033613299E-3</c:v>
                </c:pt>
                <c:pt idx="54494">
                  <c:v>-2.5210084033613299E-3</c:v>
                </c:pt>
                <c:pt idx="54495">
                  <c:v>-2.5210084033613299E-3</c:v>
                </c:pt>
                <c:pt idx="54496">
                  <c:v>-2.5210084033613299E-3</c:v>
                </c:pt>
                <c:pt idx="54497">
                  <c:v>-2.5210084033613299E-3</c:v>
                </c:pt>
                <c:pt idx="54498">
                  <c:v>-2.5210084033613299E-3</c:v>
                </c:pt>
                <c:pt idx="54499">
                  <c:v>-2.5210084033613299E-3</c:v>
                </c:pt>
                <c:pt idx="54500">
                  <c:v>-2.5210084033613299E-3</c:v>
                </c:pt>
                <c:pt idx="54501">
                  <c:v>-2.5210084033613299E-3</c:v>
                </c:pt>
                <c:pt idx="54502">
                  <c:v>-2.5210084033613299E-3</c:v>
                </c:pt>
                <c:pt idx="54503">
                  <c:v>-2.5210084033613299E-3</c:v>
                </c:pt>
                <c:pt idx="54504">
                  <c:v>-2.5210084033613299E-3</c:v>
                </c:pt>
                <c:pt idx="54505">
                  <c:v>-2.5210084033613299E-3</c:v>
                </c:pt>
                <c:pt idx="54506">
                  <c:v>-2.5210084033613299E-3</c:v>
                </c:pt>
                <c:pt idx="54507">
                  <c:v>-2.5210084033613299E-3</c:v>
                </c:pt>
                <c:pt idx="54508">
                  <c:v>-2.5210084033613299E-3</c:v>
                </c:pt>
                <c:pt idx="54509">
                  <c:v>-2.5210084033613299E-3</c:v>
                </c:pt>
                <c:pt idx="54510">
                  <c:v>-2.5210084033613299E-3</c:v>
                </c:pt>
                <c:pt idx="54511">
                  <c:v>-2.5210084033613299E-3</c:v>
                </c:pt>
                <c:pt idx="54512">
                  <c:v>-2.5210084033613299E-3</c:v>
                </c:pt>
                <c:pt idx="54513">
                  <c:v>-2.5210084033613299E-3</c:v>
                </c:pt>
                <c:pt idx="54514">
                  <c:v>-2.5210084033613299E-3</c:v>
                </c:pt>
                <c:pt idx="54515">
                  <c:v>-2.5210084033613299E-3</c:v>
                </c:pt>
                <c:pt idx="54516">
                  <c:v>-2.5210084033613299E-3</c:v>
                </c:pt>
                <c:pt idx="54517">
                  <c:v>-2.5210084033613299E-3</c:v>
                </c:pt>
                <c:pt idx="54518">
                  <c:v>-2.5210084033613299E-3</c:v>
                </c:pt>
                <c:pt idx="54519">
                  <c:v>-2.5210084033613299E-3</c:v>
                </c:pt>
                <c:pt idx="54520">
                  <c:v>-2.5210084033613299E-3</c:v>
                </c:pt>
                <c:pt idx="54521">
                  <c:v>-2.5210084033613299E-3</c:v>
                </c:pt>
                <c:pt idx="54522">
                  <c:v>-2.5210084033613299E-3</c:v>
                </c:pt>
                <c:pt idx="54523">
                  <c:v>-2.5210084033613299E-3</c:v>
                </c:pt>
                <c:pt idx="54524">
                  <c:v>-2.5210084033613299E-3</c:v>
                </c:pt>
                <c:pt idx="54525">
                  <c:v>-2.5210084033613299E-3</c:v>
                </c:pt>
                <c:pt idx="54526">
                  <c:v>-2.5210084033613299E-3</c:v>
                </c:pt>
                <c:pt idx="54527">
                  <c:v>-2.5210084033613299E-3</c:v>
                </c:pt>
                <c:pt idx="54528">
                  <c:v>-2.5210084033613299E-3</c:v>
                </c:pt>
                <c:pt idx="54529">
                  <c:v>-2.5210084033613299E-3</c:v>
                </c:pt>
                <c:pt idx="54530">
                  <c:v>-2.5210084033613299E-3</c:v>
                </c:pt>
                <c:pt idx="54531">
                  <c:v>-2.5210084033613299E-3</c:v>
                </c:pt>
                <c:pt idx="54532">
                  <c:v>-2.5210084033613299E-3</c:v>
                </c:pt>
                <c:pt idx="54533">
                  <c:v>-2.5210084033613299E-3</c:v>
                </c:pt>
                <c:pt idx="54534">
                  <c:v>-2.5210084033613299E-3</c:v>
                </c:pt>
                <c:pt idx="54535">
                  <c:v>-2.5210084033613299E-3</c:v>
                </c:pt>
                <c:pt idx="54536">
                  <c:v>-2.5210084033613299E-3</c:v>
                </c:pt>
                <c:pt idx="54537">
                  <c:v>-2.5210084033613299E-3</c:v>
                </c:pt>
                <c:pt idx="54538">
                  <c:v>-2.5210084033613299E-3</c:v>
                </c:pt>
                <c:pt idx="54539">
                  <c:v>-2.5210084033613299E-3</c:v>
                </c:pt>
                <c:pt idx="54540">
                  <c:v>-2.5210084033613299E-3</c:v>
                </c:pt>
                <c:pt idx="54541">
                  <c:v>-2.5210084033613299E-3</c:v>
                </c:pt>
                <c:pt idx="54542">
                  <c:v>-2.5210084033613299E-3</c:v>
                </c:pt>
                <c:pt idx="54543">
                  <c:v>-2.5210084033613299E-3</c:v>
                </c:pt>
                <c:pt idx="54544">
                  <c:v>-2.5210084033613299E-3</c:v>
                </c:pt>
                <c:pt idx="54545">
                  <c:v>-2.5210084033613299E-3</c:v>
                </c:pt>
                <c:pt idx="54546">
                  <c:v>-2.5210084033613299E-3</c:v>
                </c:pt>
                <c:pt idx="54547">
                  <c:v>-2.5210084033613299E-3</c:v>
                </c:pt>
                <c:pt idx="54548">
                  <c:v>-2.5210084033613299E-3</c:v>
                </c:pt>
                <c:pt idx="54549">
                  <c:v>-2.5210084033613299E-3</c:v>
                </c:pt>
                <c:pt idx="54550">
                  <c:v>-2.5210084033613299E-3</c:v>
                </c:pt>
                <c:pt idx="54551">
                  <c:v>-2.5210084033613299E-3</c:v>
                </c:pt>
                <c:pt idx="54552">
                  <c:v>-2.5210084033613299E-3</c:v>
                </c:pt>
                <c:pt idx="54553">
                  <c:v>-2.5210084033613299E-3</c:v>
                </c:pt>
                <c:pt idx="54554">
                  <c:v>-2.5210084033613299E-3</c:v>
                </c:pt>
                <c:pt idx="54555">
                  <c:v>-2.5210084033613299E-3</c:v>
                </c:pt>
                <c:pt idx="54556">
                  <c:v>-2.5210084033613299E-3</c:v>
                </c:pt>
                <c:pt idx="54557">
                  <c:v>-2.5210084033613299E-3</c:v>
                </c:pt>
                <c:pt idx="54558">
                  <c:v>-2.5210084033613299E-3</c:v>
                </c:pt>
                <c:pt idx="54559">
                  <c:v>-2.5210084033613299E-3</c:v>
                </c:pt>
                <c:pt idx="54560">
                  <c:v>-2.5210084033613299E-3</c:v>
                </c:pt>
                <c:pt idx="54561">
                  <c:v>-2.5210084033613299E-3</c:v>
                </c:pt>
                <c:pt idx="54562">
                  <c:v>-2.5210084033613299E-3</c:v>
                </c:pt>
                <c:pt idx="54563">
                  <c:v>-2.5210084033613299E-3</c:v>
                </c:pt>
                <c:pt idx="54564">
                  <c:v>-2.5210084033613299E-3</c:v>
                </c:pt>
                <c:pt idx="54565">
                  <c:v>-2.5210084033613299E-3</c:v>
                </c:pt>
                <c:pt idx="54566">
                  <c:v>-2.5210084033613299E-3</c:v>
                </c:pt>
                <c:pt idx="54567">
                  <c:v>-2.5210084033613299E-3</c:v>
                </c:pt>
                <c:pt idx="54568">
                  <c:v>-2.5210084033613299E-3</c:v>
                </c:pt>
                <c:pt idx="54569">
                  <c:v>-2.5210084033613299E-3</c:v>
                </c:pt>
                <c:pt idx="54570">
                  <c:v>-2.5210084033613299E-3</c:v>
                </c:pt>
                <c:pt idx="54571">
                  <c:v>-2.5210084033613299E-3</c:v>
                </c:pt>
                <c:pt idx="54572">
                  <c:v>-2.5210084033613299E-3</c:v>
                </c:pt>
                <c:pt idx="54573">
                  <c:v>-2.5210084033613299E-3</c:v>
                </c:pt>
                <c:pt idx="54574">
                  <c:v>-2.5210084033613299E-3</c:v>
                </c:pt>
                <c:pt idx="54575">
                  <c:v>-2.5210084033613299E-3</c:v>
                </c:pt>
                <c:pt idx="54576">
                  <c:v>-2.5210084033613299E-3</c:v>
                </c:pt>
                <c:pt idx="54577">
                  <c:v>-2.5210084033613299E-3</c:v>
                </c:pt>
                <c:pt idx="54578">
                  <c:v>-2.5210084033613299E-3</c:v>
                </c:pt>
                <c:pt idx="54579">
                  <c:v>-2.5210084033613299E-3</c:v>
                </c:pt>
                <c:pt idx="54580">
                  <c:v>-2.5210084033613299E-3</c:v>
                </c:pt>
                <c:pt idx="54581">
                  <c:v>-2.5210084033613299E-3</c:v>
                </c:pt>
                <c:pt idx="54582">
                  <c:v>-2.5210084033613299E-3</c:v>
                </c:pt>
                <c:pt idx="54583">
                  <c:v>-2.5210084033613299E-3</c:v>
                </c:pt>
                <c:pt idx="54584">
                  <c:v>-2.5210084033613299E-3</c:v>
                </c:pt>
                <c:pt idx="54585">
                  <c:v>-2.5210084033613299E-3</c:v>
                </c:pt>
                <c:pt idx="54586">
                  <c:v>-2.5210084033613299E-3</c:v>
                </c:pt>
                <c:pt idx="54587">
                  <c:v>-2.5210084033613299E-3</c:v>
                </c:pt>
                <c:pt idx="54588">
                  <c:v>-2.5210084033613299E-3</c:v>
                </c:pt>
                <c:pt idx="54589">
                  <c:v>-2.5210084033613299E-3</c:v>
                </c:pt>
                <c:pt idx="54590">
                  <c:v>-2.5210084033613299E-3</c:v>
                </c:pt>
                <c:pt idx="54591">
                  <c:v>-2.5210084033613299E-3</c:v>
                </c:pt>
                <c:pt idx="54592">
                  <c:v>-2.5210084033613299E-3</c:v>
                </c:pt>
                <c:pt idx="54593">
                  <c:v>-2.5210084033613299E-3</c:v>
                </c:pt>
                <c:pt idx="54594">
                  <c:v>-2.5210084033613299E-3</c:v>
                </c:pt>
                <c:pt idx="54595">
                  <c:v>-2.5210084033613299E-3</c:v>
                </c:pt>
                <c:pt idx="54596">
                  <c:v>-2.5210084033613299E-3</c:v>
                </c:pt>
                <c:pt idx="54597">
                  <c:v>-2.5210084033613299E-3</c:v>
                </c:pt>
                <c:pt idx="54598">
                  <c:v>-2.5210084033613299E-3</c:v>
                </c:pt>
                <c:pt idx="54599">
                  <c:v>-2.5210084033613299E-3</c:v>
                </c:pt>
                <c:pt idx="54600">
                  <c:v>-2.5210084033613299E-3</c:v>
                </c:pt>
                <c:pt idx="54601">
                  <c:v>-2.5210084033613299E-3</c:v>
                </c:pt>
                <c:pt idx="54602">
                  <c:v>-2.5210084033613299E-3</c:v>
                </c:pt>
                <c:pt idx="54603">
                  <c:v>-2.5210084033613299E-3</c:v>
                </c:pt>
                <c:pt idx="54604">
                  <c:v>-2.5210084033613299E-3</c:v>
                </c:pt>
                <c:pt idx="54605">
                  <c:v>-2.5210084033613299E-3</c:v>
                </c:pt>
                <c:pt idx="54606">
                  <c:v>-2.5210084033613299E-3</c:v>
                </c:pt>
                <c:pt idx="54607">
                  <c:v>-2.5210084033613299E-3</c:v>
                </c:pt>
                <c:pt idx="54608">
                  <c:v>-2.5210084033613299E-3</c:v>
                </c:pt>
                <c:pt idx="54609">
                  <c:v>-2.5210084033613299E-3</c:v>
                </c:pt>
                <c:pt idx="54610">
                  <c:v>-2.5210084033613299E-3</c:v>
                </c:pt>
                <c:pt idx="54611">
                  <c:v>-2.5210084033613299E-3</c:v>
                </c:pt>
                <c:pt idx="54612">
                  <c:v>-2.5210084033613299E-3</c:v>
                </c:pt>
                <c:pt idx="54613">
                  <c:v>-2.5210084033613299E-3</c:v>
                </c:pt>
                <c:pt idx="54614">
                  <c:v>-2.5210084033613299E-3</c:v>
                </c:pt>
                <c:pt idx="54615">
                  <c:v>-2.5210084033613299E-3</c:v>
                </c:pt>
                <c:pt idx="54616">
                  <c:v>-2.5210084033613299E-3</c:v>
                </c:pt>
                <c:pt idx="54617">
                  <c:v>-2.5210084033613299E-3</c:v>
                </c:pt>
                <c:pt idx="54618">
                  <c:v>-2.5210084033613299E-3</c:v>
                </c:pt>
                <c:pt idx="54619">
                  <c:v>-2.5210084033613299E-3</c:v>
                </c:pt>
                <c:pt idx="54620">
                  <c:v>-2.5210084033613299E-3</c:v>
                </c:pt>
                <c:pt idx="54621">
                  <c:v>-2.5210084033613299E-3</c:v>
                </c:pt>
                <c:pt idx="54622">
                  <c:v>-2.5210084033613299E-3</c:v>
                </c:pt>
                <c:pt idx="54623">
                  <c:v>-2.5210084033613299E-3</c:v>
                </c:pt>
                <c:pt idx="54624">
                  <c:v>-2.5210084033613299E-3</c:v>
                </c:pt>
                <c:pt idx="54625">
                  <c:v>-2.5210084033613299E-3</c:v>
                </c:pt>
                <c:pt idx="54626">
                  <c:v>-2.5210084033613299E-3</c:v>
                </c:pt>
                <c:pt idx="54627">
                  <c:v>-2.5210084033613299E-3</c:v>
                </c:pt>
                <c:pt idx="54628">
                  <c:v>-2.5210084033613299E-3</c:v>
                </c:pt>
                <c:pt idx="54629">
                  <c:v>-2.5210084033613299E-3</c:v>
                </c:pt>
                <c:pt idx="54630">
                  <c:v>-2.5210084033613299E-3</c:v>
                </c:pt>
                <c:pt idx="54631">
                  <c:v>-2.5210084033613299E-3</c:v>
                </c:pt>
                <c:pt idx="54632">
                  <c:v>-2.5210084033613299E-3</c:v>
                </c:pt>
                <c:pt idx="54633">
                  <c:v>-2.5210084033613299E-3</c:v>
                </c:pt>
                <c:pt idx="54634">
                  <c:v>-2.5210084033613299E-3</c:v>
                </c:pt>
                <c:pt idx="54635">
                  <c:v>-2.5210084033613299E-3</c:v>
                </c:pt>
                <c:pt idx="54636">
                  <c:v>-2.5210084033613299E-3</c:v>
                </c:pt>
                <c:pt idx="54637">
                  <c:v>-2.5210084033613299E-3</c:v>
                </c:pt>
                <c:pt idx="54638">
                  <c:v>-2.5210084033613299E-3</c:v>
                </c:pt>
                <c:pt idx="54639">
                  <c:v>-2.5210084033613299E-3</c:v>
                </c:pt>
                <c:pt idx="54640">
                  <c:v>-2.5210084033613299E-3</c:v>
                </c:pt>
                <c:pt idx="54641">
                  <c:v>-2.5210084033613299E-3</c:v>
                </c:pt>
                <c:pt idx="54642">
                  <c:v>-2.5210084033613299E-3</c:v>
                </c:pt>
                <c:pt idx="54643">
                  <c:v>-2.5210084033613299E-3</c:v>
                </c:pt>
                <c:pt idx="54644">
                  <c:v>-2.5210084033613299E-3</c:v>
                </c:pt>
                <c:pt idx="54645">
                  <c:v>-2.5210084033613299E-3</c:v>
                </c:pt>
                <c:pt idx="54646">
                  <c:v>-2.5210084033613299E-3</c:v>
                </c:pt>
                <c:pt idx="54647">
                  <c:v>-2.5210084033613299E-3</c:v>
                </c:pt>
                <c:pt idx="54648">
                  <c:v>-2.5210084033613299E-3</c:v>
                </c:pt>
                <c:pt idx="54649">
                  <c:v>-2.5210084033613299E-3</c:v>
                </c:pt>
                <c:pt idx="54650">
                  <c:v>-2.5210084033613299E-3</c:v>
                </c:pt>
                <c:pt idx="54651">
                  <c:v>-2.5210084033613299E-3</c:v>
                </c:pt>
                <c:pt idx="54652">
                  <c:v>-2.5210084033613299E-3</c:v>
                </c:pt>
                <c:pt idx="54653">
                  <c:v>-2.5210084033613299E-3</c:v>
                </c:pt>
                <c:pt idx="54654">
                  <c:v>-2.5210084033613299E-3</c:v>
                </c:pt>
                <c:pt idx="54655">
                  <c:v>-2.5210084033613299E-3</c:v>
                </c:pt>
                <c:pt idx="54656">
                  <c:v>-2.5210084033613299E-3</c:v>
                </c:pt>
                <c:pt idx="54657">
                  <c:v>-2.5210084033613299E-3</c:v>
                </c:pt>
                <c:pt idx="54658">
                  <c:v>-2.5210084033613299E-3</c:v>
                </c:pt>
                <c:pt idx="54659">
                  <c:v>-2.5210084033613299E-3</c:v>
                </c:pt>
                <c:pt idx="54660">
                  <c:v>-2.5210084033613299E-3</c:v>
                </c:pt>
                <c:pt idx="54661">
                  <c:v>-2.5210084033613299E-3</c:v>
                </c:pt>
                <c:pt idx="54662">
                  <c:v>-2.5210084033613299E-3</c:v>
                </c:pt>
                <c:pt idx="54663">
                  <c:v>-2.5210084033613299E-3</c:v>
                </c:pt>
                <c:pt idx="54664">
                  <c:v>-2.5210084033613299E-3</c:v>
                </c:pt>
                <c:pt idx="54665">
                  <c:v>-2.5210084033613299E-3</c:v>
                </c:pt>
                <c:pt idx="54666">
                  <c:v>-2.5210084033613299E-3</c:v>
                </c:pt>
                <c:pt idx="54667">
                  <c:v>-2.5210084033613299E-3</c:v>
                </c:pt>
                <c:pt idx="54668">
                  <c:v>-2.5210084033613299E-3</c:v>
                </c:pt>
                <c:pt idx="54669">
                  <c:v>-2.5210084033613299E-3</c:v>
                </c:pt>
                <c:pt idx="54670">
                  <c:v>-2.5210084033613299E-3</c:v>
                </c:pt>
                <c:pt idx="54671">
                  <c:v>-2.5210084033613299E-3</c:v>
                </c:pt>
                <c:pt idx="54672">
                  <c:v>-2.5210084033613299E-3</c:v>
                </c:pt>
                <c:pt idx="54673">
                  <c:v>-2.5210084033613299E-3</c:v>
                </c:pt>
                <c:pt idx="54674">
                  <c:v>-2.5210084033613299E-3</c:v>
                </c:pt>
                <c:pt idx="54675">
                  <c:v>-2.5210084033613299E-3</c:v>
                </c:pt>
                <c:pt idx="54676">
                  <c:v>-2.5210084033613299E-3</c:v>
                </c:pt>
                <c:pt idx="54677">
                  <c:v>-2.5210084033613299E-3</c:v>
                </c:pt>
                <c:pt idx="54678">
                  <c:v>-2.5210084033613299E-3</c:v>
                </c:pt>
                <c:pt idx="54679">
                  <c:v>-2.5210084033613299E-3</c:v>
                </c:pt>
                <c:pt idx="54680">
                  <c:v>-2.5210084033613299E-3</c:v>
                </c:pt>
                <c:pt idx="54681">
                  <c:v>-2.5210084033613299E-3</c:v>
                </c:pt>
                <c:pt idx="54682">
                  <c:v>-2.5210084033613299E-3</c:v>
                </c:pt>
                <c:pt idx="54683">
                  <c:v>-2.5210084033613299E-3</c:v>
                </c:pt>
                <c:pt idx="54684">
                  <c:v>-2.5210084033613299E-3</c:v>
                </c:pt>
                <c:pt idx="54685">
                  <c:v>-2.5210084033613299E-3</c:v>
                </c:pt>
                <c:pt idx="54686">
                  <c:v>-2.5210084033613299E-3</c:v>
                </c:pt>
                <c:pt idx="54687">
                  <c:v>-2.5210084033613299E-3</c:v>
                </c:pt>
                <c:pt idx="54688">
                  <c:v>-2.5210084033613299E-3</c:v>
                </c:pt>
                <c:pt idx="54689">
                  <c:v>-2.5210084033613299E-3</c:v>
                </c:pt>
                <c:pt idx="54690">
                  <c:v>-2.5210084033613299E-3</c:v>
                </c:pt>
                <c:pt idx="54691">
                  <c:v>-2.5210084033613299E-3</c:v>
                </c:pt>
                <c:pt idx="54692">
                  <c:v>-2.5210084033613299E-3</c:v>
                </c:pt>
                <c:pt idx="54693">
                  <c:v>-2.5210084033613299E-3</c:v>
                </c:pt>
                <c:pt idx="54694">
                  <c:v>-2.5210084033613299E-3</c:v>
                </c:pt>
                <c:pt idx="54695">
                  <c:v>-2.5210084033613299E-3</c:v>
                </c:pt>
                <c:pt idx="54696">
                  <c:v>-2.5210084033613299E-3</c:v>
                </c:pt>
                <c:pt idx="54697">
                  <c:v>-2.5210084033613299E-3</c:v>
                </c:pt>
                <c:pt idx="54698">
                  <c:v>-2.5210084033613299E-3</c:v>
                </c:pt>
                <c:pt idx="54699">
                  <c:v>-2.5210084033613299E-3</c:v>
                </c:pt>
                <c:pt idx="54700">
                  <c:v>-2.5210084033613299E-3</c:v>
                </c:pt>
                <c:pt idx="54701">
                  <c:v>-2.5210084033613299E-3</c:v>
                </c:pt>
                <c:pt idx="54702">
                  <c:v>-2.5210084033613299E-3</c:v>
                </c:pt>
                <c:pt idx="54703">
                  <c:v>-2.5210084033613299E-3</c:v>
                </c:pt>
                <c:pt idx="54704">
                  <c:v>-2.5210084033613299E-3</c:v>
                </c:pt>
                <c:pt idx="54705">
                  <c:v>-2.5210084033613299E-3</c:v>
                </c:pt>
                <c:pt idx="54706">
                  <c:v>-2.5210084033613299E-3</c:v>
                </c:pt>
                <c:pt idx="54707">
                  <c:v>-2.5210084033613299E-3</c:v>
                </c:pt>
                <c:pt idx="54708">
                  <c:v>-2.5210084033613299E-3</c:v>
                </c:pt>
                <c:pt idx="54709">
                  <c:v>-2.5210084033613299E-3</c:v>
                </c:pt>
                <c:pt idx="54710">
                  <c:v>-2.5210084033613299E-3</c:v>
                </c:pt>
                <c:pt idx="54711">
                  <c:v>-2.5210084033613299E-3</c:v>
                </c:pt>
                <c:pt idx="54712">
                  <c:v>-2.5210084033613299E-3</c:v>
                </c:pt>
                <c:pt idx="54713">
                  <c:v>-2.5210084033613299E-3</c:v>
                </c:pt>
                <c:pt idx="54714">
                  <c:v>-2.5210084033613299E-3</c:v>
                </c:pt>
                <c:pt idx="54715">
                  <c:v>-2.5210084033613299E-3</c:v>
                </c:pt>
                <c:pt idx="54716">
                  <c:v>-2.5210084033613299E-3</c:v>
                </c:pt>
                <c:pt idx="54717">
                  <c:v>-2.5210084033613299E-3</c:v>
                </c:pt>
                <c:pt idx="54718">
                  <c:v>-2.5210084033613299E-3</c:v>
                </c:pt>
                <c:pt idx="54719">
                  <c:v>-2.5210084033613299E-3</c:v>
                </c:pt>
                <c:pt idx="54720">
                  <c:v>-2.5210084033613299E-3</c:v>
                </c:pt>
                <c:pt idx="54721">
                  <c:v>-2.5210084033613299E-3</c:v>
                </c:pt>
                <c:pt idx="54722">
                  <c:v>-2.5210084033613299E-3</c:v>
                </c:pt>
                <c:pt idx="54723">
                  <c:v>-2.5210084033613299E-3</c:v>
                </c:pt>
                <c:pt idx="54724">
                  <c:v>-2.5210084033613299E-3</c:v>
                </c:pt>
                <c:pt idx="54725">
                  <c:v>-2.5210084033613299E-3</c:v>
                </c:pt>
                <c:pt idx="54726">
                  <c:v>-2.5210084033613299E-3</c:v>
                </c:pt>
                <c:pt idx="54727">
                  <c:v>-2.5210084033613299E-3</c:v>
                </c:pt>
                <c:pt idx="54728">
                  <c:v>-2.5210084033613299E-3</c:v>
                </c:pt>
                <c:pt idx="54729">
                  <c:v>-2.5210084033613299E-3</c:v>
                </c:pt>
                <c:pt idx="54730">
                  <c:v>-2.5210084033613299E-3</c:v>
                </c:pt>
                <c:pt idx="54731">
                  <c:v>-2.5210084033613299E-3</c:v>
                </c:pt>
                <c:pt idx="54732">
                  <c:v>-2.5210084033613299E-3</c:v>
                </c:pt>
                <c:pt idx="54733">
                  <c:v>-2.5210084033613299E-3</c:v>
                </c:pt>
                <c:pt idx="54734">
                  <c:v>-2.5210084033613299E-3</c:v>
                </c:pt>
                <c:pt idx="54735">
                  <c:v>-2.5210084033613299E-3</c:v>
                </c:pt>
                <c:pt idx="54736">
                  <c:v>-2.5210084033613299E-3</c:v>
                </c:pt>
                <c:pt idx="54737">
                  <c:v>-2.5210084033613299E-3</c:v>
                </c:pt>
                <c:pt idx="54738">
                  <c:v>-2.5210084033613299E-3</c:v>
                </c:pt>
                <c:pt idx="54739">
                  <c:v>-2.5210084033613299E-3</c:v>
                </c:pt>
                <c:pt idx="54740">
                  <c:v>-2.5210084033613299E-3</c:v>
                </c:pt>
                <c:pt idx="54741">
                  <c:v>-2.5210084033613299E-3</c:v>
                </c:pt>
                <c:pt idx="54742">
                  <c:v>-2.5210084033613299E-3</c:v>
                </c:pt>
                <c:pt idx="54743">
                  <c:v>-2.5210084033613299E-3</c:v>
                </c:pt>
                <c:pt idx="54744">
                  <c:v>-2.5210084033613299E-3</c:v>
                </c:pt>
                <c:pt idx="54745">
                  <c:v>-2.5210084033613299E-3</c:v>
                </c:pt>
                <c:pt idx="54746">
                  <c:v>-2.5210084033613299E-3</c:v>
                </c:pt>
                <c:pt idx="54747">
                  <c:v>-2.5210084033613299E-3</c:v>
                </c:pt>
                <c:pt idx="54748">
                  <c:v>-2.5210084033613299E-3</c:v>
                </c:pt>
                <c:pt idx="54749">
                  <c:v>-2.5210084033613299E-3</c:v>
                </c:pt>
                <c:pt idx="54750">
                  <c:v>-2.5210084033613299E-3</c:v>
                </c:pt>
                <c:pt idx="54751">
                  <c:v>-2.5210084033613299E-3</c:v>
                </c:pt>
                <c:pt idx="54752">
                  <c:v>-2.5210084033613299E-3</c:v>
                </c:pt>
                <c:pt idx="54753">
                  <c:v>-2.5210084033613299E-3</c:v>
                </c:pt>
                <c:pt idx="54754">
                  <c:v>-2.5210084033613299E-3</c:v>
                </c:pt>
                <c:pt idx="54755">
                  <c:v>-2.5210084033613299E-3</c:v>
                </c:pt>
                <c:pt idx="54756">
                  <c:v>-2.5210084033613299E-3</c:v>
                </c:pt>
                <c:pt idx="54757">
                  <c:v>-2.5210084033613299E-3</c:v>
                </c:pt>
                <c:pt idx="54758">
                  <c:v>-2.5210084033613299E-3</c:v>
                </c:pt>
                <c:pt idx="54759">
                  <c:v>-2.5210084033613299E-3</c:v>
                </c:pt>
                <c:pt idx="54760">
                  <c:v>-2.5210084033613299E-3</c:v>
                </c:pt>
                <c:pt idx="54761">
                  <c:v>-2.5210084033613299E-3</c:v>
                </c:pt>
                <c:pt idx="54762">
                  <c:v>-2.5210084033613299E-3</c:v>
                </c:pt>
                <c:pt idx="54763">
                  <c:v>-2.5210084033613299E-3</c:v>
                </c:pt>
                <c:pt idx="54764">
                  <c:v>-1.6806722689075499E-3</c:v>
                </c:pt>
                <c:pt idx="54765">
                  <c:v>-1.6806722689075499E-3</c:v>
                </c:pt>
                <c:pt idx="54766">
                  <c:v>-1.6806722689075499E-3</c:v>
                </c:pt>
                <c:pt idx="54767">
                  <c:v>-1.6806722689075499E-3</c:v>
                </c:pt>
                <c:pt idx="54768">
                  <c:v>-1.6806722689075499E-3</c:v>
                </c:pt>
                <c:pt idx="54769">
                  <c:v>-1.6806722689075499E-3</c:v>
                </c:pt>
                <c:pt idx="54770">
                  <c:v>-1.6806722689075499E-3</c:v>
                </c:pt>
                <c:pt idx="54771">
                  <c:v>-1.6806722689075499E-3</c:v>
                </c:pt>
                <c:pt idx="54772">
                  <c:v>-1.6806722689075499E-3</c:v>
                </c:pt>
                <c:pt idx="54773">
                  <c:v>-1.6806722689075499E-3</c:v>
                </c:pt>
                <c:pt idx="54774">
                  <c:v>-1.6806722689075499E-3</c:v>
                </c:pt>
                <c:pt idx="54775">
                  <c:v>-1.6806722689075499E-3</c:v>
                </c:pt>
                <c:pt idx="54776">
                  <c:v>-1.6806722689075499E-3</c:v>
                </c:pt>
                <c:pt idx="54777">
                  <c:v>-1.6806722689075499E-3</c:v>
                </c:pt>
                <c:pt idx="54778">
                  <c:v>-1.6806722689075499E-3</c:v>
                </c:pt>
                <c:pt idx="54779">
                  <c:v>-1.6806722689075499E-3</c:v>
                </c:pt>
                <c:pt idx="54780">
                  <c:v>-1.6806722689075499E-3</c:v>
                </c:pt>
                <c:pt idx="54781">
                  <c:v>-1.6806722689075499E-3</c:v>
                </c:pt>
                <c:pt idx="54782">
                  <c:v>-1.6806722689075499E-3</c:v>
                </c:pt>
                <c:pt idx="54783">
                  <c:v>-1.6806722689075499E-3</c:v>
                </c:pt>
                <c:pt idx="54784">
                  <c:v>-1.6806722689075499E-3</c:v>
                </c:pt>
                <c:pt idx="54785">
                  <c:v>-1.6806722689075499E-3</c:v>
                </c:pt>
                <c:pt idx="54786">
                  <c:v>-1.6806722689075499E-3</c:v>
                </c:pt>
                <c:pt idx="54787">
                  <c:v>-1.6806722689075499E-3</c:v>
                </c:pt>
                <c:pt idx="54788">
                  <c:v>-1.6806722689075499E-3</c:v>
                </c:pt>
                <c:pt idx="54789">
                  <c:v>-1.6806722689075499E-3</c:v>
                </c:pt>
                <c:pt idx="54790">
                  <c:v>-1.6806722689075499E-3</c:v>
                </c:pt>
                <c:pt idx="54791">
                  <c:v>-1.6806722689075499E-3</c:v>
                </c:pt>
                <c:pt idx="54792">
                  <c:v>-1.6806722689075499E-3</c:v>
                </c:pt>
                <c:pt idx="54793">
                  <c:v>-1.6806722689075499E-3</c:v>
                </c:pt>
                <c:pt idx="54794">
                  <c:v>-1.6806722689075499E-3</c:v>
                </c:pt>
                <c:pt idx="54795">
                  <c:v>-1.6806722689075499E-3</c:v>
                </c:pt>
                <c:pt idx="54796">
                  <c:v>-1.6806722689075499E-3</c:v>
                </c:pt>
                <c:pt idx="54797">
                  <c:v>-1.6806722689075499E-3</c:v>
                </c:pt>
                <c:pt idx="54798">
                  <c:v>-1.6806722689075499E-3</c:v>
                </c:pt>
                <c:pt idx="54799">
                  <c:v>-1.6806722689075499E-3</c:v>
                </c:pt>
                <c:pt idx="54800">
                  <c:v>-1.6806722689075499E-3</c:v>
                </c:pt>
                <c:pt idx="54801">
                  <c:v>-1.6806722689075499E-3</c:v>
                </c:pt>
                <c:pt idx="54802">
                  <c:v>-1.6806722689075499E-3</c:v>
                </c:pt>
                <c:pt idx="54803">
                  <c:v>-1.6806722689075499E-3</c:v>
                </c:pt>
                <c:pt idx="54804">
                  <c:v>-1.6806722689075499E-3</c:v>
                </c:pt>
                <c:pt idx="54805">
                  <c:v>-1.6806722689075499E-3</c:v>
                </c:pt>
                <c:pt idx="54806">
                  <c:v>-1.6806722689075499E-3</c:v>
                </c:pt>
                <c:pt idx="54807">
                  <c:v>-1.6806722689075499E-3</c:v>
                </c:pt>
                <c:pt idx="54808">
                  <c:v>-1.6806722689075499E-3</c:v>
                </c:pt>
                <c:pt idx="54809">
                  <c:v>-1.6806722689075499E-3</c:v>
                </c:pt>
                <c:pt idx="54810">
                  <c:v>-1.6806722689075499E-3</c:v>
                </c:pt>
                <c:pt idx="54811">
                  <c:v>-1.6806722689075499E-3</c:v>
                </c:pt>
                <c:pt idx="54812">
                  <c:v>-1.6806722689075499E-3</c:v>
                </c:pt>
                <c:pt idx="54813">
                  <c:v>-1.6806722689075499E-3</c:v>
                </c:pt>
                <c:pt idx="54814">
                  <c:v>-1.6806722689075499E-3</c:v>
                </c:pt>
                <c:pt idx="54815">
                  <c:v>-1.6806722689075499E-3</c:v>
                </c:pt>
                <c:pt idx="54816">
                  <c:v>-1.6806722689075499E-3</c:v>
                </c:pt>
                <c:pt idx="54817">
                  <c:v>-1.6806722689075499E-3</c:v>
                </c:pt>
                <c:pt idx="54818">
                  <c:v>-1.6806722689075499E-3</c:v>
                </c:pt>
                <c:pt idx="54819">
                  <c:v>-1.6806722689075499E-3</c:v>
                </c:pt>
                <c:pt idx="54820">
                  <c:v>-1.6806722689075499E-3</c:v>
                </c:pt>
                <c:pt idx="54821">
                  <c:v>-1.6806722689075499E-3</c:v>
                </c:pt>
                <c:pt idx="54822">
                  <c:v>-1.6806722689075499E-3</c:v>
                </c:pt>
                <c:pt idx="54823">
                  <c:v>-1.6806722689075499E-3</c:v>
                </c:pt>
                <c:pt idx="54824">
                  <c:v>-1.6806722689075499E-3</c:v>
                </c:pt>
                <c:pt idx="54825">
                  <c:v>-1.6806722689075499E-3</c:v>
                </c:pt>
                <c:pt idx="54826">
                  <c:v>-1.6806722689075499E-3</c:v>
                </c:pt>
                <c:pt idx="54827">
                  <c:v>-1.6806722689075499E-3</c:v>
                </c:pt>
                <c:pt idx="54828">
                  <c:v>-1.6806722689075499E-3</c:v>
                </c:pt>
                <c:pt idx="54829">
                  <c:v>-1.6806722689075499E-3</c:v>
                </c:pt>
                <c:pt idx="54830">
                  <c:v>-1.6806722689075499E-3</c:v>
                </c:pt>
                <c:pt idx="54831">
                  <c:v>-1.6806722689075499E-3</c:v>
                </c:pt>
                <c:pt idx="54832">
                  <c:v>-1.6806722689075499E-3</c:v>
                </c:pt>
                <c:pt idx="54833">
                  <c:v>-1.6806722689075499E-3</c:v>
                </c:pt>
                <c:pt idx="54834">
                  <c:v>-1.6806722689075499E-3</c:v>
                </c:pt>
                <c:pt idx="54835">
                  <c:v>-1.6806722689075499E-3</c:v>
                </c:pt>
                <c:pt idx="54836">
                  <c:v>-1.6806722689075499E-3</c:v>
                </c:pt>
                <c:pt idx="54837">
                  <c:v>-1.6806722689075499E-3</c:v>
                </c:pt>
                <c:pt idx="54838">
                  <c:v>-1.6806722689075499E-3</c:v>
                </c:pt>
                <c:pt idx="54839">
                  <c:v>-1.6806722689075499E-3</c:v>
                </c:pt>
                <c:pt idx="54840">
                  <c:v>-1.6806722689075499E-3</c:v>
                </c:pt>
                <c:pt idx="54841">
                  <c:v>-1.6806722689075499E-3</c:v>
                </c:pt>
                <c:pt idx="54842">
                  <c:v>-1.6806722689075499E-3</c:v>
                </c:pt>
                <c:pt idx="54843">
                  <c:v>-1.6806722689075499E-3</c:v>
                </c:pt>
                <c:pt idx="54844">
                  <c:v>-1.6806722689075499E-3</c:v>
                </c:pt>
                <c:pt idx="54845">
                  <c:v>-1.6806722689075499E-3</c:v>
                </c:pt>
                <c:pt idx="54846">
                  <c:v>-1.6806722689075499E-3</c:v>
                </c:pt>
                <c:pt idx="54847">
                  <c:v>-1.6806722689075499E-3</c:v>
                </c:pt>
                <c:pt idx="54848">
                  <c:v>-1.6806722689075499E-3</c:v>
                </c:pt>
                <c:pt idx="54849">
                  <c:v>-1.6806722689075499E-3</c:v>
                </c:pt>
                <c:pt idx="54850">
                  <c:v>-1.6806722689075499E-3</c:v>
                </c:pt>
                <c:pt idx="54851">
                  <c:v>-1.6806722689075499E-3</c:v>
                </c:pt>
                <c:pt idx="54852">
                  <c:v>-1.6806722689075499E-3</c:v>
                </c:pt>
                <c:pt idx="54853">
                  <c:v>-1.6806722689075499E-3</c:v>
                </c:pt>
                <c:pt idx="54854">
                  <c:v>-1.6806722689075499E-3</c:v>
                </c:pt>
                <c:pt idx="54855">
                  <c:v>-1.6806722689075499E-3</c:v>
                </c:pt>
                <c:pt idx="54856">
                  <c:v>-1.6806722689075499E-3</c:v>
                </c:pt>
                <c:pt idx="54857">
                  <c:v>-1.6806722689075499E-3</c:v>
                </c:pt>
                <c:pt idx="54858">
                  <c:v>-1.6806722689075499E-3</c:v>
                </c:pt>
                <c:pt idx="54859">
                  <c:v>-1.6806722689075499E-3</c:v>
                </c:pt>
                <c:pt idx="54860">
                  <c:v>-1.6806722689075499E-3</c:v>
                </c:pt>
                <c:pt idx="54861">
                  <c:v>-1.6806722689075499E-3</c:v>
                </c:pt>
                <c:pt idx="54862">
                  <c:v>-1.6806722689075499E-3</c:v>
                </c:pt>
                <c:pt idx="54863">
                  <c:v>-1.6806722689075499E-3</c:v>
                </c:pt>
                <c:pt idx="54864">
                  <c:v>-1.6806722689075499E-3</c:v>
                </c:pt>
                <c:pt idx="54865">
                  <c:v>-1.6806722689075499E-3</c:v>
                </c:pt>
                <c:pt idx="54866">
                  <c:v>-1.6806722689075499E-3</c:v>
                </c:pt>
                <c:pt idx="54867">
                  <c:v>-1.6806722689075499E-3</c:v>
                </c:pt>
                <c:pt idx="54868">
                  <c:v>-1.6806722689075499E-3</c:v>
                </c:pt>
                <c:pt idx="54869">
                  <c:v>-1.6806722689075499E-3</c:v>
                </c:pt>
                <c:pt idx="54870">
                  <c:v>-1.6806722689075499E-3</c:v>
                </c:pt>
                <c:pt idx="54871">
                  <c:v>-1.6806722689075499E-3</c:v>
                </c:pt>
                <c:pt idx="54872">
                  <c:v>-1.6806722689075499E-3</c:v>
                </c:pt>
                <c:pt idx="54873">
                  <c:v>-1.6806722689075499E-3</c:v>
                </c:pt>
                <c:pt idx="54874">
                  <c:v>-1.6806722689075499E-3</c:v>
                </c:pt>
                <c:pt idx="54875">
                  <c:v>-1.6806722689075499E-3</c:v>
                </c:pt>
                <c:pt idx="54876">
                  <c:v>-1.6806722689075499E-3</c:v>
                </c:pt>
                <c:pt idx="54877">
                  <c:v>-1.6806722689075499E-3</c:v>
                </c:pt>
                <c:pt idx="54878">
                  <c:v>-1.6806722689075499E-3</c:v>
                </c:pt>
                <c:pt idx="54879">
                  <c:v>-1.6806722689075499E-3</c:v>
                </c:pt>
                <c:pt idx="54880">
                  <c:v>-1.6806722689075499E-3</c:v>
                </c:pt>
                <c:pt idx="54881">
                  <c:v>-1.6806722689075499E-3</c:v>
                </c:pt>
                <c:pt idx="54882">
                  <c:v>-1.6806722689075499E-3</c:v>
                </c:pt>
                <c:pt idx="54883">
                  <c:v>-1.6806722689075499E-3</c:v>
                </c:pt>
                <c:pt idx="54884">
                  <c:v>-1.6806722689075499E-3</c:v>
                </c:pt>
                <c:pt idx="54885">
                  <c:v>-1.6806722689075499E-3</c:v>
                </c:pt>
                <c:pt idx="54886">
                  <c:v>-1.6806722689075499E-3</c:v>
                </c:pt>
                <c:pt idx="54887">
                  <c:v>-1.6806722689075499E-3</c:v>
                </c:pt>
                <c:pt idx="54888">
                  <c:v>-1.6806722689075499E-3</c:v>
                </c:pt>
                <c:pt idx="54889">
                  <c:v>-1.6806722689075499E-3</c:v>
                </c:pt>
                <c:pt idx="54890">
                  <c:v>-1.6806722689075499E-3</c:v>
                </c:pt>
                <c:pt idx="54891">
                  <c:v>-1.6806722689075499E-3</c:v>
                </c:pt>
                <c:pt idx="54892">
                  <c:v>-1.6806722689075499E-3</c:v>
                </c:pt>
                <c:pt idx="54893">
                  <c:v>-1.6806722689075499E-3</c:v>
                </c:pt>
                <c:pt idx="54894">
                  <c:v>-1.6806722689075499E-3</c:v>
                </c:pt>
                <c:pt idx="54895">
                  <c:v>-1.6806722689075499E-3</c:v>
                </c:pt>
                <c:pt idx="54896">
                  <c:v>-1.6806722689075499E-3</c:v>
                </c:pt>
                <c:pt idx="54897">
                  <c:v>-1.6806722689075499E-3</c:v>
                </c:pt>
                <c:pt idx="54898">
                  <c:v>-1.6806722689075499E-3</c:v>
                </c:pt>
                <c:pt idx="54899">
                  <c:v>-1.6806722689075499E-3</c:v>
                </c:pt>
                <c:pt idx="54900">
                  <c:v>-1.6806722689075499E-3</c:v>
                </c:pt>
                <c:pt idx="54901">
                  <c:v>-1.6806722689075499E-3</c:v>
                </c:pt>
                <c:pt idx="54902">
                  <c:v>-1.6806722689075499E-3</c:v>
                </c:pt>
                <c:pt idx="54903">
                  <c:v>-1.6806722689075499E-3</c:v>
                </c:pt>
                <c:pt idx="54904">
                  <c:v>-1.6806722689075499E-3</c:v>
                </c:pt>
                <c:pt idx="54905">
                  <c:v>-1.6806722689075499E-3</c:v>
                </c:pt>
                <c:pt idx="54906">
                  <c:v>-1.6806722689075499E-3</c:v>
                </c:pt>
                <c:pt idx="54907">
                  <c:v>-1.6806722689075499E-3</c:v>
                </c:pt>
                <c:pt idx="54908">
                  <c:v>-1.6806722689075499E-3</c:v>
                </c:pt>
                <c:pt idx="54909">
                  <c:v>-1.6806722689075499E-3</c:v>
                </c:pt>
                <c:pt idx="54910">
                  <c:v>-1.6806722689075499E-3</c:v>
                </c:pt>
                <c:pt idx="54911">
                  <c:v>-1.6806722689075499E-3</c:v>
                </c:pt>
                <c:pt idx="54912">
                  <c:v>-1.6806722689075499E-3</c:v>
                </c:pt>
                <c:pt idx="54913">
                  <c:v>-1.6806722689075499E-3</c:v>
                </c:pt>
                <c:pt idx="54914">
                  <c:v>-1.6806722689075499E-3</c:v>
                </c:pt>
                <c:pt idx="54915">
                  <c:v>-1.6806722689075499E-3</c:v>
                </c:pt>
                <c:pt idx="54916">
                  <c:v>-1.6806722689075499E-3</c:v>
                </c:pt>
                <c:pt idx="54917">
                  <c:v>-1.6806722689075499E-3</c:v>
                </c:pt>
                <c:pt idx="54918">
                  <c:v>-1.6806722689075499E-3</c:v>
                </c:pt>
                <c:pt idx="54919">
                  <c:v>-1.6806722689075499E-3</c:v>
                </c:pt>
                <c:pt idx="54920">
                  <c:v>-1.6806722689075499E-3</c:v>
                </c:pt>
                <c:pt idx="54921">
                  <c:v>-1.6806722689075499E-3</c:v>
                </c:pt>
                <c:pt idx="54922">
                  <c:v>-1.6806722689075499E-3</c:v>
                </c:pt>
                <c:pt idx="54923">
                  <c:v>-1.6806722689075499E-3</c:v>
                </c:pt>
                <c:pt idx="54924">
                  <c:v>-1.6806722689075499E-3</c:v>
                </c:pt>
                <c:pt idx="54925">
                  <c:v>-1.6806722689075499E-3</c:v>
                </c:pt>
                <c:pt idx="54926">
                  <c:v>-1.6806722689075499E-3</c:v>
                </c:pt>
                <c:pt idx="54927">
                  <c:v>-1.6806722689075499E-3</c:v>
                </c:pt>
                <c:pt idx="54928">
                  <c:v>-8.4033613445377799E-4</c:v>
                </c:pt>
                <c:pt idx="54929">
                  <c:v>-8.4033613445377799E-4</c:v>
                </c:pt>
                <c:pt idx="54930">
                  <c:v>-8.4033613445377799E-4</c:v>
                </c:pt>
                <c:pt idx="54931">
                  <c:v>-8.4033613445377799E-4</c:v>
                </c:pt>
                <c:pt idx="54932">
                  <c:v>-8.4033613445377799E-4</c:v>
                </c:pt>
                <c:pt idx="54933">
                  <c:v>-8.4033613445377799E-4</c:v>
                </c:pt>
                <c:pt idx="54934">
                  <c:v>-8.4033613445377799E-4</c:v>
                </c:pt>
                <c:pt idx="54935">
                  <c:v>-8.4033613445377799E-4</c:v>
                </c:pt>
                <c:pt idx="54936">
                  <c:v>-8.4033613445377799E-4</c:v>
                </c:pt>
                <c:pt idx="54937">
                  <c:v>-8.4033613445377799E-4</c:v>
                </c:pt>
                <c:pt idx="54938">
                  <c:v>-8.4033613445377799E-4</c:v>
                </c:pt>
                <c:pt idx="54939">
                  <c:v>-8.4033613445377799E-4</c:v>
                </c:pt>
                <c:pt idx="54940">
                  <c:v>-8.4033613445377799E-4</c:v>
                </c:pt>
                <c:pt idx="54941">
                  <c:v>-8.4033613445377799E-4</c:v>
                </c:pt>
                <c:pt idx="54942">
                  <c:v>-8.4033613445377799E-4</c:v>
                </c:pt>
                <c:pt idx="54943">
                  <c:v>-8.4033613445377799E-4</c:v>
                </c:pt>
                <c:pt idx="54944">
                  <c:v>-8.4033613445377799E-4</c:v>
                </c:pt>
                <c:pt idx="54945">
                  <c:v>-8.4033613445377799E-4</c:v>
                </c:pt>
                <c:pt idx="54946">
                  <c:v>-8.4033613445377799E-4</c:v>
                </c:pt>
                <c:pt idx="54947">
                  <c:v>-8.4033613445377799E-4</c:v>
                </c:pt>
                <c:pt idx="54948">
                  <c:v>-8.4033613445377799E-4</c:v>
                </c:pt>
                <c:pt idx="54949">
                  <c:v>-8.4033613445377799E-4</c:v>
                </c:pt>
                <c:pt idx="54950">
                  <c:v>-8.4033613445377799E-4</c:v>
                </c:pt>
                <c:pt idx="54951">
                  <c:v>-8.4033613445377799E-4</c:v>
                </c:pt>
                <c:pt idx="54952">
                  <c:v>-8.4033613445377799E-4</c:v>
                </c:pt>
                <c:pt idx="54953">
                  <c:v>-8.4033613445377799E-4</c:v>
                </c:pt>
                <c:pt idx="54954">
                  <c:v>-8.4033613445377799E-4</c:v>
                </c:pt>
                <c:pt idx="54955">
                  <c:v>-8.4033613445377799E-4</c:v>
                </c:pt>
                <c:pt idx="54956">
                  <c:v>-8.4033613445377799E-4</c:v>
                </c:pt>
                <c:pt idx="54957">
                  <c:v>-8.4033613445377799E-4</c:v>
                </c:pt>
                <c:pt idx="54958">
                  <c:v>-8.4033613445377799E-4</c:v>
                </c:pt>
                <c:pt idx="54959">
                  <c:v>-8.4033613445377799E-4</c:v>
                </c:pt>
                <c:pt idx="54960">
                  <c:v>-8.4033613445377799E-4</c:v>
                </c:pt>
                <c:pt idx="54961">
                  <c:v>-8.4033613445377799E-4</c:v>
                </c:pt>
                <c:pt idx="54962">
                  <c:v>-8.4033613445377799E-4</c:v>
                </c:pt>
                <c:pt idx="54963">
                  <c:v>-8.4033613445377799E-4</c:v>
                </c:pt>
                <c:pt idx="54964">
                  <c:v>-8.4033613445377799E-4</c:v>
                </c:pt>
                <c:pt idx="54965">
                  <c:v>-8.4033613445377799E-4</c:v>
                </c:pt>
                <c:pt idx="54966">
                  <c:v>-8.4033613445377799E-4</c:v>
                </c:pt>
                <c:pt idx="54967">
                  <c:v>-8.4033613445377799E-4</c:v>
                </c:pt>
                <c:pt idx="54968">
                  <c:v>-8.4033613445377799E-4</c:v>
                </c:pt>
                <c:pt idx="54969">
                  <c:v>-8.4033613445377799E-4</c:v>
                </c:pt>
                <c:pt idx="54970">
                  <c:v>-8.4033613445377799E-4</c:v>
                </c:pt>
                <c:pt idx="54971">
                  <c:v>-8.4033613445377799E-4</c:v>
                </c:pt>
                <c:pt idx="54972">
                  <c:v>-8.4033613445377799E-4</c:v>
                </c:pt>
                <c:pt idx="54973">
                  <c:v>-8.4033613445377799E-4</c:v>
                </c:pt>
                <c:pt idx="54974">
                  <c:v>-8.4033613445377799E-4</c:v>
                </c:pt>
                <c:pt idx="54975">
                  <c:v>-8.4033613445377799E-4</c:v>
                </c:pt>
                <c:pt idx="54976">
                  <c:v>-8.4033613445377799E-4</c:v>
                </c:pt>
                <c:pt idx="54977">
                  <c:v>-8.4033613445377799E-4</c:v>
                </c:pt>
                <c:pt idx="54978">
                  <c:v>-8.4033613445377799E-4</c:v>
                </c:pt>
                <c:pt idx="54979">
                  <c:v>-8.4033613445377799E-4</c:v>
                </c:pt>
                <c:pt idx="54980">
                  <c:v>-8.4033613445377799E-4</c:v>
                </c:pt>
                <c:pt idx="54981">
                  <c:v>-8.4033613445377799E-4</c:v>
                </c:pt>
                <c:pt idx="54982">
                  <c:v>-8.4033613445377799E-4</c:v>
                </c:pt>
                <c:pt idx="54983">
                  <c:v>-8.4033613445377799E-4</c:v>
                </c:pt>
                <c:pt idx="54984">
                  <c:v>-8.4033613445377799E-4</c:v>
                </c:pt>
                <c:pt idx="54985">
                  <c:v>-8.4033613445377799E-4</c:v>
                </c:pt>
                <c:pt idx="54986">
                  <c:v>-8.4033613445377799E-4</c:v>
                </c:pt>
                <c:pt idx="54987">
                  <c:v>-8.4033613445377799E-4</c:v>
                </c:pt>
                <c:pt idx="54988">
                  <c:v>-8.4033613445377799E-4</c:v>
                </c:pt>
                <c:pt idx="54989">
                  <c:v>-8.4033613445377799E-4</c:v>
                </c:pt>
                <c:pt idx="54990">
                  <c:v>-8.4033613445377799E-4</c:v>
                </c:pt>
                <c:pt idx="54991">
                  <c:v>-8.4033613445377799E-4</c:v>
                </c:pt>
                <c:pt idx="54992">
                  <c:v>-8.4033613445377799E-4</c:v>
                </c:pt>
                <c:pt idx="54993">
                  <c:v>-8.4033613445377799E-4</c:v>
                </c:pt>
                <c:pt idx="54994">
                  <c:v>-8.4033613445377799E-4</c:v>
                </c:pt>
                <c:pt idx="54995">
                  <c:v>-8.4033613445377799E-4</c:v>
                </c:pt>
                <c:pt idx="54996">
                  <c:v>-8.4033613445377799E-4</c:v>
                </c:pt>
                <c:pt idx="54997">
                  <c:v>-8.4033613445377799E-4</c:v>
                </c:pt>
                <c:pt idx="54998">
                  <c:v>-8.4033613445377799E-4</c:v>
                </c:pt>
                <c:pt idx="54999">
                  <c:v>-8.4033613445377799E-4</c:v>
                </c:pt>
                <c:pt idx="55000">
                  <c:v>-8.4033613445377799E-4</c:v>
                </c:pt>
                <c:pt idx="55001">
                  <c:v>-8.4033613445377799E-4</c:v>
                </c:pt>
                <c:pt idx="55002">
                  <c:v>-8.4033613445377799E-4</c:v>
                </c:pt>
                <c:pt idx="55003">
                  <c:v>-8.4033613445377799E-4</c:v>
                </c:pt>
                <c:pt idx="55004">
                  <c:v>-8.4033613445377799E-4</c:v>
                </c:pt>
                <c:pt idx="55005">
                  <c:v>-8.4033613445377799E-4</c:v>
                </c:pt>
                <c:pt idx="55006">
                  <c:v>-8.4033613445377799E-4</c:v>
                </c:pt>
                <c:pt idx="55007">
                  <c:v>-8.4033613445377799E-4</c:v>
                </c:pt>
                <c:pt idx="55008">
                  <c:v>-8.4033613445377799E-4</c:v>
                </c:pt>
                <c:pt idx="55009">
                  <c:v>-8.4033613445377799E-4</c:v>
                </c:pt>
                <c:pt idx="55010">
                  <c:v>-8.4033613445377799E-4</c:v>
                </c:pt>
                <c:pt idx="55011">
                  <c:v>-8.4033613445377799E-4</c:v>
                </c:pt>
                <c:pt idx="55012">
                  <c:v>-8.4033613445377799E-4</c:v>
                </c:pt>
                <c:pt idx="55013">
                  <c:v>-8.4033613445377799E-4</c:v>
                </c:pt>
                <c:pt idx="55014">
                  <c:v>-8.4033613445377799E-4</c:v>
                </c:pt>
                <c:pt idx="55015">
                  <c:v>-8.4033613445377799E-4</c:v>
                </c:pt>
                <c:pt idx="55016">
                  <c:v>-8.4033613445377799E-4</c:v>
                </c:pt>
                <c:pt idx="55017">
                  <c:v>-8.4033613445377799E-4</c:v>
                </c:pt>
                <c:pt idx="55018">
                  <c:v>-8.4033613445377799E-4</c:v>
                </c:pt>
                <c:pt idx="55019">
                  <c:v>-8.4033613445377799E-4</c:v>
                </c:pt>
                <c:pt idx="55020">
                  <c:v>-8.4033613445377799E-4</c:v>
                </c:pt>
                <c:pt idx="55021">
                  <c:v>-8.4033613445377799E-4</c:v>
                </c:pt>
                <c:pt idx="55022">
                  <c:v>-8.4033613445377799E-4</c:v>
                </c:pt>
                <c:pt idx="55023">
                  <c:v>-8.4033613445377799E-4</c:v>
                </c:pt>
                <c:pt idx="55024">
                  <c:v>-8.4033613445377799E-4</c:v>
                </c:pt>
                <c:pt idx="55025">
                  <c:v>-8.4033613445377799E-4</c:v>
                </c:pt>
                <c:pt idx="55026">
                  <c:v>-8.4033613445377799E-4</c:v>
                </c:pt>
                <c:pt idx="55027">
                  <c:v>-8.4033613445377799E-4</c:v>
                </c:pt>
                <c:pt idx="55028">
                  <c:v>-8.4033613445377799E-4</c:v>
                </c:pt>
                <c:pt idx="55029">
                  <c:v>-8.4033613445377799E-4</c:v>
                </c:pt>
                <c:pt idx="55030">
                  <c:v>-8.4033613445377799E-4</c:v>
                </c:pt>
                <c:pt idx="55031">
                  <c:v>-8.4033613445377799E-4</c:v>
                </c:pt>
                <c:pt idx="55032">
                  <c:v>-8.4033613445377799E-4</c:v>
                </c:pt>
                <c:pt idx="55033">
                  <c:v>-8.4033613445377799E-4</c:v>
                </c:pt>
                <c:pt idx="55034">
                  <c:v>-8.4033613445377799E-4</c:v>
                </c:pt>
                <c:pt idx="55035">
                  <c:v>-8.4033613445377799E-4</c:v>
                </c:pt>
                <c:pt idx="55036">
                  <c:v>-8.4033613445377799E-4</c:v>
                </c:pt>
                <c:pt idx="55037">
                  <c:v>-8.4033613445377799E-4</c:v>
                </c:pt>
                <c:pt idx="55038">
                  <c:v>-8.4033613445377799E-4</c:v>
                </c:pt>
                <c:pt idx="55039">
                  <c:v>-8.4033613445377799E-4</c:v>
                </c:pt>
                <c:pt idx="55040">
                  <c:v>-8.4033613445377799E-4</c:v>
                </c:pt>
                <c:pt idx="55041">
                  <c:v>-8.4033613445377799E-4</c:v>
                </c:pt>
                <c:pt idx="55042">
                  <c:v>-8.4033613445377799E-4</c:v>
                </c:pt>
                <c:pt idx="55043">
                  <c:v>-8.4033613445377799E-4</c:v>
                </c:pt>
                <c:pt idx="55044">
                  <c:v>-8.4033613445377799E-4</c:v>
                </c:pt>
                <c:pt idx="55045">
                  <c:v>-8.4033613445377799E-4</c:v>
                </c:pt>
                <c:pt idx="55046">
                  <c:v>-8.4033613445377799E-4</c:v>
                </c:pt>
                <c:pt idx="55047">
                  <c:v>-8.4033613445377799E-4</c:v>
                </c:pt>
                <c:pt idx="55048">
                  <c:v>-8.4033613445377799E-4</c:v>
                </c:pt>
                <c:pt idx="55049">
                  <c:v>-8.4033613445377799E-4</c:v>
                </c:pt>
                <c:pt idx="55050">
                  <c:v>-8.4033613445377799E-4</c:v>
                </c:pt>
                <c:pt idx="55051">
                  <c:v>-8.4033613445377799E-4</c:v>
                </c:pt>
                <c:pt idx="55052">
                  <c:v>-8.4033613445377799E-4</c:v>
                </c:pt>
                <c:pt idx="55053">
                  <c:v>-8.4033613445377799E-4</c:v>
                </c:pt>
                <c:pt idx="55054">
                  <c:v>-8.4033613445377799E-4</c:v>
                </c:pt>
                <c:pt idx="55055">
                  <c:v>-8.4033613445377799E-4</c:v>
                </c:pt>
                <c:pt idx="55056">
                  <c:v>-8.4033613445377799E-4</c:v>
                </c:pt>
                <c:pt idx="55057">
                  <c:v>-8.4033613445377799E-4</c:v>
                </c:pt>
                <c:pt idx="55058">
                  <c:v>-8.4033613445377799E-4</c:v>
                </c:pt>
                <c:pt idx="55059">
                  <c:v>-8.4033613445377799E-4</c:v>
                </c:pt>
                <c:pt idx="55060">
                  <c:v>-8.4033613445377799E-4</c:v>
                </c:pt>
                <c:pt idx="55061">
                  <c:v>-8.4033613445377799E-4</c:v>
                </c:pt>
                <c:pt idx="55062">
                  <c:v>-8.4033613445377799E-4</c:v>
                </c:pt>
                <c:pt idx="55063">
                  <c:v>-8.4033613445377799E-4</c:v>
                </c:pt>
                <c:pt idx="55064">
                  <c:v>-8.4033613445377799E-4</c:v>
                </c:pt>
                <c:pt idx="55065">
                  <c:v>-8.4033613445377799E-4</c:v>
                </c:pt>
                <c:pt idx="55066">
                  <c:v>-8.4033613445377799E-4</c:v>
                </c:pt>
                <c:pt idx="55067">
                  <c:v>-8.4033613445377799E-4</c:v>
                </c:pt>
                <c:pt idx="55068">
                  <c:v>-8.4033613445377799E-4</c:v>
                </c:pt>
                <c:pt idx="55069">
                  <c:v>-8.4033613445377799E-4</c:v>
                </c:pt>
                <c:pt idx="55070">
                  <c:v>-8.4033613445377799E-4</c:v>
                </c:pt>
                <c:pt idx="55071">
                  <c:v>-8.4033613445377799E-4</c:v>
                </c:pt>
                <c:pt idx="55072">
                  <c:v>-8.4033613445377799E-4</c:v>
                </c:pt>
                <c:pt idx="55073">
                  <c:v>-8.4033613445377799E-4</c:v>
                </c:pt>
                <c:pt idx="55074">
                  <c:v>-8.4033613445377799E-4</c:v>
                </c:pt>
                <c:pt idx="55075">
                  <c:v>-8.4033613445377799E-4</c:v>
                </c:pt>
                <c:pt idx="55076">
                  <c:v>-8.4033613445377799E-4</c:v>
                </c:pt>
                <c:pt idx="55077">
                  <c:v>-8.4033613445377799E-4</c:v>
                </c:pt>
                <c:pt idx="55078">
                  <c:v>-8.4033613445377799E-4</c:v>
                </c:pt>
                <c:pt idx="55079">
                  <c:v>-8.4033613445377799E-4</c:v>
                </c:pt>
                <c:pt idx="55080">
                  <c:v>-8.4033613445377799E-4</c:v>
                </c:pt>
                <c:pt idx="55081">
                  <c:v>-8.4033613445377799E-4</c:v>
                </c:pt>
                <c:pt idx="55082">
                  <c:v>-8.4033613445377799E-4</c:v>
                </c:pt>
                <c:pt idx="55083">
                  <c:v>-8.4033613445377799E-4</c:v>
                </c:pt>
                <c:pt idx="55084">
                  <c:v>-8.4033613445377799E-4</c:v>
                </c:pt>
                <c:pt idx="55085">
                  <c:v>-8.4033613445377799E-4</c:v>
                </c:pt>
                <c:pt idx="55086">
                  <c:v>-8.4033613445377799E-4</c:v>
                </c:pt>
                <c:pt idx="55087">
                  <c:v>-8.4033613445377799E-4</c:v>
                </c:pt>
                <c:pt idx="55088">
                  <c:v>-8.4033613445377799E-4</c:v>
                </c:pt>
                <c:pt idx="55089">
                  <c:v>-8.4033613445377799E-4</c:v>
                </c:pt>
                <c:pt idx="55090">
                  <c:v>-8.4033613445377799E-4</c:v>
                </c:pt>
                <c:pt idx="55091">
                  <c:v>-8.4033613445377799E-4</c:v>
                </c:pt>
                <c:pt idx="55092">
                  <c:v>-8.4033613445377799E-4</c:v>
                </c:pt>
                <c:pt idx="55093">
                  <c:v>-8.4033613445377799E-4</c:v>
                </c:pt>
                <c:pt idx="55094">
                  <c:v>-8.4033613445377799E-4</c:v>
                </c:pt>
                <c:pt idx="55095">
                  <c:v>-8.4033613445377799E-4</c:v>
                </c:pt>
                <c:pt idx="55096">
                  <c:v>-8.4033613445377799E-4</c:v>
                </c:pt>
                <c:pt idx="55097">
                  <c:v>-8.4033613445377799E-4</c:v>
                </c:pt>
                <c:pt idx="55098">
                  <c:v>-8.4033613445377799E-4</c:v>
                </c:pt>
                <c:pt idx="55099">
                  <c:v>-8.4033613445377799E-4</c:v>
                </c:pt>
                <c:pt idx="55100">
                  <c:v>-8.4033613445377799E-4</c:v>
                </c:pt>
                <c:pt idx="55101">
                  <c:v>-8.4033613445377799E-4</c:v>
                </c:pt>
                <c:pt idx="55102">
                  <c:v>-8.4033613445377799E-4</c:v>
                </c:pt>
                <c:pt idx="55103">
                  <c:v>-8.4033613445377799E-4</c:v>
                </c:pt>
                <c:pt idx="55104">
                  <c:v>-8.4033613445377799E-4</c:v>
                </c:pt>
                <c:pt idx="55105">
                  <c:v>-8.4033613445377799E-4</c:v>
                </c:pt>
                <c:pt idx="55106">
                  <c:v>-8.4033613445377799E-4</c:v>
                </c:pt>
                <c:pt idx="55107">
                  <c:v>-8.4033613445377799E-4</c:v>
                </c:pt>
                <c:pt idx="55108">
                  <c:v>-8.4033613445377799E-4</c:v>
                </c:pt>
                <c:pt idx="55109">
                  <c:v>-8.4033613445377799E-4</c:v>
                </c:pt>
                <c:pt idx="55110">
                  <c:v>-8.4033613445377799E-4</c:v>
                </c:pt>
                <c:pt idx="55111">
                  <c:v>-8.4033613445377799E-4</c:v>
                </c:pt>
                <c:pt idx="55112">
                  <c:v>-8.4033613445377799E-4</c:v>
                </c:pt>
                <c:pt idx="55113">
                  <c:v>-8.4033613445377799E-4</c:v>
                </c:pt>
                <c:pt idx="55114">
                  <c:v>-8.4033613445377799E-4</c:v>
                </c:pt>
                <c:pt idx="55115">
                  <c:v>-8.4033613445377799E-4</c:v>
                </c:pt>
                <c:pt idx="55116">
                  <c:v>-8.4033613445377799E-4</c:v>
                </c:pt>
                <c:pt idx="55117">
                  <c:v>-8.4033613445377799E-4</c:v>
                </c:pt>
                <c:pt idx="55118">
                  <c:v>-8.4033613445377799E-4</c:v>
                </c:pt>
                <c:pt idx="55119">
                  <c:v>-8.4033613445377799E-4</c:v>
                </c:pt>
                <c:pt idx="55120">
                  <c:v>-8.4033613445377799E-4</c:v>
                </c:pt>
                <c:pt idx="55121">
                  <c:v>-8.4033613445377799E-4</c:v>
                </c:pt>
                <c:pt idx="55122">
                  <c:v>-8.4033613445377799E-4</c:v>
                </c:pt>
                <c:pt idx="55123">
                  <c:v>-8.4033613445377799E-4</c:v>
                </c:pt>
                <c:pt idx="55124">
                  <c:v>-8.4033613445377799E-4</c:v>
                </c:pt>
                <c:pt idx="55125">
                  <c:v>-8.4033613445377799E-4</c:v>
                </c:pt>
                <c:pt idx="55126">
                  <c:v>-8.4033613445377799E-4</c:v>
                </c:pt>
                <c:pt idx="55127">
                  <c:v>-8.4033613445377799E-4</c:v>
                </c:pt>
                <c:pt idx="55128">
                  <c:v>-8.4033613445377799E-4</c:v>
                </c:pt>
                <c:pt idx="55129">
                  <c:v>-8.4033613445377799E-4</c:v>
                </c:pt>
                <c:pt idx="55130">
                  <c:v>-8.4033613445377799E-4</c:v>
                </c:pt>
                <c:pt idx="55131">
                  <c:v>-8.4033613445377799E-4</c:v>
                </c:pt>
                <c:pt idx="55132">
                  <c:v>-8.4033613445377799E-4</c:v>
                </c:pt>
                <c:pt idx="55133">
                  <c:v>-8.4033613445377799E-4</c:v>
                </c:pt>
                <c:pt idx="55134">
                  <c:v>-8.4033613445377799E-4</c:v>
                </c:pt>
                <c:pt idx="55135">
                  <c:v>-8.4033613445377799E-4</c:v>
                </c:pt>
                <c:pt idx="55136">
                  <c:v>-8.4033613445377799E-4</c:v>
                </c:pt>
                <c:pt idx="55137">
                  <c:v>-8.4033613445377799E-4</c:v>
                </c:pt>
                <c:pt idx="55138">
                  <c:v>-8.4033613445377799E-4</c:v>
                </c:pt>
                <c:pt idx="55139">
                  <c:v>-8.4033613445377799E-4</c:v>
                </c:pt>
                <c:pt idx="55140">
                  <c:v>-8.4033613445377799E-4</c:v>
                </c:pt>
                <c:pt idx="55141">
                  <c:v>-8.4033613445377799E-4</c:v>
                </c:pt>
                <c:pt idx="55142">
                  <c:v>-8.4033613445377799E-4</c:v>
                </c:pt>
                <c:pt idx="55143">
                  <c:v>-8.4033613445377799E-4</c:v>
                </c:pt>
                <c:pt idx="55144">
                  <c:v>-8.4033613445377799E-4</c:v>
                </c:pt>
                <c:pt idx="55145">
                  <c:v>-8.4033613445377799E-4</c:v>
                </c:pt>
                <c:pt idx="55146">
                  <c:v>-8.4033613445377799E-4</c:v>
                </c:pt>
                <c:pt idx="55147">
                  <c:v>-8.4033613445377799E-4</c:v>
                </c:pt>
                <c:pt idx="55148">
                  <c:v>-8.4033613445377799E-4</c:v>
                </c:pt>
                <c:pt idx="55149">
                  <c:v>-8.4033613445377799E-4</c:v>
                </c:pt>
                <c:pt idx="55150">
                  <c:v>-8.4033613445377799E-4</c:v>
                </c:pt>
                <c:pt idx="55151">
                  <c:v>-8.4033613445377799E-4</c:v>
                </c:pt>
                <c:pt idx="55152">
                  <c:v>-8.4033613445377799E-4</c:v>
                </c:pt>
                <c:pt idx="55153">
                  <c:v>-8.4033613445377799E-4</c:v>
                </c:pt>
                <c:pt idx="55154">
                  <c:v>-8.4033613445377799E-4</c:v>
                </c:pt>
                <c:pt idx="55155">
                  <c:v>-8.4033613445377799E-4</c:v>
                </c:pt>
                <c:pt idx="55156">
                  <c:v>-8.4033613445377799E-4</c:v>
                </c:pt>
                <c:pt idx="55157">
                  <c:v>-8.4033613445377799E-4</c:v>
                </c:pt>
                <c:pt idx="55158">
                  <c:v>-8.4033613445377799E-4</c:v>
                </c:pt>
                <c:pt idx="55159">
                  <c:v>-8.4033613445377799E-4</c:v>
                </c:pt>
                <c:pt idx="55160">
                  <c:v>-8.4033613445377799E-4</c:v>
                </c:pt>
                <c:pt idx="55161">
                  <c:v>-8.4033613445377799E-4</c:v>
                </c:pt>
                <c:pt idx="55162">
                  <c:v>-8.4033613445377799E-4</c:v>
                </c:pt>
                <c:pt idx="55163">
                  <c:v>-8.4033613445377799E-4</c:v>
                </c:pt>
                <c:pt idx="55164">
                  <c:v>-8.4033613445377799E-4</c:v>
                </c:pt>
                <c:pt idx="55165">
                  <c:v>-8.4033613445377799E-4</c:v>
                </c:pt>
                <c:pt idx="55166">
                  <c:v>-8.4033613445377799E-4</c:v>
                </c:pt>
                <c:pt idx="55167">
                  <c:v>-8.4033613445377799E-4</c:v>
                </c:pt>
                <c:pt idx="55168">
                  <c:v>-8.4033613445377799E-4</c:v>
                </c:pt>
                <c:pt idx="55169">
                  <c:v>-8.4033613445377799E-4</c:v>
                </c:pt>
                <c:pt idx="55170">
                  <c:v>-8.4033613445377799E-4</c:v>
                </c:pt>
                <c:pt idx="55171">
                  <c:v>-8.4033613445377799E-4</c:v>
                </c:pt>
                <c:pt idx="55172">
                  <c:v>-8.4033613445377799E-4</c:v>
                </c:pt>
                <c:pt idx="55173">
                  <c:v>-8.4033613445377799E-4</c:v>
                </c:pt>
                <c:pt idx="55174">
                  <c:v>-8.4033613445377799E-4</c:v>
                </c:pt>
                <c:pt idx="55175">
                  <c:v>-8.4033613445377799E-4</c:v>
                </c:pt>
                <c:pt idx="55176">
                  <c:v>-8.4033613445377799E-4</c:v>
                </c:pt>
                <c:pt idx="55177">
                  <c:v>-8.4033613445377799E-4</c:v>
                </c:pt>
                <c:pt idx="55178">
                  <c:v>-8.4033613445377799E-4</c:v>
                </c:pt>
                <c:pt idx="55179">
                  <c:v>-8.4033613445377799E-4</c:v>
                </c:pt>
                <c:pt idx="55180">
                  <c:v>-8.4033613445377799E-4</c:v>
                </c:pt>
                <c:pt idx="55181">
                  <c:v>-8.4033613445377799E-4</c:v>
                </c:pt>
                <c:pt idx="55182">
                  <c:v>-8.4033613445377799E-4</c:v>
                </c:pt>
                <c:pt idx="55183">
                  <c:v>-8.4033613445377799E-4</c:v>
                </c:pt>
                <c:pt idx="55184">
                  <c:v>-8.4033613445377799E-4</c:v>
                </c:pt>
                <c:pt idx="55185">
                  <c:v>-8.4033613445377799E-4</c:v>
                </c:pt>
                <c:pt idx="55186">
                  <c:v>-8.4033613445377799E-4</c:v>
                </c:pt>
                <c:pt idx="55187">
                  <c:v>-8.4033613445377799E-4</c:v>
                </c:pt>
                <c:pt idx="55188">
                  <c:v>-8.4033613445377799E-4</c:v>
                </c:pt>
                <c:pt idx="55189">
                  <c:v>-8.4033613445377799E-4</c:v>
                </c:pt>
                <c:pt idx="55190">
                  <c:v>-8.4033613445377799E-4</c:v>
                </c:pt>
                <c:pt idx="55191">
                  <c:v>-8.4033613445377799E-4</c:v>
                </c:pt>
                <c:pt idx="55192">
                  <c:v>-8.4033613445377799E-4</c:v>
                </c:pt>
                <c:pt idx="55193">
                  <c:v>-8.4033613445377799E-4</c:v>
                </c:pt>
                <c:pt idx="55194">
                  <c:v>-8.4033613445377799E-4</c:v>
                </c:pt>
                <c:pt idx="55195">
                  <c:v>-8.4033613445377799E-4</c:v>
                </c:pt>
                <c:pt idx="55196">
                  <c:v>-8.4033613445377799E-4</c:v>
                </c:pt>
                <c:pt idx="55197">
                  <c:v>-8.4033613445377799E-4</c:v>
                </c:pt>
                <c:pt idx="55198">
                  <c:v>-8.4033613445377799E-4</c:v>
                </c:pt>
                <c:pt idx="55199">
                  <c:v>-8.4033613445377799E-4</c:v>
                </c:pt>
                <c:pt idx="55200">
                  <c:v>-8.4033613445377799E-4</c:v>
                </c:pt>
                <c:pt idx="55201">
                  <c:v>-8.4033613445377799E-4</c:v>
                </c:pt>
                <c:pt idx="55202">
                  <c:v>-8.4033613445377799E-4</c:v>
                </c:pt>
                <c:pt idx="55203">
                  <c:v>-8.4033613445377799E-4</c:v>
                </c:pt>
                <c:pt idx="55204">
                  <c:v>-8.4033613445377799E-4</c:v>
                </c:pt>
                <c:pt idx="55205">
                  <c:v>-8.4033613445377799E-4</c:v>
                </c:pt>
                <c:pt idx="55206">
                  <c:v>-8.4033613445377799E-4</c:v>
                </c:pt>
                <c:pt idx="55207">
                  <c:v>-8.4033613445377799E-4</c:v>
                </c:pt>
                <c:pt idx="55208">
                  <c:v>-8.4033613445377799E-4</c:v>
                </c:pt>
                <c:pt idx="55209">
                  <c:v>-8.4033613445377799E-4</c:v>
                </c:pt>
                <c:pt idx="55210">
                  <c:v>-8.4033613445377799E-4</c:v>
                </c:pt>
                <c:pt idx="55211">
                  <c:v>-8.4033613445377799E-4</c:v>
                </c:pt>
                <c:pt idx="55212">
                  <c:v>-8.4033613445377799E-4</c:v>
                </c:pt>
                <c:pt idx="55213">
                  <c:v>-8.4033613445377799E-4</c:v>
                </c:pt>
                <c:pt idx="55214">
                  <c:v>-8.4033613445377799E-4</c:v>
                </c:pt>
                <c:pt idx="55215">
                  <c:v>-8.4033613445377799E-4</c:v>
                </c:pt>
                <c:pt idx="55216">
                  <c:v>-8.4033613445377799E-4</c:v>
                </c:pt>
                <c:pt idx="55217">
                  <c:v>-8.4033613445377799E-4</c:v>
                </c:pt>
                <c:pt idx="55218">
                  <c:v>-8.4033613445377799E-4</c:v>
                </c:pt>
                <c:pt idx="55219">
                  <c:v>-8.4033613445377799E-4</c:v>
                </c:pt>
                <c:pt idx="55220">
                  <c:v>-8.4033613445377799E-4</c:v>
                </c:pt>
                <c:pt idx="55221">
                  <c:v>-8.4033613445377799E-4</c:v>
                </c:pt>
                <c:pt idx="55222">
                  <c:v>-8.4033613445377799E-4</c:v>
                </c:pt>
                <c:pt idx="55223">
                  <c:v>-8.4033613445377799E-4</c:v>
                </c:pt>
                <c:pt idx="55224">
                  <c:v>-8.4033613445377799E-4</c:v>
                </c:pt>
                <c:pt idx="55225">
                  <c:v>-8.4033613445377799E-4</c:v>
                </c:pt>
                <c:pt idx="55226">
                  <c:v>-8.4033613445377799E-4</c:v>
                </c:pt>
                <c:pt idx="55227">
                  <c:v>-8.4033613445377799E-4</c:v>
                </c:pt>
                <c:pt idx="55228">
                  <c:v>-8.4033613445377799E-4</c:v>
                </c:pt>
                <c:pt idx="55229">
                  <c:v>-8.4033613445377799E-4</c:v>
                </c:pt>
                <c:pt idx="55230">
                  <c:v>-8.4033613445377799E-4</c:v>
                </c:pt>
                <c:pt idx="55231">
                  <c:v>-8.4033613445377799E-4</c:v>
                </c:pt>
                <c:pt idx="55232">
                  <c:v>-8.4033613445377799E-4</c:v>
                </c:pt>
                <c:pt idx="55233">
                  <c:v>-8.4033613445377799E-4</c:v>
                </c:pt>
                <c:pt idx="55234">
                  <c:v>-8.4033613445377799E-4</c:v>
                </c:pt>
                <c:pt idx="55235">
                  <c:v>-8.4033613445377799E-4</c:v>
                </c:pt>
                <c:pt idx="55236">
                  <c:v>-8.4033613445377799E-4</c:v>
                </c:pt>
                <c:pt idx="55237">
                  <c:v>-8.4033613445377799E-4</c:v>
                </c:pt>
                <c:pt idx="55238">
                  <c:v>-8.4033613445377799E-4</c:v>
                </c:pt>
                <c:pt idx="55239">
                  <c:v>-8.4033613445377799E-4</c:v>
                </c:pt>
                <c:pt idx="55240">
                  <c:v>-8.4033613445377799E-4</c:v>
                </c:pt>
                <c:pt idx="55241">
                  <c:v>-8.4033613445377799E-4</c:v>
                </c:pt>
                <c:pt idx="55242">
                  <c:v>-8.4033613445377799E-4</c:v>
                </c:pt>
                <c:pt idx="55243">
                  <c:v>-8.4033613445377799E-4</c:v>
                </c:pt>
                <c:pt idx="55244">
                  <c:v>-8.4033613445377799E-4</c:v>
                </c:pt>
                <c:pt idx="55245">
                  <c:v>-8.4033613445377799E-4</c:v>
                </c:pt>
                <c:pt idx="55246">
                  <c:v>-8.4033613445377799E-4</c:v>
                </c:pt>
                <c:pt idx="55247">
                  <c:v>-8.4033613445377799E-4</c:v>
                </c:pt>
                <c:pt idx="55248">
                  <c:v>-8.4033613445377799E-4</c:v>
                </c:pt>
                <c:pt idx="55249">
                  <c:v>-8.4033613445377799E-4</c:v>
                </c:pt>
                <c:pt idx="55250">
                  <c:v>-8.4033613445377799E-4</c:v>
                </c:pt>
                <c:pt idx="55251">
                  <c:v>-8.4033613445377799E-4</c:v>
                </c:pt>
                <c:pt idx="55252">
                  <c:v>-8.4033613445377799E-4</c:v>
                </c:pt>
                <c:pt idx="55253">
                  <c:v>-8.4033613445377799E-4</c:v>
                </c:pt>
                <c:pt idx="55254">
                  <c:v>-8.4033613445377799E-4</c:v>
                </c:pt>
                <c:pt idx="55255">
                  <c:v>-8.4033613445377799E-4</c:v>
                </c:pt>
                <c:pt idx="55256">
                  <c:v>-8.4033613445377799E-4</c:v>
                </c:pt>
                <c:pt idx="55257">
                  <c:v>-8.4033613445377799E-4</c:v>
                </c:pt>
                <c:pt idx="55258">
                  <c:v>-8.4033613445377799E-4</c:v>
                </c:pt>
                <c:pt idx="55259">
                  <c:v>-8.4033613445377799E-4</c:v>
                </c:pt>
                <c:pt idx="55260">
                  <c:v>-8.4033613445377799E-4</c:v>
                </c:pt>
                <c:pt idx="55261">
                  <c:v>-8.4033613445377799E-4</c:v>
                </c:pt>
                <c:pt idx="55262">
                  <c:v>-8.4033613445377799E-4</c:v>
                </c:pt>
                <c:pt idx="55263">
                  <c:v>-8.4033613445377799E-4</c:v>
                </c:pt>
                <c:pt idx="55264">
                  <c:v>-8.4033613445377799E-4</c:v>
                </c:pt>
                <c:pt idx="55265">
                  <c:v>-8.4033613445377799E-4</c:v>
                </c:pt>
                <c:pt idx="55266">
                  <c:v>-8.4033613445377799E-4</c:v>
                </c:pt>
                <c:pt idx="55267">
                  <c:v>-8.4033613445377799E-4</c:v>
                </c:pt>
                <c:pt idx="55268">
                  <c:v>-8.4033613445377799E-4</c:v>
                </c:pt>
                <c:pt idx="55269">
                  <c:v>-8.4033613445377799E-4</c:v>
                </c:pt>
                <c:pt idx="55270">
                  <c:v>-8.4033613445377799E-4</c:v>
                </c:pt>
                <c:pt idx="55271">
                  <c:v>-8.4033613445377799E-4</c:v>
                </c:pt>
                <c:pt idx="55272">
                  <c:v>-8.4033613445377799E-4</c:v>
                </c:pt>
                <c:pt idx="55273">
                  <c:v>-8.4033613445377799E-4</c:v>
                </c:pt>
                <c:pt idx="55274">
                  <c:v>-8.4033613445377799E-4</c:v>
                </c:pt>
                <c:pt idx="55275">
                  <c:v>-8.4033613445377799E-4</c:v>
                </c:pt>
                <c:pt idx="55276">
                  <c:v>-8.4033613445377799E-4</c:v>
                </c:pt>
                <c:pt idx="55277">
                  <c:v>-8.4033613445377799E-4</c:v>
                </c:pt>
                <c:pt idx="55278">
                  <c:v>-8.4033613445377799E-4</c:v>
                </c:pt>
                <c:pt idx="55279">
                  <c:v>-8.4033613445377799E-4</c:v>
                </c:pt>
                <c:pt idx="55280">
                  <c:v>-8.4033613445377799E-4</c:v>
                </c:pt>
                <c:pt idx="55281">
                  <c:v>-8.4033613445377799E-4</c:v>
                </c:pt>
                <c:pt idx="55282">
                  <c:v>-8.4033613445377799E-4</c:v>
                </c:pt>
                <c:pt idx="55283">
                  <c:v>-8.4033613445377799E-4</c:v>
                </c:pt>
                <c:pt idx="55284">
                  <c:v>-8.4033613445377799E-4</c:v>
                </c:pt>
                <c:pt idx="55285">
                  <c:v>-8.4033613445377799E-4</c:v>
                </c:pt>
                <c:pt idx="55286">
                  <c:v>-8.4033613445377799E-4</c:v>
                </c:pt>
                <c:pt idx="55287">
                  <c:v>-8.4033613445377799E-4</c:v>
                </c:pt>
                <c:pt idx="55288">
                  <c:v>-8.4033613445377799E-4</c:v>
                </c:pt>
                <c:pt idx="55289">
                  <c:v>-8.4033613445377799E-4</c:v>
                </c:pt>
                <c:pt idx="55290">
                  <c:v>-8.4033613445377799E-4</c:v>
                </c:pt>
                <c:pt idx="55291">
                  <c:v>-8.4033613445377799E-4</c:v>
                </c:pt>
                <c:pt idx="55292">
                  <c:v>-8.4033613445377799E-4</c:v>
                </c:pt>
                <c:pt idx="55293">
                  <c:v>-8.4033613445377799E-4</c:v>
                </c:pt>
                <c:pt idx="55294">
                  <c:v>-8.4033613445377799E-4</c:v>
                </c:pt>
                <c:pt idx="55295">
                  <c:v>-8.4033613445377799E-4</c:v>
                </c:pt>
                <c:pt idx="55296">
                  <c:v>-8.4033613445377799E-4</c:v>
                </c:pt>
                <c:pt idx="55297">
                  <c:v>-8.4033613445377799E-4</c:v>
                </c:pt>
                <c:pt idx="55298">
                  <c:v>-8.4033613445377799E-4</c:v>
                </c:pt>
                <c:pt idx="55299">
                  <c:v>-8.4033613445377799E-4</c:v>
                </c:pt>
                <c:pt idx="55300">
                  <c:v>-8.4033613445377799E-4</c:v>
                </c:pt>
                <c:pt idx="55301">
                  <c:v>-8.4033613445377799E-4</c:v>
                </c:pt>
                <c:pt idx="55302">
                  <c:v>-8.4033613445377799E-4</c:v>
                </c:pt>
                <c:pt idx="55303">
                  <c:v>-8.4033613445377799E-4</c:v>
                </c:pt>
                <c:pt idx="55304">
                  <c:v>-8.4033613445377799E-4</c:v>
                </c:pt>
                <c:pt idx="55305">
                  <c:v>-8.4033613445377799E-4</c:v>
                </c:pt>
                <c:pt idx="55306">
                  <c:v>-8.4033613445377799E-4</c:v>
                </c:pt>
                <c:pt idx="55307">
                  <c:v>-8.4033613445377799E-4</c:v>
                </c:pt>
                <c:pt idx="55308">
                  <c:v>-8.4033613445377799E-4</c:v>
                </c:pt>
                <c:pt idx="55309">
                  <c:v>-8.4033613445377799E-4</c:v>
                </c:pt>
                <c:pt idx="55310">
                  <c:v>-8.4033613445377799E-4</c:v>
                </c:pt>
                <c:pt idx="55311">
                  <c:v>-8.4033613445377799E-4</c:v>
                </c:pt>
                <c:pt idx="55312">
                  <c:v>-8.4033613445377799E-4</c:v>
                </c:pt>
                <c:pt idx="55313">
                  <c:v>-8.4033613445377799E-4</c:v>
                </c:pt>
                <c:pt idx="55314">
                  <c:v>-8.4033613445377799E-4</c:v>
                </c:pt>
                <c:pt idx="55315">
                  <c:v>-8.4033613445377799E-4</c:v>
                </c:pt>
                <c:pt idx="55316">
                  <c:v>-8.4033613445377799E-4</c:v>
                </c:pt>
                <c:pt idx="55317">
                  <c:v>-8.4033613445377799E-4</c:v>
                </c:pt>
                <c:pt idx="55318">
                  <c:v>-8.4033613445377799E-4</c:v>
                </c:pt>
                <c:pt idx="55319">
                  <c:v>-8.4033613445377799E-4</c:v>
                </c:pt>
                <c:pt idx="55320">
                  <c:v>-8.4033613445377799E-4</c:v>
                </c:pt>
                <c:pt idx="55321">
                  <c:v>-8.4033613445377799E-4</c:v>
                </c:pt>
                <c:pt idx="55322">
                  <c:v>-8.4033613445377799E-4</c:v>
                </c:pt>
                <c:pt idx="55323">
                  <c:v>-8.4033613445377799E-4</c:v>
                </c:pt>
                <c:pt idx="55324">
                  <c:v>-8.4033613445377799E-4</c:v>
                </c:pt>
                <c:pt idx="55325">
                  <c:v>-8.4033613445377799E-4</c:v>
                </c:pt>
                <c:pt idx="55326">
                  <c:v>-8.4033613445377799E-4</c:v>
                </c:pt>
                <c:pt idx="55327">
                  <c:v>-8.4033613445377799E-4</c:v>
                </c:pt>
                <c:pt idx="55328">
                  <c:v>-8.4033613445377799E-4</c:v>
                </c:pt>
                <c:pt idx="55329">
                  <c:v>-8.4033613445377799E-4</c:v>
                </c:pt>
                <c:pt idx="55330">
                  <c:v>-8.4033613445377799E-4</c:v>
                </c:pt>
                <c:pt idx="55331">
                  <c:v>-8.4033613445377799E-4</c:v>
                </c:pt>
                <c:pt idx="55332">
                  <c:v>-8.4033613445377799E-4</c:v>
                </c:pt>
                <c:pt idx="55333">
                  <c:v>-8.4033613445377799E-4</c:v>
                </c:pt>
                <c:pt idx="55334">
                  <c:v>-8.4033613445377799E-4</c:v>
                </c:pt>
                <c:pt idx="55335">
                  <c:v>-8.4033613445377799E-4</c:v>
                </c:pt>
                <c:pt idx="55336">
                  <c:v>-8.4033613445377799E-4</c:v>
                </c:pt>
                <c:pt idx="55337">
                  <c:v>-8.4033613445377799E-4</c:v>
                </c:pt>
                <c:pt idx="55338">
                  <c:v>-8.4033613445377799E-4</c:v>
                </c:pt>
                <c:pt idx="55339">
                  <c:v>-8.4033613445377799E-4</c:v>
                </c:pt>
                <c:pt idx="55340">
                  <c:v>-8.4033613445377799E-4</c:v>
                </c:pt>
                <c:pt idx="55341">
                  <c:v>-8.4033613445377799E-4</c:v>
                </c:pt>
                <c:pt idx="55342">
                  <c:v>-8.4033613445377799E-4</c:v>
                </c:pt>
                <c:pt idx="55343">
                  <c:v>-8.4033613445377799E-4</c:v>
                </c:pt>
                <c:pt idx="55344">
                  <c:v>-8.4033613445377799E-4</c:v>
                </c:pt>
                <c:pt idx="55345">
                  <c:v>-8.4033613445377799E-4</c:v>
                </c:pt>
                <c:pt idx="55346">
                  <c:v>-8.4033613445377799E-4</c:v>
                </c:pt>
                <c:pt idx="55347">
                  <c:v>-8.4033613445377799E-4</c:v>
                </c:pt>
                <c:pt idx="55348">
                  <c:v>-8.4033613445377799E-4</c:v>
                </c:pt>
                <c:pt idx="55349">
                  <c:v>-8.4033613445377799E-4</c:v>
                </c:pt>
                <c:pt idx="55350">
                  <c:v>-8.4033613445377799E-4</c:v>
                </c:pt>
                <c:pt idx="55351">
                  <c:v>-8.4033613445377799E-4</c:v>
                </c:pt>
                <c:pt idx="55352">
                  <c:v>-8.4033613445377799E-4</c:v>
                </c:pt>
                <c:pt idx="55353">
                  <c:v>-8.4033613445377799E-4</c:v>
                </c:pt>
                <c:pt idx="55354">
                  <c:v>-8.4033613445377799E-4</c:v>
                </c:pt>
                <c:pt idx="55355">
                  <c:v>-8.4033613445377799E-4</c:v>
                </c:pt>
                <c:pt idx="55356">
                  <c:v>-8.4033613445377799E-4</c:v>
                </c:pt>
                <c:pt idx="55357">
                  <c:v>-8.4033613445377799E-4</c:v>
                </c:pt>
                <c:pt idx="55358">
                  <c:v>-8.4033613445377799E-4</c:v>
                </c:pt>
                <c:pt idx="55359">
                  <c:v>-8.4033613445377799E-4</c:v>
                </c:pt>
                <c:pt idx="55360">
                  <c:v>-8.4033613445377799E-4</c:v>
                </c:pt>
                <c:pt idx="55361">
                  <c:v>-8.4033613445377799E-4</c:v>
                </c:pt>
                <c:pt idx="55362">
                  <c:v>-8.4033613445377799E-4</c:v>
                </c:pt>
                <c:pt idx="55363">
                  <c:v>-8.4033613445377799E-4</c:v>
                </c:pt>
                <c:pt idx="55364">
                  <c:v>-8.4033613445377799E-4</c:v>
                </c:pt>
                <c:pt idx="55365">
                  <c:v>-8.4033613445377799E-4</c:v>
                </c:pt>
                <c:pt idx="55366">
                  <c:v>-8.4033613445377799E-4</c:v>
                </c:pt>
                <c:pt idx="55367">
                  <c:v>-8.4033613445377799E-4</c:v>
                </c:pt>
                <c:pt idx="55368">
                  <c:v>-8.4033613445377799E-4</c:v>
                </c:pt>
                <c:pt idx="55369">
                  <c:v>-8.4033613445377799E-4</c:v>
                </c:pt>
                <c:pt idx="55370">
                  <c:v>-8.4033613445377799E-4</c:v>
                </c:pt>
                <c:pt idx="55371">
                  <c:v>-8.4033613445377799E-4</c:v>
                </c:pt>
                <c:pt idx="55372">
                  <c:v>-8.4033613445377799E-4</c:v>
                </c:pt>
                <c:pt idx="55373">
                  <c:v>-8.4033613445377799E-4</c:v>
                </c:pt>
                <c:pt idx="55374">
                  <c:v>-8.4033613445377799E-4</c:v>
                </c:pt>
                <c:pt idx="55375">
                  <c:v>-8.4033613445377799E-4</c:v>
                </c:pt>
                <c:pt idx="55376">
                  <c:v>-8.4033613445377799E-4</c:v>
                </c:pt>
                <c:pt idx="55377">
                  <c:v>-8.4033613445377799E-4</c:v>
                </c:pt>
                <c:pt idx="55378">
                  <c:v>-8.4033613445377799E-4</c:v>
                </c:pt>
                <c:pt idx="55379">
                  <c:v>-8.4033613445377799E-4</c:v>
                </c:pt>
                <c:pt idx="55380">
                  <c:v>-8.4033613445377799E-4</c:v>
                </c:pt>
                <c:pt idx="55381">
                  <c:v>-8.4033613445377799E-4</c:v>
                </c:pt>
                <c:pt idx="55382">
                  <c:v>-8.4033613445377799E-4</c:v>
                </c:pt>
                <c:pt idx="55383">
                  <c:v>-8.4033613445377799E-4</c:v>
                </c:pt>
                <c:pt idx="55384">
                  <c:v>-8.4033613445377799E-4</c:v>
                </c:pt>
                <c:pt idx="55385">
                  <c:v>-8.4033613445377799E-4</c:v>
                </c:pt>
                <c:pt idx="55386">
                  <c:v>-8.4033613445377799E-4</c:v>
                </c:pt>
                <c:pt idx="55387">
                  <c:v>-8.4033613445377799E-4</c:v>
                </c:pt>
                <c:pt idx="55388">
                  <c:v>-8.4033613445377799E-4</c:v>
                </c:pt>
                <c:pt idx="55389">
                  <c:v>-8.4033613445377799E-4</c:v>
                </c:pt>
                <c:pt idx="55390">
                  <c:v>-8.4033613445377799E-4</c:v>
                </c:pt>
                <c:pt idx="55391">
                  <c:v>-8.4033613445377799E-4</c:v>
                </c:pt>
                <c:pt idx="55392">
                  <c:v>-8.4033613445377799E-4</c:v>
                </c:pt>
                <c:pt idx="55393">
                  <c:v>-8.4033613445377799E-4</c:v>
                </c:pt>
                <c:pt idx="55394">
                  <c:v>-8.4033613445377799E-4</c:v>
                </c:pt>
                <c:pt idx="55395">
                  <c:v>-8.4033613445377799E-4</c:v>
                </c:pt>
                <c:pt idx="55396">
                  <c:v>-8.4033613445377799E-4</c:v>
                </c:pt>
                <c:pt idx="55397">
                  <c:v>-8.4033613445377799E-4</c:v>
                </c:pt>
                <c:pt idx="55398">
                  <c:v>-8.4033613445377799E-4</c:v>
                </c:pt>
                <c:pt idx="55399">
                  <c:v>-8.4033613445377799E-4</c:v>
                </c:pt>
                <c:pt idx="55400">
                  <c:v>-8.4033613445377799E-4</c:v>
                </c:pt>
                <c:pt idx="55401">
                  <c:v>-8.4033613445377799E-4</c:v>
                </c:pt>
                <c:pt idx="55402">
                  <c:v>-8.4033613445377799E-4</c:v>
                </c:pt>
                <c:pt idx="55403">
                  <c:v>-8.4033613445377799E-4</c:v>
                </c:pt>
                <c:pt idx="55404">
                  <c:v>-8.4033613445377799E-4</c:v>
                </c:pt>
                <c:pt idx="55405">
                  <c:v>-8.4033613445377799E-4</c:v>
                </c:pt>
                <c:pt idx="55406">
                  <c:v>-8.4033613445377799E-4</c:v>
                </c:pt>
                <c:pt idx="55407">
                  <c:v>-8.4033613445377799E-4</c:v>
                </c:pt>
                <c:pt idx="55408">
                  <c:v>-8.4033613445377799E-4</c:v>
                </c:pt>
                <c:pt idx="55409">
                  <c:v>-8.4033613445377799E-4</c:v>
                </c:pt>
                <c:pt idx="55410">
                  <c:v>-8.4033613445377799E-4</c:v>
                </c:pt>
                <c:pt idx="55411">
                  <c:v>-8.4033613445377799E-4</c:v>
                </c:pt>
                <c:pt idx="55412">
                  <c:v>-8.4033613445377799E-4</c:v>
                </c:pt>
                <c:pt idx="55413">
                  <c:v>-8.4033613445377799E-4</c:v>
                </c:pt>
                <c:pt idx="55414">
                  <c:v>-8.4033613445377799E-4</c:v>
                </c:pt>
                <c:pt idx="55415">
                  <c:v>-8.4033613445377799E-4</c:v>
                </c:pt>
                <c:pt idx="55416">
                  <c:v>-8.4033613445377799E-4</c:v>
                </c:pt>
                <c:pt idx="55417">
                  <c:v>-8.4033613445377799E-4</c:v>
                </c:pt>
                <c:pt idx="55418">
                  <c:v>-8.4033613445377799E-4</c:v>
                </c:pt>
                <c:pt idx="55419">
                  <c:v>-8.4033613445377799E-4</c:v>
                </c:pt>
                <c:pt idx="55420">
                  <c:v>-8.4033613445377799E-4</c:v>
                </c:pt>
                <c:pt idx="55421">
                  <c:v>-8.4033613445377799E-4</c:v>
                </c:pt>
                <c:pt idx="55422">
                  <c:v>-8.4033613445377799E-4</c:v>
                </c:pt>
                <c:pt idx="55423">
                  <c:v>-8.4033613445377799E-4</c:v>
                </c:pt>
                <c:pt idx="55424">
                  <c:v>-8.4033613445377799E-4</c:v>
                </c:pt>
                <c:pt idx="55425">
                  <c:v>-8.4033613445377799E-4</c:v>
                </c:pt>
                <c:pt idx="55426">
                  <c:v>-8.4033613445377799E-4</c:v>
                </c:pt>
                <c:pt idx="55427">
                  <c:v>-8.4033613445377799E-4</c:v>
                </c:pt>
                <c:pt idx="55428">
                  <c:v>-8.4033613445377799E-4</c:v>
                </c:pt>
                <c:pt idx="55429">
                  <c:v>-8.4033613445377799E-4</c:v>
                </c:pt>
                <c:pt idx="55430">
                  <c:v>-8.4033613445377799E-4</c:v>
                </c:pt>
                <c:pt idx="55431">
                  <c:v>-8.4033613445377799E-4</c:v>
                </c:pt>
                <c:pt idx="55432">
                  <c:v>-8.4033613445377799E-4</c:v>
                </c:pt>
                <c:pt idx="55433">
                  <c:v>-8.4033613445377799E-4</c:v>
                </c:pt>
                <c:pt idx="55434">
                  <c:v>-8.4033613445377799E-4</c:v>
                </c:pt>
                <c:pt idx="55435">
                  <c:v>-8.4033613445377799E-4</c:v>
                </c:pt>
                <c:pt idx="55436">
                  <c:v>-8.4033613445377799E-4</c:v>
                </c:pt>
                <c:pt idx="55437">
                  <c:v>-8.4033613445377799E-4</c:v>
                </c:pt>
                <c:pt idx="55438">
                  <c:v>-8.4033613445377799E-4</c:v>
                </c:pt>
                <c:pt idx="55439">
                  <c:v>-8.4033613445377799E-4</c:v>
                </c:pt>
                <c:pt idx="55440">
                  <c:v>-8.4033613445377799E-4</c:v>
                </c:pt>
                <c:pt idx="55441">
                  <c:v>-8.4033613445377799E-4</c:v>
                </c:pt>
                <c:pt idx="55442">
                  <c:v>-8.4033613445377799E-4</c:v>
                </c:pt>
                <c:pt idx="55443">
                  <c:v>-8.4033613445377799E-4</c:v>
                </c:pt>
                <c:pt idx="55444">
                  <c:v>-8.4033613445377799E-4</c:v>
                </c:pt>
                <c:pt idx="55445">
                  <c:v>-8.4033613445377799E-4</c:v>
                </c:pt>
                <c:pt idx="55446">
                  <c:v>-8.4033613445377799E-4</c:v>
                </c:pt>
                <c:pt idx="55447">
                  <c:v>-8.4033613445377799E-4</c:v>
                </c:pt>
                <c:pt idx="55448">
                  <c:v>-8.4033613445377799E-4</c:v>
                </c:pt>
                <c:pt idx="55449">
                  <c:v>-8.4033613445377799E-4</c:v>
                </c:pt>
                <c:pt idx="55450">
                  <c:v>-8.4033613445377799E-4</c:v>
                </c:pt>
                <c:pt idx="55451">
                  <c:v>-8.4033613445377799E-4</c:v>
                </c:pt>
                <c:pt idx="55452">
                  <c:v>-8.4033613445377799E-4</c:v>
                </c:pt>
                <c:pt idx="55453">
                  <c:v>-8.4033613445377799E-4</c:v>
                </c:pt>
                <c:pt idx="55454">
                  <c:v>-8.4033613445377799E-4</c:v>
                </c:pt>
                <c:pt idx="55455">
                  <c:v>-8.4033613445377799E-4</c:v>
                </c:pt>
                <c:pt idx="55456">
                  <c:v>-8.4033613445377799E-4</c:v>
                </c:pt>
                <c:pt idx="55457">
                  <c:v>-8.4033613445377799E-4</c:v>
                </c:pt>
                <c:pt idx="55458">
                  <c:v>-8.4033613445377799E-4</c:v>
                </c:pt>
                <c:pt idx="55459">
                  <c:v>-8.4033613445377799E-4</c:v>
                </c:pt>
                <c:pt idx="55460">
                  <c:v>-8.4033613445377799E-4</c:v>
                </c:pt>
                <c:pt idx="55461">
                  <c:v>-8.4033613445377799E-4</c:v>
                </c:pt>
                <c:pt idx="55462">
                  <c:v>-8.4033613445377799E-4</c:v>
                </c:pt>
                <c:pt idx="55463">
                  <c:v>-8.4033613445377799E-4</c:v>
                </c:pt>
                <c:pt idx="55464">
                  <c:v>-8.4033613445377799E-4</c:v>
                </c:pt>
                <c:pt idx="55465">
                  <c:v>-8.4033613445377799E-4</c:v>
                </c:pt>
                <c:pt idx="55466">
                  <c:v>-8.4033613445377799E-4</c:v>
                </c:pt>
                <c:pt idx="55467">
                  <c:v>-8.4033613445377799E-4</c:v>
                </c:pt>
                <c:pt idx="55468">
                  <c:v>-8.4033613445377799E-4</c:v>
                </c:pt>
                <c:pt idx="55469">
                  <c:v>-8.4033613445377799E-4</c:v>
                </c:pt>
                <c:pt idx="55470">
                  <c:v>0</c:v>
                </c:pt>
                <c:pt idx="55471">
                  <c:v>0</c:v>
                </c:pt>
                <c:pt idx="55472">
                  <c:v>0</c:v>
                </c:pt>
                <c:pt idx="55473">
                  <c:v>0</c:v>
                </c:pt>
                <c:pt idx="55474">
                  <c:v>0</c:v>
                </c:pt>
                <c:pt idx="55475">
                  <c:v>0</c:v>
                </c:pt>
                <c:pt idx="55476">
                  <c:v>0</c:v>
                </c:pt>
                <c:pt idx="55477">
                  <c:v>0</c:v>
                </c:pt>
                <c:pt idx="55478">
                  <c:v>0</c:v>
                </c:pt>
                <c:pt idx="55479">
                  <c:v>0</c:v>
                </c:pt>
                <c:pt idx="55480">
                  <c:v>0</c:v>
                </c:pt>
                <c:pt idx="55481">
                  <c:v>0</c:v>
                </c:pt>
                <c:pt idx="55482">
                  <c:v>0</c:v>
                </c:pt>
                <c:pt idx="55483">
                  <c:v>0</c:v>
                </c:pt>
                <c:pt idx="55484">
                  <c:v>0</c:v>
                </c:pt>
                <c:pt idx="55485">
                  <c:v>0</c:v>
                </c:pt>
                <c:pt idx="55486">
                  <c:v>0</c:v>
                </c:pt>
                <c:pt idx="55487">
                  <c:v>0</c:v>
                </c:pt>
                <c:pt idx="55488">
                  <c:v>0</c:v>
                </c:pt>
                <c:pt idx="55489">
                  <c:v>0</c:v>
                </c:pt>
                <c:pt idx="55490">
                  <c:v>0</c:v>
                </c:pt>
                <c:pt idx="55491">
                  <c:v>0</c:v>
                </c:pt>
                <c:pt idx="55492">
                  <c:v>0</c:v>
                </c:pt>
                <c:pt idx="55493">
                  <c:v>0</c:v>
                </c:pt>
                <c:pt idx="55494">
                  <c:v>0</c:v>
                </c:pt>
                <c:pt idx="55495">
                  <c:v>0</c:v>
                </c:pt>
                <c:pt idx="55496">
                  <c:v>0</c:v>
                </c:pt>
                <c:pt idx="55497">
                  <c:v>0</c:v>
                </c:pt>
                <c:pt idx="55498">
                  <c:v>0</c:v>
                </c:pt>
                <c:pt idx="55499">
                  <c:v>0</c:v>
                </c:pt>
                <c:pt idx="55500">
                  <c:v>0</c:v>
                </c:pt>
                <c:pt idx="55501">
                  <c:v>0</c:v>
                </c:pt>
                <c:pt idx="55502">
                  <c:v>0</c:v>
                </c:pt>
                <c:pt idx="55503">
                  <c:v>0</c:v>
                </c:pt>
                <c:pt idx="55504">
                  <c:v>0</c:v>
                </c:pt>
                <c:pt idx="55505">
                  <c:v>0</c:v>
                </c:pt>
                <c:pt idx="55506">
                  <c:v>0</c:v>
                </c:pt>
                <c:pt idx="55507">
                  <c:v>0</c:v>
                </c:pt>
                <c:pt idx="55508">
                  <c:v>0</c:v>
                </c:pt>
                <c:pt idx="55509">
                  <c:v>0</c:v>
                </c:pt>
                <c:pt idx="55510">
                  <c:v>0</c:v>
                </c:pt>
                <c:pt idx="55511">
                  <c:v>0</c:v>
                </c:pt>
                <c:pt idx="55512">
                  <c:v>0</c:v>
                </c:pt>
                <c:pt idx="55513">
                  <c:v>0</c:v>
                </c:pt>
                <c:pt idx="55514">
                  <c:v>0</c:v>
                </c:pt>
                <c:pt idx="55515">
                  <c:v>0</c:v>
                </c:pt>
                <c:pt idx="55516">
                  <c:v>0</c:v>
                </c:pt>
                <c:pt idx="55517">
                  <c:v>0</c:v>
                </c:pt>
                <c:pt idx="55518">
                  <c:v>0</c:v>
                </c:pt>
                <c:pt idx="55519">
                  <c:v>0</c:v>
                </c:pt>
                <c:pt idx="55520">
                  <c:v>0</c:v>
                </c:pt>
                <c:pt idx="55521">
                  <c:v>0</c:v>
                </c:pt>
                <c:pt idx="55522">
                  <c:v>0</c:v>
                </c:pt>
                <c:pt idx="55523">
                  <c:v>0</c:v>
                </c:pt>
                <c:pt idx="55524">
                  <c:v>0</c:v>
                </c:pt>
                <c:pt idx="55525">
                  <c:v>0</c:v>
                </c:pt>
                <c:pt idx="55526">
                  <c:v>0</c:v>
                </c:pt>
                <c:pt idx="55527">
                  <c:v>0</c:v>
                </c:pt>
                <c:pt idx="55528">
                  <c:v>0</c:v>
                </c:pt>
                <c:pt idx="55529">
                  <c:v>0</c:v>
                </c:pt>
                <c:pt idx="55530">
                  <c:v>0</c:v>
                </c:pt>
                <c:pt idx="55531">
                  <c:v>0</c:v>
                </c:pt>
                <c:pt idx="55532">
                  <c:v>0</c:v>
                </c:pt>
                <c:pt idx="55533">
                  <c:v>0</c:v>
                </c:pt>
                <c:pt idx="55534">
                  <c:v>0</c:v>
                </c:pt>
                <c:pt idx="55535">
                  <c:v>0</c:v>
                </c:pt>
                <c:pt idx="55536">
                  <c:v>0</c:v>
                </c:pt>
                <c:pt idx="55537">
                  <c:v>0</c:v>
                </c:pt>
                <c:pt idx="55538">
                  <c:v>0</c:v>
                </c:pt>
                <c:pt idx="55539">
                  <c:v>0</c:v>
                </c:pt>
                <c:pt idx="55540">
                  <c:v>0</c:v>
                </c:pt>
                <c:pt idx="55541">
                  <c:v>0</c:v>
                </c:pt>
                <c:pt idx="55542">
                  <c:v>0</c:v>
                </c:pt>
                <c:pt idx="55543">
                  <c:v>0</c:v>
                </c:pt>
                <c:pt idx="55544">
                  <c:v>0</c:v>
                </c:pt>
                <c:pt idx="55545">
                  <c:v>0</c:v>
                </c:pt>
                <c:pt idx="55546">
                  <c:v>0</c:v>
                </c:pt>
                <c:pt idx="55547">
                  <c:v>0</c:v>
                </c:pt>
                <c:pt idx="55548">
                  <c:v>0</c:v>
                </c:pt>
                <c:pt idx="55549">
                  <c:v>0</c:v>
                </c:pt>
                <c:pt idx="55550">
                  <c:v>0</c:v>
                </c:pt>
                <c:pt idx="55551">
                  <c:v>0</c:v>
                </c:pt>
                <c:pt idx="55552">
                  <c:v>0</c:v>
                </c:pt>
                <c:pt idx="55553">
                  <c:v>0</c:v>
                </c:pt>
                <c:pt idx="55554">
                  <c:v>0</c:v>
                </c:pt>
                <c:pt idx="55555">
                  <c:v>0</c:v>
                </c:pt>
                <c:pt idx="55556">
                  <c:v>0</c:v>
                </c:pt>
                <c:pt idx="55557">
                  <c:v>0</c:v>
                </c:pt>
                <c:pt idx="55558">
                  <c:v>0</c:v>
                </c:pt>
                <c:pt idx="55559">
                  <c:v>0</c:v>
                </c:pt>
                <c:pt idx="55560">
                  <c:v>0</c:v>
                </c:pt>
                <c:pt idx="55561">
                  <c:v>0</c:v>
                </c:pt>
                <c:pt idx="55562">
                  <c:v>0</c:v>
                </c:pt>
                <c:pt idx="55563">
                  <c:v>0</c:v>
                </c:pt>
                <c:pt idx="55564">
                  <c:v>0</c:v>
                </c:pt>
                <c:pt idx="55565">
                  <c:v>0</c:v>
                </c:pt>
                <c:pt idx="55566">
                  <c:v>0</c:v>
                </c:pt>
                <c:pt idx="55567">
                  <c:v>0</c:v>
                </c:pt>
                <c:pt idx="55568">
                  <c:v>0</c:v>
                </c:pt>
                <c:pt idx="55569">
                  <c:v>0</c:v>
                </c:pt>
                <c:pt idx="55570">
                  <c:v>0</c:v>
                </c:pt>
                <c:pt idx="55571">
                  <c:v>0</c:v>
                </c:pt>
                <c:pt idx="55572">
                  <c:v>0</c:v>
                </c:pt>
                <c:pt idx="55573">
                  <c:v>0</c:v>
                </c:pt>
                <c:pt idx="55574">
                  <c:v>0</c:v>
                </c:pt>
                <c:pt idx="55575">
                  <c:v>0</c:v>
                </c:pt>
                <c:pt idx="55576">
                  <c:v>0</c:v>
                </c:pt>
                <c:pt idx="55577">
                  <c:v>0</c:v>
                </c:pt>
                <c:pt idx="55578">
                  <c:v>0</c:v>
                </c:pt>
                <c:pt idx="55579">
                  <c:v>0</c:v>
                </c:pt>
                <c:pt idx="55580">
                  <c:v>0</c:v>
                </c:pt>
                <c:pt idx="55581">
                  <c:v>0</c:v>
                </c:pt>
                <c:pt idx="55582">
                  <c:v>0</c:v>
                </c:pt>
                <c:pt idx="55583">
                  <c:v>0</c:v>
                </c:pt>
                <c:pt idx="55584">
                  <c:v>0</c:v>
                </c:pt>
                <c:pt idx="55585">
                  <c:v>0</c:v>
                </c:pt>
                <c:pt idx="55586">
                  <c:v>0</c:v>
                </c:pt>
                <c:pt idx="55587">
                  <c:v>0</c:v>
                </c:pt>
                <c:pt idx="55588">
                  <c:v>0</c:v>
                </c:pt>
                <c:pt idx="55589">
                  <c:v>0</c:v>
                </c:pt>
                <c:pt idx="55590">
                  <c:v>0</c:v>
                </c:pt>
                <c:pt idx="55591">
                  <c:v>0</c:v>
                </c:pt>
                <c:pt idx="55592">
                  <c:v>0</c:v>
                </c:pt>
                <c:pt idx="55593">
                  <c:v>0</c:v>
                </c:pt>
                <c:pt idx="55594">
                  <c:v>0</c:v>
                </c:pt>
                <c:pt idx="55595">
                  <c:v>0</c:v>
                </c:pt>
                <c:pt idx="55596">
                  <c:v>0</c:v>
                </c:pt>
                <c:pt idx="55597">
                  <c:v>0</c:v>
                </c:pt>
                <c:pt idx="55598">
                  <c:v>0</c:v>
                </c:pt>
                <c:pt idx="55599">
                  <c:v>0</c:v>
                </c:pt>
                <c:pt idx="55600">
                  <c:v>0</c:v>
                </c:pt>
                <c:pt idx="55601">
                  <c:v>0</c:v>
                </c:pt>
                <c:pt idx="55602">
                  <c:v>0</c:v>
                </c:pt>
                <c:pt idx="55603">
                  <c:v>0</c:v>
                </c:pt>
                <c:pt idx="55604">
                  <c:v>0</c:v>
                </c:pt>
                <c:pt idx="55605">
                  <c:v>0</c:v>
                </c:pt>
                <c:pt idx="55606">
                  <c:v>0</c:v>
                </c:pt>
                <c:pt idx="55607">
                  <c:v>0</c:v>
                </c:pt>
                <c:pt idx="55608">
                  <c:v>0</c:v>
                </c:pt>
                <c:pt idx="55609">
                  <c:v>0</c:v>
                </c:pt>
                <c:pt idx="55610">
                  <c:v>0</c:v>
                </c:pt>
                <c:pt idx="55611">
                  <c:v>0</c:v>
                </c:pt>
                <c:pt idx="55612">
                  <c:v>0</c:v>
                </c:pt>
                <c:pt idx="55613">
                  <c:v>0</c:v>
                </c:pt>
                <c:pt idx="55614">
                  <c:v>0</c:v>
                </c:pt>
                <c:pt idx="55615">
                  <c:v>0</c:v>
                </c:pt>
                <c:pt idx="55616">
                  <c:v>0</c:v>
                </c:pt>
                <c:pt idx="55617">
                  <c:v>0</c:v>
                </c:pt>
                <c:pt idx="55618">
                  <c:v>0</c:v>
                </c:pt>
                <c:pt idx="55619">
                  <c:v>0</c:v>
                </c:pt>
                <c:pt idx="55620">
                  <c:v>0</c:v>
                </c:pt>
                <c:pt idx="55621">
                  <c:v>0</c:v>
                </c:pt>
                <c:pt idx="55622">
                  <c:v>0</c:v>
                </c:pt>
                <c:pt idx="55623">
                  <c:v>0</c:v>
                </c:pt>
                <c:pt idx="55624">
                  <c:v>0</c:v>
                </c:pt>
                <c:pt idx="55625">
                  <c:v>0</c:v>
                </c:pt>
                <c:pt idx="55626">
                  <c:v>0</c:v>
                </c:pt>
                <c:pt idx="55627">
                  <c:v>0</c:v>
                </c:pt>
                <c:pt idx="55628">
                  <c:v>0</c:v>
                </c:pt>
                <c:pt idx="55629">
                  <c:v>0</c:v>
                </c:pt>
                <c:pt idx="55630">
                  <c:v>0</c:v>
                </c:pt>
                <c:pt idx="55631">
                  <c:v>0</c:v>
                </c:pt>
                <c:pt idx="55632">
                  <c:v>0</c:v>
                </c:pt>
                <c:pt idx="55633">
                  <c:v>0</c:v>
                </c:pt>
                <c:pt idx="55634">
                  <c:v>0</c:v>
                </c:pt>
                <c:pt idx="55635">
                  <c:v>0</c:v>
                </c:pt>
                <c:pt idx="55636">
                  <c:v>0</c:v>
                </c:pt>
                <c:pt idx="55637">
                  <c:v>0</c:v>
                </c:pt>
                <c:pt idx="55638">
                  <c:v>0</c:v>
                </c:pt>
                <c:pt idx="55639">
                  <c:v>0</c:v>
                </c:pt>
                <c:pt idx="55640">
                  <c:v>0</c:v>
                </c:pt>
                <c:pt idx="55641">
                  <c:v>0</c:v>
                </c:pt>
                <c:pt idx="55642">
                  <c:v>0</c:v>
                </c:pt>
                <c:pt idx="55643">
                  <c:v>0</c:v>
                </c:pt>
                <c:pt idx="55644">
                  <c:v>0</c:v>
                </c:pt>
                <c:pt idx="55645">
                  <c:v>0</c:v>
                </c:pt>
                <c:pt idx="55646">
                  <c:v>0</c:v>
                </c:pt>
                <c:pt idx="55647">
                  <c:v>0</c:v>
                </c:pt>
                <c:pt idx="55648">
                  <c:v>0</c:v>
                </c:pt>
                <c:pt idx="55649">
                  <c:v>0</c:v>
                </c:pt>
                <c:pt idx="55650">
                  <c:v>0</c:v>
                </c:pt>
                <c:pt idx="55651">
                  <c:v>0</c:v>
                </c:pt>
                <c:pt idx="55652">
                  <c:v>0</c:v>
                </c:pt>
                <c:pt idx="55653">
                  <c:v>0</c:v>
                </c:pt>
                <c:pt idx="55654">
                  <c:v>0</c:v>
                </c:pt>
                <c:pt idx="55655">
                  <c:v>0</c:v>
                </c:pt>
                <c:pt idx="55656">
                  <c:v>0</c:v>
                </c:pt>
                <c:pt idx="55657">
                  <c:v>0</c:v>
                </c:pt>
                <c:pt idx="55658">
                  <c:v>0</c:v>
                </c:pt>
                <c:pt idx="55659">
                  <c:v>0</c:v>
                </c:pt>
                <c:pt idx="55660">
                  <c:v>0</c:v>
                </c:pt>
                <c:pt idx="55661">
                  <c:v>0</c:v>
                </c:pt>
                <c:pt idx="55662">
                  <c:v>0</c:v>
                </c:pt>
                <c:pt idx="55663">
                  <c:v>0</c:v>
                </c:pt>
                <c:pt idx="55664">
                  <c:v>0</c:v>
                </c:pt>
                <c:pt idx="55665">
                  <c:v>0</c:v>
                </c:pt>
                <c:pt idx="55666">
                  <c:v>0</c:v>
                </c:pt>
                <c:pt idx="55667">
                  <c:v>0</c:v>
                </c:pt>
                <c:pt idx="55668">
                  <c:v>0</c:v>
                </c:pt>
                <c:pt idx="55669">
                  <c:v>0</c:v>
                </c:pt>
                <c:pt idx="55670">
                  <c:v>0</c:v>
                </c:pt>
                <c:pt idx="55671">
                  <c:v>0</c:v>
                </c:pt>
                <c:pt idx="55672">
                  <c:v>0</c:v>
                </c:pt>
                <c:pt idx="55673">
                  <c:v>0</c:v>
                </c:pt>
                <c:pt idx="55674">
                  <c:v>0</c:v>
                </c:pt>
                <c:pt idx="55675">
                  <c:v>0</c:v>
                </c:pt>
                <c:pt idx="55676">
                  <c:v>0</c:v>
                </c:pt>
                <c:pt idx="55677">
                  <c:v>0</c:v>
                </c:pt>
                <c:pt idx="55678">
                  <c:v>0</c:v>
                </c:pt>
                <c:pt idx="55679">
                  <c:v>0</c:v>
                </c:pt>
                <c:pt idx="55680">
                  <c:v>0</c:v>
                </c:pt>
                <c:pt idx="55681">
                  <c:v>0</c:v>
                </c:pt>
                <c:pt idx="55682">
                  <c:v>0</c:v>
                </c:pt>
                <c:pt idx="55683">
                  <c:v>0</c:v>
                </c:pt>
                <c:pt idx="55684">
                  <c:v>0</c:v>
                </c:pt>
                <c:pt idx="55685">
                  <c:v>0</c:v>
                </c:pt>
                <c:pt idx="55686">
                  <c:v>0</c:v>
                </c:pt>
                <c:pt idx="55687">
                  <c:v>0</c:v>
                </c:pt>
                <c:pt idx="55688">
                  <c:v>0</c:v>
                </c:pt>
                <c:pt idx="55689">
                  <c:v>0</c:v>
                </c:pt>
                <c:pt idx="55690">
                  <c:v>0</c:v>
                </c:pt>
                <c:pt idx="55691">
                  <c:v>0</c:v>
                </c:pt>
                <c:pt idx="55692">
                  <c:v>0</c:v>
                </c:pt>
                <c:pt idx="55693">
                  <c:v>0</c:v>
                </c:pt>
                <c:pt idx="55694">
                  <c:v>0</c:v>
                </c:pt>
                <c:pt idx="55695">
                  <c:v>0</c:v>
                </c:pt>
                <c:pt idx="55696">
                  <c:v>0</c:v>
                </c:pt>
                <c:pt idx="55697">
                  <c:v>0</c:v>
                </c:pt>
                <c:pt idx="55698">
                  <c:v>0</c:v>
                </c:pt>
                <c:pt idx="55699">
                  <c:v>0</c:v>
                </c:pt>
                <c:pt idx="55700">
                  <c:v>0</c:v>
                </c:pt>
                <c:pt idx="55701">
                  <c:v>0</c:v>
                </c:pt>
                <c:pt idx="55702">
                  <c:v>0</c:v>
                </c:pt>
                <c:pt idx="55703">
                  <c:v>0</c:v>
                </c:pt>
                <c:pt idx="55704">
                  <c:v>0</c:v>
                </c:pt>
                <c:pt idx="55705">
                  <c:v>0</c:v>
                </c:pt>
                <c:pt idx="55706">
                  <c:v>0</c:v>
                </c:pt>
                <c:pt idx="55707">
                  <c:v>0</c:v>
                </c:pt>
                <c:pt idx="55708">
                  <c:v>0</c:v>
                </c:pt>
                <c:pt idx="55709">
                  <c:v>0</c:v>
                </c:pt>
                <c:pt idx="55710">
                  <c:v>0</c:v>
                </c:pt>
                <c:pt idx="55711">
                  <c:v>0</c:v>
                </c:pt>
                <c:pt idx="55712">
                  <c:v>0</c:v>
                </c:pt>
                <c:pt idx="55713">
                  <c:v>0</c:v>
                </c:pt>
                <c:pt idx="55714">
                  <c:v>0</c:v>
                </c:pt>
                <c:pt idx="55715">
                  <c:v>0</c:v>
                </c:pt>
                <c:pt idx="55716">
                  <c:v>0</c:v>
                </c:pt>
                <c:pt idx="55717">
                  <c:v>0</c:v>
                </c:pt>
                <c:pt idx="55718">
                  <c:v>0</c:v>
                </c:pt>
                <c:pt idx="55719">
                  <c:v>0</c:v>
                </c:pt>
                <c:pt idx="55720">
                  <c:v>0</c:v>
                </c:pt>
                <c:pt idx="55721">
                  <c:v>0</c:v>
                </c:pt>
                <c:pt idx="55722">
                  <c:v>0</c:v>
                </c:pt>
                <c:pt idx="55723">
                  <c:v>0</c:v>
                </c:pt>
                <c:pt idx="55724">
                  <c:v>0</c:v>
                </c:pt>
                <c:pt idx="55725">
                  <c:v>0</c:v>
                </c:pt>
                <c:pt idx="55726">
                  <c:v>0</c:v>
                </c:pt>
                <c:pt idx="55727">
                  <c:v>0</c:v>
                </c:pt>
                <c:pt idx="55728">
                  <c:v>0</c:v>
                </c:pt>
                <c:pt idx="55729">
                  <c:v>0</c:v>
                </c:pt>
                <c:pt idx="55730">
                  <c:v>0</c:v>
                </c:pt>
                <c:pt idx="55731">
                  <c:v>0</c:v>
                </c:pt>
                <c:pt idx="55732">
                  <c:v>0</c:v>
                </c:pt>
                <c:pt idx="55733">
                  <c:v>0</c:v>
                </c:pt>
                <c:pt idx="55734">
                  <c:v>0</c:v>
                </c:pt>
                <c:pt idx="55735">
                  <c:v>0</c:v>
                </c:pt>
                <c:pt idx="55736">
                  <c:v>0</c:v>
                </c:pt>
                <c:pt idx="55737">
                  <c:v>0</c:v>
                </c:pt>
                <c:pt idx="55738">
                  <c:v>0</c:v>
                </c:pt>
                <c:pt idx="55739">
                  <c:v>0</c:v>
                </c:pt>
                <c:pt idx="55740">
                  <c:v>0</c:v>
                </c:pt>
                <c:pt idx="55741">
                  <c:v>0</c:v>
                </c:pt>
                <c:pt idx="55742">
                  <c:v>0</c:v>
                </c:pt>
                <c:pt idx="55743">
                  <c:v>0</c:v>
                </c:pt>
                <c:pt idx="55744">
                  <c:v>0</c:v>
                </c:pt>
                <c:pt idx="55745">
                  <c:v>0</c:v>
                </c:pt>
                <c:pt idx="55746">
                  <c:v>0</c:v>
                </c:pt>
                <c:pt idx="55747">
                  <c:v>0</c:v>
                </c:pt>
                <c:pt idx="55748">
                  <c:v>0</c:v>
                </c:pt>
                <c:pt idx="55749">
                  <c:v>0</c:v>
                </c:pt>
                <c:pt idx="55750">
                  <c:v>0</c:v>
                </c:pt>
                <c:pt idx="55751">
                  <c:v>0</c:v>
                </c:pt>
                <c:pt idx="55752">
                  <c:v>0</c:v>
                </c:pt>
                <c:pt idx="55753">
                  <c:v>0</c:v>
                </c:pt>
                <c:pt idx="55754">
                  <c:v>0</c:v>
                </c:pt>
                <c:pt idx="55755">
                  <c:v>0</c:v>
                </c:pt>
                <c:pt idx="55756">
                  <c:v>0</c:v>
                </c:pt>
                <c:pt idx="55757">
                  <c:v>0</c:v>
                </c:pt>
                <c:pt idx="55758">
                  <c:v>0</c:v>
                </c:pt>
                <c:pt idx="55759">
                  <c:v>0</c:v>
                </c:pt>
                <c:pt idx="55760">
                  <c:v>0</c:v>
                </c:pt>
                <c:pt idx="55761">
                  <c:v>0</c:v>
                </c:pt>
                <c:pt idx="55762">
                  <c:v>0</c:v>
                </c:pt>
                <c:pt idx="55763">
                  <c:v>0</c:v>
                </c:pt>
                <c:pt idx="55764">
                  <c:v>0</c:v>
                </c:pt>
                <c:pt idx="55765">
                  <c:v>0</c:v>
                </c:pt>
                <c:pt idx="55766">
                  <c:v>0</c:v>
                </c:pt>
                <c:pt idx="55767">
                  <c:v>0</c:v>
                </c:pt>
                <c:pt idx="55768">
                  <c:v>0</c:v>
                </c:pt>
                <c:pt idx="55769">
                  <c:v>0</c:v>
                </c:pt>
                <c:pt idx="55770">
                  <c:v>0</c:v>
                </c:pt>
                <c:pt idx="55771">
                  <c:v>0</c:v>
                </c:pt>
                <c:pt idx="55772">
                  <c:v>0</c:v>
                </c:pt>
                <c:pt idx="55773">
                  <c:v>0</c:v>
                </c:pt>
                <c:pt idx="55774">
                  <c:v>0</c:v>
                </c:pt>
                <c:pt idx="55775">
                  <c:v>0</c:v>
                </c:pt>
                <c:pt idx="55776">
                  <c:v>0</c:v>
                </c:pt>
                <c:pt idx="55777">
                  <c:v>0</c:v>
                </c:pt>
                <c:pt idx="55778">
                  <c:v>0</c:v>
                </c:pt>
                <c:pt idx="55779">
                  <c:v>0</c:v>
                </c:pt>
                <c:pt idx="55780">
                  <c:v>0</c:v>
                </c:pt>
                <c:pt idx="55781">
                  <c:v>0</c:v>
                </c:pt>
                <c:pt idx="55782">
                  <c:v>0</c:v>
                </c:pt>
                <c:pt idx="55783">
                  <c:v>0</c:v>
                </c:pt>
                <c:pt idx="55784">
                  <c:v>0</c:v>
                </c:pt>
                <c:pt idx="55785">
                  <c:v>0</c:v>
                </c:pt>
                <c:pt idx="55786">
                  <c:v>0</c:v>
                </c:pt>
                <c:pt idx="55787">
                  <c:v>0</c:v>
                </c:pt>
                <c:pt idx="55788">
                  <c:v>0</c:v>
                </c:pt>
                <c:pt idx="55789">
                  <c:v>0</c:v>
                </c:pt>
                <c:pt idx="55790">
                  <c:v>0</c:v>
                </c:pt>
                <c:pt idx="55791">
                  <c:v>0</c:v>
                </c:pt>
                <c:pt idx="55792">
                  <c:v>0</c:v>
                </c:pt>
                <c:pt idx="55793">
                  <c:v>0</c:v>
                </c:pt>
                <c:pt idx="55794">
                  <c:v>0</c:v>
                </c:pt>
                <c:pt idx="55795">
                  <c:v>0</c:v>
                </c:pt>
                <c:pt idx="55796">
                  <c:v>0</c:v>
                </c:pt>
                <c:pt idx="55797">
                  <c:v>0</c:v>
                </c:pt>
                <c:pt idx="55798">
                  <c:v>0</c:v>
                </c:pt>
                <c:pt idx="55799">
                  <c:v>0</c:v>
                </c:pt>
                <c:pt idx="55800">
                  <c:v>0</c:v>
                </c:pt>
                <c:pt idx="55801">
                  <c:v>0</c:v>
                </c:pt>
                <c:pt idx="55802">
                  <c:v>0</c:v>
                </c:pt>
                <c:pt idx="55803">
                  <c:v>0</c:v>
                </c:pt>
                <c:pt idx="55804">
                  <c:v>0</c:v>
                </c:pt>
                <c:pt idx="55805">
                  <c:v>0</c:v>
                </c:pt>
                <c:pt idx="55806">
                  <c:v>0</c:v>
                </c:pt>
                <c:pt idx="55807">
                  <c:v>0</c:v>
                </c:pt>
                <c:pt idx="55808">
                  <c:v>0</c:v>
                </c:pt>
                <c:pt idx="55809">
                  <c:v>0</c:v>
                </c:pt>
                <c:pt idx="55810">
                  <c:v>0</c:v>
                </c:pt>
                <c:pt idx="55811">
                  <c:v>0</c:v>
                </c:pt>
                <c:pt idx="55812">
                  <c:v>0</c:v>
                </c:pt>
                <c:pt idx="55813">
                  <c:v>0</c:v>
                </c:pt>
                <c:pt idx="55814">
                  <c:v>0</c:v>
                </c:pt>
                <c:pt idx="55815">
                  <c:v>0</c:v>
                </c:pt>
                <c:pt idx="55816">
                  <c:v>0</c:v>
                </c:pt>
                <c:pt idx="55817">
                  <c:v>0</c:v>
                </c:pt>
                <c:pt idx="55818">
                  <c:v>0</c:v>
                </c:pt>
                <c:pt idx="55819">
                  <c:v>0</c:v>
                </c:pt>
                <c:pt idx="55820">
                  <c:v>0</c:v>
                </c:pt>
                <c:pt idx="55821">
                  <c:v>0</c:v>
                </c:pt>
                <c:pt idx="55822">
                  <c:v>0</c:v>
                </c:pt>
                <c:pt idx="55823">
                  <c:v>0</c:v>
                </c:pt>
                <c:pt idx="55824">
                  <c:v>0</c:v>
                </c:pt>
                <c:pt idx="55825">
                  <c:v>0</c:v>
                </c:pt>
                <c:pt idx="55826">
                  <c:v>0</c:v>
                </c:pt>
                <c:pt idx="55827">
                  <c:v>0</c:v>
                </c:pt>
                <c:pt idx="55828">
                  <c:v>0</c:v>
                </c:pt>
                <c:pt idx="55829">
                  <c:v>0</c:v>
                </c:pt>
                <c:pt idx="55830">
                  <c:v>0</c:v>
                </c:pt>
                <c:pt idx="55831">
                  <c:v>0</c:v>
                </c:pt>
                <c:pt idx="55832">
                  <c:v>0</c:v>
                </c:pt>
                <c:pt idx="55833">
                  <c:v>0</c:v>
                </c:pt>
                <c:pt idx="55834">
                  <c:v>0</c:v>
                </c:pt>
                <c:pt idx="55835">
                  <c:v>0</c:v>
                </c:pt>
                <c:pt idx="55836">
                  <c:v>0</c:v>
                </c:pt>
                <c:pt idx="55837">
                  <c:v>0</c:v>
                </c:pt>
                <c:pt idx="55838">
                  <c:v>0</c:v>
                </c:pt>
                <c:pt idx="55839">
                  <c:v>0</c:v>
                </c:pt>
                <c:pt idx="55840">
                  <c:v>0</c:v>
                </c:pt>
                <c:pt idx="55841">
                  <c:v>0</c:v>
                </c:pt>
                <c:pt idx="55842">
                  <c:v>0</c:v>
                </c:pt>
                <c:pt idx="55843">
                  <c:v>0</c:v>
                </c:pt>
                <c:pt idx="55844">
                  <c:v>0</c:v>
                </c:pt>
                <c:pt idx="55845">
                  <c:v>0</c:v>
                </c:pt>
                <c:pt idx="55846">
                  <c:v>0</c:v>
                </c:pt>
                <c:pt idx="55847">
                  <c:v>0</c:v>
                </c:pt>
                <c:pt idx="55848">
                  <c:v>0</c:v>
                </c:pt>
                <c:pt idx="55849">
                  <c:v>0</c:v>
                </c:pt>
                <c:pt idx="55850">
                  <c:v>0</c:v>
                </c:pt>
                <c:pt idx="55851">
                  <c:v>0</c:v>
                </c:pt>
                <c:pt idx="55852">
                  <c:v>0</c:v>
                </c:pt>
                <c:pt idx="55853">
                  <c:v>0</c:v>
                </c:pt>
                <c:pt idx="55854">
                  <c:v>0</c:v>
                </c:pt>
                <c:pt idx="55855">
                  <c:v>0</c:v>
                </c:pt>
                <c:pt idx="55856">
                  <c:v>0</c:v>
                </c:pt>
                <c:pt idx="55857">
                  <c:v>0</c:v>
                </c:pt>
                <c:pt idx="55858">
                  <c:v>0</c:v>
                </c:pt>
                <c:pt idx="55859">
                  <c:v>0</c:v>
                </c:pt>
                <c:pt idx="55860">
                  <c:v>0</c:v>
                </c:pt>
                <c:pt idx="55861">
                  <c:v>0</c:v>
                </c:pt>
                <c:pt idx="55862">
                  <c:v>0</c:v>
                </c:pt>
                <c:pt idx="55863">
                  <c:v>0</c:v>
                </c:pt>
                <c:pt idx="55864">
                  <c:v>0</c:v>
                </c:pt>
                <c:pt idx="55865">
                  <c:v>0</c:v>
                </c:pt>
                <c:pt idx="55866">
                  <c:v>0</c:v>
                </c:pt>
                <c:pt idx="55867">
                  <c:v>0</c:v>
                </c:pt>
                <c:pt idx="55868">
                  <c:v>0</c:v>
                </c:pt>
                <c:pt idx="55869">
                  <c:v>0</c:v>
                </c:pt>
                <c:pt idx="55870">
                  <c:v>0</c:v>
                </c:pt>
                <c:pt idx="55871">
                  <c:v>0</c:v>
                </c:pt>
                <c:pt idx="55872">
                  <c:v>0</c:v>
                </c:pt>
                <c:pt idx="55873">
                  <c:v>0</c:v>
                </c:pt>
                <c:pt idx="55874">
                  <c:v>0</c:v>
                </c:pt>
                <c:pt idx="55875">
                  <c:v>0</c:v>
                </c:pt>
                <c:pt idx="55876">
                  <c:v>0</c:v>
                </c:pt>
                <c:pt idx="55877">
                  <c:v>0</c:v>
                </c:pt>
                <c:pt idx="55878">
                  <c:v>0</c:v>
                </c:pt>
                <c:pt idx="55879">
                  <c:v>0</c:v>
                </c:pt>
                <c:pt idx="55880">
                  <c:v>0</c:v>
                </c:pt>
                <c:pt idx="55881">
                  <c:v>0</c:v>
                </c:pt>
                <c:pt idx="55882">
                  <c:v>0</c:v>
                </c:pt>
                <c:pt idx="55883">
                  <c:v>0</c:v>
                </c:pt>
                <c:pt idx="55884">
                  <c:v>0</c:v>
                </c:pt>
                <c:pt idx="55885">
                  <c:v>0</c:v>
                </c:pt>
                <c:pt idx="55886">
                  <c:v>0</c:v>
                </c:pt>
                <c:pt idx="55887">
                  <c:v>0</c:v>
                </c:pt>
                <c:pt idx="55888">
                  <c:v>0</c:v>
                </c:pt>
                <c:pt idx="55889">
                  <c:v>0</c:v>
                </c:pt>
                <c:pt idx="55890">
                  <c:v>0</c:v>
                </c:pt>
                <c:pt idx="55891">
                  <c:v>0</c:v>
                </c:pt>
                <c:pt idx="55892">
                  <c:v>0</c:v>
                </c:pt>
                <c:pt idx="55893">
                  <c:v>0</c:v>
                </c:pt>
                <c:pt idx="55894">
                  <c:v>0</c:v>
                </c:pt>
                <c:pt idx="55895">
                  <c:v>0</c:v>
                </c:pt>
                <c:pt idx="55896">
                  <c:v>0</c:v>
                </c:pt>
                <c:pt idx="55897">
                  <c:v>0</c:v>
                </c:pt>
                <c:pt idx="55898">
                  <c:v>0</c:v>
                </c:pt>
                <c:pt idx="55899">
                  <c:v>0</c:v>
                </c:pt>
                <c:pt idx="55900">
                  <c:v>0</c:v>
                </c:pt>
                <c:pt idx="55901">
                  <c:v>0</c:v>
                </c:pt>
                <c:pt idx="55902">
                  <c:v>0</c:v>
                </c:pt>
                <c:pt idx="55903">
                  <c:v>0</c:v>
                </c:pt>
                <c:pt idx="55904">
                  <c:v>0</c:v>
                </c:pt>
                <c:pt idx="55905">
                  <c:v>0</c:v>
                </c:pt>
                <c:pt idx="55906">
                  <c:v>0</c:v>
                </c:pt>
                <c:pt idx="55907">
                  <c:v>0</c:v>
                </c:pt>
                <c:pt idx="55908">
                  <c:v>0</c:v>
                </c:pt>
                <c:pt idx="55909">
                  <c:v>0</c:v>
                </c:pt>
                <c:pt idx="55910">
                  <c:v>0</c:v>
                </c:pt>
                <c:pt idx="55911">
                  <c:v>0</c:v>
                </c:pt>
                <c:pt idx="55912">
                  <c:v>0</c:v>
                </c:pt>
                <c:pt idx="55913">
                  <c:v>0</c:v>
                </c:pt>
                <c:pt idx="55914">
                  <c:v>0</c:v>
                </c:pt>
                <c:pt idx="55915">
                  <c:v>0</c:v>
                </c:pt>
                <c:pt idx="55916">
                  <c:v>0</c:v>
                </c:pt>
                <c:pt idx="55917">
                  <c:v>0</c:v>
                </c:pt>
                <c:pt idx="55918">
                  <c:v>0</c:v>
                </c:pt>
                <c:pt idx="55919">
                  <c:v>0</c:v>
                </c:pt>
                <c:pt idx="55920">
                  <c:v>0</c:v>
                </c:pt>
                <c:pt idx="55921">
                  <c:v>0</c:v>
                </c:pt>
                <c:pt idx="55922">
                  <c:v>0</c:v>
                </c:pt>
                <c:pt idx="55923">
                  <c:v>0</c:v>
                </c:pt>
                <c:pt idx="55924">
                  <c:v>0</c:v>
                </c:pt>
                <c:pt idx="55925">
                  <c:v>0</c:v>
                </c:pt>
                <c:pt idx="55926">
                  <c:v>0</c:v>
                </c:pt>
                <c:pt idx="55927">
                  <c:v>0</c:v>
                </c:pt>
                <c:pt idx="55928">
                  <c:v>0</c:v>
                </c:pt>
                <c:pt idx="55929">
                  <c:v>0</c:v>
                </c:pt>
                <c:pt idx="55930">
                  <c:v>0</c:v>
                </c:pt>
                <c:pt idx="55931">
                  <c:v>0</c:v>
                </c:pt>
                <c:pt idx="55932">
                  <c:v>0</c:v>
                </c:pt>
                <c:pt idx="55933">
                  <c:v>0</c:v>
                </c:pt>
                <c:pt idx="55934">
                  <c:v>0</c:v>
                </c:pt>
                <c:pt idx="55935">
                  <c:v>0</c:v>
                </c:pt>
                <c:pt idx="55936">
                  <c:v>0</c:v>
                </c:pt>
                <c:pt idx="55937">
                  <c:v>0</c:v>
                </c:pt>
                <c:pt idx="55938">
                  <c:v>0</c:v>
                </c:pt>
                <c:pt idx="55939">
                  <c:v>0</c:v>
                </c:pt>
                <c:pt idx="55940">
                  <c:v>0</c:v>
                </c:pt>
                <c:pt idx="55941">
                  <c:v>0</c:v>
                </c:pt>
                <c:pt idx="55942">
                  <c:v>0</c:v>
                </c:pt>
                <c:pt idx="55943">
                  <c:v>0</c:v>
                </c:pt>
                <c:pt idx="55944">
                  <c:v>0</c:v>
                </c:pt>
                <c:pt idx="55945">
                  <c:v>0</c:v>
                </c:pt>
                <c:pt idx="55946">
                  <c:v>0</c:v>
                </c:pt>
                <c:pt idx="55947">
                  <c:v>0</c:v>
                </c:pt>
                <c:pt idx="55948">
                  <c:v>0</c:v>
                </c:pt>
                <c:pt idx="55949">
                  <c:v>0</c:v>
                </c:pt>
                <c:pt idx="55950">
                  <c:v>0</c:v>
                </c:pt>
                <c:pt idx="55951">
                  <c:v>0</c:v>
                </c:pt>
                <c:pt idx="55952">
                  <c:v>0</c:v>
                </c:pt>
                <c:pt idx="55953">
                  <c:v>0</c:v>
                </c:pt>
                <c:pt idx="55954">
                  <c:v>0</c:v>
                </c:pt>
                <c:pt idx="55955">
                  <c:v>0</c:v>
                </c:pt>
                <c:pt idx="55956">
                  <c:v>0</c:v>
                </c:pt>
                <c:pt idx="55957">
                  <c:v>0</c:v>
                </c:pt>
                <c:pt idx="55958">
                  <c:v>0</c:v>
                </c:pt>
                <c:pt idx="55959">
                  <c:v>0</c:v>
                </c:pt>
                <c:pt idx="55960">
                  <c:v>0</c:v>
                </c:pt>
                <c:pt idx="55961">
                  <c:v>0</c:v>
                </c:pt>
                <c:pt idx="55962">
                  <c:v>0</c:v>
                </c:pt>
                <c:pt idx="55963">
                  <c:v>0</c:v>
                </c:pt>
                <c:pt idx="55964">
                  <c:v>0</c:v>
                </c:pt>
                <c:pt idx="55965">
                  <c:v>0</c:v>
                </c:pt>
                <c:pt idx="55966">
                  <c:v>0</c:v>
                </c:pt>
                <c:pt idx="55967">
                  <c:v>0</c:v>
                </c:pt>
                <c:pt idx="55968">
                  <c:v>0</c:v>
                </c:pt>
                <c:pt idx="55969">
                  <c:v>0</c:v>
                </c:pt>
                <c:pt idx="55970">
                  <c:v>0</c:v>
                </c:pt>
                <c:pt idx="55971">
                  <c:v>0</c:v>
                </c:pt>
                <c:pt idx="55972">
                  <c:v>0</c:v>
                </c:pt>
                <c:pt idx="55973">
                  <c:v>0</c:v>
                </c:pt>
                <c:pt idx="55974">
                  <c:v>0</c:v>
                </c:pt>
                <c:pt idx="55975">
                  <c:v>0</c:v>
                </c:pt>
                <c:pt idx="55976">
                  <c:v>0</c:v>
                </c:pt>
                <c:pt idx="55977">
                  <c:v>0</c:v>
                </c:pt>
                <c:pt idx="55978">
                  <c:v>0</c:v>
                </c:pt>
                <c:pt idx="55979">
                  <c:v>0</c:v>
                </c:pt>
                <c:pt idx="55980">
                  <c:v>0</c:v>
                </c:pt>
                <c:pt idx="55981">
                  <c:v>0</c:v>
                </c:pt>
                <c:pt idx="55982">
                  <c:v>0</c:v>
                </c:pt>
                <c:pt idx="55983">
                  <c:v>0</c:v>
                </c:pt>
                <c:pt idx="55984">
                  <c:v>0</c:v>
                </c:pt>
                <c:pt idx="55985">
                  <c:v>0</c:v>
                </c:pt>
                <c:pt idx="55986">
                  <c:v>0</c:v>
                </c:pt>
                <c:pt idx="55987">
                  <c:v>0</c:v>
                </c:pt>
                <c:pt idx="55988">
                  <c:v>0</c:v>
                </c:pt>
                <c:pt idx="55989">
                  <c:v>0</c:v>
                </c:pt>
                <c:pt idx="55990">
                  <c:v>0</c:v>
                </c:pt>
                <c:pt idx="55991">
                  <c:v>0</c:v>
                </c:pt>
                <c:pt idx="55992">
                  <c:v>0</c:v>
                </c:pt>
                <c:pt idx="55993">
                  <c:v>0</c:v>
                </c:pt>
                <c:pt idx="55994">
                  <c:v>0</c:v>
                </c:pt>
                <c:pt idx="55995">
                  <c:v>0</c:v>
                </c:pt>
                <c:pt idx="55996">
                  <c:v>0</c:v>
                </c:pt>
                <c:pt idx="55997">
                  <c:v>0</c:v>
                </c:pt>
                <c:pt idx="55998">
                  <c:v>0</c:v>
                </c:pt>
                <c:pt idx="55999">
                  <c:v>0</c:v>
                </c:pt>
                <c:pt idx="56000">
                  <c:v>0</c:v>
                </c:pt>
                <c:pt idx="56001">
                  <c:v>0</c:v>
                </c:pt>
                <c:pt idx="56002">
                  <c:v>0</c:v>
                </c:pt>
                <c:pt idx="56003">
                  <c:v>0</c:v>
                </c:pt>
                <c:pt idx="56004">
                  <c:v>0</c:v>
                </c:pt>
                <c:pt idx="56005">
                  <c:v>0</c:v>
                </c:pt>
                <c:pt idx="56006">
                  <c:v>0</c:v>
                </c:pt>
                <c:pt idx="56007">
                  <c:v>0</c:v>
                </c:pt>
                <c:pt idx="56008">
                  <c:v>0</c:v>
                </c:pt>
                <c:pt idx="56009">
                  <c:v>0</c:v>
                </c:pt>
                <c:pt idx="56010">
                  <c:v>0</c:v>
                </c:pt>
                <c:pt idx="56011">
                  <c:v>0</c:v>
                </c:pt>
                <c:pt idx="56012">
                  <c:v>0</c:v>
                </c:pt>
                <c:pt idx="56013">
                  <c:v>0</c:v>
                </c:pt>
                <c:pt idx="56014">
                  <c:v>0</c:v>
                </c:pt>
                <c:pt idx="56015">
                  <c:v>0</c:v>
                </c:pt>
                <c:pt idx="56016">
                  <c:v>0</c:v>
                </c:pt>
                <c:pt idx="56017">
                  <c:v>0</c:v>
                </c:pt>
                <c:pt idx="56018">
                  <c:v>0</c:v>
                </c:pt>
                <c:pt idx="56019">
                  <c:v>0</c:v>
                </c:pt>
                <c:pt idx="56020">
                  <c:v>0</c:v>
                </c:pt>
                <c:pt idx="56021">
                  <c:v>0</c:v>
                </c:pt>
                <c:pt idx="56022">
                  <c:v>0</c:v>
                </c:pt>
                <c:pt idx="56023">
                  <c:v>0</c:v>
                </c:pt>
                <c:pt idx="56024">
                  <c:v>0</c:v>
                </c:pt>
                <c:pt idx="56025">
                  <c:v>0</c:v>
                </c:pt>
                <c:pt idx="56026">
                  <c:v>0</c:v>
                </c:pt>
                <c:pt idx="56027">
                  <c:v>0</c:v>
                </c:pt>
                <c:pt idx="56028">
                  <c:v>0</c:v>
                </c:pt>
                <c:pt idx="56029">
                  <c:v>0</c:v>
                </c:pt>
                <c:pt idx="56030">
                  <c:v>0</c:v>
                </c:pt>
                <c:pt idx="56031">
                  <c:v>0</c:v>
                </c:pt>
                <c:pt idx="56032">
                  <c:v>0</c:v>
                </c:pt>
                <c:pt idx="56033">
                  <c:v>0</c:v>
                </c:pt>
                <c:pt idx="56034">
                  <c:v>0</c:v>
                </c:pt>
                <c:pt idx="56035">
                  <c:v>0</c:v>
                </c:pt>
                <c:pt idx="56036">
                  <c:v>0</c:v>
                </c:pt>
                <c:pt idx="56037">
                  <c:v>0</c:v>
                </c:pt>
                <c:pt idx="56038">
                  <c:v>0</c:v>
                </c:pt>
                <c:pt idx="56039">
                  <c:v>0</c:v>
                </c:pt>
                <c:pt idx="56040">
                  <c:v>0</c:v>
                </c:pt>
                <c:pt idx="56041">
                  <c:v>0</c:v>
                </c:pt>
                <c:pt idx="56042">
                  <c:v>0</c:v>
                </c:pt>
                <c:pt idx="56043">
                  <c:v>0</c:v>
                </c:pt>
                <c:pt idx="56044">
                  <c:v>0</c:v>
                </c:pt>
                <c:pt idx="56045">
                  <c:v>0</c:v>
                </c:pt>
                <c:pt idx="56046">
                  <c:v>0</c:v>
                </c:pt>
                <c:pt idx="56047">
                  <c:v>0</c:v>
                </c:pt>
                <c:pt idx="56048">
                  <c:v>0</c:v>
                </c:pt>
                <c:pt idx="56049">
                  <c:v>0</c:v>
                </c:pt>
                <c:pt idx="56050">
                  <c:v>0</c:v>
                </c:pt>
                <c:pt idx="56051">
                  <c:v>0</c:v>
                </c:pt>
                <c:pt idx="56052">
                  <c:v>0</c:v>
                </c:pt>
                <c:pt idx="56053">
                  <c:v>0</c:v>
                </c:pt>
                <c:pt idx="56054">
                  <c:v>0</c:v>
                </c:pt>
                <c:pt idx="56055">
                  <c:v>0</c:v>
                </c:pt>
                <c:pt idx="56056">
                  <c:v>0</c:v>
                </c:pt>
                <c:pt idx="56057">
                  <c:v>0</c:v>
                </c:pt>
                <c:pt idx="56058">
                  <c:v>0</c:v>
                </c:pt>
                <c:pt idx="56059">
                  <c:v>0</c:v>
                </c:pt>
                <c:pt idx="56060">
                  <c:v>0</c:v>
                </c:pt>
                <c:pt idx="56061">
                  <c:v>0</c:v>
                </c:pt>
                <c:pt idx="56062">
                  <c:v>0</c:v>
                </c:pt>
                <c:pt idx="56063">
                  <c:v>0</c:v>
                </c:pt>
                <c:pt idx="56064">
                  <c:v>0</c:v>
                </c:pt>
                <c:pt idx="56065">
                  <c:v>0</c:v>
                </c:pt>
                <c:pt idx="56066">
                  <c:v>0</c:v>
                </c:pt>
                <c:pt idx="56067">
                  <c:v>0</c:v>
                </c:pt>
                <c:pt idx="56068">
                  <c:v>0</c:v>
                </c:pt>
                <c:pt idx="56069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6FD-4758-903B-B68F964CC6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13586320"/>
        <c:axId val="1232543472"/>
      </c:lineChart>
      <c:catAx>
        <c:axId val="81358632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IN" sz="1600">
                    <a:latin typeface="Arial" panose="020B0604020202020204" pitchFamily="34" charset="0"/>
                    <a:cs typeface="Arial" panose="020B0604020202020204" pitchFamily="34" charset="0"/>
                  </a:rPr>
                  <a:t>Percentage of Sampl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232543472"/>
        <c:crosses val="autoZero"/>
        <c:auto val="1"/>
        <c:lblAlgn val="ctr"/>
        <c:lblOffset val="100"/>
        <c:noMultiLvlLbl val="0"/>
      </c:catAx>
      <c:valAx>
        <c:axId val="123254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IN" sz="1600">
                    <a:latin typeface="Arial" panose="020B0604020202020204" pitchFamily="34" charset="0"/>
                    <a:cs typeface="Arial" panose="020B0604020202020204" pitchFamily="34" charset="0"/>
                  </a:rPr>
                  <a:t>% Opportunity</a:t>
                </a:r>
                <a:r>
                  <a:rPr lang="en-IN" sz="1600" baseline="0">
                    <a:latin typeface="Arial" panose="020B0604020202020204" pitchFamily="34" charset="0"/>
                    <a:cs typeface="Arial" panose="020B0604020202020204" pitchFamily="34" charset="0"/>
                  </a:rPr>
                  <a:t> Gain/Loss </a:t>
                </a:r>
                <a:endParaRPr lang="en-IN" sz="1600"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8135863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7567336-4EDE-4D00-85BA-78B033B09C7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17160875" cy="1984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629C332-A106-431A-8CF9-4C7E966767B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22431375" y="0"/>
            <a:ext cx="17159288" cy="1984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989CD4-C2C3-40A0-9FF9-B395EEEFAF44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834825-B1F4-466C-B112-198737BB257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37615813"/>
            <a:ext cx="17160875" cy="1984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87FB0F-963F-4CF1-89EC-6C1F8FB613E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22431375" y="37615813"/>
            <a:ext cx="17159288" cy="1984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094531-855D-4471-89B7-0A3C8863AA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1621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7160875" cy="1984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22431375" y="0"/>
            <a:ext cx="17159288" cy="1984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E82495-20E6-4DC4-B68F-C6FBB8E26F6D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435725" y="4949825"/>
            <a:ext cx="26730325" cy="13365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60813" y="19057938"/>
            <a:ext cx="31680150" cy="15592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37615813"/>
            <a:ext cx="17160875" cy="1984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2431375" y="37615813"/>
            <a:ext cx="17159288" cy="1984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A6B59D-2217-4338-9D1B-7E5E82C89B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4139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6B59D-2217-4338-9D1B-7E5E82C89B8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4723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92477" y="6817182"/>
            <a:ext cx="37306251" cy="47044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583365" y="12436025"/>
            <a:ext cx="30724475" cy="5607957"/>
          </a:xfrm>
        </p:spPr>
        <p:txBody>
          <a:bodyPr/>
          <a:lstStyle>
            <a:lvl1pPr marL="0" indent="0" algn="ctr">
              <a:buNone/>
              <a:defRPr/>
            </a:lvl1pPr>
            <a:lvl2pPr marL="261238" indent="0" algn="ctr">
              <a:buNone/>
              <a:defRPr/>
            </a:lvl2pPr>
            <a:lvl3pPr marL="522475" indent="0" algn="ctr">
              <a:buNone/>
              <a:defRPr/>
            </a:lvl3pPr>
            <a:lvl4pPr marL="783713" indent="0" algn="ctr">
              <a:buNone/>
              <a:defRPr/>
            </a:lvl4pPr>
            <a:lvl5pPr marL="1044950" indent="0" algn="ctr">
              <a:buNone/>
              <a:defRPr/>
            </a:lvl5pPr>
            <a:lvl6pPr marL="1306187" indent="0" algn="ctr">
              <a:buNone/>
              <a:defRPr/>
            </a:lvl6pPr>
            <a:lvl7pPr marL="1567425" indent="0" algn="ctr">
              <a:buNone/>
              <a:defRPr/>
            </a:lvl7pPr>
            <a:lvl8pPr marL="1828664" indent="0" algn="ctr">
              <a:buNone/>
              <a:defRPr/>
            </a:lvl8pPr>
            <a:lvl9pPr marL="2089901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E7914F9-150E-43ED-BA4B-5CBC7DBD3A27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3397727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A678339-05F4-4347-9E9C-6AEF31B1B524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35211670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1272165" y="1950361"/>
            <a:ext cx="9326563" cy="1755684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292476" y="1950361"/>
            <a:ext cx="27827288" cy="1755684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D5BFA30-CF48-4A8D-A4B4-5705D222FB1F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1443180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76114BF-9C08-4236-B599-3CC67DCBCE64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2879615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67102" y="14102444"/>
            <a:ext cx="37307839" cy="4357914"/>
          </a:xfrm>
        </p:spPr>
        <p:txBody>
          <a:bodyPr anchor="t"/>
          <a:lstStyle>
            <a:lvl1pPr algn="l">
              <a:defRPr sz="2286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67102" y="9301843"/>
            <a:ext cx="37307839" cy="4800600"/>
          </a:xfrm>
        </p:spPr>
        <p:txBody>
          <a:bodyPr anchor="b"/>
          <a:lstStyle>
            <a:lvl1pPr marL="0" indent="0">
              <a:buNone/>
              <a:defRPr sz="1143"/>
            </a:lvl1pPr>
            <a:lvl2pPr marL="261238" indent="0">
              <a:buNone/>
              <a:defRPr sz="1029"/>
            </a:lvl2pPr>
            <a:lvl3pPr marL="522475" indent="0">
              <a:buNone/>
              <a:defRPr sz="914"/>
            </a:lvl3pPr>
            <a:lvl4pPr marL="783713" indent="0">
              <a:buNone/>
              <a:defRPr sz="800"/>
            </a:lvl4pPr>
            <a:lvl5pPr marL="1044950" indent="0">
              <a:buNone/>
              <a:defRPr sz="800"/>
            </a:lvl5pPr>
            <a:lvl6pPr marL="1306187" indent="0">
              <a:buNone/>
              <a:defRPr sz="800"/>
            </a:lvl6pPr>
            <a:lvl7pPr marL="1567425" indent="0">
              <a:buNone/>
              <a:defRPr sz="800"/>
            </a:lvl7pPr>
            <a:lvl8pPr marL="1828664" indent="0">
              <a:buNone/>
              <a:defRPr sz="800"/>
            </a:lvl8pPr>
            <a:lvl9pPr marL="2089901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4C87C54-71D5-4F3D-9638-FB01B112514A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32372803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92476" y="6339115"/>
            <a:ext cx="18576925" cy="13168086"/>
          </a:xfrm>
        </p:spPr>
        <p:txBody>
          <a:bodyPr/>
          <a:lstStyle>
            <a:lvl1pPr>
              <a:defRPr sz="1600"/>
            </a:lvl1pPr>
            <a:lvl2pPr>
              <a:defRPr sz="1371"/>
            </a:lvl2pPr>
            <a:lvl3pPr>
              <a:defRPr sz="1143"/>
            </a:lvl3pPr>
            <a:lvl4pPr>
              <a:defRPr sz="1029"/>
            </a:lvl4pPr>
            <a:lvl5pPr>
              <a:defRPr sz="1029"/>
            </a:lvl5pPr>
            <a:lvl6pPr>
              <a:defRPr sz="1029"/>
            </a:lvl6pPr>
            <a:lvl7pPr>
              <a:defRPr sz="1029"/>
            </a:lvl7pPr>
            <a:lvl8pPr>
              <a:defRPr sz="1029"/>
            </a:lvl8pPr>
            <a:lvl9pPr>
              <a:defRPr sz="102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021804" y="6339115"/>
            <a:ext cx="18576925" cy="13168086"/>
          </a:xfrm>
        </p:spPr>
        <p:txBody>
          <a:bodyPr/>
          <a:lstStyle>
            <a:lvl1pPr>
              <a:defRPr sz="1600"/>
            </a:lvl1pPr>
            <a:lvl2pPr>
              <a:defRPr sz="1371"/>
            </a:lvl2pPr>
            <a:lvl3pPr>
              <a:defRPr sz="1143"/>
            </a:lvl3pPr>
            <a:lvl4pPr>
              <a:defRPr sz="1029"/>
            </a:lvl4pPr>
            <a:lvl5pPr>
              <a:defRPr sz="1029"/>
            </a:lvl5pPr>
            <a:lvl6pPr>
              <a:defRPr sz="1029"/>
            </a:lvl6pPr>
            <a:lvl7pPr>
              <a:defRPr sz="1029"/>
            </a:lvl7pPr>
            <a:lvl8pPr>
              <a:defRPr sz="1029"/>
            </a:lvl8pPr>
            <a:lvl9pPr>
              <a:defRPr sz="102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7EC6769-9FD1-495B-AF37-D39FB4533727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9192014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3927" y="879022"/>
            <a:ext cx="39503351" cy="36576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93924" y="4912182"/>
            <a:ext cx="19392901" cy="2047421"/>
          </a:xfrm>
        </p:spPr>
        <p:txBody>
          <a:bodyPr anchor="b"/>
          <a:lstStyle>
            <a:lvl1pPr marL="0" indent="0">
              <a:buNone/>
              <a:defRPr sz="1371" b="1"/>
            </a:lvl1pPr>
            <a:lvl2pPr marL="261238" indent="0">
              <a:buNone/>
              <a:defRPr sz="1143" b="1"/>
            </a:lvl2pPr>
            <a:lvl3pPr marL="522475" indent="0">
              <a:buNone/>
              <a:defRPr sz="1029" b="1"/>
            </a:lvl3pPr>
            <a:lvl4pPr marL="783713" indent="0">
              <a:buNone/>
              <a:defRPr sz="914" b="1"/>
            </a:lvl4pPr>
            <a:lvl5pPr marL="1044950" indent="0">
              <a:buNone/>
              <a:defRPr sz="914" b="1"/>
            </a:lvl5pPr>
            <a:lvl6pPr marL="1306187" indent="0">
              <a:buNone/>
              <a:defRPr sz="914" b="1"/>
            </a:lvl6pPr>
            <a:lvl7pPr marL="1567425" indent="0">
              <a:buNone/>
              <a:defRPr sz="914" b="1"/>
            </a:lvl7pPr>
            <a:lvl8pPr marL="1828664" indent="0">
              <a:buNone/>
              <a:defRPr sz="914" b="1"/>
            </a:lvl8pPr>
            <a:lvl9pPr marL="2089901" indent="0">
              <a:buNone/>
              <a:defRPr sz="91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93924" y="6959603"/>
            <a:ext cx="19392901" cy="12643757"/>
          </a:xfrm>
        </p:spPr>
        <p:txBody>
          <a:bodyPr/>
          <a:lstStyle>
            <a:lvl1pPr>
              <a:defRPr sz="1371"/>
            </a:lvl1pPr>
            <a:lvl2pPr>
              <a:defRPr sz="1143"/>
            </a:lvl2pPr>
            <a:lvl3pPr>
              <a:defRPr sz="1029"/>
            </a:lvl3pPr>
            <a:lvl4pPr>
              <a:defRPr sz="914"/>
            </a:lvl4pPr>
            <a:lvl5pPr>
              <a:defRPr sz="914"/>
            </a:lvl5pPr>
            <a:lvl6pPr>
              <a:defRPr sz="914"/>
            </a:lvl6pPr>
            <a:lvl7pPr>
              <a:defRPr sz="914"/>
            </a:lvl7pPr>
            <a:lvl8pPr>
              <a:defRPr sz="914"/>
            </a:lvl8pPr>
            <a:lvl9pPr>
              <a:defRPr sz="91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2296440" y="4912182"/>
            <a:ext cx="19400837" cy="2047421"/>
          </a:xfrm>
        </p:spPr>
        <p:txBody>
          <a:bodyPr anchor="b"/>
          <a:lstStyle>
            <a:lvl1pPr marL="0" indent="0">
              <a:buNone/>
              <a:defRPr sz="1371" b="1"/>
            </a:lvl1pPr>
            <a:lvl2pPr marL="261238" indent="0">
              <a:buNone/>
              <a:defRPr sz="1143" b="1"/>
            </a:lvl2pPr>
            <a:lvl3pPr marL="522475" indent="0">
              <a:buNone/>
              <a:defRPr sz="1029" b="1"/>
            </a:lvl3pPr>
            <a:lvl4pPr marL="783713" indent="0">
              <a:buNone/>
              <a:defRPr sz="914" b="1"/>
            </a:lvl4pPr>
            <a:lvl5pPr marL="1044950" indent="0">
              <a:buNone/>
              <a:defRPr sz="914" b="1"/>
            </a:lvl5pPr>
            <a:lvl6pPr marL="1306187" indent="0">
              <a:buNone/>
              <a:defRPr sz="914" b="1"/>
            </a:lvl6pPr>
            <a:lvl7pPr marL="1567425" indent="0">
              <a:buNone/>
              <a:defRPr sz="914" b="1"/>
            </a:lvl7pPr>
            <a:lvl8pPr marL="1828664" indent="0">
              <a:buNone/>
              <a:defRPr sz="914" b="1"/>
            </a:lvl8pPr>
            <a:lvl9pPr marL="2089901" indent="0">
              <a:buNone/>
              <a:defRPr sz="91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22296440" y="6959603"/>
            <a:ext cx="19400837" cy="12643757"/>
          </a:xfrm>
        </p:spPr>
        <p:txBody>
          <a:bodyPr/>
          <a:lstStyle>
            <a:lvl1pPr>
              <a:defRPr sz="1371"/>
            </a:lvl1pPr>
            <a:lvl2pPr>
              <a:defRPr sz="1143"/>
            </a:lvl2pPr>
            <a:lvl3pPr>
              <a:defRPr sz="1029"/>
            </a:lvl3pPr>
            <a:lvl4pPr>
              <a:defRPr sz="914"/>
            </a:lvl4pPr>
            <a:lvl5pPr>
              <a:defRPr sz="914"/>
            </a:lvl5pPr>
            <a:lvl6pPr>
              <a:defRPr sz="914"/>
            </a:lvl6pPr>
            <a:lvl7pPr>
              <a:defRPr sz="914"/>
            </a:lvl7pPr>
            <a:lvl8pPr>
              <a:defRPr sz="914"/>
            </a:lvl8pPr>
            <a:lvl9pPr>
              <a:defRPr sz="91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814340B-C24E-4CF1-8F2E-94BDA66FD75D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10124551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D7FF473-A988-4642-B695-D572F60BC774}" type="slidenum">
              <a:rPr lang="en-AU" altLang="en-US"/>
              <a:pPr/>
              <a:t>‹#›</a:t>
            </a:fld>
            <a:endParaRPr lang="en-AU" alt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8DFA2F5-AF6C-48B2-AC53-85384609B04A}"/>
              </a:ext>
            </a:extLst>
          </p:cNvPr>
          <p:cNvSpPr/>
          <p:nvPr userDrawn="1"/>
        </p:nvSpPr>
        <p:spPr bwMode="auto">
          <a:xfrm>
            <a:off x="0" y="0"/>
            <a:ext cx="43891200" cy="219456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60262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1171CD6-50C3-42F5-B102-ECB5C1E5D853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4671716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3927" y="873580"/>
            <a:ext cx="14439901" cy="3718378"/>
          </a:xfrm>
        </p:spPr>
        <p:txBody>
          <a:bodyPr anchor="b"/>
          <a:lstStyle>
            <a:lvl1pPr algn="l">
              <a:defRPr sz="114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160875" y="873580"/>
            <a:ext cx="24536400" cy="18729778"/>
          </a:xfrm>
        </p:spPr>
        <p:txBody>
          <a:bodyPr/>
          <a:lstStyle>
            <a:lvl1pPr>
              <a:defRPr sz="1828"/>
            </a:lvl1pPr>
            <a:lvl2pPr>
              <a:defRPr sz="1600"/>
            </a:lvl2pPr>
            <a:lvl3pPr>
              <a:defRPr sz="1371"/>
            </a:lvl3pPr>
            <a:lvl4pPr>
              <a:defRPr sz="1143"/>
            </a:lvl4pPr>
            <a:lvl5pPr>
              <a:defRPr sz="1143"/>
            </a:lvl5pPr>
            <a:lvl6pPr>
              <a:defRPr sz="1143"/>
            </a:lvl6pPr>
            <a:lvl7pPr>
              <a:defRPr sz="1143"/>
            </a:lvl7pPr>
            <a:lvl8pPr>
              <a:defRPr sz="1143"/>
            </a:lvl8pPr>
            <a:lvl9pPr>
              <a:defRPr sz="114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93927" y="4591957"/>
            <a:ext cx="14439901" cy="15011400"/>
          </a:xfrm>
        </p:spPr>
        <p:txBody>
          <a:bodyPr/>
          <a:lstStyle>
            <a:lvl1pPr marL="0" indent="0">
              <a:buNone/>
              <a:defRPr sz="800"/>
            </a:lvl1pPr>
            <a:lvl2pPr marL="261238" indent="0">
              <a:buNone/>
              <a:defRPr sz="686"/>
            </a:lvl2pPr>
            <a:lvl3pPr marL="522475" indent="0">
              <a:buNone/>
              <a:defRPr sz="571"/>
            </a:lvl3pPr>
            <a:lvl4pPr marL="783713" indent="0">
              <a:buNone/>
              <a:defRPr sz="514"/>
            </a:lvl4pPr>
            <a:lvl5pPr marL="1044950" indent="0">
              <a:buNone/>
              <a:defRPr sz="514"/>
            </a:lvl5pPr>
            <a:lvl6pPr marL="1306187" indent="0">
              <a:buNone/>
              <a:defRPr sz="514"/>
            </a:lvl6pPr>
            <a:lvl7pPr marL="1567425" indent="0">
              <a:buNone/>
              <a:defRPr sz="514"/>
            </a:lvl7pPr>
            <a:lvl8pPr marL="1828664" indent="0">
              <a:buNone/>
              <a:defRPr sz="514"/>
            </a:lvl8pPr>
            <a:lvl9pPr marL="2089901" indent="0">
              <a:buNone/>
              <a:defRPr sz="51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F27BF72-D86B-4CC1-A0A4-AB6BFFE07AFD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6677595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02664" y="15361558"/>
            <a:ext cx="26335037" cy="1814286"/>
          </a:xfrm>
        </p:spPr>
        <p:txBody>
          <a:bodyPr anchor="b"/>
          <a:lstStyle>
            <a:lvl1pPr algn="l">
              <a:defRPr sz="114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8602664" y="1961246"/>
            <a:ext cx="26335037" cy="13167179"/>
          </a:xfrm>
        </p:spPr>
        <p:txBody>
          <a:bodyPr/>
          <a:lstStyle>
            <a:lvl1pPr marL="0" indent="0">
              <a:buNone/>
              <a:defRPr sz="1828"/>
            </a:lvl1pPr>
            <a:lvl2pPr marL="261238" indent="0">
              <a:buNone/>
              <a:defRPr sz="1600"/>
            </a:lvl2pPr>
            <a:lvl3pPr marL="522475" indent="0">
              <a:buNone/>
              <a:defRPr sz="1371"/>
            </a:lvl3pPr>
            <a:lvl4pPr marL="783713" indent="0">
              <a:buNone/>
              <a:defRPr sz="1143"/>
            </a:lvl4pPr>
            <a:lvl5pPr marL="1044950" indent="0">
              <a:buNone/>
              <a:defRPr sz="1143"/>
            </a:lvl5pPr>
            <a:lvl6pPr marL="1306187" indent="0">
              <a:buNone/>
              <a:defRPr sz="1143"/>
            </a:lvl6pPr>
            <a:lvl7pPr marL="1567425" indent="0">
              <a:buNone/>
              <a:defRPr sz="1143"/>
            </a:lvl7pPr>
            <a:lvl8pPr marL="1828664" indent="0">
              <a:buNone/>
              <a:defRPr sz="1143"/>
            </a:lvl8pPr>
            <a:lvl9pPr marL="2089901" indent="0">
              <a:buNone/>
              <a:defRPr sz="1143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02664" y="17175846"/>
            <a:ext cx="26335037" cy="2575379"/>
          </a:xfrm>
        </p:spPr>
        <p:txBody>
          <a:bodyPr/>
          <a:lstStyle>
            <a:lvl1pPr marL="0" indent="0">
              <a:buNone/>
              <a:defRPr sz="800"/>
            </a:lvl1pPr>
            <a:lvl2pPr marL="261238" indent="0">
              <a:buNone/>
              <a:defRPr sz="686"/>
            </a:lvl2pPr>
            <a:lvl3pPr marL="522475" indent="0">
              <a:buNone/>
              <a:defRPr sz="571"/>
            </a:lvl3pPr>
            <a:lvl4pPr marL="783713" indent="0">
              <a:buNone/>
              <a:defRPr sz="514"/>
            </a:lvl4pPr>
            <a:lvl5pPr marL="1044950" indent="0">
              <a:buNone/>
              <a:defRPr sz="514"/>
            </a:lvl5pPr>
            <a:lvl6pPr marL="1306187" indent="0">
              <a:buNone/>
              <a:defRPr sz="514"/>
            </a:lvl6pPr>
            <a:lvl7pPr marL="1567425" indent="0">
              <a:buNone/>
              <a:defRPr sz="514"/>
            </a:lvl7pPr>
            <a:lvl8pPr marL="1828664" indent="0">
              <a:buNone/>
              <a:defRPr sz="514"/>
            </a:lvl8pPr>
            <a:lvl9pPr marL="2089901" indent="0">
              <a:buNone/>
              <a:defRPr sz="51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3388DA4-D5E8-40AB-8BF2-B8F067ACA6A5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42040071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F49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3131672-2629-446D-8683-037301D2F0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65465374"/>
              </p:ext>
            </p:extLst>
          </p:nvPr>
        </p:nvGraphicFramePr>
        <p:xfrm>
          <a:off x="2117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5" imgH="424" progId="TCLayout.ActiveDocument.1">
                  <p:embed/>
                </p:oleObj>
              </mc:Choice>
              <mc:Fallback>
                <p:oleObj name="think-cell Slide" r:id="rId15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3131672-2629-446D-8683-037301D2F0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7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025DE-683A-4BA3-8837-69516B12386A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1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5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  <a:ea typeface="+mj-ea"/>
              <a:cs typeface="+mj-cs"/>
              <a:sym typeface="Times" panose="02020603050405020304" pitchFamily="18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92477" y="1950360"/>
            <a:ext cx="37306251" cy="36585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AU" altLang="en-US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92477" y="6339115"/>
            <a:ext cx="37306251" cy="13168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AU" altLang="en-US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292475" y="19995243"/>
            <a:ext cx="9144000" cy="1463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t" anchorCtr="0" compatLnSpc="1">
            <a:prstTxWarp prst="textNoShape">
              <a:avLst/>
            </a:prstTxWarp>
          </a:bodyPr>
          <a:lstStyle>
            <a:lvl1pPr defTabSz="2508062">
              <a:defRPr sz="3828"/>
            </a:lvl1pPr>
          </a:lstStyle>
          <a:p>
            <a:endParaRPr lang="en-AU" alt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997117" y="19995243"/>
            <a:ext cx="13896975" cy="1463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t" anchorCtr="0" compatLnSpc="1">
            <a:prstTxWarp prst="textNoShape">
              <a:avLst/>
            </a:prstTxWarp>
          </a:bodyPr>
          <a:lstStyle>
            <a:lvl1pPr algn="ctr" defTabSz="2508062">
              <a:defRPr sz="3828"/>
            </a:lvl1pPr>
          </a:lstStyle>
          <a:p>
            <a:endParaRPr lang="en-AU" alt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1454725" y="19995243"/>
            <a:ext cx="9144000" cy="1463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t" anchorCtr="0" compatLnSpc="1">
            <a:prstTxWarp prst="textNoShape">
              <a:avLst/>
            </a:prstTxWarp>
          </a:bodyPr>
          <a:lstStyle>
            <a:lvl1pPr algn="r" defTabSz="2508062">
              <a:defRPr sz="3828"/>
            </a:lvl1pPr>
          </a:lstStyle>
          <a:p>
            <a:fld id="{777CDA11-CE27-4048-AD59-A3D9E025B8A2}" type="slidenum">
              <a:rPr lang="en-AU" altLang="en-US"/>
              <a:pPr/>
              <a:t>‹#›</a:t>
            </a:fld>
            <a:endParaRPr lang="en-AU" altLang="en-US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0"/>
            <a:ext cx="43891200" cy="21945600"/>
          </a:xfrm>
          <a:prstGeom prst="rect">
            <a:avLst/>
          </a:prstGeom>
          <a:noFill/>
          <a:ln w="254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14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193C017-DFEF-4FF3-B40E-2496F137D9AB}"/>
              </a:ext>
            </a:extLst>
          </p:cNvPr>
          <p:cNvSpPr/>
          <p:nvPr userDrawn="1"/>
        </p:nvSpPr>
        <p:spPr bwMode="auto">
          <a:xfrm>
            <a:off x="-101600" y="0"/>
            <a:ext cx="43992800" cy="219456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+mj-lt"/>
          <a:ea typeface="+mj-ea"/>
          <a:cs typeface="+mj-cs"/>
        </a:defRPr>
      </a:lvl1pPr>
      <a:lvl2pPr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2pPr>
      <a:lvl3pPr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3pPr>
      <a:lvl4pPr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4pPr>
      <a:lvl5pPr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5pPr>
      <a:lvl6pPr marL="261238"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6pPr>
      <a:lvl7pPr marL="522475"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7pPr>
      <a:lvl8pPr marL="783713"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8pPr>
      <a:lvl9pPr marL="1044950"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9pPr>
    </p:titleStyle>
    <p:bodyStyle>
      <a:lvl1pPr marL="940637" indent="-940637" algn="l" defTabSz="2508062" rtl="0" eaLnBrk="1" fontAlgn="base" hangingPunct="1">
        <a:spcBef>
          <a:spcPct val="20000"/>
        </a:spcBef>
        <a:spcAft>
          <a:spcPct val="0"/>
        </a:spcAft>
        <a:buChar char="•"/>
        <a:defRPr sz="8742">
          <a:solidFill>
            <a:schemeClr val="tx1"/>
          </a:solidFill>
          <a:latin typeface="+mn-lt"/>
          <a:ea typeface="+mn-ea"/>
          <a:cs typeface="+mn-cs"/>
        </a:defRPr>
      </a:lvl1pPr>
      <a:lvl2pPr marL="2037290" indent="-783713" algn="l" defTabSz="2508062" rtl="0" eaLnBrk="1" fontAlgn="base" hangingPunct="1">
        <a:spcBef>
          <a:spcPct val="20000"/>
        </a:spcBef>
        <a:spcAft>
          <a:spcPct val="0"/>
        </a:spcAft>
        <a:buChar char="–"/>
        <a:defRPr sz="7714">
          <a:solidFill>
            <a:schemeClr val="tx1"/>
          </a:solidFill>
          <a:latin typeface="+mn-lt"/>
        </a:defRPr>
      </a:lvl2pPr>
      <a:lvl3pPr marL="3134851" indent="-626789" algn="l" defTabSz="2508062" rtl="0" eaLnBrk="1" fontAlgn="base" hangingPunct="1">
        <a:spcBef>
          <a:spcPct val="20000"/>
        </a:spcBef>
        <a:spcAft>
          <a:spcPct val="0"/>
        </a:spcAft>
        <a:buChar char="•"/>
        <a:defRPr sz="6571">
          <a:solidFill>
            <a:schemeClr val="tx1"/>
          </a:solidFill>
          <a:latin typeface="+mn-lt"/>
        </a:defRPr>
      </a:lvl3pPr>
      <a:lvl4pPr marL="4388429" indent="-626789" algn="l" defTabSz="2508062" rtl="0" eaLnBrk="1" fontAlgn="base" hangingPunct="1">
        <a:spcBef>
          <a:spcPct val="20000"/>
        </a:spcBef>
        <a:spcAft>
          <a:spcPct val="0"/>
        </a:spcAft>
        <a:buChar char="–"/>
        <a:defRPr sz="5485">
          <a:solidFill>
            <a:schemeClr val="tx1"/>
          </a:solidFill>
          <a:latin typeface="+mn-lt"/>
        </a:defRPr>
      </a:lvl4pPr>
      <a:lvl5pPr marL="5641099" indent="-625881" algn="l" defTabSz="2508062" rtl="0" eaLnBrk="1" fontAlgn="base" hangingPunct="1">
        <a:spcBef>
          <a:spcPct val="20000"/>
        </a:spcBef>
        <a:spcAft>
          <a:spcPct val="0"/>
        </a:spcAft>
        <a:buChar char="»"/>
        <a:defRPr sz="5485">
          <a:solidFill>
            <a:schemeClr val="tx1"/>
          </a:solidFill>
          <a:latin typeface="+mn-lt"/>
        </a:defRPr>
      </a:lvl5pPr>
      <a:lvl6pPr marL="5902337" indent="-625881" algn="l" defTabSz="2508062" rtl="0" eaLnBrk="1" fontAlgn="base" hangingPunct="1">
        <a:spcBef>
          <a:spcPct val="20000"/>
        </a:spcBef>
        <a:spcAft>
          <a:spcPct val="0"/>
        </a:spcAft>
        <a:buChar char="»"/>
        <a:defRPr sz="5485">
          <a:solidFill>
            <a:schemeClr val="tx1"/>
          </a:solidFill>
          <a:latin typeface="+mn-lt"/>
        </a:defRPr>
      </a:lvl6pPr>
      <a:lvl7pPr marL="6163574" indent="-625881" algn="l" defTabSz="2508062" rtl="0" eaLnBrk="1" fontAlgn="base" hangingPunct="1">
        <a:spcBef>
          <a:spcPct val="20000"/>
        </a:spcBef>
        <a:spcAft>
          <a:spcPct val="0"/>
        </a:spcAft>
        <a:buChar char="»"/>
        <a:defRPr sz="5485">
          <a:solidFill>
            <a:schemeClr val="tx1"/>
          </a:solidFill>
          <a:latin typeface="+mn-lt"/>
        </a:defRPr>
      </a:lvl7pPr>
      <a:lvl8pPr marL="6424811" indent="-625881" algn="l" defTabSz="2508062" rtl="0" eaLnBrk="1" fontAlgn="base" hangingPunct="1">
        <a:spcBef>
          <a:spcPct val="20000"/>
        </a:spcBef>
        <a:spcAft>
          <a:spcPct val="0"/>
        </a:spcAft>
        <a:buChar char="»"/>
        <a:defRPr sz="5485">
          <a:solidFill>
            <a:schemeClr val="tx1"/>
          </a:solidFill>
          <a:latin typeface="+mn-lt"/>
        </a:defRPr>
      </a:lvl8pPr>
      <a:lvl9pPr marL="6686049" indent="-625881" algn="l" defTabSz="2508062" rtl="0" eaLnBrk="1" fontAlgn="base" hangingPunct="1">
        <a:spcBef>
          <a:spcPct val="20000"/>
        </a:spcBef>
        <a:spcAft>
          <a:spcPct val="0"/>
        </a:spcAft>
        <a:buChar char="»"/>
        <a:defRPr sz="548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1pPr>
      <a:lvl2pPr marL="261238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2pPr>
      <a:lvl3pPr marL="522475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3pPr>
      <a:lvl4pPr marL="783713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4pPr>
      <a:lvl5pPr marL="1044950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5pPr>
      <a:lvl6pPr marL="1306187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6pPr>
      <a:lvl7pPr marL="1567425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7pPr>
      <a:lvl8pPr marL="1828664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8pPr>
      <a:lvl9pPr marL="2089901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0.png"/><Relationship Id="rId18" Type="http://schemas.openxmlformats.org/officeDocument/2006/relationships/image" Target="../media/image15.png"/><Relationship Id="rId3" Type="http://schemas.openxmlformats.org/officeDocument/2006/relationships/image" Target="../media/image2.emf"/><Relationship Id="rId7" Type="http://schemas.openxmlformats.org/officeDocument/2006/relationships/image" Target="../media/image6.png"/><Relationship Id="rId12" Type="http://schemas.openxmlformats.org/officeDocument/2006/relationships/image" Target="../media/image9.jpeg"/><Relationship Id="rId17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svg"/><Relationship Id="rId11" Type="http://schemas.openxmlformats.org/officeDocument/2006/relationships/image" Target="../media/image8.png"/><Relationship Id="rId5" Type="http://schemas.openxmlformats.org/officeDocument/2006/relationships/image" Target="../media/image4.png"/><Relationship Id="rId15" Type="http://schemas.openxmlformats.org/officeDocument/2006/relationships/image" Target="../media/image12.png"/><Relationship Id="rId10" Type="http://schemas.openxmlformats.org/officeDocument/2006/relationships/chart" Target="../charts/chart2.xml"/><Relationship Id="rId4" Type="http://schemas.openxmlformats.org/officeDocument/2006/relationships/image" Target="../media/image3.png"/><Relationship Id="rId9" Type="http://schemas.openxmlformats.org/officeDocument/2006/relationships/chart" Target="../charts/chart1.xml"/><Relationship Id="rId1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oup 51">
            <a:extLst>
              <a:ext uri="{FF2B5EF4-FFF2-40B4-BE49-F238E27FC236}">
                <a16:creationId xmlns:a16="http://schemas.microsoft.com/office/drawing/2014/main" id="{DE30D208-E792-A616-726D-94CEC8EE2397}"/>
              </a:ext>
            </a:extLst>
          </p:cNvPr>
          <p:cNvGrpSpPr/>
          <p:nvPr/>
        </p:nvGrpSpPr>
        <p:grpSpPr>
          <a:xfrm>
            <a:off x="644594" y="8544662"/>
            <a:ext cx="9174526" cy="6414269"/>
            <a:chOff x="7955915" y="4467075"/>
            <a:chExt cx="25480666" cy="14868345"/>
          </a:xfrm>
        </p:grpSpPr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F79D327B-CE26-BB67-41E2-024E14022AC5}"/>
                </a:ext>
              </a:extLst>
            </p:cNvPr>
            <p:cNvSpPr/>
            <p:nvPr/>
          </p:nvSpPr>
          <p:spPr bwMode="auto">
            <a:xfrm>
              <a:off x="8001466" y="14183044"/>
              <a:ext cx="25434615" cy="5152376"/>
            </a:xfrm>
            <a:prstGeom prst="rect">
              <a:avLst/>
            </a:prstGeom>
            <a:noFill/>
            <a:ln w="31750" cap="flat" cmpd="sng" algn="ctr">
              <a:solidFill>
                <a:schemeClr val="tx1">
                  <a:alpha val="91000"/>
                </a:schemeClr>
              </a:solidFill>
              <a:prstDash val="dashDot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IN" sz="105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DA01AD3A-9D86-6A8E-FCCE-CB909F691104}"/>
                </a:ext>
              </a:extLst>
            </p:cNvPr>
            <p:cNvSpPr/>
            <p:nvPr/>
          </p:nvSpPr>
          <p:spPr bwMode="auto">
            <a:xfrm>
              <a:off x="8229179" y="10858498"/>
              <a:ext cx="5829300" cy="213360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IN" sz="1800" b="0" i="0" u="none" strike="noStrike" cap="none" normalizeH="0" baseline="0">
                  <a:ln>
                    <a:noFill/>
                  </a:ln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Customer Data</a:t>
              </a:r>
              <a:endParaRPr lang="en-IN" sz="1800" b="0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98DDA708-BF2A-497F-11CA-656DF9E0D08A}"/>
                </a:ext>
              </a:extLst>
            </p:cNvPr>
            <p:cNvCxnSpPr>
              <a:stCxn id="191" idx="3"/>
              <a:endCxn id="192" idx="1"/>
            </p:cNvCxnSpPr>
            <p:nvPr/>
          </p:nvCxnSpPr>
          <p:spPr bwMode="auto">
            <a:xfrm flipV="1">
              <a:off x="21770576" y="11925299"/>
              <a:ext cx="5385198" cy="38101"/>
            </a:xfrm>
            <a:prstGeom prst="line">
              <a:avLst/>
            </a:prstGeom>
            <a:solidFill>
              <a:schemeClr val="accent1"/>
            </a:solidFill>
            <a:ln w="63500" cap="flat" cmpd="sng" algn="ctr">
              <a:solidFill>
                <a:schemeClr val="accent2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98D797C2-0E4F-A884-4097-BEAF1C9FF1D5}"/>
                </a:ext>
              </a:extLst>
            </p:cNvPr>
            <p:cNvSpPr/>
            <p:nvPr/>
          </p:nvSpPr>
          <p:spPr bwMode="auto">
            <a:xfrm>
              <a:off x="15941276" y="10896600"/>
              <a:ext cx="5829300" cy="2133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IN" sz="1800" b="0" i="0" u="none" strike="noStrike" cap="none" normalizeH="0" baseline="0">
                  <a:ln>
                    <a:noFill/>
                  </a:ln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Firms</a:t>
              </a:r>
              <a:endParaRPr lang="en-IN" sz="1800" b="0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2" name="Rectangle 191">
              <a:extLst>
                <a:ext uri="{FF2B5EF4-FFF2-40B4-BE49-F238E27FC236}">
                  <a16:creationId xmlns:a16="http://schemas.microsoft.com/office/drawing/2014/main" id="{644DC54D-00A1-B504-34F5-2EEB4FA1C209}"/>
                </a:ext>
              </a:extLst>
            </p:cNvPr>
            <p:cNvSpPr/>
            <p:nvPr/>
          </p:nvSpPr>
          <p:spPr bwMode="auto">
            <a:xfrm>
              <a:off x="27155774" y="10858499"/>
              <a:ext cx="5829300" cy="2133600"/>
            </a:xfrm>
            <a:prstGeom prst="rect">
              <a:avLst/>
            </a:prstGeom>
            <a:solidFill>
              <a:srgbClr val="F1F1F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IN" sz="1800">
                  <a:latin typeface="Arial" panose="020B0604020202020204" pitchFamily="34" charset="0"/>
                  <a:cs typeface="Arial" panose="020B0604020202020204" pitchFamily="34" charset="0"/>
                </a:rPr>
                <a:t>Data Analysis</a:t>
              </a:r>
              <a:endParaRPr lang="en-IN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3" name="Rectangle 192">
              <a:extLst>
                <a:ext uri="{FF2B5EF4-FFF2-40B4-BE49-F238E27FC236}">
                  <a16:creationId xmlns:a16="http://schemas.microsoft.com/office/drawing/2014/main" id="{C5650C6A-0445-1F18-A22C-FFF328CCE69B}"/>
                </a:ext>
              </a:extLst>
            </p:cNvPr>
            <p:cNvSpPr/>
            <p:nvPr/>
          </p:nvSpPr>
          <p:spPr bwMode="auto">
            <a:xfrm>
              <a:off x="20130915" y="5129014"/>
              <a:ext cx="9081248" cy="3343406"/>
            </a:xfrm>
            <a:prstGeom prst="rect">
              <a:avLst/>
            </a:prstGeom>
            <a:solidFill>
              <a:srgbClr val="F1F1F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</a:pPr>
              <a:r>
                <a:rPr kumimoji="0" lang="en-IN" sz="1800" b="0" i="0" u="none" strike="noStrike" cap="none" normalizeH="0" baseline="0">
                  <a:ln>
                    <a:noFill/>
                  </a:ln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Privacy Impact Assessment</a:t>
              </a:r>
              <a:endParaRPr lang="en-IN" sz="1800" b="0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R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</a:pPr>
              <a:r>
                <a:rPr lang="en-IN" sz="1800">
                  <a:latin typeface="Arial" panose="020B0604020202020204" pitchFamily="34" charset="0"/>
                  <a:cs typeface="Arial" panose="020B0604020202020204" pitchFamily="34" charset="0"/>
                </a:rPr>
                <a:t>Data Minimization</a:t>
              </a:r>
            </a:p>
            <a:p>
              <a:pPr marR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</a:pPr>
              <a:r>
                <a:rPr kumimoji="0" lang="en-IN" sz="1800" b="0" i="0" u="none" strike="noStrike" cap="none" normalizeH="0" baseline="0">
                  <a:ln>
                    <a:noFill/>
                  </a:ln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Employee Training</a:t>
              </a:r>
              <a:endParaRPr lang="en-IN" sz="1800" b="0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R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</a:pPr>
              <a:r>
                <a:rPr lang="en-IN" sz="1800">
                  <a:latin typeface="Arial" panose="020B0604020202020204" pitchFamily="34" charset="0"/>
                  <a:cs typeface="Arial" panose="020B0604020202020204" pitchFamily="34" charset="0"/>
                </a:rPr>
                <a:t>Data Encryption</a:t>
              </a:r>
              <a:endParaRPr lang="en-IN" sz="1800" b="0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94" name="Group 193">
              <a:extLst>
                <a:ext uri="{FF2B5EF4-FFF2-40B4-BE49-F238E27FC236}">
                  <a16:creationId xmlns:a16="http://schemas.microsoft.com/office/drawing/2014/main" id="{06DF493C-CA0A-A30E-3C35-FE2380E4EA6C}"/>
                </a:ext>
              </a:extLst>
            </p:cNvPr>
            <p:cNvGrpSpPr/>
            <p:nvPr/>
          </p:nvGrpSpPr>
          <p:grpSpPr>
            <a:xfrm>
              <a:off x="23786079" y="11353800"/>
              <a:ext cx="1409700" cy="1219200"/>
              <a:chOff x="36184654" y="9315450"/>
              <a:chExt cx="1409700" cy="12192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6E4BDB03-8339-5EEA-68F1-90AA860D2111}"/>
                  </a:ext>
                </a:extLst>
              </p:cNvPr>
              <p:cNvSpPr/>
              <p:nvPr/>
            </p:nvSpPr>
            <p:spPr bwMode="auto">
              <a:xfrm>
                <a:off x="36184654" y="9315450"/>
                <a:ext cx="1409700" cy="1181099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IN" sz="105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7" name="Multiplication Sign 87">
                <a:extLst>
                  <a:ext uri="{FF2B5EF4-FFF2-40B4-BE49-F238E27FC236}">
                    <a16:creationId xmlns:a16="http://schemas.microsoft.com/office/drawing/2014/main" id="{B623AC89-4DD1-E38E-D27C-6B7258C9EA5A}"/>
                  </a:ext>
                </a:extLst>
              </p:cNvPr>
              <p:cNvSpPr/>
              <p:nvPr/>
            </p:nvSpPr>
            <p:spPr bwMode="auto">
              <a:xfrm>
                <a:off x="36366450" y="9315450"/>
                <a:ext cx="1066800" cy="1219200"/>
              </a:xfrm>
              <a:prstGeom prst="mathMultiply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IN" sz="105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195" name="Straight Arrow Connector 194">
              <a:extLst>
                <a:ext uri="{FF2B5EF4-FFF2-40B4-BE49-F238E27FC236}">
                  <a16:creationId xmlns:a16="http://schemas.microsoft.com/office/drawing/2014/main" id="{EB838148-AEE2-6E3B-1606-750BC9FB7528}"/>
                </a:ext>
              </a:extLst>
            </p:cNvPr>
            <p:cNvCxnSpPr/>
            <p:nvPr/>
          </p:nvCxnSpPr>
          <p:spPr bwMode="auto">
            <a:xfrm>
              <a:off x="33032700" y="17030700"/>
              <a:ext cx="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6" name="Straight Arrow Connector 195">
              <a:extLst>
                <a:ext uri="{FF2B5EF4-FFF2-40B4-BE49-F238E27FC236}">
                  <a16:creationId xmlns:a16="http://schemas.microsoft.com/office/drawing/2014/main" id="{98308F13-DBD9-15B4-1249-FB5E8D31908C}"/>
                </a:ext>
              </a:extLst>
            </p:cNvPr>
            <p:cNvCxnSpPr>
              <a:cxnSpLocks/>
              <a:stCxn id="189" idx="3"/>
              <a:endCxn id="191" idx="1"/>
            </p:cNvCxnSpPr>
            <p:nvPr/>
          </p:nvCxnSpPr>
          <p:spPr bwMode="auto">
            <a:xfrm>
              <a:off x="14058479" y="11925298"/>
              <a:ext cx="1882798" cy="38103"/>
            </a:xfrm>
            <a:prstGeom prst="straightConnector1">
              <a:avLst/>
            </a:prstGeom>
            <a:ln w="6350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97" name="Connector: Elbow 40">
              <a:extLst>
                <a:ext uri="{FF2B5EF4-FFF2-40B4-BE49-F238E27FC236}">
                  <a16:creationId xmlns:a16="http://schemas.microsoft.com/office/drawing/2014/main" id="{C99BBB5B-FEFB-D052-E6FA-54F085963F3E}"/>
                </a:ext>
              </a:extLst>
            </p:cNvPr>
            <p:cNvCxnSpPr>
              <a:cxnSpLocks/>
              <a:stCxn id="191" idx="0"/>
              <a:endCxn id="193" idx="1"/>
            </p:cNvCxnSpPr>
            <p:nvPr/>
          </p:nvCxnSpPr>
          <p:spPr bwMode="auto">
            <a:xfrm rot="5400000" flipH="1" flipV="1">
              <a:off x="17445481" y="8211167"/>
              <a:ext cx="4095884" cy="1274987"/>
            </a:xfrm>
            <a:prstGeom prst="bentConnector2">
              <a:avLst/>
            </a:prstGeom>
            <a:solidFill>
              <a:schemeClr val="accent1"/>
            </a:solidFill>
            <a:ln w="635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8" name="Connector: Elbow 41">
              <a:extLst>
                <a:ext uri="{FF2B5EF4-FFF2-40B4-BE49-F238E27FC236}">
                  <a16:creationId xmlns:a16="http://schemas.microsoft.com/office/drawing/2014/main" id="{D5FE2C68-6B68-F637-B708-8361BA07D7CF}"/>
                </a:ext>
              </a:extLst>
            </p:cNvPr>
            <p:cNvCxnSpPr>
              <a:cxnSpLocks/>
              <a:stCxn id="193" idx="3"/>
              <a:endCxn id="192" idx="0"/>
            </p:cNvCxnSpPr>
            <p:nvPr/>
          </p:nvCxnSpPr>
          <p:spPr bwMode="auto">
            <a:xfrm>
              <a:off x="29212163" y="6800717"/>
              <a:ext cx="858264" cy="4057783"/>
            </a:xfrm>
            <a:prstGeom prst="bentConnector2">
              <a:avLst/>
            </a:prstGeom>
            <a:solidFill>
              <a:schemeClr val="accent1"/>
            </a:solidFill>
            <a:ln w="635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154E2801-5DB5-2D68-9478-0771D4D64178}"/>
                </a:ext>
              </a:extLst>
            </p:cNvPr>
            <p:cNvSpPr/>
            <p:nvPr/>
          </p:nvSpPr>
          <p:spPr bwMode="auto">
            <a:xfrm>
              <a:off x="20683591" y="16030563"/>
              <a:ext cx="7559167" cy="1838331"/>
            </a:xfrm>
            <a:prstGeom prst="rect">
              <a:avLst/>
            </a:prstGeom>
            <a:solidFill>
              <a:srgbClr val="F1F1F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</a:pPr>
              <a:r>
                <a:rPr kumimoji="0" lang="en-IN" sz="1800" i="0" u="none" strike="noStrike" cap="none" normalizeH="0" baseline="0">
                  <a:ln>
                    <a:noFill/>
                  </a:ln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Privacy Preserved Synthetic Data</a:t>
              </a:r>
            </a:p>
          </p:txBody>
        </p:sp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A677C744-43BA-CC2B-873E-03333DF24B30}"/>
                </a:ext>
              </a:extLst>
            </p:cNvPr>
            <p:cNvSpPr/>
            <p:nvPr/>
          </p:nvSpPr>
          <p:spPr bwMode="auto">
            <a:xfrm>
              <a:off x="7955915" y="4467075"/>
              <a:ext cx="25480666" cy="5295881"/>
            </a:xfrm>
            <a:prstGeom prst="rect">
              <a:avLst/>
            </a:prstGeom>
            <a:noFill/>
            <a:ln w="31750" cap="flat" cmpd="sng" algn="ctr">
              <a:solidFill>
                <a:schemeClr val="tx1">
                  <a:alpha val="91000"/>
                </a:schemeClr>
              </a:solidFill>
              <a:prstDash val="dashDot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IN" sz="105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2" name="Rectangle 201">
              <a:extLst>
                <a:ext uri="{FF2B5EF4-FFF2-40B4-BE49-F238E27FC236}">
                  <a16:creationId xmlns:a16="http://schemas.microsoft.com/office/drawing/2014/main" id="{465F764A-C723-1AA2-17EB-AA1DF70D0E95}"/>
                </a:ext>
              </a:extLst>
            </p:cNvPr>
            <p:cNvSpPr/>
            <p:nvPr/>
          </p:nvSpPr>
          <p:spPr bwMode="auto">
            <a:xfrm>
              <a:off x="8108311" y="4590353"/>
              <a:ext cx="10708722" cy="700538"/>
            </a:xfrm>
            <a:prstGeom prst="rect">
              <a:avLst/>
            </a:prstGeom>
            <a:noFill/>
            <a:ln w="25400" cap="flat" cmpd="sng" algn="ctr">
              <a:noFill/>
              <a:prstDash val="lgDashDot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r>
                <a:rPr kumimoji="0" lang="en-IN" sz="1800" b="1" i="0" u="none" strike="noStrike" cap="none" normalizeH="0" baseline="0" dirty="0">
                  <a:ln>
                    <a:noFill/>
                  </a:ln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CURRENT PRIVACY OPERATING PRACTICES</a:t>
              </a:r>
            </a:p>
            <a:p>
              <a:endParaRPr kumimoji="0" lang="en-IN" sz="20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IN" b="1" dirty="0">
                  <a:latin typeface="Arial" panose="020B0604020202020204" pitchFamily="34" charset="0"/>
                  <a:cs typeface="Arial" panose="020B0604020202020204" pitchFamily="34" charset="0"/>
                </a:rPr>
                <a:t>High Costs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kumimoji="0" lang="en-IN" b="1" i="0" u="none" strike="noStrike" cap="none" normalizeH="0" baseline="0" dirty="0">
                  <a:ln>
                    <a:noFill/>
                  </a:ln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Significant Opportunity Losses</a:t>
              </a:r>
              <a:endParaRPr lang="en-IN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3" name="Connector: Elbow 67">
              <a:extLst>
                <a:ext uri="{FF2B5EF4-FFF2-40B4-BE49-F238E27FC236}">
                  <a16:creationId xmlns:a16="http://schemas.microsoft.com/office/drawing/2014/main" id="{6BE247E8-3064-A716-B54C-245C0928364E}"/>
                </a:ext>
              </a:extLst>
            </p:cNvPr>
            <p:cNvCxnSpPr>
              <a:cxnSpLocks/>
              <a:stCxn id="199" idx="3"/>
              <a:endCxn id="192" idx="2"/>
            </p:cNvCxnSpPr>
            <p:nvPr/>
          </p:nvCxnSpPr>
          <p:spPr bwMode="auto">
            <a:xfrm flipV="1">
              <a:off x="28242758" y="12992099"/>
              <a:ext cx="1827666" cy="3957630"/>
            </a:xfrm>
            <a:prstGeom prst="bentConnector2">
              <a:avLst/>
            </a:prstGeom>
            <a:solidFill>
              <a:schemeClr val="accent1"/>
            </a:solidFill>
            <a:ln w="635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4" name="Connector: Elbow 78">
              <a:extLst>
                <a:ext uri="{FF2B5EF4-FFF2-40B4-BE49-F238E27FC236}">
                  <a16:creationId xmlns:a16="http://schemas.microsoft.com/office/drawing/2014/main" id="{4AAB0EAB-DC8B-457F-0EEE-72D639091310}"/>
                </a:ext>
              </a:extLst>
            </p:cNvPr>
            <p:cNvCxnSpPr>
              <a:cxnSpLocks/>
              <a:stCxn id="191" idx="2"/>
              <a:endCxn id="199" idx="1"/>
            </p:cNvCxnSpPr>
            <p:nvPr/>
          </p:nvCxnSpPr>
          <p:spPr bwMode="auto">
            <a:xfrm rot="16200000" flipH="1">
              <a:off x="17809994" y="14076131"/>
              <a:ext cx="3919529" cy="1827665"/>
            </a:xfrm>
            <a:prstGeom prst="bentConnector2">
              <a:avLst/>
            </a:prstGeom>
            <a:solidFill>
              <a:schemeClr val="accent1"/>
            </a:solidFill>
            <a:ln w="635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5" name="Rectangle 204">
              <a:extLst>
                <a:ext uri="{FF2B5EF4-FFF2-40B4-BE49-F238E27FC236}">
                  <a16:creationId xmlns:a16="http://schemas.microsoft.com/office/drawing/2014/main" id="{6F310702-128A-6AE7-7B27-B54111E3816C}"/>
                </a:ext>
              </a:extLst>
            </p:cNvPr>
            <p:cNvSpPr/>
            <p:nvPr/>
          </p:nvSpPr>
          <p:spPr bwMode="auto">
            <a:xfrm>
              <a:off x="8108314" y="14341096"/>
              <a:ext cx="10787542" cy="661104"/>
            </a:xfrm>
            <a:prstGeom prst="rect">
              <a:avLst/>
            </a:prstGeom>
            <a:noFill/>
            <a:ln w="25400" cap="flat" cmpd="sng" algn="ctr">
              <a:noFill/>
              <a:prstDash val="lgDashDot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r>
                <a:rPr kumimoji="0" lang="en-IN" sz="1800" b="1" i="0" u="none" strike="noStrike" cap="none" normalizeH="0" baseline="0">
                  <a:ln>
                    <a:noFill/>
                  </a:ln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SYNTHETIC DATA GENERATION</a:t>
              </a:r>
            </a:p>
            <a:p>
              <a:endParaRPr kumimoji="0" lang="en-IN" sz="18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IN" b="1">
                  <a:latin typeface="Arial" panose="020B0604020202020204" pitchFamily="34" charset="0"/>
                  <a:cs typeface="Arial" panose="020B0604020202020204" pitchFamily="34" charset="0"/>
                </a:rPr>
                <a:t>Lower cost of Privacy Protection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kumimoji="0" lang="en-IN" b="1" i="0" u="none" strike="noStrike" cap="none" normalizeH="0" baseline="0">
                  <a:ln>
                    <a:noFill/>
                  </a:ln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Lower Risk </a:t>
              </a:r>
              <a:r>
                <a:rPr lang="en-IN" b="1">
                  <a:latin typeface="Arial" panose="020B0604020202020204" pitchFamily="34" charset="0"/>
                  <a:cs typeface="Arial" panose="020B0604020202020204" pitchFamily="34" charset="0"/>
                </a:rPr>
                <a:t>in case of</a:t>
              </a:r>
              <a:r>
                <a:rPr kumimoji="0" lang="en-IN" b="1" i="0" u="none" strike="noStrike" cap="none" normalizeH="0" baseline="0">
                  <a:ln>
                    <a:noFill/>
                  </a:ln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Data Leakage</a:t>
              </a:r>
              <a:endParaRPr lang="en-IN" b="1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kumimoji="0" lang="en-IN" b="1" i="0" u="none" strike="noStrike" cap="none" normalizeH="0" baseline="0">
                  <a:ln>
                    <a:noFill/>
                  </a:ln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Improved Opportunity Coverage</a:t>
              </a:r>
              <a:endParaRPr lang="en-IN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5A7F5D67-121B-EC49-BDDD-9E413B9588D9}"/>
              </a:ext>
            </a:extLst>
          </p:cNvPr>
          <p:cNvSpPr/>
          <p:nvPr/>
        </p:nvSpPr>
        <p:spPr>
          <a:xfrm>
            <a:off x="1075481" y="18268777"/>
            <a:ext cx="457998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ANALYTICS PROBLEM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B47E8130-6366-C2E5-A114-84AF65CC515E}"/>
              </a:ext>
            </a:extLst>
          </p:cNvPr>
          <p:cNvSpPr/>
          <p:nvPr/>
        </p:nvSpPr>
        <p:spPr bwMode="auto">
          <a:xfrm>
            <a:off x="448828" y="18336562"/>
            <a:ext cx="365760" cy="365760"/>
          </a:xfrm>
          <a:prstGeom prst="rect">
            <a:avLst/>
          </a:prstGeom>
          <a:solidFill>
            <a:srgbClr val="DDC6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8"/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473F7B6E-BB07-1A45-5817-734075AD0C54}"/>
              </a:ext>
            </a:extLst>
          </p:cNvPr>
          <p:cNvSpPr txBox="1"/>
          <p:nvPr/>
        </p:nvSpPr>
        <p:spPr>
          <a:xfrm>
            <a:off x="546104" y="15963200"/>
            <a:ext cx="9314799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200" spc="10" dirty="0">
                <a:latin typeface="Arial"/>
                <a:cs typeface="Arial"/>
              </a:rPr>
              <a:t>Synthetic data generation is the process of </a:t>
            </a:r>
            <a:r>
              <a:rPr lang="en-US" sz="2200" b="1" spc="10" dirty="0">
                <a:solidFill>
                  <a:srgbClr val="B1810B"/>
                </a:solidFill>
                <a:latin typeface="Arial"/>
                <a:cs typeface="Arial"/>
              </a:rPr>
              <a:t>artificially generating data </a:t>
            </a:r>
            <a:r>
              <a:rPr lang="en-US" sz="2200" spc="10" dirty="0">
                <a:latin typeface="Arial"/>
                <a:cs typeface="Arial"/>
              </a:rPr>
              <a:t>that preserves </a:t>
            </a:r>
            <a:r>
              <a:rPr lang="en-US" sz="2200" b="1" spc="10" dirty="0">
                <a:solidFill>
                  <a:srgbClr val="B1810B"/>
                </a:solidFill>
                <a:latin typeface="Arial"/>
                <a:cs typeface="Arial"/>
              </a:rPr>
              <a:t>data privacy </a:t>
            </a:r>
            <a:r>
              <a:rPr lang="en-US" sz="2200" spc="10" dirty="0">
                <a:latin typeface="Arial"/>
                <a:cs typeface="Arial"/>
              </a:rPr>
              <a:t>while retaining information for meaningful analysis. Firms using synthetic data can expect </a:t>
            </a:r>
            <a:r>
              <a:rPr lang="en-US" sz="2200" b="1" spc="10" dirty="0">
                <a:solidFill>
                  <a:srgbClr val="B1810B"/>
                </a:solidFill>
                <a:latin typeface="Arial"/>
                <a:cs typeface="Arial"/>
              </a:rPr>
              <a:t>lower cost </a:t>
            </a:r>
            <a:r>
              <a:rPr lang="en-US" sz="2200" spc="10" dirty="0">
                <a:latin typeface="Arial"/>
                <a:cs typeface="Arial"/>
              </a:rPr>
              <a:t>of privacy operations, </a:t>
            </a:r>
            <a:r>
              <a:rPr lang="en-US" sz="2200" b="1" spc="10" dirty="0">
                <a:solidFill>
                  <a:srgbClr val="B1810B"/>
                </a:solidFill>
                <a:latin typeface="Arial"/>
                <a:cs typeface="Arial"/>
              </a:rPr>
              <a:t>lower risk </a:t>
            </a:r>
            <a:r>
              <a:rPr lang="en-US" sz="2200" spc="10" dirty="0">
                <a:latin typeface="Arial"/>
                <a:cs typeface="Arial"/>
              </a:rPr>
              <a:t>in case of data leakage and improved opportunity coverage. However, with increasing levels of privacy, synthetic data loses its ability to retain information and may impact model performance.</a:t>
            </a:r>
          </a:p>
        </p:txBody>
      </p:sp>
      <p:pic>
        <p:nvPicPr>
          <p:cNvPr id="4" name="Black Bar">
            <a:extLst>
              <a:ext uri="{FF2B5EF4-FFF2-40B4-BE49-F238E27FC236}">
                <a16:creationId xmlns:a16="http://schemas.microsoft.com/office/drawing/2014/main" id="{BF04CF46-455C-644C-AF80-A60B0A7393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97971" y="-314325"/>
            <a:ext cx="25174805" cy="2383971"/>
          </a:xfrm>
          <a:prstGeom prst="rect">
            <a:avLst/>
          </a:prstGeom>
        </p:spPr>
      </p:pic>
      <p:sp>
        <p:nvSpPr>
          <p:cNvPr id="5" name="Text Box 126">
            <a:extLst>
              <a:ext uri="{FF2B5EF4-FFF2-40B4-BE49-F238E27FC236}">
                <a16:creationId xmlns:a16="http://schemas.microsoft.com/office/drawing/2014/main" id="{7F0B8FD2-2677-FE42-AC0C-DCA46DDE52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4281" y="868819"/>
            <a:ext cx="28061186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3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NTHETIC DATA GENERATION: A CASE STUDY OF PRIVACY OFFERED VS PREDICTIVE POW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FCC6FC3-46DB-4041-A3B6-FB3B780E4898}"/>
              </a:ext>
            </a:extLst>
          </p:cNvPr>
          <p:cNvSpPr txBox="1"/>
          <p:nvPr/>
        </p:nvSpPr>
        <p:spPr>
          <a:xfrm>
            <a:off x="630515" y="2363292"/>
            <a:ext cx="9360872" cy="20867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</a:pPr>
            <a:r>
              <a:rPr lang="en-IN" sz="2400" b="1">
                <a:latin typeface="Arial" panose="020B0604020202020204" pitchFamily="34" charset="0"/>
                <a:cs typeface="Arial" panose="020B0604020202020204" pitchFamily="34" charset="0"/>
              </a:rPr>
              <a:t>Pratik Kamat, Anusha Reddy, Naveen </a:t>
            </a:r>
            <a:r>
              <a:rPr lang="en-IN" sz="2400" b="1" err="1">
                <a:latin typeface="Arial" panose="020B0604020202020204" pitchFamily="34" charset="0"/>
                <a:cs typeface="Arial" panose="020B0604020202020204" pitchFamily="34" charset="0"/>
              </a:rPr>
              <a:t>Shaji</a:t>
            </a:r>
            <a:r>
              <a:rPr lang="en-IN" sz="2400" b="1">
                <a:latin typeface="Arial" panose="020B0604020202020204" pitchFamily="34" charset="0"/>
                <a:cs typeface="Arial" panose="020B0604020202020204" pitchFamily="34" charset="0"/>
              </a:rPr>
              <a:t>, Prashanth Suresh, </a:t>
            </a:r>
            <a:r>
              <a:rPr lang="en-IN" sz="2400" b="1" err="1">
                <a:latin typeface="Arial" panose="020B0604020202020204" pitchFamily="34" charset="0"/>
                <a:cs typeface="Arial" panose="020B0604020202020204" pitchFamily="34" charset="0"/>
              </a:rPr>
              <a:t>Amisha</a:t>
            </a:r>
            <a:r>
              <a:rPr lang="en-IN" sz="2400" b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N" sz="2400" b="1" err="1">
                <a:latin typeface="Arial" panose="020B0604020202020204" pitchFamily="34" charset="0"/>
                <a:cs typeface="Arial" panose="020B0604020202020204" pitchFamily="34" charset="0"/>
              </a:rPr>
              <a:t>Turkel</a:t>
            </a:r>
            <a:r>
              <a:rPr lang="en-IN" sz="2400" b="1">
                <a:latin typeface="Arial" panose="020B0604020202020204" pitchFamily="34" charset="0"/>
                <a:cs typeface="Arial" panose="020B0604020202020204" pitchFamily="34" charset="0"/>
              </a:rPr>
              <a:t>, Matthew A. Lanham</a:t>
            </a:r>
          </a:p>
          <a:p>
            <a:pPr>
              <a:spcBef>
                <a:spcPct val="20000"/>
              </a:spcBef>
            </a:pPr>
            <a:r>
              <a:rPr lang="en-IN" sz="2400">
                <a:latin typeface="Arial" panose="020B0604020202020204" pitchFamily="34" charset="0"/>
                <a:cs typeface="Arial" panose="020B0604020202020204" pitchFamily="34" charset="0"/>
              </a:rPr>
              <a:t>Purdue University, Mitchel E Daniel, Jr, School of Business</a:t>
            </a:r>
          </a:p>
          <a:p>
            <a:pPr>
              <a:spcBef>
                <a:spcPct val="20000"/>
              </a:spcBef>
            </a:pPr>
            <a:r>
              <a:rPr lang="en-IN" sz="2400">
                <a:latin typeface="Arial" panose="020B0604020202020204" pitchFamily="34" charset="0"/>
                <a:cs typeface="Arial" panose="020B0604020202020204" pitchFamily="34" charset="0"/>
              </a:rPr>
              <a:t>kamat1@purdue.edu; reddy118@purdue.edu; shaji@purdue.edu; suresh80@purdue.edu; turkel@purdue.edu; lanhamm@purdue.edu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0D36FDB-A8B8-AA47-879D-472D4565213B}"/>
              </a:ext>
            </a:extLst>
          </p:cNvPr>
          <p:cNvSpPr/>
          <p:nvPr/>
        </p:nvSpPr>
        <p:spPr>
          <a:xfrm>
            <a:off x="1157791" y="4573682"/>
            <a:ext cx="396479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BUSINESS PROBLEM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106">
            <a:extLst>
              <a:ext uri="{FF2B5EF4-FFF2-40B4-BE49-F238E27FC236}">
                <a16:creationId xmlns:a16="http://schemas.microsoft.com/office/drawing/2014/main" id="{93DC2C2C-4EA8-5145-B24E-FAD8AD4EB6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8724" y="4944051"/>
            <a:ext cx="9452058" cy="3349254"/>
          </a:xfrm>
          <a:prstGeom prst="rect">
            <a:avLst/>
          </a:prstGeom>
          <a:noFill/>
          <a:ln>
            <a:noFill/>
          </a:ln>
          <a:effectLst/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just"/>
            <a:r>
              <a:rPr lang="en-US" sz="2200" spc="10" dirty="0">
                <a:latin typeface="Arial"/>
                <a:cs typeface="Arial"/>
              </a:rPr>
              <a:t>Firms collect and analyze sensitive consumer data to gain insights about their business and develop cutting edge strategies. With increasing regulations and risk of sensitive data leakage, firms employ several </a:t>
            </a:r>
            <a:r>
              <a:rPr lang="en-US" sz="2200" b="1" spc="10" dirty="0">
                <a:solidFill>
                  <a:srgbClr val="B1810B"/>
                </a:solidFill>
                <a:latin typeface="Arial"/>
                <a:cs typeface="Arial"/>
              </a:rPr>
              <a:t>stringent practices </a:t>
            </a:r>
            <a:r>
              <a:rPr lang="en-US" sz="2200" spc="10" dirty="0">
                <a:latin typeface="Arial"/>
                <a:cs typeface="Arial"/>
              </a:rPr>
              <a:t>to ensure data privacy. However, these practices drive-up </a:t>
            </a:r>
            <a:r>
              <a:rPr lang="en-US" sz="2200" b="1" spc="10" dirty="0">
                <a:solidFill>
                  <a:srgbClr val="B1810B"/>
                </a:solidFill>
                <a:latin typeface="Arial"/>
                <a:cs typeface="Arial"/>
              </a:rPr>
              <a:t>operational costs </a:t>
            </a:r>
            <a:r>
              <a:rPr lang="en-US" sz="2200" spc="10" dirty="0">
                <a:latin typeface="Arial"/>
                <a:cs typeface="Arial"/>
              </a:rPr>
              <a:t>and</a:t>
            </a:r>
            <a:r>
              <a:rPr lang="en-US" sz="2200" spc="1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lang="en-US" sz="2200" b="1" spc="10" dirty="0">
                <a:solidFill>
                  <a:srgbClr val="B1810B"/>
                </a:solidFill>
                <a:latin typeface="Arial"/>
                <a:cs typeface="Arial"/>
              </a:rPr>
              <a:t>opportunity losses</a:t>
            </a:r>
            <a:r>
              <a:rPr lang="en-US" sz="2200" spc="10" dirty="0">
                <a:latin typeface="Arial"/>
                <a:cs typeface="Arial"/>
              </a:rPr>
              <a:t>.  Synthetic data allows firms to relax these practices at the cost of predictive power. In collaboration with a national timeshare firm, our solution generates synthetic data that provides a </a:t>
            </a:r>
            <a:r>
              <a:rPr lang="en-US" sz="2200" b="1" spc="10" dirty="0">
                <a:solidFill>
                  <a:srgbClr val="B1810B"/>
                </a:solidFill>
                <a:latin typeface="Arial"/>
                <a:cs typeface="Arial"/>
              </a:rPr>
              <a:t>high level of data privacy without compromising on model performance</a:t>
            </a:r>
            <a:r>
              <a:rPr lang="en-US" sz="2200" spc="10" dirty="0">
                <a:latin typeface="Arial"/>
                <a:cs typeface="Arial"/>
              </a:rPr>
              <a:t>.</a:t>
            </a:r>
          </a:p>
          <a:p>
            <a:pPr algn="just" defTabSz="887413"/>
            <a:endParaRPr lang="en-US" sz="2200" spc="10" dirty="0">
              <a:latin typeface="Arial"/>
              <a:cs typeface="Aria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805A33B-F345-D14B-9F45-81D477157C78}"/>
              </a:ext>
            </a:extLst>
          </p:cNvPr>
          <p:cNvSpPr/>
          <p:nvPr/>
        </p:nvSpPr>
        <p:spPr>
          <a:xfrm>
            <a:off x="10976974" y="2606329"/>
            <a:ext cx="13597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681C7298-AC55-BC47-9945-21D18946CD1E}"/>
              </a:ext>
            </a:extLst>
          </p:cNvPr>
          <p:cNvSpPr/>
          <p:nvPr/>
        </p:nvSpPr>
        <p:spPr>
          <a:xfrm>
            <a:off x="10976973" y="11720539"/>
            <a:ext cx="475062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>
                <a:latin typeface="Arial" panose="020B0604020202020204" pitchFamily="34" charset="0"/>
                <a:cs typeface="Arial" panose="020B0604020202020204" pitchFamily="34" charset="0"/>
              </a:rPr>
              <a:t>STATISTICAL RESULTS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C75D7442-DCEF-4249-9AE3-C50D6BED3597}"/>
              </a:ext>
            </a:extLst>
          </p:cNvPr>
          <p:cNvCxnSpPr/>
          <p:nvPr/>
        </p:nvCxnSpPr>
        <p:spPr bwMode="auto">
          <a:xfrm flipH="1" flipV="1">
            <a:off x="10081556" y="2410408"/>
            <a:ext cx="23536" cy="1884191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93B4EA7E-3951-D940-B911-8184BAC955FF}"/>
              </a:ext>
            </a:extLst>
          </p:cNvPr>
          <p:cNvCxnSpPr/>
          <p:nvPr/>
        </p:nvCxnSpPr>
        <p:spPr bwMode="auto">
          <a:xfrm flipV="1">
            <a:off x="17922320" y="2423449"/>
            <a:ext cx="50518" cy="943018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91101FB1-9B75-4A42-9710-E3BDB668D61D}"/>
              </a:ext>
            </a:extLst>
          </p:cNvPr>
          <p:cNvCxnSpPr/>
          <p:nvPr/>
        </p:nvCxnSpPr>
        <p:spPr bwMode="auto">
          <a:xfrm flipV="1">
            <a:off x="33222428" y="2423449"/>
            <a:ext cx="0" cy="189340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59" name="Picture 58">
            <a:extLst>
              <a:ext uri="{FF2B5EF4-FFF2-40B4-BE49-F238E27FC236}">
                <a16:creationId xmlns:a16="http://schemas.microsoft.com/office/drawing/2014/main" id="{2143E379-72B6-8541-A065-AFDFEABC3D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716274" y="760499"/>
            <a:ext cx="10792797" cy="1145034"/>
          </a:xfrm>
          <a:prstGeom prst="rect">
            <a:avLst/>
          </a:prstGeom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1CA88E54-AD9A-0B4B-A04A-6DC862D6D2D0}"/>
              </a:ext>
            </a:extLst>
          </p:cNvPr>
          <p:cNvSpPr/>
          <p:nvPr/>
        </p:nvSpPr>
        <p:spPr>
          <a:xfrm>
            <a:off x="18850272" y="2594255"/>
            <a:ext cx="433096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>
                <a:latin typeface="Arial" panose="020B0604020202020204" pitchFamily="34" charset="0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F8D71F1-52BE-D246-AD70-F6A1590513F2}"/>
              </a:ext>
            </a:extLst>
          </p:cNvPr>
          <p:cNvSpPr/>
          <p:nvPr/>
        </p:nvSpPr>
        <p:spPr>
          <a:xfrm>
            <a:off x="34152300" y="3245329"/>
            <a:ext cx="638609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>
                <a:latin typeface="Arial" panose="020B0604020202020204" pitchFamily="34" charset="0"/>
                <a:cs typeface="Arial" panose="020B0604020202020204" pitchFamily="34" charset="0"/>
              </a:rPr>
              <a:t> BUSINESS IMPACT ASSESSMENT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B383FFF5-78F6-5D4E-B6DF-05BB8D4CBF1A}"/>
              </a:ext>
            </a:extLst>
          </p:cNvPr>
          <p:cNvSpPr/>
          <p:nvPr/>
        </p:nvSpPr>
        <p:spPr>
          <a:xfrm>
            <a:off x="34210260" y="14889053"/>
            <a:ext cx="299655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DEPLOYMENT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03914115-B482-4642-B7D5-7640C011831F}"/>
              </a:ext>
            </a:extLst>
          </p:cNvPr>
          <p:cNvSpPr/>
          <p:nvPr/>
        </p:nvSpPr>
        <p:spPr>
          <a:xfrm>
            <a:off x="34505931" y="12288328"/>
            <a:ext cx="7139335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90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Fig 5. </a:t>
            </a:r>
            <a:r>
              <a:rPr lang="en-US" sz="1900">
                <a:latin typeface="Arial" panose="020B0604020202020204" pitchFamily="34" charset="0"/>
                <a:cs typeface="Arial" panose="020B0604020202020204" pitchFamily="34" charset="0"/>
              </a:rPr>
              <a:t>Net Value Assessment Process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97E065FC-AFC5-F04A-B91E-EDA62B8ECE4E}"/>
              </a:ext>
            </a:extLst>
          </p:cNvPr>
          <p:cNvSpPr txBox="1"/>
          <p:nvPr/>
        </p:nvSpPr>
        <p:spPr>
          <a:xfrm>
            <a:off x="33664429" y="18249437"/>
            <a:ext cx="9953694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200" spc="10" dirty="0">
                <a:latin typeface="Arial"/>
                <a:cs typeface="Arial"/>
              </a:rPr>
              <a:t>In most settings, we recommend </a:t>
            </a:r>
            <a:r>
              <a:rPr lang="en-US" sz="2200" spc="10" dirty="0" err="1">
                <a:latin typeface="Arial"/>
                <a:cs typeface="Arial"/>
              </a:rPr>
              <a:t>DataSynthesizer</a:t>
            </a:r>
            <a:r>
              <a:rPr lang="en-US" sz="2200" spc="10" dirty="0">
                <a:latin typeface="Arial"/>
                <a:cs typeface="Arial"/>
              </a:rPr>
              <a:t> which provides </a:t>
            </a:r>
            <a:r>
              <a:rPr lang="en-US" sz="2200" b="1" spc="10" dirty="0">
                <a:solidFill>
                  <a:srgbClr val="B1810B"/>
                </a:solidFill>
                <a:latin typeface="Arial"/>
                <a:cs typeface="Arial"/>
              </a:rPr>
              <a:t>81% data privacy with the same opportunity coverage </a:t>
            </a:r>
            <a:r>
              <a:rPr lang="en-US" sz="2200" spc="10" dirty="0">
                <a:latin typeface="Arial"/>
                <a:cs typeface="Arial"/>
              </a:rPr>
              <a:t>as real data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Adding small amounts of noise is a powerful technique to improve data privacy with negligible drops in opportunity coverage. However, adding noise beyond a point can adversely affect model performance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FDF74BEC-DB0F-FA42-B2A3-DCD1E8C9E4B8}"/>
              </a:ext>
            </a:extLst>
          </p:cNvPr>
          <p:cNvSpPr/>
          <p:nvPr/>
        </p:nvSpPr>
        <p:spPr>
          <a:xfrm>
            <a:off x="34209583" y="20232195"/>
            <a:ext cx="443138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>
                <a:latin typeface="Arial" panose="020B0604020202020204" pitchFamily="34" charset="0"/>
                <a:cs typeface="Arial" panose="020B0604020202020204" pitchFamily="34" charset="0"/>
              </a:rPr>
              <a:t>ACKNOWLEDGEMENTS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3AA2FCB8-11C0-6F40-AA0B-61B3C8C521D0}"/>
              </a:ext>
            </a:extLst>
          </p:cNvPr>
          <p:cNvSpPr txBox="1"/>
          <p:nvPr/>
        </p:nvSpPr>
        <p:spPr>
          <a:xfrm>
            <a:off x="33619575" y="20742512"/>
            <a:ext cx="9953693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IN" sz="2200" spc="10" dirty="0">
                <a:latin typeface="Arial"/>
                <a:cs typeface="Arial"/>
              </a:rPr>
              <a:t>We would like to express our gratitude to Professor Matthew Lanham and our industry partners for this opportunity and their support throughout this project.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A2340299-52F6-B845-98C4-1D5E456253D2}"/>
              </a:ext>
            </a:extLst>
          </p:cNvPr>
          <p:cNvSpPr/>
          <p:nvPr/>
        </p:nvSpPr>
        <p:spPr bwMode="auto">
          <a:xfrm>
            <a:off x="-142818" y="21825319"/>
            <a:ext cx="44054485" cy="1526128"/>
          </a:xfrm>
          <a:prstGeom prst="rect">
            <a:avLst/>
          </a:prstGeom>
          <a:solidFill>
            <a:srgbClr val="CFB99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42764A7-497C-F542-699E-FCE02869D4A0}"/>
              </a:ext>
            </a:extLst>
          </p:cNvPr>
          <p:cNvSpPr/>
          <p:nvPr/>
        </p:nvSpPr>
        <p:spPr bwMode="auto">
          <a:xfrm>
            <a:off x="563942" y="4652294"/>
            <a:ext cx="365760" cy="365760"/>
          </a:xfrm>
          <a:prstGeom prst="rect">
            <a:avLst/>
          </a:prstGeom>
          <a:solidFill>
            <a:srgbClr val="DDC6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8"/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20E976-AEB3-0F91-D665-0E103A8E2061}"/>
              </a:ext>
            </a:extLst>
          </p:cNvPr>
          <p:cNvCxnSpPr>
            <a:cxnSpLocks/>
            <a:stCxn id="9" idx="3"/>
          </p:cNvCxnSpPr>
          <p:nvPr/>
        </p:nvCxnSpPr>
        <p:spPr bwMode="auto">
          <a:xfrm flipV="1">
            <a:off x="5122585" y="4835174"/>
            <a:ext cx="4593983" cy="11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CFD3E864-38BB-4391-F32F-CD68EA82A609}"/>
              </a:ext>
            </a:extLst>
          </p:cNvPr>
          <p:cNvCxnSpPr>
            <a:cxnSpLocks/>
            <a:stCxn id="46" idx="3"/>
          </p:cNvCxnSpPr>
          <p:nvPr/>
        </p:nvCxnSpPr>
        <p:spPr bwMode="auto">
          <a:xfrm flipV="1">
            <a:off x="5655464" y="18519442"/>
            <a:ext cx="4061104" cy="1094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6" name="Rectangle 125">
            <a:extLst>
              <a:ext uri="{FF2B5EF4-FFF2-40B4-BE49-F238E27FC236}">
                <a16:creationId xmlns:a16="http://schemas.microsoft.com/office/drawing/2014/main" id="{34958317-515E-A181-B59B-7ECAB58C482C}"/>
              </a:ext>
            </a:extLst>
          </p:cNvPr>
          <p:cNvSpPr/>
          <p:nvPr/>
        </p:nvSpPr>
        <p:spPr bwMode="auto">
          <a:xfrm>
            <a:off x="10404379" y="2688345"/>
            <a:ext cx="365760" cy="365760"/>
          </a:xfrm>
          <a:prstGeom prst="rect">
            <a:avLst/>
          </a:prstGeom>
          <a:solidFill>
            <a:srgbClr val="DDC6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8"/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251DB3CE-F99D-6DCD-B6D6-A396128B2C1B}"/>
              </a:ext>
            </a:extLst>
          </p:cNvPr>
          <p:cNvCxnSpPr>
            <a:cxnSpLocks/>
            <a:stCxn id="48" idx="3"/>
          </p:cNvCxnSpPr>
          <p:nvPr/>
        </p:nvCxnSpPr>
        <p:spPr bwMode="auto">
          <a:xfrm flipV="1">
            <a:off x="12336674" y="2863733"/>
            <a:ext cx="5250230" cy="420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2" name="Rectangle 131">
            <a:extLst>
              <a:ext uri="{FF2B5EF4-FFF2-40B4-BE49-F238E27FC236}">
                <a16:creationId xmlns:a16="http://schemas.microsoft.com/office/drawing/2014/main" id="{164E1F80-A09F-36F6-0DEA-C6DB6169A96A}"/>
              </a:ext>
            </a:extLst>
          </p:cNvPr>
          <p:cNvSpPr/>
          <p:nvPr/>
        </p:nvSpPr>
        <p:spPr bwMode="auto">
          <a:xfrm>
            <a:off x="10398966" y="11780514"/>
            <a:ext cx="365760" cy="365760"/>
          </a:xfrm>
          <a:prstGeom prst="rect">
            <a:avLst/>
          </a:prstGeom>
          <a:solidFill>
            <a:srgbClr val="DDC6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8"/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07903A15-0E61-17ED-37B0-35FB3338097F}"/>
              </a:ext>
            </a:extLst>
          </p:cNvPr>
          <p:cNvCxnSpPr>
            <a:cxnSpLocks/>
          </p:cNvCxnSpPr>
          <p:nvPr/>
        </p:nvCxnSpPr>
        <p:spPr bwMode="auto">
          <a:xfrm flipV="1">
            <a:off x="15349270" y="11948160"/>
            <a:ext cx="17508170" cy="3607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4" name="Rectangle 143">
            <a:extLst>
              <a:ext uri="{FF2B5EF4-FFF2-40B4-BE49-F238E27FC236}">
                <a16:creationId xmlns:a16="http://schemas.microsoft.com/office/drawing/2014/main" id="{B0C634BA-2F50-0A07-B0E4-4B3AAA79BE77}"/>
              </a:ext>
            </a:extLst>
          </p:cNvPr>
          <p:cNvSpPr/>
          <p:nvPr/>
        </p:nvSpPr>
        <p:spPr bwMode="auto">
          <a:xfrm>
            <a:off x="18272029" y="2668458"/>
            <a:ext cx="365760" cy="365760"/>
          </a:xfrm>
          <a:prstGeom prst="rect">
            <a:avLst/>
          </a:prstGeom>
          <a:solidFill>
            <a:srgbClr val="DDC6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8"/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8D9029F0-F429-7F97-B113-A90A4678CE58}"/>
              </a:ext>
            </a:extLst>
          </p:cNvPr>
          <p:cNvCxnSpPr>
            <a:cxnSpLocks/>
          </p:cNvCxnSpPr>
          <p:nvPr/>
        </p:nvCxnSpPr>
        <p:spPr bwMode="auto">
          <a:xfrm>
            <a:off x="22152989" y="2866320"/>
            <a:ext cx="107645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2" name="Rectangle 151">
            <a:extLst>
              <a:ext uri="{FF2B5EF4-FFF2-40B4-BE49-F238E27FC236}">
                <a16:creationId xmlns:a16="http://schemas.microsoft.com/office/drawing/2014/main" id="{6A569744-0C0A-752E-B09E-688609C3F26B}"/>
              </a:ext>
            </a:extLst>
          </p:cNvPr>
          <p:cNvSpPr/>
          <p:nvPr/>
        </p:nvSpPr>
        <p:spPr bwMode="auto">
          <a:xfrm>
            <a:off x="33664429" y="3278353"/>
            <a:ext cx="365760" cy="365760"/>
          </a:xfrm>
          <a:prstGeom prst="rect">
            <a:avLst/>
          </a:prstGeom>
          <a:solidFill>
            <a:srgbClr val="DDC6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8"/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6AEB2987-C967-A61F-B616-564F56A0BB57}"/>
              </a:ext>
            </a:extLst>
          </p:cNvPr>
          <p:cNvCxnSpPr>
            <a:cxnSpLocks/>
          </p:cNvCxnSpPr>
          <p:nvPr/>
        </p:nvCxnSpPr>
        <p:spPr bwMode="auto">
          <a:xfrm flipV="1">
            <a:off x="40323839" y="3479116"/>
            <a:ext cx="3088309" cy="304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7" name="Rectangle 156">
            <a:extLst>
              <a:ext uri="{FF2B5EF4-FFF2-40B4-BE49-F238E27FC236}">
                <a16:creationId xmlns:a16="http://schemas.microsoft.com/office/drawing/2014/main" id="{6EF40ED5-AC94-462E-0C37-0229752EFEC9}"/>
              </a:ext>
            </a:extLst>
          </p:cNvPr>
          <p:cNvSpPr/>
          <p:nvPr/>
        </p:nvSpPr>
        <p:spPr bwMode="auto">
          <a:xfrm>
            <a:off x="33619575" y="14960544"/>
            <a:ext cx="365760" cy="365760"/>
          </a:xfrm>
          <a:prstGeom prst="rect">
            <a:avLst/>
          </a:prstGeom>
          <a:solidFill>
            <a:srgbClr val="DDC6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8"/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C6F26630-80BC-6E72-7D82-A3B042EAFF25}"/>
              </a:ext>
            </a:extLst>
          </p:cNvPr>
          <p:cNvCxnSpPr>
            <a:cxnSpLocks/>
            <a:stCxn id="77" idx="3"/>
          </p:cNvCxnSpPr>
          <p:nvPr/>
        </p:nvCxnSpPr>
        <p:spPr bwMode="auto">
          <a:xfrm>
            <a:off x="37206816" y="15150663"/>
            <a:ext cx="614809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1" name="Rectangle 160">
            <a:extLst>
              <a:ext uri="{FF2B5EF4-FFF2-40B4-BE49-F238E27FC236}">
                <a16:creationId xmlns:a16="http://schemas.microsoft.com/office/drawing/2014/main" id="{95D99D90-78AD-606A-CC36-567F13449A89}"/>
              </a:ext>
            </a:extLst>
          </p:cNvPr>
          <p:cNvSpPr/>
          <p:nvPr/>
        </p:nvSpPr>
        <p:spPr bwMode="auto">
          <a:xfrm>
            <a:off x="33647219" y="20300737"/>
            <a:ext cx="365760" cy="365760"/>
          </a:xfrm>
          <a:prstGeom prst="rect">
            <a:avLst/>
          </a:prstGeom>
          <a:solidFill>
            <a:srgbClr val="DDC6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8"/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4D8F2194-3A85-4AE6-929F-4A7F1AA2A12E}"/>
              </a:ext>
            </a:extLst>
          </p:cNvPr>
          <p:cNvCxnSpPr>
            <a:cxnSpLocks/>
            <a:stCxn id="106" idx="3"/>
          </p:cNvCxnSpPr>
          <p:nvPr/>
        </p:nvCxnSpPr>
        <p:spPr bwMode="auto">
          <a:xfrm flipV="1">
            <a:off x="38640970" y="20474587"/>
            <a:ext cx="4378459" cy="1921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AF06BEFE-8EB9-13D7-389A-44CDBD200C43}"/>
              </a:ext>
            </a:extLst>
          </p:cNvPr>
          <p:cNvGrpSpPr/>
          <p:nvPr/>
        </p:nvGrpSpPr>
        <p:grpSpPr>
          <a:xfrm>
            <a:off x="18445864" y="3037059"/>
            <a:ext cx="14476371" cy="8352395"/>
            <a:chOff x="4396154" y="849072"/>
            <a:chExt cx="31490423" cy="20991637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6B981328-0748-5893-EF22-6B8A29216346}"/>
                </a:ext>
              </a:extLst>
            </p:cNvPr>
            <p:cNvSpPr/>
            <p:nvPr/>
          </p:nvSpPr>
          <p:spPr bwMode="auto">
            <a:xfrm>
              <a:off x="5289407" y="11289083"/>
              <a:ext cx="3722914" cy="163285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IN" sz="18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Raw                             Data</a:t>
              </a:r>
            </a:p>
          </p:txBody>
        </p:sp>
        <p:pic>
          <p:nvPicPr>
            <p:cNvPr id="50" name="Graphic 49" descr="Database outline">
              <a:extLst>
                <a:ext uri="{FF2B5EF4-FFF2-40B4-BE49-F238E27FC236}">
                  <a16:creationId xmlns:a16="http://schemas.microsoft.com/office/drawing/2014/main" id="{38E0BB28-DB69-E107-AFBB-FA25FF00CB1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535441" y="11612781"/>
              <a:ext cx="914400" cy="914399"/>
            </a:xfrm>
            <a:prstGeom prst="rect">
              <a:avLst/>
            </a:prstGeom>
          </p:spPr>
        </p:pic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28B41B29-BBD9-07BF-57D4-B45F2D52467F}"/>
                </a:ext>
              </a:extLst>
            </p:cNvPr>
            <p:cNvSpPr/>
            <p:nvPr/>
          </p:nvSpPr>
          <p:spPr bwMode="auto">
            <a:xfrm>
              <a:off x="5289407" y="15748468"/>
              <a:ext cx="3722914" cy="163285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IN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Test (20%)</a:t>
              </a: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B7D1804B-B51B-FCD9-14F6-FA70E7837408}"/>
                </a:ext>
              </a:extLst>
            </p:cNvPr>
            <p:cNvGrpSpPr/>
            <p:nvPr/>
          </p:nvGrpSpPr>
          <p:grpSpPr>
            <a:xfrm>
              <a:off x="10633394" y="7931581"/>
              <a:ext cx="18472147" cy="8255871"/>
              <a:chOff x="10241859" y="6209212"/>
              <a:chExt cx="18472147" cy="8255871"/>
            </a:xfrm>
          </p:grpSpPr>
          <p:sp>
            <p:nvSpPr>
              <p:cNvPr id="178" name="Rectangle: Rounded Corners 177">
                <a:extLst>
                  <a:ext uri="{FF2B5EF4-FFF2-40B4-BE49-F238E27FC236}">
                    <a16:creationId xmlns:a16="http://schemas.microsoft.com/office/drawing/2014/main" id="{BBAB6D0A-DFB4-5E09-1852-066757F6BF29}"/>
                  </a:ext>
                </a:extLst>
              </p:cNvPr>
              <p:cNvSpPr/>
              <p:nvPr/>
            </p:nvSpPr>
            <p:spPr bwMode="auto">
              <a:xfrm>
                <a:off x="10241859" y="9566714"/>
                <a:ext cx="3722914" cy="1632857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IN" sz="1800" b="1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Train (80%)</a:t>
                </a:r>
              </a:p>
            </p:txBody>
          </p:sp>
          <p:sp>
            <p:nvSpPr>
              <p:cNvPr id="179" name="Rectangle: Rounded Corners 178">
                <a:extLst>
                  <a:ext uri="{FF2B5EF4-FFF2-40B4-BE49-F238E27FC236}">
                    <a16:creationId xmlns:a16="http://schemas.microsoft.com/office/drawing/2014/main" id="{D461E20F-B20F-C3FE-198D-AC02B9A6E900}"/>
                  </a:ext>
                </a:extLst>
              </p:cNvPr>
              <p:cNvSpPr/>
              <p:nvPr/>
            </p:nvSpPr>
            <p:spPr bwMode="auto">
              <a:xfrm>
                <a:off x="16406873" y="12850987"/>
                <a:ext cx="5763567" cy="1091209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IN" sz="1800" b="1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DataSynthesizer</a:t>
                </a:r>
              </a:p>
            </p:txBody>
          </p:sp>
          <p:sp>
            <p:nvSpPr>
              <p:cNvPr id="180" name="Rectangle: Rounded Corners 179">
                <a:extLst>
                  <a:ext uri="{FF2B5EF4-FFF2-40B4-BE49-F238E27FC236}">
                    <a16:creationId xmlns:a16="http://schemas.microsoft.com/office/drawing/2014/main" id="{DDBE9EE2-8F77-3B52-287A-471F05B179DC}"/>
                  </a:ext>
                </a:extLst>
              </p:cNvPr>
              <p:cNvSpPr/>
              <p:nvPr/>
            </p:nvSpPr>
            <p:spPr bwMode="auto">
              <a:xfrm>
                <a:off x="16435816" y="7371869"/>
                <a:ext cx="5763567" cy="1091209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IN" sz="1800" b="1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Synthetic Data Vault</a:t>
                </a:r>
              </a:p>
            </p:txBody>
          </p:sp>
          <p:cxnSp>
            <p:nvCxnSpPr>
              <p:cNvPr id="181" name="Connector: Elbow 180">
                <a:extLst>
                  <a:ext uri="{FF2B5EF4-FFF2-40B4-BE49-F238E27FC236}">
                    <a16:creationId xmlns:a16="http://schemas.microsoft.com/office/drawing/2014/main" id="{579BCF9C-C908-D82C-01B0-AE3E6F626CA8}"/>
                  </a:ext>
                </a:extLst>
              </p:cNvPr>
              <p:cNvCxnSpPr>
                <a:cxnSpLocks/>
                <a:stCxn id="178" idx="3"/>
                <a:endCxn id="179" idx="1"/>
              </p:cNvCxnSpPr>
              <p:nvPr/>
            </p:nvCxnSpPr>
            <p:spPr bwMode="auto">
              <a:xfrm>
                <a:off x="13964773" y="10383143"/>
                <a:ext cx="2442100" cy="3013449"/>
              </a:xfrm>
              <a:prstGeom prst="bentConnector3">
                <a:avLst>
                  <a:gd name="adj1" fmla="val 50000"/>
                </a:avLst>
              </a:prstGeom>
              <a:solidFill>
                <a:schemeClr val="accent1"/>
              </a:solidFill>
              <a:ln w="635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arrow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82" name="Connector: Elbow 181">
                <a:extLst>
                  <a:ext uri="{FF2B5EF4-FFF2-40B4-BE49-F238E27FC236}">
                    <a16:creationId xmlns:a16="http://schemas.microsoft.com/office/drawing/2014/main" id="{0A98CD61-C6B7-5446-A209-446A2648B80C}"/>
                  </a:ext>
                </a:extLst>
              </p:cNvPr>
              <p:cNvCxnSpPr>
                <a:cxnSpLocks/>
                <a:stCxn id="178" idx="3"/>
                <a:endCxn id="180" idx="1"/>
              </p:cNvCxnSpPr>
              <p:nvPr/>
            </p:nvCxnSpPr>
            <p:spPr bwMode="auto">
              <a:xfrm flipV="1">
                <a:off x="13964773" y="7917474"/>
                <a:ext cx="2471043" cy="2465669"/>
              </a:xfrm>
              <a:prstGeom prst="bentConnector3">
                <a:avLst>
                  <a:gd name="adj1" fmla="val 50000"/>
                </a:avLst>
              </a:prstGeom>
              <a:solidFill>
                <a:schemeClr val="accent1"/>
              </a:solidFill>
              <a:ln w="635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arrow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83" name="Arrow: Curved Down 182">
                <a:extLst>
                  <a:ext uri="{FF2B5EF4-FFF2-40B4-BE49-F238E27FC236}">
                    <a16:creationId xmlns:a16="http://schemas.microsoft.com/office/drawing/2014/main" id="{9356017F-F1DA-5BB3-784B-8E50C146E948}"/>
                  </a:ext>
                </a:extLst>
              </p:cNvPr>
              <p:cNvSpPr/>
              <p:nvPr/>
            </p:nvSpPr>
            <p:spPr bwMode="auto">
              <a:xfrm>
                <a:off x="16985964" y="8919072"/>
                <a:ext cx="4605389" cy="1091209"/>
              </a:xfrm>
              <a:prstGeom prst="curvedDownArrow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IN" sz="105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4" name="Arrow: Curved Down 183">
                <a:extLst>
                  <a:ext uri="{FF2B5EF4-FFF2-40B4-BE49-F238E27FC236}">
                    <a16:creationId xmlns:a16="http://schemas.microsoft.com/office/drawing/2014/main" id="{6770AA95-0A75-FED3-CB70-4D1B88ECB9CF}"/>
                  </a:ext>
                </a:extLst>
              </p:cNvPr>
              <p:cNvSpPr/>
              <p:nvPr/>
            </p:nvSpPr>
            <p:spPr bwMode="auto">
              <a:xfrm rot="10800000">
                <a:off x="16850886" y="11219713"/>
                <a:ext cx="4605389" cy="1091209"/>
              </a:xfrm>
              <a:prstGeom prst="curvedDownArrow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IN" sz="105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5" name="TextBox 184">
                <a:extLst>
                  <a:ext uri="{FF2B5EF4-FFF2-40B4-BE49-F238E27FC236}">
                    <a16:creationId xmlns:a16="http://schemas.microsoft.com/office/drawing/2014/main" id="{96B5CF7E-A161-9A68-3CFC-AB1AE75C7148}"/>
                  </a:ext>
                </a:extLst>
              </p:cNvPr>
              <p:cNvSpPr txBox="1"/>
              <p:nvPr/>
            </p:nvSpPr>
            <p:spPr>
              <a:xfrm flipH="1">
                <a:off x="17206609" y="9747752"/>
                <a:ext cx="4164097" cy="1856446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IN" sz="1400">
                    <a:latin typeface="Arial" panose="020B0604020202020204" pitchFamily="34" charset="0"/>
                    <a:cs typeface="Arial" panose="020B0604020202020204" pitchFamily="34" charset="0"/>
                  </a:rPr>
                  <a:t>Multiple iterations with increasing noise to increase privacy</a:t>
                </a:r>
              </a:p>
            </p:txBody>
          </p:sp>
          <p:sp>
            <p:nvSpPr>
              <p:cNvPr id="186" name="Rectangle 185">
                <a:extLst>
                  <a:ext uri="{FF2B5EF4-FFF2-40B4-BE49-F238E27FC236}">
                    <a16:creationId xmlns:a16="http://schemas.microsoft.com/office/drawing/2014/main" id="{F0345B0E-22C6-2BD1-DF45-CE95E309AE34}"/>
                  </a:ext>
                </a:extLst>
              </p:cNvPr>
              <p:cNvSpPr/>
              <p:nvPr/>
            </p:nvSpPr>
            <p:spPr bwMode="auto">
              <a:xfrm>
                <a:off x="14871912" y="6209212"/>
                <a:ext cx="13842094" cy="8255871"/>
              </a:xfrm>
              <a:prstGeom prst="rect">
                <a:avLst/>
              </a:prstGeom>
              <a:noFill/>
              <a:ln w="31750" cap="flat" cmpd="sng" algn="ctr">
                <a:solidFill>
                  <a:schemeClr val="tx1"/>
                </a:solidFill>
                <a:prstDash val="dashDot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IN" sz="105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7" name="Isosceles Triangle 186">
                <a:extLst>
                  <a:ext uri="{FF2B5EF4-FFF2-40B4-BE49-F238E27FC236}">
                    <a16:creationId xmlns:a16="http://schemas.microsoft.com/office/drawing/2014/main" id="{1F727FEC-943B-4E38-3C00-49B6A9A47BB6}"/>
                  </a:ext>
                </a:extLst>
              </p:cNvPr>
              <p:cNvSpPr/>
              <p:nvPr/>
            </p:nvSpPr>
            <p:spPr bwMode="auto">
              <a:xfrm rot="5400000">
                <a:off x="20370009" y="10180627"/>
                <a:ext cx="5479118" cy="952820"/>
              </a:xfrm>
              <a:prstGeom prst="triangl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IN" sz="105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8" name="Rectangle: Rounded Corners 187">
                <a:extLst>
                  <a:ext uri="{FF2B5EF4-FFF2-40B4-BE49-F238E27FC236}">
                    <a16:creationId xmlns:a16="http://schemas.microsoft.com/office/drawing/2014/main" id="{EB06EE86-D849-76E0-ABC7-317CD79DF909}"/>
                  </a:ext>
                </a:extLst>
              </p:cNvPr>
              <p:cNvSpPr/>
              <p:nvPr/>
            </p:nvSpPr>
            <p:spPr bwMode="auto">
              <a:xfrm>
                <a:off x="24048790" y="9583681"/>
                <a:ext cx="4064592" cy="2175623"/>
              </a:xfrm>
              <a:prstGeom prst="round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IN" sz="1800" b="1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Synthetic Data</a:t>
                </a:r>
              </a:p>
            </p:txBody>
          </p:sp>
        </p:grpSp>
        <p:cxnSp>
          <p:nvCxnSpPr>
            <p:cNvPr id="108" name="Straight Arrow Connector 107">
              <a:extLst>
                <a:ext uri="{FF2B5EF4-FFF2-40B4-BE49-F238E27FC236}">
                  <a16:creationId xmlns:a16="http://schemas.microsoft.com/office/drawing/2014/main" id="{C90E2FB4-21AB-9BF8-71E1-BA1B31B30162}"/>
                </a:ext>
              </a:extLst>
            </p:cNvPr>
            <p:cNvCxnSpPr>
              <a:stCxn id="11" idx="3"/>
              <a:endCxn id="178" idx="1"/>
            </p:cNvCxnSpPr>
            <p:nvPr/>
          </p:nvCxnSpPr>
          <p:spPr bwMode="auto">
            <a:xfrm>
              <a:off x="9012321" y="12105512"/>
              <a:ext cx="1621073" cy="0"/>
            </a:xfrm>
            <a:prstGeom prst="straightConnector1">
              <a:avLst/>
            </a:prstGeom>
            <a:solidFill>
              <a:schemeClr val="accent1"/>
            </a:solidFill>
            <a:ln w="635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0" name="Straight Arrow Connector 109">
              <a:extLst>
                <a:ext uri="{FF2B5EF4-FFF2-40B4-BE49-F238E27FC236}">
                  <a16:creationId xmlns:a16="http://schemas.microsoft.com/office/drawing/2014/main" id="{8F86284A-6C38-C412-712C-1F050D5324A4}"/>
                </a:ext>
              </a:extLst>
            </p:cNvPr>
            <p:cNvCxnSpPr>
              <a:stCxn id="11" idx="2"/>
              <a:endCxn id="57" idx="0"/>
            </p:cNvCxnSpPr>
            <p:nvPr/>
          </p:nvCxnSpPr>
          <p:spPr bwMode="auto">
            <a:xfrm>
              <a:off x="7150864" y="12921940"/>
              <a:ext cx="0" cy="2826528"/>
            </a:xfrm>
            <a:prstGeom prst="straightConnector1">
              <a:avLst/>
            </a:prstGeom>
            <a:solidFill>
              <a:schemeClr val="accent1"/>
            </a:solidFill>
            <a:ln w="635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1" name="Connector: Elbow 110">
              <a:extLst>
                <a:ext uri="{FF2B5EF4-FFF2-40B4-BE49-F238E27FC236}">
                  <a16:creationId xmlns:a16="http://schemas.microsoft.com/office/drawing/2014/main" id="{93709800-04CE-E629-EE50-AA323D4FD6BF}"/>
                </a:ext>
              </a:extLst>
            </p:cNvPr>
            <p:cNvCxnSpPr/>
            <p:nvPr/>
          </p:nvCxnSpPr>
          <p:spPr bwMode="auto">
            <a:xfrm rot="5400000" flipH="1" flipV="1">
              <a:off x="10346962" y="6372595"/>
              <a:ext cx="7064382" cy="2768596"/>
            </a:xfrm>
            <a:prstGeom prst="bentConnector2">
              <a:avLst/>
            </a:prstGeom>
            <a:solidFill>
              <a:schemeClr val="accent1"/>
            </a:solidFill>
            <a:ln w="635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2" name="Connector: Elbow 111">
              <a:extLst>
                <a:ext uri="{FF2B5EF4-FFF2-40B4-BE49-F238E27FC236}">
                  <a16:creationId xmlns:a16="http://schemas.microsoft.com/office/drawing/2014/main" id="{F4CD0F79-B8E9-B068-6B63-E51B525F97A5}"/>
                </a:ext>
              </a:extLst>
            </p:cNvPr>
            <p:cNvCxnSpPr>
              <a:cxnSpLocks/>
              <a:stCxn id="188" idx="0"/>
              <a:endCxn id="177" idx="3"/>
            </p:cNvCxnSpPr>
            <p:nvPr/>
          </p:nvCxnSpPr>
          <p:spPr bwMode="auto">
            <a:xfrm rot="16200000" flipV="1">
              <a:off x="22455540" y="7288968"/>
              <a:ext cx="7081349" cy="952815"/>
            </a:xfrm>
            <a:prstGeom prst="bentConnector2">
              <a:avLst/>
            </a:prstGeom>
            <a:solidFill>
              <a:schemeClr val="accent1"/>
            </a:solidFill>
            <a:ln w="635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3CE67235-DE26-A788-0E54-4F753EE2CFA4}"/>
                </a:ext>
              </a:extLst>
            </p:cNvPr>
            <p:cNvGrpSpPr/>
            <p:nvPr/>
          </p:nvGrpSpPr>
          <p:grpSpPr>
            <a:xfrm>
              <a:off x="15263447" y="849072"/>
              <a:ext cx="10269415" cy="6751258"/>
              <a:chOff x="1865812" y="1927602"/>
              <a:chExt cx="9893290" cy="6163868"/>
            </a:xfrm>
          </p:grpSpPr>
          <p:grpSp>
            <p:nvGrpSpPr>
              <p:cNvPr id="139" name="Group 138">
                <a:extLst>
                  <a:ext uri="{FF2B5EF4-FFF2-40B4-BE49-F238E27FC236}">
                    <a16:creationId xmlns:a16="http://schemas.microsoft.com/office/drawing/2014/main" id="{D3D521D3-A7A7-B147-01B9-8FDC6CFAA2B5}"/>
                  </a:ext>
                </a:extLst>
              </p:cNvPr>
              <p:cNvGrpSpPr/>
              <p:nvPr/>
            </p:nvGrpSpPr>
            <p:grpSpPr>
              <a:xfrm>
                <a:off x="1865812" y="1927602"/>
                <a:ext cx="9880712" cy="6163868"/>
                <a:chOff x="1981202" y="2359839"/>
                <a:chExt cx="17943184" cy="9278352"/>
              </a:xfrm>
            </p:grpSpPr>
            <p:sp>
              <p:nvSpPr>
                <p:cNvPr id="142" name="Rectangle: Rounded Corners 141">
                  <a:extLst>
                    <a:ext uri="{FF2B5EF4-FFF2-40B4-BE49-F238E27FC236}">
                      <a16:creationId xmlns:a16="http://schemas.microsoft.com/office/drawing/2014/main" id="{02D9F289-74E3-E233-9DB9-764989E70F72}"/>
                    </a:ext>
                  </a:extLst>
                </p:cNvPr>
                <p:cNvSpPr/>
                <p:nvPr/>
              </p:nvSpPr>
              <p:spPr bwMode="auto">
                <a:xfrm>
                  <a:off x="2400300" y="5014425"/>
                  <a:ext cx="4610100" cy="1028700"/>
                </a:xfrm>
                <a:prstGeom prst="roundRect">
                  <a:avLst/>
                </a:prstGeom>
                <a:solidFill>
                  <a:srgbClr val="C4BFC0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3" name="Rectangle: Rounded Corners 142">
                  <a:extLst>
                    <a:ext uri="{FF2B5EF4-FFF2-40B4-BE49-F238E27FC236}">
                      <a16:creationId xmlns:a16="http://schemas.microsoft.com/office/drawing/2014/main" id="{18508B4A-9F84-02A1-220C-C28A8272F499}"/>
                    </a:ext>
                  </a:extLst>
                </p:cNvPr>
                <p:cNvSpPr/>
                <p:nvPr/>
              </p:nvSpPr>
              <p:spPr bwMode="auto">
                <a:xfrm>
                  <a:off x="2400300" y="6829542"/>
                  <a:ext cx="4610100" cy="1028700"/>
                </a:xfrm>
                <a:prstGeom prst="roundRect">
                  <a:avLst/>
                </a:prstGeom>
                <a:solidFill>
                  <a:srgbClr val="C4BFC0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6" name="Rectangle: Rounded Corners 145">
                  <a:extLst>
                    <a:ext uri="{FF2B5EF4-FFF2-40B4-BE49-F238E27FC236}">
                      <a16:creationId xmlns:a16="http://schemas.microsoft.com/office/drawing/2014/main" id="{E8F8CF11-E1F2-7A98-26CF-D3E2B2C4EF88}"/>
                    </a:ext>
                  </a:extLst>
                </p:cNvPr>
                <p:cNvSpPr/>
                <p:nvPr/>
              </p:nvSpPr>
              <p:spPr bwMode="auto">
                <a:xfrm>
                  <a:off x="2400300" y="8476423"/>
                  <a:ext cx="4610100" cy="1028700"/>
                </a:xfrm>
                <a:prstGeom prst="roundRect">
                  <a:avLst/>
                </a:prstGeom>
                <a:solidFill>
                  <a:srgbClr val="C4BFC0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7" name="Rectangle: Rounded Corners 146">
                  <a:extLst>
                    <a:ext uri="{FF2B5EF4-FFF2-40B4-BE49-F238E27FC236}">
                      <a16:creationId xmlns:a16="http://schemas.microsoft.com/office/drawing/2014/main" id="{9A63D1DF-AEDF-5EAE-5315-FA00D6C3A0EF}"/>
                    </a:ext>
                  </a:extLst>
                </p:cNvPr>
                <p:cNvSpPr/>
                <p:nvPr/>
              </p:nvSpPr>
              <p:spPr bwMode="auto">
                <a:xfrm>
                  <a:off x="2400300" y="10100115"/>
                  <a:ext cx="4610100" cy="1028700"/>
                </a:xfrm>
                <a:prstGeom prst="roundRect">
                  <a:avLst/>
                </a:prstGeom>
                <a:solidFill>
                  <a:srgbClr val="C4BFC0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8" name="Rectangle: Rounded Corners 147">
                  <a:extLst>
                    <a:ext uri="{FF2B5EF4-FFF2-40B4-BE49-F238E27FC236}">
                      <a16:creationId xmlns:a16="http://schemas.microsoft.com/office/drawing/2014/main" id="{D323269C-2441-38B3-1964-1091BDD0D59E}"/>
                    </a:ext>
                  </a:extLst>
                </p:cNvPr>
                <p:cNvSpPr/>
                <p:nvPr/>
              </p:nvSpPr>
              <p:spPr bwMode="auto">
                <a:xfrm>
                  <a:off x="14638540" y="4984991"/>
                  <a:ext cx="4610100" cy="1028700"/>
                </a:xfrm>
                <a:prstGeom prst="roundRect">
                  <a:avLst/>
                </a:prstGeom>
                <a:solidFill>
                  <a:srgbClr val="C4BFC0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9" name="Rectangle: Rounded Corners 148">
                  <a:extLst>
                    <a:ext uri="{FF2B5EF4-FFF2-40B4-BE49-F238E27FC236}">
                      <a16:creationId xmlns:a16="http://schemas.microsoft.com/office/drawing/2014/main" id="{B1280B5C-C3A7-FDA3-BBF3-02E2D3A70116}"/>
                    </a:ext>
                  </a:extLst>
                </p:cNvPr>
                <p:cNvSpPr/>
                <p:nvPr/>
              </p:nvSpPr>
              <p:spPr bwMode="auto">
                <a:xfrm>
                  <a:off x="14630400" y="6811295"/>
                  <a:ext cx="4610100" cy="1028700"/>
                </a:xfrm>
                <a:prstGeom prst="roundRect">
                  <a:avLst/>
                </a:prstGeom>
                <a:solidFill>
                  <a:srgbClr val="C4BFC0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0" name="Rectangle: Rounded Corners 149">
                  <a:extLst>
                    <a:ext uri="{FF2B5EF4-FFF2-40B4-BE49-F238E27FC236}">
                      <a16:creationId xmlns:a16="http://schemas.microsoft.com/office/drawing/2014/main" id="{1324DF3B-A9E8-FC42-AE56-E6C17C4F80B3}"/>
                    </a:ext>
                  </a:extLst>
                </p:cNvPr>
                <p:cNvSpPr/>
                <p:nvPr/>
              </p:nvSpPr>
              <p:spPr bwMode="auto">
                <a:xfrm>
                  <a:off x="14630400" y="8476423"/>
                  <a:ext cx="4610100" cy="1028700"/>
                </a:xfrm>
                <a:prstGeom prst="roundRect">
                  <a:avLst/>
                </a:prstGeom>
                <a:solidFill>
                  <a:srgbClr val="C4BFC0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1" name="Rectangle: Rounded Corners 150">
                  <a:extLst>
                    <a:ext uri="{FF2B5EF4-FFF2-40B4-BE49-F238E27FC236}">
                      <a16:creationId xmlns:a16="http://schemas.microsoft.com/office/drawing/2014/main" id="{2BA0A32C-C730-8051-2C5C-ECD4824D74EC}"/>
                    </a:ext>
                  </a:extLst>
                </p:cNvPr>
                <p:cNvSpPr/>
                <p:nvPr/>
              </p:nvSpPr>
              <p:spPr bwMode="auto">
                <a:xfrm>
                  <a:off x="14630400" y="10100115"/>
                  <a:ext cx="4610100" cy="1028700"/>
                </a:xfrm>
                <a:prstGeom prst="roundRect">
                  <a:avLst/>
                </a:prstGeom>
                <a:solidFill>
                  <a:srgbClr val="C4BFC0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54" name="Straight Connector 153">
                  <a:extLst>
                    <a:ext uri="{FF2B5EF4-FFF2-40B4-BE49-F238E27FC236}">
                      <a16:creationId xmlns:a16="http://schemas.microsoft.com/office/drawing/2014/main" id="{3D6BBD49-BFBC-BB75-FFA6-7AE3C11E034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7010400" y="5528775"/>
                  <a:ext cx="7620000" cy="508569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accent3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55" name="Straight Connector 154">
                  <a:extLst>
                    <a:ext uri="{FF2B5EF4-FFF2-40B4-BE49-F238E27FC236}">
                      <a16:creationId xmlns:a16="http://schemas.microsoft.com/office/drawing/2014/main" id="{856E707A-2748-2F2E-011D-F41C643B3484}"/>
                    </a:ext>
                  </a:extLst>
                </p:cNvPr>
                <p:cNvCxnSpPr/>
                <p:nvPr/>
              </p:nvCxnSpPr>
              <p:spPr bwMode="auto">
                <a:xfrm>
                  <a:off x="7010400" y="5528775"/>
                  <a:ext cx="7620000" cy="3461998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accent3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56" name="Straight Connector 155">
                  <a:extLst>
                    <a:ext uri="{FF2B5EF4-FFF2-40B4-BE49-F238E27FC236}">
                      <a16:creationId xmlns:a16="http://schemas.microsoft.com/office/drawing/2014/main" id="{76792F91-2A75-D00D-666A-7A5AAF16E2FF}"/>
                    </a:ext>
                  </a:extLst>
                </p:cNvPr>
                <p:cNvCxnSpPr/>
                <p:nvPr/>
              </p:nvCxnSpPr>
              <p:spPr bwMode="auto">
                <a:xfrm>
                  <a:off x="7010400" y="5528775"/>
                  <a:ext cx="7620000" cy="179687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accent3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59" name="Straight Connector 158">
                  <a:extLst>
                    <a:ext uri="{FF2B5EF4-FFF2-40B4-BE49-F238E27FC236}">
                      <a16:creationId xmlns:a16="http://schemas.microsoft.com/office/drawing/2014/main" id="{13098D13-E35C-84AF-B033-FBA2C426CAAD}"/>
                    </a:ext>
                  </a:extLst>
                </p:cNvPr>
                <p:cNvCxnSpPr/>
                <p:nvPr/>
              </p:nvCxnSpPr>
              <p:spPr bwMode="auto">
                <a:xfrm flipV="1">
                  <a:off x="7010400" y="5499341"/>
                  <a:ext cx="7628141" cy="29434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accent3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60" name="Straight Connector 159">
                  <a:extLst>
                    <a:ext uri="{FF2B5EF4-FFF2-40B4-BE49-F238E27FC236}">
                      <a16:creationId xmlns:a16="http://schemas.microsoft.com/office/drawing/2014/main" id="{D873EFFC-8627-66A7-B398-3C5848F5F47B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7010400" y="7343892"/>
                  <a:ext cx="7620000" cy="3270573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accent3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63" name="Straight Connector 162">
                  <a:extLst>
                    <a:ext uri="{FF2B5EF4-FFF2-40B4-BE49-F238E27FC236}">
                      <a16:creationId xmlns:a16="http://schemas.microsoft.com/office/drawing/2014/main" id="{BA7806AE-086E-0FA0-0504-ED76424151A5}"/>
                    </a:ext>
                  </a:extLst>
                </p:cNvPr>
                <p:cNvCxnSpPr/>
                <p:nvPr/>
              </p:nvCxnSpPr>
              <p:spPr bwMode="auto">
                <a:xfrm>
                  <a:off x="7010400" y="7343892"/>
                  <a:ext cx="7620000" cy="1646881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accent3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64" name="Straight Connector 163">
                  <a:extLst>
                    <a:ext uri="{FF2B5EF4-FFF2-40B4-BE49-F238E27FC236}">
                      <a16:creationId xmlns:a16="http://schemas.microsoft.com/office/drawing/2014/main" id="{A831C9A5-0A53-9124-D819-3D760942B9E9}"/>
                    </a:ext>
                  </a:extLst>
                </p:cNvPr>
                <p:cNvCxnSpPr/>
                <p:nvPr/>
              </p:nvCxnSpPr>
              <p:spPr bwMode="auto">
                <a:xfrm flipV="1">
                  <a:off x="7010400" y="7325645"/>
                  <a:ext cx="7620000" cy="18247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accent3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67" name="Straight Connector 166">
                  <a:extLst>
                    <a:ext uri="{FF2B5EF4-FFF2-40B4-BE49-F238E27FC236}">
                      <a16:creationId xmlns:a16="http://schemas.microsoft.com/office/drawing/2014/main" id="{B553DB7C-928A-0329-4B11-EB9354B1D71E}"/>
                    </a:ext>
                  </a:extLst>
                </p:cNvPr>
                <p:cNvCxnSpPr/>
                <p:nvPr/>
              </p:nvCxnSpPr>
              <p:spPr bwMode="auto">
                <a:xfrm flipV="1">
                  <a:off x="7010400" y="5499341"/>
                  <a:ext cx="7628141" cy="1844551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accent3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68" name="Straight Connector 167">
                  <a:extLst>
                    <a:ext uri="{FF2B5EF4-FFF2-40B4-BE49-F238E27FC236}">
                      <a16:creationId xmlns:a16="http://schemas.microsoft.com/office/drawing/2014/main" id="{382AB823-A4DB-5858-4573-4ED17F9BE6B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7010400" y="8990773"/>
                  <a:ext cx="7620000" cy="1623692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accent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69" name="Straight Connector 168">
                  <a:extLst>
                    <a:ext uri="{FF2B5EF4-FFF2-40B4-BE49-F238E27FC236}">
                      <a16:creationId xmlns:a16="http://schemas.microsoft.com/office/drawing/2014/main" id="{4F16A72F-7B17-251C-463C-50EC5DC7B121}"/>
                    </a:ext>
                  </a:extLst>
                </p:cNvPr>
                <p:cNvCxnSpPr/>
                <p:nvPr/>
              </p:nvCxnSpPr>
              <p:spPr bwMode="auto">
                <a:xfrm flipV="1">
                  <a:off x="7010400" y="7325645"/>
                  <a:ext cx="7620000" cy="1665128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accent3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70" name="Straight Connector 169">
                  <a:extLst>
                    <a:ext uri="{FF2B5EF4-FFF2-40B4-BE49-F238E27FC236}">
                      <a16:creationId xmlns:a16="http://schemas.microsoft.com/office/drawing/2014/main" id="{CEEFA71B-A524-EAE1-566E-4AA02F77FD1C}"/>
                    </a:ext>
                  </a:extLst>
                </p:cNvPr>
                <p:cNvCxnSpPr/>
                <p:nvPr/>
              </p:nvCxnSpPr>
              <p:spPr bwMode="auto">
                <a:xfrm>
                  <a:off x="7010400" y="8990773"/>
                  <a:ext cx="7620000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accent3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71" name="Straight Connector 170">
                  <a:extLst>
                    <a:ext uri="{FF2B5EF4-FFF2-40B4-BE49-F238E27FC236}">
                      <a16:creationId xmlns:a16="http://schemas.microsoft.com/office/drawing/2014/main" id="{4FAE5732-8CDE-6B85-8EF1-BE1FB2273D9A}"/>
                    </a:ext>
                  </a:extLst>
                </p:cNvPr>
                <p:cNvCxnSpPr/>
                <p:nvPr/>
              </p:nvCxnSpPr>
              <p:spPr bwMode="auto">
                <a:xfrm flipV="1">
                  <a:off x="7010400" y="5499341"/>
                  <a:ext cx="7628141" cy="3491432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accent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72" name="Straight Connector 171">
                  <a:extLst>
                    <a:ext uri="{FF2B5EF4-FFF2-40B4-BE49-F238E27FC236}">
                      <a16:creationId xmlns:a16="http://schemas.microsoft.com/office/drawing/2014/main" id="{1B099827-1DE2-1470-B85B-F7EEC082D85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7010400" y="10614465"/>
                  <a:ext cx="7620000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accent3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73" name="Straight Connector 172">
                  <a:extLst>
                    <a:ext uri="{FF2B5EF4-FFF2-40B4-BE49-F238E27FC236}">
                      <a16:creationId xmlns:a16="http://schemas.microsoft.com/office/drawing/2014/main" id="{47513B0F-7301-4505-C01C-A84A82BBE33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V="1">
                  <a:off x="7010400" y="8990773"/>
                  <a:ext cx="7620000" cy="1623692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accent3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74" name="Straight Connector 173">
                  <a:extLst>
                    <a:ext uri="{FF2B5EF4-FFF2-40B4-BE49-F238E27FC236}">
                      <a16:creationId xmlns:a16="http://schemas.microsoft.com/office/drawing/2014/main" id="{0A593BD0-693B-A8DB-EE7B-4162A58F602F}"/>
                    </a:ext>
                  </a:extLst>
                </p:cNvPr>
                <p:cNvCxnSpPr/>
                <p:nvPr/>
              </p:nvCxnSpPr>
              <p:spPr bwMode="auto">
                <a:xfrm flipV="1">
                  <a:off x="7010400" y="7325645"/>
                  <a:ext cx="7620000" cy="328882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accent3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75" name="Straight Connector 174">
                  <a:extLst>
                    <a:ext uri="{FF2B5EF4-FFF2-40B4-BE49-F238E27FC236}">
                      <a16:creationId xmlns:a16="http://schemas.microsoft.com/office/drawing/2014/main" id="{C284EC18-9E5E-651F-421A-420CD7C8B05E}"/>
                    </a:ext>
                  </a:extLst>
                </p:cNvPr>
                <p:cNvCxnSpPr/>
                <p:nvPr/>
              </p:nvCxnSpPr>
              <p:spPr bwMode="auto">
                <a:xfrm flipV="1">
                  <a:off x="7010399" y="5491064"/>
                  <a:ext cx="7628140" cy="512340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accent3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76" name="TextBox 175">
                  <a:extLst>
                    <a:ext uri="{FF2B5EF4-FFF2-40B4-BE49-F238E27FC236}">
                      <a16:creationId xmlns:a16="http://schemas.microsoft.com/office/drawing/2014/main" id="{9E01ACC0-2D47-57CF-00D6-937CE17F3F25}"/>
                    </a:ext>
                  </a:extLst>
                </p:cNvPr>
                <p:cNvSpPr txBox="1"/>
                <p:nvPr/>
              </p:nvSpPr>
              <p:spPr>
                <a:xfrm>
                  <a:off x="2797404" y="2546040"/>
                  <a:ext cx="17072272" cy="18071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4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SIMILARITY COMPARISON USING </a:t>
                  </a:r>
                </a:p>
                <a:p>
                  <a:pPr algn="ctr"/>
                  <a:r>
                    <a:rPr lang="en-US" sz="14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APPROXIMATE NEAREST NEIGHBORS</a:t>
                  </a:r>
                </a:p>
              </p:txBody>
            </p:sp>
            <p:sp>
              <p:nvSpPr>
                <p:cNvPr id="177" name="Rectangle 176">
                  <a:extLst>
                    <a:ext uri="{FF2B5EF4-FFF2-40B4-BE49-F238E27FC236}">
                      <a16:creationId xmlns:a16="http://schemas.microsoft.com/office/drawing/2014/main" id="{07403AD5-0BA6-B5D6-3554-25A60B2A5C5B}"/>
                    </a:ext>
                  </a:extLst>
                </p:cNvPr>
                <p:cNvSpPr/>
                <p:nvPr/>
              </p:nvSpPr>
              <p:spPr bwMode="auto">
                <a:xfrm>
                  <a:off x="1981202" y="2359839"/>
                  <a:ext cx="17943184" cy="9278352"/>
                </a:xfrm>
                <a:prstGeom prst="rect">
                  <a:avLst/>
                </a:prstGeom>
                <a:noFill/>
                <a:ln w="31750" cap="flat" cmpd="sng" algn="ctr">
                  <a:solidFill>
                    <a:schemeClr val="tx1">
                      <a:alpha val="91000"/>
                    </a:schemeClr>
                  </a:solidFill>
                  <a:prstDash val="dashDot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IN" sz="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140" name="TextBox 139">
                <a:extLst>
                  <a:ext uri="{FF2B5EF4-FFF2-40B4-BE49-F238E27FC236}">
                    <a16:creationId xmlns:a16="http://schemas.microsoft.com/office/drawing/2014/main" id="{A44BCFB3-20D2-D620-D0F6-2A5A000E8A50}"/>
                  </a:ext>
                </a:extLst>
              </p:cNvPr>
              <p:cNvSpPr txBox="1"/>
              <p:nvPr/>
            </p:nvSpPr>
            <p:spPr>
              <a:xfrm>
                <a:off x="2345390" y="2923208"/>
                <a:ext cx="2154063" cy="706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>
                    <a:latin typeface="Arial" panose="020B0604020202020204" pitchFamily="34" charset="0"/>
                    <a:cs typeface="Arial" panose="020B0604020202020204" pitchFamily="34" charset="0"/>
                  </a:rPr>
                  <a:t>Real Data</a:t>
                </a:r>
              </a:p>
            </p:txBody>
          </p:sp>
          <p:sp>
            <p:nvSpPr>
              <p:cNvPr id="141" name="TextBox 140">
                <a:extLst>
                  <a:ext uri="{FF2B5EF4-FFF2-40B4-BE49-F238E27FC236}">
                    <a16:creationId xmlns:a16="http://schemas.microsoft.com/office/drawing/2014/main" id="{E087F2C2-FF0A-E743-947A-7001B32468D7}"/>
                  </a:ext>
                </a:extLst>
              </p:cNvPr>
              <p:cNvSpPr txBox="1"/>
              <p:nvPr/>
            </p:nvSpPr>
            <p:spPr>
              <a:xfrm>
                <a:off x="8515500" y="2955972"/>
                <a:ext cx="3243602" cy="706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>
                    <a:latin typeface="Arial" panose="020B0604020202020204" pitchFamily="34" charset="0"/>
                    <a:cs typeface="Arial" panose="020B0604020202020204" pitchFamily="34" charset="0"/>
                  </a:rPr>
                  <a:t>Synthetic Data</a:t>
                </a:r>
              </a:p>
            </p:txBody>
          </p:sp>
        </p:grpSp>
        <p:sp>
          <p:nvSpPr>
            <p:cNvPr id="114" name="Rectangle: Rounded Corners 113">
              <a:extLst>
                <a:ext uri="{FF2B5EF4-FFF2-40B4-BE49-F238E27FC236}">
                  <a16:creationId xmlns:a16="http://schemas.microsoft.com/office/drawing/2014/main" id="{5D8578F7-3EDF-B766-5C83-F5453629A06C}"/>
                </a:ext>
              </a:extLst>
            </p:cNvPr>
            <p:cNvSpPr/>
            <p:nvPr/>
          </p:nvSpPr>
          <p:spPr bwMode="auto">
            <a:xfrm rot="10800000" flipH="1" flipV="1">
              <a:off x="10654387" y="15196564"/>
              <a:ext cx="3722914" cy="2736665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IN" sz="1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IN" sz="1400" b="1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IN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Logistic</a:t>
              </a:r>
              <a:r>
                <a:rPr kumimoji="0" lang="en-IN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en-IN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Regression</a:t>
              </a:r>
              <a:endParaRPr kumimoji="0" lang="en-IN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15" name="Straight Arrow Connector 114">
              <a:extLst>
                <a:ext uri="{FF2B5EF4-FFF2-40B4-BE49-F238E27FC236}">
                  <a16:creationId xmlns:a16="http://schemas.microsoft.com/office/drawing/2014/main" id="{51A886AD-AA26-CC51-FC30-C8480CC96E72}"/>
                </a:ext>
              </a:extLst>
            </p:cNvPr>
            <p:cNvCxnSpPr>
              <a:cxnSpLocks/>
              <a:stCxn id="178" idx="2"/>
              <a:endCxn id="114" idx="0"/>
            </p:cNvCxnSpPr>
            <p:nvPr/>
          </p:nvCxnSpPr>
          <p:spPr bwMode="auto">
            <a:xfrm>
              <a:off x="12494851" y="12921940"/>
              <a:ext cx="20993" cy="2274625"/>
            </a:xfrm>
            <a:prstGeom prst="straightConnector1">
              <a:avLst/>
            </a:prstGeom>
            <a:solidFill>
              <a:schemeClr val="accent1"/>
            </a:solidFill>
            <a:ln w="635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6" name="Straight Arrow Connector 115">
              <a:extLst>
                <a:ext uri="{FF2B5EF4-FFF2-40B4-BE49-F238E27FC236}">
                  <a16:creationId xmlns:a16="http://schemas.microsoft.com/office/drawing/2014/main" id="{A9456910-9CE6-CBA7-1B50-18A974419E46}"/>
                </a:ext>
              </a:extLst>
            </p:cNvPr>
            <p:cNvCxnSpPr>
              <a:cxnSpLocks/>
              <a:stCxn id="114" idx="1"/>
              <a:endCxn id="57" idx="3"/>
            </p:cNvCxnSpPr>
            <p:nvPr/>
          </p:nvCxnSpPr>
          <p:spPr bwMode="auto">
            <a:xfrm flipH="1">
              <a:off x="9012321" y="16564897"/>
              <a:ext cx="1642066" cy="0"/>
            </a:xfrm>
            <a:prstGeom prst="straightConnector1">
              <a:avLst/>
            </a:prstGeom>
            <a:solidFill>
              <a:schemeClr val="accent1"/>
            </a:solidFill>
            <a:ln w="635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117" name="Graphic 116" descr="Mathematics with solid fill">
              <a:extLst>
                <a:ext uri="{FF2B5EF4-FFF2-40B4-BE49-F238E27FC236}">
                  <a16:creationId xmlns:a16="http://schemas.microsoft.com/office/drawing/2014/main" id="{169011CB-D8E5-E71C-F246-81C266CBA6A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058642" y="15555793"/>
              <a:ext cx="914400" cy="914400"/>
            </a:xfrm>
            <a:prstGeom prst="rect">
              <a:avLst/>
            </a:prstGeom>
          </p:spPr>
        </p:pic>
        <p:sp>
          <p:nvSpPr>
            <p:cNvPr id="118" name="Rectangle: Rounded Corners 117">
              <a:extLst>
                <a:ext uri="{FF2B5EF4-FFF2-40B4-BE49-F238E27FC236}">
                  <a16:creationId xmlns:a16="http://schemas.microsoft.com/office/drawing/2014/main" id="{AA82BA83-6763-ECCE-687F-9DAA70B8FDD7}"/>
                </a:ext>
              </a:extLst>
            </p:cNvPr>
            <p:cNvSpPr/>
            <p:nvPr/>
          </p:nvSpPr>
          <p:spPr bwMode="auto">
            <a:xfrm>
              <a:off x="4870668" y="19545274"/>
              <a:ext cx="4560391" cy="1295622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IN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Real Data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IN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ROC</a:t>
              </a:r>
            </a:p>
          </p:txBody>
        </p:sp>
        <p:cxnSp>
          <p:nvCxnSpPr>
            <p:cNvPr id="121" name="Connector: Elbow 120">
              <a:extLst>
                <a:ext uri="{FF2B5EF4-FFF2-40B4-BE49-F238E27FC236}">
                  <a16:creationId xmlns:a16="http://schemas.microsoft.com/office/drawing/2014/main" id="{361E5C73-701E-DA43-39CE-6BDC5791C96C}"/>
                </a:ext>
              </a:extLst>
            </p:cNvPr>
            <p:cNvCxnSpPr>
              <a:cxnSpLocks/>
              <a:stCxn id="188" idx="2"/>
              <a:endCxn id="114" idx="3"/>
            </p:cNvCxnSpPr>
            <p:nvPr/>
          </p:nvCxnSpPr>
          <p:spPr bwMode="auto">
            <a:xfrm rot="5400000">
              <a:off x="18883349" y="8975625"/>
              <a:ext cx="3083224" cy="12095320"/>
            </a:xfrm>
            <a:prstGeom prst="bentConnector2">
              <a:avLst/>
            </a:prstGeom>
            <a:solidFill>
              <a:schemeClr val="accent1"/>
            </a:solidFill>
            <a:ln w="635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2" name="Rectangle: Rounded Corners 121">
              <a:extLst>
                <a:ext uri="{FF2B5EF4-FFF2-40B4-BE49-F238E27FC236}">
                  <a16:creationId xmlns:a16="http://schemas.microsoft.com/office/drawing/2014/main" id="{12CBB066-AAE9-A57D-01B0-184A83059DC2}"/>
                </a:ext>
              </a:extLst>
            </p:cNvPr>
            <p:cNvSpPr/>
            <p:nvPr/>
          </p:nvSpPr>
          <p:spPr bwMode="auto">
            <a:xfrm>
              <a:off x="9842458" y="19523376"/>
              <a:ext cx="4560391" cy="129562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IN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Synthetic Data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IN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Noise1 ROC</a:t>
              </a:r>
            </a:p>
          </p:txBody>
        </p:sp>
        <p:sp>
          <p:nvSpPr>
            <p:cNvPr id="123" name="Rectangle: Rounded Corners 122">
              <a:extLst>
                <a:ext uri="{FF2B5EF4-FFF2-40B4-BE49-F238E27FC236}">
                  <a16:creationId xmlns:a16="http://schemas.microsoft.com/office/drawing/2014/main" id="{468C4FEA-63C5-2D9D-3B80-7CAFCA1B1694}"/>
                </a:ext>
              </a:extLst>
            </p:cNvPr>
            <p:cNvSpPr/>
            <p:nvPr/>
          </p:nvSpPr>
          <p:spPr bwMode="auto">
            <a:xfrm>
              <a:off x="14814248" y="19534949"/>
              <a:ext cx="4560391" cy="129562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IN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Synthetic Data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IN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Noise2 ROC</a:t>
              </a:r>
            </a:p>
          </p:txBody>
        </p:sp>
        <p:sp>
          <p:nvSpPr>
            <p:cNvPr id="124" name="Rectangle: Rounded Corners 123">
              <a:extLst>
                <a:ext uri="{FF2B5EF4-FFF2-40B4-BE49-F238E27FC236}">
                  <a16:creationId xmlns:a16="http://schemas.microsoft.com/office/drawing/2014/main" id="{C6289EEB-D082-7C2B-1F56-FA2A878A7E2D}"/>
                </a:ext>
              </a:extLst>
            </p:cNvPr>
            <p:cNvSpPr/>
            <p:nvPr/>
          </p:nvSpPr>
          <p:spPr bwMode="auto">
            <a:xfrm>
              <a:off x="24645882" y="19558032"/>
              <a:ext cx="4560391" cy="129562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IN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Synthetic Data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IN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en-IN" sz="1800" b="1" i="0" u="none" strike="noStrike" cap="none" normalizeH="0" baseline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NoiseK</a:t>
              </a:r>
              <a:r>
                <a:rPr kumimoji="0" lang="en-IN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ROC</a:t>
              </a:r>
            </a:p>
          </p:txBody>
        </p:sp>
        <p:sp>
          <p:nvSpPr>
            <p:cNvPr id="125" name="Isosceles Triangle 124">
              <a:extLst>
                <a:ext uri="{FF2B5EF4-FFF2-40B4-BE49-F238E27FC236}">
                  <a16:creationId xmlns:a16="http://schemas.microsoft.com/office/drawing/2014/main" id="{B2DD5529-C7FC-BC03-CD71-B8D698E55F37}"/>
                </a:ext>
              </a:extLst>
            </p:cNvPr>
            <p:cNvSpPr/>
            <p:nvPr/>
          </p:nvSpPr>
          <p:spPr bwMode="auto">
            <a:xfrm rot="10800000">
              <a:off x="5070529" y="17680123"/>
              <a:ext cx="4131452" cy="506367"/>
            </a:xfrm>
            <a:prstGeom prst="triangl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IN" sz="105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FA81826F-0856-3E79-B487-0EC2BB939BCB}"/>
                </a:ext>
              </a:extLst>
            </p:cNvPr>
            <p:cNvSpPr/>
            <p:nvPr/>
          </p:nvSpPr>
          <p:spPr bwMode="auto">
            <a:xfrm>
              <a:off x="4396154" y="18503473"/>
              <a:ext cx="25392184" cy="3337236"/>
            </a:xfrm>
            <a:prstGeom prst="rect">
              <a:avLst/>
            </a:prstGeom>
            <a:noFill/>
            <a:ln w="31750" cap="flat" cmpd="sng" algn="ctr">
              <a:solidFill>
                <a:schemeClr val="tx1"/>
              </a:solidFill>
              <a:prstDash val="dashDot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IN" sz="105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Arrow: Bent 128">
              <a:extLst>
                <a:ext uri="{FF2B5EF4-FFF2-40B4-BE49-F238E27FC236}">
                  <a16:creationId xmlns:a16="http://schemas.microsoft.com/office/drawing/2014/main" id="{6A59D3E2-48F6-73C5-4564-91173AB27279}"/>
                </a:ext>
              </a:extLst>
            </p:cNvPr>
            <p:cNvSpPr/>
            <p:nvPr/>
          </p:nvSpPr>
          <p:spPr bwMode="auto">
            <a:xfrm rot="5400000">
              <a:off x="26198402" y="2723398"/>
              <a:ext cx="7387895" cy="8170076"/>
            </a:xfrm>
            <a:prstGeom prst="bentArrow">
              <a:avLst>
                <a:gd name="adj1" fmla="val 6494"/>
                <a:gd name="adj2" fmla="val 7800"/>
                <a:gd name="adj3" fmla="val 14985"/>
                <a:gd name="adj4" fmla="val 4375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IN" sz="105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Arrow: Bent 129">
              <a:extLst>
                <a:ext uri="{FF2B5EF4-FFF2-40B4-BE49-F238E27FC236}">
                  <a16:creationId xmlns:a16="http://schemas.microsoft.com/office/drawing/2014/main" id="{FD09B4B9-704B-9C7E-8945-1059DED1E25F}"/>
                </a:ext>
              </a:extLst>
            </p:cNvPr>
            <p:cNvSpPr/>
            <p:nvPr/>
          </p:nvSpPr>
          <p:spPr bwMode="auto">
            <a:xfrm rot="5400000" flipH="1">
              <a:off x="28521111" y="15031203"/>
              <a:ext cx="6947848" cy="3964705"/>
            </a:xfrm>
            <a:prstGeom prst="bentArrow">
              <a:avLst>
                <a:gd name="adj1" fmla="val 10099"/>
                <a:gd name="adj2" fmla="val 12307"/>
                <a:gd name="adj3" fmla="val 24448"/>
                <a:gd name="adj4" fmla="val 4375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IN" sz="105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Rectangle: Rounded Corners 130">
              <a:extLst>
                <a:ext uri="{FF2B5EF4-FFF2-40B4-BE49-F238E27FC236}">
                  <a16:creationId xmlns:a16="http://schemas.microsoft.com/office/drawing/2014/main" id="{79D6E0CD-40DD-6255-B0BA-D01E41B50FFA}"/>
                </a:ext>
              </a:extLst>
            </p:cNvPr>
            <p:cNvSpPr/>
            <p:nvPr/>
          </p:nvSpPr>
          <p:spPr bwMode="auto">
            <a:xfrm>
              <a:off x="31161596" y="10773765"/>
              <a:ext cx="4724981" cy="259243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IN" sz="18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Data Privacy 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IN" sz="18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VS 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IN" sz="18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ROC Curve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B2FCA389-B18C-AB58-DF70-A2874ED49ECF}"/>
                </a:ext>
              </a:extLst>
            </p:cNvPr>
            <p:cNvSpPr txBox="1"/>
            <p:nvPr/>
          </p:nvSpPr>
          <p:spPr>
            <a:xfrm>
              <a:off x="15368956" y="8065007"/>
              <a:ext cx="10832119" cy="7735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latin typeface="Arial" panose="020B0604020202020204" pitchFamily="34" charset="0"/>
                  <a:cs typeface="Arial" panose="020B0604020202020204" pitchFamily="34" charset="0"/>
                </a:rPr>
                <a:t>SYNTHETIC DATA GENRATION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5A59899D-55E7-4F85-73D8-1D20C7772960}"/>
                </a:ext>
              </a:extLst>
            </p:cNvPr>
            <p:cNvSpPr txBox="1"/>
            <p:nvPr/>
          </p:nvSpPr>
          <p:spPr>
            <a:xfrm>
              <a:off x="4813063" y="18691617"/>
              <a:ext cx="10832119" cy="7735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latin typeface="Arial" panose="020B0604020202020204" pitchFamily="34" charset="0"/>
                  <a:cs typeface="Arial" panose="020B0604020202020204" pitchFamily="34" charset="0"/>
                </a:rPr>
                <a:t>MODEL PERFORMANCE TESTING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C01527C9-F265-DEBC-F147-B2C3952AAEDC}"/>
                </a:ext>
              </a:extLst>
            </p:cNvPr>
            <p:cNvSpPr txBox="1"/>
            <p:nvPr/>
          </p:nvSpPr>
          <p:spPr>
            <a:xfrm flipH="1">
              <a:off x="5766564" y="20908867"/>
              <a:ext cx="2768593" cy="8508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>
                  <a:latin typeface="Arial" panose="020B0604020202020204" pitchFamily="34" charset="0"/>
                  <a:cs typeface="Arial" panose="020B0604020202020204" pitchFamily="34" charset="0"/>
                </a:rPr>
                <a:t>Benchmark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901A2B28-C3A2-44F3-2E24-9F2A071151AA}"/>
                </a:ext>
              </a:extLst>
            </p:cNvPr>
            <p:cNvSpPr txBox="1"/>
            <p:nvPr/>
          </p:nvSpPr>
          <p:spPr>
            <a:xfrm flipH="1">
              <a:off x="15093811" y="20916530"/>
              <a:ext cx="10026917" cy="8508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>
                  <a:latin typeface="Arial" panose="020B0604020202020204" pitchFamily="34" charset="0"/>
                  <a:cs typeface="Arial" panose="020B0604020202020204" pitchFamily="34" charset="0"/>
                </a:rPr>
                <a:t>Synthetic data ROC with varying noise levels</a:t>
              </a:r>
            </a:p>
          </p:txBody>
        </p: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5A7F0C7D-85F0-9255-0D47-47946C55E24E}"/>
                </a:ext>
              </a:extLst>
            </p:cNvPr>
            <p:cNvCxnSpPr/>
            <p:nvPr/>
          </p:nvCxnSpPr>
          <p:spPr bwMode="auto">
            <a:xfrm>
              <a:off x="19579715" y="20157970"/>
              <a:ext cx="4806345" cy="0"/>
            </a:xfrm>
            <a:prstGeom prst="line">
              <a:avLst/>
            </a:prstGeom>
            <a:solidFill>
              <a:schemeClr val="accent1"/>
            </a:solidFill>
            <a:ln w="63500" cap="flat" cmpd="sng" algn="ctr">
              <a:solidFill>
                <a:schemeClr val="tx1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74E62C29-0AAD-84B9-6C28-73B64B88CBEF}"/>
              </a:ext>
            </a:extLst>
          </p:cNvPr>
          <p:cNvSpPr txBox="1"/>
          <p:nvPr/>
        </p:nvSpPr>
        <p:spPr>
          <a:xfrm>
            <a:off x="480990" y="18735807"/>
            <a:ext cx="9545425" cy="30315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just">
              <a:spcAft>
                <a:spcPts val="900"/>
              </a:spcAft>
              <a:buFont typeface="Wingdings" pitchFamily="2" charset="2"/>
              <a:buChar char="Ø"/>
            </a:pPr>
            <a:r>
              <a:rPr lang="en-US" sz="2200" spc="10" dirty="0">
                <a:latin typeface="Arial"/>
                <a:cs typeface="Arial"/>
              </a:rPr>
              <a:t> Study the trade-off between privacy offered by synthetic data and its predictive power.</a:t>
            </a:r>
          </a:p>
          <a:p>
            <a:pPr algn="just">
              <a:spcAft>
                <a:spcPts val="900"/>
              </a:spcAft>
              <a:buFont typeface="Wingdings" pitchFamily="2" charset="2"/>
              <a:buChar char="Ø"/>
            </a:pPr>
            <a:r>
              <a:rPr lang="en-US" sz="2200" spc="10" dirty="0">
                <a:latin typeface="Arial"/>
                <a:cs typeface="Arial"/>
              </a:rPr>
              <a:t>Our scope is limited to studying the impact of synthetic data generation for imbalanced binary classification problems and model performance will be evaluated using ROC score.</a:t>
            </a:r>
          </a:p>
          <a:p>
            <a:pPr algn="just">
              <a:buFont typeface="Wingdings" pitchFamily="2" charset="2"/>
              <a:buChar char="Ø"/>
            </a:pPr>
            <a:r>
              <a:rPr lang="en-US" sz="2200" spc="10" dirty="0">
                <a:latin typeface="Arial"/>
                <a:cs typeface="Arial"/>
              </a:rPr>
              <a:t>Identifying the right methodology to generate synthetic data that offers high levels of privacy for a negligible loss in opportunity coverage for our client, denotes the success of this engagement.</a:t>
            </a:r>
          </a:p>
        </p:txBody>
      </p:sp>
      <p:sp>
        <p:nvSpPr>
          <p:cNvPr id="210" name="Rectangle 106">
            <a:extLst>
              <a:ext uri="{FF2B5EF4-FFF2-40B4-BE49-F238E27FC236}">
                <a16:creationId xmlns:a16="http://schemas.microsoft.com/office/drawing/2014/main" id="{035A9EA3-54E8-C06B-AA5E-6951244B35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98611" y="3011477"/>
            <a:ext cx="7531760" cy="8694154"/>
          </a:xfrm>
          <a:prstGeom prst="rect">
            <a:avLst/>
          </a:prstGeom>
          <a:noFill/>
          <a:ln>
            <a:noFill/>
          </a:ln>
          <a:effectLst/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just"/>
            <a:r>
              <a:rPr lang="en-US" sz="2200" spc="10" dirty="0">
                <a:latin typeface="Arial"/>
                <a:cs typeface="Arial"/>
              </a:rPr>
              <a:t>Dataset is sourced from a timeshare firm and contains customer membership and past transaction details.</a:t>
            </a:r>
          </a:p>
          <a:p>
            <a:pPr algn="just"/>
            <a:endParaRPr lang="en-US" sz="2200" spc="10" dirty="0">
              <a:latin typeface="Arial"/>
              <a:cs typeface="Arial"/>
            </a:endParaRPr>
          </a:p>
          <a:p>
            <a:pPr algn="just"/>
            <a:r>
              <a:rPr lang="en-US" sz="2200" b="1" spc="10" dirty="0">
                <a:latin typeface="Arial"/>
                <a:cs typeface="Arial"/>
              </a:rPr>
              <a:t>Highly imbalanced dataset - </a:t>
            </a:r>
            <a:r>
              <a:rPr lang="en-US" sz="2200" spc="10" dirty="0">
                <a:latin typeface="Arial"/>
                <a:cs typeface="Arial"/>
              </a:rPr>
              <a:t>ROC score is used instead of accuracy to evaluate model performance.</a:t>
            </a:r>
          </a:p>
          <a:p>
            <a:pPr algn="just"/>
            <a:r>
              <a:rPr lang="en-US" sz="2200" b="1" spc="10" dirty="0">
                <a:latin typeface="Arial"/>
                <a:cs typeface="Arial"/>
              </a:rPr>
              <a:t>Presence of outliers: </a:t>
            </a:r>
            <a:r>
              <a:rPr lang="en-US" sz="2200" spc="10" dirty="0">
                <a:latin typeface="Arial"/>
                <a:cs typeface="Arial"/>
              </a:rPr>
              <a:t>Outliers were identified and capped in the original dataset.</a:t>
            </a:r>
          </a:p>
          <a:p>
            <a:pPr algn="just"/>
            <a:r>
              <a:rPr lang="en-US" sz="2200" b="1" spc="10" dirty="0">
                <a:latin typeface="Arial"/>
                <a:cs typeface="Arial"/>
              </a:rPr>
              <a:t>Constraints exist between features: </a:t>
            </a:r>
            <a:r>
              <a:rPr lang="en-US" sz="2200" spc="10" dirty="0">
                <a:latin typeface="Arial"/>
                <a:cs typeface="Arial"/>
              </a:rPr>
              <a:t>Some features are restricted in value by other features.</a:t>
            </a:r>
          </a:p>
          <a:p>
            <a:pPr algn="just"/>
            <a:endParaRPr lang="en-US" sz="2200" spc="10" dirty="0">
              <a:latin typeface="Arial"/>
              <a:cs typeface="Arial"/>
            </a:endParaRPr>
          </a:p>
          <a:p>
            <a:pPr algn="just"/>
            <a:endParaRPr lang="en-US" sz="2200" spc="10" dirty="0">
              <a:latin typeface="Arial"/>
              <a:cs typeface="Arial"/>
            </a:endParaRPr>
          </a:p>
          <a:p>
            <a:pPr algn="just"/>
            <a:endParaRPr lang="en-US" sz="2200" spc="10" dirty="0">
              <a:latin typeface="Arial"/>
              <a:cs typeface="Arial"/>
            </a:endParaRPr>
          </a:p>
          <a:p>
            <a:pPr algn="just"/>
            <a:endParaRPr lang="en-US" sz="2200" spc="10" dirty="0">
              <a:latin typeface="Arial"/>
              <a:cs typeface="Arial"/>
            </a:endParaRPr>
          </a:p>
          <a:p>
            <a:pPr algn="just"/>
            <a:endParaRPr lang="en-US" sz="2200" spc="10" dirty="0">
              <a:latin typeface="Arial"/>
              <a:cs typeface="Arial"/>
            </a:endParaRPr>
          </a:p>
          <a:p>
            <a:pPr algn="just"/>
            <a:endParaRPr lang="en-US" sz="2200" spc="10" dirty="0">
              <a:latin typeface="Arial"/>
              <a:cs typeface="Arial"/>
            </a:endParaRPr>
          </a:p>
          <a:p>
            <a:pPr algn="just"/>
            <a:endParaRPr lang="en-US" sz="2200" spc="10" dirty="0">
              <a:latin typeface="Arial"/>
              <a:cs typeface="Arial"/>
            </a:endParaRPr>
          </a:p>
          <a:p>
            <a:pPr algn="just"/>
            <a:endParaRPr lang="en-US" sz="2200" spc="10" dirty="0">
              <a:latin typeface="Arial"/>
              <a:cs typeface="Arial"/>
            </a:endParaRPr>
          </a:p>
          <a:p>
            <a:pPr algn="just"/>
            <a:endParaRPr lang="en-US" sz="2200" spc="10" dirty="0">
              <a:latin typeface="Arial"/>
              <a:cs typeface="Arial"/>
            </a:endParaRPr>
          </a:p>
          <a:p>
            <a:pPr algn="just"/>
            <a:endParaRPr lang="en-US" sz="2200" spc="10" dirty="0">
              <a:latin typeface="Arial"/>
              <a:cs typeface="Arial"/>
            </a:endParaRPr>
          </a:p>
          <a:p>
            <a:pPr algn="just"/>
            <a:r>
              <a:rPr lang="en-US" sz="2200" spc="10" dirty="0">
                <a:latin typeface="Arial"/>
                <a:cs typeface="Arial"/>
              </a:rPr>
              <a:t>Measures to ensure that the synthetic data and real data conform to the same template: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200" spc="10" dirty="0">
                <a:latin typeface="Arial"/>
                <a:cs typeface="Arial"/>
              </a:rPr>
              <a:t>Identifying datatypes of features to define metadata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200" spc="10" dirty="0">
                <a:latin typeface="Arial"/>
                <a:cs typeface="Arial"/>
              </a:rPr>
              <a:t>Formulating data constraints that need to be fed into the synthetic data generators.</a:t>
            </a:r>
          </a:p>
          <a:p>
            <a:pPr algn="r"/>
            <a:r>
              <a:rPr lang="en-US" sz="2200" i="1" spc="10" dirty="0">
                <a:latin typeface="Arial"/>
                <a:cs typeface="Arial"/>
              </a:rPr>
              <a:t>*</a:t>
            </a:r>
            <a:r>
              <a:rPr lang="en-US" sz="1800" i="1" spc="10" dirty="0">
                <a:latin typeface="Arial"/>
                <a:cs typeface="Arial"/>
              </a:rPr>
              <a:t>Detailed description withheld for confidentiality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200" spc="10" dirty="0">
              <a:latin typeface="Arial"/>
              <a:cs typeface="Arial"/>
            </a:endParaRPr>
          </a:p>
        </p:txBody>
      </p:sp>
      <p:sp>
        <p:nvSpPr>
          <p:cNvPr id="14" name="Rectangle 106">
            <a:extLst>
              <a:ext uri="{FF2B5EF4-FFF2-40B4-BE49-F238E27FC236}">
                <a16:creationId xmlns:a16="http://schemas.microsoft.com/office/drawing/2014/main" id="{82FA84EF-BE68-0859-49BA-6D0CD134BF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557845" y="12636056"/>
            <a:ext cx="10060279" cy="2194697"/>
          </a:xfrm>
          <a:prstGeom prst="rect">
            <a:avLst/>
          </a:prstGeom>
          <a:noFill/>
          <a:ln>
            <a:noFill/>
          </a:ln>
          <a:effectLst/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just"/>
            <a:r>
              <a:rPr lang="en-US" sz="2200" spc="10" dirty="0">
                <a:latin typeface="Arial"/>
                <a:cs typeface="Arial"/>
              </a:rPr>
              <a:t>Firms can leverage the tradeoff profile generated in the study to assess the expected </a:t>
            </a:r>
            <a:r>
              <a:rPr lang="en-US" sz="2200" b="1" spc="10" dirty="0">
                <a:solidFill>
                  <a:srgbClr val="B1810B"/>
                </a:solidFill>
                <a:latin typeface="Arial"/>
                <a:cs typeface="Arial"/>
              </a:rPr>
              <a:t>net value </a:t>
            </a:r>
            <a:r>
              <a:rPr lang="en-US" sz="2200" spc="10" dirty="0">
                <a:latin typeface="Arial"/>
                <a:cs typeface="Arial"/>
              </a:rPr>
              <a:t>in adopting various </a:t>
            </a:r>
            <a:r>
              <a:rPr lang="en-US" sz="2200" b="1" spc="10" dirty="0">
                <a:solidFill>
                  <a:srgbClr val="B1810B"/>
                </a:solidFill>
                <a:latin typeface="Arial"/>
                <a:cs typeface="Arial"/>
              </a:rPr>
              <a:t>synthetic data generators</a:t>
            </a:r>
            <a:r>
              <a:rPr lang="en-US" sz="2200" spc="10" dirty="0">
                <a:latin typeface="Arial"/>
                <a:cs typeface="Arial"/>
              </a:rPr>
              <a:t>. The generation method with the highest net value can then be compared with the net value under current practices to arrive at the </a:t>
            </a:r>
            <a:r>
              <a:rPr lang="en-US" sz="2200" b="1" spc="10" dirty="0">
                <a:solidFill>
                  <a:srgbClr val="B1810B"/>
                </a:solidFill>
                <a:latin typeface="Arial"/>
                <a:cs typeface="Arial"/>
              </a:rPr>
              <a:t>optimal strategy </a:t>
            </a:r>
            <a:r>
              <a:rPr lang="en-US" sz="2200" spc="10" dirty="0">
                <a:latin typeface="Arial"/>
                <a:cs typeface="Arial"/>
              </a:rPr>
              <a:t>for adoption of </a:t>
            </a:r>
            <a:r>
              <a:rPr lang="en-US" sz="2200" b="1" spc="10" dirty="0">
                <a:solidFill>
                  <a:srgbClr val="B1810B"/>
                </a:solidFill>
                <a:latin typeface="Arial"/>
                <a:cs typeface="Arial"/>
              </a:rPr>
              <a:t>data privacy practices</a:t>
            </a:r>
            <a:r>
              <a:rPr lang="en-US" sz="2200" spc="10" dirty="0">
                <a:latin typeface="Arial"/>
                <a:cs typeface="Arial"/>
              </a:rPr>
              <a:t>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C728348-661B-64E7-113A-12CB9C9C3BF7}"/>
              </a:ext>
            </a:extLst>
          </p:cNvPr>
          <p:cNvSpPr/>
          <p:nvPr/>
        </p:nvSpPr>
        <p:spPr>
          <a:xfrm>
            <a:off x="1671541" y="15252479"/>
            <a:ext cx="7139335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90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Fig 1. </a:t>
            </a:r>
            <a:r>
              <a:rPr lang="en-US" sz="1900">
                <a:latin typeface="Arial" panose="020B0604020202020204" pitchFamily="34" charset="0"/>
                <a:cs typeface="Arial" panose="020B0604020202020204" pitchFamily="34" charset="0"/>
              </a:rPr>
              <a:t>Current VS Recommended Privacy Operating Practic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DCFBD41-E8F0-FCA0-4156-8223AF8C594F}"/>
              </a:ext>
            </a:extLst>
          </p:cNvPr>
          <p:cNvSpPr/>
          <p:nvPr/>
        </p:nvSpPr>
        <p:spPr>
          <a:xfrm>
            <a:off x="22098706" y="11527926"/>
            <a:ext cx="7139335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9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Fig 3. </a:t>
            </a:r>
            <a:r>
              <a:rPr lang="en-US" sz="1900" dirty="0">
                <a:latin typeface="Arial" panose="020B0604020202020204" pitchFamily="34" charset="0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9" name="Rectangle 106">
            <a:extLst>
              <a:ext uri="{FF2B5EF4-FFF2-40B4-BE49-F238E27FC236}">
                <a16:creationId xmlns:a16="http://schemas.microsoft.com/office/drawing/2014/main" id="{F04DF7DD-8860-0396-C1E7-F674465309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611656" y="15447587"/>
            <a:ext cx="9800492" cy="3268193"/>
          </a:xfrm>
          <a:prstGeom prst="rect">
            <a:avLst/>
          </a:prstGeom>
          <a:noFill/>
          <a:ln>
            <a:noFill/>
          </a:ln>
          <a:effectLst/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marL="342900" indent="-342900" algn="just">
              <a:buFont typeface="Wingdings" pitchFamily="2" charset="2"/>
              <a:buChar char="Ø"/>
            </a:pPr>
            <a:endParaRPr lang="en-US" sz="2200" spc="10"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6AAB145-0C51-260D-A9BB-013868EA80AC}"/>
              </a:ext>
            </a:extLst>
          </p:cNvPr>
          <p:cNvSpPr/>
          <p:nvPr/>
        </p:nvSpPr>
        <p:spPr>
          <a:xfrm>
            <a:off x="16894655" y="21328768"/>
            <a:ext cx="7139335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90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Fig 4. </a:t>
            </a:r>
            <a:r>
              <a:rPr lang="en-US" sz="1900">
                <a:latin typeface="Arial" panose="020B0604020202020204" pitchFamily="34" charset="0"/>
                <a:cs typeface="Arial" panose="020B0604020202020204" pitchFamily="34" charset="0"/>
              </a:rPr>
              <a:t>Model Results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1AEE469-DD01-594A-E16A-E2AEEA862A02}"/>
              </a:ext>
            </a:extLst>
          </p:cNvPr>
          <p:cNvGrpSpPr/>
          <p:nvPr/>
        </p:nvGrpSpPr>
        <p:grpSpPr>
          <a:xfrm>
            <a:off x="33557845" y="3950103"/>
            <a:ext cx="10196465" cy="8187693"/>
            <a:chOff x="33557845" y="3950103"/>
            <a:chExt cx="10196465" cy="8187693"/>
          </a:xfrm>
        </p:grpSpPr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BA5F5904-5364-EE0D-39F7-EEFA47F43F6F}"/>
                </a:ext>
              </a:extLst>
            </p:cNvPr>
            <p:cNvGrpSpPr/>
            <p:nvPr/>
          </p:nvGrpSpPr>
          <p:grpSpPr>
            <a:xfrm>
              <a:off x="33867418" y="3950103"/>
              <a:ext cx="9886892" cy="8187693"/>
              <a:chOff x="33869753" y="4048988"/>
              <a:chExt cx="9783944" cy="7811634"/>
            </a:xfrm>
          </p:grpSpPr>
          <p:grpSp>
            <p:nvGrpSpPr>
              <p:cNvPr id="352" name="Group 351">
                <a:extLst>
                  <a:ext uri="{FF2B5EF4-FFF2-40B4-BE49-F238E27FC236}">
                    <a16:creationId xmlns:a16="http://schemas.microsoft.com/office/drawing/2014/main" id="{0534AC11-07FD-8EF1-77A8-50600379BB0F}"/>
                  </a:ext>
                </a:extLst>
              </p:cNvPr>
              <p:cNvGrpSpPr/>
              <p:nvPr/>
            </p:nvGrpSpPr>
            <p:grpSpPr>
              <a:xfrm>
                <a:off x="33869753" y="4048988"/>
                <a:ext cx="7854069" cy="7811634"/>
                <a:chOff x="7084948" y="5039606"/>
                <a:chExt cx="16166407" cy="11004394"/>
              </a:xfrm>
            </p:grpSpPr>
            <p:sp>
              <p:nvSpPr>
                <p:cNvPr id="353" name="Rectangle: Rounded Corners 352">
                  <a:extLst>
                    <a:ext uri="{FF2B5EF4-FFF2-40B4-BE49-F238E27FC236}">
                      <a16:creationId xmlns:a16="http://schemas.microsoft.com/office/drawing/2014/main" id="{7B0F4C73-8EDD-F3F9-F6FE-CE127D5F318B}"/>
                    </a:ext>
                  </a:extLst>
                </p:cNvPr>
                <p:cNvSpPr/>
                <p:nvPr/>
              </p:nvSpPr>
              <p:spPr bwMode="auto">
                <a:xfrm>
                  <a:off x="7088470" y="6283960"/>
                  <a:ext cx="3403964" cy="128447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 w="1270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sz="18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  <a:cs typeface="Arial" panose="020B0604020202020204" pitchFamily="34" charset="0"/>
                    </a:rPr>
                    <a:t>Synthe</a:t>
                  </a:r>
                  <a:r>
                    <a:rPr lang="en-US" sz="1800">
                      <a:latin typeface="Arial" panose="020B0604020202020204" pitchFamily="34" charset="0"/>
                      <a:cs typeface="Arial" panose="020B0604020202020204" pitchFamily="34" charset="0"/>
                    </a:rPr>
                    <a:t>tic Data V1</a:t>
                  </a:r>
                  <a:endParaRPr kumimoji="0" 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54" name="Rectangle: Rounded Corners 353">
                  <a:extLst>
                    <a:ext uri="{FF2B5EF4-FFF2-40B4-BE49-F238E27FC236}">
                      <a16:creationId xmlns:a16="http://schemas.microsoft.com/office/drawing/2014/main" id="{1CA9479F-5AC5-905C-5EEB-06252796FB0B}"/>
                    </a:ext>
                  </a:extLst>
                </p:cNvPr>
                <p:cNvSpPr/>
                <p:nvPr/>
              </p:nvSpPr>
              <p:spPr bwMode="auto">
                <a:xfrm>
                  <a:off x="19842879" y="8165476"/>
                  <a:ext cx="3408476" cy="1290417"/>
                </a:xfrm>
                <a:prstGeom prst="roundRect">
                  <a:avLst/>
                </a:prstGeom>
                <a:solidFill>
                  <a:schemeClr val="accent2">
                    <a:lumMod val="40000"/>
                    <a:lumOff val="60000"/>
                  </a:schemeClr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  <a:cs typeface="Arial" panose="020B0604020202020204" pitchFamily="34" charset="0"/>
                    </a:rPr>
                    <a:t>Costs of data Privacy </a:t>
                  </a:r>
                </a:p>
              </p:txBody>
            </p:sp>
            <p:cxnSp>
              <p:nvCxnSpPr>
                <p:cNvPr id="355" name="Straight Arrow Connector 354">
                  <a:extLst>
                    <a:ext uri="{FF2B5EF4-FFF2-40B4-BE49-F238E27FC236}">
                      <a16:creationId xmlns:a16="http://schemas.microsoft.com/office/drawing/2014/main" id="{1FAEBE49-F3D2-0D7C-8B3F-E4700CCA868E}"/>
                    </a:ext>
                  </a:extLst>
                </p:cNvPr>
                <p:cNvCxnSpPr>
                  <a:cxnSpLocks/>
                  <a:stCxn id="353" idx="3"/>
                </p:cNvCxnSpPr>
                <p:nvPr/>
              </p:nvCxnSpPr>
              <p:spPr bwMode="auto">
                <a:xfrm>
                  <a:off x="10492434" y="6926200"/>
                  <a:ext cx="1393790" cy="11712"/>
                </a:xfrm>
                <a:prstGeom prst="straightConnector1">
                  <a:avLst/>
                </a:prstGeom>
                <a:solidFill>
                  <a:schemeClr val="accent1"/>
                </a:solidFill>
                <a:ln w="6350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arrow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grpSp>
              <p:nvGrpSpPr>
                <p:cNvPr id="356" name="Group 355">
                  <a:extLst>
                    <a:ext uri="{FF2B5EF4-FFF2-40B4-BE49-F238E27FC236}">
                      <a16:creationId xmlns:a16="http://schemas.microsoft.com/office/drawing/2014/main" id="{5405BFF1-3820-9412-1209-6B7344ADAE63}"/>
                    </a:ext>
                  </a:extLst>
                </p:cNvPr>
                <p:cNvGrpSpPr/>
                <p:nvPr/>
              </p:nvGrpSpPr>
              <p:grpSpPr>
                <a:xfrm>
                  <a:off x="12127235" y="5711498"/>
                  <a:ext cx="6093871" cy="5701067"/>
                  <a:chOff x="15533376" y="6182952"/>
                  <a:chExt cx="6093871" cy="5701067"/>
                </a:xfrm>
              </p:grpSpPr>
              <p:sp>
                <p:nvSpPr>
                  <p:cNvPr id="383" name="Rectangle: Rounded Corners 382">
                    <a:extLst>
                      <a:ext uri="{FF2B5EF4-FFF2-40B4-BE49-F238E27FC236}">
                        <a16:creationId xmlns:a16="http://schemas.microsoft.com/office/drawing/2014/main" id="{37E1AB7B-CE51-F82C-011E-F82EACA002A7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5950335" y="6348859"/>
                    <a:ext cx="5198237" cy="1300961"/>
                  </a:xfrm>
                  <a:prstGeom prst="roundRect">
                    <a:avLst/>
                  </a:prstGeom>
                  <a:noFill/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en-US" b="1" i="0" u="none" strike="noStrike" cap="none" normalizeH="0" baseline="0" dirty="0">
                        <a:ln>
                          <a:noFill/>
                        </a:ln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rPr>
                      <a:t>Choose relaxations in practices based on privacy factor obtained from the tradeoff</a:t>
                    </a:r>
                  </a:p>
                </p:txBody>
              </p:sp>
              <p:sp>
                <p:nvSpPr>
                  <p:cNvPr id="384" name="Rectangle: Rounded Corners 383">
                    <a:extLst>
                      <a:ext uri="{FF2B5EF4-FFF2-40B4-BE49-F238E27FC236}">
                        <a16:creationId xmlns:a16="http://schemas.microsoft.com/office/drawing/2014/main" id="{D33E39EC-C7F9-AD9B-0750-3D324E0F97C7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5940624" y="7786891"/>
                    <a:ext cx="5207948" cy="822960"/>
                  </a:xfrm>
                  <a:prstGeom prst="roundRect">
                    <a:avLst/>
                  </a:prstGeom>
                  <a:solidFill>
                    <a:schemeClr val="accent2">
                      <a:lumMod val="20000"/>
                      <a:lumOff val="80000"/>
                    </a:schemeClr>
                  </a:solidFill>
                  <a:ln w="12700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en-US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rPr>
                      <a:t>Level of Data Minimization</a:t>
                    </a:r>
                  </a:p>
                </p:txBody>
              </p:sp>
              <p:sp>
                <p:nvSpPr>
                  <p:cNvPr id="385" name="Rectangle: Rounded Corners 384">
                    <a:extLst>
                      <a:ext uri="{FF2B5EF4-FFF2-40B4-BE49-F238E27FC236}">
                        <a16:creationId xmlns:a16="http://schemas.microsoft.com/office/drawing/2014/main" id="{A1B2E9F5-9E6F-5A13-1E0C-C386A3A25D58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5974146" y="8796425"/>
                    <a:ext cx="5198240" cy="822960"/>
                  </a:xfrm>
                  <a:prstGeom prst="roundRect">
                    <a:avLst/>
                  </a:prstGeom>
                  <a:solidFill>
                    <a:schemeClr val="accent2">
                      <a:lumMod val="20000"/>
                      <a:lumOff val="80000"/>
                    </a:schemeClr>
                  </a:solidFill>
                  <a:ln w="12700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lang="en-US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Level of Encryptions required</a:t>
                    </a:r>
                  </a:p>
                </p:txBody>
              </p:sp>
              <p:sp>
                <p:nvSpPr>
                  <p:cNvPr id="386" name="Rectangle: Rounded Corners 385">
                    <a:extLst>
                      <a:ext uri="{FF2B5EF4-FFF2-40B4-BE49-F238E27FC236}">
                        <a16:creationId xmlns:a16="http://schemas.microsoft.com/office/drawing/2014/main" id="{55924BAF-D9DE-114D-42A4-E5B405656D8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5955201" y="10821439"/>
                    <a:ext cx="5207947" cy="822960"/>
                  </a:xfrm>
                  <a:prstGeom prst="roundRect">
                    <a:avLst/>
                  </a:prstGeom>
                  <a:solidFill>
                    <a:schemeClr val="accent2">
                      <a:lumMod val="20000"/>
                      <a:lumOff val="80000"/>
                    </a:schemeClr>
                  </a:solidFill>
                  <a:ln w="12700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en-US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rPr>
                      <a:t>Employee Training Required</a:t>
                    </a:r>
                  </a:p>
                </p:txBody>
              </p:sp>
              <p:sp>
                <p:nvSpPr>
                  <p:cNvPr id="387" name="Rectangle: Rounded Corners 386">
                    <a:extLst>
                      <a:ext uri="{FF2B5EF4-FFF2-40B4-BE49-F238E27FC236}">
                        <a16:creationId xmlns:a16="http://schemas.microsoft.com/office/drawing/2014/main" id="{6E59584E-586F-D482-471B-7F1E4397D83B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5945476" y="9793446"/>
                    <a:ext cx="5203093" cy="822960"/>
                  </a:xfrm>
                  <a:prstGeom prst="roundRect">
                    <a:avLst/>
                  </a:prstGeom>
                  <a:solidFill>
                    <a:schemeClr val="accent2">
                      <a:lumMod val="20000"/>
                      <a:lumOff val="80000"/>
                    </a:schemeClr>
                  </a:solidFill>
                  <a:ln w="12700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lang="en-US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Type and frequency of privacy assessment</a:t>
                    </a:r>
                    <a:endParaRPr kumimoji="0" lang="en-US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388" name="Rectangle 387">
                    <a:extLst>
                      <a:ext uri="{FF2B5EF4-FFF2-40B4-BE49-F238E27FC236}">
                        <a16:creationId xmlns:a16="http://schemas.microsoft.com/office/drawing/2014/main" id="{E42BEDBB-655B-0CEB-A070-57083DC1843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5533376" y="6182952"/>
                    <a:ext cx="6093871" cy="5701067"/>
                  </a:xfrm>
                  <a:prstGeom prst="rect">
                    <a:avLst/>
                  </a:prstGeom>
                  <a:noFill/>
                  <a:ln w="15875" cap="flat" cmpd="sng" algn="ctr">
                    <a:solidFill>
                      <a:schemeClr val="tx1"/>
                    </a:solidFill>
                    <a:prstDash val="lgDash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en-US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357" name="Group 356">
                  <a:extLst>
                    <a:ext uri="{FF2B5EF4-FFF2-40B4-BE49-F238E27FC236}">
                      <a16:creationId xmlns:a16="http://schemas.microsoft.com/office/drawing/2014/main" id="{80F7698F-B496-1354-3A23-A4732C82A2C2}"/>
                    </a:ext>
                  </a:extLst>
                </p:cNvPr>
                <p:cNvGrpSpPr/>
                <p:nvPr/>
              </p:nvGrpSpPr>
              <p:grpSpPr>
                <a:xfrm>
                  <a:off x="12081835" y="12294308"/>
                  <a:ext cx="6093871" cy="3590325"/>
                  <a:chOff x="15475439" y="6831288"/>
                  <a:chExt cx="5672381" cy="3488270"/>
                </a:xfrm>
              </p:grpSpPr>
              <p:sp>
                <p:nvSpPr>
                  <p:cNvPr id="380" name="Rectangle: Rounded Corners 379">
                    <a:extLst>
                      <a:ext uri="{FF2B5EF4-FFF2-40B4-BE49-F238E27FC236}">
                        <a16:creationId xmlns:a16="http://schemas.microsoft.com/office/drawing/2014/main" id="{06152BBC-37AC-9FC4-6A7D-91B51517D0BC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5893675" y="8020254"/>
                    <a:ext cx="4838695" cy="2102950"/>
                  </a:xfrm>
                  <a:prstGeom prst="roundRect">
                    <a:avLst/>
                  </a:prstGeom>
                  <a:solidFill>
                    <a:schemeClr val="accent3">
                      <a:lumMod val="20000"/>
                      <a:lumOff val="80000"/>
                    </a:schemeClr>
                  </a:solidFill>
                  <a:ln w="12700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en-US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rPr>
                      <a:t>Assess model performance in terms of opportunity coverage</a:t>
                    </a:r>
                  </a:p>
                </p:txBody>
              </p:sp>
              <p:sp>
                <p:nvSpPr>
                  <p:cNvPr id="382" name="Rectangle 381">
                    <a:extLst>
                      <a:ext uri="{FF2B5EF4-FFF2-40B4-BE49-F238E27FC236}">
                        <a16:creationId xmlns:a16="http://schemas.microsoft.com/office/drawing/2014/main" id="{3F1778D8-3192-C360-79F2-460B811BC25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5475439" y="6831288"/>
                    <a:ext cx="5672381" cy="3488270"/>
                  </a:xfrm>
                  <a:prstGeom prst="rect">
                    <a:avLst/>
                  </a:prstGeom>
                  <a:noFill/>
                  <a:ln w="15875" cap="flat" cmpd="sng" algn="ctr">
                    <a:solidFill>
                      <a:schemeClr val="tx1"/>
                    </a:solidFill>
                    <a:prstDash val="lgDash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en-US" sz="12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358" name="Rectangle 357">
                  <a:extLst>
                    <a:ext uri="{FF2B5EF4-FFF2-40B4-BE49-F238E27FC236}">
                      <a16:creationId xmlns:a16="http://schemas.microsoft.com/office/drawing/2014/main" id="{D83B1B21-2854-D7A9-D518-330242E0DD51}"/>
                    </a:ext>
                  </a:extLst>
                </p:cNvPr>
                <p:cNvSpPr/>
                <p:nvPr/>
              </p:nvSpPr>
              <p:spPr bwMode="auto">
                <a:xfrm>
                  <a:off x="11924392" y="5039606"/>
                  <a:ext cx="6486530" cy="11004394"/>
                </a:xfrm>
                <a:prstGeom prst="rect">
                  <a:avLst/>
                </a:prstGeom>
                <a:noFill/>
                <a:ln w="31750" cap="flat" cmpd="sng" algn="ctr">
                  <a:solidFill>
                    <a:schemeClr val="tx1"/>
                  </a:solidFill>
                  <a:prstDash val="dashDot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sz="12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59" name="Rectangle: Rounded Corners 358">
                  <a:extLst>
                    <a:ext uri="{FF2B5EF4-FFF2-40B4-BE49-F238E27FC236}">
                      <a16:creationId xmlns:a16="http://schemas.microsoft.com/office/drawing/2014/main" id="{6FA7422A-9414-8EF5-E2A8-3FB7A8C9CE46}"/>
                    </a:ext>
                  </a:extLst>
                </p:cNvPr>
                <p:cNvSpPr/>
                <p:nvPr/>
              </p:nvSpPr>
              <p:spPr bwMode="auto">
                <a:xfrm>
                  <a:off x="12513832" y="5055803"/>
                  <a:ext cx="5086350" cy="731133"/>
                </a:xfrm>
                <a:prstGeom prst="roundRect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en-US" sz="1800" b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Trade Off Study</a:t>
                  </a:r>
                  <a:endParaRPr kumimoji="0" lang="en-US" sz="1800" b="1" i="0" u="none" strike="noStrike" cap="none" normalizeH="0" baseline="0" dirty="0">
                    <a:ln>
                      <a:noFill/>
                    </a:ln>
                    <a:effectLst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60" name="Rectangle: Rounded Corners 359">
                  <a:extLst>
                    <a:ext uri="{FF2B5EF4-FFF2-40B4-BE49-F238E27FC236}">
                      <a16:creationId xmlns:a16="http://schemas.microsoft.com/office/drawing/2014/main" id="{A41C1788-3EAD-A871-A842-5866F6F288D4}"/>
                    </a:ext>
                  </a:extLst>
                </p:cNvPr>
                <p:cNvSpPr/>
                <p:nvPr/>
              </p:nvSpPr>
              <p:spPr bwMode="auto">
                <a:xfrm>
                  <a:off x="19842879" y="13408885"/>
                  <a:ext cx="3408476" cy="1290417"/>
                </a:xfrm>
                <a:prstGeom prst="roundRect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  <a:cs typeface="Arial" panose="020B0604020202020204" pitchFamily="34" charset="0"/>
                    </a:rPr>
                    <a:t>Benefits</a:t>
                  </a:r>
                </a:p>
              </p:txBody>
            </p:sp>
            <p:cxnSp>
              <p:nvCxnSpPr>
                <p:cNvPr id="361" name="Straight Arrow Connector 360">
                  <a:extLst>
                    <a:ext uri="{FF2B5EF4-FFF2-40B4-BE49-F238E27FC236}">
                      <a16:creationId xmlns:a16="http://schemas.microsoft.com/office/drawing/2014/main" id="{9087081B-33DD-CB50-84D5-D2423DEEF40E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8449090" y="8805303"/>
                  <a:ext cx="1380466" cy="0"/>
                </a:xfrm>
                <a:prstGeom prst="straightConnector1">
                  <a:avLst/>
                </a:prstGeom>
                <a:solidFill>
                  <a:schemeClr val="accent1"/>
                </a:solidFill>
                <a:ln w="539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arrow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362" name="Straight Arrow Connector 361">
                  <a:extLst>
                    <a:ext uri="{FF2B5EF4-FFF2-40B4-BE49-F238E27FC236}">
                      <a16:creationId xmlns:a16="http://schemas.microsoft.com/office/drawing/2014/main" id="{9A2E99BA-7AD4-20E7-A0B6-56B5316944D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8410922" y="14034067"/>
                  <a:ext cx="1431958" cy="0"/>
                </a:xfrm>
                <a:prstGeom prst="straightConnector1">
                  <a:avLst/>
                </a:prstGeom>
                <a:solidFill>
                  <a:schemeClr val="accent1"/>
                </a:solidFill>
                <a:ln w="539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arrow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363" name="TextBox 362">
                  <a:extLst>
                    <a:ext uri="{FF2B5EF4-FFF2-40B4-BE49-F238E27FC236}">
                      <a16:creationId xmlns:a16="http://schemas.microsoft.com/office/drawing/2014/main" id="{44D63FA8-5E51-DD19-D430-C7B1655FFA45}"/>
                    </a:ext>
                  </a:extLst>
                </p:cNvPr>
                <p:cNvSpPr txBox="1"/>
                <p:nvPr/>
              </p:nvSpPr>
              <p:spPr>
                <a:xfrm>
                  <a:off x="11694697" y="9416715"/>
                  <a:ext cx="376281" cy="33092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endParaRPr lang="en-US" sz="100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64" name="Rectangle: Rounded Corners 363">
                  <a:extLst>
                    <a:ext uri="{FF2B5EF4-FFF2-40B4-BE49-F238E27FC236}">
                      <a16:creationId xmlns:a16="http://schemas.microsoft.com/office/drawing/2014/main" id="{EFCA10EA-1A6C-B3BB-C427-9DA50CC4F8C2}"/>
                    </a:ext>
                  </a:extLst>
                </p:cNvPr>
                <p:cNvSpPr/>
                <p:nvPr/>
              </p:nvSpPr>
              <p:spPr bwMode="auto">
                <a:xfrm>
                  <a:off x="19811103" y="10702904"/>
                  <a:ext cx="3440250" cy="1290417"/>
                </a:xfrm>
                <a:prstGeom prst="round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  <a:cs typeface="Arial" panose="020B0604020202020204" pitchFamily="34" charset="0"/>
                    </a:rPr>
                    <a:t>Net Value</a:t>
                  </a:r>
                </a:p>
              </p:txBody>
            </p:sp>
            <p:sp>
              <p:nvSpPr>
                <p:cNvPr id="367" name="Rectangle: Rounded Corners 366">
                  <a:extLst>
                    <a:ext uri="{FF2B5EF4-FFF2-40B4-BE49-F238E27FC236}">
                      <a16:creationId xmlns:a16="http://schemas.microsoft.com/office/drawing/2014/main" id="{8A494501-A065-9464-17DF-3A025CAE47B1}"/>
                    </a:ext>
                  </a:extLst>
                </p:cNvPr>
                <p:cNvSpPr/>
                <p:nvPr/>
              </p:nvSpPr>
              <p:spPr bwMode="auto">
                <a:xfrm>
                  <a:off x="7084948" y="7871425"/>
                  <a:ext cx="3403956" cy="128447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 w="1270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sz="18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  <a:cs typeface="Arial" panose="020B0604020202020204" pitchFamily="34" charset="0"/>
                    </a:rPr>
                    <a:t>Synthe</a:t>
                  </a:r>
                  <a:r>
                    <a:rPr lang="en-US" sz="1800">
                      <a:latin typeface="Arial" panose="020B0604020202020204" pitchFamily="34" charset="0"/>
                      <a:cs typeface="Arial" panose="020B0604020202020204" pitchFamily="34" charset="0"/>
                    </a:rPr>
                    <a:t>tic Data V2</a:t>
                  </a:r>
                  <a:endParaRPr kumimoji="0" 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68" name="Rectangle: Rounded Corners 367">
                  <a:extLst>
                    <a:ext uri="{FF2B5EF4-FFF2-40B4-BE49-F238E27FC236}">
                      <a16:creationId xmlns:a16="http://schemas.microsoft.com/office/drawing/2014/main" id="{EBA54FC0-A3C4-0149-BF84-ECB9B1D5AD40}"/>
                    </a:ext>
                  </a:extLst>
                </p:cNvPr>
                <p:cNvSpPr/>
                <p:nvPr/>
              </p:nvSpPr>
              <p:spPr bwMode="auto">
                <a:xfrm>
                  <a:off x="7090385" y="9460521"/>
                  <a:ext cx="3398513" cy="128447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 w="1270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sz="18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  <a:cs typeface="Arial" panose="020B0604020202020204" pitchFamily="34" charset="0"/>
                    </a:rPr>
                    <a:t>Synthe</a:t>
                  </a:r>
                  <a:r>
                    <a:rPr lang="en-US" sz="1800">
                      <a:latin typeface="Arial" panose="020B0604020202020204" pitchFamily="34" charset="0"/>
                      <a:cs typeface="Arial" panose="020B0604020202020204" pitchFamily="34" charset="0"/>
                    </a:rPr>
                    <a:t>tic Data V3</a:t>
                  </a:r>
                  <a:endParaRPr kumimoji="0" 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69" name="Rectangle: Rounded Corners 368">
                  <a:extLst>
                    <a:ext uri="{FF2B5EF4-FFF2-40B4-BE49-F238E27FC236}">
                      <a16:creationId xmlns:a16="http://schemas.microsoft.com/office/drawing/2014/main" id="{3E16FE21-4E4A-D831-0525-A7C560EA710B}"/>
                    </a:ext>
                  </a:extLst>
                </p:cNvPr>
                <p:cNvSpPr/>
                <p:nvPr/>
              </p:nvSpPr>
              <p:spPr bwMode="auto">
                <a:xfrm>
                  <a:off x="7084948" y="14212346"/>
                  <a:ext cx="3398501" cy="1284478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 w="1270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sz="1800" b="0" i="0" u="none" strike="noStrike" cap="none" normalizeH="0" baseline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  <a:cs typeface="Arial" panose="020B0604020202020204" pitchFamily="34" charset="0"/>
                    </a:rPr>
                    <a:t>Synthe</a:t>
                  </a:r>
                  <a:r>
                    <a:rPr lang="en-US" sz="1800">
                      <a:latin typeface="Arial" panose="020B0604020202020204" pitchFamily="34" charset="0"/>
                      <a:cs typeface="Arial" panose="020B0604020202020204" pitchFamily="34" charset="0"/>
                    </a:rPr>
                    <a:t>tic Data VK</a:t>
                  </a:r>
                  <a:endParaRPr kumimoji="0" 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370" name="Straight Connector 369">
                  <a:extLst>
                    <a:ext uri="{FF2B5EF4-FFF2-40B4-BE49-F238E27FC236}">
                      <a16:creationId xmlns:a16="http://schemas.microsoft.com/office/drawing/2014/main" id="{8909D4BF-1A0C-2081-BF5B-388446383B5A}"/>
                    </a:ext>
                  </a:extLst>
                </p:cNvPr>
                <p:cNvCxnSpPr/>
                <p:nvPr/>
              </p:nvCxnSpPr>
              <p:spPr bwMode="auto">
                <a:xfrm>
                  <a:off x="8819968" y="10876944"/>
                  <a:ext cx="0" cy="3231651"/>
                </a:xfrm>
                <a:prstGeom prst="line">
                  <a:avLst/>
                </a:prstGeom>
                <a:solidFill>
                  <a:schemeClr val="accent1"/>
                </a:solidFill>
                <a:ln w="63500" cap="flat" cmpd="sng" algn="ctr">
                  <a:solidFill>
                    <a:schemeClr val="tx1"/>
                  </a:solidFill>
                  <a:prstDash val="sysDash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371" name="Straight Arrow Connector 370">
                  <a:extLst>
                    <a:ext uri="{FF2B5EF4-FFF2-40B4-BE49-F238E27FC236}">
                      <a16:creationId xmlns:a16="http://schemas.microsoft.com/office/drawing/2014/main" id="{DD66FE28-7D34-C5F3-AEEC-554AF78EB606}"/>
                    </a:ext>
                  </a:extLst>
                </p:cNvPr>
                <p:cNvCxnSpPr>
                  <a:cxnSpLocks/>
                  <a:stCxn id="367" idx="3"/>
                </p:cNvCxnSpPr>
                <p:nvPr/>
              </p:nvCxnSpPr>
              <p:spPr bwMode="auto">
                <a:xfrm flipV="1">
                  <a:off x="10488904" y="8498655"/>
                  <a:ext cx="1460128" cy="15010"/>
                </a:xfrm>
                <a:prstGeom prst="straightConnector1">
                  <a:avLst/>
                </a:prstGeom>
                <a:solidFill>
                  <a:schemeClr val="accent1"/>
                </a:solidFill>
                <a:ln w="63500" cap="flat" cmpd="sng" algn="ctr">
                  <a:solidFill>
                    <a:schemeClr val="tx1"/>
                  </a:solidFill>
                  <a:prstDash val="sysDash"/>
                  <a:round/>
                  <a:headEnd type="none" w="med" len="med"/>
                  <a:tailEnd type="arrow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372" name="Straight Arrow Connector 371">
                  <a:extLst>
                    <a:ext uri="{FF2B5EF4-FFF2-40B4-BE49-F238E27FC236}">
                      <a16:creationId xmlns:a16="http://schemas.microsoft.com/office/drawing/2014/main" id="{818D0DEA-9044-95F7-CFF2-A684539E8410}"/>
                    </a:ext>
                  </a:extLst>
                </p:cNvPr>
                <p:cNvCxnSpPr>
                  <a:cxnSpLocks/>
                  <a:stCxn id="368" idx="3"/>
                </p:cNvCxnSpPr>
                <p:nvPr/>
              </p:nvCxnSpPr>
              <p:spPr bwMode="auto">
                <a:xfrm>
                  <a:off x="10488898" y="10102761"/>
                  <a:ext cx="1397326" cy="4877"/>
                </a:xfrm>
                <a:prstGeom prst="straightConnector1">
                  <a:avLst/>
                </a:prstGeom>
                <a:solidFill>
                  <a:schemeClr val="accent1"/>
                </a:solidFill>
                <a:ln w="63500" cap="flat" cmpd="sng" algn="ctr">
                  <a:solidFill>
                    <a:schemeClr val="tx1"/>
                  </a:solidFill>
                  <a:prstDash val="sysDash"/>
                  <a:round/>
                  <a:headEnd type="none" w="med" len="med"/>
                  <a:tailEnd type="arrow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373" name="Straight Arrow Connector 372">
                  <a:extLst>
                    <a:ext uri="{FF2B5EF4-FFF2-40B4-BE49-F238E27FC236}">
                      <a16:creationId xmlns:a16="http://schemas.microsoft.com/office/drawing/2014/main" id="{945D2A50-3716-65BD-A77B-23EFF6D97313}"/>
                    </a:ext>
                  </a:extLst>
                </p:cNvPr>
                <p:cNvCxnSpPr>
                  <a:cxnSpLocks/>
                  <a:stCxn id="369" idx="3"/>
                </p:cNvCxnSpPr>
                <p:nvPr/>
              </p:nvCxnSpPr>
              <p:spPr bwMode="auto">
                <a:xfrm flipV="1">
                  <a:off x="10483449" y="14854585"/>
                  <a:ext cx="1475552" cy="1"/>
                </a:xfrm>
                <a:prstGeom prst="straightConnector1">
                  <a:avLst/>
                </a:prstGeom>
                <a:solidFill>
                  <a:schemeClr val="accent1"/>
                </a:solidFill>
                <a:ln w="63500" cap="flat" cmpd="sng" algn="ctr">
                  <a:solidFill>
                    <a:schemeClr val="tx1"/>
                  </a:solidFill>
                  <a:prstDash val="sysDash"/>
                  <a:round/>
                  <a:headEnd type="none" w="med" len="med"/>
                  <a:tailEnd type="arrow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375" name="Rectangle: Rounded Corners 374">
                  <a:extLst>
                    <a:ext uri="{FF2B5EF4-FFF2-40B4-BE49-F238E27FC236}">
                      <a16:creationId xmlns:a16="http://schemas.microsoft.com/office/drawing/2014/main" id="{00A9A9EA-3F13-B733-103D-DF0F3A3D7C8E}"/>
                    </a:ext>
                  </a:extLst>
                </p:cNvPr>
                <p:cNvSpPr/>
                <p:nvPr/>
              </p:nvSpPr>
              <p:spPr bwMode="auto">
                <a:xfrm>
                  <a:off x="12010070" y="12583744"/>
                  <a:ext cx="6093872" cy="652786"/>
                </a:xfrm>
                <a:prstGeom prst="roundRect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b="1" i="0" u="none" strike="noStrike" cap="none" normalizeH="0" baseline="0" dirty="0">
                      <a:ln>
                        <a:noFill/>
                      </a:ln>
                      <a:effectLst/>
                      <a:latin typeface="Arial" panose="020B0604020202020204" pitchFamily="34" charset="0"/>
                      <a:cs typeface="Arial" panose="020B0604020202020204" pitchFamily="34" charset="0"/>
                    </a:rPr>
                    <a:t>Assess impact of opportunity loss obtained from tradeoff</a:t>
                  </a:r>
                </a:p>
              </p:txBody>
            </p:sp>
            <p:sp>
              <p:nvSpPr>
                <p:cNvPr id="377" name="Plus Sign 376">
                  <a:extLst>
                    <a:ext uri="{FF2B5EF4-FFF2-40B4-BE49-F238E27FC236}">
                      <a16:creationId xmlns:a16="http://schemas.microsoft.com/office/drawing/2014/main" id="{6F413C5D-E31C-401E-02F0-40C637ABDB11}"/>
                    </a:ext>
                  </a:extLst>
                </p:cNvPr>
                <p:cNvSpPr/>
                <p:nvPr/>
              </p:nvSpPr>
              <p:spPr bwMode="auto">
                <a:xfrm>
                  <a:off x="14518446" y="11517279"/>
                  <a:ext cx="931278" cy="614486"/>
                </a:xfrm>
                <a:prstGeom prst="mathPlus">
                  <a:avLst/>
                </a:prstGeom>
                <a:solidFill>
                  <a:schemeClr val="tx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IN" sz="12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78" name="TextBox 377">
                  <a:extLst>
                    <a:ext uri="{FF2B5EF4-FFF2-40B4-BE49-F238E27FC236}">
                      <a16:creationId xmlns:a16="http://schemas.microsoft.com/office/drawing/2014/main" id="{5A997DE1-552A-03F1-E343-75C002BAE655}"/>
                    </a:ext>
                  </a:extLst>
                </p:cNvPr>
                <p:cNvSpPr txBox="1"/>
                <p:nvPr/>
              </p:nvSpPr>
              <p:spPr>
                <a:xfrm>
                  <a:off x="20056791" y="9500089"/>
                  <a:ext cx="2009389" cy="86868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IN" sz="3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-</a:t>
                  </a:r>
                </a:p>
              </p:txBody>
            </p:sp>
            <p:sp>
              <p:nvSpPr>
                <p:cNvPr id="379" name="TextBox 378">
                  <a:extLst>
                    <a:ext uri="{FF2B5EF4-FFF2-40B4-BE49-F238E27FC236}">
                      <a16:creationId xmlns:a16="http://schemas.microsoft.com/office/drawing/2014/main" id="{D7B80D1B-7C02-1860-ED5A-E0F98B4842C2}"/>
                    </a:ext>
                  </a:extLst>
                </p:cNvPr>
                <p:cNvSpPr txBox="1"/>
                <p:nvPr/>
              </p:nvSpPr>
              <p:spPr>
                <a:xfrm>
                  <a:off x="20228192" y="12439808"/>
                  <a:ext cx="1515587" cy="70321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IN" sz="28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+</a:t>
                  </a:r>
                </a:p>
              </p:txBody>
            </p:sp>
          </p:grp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0471DED8-8528-3079-7CAC-E53393C7933B}"/>
                  </a:ext>
                </a:extLst>
              </p:cNvPr>
              <p:cNvSpPr txBox="1"/>
              <p:nvPr/>
            </p:nvSpPr>
            <p:spPr>
              <a:xfrm>
                <a:off x="41723820" y="7890745"/>
                <a:ext cx="1929877" cy="12626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Net Value will drive the choice of appropriate synthetic data generator</a:t>
                </a:r>
              </a:p>
            </p:txBody>
          </p:sp>
        </p:grp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90ED46F-06DA-8AC7-90F1-686963FA1F69}"/>
                </a:ext>
              </a:extLst>
            </p:cNvPr>
            <p:cNvSpPr txBox="1"/>
            <p:nvPr/>
          </p:nvSpPr>
          <p:spPr>
            <a:xfrm>
              <a:off x="33557845" y="3976940"/>
              <a:ext cx="2662629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b="1">
                  <a:latin typeface="Arial" panose="020B0604020202020204" pitchFamily="34" charset="0"/>
                  <a:cs typeface="Arial" panose="020B0604020202020204" pitchFamily="34" charset="0"/>
                </a:rPr>
                <a:t>Synthetic Data iterations with varying Privacy VS Predictive Power</a:t>
              </a:r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4FF0CDA9-3E8D-69B1-9606-B16730260598}"/>
              </a:ext>
            </a:extLst>
          </p:cNvPr>
          <p:cNvSpPr/>
          <p:nvPr/>
        </p:nvSpPr>
        <p:spPr bwMode="auto">
          <a:xfrm>
            <a:off x="9540240" y="14167485"/>
            <a:ext cx="176328" cy="23431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8B6F7891-2C62-F937-C79F-0FDE5181190C}"/>
              </a:ext>
            </a:extLst>
          </p:cNvPr>
          <p:cNvCxnSpPr>
            <a:cxnSpLocks/>
          </p:cNvCxnSpPr>
          <p:nvPr/>
        </p:nvCxnSpPr>
        <p:spPr bwMode="auto">
          <a:xfrm>
            <a:off x="40967451" y="7235990"/>
            <a:ext cx="9651" cy="924613"/>
          </a:xfrm>
          <a:prstGeom prst="straightConnector1">
            <a:avLst/>
          </a:prstGeom>
          <a:solidFill>
            <a:schemeClr val="accent1"/>
          </a:solidFill>
          <a:ln w="635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91A3932F-4082-CBBF-50EF-83D321EF7653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40959651" y="9123934"/>
            <a:ext cx="7800" cy="1053233"/>
          </a:xfrm>
          <a:prstGeom prst="straightConnector1">
            <a:avLst/>
          </a:prstGeom>
          <a:solidFill>
            <a:schemeClr val="accent1"/>
          </a:solidFill>
          <a:ln w="635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D5E1D3B2-4AD0-E61B-DD04-C55B93FB1C66}"/>
              </a:ext>
            </a:extLst>
          </p:cNvPr>
          <p:cNvGraphicFramePr/>
          <p:nvPr/>
        </p:nvGraphicFramePr>
        <p:xfrm>
          <a:off x="10487653" y="12754176"/>
          <a:ext cx="9749918" cy="37054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2" name="TextBox 31">
            <a:extLst>
              <a:ext uri="{FF2B5EF4-FFF2-40B4-BE49-F238E27FC236}">
                <a16:creationId xmlns:a16="http://schemas.microsoft.com/office/drawing/2014/main" id="{62CAE31C-A8E8-4245-DD85-9968789A0E4F}"/>
              </a:ext>
            </a:extLst>
          </p:cNvPr>
          <p:cNvSpPr txBox="1"/>
          <p:nvPr/>
        </p:nvSpPr>
        <p:spPr>
          <a:xfrm>
            <a:off x="12705112" y="12267328"/>
            <a:ext cx="629936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INFORMATION CAPTURED BY SYNTHETIC DATA</a:t>
            </a:r>
            <a:endParaRPr lang="en-IN" sz="20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9CABABDA-BD32-4A40-1C48-10531A622538}"/>
              </a:ext>
            </a:extLst>
          </p:cNvPr>
          <p:cNvGraphicFramePr/>
          <p:nvPr/>
        </p:nvGraphicFramePr>
        <p:xfrm>
          <a:off x="10487420" y="17157601"/>
          <a:ext cx="9749917" cy="4053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7" name="TextBox 36">
            <a:extLst>
              <a:ext uri="{FF2B5EF4-FFF2-40B4-BE49-F238E27FC236}">
                <a16:creationId xmlns:a16="http://schemas.microsoft.com/office/drawing/2014/main" id="{29A2D737-F2A8-C98A-3452-9802073C5F91}"/>
              </a:ext>
            </a:extLst>
          </p:cNvPr>
          <p:cNvSpPr txBox="1"/>
          <p:nvPr/>
        </p:nvSpPr>
        <p:spPr>
          <a:xfrm>
            <a:off x="10470081" y="16691009"/>
            <a:ext cx="97672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OPPORTUNITY GAIN/LOSS OF SYNTHETIC DATA COMPARED TO REAL DATA</a:t>
            </a:r>
            <a:endParaRPr lang="en-IN" sz="20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1070994-CF30-BAC9-FF43-313C34B39631}"/>
              </a:ext>
            </a:extLst>
          </p:cNvPr>
          <p:cNvSpPr txBox="1"/>
          <p:nvPr/>
        </p:nvSpPr>
        <p:spPr>
          <a:xfrm>
            <a:off x="20643261" y="12290500"/>
            <a:ext cx="123071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000" b="1">
                <a:latin typeface="Arial" panose="020B0604020202020204" pitchFamily="34" charset="0"/>
                <a:cs typeface="Arial" panose="020B0604020202020204" pitchFamily="34" charset="0"/>
              </a:rPr>
              <a:t>SYNTHETIC DATA – PREDICTIVE PERFORMANCE VS PRIVACY</a:t>
            </a:r>
          </a:p>
        </p:txBody>
      </p:sp>
      <p:pic>
        <p:nvPicPr>
          <p:cNvPr id="23" name="Picture 22" descr="Chart, line chart&#10;&#10;Description automatically generated">
            <a:extLst>
              <a:ext uri="{FF2B5EF4-FFF2-40B4-BE49-F238E27FC236}">
                <a16:creationId xmlns:a16="http://schemas.microsoft.com/office/drawing/2014/main" id="{22963E6E-91F6-4B9D-136B-FDA43817C94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19665" y="12729884"/>
            <a:ext cx="12358574" cy="8481205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27" name="Table 28">
            <a:extLst>
              <a:ext uri="{FF2B5EF4-FFF2-40B4-BE49-F238E27FC236}">
                <a16:creationId xmlns:a16="http://schemas.microsoft.com/office/drawing/2014/main" id="{632E3CCD-ECC2-E196-4F70-3FF02F8153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7194379"/>
              </p:ext>
            </p:extLst>
          </p:nvPr>
        </p:nvGraphicFramePr>
        <p:xfrm>
          <a:off x="33642300" y="15665090"/>
          <a:ext cx="9930968" cy="23266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091940">
                  <a:extLst>
                    <a:ext uri="{9D8B030D-6E8A-4147-A177-3AD203B41FA5}">
                      <a16:colId xmlns:a16="http://schemas.microsoft.com/office/drawing/2014/main" val="422951467"/>
                    </a:ext>
                  </a:extLst>
                </a:gridCol>
                <a:gridCol w="2042160">
                  <a:extLst>
                    <a:ext uri="{9D8B030D-6E8A-4147-A177-3AD203B41FA5}">
                      <a16:colId xmlns:a16="http://schemas.microsoft.com/office/drawing/2014/main" val="724092072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val="1002891026"/>
                    </a:ext>
                  </a:extLst>
                </a:gridCol>
                <a:gridCol w="1739468">
                  <a:extLst>
                    <a:ext uri="{9D8B030D-6E8A-4147-A177-3AD203B41FA5}">
                      <a16:colId xmlns:a16="http://schemas.microsoft.com/office/drawing/2014/main" val="3883554324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en-IN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iness Prior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IN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PLOYMENT RECOMMENDA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IN" sz="1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IN" sz="1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421126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algn="ctr"/>
                      <a:r>
                        <a:rPr lang="en-IN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or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Synthesiz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aussian Copul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GA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787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IN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 Performa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b="1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ea typeface="Segoe UI Symbol" panose="020B0502040204020203" pitchFamily="34" charset="0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en-IN" sz="20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20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2000" b="1" dirty="0">
                        <a:solidFill>
                          <a:srgbClr val="C49F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63765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IN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vacy and model performance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N" sz="2000" b="1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ea typeface="Segoe UI Symbol" panose="020B0502040204020203" pitchFamily="34" charset="0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en-IN" sz="20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b="1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ea typeface="Segoe UI Symbol" panose="020B0502040204020203" pitchFamily="34" charset="0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en-IN" sz="20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2000" b="1" dirty="0">
                        <a:solidFill>
                          <a:srgbClr val="339933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0100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has many features/colum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N" sz="2000" b="1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ea typeface="Segoe UI Symbol" panose="020B0502040204020203" pitchFamily="34" charset="0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en-IN" sz="20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2000" b="1" dirty="0">
                        <a:solidFill>
                          <a:srgbClr val="339933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2000" b="1" dirty="0">
                        <a:solidFill>
                          <a:srgbClr val="339933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84628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IN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intaining feature constrai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20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b="1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ea typeface="Segoe UI Symbol" panose="020B0502040204020203" pitchFamily="34" charset="0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en-IN" sz="20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224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b="1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ea typeface="Segoe UI Symbol" panose="020B0502040204020203" pitchFamily="34" charset="0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en-IN" sz="20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9379896"/>
                  </a:ext>
                </a:extLst>
              </a:tr>
            </a:tbl>
          </a:graphicData>
        </a:graphic>
      </p:graphicFrame>
      <p:sp>
        <p:nvSpPr>
          <p:cNvPr id="21" name="Double Bracket 20">
            <a:extLst>
              <a:ext uri="{FF2B5EF4-FFF2-40B4-BE49-F238E27FC236}">
                <a16:creationId xmlns:a16="http://schemas.microsoft.com/office/drawing/2014/main" id="{78E0F413-A19E-3269-5013-88EC95B0B154}"/>
              </a:ext>
            </a:extLst>
          </p:cNvPr>
          <p:cNvSpPr/>
          <p:nvPr/>
        </p:nvSpPr>
        <p:spPr bwMode="auto">
          <a:xfrm>
            <a:off x="18445865" y="3632665"/>
            <a:ext cx="3029908" cy="2761876"/>
          </a:xfrm>
          <a:prstGeom prst="bracketPair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6DF9485-059C-81ED-1204-FB235CE1E80B}"/>
              </a:ext>
            </a:extLst>
          </p:cNvPr>
          <p:cNvSpPr txBox="1"/>
          <p:nvPr/>
        </p:nvSpPr>
        <p:spPr>
          <a:xfrm>
            <a:off x="18960591" y="3352578"/>
            <a:ext cx="19799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400" b="1" dirty="0">
                <a:latin typeface="Arial" panose="020B0604020202020204" pitchFamily="34" charset="0"/>
                <a:cs typeface="Arial" panose="020B0604020202020204" pitchFamily="34" charset="0"/>
              </a:rPr>
              <a:t>Toolkit</a:t>
            </a:r>
            <a:endParaRPr lang="en-IN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Picture 24" descr="Logo&#10;&#10;Description automatically generated">
            <a:extLst>
              <a:ext uri="{FF2B5EF4-FFF2-40B4-BE49-F238E27FC236}">
                <a16:creationId xmlns:a16="http://schemas.microsoft.com/office/drawing/2014/main" id="{22C06567-81BB-89FC-D665-1C2CCFCC9436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8837" y="5528365"/>
            <a:ext cx="1313796" cy="687741"/>
          </a:xfrm>
          <a:prstGeom prst="rect">
            <a:avLst/>
          </a:prstGeom>
        </p:spPr>
      </p:pic>
      <p:pic>
        <p:nvPicPr>
          <p:cNvPr id="33" name="Picture 32" descr="A picture containing circle&#10;&#10;Description automatically generated">
            <a:extLst>
              <a:ext uri="{FF2B5EF4-FFF2-40B4-BE49-F238E27FC236}">
                <a16:creationId xmlns:a16="http://schemas.microsoft.com/office/drawing/2014/main" id="{8B21D094-1C6A-0E23-6E55-91D3CC9FBC4D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71617" y="3805615"/>
            <a:ext cx="1270960" cy="682063"/>
          </a:xfrm>
          <a:prstGeom prst="rect">
            <a:avLst/>
          </a:prstGeom>
        </p:spPr>
      </p:pic>
      <p:pic>
        <p:nvPicPr>
          <p:cNvPr id="40" name="Picture 39" descr="Logo&#10;&#10;Description automatically generated">
            <a:extLst>
              <a:ext uri="{FF2B5EF4-FFF2-40B4-BE49-F238E27FC236}">
                <a16:creationId xmlns:a16="http://schemas.microsoft.com/office/drawing/2014/main" id="{9C53C0C3-5BA3-10B0-9939-F8A129040B59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93904" y="3811354"/>
            <a:ext cx="792108" cy="880669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A77CE7A6-647E-7B4E-E965-41000D45E56B}"/>
              </a:ext>
            </a:extLst>
          </p:cNvPr>
          <p:cNvSpPr txBox="1"/>
          <p:nvPr/>
        </p:nvSpPr>
        <p:spPr>
          <a:xfrm>
            <a:off x="18581949" y="4908905"/>
            <a:ext cx="19468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>
                <a:latin typeface="Agency FB" panose="020B0503020202020204" pitchFamily="34" charset="0"/>
                <a:cs typeface="Aharoni" panose="02010803020104030203" pitchFamily="2" charset="-79"/>
              </a:rPr>
              <a:t>DataSynthesizer</a:t>
            </a:r>
          </a:p>
        </p:txBody>
      </p:sp>
      <p:pic>
        <p:nvPicPr>
          <p:cNvPr id="47" name="Picture 46" descr="A picture containing circle&#10;&#10;Description automatically generated">
            <a:extLst>
              <a:ext uri="{FF2B5EF4-FFF2-40B4-BE49-F238E27FC236}">
                <a16:creationId xmlns:a16="http://schemas.microsoft.com/office/drawing/2014/main" id="{90E208CB-D59F-2DBA-8004-227611739E60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43813" y="3098899"/>
            <a:ext cx="373725" cy="200560"/>
          </a:xfrm>
          <a:prstGeom prst="rect">
            <a:avLst/>
          </a:prstGeom>
        </p:spPr>
      </p:pic>
      <p:pic>
        <p:nvPicPr>
          <p:cNvPr id="49" name="Picture 48" descr="A picture containing circle&#10;&#10;Description automatically generated">
            <a:extLst>
              <a:ext uri="{FF2B5EF4-FFF2-40B4-BE49-F238E27FC236}">
                <a16:creationId xmlns:a16="http://schemas.microsoft.com/office/drawing/2014/main" id="{24317A80-1DF4-B2FE-DDE0-772404081956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05235" y="8810137"/>
            <a:ext cx="373725" cy="200560"/>
          </a:xfrm>
          <a:prstGeom prst="rect">
            <a:avLst/>
          </a:prstGeom>
        </p:spPr>
      </p:pic>
      <p:pic>
        <p:nvPicPr>
          <p:cNvPr id="61" name="Picture 60" descr="A picture containing circle&#10;&#10;Description automatically generated">
            <a:extLst>
              <a:ext uri="{FF2B5EF4-FFF2-40B4-BE49-F238E27FC236}">
                <a16:creationId xmlns:a16="http://schemas.microsoft.com/office/drawing/2014/main" id="{5142AF5E-BE2C-7732-F4D0-725B2790D078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9061" y="10135966"/>
            <a:ext cx="373725" cy="200560"/>
          </a:xfrm>
          <a:prstGeom prst="rect">
            <a:avLst/>
          </a:prstGeom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1432F092-E062-3B1B-093C-2B30BE73097E}"/>
              </a:ext>
            </a:extLst>
          </p:cNvPr>
          <p:cNvGrpSpPr/>
          <p:nvPr/>
        </p:nvGrpSpPr>
        <p:grpSpPr>
          <a:xfrm>
            <a:off x="10553183" y="6423446"/>
            <a:ext cx="7056004" cy="2628625"/>
            <a:chOff x="7277100" y="2111825"/>
            <a:chExt cx="4628150" cy="2323015"/>
          </a:xfrm>
        </p:grpSpPr>
        <p:sp>
          <p:nvSpPr>
            <p:cNvPr id="69" name="Rectangle: Rounded Corners 68">
              <a:extLst>
                <a:ext uri="{FF2B5EF4-FFF2-40B4-BE49-F238E27FC236}">
                  <a16:creationId xmlns:a16="http://schemas.microsoft.com/office/drawing/2014/main" id="{CB0E0EE4-E68E-F37B-3CF1-E90759CC57C4}"/>
                </a:ext>
              </a:extLst>
            </p:cNvPr>
            <p:cNvSpPr/>
            <p:nvPr/>
          </p:nvSpPr>
          <p:spPr bwMode="auto">
            <a:xfrm>
              <a:off x="7450536" y="2448920"/>
              <a:ext cx="1592589" cy="261048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IN" b="1" dirty="0">
                  <a:latin typeface="Arial" panose="020B0604020202020204" pitchFamily="34" charset="0"/>
                  <a:cs typeface="Arial" panose="020B0604020202020204" pitchFamily="34" charset="0"/>
                </a:rPr>
                <a:t>Feature X</a:t>
              </a:r>
              <a:endParaRPr kumimoji="0" lang="en-IN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CA7F7012-E22A-7A21-10AE-D4C74E450509}"/>
                </a:ext>
              </a:extLst>
            </p:cNvPr>
            <p:cNvSpPr txBox="1"/>
            <p:nvPr/>
          </p:nvSpPr>
          <p:spPr>
            <a:xfrm>
              <a:off x="8718182" y="2314487"/>
              <a:ext cx="141092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2800" b="1" dirty="0"/>
                <a:t>&lt;</a:t>
              </a:r>
            </a:p>
          </p:txBody>
        </p:sp>
        <p:sp>
          <p:nvSpPr>
            <p:cNvPr id="71" name="Rectangle: Rounded Corners 70">
              <a:extLst>
                <a:ext uri="{FF2B5EF4-FFF2-40B4-BE49-F238E27FC236}">
                  <a16:creationId xmlns:a16="http://schemas.microsoft.com/office/drawing/2014/main" id="{196EA726-4B46-EFB4-ECC5-BE7B8B7433FD}"/>
                </a:ext>
              </a:extLst>
            </p:cNvPr>
            <p:cNvSpPr/>
            <p:nvPr/>
          </p:nvSpPr>
          <p:spPr bwMode="auto">
            <a:xfrm>
              <a:off x="9941320" y="2448920"/>
              <a:ext cx="1665464" cy="261048"/>
            </a:xfrm>
            <a:prstGeom prst="roundRect">
              <a:avLst/>
            </a:prstGeom>
            <a:solidFill>
              <a:srgbClr val="DDC69A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IN" b="1" dirty="0">
                  <a:latin typeface="Arial" panose="020B0604020202020204" pitchFamily="34" charset="0"/>
                  <a:cs typeface="Arial" panose="020B0604020202020204" pitchFamily="34" charset="0"/>
                </a:rPr>
                <a:t>Feature Y</a:t>
              </a:r>
              <a:endParaRPr kumimoji="0" lang="en-IN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Rectangle: Rounded Corners 71">
              <a:extLst>
                <a:ext uri="{FF2B5EF4-FFF2-40B4-BE49-F238E27FC236}">
                  <a16:creationId xmlns:a16="http://schemas.microsoft.com/office/drawing/2014/main" id="{4EEBB028-DBC0-5A4A-AAAD-EA70D49BB91D}"/>
                </a:ext>
              </a:extLst>
            </p:cNvPr>
            <p:cNvSpPr/>
            <p:nvPr/>
          </p:nvSpPr>
          <p:spPr bwMode="auto">
            <a:xfrm>
              <a:off x="7450537" y="3465182"/>
              <a:ext cx="1592588" cy="261048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IN" b="1" dirty="0">
                  <a:latin typeface="Arial" panose="020B0604020202020204" pitchFamily="34" charset="0"/>
                  <a:cs typeface="Arial" panose="020B0604020202020204" pitchFamily="34" charset="0"/>
                </a:rPr>
                <a:t>Feature K</a:t>
              </a:r>
              <a:endParaRPr kumimoji="0" lang="en-IN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43446008-2FB4-E86C-65F8-65E5E97DC2A8}"/>
                </a:ext>
              </a:extLst>
            </p:cNvPr>
            <p:cNvSpPr/>
            <p:nvPr/>
          </p:nvSpPr>
          <p:spPr bwMode="auto">
            <a:xfrm>
              <a:off x="9942576" y="3167952"/>
              <a:ext cx="1665464" cy="261048"/>
            </a:xfrm>
            <a:prstGeom prst="roundRect">
              <a:avLst/>
            </a:prstGeom>
            <a:solidFill>
              <a:srgbClr val="DDC69A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IN" b="1" dirty="0">
                  <a:latin typeface="Arial" panose="020B0604020202020204" pitchFamily="34" charset="0"/>
                  <a:cs typeface="Arial" panose="020B0604020202020204" pitchFamily="34" charset="0"/>
                </a:rPr>
                <a:t>Feature N = 1</a:t>
              </a:r>
              <a:endParaRPr kumimoji="0" lang="en-IN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663B1328-0517-3212-2D26-45E9705F53E8}"/>
                </a:ext>
              </a:extLst>
            </p:cNvPr>
            <p:cNvSpPr/>
            <p:nvPr/>
          </p:nvSpPr>
          <p:spPr bwMode="auto">
            <a:xfrm>
              <a:off x="9941320" y="3863499"/>
              <a:ext cx="1665464" cy="261048"/>
            </a:xfrm>
            <a:prstGeom prst="roundRect">
              <a:avLst/>
            </a:prstGeom>
            <a:solidFill>
              <a:srgbClr val="DDC69A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IN" b="1" dirty="0">
                  <a:latin typeface="Arial" panose="020B0604020202020204" pitchFamily="34" charset="0"/>
                  <a:cs typeface="Arial" panose="020B0604020202020204" pitchFamily="34" charset="0"/>
                </a:rPr>
                <a:t>Feature N = 0</a:t>
              </a:r>
              <a:endParaRPr kumimoji="0" lang="en-IN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76" name="Connector: Elbow 75">
              <a:extLst>
                <a:ext uri="{FF2B5EF4-FFF2-40B4-BE49-F238E27FC236}">
                  <a16:creationId xmlns:a16="http://schemas.microsoft.com/office/drawing/2014/main" id="{5ED34DA7-144A-7320-BC31-F6671942850E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9011352" y="2533957"/>
              <a:ext cx="166706" cy="1695745"/>
            </a:xfrm>
            <a:prstGeom prst="bentConnector2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Connector: Elbow 77">
              <a:extLst>
                <a:ext uri="{FF2B5EF4-FFF2-40B4-BE49-F238E27FC236}">
                  <a16:creationId xmlns:a16="http://schemas.microsoft.com/office/drawing/2014/main" id="{A16ACBE4-06F3-076C-68CC-D0C090692289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8960181" y="3012881"/>
              <a:ext cx="267793" cy="1694489"/>
            </a:xfrm>
            <a:prstGeom prst="bentConnector2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ADDCA0D7-02EA-09D2-5654-DECB8B167414}"/>
                </a:ext>
              </a:extLst>
            </p:cNvPr>
            <p:cNvSpPr txBox="1"/>
            <p:nvPr/>
          </p:nvSpPr>
          <p:spPr>
            <a:xfrm>
              <a:off x="8907782" y="3062860"/>
              <a:ext cx="102869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000" dirty="0">
                  <a:latin typeface="Arial" panose="020B0604020202020204" pitchFamily="34" charset="0"/>
                  <a:cs typeface="Arial" panose="020B0604020202020204" pitchFamily="34" charset="0"/>
                </a:rPr>
                <a:t>Less than C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FF7B164E-A734-01AE-58E1-C4D365EF302A}"/>
                </a:ext>
              </a:extLst>
            </p:cNvPr>
            <p:cNvSpPr txBox="1"/>
            <p:nvPr/>
          </p:nvSpPr>
          <p:spPr>
            <a:xfrm>
              <a:off x="8909630" y="3990707"/>
              <a:ext cx="102869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000" dirty="0">
                  <a:latin typeface="Arial" panose="020B0604020202020204" pitchFamily="34" charset="0"/>
                  <a:cs typeface="Arial" panose="020B0604020202020204" pitchFamily="34" charset="0"/>
                </a:rPr>
                <a:t>Greater than C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CE39434E-939F-0F65-2977-D6AF9E481C73}"/>
                </a:ext>
              </a:extLst>
            </p:cNvPr>
            <p:cNvSpPr/>
            <p:nvPr/>
          </p:nvSpPr>
          <p:spPr>
            <a:xfrm>
              <a:off x="7277100" y="2111825"/>
              <a:ext cx="4628150" cy="2323015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</p:grpSp>
      <p:sp>
        <p:nvSpPr>
          <p:cNvPr id="84" name="Rectangle 83">
            <a:extLst>
              <a:ext uri="{FF2B5EF4-FFF2-40B4-BE49-F238E27FC236}">
                <a16:creationId xmlns:a16="http://schemas.microsoft.com/office/drawing/2014/main" id="{ABFECB80-6A1A-9266-E75F-5C1034C9BB31}"/>
              </a:ext>
            </a:extLst>
          </p:cNvPr>
          <p:cNvSpPr/>
          <p:nvPr/>
        </p:nvSpPr>
        <p:spPr>
          <a:xfrm>
            <a:off x="10553183" y="9081952"/>
            <a:ext cx="7069946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9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Fig 2. </a:t>
            </a:r>
            <a:r>
              <a:rPr lang="en-US" sz="1900" dirty="0">
                <a:latin typeface="Arial" panose="020B0604020202020204" pitchFamily="34" charset="0"/>
                <a:cs typeface="Arial" panose="020B0604020202020204" pitchFamily="34" charset="0"/>
              </a:rPr>
              <a:t>Data Constraints</a:t>
            </a:r>
          </a:p>
        </p:txBody>
      </p:sp>
      <p:pic>
        <p:nvPicPr>
          <p:cNvPr id="17" name="Picture 16" descr="Qr code&#10;&#10;Description automatically generated">
            <a:extLst>
              <a:ext uri="{FF2B5EF4-FFF2-40B4-BE49-F238E27FC236}">
                <a16:creationId xmlns:a16="http://schemas.microsoft.com/office/drawing/2014/main" id="{23AEB526-294A-6DEA-CD72-F74496AED69B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94013" y="4886502"/>
            <a:ext cx="526581" cy="526581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29" name="Picture 28" descr="Qr code&#10;&#10;Description automatically generated">
            <a:extLst>
              <a:ext uri="{FF2B5EF4-FFF2-40B4-BE49-F238E27FC236}">
                <a16:creationId xmlns:a16="http://schemas.microsoft.com/office/drawing/2014/main" id="{682DE6D1-CF4D-1AF9-D00A-5A425DC7CCBB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91160" y="5578464"/>
            <a:ext cx="526582" cy="526582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38" name="Picture 37" descr="Qr code&#10;&#10;Description automatically generated">
            <a:extLst>
              <a:ext uri="{FF2B5EF4-FFF2-40B4-BE49-F238E27FC236}">
                <a16:creationId xmlns:a16="http://schemas.microsoft.com/office/drawing/2014/main" id="{FDE3BEFA-CF11-10EF-7BF8-9155138BF8A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91972" y="415042"/>
            <a:ext cx="2450235" cy="2450235"/>
          </a:xfrm>
          <a:prstGeom prst="rect">
            <a:avLst/>
          </a:prstGeom>
          <a:ln w="571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2936671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3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Y9ZxFT7OPePSRnv9apmg"/>
</p:tagLst>
</file>

<file path=ppt/theme/theme1.xml><?xml version="1.0" encoding="utf-8"?>
<a:theme xmlns:a="http://schemas.openxmlformats.org/drawingml/2006/main" name="INFORMS2015_Comp_Conf">
  <a:themeElements>
    <a:clrScheme name="test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E36C09"/>
      </a:hlink>
      <a:folHlink>
        <a:srgbClr val="E36C09"/>
      </a:folHlink>
    </a:clrScheme>
    <a:fontScheme name="Blank">
      <a:majorFont>
        <a:latin typeface="Times"/>
        <a:ea typeface=""/>
        <a:cs typeface=""/>
      </a:majorFont>
      <a:minorFont>
        <a:latin typeface="Time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AU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AU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951206b-99c2-4d05-95d2-9950931ff7dc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68044A727AAC9488C5F12186D69A275" ma:contentTypeVersion="14" ma:contentTypeDescription="Create a new document." ma:contentTypeScope="" ma:versionID="44b48746d4c961c68237024442189cba">
  <xsd:schema xmlns:xsd="http://www.w3.org/2001/XMLSchema" xmlns:xs="http://www.w3.org/2001/XMLSchema" xmlns:p="http://schemas.microsoft.com/office/2006/metadata/properties" xmlns:ns3="9faaef0a-9162-4607-b913-d3ef171ff44c" xmlns:ns4="d951206b-99c2-4d05-95d2-9950931ff7dc" targetNamespace="http://schemas.microsoft.com/office/2006/metadata/properties" ma:root="true" ma:fieldsID="903affbdf10c69e9548799715420021e" ns3:_="" ns4:_="">
    <xsd:import namespace="9faaef0a-9162-4607-b913-d3ef171ff44c"/>
    <xsd:import namespace="d951206b-99c2-4d05-95d2-9950931ff7dc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KeyPoints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LengthInSeconds" minOccurs="0"/>
                <xsd:element ref="ns4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aaef0a-9162-4607-b913-d3ef171ff44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51206b-99c2-4d05-95d2-9950931ff7d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BE5E52D-EB9D-4B72-A928-24760AE9C86A}">
  <ds:schemaRefs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www.w3.org/XML/1998/namespace"/>
    <ds:schemaRef ds:uri="http://purl.org/dc/dcmitype/"/>
    <ds:schemaRef ds:uri="9faaef0a-9162-4607-b913-d3ef171ff44c"/>
    <ds:schemaRef ds:uri="http://schemas.microsoft.com/office/infopath/2007/PartnerControls"/>
    <ds:schemaRef ds:uri="d951206b-99c2-4d05-95d2-9950931ff7dc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F99380DB-4B35-4657-950C-6BBA781E421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DE51A96-CB78-4DED-A7B2-46EA22D8F849}">
  <ds:schemaRefs>
    <ds:schemaRef ds:uri="9faaef0a-9162-4607-b913-d3ef171ff44c"/>
    <ds:schemaRef ds:uri="d951206b-99c2-4d05-95d2-9950931ff7d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FORMS2015_Comp_Conf</Template>
  <TotalTime>251</TotalTime>
  <Words>899</Words>
  <Application>Microsoft Office PowerPoint</Application>
  <PresentationFormat>Custom</PresentationFormat>
  <Paragraphs>14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gency FB</vt:lpstr>
      <vt:lpstr>Arial</vt:lpstr>
      <vt:lpstr>Calibri</vt:lpstr>
      <vt:lpstr>Times</vt:lpstr>
      <vt:lpstr>Wingdings</vt:lpstr>
      <vt:lpstr>INFORMS2015_Comp_Conf</vt:lpstr>
      <vt:lpstr>think-cell Slide</vt:lpstr>
      <vt:lpstr>PowerPoint Presentation</vt:lpstr>
    </vt:vector>
  </TitlesOfParts>
  <Company>Advance Auto Par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hew Lanham</dc:creator>
  <cp:lastModifiedBy>Pratik Suhas</cp:lastModifiedBy>
  <cp:revision>30</cp:revision>
  <cp:lastPrinted>2023-03-01T07:45:53Z</cp:lastPrinted>
  <dcterms:created xsi:type="dcterms:W3CDTF">2014-12-02T19:25:45Z</dcterms:created>
  <dcterms:modified xsi:type="dcterms:W3CDTF">2023-04-06T04:51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68044A727AAC9488C5F12186D69A275</vt:lpwstr>
  </property>
  <property fmtid="{D5CDD505-2E9C-101B-9397-08002B2CF9AE}" pid="3" name="MSIP_Label_4044bd30-2ed7-4c9d-9d12-46200872a97b_Enabled">
    <vt:lpwstr>true</vt:lpwstr>
  </property>
  <property fmtid="{D5CDD505-2E9C-101B-9397-08002B2CF9AE}" pid="4" name="MSIP_Label_4044bd30-2ed7-4c9d-9d12-46200872a97b_SetDate">
    <vt:lpwstr>2023-02-05T16:12:32Z</vt:lpwstr>
  </property>
  <property fmtid="{D5CDD505-2E9C-101B-9397-08002B2CF9AE}" pid="5" name="MSIP_Label_4044bd30-2ed7-4c9d-9d12-46200872a97b_Method">
    <vt:lpwstr>Standard</vt:lpwstr>
  </property>
  <property fmtid="{D5CDD505-2E9C-101B-9397-08002B2CF9AE}" pid="6" name="MSIP_Label_4044bd30-2ed7-4c9d-9d12-46200872a97b_Name">
    <vt:lpwstr>defa4170-0d19-0005-0004-bc88714345d2</vt:lpwstr>
  </property>
  <property fmtid="{D5CDD505-2E9C-101B-9397-08002B2CF9AE}" pid="7" name="MSIP_Label_4044bd30-2ed7-4c9d-9d12-46200872a97b_SiteId">
    <vt:lpwstr>4130bd39-7c53-419c-b1e5-8758d6d63f21</vt:lpwstr>
  </property>
  <property fmtid="{D5CDD505-2E9C-101B-9397-08002B2CF9AE}" pid="8" name="MSIP_Label_4044bd30-2ed7-4c9d-9d12-46200872a97b_ActionId">
    <vt:lpwstr>1b8ba468-6792-4cd3-89b0-3e1847fff7d6</vt:lpwstr>
  </property>
  <property fmtid="{D5CDD505-2E9C-101B-9397-08002B2CF9AE}" pid="9" name="MSIP_Label_4044bd30-2ed7-4c9d-9d12-46200872a97b_ContentBits">
    <vt:lpwstr>0</vt:lpwstr>
  </property>
</Properties>
</file>